
<file path=[Content_Types].xml><?xml version="1.0" encoding="utf-8"?>
<Types xmlns="http://schemas.openxmlformats.org/package/2006/content-types">
  <Default Extension="bin" ContentType="application/vnd.openxmlformats-officedocument.oleObject"/>
  <Default Extension="emf" ContentType="image/x-emf"/>
  <Default Extension="mp4" ContentType="video/mp4"/>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notesSlides/notesSlide1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3.xml" ContentType="application/vnd.openxmlformats-officedocument.presentationml.notesSlide+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notesSlides/notesSlide1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7.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8.xml" ContentType="application/vnd.openxmlformats-officedocument.presentationml.notesSlide+xml"/>
  <Override PartName="/ppt/tags/tag40.xml" ContentType="application/vnd.openxmlformats-officedocument.presentationml.tags+xml"/>
  <Override PartName="/ppt/notesSlides/notesSlide19.xml" ContentType="application/vnd.openxmlformats-officedocument.presentationml.notesSlide+xml"/>
  <Override PartName="/ppt/tags/tag41.xml" ContentType="application/vnd.openxmlformats-officedocument.presentationml.tags+xml"/>
  <Override PartName="/ppt/notesSlides/notesSlide20.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1.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2.xml" ContentType="application/vnd.openxmlformats-officedocument.presentationml.notesSlide+xml"/>
  <Override PartName="/ppt/tags/tag50.xml" ContentType="application/vnd.openxmlformats-officedocument.presentationml.tags+xml"/>
  <Override PartName="/ppt/notesSlides/notesSlide23.xml" ContentType="application/vnd.openxmlformats-officedocument.presentationml.notesSlide+xml"/>
  <Override PartName="/ppt/tags/tag51.xml" ContentType="application/vnd.openxmlformats-officedocument.presentationml.tags+xml"/>
  <Override PartName="/ppt/notesSlides/notesSlide24.xml" ContentType="application/vnd.openxmlformats-officedocument.presentationml.notesSlide+xml"/>
  <Override PartName="/ppt/tags/tag52.xml" ContentType="application/vnd.openxmlformats-officedocument.presentationml.tags+xml"/>
  <Override PartName="/ppt/notesSlides/notesSlide25.xml" ContentType="application/vnd.openxmlformats-officedocument.presentationml.notesSlide+xml"/>
  <Override PartName="/ppt/tags/tag53.xml" ContentType="application/vnd.openxmlformats-officedocument.presentationml.tags+xml"/>
  <Override PartName="/ppt/notesSlides/notesSlide26.xml" ContentType="application/vnd.openxmlformats-officedocument.presentationml.notesSlide+xml"/>
  <Override PartName="/ppt/tags/tag54.xml" ContentType="application/vnd.openxmlformats-officedocument.presentationml.tags+xml"/>
  <Override PartName="/ppt/notesSlides/notesSlide27.xml" ContentType="application/vnd.openxmlformats-officedocument.presentationml.notesSlide+xml"/>
  <Override PartName="/ppt/tags/tag55.xml" ContentType="application/vnd.openxmlformats-officedocument.presentationml.tags+xml"/>
  <Override PartName="/ppt/notesSlides/notesSlide28.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9.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30.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31.xml" ContentType="application/vnd.openxmlformats-officedocument.presentationml.notesSlide+xml"/>
  <Override PartName="/ppt/tags/tag64.xml" ContentType="application/vnd.openxmlformats-officedocument.presentationml.tags+xml"/>
  <Override PartName="/ppt/notesSlides/notesSlide32.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33.xml" ContentType="application/vnd.openxmlformats-officedocument.presentationml.notesSlide+xml"/>
  <Override PartName="/ppt/tags/tag72.xml" ContentType="application/vnd.openxmlformats-officedocument.presentationml.tags+xml"/>
  <Override PartName="/ppt/notesSlides/notesSlide34.xml" ContentType="application/vnd.openxmlformats-officedocument.presentationml.notesSlide+xml"/>
  <Override PartName="/ppt/tags/tag73.xml" ContentType="application/vnd.openxmlformats-officedocument.presentationml.tags+xml"/>
  <Override PartName="/ppt/notesSlides/notesSlide35.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36.xml" ContentType="application/vnd.openxmlformats-officedocument.presentationml.notesSlide+xml"/>
  <Override PartName="/ppt/tags/tag79.xml" ContentType="application/vnd.openxmlformats-officedocument.presentationml.tags+xml"/>
  <Override PartName="/ppt/notesSlides/notesSlide37.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38.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39.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4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87.xml" ContentType="application/vnd.openxmlformats-officedocument.presentationml.tags+xml"/>
  <Override PartName="/ppt/notesSlides/notesSlide41.xml" ContentType="application/vnd.openxmlformats-officedocument.presentationml.notesSlide+xml"/>
  <Override PartName="/ppt/tags/tag88.xml" ContentType="application/vnd.openxmlformats-officedocument.presentationml.tags+xml"/>
  <Override PartName="/ppt/notesSlides/notesSlide42.xml" ContentType="application/vnd.openxmlformats-officedocument.presentationml.notesSlide+xml"/>
  <Override PartName="/ppt/tags/tag89.xml" ContentType="application/vnd.openxmlformats-officedocument.presentationml.tags+xml"/>
  <Override PartName="/ppt/notesSlides/notesSlide43.xml" ContentType="application/vnd.openxmlformats-officedocument.presentationml.notesSlide+xml"/>
  <Override PartName="/ppt/tags/tag90.xml" ContentType="application/vnd.openxmlformats-officedocument.presentationml.tags+xml"/>
  <Override PartName="/ppt/notesSlides/notesSlide44.xml" ContentType="application/vnd.openxmlformats-officedocument.presentationml.notesSlide+xml"/>
  <Override PartName="/ppt/tags/tag91.xml" ContentType="application/vnd.openxmlformats-officedocument.presentationml.tags+xml"/>
  <Override PartName="/ppt/notesSlides/notesSlide45.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46.xml" ContentType="application/vnd.openxmlformats-officedocument.presentationml.notesSlide+xml"/>
  <Override PartName="/ppt/tags/tag94.xml" ContentType="application/vnd.openxmlformats-officedocument.presentationml.tags+xml"/>
  <Override PartName="/ppt/notesSlides/notesSlide47.xml" ContentType="application/vnd.openxmlformats-officedocument.presentationml.notesSlide+xml"/>
  <Override PartName="/ppt/tags/tag95.xml" ContentType="application/vnd.openxmlformats-officedocument.presentationml.tags+xml"/>
  <Override PartName="/ppt/notesSlides/notesSlide48.xml" ContentType="application/vnd.openxmlformats-officedocument.presentationml.notesSlide+xml"/>
  <Override PartName="/ppt/tags/tag96.xml" ContentType="application/vnd.openxmlformats-officedocument.presentationml.tags+xml"/>
  <Override PartName="/ppt/notesSlides/notesSlide49.xml" ContentType="application/vnd.openxmlformats-officedocument.presentationml.notesSlide+xml"/>
  <Override PartName="/ppt/charts/chart2.xml" ContentType="application/vnd.openxmlformats-officedocument.drawingml.chart+xml"/>
  <Override PartName="/ppt/tags/tag97.xml" ContentType="application/vnd.openxmlformats-officedocument.presentationml.tags+xml"/>
  <Override PartName="/ppt/notesSlides/notesSlide50.xml" ContentType="application/vnd.openxmlformats-officedocument.presentationml.notesSlide+xml"/>
  <Override PartName="/ppt/tags/tag98.xml" ContentType="application/vnd.openxmlformats-officedocument.presentationml.tags+xml"/>
  <Override PartName="/ppt/notesSlides/notesSlide51.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52.xml" ContentType="application/vnd.openxmlformats-officedocument.presentationml.notesSlide+xml"/>
  <Override PartName="/ppt/tags/tag101.xml" ContentType="application/vnd.openxmlformats-officedocument.presentationml.tags+xml"/>
  <Override PartName="/ppt/notesSlides/notesSlide53.xml" ContentType="application/vnd.openxmlformats-officedocument.presentationml.notesSlide+xml"/>
  <Override PartName="/ppt/tags/tag102.xml" ContentType="application/vnd.openxmlformats-officedocument.presentationml.tags+xml"/>
  <Override PartName="/ppt/notesSlides/notesSlide54.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55.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56.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5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58.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59.xml" ContentType="application/vnd.openxmlformats-officedocument.presentationml.notesSlide+xml"/>
  <Override PartName="/ppt/tags/tag116.xml" ContentType="application/vnd.openxmlformats-officedocument.presentationml.tags+xml"/>
  <Override PartName="/ppt/notesSlides/notesSlide60.xml" ContentType="application/vnd.openxmlformats-officedocument.presentationml.notesSlide+xml"/>
  <Override PartName="/ppt/tags/tag117.xml" ContentType="application/vnd.openxmlformats-officedocument.presentationml.tags+xml"/>
  <Override PartName="/ppt/notesSlides/notesSlide61.xml" ContentType="application/vnd.openxmlformats-officedocument.presentationml.notesSlide+xml"/>
  <Override PartName="/ppt/tags/tag118.xml" ContentType="application/vnd.openxmlformats-officedocument.presentationml.tags+xml"/>
  <Override PartName="/ppt/notesSlides/notesSlide62.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63.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64.xml" ContentType="application/vnd.openxmlformats-officedocument.presentationml.notesSlide+xml"/>
  <Override PartName="/ppt/tags/tag125.xml" ContentType="application/vnd.openxmlformats-officedocument.presentationml.tags+xml"/>
  <Override PartName="/ppt/notesSlides/notesSlide65.xml" ContentType="application/vnd.openxmlformats-officedocument.presentationml.notesSlide+xml"/>
  <Override PartName="/ppt/tags/tag126.xml" ContentType="application/vnd.openxmlformats-officedocument.presentationml.tags+xml"/>
  <Override PartName="/ppt/notesSlides/notesSlide66.xml" ContentType="application/vnd.openxmlformats-officedocument.presentationml.notesSlide+xml"/>
  <Override PartName="/ppt/tags/tag127.xml" ContentType="application/vnd.openxmlformats-officedocument.presentationml.tags+xml"/>
  <Override PartName="/ppt/notesSlides/notesSlide67.xml" ContentType="application/vnd.openxmlformats-officedocument.presentationml.notesSlide+xml"/>
  <Override PartName="/ppt/tags/tag128.xml" ContentType="application/vnd.openxmlformats-officedocument.presentationml.tags+xml"/>
  <Override PartName="/ppt/notesSlides/notesSlide68.xml" ContentType="application/vnd.openxmlformats-officedocument.presentationml.notesSlide+xml"/>
  <Override PartName="/ppt/tags/tag129.xml" ContentType="application/vnd.openxmlformats-officedocument.presentationml.tags+xml"/>
  <Override PartName="/ppt/notesSlides/notesSlide69.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70.xml" ContentType="application/vnd.openxmlformats-officedocument.presentationml.notesSlide+xml"/>
  <Override PartName="/ppt/tags/tag133.xml" ContentType="application/vnd.openxmlformats-officedocument.presentationml.tags+xml"/>
  <Override PartName="/ppt/notesSlides/notesSlide71.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72.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73.xml" ContentType="application/vnd.openxmlformats-officedocument.presentationml.notesSlide+xml"/>
  <Override PartName="/ppt/tags/tag142.xml" ContentType="application/vnd.openxmlformats-officedocument.presentationml.tags+xml"/>
  <Override PartName="/ppt/notesSlides/notesSlide74.xml" ContentType="application/vnd.openxmlformats-officedocument.presentationml.notesSlide+xml"/>
  <Override PartName="/ppt/tags/tag143.xml" ContentType="application/vnd.openxmlformats-officedocument.presentationml.tags+xml"/>
  <Override PartName="/ppt/notesSlides/notesSlide75.xml" ContentType="application/vnd.openxmlformats-officedocument.presentationml.notesSlide+xml"/>
  <Override PartName="/ppt/tags/tag144.xml" ContentType="application/vnd.openxmlformats-officedocument.presentationml.tags+xml"/>
  <Override PartName="/ppt/notesSlides/notesSlide76.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notesSlides/notesSlide77.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notesSlides/notesSlide78.xml" ContentType="application/vnd.openxmlformats-officedocument.presentationml.notesSlide+xml"/>
  <Override PartName="/ppt/tags/tag149.xml" ContentType="application/vnd.openxmlformats-officedocument.presentationml.tags+xml"/>
  <Override PartName="/ppt/notesSlides/notesSlide79.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80.xml" ContentType="application/vnd.openxmlformats-officedocument.presentationml.notesSlide+xml"/>
  <Override PartName="/ppt/tags/tag155.xml" ContentType="application/vnd.openxmlformats-officedocument.presentationml.tags+xml"/>
  <Override PartName="/ppt/notesSlides/notesSlide81.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notesSlides/notesSlide82.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83.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notesSlides/notesSlide84.xml" ContentType="application/vnd.openxmlformats-officedocument.presentationml.notesSlide+xml"/>
  <Override PartName="/ppt/tags/tag162.xml" ContentType="application/vnd.openxmlformats-officedocument.presentationml.tags+xml"/>
  <Override PartName="/ppt/notesSlides/notesSlide85.xml" ContentType="application/vnd.openxmlformats-officedocument.presentationml.notesSlide+xml"/>
  <Override PartName="/ppt/tags/tag163.xml" ContentType="application/vnd.openxmlformats-officedocument.presentationml.tags+xml"/>
  <Override PartName="/ppt/notesSlides/notesSlide86.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87.xml" ContentType="application/vnd.openxmlformats-officedocument.presentationml.notesSlide+xml"/>
  <Override PartName="/ppt/tags/tag169.xml" ContentType="application/vnd.openxmlformats-officedocument.presentationml.tags+xml"/>
  <Override PartName="/ppt/notesSlides/notesSlide88.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89.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notesSlides/notesSlide90.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91.xml" ContentType="application/vnd.openxmlformats-officedocument.presentationml.notesSlide+xml"/>
  <Override PartName="/ppt/tags/tag186.xml" ContentType="application/vnd.openxmlformats-officedocument.presentationml.tags+xml"/>
  <Override PartName="/ppt/notesSlides/notesSlide92.xml" ContentType="application/vnd.openxmlformats-officedocument.presentationml.notesSlide+xml"/>
  <Override PartName="/ppt/tags/tag187.xml" ContentType="application/vnd.openxmlformats-officedocument.presentationml.tags+xml"/>
  <Override PartName="/ppt/notesSlides/notesSlide93.xml" ContentType="application/vnd.openxmlformats-officedocument.presentationml.notesSlide+xml"/>
  <Override PartName="/ppt/tags/tag188.xml" ContentType="application/vnd.openxmlformats-officedocument.presentationml.tags+xml"/>
  <Override PartName="/ppt/notesSlides/notesSlide94.xml" ContentType="application/vnd.openxmlformats-officedocument.presentationml.notesSlide+xml"/>
  <Override PartName="/ppt/tags/tag189.xml" ContentType="application/vnd.openxmlformats-officedocument.presentationml.tags+xml"/>
  <Override PartName="/ppt/notesSlides/notesSlide95.xml" ContentType="application/vnd.openxmlformats-officedocument.presentationml.notesSlide+xml"/>
  <Override PartName="/ppt/tags/tag190.xml" ContentType="application/vnd.openxmlformats-officedocument.presentationml.tags+xml"/>
  <Override PartName="/ppt/notesSlides/notesSlide96.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notesSlides/notesSlide97.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tags/tag193.xml" ContentType="application/vnd.openxmlformats-officedocument.presentationml.tags+xml"/>
  <Override PartName="/ppt/notesSlides/notesSlide98.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194.xml" ContentType="application/vnd.openxmlformats-officedocument.presentationml.tags+xml"/>
  <Override PartName="/ppt/notesSlides/notesSlide99.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ags/tag195.xml" ContentType="application/vnd.openxmlformats-officedocument.presentationml.tags+xml"/>
  <Override PartName="/ppt/notesSlides/notesSlide100.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notesSlides/notesSlide101.xml" ContentType="application/vnd.openxmlformats-officedocument.presentationml.notesSlide+xml"/>
  <Override PartName="/ppt/tags/tag198.xml" ContentType="application/vnd.openxmlformats-officedocument.presentationml.tags+xml"/>
  <Override PartName="/ppt/notesSlides/notesSlide102.xml" ContentType="application/vnd.openxmlformats-officedocument.presentationml.notesSlide+xml"/>
  <Override PartName="/ppt/tags/tag199.xml" ContentType="application/vnd.openxmlformats-officedocument.presentationml.tags+xml"/>
  <Override PartName="/ppt/notesSlides/notesSlide103.xml" ContentType="application/vnd.openxmlformats-officedocument.presentationml.notesSlide+xml"/>
  <Override PartName="/ppt/tags/tag200.xml" ContentType="application/vnd.openxmlformats-officedocument.presentationml.tags+xml"/>
  <Override PartName="/ppt/notesSlides/notesSlide104.xml" ContentType="application/vnd.openxmlformats-officedocument.presentationml.notesSlide+xml"/>
  <Override PartName="/ppt/tags/tag201.xml" ContentType="application/vnd.openxmlformats-officedocument.presentationml.tags+xml"/>
  <Override PartName="/ppt/notesSlides/notesSlide105.xml" ContentType="application/vnd.openxmlformats-officedocument.presentationml.notesSlide+xml"/>
  <Override PartName="/ppt/tags/tag202.xml" ContentType="application/vnd.openxmlformats-officedocument.presentationml.tags+xml"/>
  <Override PartName="/ppt/notesSlides/notesSlide106.xml" ContentType="application/vnd.openxmlformats-officedocument.presentationml.notesSlide+xml"/>
  <Override PartName="/ppt/tags/tag203.xml" ContentType="application/vnd.openxmlformats-officedocument.presentationml.tags+xml"/>
  <Override PartName="/ppt/notesSlides/notesSlide107.xml" ContentType="application/vnd.openxmlformats-officedocument.presentationml.notesSlide+xml"/>
  <Override PartName="/ppt/tags/tag204.xml" ContentType="application/vnd.openxmlformats-officedocument.presentationml.tags+xml"/>
  <Override PartName="/ppt/notesSlides/notesSlide108.xml" ContentType="application/vnd.openxmlformats-officedocument.presentationml.notesSlid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109.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notesSlides/notesSlide110.xml" ContentType="application/vnd.openxmlformats-officedocument.presentationml.notesSlide+xml"/>
  <Override PartName="/ppt/tags/tag210.xml" ContentType="application/vnd.openxmlformats-officedocument.presentationml.tags+xml"/>
  <Override PartName="/ppt/notesSlides/notesSlide111.xml" ContentType="application/vnd.openxmlformats-officedocument.presentationml.notesSlide+xml"/>
  <Override PartName="/ppt/tags/tag211.xml" ContentType="application/vnd.openxmlformats-officedocument.presentationml.tags+xml"/>
  <Override PartName="/ppt/notesSlides/notesSlide112.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notesSlides/notesSlide113.xml" ContentType="application/vnd.openxmlformats-officedocument.presentationml.notesSlide+xml"/>
  <Override PartName="/ppt/tags/tag214.xml" ContentType="application/vnd.openxmlformats-officedocument.presentationml.tags+xml"/>
  <Override PartName="/ppt/notesSlides/notesSlide114.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115.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116.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notesSlides/notesSlide117.xml" ContentType="application/vnd.openxmlformats-officedocument.presentationml.notesSlide+xml"/>
  <Override PartName="/ppt/tags/tag232.xml" ContentType="application/vnd.openxmlformats-officedocument.presentationml.tags+xml"/>
  <Override PartName="/ppt/tags/tag233.xml" ContentType="application/vnd.openxmlformats-officedocument.presentationml.tags+xml"/>
  <Override PartName="/ppt/notesSlides/notesSlide118.xml" ContentType="application/vnd.openxmlformats-officedocument.presentationml.notesSlide+xml"/>
  <Override PartName="/ppt/tags/tag234.xml" ContentType="application/vnd.openxmlformats-officedocument.presentationml.tags+xml"/>
  <Override PartName="/ppt/tags/tag235.xml" ContentType="application/vnd.openxmlformats-officedocument.presentationml.tags+xml"/>
  <Override PartName="/ppt/notesSlides/notesSlide119.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120.xml" ContentType="application/vnd.openxmlformats-officedocument.presentationml.notesSlide+xml"/>
  <Override PartName="/ppt/tags/tag240.xml" ContentType="application/vnd.openxmlformats-officedocument.presentationml.tags+xml"/>
  <Override PartName="/ppt/notesSlides/notesSlide121.xml" ContentType="application/vnd.openxmlformats-officedocument.presentationml.notesSlide+xml"/>
  <Override PartName="/ppt/tags/tag241.xml" ContentType="application/vnd.openxmlformats-officedocument.presentationml.tags+xml"/>
  <Override PartName="/ppt/notesSlides/notesSlide122.xml" ContentType="application/vnd.openxmlformats-officedocument.presentationml.notesSlide+xml"/>
  <Override PartName="/ppt/tags/tag242.xml" ContentType="application/vnd.openxmlformats-officedocument.presentationml.tags+xml"/>
  <Override PartName="/ppt/notesSlides/notesSlide123.xml" ContentType="application/vnd.openxmlformats-officedocument.presentationml.notesSlide+xml"/>
  <Override PartName="/ppt/tags/tag243.xml" ContentType="application/vnd.openxmlformats-officedocument.presentationml.tags+xml"/>
  <Override PartName="/ppt/notesSlides/notesSlide124.xml" ContentType="application/vnd.openxmlformats-officedocument.presentationml.notesSlide+xml"/>
  <Override PartName="/ppt/tags/tag244.xml" ContentType="application/vnd.openxmlformats-officedocument.presentationml.tags+xml"/>
  <Override PartName="/ppt/notesSlides/notesSlide125.xml" ContentType="application/vnd.openxmlformats-officedocument.presentationml.notesSlide+xml"/>
  <Override PartName="/ppt/tags/tag245.xml" ContentType="application/vnd.openxmlformats-officedocument.presentationml.tags+xml"/>
  <Override PartName="/ppt/notesSlides/notesSlide126.xml" ContentType="application/vnd.openxmlformats-officedocument.presentationml.notesSlide+xml"/>
  <Override PartName="/ppt/tags/tag246.xml" ContentType="application/vnd.openxmlformats-officedocument.presentationml.tags+xml"/>
  <Override PartName="/ppt/notesSlides/notesSlide127.xml" ContentType="application/vnd.openxmlformats-officedocument.presentationml.notesSlide+xml"/>
  <Override PartName="/ppt/tags/tag247.xml" ContentType="application/vnd.openxmlformats-officedocument.presentationml.tags+xml"/>
  <Override PartName="/ppt/notesSlides/notesSlide128.xml" ContentType="application/vnd.openxmlformats-officedocument.presentationml.notesSlide+xml"/>
  <Override PartName="/ppt/tags/tag248.xml" ContentType="application/vnd.openxmlformats-officedocument.presentationml.tags+xml"/>
  <Override PartName="/ppt/notesSlides/notesSlide129.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notesSlides/notesSlide130.xml" ContentType="application/vnd.openxmlformats-officedocument.presentationml.notesSlide+xml"/>
  <Override PartName="/ppt/tags/tag252.xml" ContentType="application/vnd.openxmlformats-officedocument.presentationml.tags+xml"/>
  <Override PartName="/ppt/notesSlides/notesSlide131.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notesSlides/notesSlide132.xml" ContentType="application/vnd.openxmlformats-officedocument.presentationml.notesSlide+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133.xml" ContentType="application/vnd.openxmlformats-officedocument.presentationml.notesSlide+xml"/>
  <Override PartName="/ppt/tags/tag258.xml" ContentType="application/vnd.openxmlformats-officedocument.presentationml.tags+xml"/>
  <Override PartName="/ppt/notesSlides/notesSlide134.xml" ContentType="application/vnd.openxmlformats-officedocument.presentationml.notesSlide+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135.xml" ContentType="application/vnd.openxmlformats-officedocument.presentationml.notesSlide+xml"/>
  <Override PartName="/ppt/tags/tag265.xml" ContentType="application/vnd.openxmlformats-officedocument.presentationml.tags+xml"/>
  <Override PartName="/ppt/notesSlides/notesSlide136.xml" ContentType="application/vnd.openxmlformats-officedocument.presentationml.notesSlide+xml"/>
  <Override PartName="/ppt/tags/tag266.xml" ContentType="application/vnd.openxmlformats-officedocument.presentationml.tags+xml"/>
  <Override PartName="/ppt/notesSlides/notesSlide137.xml" ContentType="application/vnd.openxmlformats-officedocument.presentationml.notesSlide+xml"/>
  <Override PartName="/ppt/tags/tag267.xml" ContentType="application/vnd.openxmlformats-officedocument.presentationml.tags+xml"/>
  <Override PartName="/ppt/notesSlides/notesSlide138.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notesSlides/notesSlide139.xml" ContentType="application/vnd.openxmlformats-officedocument.presentationml.notesSlid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notesSlides/notesSlide140.xml" ContentType="application/vnd.openxmlformats-officedocument.presentationml.notesSlide+xml"/>
  <Override PartName="/ppt/tags/tag289.xml" ContentType="application/vnd.openxmlformats-officedocument.presentationml.tags+xml"/>
  <Override PartName="/ppt/notesSlides/notesSlide141.xml" ContentType="application/vnd.openxmlformats-officedocument.presentationml.notesSlide+xml"/>
  <Override PartName="/ppt/tags/tag290.xml" ContentType="application/vnd.openxmlformats-officedocument.presentationml.tags+xml"/>
  <Override PartName="/ppt/notesSlides/notesSlide142.xml" ContentType="application/vnd.openxmlformats-officedocument.presentationml.notesSlide+xml"/>
  <Override PartName="/ppt/tags/tag291.xml" ContentType="application/vnd.openxmlformats-officedocument.presentationml.tags+xml"/>
  <Override PartName="/ppt/notesSlides/notesSlide143.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notesSlides/notesSlide144.xml" ContentType="application/vnd.openxmlformats-officedocument.presentationml.notesSlide+xml"/>
  <Override PartName="/ppt/tags/tag294.xml" ContentType="application/vnd.openxmlformats-officedocument.presentationml.tags+xml"/>
  <Override PartName="/ppt/notesSlides/notesSlide145.xml" ContentType="application/vnd.openxmlformats-officedocument.presentationml.notesSlide+xml"/>
  <Override PartName="/ppt/tags/tag295.xml" ContentType="application/vnd.openxmlformats-officedocument.presentationml.tags+xml"/>
  <Override PartName="/ppt/notesSlides/notesSlide146.xml" ContentType="application/vnd.openxmlformats-officedocument.presentationml.notesSlide+xml"/>
  <Override PartName="/ppt/tags/tag296.xml" ContentType="application/vnd.openxmlformats-officedocument.presentationml.tags+xml"/>
  <Override PartName="/ppt/notesSlides/notesSlide147.xml" ContentType="application/vnd.openxmlformats-officedocument.presentationml.notesSlide+xml"/>
  <Override PartName="/ppt/tags/tag297.xml" ContentType="application/vnd.openxmlformats-officedocument.presentationml.tags+xml"/>
  <Override PartName="/ppt/notesSlides/notesSlide148.xml" ContentType="application/vnd.openxmlformats-officedocument.presentationml.notesSlide+xml"/>
  <Override PartName="/ppt/tags/tag298.xml" ContentType="application/vnd.openxmlformats-officedocument.presentationml.tags+xml"/>
  <Override PartName="/ppt/notesSlides/notesSlide149.xml" ContentType="application/vnd.openxmlformats-officedocument.presentationml.notesSlide+xml"/>
  <Override PartName="/ppt/tags/tag299.xml" ContentType="application/vnd.openxmlformats-officedocument.presentationml.tags+xml"/>
  <Override PartName="/ppt/notesSlides/notesSlide150.xml" ContentType="application/vnd.openxmlformats-officedocument.presentationml.notesSlide+xml"/>
  <Override PartName="/ppt/tags/tag300.xml" ContentType="application/vnd.openxmlformats-officedocument.presentationml.tags+xml"/>
  <Override PartName="/ppt/notesSlides/notesSlide151.xml" ContentType="application/vnd.openxmlformats-officedocument.presentationml.notesSlide+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notesSlides/notesSlide152.xml" ContentType="application/vnd.openxmlformats-officedocument.presentationml.notesSlide+xml"/>
  <Override PartName="/ppt/tags/tag304.xml" ContentType="application/vnd.openxmlformats-officedocument.presentationml.tags+xml"/>
  <Override PartName="/ppt/notesSlides/notesSlide153.xml" ContentType="application/vnd.openxmlformats-officedocument.presentationml.notesSlide+xml"/>
  <Override PartName="/ppt/tags/tag305.xml" ContentType="application/vnd.openxmlformats-officedocument.presentationml.tags+xml"/>
  <Override PartName="/ppt/notesSlides/notesSlide154.xml" ContentType="application/vnd.openxmlformats-officedocument.presentationml.notesSlide+xml"/>
  <Override PartName="/ppt/tags/tag306.xml" ContentType="application/vnd.openxmlformats-officedocument.presentationml.tags+xml"/>
  <Override PartName="/ppt/tags/tag307.xml" ContentType="application/vnd.openxmlformats-officedocument.presentationml.tags+xml"/>
  <Override PartName="/ppt/notesSlides/notesSlide155.xml" ContentType="application/vnd.openxmlformats-officedocument.presentationml.notesSlide+xml"/>
  <Override PartName="/ppt/tags/tag308.xml" ContentType="application/vnd.openxmlformats-officedocument.presentationml.tags+xml"/>
  <Override PartName="/ppt/tags/tag309.xml" ContentType="application/vnd.openxmlformats-officedocument.presentationml.tags+xml"/>
  <Override PartName="/ppt/notesSlides/notesSlide156.xml" ContentType="application/vnd.openxmlformats-officedocument.presentationml.notesSlide+xml"/>
  <Override PartName="/ppt/tags/tag310.xml" ContentType="application/vnd.openxmlformats-officedocument.presentationml.tags+xml"/>
  <Override PartName="/ppt/notesSlides/notesSlide157.xml" ContentType="application/vnd.openxmlformats-officedocument.presentationml.notesSlide+xml"/>
  <Override PartName="/ppt/tags/tag311.xml" ContentType="application/vnd.openxmlformats-officedocument.presentationml.tags+xml"/>
  <Override PartName="/ppt/notesSlides/notesSlide158.xml" ContentType="application/vnd.openxmlformats-officedocument.presentationml.notesSlide+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notesSlides/notesSlide159.xml" ContentType="application/vnd.openxmlformats-officedocument.presentationml.notesSlide+xml"/>
  <Override PartName="/ppt/tags/tag321.xml" ContentType="application/vnd.openxmlformats-officedocument.presentationml.tags+xml"/>
  <Override PartName="/ppt/notesSlides/notesSlide160.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notesSlides/notesSlide161.xml" ContentType="application/vnd.openxmlformats-officedocument.presentationml.notesSlide+xml"/>
  <Override PartName="/ppt/tags/tag326.xml" ContentType="application/vnd.openxmlformats-officedocument.presentationml.tags+xml"/>
  <Override PartName="/ppt/tags/tag327.xml" ContentType="application/vnd.openxmlformats-officedocument.presentationml.tags+xml"/>
  <Override PartName="/ppt/notesSlides/notesSlide162.xml" ContentType="application/vnd.openxmlformats-officedocument.presentationml.notesSlide+xml"/>
  <Override PartName="/ppt/tags/tag328.xml" ContentType="application/vnd.openxmlformats-officedocument.presentationml.tags+xml"/>
  <Override PartName="/ppt/notesSlides/notesSlide163.xml" ContentType="application/vnd.openxmlformats-officedocument.presentationml.notesSlide+xml"/>
  <Override PartName="/ppt/tags/tag329.xml" ContentType="application/vnd.openxmlformats-officedocument.presentationml.tags+xml"/>
  <Override PartName="/ppt/notesSlides/notesSlide164.xml" ContentType="application/vnd.openxmlformats-officedocument.presentationml.notesSlide+xml"/>
  <Override PartName="/ppt/tags/tag330.xml" ContentType="application/vnd.openxmlformats-officedocument.presentationml.tags+xml"/>
  <Override PartName="/ppt/notesSlides/notesSlide165.xml" ContentType="application/vnd.openxmlformats-officedocument.presentationml.notesSlide+xml"/>
  <Override PartName="/ppt/tags/tag33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945" r:id="rId4"/>
  </p:sldMasterIdLst>
  <p:notesMasterIdLst>
    <p:notesMasterId r:id="rId326"/>
  </p:notesMasterIdLst>
  <p:handoutMasterIdLst>
    <p:handoutMasterId r:id="rId327"/>
  </p:handoutMasterIdLst>
  <p:sldIdLst>
    <p:sldId id="436" r:id="rId5"/>
    <p:sldId id="1155" r:id="rId6"/>
    <p:sldId id="262" r:id="rId7"/>
    <p:sldId id="732" r:id="rId8"/>
    <p:sldId id="733" r:id="rId9"/>
    <p:sldId id="734" r:id="rId10"/>
    <p:sldId id="737" r:id="rId11"/>
    <p:sldId id="1152" r:id="rId12"/>
    <p:sldId id="462" r:id="rId13"/>
    <p:sldId id="463" r:id="rId14"/>
    <p:sldId id="466" r:id="rId15"/>
    <p:sldId id="467" r:id="rId16"/>
    <p:sldId id="469" r:id="rId17"/>
    <p:sldId id="464" r:id="rId18"/>
    <p:sldId id="579" r:id="rId19"/>
    <p:sldId id="580" r:id="rId20"/>
    <p:sldId id="581" r:id="rId21"/>
    <p:sldId id="582" r:id="rId22"/>
    <p:sldId id="583" r:id="rId23"/>
    <p:sldId id="816" r:id="rId24"/>
    <p:sldId id="880" r:id="rId25"/>
    <p:sldId id="1021" r:id="rId26"/>
    <p:sldId id="1022" r:id="rId27"/>
    <p:sldId id="1024" r:id="rId28"/>
    <p:sldId id="1133" r:id="rId29"/>
    <p:sldId id="1056" r:id="rId30"/>
    <p:sldId id="1071" r:id="rId31"/>
    <p:sldId id="1013" r:id="rId32"/>
    <p:sldId id="1014" r:id="rId33"/>
    <p:sldId id="610" r:id="rId34"/>
    <p:sldId id="646" r:id="rId35"/>
    <p:sldId id="980" r:id="rId36"/>
    <p:sldId id="605" r:id="rId37"/>
    <p:sldId id="629" r:id="rId38"/>
    <p:sldId id="975" r:id="rId39"/>
    <p:sldId id="1091" r:id="rId40"/>
    <p:sldId id="1067" r:id="rId41"/>
    <p:sldId id="555" r:id="rId42"/>
    <p:sldId id="1068" r:id="rId43"/>
    <p:sldId id="1157" r:id="rId44"/>
    <p:sldId id="591" r:id="rId45"/>
    <p:sldId id="1127" r:id="rId46"/>
    <p:sldId id="1111" r:id="rId47"/>
    <p:sldId id="1112" r:id="rId48"/>
    <p:sldId id="742" r:id="rId49"/>
    <p:sldId id="1025" r:id="rId50"/>
    <p:sldId id="1030" r:id="rId51"/>
    <p:sldId id="1060" r:id="rId52"/>
    <p:sldId id="1050" r:id="rId53"/>
    <p:sldId id="1057" r:id="rId54"/>
    <p:sldId id="1059" r:id="rId55"/>
    <p:sldId id="1041" r:id="rId56"/>
    <p:sldId id="1051" r:id="rId57"/>
    <p:sldId id="1045" r:id="rId58"/>
    <p:sldId id="562" r:id="rId59"/>
    <p:sldId id="1128" r:id="rId60"/>
    <p:sldId id="477" r:id="rId61"/>
    <p:sldId id="1026" r:id="rId62"/>
    <p:sldId id="803" r:id="rId63"/>
    <p:sldId id="929" r:id="rId64"/>
    <p:sldId id="550" r:id="rId65"/>
    <p:sldId id="1076" r:id="rId66"/>
    <p:sldId id="1018" r:id="rId67"/>
    <p:sldId id="1037" r:id="rId68"/>
    <p:sldId id="595" r:id="rId69"/>
    <p:sldId id="1064" r:id="rId70"/>
    <p:sldId id="594" r:id="rId71"/>
    <p:sldId id="601" r:id="rId72"/>
    <p:sldId id="842" r:id="rId73"/>
    <p:sldId id="1058" r:id="rId74"/>
    <p:sldId id="547" r:id="rId75"/>
    <p:sldId id="638" r:id="rId76"/>
    <p:sldId id="637" r:id="rId77"/>
    <p:sldId id="604" r:id="rId78"/>
    <p:sldId id="597" r:id="rId79"/>
    <p:sldId id="533" r:id="rId80"/>
    <p:sldId id="978" r:id="rId81"/>
    <p:sldId id="1108" r:id="rId82"/>
    <p:sldId id="567" r:id="rId83"/>
    <p:sldId id="1100" r:id="rId84"/>
    <p:sldId id="1065" r:id="rId85"/>
    <p:sldId id="569" r:id="rId86"/>
    <p:sldId id="593" r:id="rId87"/>
    <p:sldId id="1113" r:id="rId88"/>
    <p:sldId id="537" r:id="rId89"/>
    <p:sldId id="1125" r:id="rId90"/>
    <p:sldId id="1126" r:id="rId91"/>
    <p:sldId id="1106" r:id="rId92"/>
    <p:sldId id="1131" r:id="rId93"/>
    <p:sldId id="714" r:id="rId94"/>
    <p:sldId id="1085" r:id="rId95"/>
    <p:sldId id="564" r:id="rId96"/>
    <p:sldId id="1035" r:id="rId97"/>
    <p:sldId id="1079" r:id="rId98"/>
    <p:sldId id="1033" r:id="rId99"/>
    <p:sldId id="1086" r:id="rId100"/>
    <p:sldId id="1093" r:id="rId101"/>
    <p:sldId id="1097" r:id="rId102"/>
    <p:sldId id="556" r:id="rId103"/>
    <p:sldId id="557" r:id="rId104"/>
    <p:sldId id="473" r:id="rId105"/>
    <p:sldId id="546" r:id="rId106"/>
    <p:sldId id="624" r:id="rId107"/>
    <p:sldId id="615" r:id="rId108"/>
    <p:sldId id="1115" r:id="rId109"/>
    <p:sldId id="1117" r:id="rId110"/>
    <p:sldId id="1123" r:id="rId111"/>
    <p:sldId id="1121" r:id="rId112"/>
    <p:sldId id="792" r:id="rId113"/>
    <p:sldId id="886" r:id="rId114"/>
    <p:sldId id="821" r:id="rId115"/>
    <p:sldId id="460" r:id="rId116"/>
    <p:sldId id="531" r:id="rId117"/>
    <p:sldId id="525" r:id="rId118"/>
    <p:sldId id="1081" r:id="rId119"/>
    <p:sldId id="1082" r:id="rId120"/>
    <p:sldId id="1158" r:id="rId121"/>
    <p:sldId id="459" r:id="rId122"/>
    <p:sldId id="565" r:id="rId123"/>
    <p:sldId id="639" r:id="rId124"/>
    <p:sldId id="956" r:id="rId125"/>
    <p:sldId id="554" r:id="rId126"/>
    <p:sldId id="563" r:id="rId127"/>
    <p:sldId id="568" r:id="rId128"/>
    <p:sldId id="809" r:id="rId129"/>
    <p:sldId id="653" r:id="rId130"/>
    <p:sldId id="651" r:id="rId131"/>
    <p:sldId id="625" r:id="rId132"/>
    <p:sldId id="613" r:id="rId133"/>
    <p:sldId id="558" r:id="rId134"/>
    <p:sldId id="817" r:id="rId135"/>
    <p:sldId id="877" r:id="rId136"/>
    <p:sldId id="1094" r:id="rId137"/>
    <p:sldId id="1095" r:id="rId138"/>
    <p:sldId id="552" r:id="rId139"/>
    <p:sldId id="458" r:id="rId140"/>
    <p:sldId id="1044" r:id="rId141"/>
    <p:sldId id="887" r:id="rId142"/>
    <p:sldId id="578" r:id="rId143"/>
    <p:sldId id="576" r:id="rId144"/>
    <p:sldId id="553" r:id="rId145"/>
    <p:sldId id="831" r:id="rId146"/>
    <p:sldId id="920" r:id="rId147"/>
    <p:sldId id="577" r:id="rId148"/>
    <p:sldId id="1048" r:id="rId149"/>
    <p:sldId id="841" r:id="rId150"/>
    <p:sldId id="830" r:id="rId151"/>
    <p:sldId id="649" r:id="rId152"/>
    <p:sldId id="858" r:id="rId153"/>
    <p:sldId id="845" r:id="rId154"/>
    <p:sldId id="861" r:id="rId155"/>
    <p:sldId id="572" r:id="rId156"/>
    <p:sldId id="1047" r:id="rId157"/>
    <p:sldId id="611" r:id="rId158"/>
    <p:sldId id="740" r:id="rId159"/>
    <p:sldId id="905" r:id="rId160"/>
    <p:sldId id="566" r:id="rId161"/>
    <p:sldId id="878" r:id="rId162"/>
    <p:sldId id="1104" r:id="rId163"/>
    <p:sldId id="549" r:id="rId164"/>
    <p:sldId id="551" r:id="rId165"/>
    <p:sldId id="934" r:id="rId166"/>
    <p:sldId id="891" r:id="rId167"/>
    <p:sldId id="475" r:id="rId168"/>
    <p:sldId id="1193" r:id="rId169"/>
    <p:sldId id="1194" r:id="rId170"/>
    <p:sldId id="1195" r:id="rId171"/>
    <p:sldId id="1196" r:id="rId172"/>
    <p:sldId id="1197" r:id="rId173"/>
    <p:sldId id="1198" r:id="rId174"/>
    <p:sldId id="1199" r:id="rId175"/>
    <p:sldId id="599" r:id="rId176"/>
    <p:sldId id="600" r:id="rId177"/>
    <p:sldId id="648" r:id="rId178"/>
    <p:sldId id="805" r:id="rId179"/>
    <p:sldId id="893" r:id="rId180"/>
    <p:sldId id="834" r:id="rId181"/>
    <p:sldId id="881" r:id="rId182"/>
    <p:sldId id="885" r:id="rId183"/>
    <p:sldId id="592" r:id="rId184"/>
    <p:sldId id="930" r:id="rId185"/>
    <p:sldId id="935" r:id="rId186"/>
    <p:sldId id="1002" r:id="rId187"/>
    <p:sldId id="1004" r:id="rId188"/>
    <p:sldId id="491" r:id="rId189"/>
    <p:sldId id="762" r:id="rId190"/>
    <p:sldId id="754" r:id="rId191"/>
    <p:sldId id="973" r:id="rId192"/>
    <p:sldId id="904" r:id="rId193"/>
    <p:sldId id="497" r:id="rId194"/>
    <p:sldId id="499" r:id="rId195"/>
    <p:sldId id="493" r:id="rId196"/>
    <p:sldId id="536" r:id="rId197"/>
    <p:sldId id="903" r:id="rId198"/>
    <p:sldId id="757" r:id="rId199"/>
    <p:sldId id="784" r:id="rId200"/>
    <p:sldId id="535" r:id="rId201"/>
    <p:sldId id="756" r:id="rId202"/>
    <p:sldId id="500" r:id="rId203"/>
    <p:sldId id="744" r:id="rId204"/>
    <p:sldId id="749" r:id="rId205"/>
    <p:sldId id="983" r:id="rId206"/>
    <p:sldId id="970" r:id="rId207"/>
    <p:sldId id="971" r:id="rId208"/>
    <p:sldId id="829" r:id="rId209"/>
    <p:sldId id="688" r:id="rId210"/>
    <p:sldId id="1213" r:id="rId211"/>
    <p:sldId id="1156" r:id="rId212"/>
    <p:sldId id="682" r:id="rId213"/>
    <p:sldId id="972" r:id="rId214"/>
    <p:sldId id="542" r:id="rId215"/>
    <p:sldId id="825" r:id="rId216"/>
    <p:sldId id="1214" r:id="rId217"/>
    <p:sldId id="1215" r:id="rId218"/>
    <p:sldId id="919" r:id="rId219"/>
    <p:sldId id="1216" r:id="rId220"/>
    <p:sldId id="1217" r:id="rId221"/>
    <p:sldId id="705" r:id="rId222"/>
    <p:sldId id="897" r:id="rId223"/>
    <p:sldId id="1218" r:id="rId224"/>
    <p:sldId id="545" r:id="rId225"/>
    <p:sldId id="674" r:id="rId226"/>
    <p:sldId id="894" r:id="rId227"/>
    <p:sldId id="1220" r:id="rId228"/>
    <p:sldId id="1221" r:id="rId229"/>
    <p:sldId id="811" r:id="rId230"/>
    <p:sldId id="1222" r:id="rId231"/>
    <p:sldId id="1061" r:id="rId232"/>
    <p:sldId id="606" r:id="rId233"/>
    <p:sldId id="644" r:id="rId234"/>
    <p:sldId id="645" r:id="rId235"/>
    <p:sldId id="747" r:id="rId236"/>
    <p:sldId id="763" r:id="rId237"/>
    <p:sldId id="1234" r:id="rId238"/>
    <p:sldId id="1235" r:id="rId239"/>
    <p:sldId id="1236" r:id="rId240"/>
    <p:sldId id="1237" r:id="rId241"/>
    <p:sldId id="1238" r:id="rId242"/>
    <p:sldId id="1239" r:id="rId243"/>
    <p:sldId id="815" r:id="rId244"/>
    <p:sldId id="1240" r:id="rId245"/>
    <p:sldId id="953" r:id="rId246"/>
    <p:sldId id="617" r:id="rId247"/>
    <p:sldId id="1223" r:id="rId248"/>
    <p:sldId id="1224" r:id="rId249"/>
    <p:sldId id="1225" r:id="rId250"/>
    <p:sldId id="1226" r:id="rId251"/>
    <p:sldId id="1227" r:id="rId252"/>
    <p:sldId id="668" r:id="rId253"/>
    <p:sldId id="1228" r:id="rId254"/>
    <p:sldId id="771" r:id="rId255"/>
    <p:sldId id="1229" r:id="rId256"/>
    <p:sldId id="962" r:id="rId257"/>
    <p:sldId id="963" r:id="rId258"/>
    <p:sldId id="964" r:id="rId259"/>
    <p:sldId id="1230" r:id="rId260"/>
    <p:sldId id="985" r:id="rId261"/>
    <p:sldId id="1231" r:id="rId262"/>
    <p:sldId id="989" r:id="rId263"/>
    <p:sldId id="1232" r:id="rId264"/>
    <p:sldId id="1252" r:id="rId265"/>
    <p:sldId id="1253" r:id="rId266"/>
    <p:sldId id="1254" r:id="rId267"/>
    <p:sldId id="1255" r:id="rId268"/>
    <p:sldId id="1256" r:id="rId269"/>
    <p:sldId id="1257" r:id="rId270"/>
    <p:sldId id="1241" r:id="rId271"/>
    <p:sldId id="453" r:id="rId272"/>
    <p:sldId id="471" r:id="rId273"/>
    <p:sldId id="480" r:id="rId274"/>
    <p:sldId id="481" r:id="rId275"/>
    <p:sldId id="482" r:id="rId276"/>
    <p:sldId id="483" r:id="rId277"/>
    <p:sldId id="484" r:id="rId278"/>
    <p:sldId id="485" r:id="rId279"/>
    <p:sldId id="488" r:id="rId280"/>
    <p:sldId id="490" r:id="rId281"/>
    <p:sldId id="907" r:id="rId282"/>
    <p:sldId id="857" r:id="rId283"/>
    <p:sldId id="931" r:id="rId284"/>
    <p:sldId id="990" r:id="rId285"/>
    <p:sldId id="796" r:id="rId286"/>
    <p:sldId id="544" r:id="rId287"/>
    <p:sldId id="1055" r:id="rId288"/>
    <p:sldId id="957" r:id="rId289"/>
    <p:sldId id="822" r:id="rId290"/>
    <p:sldId id="530" r:id="rId291"/>
    <p:sldId id="560" r:id="rId292"/>
    <p:sldId id="561" r:id="rId293"/>
    <p:sldId id="559" r:id="rId294"/>
    <p:sldId id="529" r:id="rId295"/>
    <p:sldId id="1098" r:id="rId296"/>
    <p:sldId id="575" r:id="rId297"/>
    <p:sldId id="457" r:id="rId298"/>
    <p:sldId id="534" r:id="rId299"/>
    <p:sldId id="584" r:id="rId300"/>
    <p:sldId id="1099" r:id="rId301"/>
    <p:sldId id="951" r:id="rId302"/>
    <p:sldId id="813" r:id="rId303"/>
    <p:sldId id="1242" r:id="rId304"/>
    <p:sldId id="1243" r:id="rId305"/>
    <p:sldId id="1244" r:id="rId306"/>
    <p:sldId id="528" r:id="rId307"/>
    <p:sldId id="1245" r:id="rId308"/>
    <p:sldId id="1246" r:id="rId309"/>
    <p:sldId id="626" r:id="rId310"/>
    <p:sldId id="914" r:id="rId311"/>
    <p:sldId id="1247" r:id="rId312"/>
    <p:sldId id="697" r:id="rId313"/>
    <p:sldId id="912" r:id="rId314"/>
    <p:sldId id="1248" r:id="rId315"/>
    <p:sldId id="799" r:id="rId316"/>
    <p:sldId id="1249" r:id="rId317"/>
    <p:sldId id="853" r:id="rId318"/>
    <p:sldId id="1005" r:id="rId319"/>
    <p:sldId id="1006" r:id="rId320"/>
    <p:sldId id="1007" r:id="rId321"/>
    <p:sldId id="1250" r:id="rId322"/>
    <p:sldId id="826" r:id="rId323"/>
    <p:sldId id="1251" r:id="rId324"/>
    <p:sldId id="1258" r:id="rId325"/>
  </p:sldIdLst>
  <p:sldSz cx="12192000" cy="6858000"/>
  <p:notesSz cx="7315200" cy="9601200"/>
  <p:custDataLst>
    <p:tags r:id="rId3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6A0F4AD-7C32-461B-A0E5-4C652931DCC5}">
          <p14:sldIdLst>
            <p14:sldId id="436"/>
            <p14:sldId id="1155"/>
            <p14:sldId id="262"/>
          </p14:sldIdLst>
        </p14:section>
        <p14:section name="Animated" id="{A5B75DA0-1BDE-4BCE-8F66-95710D39E296}">
          <p14:sldIdLst>
            <p14:sldId id="732"/>
            <p14:sldId id="733"/>
            <p14:sldId id="734"/>
            <p14:sldId id="737"/>
            <p14:sldId id="1152"/>
          </p14:sldIdLst>
        </p14:section>
        <p14:section name="Building blocks" id="{557C1203-4CB6-4879-9C7E-3525ECC3B5C3}">
          <p14:sldIdLst>
            <p14:sldId id="462"/>
            <p14:sldId id="463"/>
            <p14:sldId id="466"/>
            <p14:sldId id="467"/>
            <p14:sldId id="469"/>
            <p14:sldId id="464"/>
            <p14:sldId id="579"/>
            <p14:sldId id="580"/>
            <p14:sldId id="581"/>
            <p14:sldId id="582"/>
            <p14:sldId id="583"/>
            <p14:sldId id="816"/>
          </p14:sldIdLst>
        </p14:section>
        <p14:section name="Bullet / numbering_1" id="{3D322EF8-E3FC-49C0-84A2-B282C8895E0A}">
          <p14:sldIdLst>
            <p14:sldId id="880"/>
            <p14:sldId id="1021"/>
            <p14:sldId id="1022"/>
            <p14:sldId id="1024"/>
            <p14:sldId id="1133"/>
            <p14:sldId id="1056"/>
          </p14:sldIdLst>
        </p14:section>
        <p14:section name="Bullet / numbering_2" id="{9AE95B2D-2D9A-4233-B23C-456EC6B67DFF}">
          <p14:sldIdLst>
            <p14:sldId id="1071"/>
            <p14:sldId id="1013"/>
            <p14:sldId id="1014"/>
            <p14:sldId id="610"/>
            <p14:sldId id="646"/>
            <p14:sldId id="980"/>
            <p14:sldId id="605"/>
            <p14:sldId id="629"/>
            <p14:sldId id="975"/>
            <p14:sldId id="1091"/>
            <p14:sldId id="1067"/>
            <p14:sldId id="555"/>
            <p14:sldId id="1068"/>
            <p14:sldId id="1157"/>
            <p14:sldId id="591"/>
            <p14:sldId id="1127"/>
            <p14:sldId id="1111"/>
            <p14:sldId id="1112"/>
            <p14:sldId id="742"/>
            <p14:sldId id="1025"/>
            <p14:sldId id="1030"/>
            <p14:sldId id="1060"/>
            <p14:sldId id="1050"/>
            <p14:sldId id="1057"/>
            <p14:sldId id="1059"/>
            <p14:sldId id="1041"/>
            <p14:sldId id="1051"/>
            <p14:sldId id="1045"/>
            <p14:sldId id="562"/>
            <p14:sldId id="1128"/>
            <p14:sldId id="477"/>
            <p14:sldId id="1026"/>
            <p14:sldId id="803"/>
            <p14:sldId id="929"/>
            <p14:sldId id="550"/>
            <p14:sldId id="1076"/>
          </p14:sldIdLst>
        </p14:section>
        <p14:section name="Bullet / numbering_3" id="{6FF0B238-8CE3-402D-B797-C43767B5E1E7}">
          <p14:sldIdLst>
            <p14:sldId id="1018"/>
            <p14:sldId id="1037"/>
            <p14:sldId id="595"/>
            <p14:sldId id="1064"/>
            <p14:sldId id="594"/>
            <p14:sldId id="601"/>
            <p14:sldId id="842"/>
            <p14:sldId id="1058"/>
            <p14:sldId id="547"/>
            <p14:sldId id="638"/>
            <p14:sldId id="637"/>
            <p14:sldId id="604"/>
            <p14:sldId id="597"/>
            <p14:sldId id="533"/>
            <p14:sldId id="978"/>
            <p14:sldId id="1108"/>
            <p14:sldId id="567"/>
            <p14:sldId id="1100"/>
            <p14:sldId id="1065"/>
            <p14:sldId id="569"/>
            <p14:sldId id="593"/>
            <p14:sldId id="1113"/>
            <p14:sldId id="537"/>
            <p14:sldId id="1125"/>
            <p14:sldId id="1126"/>
            <p14:sldId id="1106"/>
            <p14:sldId id="1131"/>
            <p14:sldId id="714"/>
            <p14:sldId id="1085"/>
            <p14:sldId id="564"/>
            <p14:sldId id="1035"/>
            <p14:sldId id="1079"/>
            <p14:sldId id="1033"/>
            <p14:sldId id="1086"/>
            <p14:sldId id="1093"/>
            <p14:sldId id="1097"/>
            <p14:sldId id="556"/>
            <p14:sldId id="557"/>
            <p14:sldId id="473"/>
            <p14:sldId id="546"/>
            <p14:sldId id="624"/>
            <p14:sldId id="615"/>
            <p14:sldId id="1115"/>
            <p14:sldId id="1117"/>
            <p14:sldId id="1123"/>
            <p14:sldId id="1121"/>
            <p14:sldId id="792"/>
            <p14:sldId id="886"/>
            <p14:sldId id="821"/>
            <p14:sldId id="460"/>
            <p14:sldId id="531"/>
            <p14:sldId id="525"/>
            <p14:sldId id="1081"/>
            <p14:sldId id="1082"/>
            <p14:sldId id="1158"/>
            <p14:sldId id="459"/>
            <p14:sldId id="565"/>
            <p14:sldId id="639"/>
            <p14:sldId id="956"/>
            <p14:sldId id="554"/>
            <p14:sldId id="563"/>
            <p14:sldId id="568"/>
            <p14:sldId id="809"/>
            <p14:sldId id="653"/>
            <p14:sldId id="651"/>
            <p14:sldId id="625"/>
            <p14:sldId id="613"/>
            <p14:sldId id="558"/>
            <p14:sldId id="817"/>
            <p14:sldId id="877"/>
            <p14:sldId id="1094"/>
            <p14:sldId id="1095"/>
            <p14:sldId id="552"/>
            <p14:sldId id="458"/>
            <p14:sldId id="1044"/>
            <p14:sldId id="887"/>
            <p14:sldId id="578"/>
            <p14:sldId id="576"/>
            <p14:sldId id="553"/>
            <p14:sldId id="831"/>
            <p14:sldId id="920"/>
            <p14:sldId id="577"/>
            <p14:sldId id="1048"/>
            <p14:sldId id="841"/>
            <p14:sldId id="830"/>
            <p14:sldId id="649"/>
            <p14:sldId id="858"/>
            <p14:sldId id="845"/>
            <p14:sldId id="861"/>
            <p14:sldId id="572"/>
            <p14:sldId id="1047"/>
            <p14:sldId id="611"/>
            <p14:sldId id="740"/>
            <p14:sldId id="905"/>
            <p14:sldId id="566"/>
            <p14:sldId id="878"/>
            <p14:sldId id="1104"/>
            <p14:sldId id="549"/>
            <p14:sldId id="551"/>
            <p14:sldId id="934"/>
            <p14:sldId id="891"/>
            <p14:sldId id="475"/>
            <p14:sldId id="1193"/>
            <p14:sldId id="1194"/>
            <p14:sldId id="1195"/>
            <p14:sldId id="1196"/>
            <p14:sldId id="1197"/>
            <p14:sldId id="1198"/>
            <p14:sldId id="1199"/>
            <p14:sldId id="599"/>
            <p14:sldId id="600"/>
            <p14:sldId id="648"/>
            <p14:sldId id="805"/>
            <p14:sldId id="893"/>
            <p14:sldId id="834"/>
            <p14:sldId id="881"/>
            <p14:sldId id="885"/>
            <p14:sldId id="592"/>
            <p14:sldId id="930"/>
            <p14:sldId id="935"/>
            <p14:sldId id="1002"/>
            <p14:sldId id="1004"/>
          </p14:sldIdLst>
        </p14:section>
        <p14:section name="Chart / figure / table" id="{55942515-75D4-4357-BBDA-7FFF91BB2BAA}">
          <p14:sldIdLst>
            <p14:sldId id="491"/>
            <p14:sldId id="762"/>
            <p14:sldId id="754"/>
            <p14:sldId id="973"/>
            <p14:sldId id="904"/>
            <p14:sldId id="497"/>
            <p14:sldId id="499"/>
            <p14:sldId id="493"/>
            <p14:sldId id="536"/>
            <p14:sldId id="903"/>
            <p14:sldId id="757"/>
            <p14:sldId id="784"/>
            <p14:sldId id="535"/>
            <p14:sldId id="756"/>
            <p14:sldId id="500"/>
            <p14:sldId id="744"/>
            <p14:sldId id="749"/>
            <p14:sldId id="983"/>
          </p14:sldIdLst>
        </p14:section>
        <p14:section name="Content box" id="{961A8247-FE50-4FEA-91B3-4EB19F2523EB}">
          <p14:sldIdLst>
            <p14:sldId id="970"/>
            <p14:sldId id="971"/>
            <p14:sldId id="829"/>
            <p14:sldId id="688"/>
            <p14:sldId id="1213"/>
            <p14:sldId id="1156"/>
            <p14:sldId id="682"/>
            <p14:sldId id="972"/>
            <p14:sldId id="542"/>
            <p14:sldId id="825"/>
            <p14:sldId id="1214"/>
            <p14:sldId id="1215"/>
            <p14:sldId id="919"/>
            <p14:sldId id="1216"/>
            <p14:sldId id="1217"/>
            <p14:sldId id="705"/>
            <p14:sldId id="897"/>
            <p14:sldId id="1218"/>
            <p14:sldId id="545"/>
            <p14:sldId id="674"/>
            <p14:sldId id="894"/>
            <p14:sldId id="1220"/>
            <p14:sldId id="1221"/>
            <p14:sldId id="811"/>
            <p14:sldId id="1222"/>
          </p14:sldIdLst>
        </p14:section>
        <p14:section name="Flows &amp; milestones" id="{0026F058-83F1-422F-AAC9-BF39E62B9B41}">
          <p14:sldIdLst>
            <p14:sldId id="1061"/>
            <p14:sldId id="606"/>
            <p14:sldId id="644"/>
            <p14:sldId id="645"/>
            <p14:sldId id="747"/>
            <p14:sldId id="763"/>
            <p14:sldId id="1234"/>
            <p14:sldId id="1235"/>
            <p14:sldId id="1236"/>
            <p14:sldId id="1237"/>
            <p14:sldId id="1238"/>
            <p14:sldId id="1239"/>
            <p14:sldId id="815"/>
            <p14:sldId id="1240"/>
            <p14:sldId id="953"/>
          </p14:sldIdLst>
        </p14:section>
        <p14:section name="Illustrations" id="{EBCDDE3E-80D2-4713-B187-5C763DBF1BFA}">
          <p14:sldIdLst>
            <p14:sldId id="617"/>
            <p14:sldId id="1223"/>
            <p14:sldId id="1224"/>
            <p14:sldId id="1225"/>
            <p14:sldId id="1226"/>
            <p14:sldId id="1227"/>
            <p14:sldId id="668"/>
            <p14:sldId id="1228"/>
            <p14:sldId id="771"/>
            <p14:sldId id="1229"/>
            <p14:sldId id="962"/>
            <p14:sldId id="963"/>
            <p14:sldId id="964"/>
            <p14:sldId id="1230"/>
            <p14:sldId id="985"/>
            <p14:sldId id="1231"/>
            <p14:sldId id="989"/>
            <p14:sldId id="1232"/>
          </p14:sldIdLst>
        </p14:section>
        <p14:section name="Miscellaneous" id="{69DDAEB1-6DEB-4E66-B265-075A107D9A55}">
          <p14:sldIdLst>
            <p14:sldId id="1252"/>
            <p14:sldId id="1253"/>
            <p14:sldId id="1254"/>
            <p14:sldId id="1255"/>
            <p14:sldId id="1256"/>
            <p14:sldId id="1257"/>
          </p14:sldIdLst>
        </p14:section>
        <p14:section name="Quotes" id="{423FCEF5-1B58-4A05-9AC8-81BB45EB5DC6}">
          <p14:sldIdLst>
            <p14:sldId id="1241"/>
            <p14:sldId id="453"/>
          </p14:sldIdLst>
        </p14:section>
        <p14:section name="Roadmaps" id="{F3D941A8-5563-4EA8-B795-E132C82E1FD7}">
          <p14:sldIdLst>
            <p14:sldId id="471"/>
            <p14:sldId id="480"/>
            <p14:sldId id="481"/>
            <p14:sldId id="482"/>
            <p14:sldId id="483"/>
            <p14:sldId id="484"/>
            <p14:sldId id="485"/>
            <p14:sldId id="488"/>
            <p14:sldId id="490"/>
            <p14:sldId id="907"/>
            <p14:sldId id="857"/>
            <p14:sldId id="931"/>
            <p14:sldId id="990"/>
          </p14:sldIdLst>
        </p14:section>
        <p14:section name="Sequence and timeline" id="{9C9BB902-DDB2-214C-BF2D-168905FE094E}">
          <p14:sldIdLst>
            <p14:sldId id="796"/>
            <p14:sldId id="544"/>
            <p14:sldId id="1055"/>
            <p14:sldId id="957"/>
            <p14:sldId id="822"/>
            <p14:sldId id="530"/>
            <p14:sldId id="560"/>
            <p14:sldId id="561"/>
            <p14:sldId id="559"/>
            <p14:sldId id="529"/>
            <p14:sldId id="1098"/>
            <p14:sldId id="575"/>
            <p14:sldId id="457"/>
            <p14:sldId id="534"/>
            <p14:sldId id="584"/>
            <p14:sldId id="1099"/>
            <p14:sldId id="951"/>
            <p14:sldId id="813"/>
          </p14:sldIdLst>
        </p14:section>
        <p14:section name="Structure" id="{398535AD-BA40-464C-90BD-831F026A2D28}">
          <p14:sldIdLst>
            <p14:sldId id="1242"/>
            <p14:sldId id="1243"/>
            <p14:sldId id="1244"/>
            <p14:sldId id="528"/>
            <p14:sldId id="1245"/>
            <p14:sldId id="1246"/>
            <p14:sldId id="626"/>
            <p14:sldId id="914"/>
            <p14:sldId id="1247"/>
            <p14:sldId id="697"/>
            <p14:sldId id="912"/>
            <p14:sldId id="1248"/>
            <p14:sldId id="799"/>
            <p14:sldId id="1249"/>
            <p14:sldId id="853"/>
            <p14:sldId id="1005"/>
            <p14:sldId id="1006"/>
            <p14:sldId id="1007"/>
            <p14:sldId id="1250"/>
            <p14:sldId id="826"/>
            <p14:sldId id="1251"/>
            <p14:sldId id="125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5"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B02A"/>
    <a:srgbClr val="007680"/>
    <a:srgbClr val="C4D600"/>
    <a:srgbClr val="00A3E0"/>
    <a:srgbClr val="009A44"/>
    <a:srgbClr val="005587"/>
    <a:srgbClr val="046A38"/>
    <a:srgbClr val="26890D"/>
    <a:srgbClr val="84BB20"/>
    <a:srgbClr val="0076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6259" autoAdjust="0"/>
  </p:normalViewPr>
  <p:slideViewPr>
    <p:cSldViewPr snapToGrid="0" showGuides="1">
      <p:cViewPr varScale="1">
        <p:scale>
          <a:sx n="63" d="100"/>
          <a:sy n="63" d="100"/>
        </p:scale>
        <p:origin x="540" y="64"/>
      </p:cViewPr>
      <p:guideLst/>
    </p:cSldViewPr>
  </p:slideViewPr>
  <p:outlineViewPr>
    <p:cViewPr>
      <p:scale>
        <a:sx n="33" d="100"/>
        <a:sy n="33" d="100"/>
      </p:scale>
      <p:origin x="0" y="-2214"/>
    </p:cViewPr>
  </p:outlineViewPr>
  <p:notesTextViewPr>
    <p:cViewPr>
      <p:scale>
        <a:sx n="3" d="2"/>
        <a:sy n="3" d="2"/>
      </p:scale>
      <p:origin x="0" y="0"/>
    </p:cViewPr>
  </p:notesTextViewPr>
  <p:sorterViewPr>
    <p:cViewPr varScale="1">
      <p:scale>
        <a:sx n="80" d="100"/>
        <a:sy n="80" d="100"/>
      </p:scale>
      <p:origin x="0" y="0"/>
    </p:cViewPr>
  </p:sorterViewPr>
  <p:notesViewPr>
    <p:cSldViewPr snapToGrid="0" showGuides="1">
      <p:cViewPr varScale="1">
        <p:scale>
          <a:sx n="77" d="100"/>
          <a:sy n="77" d="100"/>
        </p:scale>
        <p:origin x="3876" y="11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slide" Target="slides/slide295.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324" Type="http://schemas.openxmlformats.org/officeDocument/2006/relationships/slide" Target="slides/slide320.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304" Type="http://schemas.openxmlformats.org/officeDocument/2006/relationships/slide" Target="slides/slide300.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326" Type="http://schemas.openxmlformats.org/officeDocument/2006/relationships/notesMaster" Target="notesMasters/notesMaster1.xml"/><Relationship Id="rId65" Type="http://schemas.openxmlformats.org/officeDocument/2006/relationships/slide" Target="slides/slide61.xml"/><Relationship Id="rId130" Type="http://schemas.openxmlformats.org/officeDocument/2006/relationships/slide" Target="slides/slide126.xml"/><Relationship Id="rId172" Type="http://schemas.openxmlformats.org/officeDocument/2006/relationships/slide" Target="slides/slide168.xml"/><Relationship Id="rId228" Type="http://schemas.openxmlformats.org/officeDocument/2006/relationships/slide" Target="slides/slide224.xml"/><Relationship Id="rId281" Type="http://schemas.openxmlformats.org/officeDocument/2006/relationships/slide" Target="slides/slide277.xml"/><Relationship Id="rId34" Type="http://schemas.openxmlformats.org/officeDocument/2006/relationships/slide" Target="slides/slide30.xml"/><Relationship Id="rId76" Type="http://schemas.openxmlformats.org/officeDocument/2006/relationships/slide" Target="slides/slide72.xml"/><Relationship Id="rId141" Type="http://schemas.openxmlformats.org/officeDocument/2006/relationships/slide" Target="slides/slide137.xml"/><Relationship Id="rId7" Type="http://schemas.openxmlformats.org/officeDocument/2006/relationships/slide" Target="slides/slide3.xml"/><Relationship Id="rId183" Type="http://schemas.openxmlformats.org/officeDocument/2006/relationships/slide" Target="slides/slide179.xml"/><Relationship Id="rId239" Type="http://schemas.openxmlformats.org/officeDocument/2006/relationships/slide" Target="slides/slide235.xml"/><Relationship Id="rId250" Type="http://schemas.openxmlformats.org/officeDocument/2006/relationships/slide" Target="slides/slide246.xml"/><Relationship Id="rId292" Type="http://schemas.openxmlformats.org/officeDocument/2006/relationships/slide" Target="slides/slide288.xml"/><Relationship Id="rId306" Type="http://schemas.openxmlformats.org/officeDocument/2006/relationships/slide" Target="slides/slide302.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327" Type="http://schemas.openxmlformats.org/officeDocument/2006/relationships/handoutMaster" Target="handoutMasters/handoutMaster1.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17" Type="http://schemas.openxmlformats.org/officeDocument/2006/relationships/slide" Target="slides/slide313.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293" Type="http://schemas.openxmlformats.org/officeDocument/2006/relationships/slide" Target="slides/slide289.xml"/><Relationship Id="rId307" Type="http://schemas.openxmlformats.org/officeDocument/2006/relationships/slide" Target="slides/slide303.xml"/><Relationship Id="rId328" Type="http://schemas.openxmlformats.org/officeDocument/2006/relationships/tags" Target="tags/tag1.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283" Type="http://schemas.openxmlformats.org/officeDocument/2006/relationships/slide" Target="slides/slide279.xml"/><Relationship Id="rId318" Type="http://schemas.openxmlformats.org/officeDocument/2006/relationships/slide" Target="slides/slide314.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294" Type="http://schemas.openxmlformats.org/officeDocument/2006/relationships/slide" Target="slides/slide290.xml"/><Relationship Id="rId308" Type="http://schemas.openxmlformats.org/officeDocument/2006/relationships/slide" Target="slides/slide304.xml"/><Relationship Id="rId329" Type="http://schemas.openxmlformats.org/officeDocument/2006/relationships/commentAuthors" Target="commentAuthors.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slide" Target="slides/slide280.xml"/><Relationship Id="rId319" Type="http://schemas.openxmlformats.org/officeDocument/2006/relationships/slide" Target="slides/slide315.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330" Type="http://schemas.openxmlformats.org/officeDocument/2006/relationships/presProps" Target="presProps.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slide" Target="slides/slide291.xml"/><Relationship Id="rId309" Type="http://schemas.openxmlformats.org/officeDocument/2006/relationships/slide" Target="slides/slide305.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320" Type="http://schemas.openxmlformats.org/officeDocument/2006/relationships/slide" Target="slides/slide316.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310" Type="http://schemas.openxmlformats.org/officeDocument/2006/relationships/slide" Target="slides/slide306.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331" Type="http://schemas.openxmlformats.org/officeDocument/2006/relationships/viewProps" Target="viewProps.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slide" Target="slides/slide292.xml"/><Relationship Id="rId300" Type="http://schemas.openxmlformats.org/officeDocument/2006/relationships/slide" Target="slides/slide296.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321" Type="http://schemas.openxmlformats.org/officeDocument/2006/relationships/slide" Target="slides/slide317.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311" Type="http://schemas.openxmlformats.org/officeDocument/2006/relationships/slide" Target="slides/slide307.xml"/><Relationship Id="rId332" Type="http://schemas.openxmlformats.org/officeDocument/2006/relationships/theme" Target="theme/theme1.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slide" Target="slides/slide293.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openxmlformats.org/officeDocument/2006/relationships/slide" Target="slides/slide297.xml"/><Relationship Id="rId322" Type="http://schemas.openxmlformats.org/officeDocument/2006/relationships/slide" Target="slides/slide318.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312" Type="http://schemas.openxmlformats.org/officeDocument/2006/relationships/slide" Target="slides/slide308.xml"/><Relationship Id="rId333" Type="http://schemas.openxmlformats.org/officeDocument/2006/relationships/tableStyles" Target="tableStyles.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slide" Target="slides/slide294.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openxmlformats.org/officeDocument/2006/relationships/slide" Target="slides/slide298.xml"/><Relationship Id="rId323" Type="http://schemas.openxmlformats.org/officeDocument/2006/relationships/slide" Target="slides/slide319.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106" Type="http://schemas.openxmlformats.org/officeDocument/2006/relationships/slide" Target="slides/slide102.xml"/><Relationship Id="rId127" Type="http://schemas.openxmlformats.org/officeDocument/2006/relationships/slide" Target="slides/slide123.xml"/><Relationship Id="rId313" Type="http://schemas.openxmlformats.org/officeDocument/2006/relationships/slide" Target="slides/slide309.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303" Type="http://schemas.openxmlformats.org/officeDocument/2006/relationships/slide" Target="slides/slide299.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6" Type="http://schemas.openxmlformats.org/officeDocument/2006/relationships/slide" Target="slides/slide2.xml"/><Relationship Id="rId238" Type="http://schemas.openxmlformats.org/officeDocument/2006/relationships/slide" Target="slides/slide234.xml"/><Relationship Id="rId291" Type="http://schemas.openxmlformats.org/officeDocument/2006/relationships/slide" Target="slides/slide287.xml"/><Relationship Id="rId305" Type="http://schemas.openxmlformats.org/officeDocument/2006/relationships/slide" Target="slides/slide301.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162" Type="http://schemas.openxmlformats.org/officeDocument/2006/relationships/slide" Target="slides/slide158.xml"/><Relationship Id="rId218" Type="http://schemas.openxmlformats.org/officeDocument/2006/relationships/slide" Target="slides/slide214.xml"/><Relationship Id="rId271" Type="http://schemas.openxmlformats.org/officeDocument/2006/relationships/slide" Target="slides/slide267.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w="6350">
              <a:solidFill>
                <a:schemeClr val="bg1">
                  <a:lumMod val="95000"/>
                </a:schemeClr>
              </a:solidFill>
            </a:ln>
          </c:spPr>
          <c:dPt>
            <c:idx val="0"/>
            <c:bubble3D val="0"/>
            <c:spPr>
              <a:solidFill>
                <a:srgbClr val="26890D"/>
              </a:solidFill>
              <a:ln w="6350">
                <a:solidFill>
                  <a:schemeClr val="bg1">
                    <a:lumMod val="95000"/>
                  </a:schemeClr>
                </a:solidFill>
              </a:ln>
              <a:effectLst/>
            </c:spPr>
            <c:extLst>
              <c:ext xmlns:c16="http://schemas.microsoft.com/office/drawing/2014/chart" uri="{C3380CC4-5D6E-409C-BE32-E72D297353CC}">
                <c16:uniqueId val="{00000001-C03A-4987-AC5A-4D6ED28C2EAE}"/>
              </c:ext>
            </c:extLst>
          </c:dPt>
          <c:dPt>
            <c:idx val="1"/>
            <c:bubble3D val="0"/>
            <c:spPr>
              <a:solidFill>
                <a:srgbClr val="000000"/>
              </a:solidFill>
              <a:ln w="6350">
                <a:solidFill>
                  <a:schemeClr val="bg1">
                    <a:lumMod val="95000"/>
                  </a:schemeClr>
                </a:solidFill>
              </a:ln>
              <a:effectLst/>
            </c:spPr>
            <c:extLst>
              <c:ext xmlns:c16="http://schemas.microsoft.com/office/drawing/2014/chart" uri="{C3380CC4-5D6E-409C-BE32-E72D297353CC}">
                <c16:uniqueId val="{00000003-C03A-4987-AC5A-4D6ED28C2EAE}"/>
              </c:ext>
            </c:extLst>
          </c:dPt>
          <c:dPt>
            <c:idx val="2"/>
            <c:bubble3D val="0"/>
            <c:spPr>
              <a:solidFill>
                <a:srgbClr val="43B02A"/>
              </a:solidFill>
              <a:ln w="6350">
                <a:solidFill>
                  <a:schemeClr val="bg1">
                    <a:lumMod val="95000"/>
                  </a:schemeClr>
                </a:solidFill>
              </a:ln>
              <a:effectLst/>
            </c:spPr>
            <c:extLst>
              <c:ext xmlns:c16="http://schemas.microsoft.com/office/drawing/2014/chart" uri="{C3380CC4-5D6E-409C-BE32-E72D297353CC}">
                <c16:uniqueId val="{00000005-C03A-4987-AC5A-4D6ED28C2EAE}"/>
              </c:ext>
            </c:extLst>
          </c:dPt>
          <c:dPt>
            <c:idx val="3"/>
            <c:bubble3D val="0"/>
            <c:spPr>
              <a:solidFill>
                <a:srgbClr val="86BC25"/>
              </a:solidFill>
              <a:ln w="6350">
                <a:solidFill>
                  <a:schemeClr val="bg1">
                    <a:lumMod val="95000"/>
                  </a:schemeClr>
                </a:solidFill>
              </a:ln>
              <a:effectLst/>
            </c:spPr>
            <c:extLst>
              <c:ext xmlns:c16="http://schemas.microsoft.com/office/drawing/2014/chart" uri="{C3380CC4-5D6E-409C-BE32-E72D297353CC}">
                <c16:uniqueId val="{00000007-C03A-4987-AC5A-4D6ED28C2EA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15</c:v>
                </c:pt>
                <c:pt idx="1">
                  <c:v>20</c:v>
                </c:pt>
                <c:pt idx="2">
                  <c:v>25</c:v>
                </c:pt>
                <c:pt idx="3">
                  <c:v>35</c:v>
                </c:pt>
              </c:numCache>
            </c:numRef>
          </c:val>
          <c:extLst>
            <c:ext xmlns:c16="http://schemas.microsoft.com/office/drawing/2014/chart" uri="{C3380CC4-5D6E-409C-BE32-E72D297353CC}">
              <c16:uniqueId val="{00000008-C03A-4987-AC5A-4D6ED28C2EA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latin typeface="+mn-lt"/>
          <a:ea typeface="+mn-ea"/>
          <a:cs typeface="+mn-ea"/>
          <a:sym typeface="+mn-lt"/>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86BC25"/>
              </a:solidFill>
            </c:spPr>
            <c:extLst>
              <c:ext xmlns:c16="http://schemas.microsoft.com/office/drawing/2014/chart" uri="{C3380CC4-5D6E-409C-BE32-E72D297353CC}">
                <c16:uniqueId val="{00000001-5B27-40E0-85DD-FCDD4F559BC1}"/>
              </c:ext>
            </c:extLst>
          </c:dPt>
          <c:dPt>
            <c:idx val="1"/>
            <c:bubble3D val="0"/>
            <c:spPr>
              <a:solidFill>
                <a:srgbClr val="43B02A"/>
              </a:solidFill>
            </c:spPr>
            <c:extLst>
              <c:ext xmlns:c16="http://schemas.microsoft.com/office/drawing/2014/chart" uri="{C3380CC4-5D6E-409C-BE32-E72D297353CC}">
                <c16:uniqueId val="{00000003-5B27-40E0-85DD-FCDD4F559BC1}"/>
              </c:ext>
            </c:extLst>
          </c:dPt>
          <c:dPt>
            <c:idx val="2"/>
            <c:bubble3D val="0"/>
            <c:spPr>
              <a:solidFill>
                <a:srgbClr val="009A44"/>
              </a:solidFill>
            </c:spPr>
            <c:extLst>
              <c:ext xmlns:c16="http://schemas.microsoft.com/office/drawing/2014/chart" uri="{C3380CC4-5D6E-409C-BE32-E72D297353CC}">
                <c16:uniqueId val="{00000005-5B27-40E0-85DD-FCDD4F559BC1}"/>
              </c:ext>
            </c:extLst>
          </c:dPt>
          <c:dPt>
            <c:idx val="3"/>
            <c:bubble3D val="0"/>
            <c:spPr>
              <a:solidFill>
                <a:schemeClr val="bg1"/>
              </a:solidFill>
            </c:spPr>
            <c:extLst>
              <c:ext xmlns:c16="http://schemas.microsoft.com/office/drawing/2014/chart" uri="{C3380CC4-5D6E-409C-BE32-E72D297353CC}">
                <c16:uniqueId val="{00000007-5B27-40E0-85DD-FCDD4F559BC1}"/>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c:v>
                </c:pt>
                <c:pt idx="1">
                  <c:v>5</c:v>
                </c:pt>
                <c:pt idx="2">
                  <c:v>7</c:v>
                </c:pt>
                <c:pt idx="3">
                  <c:v>12</c:v>
                </c:pt>
              </c:numCache>
            </c:numRef>
          </c:val>
          <c:extLst>
            <c:ext xmlns:c16="http://schemas.microsoft.com/office/drawing/2014/chart" uri="{C3380CC4-5D6E-409C-BE32-E72D297353CC}">
              <c16:uniqueId val="{00000008-5B27-40E0-85DD-FCDD4F559BC1}"/>
            </c:ext>
          </c:extLst>
        </c:ser>
        <c:dLbls>
          <c:showLegendKey val="0"/>
          <c:showVal val="0"/>
          <c:showCatName val="0"/>
          <c:showSerName val="0"/>
          <c:showPercent val="0"/>
          <c:showBubbleSize val="0"/>
          <c:showLeaderLines val="0"/>
        </c:dLbls>
        <c:firstSliceAng val="0"/>
        <c:holeSize val="67"/>
      </c:doughnutChart>
      <c:spPr>
        <a:noFill/>
        <a:ln w="25400">
          <a:noFill/>
        </a:ln>
      </c:spPr>
    </c:plotArea>
    <c:plotVisOnly val="1"/>
    <c:dispBlanksAs val="zero"/>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1641330977445853E-2"/>
          <c:y val="0.11946390533177763"/>
          <c:w val="0.85596674041188436"/>
          <c:h val="0.75955508754277234"/>
        </c:manualLayout>
      </c:layout>
      <c:areaChart>
        <c:grouping val="standard"/>
        <c:varyColors val="0"/>
        <c:ser>
          <c:idx val="1"/>
          <c:order val="1"/>
          <c:spPr>
            <a:solidFill>
              <a:sysClr val="window" lastClr="FFFFFF">
                <a:lumMod val="95000"/>
                <a:alpha val="46000"/>
              </a:sysClr>
            </a:solidFill>
          </c:spPr>
          <c:cat>
            <c:numRef>
              <c:f>Sheet1!$B$5:$B$18</c:f>
              <c:numCache>
                <c:formatCode>m/d/yyyy</c:formatCode>
                <c:ptCount val="14"/>
                <c:pt idx="0">
                  <c:v>41557</c:v>
                </c:pt>
                <c:pt idx="1">
                  <c:v>41558</c:v>
                </c:pt>
                <c:pt idx="2">
                  <c:v>41559</c:v>
                </c:pt>
                <c:pt idx="3">
                  <c:v>41560</c:v>
                </c:pt>
                <c:pt idx="4">
                  <c:v>41561</c:v>
                </c:pt>
                <c:pt idx="5">
                  <c:v>41562</c:v>
                </c:pt>
                <c:pt idx="6">
                  <c:v>41563</c:v>
                </c:pt>
                <c:pt idx="7">
                  <c:v>41564</c:v>
                </c:pt>
                <c:pt idx="8">
                  <c:v>41565</c:v>
                </c:pt>
                <c:pt idx="9">
                  <c:v>41566</c:v>
                </c:pt>
                <c:pt idx="10">
                  <c:v>41567</c:v>
                </c:pt>
                <c:pt idx="11">
                  <c:v>41568</c:v>
                </c:pt>
                <c:pt idx="12">
                  <c:v>41569</c:v>
                </c:pt>
                <c:pt idx="13">
                  <c:v>41570</c:v>
                </c:pt>
              </c:numCache>
            </c:numRef>
          </c:cat>
          <c:val>
            <c:numRef>
              <c:f>Sheet1!$D$5:$D$18</c:f>
              <c:numCache>
                <c:formatCode>General</c:formatCode>
                <c:ptCount val="14"/>
                <c:pt idx="0">
                  <c:v>3741</c:v>
                </c:pt>
                <c:pt idx="1">
                  <c:v>4442</c:v>
                </c:pt>
                <c:pt idx="2">
                  <c:v>4232</c:v>
                </c:pt>
                <c:pt idx="3">
                  <c:v>3269</c:v>
                </c:pt>
                <c:pt idx="4">
                  <c:v>3626</c:v>
                </c:pt>
                <c:pt idx="5">
                  <c:v>3169</c:v>
                </c:pt>
                <c:pt idx="6">
                  <c:v>3738</c:v>
                </c:pt>
                <c:pt idx="7">
                  <c:v>4218</c:v>
                </c:pt>
                <c:pt idx="8">
                  <c:v>3773</c:v>
                </c:pt>
                <c:pt idx="9">
                  <c:v>3825</c:v>
                </c:pt>
                <c:pt idx="10">
                  <c:v>4161</c:v>
                </c:pt>
                <c:pt idx="11">
                  <c:v>3457</c:v>
                </c:pt>
                <c:pt idx="12">
                  <c:v>4957</c:v>
                </c:pt>
                <c:pt idx="13">
                  <c:v>3542</c:v>
                </c:pt>
              </c:numCache>
            </c:numRef>
          </c:val>
          <c:extLst>
            <c:ext xmlns:c16="http://schemas.microsoft.com/office/drawing/2014/chart" uri="{C3380CC4-5D6E-409C-BE32-E72D297353CC}">
              <c16:uniqueId val="{00000000-A4E1-4167-83E7-530543734A75}"/>
            </c:ext>
          </c:extLst>
        </c:ser>
        <c:dLbls>
          <c:showLegendKey val="0"/>
          <c:showVal val="0"/>
          <c:showCatName val="0"/>
          <c:showSerName val="0"/>
          <c:showPercent val="0"/>
          <c:showBubbleSize val="0"/>
        </c:dLbls>
        <c:axId val="152963712"/>
        <c:axId val="152978176"/>
      </c:areaChart>
      <c:lineChart>
        <c:grouping val="standard"/>
        <c:varyColors val="0"/>
        <c:ser>
          <c:idx val="0"/>
          <c:order val="0"/>
          <c:tx>
            <c:strRef>
              <c:f>Sheet1!$C$4</c:f>
              <c:strCache>
                <c:ptCount val="1"/>
                <c:pt idx="0">
                  <c:v>销售额</c:v>
                </c:pt>
              </c:strCache>
            </c:strRef>
          </c:tx>
          <c:spPr>
            <a:ln w="38100">
              <a:solidFill>
                <a:srgbClr val="86BC25"/>
              </a:solidFill>
            </a:ln>
          </c:spPr>
          <c:marker>
            <c:symbol val="circle"/>
            <c:size val="11"/>
            <c:spPr>
              <a:solidFill>
                <a:sysClr val="window" lastClr="FFFFFF"/>
              </a:solidFill>
              <a:ln w="38100">
                <a:solidFill>
                  <a:srgbClr val="86BC25"/>
                </a:solidFill>
              </a:ln>
            </c:spPr>
          </c:marker>
          <c:cat>
            <c:numRef>
              <c:f>Sheet1!$B$5:$B$18</c:f>
              <c:numCache>
                <c:formatCode>m/d/yyyy</c:formatCode>
                <c:ptCount val="14"/>
                <c:pt idx="0">
                  <c:v>41557</c:v>
                </c:pt>
                <c:pt idx="1">
                  <c:v>41558</c:v>
                </c:pt>
                <c:pt idx="2">
                  <c:v>41559</c:v>
                </c:pt>
                <c:pt idx="3">
                  <c:v>41560</c:v>
                </c:pt>
                <c:pt idx="4">
                  <c:v>41561</c:v>
                </c:pt>
                <c:pt idx="5">
                  <c:v>41562</c:v>
                </c:pt>
                <c:pt idx="6">
                  <c:v>41563</c:v>
                </c:pt>
                <c:pt idx="7">
                  <c:v>41564</c:v>
                </c:pt>
                <c:pt idx="8">
                  <c:v>41565</c:v>
                </c:pt>
                <c:pt idx="9">
                  <c:v>41566</c:v>
                </c:pt>
                <c:pt idx="10">
                  <c:v>41567</c:v>
                </c:pt>
                <c:pt idx="11">
                  <c:v>41568</c:v>
                </c:pt>
                <c:pt idx="12">
                  <c:v>41569</c:v>
                </c:pt>
                <c:pt idx="13">
                  <c:v>41570</c:v>
                </c:pt>
              </c:numCache>
            </c:numRef>
          </c:cat>
          <c:val>
            <c:numRef>
              <c:f>Sheet1!$C$5:$C$18</c:f>
              <c:numCache>
                <c:formatCode>General</c:formatCode>
                <c:ptCount val="14"/>
                <c:pt idx="0">
                  <c:v>3741</c:v>
                </c:pt>
                <c:pt idx="1">
                  <c:v>4442</c:v>
                </c:pt>
                <c:pt idx="2">
                  <c:v>4232</c:v>
                </c:pt>
                <c:pt idx="3">
                  <c:v>3269</c:v>
                </c:pt>
                <c:pt idx="4">
                  <c:v>3626</c:v>
                </c:pt>
                <c:pt idx="5">
                  <c:v>3169</c:v>
                </c:pt>
                <c:pt idx="6">
                  <c:v>3738</c:v>
                </c:pt>
                <c:pt idx="7">
                  <c:v>4218</c:v>
                </c:pt>
                <c:pt idx="8">
                  <c:v>3773</c:v>
                </c:pt>
                <c:pt idx="9">
                  <c:v>3825</c:v>
                </c:pt>
                <c:pt idx="10">
                  <c:v>4161</c:v>
                </c:pt>
                <c:pt idx="11">
                  <c:v>3457</c:v>
                </c:pt>
                <c:pt idx="12">
                  <c:v>4957</c:v>
                </c:pt>
                <c:pt idx="13">
                  <c:v>3542</c:v>
                </c:pt>
              </c:numCache>
            </c:numRef>
          </c:val>
          <c:smooth val="0"/>
          <c:extLst>
            <c:ext xmlns:c16="http://schemas.microsoft.com/office/drawing/2014/chart" uri="{C3380CC4-5D6E-409C-BE32-E72D297353CC}">
              <c16:uniqueId val="{00000001-A4E1-4167-83E7-530543734A75}"/>
            </c:ext>
          </c:extLst>
        </c:ser>
        <c:dLbls>
          <c:showLegendKey val="0"/>
          <c:showVal val="0"/>
          <c:showCatName val="0"/>
          <c:showSerName val="0"/>
          <c:showPercent val="0"/>
          <c:showBubbleSize val="0"/>
        </c:dLbls>
        <c:marker val="1"/>
        <c:smooth val="0"/>
        <c:axId val="152963712"/>
        <c:axId val="152978176"/>
      </c:lineChart>
      <c:dateAx>
        <c:axId val="152963712"/>
        <c:scaling>
          <c:orientation val="minMax"/>
        </c:scaling>
        <c:delete val="0"/>
        <c:axPos val="b"/>
        <c:numFmt formatCode="m/d;@" sourceLinked="0"/>
        <c:majorTickMark val="none"/>
        <c:minorTickMark val="none"/>
        <c:tickLblPos val="nextTo"/>
        <c:txPr>
          <a:bodyPr/>
          <a:lstStyle/>
          <a:p>
            <a:pPr>
              <a:defRPr sz="1400">
                <a:latin typeface="+mn-lt"/>
              </a:defRPr>
            </a:pPr>
            <a:endParaRPr lang="en-US"/>
          </a:p>
        </c:txPr>
        <c:crossAx val="152978176"/>
        <c:crosses val="autoZero"/>
        <c:auto val="1"/>
        <c:lblOffset val="100"/>
        <c:baseTimeUnit val="days"/>
      </c:dateAx>
      <c:valAx>
        <c:axId val="152978176"/>
        <c:scaling>
          <c:orientation val="minMax"/>
        </c:scaling>
        <c:delete val="0"/>
        <c:axPos val="l"/>
        <c:majorGridlines>
          <c:spPr>
            <a:ln w="6350">
              <a:solidFill>
                <a:sysClr val="window" lastClr="FFFFFF">
                  <a:lumMod val="95000"/>
                </a:sysClr>
              </a:solidFill>
            </a:ln>
          </c:spPr>
        </c:majorGridlines>
        <c:numFmt formatCode="General" sourceLinked="1"/>
        <c:majorTickMark val="out"/>
        <c:minorTickMark val="none"/>
        <c:tickLblPos val="nextTo"/>
        <c:spPr>
          <a:ln>
            <a:noFill/>
          </a:ln>
        </c:spPr>
        <c:txPr>
          <a:bodyPr/>
          <a:lstStyle/>
          <a:p>
            <a:pPr>
              <a:defRPr sz="1400">
                <a:latin typeface="+mn-lt"/>
              </a:defRPr>
            </a:pPr>
            <a:endParaRPr lang="en-US"/>
          </a:p>
        </c:txPr>
        <c:crossAx val="152963712"/>
        <c:crosses val="autoZero"/>
        <c:crossBetween val="between"/>
      </c:valAx>
      <c:spPr>
        <a:noFill/>
      </c:spPr>
    </c:plotArea>
    <c:plotVisOnly val="1"/>
    <c:dispBlanksAs val="gap"/>
    <c:showDLblsOverMax val="0"/>
  </c:chart>
  <c:spPr>
    <a:noFill/>
  </c:sp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106791338582677E-2"/>
          <c:y val="9.6476284225200784E-2"/>
          <c:w val="0.86652684292837112"/>
          <c:h val="0.76084419955925553"/>
        </c:manualLayout>
      </c:layout>
      <c:lineChart>
        <c:grouping val="standard"/>
        <c:varyColors val="0"/>
        <c:ser>
          <c:idx val="0"/>
          <c:order val="0"/>
          <c:tx>
            <c:strRef>
              <c:f>Sheet1!$B$1</c:f>
              <c:strCache>
                <c:ptCount val="1"/>
                <c:pt idx="0">
                  <c:v>产品A</c:v>
                </c:pt>
              </c:strCache>
            </c:strRef>
          </c:tx>
          <c:spPr>
            <a:ln w="50800" cap="rnd">
              <a:solidFill>
                <a:schemeClr val="accent1"/>
              </a:solidFill>
              <a:round/>
            </a:ln>
            <a:effectLst/>
          </c:spPr>
          <c:marker>
            <c:symbol val="circle"/>
            <c:size val="28"/>
            <c:spPr>
              <a:solidFill>
                <a:schemeClr val="accent1"/>
              </a:solidFill>
              <a:ln w="19050">
                <a:solidFill>
                  <a:schemeClr val="bg1"/>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5</c:f>
              <c:numCache>
                <c:formatCode>m"月"d"日"</c:formatCode>
                <c:ptCount val="14"/>
                <c:pt idx="0">
                  <c:v>41557</c:v>
                </c:pt>
                <c:pt idx="1">
                  <c:v>41558</c:v>
                </c:pt>
                <c:pt idx="2">
                  <c:v>41559</c:v>
                </c:pt>
                <c:pt idx="3">
                  <c:v>41560</c:v>
                </c:pt>
                <c:pt idx="4">
                  <c:v>41561</c:v>
                </c:pt>
                <c:pt idx="5">
                  <c:v>41562</c:v>
                </c:pt>
                <c:pt idx="6">
                  <c:v>41563</c:v>
                </c:pt>
                <c:pt idx="7">
                  <c:v>41564</c:v>
                </c:pt>
                <c:pt idx="8">
                  <c:v>41565</c:v>
                </c:pt>
                <c:pt idx="9">
                  <c:v>41566</c:v>
                </c:pt>
                <c:pt idx="10">
                  <c:v>41567</c:v>
                </c:pt>
                <c:pt idx="11">
                  <c:v>41568</c:v>
                </c:pt>
                <c:pt idx="12">
                  <c:v>41569</c:v>
                </c:pt>
                <c:pt idx="13">
                  <c:v>41570</c:v>
                </c:pt>
              </c:numCache>
            </c:numRef>
          </c:cat>
          <c:val>
            <c:numRef>
              <c:f>Sheet1!$B$2:$B$15</c:f>
              <c:numCache>
                <c:formatCode>General</c:formatCode>
                <c:ptCount val="14"/>
                <c:pt idx="0">
                  <c:v>37</c:v>
                </c:pt>
                <c:pt idx="1">
                  <c:v>44</c:v>
                </c:pt>
                <c:pt idx="2">
                  <c:v>42</c:v>
                </c:pt>
                <c:pt idx="3">
                  <c:v>32</c:v>
                </c:pt>
                <c:pt idx="4">
                  <c:v>36</c:v>
                </c:pt>
                <c:pt idx="5">
                  <c:v>31</c:v>
                </c:pt>
                <c:pt idx="6">
                  <c:v>37</c:v>
                </c:pt>
                <c:pt idx="7">
                  <c:v>42</c:v>
                </c:pt>
                <c:pt idx="8">
                  <c:v>37</c:v>
                </c:pt>
                <c:pt idx="9">
                  <c:v>38</c:v>
                </c:pt>
                <c:pt idx="10">
                  <c:v>41</c:v>
                </c:pt>
                <c:pt idx="11">
                  <c:v>34</c:v>
                </c:pt>
                <c:pt idx="12">
                  <c:v>49</c:v>
                </c:pt>
                <c:pt idx="13">
                  <c:v>35</c:v>
                </c:pt>
              </c:numCache>
            </c:numRef>
          </c:val>
          <c:smooth val="0"/>
          <c:extLst>
            <c:ext xmlns:c16="http://schemas.microsoft.com/office/drawing/2014/chart" uri="{C3380CC4-5D6E-409C-BE32-E72D297353CC}">
              <c16:uniqueId val="{00000000-1016-487D-A27B-54EA6BFFD2ED}"/>
            </c:ext>
          </c:extLst>
        </c:ser>
        <c:dLbls>
          <c:showLegendKey val="0"/>
          <c:showVal val="0"/>
          <c:showCatName val="0"/>
          <c:showSerName val="0"/>
          <c:showPercent val="0"/>
          <c:showBubbleSize val="0"/>
        </c:dLbls>
        <c:marker val="1"/>
        <c:smooth val="0"/>
        <c:axId val="106744064"/>
        <c:axId val="107506304"/>
      </c:lineChart>
      <c:dateAx>
        <c:axId val="106744064"/>
        <c:scaling>
          <c:orientation val="minMax"/>
        </c:scaling>
        <c:delete val="0"/>
        <c:axPos val="b"/>
        <c:numFmt formatCode="m/d;@" sourceLinked="0"/>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07506304"/>
        <c:crosses val="autoZero"/>
        <c:auto val="1"/>
        <c:lblOffset val="100"/>
        <c:baseTimeUnit val="days"/>
      </c:dateAx>
      <c:valAx>
        <c:axId val="107506304"/>
        <c:scaling>
          <c:orientation val="minMax"/>
        </c:scaling>
        <c:delete val="1"/>
        <c:axPos val="l"/>
        <c:majorGridlines>
          <c:spPr>
            <a:ln w="6350" cap="flat" cmpd="sng" algn="ctr">
              <a:solidFill>
                <a:schemeClr val="bg1">
                  <a:lumMod val="95000"/>
                </a:schemeClr>
              </a:solidFill>
              <a:round/>
            </a:ln>
            <a:effectLst/>
          </c:spPr>
        </c:majorGridlines>
        <c:numFmt formatCode="General" sourceLinked="1"/>
        <c:majorTickMark val="out"/>
        <c:minorTickMark val="none"/>
        <c:tickLblPos val="nextTo"/>
        <c:crossAx val="1067440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4041275767177968E-2"/>
          <c:w val="1"/>
          <c:h val="0.79014820369890137"/>
        </c:manualLayout>
      </c:layout>
      <c:barChart>
        <c:barDir val="col"/>
        <c:grouping val="clustered"/>
        <c:varyColors val="0"/>
        <c:ser>
          <c:idx val="0"/>
          <c:order val="0"/>
          <c:tx>
            <c:strRef>
              <c:f>Sheet1!$B$1</c:f>
              <c:strCache>
                <c:ptCount val="1"/>
                <c:pt idx="0">
                  <c:v>Series 1</c:v>
                </c:pt>
              </c:strCache>
            </c:strRef>
          </c:tx>
          <c:spPr>
            <a:solidFill>
              <a:srgbClr val="00ABAB"/>
            </a:solidFill>
            <a:ln>
              <a:noFill/>
            </a:ln>
            <a:effectLst/>
          </c:spPr>
          <c:invertIfNegative val="0"/>
          <c:dLbls>
            <c:dLbl>
              <c:idx val="0"/>
              <c:layout>
                <c:manualLayout>
                  <c:x val="-1.0346005388007218E-17"/>
                  <c:y val="-5.804805069930703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3DB-4E18-9E1B-58D84D579250}"/>
                </c:ext>
              </c:extLst>
            </c:dLbl>
            <c:dLbl>
              <c:idx val="1"/>
              <c:layout>
                <c:manualLayout>
                  <c:x val="0"/>
                  <c:y val="-5.804805069930700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3DB-4E18-9E1B-58D84D579250}"/>
                </c:ext>
              </c:extLst>
            </c:dLbl>
            <c:dLbl>
              <c:idx val="2"/>
              <c:layout>
                <c:manualLayout>
                  <c:x val="0"/>
                  <c:y val="-7.63790140780355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3DB-4E18-9E1B-58D84D579250}"/>
                </c:ext>
              </c:extLst>
            </c:dLbl>
            <c:dLbl>
              <c:idx val="3"/>
              <c:layout>
                <c:manualLayout>
                  <c:x val="0"/>
                  <c:y val="-7.026869295179270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3DB-4E18-9E1B-58D84D57925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33DB-4E18-9E1B-58D84D579250}"/>
            </c:ext>
          </c:extLst>
        </c:ser>
        <c:ser>
          <c:idx val="1"/>
          <c:order val="1"/>
          <c:tx>
            <c:strRef>
              <c:f>Sheet1!$C$1</c:f>
              <c:strCache>
                <c:ptCount val="1"/>
                <c:pt idx="0">
                  <c:v>Series 2</c:v>
                </c:pt>
              </c:strCache>
            </c:strRef>
          </c:tx>
          <c:spPr>
            <a:solidFill>
              <a:schemeClr val="accent4"/>
            </a:solidFill>
            <a:ln>
              <a:noFill/>
            </a:ln>
            <a:effectLst/>
          </c:spPr>
          <c:invertIfNegative val="0"/>
          <c:dLbls>
            <c:dLbl>
              <c:idx val="0"/>
              <c:layout>
                <c:manualLayout>
                  <c:x val="0"/>
                  <c:y val="-6.110321126242848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3DB-4E18-9E1B-58D84D579250}"/>
                </c:ext>
              </c:extLst>
            </c:dLbl>
            <c:dLbl>
              <c:idx val="1"/>
              <c:layout>
                <c:manualLayout>
                  <c:x val="0"/>
                  <c:y val="-5.193772957306418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3DB-4E18-9E1B-58D84D579250}"/>
                </c:ext>
              </c:extLst>
            </c:dLbl>
            <c:dLbl>
              <c:idx val="2"/>
              <c:layout>
                <c:manualLayout>
                  <c:x val="-8.2768043104057746E-17"/>
                  <c:y val="-6.11032112624284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3DB-4E18-9E1B-58D84D579250}"/>
                </c:ext>
              </c:extLst>
            </c:dLbl>
            <c:dLbl>
              <c:idx val="3"/>
              <c:layout>
                <c:manualLayout>
                  <c:x val="-1.6553608620811549E-16"/>
                  <c:y val="-5.499289013618558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3DB-4E18-9E1B-58D84D57925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33DB-4E18-9E1B-58D84D579250}"/>
            </c:ext>
          </c:extLst>
        </c:ser>
        <c:ser>
          <c:idx val="2"/>
          <c:order val="2"/>
          <c:tx>
            <c:strRef>
              <c:f>Sheet1!$D$1</c:f>
              <c:strCache>
                <c:ptCount val="1"/>
                <c:pt idx="0">
                  <c:v>Series 3</c:v>
                </c:pt>
              </c:strCache>
            </c:strRef>
          </c:tx>
          <c:spPr>
            <a:solidFill>
              <a:schemeClr val="accent3"/>
            </a:solidFill>
            <a:ln>
              <a:noFill/>
            </a:ln>
            <a:effectLst/>
          </c:spPr>
          <c:invertIfNegative val="0"/>
          <c:dLbls>
            <c:dLbl>
              <c:idx val="0"/>
              <c:layout>
                <c:manualLayout>
                  <c:x val="0"/>
                  <c:y val="-6.11032112624284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3DB-4E18-9E1B-58D84D579250}"/>
                </c:ext>
              </c:extLst>
            </c:dLbl>
            <c:dLbl>
              <c:idx val="1"/>
              <c:layout>
                <c:manualLayout>
                  <c:x val="-8.2768043104057746E-17"/>
                  <c:y val="-5.804805069930700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3DB-4E18-9E1B-58D84D579250}"/>
                </c:ext>
              </c:extLst>
            </c:dLbl>
            <c:dLbl>
              <c:idx val="2"/>
              <c:layout>
                <c:manualLayout>
                  <c:x val="-8.2768043104057746E-17"/>
                  <c:y val="-7.33238535149141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3DB-4E18-9E1B-58D84D579250}"/>
                </c:ext>
              </c:extLst>
            </c:dLbl>
            <c:dLbl>
              <c:idx val="3"/>
              <c:layout>
                <c:manualLayout>
                  <c:x val="0"/>
                  <c:y val="-6.11032112624284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3DB-4E18-9E1B-58D84D57925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33DB-4E18-9E1B-58D84D579250}"/>
            </c:ext>
          </c:extLst>
        </c:ser>
        <c:dLbls>
          <c:dLblPos val="outEnd"/>
          <c:showLegendKey val="0"/>
          <c:showVal val="1"/>
          <c:showCatName val="0"/>
          <c:showSerName val="0"/>
          <c:showPercent val="0"/>
          <c:showBubbleSize val="0"/>
        </c:dLbls>
        <c:gapWidth val="458"/>
        <c:overlap val="-84"/>
        <c:axId val="632917456"/>
        <c:axId val="632920736"/>
      </c:barChart>
      <c:catAx>
        <c:axId val="632917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632920736"/>
        <c:crosses val="autoZero"/>
        <c:auto val="1"/>
        <c:lblAlgn val="ctr"/>
        <c:lblOffset val="100"/>
        <c:noMultiLvlLbl val="0"/>
      </c:catAx>
      <c:valAx>
        <c:axId val="632920736"/>
        <c:scaling>
          <c:orientation val="minMax"/>
        </c:scaling>
        <c:delete val="1"/>
        <c:axPos val="l"/>
        <c:numFmt formatCode="General" sourceLinked="1"/>
        <c:majorTickMark val="none"/>
        <c:minorTickMark val="none"/>
        <c:tickLblPos val="nextTo"/>
        <c:crossAx val="632917456"/>
        <c:crosses val="autoZero"/>
        <c:crossBetween val="between"/>
      </c:valAx>
      <c:spPr>
        <a:noFill/>
        <a:ln>
          <a:noFill/>
        </a:ln>
        <a:effectLst/>
      </c:spPr>
    </c:plotArea>
    <c:legend>
      <c:legendPos val="b"/>
      <c:layout>
        <c:manualLayout>
          <c:xMode val="edge"/>
          <c:yMode val="edge"/>
          <c:x val="0.24596393464134322"/>
          <c:y val="0.93261807293462129"/>
          <c:w val="0.50657505320089691"/>
          <c:h val="6.244483570813930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29/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29/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255756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287009454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ulu 5</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93</a:t>
            </a:fld>
            <a:endParaRPr kumimoji="1" lang="ja-JP" altLang="en-US"/>
          </a:p>
        </p:txBody>
      </p:sp>
    </p:spTree>
    <p:extLst>
      <p:ext uri="{BB962C8B-B14F-4D97-AF65-F5344CB8AC3E}">
        <p14:creationId xmlns:p14="http://schemas.microsoft.com/office/powerpoint/2010/main" val="178178420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8</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95</a:t>
            </a:fld>
            <a:endParaRPr lang="en-US" dirty="0"/>
          </a:p>
        </p:txBody>
      </p:sp>
    </p:spTree>
    <p:extLst>
      <p:ext uri="{BB962C8B-B14F-4D97-AF65-F5344CB8AC3E}">
        <p14:creationId xmlns:p14="http://schemas.microsoft.com/office/powerpoint/2010/main" val="114025144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21</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96</a:t>
            </a:fld>
            <a:endParaRPr kumimoji="1" lang="ja-JP" altLang="en-US"/>
          </a:p>
        </p:txBody>
      </p:sp>
    </p:spTree>
    <p:extLst>
      <p:ext uri="{BB962C8B-B14F-4D97-AF65-F5344CB8AC3E}">
        <p14:creationId xmlns:p14="http://schemas.microsoft.com/office/powerpoint/2010/main" val="217740612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Lulu 4</a:t>
            </a:r>
            <a:endParaRPr lang="zh-CN" altLang="en-US" dirty="0"/>
          </a:p>
        </p:txBody>
      </p:sp>
      <p:sp>
        <p:nvSpPr>
          <p:cNvPr id="4" name="灯片编号占位符 3"/>
          <p:cNvSpPr>
            <a:spLocks noGrp="1"/>
          </p:cNvSpPr>
          <p:nvPr>
            <p:ph type="sldNum" sz="quarter" idx="10"/>
          </p:nvPr>
        </p:nvSpPr>
        <p:spPr/>
        <p:txBody>
          <a:bodyPr/>
          <a:lstStyle/>
          <a:p>
            <a:fld id="{C9E7B7F8-81FA-46DC-8926-8D6B124E54D6}" type="slidenum">
              <a:rPr lang="en-US" smtClean="0"/>
              <a:t>197</a:t>
            </a:fld>
            <a:endParaRPr lang="en-US"/>
          </a:p>
        </p:txBody>
      </p:sp>
    </p:spTree>
    <p:extLst>
      <p:ext uri="{BB962C8B-B14F-4D97-AF65-F5344CB8AC3E}">
        <p14:creationId xmlns:p14="http://schemas.microsoft.com/office/powerpoint/2010/main" val="260257527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7</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98</a:t>
            </a:fld>
            <a:endParaRPr lang="en-US" dirty="0"/>
          </a:p>
        </p:txBody>
      </p:sp>
    </p:spTree>
    <p:extLst>
      <p:ext uri="{BB962C8B-B14F-4D97-AF65-F5344CB8AC3E}">
        <p14:creationId xmlns:p14="http://schemas.microsoft.com/office/powerpoint/2010/main" val="21228845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Sophia 8</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99</a:t>
            </a:fld>
            <a:endParaRPr kumimoji="1" lang="ja-JP" altLang="en-US"/>
          </a:p>
        </p:txBody>
      </p:sp>
    </p:spTree>
    <p:extLst>
      <p:ext uri="{BB962C8B-B14F-4D97-AF65-F5344CB8AC3E}">
        <p14:creationId xmlns:p14="http://schemas.microsoft.com/office/powerpoint/2010/main" val="205154807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4</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00</a:t>
            </a:fld>
            <a:endParaRPr kumimoji="1" lang="ja-JP" altLang="en-US"/>
          </a:p>
        </p:txBody>
      </p:sp>
    </p:spTree>
    <p:extLst>
      <p:ext uri="{BB962C8B-B14F-4D97-AF65-F5344CB8AC3E}">
        <p14:creationId xmlns:p14="http://schemas.microsoft.com/office/powerpoint/2010/main" val="421573341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Hansonh 6</a:t>
            </a:r>
            <a:endParaRPr lang="zh-CN" altLang="en-US" dirty="0"/>
          </a:p>
        </p:txBody>
      </p:sp>
      <p:sp>
        <p:nvSpPr>
          <p:cNvPr id="4" name="灯片编号占位符 3"/>
          <p:cNvSpPr>
            <a:spLocks noGrp="1"/>
          </p:cNvSpPr>
          <p:nvPr>
            <p:ph type="sldNum" sz="quarter" idx="10"/>
          </p:nvPr>
        </p:nvSpPr>
        <p:spPr/>
        <p:txBody>
          <a:bodyPr/>
          <a:lstStyle/>
          <a:p>
            <a:fld id="{A26B02EC-97C0-4E19-AA45-E904FCC1D11E}" type="slidenum">
              <a:rPr lang="en-GB" smtClean="0"/>
              <a:pPr/>
              <a:t>201</a:t>
            </a:fld>
            <a:endParaRPr lang="en-GB"/>
          </a:p>
        </p:txBody>
      </p:sp>
    </p:spTree>
    <p:extLst>
      <p:ext uri="{BB962C8B-B14F-4D97-AF65-F5344CB8AC3E}">
        <p14:creationId xmlns:p14="http://schemas.microsoft.com/office/powerpoint/2010/main" val="243729238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a:t>
            </a:r>
            <a:r>
              <a:rPr lang="en-GB" baseline="0" dirty="0"/>
              <a:t> 5</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2</a:t>
            </a:fld>
            <a:endParaRPr lang="en-US" dirty="0"/>
          </a:p>
        </p:txBody>
      </p:sp>
    </p:spTree>
    <p:extLst>
      <p:ext uri="{BB962C8B-B14F-4D97-AF65-F5344CB8AC3E}">
        <p14:creationId xmlns:p14="http://schemas.microsoft.com/office/powerpoint/2010/main" val="208479349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r>
              <a:rPr lang="en-US" altLang="zh-CN" dirty="0"/>
              <a:t>Will Aug 1</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5</a:t>
            </a:fld>
            <a:endParaRPr lang="en-US" dirty="0"/>
          </a:p>
        </p:txBody>
      </p:sp>
    </p:spTree>
    <p:extLst>
      <p:ext uri="{BB962C8B-B14F-4D97-AF65-F5344CB8AC3E}">
        <p14:creationId xmlns:p14="http://schemas.microsoft.com/office/powerpoint/2010/main" val="1388082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2</a:t>
            </a:fld>
            <a:endParaRPr lang="en-US" dirty="0"/>
          </a:p>
        </p:txBody>
      </p:sp>
    </p:spTree>
    <p:extLst>
      <p:ext uri="{BB962C8B-B14F-4D97-AF65-F5344CB8AC3E}">
        <p14:creationId xmlns:p14="http://schemas.microsoft.com/office/powerpoint/2010/main" val="197513944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07</a:t>
            </a:fld>
            <a:endParaRPr lang="en-US" dirty="0"/>
          </a:p>
        </p:txBody>
      </p:sp>
    </p:spTree>
    <p:extLst>
      <p:ext uri="{BB962C8B-B14F-4D97-AF65-F5344CB8AC3E}">
        <p14:creationId xmlns:p14="http://schemas.microsoft.com/office/powerpoint/2010/main" val="19713230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6</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08</a:t>
            </a:fld>
            <a:endParaRPr kumimoji="1" lang="ja-JP" altLang="en-US"/>
          </a:p>
        </p:txBody>
      </p:sp>
    </p:spTree>
    <p:extLst>
      <p:ext uri="{BB962C8B-B14F-4D97-AF65-F5344CB8AC3E}">
        <p14:creationId xmlns:p14="http://schemas.microsoft.com/office/powerpoint/2010/main" val="378262763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09</a:t>
            </a:fld>
            <a:endParaRPr lang="en-US" dirty="0"/>
          </a:p>
        </p:txBody>
      </p:sp>
    </p:spTree>
    <p:extLst>
      <p:ext uri="{BB962C8B-B14F-4D97-AF65-F5344CB8AC3E}">
        <p14:creationId xmlns:p14="http://schemas.microsoft.com/office/powerpoint/2010/main" val="322547455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1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1</a:t>
            </a:fld>
            <a:endParaRPr lang="en-US" dirty="0"/>
          </a:p>
        </p:txBody>
      </p:sp>
    </p:spTree>
    <p:extLst>
      <p:ext uri="{BB962C8B-B14F-4D97-AF65-F5344CB8AC3E}">
        <p14:creationId xmlns:p14="http://schemas.microsoft.com/office/powerpoint/2010/main" val="11495496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GB" dirty="0"/>
              <a:t>Sophia Aug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2</a:t>
            </a:fld>
            <a:endParaRPr lang="en-US" dirty="0"/>
          </a:p>
        </p:txBody>
      </p:sp>
    </p:spTree>
    <p:extLst>
      <p:ext uri="{BB962C8B-B14F-4D97-AF65-F5344CB8AC3E}">
        <p14:creationId xmlns:p14="http://schemas.microsoft.com/office/powerpoint/2010/main" val="178242906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16</a:t>
            </a:fld>
            <a:endParaRPr lang="en-US" dirty="0"/>
          </a:p>
        </p:txBody>
      </p:sp>
    </p:spTree>
    <p:extLst>
      <p:ext uri="{BB962C8B-B14F-4D97-AF65-F5344CB8AC3E}">
        <p14:creationId xmlns:p14="http://schemas.microsoft.com/office/powerpoint/2010/main" val="323500297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2</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21</a:t>
            </a:fld>
            <a:endParaRPr kumimoji="1" lang="ja-JP" altLang="en-US"/>
          </a:p>
        </p:txBody>
      </p:sp>
    </p:spTree>
    <p:extLst>
      <p:ext uri="{BB962C8B-B14F-4D97-AF65-F5344CB8AC3E}">
        <p14:creationId xmlns:p14="http://schemas.microsoft.com/office/powerpoint/2010/main" val="30410743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r>
              <a:rPr lang="en-GB" dirty="0"/>
              <a:t>Hansonh</a:t>
            </a:r>
            <a:r>
              <a:rPr lang="en-GB" baseline="0" dirty="0"/>
              <a:t> 2</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24</a:t>
            </a:fld>
            <a:endParaRPr lang="en-US" dirty="0"/>
          </a:p>
        </p:txBody>
      </p:sp>
    </p:spTree>
    <p:extLst>
      <p:ext uri="{BB962C8B-B14F-4D97-AF65-F5344CB8AC3E}">
        <p14:creationId xmlns:p14="http://schemas.microsoft.com/office/powerpoint/2010/main" val="54771342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5</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26</a:t>
            </a:fld>
            <a:endParaRPr lang="en-US" dirty="0"/>
          </a:p>
        </p:txBody>
      </p:sp>
    </p:spTree>
    <p:extLst>
      <p:ext uri="{BB962C8B-B14F-4D97-AF65-F5344CB8AC3E}">
        <p14:creationId xmlns:p14="http://schemas.microsoft.com/office/powerpoint/2010/main" val="332542041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28</a:t>
            </a:fld>
            <a:endParaRPr lang="en-US" dirty="0"/>
          </a:p>
        </p:txBody>
      </p:sp>
    </p:spTree>
    <p:extLst>
      <p:ext uri="{BB962C8B-B14F-4D97-AF65-F5344CB8AC3E}">
        <p14:creationId xmlns:p14="http://schemas.microsoft.com/office/powerpoint/2010/main" val="21146463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28</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3</a:t>
            </a:fld>
            <a:endParaRPr kumimoji="1" lang="ja-JP" altLang="en-US"/>
          </a:p>
        </p:txBody>
      </p:sp>
    </p:spTree>
    <p:extLst>
      <p:ext uri="{BB962C8B-B14F-4D97-AF65-F5344CB8AC3E}">
        <p14:creationId xmlns:p14="http://schemas.microsoft.com/office/powerpoint/2010/main" val="401002808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Hansonh 4</a:t>
            </a:r>
            <a:endParaRPr lang="zh-CN" altLang="en-US" dirty="0"/>
          </a:p>
        </p:txBody>
      </p:sp>
      <p:sp>
        <p:nvSpPr>
          <p:cNvPr id="4" name="灯片编号占位符 3"/>
          <p:cNvSpPr>
            <a:spLocks noGrp="1"/>
          </p:cNvSpPr>
          <p:nvPr>
            <p:ph type="sldNum" sz="quarter" idx="10"/>
          </p:nvPr>
        </p:nvSpPr>
        <p:spPr/>
        <p:txBody>
          <a:bodyPr/>
          <a:lstStyle/>
          <a:p>
            <a:fld id="{A26B02EC-97C0-4E19-AA45-E904FCC1D11E}" type="slidenum">
              <a:rPr lang="en-GB" smtClean="0"/>
              <a:pPr/>
              <a:t>232</a:t>
            </a:fld>
            <a:endParaRPr lang="en-GB"/>
          </a:p>
        </p:txBody>
      </p:sp>
    </p:spTree>
    <p:extLst>
      <p:ext uri="{BB962C8B-B14F-4D97-AF65-F5344CB8AC3E}">
        <p14:creationId xmlns:p14="http://schemas.microsoft.com/office/powerpoint/2010/main" val="126383673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3</a:t>
            </a:fld>
            <a:endParaRPr lang="en-US" dirty="0"/>
          </a:p>
        </p:txBody>
      </p:sp>
    </p:spTree>
    <p:extLst>
      <p:ext uri="{BB962C8B-B14F-4D97-AF65-F5344CB8AC3E}">
        <p14:creationId xmlns:p14="http://schemas.microsoft.com/office/powerpoint/2010/main" val="23280857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4</a:t>
            </a:fld>
            <a:endParaRPr lang="en-US" dirty="0"/>
          </a:p>
        </p:txBody>
      </p:sp>
    </p:spTree>
    <p:extLst>
      <p:ext uri="{BB962C8B-B14F-4D97-AF65-F5344CB8AC3E}">
        <p14:creationId xmlns:p14="http://schemas.microsoft.com/office/powerpoint/2010/main" val="141048162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7</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5</a:t>
            </a:fld>
            <a:endParaRPr lang="en-US" dirty="0"/>
          </a:p>
        </p:txBody>
      </p:sp>
    </p:spTree>
    <p:extLst>
      <p:ext uri="{BB962C8B-B14F-4D97-AF65-F5344CB8AC3E}">
        <p14:creationId xmlns:p14="http://schemas.microsoft.com/office/powerpoint/2010/main" val="147879086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8</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6</a:t>
            </a:fld>
            <a:endParaRPr lang="en-US" dirty="0"/>
          </a:p>
        </p:txBody>
      </p:sp>
    </p:spTree>
    <p:extLst>
      <p:ext uri="{BB962C8B-B14F-4D97-AF65-F5344CB8AC3E}">
        <p14:creationId xmlns:p14="http://schemas.microsoft.com/office/powerpoint/2010/main" val="271169217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9</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7</a:t>
            </a:fld>
            <a:endParaRPr lang="en-US" dirty="0"/>
          </a:p>
        </p:txBody>
      </p:sp>
    </p:spTree>
    <p:extLst>
      <p:ext uri="{BB962C8B-B14F-4D97-AF65-F5344CB8AC3E}">
        <p14:creationId xmlns:p14="http://schemas.microsoft.com/office/powerpoint/2010/main" val="392898379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3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8</a:t>
            </a:fld>
            <a:endParaRPr lang="en-US" dirty="0"/>
          </a:p>
        </p:txBody>
      </p:sp>
    </p:spTree>
    <p:extLst>
      <p:ext uri="{BB962C8B-B14F-4D97-AF65-F5344CB8AC3E}">
        <p14:creationId xmlns:p14="http://schemas.microsoft.com/office/powerpoint/2010/main" val="289969869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39</a:t>
            </a:fld>
            <a:endParaRPr lang="en-US" dirty="0"/>
          </a:p>
        </p:txBody>
      </p:sp>
    </p:spTree>
    <p:extLst>
      <p:ext uri="{BB962C8B-B14F-4D97-AF65-F5344CB8AC3E}">
        <p14:creationId xmlns:p14="http://schemas.microsoft.com/office/powerpoint/2010/main" val="231077006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4</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40</a:t>
            </a:fld>
            <a:endParaRPr lang="en-US" dirty="0"/>
          </a:p>
        </p:txBody>
      </p:sp>
    </p:spTree>
    <p:extLst>
      <p:ext uri="{BB962C8B-B14F-4D97-AF65-F5344CB8AC3E}">
        <p14:creationId xmlns:p14="http://schemas.microsoft.com/office/powerpoint/2010/main" val="8606581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Graph out of the numbers</a:t>
            </a:r>
          </a:p>
        </p:txBody>
      </p:sp>
      <p:sp>
        <p:nvSpPr>
          <p:cNvPr id="4" name="Slide Number Placeholder 3"/>
          <p:cNvSpPr>
            <a:spLocks noGrp="1"/>
          </p:cNvSpPr>
          <p:nvPr>
            <p:ph type="sldNum" sz="quarter" idx="10"/>
          </p:nvPr>
        </p:nvSpPr>
        <p:spPr/>
        <p:txBody>
          <a:bodyPr/>
          <a:lstStyle/>
          <a:p>
            <a:fld id="{C0F4A2C8-6C88-4E71-83EE-698B9D4FE22F}" type="slidenum">
              <a:rPr lang="en-GB" smtClean="0"/>
              <a:pPr/>
              <a:t>241</a:t>
            </a:fld>
            <a:endParaRPr lang="en-GB"/>
          </a:p>
        </p:txBody>
      </p:sp>
    </p:spTree>
    <p:extLst>
      <p:ext uri="{BB962C8B-B14F-4D97-AF65-F5344CB8AC3E}">
        <p14:creationId xmlns:p14="http://schemas.microsoft.com/office/powerpoint/2010/main" val="3600450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altLang="zh-CN" dirty="0"/>
              <a:t>Van 6</a:t>
            </a:r>
            <a:endParaRPr lang="zh-CN" alt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313426490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44</a:t>
            </a:fld>
            <a:endParaRPr lang="en-US" dirty="0"/>
          </a:p>
        </p:txBody>
      </p:sp>
    </p:spTree>
    <p:extLst>
      <p:ext uri="{BB962C8B-B14F-4D97-AF65-F5344CB8AC3E}">
        <p14:creationId xmlns:p14="http://schemas.microsoft.com/office/powerpoint/2010/main" val="364384660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45</a:t>
            </a:fld>
            <a:endParaRPr lang="en-US" dirty="0"/>
          </a:p>
        </p:txBody>
      </p:sp>
    </p:spTree>
    <p:extLst>
      <p:ext uri="{BB962C8B-B14F-4D97-AF65-F5344CB8AC3E}">
        <p14:creationId xmlns:p14="http://schemas.microsoft.com/office/powerpoint/2010/main" val="4271189751"/>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47</a:t>
            </a:fld>
            <a:endParaRPr lang="en-US" dirty="0"/>
          </a:p>
        </p:txBody>
      </p:sp>
    </p:spTree>
    <p:extLst>
      <p:ext uri="{BB962C8B-B14F-4D97-AF65-F5344CB8AC3E}">
        <p14:creationId xmlns:p14="http://schemas.microsoft.com/office/powerpoint/2010/main" val="919504822"/>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50</a:t>
            </a:fld>
            <a:endParaRPr lang="en-US" dirty="0"/>
          </a:p>
        </p:txBody>
      </p:sp>
    </p:spTree>
    <p:extLst>
      <p:ext uri="{BB962C8B-B14F-4D97-AF65-F5344CB8AC3E}">
        <p14:creationId xmlns:p14="http://schemas.microsoft.com/office/powerpoint/2010/main" val="267107674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30</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51</a:t>
            </a:fld>
            <a:endParaRPr lang="en-US" dirty="0"/>
          </a:p>
        </p:txBody>
      </p:sp>
    </p:spTree>
    <p:extLst>
      <p:ext uri="{BB962C8B-B14F-4D97-AF65-F5344CB8AC3E}">
        <p14:creationId xmlns:p14="http://schemas.microsoft.com/office/powerpoint/2010/main" val="372132691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Aug 7</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7</a:t>
            </a:fld>
            <a:endParaRPr lang="en-US" dirty="0"/>
          </a:p>
        </p:txBody>
      </p:sp>
    </p:spTree>
    <p:extLst>
      <p:ext uri="{BB962C8B-B14F-4D97-AF65-F5344CB8AC3E}">
        <p14:creationId xmlns:p14="http://schemas.microsoft.com/office/powerpoint/2010/main" val="257609603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Aug 9</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8</a:t>
            </a:fld>
            <a:endParaRPr lang="en-US" dirty="0"/>
          </a:p>
        </p:txBody>
      </p:sp>
    </p:spTree>
    <p:extLst>
      <p:ext uri="{BB962C8B-B14F-4D97-AF65-F5344CB8AC3E}">
        <p14:creationId xmlns:p14="http://schemas.microsoft.com/office/powerpoint/2010/main" val="421135832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a:t>
            </a:r>
            <a:r>
              <a:rPr lang="en-GB" baseline="0" dirty="0"/>
              <a:t> 3</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9</a:t>
            </a:fld>
            <a:endParaRPr lang="en-US" dirty="0"/>
          </a:p>
        </p:txBody>
      </p:sp>
    </p:spTree>
    <p:extLst>
      <p:ext uri="{BB962C8B-B14F-4D97-AF65-F5344CB8AC3E}">
        <p14:creationId xmlns:p14="http://schemas.microsoft.com/office/powerpoint/2010/main" val="91246383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8</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60</a:t>
            </a:fld>
            <a:endParaRPr lang="en-US" dirty="0"/>
          </a:p>
        </p:txBody>
      </p:sp>
    </p:spTree>
    <p:extLst>
      <p:ext uri="{BB962C8B-B14F-4D97-AF65-F5344CB8AC3E}">
        <p14:creationId xmlns:p14="http://schemas.microsoft.com/office/powerpoint/2010/main" val="8622976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July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62</a:t>
            </a:fld>
            <a:endParaRPr lang="en-US" dirty="0"/>
          </a:p>
        </p:txBody>
      </p:sp>
    </p:spTree>
    <p:extLst>
      <p:ext uri="{BB962C8B-B14F-4D97-AF65-F5344CB8AC3E}">
        <p14:creationId xmlns:p14="http://schemas.microsoft.com/office/powerpoint/2010/main" val="880992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0</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6</a:t>
            </a:fld>
            <a:endParaRPr kumimoji="1" lang="ja-JP" altLang="en-US"/>
          </a:p>
        </p:txBody>
      </p:sp>
    </p:spTree>
    <p:extLst>
      <p:ext uri="{BB962C8B-B14F-4D97-AF65-F5344CB8AC3E}">
        <p14:creationId xmlns:p14="http://schemas.microsoft.com/office/powerpoint/2010/main" val="403573623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Hansonh</a:t>
            </a:r>
            <a:r>
              <a:rPr lang="en-GB" baseline="0" dirty="0"/>
              <a:t>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1</a:t>
            </a:fld>
            <a:endParaRPr lang="en-US" dirty="0"/>
          </a:p>
        </p:txBody>
      </p:sp>
    </p:spTree>
    <p:extLst>
      <p:ext uri="{BB962C8B-B14F-4D97-AF65-F5344CB8AC3E}">
        <p14:creationId xmlns:p14="http://schemas.microsoft.com/office/powerpoint/2010/main" val="1813878023"/>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7</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82</a:t>
            </a:fld>
            <a:endParaRPr kumimoji="1" lang="ja-JP" altLang="en-US"/>
          </a:p>
        </p:txBody>
      </p:sp>
    </p:spTree>
    <p:extLst>
      <p:ext uri="{BB962C8B-B14F-4D97-AF65-F5344CB8AC3E}">
        <p14:creationId xmlns:p14="http://schemas.microsoft.com/office/powerpoint/2010/main" val="184156691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8</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83</a:t>
            </a:fld>
            <a:endParaRPr kumimoji="1" lang="ja-JP" altLang="en-US"/>
          </a:p>
        </p:txBody>
      </p:sp>
    </p:spTree>
    <p:extLst>
      <p:ext uri="{BB962C8B-B14F-4D97-AF65-F5344CB8AC3E}">
        <p14:creationId xmlns:p14="http://schemas.microsoft.com/office/powerpoint/2010/main" val="126781365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84</a:t>
            </a:fld>
            <a:endParaRPr lang="en-US" dirty="0"/>
          </a:p>
        </p:txBody>
      </p:sp>
    </p:spTree>
    <p:extLst>
      <p:ext uri="{BB962C8B-B14F-4D97-AF65-F5344CB8AC3E}">
        <p14:creationId xmlns:p14="http://schemas.microsoft.com/office/powerpoint/2010/main" val="223311098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1200" kern="1200" dirty="0">
                <a:solidFill>
                  <a:schemeClr val="tx1"/>
                </a:solidFill>
                <a:effectLst/>
                <a:latin typeface="Arial" panose="020B0604020202020204" pitchFamily="34" charset="0"/>
                <a:ea typeface="+mn-ea"/>
                <a:cs typeface="+mn-cs"/>
              </a:rPr>
              <a:t>Neko Aug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6</a:t>
            </a:fld>
            <a:endParaRPr lang="en-US" dirty="0"/>
          </a:p>
        </p:txBody>
      </p:sp>
    </p:spTree>
    <p:extLst>
      <p:ext uri="{BB962C8B-B14F-4D97-AF65-F5344CB8AC3E}">
        <p14:creationId xmlns:p14="http://schemas.microsoft.com/office/powerpoint/2010/main" val="412504042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Aug </a:t>
            </a:r>
            <a:r>
              <a:rPr lang="en-US" altLang="zh-CN" dirty="0"/>
              <a:t>6</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7</a:t>
            </a:fld>
            <a:endParaRPr lang="en-US" dirty="0"/>
          </a:p>
        </p:txBody>
      </p:sp>
    </p:spTree>
    <p:extLst>
      <p:ext uri="{BB962C8B-B14F-4D97-AF65-F5344CB8AC3E}">
        <p14:creationId xmlns:p14="http://schemas.microsoft.com/office/powerpoint/2010/main" val="197205251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7</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8</a:t>
            </a:fld>
            <a:endParaRPr lang="en-US" dirty="0"/>
          </a:p>
        </p:txBody>
      </p:sp>
    </p:spTree>
    <p:extLst>
      <p:ext uri="{BB962C8B-B14F-4D97-AF65-F5344CB8AC3E}">
        <p14:creationId xmlns:p14="http://schemas.microsoft.com/office/powerpoint/2010/main" val="133856842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8</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9</a:t>
            </a:fld>
            <a:endParaRPr lang="en-US" dirty="0"/>
          </a:p>
        </p:txBody>
      </p:sp>
    </p:spTree>
    <p:extLst>
      <p:ext uri="{BB962C8B-B14F-4D97-AF65-F5344CB8AC3E}">
        <p14:creationId xmlns:p14="http://schemas.microsoft.com/office/powerpoint/2010/main" val="90609196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6</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90</a:t>
            </a:fld>
            <a:endParaRPr lang="en-US" dirty="0"/>
          </a:p>
        </p:txBody>
      </p:sp>
    </p:spTree>
    <p:extLst>
      <p:ext uri="{BB962C8B-B14F-4D97-AF65-F5344CB8AC3E}">
        <p14:creationId xmlns:p14="http://schemas.microsoft.com/office/powerpoint/2010/main" val="18268775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nya Aug </a:t>
            </a:r>
            <a:r>
              <a:rPr lang="en-US" altLang="zh-CN" dirty="0"/>
              <a:t>5</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91</a:t>
            </a:fld>
            <a:endParaRPr lang="en-US" dirty="0"/>
          </a:p>
        </p:txBody>
      </p:sp>
    </p:spTree>
    <p:extLst>
      <p:ext uri="{BB962C8B-B14F-4D97-AF65-F5344CB8AC3E}">
        <p14:creationId xmlns:p14="http://schemas.microsoft.com/office/powerpoint/2010/main" val="9041214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7</a:t>
            </a:fld>
            <a:endParaRPr lang="en-US" dirty="0"/>
          </a:p>
        </p:txBody>
      </p:sp>
    </p:spTree>
    <p:extLst>
      <p:ext uri="{BB962C8B-B14F-4D97-AF65-F5344CB8AC3E}">
        <p14:creationId xmlns:p14="http://schemas.microsoft.com/office/powerpoint/2010/main" val="198350001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292</a:t>
            </a:fld>
            <a:endParaRPr lang="en-GB"/>
          </a:p>
        </p:txBody>
      </p:sp>
    </p:spTree>
    <p:extLst>
      <p:ext uri="{BB962C8B-B14F-4D97-AF65-F5344CB8AC3E}">
        <p14:creationId xmlns:p14="http://schemas.microsoft.com/office/powerpoint/2010/main" val="82110132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Olivia 3</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93</a:t>
            </a:fld>
            <a:endParaRPr kumimoji="1" lang="ja-JP" altLang="en-US"/>
          </a:p>
        </p:txBody>
      </p:sp>
    </p:spTree>
    <p:extLst>
      <p:ext uri="{BB962C8B-B14F-4D97-AF65-F5344CB8AC3E}">
        <p14:creationId xmlns:p14="http://schemas.microsoft.com/office/powerpoint/2010/main" val="3298441037"/>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dirty="0"/>
              <a:t>Lulu 1</a:t>
            </a:r>
          </a:p>
        </p:txBody>
      </p:sp>
      <p:sp>
        <p:nvSpPr>
          <p:cNvPr id="4" name="灯片编号占位符 3"/>
          <p:cNvSpPr>
            <a:spLocks noGrp="1"/>
          </p:cNvSpPr>
          <p:nvPr>
            <p:ph type="sldNum" sz="quarter" idx="10"/>
          </p:nvPr>
        </p:nvSpPr>
        <p:spPr/>
        <p:txBody>
          <a:bodyPr/>
          <a:lstStyle/>
          <a:p>
            <a:fld id="{E85BFBE2-567B-442E-9CCA-D0E6C3FCD5AB}" type="slidenum">
              <a:rPr lang="en-US" smtClean="0"/>
              <a:t>295</a:t>
            </a:fld>
            <a:endParaRPr lang="en-US"/>
          </a:p>
        </p:txBody>
      </p:sp>
    </p:spTree>
    <p:extLst>
      <p:ext uri="{BB962C8B-B14F-4D97-AF65-F5344CB8AC3E}">
        <p14:creationId xmlns:p14="http://schemas.microsoft.com/office/powerpoint/2010/main" val="3978992082"/>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dirty="0"/>
              <a:t>Lulu Aug 1</a:t>
            </a:r>
          </a:p>
        </p:txBody>
      </p:sp>
      <p:sp>
        <p:nvSpPr>
          <p:cNvPr id="4" name="灯片编号占位符 3"/>
          <p:cNvSpPr>
            <a:spLocks noGrp="1"/>
          </p:cNvSpPr>
          <p:nvPr>
            <p:ph type="sldNum" sz="quarter" idx="10"/>
          </p:nvPr>
        </p:nvSpPr>
        <p:spPr/>
        <p:txBody>
          <a:bodyPr/>
          <a:lstStyle/>
          <a:p>
            <a:fld id="{C0F4A2C8-6C88-4E71-83EE-698B9D4FE22F}" type="slidenum">
              <a:rPr lang="en-US" smtClean="0"/>
              <a:pPr/>
              <a:t>296</a:t>
            </a:fld>
            <a:endParaRPr lang="en-US" dirty="0"/>
          </a:p>
        </p:txBody>
      </p:sp>
    </p:spTree>
    <p:extLst>
      <p:ext uri="{BB962C8B-B14F-4D97-AF65-F5344CB8AC3E}">
        <p14:creationId xmlns:p14="http://schemas.microsoft.com/office/powerpoint/2010/main" val="291690387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97</a:t>
            </a:fld>
            <a:endParaRPr lang="en-US"/>
          </a:p>
        </p:txBody>
      </p:sp>
    </p:spTree>
    <p:extLst>
      <p:ext uri="{BB962C8B-B14F-4D97-AF65-F5344CB8AC3E}">
        <p14:creationId xmlns:p14="http://schemas.microsoft.com/office/powerpoint/2010/main" val="352797038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99</a:t>
            </a:fld>
            <a:endParaRPr lang="en-US" dirty="0"/>
          </a:p>
        </p:txBody>
      </p:sp>
    </p:spTree>
    <p:extLst>
      <p:ext uri="{BB962C8B-B14F-4D97-AF65-F5344CB8AC3E}">
        <p14:creationId xmlns:p14="http://schemas.microsoft.com/office/powerpoint/2010/main" val="294397784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Aug 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01</a:t>
            </a:fld>
            <a:endParaRPr lang="en-US" dirty="0"/>
          </a:p>
        </p:txBody>
      </p:sp>
    </p:spTree>
    <p:extLst>
      <p:ext uri="{BB962C8B-B14F-4D97-AF65-F5344CB8AC3E}">
        <p14:creationId xmlns:p14="http://schemas.microsoft.com/office/powerpoint/2010/main" val="1393453887"/>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dirty="0"/>
              <a:t>Vanya Aug 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02</a:t>
            </a:fld>
            <a:endParaRPr lang="en-US" dirty="0"/>
          </a:p>
        </p:txBody>
      </p:sp>
    </p:spTree>
    <p:extLst>
      <p:ext uri="{BB962C8B-B14F-4D97-AF65-F5344CB8AC3E}">
        <p14:creationId xmlns:p14="http://schemas.microsoft.com/office/powerpoint/2010/main" val="172310270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Aug 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03</a:t>
            </a:fld>
            <a:endParaRPr lang="en-US" dirty="0"/>
          </a:p>
        </p:txBody>
      </p:sp>
    </p:spTree>
    <p:extLst>
      <p:ext uri="{BB962C8B-B14F-4D97-AF65-F5344CB8AC3E}">
        <p14:creationId xmlns:p14="http://schemas.microsoft.com/office/powerpoint/2010/main" val="100474778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4</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312</a:t>
            </a:fld>
            <a:endParaRPr kumimoji="1" lang="ja-JP" altLang="en-US"/>
          </a:p>
        </p:txBody>
      </p:sp>
    </p:spTree>
    <p:extLst>
      <p:ext uri="{BB962C8B-B14F-4D97-AF65-F5344CB8AC3E}">
        <p14:creationId xmlns:p14="http://schemas.microsoft.com/office/powerpoint/2010/main" val="25978870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Aug 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2</a:t>
            </a:fld>
            <a:endParaRPr lang="en-US" dirty="0"/>
          </a:p>
        </p:txBody>
      </p:sp>
    </p:spTree>
    <p:extLst>
      <p:ext uri="{BB962C8B-B14F-4D97-AF65-F5344CB8AC3E}">
        <p14:creationId xmlns:p14="http://schemas.microsoft.com/office/powerpoint/2010/main" val="1773390963"/>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1200" kern="1200" dirty="0">
                <a:solidFill>
                  <a:schemeClr val="tx1"/>
                </a:solidFill>
                <a:effectLst/>
                <a:latin typeface="Arial" panose="020B0604020202020204" pitchFamily="34" charset="0"/>
                <a:ea typeface="+mn-ea"/>
                <a:cs typeface="+mn-cs"/>
              </a:rPr>
              <a:t>Neko Aug 5</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13</a:t>
            </a:fld>
            <a:endParaRPr lang="en-US" dirty="0"/>
          </a:p>
        </p:txBody>
      </p:sp>
    </p:spTree>
    <p:extLst>
      <p:ext uri="{BB962C8B-B14F-4D97-AF65-F5344CB8AC3E}">
        <p14:creationId xmlns:p14="http://schemas.microsoft.com/office/powerpoint/2010/main" val="276656978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r>
              <a:rPr lang="en-US"/>
              <a:t>Self explanatory</a:t>
            </a:r>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0778898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762402"/>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0078393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Hansonh Aug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19</a:t>
            </a:fld>
            <a:endParaRPr lang="en-US" dirty="0"/>
          </a:p>
        </p:txBody>
      </p:sp>
    </p:spTree>
    <p:extLst>
      <p:ext uri="{BB962C8B-B14F-4D97-AF65-F5344CB8AC3E}">
        <p14:creationId xmlns:p14="http://schemas.microsoft.com/office/powerpoint/2010/main" val="207655637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eon</a:t>
            </a:r>
            <a:r>
              <a:rPr lang="en-GB" baseline="0" dirty="0"/>
              <a:t> 4</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320</a:t>
            </a:fld>
            <a:endParaRPr kumimoji="1" lang="ja-JP" altLang="en-US"/>
          </a:p>
        </p:txBody>
      </p:sp>
    </p:spTree>
    <p:extLst>
      <p:ext uri="{BB962C8B-B14F-4D97-AF65-F5344CB8AC3E}">
        <p14:creationId xmlns:p14="http://schemas.microsoft.com/office/powerpoint/2010/main" val="41122384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7</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5</a:t>
            </a:fld>
            <a:endParaRPr lang="en-US" dirty="0"/>
          </a:p>
        </p:txBody>
      </p:sp>
    </p:spTree>
    <p:extLst>
      <p:ext uri="{BB962C8B-B14F-4D97-AF65-F5344CB8AC3E}">
        <p14:creationId xmlns:p14="http://schemas.microsoft.com/office/powerpoint/2010/main" val="29475989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7</a:t>
            </a:fld>
            <a:endParaRPr lang="en-US" dirty="0"/>
          </a:p>
        </p:txBody>
      </p:sp>
    </p:spTree>
    <p:extLst>
      <p:ext uri="{BB962C8B-B14F-4D97-AF65-F5344CB8AC3E}">
        <p14:creationId xmlns:p14="http://schemas.microsoft.com/office/powerpoint/2010/main" val="30811865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8</a:t>
            </a:fld>
            <a:endParaRPr lang="en-US" dirty="0"/>
          </a:p>
        </p:txBody>
      </p:sp>
    </p:spTree>
    <p:extLst>
      <p:ext uri="{BB962C8B-B14F-4D97-AF65-F5344CB8AC3E}">
        <p14:creationId xmlns:p14="http://schemas.microsoft.com/office/powerpoint/2010/main" val="37072964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4444618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9</a:t>
            </a:fld>
            <a:endParaRPr lang="en-US" dirty="0"/>
          </a:p>
        </p:txBody>
      </p:sp>
    </p:spTree>
    <p:extLst>
      <p:ext uri="{BB962C8B-B14F-4D97-AF65-F5344CB8AC3E}">
        <p14:creationId xmlns:p14="http://schemas.microsoft.com/office/powerpoint/2010/main" val="41287011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2</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45</a:t>
            </a:fld>
            <a:endParaRPr kumimoji="1" lang="ja-JP" altLang="en-US"/>
          </a:p>
        </p:txBody>
      </p:sp>
    </p:spTree>
    <p:extLst>
      <p:ext uri="{BB962C8B-B14F-4D97-AF65-F5344CB8AC3E}">
        <p14:creationId xmlns:p14="http://schemas.microsoft.com/office/powerpoint/2010/main" val="2918629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28</a:t>
            </a:r>
          </a:p>
        </p:txBody>
      </p:sp>
      <p:sp>
        <p:nvSpPr>
          <p:cNvPr id="4" name="Slide Number Placeholder 3"/>
          <p:cNvSpPr>
            <a:spLocks noGrp="1"/>
          </p:cNvSpPr>
          <p:nvPr>
            <p:ph type="sldNum" sz="quarter" idx="10"/>
          </p:nvPr>
        </p:nvSpPr>
        <p:spPr/>
        <p:txBody>
          <a:bodyPr/>
          <a:lstStyle/>
          <a:p>
            <a:fld id="{C0F4A2C8-6C88-4E71-83EE-698B9D4FE22F}" type="slidenum">
              <a:rPr lang="en-US" smtClean="0"/>
              <a:pPr/>
              <a:t>47</a:t>
            </a:fld>
            <a:endParaRPr lang="en-US" dirty="0"/>
          </a:p>
        </p:txBody>
      </p:sp>
    </p:spTree>
    <p:extLst>
      <p:ext uri="{BB962C8B-B14F-4D97-AF65-F5344CB8AC3E}">
        <p14:creationId xmlns:p14="http://schemas.microsoft.com/office/powerpoint/2010/main" val="39654121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48</a:t>
            </a:fld>
            <a:endParaRPr lang="en-US" dirty="0"/>
          </a:p>
        </p:txBody>
      </p:sp>
    </p:spTree>
    <p:extLst>
      <p:ext uri="{BB962C8B-B14F-4D97-AF65-F5344CB8AC3E}">
        <p14:creationId xmlns:p14="http://schemas.microsoft.com/office/powerpoint/2010/main" val="31711140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3</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49</a:t>
            </a:fld>
            <a:endParaRPr kumimoji="1" lang="ja-JP" altLang="en-US"/>
          </a:p>
        </p:txBody>
      </p:sp>
    </p:spTree>
    <p:extLst>
      <p:ext uri="{BB962C8B-B14F-4D97-AF65-F5344CB8AC3E}">
        <p14:creationId xmlns:p14="http://schemas.microsoft.com/office/powerpoint/2010/main" val="18789879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1</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50</a:t>
            </a:fld>
            <a:endParaRPr kumimoji="1" lang="ja-JP" altLang="en-US"/>
          </a:p>
        </p:txBody>
      </p:sp>
    </p:spTree>
    <p:extLst>
      <p:ext uri="{BB962C8B-B14F-4D97-AF65-F5344CB8AC3E}">
        <p14:creationId xmlns:p14="http://schemas.microsoft.com/office/powerpoint/2010/main" val="18968511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4</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51</a:t>
            </a:fld>
            <a:endParaRPr kumimoji="1" lang="ja-JP" altLang="en-US"/>
          </a:p>
        </p:txBody>
      </p:sp>
    </p:spTree>
    <p:extLst>
      <p:ext uri="{BB962C8B-B14F-4D97-AF65-F5344CB8AC3E}">
        <p14:creationId xmlns:p14="http://schemas.microsoft.com/office/powerpoint/2010/main" val="410801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52</a:t>
            </a:fld>
            <a:endParaRPr lang="en-US" dirty="0"/>
          </a:p>
        </p:txBody>
      </p:sp>
    </p:spTree>
    <p:extLst>
      <p:ext uri="{BB962C8B-B14F-4D97-AF65-F5344CB8AC3E}">
        <p14:creationId xmlns:p14="http://schemas.microsoft.com/office/powerpoint/2010/main" val="15472331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Hansonh 5</a:t>
            </a:r>
            <a:endParaRPr lang="zh-CN" altLang="en-US" dirty="0"/>
          </a:p>
        </p:txBody>
      </p:sp>
      <p:sp>
        <p:nvSpPr>
          <p:cNvPr id="4" name="灯片编号占位符 3"/>
          <p:cNvSpPr>
            <a:spLocks noGrp="1"/>
          </p:cNvSpPr>
          <p:nvPr>
            <p:ph type="sldNum" sz="quarter" idx="10"/>
          </p:nvPr>
        </p:nvSpPr>
        <p:spPr/>
        <p:txBody>
          <a:bodyPr/>
          <a:lstStyle/>
          <a:p>
            <a:fld id="{A26B02EC-97C0-4E19-AA45-E904FCC1D11E}" type="slidenum">
              <a:rPr lang="en-GB" smtClean="0"/>
              <a:pPr/>
              <a:t>53</a:t>
            </a:fld>
            <a:endParaRPr lang="en-GB"/>
          </a:p>
        </p:txBody>
      </p:sp>
    </p:spTree>
    <p:extLst>
      <p:ext uri="{BB962C8B-B14F-4D97-AF65-F5344CB8AC3E}">
        <p14:creationId xmlns:p14="http://schemas.microsoft.com/office/powerpoint/2010/main" val="26749930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5</a:t>
            </a:fld>
            <a:endParaRPr lang="en-US" dirty="0"/>
          </a:p>
        </p:txBody>
      </p:sp>
    </p:spTree>
    <p:extLst>
      <p:ext uri="{BB962C8B-B14F-4D97-AF65-F5344CB8AC3E}">
        <p14:creationId xmlns:p14="http://schemas.microsoft.com/office/powerpoint/2010/main" val="770448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Laptop computer Deloitte login log in screen </a:t>
            </a:r>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1337259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1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9</a:t>
            </a:fld>
            <a:endParaRPr lang="en-US" dirty="0"/>
          </a:p>
        </p:txBody>
      </p:sp>
    </p:spTree>
    <p:extLst>
      <p:ext uri="{BB962C8B-B14F-4D97-AF65-F5344CB8AC3E}">
        <p14:creationId xmlns:p14="http://schemas.microsoft.com/office/powerpoint/2010/main" val="5626606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61</a:t>
            </a:fld>
            <a:endParaRPr lang="en-US" dirty="0"/>
          </a:p>
        </p:txBody>
      </p:sp>
    </p:spTree>
    <p:extLst>
      <p:ext uri="{BB962C8B-B14F-4D97-AF65-F5344CB8AC3E}">
        <p14:creationId xmlns:p14="http://schemas.microsoft.com/office/powerpoint/2010/main" val="13463632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62</a:t>
            </a:fld>
            <a:endParaRPr lang="en-US" dirty="0"/>
          </a:p>
        </p:txBody>
      </p:sp>
    </p:spTree>
    <p:extLst>
      <p:ext uri="{BB962C8B-B14F-4D97-AF65-F5344CB8AC3E}">
        <p14:creationId xmlns:p14="http://schemas.microsoft.com/office/powerpoint/2010/main" val="20106064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Aug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69</a:t>
            </a:fld>
            <a:endParaRPr lang="en-US" dirty="0"/>
          </a:p>
        </p:txBody>
      </p:sp>
    </p:spTree>
    <p:extLst>
      <p:ext uri="{BB962C8B-B14F-4D97-AF65-F5344CB8AC3E}">
        <p14:creationId xmlns:p14="http://schemas.microsoft.com/office/powerpoint/2010/main" val="8863598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3</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70</a:t>
            </a:fld>
            <a:endParaRPr kumimoji="1" lang="ja-JP" altLang="en-US"/>
          </a:p>
        </p:txBody>
      </p:sp>
    </p:spTree>
    <p:extLst>
      <p:ext uri="{BB962C8B-B14F-4D97-AF65-F5344CB8AC3E}">
        <p14:creationId xmlns:p14="http://schemas.microsoft.com/office/powerpoint/2010/main" val="35218036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71</a:t>
            </a:fld>
            <a:endParaRPr lang="en-US" dirty="0"/>
          </a:p>
        </p:txBody>
      </p:sp>
    </p:spTree>
    <p:extLst>
      <p:ext uri="{BB962C8B-B14F-4D97-AF65-F5344CB8AC3E}">
        <p14:creationId xmlns:p14="http://schemas.microsoft.com/office/powerpoint/2010/main" val="21557224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Vanya Aug </a:t>
            </a:r>
            <a:r>
              <a:rPr lang="en-US" altLang="zh-CN" dirty="0"/>
              <a:t>9</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6</a:t>
            </a:fld>
            <a:endParaRPr lang="en-US" dirty="0"/>
          </a:p>
        </p:txBody>
      </p:sp>
    </p:spTree>
    <p:extLst>
      <p:ext uri="{BB962C8B-B14F-4D97-AF65-F5344CB8AC3E}">
        <p14:creationId xmlns:p14="http://schemas.microsoft.com/office/powerpoint/2010/main" val="39715386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GB" dirty="0"/>
              <a:t>Olivia Aug 4</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7</a:t>
            </a:fld>
            <a:endParaRPr lang="en-US" dirty="0"/>
          </a:p>
        </p:txBody>
      </p:sp>
    </p:spTree>
    <p:extLst>
      <p:ext uri="{BB962C8B-B14F-4D97-AF65-F5344CB8AC3E}">
        <p14:creationId xmlns:p14="http://schemas.microsoft.com/office/powerpoint/2010/main" val="29188019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6</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9</a:t>
            </a:fld>
            <a:endParaRPr lang="en-US" dirty="0"/>
          </a:p>
        </p:txBody>
      </p:sp>
    </p:spTree>
    <p:extLst>
      <p:ext uri="{BB962C8B-B14F-4D97-AF65-F5344CB8AC3E}">
        <p14:creationId xmlns:p14="http://schemas.microsoft.com/office/powerpoint/2010/main" val="38416049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8</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2</a:t>
            </a:fld>
            <a:endParaRPr lang="en-US" dirty="0"/>
          </a:p>
        </p:txBody>
      </p:sp>
    </p:spTree>
    <p:extLst>
      <p:ext uri="{BB962C8B-B14F-4D97-AF65-F5344CB8AC3E}">
        <p14:creationId xmlns:p14="http://schemas.microsoft.com/office/powerpoint/2010/main" val="1859707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11401392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altLang="zh-CN" dirty="0"/>
              <a:t>Layla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4</a:t>
            </a:fld>
            <a:endParaRPr lang="en-US" dirty="0"/>
          </a:p>
        </p:txBody>
      </p:sp>
    </p:spTree>
    <p:extLst>
      <p:ext uri="{BB962C8B-B14F-4D97-AF65-F5344CB8AC3E}">
        <p14:creationId xmlns:p14="http://schemas.microsoft.com/office/powerpoint/2010/main" val="38268359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5</a:t>
            </a:fld>
            <a:endParaRPr lang="en-US" dirty="0"/>
          </a:p>
        </p:txBody>
      </p:sp>
    </p:spTree>
    <p:extLst>
      <p:ext uri="{BB962C8B-B14F-4D97-AF65-F5344CB8AC3E}">
        <p14:creationId xmlns:p14="http://schemas.microsoft.com/office/powerpoint/2010/main" val="1170915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2</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86</a:t>
            </a:fld>
            <a:endParaRPr kumimoji="1" lang="ja-JP" altLang="en-US"/>
          </a:p>
        </p:txBody>
      </p:sp>
    </p:spTree>
    <p:extLst>
      <p:ext uri="{BB962C8B-B14F-4D97-AF65-F5344CB8AC3E}">
        <p14:creationId xmlns:p14="http://schemas.microsoft.com/office/powerpoint/2010/main" val="342264671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87</a:t>
            </a:fld>
            <a:endParaRPr kumimoji="1" lang="ja-JP" altLang="en-US"/>
          </a:p>
        </p:txBody>
      </p:sp>
    </p:spTree>
    <p:extLst>
      <p:ext uri="{BB962C8B-B14F-4D97-AF65-F5344CB8AC3E}">
        <p14:creationId xmlns:p14="http://schemas.microsoft.com/office/powerpoint/2010/main" val="39677122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1</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88</a:t>
            </a:fld>
            <a:endParaRPr kumimoji="1" lang="ja-JP" altLang="en-US"/>
          </a:p>
        </p:txBody>
      </p:sp>
    </p:spTree>
    <p:extLst>
      <p:ext uri="{BB962C8B-B14F-4D97-AF65-F5344CB8AC3E}">
        <p14:creationId xmlns:p14="http://schemas.microsoft.com/office/powerpoint/2010/main" val="9954095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7</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9</a:t>
            </a:fld>
            <a:endParaRPr lang="en-US" dirty="0"/>
          </a:p>
        </p:txBody>
      </p:sp>
    </p:spTree>
    <p:extLst>
      <p:ext uri="{BB962C8B-B14F-4D97-AF65-F5344CB8AC3E}">
        <p14:creationId xmlns:p14="http://schemas.microsoft.com/office/powerpoint/2010/main" val="133533156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8</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91</a:t>
            </a:fld>
            <a:endParaRPr kumimoji="1" lang="ja-JP" altLang="en-US"/>
          </a:p>
        </p:txBody>
      </p:sp>
    </p:spTree>
    <p:extLst>
      <p:ext uri="{BB962C8B-B14F-4D97-AF65-F5344CB8AC3E}">
        <p14:creationId xmlns:p14="http://schemas.microsoft.com/office/powerpoint/2010/main" val="24328300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2</a:t>
            </a:fld>
            <a:endParaRPr lang="en-US" dirty="0"/>
          </a:p>
        </p:txBody>
      </p:sp>
    </p:spTree>
    <p:extLst>
      <p:ext uri="{BB962C8B-B14F-4D97-AF65-F5344CB8AC3E}">
        <p14:creationId xmlns:p14="http://schemas.microsoft.com/office/powerpoint/2010/main" val="203303709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20</a:t>
            </a:r>
          </a:p>
        </p:txBody>
      </p:sp>
      <p:sp>
        <p:nvSpPr>
          <p:cNvPr id="4" name="Slide Number Placeholder 3"/>
          <p:cNvSpPr>
            <a:spLocks noGrp="1"/>
          </p:cNvSpPr>
          <p:nvPr>
            <p:ph type="sldNum" sz="quarter" idx="10"/>
          </p:nvPr>
        </p:nvSpPr>
        <p:spPr/>
        <p:txBody>
          <a:bodyPr/>
          <a:lstStyle/>
          <a:p>
            <a:fld id="{C0F4A2C8-6C88-4E71-83EE-698B9D4FE22F}" type="slidenum">
              <a:rPr lang="en-US" smtClean="0"/>
              <a:pPr/>
              <a:t>93</a:t>
            </a:fld>
            <a:endParaRPr lang="en-US" dirty="0"/>
          </a:p>
        </p:txBody>
      </p:sp>
    </p:spTree>
    <p:extLst>
      <p:ext uri="{BB962C8B-B14F-4D97-AF65-F5344CB8AC3E}">
        <p14:creationId xmlns:p14="http://schemas.microsoft.com/office/powerpoint/2010/main" val="190702825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94</a:t>
            </a:fld>
            <a:endParaRPr lang="en-US" dirty="0"/>
          </a:p>
        </p:txBody>
      </p:sp>
    </p:spTree>
    <p:extLst>
      <p:ext uri="{BB962C8B-B14F-4D97-AF65-F5344CB8AC3E}">
        <p14:creationId xmlns:p14="http://schemas.microsoft.com/office/powerpoint/2010/main" val="3154506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Lulu</a:t>
            </a:r>
            <a:r>
              <a:rPr lang="en-US" baseline="0" dirty="0"/>
              <a:t> July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378456825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2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95</a:t>
            </a:fld>
            <a:endParaRPr lang="en-US" dirty="0"/>
          </a:p>
        </p:txBody>
      </p:sp>
    </p:spTree>
    <p:extLst>
      <p:ext uri="{BB962C8B-B14F-4D97-AF65-F5344CB8AC3E}">
        <p14:creationId xmlns:p14="http://schemas.microsoft.com/office/powerpoint/2010/main" val="55903552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9</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96</a:t>
            </a:fld>
            <a:endParaRPr kumimoji="1" lang="ja-JP" altLang="en-US"/>
          </a:p>
        </p:txBody>
      </p:sp>
    </p:spTree>
    <p:extLst>
      <p:ext uri="{BB962C8B-B14F-4D97-AF65-F5344CB8AC3E}">
        <p14:creationId xmlns:p14="http://schemas.microsoft.com/office/powerpoint/2010/main" val="8935228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98</a:t>
            </a:fld>
            <a:endParaRPr lang="en-US" dirty="0"/>
          </a:p>
        </p:txBody>
      </p:sp>
    </p:spTree>
    <p:extLst>
      <p:ext uri="{BB962C8B-B14F-4D97-AF65-F5344CB8AC3E}">
        <p14:creationId xmlns:p14="http://schemas.microsoft.com/office/powerpoint/2010/main" val="1461079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9</a:t>
            </a:fld>
            <a:endParaRPr lang="en-US" dirty="0"/>
          </a:p>
        </p:txBody>
      </p:sp>
    </p:spTree>
    <p:extLst>
      <p:ext uri="{BB962C8B-B14F-4D97-AF65-F5344CB8AC3E}">
        <p14:creationId xmlns:p14="http://schemas.microsoft.com/office/powerpoint/2010/main" val="797533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4</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0</a:t>
            </a:fld>
            <a:endParaRPr lang="en-US" dirty="0"/>
          </a:p>
        </p:txBody>
      </p:sp>
    </p:spTree>
    <p:extLst>
      <p:ext uri="{BB962C8B-B14F-4D97-AF65-F5344CB8AC3E}">
        <p14:creationId xmlns:p14="http://schemas.microsoft.com/office/powerpoint/2010/main" val="196691496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02</a:t>
            </a:fld>
            <a:endParaRPr lang="en-US" dirty="0"/>
          </a:p>
        </p:txBody>
      </p:sp>
    </p:spTree>
    <p:extLst>
      <p:ext uri="{BB962C8B-B14F-4D97-AF65-F5344CB8AC3E}">
        <p14:creationId xmlns:p14="http://schemas.microsoft.com/office/powerpoint/2010/main" val="175722571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1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5</a:t>
            </a:fld>
            <a:endParaRPr lang="en-US" dirty="0"/>
          </a:p>
        </p:txBody>
      </p:sp>
    </p:spTree>
    <p:extLst>
      <p:ext uri="{BB962C8B-B14F-4D97-AF65-F5344CB8AC3E}">
        <p14:creationId xmlns:p14="http://schemas.microsoft.com/office/powerpoint/2010/main" val="193103692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6</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09</a:t>
            </a:fld>
            <a:endParaRPr kumimoji="1" lang="ja-JP" altLang="en-US"/>
          </a:p>
        </p:txBody>
      </p:sp>
    </p:spTree>
    <p:extLst>
      <p:ext uri="{BB962C8B-B14F-4D97-AF65-F5344CB8AC3E}">
        <p14:creationId xmlns:p14="http://schemas.microsoft.com/office/powerpoint/2010/main" val="7190797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altLang="zh-CN" sz="1600" kern="1200" dirty="0">
                <a:solidFill>
                  <a:schemeClr val="tx1"/>
                </a:solidFill>
                <a:effectLst/>
                <a:latin typeface="Arial" panose="020B0604020202020204" pitchFamily="34" charset="0"/>
                <a:ea typeface="+mn-ea"/>
                <a:cs typeface="+mn-cs"/>
              </a:rPr>
              <a:t>Neko Aug 3</a:t>
            </a:r>
            <a:endParaRPr lang="en-US" dirty="0"/>
          </a:p>
        </p:txBody>
      </p:sp>
      <p:sp>
        <p:nvSpPr>
          <p:cNvPr id="4" name="灯片编号占位符 3"/>
          <p:cNvSpPr>
            <a:spLocks noGrp="1"/>
          </p:cNvSpPr>
          <p:nvPr>
            <p:ph type="sldNum" sz="quarter" idx="10"/>
          </p:nvPr>
        </p:nvSpPr>
        <p:spPr/>
        <p:txBody>
          <a:bodyPr/>
          <a:lstStyle/>
          <a:p>
            <a:fld id="{C0F4A2C8-6C88-4E71-83EE-698B9D4FE22F}" type="slidenum">
              <a:rPr lang="en-US" smtClean="0"/>
              <a:pPr/>
              <a:t>111</a:t>
            </a:fld>
            <a:endParaRPr lang="en-US" dirty="0"/>
          </a:p>
        </p:txBody>
      </p:sp>
    </p:spTree>
    <p:extLst>
      <p:ext uri="{BB962C8B-B14F-4D97-AF65-F5344CB8AC3E}">
        <p14:creationId xmlns:p14="http://schemas.microsoft.com/office/powerpoint/2010/main" val="20893661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Vanya Aug </a:t>
            </a:r>
            <a:r>
              <a:rPr lang="en-US" altLang="zh-CN" dirty="0"/>
              <a:t>7</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3</a:t>
            </a:fld>
            <a:endParaRPr lang="en-US" dirty="0"/>
          </a:p>
        </p:txBody>
      </p:sp>
    </p:spTree>
    <p:extLst>
      <p:ext uri="{BB962C8B-B14F-4D97-AF65-F5344CB8AC3E}">
        <p14:creationId xmlns:p14="http://schemas.microsoft.com/office/powerpoint/2010/main" val="33877528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42637354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Vanya Aug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14</a:t>
            </a:fld>
            <a:endParaRPr lang="en-US" dirty="0"/>
          </a:p>
        </p:txBody>
      </p:sp>
    </p:spTree>
    <p:extLst>
      <p:ext uri="{BB962C8B-B14F-4D97-AF65-F5344CB8AC3E}">
        <p14:creationId xmlns:p14="http://schemas.microsoft.com/office/powerpoint/2010/main" val="23423513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15</a:t>
            </a:fld>
            <a:endParaRPr lang="en-US" dirty="0"/>
          </a:p>
        </p:txBody>
      </p:sp>
    </p:spTree>
    <p:extLst>
      <p:ext uri="{BB962C8B-B14F-4D97-AF65-F5344CB8AC3E}">
        <p14:creationId xmlns:p14="http://schemas.microsoft.com/office/powerpoint/2010/main" val="289771576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16</a:t>
            </a:fld>
            <a:endParaRPr lang="en-US" dirty="0"/>
          </a:p>
        </p:txBody>
      </p:sp>
    </p:spTree>
    <p:extLst>
      <p:ext uri="{BB962C8B-B14F-4D97-AF65-F5344CB8AC3E}">
        <p14:creationId xmlns:p14="http://schemas.microsoft.com/office/powerpoint/2010/main" val="71471234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4</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9</a:t>
            </a:fld>
            <a:endParaRPr lang="en-US" dirty="0"/>
          </a:p>
        </p:txBody>
      </p:sp>
    </p:spTree>
    <p:extLst>
      <p:ext uri="{BB962C8B-B14F-4D97-AF65-F5344CB8AC3E}">
        <p14:creationId xmlns:p14="http://schemas.microsoft.com/office/powerpoint/2010/main" val="293594114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2</a:t>
            </a:fld>
            <a:endParaRPr lang="en-US" dirty="0"/>
          </a:p>
        </p:txBody>
      </p:sp>
    </p:spTree>
    <p:extLst>
      <p:ext uri="{BB962C8B-B14F-4D97-AF65-F5344CB8AC3E}">
        <p14:creationId xmlns:p14="http://schemas.microsoft.com/office/powerpoint/2010/main" val="352744493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3</a:t>
            </a:fld>
            <a:endParaRPr lang="en-US" dirty="0"/>
          </a:p>
        </p:txBody>
      </p:sp>
    </p:spTree>
    <p:extLst>
      <p:ext uri="{BB962C8B-B14F-4D97-AF65-F5344CB8AC3E}">
        <p14:creationId xmlns:p14="http://schemas.microsoft.com/office/powerpoint/2010/main" val="427715042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7</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4</a:t>
            </a:fld>
            <a:endParaRPr lang="en-US" dirty="0"/>
          </a:p>
        </p:txBody>
      </p:sp>
    </p:spTree>
    <p:extLst>
      <p:ext uri="{BB962C8B-B14F-4D97-AF65-F5344CB8AC3E}">
        <p14:creationId xmlns:p14="http://schemas.microsoft.com/office/powerpoint/2010/main" val="303111539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6</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5</a:t>
            </a:fld>
            <a:endParaRPr lang="en-US" dirty="0"/>
          </a:p>
        </p:txBody>
      </p:sp>
    </p:spTree>
    <p:extLst>
      <p:ext uri="{BB962C8B-B14F-4D97-AF65-F5344CB8AC3E}">
        <p14:creationId xmlns:p14="http://schemas.microsoft.com/office/powerpoint/2010/main" val="27770183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2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26</a:t>
            </a:fld>
            <a:endParaRPr lang="en-US" dirty="0"/>
          </a:p>
        </p:txBody>
      </p:sp>
    </p:spTree>
    <p:extLst>
      <p:ext uri="{BB962C8B-B14F-4D97-AF65-F5344CB8AC3E}">
        <p14:creationId xmlns:p14="http://schemas.microsoft.com/office/powerpoint/2010/main" val="104540958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27</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27</a:t>
            </a:fld>
            <a:endParaRPr lang="en-US" dirty="0"/>
          </a:p>
        </p:txBody>
      </p:sp>
    </p:spTree>
    <p:extLst>
      <p:ext uri="{BB962C8B-B14F-4D97-AF65-F5344CB8AC3E}">
        <p14:creationId xmlns:p14="http://schemas.microsoft.com/office/powerpoint/2010/main" val="32519851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3865386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5</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0</a:t>
            </a:fld>
            <a:endParaRPr lang="en-US" dirty="0"/>
          </a:p>
        </p:txBody>
      </p:sp>
    </p:spTree>
    <p:extLst>
      <p:ext uri="{BB962C8B-B14F-4D97-AF65-F5344CB8AC3E}">
        <p14:creationId xmlns:p14="http://schemas.microsoft.com/office/powerpoint/2010/main" val="180808018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Lulu 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31</a:t>
            </a:fld>
            <a:endParaRPr lang="en-US" dirty="0"/>
          </a:p>
        </p:txBody>
      </p:sp>
    </p:spTree>
    <p:extLst>
      <p:ext uri="{BB962C8B-B14F-4D97-AF65-F5344CB8AC3E}">
        <p14:creationId xmlns:p14="http://schemas.microsoft.com/office/powerpoint/2010/main" val="209246517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Hansonh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5</a:t>
            </a:fld>
            <a:endParaRPr lang="en-US" dirty="0"/>
          </a:p>
        </p:txBody>
      </p:sp>
    </p:spTree>
    <p:extLst>
      <p:ext uri="{BB962C8B-B14F-4D97-AF65-F5344CB8AC3E}">
        <p14:creationId xmlns:p14="http://schemas.microsoft.com/office/powerpoint/2010/main" val="315537116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Olivia 6</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39</a:t>
            </a:fld>
            <a:endParaRPr kumimoji="1" lang="ja-JP" altLang="en-US"/>
          </a:p>
        </p:txBody>
      </p:sp>
    </p:spTree>
    <p:extLst>
      <p:ext uri="{BB962C8B-B14F-4D97-AF65-F5344CB8AC3E}">
        <p14:creationId xmlns:p14="http://schemas.microsoft.com/office/powerpoint/2010/main" val="280049312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Olivia 4</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40</a:t>
            </a:fld>
            <a:endParaRPr kumimoji="1" lang="ja-JP" altLang="en-US"/>
          </a:p>
        </p:txBody>
      </p:sp>
    </p:spTree>
    <p:extLst>
      <p:ext uri="{BB962C8B-B14F-4D97-AF65-F5344CB8AC3E}">
        <p14:creationId xmlns:p14="http://schemas.microsoft.com/office/powerpoint/2010/main" val="182627140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Hansonh 2</a:t>
            </a:r>
            <a:endParaRPr lang="zh-CN" altLang="en-US" dirty="0"/>
          </a:p>
        </p:txBody>
      </p:sp>
      <p:sp>
        <p:nvSpPr>
          <p:cNvPr id="4" name="灯片编号占位符 3"/>
          <p:cNvSpPr>
            <a:spLocks noGrp="1"/>
          </p:cNvSpPr>
          <p:nvPr>
            <p:ph type="sldNum" sz="quarter" idx="10"/>
          </p:nvPr>
        </p:nvSpPr>
        <p:spPr/>
        <p:txBody>
          <a:bodyPr/>
          <a:lstStyle/>
          <a:p>
            <a:fld id="{A26B02EC-97C0-4E19-AA45-E904FCC1D11E}" type="slidenum">
              <a:rPr lang="en-GB" smtClean="0"/>
              <a:pPr/>
              <a:t>141</a:t>
            </a:fld>
            <a:endParaRPr lang="en-GB"/>
          </a:p>
        </p:txBody>
      </p:sp>
    </p:spTree>
    <p:extLst>
      <p:ext uri="{BB962C8B-B14F-4D97-AF65-F5344CB8AC3E}">
        <p14:creationId xmlns:p14="http://schemas.microsoft.com/office/powerpoint/2010/main" val="326876922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July 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42</a:t>
            </a:fld>
            <a:endParaRPr lang="en-US" dirty="0"/>
          </a:p>
        </p:txBody>
      </p:sp>
    </p:spTree>
    <p:extLst>
      <p:ext uri="{BB962C8B-B14F-4D97-AF65-F5344CB8AC3E}">
        <p14:creationId xmlns:p14="http://schemas.microsoft.com/office/powerpoint/2010/main" val="146095479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Olivia 5</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44</a:t>
            </a:fld>
            <a:endParaRPr kumimoji="1" lang="ja-JP" altLang="en-US"/>
          </a:p>
        </p:txBody>
      </p:sp>
    </p:spTree>
    <p:extLst>
      <p:ext uri="{BB962C8B-B14F-4D97-AF65-F5344CB8AC3E}">
        <p14:creationId xmlns:p14="http://schemas.microsoft.com/office/powerpoint/2010/main" val="49528657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July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46</a:t>
            </a:fld>
            <a:endParaRPr lang="en-US" dirty="0"/>
          </a:p>
        </p:txBody>
      </p:sp>
    </p:spTree>
    <p:extLst>
      <p:ext uri="{BB962C8B-B14F-4D97-AF65-F5344CB8AC3E}">
        <p14:creationId xmlns:p14="http://schemas.microsoft.com/office/powerpoint/2010/main" val="383552854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ll July</a:t>
            </a:r>
            <a:r>
              <a:rPr lang="en-US" baseline="0" dirty="0"/>
              <a:t>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47</a:t>
            </a:fld>
            <a:endParaRPr lang="en-US" dirty="0">
              <a:solidFill>
                <a:prstClr val="black"/>
              </a:solidFill>
            </a:endParaRPr>
          </a:p>
        </p:txBody>
      </p:sp>
    </p:spTree>
    <p:extLst>
      <p:ext uri="{BB962C8B-B14F-4D97-AF65-F5344CB8AC3E}">
        <p14:creationId xmlns:p14="http://schemas.microsoft.com/office/powerpoint/2010/main" val="7065556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418409860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3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52</a:t>
            </a:fld>
            <a:endParaRPr lang="en-US" dirty="0"/>
          </a:p>
        </p:txBody>
      </p:sp>
    </p:spTree>
    <p:extLst>
      <p:ext uri="{BB962C8B-B14F-4D97-AF65-F5344CB8AC3E}">
        <p14:creationId xmlns:p14="http://schemas.microsoft.com/office/powerpoint/2010/main" val="208233672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6</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53</a:t>
            </a:fld>
            <a:endParaRPr kumimoji="1" lang="ja-JP" altLang="en-US"/>
          </a:p>
        </p:txBody>
      </p:sp>
    </p:spTree>
    <p:extLst>
      <p:ext uri="{BB962C8B-B14F-4D97-AF65-F5344CB8AC3E}">
        <p14:creationId xmlns:p14="http://schemas.microsoft.com/office/powerpoint/2010/main" val="335713115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8</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55</a:t>
            </a:fld>
            <a:endParaRPr kumimoji="1" lang="ja-JP" altLang="en-US"/>
          </a:p>
        </p:txBody>
      </p:sp>
    </p:spTree>
    <p:extLst>
      <p:ext uri="{BB962C8B-B14F-4D97-AF65-F5344CB8AC3E}">
        <p14:creationId xmlns:p14="http://schemas.microsoft.com/office/powerpoint/2010/main" val="384569203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5</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7</a:t>
            </a:fld>
            <a:endParaRPr lang="en-US" dirty="0"/>
          </a:p>
        </p:txBody>
      </p:sp>
    </p:spTree>
    <p:extLst>
      <p:ext uri="{BB962C8B-B14F-4D97-AF65-F5344CB8AC3E}">
        <p14:creationId xmlns:p14="http://schemas.microsoft.com/office/powerpoint/2010/main" val="50214964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59</a:t>
            </a:fld>
            <a:endParaRPr lang="en-US"/>
          </a:p>
        </p:txBody>
      </p:sp>
    </p:spTree>
    <p:extLst>
      <p:ext uri="{BB962C8B-B14F-4D97-AF65-F5344CB8AC3E}">
        <p14:creationId xmlns:p14="http://schemas.microsoft.com/office/powerpoint/2010/main" val="161253528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60</a:t>
            </a:fld>
            <a:endParaRPr lang="en-US" dirty="0"/>
          </a:p>
        </p:txBody>
      </p:sp>
    </p:spTree>
    <p:extLst>
      <p:ext uri="{BB962C8B-B14F-4D97-AF65-F5344CB8AC3E}">
        <p14:creationId xmlns:p14="http://schemas.microsoft.com/office/powerpoint/2010/main" val="41793313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7</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61</a:t>
            </a:fld>
            <a:endParaRPr lang="en-US" dirty="0"/>
          </a:p>
        </p:txBody>
      </p:sp>
    </p:spTree>
    <p:extLst>
      <p:ext uri="{BB962C8B-B14F-4D97-AF65-F5344CB8AC3E}">
        <p14:creationId xmlns:p14="http://schemas.microsoft.com/office/powerpoint/2010/main" val="145280960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July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66</a:t>
            </a:fld>
            <a:endParaRPr lang="en-US" dirty="0"/>
          </a:p>
        </p:txBody>
      </p:sp>
    </p:spTree>
    <p:extLst>
      <p:ext uri="{BB962C8B-B14F-4D97-AF65-F5344CB8AC3E}">
        <p14:creationId xmlns:p14="http://schemas.microsoft.com/office/powerpoint/2010/main" val="383552854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ll July</a:t>
            </a:r>
            <a:r>
              <a:rPr lang="en-US" baseline="0" dirty="0"/>
              <a:t>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67</a:t>
            </a:fld>
            <a:endParaRPr lang="en-US" dirty="0">
              <a:solidFill>
                <a:prstClr val="black"/>
              </a:solidFill>
            </a:endParaRPr>
          </a:p>
        </p:txBody>
      </p:sp>
    </p:spTree>
    <p:extLst>
      <p:ext uri="{BB962C8B-B14F-4D97-AF65-F5344CB8AC3E}">
        <p14:creationId xmlns:p14="http://schemas.microsoft.com/office/powerpoint/2010/main" val="7065556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4</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5</a:t>
            </a:fld>
            <a:endParaRPr lang="en-US" dirty="0"/>
          </a:p>
        </p:txBody>
      </p:sp>
    </p:spTree>
    <p:extLst>
      <p:ext uri="{BB962C8B-B14F-4D97-AF65-F5344CB8AC3E}">
        <p14:creationId xmlns:p14="http://schemas.microsoft.com/office/powerpoint/2010/main" val="15884138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181610664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July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77</a:t>
            </a:fld>
            <a:endParaRPr lang="en-US" dirty="0"/>
          </a:p>
        </p:txBody>
      </p:sp>
    </p:spTree>
    <p:extLst>
      <p:ext uri="{BB962C8B-B14F-4D97-AF65-F5344CB8AC3E}">
        <p14:creationId xmlns:p14="http://schemas.microsoft.com/office/powerpoint/2010/main" val="129115578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on July</a:t>
            </a:r>
            <a:r>
              <a:rPr lang="en-US" baseline="0" dirty="0"/>
              <a:t> 3</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83</a:t>
            </a:fld>
            <a:endParaRPr kumimoji="1" lang="ja-JP" altLang="en-US"/>
          </a:p>
        </p:txBody>
      </p:sp>
    </p:spTree>
    <p:extLst>
      <p:ext uri="{BB962C8B-B14F-4D97-AF65-F5344CB8AC3E}">
        <p14:creationId xmlns:p14="http://schemas.microsoft.com/office/powerpoint/2010/main" val="180193396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dirty="0"/>
              <a:t>Lulu Aug 3</a:t>
            </a:r>
            <a:endParaRPr lang="zh-CN" altLang="en-US" dirty="0"/>
          </a:p>
        </p:txBody>
      </p:sp>
      <p:sp>
        <p:nvSpPr>
          <p:cNvPr id="4" name="灯片编号占位符 3"/>
          <p:cNvSpPr>
            <a:spLocks noGrp="1"/>
          </p:cNvSpPr>
          <p:nvPr>
            <p:ph type="sldNum" sz="quarter" idx="10"/>
          </p:nvPr>
        </p:nvSpPr>
        <p:spPr/>
        <p:txBody>
          <a:bodyPr/>
          <a:lstStyle/>
          <a:p>
            <a:fld id="{C0F4A2C8-6C88-4E71-83EE-698B9D4FE22F}" type="slidenum">
              <a:rPr lang="en-US" smtClean="0"/>
              <a:pPr/>
              <a:t>184</a:t>
            </a:fld>
            <a:endParaRPr lang="en-US" dirty="0"/>
          </a:p>
        </p:txBody>
      </p:sp>
    </p:spTree>
    <p:extLst>
      <p:ext uri="{BB962C8B-B14F-4D97-AF65-F5344CB8AC3E}">
        <p14:creationId xmlns:p14="http://schemas.microsoft.com/office/powerpoint/2010/main" val="46239690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ll July</a:t>
            </a:r>
            <a:r>
              <a:rPr lang="en-US" baseline="0" dirty="0"/>
              <a:t> 1</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85</a:t>
            </a:fld>
            <a:endParaRPr kumimoji="1" lang="ja-JP" altLang="en-US"/>
          </a:p>
        </p:txBody>
      </p:sp>
    </p:spTree>
    <p:extLst>
      <p:ext uri="{BB962C8B-B14F-4D97-AF65-F5344CB8AC3E}">
        <p14:creationId xmlns:p14="http://schemas.microsoft.com/office/powerpoint/2010/main" val="205188614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86</a:t>
            </a:fld>
            <a:endParaRPr lang="en-US" dirty="0"/>
          </a:p>
        </p:txBody>
      </p:sp>
    </p:spTree>
    <p:extLst>
      <p:ext uri="{BB962C8B-B14F-4D97-AF65-F5344CB8AC3E}">
        <p14:creationId xmlns:p14="http://schemas.microsoft.com/office/powerpoint/2010/main" val="64415031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87</a:t>
            </a:fld>
            <a:endParaRPr lang="en-US" dirty="0"/>
          </a:p>
        </p:txBody>
      </p:sp>
    </p:spTree>
    <p:extLst>
      <p:ext uri="{BB962C8B-B14F-4D97-AF65-F5344CB8AC3E}">
        <p14:creationId xmlns:p14="http://schemas.microsoft.com/office/powerpoint/2010/main" val="391908865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88</a:t>
            </a:fld>
            <a:endParaRPr lang="en-US" dirty="0"/>
          </a:p>
        </p:txBody>
      </p:sp>
    </p:spTree>
    <p:extLst>
      <p:ext uri="{BB962C8B-B14F-4D97-AF65-F5344CB8AC3E}">
        <p14:creationId xmlns:p14="http://schemas.microsoft.com/office/powerpoint/2010/main" val="326385745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Sophia 4</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90</a:t>
            </a:fld>
            <a:endParaRPr kumimoji="1" lang="ja-JP" altLang="en-US"/>
          </a:p>
        </p:txBody>
      </p:sp>
    </p:spTree>
    <p:extLst>
      <p:ext uri="{BB962C8B-B14F-4D97-AF65-F5344CB8AC3E}">
        <p14:creationId xmlns:p14="http://schemas.microsoft.com/office/powerpoint/2010/main" val="79728922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Sophia 6</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91</a:t>
            </a:fld>
            <a:endParaRPr kumimoji="1" lang="ja-JP" altLang="en-US"/>
          </a:p>
        </p:txBody>
      </p:sp>
    </p:spTree>
    <p:extLst>
      <p:ext uri="{BB962C8B-B14F-4D97-AF65-F5344CB8AC3E}">
        <p14:creationId xmlns:p14="http://schemas.microsoft.com/office/powerpoint/2010/main" val="159942757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Aug </a:t>
            </a:r>
            <a:r>
              <a:rPr lang="en-US" altLang="zh-CN" dirty="0"/>
              <a:t>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2</a:t>
            </a:fld>
            <a:endParaRPr lang="en-US" dirty="0"/>
          </a:p>
        </p:txBody>
      </p:sp>
    </p:spTree>
    <p:extLst>
      <p:ext uri="{BB962C8B-B14F-4D97-AF65-F5344CB8AC3E}">
        <p14:creationId xmlns:p14="http://schemas.microsoft.com/office/powerpoint/2010/main" val="35638197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345592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1.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Advanced graphics timesaver</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05A628D-2650-AD48-804E-8BA2A0597108}"/>
              </a:ext>
            </a:extLst>
          </p:cNvPr>
          <p:cNvSpPr txBox="1"/>
          <p:nvPr userDrawn="1"/>
        </p:nvSpPr>
        <p:spPr>
          <a:xfrm>
            <a:off x="654049" y="66294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 2021. For information, contact Deloitte Global</a:t>
            </a:r>
          </a:p>
        </p:txBody>
      </p:sp>
    </p:spTree>
    <p:extLst>
      <p:ext uri="{BB962C8B-B14F-4D97-AF65-F5344CB8AC3E}">
        <p14:creationId xmlns:p14="http://schemas.microsoft.com/office/powerpoint/2010/main" val="216935700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1.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Advanced graphics timesaver</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5" name="Freeform 6"/>
          <p:cNvSpPr>
            <a:spLocks noEditPoints="1"/>
          </p:cNvSpPr>
          <p:nvPr userDrawn="1"/>
        </p:nvSpPr>
        <p:spPr bwMode="auto">
          <a:xfrm>
            <a:off x="1672440" y="696562"/>
            <a:ext cx="8893960" cy="3722142"/>
          </a:xfrm>
          <a:custGeom>
            <a:avLst/>
            <a:gdLst>
              <a:gd name="T0" fmla="*/ 9032 w 9534"/>
              <a:gd name="T1" fmla="*/ 2729 h 3990"/>
              <a:gd name="T2" fmla="*/ 8371 w 9534"/>
              <a:gd name="T3" fmla="*/ 2925 h 3990"/>
              <a:gd name="T4" fmla="*/ 7037 w 9534"/>
              <a:gd name="T5" fmla="*/ 1028 h 3990"/>
              <a:gd name="T6" fmla="*/ 6658 w 9534"/>
              <a:gd name="T7" fmla="*/ 1334 h 3990"/>
              <a:gd name="T8" fmla="*/ 5850 w 9534"/>
              <a:gd name="T9" fmla="*/ 2815 h 3990"/>
              <a:gd name="T10" fmla="*/ 5275 w 9534"/>
              <a:gd name="T11" fmla="*/ 2081 h 3990"/>
              <a:gd name="T12" fmla="*/ 4455 w 9534"/>
              <a:gd name="T13" fmla="*/ 2240 h 3990"/>
              <a:gd name="T14" fmla="*/ 4467 w 9534"/>
              <a:gd name="T15" fmla="*/ 3549 h 3990"/>
              <a:gd name="T16" fmla="*/ 4369 w 9534"/>
              <a:gd name="T17" fmla="*/ 1677 h 3990"/>
              <a:gd name="T18" fmla="*/ 3892 w 9534"/>
              <a:gd name="T19" fmla="*/ 1677 h 3990"/>
              <a:gd name="T20" fmla="*/ 3610 w 9534"/>
              <a:gd name="T21" fmla="*/ 2656 h 3990"/>
              <a:gd name="T22" fmla="*/ 2068 w 9534"/>
              <a:gd name="T23" fmla="*/ 3402 h 3990"/>
              <a:gd name="T24" fmla="*/ 1579 w 9534"/>
              <a:gd name="T25" fmla="*/ 2619 h 3990"/>
              <a:gd name="T26" fmla="*/ 1775 w 9534"/>
              <a:gd name="T27" fmla="*/ 844 h 3990"/>
              <a:gd name="T28" fmla="*/ 5813 w 9534"/>
              <a:gd name="T29" fmla="*/ 808 h 3990"/>
              <a:gd name="T30" fmla="*/ 6303 w 9534"/>
              <a:gd name="T31" fmla="*/ 857 h 3990"/>
              <a:gd name="T32" fmla="*/ 6695 w 9534"/>
              <a:gd name="T33" fmla="*/ 893 h 3990"/>
              <a:gd name="T34" fmla="*/ 6254 w 9534"/>
              <a:gd name="T35" fmla="*/ 759 h 3990"/>
              <a:gd name="T36" fmla="*/ 3390 w 9534"/>
              <a:gd name="T37" fmla="*/ 2509 h 3990"/>
              <a:gd name="T38" fmla="*/ 3329 w 9534"/>
              <a:gd name="T39" fmla="*/ 3280 h 3990"/>
              <a:gd name="T40" fmla="*/ 2717 w 9534"/>
              <a:gd name="T41" fmla="*/ 3158 h 3990"/>
              <a:gd name="T42" fmla="*/ 2264 w 9534"/>
              <a:gd name="T43" fmla="*/ 3402 h 3990"/>
              <a:gd name="T44" fmla="*/ 1628 w 9534"/>
              <a:gd name="T45" fmla="*/ 783 h 3990"/>
              <a:gd name="T46" fmla="*/ 2117 w 9534"/>
              <a:gd name="T47" fmla="*/ 808 h 3990"/>
              <a:gd name="T48" fmla="*/ 2338 w 9534"/>
              <a:gd name="T49" fmla="*/ 673 h 3990"/>
              <a:gd name="T50" fmla="*/ 9412 w 9534"/>
              <a:gd name="T51" fmla="*/ 3011 h 3990"/>
              <a:gd name="T52" fmla="*/ 9179 w 9534"/>
              <a:gd name="T53" fmla="*/ 3415 h 3990"/>
              <a:gd name="T54" fmla="*/ 8898 w 9534"/>
              <a:gd name="T55" fmla="*/ 3182 h 3990"/>
              <a:gd name="T56" fmla="*/ 8861 w 9534"/>
              <a:gd name="T57" fmla="*/ 3451 h 3990"/>
              <a:gd name="T58" fmla="*/ 8506 w 9534"/>
              <a:gd name="T59" fmla="*/ 1970 h 3990"/>
              <a:gd name="T60" fmla="*/ 7784 w 9534"/>
              <a:gd name="T61" fmla="*/ 3158 h 3990"/>
              <a:gd name="T62" fmla="*/ 7588 w 9534"/>
              <a:gd name="T63" fmla="*/ 1872 h 3990"/>
              <a:gd name="T64" fmla="*/ 7368 w 9534"/>
              <a:gd name="T65" fmla="*/ 893 h 3990"/>
              <a:gd name="T66" fmla="*/ 7258 w 9534"/>
              <a:gd name="T67" fmla="*/ 343 h 3990"/>
              <a:gd name="T68" fmla="*/ 7172 w 9534"/>
              <a:gd name="T69" fmla="*/ 2093 h 3990"/>
              <a:gd name="T70" fmla="*/ 7172 w 9534"/>
              <a:gd name="T71" fmla="*/ 1187 h 3990"/>
              <a:gd name="T72" fmla="*/ 7074 w 9534"/>
              <a:gd name="T73" fmla="*/ 538 h 3990"/>
              <a:gd name="T74" fmla="*/ 7147 w 9534"/>
              <a:gd name="T75" fmla="*/ 3353 h 3990"/>
              <a:gd name="T76" fmla="*/ 7233 w 9534"/>
              <a:gd name="T77" fmla="*/ 3806 h 3990"/>
              <a:gd name="T78" fmla="*/ 6621 w 9534"/>
              <a:gd name="T79" fmla="*/ 2815 h 3990"/>
              <a:gd name="T80" fmla="*/ 5985 w 9534"/>
              <a:gd name="T81" fmla="*/ 2705 h 3990"/>
              <a:gd name="T82" fmla="*/ 5275 w 9534"/>
              <a:gd name="T83" fmla="*/ 3525 h 3990"/>
              <a:gd name="T84" fmla="*/ 5201 w 9534"/>
              <a:gd name="T85" fmla="*/ 3659 h 3990"/>
              <a:gd name="T86" fmla="*/ 5067 w 9534"/>
              <a:gd name="T87" fmla="*/ 3500 h 3990"/>
              <a:gd name="T88" fmla="*/ 4957 w 9534"/>
              <a:gd name="T89" fmla="*/ 2081 h 3990"/>
              <a:gd name="T90" fmla="*/ 4847 w 9534"/>
              <a:gd name="T91" fmla="*/ 2350 h 3990"/>
              <a:gd name="T92" fmla="*/ 4932 w 9534"/>
              <a:gd name="T93" fmla="*/ 3549 h 3990"/>
              <a:gd name="T94" fmla="*/ 4638 w 9534"/>
              <a:gd name="T95" fmla="*/ 1909 h 3990"/>
              <a:gd name="T96" fmla="*/ 4626 w 9534"/>
              <a:gd name="T97" fmla="*/ 3207 h 3990"/>
              <a:gd name="T98" fmla="*/ 4565 w 9534"/>
              <a:gd name="T99" fmla="*/ 3708 h 3990"/>
              <a:gd name="T100" fmla="*/ 4590 w 9534"/>
              <a:gd name="T101" fmla="*/ 3378 h 3990"/>
              <a:gd name="T102" fmla="*/ 4137 w 9534"/>
              <a:gd name="T103" fmla="*/ 3219 h 3990"/>
              <a:gd name="T104" fmla="*/ 4137 w 9534"/>
              <a:gd name="T105" fmla="*/ 1579 h 3990"/>
              <a:gd name="T106" fmla="*/ 3904 w 9534"/>
              <a:gd name="T107" fmla="*/ 1554 h 3990"/>
              <a:gd name="T108" fmla="*/ 1970 w 9534"/>
              <a:gd name="T109" fmla="*/ 3280 h 3990"/>
              <a:gd name="T110" fmla="*/ 1542 w 9534"/>
              <a:gd name="T111" fmla="*/ 2815 h 3990"/>
              <a:gd name="T112" fmla="*/ 869 w 9534"/>
              <a:gd name="T113" fmla="*/ 3047 h 3990"/>
              <a:gd name="T114" fmla="*/ 869 w 9534"/>
              <a:gd name="T115" fmla="*/ 2203 h 3990"/>
              <a:gd name="T116" fmla="*/ 881 w 9534"/>
              <a:gd name="T117" fmla="*/ 967 h 3990"/>
              <a:gd name="T118" fmla="*/ 918 w 9534"/>
              <a:gd name="T119" fmla="*/ 465 h 3990"/>
              <a:gd name="T120" fmla="*/ 844 w 9534"/>
              <a:gd name="T121" fmla="*/ 2815 h 3990"/>
              <a:gd name="T122" fmla="*/ 538 w 9534"/>
              <a:gd name="T123" fmla="*/ 673 h 3990"/>
              <a:gd name="T124" fmla="*/ 844 w 9534"/>
              <a:gd name="T125" fmla="*/ 3794 h 3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34" h="3990">
                <a:moveTo>
                  <a:pt x="9436" y="3818"/>
                </a:moveTo>
                <a:lnTo>
                  <a:pt x="9436" y="3733"/>
                </a:lnTo>
                <a:lnTo>
                  <a:pt x="9485" y="3733"/>
                </a:lnTo>
                <a:lnTo>
                  <a:pt x="9485" y="3696"/>
                </a:lnTo>
                <a:lnTo>
                  <a:pt x="9436" y="3696"/>
                </a:lnTo>
                <a:lnTo>
                  <a:pt x="9436" y="3586"/>
                </a:lnTo>
                <a:lnTo>
                  <a:pt x="9485" y="3586"/>
                </a:lnTo>
                <a:lnTo>
                  <a:pt x="9485" y="3561"/>
                </a:lnTo>
                <a:lnTo>
                  <a:pt x="9436" y="3561"/>
                </a:lnTo>
                <a:lnTo>
                  <a:pt x="9436" y="3451"/>
                </a:lnTo>
                <a:lnTo>
                  <a:pt x="9485" y="3451"/>
                </a:lnTo>
                <a:lnTo>
                  <a:pt x="9485" y="3415"/>
                </a:lnTo>
                <a:lnTo>
                  <a:pt x="9436" y="3415"/>
                </a:lnTo>
                <a:lnTo>
                  <a:pt x="9436" y="3304"/>
                </a:lnTo>
                <a:lnTo>
                  <a:pt x="9485" y="3304"/>
                </a:lnTo>
                <a:lnTo>
                  <a:pt x="9485" y="3268"/>
                </a:lnTo>
                <a:lnTo>
                  <a:pt x="9436" y="3268"/>
                </a:lnTo>
                <a:lnTo>
                  <a:pt x="9436" y="3182"/>
                </a:lnTo>
                <a:lnTo>
                  <a:pt x="9485" y="3182"/>
                </a:lnTo>
                <a:lnTo>
                  <a:pt x="9485" y="3158"/>
                </a:lnTo>
                <a:lnTo>
                  <a:pt x="9436" y="3158"/>
                </a:lnTo>
                <a:lnTo>
                  <a:pt x="9436" y="3047"/>
                </a:lnTo>
                <a:lnTo>
                  <a:pt x="9485" y="3047"/>
                </a:lnTo>
                <a:lnTo>
                  <a:pt x="9485" y="3011"/>
                </a:lnTo>
                <a:lnTo>
                  <a:pt x="9436" y="3011"/>
                </a:lnTo>
                <a:lnTo>
                  <a:pt x="9436" y="2901"/>
                </a:lnTo>
                <a:lnTo>
                  <a:pt x="9485" y="2901"/>
                </a:lnTo>
                <a:lnTo>
                  <a:pt x="9485" y="2864"/>
                </a:lnTo>
                <a:lnTo>
                  <a:pt x="9436" y="2864"/>
                </a:lnTo>
                <a:lnTo>
                  <a:pt x="9436" y="2766"/>
                </a:lnTo>
                <a:lnTo>
                  <a:pt x="9485" y="2766"/>
                </a:lnTo>
                <a:lnTo>
                  <a:pt x="9485" y="2729"/>
                </a:lnTo>
                <a:lnTo>
                  <a:pt x="9436" y="2729"/>
                </a:lnTo>
                <a:lnTo>
                  <a:pt x="9436" y="2509"/>
                </a:lnTo>
                <a:lnTo>
                  <a:pt x="9412" y="2509"/>
                </a:lnTo>
                <a:lnTo>
                  <a:pt x="9412" y="2729"/>
                </a:lnTo>
                <a:lnTo>
                  <a:pt x="9338" y="2729"/>
                </a:lnTo>
                <a:lnTo>
                  <a:pt x="9338" y="2582"/>
                </a:lnTo>
                <a:lnTo>
                  <a:pt x="9314" y="2582"/>
                </a:lnTo>
                <a:lnTo>
                  <a:pt x="9314" y="2729"/>
                </a:lnTo>
                <a:lnTo>
                  <a:pt x="9167" y="2729"/>
                </a:lnTo>
                <a:lnTo>
                  <a:pt x="9167" y="2509"/>
                </a:lnTo>
                <a:lnTo>
                  <a:pt x="9130" y="2509"/>
                </a:lnTo>
                <a:lnTo>
                  <a:pt x="9130" y="2729"/>
                </a:lnTo>
                <a:lnTo>
                  <a:pt x="9069" y="2729"/>
                </a:lnTo>
                <a:lnTo>
                  <a:pt x="9069" y="2582"/>
                </a:lnTo>
                <a:lnTo>
                  <a:pt x="9032" y="2582"/>
                </a:lnTo>
                <a:lnTo>
                  <a:pt x="9032" y="2729"/>
                </a:lnTo>
                <a:lnTo>
                  <a:pt x="8898" y="2729"/>
                </a:lnTo>
                <a:lnTo>
                  <a:pt x="8898" y="2509"/>
                </a:lnTo>
                <a:lnTo>
                  <a:pt x="8861" y="2509"/>
                </a:lnTo>
                <a:lnTo>
                  <a:pt x="8861" y="2729"/>
                </a:lnTo>
                <a:lnTo>
                  <a:pt x="8800" y="2729"/>
                </a:lnTo>
                <a:lnTo>
                  <a:pt x="8800" y="2717"/>
                </a:lnTo>
                <a:lnTo>
                  <a:pt x="8763" y="2717"/>
                </a:lnTo>
                <a:lnTo>
                  <a:pt x="8763" y="2729"/>
                </a:lnTo>
                <a:lnTo>
                  <a:pt x="8726" y="2729"/>
                </a:lnTo>
                <a:lnTo>
                  <a:pt x="8726" y="2766"/>
                </a:lnTo>
                <a:lnTo>
                  <a:pt x="8763" y="2766"/>
                </a:lnTo>
                <a:lnTo>
                  <a:pt x="8763" y="2864"/>
                </a:lnTo>
                <a:lnTo>
                  <a:pt x="8726" y="2864"/>
                </a:lnTo>
                <a:lnTo>
                  <a:pt x="8726" y="2901"/>
                </a:lnTo>
                <a:lnTo>
                  <a:pt x="8763" y="2901"/>
                </a:lnTo>
                <a:lnTo>
                  <a:pt x="8763" y="3011"/>
                </a:lnTo>
                <a:lnTo>
                  <a:pt x="8726" y="3011"/>
                </a:lnTo>
                <a:lnTo>
                  <a:pt x="8726" y="3047"/>
                </a:lnTo>
                <a:lnTo>
                  <a:pt x="8763" y="3047"/>
                </a:lnTo>
                <a:lnTo>
                  <a:pt x="8763" y="3158"/>
                </a:lnTo>
                <a:lnTo>
                  <a:pt x="8726" y="3158"/>
                </a:lnTo>
                <a:lnTo>
                  <a:pt x="8726" y="3182"/>
                </a:lnTo>
                <a:lnTo>
                  <a:pt x="8763" y="3182"/>
                </a:lnTo>
                <a:lnTo>
                  <a:pt x="8763" y="3268"/>
                </a:lnTo>
                <a:lnTo>
                  <a:pt x="8726" y="3268"/>
                </a:lnTo>
                <a:lnTo>
                  <a:pt x="8726" y="3304"/>
                </a:lnTo>
                <a:lnTo>
                  <a:pt x="8763" y="3304"/>
                </a:lnTo>
                <a:lnTo>
                  <a:pt x="8763" y="3415"/>
                </a:lnTo>
                <a:lnTo>
                  <a:pt x="8726" y="3415"/>
                </a:lnTo>
                <a:lnTo>
                  <a:pt x="8726" y="3451"/>
                </a:lnTo>
                <a:lnTo>
                  <a:pt x="8763" y="3451"/>
                </a:lnTo>
                <a:lnTo>
                  <a:pt x="8763" y="3561"/>
                </a:lnTo>
                <a:lnTo>
                  <a:pt x="8726" y="3561"/>
                </a:lnTo>
                <a:lnTo>
                  <a:pt x="8726" y="3586"/>
                </a:lnTo>
                <a:lnTo>
                  <a:pt x="8763" y="3586"/>
                </a:lnTo>
                <a:lnTo>
                  <a:pt x="8763" y="3696"/>
                </a:lnTo>
                <a:lnTo>
                  <a:pt x="8726" y="3696"/>
                </a:lnTo>
                <a:lnTo>
                  <a:pt x="8726" y="3733"/>
                </a:lnTo>
                <a:lnTo>
                  <a:pt x="8763" y="3733"/>
                </a:lnTo>
                <a:lnTo>
                  <a:pt x="8763" y="3818"/>
                </a:lnTo>
                <a:lnTo>
                  <a:pt x="8604" y="3818"/>
                </a:lnTo>
                <a:lnTo>
                  <a:pt x="8604" y="3451"/>
                </a:lnTo>
                <a:lnTo>
                  <a:pt x="8604" y="3366"/>
                </a:lnTo>
                <a:lnTo>
                  <a:pt x="8604" y="3268"/>
                </a:lnTo>
                <a:lnTo>
                  <a:pt x="8420" y="3268"/>
                </a:lnTo>
                <a:lnTo>
                  <a:pt x="8420" y="3158"/>
                </a:lnTo>
                <a:lnTo>
                  <a:pt x="8371" y="3158"/>
                </a:lnTo>
                <a:lnTo>
                  <a:pt x="8371" y="2925"/>
                </a:lnTo>
                <a:lnTo>
                  <a:pt x="8420" y="2925"/>
                </a:lnTo>
                <a:lnTo>
                  <a:pt x="8420" y="2790"/>
                </a:lnTo>
                <a:lnTo>
                  <a:pt x="8616" y="2790"/>
                </a:lnTo>
                <a:lnTo>
                  <a:pt x="8616" y="2607"/>
                </a:lnTo>
                <a:lnTo>
                  <a:pt x="8543" y="2607"/>
                </a:lnTo>
                <a:lnTo>
                  <a:pt x="8543" y="2582"/>
                </a:lnTo>
                <a:lnTo>
                  <a:pt x="8543" y="2533"/>
                </a:lnTo>
                <a:lnTo>
                  <a:pt x="8543" y="2374"/>
                </a:lnTo>
                <a:lnTo>
                  <a:pt x="8543" y="2325"/>
                </a:lnTo>
                <a:lnTo>
                  <a:pt x="8543" y="2166"/>
                </a:lnTo>
                <a:lnTo>
                  <a:pt x="8543" y="2117"/>
                </a:lnTo>
                <a:lnTo>
                  <a:pt x="8543" y="1958"/>
                </a:lnTo>
                <a:lnTo>
                  <a:pt x="8543" y="1909"/>
                </a:lnTo>
                <a:lnTo>
                  <a:pt x="8543" y="1872"/>
                </a:lnTo>
                <a:lnTo>
                  <a:pt x="8616" y="1872"/>
                </a:lnTo>
                <a:lnTo>
                  <a:pt x="8616" y="1689"/>
                </a:lnTo>
                <a:lnTo>
                  <a:pt x="8286" y="1689"/>
                </a:lnTo>
                <a:lnTo>
                  <a:pt x="8286" y="1493"/>
                </a:lnTo>
                <a:lnTo>
                  <a:pt x="7625" y="1493"/>
                </a:lnTo>
                <a:lnTo>
                  <a:pt x="7625" y="1689"/>
                </a:lnTo>
                <a:lnTo>
                  <a:pt x="7294" y="1689"/>
                </a:lnTo>
                <a:lnTo>
                  <a:pt x="7294" y="1701"/>
                </a:lnTo>
                <a:lnTo>
                  <a:pt x="7258" y="1701"/>
                </a:lnTo>
                <a:lnTo>
                  <a:pt x="7258" y="1481"/>
                </a:lnTo>
                <a:lnTo>
                  <a:pt x="7258" y="1444"/>
                </a:lnTo>
                <a:lnTo>
                  <a:pt x="7258" y="1297"/>
                </a:lnTo>
                <a:lnTo>
                  <a:pt x="7258" y="1261"/>
                </a:lnTo>
                <a:lnTo>
                  <a:pt x="7258" y="1114"/>
                </a:lnTo>
                <a:lnTo>
                  <a:pt x="7258" y="1077"/>
                </a:lnTo>
                <a:lnTo>
                  <a:pt x="7258" y="1028"/>
                </a:lnTo>
                <a:lnTo>
                  <a:pt x="7294" y="1028"/>
                </a:lnTo>
                <a:lnTo>
                  <a:pt x="7294" y="955"/>
                </a:lnTo>
                <a:lnTo>
                  <a:pt x="7735" y="955"/>
                </a:lnTo>
                <a:lnTo>
                  <a:pt x="7735" y="1004"/>
                </a:lnTo>
                <a:lnTo>
                  <a:pt x="7980" y="1004"/>
                </a:lnTo>
                <a:lnTo>
                  <a:pt x="7980" y="710"/>
                </a:lnTo>
                <a:lnTo>
                  <a:pt x="7735" y="710"/>
                </a:lnTo>
                <a:lnTo>
                  <a:pt x="7735" y="722"/>
                </a:lnTo>
                <a:lnTo>
                  <a:pt x="7160" y="147"/>
                </a:lnTo>
                <a:lnTo>
                  <a:pt x="5458" y="881"/>
                </a:lnTo>
                <a:lnTo>
                  <a:pt x="5458" y="881"/>
                </a:lnTo>
                <a:lnTo>
                  <a:pt x="5361" y="918"/>
                </a:lnTo>
                <a:lnTo>
                  <a:pt x="5361" y="955"/>
                </a:lnTo>
                <a:lnTo>
                  <a:pt x="6376" y="955"/>
                </a:lnTo>
                <a:lnTo>
                  <a:pt x="6425" y="955"/>
                </a:lnTo>
                <a:lnTo>
                  <a:pt x="7001" y="955"/>
                </a:lnTo>
                <a:lnTo>
                  <a:pt x="7001" y="1028"/>
                </a:lnTo>
                <a:lnTo>
                  <a:pt x="7037" y="1028"/>
                </a:lnTo>
                <a:lnTo>
                  <a:pt x="7037" y="1701"/>
                </a:lnTo>
                <a:lnTo>
                  <a:pt x="6976" y="1701"/>
                </a:lnTo>
                <a:lnTo>
                  <a:pt x="6976" y="2692"/>
                </a:lnTo>
                <a:lnTo>
                  <a:pt x="6976" y="2766"/>
                </a:lnTo>
                <a:lnTo>
                  <a:pt x="6976" y="3317"/>
                </a:lnTo>
                <a:lnTo>
                  <a:pt x="6866" y="3317"/>
                </a:lnTo>
                <a:lnTo>
                  <a:pt x="6866" y="2974"/>
                </a:lnTo>
                <a:lnTo>
                  <a:pt x="6658" y="2974"/>
                </a:lnTo>
                <a:lnTo>
                  <a:pt x="6658" y="2876"/>
                </a:lnTo>
                <a:lnTo>
                  <a:pt x="6780" y="2876"/>
                </a:lnTo>
                <a:lnTo>
                  <a:pt x="6780" y="2815"/>
                </a:lnTo>
                <a:lnTo>
                  <a:pt x="6658" y="2815"/>
                </a:lnTo>
                <a:lnTo>
                  <a:pt x="6658" y="2705"/>
                </a:lnTo>
                <a:lnTo>
                  <a:pt x="6780" y="2705"/>
                </a:lnTo>
                <a:lnTo>
                  <a:pt x="6780" y="2656"/>
                </a:lnTo>
                <a:lnTo>
                  <a:pt x="6658" y="2656"/>
                </a:lnTo>
                <a:lnTo>
                  <a:pt x="6658" y="2546"/>
                </a:lnTo>
                <a:lnTo>
                  <a:pt x="6780" y="2546"/>
                </a:lnTo>
                <a:lnTo>
                  <a:pt x="6780" y="2484"/>
                </a:lnTo>
                <a:lnTo>
                  <a:pt x="6658" y="2484"/>
                </a:lnTo>
                <a:lnTo>
                  <a:pt x="6658" y="2374"/>
                </a:lnTo>
                <a:lnTo>
                  <a:pt x="6780" y="2374"/>
                </a:lnTo>
                <a:lnTo>
                  <a:pt x="6780" y="2325"/>
                </a:lnTo>
                <a:lnTo>
                  <a:pt x="6658" y="2325"/>
                </a:lnTo>
                <a:lnTo>
                  <a:pt x="6658" y="2215"/>
                </a:lnTo>
                <a:lnTo>
                  <a:pt x="6780" y="2215"/>
                </a:lnTo>
                <a:lnTo>
                  <a:pt x="6780" y="2154"/>
                </a:lnTo>
                <a:lnTo>
                  <a:pt x="6658" y="2154"/>
                </a:lnTo>
                <a:lnTo>
                  <a:pt x="6658" y="2044"/>
                </a:lnTo>
                <a:lnTo>
                  <a:pt x="6780" y="2044"/>
                </a:lnTo>
                <a:lnTo>
                  <a:pt x="6780" y="1995"/>
                </a:lnTo>
                <a:lnTo>
                  <a:pt x="6658" y="1995"/>
                </a:lnTo>
                <a:lnTo>
                  <a:pt x="6658" y="1885"/>
                </a:lnTo>
                <a:lnTo>
                  <a:pt x="6780" y="1885"/>
                </a:lnTo>
                <a:lnTo>
                  <a:pt x="6780" y="1824"/>
                </a:lnTo>
                <a:lnTo>
                  <a:pt x="6658" y="1824"/>
                </a:lnTo>
                <a:lnTo>
                  <a:pt x="6658" y="1713"/>
                </a:lnTo>
                <a:lnTo>
                  <a:pt x="6780" y="1713"/>
                </a:lnTo>
                <a:lnTo>
                  <a:pt x="6780" y="1664"/>
                </a:lnTo>
                <a:lnTo>
                  <a:pt x="6658" y="1664"/>
                </a:lnTo>
                <a:lnTo>
                  <a:pt x="6658" y="1554"/>
                </a:lnTo>
                <a:lnTo>
                  <a:pt x="6780" y="1554"/>
                </a:lnTo>
                <a:lnTo>
                  <a:pt x="6780" y="1493"/>
                </a:lnTo>
                <a:lnTo>
                  <a:pt x="6658" y="1493"/>
                </a:lnTo>
                <a:lnTo>
                  <a:pt x="6658" y="1383"/>
                </a:lnTo>
                <a:lnTo>
                  <a:pt x="6780" y="1383"/>
                </a:lnTo>
                <a:lnTo>
                  <a:pt x="6780" y="1334"/>
                </a:lnTo>
                <a:lnTo>
                  <a:pt x="6658" y="1334"/>
                </a:lnTo>
                <a:lnTo>
                  <a:pt x="6658" y="1163"/>
                </a:lnTo>
                <a:lnTo>
                  <a:pt x="6621" y="1163"/>
                </a:lnTo>
                <a:lnTo>
                  <a:pt x="6621" y="1334"/>
                </a:lnTo>
                <a:lnTo>
                  <a:pt x="6389" y="1334"/>
                </a:lnTo>
                <a:lnTo>
                  <a:pt x="6389" y="1065"/>
                </a:lnTo>
                <a:lnTo>
                  <a:pt x="6217" y="1065"/>
                </a:lnTo>
                <a:lnTo>
                  <a:pt x="6217" y="1334"/>
                </a:lnTo>
                <a:lnTo>
                  <a:pt x="5985" y="1334"/>
                </a:lnTo>
                <a:lnTo>
                  <a:pt x="5985" y="1163"/>
                </a:lnTo>
                <a:lnTo>
                  <a:pt x="5948" y="1163"/>
                </a:lnTo>
                <a:lnTo>
                  <a:pt x="5948" y="1334"/>
                </a:lnTo>
                <a:lnTo>
                  <a:pt x="5850" y="1334"/>
                </a:lnTo>
                <a:lnTo>
                  <a:pt x="5850" y="1383"/>
                </a:lnTo>
                <a:lnTo>
                  <a:pt x="5948" y="1383"/>
                </a:lnTo>
                <a:lnTo>
                  <a:pt x="5948" y="1493"/>
                </a:lnTo>
                <a:lnTo>
                  <a:pt x="5850" y="1493"/>
                </a:lnTo>
                <a:lnTo>
                  <a:pt x="5850" y="1554"/>
                </a:lnTo>
                <a:lnTo>
                  <a:pt x="5948" y="1554"/>
                </a:lnTo>
                <a:lnTo>
                  <a:pt x="5948" y="1664"/>
                </a:lnTo>
                <a:lnTo>
                  <a:pt x="5850" y="1664"/>
                </a:lnTo>
                <a:lnTo>
                  <a:pt x="5850" y="1713"/>
                </a:lnTo>
                <a:lnTo>
                  <a:pt x="5948" y="1713"/>
                </a:lnTo>
                <a:lnTo>
                  <a:pt x="5948" y="1824"/>
                </a:lnTo>
                <a:lnTo>
                  <a:pt x="5850" y="1824"/>
                </a:lnTo>
                <a:lnTo>
                  <a:pt x="5850" y="1885"/>
                </a:lnTo>
                <a:lnTo>
                  <a:pt x="5948" y="1885"/>
                </a:lnTo>
                <a:lnTo>
                  <a:pt x="5948" y="1995"/>
                </a:lnTo>
                <a:lnTo>
                  <a:pt x="5850" y="1995"/>
                </a:lnTo>
                <a:lnTo>
                  <a:pt x="5850" y="2044"/>
                </a:lnTo>
                <a:lnTo>
                  <a:pt x="5948" y="2044"/>
                </a:lnTo>
                <a:lnTo>
                  <a:pt x="5948" y="2154"/>
                </a:lnTo>
                <a:lnTo>
                  <a:pt x="5850" y="2154"/>
                </a:lnTo>
                <a:lnTo>
                  <a:pt x="5850" y="2215"/>
                </a:lnTo>
                <a:lnTo>
                  <a:pt x="5948" y="2215"/>
                </a:lnTo>
                <a:lnTo>
                  <a:pt x="5948" y="2325"/>
                </a:lnTo>
                <a:lnTo>
                  <a:pt x="5850" y="2325"/>
                </a:lnTo>
                <a:lnTo>
                  <a:pt x="5850" y="2374"/>
                </a:lnTo>
                <a:lnTo>
                  <a:pt x="5948" y="2374"/>
                </a:lnTo>
                <a:lnTo>
                  <a:pt x="5948" y="2484"/>
                </a:lnTo>
                <a:lnTo>
                  <a:pt x="5850" y="2484"/>
                </a:lnTo>
                <a:lnTo>
                  <a:pt x="5850" y="2546"/>
                </a:lnTo>
                <a:lnTo>
                  <a:pt x="5948" y="2546"/>
                </a:lnTo>
                <a:lnTo>
                  <a:pt x="5948" y="2656"/>
                </a:lnTo>
                <a:lnTo>
                  <a:pt x="5850" y="2656"/>
                </a:lnTo>
                <a:lnTo>
                  <a:pt x="5850" y="2705"/>
                </a:lnTo>
                <a:lnTo>
                  <a:pt x="5948" y="2705"/>
                </a:lnTo>
                <a:lnTo>
                  <a:pt x="5948" y="2815"/>
                </a:lnTo>
                <a:lnTo>
                  <a:pt x="5850" y="2815"/>
                </a:lnTo>
                <a:lnTo>
                  <a:pt x="5850" y="2876"/>
                </a:lnTo>
                <a:lnTo>
                  <a:pt x="5948" y="2876"/>
                </a:lnTo>
                <a:lnTo>
                  <a:pt x="5948" y="2974"/>
                </a:lnTo>
                <a:lnTo>
                  <a:pt x="5740" y="2974"/>
                </a:lnTo>
                <a:lnTo>
                  <a:pt x="5740" y="3329"/>
                </a:lnTo>
                <a:lnTo>
                  <a:pt x="5569" y="3243"/>
                </a:lnTo>
                <a:lnTo>
                  <a:pt x="5373" y="3341"/>
                </a:lnTo>
                <a:lnTo>
                  <a:pt x="5373" y="3341"/>
                </a:lnTo>
                <a:lnTo>
                  <a:pt x="5312" y="3341"/>
                </a:lnTo>
                <a:lnTo>
                  <a:pt x="5312" y="3207"/>
                </a:lnTo>
                <a:lnTo>
                  <a:pt x="5373" y="3207"/>
                </a:lnTo>
                <a:lnTo>
                  <a:pt x="5373" y="3182"/>
                </a:lnTo>
                <a:lnTo>
                  <a:pt x="5312" y="3182"/>
                </a:lnTo>
                <a:lnTo>
                  <a:pt x="5312" y="3047"/>
                </a:lnTo>
                <a:lnTo>
                  <a:pt x="5373" y="3047"/>
                </a:lnTo>
                <a:lnTo>
                  <a:pt x="5373" y="3023"/>
                </a:lnTo>
                <a:lnTo>
                  <a:pt x="5312" y="3023"/>
                </a:lnTo>
                <a:lnTo>
                  <a:pt x="5312" y="2901"/>
                </a:lnTo>
                <a:lnTo>
                  <a:pt x="5275" y="2901"/>
                </a:lnTo>
                <a:lnTo>
                  <a:pt x="5275" y="3023"/>
                </a:lnTo>
                <a:lnTo>
                  <a:pt x="5189" y="3023"/>
                </a:lnTo>
                <a:lnTo>
                  <a:pt x="5189" y="2962"/>
                </a:lnTo>
                <a:lnTo>
                  <a:pt x="5165" y="2962"/>
                </a:lnTo>
                <a:lnTo>
                  <a:pt x="5165" y="2876"/>
                </a:lnTo>
                <a:lnTo>
                  <a:pt x="5238" y="2876"/>
                </a:lnTo>
                <a:lnTo>
                  <a:pt x="5238" y="3023"/>
                </a:lnTo>
                <a:lnTo>
                  <a:pt x="5275" y="3023"/>
                </a:lnTo>
                <a:lnTo>
                  <a:pt x="5275" y="2876"/>
                </a:lnTo>
                <a:lnTo>
                  <a:pt x="5336" y="2876"/>
                </a:lnTo>
                <a:lnTo>
                  <a:pt x="5336" y="2839"/>
                </a:lnTo>
                <a:lnTo>
                  <a:pt x="5275" y="2839"/>
                </a:lnTo>
                <a:lnTo>
                  <a:pt x="5275" y="2705"/>
                </a:lnTo>
                <a:lnTo>
                  <a:pt x="5336" y="2705"/>
                </a:lnTo>
                <a:lnTo>
                  <a:pt x="5336" y="2680"/>
                </a:lnTo>
                <a:lnTo>
                  <a:pt x="5275" y="2680"/>
                </a:lnTo>
                <a:lnTo>
                  <a:pt x="5275" y="2546"/>
                </a:lnTo>
                <a:lnTo>
                  <a:pt x="5336" y="2546"/>
                </a:lnTo>
                <a:lnTo>
                  <a:pt x="5336" y="2509"/>
                </a:lnTo>
                <a:lnTo>
                  <a:pt x="5275" y="2509"/>
                </a:lnTo>
                <a:lnTo>
                  <a:pt x="5275" y="2374"/>
                </a:lnTo>
                <a:lnTo>
                  <a:pt x="5336" y="2374"/>
                </a:lnTo>
                <a:lnTo>
                  <a:pt x="5336" y="2350"/>
                </a:lnTo>
                <a:lnTo>
                  <a:pt x="5275" y="2350"/>
                </a:lnTo>
                <a:lnTo>
                  <a:pt x="5275" y="2240"/>
                </a:lnTo>
                <a:lnTo>
                  <a:pt x="5324" y="2240"/>
                </a:lnTo>
                <a:lnTo>
                  <a:pt x="5324" y="2203"/>
                </a:lnTo>
                <a:lnTo>
                  <a:pt x="5275" y="2203"/>
                </a:lnTo>
                <a:lnTo>
                  <a:pt x="5275" y="2081"/>
                </a:lnTo>
                <a:lnTo>
                  <a:pt x="5324" y="2081"/>
                </a:lnTo>
                <a:lnTo>
                  <a:pt x="5324" y="2044"/>
                </a:lnTo>
                <a:lnTo>
                  <a:pt x="5275" y="2044"/>
                </a:lnTo>
                <a:lnTo>
                  <a:pt x="5275" y="1909"/>
                </a:lnTo>
                <a:lnTo>
                  <a:pt x="5324" y="1909"/>
                </a:lnTo>
                <a:lnTo>
                  <a:pt x="5324" y="1885"/>
                </a:lnTo>
                <a:lnTo>
                  <a:pt x="5275" y="1885"/>
                </a:lnTo>
                <a:lnTo>
                  <a:pt x="5275" y="1750"/>
                </a:lnTo>
                <a:lnTo>
                  <a:pt x="5324" y="1750"/>
                </a:lnTo>
                <a:lnTo>
                  <a:pt x="5324" y="1713"/>
                </a:lnTo>
                <a:lnTo>
                  <a:pt x="5275" y="1713"/>
                </a:lnTo>
                <a:lnTo>
                  <a:pt x="5275" y="1456"/>
                </a:lnTo>
                <a:lnTo>
                  <a:pt x="5238" y="1456"/>
                </a:lnTo>
                <a:lnTo>
                  <a:pt x="5238" y="1713"/>
                </a:lnTo>
                <a:lnTo>
                  <a:pt x="5165" y="1713"/>
                </a:lnTo>
                <a:lnTo>
                  <a:pt x="5165" y="1542"/>
                </a:lnTo>
                <a:lnTo>
                  <a:pt x="5128" y="1542"/>
                </a:lnTo>
                <a:lnTo>
                  <a:pt x="5128" y="1713"/>
                </a:lnTo>
                <a:lnTo>
                  <a:pt x="4957" y="1713"/>
                </a:lnTo>
                <a:lnTo>
                  <a:pt x="4957" y="1456"/>
                </a:lnTo>
                <a:lnTo>
                  <a:pt x="4932" y="1456"/>
                </a:lnTo>
                <a:lnTo>
                  <a:pt x="4932" y="1713"/>
                </a:lnTo>
                <a:lnTo>
                  <a:pt x="4847" y="1713"/>
                </a:lnTo>
                <a:lnTo>
                  <a:pt x="4847" y="1542"/>
                </a:lnTo>
                <a:lnTo>
                  <a:pt x="4810" y="1542"/>
                </a:lnTo>
                <a:lnTo>
                  <a:pt x="4810" y="1713"/>
                </a:lnTo>
                <a:lnTo>
                  <a:pt x="4638" y="1713"/>
                </a:lnTo>
                <a:lnTo>
                  <a:pt x="4638" y="1456"/>
                </a:lnTo>
                <a:lnTo>
                  <a:pt x="4614" y="1456"/>
                </a:lnTo>
                <a:lnTo>
                  <a:pt x="4614" y="1713"/>
                </a:lnTo>
                <a:lnTo>
                  <a:pt x="4528" y="1713"/>
                </a:lnTo>
                <a:lnTo>
                  <a:pt x="4528" y="1701"/>
                </a:lnTo>
                <a:lnTo>
                  <a:pt x="4492" y="1701"/>
                </a:lnTo>
                <a:lnTo>
                  <a:pt x="4492" y="1713"/>
                </a:lnTo>
                <a:lnTo>
                  <a:pt x="4455" y="1713"/>
                </a:lnTo>
                <a:lnTo>
                  <a:pt x="4455" y="1750"/>
                </a:lnTo>
                <a:lnTo>
                  <a:pt x="4492" y="1750"/>
                </a:lnTo>
                <a:lnTo>
                  <a:pt x="4492" y="1885"/>
                </a:lnTo>
                <a:lnTo>
                  <a:pt x="4455" y="1885"/>
                </a:lnTo>
                <a:lnTo>
                  <a:pt x="4455" y="1909"/>
                </a:lnTo>
                <a:lnTo>
                  <a:pt x="4492" y="1909"/>
                </a:lnTo>
                <a:lnTo>
                  <a:pt x="4492" y="2044"/>
                </a:lnTo>
                <a:lnTo>
                  <a:pt x="4455" y="2044"/>
                </a:lnTo>
                <a:lnTo>
                  <a:pt x="4455" y="2081"/>
                </a:lnTo>
                <a:lnTo>
                  <a:pt x="4492" y="2081"/>
                </a:lnTo>
                <a:lnTo>
                  <a:pt x="4492" y="2203"/>
                </a:lnTo>
                <a:lnTo>
                  <a:pt x="4455" y="2203"/>
                </a:lnTo>
                <a:lnTo>
                  <a:pt x="4455" y="2240"/>
                </a:lnTo>
                <a:lnTo>
                  <a:pt x="4492" y="2240"/>
                </a:lnTo>
                <a:lnTo>
                  <a:pt x="4492" y="2350"/>
                </a:lnTo>
                <a:lnTo>
                  <a:pt x="4455" y="2350"/>
                </a:lnTo>
                <a:lnTo>
                  <a:pt x="4455" y="2374"/>
                </a:lnTo>
                <a:lnTo>
                  <a:pt x="4492" y="2374"/>
                </a:lnTo>
                <a:lnTo>
                  <a:pt x="4492" y="2509"/>
                </a:lnTo>
                <a:lnTo>
                  <a:pt x="4455" y="2509"/>
                </a:lnTo>
                <a:lnTo>
                  <a:pt x="4455" y="2546"/>
                </a:lnTo>
                <a:lnTo>
                  <a:pt x="4492" y="2546"/>
                </a:lnTo>
                <a:lnTo>
                  <a:pt x="4492" y="2680"/>
                </a:lnTo>
                <a:lnTo>
                  <a:pt x="4455" y="2680"/>
                </a:lnTo>
                <a:lnTo>
                  <a:pt x="4455" y="2705"/>
                </a:lnTo>
                <a:lnTo>
                  <a:pt x="4492" y="2705"/>
                </a:lnTo>
                <a:lnTo>
                  <a:pt x="4492" y="2839"/>
                </a:lnTo>
                <a:lnTo>
                  <a:pt x="4455" y="2839"/>
                </a:lnTo>
                <a:lnTo>
                  <a:pt x="4455" y="2876"/>
                </a:lnTo>
                <a:lnTo>
                  <a:pt x="4492" y="2876"/>
                </a:lnTo>
                <a:lnTo>
                  <a:pt x="4492" y="3023"/>
                </a:lnTo>
                <a:lnTo>
                  <a:pt x="4528" y="3023"/>
                </a:lnTo>
                <a:lnTo>
                  <a:pt x="4528" y="2876"/>
                </a:lnTo>
                <a:lnTo>
                  <a:pt x="4614" y="2876"/>
                </a:lnTo>
                <a:lnTo>
                  <a:pt x="4614" y="2901"/>
                </a:lnTo>
                <a:lnTo>
                  <a:pt x="4590" y="2901"/>
                </a:lnTo>
                <a:lnTo>
                  <a:pt x="4590" y="3023"/>
                </a:lnTo>
                <a:lnTo>
                  <a:pt x="4418" y="3023"/>
                </a:lnTo>
                <a:lnTo>
                  <a:pt x="4418" y="3047"/>
                </a:lnTo>
                <a:lnTo>
                  <a:pt x="4590" y="3047"/>
                </a:lnTo>
                <a:lnTo>
                  <a:pt x="4590" y="3182"/>
                </a:lnTo>
                <a:lnTo>
                  <a:pt x="4504" y="3182"/>
                </a:lnTo>
                <a:lnTo>
                  <a:pt x="4504" y="3060"/>
                </a:lnTo>
                <a:lnTo>
                  <a:pt x="4467" y="3060"/>
                </a:lnTo>
                <a:lnTo>
                  <a:pt x="4467" y="3182"/>
                </a:lnTo>
                <a:lnTo>
                  <a:pt x="4418" y="3182"/>
                </a:lnTo>
                <a:lnTo>
                  <a:pt x="4418" y="3207"/>
                </a:lnTo>
                <a:lnTo>
                  <a:pt x="4467" y="3207"/>
                </a:lnTo>
                <a:lnTo>
                  <a:pt x="4467" y="3341"/>
                </a:lnTo>
                <a:lnTo>
                  <a:pt x="4418" y="3341"/>
                </a:lnTo>
                <a:lnTo>
                  <a:pt x="4418" y="3378"/>
                </a:lnTo>
                <a:lnTo>
                  <a:pt x="4467" y="3378"/>
                </a:lnTo>
                <a:lnTo>
                  <a:pt x="4467" y="3464"/>
                </a:lnTo>
                <a:lnTo>
                  <a:pt x="4455" y="3464"/>
                </a:lnTo>
                <a:lnTo>
                  <a:pt x="4455" y="3500"/>
                </a:lnTo>
                <a:lnTo>
                  <a:pt x="4467" y="3500"/>
                </a:lnTo>
                <a:lnTo>
                  <a:pt x="4467" y="3525"/>
                </a:lnTo>
                <a:lnTo>
                  <a:pt x="4418" y="3525"/>
                </a:lnTo>
                <a:lnTo>
                  <a:pt x="4418" y="3549"/>
                </a:lnTo>
                <a:lnTo>
                  <a:pt x="4467" y="3549"/>
                </a:lnTo>
                <a:lnTo>
                  <a:pt x="4467" y="3549"/>
                </a:lnTo>
                <a:lnTo>
                  <a:pt x="4455" y="3549"/>
                </a:lnTo>
                <a:lnTo>
                  <a:pt x="4455" y="3586"/>
                </a:lnTo>
                <a:lnTo>
                  <a:pt x="4467" y="3586"/>
                </a:lnTo>
                <a:lnTo>
                  <a:pt x="4467" y="3659"/>
                </a:lnTo>
                <a:lnTo>
                  <a:pt x="4467" y="3659"/>
                </a:lnTo>
                <a:lnTo>
                  <a:pt x="4467" y="3684"/>
                </a:lnTo>
                <a:lnTo>
                  <a:pt x="4418" y="3684"/>
                </a:lnTo>
                <a:lnTo>
                  <a:pt x="4418" y="3708"/>
                </a:lnTo>
                <a:lnTo>
                  <a:pt x="4467" y="3708"/>
                </a:lnTo>
                <a:lnTo>
                  <a:pt x="4467" y="3745"/>
                </a:lnTo>
                <a:lnTo>
                  <a:pt x="4467" y="3745"/>
                </a:lnTo>
                <a:lnTo>
                  <a:pt x="4467" y="3782"/>
                </a:lnTo>
                <a:lnTo>
                  <a:pt x="4467" y="3782"/>
                </a:lnTo>
                <a:lnTo>
                  <a:pt x="4467" y="3818"/>
                </a:lnTo>
                <a:lnTo>
                  <a:pt x="4320" y="3818"/>
                </a:lnTo>
                <a:lnTo>
                  <a:pt x="4320" y="3806"/>
                </a:lnTo>
                <a:lnTo>
                  <a:pt x="4320" y="3721"/>
                </a:lnTo>
                <a:lnTo>
                  <a:pt x="4320" y="3439"/>
                </a:lnTo>
                <a:lnTo>
                  <a:pt x="4320" y="3366"/>
                </a:lnTo>
                <a:lnTo>
                  <a:pt x="4320" y="3072"/>
                </a:lnTo>
                <a:lnTo>
                  <a:pt x="4320" y="2998"/>
                </a:lnTo>
                <a:lnTo>
                  <a:pt x="4320" y="2717"/>
                </a:lnTo>
                <a:lnTo>
                  <a:pt x="4320" y="2705"/>
                </a:lnTo>
                <a:lnTo>
                  <a:pt x="4418" y="2705"/>
                </a:lnTo>
                <a:lnTo>
                  <a:pt x="4418" y="2215"/>
                </a:lnTo>
                <a:lnTo>
                  <a:pt x="4296" y="2215"/>
                </a:lnTo>
                <a:lnTo>
                  <a:pt x="4296" y="2154"/>
                </a:lnTo>
                <a:lnTo>
                  <a:pt x="4369" y="2154"/>
                </a:lnTo>
                <a:lnTo>
                  <a:pt x="4369" y="2117"/>
                </a:lnTo>
                <a:lnTo>
                  <a:pt x="4296" y="2117"/>
                </a:lnTo>
                <a:lnTo>
                  <a:pt x="4296" y="2056"/>
                </a:lnTo>
                <a:lnTo>
                  <a:pt x="4369" y="2056"/>
                </a:lnTo>
                <a:lnTo>
                  <a:pt x="4369" y="2032"/>
                </a:lnTo>
                <a:lnTo>
                  <a:pt x="4296" y="2032"/>
                </a:lnTo>
                <a:lnTo>
                  <a:pt x="4296" y="1970"/>
                </a:lnTo>
                <a:lnTo>
                  <a:pt x="4369" y="1970"/>
                </a:lnTo>
                <a:lnTo>
                  <a:pt x="4369" y="1934"/>
                </a:lnTo>
                <a:lnTo>
                  <a:pt x="4296" y="1934"/>
                </a:lnTo>
                <a:lnTo>
                  <a:pt x="4296" y="1872"/>
                </a:lnTo>
                <a:lnTo>
                  <a:pt x="4369" y="1872"/>
                </a:lnTo>
                <a:lnTo>
                  <a:pt x="4369" y="1836"/>
                </a:lnTo>
                <a:lnTo>
                  <a:pt x="4296" y="1836"/>
                </a:lnTo>
                <a:lnTo>
                  <a:pt x="4296" y="1775"/>
                </a:lnTo>
                <a:lnTo>
                  <a:pt x="4369" y="1775"/>
                </a:lnTo>
                <a:lnTo>
                  <a:pt x="4369" y="1738"/>
                </a:lnTo>
                <a:lnTo>
                  <a:pt x="4296" y="1738"/>
                </a:lnTo>
                <a:lnTo>
                  <a:pt x="4296" y="1677"/>
                </a:lnTo>
                <a:lnTo>
                  <a:pt x="4369" y="1677"/>
                </a:lnTo>
                <a:lnTo>
                  <a:pt x="4369" y="1640"/>
                </a:lnTo>
                <a:lnTo>
                  <a:pt x="4296" y="1640"/>
                </a:lnTo>
                <a:lnTo>
                  <a:pt x="4296" y="1579"/>
                </a:lnTo>
                <a:lnTo>
                  <a:pt x="4369" y="1579"/>
                </a:lnTo>
                <a:lnTo>
                  <a:pt x="4369" y="1554"/>
                </a:lnTo>
                <a:lnTo>
                  <a:pt x="4296" y="1554"/>
                </a:lnTo>
                <a:lnTo>
                  <a:pt x="4296" y="1481"/>
                </a:lnTo>
                <a:lnTo>
                  <a:pt x="4369" y="1481"/>
                </a:lnTo>
                <a:lnTo>
                  <a:pt x="4369" y="1456"/>
                </a:lnTo>
                <a:lnTo>
                  <a:pt x="4296" y="1456"/>
                </a:lnTo>
                <a:lnTo>
                  <a:pt x="4296" y="1395"/>
                </a:lnTo>
                <a:lnTo>
                  <a:pt x="4369" y="1395"/>
                </a:lnTo>
                <a:lnTo>
                  <a:pt x="4369" y="1358"/>
                </a:lnTo>
                <a:lnTo>
                  <a:pt x="4296" y="1358"/>
                </a:lnTo>
                <a:lnTo>
                  <a:pt x="4296" y="1297"/>
                </a:lnTo>
                <a:lnTo>
                  <a:pt x="4369" y="1297"/>
                </a:lnTo>
                <a:lnTo>
                  <a:pt x="4369" y="1261"/>
                </a:lnTo>
                <a:lnTo>
                  <a:pt x="4296" y="1261"/>
                </a:lnTo>
                <a:lnTo>
                  <a:pt x="4296" y="1163"/>
                </a:lnTo>
                <a:lnTo>
                  <a:pt x="4271" y="1163"/>
                </a:lnTo>
                <a:lnTo>
                  <a:pt x="4271" y="1261"/>
                </a:lnTo>
                <a:lnTo>
                  <a:pt x="4137" y="1261"/>
                </a:lnTo>
                <a:lnTo>
                  <a:pt x="4137" y="1114"/>
                </a:lnTo>
                <a:lnTo>
                  <a:pt x="4039" y="1114"/>
                </a:lnTo>
                <a:lnTo>
                  <a:pt x="4039" y="1261"/>
                </a:lnTo>
                <a:lnTo>
                  <a:pt x="3904" y="1261"/>
                </a:lnTo>
                <a:lnTo>
                  <a:pt x="3904" y="1163"/>
                </a:lnTo>
                <a:lnTo>
                  <a:pt x="3892" y="1163"/>
                </a:lnTo>
                <a:lnTo>
                  <a:pt x="3892" y="1261"/>
                </a:lnTo>
                <a:lnTo>
                  <a:pt x="3831" y="1261"/>
                </a:lnTo>
                <a:lnTo>
                  <a:pt x="3831" y="1297"/>
                </a:lnTo>
                <a:lnTo>
                  <a:pt x="3892" y="1297"/>
                </a:lnTo>
                <a:lnTo>
                  <a:pt x="3892" y="1358"/>
                </a:lnTo>
                <a:lnTo>
                  <a:pt x="3831" y="1358"/>
                </a:lnTo>
                <a:lnTo>
                  <a:pt x="3831" y="1395"/>
                </a:lnTo>
                <a:lnTo>
                  <a:pt x="3892" y="1395"/>
                </a:lnTo>
                <a:lnTo>
                  <a:pt x="3892" y="1456"/>
                </a:lnTo>
                <a:lnTo>
                  <a:pt x="3831" y="1456"/>
                </a:lnTo>
                <a:lnTo>
                  <a:pt x="3831" y="1481"/>
                </a:lnTo>
                <a:lnTo>
                  <a:pt x="3892" y="1481"/>
                </a:lnTo>
                <a:lnTo>
                  <a:pt x="3892" y="1554"/>
                </a:lnTo>
                <a:lnTo>
                  <a:pt x="3831" y="1554"/>
                </a:lnTo>
                <a:lnTo>
                  <a:pt x="3831" y="1579"/>
                </a:lnTo>
                <a:lnTo>
                  <a:pt x="3892" y="1579"/>
                </a:lnTo>
                <a:lnTo>
                  <a:pt x="3892" y="1640"/>
                </a:lnTo>
                <a:lnTo>
                  <a:pt x="3831" y="1640"/>
                </a:lnTo>
                <a:lnTo>
                  <a:pt x="3831" y="1677"/>
                </a:lnTo>
                <a:lnTo>
                  <a:pt x="3892" y="1677"/>
                </a:lnTo>
                <a:lnTo>
                  <a:pt x="3892" y="1738"/>
                </a:lnTo>
                <a:lnTo>
                  <a:pt x="3831" y="1738"/>
                </a:lnTo>
                <a:lnTo>
                  <a:pt x="3831" y="1775"/>
                </a:lnTo>
                <a:lnTo>
                  <a:pt x="3892" y="1775"/>
                </a:lnTo>
                <a:lnTo>
                  <a:pt x="3892" y="1836"/>
                </a:lnTo>
                <a:lnTo>
                  <a:pt x="3831" y="1836"/>
                </a:lnTo>
                <a:lnTo>
                  <a:pt x="3831" y="1872"/>
                </a:lnTo>
                <a:lnTo>
                  <a:pt x="3892" y="1872"/>
                </a:lnTo>
                <a:lnTo>
                  <a:pt x="3892" y="1934"/>
                </a:lnTo>
                <a:lnTo>
                  <a:pt x="3831" y="1934"/>
                </a:lnTo>
                <a:lnTo>
                  <a:pt x="3831" y="1970"/>
                </a:lnTo>
                <a:lnTo>
                  <a:pt x="3892" y="1970"/>
                </a:lnTo>
                <a:lnTo>
                  <a:pt x="3892" y="2032"/>
                </a:lnTo>
                <a:lnTo>
                  <a:pt x="3831" y="2032"/>
                </a:lnTo>
                <a:lnTo>
                  <a:pt x="3831" y="2056"/>
                </a:lnTo>
                <a:lnTo>
                  <a:pt x="3892" y="2056"/>
                </a:lnTo>
                <a:lnTo>
                  <a:pt x="3892" y="2117"/>
                </a:lnTo>
                <a:lnTo>
                  <a:pt x="3831" y="2117"/>
                </a:lnTo>
                <a:lnTo>
                  <a:pt x="3831" y="2154"/>
                </a:lnTo>
                <a:lnTo>
                  <a:pt x="3892" y="2154"/>
                </a:lnTo>
                <a:lnTo>
                  <a:pt x="3892" y="2215"/>
                </a:lnTo>
                <a:lnTo>
                  <a:pt x="3769" y="2215"/>
                </a:lnTo>
                <a:lnTo>
                  <a:pt x="3769" y="2705"/>
                </a:lnTo>
                <a:lnTo>
                  <a:pt x="3855" y="2705"/>
                </a:lnTo>
                <a:lnTo>
                  <a:pt x="3855" y="3818"/>
                </a:lnTo>
                <a:lnTo>
                  <a:pt x="3696" y="3818"/>
                </a:lnTo>
                <a:lnTo>
                  <a:pt x="3696" y="3402"/>
                </a:lnTo>
                <a:lnTo>
                  <a:pt x="3610" y="3402"/>
                </a:lnTo>
                <a:lnTo>
                  <a:pt x="3610" y="3304"/>
                </a:lnTo>
                <a:lnTo>
                  <a:pt x="3696" y="3304"/>
                </a:lnTo>
                <a:lnTo>
                  <a:pt x="3696" y="3280"/>
                </a:lnTo>
                <a:lnTo>
                  <a:pt x="3610" y="3280"/>
                </a:lnTo>
                <a:lnTo>
                  <a:pt x="3610" y="3158"/>
                </a:lnTo>
                <a:lnTo>
                  <a:pt x="3696" y="3158"/>
                </a:lnTo>
                <a:lnTo>
                  <a:pt x="3696" y="3121"/>
                </a:lnTo>
                <a:lnTo>
                  <a:pt x="3610" y="3121"/>
                </a:lnTo>
                <a:lnTo>
                  <a:pt x="3610" y="2998"/>
                </a:lnTo>
                <a:lnTo>
                  <a:pt x="3696" y="2998"/>
                </a:lnTo>
                <a:lnTo>
                  <a:pt x="3696" y="2974"/>
                </a:lnTo>
                <a:lnTo>
                  <a:pt x="3610" y="2974"/>
                </a:lnTo>
                <a:lnTo>
                  <a:pt x="3610" y="2852"/>
                </a:lnTo>
                <a:lnTo>
                  <a:pt x="3696" y="2852"/>
                </a:lnTo>
                <a:lnTo>
                  <a:pt x="3696" y="2815"/>
                </a:lnTo>
                <a:lnTo>
                  <a:pt x="3610" y="2815"/>
                </a:lnTo>
                <a:lnTo>
                  <a:pt x="3610" y="2680"/>
                </a:lnTo>
                <a:lnTo>
                  <a:pt x="3696" y="2680"/>
                </a:lnTo>
                <a:lnTo>
                  <a:pt x="3696" y="2656"/>
                </a:lnTo>
                <a:lnTo>
                  <a:pt x="3610" y="2656"/>
                </a:lnTo>
                <a:lnTo>
                  <a:pt x="3610" y="2509"/>
                </a:lnTo>
                <a:lnTo>
                  <a:pt x="3696" y="2509"/>
                </a:lnTo>
                <a:lnTo>
                  <a:pt x="3696" y="2484"/>
                </a:lnTo>
                <a:lnTo>
                  <a:pt x="3610" y="2484"/>
                </a:lnTo>
                <a:lnTo>
                  <a:pt x="3610" y="2276"/>
                </a:lnTo>
                <a:lnTo>
                  <a:pt x="3561" y="2276"/>
                </a:lnTo>
                <a:lnTo>
                  <a:pt x="3561" y="2484"/>
                </a:lnTo>
                <a:lnTo>
                  <a:pt x="3390" y="2484"/>
                </a:lnTo>
                <a:lnTo>
                  <a:pt x="3390" y="2276"/>
                </a:lnTo>
                <a:lnTo>
                  <a:pt x="3329" y="2276"/>
                </a:lnTo>
                <a:lnTo>
                  <a:pt x="3329" y="2484"/>
                </a:lnTo>
                <a:lnTo>
                  <a:pt x="3158" y="2484"/>
                </a:lnTo>
                <a:lnTo>
                  <a:pt x="3158" y="2276"/>
                </a:lnTo>
                <a:lnTo>
                  <a:pt x="3109" y="2276"/>
                </a:lnTo>
                <a:lnTo>
                  <a:pt x="3109" y="2484"/>
                </a:lnTo>
                <a:lnTo>
                  <a:pt x="2937" y="2484"/>
                </a:lnTo>
                <a:lnTo>
                  <a:pt x="2937" y="2276"/>
                </a:lnTo>
                <a:lnTo>
                  <a:pt x="2876" y="2276"/>
                </a:lnTo>
                <a:lnTo>
                  <a:pt x="2876" y="2607"/>
                </a:lnTo>
                <a:lnTo>
                  <a:pt x="2717" y="2607"/>
                </a:lnTo>
                <a:lnTo>
                  <a:pt x="2717" y="2276"/>
                </a:lnTo>
                <a:lnTo>
                  <a:pt x="2656" y="2276"/>
                </a:lnTo>
                <a:lnTo>
                  <a:pt x="2656" y="2692"/>
                </a:lnTo>
                <a:lnTo>
                  <a:pt x="2484" y="2692"/>
                </a:lnTo>
                <a:lnTo>
                  <a:pt x="2484" y="2276"/>
                </a:lnTo>
                <a:lnTo>
                  <a:pt x="2423" y="2276"/>
                </a:lnTo>
                <a:lnTo>
                  <a:pt x="2423" y="2815"/>
                </a:lnTo>
                <a:lnTo>
                  <a:pt x="2264" y="2815"/>
                </a:lnTo>
                <a:lnTo>
                  <a:pt x="2264" y="2276"/>
                </a:lnTo>
                <a:lnTo>
                  <a:pt x="2203" y="2276"/>
                </a:lnTo>
                <a:lnTo>
                  <a:pt x="2203" y="2815"/>
                </a:lnTo>
                <a:lnTo>
                  <a:pt x="2068" y="2815"/>
                </a:lnTo>
                <a:lnTo>
                  <a:pt x="2068" y="2852"/>
                </a:lnTo>
                <a:lnTo>
                  <a:pt x="2203" y="2852"/>
                </a:lnTo>
                <a:lnTo>
                  <a:pt x="2203" y="2974"/>
                </a:lnTo>
                <a:lnTo>
                  <a:pt x="2068" y="2974"/>
                </a:lnTo>
                <a:lnTo>
                  <a:pt x="2068" y="2998"/>
                </a:lnTo>
                <a:lnTo>
                  <a:pt x="2203" y="2998"/>
                </a:lnTo>
                <a:lnTo>
                  <a:pt x="2203" y="3121"/>
                </a:lnTo>
                <a:lnTo>
                  <a:pt x="2068" y="3121"/>
                </a:lnTo>
                <a:lnTo>
                  <a:pt x="2068" y="3158"/>
                </a:lnTo>
                <a:lnTo>
                  <a:pt x="2203" y="3158"/>
                </a:lnTo>
                <a:lnTo>
                  <a:pt x="2203" y="3280"/>
                </a:lnTo>
                <a:lnTo>
                  <a:pt x="2068" y="3280"/>
                </a:lnTo>
                <a:lnTo>
                  <a:pt x="2068" y="3304"/>
                </a:lnTo>
                <a:lnTo>
                  <a:pt x="2203" y="3304"/>
                </a:lnTo>
                <a:lnTo>
                  <a:pt x="2203" y="3402"/>
                </a:lnTo>
                <a:lnTo>
                  <a:pt x="2068" y="3402"/>
                </a:lnTo>
                <a:lnTo>
                  <a:pt x="2068" y="3818"/>
                </a:lnTo>
                <a:lnTo>
                  <a:pt x="2044" y="3818"/>
                </a:lnTo>
                <a:lnTo>
                  <a:pt x="2044" y="3610"/>
                </a:lnTo>
                <a:lnTo>
                  <a:pt x="2044" y="3549"/>
                </a:lnTo>
                <a:lnTo>
                  <a:pt x="2044" y="3329"/>
                </a:lnTo>
                <a:lnTo>
                  <a:pt x="2044" y="3280"/>
                </a:lnTo>
                <a:lnTo>
                  <a:pt x="2044" y="3060"/>
                </a:lnTo>
                <a:lnTo>
                  <a:pt x="2044" y="2998"/>
                </a:lnTo>
                <a:lnTo>
                  <a:pt x="2044" y="2925"/>
                </a:lnTo>
                <a:lnTo>
                  <a:pt x="1995" y="2925"/>
                </a:lnTo>
                <a:lnTo>
                  <a:pt x="1995" y="2998"/>
                </a:lnTo>
                <a:lnTo>
                  <a:pt x="1762" y="2998"/>
                </a:lnTo>
                <a:lnTo>
                  <a:pt x="1762" y="2925"/>
                </a:lnTo>
                <a:lnTo>
                  <a:pt x="1701" y="2925"/>
                </a:lnTo>
                <a:lnTo>
                  <a:pt x="1701" y="3818"/>
                </a:lnTo>
                <a:lnTo>
                  <a:pt x="1579" y="3818"/>
                </a:lnTo>
                <a:lnTo>
                  <a:pt x="1579" y="3769"/>
                </a:lnTo>
                <a:lnTo>
                  <a:pt x="1640" y="3769"/>
                </a:lnTo>
                <a:lnTo>
                  <a:pt x="1640" y="3745"/>
                </a:lnTo>
                <a:lnTo>
                  <a:pt x="1579" y="3745"/>
                </a:lnTo>
                <a:lnTo>
                  <a:pt x="1579" y="3610"/>
                </a:lnTo>
                <a:lnTo>
                  <a:pt x="1640" y="3610"/>
                </a:lnTo>
                <a:lnTo>
                  <a:pt x="1640" y="3574"/>
                </a:lnTo>
                <a:lnTo>
                  <a:pt x="1579" y="3574"/>
                </a:lnTo>
                <a:lnTo>
                  <a:pt x="1579" y="3439"/>
                </a:lnTo>
                <a:lnTo>
                  <a:pt x="1640" y="3439"/>
                </a:lnTo>
                <a:lnTo>
                  <a:pt x="1640" y="3415"/>
                </a:lnTo>
                <a:lnTo>
                  <a:pt x="1579" y="3415"/>
                </a:lnTo>
                <a:lnTo>
                  <a:pt x="1579" y="3280"/>
                </a:lnTo>
                <a:lnTo>
                  <a:pt x="1640" y="3280"/>
                </a:lnTo>
                <a:lnTo>
                  <a:pt x="1640" y="3243"/>
                </a:lnTo>
                <a:lnTo>
                  <a:pt x="1579" y="3243"/>
                </a:lnTo>
                <a:lnTo>
                  <a:pt x="1579" y="3145"/>
                </a:lnTo>
                <a:lnTo>
                  <a:pt x="1628" y="3145"/>
                </a:lnTo>
                <a:lnTo>
                  <a:pt x="1628" y="3109"/>
                </a:lnTo>
                <a:lnTo>
                  <a:pt x="1579" y="3109"/>
                </a:lnTo>
                <a:lnTo>
                  <a:pt x="1579" y="2974"/>
                </a:lnTo>
                <a:lnTo>
                  <a:pt x="1628" y="2974"/>
                </a:lnTo>
                <a:lnTo>
                  <a:pt x="1628" y="2949"/>
                </a:lnTo>
                <a:lnTo>
                  <a:pt x="1579" y="2949"/>
                </a:lnTo>
                <a:lnTo>
                  <a:pt x="1579" y="2815"/>
                </a:lnTo>
                <a:lnTo>
                  <a:pt x="1628" y="2815"/>
                </a:lnTo>
                <a:lnTo>
                  <a:pt x="1628" y="2778"/>
                </a:lnTo>
                <a:lnTo>
                  <a:pt x="1579" y="2778"/>
                </a:lnTo>
                <a:lnTo>
                  <a:pt x="1579" y="2644"/>
                </a:lnTo>
                <a:lnTo>
                  <a:pt x="1628" y="2644"/>
                </a:lnTo>
                <a:lnTo>
                  <a:pt x="1628" y="2619"/>
                </a:lnTo>
                <a:lnTo>
                  <a:pt x="1579" y="2619"/>
                </a:lnTo>
                <a:lnTo>
                  <a:pt x="1579" y="2350"/>
                </a:lnTo>
                <a:lnTo>
                  <a:pt x="1542" y="2350"/>
                </a:lnTo>
                <a:lnTo>
                  <a:pt x="1542" y="2619"/>
                </a:lnTo>
                <a:lnTo>
                  <a:pt x="1456" y="2619"/>
                </a:lnTo>
                <a:lnTo>
                  <a:pt x="1456" y="2448"/>
                </a:lnTo>
                <a:lnTo>
                  <a:pt x="1432" y="2448"/>
                </a:lnTo>
                <a:lnTo>
                  <a:pt x="1432" y="2619"/>
                </a:lnTo>
                <a:lnTo>
                  <a:pt x="1358" y="2619"/>
                </a:lnTo>
                <a:lnTo>
                  <a:pt x="1358" y="2644"/>
                </a:lnTo>
                <a:lnTo>
                  <a:pt x="1432" y="2644"/>
                </a:lnTo>
                <a:lnTo>
                  <a:pt x="1432" y="2778"/>
                </a:lnTo>
                <a:lnTo>
                  <a:pt x="1358" y="2778"/>
                </a:lnTo>
                <a:lnTo>
                  <a:pt x="1358" y="2815"/>
                </a:lnTo>
                <a:lnTo>
                  <a:pt x="1432" y="2815"/>
                </a:lnTo>
                <a:lnTo>
                  <a:pt x="1432" y="2949"/>
                </a:lnTo>
                <a:lnTo>
                  <a:pt x="1358" y="2949"/>
                </a:lnTo>
                <a:lnTo>
                  <a:pt x="1358" y="2974"/>
                </a:lnTo>
                <a:lnTo>
                  <a:pt x="1432" y="2974"/>
                </a:lnTo>
                <a:lnTo>
                  <a:pt x="1432" y="3109"/>
                </a:lnTo>
                <a:lnTo>
                  <a:pt x="1358" y="3109"/>
                </a:lnTo>
                <a:lnTo>
                  <a:pt x="1358" y="3145"/>
                </a:lnTo>
                <a:lnTo>
                  <a:pt x="1432" y="3145"/>
                </a:lnTo>
                <a:lnTo>
                  <a:pt x="1432" y="3243"/>
                </a:lnTo>
                <a:lnTo>
                  <a:pt x="1358" y="3243"/>
                </a:lnTo>
                <a:lnTo>
                  <a:pt x="1358" y="3280"/>
                </a:lnTo>
                <a:lnTo>
                  <a:pt x="1432" y="3280"/>
                </a:lnTo>
                <a:lnTo>
                  <a:pt x="1432" y="3415"/>
                </a:lnTo>
                <a:lnTo>
                  <a:pt x="1358" y="3415"/>
                </a:lnTo>
                <a:lnTo>
                  <a:pt x="1358" y="3439"/>
                </a:lnTo>
                <a:lnTo>
                  <a:pt x="1432" y="3439"/>
                </a:lnTo>
                <a:lnTo>
                  <a:pt x="1432" y="3574"/>
                </a:lnTo>
                <a:lnTo>
                  <a:pt x="1358" y="3574"/>
                </a:lnTo>
                <a:lnTo>
                  <a:pt x="1358" y="3610"/>
                </a:lnTo>
                <a:lnTo>
                  <a:pt x="1432" y="3610"/>
                </a:lnTo>
                <a:lnTo>
                  <a:pt x="1432" y="3745"/>
                </a:lnTo>
                <a:lnTo>
                  <a:pt x="1358" y="3745"/>
                </a:lnTo>
                <a:lnTo>
                  <a:pt x="1358" y="3769"/>
                </a:lnTo>
                <a:lnTo>
                  <a:pt x="1432" y="3769"/>
                </a:lnTo>
                <a:lnTo>
                  <a:pt x="1432" y="3818"/>
                </a:lnTo>
                <a:lnTo>
                  <a:pt x="1138" y="3818"/>
                </a:lnTo>
                <a:lnTo>
                  <a:pt x="1138" y="2766"/>
                </a:lnTo>
                <a:lnTo>
                  <a:pt x="1138" y="2680"/>
                </a:lnTo>
                <a:lnTo>
                  <a:pt x="1138" y="1640"/>
                </a:lnTo>
                <a:lnTo>
                  <a:pt x="1065" y="1640"/>
                </a:lnTo>
                <a:lnTo>
                  <a:pt x="1065" y="930"/>
                </a:lnTo>
                <a:lnTo>
                  <a:pt x="1114" y="930"/>
                </a:lnTo>
                <a:lnTo>
                  <a:pt x="1114" y="844"/>
                </a:lnTo>
                <a:lnTo>
                  <a:pt x="1775" y="844"/>
                </a:lnTo>
                <a:lnTo>
                  <a:pt x="1823" y="844"/>
                </a:lnTo>
                <a:lnTo>
                  <a:pt x="2974" y="844"/>
                </a:lnTo>
                <a:lnTo>
                  <a:pt x="2974" y="808"/>
                </a:lnTo>
                <a:lnTo>
                  <a:pt x="2876" y="771"/>
                </a:lnTo>
                <a:lnTo>
                  <a:pt x="2876" y="771"/>
                </a:lnTo>
                <a:lnTo>
                  <a:pt x="930" y="0"/>
                </a:lnTo>
                <a:lnTo>
                  <a:pt x="281" y="600"/>
                </a:lnTo>
                <a:lnTo>
                  <a:pt x="281" y="587"/>
                </a:lnTo>
                <a:lnTo>
                  <a:pt x="0" y="587"/>
                </a:lnTo>
                <a:lnTo>
                  <a:pt x="0" y="893"/>
                </a:lnTo>
                <a:lnTo>
                  <a:pt x="281" y="893"/>
                </a:lnTo>
                <a:lnTo>
                  <a:pt x="281" y="844"/>
                </a:lnTo>
                <a:lnTo>
                  <a:pt x="771" y="844"/>
                </a:lnTo>
                <a:lnTo>
                  <a:pt x="771" y="930"/>
                </a:lnTo>
                <a:lnTo>
                  <a:pt x="820" y="930"/>
                </a:lnTo>
                <a:lnTo>
                  <a:pt x="820" y="967"/>
                </a:lnTo>
                <a:lnTo>
                  <a:pt x="820" y="1016"/>
                </a:lnTo>
                <a:lnTo>
                  <a:pt x="820" y="1163"/>
                </a:lnTo>
                <a:lnTo>
                  <a:pt x="820" y="1212"/>
                </a:lnTo>
                <a:lnTo>
                  <a:pt x="820" y="1371"/>
                </a:lnTo>
                <a:lnTo>
                  <a:pt x="820" y="1407"/>
                </a:lnTo>
                <a:lnTo>
                  <a:pt x="820" y="1640"/>
                </a:lnTo>
                <a:lnTo>
                  <a:pt x="759" y="1640"/>
                </a:lnTo>
                <a:lnTo>
                  <a:pt x="759" y="2680"/>
                </a:lnTo>
                <a:lnTo>
                  <a:pt x="759" y="2766"/>
                </a:lnTo>
                <a:lnTo>
                  <a:pt x="759" y="3818"/>
                </a:lnTo>
                <a:lnTo>
                  <a:pt x="355" y="3818"/>
                </a:lnTo>
                <a:lnTo>
                  <a:pt x="355" y="3990"/>
                </a:lnTo>
                <a:lnTo>
                  <a:pt x="9534" y="3990"/>
                </a:lnTo>
                <a:lnTo>
                  <a:pt x="9534" y="3818"/>
                </a:lnTo>
                <a:lnTo>
                  <a:pt x="9436" y="3818"/>
                </a:lnTo>
                <a:close/>
                <a:moveTo>
                  <a:pt x="5642" y="918"/>
                </a:moveTo>
                <a:lnTo>
                  <a:pt x="5495" y="918"/>
                </a:lnTo>
                <a:lnTo>
                  <a:pt x="5642" y="857"/>
                </a:lnTo>
                <a:lnTo>
                  <a:pt x="5642" y="918"/>
                </a:lnTo>
                <a:close/>
                <a:moveTo>
                  <a:pt x="5679" y="918"/>
                </a:moveTo>
                <a:lnTo>
                  <a:pt x="5679" y="844"/>
                </a:lnTo>
                <a:lnTo>
                  <a:pt x="5691" y="832"/>
                </a:lnTo>
                <a:lnTo>
                  <a:pt x="5777" y="918"/>
                </a:lnTo>
                <a:lnTo>
                  <a:pt x="5679" y="918"/>
                </a:lnTo>
                <a:close/>
                <a:moveTo>
                  <a:pt x="5789" y="906"/>
                </a:moveTo>
                <a:lnTo>
                  <a:pt x="5716" y="820"/>
                </a:lnTo>
                <a:lnTo>
                  <a:pt x="5789" y="795"/>
                </a:lnTo>
                <a:lnTo>
                  <a:pt x="5789" y="906"/>
                </a:lnTo>
                <a:close/>
                <a:moveTo>
                  <a:pt x="5813" y="808"/>
                </a:moveTo>
                <a:lnTo>
                  <a:pt x="5862" y="857"/>
                </a:lnTo>
                <a:lnTo>
                  <a:pt x="5813" y="893"/>
                </a:lnTo>
                <a:lnTo>
                  <a:pt x="5813" y="808"/>
                </a:lnTo>
                <a:close/>
                <a:moveTo>
                  <a:pt x="5838" y="783"/>
                </a:moveTo>
                <a:lnTo>
                  <a:pt x="5924" y="783"/>
                </a:lnTo>
                <a:lnTo>
                  <a:pt x="5875" y="832"/>
                </a:lnTo>
                <a:lnTo>
                  <a:pt x="5838" y="783"/>
                </a:lnTo>
                <a:close/>
                <a:moveTo>
                  <a:pt x="5826" y="918"/>
                </a:moveTo>
                <a:lnTo>
                  <a:pt x="5875" y="869"/>
                </a:lnTo>
                <a:lnTo>
                  <a:pt x="5924" y="918"/>
                </a:lnTo>
                <a:lnTo>
                  <a:pt x="5826" y="918"/>
                </a:lnTo>
                <a:close/>
                <a:moveTo>
                  <a:pt x="5936" y="893"/>
                </a:moveTo>
                <a:lnTo>
                  <a:pt x="5887" y="857"/>
                </a:lnTo>
                <a:lnTo>
                  <a:pt x="5936" y="808"/>
                </a:lnTo>
                <a:lnTo>
                  <a:pt x="5936" y="893"/>
                </a:lnTo>
                <a:close/>
                <a:moveTo>
                  <a:pt x="6009" y="857"/>
                </a:moveTo>
                <a:lnTo>
                  <a:pt x="5960" y="893"/>
                </a:lnTo>
                <a:lnTo>
                  <a:pt x="5960" y="808"/>
                </a:lnTo>
                <a:lnTo>
                  <a:pt x="6009" y="857"/>
                </a:lnTo>
                <a:close/>
                <a:moveTo>
                  <a:pt x="5973" y="783"/>
                </a:moveTo>
                <a:lnTo>
                  <a:pt x="6070" y="783"/>
                </a:lnTo>
                <a:lnTo>
                  <a:pt x="6021" y="832"/>
                </a:lnTo>
                <a:lnTo>
                  <a:pt x="5973" y="783"/>
                </a:lnTo>
                <a:close/>
                <a:moveTo>
                  <a:pt x="5973" y="918"/>
                </a:moveTo>
                <a:lnTo>
                  <a:pt x="6021" y="869"/>
                </a:lnTo>
                <a:lnTo>
                  <a:pt x="6070" y="918"/>
                </a:lnTo>
                <a:lnTo>
                  <a:pt x="5973" y="918"/>
                </a:lnTo>
                <a:close/>
                <a:moveTo>
                  <a:pt x="6083" y="893"/>
                </a:moveTo>
                <a:lnTo>
                  <a:pt x="6034" y="857"/>
                </a:lnTo>
                <a:lnTo>
                  <a:pt x="6083" y="808"/>
                </a:lnTo>
                <a:lnTo>
                  <a:pt x="6083" y="893"/>
                </a:lnTo>
                <a:close/>
                <a:moveTo>
                  <a:pt x="6156" y="857"/>
                </a:moveTo>
                <a:lnTo>
                  <a:pt x="6107" y="893"/>
                </a:lnTo>
                <a:lnTo>
                  <a:pt x="6107" y="808"/>
                </a:lnTo>
                <a:lnTo>
                  <a:pt x="6156" y="857"/>
                </a:lnTo>
                <a:close/>
                <a:moveTo>
                  <a:pt x="6119" y="783"/>
                </a:moveTo>
                <a:lnTo>
                  <a:pt x="6217" y="783"/>
                </a:lnTo>
                <a:lnTo>
                  <a:pt x="6168" y="832"/>
                </a:lnTo>
                <a:lnTo>
                  <a:pt x="6119" y="783"/>
                </a:lnTo>
                <a:close/>
                <a:moveTo>
                  <a:pt x="6119" y="918"/>
                </a:moveTo>
                <a:lnTo>
                  <a:pt x="6168" y="869"/>
                </a:lnTo>
                <a:lnTo>
                  <a:pt x="6217" y="918"/>
                </a:lnTo>
                <a:lnTo>
                  <a:pt x="6119" y="918"/>
                </a:lnTo>
                <a:close/>
                <a:moveTo>
                  <a:pt x="6217" y="893"/>
                </a:moveTo>
                <a:lnTo>
                  <a:pt x="6181" y="857"/>
                </a:lnTo>
                <a:lnTo>
                  <a:pt x="6217" y="808"/>
                </a:lnTo>
                <a:lnTo>
                  <a:pt x="6217" y="893"/>
                </a:lnTo>
                <a:close/>
                <a:moveTo>
                  <a:pt x="6303" y="857"/>
                </a:moveTo>
                <a:lnTo>
                  <a:pt x="6254" y="893"/>
                </a:lnTo>
                <a:lnTo>
                  <a:pt x="6254" y="808"/>
                </a:lnTo>
                <a:lnTo>
                  <a:pt x="6303" y="857"/>
                </a:lnTo>
                <a:close/>
                <a:moveTo>
                  <a:pt x="6266" y="783"/>
                </a:moveTo>
                <a:lnTo>
                  <a:pt x="6352" y="783"/>
                </a:lnTo>
                <a:lnTo>
                  <a:pt x="6315" y="832"/>
                </a:lnTo>
                <a:lnTo>
                  <a:pt x="6266" y="783"/>
                </a:lnTo>
                <a:close/>
                <a:moveTo>
                  <a:pt x="6266" y="918"/>
                </a:moveTo>
                <a:lnTo>
                  <a:pt x="6315" y="869"/>
                </a:lnTo>
                <a:lnTo>
                  <a:pt x="6364" y="918"/>
                </a:lnTo>
                <a:lnTo>
                  <a:pt x="6266" y="918"/>
                </a:lnTo>
                <a:close/>
                <a:moveTo>
                  <a:pt x="6376" y="906"/>
                </a:moveTo>
                <a:lnTo>
                  <a:pt x="6327" y="857"/>
                </a:lnTo>
                <a:lnTo>
                  <a:pt x="6376" y="795"/>
                </a:lnTo>
                <a:lnTo>
                  <a:pt x="6376" y="906"/>
                </a:lnTo>
                <a:close/>
                <a:moveTo>
                  <a:pt x="6450" y="857"/>
                </a:moveTo>
                <a:lnTo>
                  <a:pt x="6401" y="893"/>
                </a:lnTo>
                <a:lnTo>
                  <a:pt x="6401" y="808"/>
                </a:lnTo>
                <a:lnTo>
                  <a:pt x="6450" y="857"/>
                </a:lnTo>
                <a:close/>
                <a:moveTo>
                  <a:pt x="6413" y="783"/>
                </a:moveTo>
                <a:lnTo>
                  <a:pt x="6425" y="783"/>
                </a:lnTo>
                <a:lnTo>
                  <a:pt x="6511" y="783"/>
                </a:lnTo>
                <a:lnTo>
                  <a:pt x="6462" y="832"/>
                </a:lnTo>
                <a:lnTo>
                  <a:pt x="6413" y="783"/>
                </a:lnTo>
                <a:close/>
                <a:moveTo>
                  <a:pt x="6425" y="918"/>
                </a:moveTo>
                <a:lnTo>
                  <a:pt x="6413" y="918"/>
                </a:lnTo>
                <a:lnTo>
                  <a:pt x="6462" y="869"/>
                </a:lnTo>
                <a:lnTo>
                  <a:pt x="6511" y="918"/>
                </a:lnTo>
                <a:lnTo>
                  <a:pt x="6425" y="918"/>
                </a:lnTo>
                <a:close/>
                <a:moveTo>
                  <a:pt x="6523" y="893"/>
                </a:moveTo>
                <a:lnTo>
                  <a:pt x="6474" y="857"/>
                </a:lnTo>
                <a:lnTo>
                  <a:pt x="6523" y="808"/>
                </a:lnTo>
                <a:lnTo>
                  <a:pt x="6523" y="893"/>
                </a:lnTo>
                <a:close/>
                <a:moveTo>
                  <a:pt x="6597" y="857"/>
                </a:moveTo>
                <a:lnTo>
                  <a:pt x="6548" y="893"/>
                </a:lnTo>
                <a:lnTo>
                  <a:pt x="6548" y="808"/>
                </a:lnTo>
                <a:lnTo>
                  <a:pt x="6597" y="857"/>
                </a:lnTo>
                <a:close/>
                <a:moveTo>
                  <a:pt x="6560" y="783"/>
                </a:moveTo>
                <a:lnTo>
                  <a:pt x="6658" y="783"/>
                </a:lnTo>
                <a:lnTo>
                  <a:pt x="6609" y="832"/>
                </a:lnTo>
                <a:lnTo>
                  <a:pt x="6560" y="783"/>
                </a:lnTo>
                <a:close/>
                <a:moveTo>
                  <a:pt x="6560" y="918"/>
                </a:moveTo>
                <a:lnTo>
                  <a:pt x="6609" y="869"/>
                </a:lnTo>
                <a:lnTo>
                  <a:pt x="6658" y="918"/>
                </a:lnTo>
                <a:lnTo>
                  <a:pt x="6560" y="918"/>
                </a:lnTo>
                <a:close/>
                <a:moveTo>
                  <a:pt x="6658" y="893"/>
                </a:moveTo>
                <a:lnTo>
                  <a:pt x="6621" y="857"/>
                </a:lnTo>
                <a:lnTo>
                  <a:pt x="6658" y="808"/>
                </a:lnTo>
                <a:lnTo>
                  <a:pt x="6658" y="893"/>
                </a:lnTo>
                <a:close/>
                <a:moveTo>
                  <a:pt x="6744" y="857"/>
                </a:moveTo>
                <a:lnTo>
                  <a:pt x="6695" y="893"/>
                </a:lnTo>
                <a:lnTo>
                  <a:pt x="6695" y="808"/>
                </a:lnTo>
                <a:lnTo>
                  <a:pt x="6744" y="857"/>
                </a:lnTo>
                <a:close/>
                <a:moveTo>
                  <a:pt x="6707" y="783"/>
                </a:moveTo>
                <a:lnTo>
                  <a:pt x="6793" y="783"/>
                </a:lnTo>
                <a:lnTo>
                  <a:pt x="6756" y="832"/>
                </a:lnTo>
                <a:lnTo>
                  <a:pt x="6707" y="783"/>
                </a:lnTo>
                <a:close/>
                <a:moveTo>
                  <a:pt x="6707" y="918"/>
                </a:moveTo>
                <a:lnTo>
                  <a:pt x="6756" y="869"/>
                </a:lnTo>
                <a:lnTo>
                  <a:pt x="6805" y="918"/>
                </a:lnTo>
                <a:lnTo>
                  <a:pt x="6707" y="918"/>
                </a:lnTo>
                <a:close/>
                <a:moveTo>
                  <a:pt x="6805" y="893"/>
                </a:moveTo>
                <a:lnTo>
                  <a:pt x="6768" y="857"/>
                </a:lnTo>
                <a:lnTo>
                  <a:pt x="6805" y="808"/>
                </a:lnTo>
                <a:lnTo>
                  <a:pt x="6805" y="893"/>
                </a:lnTo>
                <a:close/>
                <a:moveTo>
                  <a:pt x="6878" y="857"/>
                </a:moveTo>
                <a:lnTo>
                  <a:pt x="6842" y="893"/>
                </a:lnTo>
                <a:lnTo>
                  <a:pt x="6842" y="808"/>
                </a:lnTo>
                <a:lnTo>
                  <a:pt x="6878" y="857"/>
                </a:lnTo>
                <a:close/>
                <a:moveTo>
                  <a:pt x="6854" y="783"/>
                </a:moveTo>
                <a:lnTo>
                  <a:pt x="6939" y="783"/>
                </a:lnTo>
                <a:lnTo>
                  <a:pt x="6903" y="832"/>
                </a:lnTo>
                <a:lnTo>
                  <a:pt x="6854" y="783"/>
                </a:lnTo>
                <a:close/>
                <a:moveTo>
                  <a:pt x="6854" y="918"/>
                </a:moveTo>
                <a:lnTo>
                  <a:pt x="6903" y="869"/>
                </a:lnTo>
                <a:lnTo>
                  <a:pt x="6939" y="918"/>
                </a:lnTo>
                <a:lnTo>
                  <a:pt x="6854" y="918"/>
                </a:lnTo>
                <a:close/>
                <a:moveTo>
                  <a:pt x="7001" y="918"/>
                </a:moveTo>
                <a:lnTo>
                  <a:pt x="6976" y="918"/>
                </a:lnTo>
                <a:lnTo>
                  <a:pt x="6915" y="857"/>
                </a:lnTo>
                <a:lnTo>
                  <a:pt x="6976" y="783"/>
                </a:lnTo>
                <a:lnTo>
                  <a:pt x="7001" y="783"/>
                </a:lnTo>
                <a:lnTo>
                  <a:pt x="7001" y="918"/>
                </a:lnTo>
                <a:close/>
                <a:moveTo>
                  <a:pt x="7037" y="306"/>
                </a:moveTo>
                <a:lnTo>
                  <a:pt x="7037" y="343"/>
                </a:lnTo>
                <a:lnTo>
                  <a:pt x="7037" y="673"/>
                </a:lnTo>
                <a:lnTo>
                  <a:pt x="7001" y="673"/>
                </a:lnTo>
                <a:lnTo>
                  <a:pt x="7001" y="759"/>
                </a:lnTo>
                <a:lnTo>
                  <a:pt x="6842" y="759"/>
                </a:lnTo>
                <a:lnTo>
                  <a:pt x="6805" y="759"/>
                </a:lnTo>
                <a:lnTo>
                  <a:pt x="6695" y="759"/>
                </a:lnTo>
                <a:lnTo>
                  <a:pt x="6658" y="759"/>
                </a:lnTo>
                <a:lnTo>
                  <a:pt x="6548" y="759"/>
                </a:lnTo>
                <a:lnTo>
                  <a:pt x="6523" y="759"/>
                </a:lnTo>
                <a:lnTo>
                  <a:pt x="6425" y="759"/>
                </a:lnTo>
                <a:lnTo>
                  <a:pt x="6401" y="759"/>
                </a:lnTo>
                <a:lnTo>
                  <a:pt x="6376" y="759"/>
                </a:lnTo>
                <a:lnTo>
                  <a:pt x="6376" y="759"/>
                </a:lnTo>
                <a:lnTo>
                  <a:pt x="6254" y="759"/>
                </a:lnTo>
                <a:lnTo>
                  <a:pt x="6217" y="759"/>
                </a:lnTo>
                <a:lnTo>
                  <a:pt x="6107" y="759"/>
                </a:lnTo>
                <a:lnTo>
                  <a:pt x="6083" y="759"/>
                </a:lnTo>
                <a:lnTo>
                  <a:pt x="5960" y="759"/>
                </a:lnTo>
                <a:lnTo>
                  <a:pt x="5936" y="759"/>
                </a:lnTo>
                <a:lnTo>
                  <a:pt x="5875" y="759"/>
                </a:lnTo>
                <a:lnTo>
                  <a:pt x="7037" y="257"/>
                </a:lnTo>
                <a:lnTo>
                  <a:pt x="7037" y="306"/>
                </a:lnTo>
                <a:close/>
                <a:moveTo>
                  <a:pt x="5165" y="1750"/>
                </a:moveTo>
                <a:lnTo>
                  <a:pt x="5238" y="1750"/>
                </a:lnTo>
                <a:lnTo>
                  <a:pt x="5238" y="1885"/>
                </a:lnTo>
                <a:lnTo>
                  <a:pt x="5165" y="1885"/>
                </a:lnTo>
                <a:lnTo>
                  <a:pt x="5165" y="1750"/>
                </a:lnTo>
                <a:close/>
                <a:moveTo>
                  <a:pt x="5165" y="1909"/>
                </a:moveTo>
                <a:lnTo>
                  <a:pt x="5238" y="1909"/>
                </a:lnTo>
                <a:lnTo>
                  <a:pt x="5238" y="2044"/>
                </a:lnTo>
                <a:lnTo>
                  <a:pt x="5165" y="2044"/>
                </a:lnTo>
                <a:lnTo>
                  <a:pt x="5165" y="1909"/>
                </a:lnTo>
                <a:close/>
                <a:moveTo>
                  <a:pt x="5165" y="2081"/>
                </a:moveTo>
                <a:lnTo>
                  <a:pt x="5238" y="2081"/>
                </a:lnTo>
                <a:lnTo>
                  <a:pt x="5238" y="2203"/>
                </a:lnTo>
                <a:lnTo>
                  <a:pt x="5165" y="2203"/>
                </a:lnTo>
                <a:lnTo>
                  <a:pt x="5165" y="2081"/>
                </a:lnTo>
                <a:close/>
                <a:moveTo>
                  <a:pt x="5165" y="2240"/>
                </a:moveTo>
                <a:lnTo>
                  <a:pt x="5238" y="2240"/>
                </a:lnTo>
                <a:lnTo>
                  <a:pt x="5238" y="2350"/>
                </a:lnTo>
                <a:lnTo>
                  <a:pt x="5165" y="2350"/>
                </a:lnTo>
                <a:lnTo>
                  <a:pt x="5165" y="2240"/>
                </a:lnTo>
                <a:close/>
                <a:moveTo>
                  <a:pt x="5165" y="2374"/>
                </a:moveTo>
                <a:lnTo>
                  <a:pt x="5238" y="2374"/>
                </a:lnTo>
                <a:lnTo>
                  <a:pt x="5238" y="2509"/>
                </a:lnTo>
                <a:lnTo>
                  <a:pt x="5165" y="2509"/>
                </a:lnTo>
                <a:lnTo>
                  <a:pt x="5165" y="2374"/>
                </a:lnTo>
                <a:close/>
                <a:moveTo>
                  <a:pt x="5165" y="2546"/>
                </a:moveTo>
                <a:lnTo>
                  <a:pt x="5238" y="2546"/>
                </a:lnTo>
                <a:lnTo>
                  <a:pt x="5238" y="2680"/>
                </a:lnTo>
                <a:lnTo>
                  <a:pt x="5165" y="2680"/>
                </a:lnTo>
                <a:lnTo>
                  <a:pt x="5165" y="2546"/>
                </a:lnTo>
                <a:close/>
                <a:moveTo>
                  <a:pt x="5165" y="2705"/>
                </a:moveTo>
                <a:lnTo>
                  <a:pt x="5238" y="2705"/>
                </a:lnTo>
                <a:lnTo>
                  <a:pt x="5238" y="2839"/>
                </a:lnTo>
                <a:lnTo>
                  <a:pt x="5165" y="2839"/>
                </a:lnTo>
                <a:lnTo>
                  <a:pt x="5165" y="2705"/>
                </a:lnTo>
                <a:close/>
                <a:moveTo>
                  <a:pt x="3390" y="2509"/>
                </a:moveTo>
                <a:lnTo>
                  <a:pt x="3561" y="2509"/>
                </a:lnTo>
                <a:lnTo>
                  <a:pt x="3561" y="2656"/>
                </a:lnTo>
                <a:lnTo>
                  <a:pt x="3390" y="2656"/>
                </a:lnTo>
                <a:lnTo>
                  <a:pt x="3390" y="2509"/>
                </a:lnTo>
                <a:close/>
                <a:moveTo>
                  <a:pt x="3390" y="2680"/>
                </a:moveTo>
                <a:lnTo>
                  <a:pt x="3561" y="2680"/>
                </a:lnTo>
                <a:lnTo>
                  <a:pt x="3561" y="2815"/>
                </a:lnTo>
                <a:lnTo>
                  <a:pt x="3390" y="2815"/>
                </a:lnTo>
                <a:lnTo>
                  <a:pt x="3390" y="2680"/>
                </a:lnTo>
                <a:close/>
                <a:moveTo>
                  <a:pt x="3390" y="2852"/>
                </a:moveTo>
                <a:lnTo>
                  <a:pt x="3561" y="2852"/>
                </a:lnTo>
                <a:lnTo>
                  <a:pt x="3561" y="2974"/>
                </a:lnTo>
                <a:lnTo>
                  <a:pt x="3390" y="2974"/>
                </a:lnTo>
                <a:lnTo>
                  <a:pt x="3390" y="2852"/>
                </a:lnTo>
                <a:close/>
                <a:moveTo>
                  <a:pt x="3390" y="2998"/>
                </a:moveTo>
                <a:lnTo>
                  <a:pt x="3561" y="2998"/>
                </a:lnTo>
                <a:lnTo>
                  <a:pt x="3561" y="3121"/>
                </a:lnTo>
                <a:lnTo>
                  <a:pt x="3390" y="3121"/>
                </a:lnTo>
                <a:lnTo>
                  <a:pt x="3390" y="2998"/>
                </a:lnTo>
                <a:close/>
                <a:moveTo>
                  <a:pt x="3390" y="3158"/>
                </a:moveTo>
                <a:lnTo>
                  <a:pt x="3561" y="3158"/>
                </a:lnTo>
                <a:lnTo>
                  <a:pt x="3561" y="3280"/>
                </a:lnTo>
                <a:lnTo>
                  <a:pt x="3390" y="3280"/>
                </a:lnTo>
                <a:lnTo>
                  <a:pt x="3390" y="3158"/>
                </a:lnTo>
                <a:close/>
                <a:moveTo>
                  <a:pt x="3390" y="3304"/>
                </a:moveTo>
                <a:lnTo>
                  <a:pt x="3561" y="3304"/>
                </a:lnTo>
                <a:lnTo>
                  <a:pt x="3561" y="3402"/>
                </a:lnTo>
                <a:lnTo>
                  <a:pt x="3390" y="3402"/>
                </a:lnTo>
                <a:lnTo>
                  <a:pt x="3390" y="3304"/>
                </a:lnTo>
                <a:close/>
                <a:moveTo>
                  <a:pt x="3158" y="2509"/>
                </a:moveTo>
                <a:lnTo>
                  <a:pt x="3329" y="2509"/>
                </a:lnTo>
                <a:lnTo>
                  <a:pt x="3329" y="2656"/>
                </a:lnTo>
                <a:lnTo>
                  <a:pt x="3158" y="2656"/>
                </a:lnTo>
                <a:lnTo>
                  <a:pt x="3158" y="2509"/>
                </a:lnTo>
                <a:close/>
                <a:moveTo>
                  <a:pt x="3158" y="2680"/>
                </a:moveTo>
                <a:lnTo>
                  <a:pt x="3329" y="2680"/>
                </a:lnTo>
                <a:lnTo>
                  <a:pt x="3329" y="2815"/>
                </a:lnTo>
                <a:lnTo>
                  <a:pt x="3158" y="2815"/>
                </a:lnTo>
                <a:lnTo>
                  <a:pt x="3158" y="2680"/>
                </a:lnTo>
                <a:close/>
                <a:moveTo>
                  <a:pt x="3158" y="2852"/>
                </a:moveTo>
                <a:lnTo>
                  <a:pt x="3329" y="2852"/>
                </a:lnTo>
                <a:lnTo>
                  <a:pt x="3329" y="2974"/>
                </a:lnTo>
                <a:lnTo>
                  <a:pt x="3158" y="2974"/>
                </a:lnTo>
                <a:lnTo>
                  <a:pt x="3158" y="2852"/>
                </a:lnTo>
                <a:close/>
                <a:moveTo>
                  <a:pt x="3158" y="2998"/>
                </a:moveTo>
                <a:lnTo>
                  <a:pt x="3329" y="2998"/>
                </a:lnTo>
                <a:lnTo>
                  <a:pt x="3329" y="3121"/>
                </a:lnTo>
                <a:lnTo>
                  <a:pt x="3158" y="3121"/>
                </a:lnTo>
                <a:lnTo>
                  <a:pt x="3158" y="2998"/>
                </a:lnTo>
                <a:close/>
                <a:moveTo>
                  <a:pt x="3158" y="3158"/>
                </a:moveTo>
                <a:lnTo>
                  <a:pt x="3329" y="3158"/>
                </a:lnTo>
                <a:lnTo>
                  <a:pt x="3329" y="3280"/>
                </a:lnTo>
                <a:lnTo>
                  <a:pt x="3158" y="3280"/>
                </a:lnTo>
                <a:lnTo>
                  <a:pt x="3158" y="3158"/>
                </a:lnTo>
                <a:close/>
                <a:moveTo>
                  <a:pt x="3158" y="3304"/>
                </a:moveTo>
                <a:lnTo>
                  <a:pt x="3329" y="3304"/>
                </a:lnTo>
                <a:lnTo>
                  <a:pt x="3329" y="3402"/>
                </a:lnTo>
                <a:lnTo>
                  <a:pt x="3158" y="3402"/>
                </a:lnTo>
                <a:lnTo>
                  <a:pt x="3158" y="3304"/>
                </a:lnTo>
                <a:close/>
                <a:moveTo>
                  <a:pt x="2937" y="2509"/>
                </a:moveTo>
                <a:lnTo>
                  <a:pt x="3109" y="2509"/>
                </a:lnTo>
                <a:lnTo>
                  <a:pt x="3109" y="2656"/>
                </a:lnTo>
                <a:lnTo>
                  <a:pt x="2937" y="2656"/>
                </a:lnTo>
                <a:lnTo>
                  <a:pt x="2937" y="2509"/>
                </a:lnTo>
                <a:close/>
                <a:moveTo>
                  <a:pt x="2937" y="2680"/>
                </a:moveTo>
                <a:lnTo>
                  <a:pt x="3109" y="2680"/>
                </a:lnTo>
                <a:lnTo>
                  <a:pt x="3109" y="2815"/>
                </a:lnTo>
                <a:lnTo>
                  <a:pt x="2937" y="2815"/>
                </a:lnTo>
                <a:lnTo>
                  <a:pt x="2937" y="2680"/>
                </a:lnTo>
                <a:close/>
                <a:moveTo>
                  <a:pt x="2937" y="2852"/>
                </a:moveTo>
                <a:lnTo>
                  <a:pt x="3109" y="2852"/>
                </a:lnTo>
                <a:lnTo>
                  <a:pt x="3109" y="2974"/>
                </a:lnTo>
                <a:lnTo>
                  <a:pt x="2937" y="2974"/>
                </a:lnTo>
                <a:lnTo>
                  <a:pt x="2937" y="2852"/>
                </a:lnTo>
                <a:close/>
                <a:moveTo>
                  <a:pt x="2937" y="2998"/>
                </a:moveTo>
                <a:lnTo>
                  <a:pt x="3109" y="2998"/>
                </a:lnTo>
                <a:lnTo>
                  <a:pt x="3109" y="3121"/>
                </a:lnTo>
                <a:lnTo>
                  <a:pt x="2937" y="3121"/>
                </a:lnTo>
                <a:lnTo>
                  <a:pt x="2937" y="2998"/>
                </a:lnTo>
                <a:close/>
                <a:moveTo>
                  <a:pt x="2937" y="3158"/>
                </a:moveTo>
                <a:lnTo>
                  <a:pt x="3109" y="3158"/>
                </a:lnTo>
                <a:lnTo>
                  <a:pt x="3109" y="3280"/>
                </a:lnTo>
                <a:lnTo>
                  <a:pt x="2937" y="3280"/>
                </a:lnTo>
                <a:lnTo>
                  <a:pt x="2937" y="3158"/>
                </a:lnTo>
                <a:close/>
                <a:moveTo>
                  <a:pt x="2937" y="3304"/>
                </a:moveTo>
                <a:lnTo>
                  <a:pt x="3109" y="3304"/>
                </a:lnTo>
                <a:lnTo>
                  <a:pt x="3109" y="3402"/>
                </a:lnTo>
                <a:lnTo>
                  <a:pt x="2937" y="3402"/>
                </a:lnTo>
                <a:lnTo>
                  <a:pt x="2937" y="3304"/>
                </a:lnTo>
                <a:close/>
                <a:moveTo>
                  <a:pt x="2717" y="2852"/>
                </a:moveTo>
                <a:lnTo>
                  <a:pt x="2876" y="2852"/>
                </a:lnTo>
                <a:lnTo>
                  <a:pt x="2876" y="2974"/>
                </a:lnTo>
                <a:lnTo>
                  <a:pt x="2717" y="2974"/>
                </a:lnTo>
                <a:lnTo>
                  <a:pt x="2717" y="2852"/>
                </a:lnTo>
                <a:close/>
                <a:moveTo>
                  <a:pt x="2717" y="2998"/>
                </a:moveTo>
                <a:lnTo>
                  <a:pt x="2876" y="2998"/>
                </a:lnTo>
                <a:lnTo>
                  <a:pt x="2876" y="3121"/>
                </a:lnTo>
                <a:lnTo>
                  <a:pt x="2717" y="3121"/>
                </a:lnTo>
                <a:lnTo>
                  <a:pt x="2717" y="2998"/>
                </a:lnTo>
                <a:close/>
                <a:moveTo>
                  <a:pt x="2717" y="3158"/>
                </a:moveTo>
                <a:lnTo>
                  <a:pt x="2876" y="3158"/>
                </a:lnTo>
                <a:lnTo>
                  <a:pt x="2876" y="3280"/>
                </a:lnTo>
                <a:lnTo>
                  <a:pt x="2717" y="3280"/>
                </a:lnTo>
                <a:lnTo>
                  <a:pt x="2717" y="3158"/>
                </a:lnTo>
                <a:close/>
                <a:moveTo>
                  <a:pt x="2717" y="3304"/>
                </a:moveTo>
                <a:lnTo>
                  <a:pt x="2876" y="3304"/>
                </a:lnTo>
                <a:lnTo>
                  <a:pt x="2876" y="3402"/>
                </a:lnTo>
                <a:lnTo>
                  <a:pt x="2717" y="3402"/>
                </a:lnTo>
                <a:lnTo>
                  <a:pt x="2717" y="3304"/>
                </a:lnTo>
                <a:close/>
                <a:moveTo>
                  <a:pt x="2484" y="2852"/>
                </a:moveTo>
                <a:lnTo>
                  <a:pt x="2656" y="2852"/>
                </a:lnTo>
                <a:lnTo>
                  <a:pt x="2656" y="2974"/>
                </a:lnTo>
                <a:lnTo>
                  <a:pt x="2484" y="2974"/>
                </a:lnTo>
                <a:lnTo>
                  <a:pt x="2484" y="2852"/>
                </a:lnTo>
                <a:close/>
                <a:moveTo>
                  <a:pt x="2484" y="2998"/>
                </a:moveTo>
                <a:lnTo>
                  <a:pt x="2656" y="2998"/>
                </a:lnTo>
                <a:lnTo>
                  <a:pt x="2656" y="3121"/>
                </a:lnTo>
                <a:lnTo>
                  <a:pt x="2484" y="3121"/>
                </a:lnTo>
                <a:lnTo>
                  <a:pt x="2484" y="2998"/>
                </a:lnTo>
                <a:close/>
                <a:moveTo>
                  <a:pt x="2484" y="3158"/>
                </a:moveTo>
                <a:lnTo>
                  <a:pt x="2656" y="3158"/>
                </a:lnTo>
                <a:lnTo>
                  <a:pt x="2656" y="3280"/>
                </a:lnTo>
                <a:lnTo>
                  <a:pt x="2484" y="3280"/>
                </a:lnTo>
                <a:lnTo>
                  <a:pt x="2484" y="3158"/>
                </a:lnTo>
                <a:close/>
                <a:moveTo>
                  <a:pt x="2484" y="3304"/>
                </a:moveTo>
                <a:lnTo>
                  <a:pt x="2656" y="3304"/>
                </a:lnTo>
                <a:lnTo>
                  <a:pt x="2656" y="3402"/>
                </a:lnTo>
                <a:lnTo>
                  <a:pt x="2484" y="3402"/>
                </a:lnTo>
                <a:lnTo>
                  <a:pt x="2484" y="3304"/>
                </a:lnTo>
                <a:close/>
                <a:moveTo>
                  <a:pt x="2264" y="2852"/>
                </a:moveTo>
                <a:lnTo>
                  <a:pt x="2423" y="2852"/>
                </a:lnTo>
                <a:lnTo>
                  <a:pt x="2423" y="2974"/>
                </a:lnTo>
                <a:lnTo>
                  <a:pt x="2264" y="2974"/>
                </a:lnTo>
                <a:lnTo>
                  <a:pt x="2264" y="2852"/>
                </a:lnTo>
                <a:close/>
                <a:moveTo>
                  <a:pt x="2264" y="2998"/>
                </a:moveTo>
                <a:lnTo>
                  <a:pt x="2423" y="2998"/>
                </a:lnTo>
                <a:lnTo>
                  <a:pt x="2423" y="3121"/>
                </a:lnTo>
                <a:lnTo>
                  <a:pt x="2264" y="3121"/>
                </a:lnTo>
                <a:lnTo>
                  <a:pt x="2264" y="2998"/>
                </a:lnTo>
                <a:close/>
                <a:moveTo>
                  <a:pt x="2264" y="3158"/>
                </a:moveTo>
                <a:lnTo>
                  <a:pt x="2423" y="3158"/>
                </a:lnTo>
                <a:lnTo>
                  <a:pt x="2423" y="3280"/>
                </a:lnTo>
                <a:lnTo>
                  <a:pt x="2264" y="3280"/>
                </a:lnTo>
                <a:lnTo>
                  <a:pt x="2264" y="3158"/>
                </a:lnTo>
                <a:close/>
                <a:moveTo>
                  <a:pt x="2264" y="3304"/>
                </a:moveTo>
                <a:lnTo>
                  <a:pt x="2423" y="3304"/>
                </a:lnTo>
                <a:lnTo>
                  <a:pt x="2423" y="3402"/>
                </a:lnTo>
                <a:lnTo>
                  <a:pt x="2264" y="3402"/>
                </a:lnTo>
                <a:lnTo>
                  <a:pt x="2264" y="3304"/>
                </a:lnTo>
                <a:close/>
                <a:moveTo>
                  <a:pt x="1114" y="808"/>
                </a:moveTo>
                <a:lnTo>
                  <a:pt x="1114" y="673"/>
                </a:lnTo>
                <a:lnTo>
                  <a:pt x="1150" y="673"/>
                </a:lnTo>
                <a:lnTo>
                  <a:pt x="1212" y="734"/>
                </a:lnTo>
                <a:lnTo>
                  <a:pt x="1138" y="808"/>
                </a:lnTo>
                <a:lnTo>
                  <a:pt x="1114" y="808"/>
                </a:lnTo>
                <a:close/>
                <a:moveTo>
                  <a:pt x="1175" y="673"/>
                </a:moveTo>
                <a:lnTo>
                  <a:pt x="1285" y="673"/>
                </a:lnTo>
                <a:lnTo>
                  <a:pt x="1224" y="722"/>
                </a:lnTo>
                <a:lnTo>
                  <a:pt x="1175" y="673"/>
                </a:lnTo>
                <a:close/>
                <a:moveTo>
                  <a:pt x="1175" y="808"/>
                </a:moveTo>
                <a:lnTo>
                  <a:pt x="1224" y="747"/>
                </a:lnTo>
                <a:lnTo>
                  <a:pt x="1285" y="808"/>
                </a:lnTo>
                <a:lnTo>
                  <a:pt x="1175" y="808"/>
                </a:lnTo>
                <a:close/>
                <a:moveTo>
                  <a:pt x="1297" y="783"/>
                </a:moveTo>
                <a:lnTo>
                  <a:pt x="1248" y="734"/>
                </a:lnTo>
                <a:lnTo>
                  <a:pt x="1297" y="685"/>
                </a:lnTo>
                <a:lnTo>
                  <a:pt x="1297" y="783"/>
                </a:lnTo>
                <a:close/>
                <a:moveTo>
                  <a:pt x="1383" y="734"/>
                </a:moveTo>
                <a:lnTo>
                  <a:pt x="1334" y="783"/>
                </a:lnTo>
                <a:lnTo>
                  <a:pt x="1334" y="685"/>
                </a:lnTo>
                <a:lnTo>
                  <a:pt x="1383" y="734"/>
                </a:lnTo>
                <a:close/>
                <a:moveTo>
                  <a:pt x="1346" y="673"/>
                </a:moveTo>
                <a:lnTo>
                  <a:pt x="1444" y="673"/>
                </a:lnTo>
                <a:lnTo>
                  <a:pt x="1395" y="722"/>
                </a:lnTo>
                <a:lnTo>
                  <a:pt x="1346" y="673"/>
                </a:lnTo>
                <a:close/>
                <a:moveTo>
                  <a:pt x="1346" y="808"/>
                </a:moveTo>
                <a:lnTo>
                  <a:pt x="1395" y="747"/>
                </a:lnTo>
                <a:lnTo>
                  <a:pt x="1444" y="808"/>
                </a:lnTo>
                <a:lnTo>
                  <a:pt x="1346" y="808"/>
                </a:lnTo>
                <a:close/>
                <a:moveTo>
                  <a:pt x="1456" y="783"/>
                </a:moveTo>
                <a:lnTo>
                  <a:pt x="1407" y="734"/>
                </a:lnTo>
                <a:lnTo>
                  <a:pt x="1456" y="685"/>
                </a:lnTo>
                <a:lnTo>
                  <a:pt x="1456" y="783"/>
                </a:lnTo>
                <a:close/>
                <a:moveTo>
                  <a:pt x="1542" y="734"/>
                </a:moveTo>
                <a:lnTo>
                  <a:pt x="1493" y="783"/>
                </a:lnTo>
                <a:lnTo>
                  <a:pt x="1493" y="685"/>
                </a:lnTo>
                <a:lnTo>
                  <a:pt x="1542" y="734"/>
                </a:lnTo>
                <a:close/>
                <a:moveTo>
                  <a:pt x="1505" y="673"/>
                </a:moveTo>
                <a:lnTo>
                  <a:pt x="1615" y="673"/>
                </a:lnTo>
                <a:lnTo>
                  <a:pt x="1554" y="722"/>
                </a:lnTo>
                <a:lnTo>
                  <a:pt x="1505" y="673"/>
                </a:lnTo>
                <a:close/>
                <a:moveTo>
                  <a:pt x="1505" y="808"/>
                </a:moveTo>
                <a:lnTo>
                  <a:pt x="1554" y="747"/>
                </a:lnTo>
                <a:lnTo>
                  <a:pt x="1615" y="808"/>
                </a:lnTo>
                <a:lnTo>
                  <a:pt x="1505" y="808"/>
                </a:lnTo>
                <a:close/>
                <a:moveTo>
                  <a:pt x="1628" y="783"/>
                </a:moveTo>
                <a:lnTo>
                  <a:pt x="1579" y="734"/>
                </a:lnTo>
                <a:lnTo>
                  <a:pt x="1628" y="685"/>
                </a:lnTo>
                <a:lnTo>
                  <a:pt x="1628" y="783"/>
                </a:lnTo>
                <a:close/>
                <a:moveTo>
                  <a:pt x="1713" y="734"/>
                </a:moveTo>
                <a:lnTo>
                  <a:pt x="1664" y="783"/>
                </a:lnTo>
                <a:lnTo>
                  <a:pt x="1664" y="685"/>
                </a:lnTo>
                <a:lnTo>
                  <a:pt x="1713" y="734"/>
                </a:lnTo>
                <a:close/>
                <a:moveTo>
                  <a:pt x="1677" y="673"/>
                </a:moveTo>
                <a:lnTo>
                  <a:pt x="1775" y="673"/>
                </a:lnTo>
                <a:lnTo>
                  <a:pt x="1775" y="673"/>
                </a:lnTo>
                <a:lnTo>
                  <a:pt x="1726" y="722"/>
                </a:lnTo>
                <a:lnTo>
                  <a:pt x="1677" y="673"/>
                </a:lnTo>
                <a:close/>
                <a:moveTo>
                  <a:pt x="1775" y="808"/>
                </a:moveTo>
                <a:lnTo>
                  <a:pt x="1677" y="808"/>
                </a:lnTo>
                <a:lnTo>
                  <a:pt x="1726" y="747"/>
                </a:lnTo>
                <a:lnTo>
                  <a:pt x="1775" y="808"/>
                </a:lnTo>
                <a:lnTo>
                  <a:pt x="1775" y="808"/>
                </a:lnTo>
                <a:close/>
                <a:moveTo>
                  <a:pt x="1787" y="783"/>
                </a:moveTo>
                <a:lnTo>
                  <a:pt x="1738" y="734"/>
                </a:lnTo>
                <a:lnTo>
                  <a:pt x="1787" y="685"/>
                </a:lnTo>
                <a:lnTo>
                  <a:pt x="1787" y="783"/>
                </a:lnTo>
                <a:close/>
                <a:moveTo>
                  <a:pt x="1885" y="734"/>
                </a:moveTo>
                <a:lnTo>
                  <a:pt x="1823" y="783"/>
                </a:lnTo>
                <a:lnTo>
                  <a:pt x="1823" y="685"/>
                </a:lnTo>
                <a:lnTo>
                  <a:pt x="1885" y="734"/>
                </a:lnTo>
                <a:close/>
                <a:moveTo>
                  <a:pt x="1848" y="673"/>
                </a:moveTo>
                <a:lnTo>
                  <a:pt x="1946" y="673"/>
                </a:lnTo>
                <a:lnTo>
                  <a:pt x="1897" y="722"/>
                </a:lnTo>
                <a:lnTo>
                  <a:pt x="1848" y="673"/>
                </a:lnTo>
                <a:close/>
                <a:moveTo>
                  <a:pt x="1848" y="808"/>
                </a:moveTo>
                <a:lnTo>
                  <a:pt x="1897" y="747"/>
                </a:lnTo>
                <a:lnTo>
                  <a:pt x="1946" y="808"/>
                </a:lnTo>
                <a:lnTo>
                  <a:pt x="1848" y="808"/>
                </a:lnTo>
                <a:close/>
                <a:moveTo>
                  <a:pt x="1970" y="783"/>
                </a:moveTo>
                <a:lnTo>
                  <a:pt x="1909" y="734"/>
                </a:lnTo>
                <a:lnTo>
                  <a:pt x="1970" y="685"/>
                </a:lnTo>
                <a:lnTo>
                  <a:pt x="1970" y="783"/>
                </a:lnTo>
                <a:close/>
                <a:moveTo>
                  <a:pt x="2044" y="734"/>
                </a:moveTo>
                <a:lnTo>
                  <a:pt x="1995" y="783"/>
                </a:lnTo>
                <a:lnTo>
                  <a:pt x="1995" y="685"/>
                </a:lnTo>
                <a:lnTo>
                  <a:pt x="2044" y="734"/>
                </a:lnTo>
                <a:close/>
                <a:moveTo>
                  <a:pt x="2007" y="673"/>
                </a:moveTo>
                <a:lnTo>
                  <a:pt x="2117" y="673"/>
                </a:lnTo>
                <a:lnTo>
                  <a:pt x="2068" y="722"/>
                </a:lnTo>
                <a:lnTo>
                  <a:pt x="2007" y="673"/>
                </a:lnTo>
                <a:close/>
                <a:moveTo>
                  <a:pt x="2007" y="808"/>
                </a:moveTo>
                <a:lnTo>
                  <a:pt x="2068" y="747"/>
                </a:lnTo>
                <a:lnTo>
                  <a:pt x="2117" y="808"/>
                </a:lnTo>
                <a:lnTo>
                  <a:pt x="2007" y="808"/>
                </a:lnTo>
                <a:close/>
                <a:moveTo>
                  <a:pt x="2129" y="783"/>
                </a:moveTo>
                <a:lnTo>
                  <a:pt x="2080" y="734"/>
                </a:lnTo>
                <a:lnTo>
                  <a:pt x="2129" y="685"/>
                </a:lnTo>
                <a:lnTo>
                  <a:pt x="2129" y="783"/>
                </a:lnTo>
                <a:close/>
                <a:moveTo>
                  <a:pt x="2215" y="734"/>
                </a:moveTo>
                <a:lnTo>
                  <a:pt x="2166" y="783"/>
                </a:lnTo>
                <a:lnTo>
                  <a:pt x="2166" y="685"/>
                </a:lnTo>
                <a:lnTo>
                  <a:pt x="2215" y="734"/>
                </a:lnTo>
                <a:close/>
                <a:moveTo>
                  <a:pt x="2178" y="673"/>
                </a:moveTo>
                <a:lnTo>
                  <a:pt x="2276" y="673"/>
                </a:lnTo>
                <a:lnTo>
                  <a:pt x="2227" y="722"/>
                </a:lnTo>
                <a:lnTo>
                  <a:pt x="2178" y="673"/>
                </a:lnTo>
                <a:close/>
                <a:moveTo>
                  <a:pt x="2178" y="808"/>
                </a:moveTo>
                <a:lnTo>
                  <a:pt x="2227" y="747"/>
                </a:lnTo>
                <a:lnTo>
                  <a:pt x="2289" y="808"/>
                </a:lnTo>
                <a:lnTo>
                  <a:pt x="2178" y="808"/>
                </a:lnTo>
                <a:close/>
                <a:moveTo>
                  <a:pt x="2301" y="783"/>
                </a:moveTo>
                <a:lnTo>
                  <a:pt x="2240" y="734"/>
                </a:lnTo>
                <a:lnTo>
                  <a:pt x="2301" y="685"/>
                </a:lnTo>
                <a:lnTo>
                  <a:pt x="2301" y="783"/>
                </a:lnTo>
                <a:close/>
                <a:moveTo>
                  <a:pt x="2338" y="808"/>
                </a:moveTo>
                <a:lnTo>
                  <a:pt x="2399" y="747"/>
                </a:lnTo>
                <a:lnTo>
                  <a:pt x="2448" y="808"/>
                </a:lnTo>
                <a:lnTo>
                  <a:pt x="2338" y="808"/>
                </a:lnTo>
                <a:close/>
                <a:moveTo>
                  <a:pt x="2325" y="783"/>
                </a:moveTo>
                <a:lnTo>
                  <a:pt x="2325" y="685"/>
                </a:lnTo>
                <a:lnTo>
                  <a:pt x="2374" y="734"/>
                </a:lnTo>
                <a:lnTo>
                  <a:pt x="2325" y="783"/>
                </a:lnTo>
                <a:close/>
                <a:moveTo>
                  <a:pt x="2656" y="734"/>
                </a:moveTo>
                <a:lnTo>
                  <a:pt x="2827" y="808"/>
                </a:lnTo>
                <a:lnTo>
                  <a:pt x="2656" y="808"/>
                </a:lnTo>
                <a:lnTo>
                  <a:pt x="2656" y="734"/>
                </a:lnTo>
                <a:close/>
                <a:moveTo>
                  <a:pt x="2619" y="722"/>
                </a:moveTo>
                <a:lnTo>
                  <a:pt x="2619" y="808"/>
                </a:lnTo>
                <a:lnTo>
                  <a:pt x="2509" y="808"/>
                </a:lnTo>
                <a:lnTo>
                  <a:pt x="2607" y="722"/>
                </a:lnTo>
                <a:lnTo>
                  <a:pt x="2619" y="722"/>
                </a:lnTo>
                <a:close/>
                <a:moveTo>
                  <a:pt x="2497" y="673"/>
                </a:moveTo>
                <a:lnTo>
                  <a:pt x="2582" y="710"/>
                </a:lnTo>
                <a:lnTo>
                  <a:pt x="2497" y="795"/>
                </a:lnTo>
                <a:lnTo>
                  <a:pt x="2497" y="673"/>
                </a:lnTo>
                <a:close/>
                <a:moveTo>
                  <a:pt x="2460" y="783"/>
                </a:moveTo>
                <a:lnTo>
                  <a:pt x="2411" y="734"/>
                </a:lnTo>
                <a:lnTo>
                  <a:pt x="2460" y="685"/>
                </a:lnTo>
                <a:lnTo>
                  <a:pt x="2460" y="783"/>
                </a:lnTo>
                <a:close/>
                <a:moveTo>
                  <a:pt x="2399" y="722"/>
                </a:moveTo>
                <a:lnTo>
                  <a:pt x="2338" y="673"/>
                </a:lnTo>
                <a:lnTo>
                  <a:pt x="2448" y="673"/>
                </a:lnTo>
                <a:lnTo>
                  <a:pt x="2399" y="722"/>
                </a:lnTo>
                <a:close/>
                <a:moveTo>
                  <a:pt x="1077" y="196"/>
                </a:moveTo>
                <a:lnTo>
                  <a:pt x="1077" y="159"/>
                </a:lnTo>
                <a:lnTo>
                  <a:pt x="1077" y="110"/>
                </a:lnTo>
                <a:lnTo>
                  <a:pt x="2386" y="636"/>
                </a:lnTo>
                <a:lnTo>
                  <a:pt x="2325" y="636"/>
                </a:lnTo>
                <a:lnTo>
                  <a:pt x="2301" y="636"/>
                </a:lnTo>
                <a:lnTo>
                  <a:pt x="2166" y="636"/>
                </a:lnTo>
                <a:lnTo>
                  <a:pt x="2129" y="636"/>
                </a:lnTo>
                <a:lnTo>
                  <a:pt x="1995" y="636"/>
                </a:lnTo>
                <a:lnTo>
                  <a:pt x="1970" y="636"/>
                </a:lnTo>
                <a:lnTo>
                  <a:pt x="1823" y="636"/>
                </a:lnTo>
                <a:lnTo>
                  <a:pt x="1823" y="636"/>
                </a:lnTo>
                <a:lnTo>
                  <a:pt x="1787" y="636"/>
                </a:lnTo>
                <a:lnTo>
                  <a:pt x="1775" y="636"/>
                </a:lnTo>
                <a:lnTo>
                  <a:pt x="1664" y="636"/>
                </a:lnTo>
                <a:lnTo>
                  <a:pt x="1628" y="636"/>
                </a:lnTo>
                <a:lnTo>
                  <a:pt x="1493" y="636"/>
                </a:lnTo>
                <a:lnTo>
                  <a:pt x="1456" y="636"/>
                </a:lnTo>
                <a:lnTo>
                  <a:pt x="1334" y="636"/>
                </a:lnTo>
                <a:lnTo>
                  <a:pt x="1297" y="636"/>
                </a:lnTo>
                <a:lnTo>
                  <a:pt x="1114" y="636"/>
                </a:lnTo>
                <a:lnTo>
                  <a:pt x="1114" y="551"/>
                </a:lnTo>
                <a:lnTo>
                  <a:pt x="1077" y="551"/>
                </a:lnTo>
                <a:lnTo>
                  <a:pt x="1077" y="196"/>
                </a:lnTo>
                <a:close/>
                <a:moveTo>
                  <a:pt x="9277" y="3451"/>
                </a:moveTo>
                <a:lnTo>
                  <a:pt x="9314" y="3451"/>
                </a:lnTo>
                <a:lnTo>
                  <a:pt x="9314" y="3464"/>
                </a:lnTo>
                <a:lnTo>
                  <a:pt x="9277" y="3451"/>
                </a:lnTo>
                <a:close/>
                <a:moveTo>
                  <a:pt x="9412" y="3733"/>
                </a:moveTo>
                <a:lnTo>
                  <a:pt x="9412" y="3818"/>
                </a:lnTo>
                <a:lnTo>
                  <a:pt x="9351" y="3818"/>
                </a:lnTo>
                <a:lnTo>
                  <a:pt x="9351" y="3733"/>
                </a:lnTo>
                <a:lnTo>
                  <a:pt x="9412" y="3733"/>
                </a:lnTo>
                <a:close/>
                <a:moveTo>
                  <a:pt x="9351" y="3696"/>
                </a:moveTo>
                <a:lnTo>
                  <a:pt x="9351" y="3586"/>
                </a:lnTo>
                <a:lnTo>
                  <a:pt x="9412" y="3586"/>
                </a:lnTo>
                <a:lnTo>
                  <a:pt x="9412" y="3696"/>
                </a:lnTo>
                <a:lnTo>
                  <a:pt x="9351" y="3696"/>
                </a:lnTo>
                <a:close/>
                <a:moveTo>
                  <a:pt x="9338" y="2766"/>
                </a:moveTo>
                <a:lnTo>
                  <a:pt x="9412" y="2766"/>
                </a:lnTo>
                <a:lnTo>
                  <a:pt x="9412" y="2864"/>
                </a:lnTo>
                <a:lnTo>
                  <a:pt x="9338" y="2864"/>
                </a:lnTo>
                <a:lnTo>
                  <a:pt x="9338" y="2766"/>
                </a:lnTo>
                <a:close/>
                <a:moveTo>
                  <a:pt x="9338" y="2901"/>
                </a:moveTo>
                <a:lnTo>
                  <a:pt x="9412" y="2901"/>
                </a:lnTo>
                <a:lnTo>
                  <a:pt x="9412" y="3011"/>
                </a:lnTo>
                <a:lnTo>
                  <a:pt x="9338" y="3011"/>
                </a:lnTo>
                <a:lnTo>
                  <a:pt x="9338" y="2901"/>
                </a:lnTo>
                <a:close/>
                <a:moveTo>
                  <a:pt x="9338" y="3047"/>
                </a:moveTo>
                <a:lnTo>
                  <a:pt x="9412" y="3047"/>
                </a:lnTo>
                <a:lnTo>
                  <a:pt x="9412" y="3158"/>
                </a:lnTo>
                <a:lnTo>
                  <a:pt x="9338" y="3158"/>
                </a:lnTo>
                <a:lnTo>
                  <a:pt x="9338" y="3047"/>
                </a:lnTo>
                <a:close/>
                <a:moveTo>
                  <a:pt x="9338" y="3182"/>
                </a:moveTo>
                <a:lnTo>
                  <a:pt x="9412" y="3182"/>
                </a:lnTo>
                <a:lnTo>
                  <a:pt x="9412" y="3268"/>
                </a:lnTo>
                <a:lnTo>
                  <a:pt x="9338" y="3268"/>
                </a:lnTo>
                <a:lnTo>
                  <a:pt x="9338" y="3182"/>
                </a:lnTo>
                <a:close/>
                <a:moveTo>
                  <a:pt x="9338" y="3304"/>
                </a:moveTo>
                <a:lnTo>
                  <a:pt x="9412" y="3304"/>
                </a:lnTo>
                <a:lnTo>
                  <a:pt x="9412" y="3415"/>
                </a:lnTo>
                <a:lnTo>
                  <a:pt x="9338" y="3415"/>
                </a:lnTo>
                <a:lnTo>
                  <a:pt x="9338" y="3304"/>
                </a:lnTo>
                <a:close/>
                <a:moveTo>
                  <a:pt x="9338" y="3451"/>
                </a:moveTo>
                <a:lnTo>
                  <a:pt x="9412" y="3451"/>
                </a:lnTo>
                <a:lnTo>
                  <a:pt x="9412" y="3561"/>
                </a:lnTo>
                <a:lnTo>
                  <a:pt x="9351" y="3561"/>
                </a:lnTo>
                <a:lnTo>
                  <a:pt x="9351" y="3476"/>
                </a:lnTo>
                <a:lnTo>
                  <a:pt x="9338" y="3464"/>
                </a:lnTo>
                <a:lnTo>
                  <a:pt x="9338" y="3451"/>
                </a:lnTo>
                <a:close/>
                <a:moveTo>
                  <a:pt x="9167" y="2766"/>
                </a:moveTo>
                <a:lnTo>
                  <a:pt x="9314" y="2766"/>
                </a:lnTo>
                <a:lnTo>
                  <a:pt x="9314" y="2864"/>
                </a:lnTo>
                <a:lnTo>
                  <a:pt x="9167" y="2864"/>
                </a:lnTo>
                <a:lnTo>
                  <a:pt x="9167" y="2766"/>
                </a:lnTo>
                <a:close/>
                <a:moveTo>
                  <a:pt x="9167" y="2901"/>
                </a:moveTo>
                <a:lnTo>
                  <a:pt x="9314" y="2901"/>
                </a:lnTo>
                <a:lnTo>
                  <a:pt x="9314" y="3011"/>
                </a:lnTo>
                <a:lnTo>
                  <a:pt x="9167" y="3011"/>
                </a:lnTo>
                <a:lnTo>
                  <a:pt x="9167" y="2901"/>
                </a:lnTo>
                <a:close/>
                <a:moveTo>
                  <a:pt x="9167" y="3047"/>
                </a:moveTo>
                <a:lnTo>
                  <a:pt x="9314" y="3047"/>
                </a:lnTo>
                <a:lnTo>
                  <a:pt x="9314" y="3158"/>
                </a:lnTo>
                <a:lnTo>
                  <a:pt x="9167" y="3158"/>
                </a:lnTo>
                <a:lnTo>
                  <a:pt x="9167" y="3047"/>
                </a:lnTo>
                <a:close/>
                <a:moveTo>
                  <a:pt x="9167" y="3182"/>
                </a:moveTo>
                <a:lnTo>
                  <a:pt x="9314" y="3182"/>
                </a:lnTo>
                <a:lnTo>
                  <a:pt x="9314" y="3268"/>
                </a:lnTo>
                <a:lnTo>
                  <a:pt x="9167" y="3268"/>
                </a:lnTo>
                <a:lnTo>
                  <a:pt x="9167" y="3182"/>
                </a:lnTo>
                <a:close/>
                <a:moveTo>
                  <a:pt x="9167" y="3304"/>
                </a:moveTo>
                <a:lnTo>
                  <a:pt x="9314" y="3304"/>
                </a:lnTo>
                <a:lnTo>
                  <a:pt x="9314" y="3415"/>
                </a:lnTo>
                <a:lnTo>
                  <a:pt x="9179" y="3415"/>
                </a:lnTo>
                <a:lnTo>
                  <a:pt x="9167" y="3415"/>
                </a:lnTo>
                <a:lnTo>
                  <a:pt x="9167" y="3304"/>
                </a:lnTo>
                <a:close/>
                <a:moveTo>
                  <a:pt x="9069" y="2766"/>
                </a:moveTo>
                <a:lnTo>
                  <a:pt x="9130" y="2766"/>
                </a:lnTo>
                <a:lnTo>
                  <a:pt x="9130" y="2864"/>
                </a:lnTo>
                <a:lnTo>
                  <a:pt x="9069" y="2864"/>
                </a:lnTo>
                <a:lnTo>
                  <a:pt x="9069" y="2766"/>
                </a:lnTo>
                <a:close/>
                <a:moveTo>
                  <a:pt x="9069" y="2901"/>
                </a:moveTo>
                <a:lnTo>
                  <a:pt x="9130" y="2901"/>
                </a:lnTo>
                <a:lnTo>
                  <a:pt x="9130" y="3011"/>
                </a:lnTo>
                <a:lnTo>
                  <a:pt x="9069" y="3011"/>
                </a:lnTo>
                <a:lnTo>
                  <a:pt x="9069" y="2901"/>
                </a:lnTo>
                <a:close/>
                <a:moveTo>
                  <a:pt x="9069" y="3047"/>
                </a:moveTo>
                <a:lnTo>
                  <a:pt x="9130" y="3047"/>
                </a:lnTo>
                <a:lnTo>
                  <a:pt x="9130" y="3158"/>
                </a:lnTo>
                <a:lnTo>
                  <a:pt x="9069" y="3158"/>
                </a:lnTo>
                <a:lnTo>
                  <a:pt x="9069" y="3047"/>
                </a:lnTo>
                <a:close/>
                <a:moveTo>
                  <a:pt x="9069" y="3182"/>
                </a:moveTo>
                <a:lnTo>
                  <a:pt x="9130" y="3182"/>
                </a:lnTo>
                <a:lnTo>
                  <a:pt x="9130" y="3268"/>
                </a:lnTo>
                <a:lnTo>
                  <a:pt x="9069" y="3268"/>
                </a:lnTo>
                <a:lnTo>
                  <a:pt x="9069" y="3182"/>
                </a:lnTo>
                <a:close/>
                <a:moveTo>
                  <a:pt x="9069" y="3304"/>
                </a:moveTo>
                <a:lnTo>
                  <a:pt x="9130" y="3304"/>
                </a:lnTo>
                <a:lnTo>
                  <a:pt x="9130" y="3402"/>
                </a:lnTo>
                <a:lnTo>
                  <a:pt x="9094" y="3415"/>
                </a:lnTo>
                <a:lnTo>
                  <a:pt x="9069" y="3415"/>
                </a:lnTo>
                <a:lnTo>
                  <a:pt x="9069" y="3304"/>
                </a:lnTo>
                <a:close/>
                <a:moveTo>
                  <a:pt x="8898" y="2766"/>
                </a:moveTo>
                <a:lnTo>
                  <a:pt x="9032" y="2766"/>
                </a:lnTo>
                <a:lnTo>
                  <a:pt x="9032" y="2864"/>
                </a:lnTo>
                <a:lnTo>
                  <a:pt x="8898" y="2864"/>
                </a:lnTo>
                <a:lnTo>
                  <a:pt x="8898" y="2766"/>
                </a:lnTo>
                <a:close/>
                <a:moveTo>
                  <a:pt x="8898" y="2901"/>
                </a:moveTo>
                <a:lnTo>
                  <a:pt x="9032" y="2901"/>
                </a:lnTo>
                <a:lnTo>
                  <a:pt x="9032" y="3011"/>
                </a:lnTo>
                <a:lnTo>
                  <a:pt x="8898" y="3011"/>
                </a:lnTo>
                <a:lnTo>
                  <a:pt x="8898" y="2901"/>
                </a:lnTo>
                <a:close/>
                <a:moveTo>
                  <a:pt x="8898" y="3047"/>
                </a:moveTo>
                <a:lnTo>
                  <a:pt x="9032" y="3047"/>
                </a:lnTo>
                <a:lnTo>
                  <a:pt x="9032" y="3158"/>
                </a:lnTo>
                <a:lnTo>
                  <a:pt x="8898" y="3158"/>
                </a:lnTo>
                <a:lnTo>
                  <a:pt x="8898" y="3047"/>
                </a:lnTo>
                <a:close/>
                <a:moveTo>
                  <a:pt x="8898" y="3182"/>
                </a:moveTo>
                <a:lnTo>
                  <a:pt x="9032" y="3182"/>
                </a:lnTo>
                <a:lnTo>
                  <a:pt x="9032" y="3268"/>
                </a:lnTo>
                <a:lnTo>
                  <a:pt x="8898" y="3268"/>
                </a:lnTo>
                <a:lnTo>
                  <a:pt x="8898" y="3182"/>
                </a:lnTo>
                <a:close/>
                <a:moveTo>
                  <a:pt x="8898" y="3304"/>
                </a:moveTo>
                <a:lnTo>
                  <a:pt x="9032" y="3304"/>
                </a:lnTo>
                <a:lnTo>
                  <a:pt x="9032" y="3415"/>
                </a:lnTo>
                <a:lnTo>
                  <a:pt x="8898" y="3415"/>
                </a:lnTo>
                <a:lnTo>
                  <a:pt x="8898" y="3304"/>
                </a:lnTo>
                <a:close/>
                <a:moveTo>
                  <a:pt x="8898" y="3451"/>
                </a:moveTo>
                <a:lnTo>
                  <a:pt x="8996" y="3451"/>
                </a:lnTo>
                <a:lnTo>
                  <a:pt x="8922" y="3476"/>
                </a:lnTo>
                <a:lnTo>
                  <a:pt x="8922" y="3561"/>
                </a:lnTo>
                <a:lnTo>
                  <a:pt x="8898" y="3561"/>
                </a:lnTo>
                <a:lnTo>
                  <a:pt x="8898" y="3451"/>
                </a:lnTo>
                <a:close/>
                <a:moveTo>
                  <a:pt x="8898" y="3586"/>
                </a:moveTo>
                <a:lnTo>
                  <a:pt x="8922" y="3586"/>
                </a:lnTo>
                <a:lnTo>
                  <a:pt x="8922" y="3696"/>
                </a:lnTo>
                <a:lnTo>
                  <a:pt x="8898" y="3696"/>
                </a:lnTo>
                <a:lnTo>
                  <a:pt x="8898" y="3586"/>
                </a:lnTo>
                <a:close/>
                <a:moveTo>
                  <a:pt x="8922" y="3733"/>
                </a:moveTo>
                <a:lnTo>
                  <a:pt x="8922" y="3818"/>
                </a:lnTo>
                <a:lnTo>
                  <a:pt x="8898" y="3818"/>
                </a:lnTo>
                <a:lnTo>
                  <a:pt x="8898" y="3733"/>
                </a:lnTo>
                <a:lnTo>
                  <a:pt x="8922" y="3733"/>
                </a:lnTo>
                <a:close/>
                <a:moveTo>
                  <a:pt x="8800" y="2766"/>
                </a:moveTo>
                <a:lnTo>
                  <a:pt x="8861" y="2766"/>
                </a:lnTo>
                <a:lnTo>
                  <a:pt x="8861" y="2864"/>
                </a:lnTo>
                <a:lnTo>
                  <a:pt x="8800" y="2864"/>
                </a:lnTo>
                <a:lnTo>
                  <a:pt x="8800" y="2766"/>
                </a:lnTo>
                <a:close/>
                <a:moveTo>
                  <a:pt x="8800" y="2901"/>
                </a:moveTo>
                <a:lnTo>
                  <a:pt x="8861" y="2901"/>
                </a:lnTo>
                <a:lnTo>
                  <a:pt x="8861" y="3011"/>
                </a:lnTo>
                <a:lnTo>
                  <a:pt x="8800" y="3011"/>
                </a:lnTo>
                <a:lnTo>
                  <a:pt x="8800" y="2901"/>
                </a:lnTo>
                <a:close/>
                <a:moveTo>
                  <a:pt x="8800" y="3047"/>
                </a:moveTo>
                <a:lnTo>
                  <a:pt x="8861" y="3047"/>
                </a:lnTo>
                <a:lnTo>
                  <a:pt x="8861" y="3158"/>
                </a:lnTo>
                <a:lnTo>
                  <a:pt x="8800" y="3158"/>
                </a:lnTo>
                <a:lnTo>
                  <a:pt x="8800" y="3047"/>
                </a:lnTo>
                <a:close/>
                <a:moveTo>
                  <a:pt x="8800" y="3182"/>
                </a:moveTo>
                <a:lnTo>
                  <a:pt x="8861" y="3182"/>
                </a:lnTo>
                <a:lnTo>
                  <a:pt x="8861" y="3268"/>
                </a:lnTo>
                <a:lnTo>
                  <a:pt x="8800" y="3268"/>
                </a:lnTo>
                <a:lnTo>
                  <a:pt x="8800" y="3182"/>
                </a:lnTo>
                <a:close/>
                <a:moveTo>
                  <a:pt x="8800" y="3304"/>
                </a:moveTo>
                <a:lnTo>
                  <a:pt x="8861" y="3304"/>
                </a:lnTo>
                <a:lnTo>
                  <a:pt x="8861" y="3415"/>
                </a:lnTo>
                <a:lnTo>
                  <a:pt x="8800" y="3415"/>
                </a:lnTo>
                <a:lnTo>
                  <a:pt x="8800" y="3304"/>
                </a:lnTo>
                <a:close/>
                <a:moveTo>
                  <a:pt x="8800" y="3451"/>
                </a:moveTo>
                <a:lnTo>
                  <a:pt x="8861" y="3451"/>
                </a:lnTo>
                <a:lnTo>
                  <a:pt x="8861" y="3561"/>
                </a:lnTo>
                <a:lnTo>
                  <a:pt x="8800" y="3561"/>
                </a:lnTo>
                <a:lnTo>
                  <a:pt x="8800" y="3451"/>
                </a:lnTo>
                <a:close/>
                <a:moveTo>
                  <a:pt x="8800" y="3586"/>
                </a:moveTo>
                <a:lnTo>
                  <a:pt x="8861" y="3586"/>
                </a:lnTo>
                <a:lnTo>
                  <a:pt x="8861" y="3696"/>
                </a:lnTo>
                <a:lnTo>
                  <a:pt x="8800" y="3696"/>
                </a:lnTo>
                <a:lnTo>
                  <a:pt x="8800" y="3586"/>
                </a:lnTo>
                <a:close/>
                <a:moveTo>
                  <a:pt x="8800" y="3733"/>
                </a:moveTo>
                <a:lnTo>
                  <a:pt x="8861" y="3733"/>
                </a:lnTo>
                <a:lnTo>
                  <a:pt x="8861" y="3818"/>
                </a:lnTo>
                <a:lnTo>
                  <a:pt x="8800" y="3818"/>
                </a:lnTo>
                <a:lnTo>
                  <a:pt x="8800" y="3733"/>
                </a:lnTo>
                <a:close/>
                <a:moveTo>
                  <a:pt x="8506" y="2521"/>
                </a:moveTo>
                <a:lnTo>
                  <a:pt x="8445" y="2448"/>
                </a:lnTo>
                <a:lnTo>
                  <a:pt x="8506" y="2387"/>
                </a:lnTo>
                <a:lnTo>
                  <a:pt x="8506" y="2521"/>
                </a:lnTo>
                <a:close/>
                <a:moveTo>
                  <a:pt x="8482" y="2117"/>
                </a:moveTo>
                <a:lnTo>
                  <a:pt x="8359" y="2117"/>
                </a:lnTo>
                <a:lnTo>
                  <a:pt x="8420" y="2056"/>
                </a:lnTo>
                <a:lnTo>
                  <a:pt x="8482" y="2117"/>
                </a:lnTo>
                <a:close/>
                <a:moveTo>
                  <a:pt x="8359" y="1958"/>
                </a:moveTo>
                <a:lnTo>
                  <a:pt x="8482" y="1958"/>
                </a:lnTo>
                <a:lnTo>
                  <a:pt x="8420" y="2019"/>
                </a:lnTo>
                <a:lnTo>
                  <a:pt x="8359" y="1958"/>
                </a:lnTo>
                <a:close/>
                <a:moveTo>
                  <a:pt x="8482" y="2166"/>
                </a:moveTo>
                <a:lnTo>
                  <a:pt x="8420" y="2227"/>
                </a:lnTo>
                <a:lnTo>
                  <a:pt x="8359" y="2166"/>
                </a:lnTo>
                <a:lnTo>
                  <a:pt x="8482" y="2166"/>
                </a:lnTo>
                <a:close/>
                <a:moveTo>
                  <a:pt x="8482" y="2325"/>
                </a:moveTo>
                <a:lnTo>
                  <a:pt x="8359" y="2325"/>
                </a:lnTo>
                <a:lnTo>
                  <a:pt x="8420" y="2264"/>
                </a:lnTo>
                <a:lnTo>
                  <a:pt x="8482" y="2325"/>
                </a:lnTo>
                <a:close/>
                <a:moveTo>
                  <a:pt x="8482" y="2374"/>
                </a:moveTo>
                <a:lnTo>
                  <a:pt x="8420" y="2435"/>
                </a:lnTo>
                <a:lnTo>
                  <a:pt x="8359" y="2374"/>
                </a:lnTo>
                <a:lnTo>
                  <a:pt x="8482" y="2374"/>
                </a:lnTo>
                <a:close/>
                <a:moveTo>
                  <a:pt x="8482" y="2533"/>
                </a:moveTo>
                <a:lnTo>
                  <a:pt x="8359" y="2533"/>
                </a:lnTo>
                <a:lnTo>
                  <a:pt x="8420" y="2472"/>
                </a:lnTo>
                <a:lnTo>
                  <a:pt x="8482" y="2533"/>
                </a:lnTo>
                <a:close/>
                <a:moveTo>
                  <a:pt x="8506" y="2313"/>
                </a:moveTo>
                <a:lnTo>
                  <a:pt x="8445" y="2240"/>
                </a:lnTo>
                <a:lnTo>
                  <a:pt x="8506" y="2178"/>
                </a:lnTo>
                <a:lnTo>
                  <a:pt x="8506" y="2313"/>
                </a:lnTo>
                <a:close/>
                <a:moveTo>
                  <a:pt x="8506" y="2105"/>
                </a:moveTo>
                <a:lnTo>
                  <a:pt x="8445" y="2032"/>
                </a:lnTo>
                <a:lnTo>
                  <a:pt x="8506" y="1970"/>
                </a:lnTo>
                <a:lnTo>
                  <a:pt x="8506" y="2105"/>
                </a:lnTo>
                <a:close/>
                <a:moveTo>
                  <a:pt x="8335" y="1872"/>
                </a:moveTo>
                <a:lnTo>
                  <a:pt x="8506" y="1872"/>
                </a:lnTo>
                <a:lnTo>
                  <a:pt x="8506" y="1909"/>
                </a:lnTo>
                <a:lnTo>
                  <a:pt x="8335" y="1909"/>
                </a:lnTo>
                <a:lnTo>
                  <a:pt x="8335" y="1872"/>
                </a:lnTo>
                <a:close/>
                <a:moveTo>
                  <a:pt x="8335" y="1970"/>
                </a:moveTo>
                <a:lnTo>
                  <a:pt x="8396" y="2032"/>
                </a:lnTo>
                <a:lnTo>
                  <a:pt x="8335" y="2105"/>
                </a:lnTo>
                <a:lnTo>
                  <a:pt x="8335" y="1970"/>
                </a:lnTo>
                <a:close/>
                <a:moveTo>
                  <a:pt x="8335" y="2178"/>
                </a:moveTo>
                <a:lnTo>
                  <a:pt x="8396" y="2240"/>
                </a:lnTo>
                <a:lnTo>
                  <a:pt x="8335" y="2313"/>
                </a:lnTo>
                <a:lnTo>
                  <a:pt x="8335" y="2178"/>
                </a:lnTo>
                <a:close/>
                <a:moveTo>
                  <a:pt x="8335" y="2387"/>
                </a:moveTo>
                <a:lnTo>
                  <a:pt x="8396" y="2448"/>
                </a:lnTo>
                <a:lnTo>
                  <a:pt x="8335" y="2521"/>
                </a:lnTo>
                <a:lnTo>
                  <a:pt x="8335" y="2387"/>
                </a:lnTo>
                <a:close/>
                <a:moveTo>
                  <a:pt x="8335" y="2582"/>
                </a:moveTo>
                <a:lnTo>
                  <a:pt x="8506" y="2582"/>
                </a:lnTo>
                <a:lnTo>
                  <a:pt x="8506" y="2607"/>
                </a:lnTo>
                <a:lnTo>
                  <a:pt x="8335" y="2607"/>
                </a:lnTo>
                <a:lnTo>
                  <a:pt x="8335" y="2582"/>
                </a:lnTo>
                <a:close/>
                <a:moveTo>
                  <a:pt x="7637" y="2582"/>
                </a:moveTo>
                <a:lnTo>
                  <a:pt x="7637" y="2533"/>
                </a:lnTo>
                <a:lnTo>
                  <a:pt x="7637" y="2374"/>
                </a:lnTo>
                <a:lnTo>
                  <a:pt x="7637" y="2325"/>
                </a:lnTo>
                <a:lnTo>
                  <a:pt x="7637" y="2166"/>
                </a:lnTo>
                <a:lnTo>
                  <a:pt x="7637" y="2117"/>
                </a:lnTo>
                <a:lnTo>
                  <a:pt x="7637" y="1958"/>
                </a:lnTo>
                <a:lnTo>
                  <a:pt x="7637" y="1909"/>
                </a:lnTo>
                <a:lnTo>
                  <a:pt x="7637" y="1872"/>
                </a:lnTo>
                <a:lnTo>
                  <a:pt x="8286" y="1872"/>
                </a:lnTo>
                <a:lnTo>
                  <a:pt x="8286" y="2607"/>
                </a:lnTo>
                <a:lnTo>
                  <a:pt x="7637" y="2607"/>
                </a:lnTo>
                <a:lnTo>
                  <a:pt x="7637" y="2582"/>
                </a:lnTo>
                <a:close/>
                <a:moveTo>
                  <a:pt x="7735" y="3158"/>
                </a:moveTo>
                <a:lnTo>
                  <a:pt x="7735" y="2925"/>
                </a:lnTo>
                <a:lnTo>
                  <a:pt x="7784" y="2925"/>
                </a:lnTo>
                <a:lnTo>
                  <a:pt x="7784" y="2790"/>
                </a:lnTo>
                <a:lnTo>
                  <a:pt x="8163" y="2790"/>
                </a:lnTo>
                <a:lnTo>
                  <a:pt x="8163" y="2925"/>
                </a:lnTo>
                <a:lnTo>
                  <a:pt x="8212" y="2925"/>
                </a:lnTo>
                <a:lnTo>
                  <a:pt x="8212" y="3158"/>
                </a:lnTo>
                <a:lnTo>
                  <a:pt x="8163" y="3158"/>
                </a:lnTo>
                <a:lnTo>
                  <a:pt x="8163" y="3268"/>
                </a:lnTo>
                <a:lnTo>
                  <a:pt x="7784" y="3268"/>
                </a:lnTo>
                <a:lnTo>
                  <a:pt x="7784" y="3158"/>
                </a:lnTo>
                <a:lnTo>
                  <a:pt x="7735" y="3158"/>
                </a:lnTo>
                <a:close/>
                <a:moveTo>
                  <a:pt x="8359" y="3451"/>
                </a:moveTo>
                <a:lnTo>
                  <a:pt x="8359" y="3818"/>
                </a:lnTo>
                <a:lnTo>
                  <a:pt x="8200" y="3818"/>
                </a:lnTo>
                <a:lnTo>
                  <a:pt x="8200" y="3635"/>
                </a:lnTo>
                <a:lnTo>
                  <a:pt x="7625" y="3635"/>
                </a:lnTo>
                <a:lnTo>
                  <a:pt x="7625" y="3818"/>
                </a:lnTo>
                <a:lnTo>
                  <a:pt x="7527" y="3818"/>
                </a:lnTo>
                <a:lnTo>
                  <a:pt x="7527" y="3451"/>
                </a:lnTo>
                <a:lnTo>
                  <a:pt x="8359" y="3451"/>
                </a:lnTo>
                <a:close/>
                <a:moveTo>
                  <a:pt x="7502" y="2019"/>
                </a:moveTo>
                <a:lnTo>
                  <a:pt x="7453" y="1958"/>
                </a:lnTo>
                <a:lnTo>
                  <a:pt x="7564" y="1958"/>
                </a:lnTo>
                <a:lnTo>
                  <a:pt x="7502" y="2019"/>
                </a:lnTo>
                <a:close/>
                <a:moveTo>
                  <a:pt x="7588" y="1970"/>
                </a:moveTo>
                <a:lnTo>
                  <a:pt x="7588" y="2105"/>
                </a:lnTo>
                <a:lnTo>
                  <a:pt x="7527" y="2032"/>
                </a:lnTo>
                <a:lnTo>
                  <a:pt x="7588" y="1970"/>
                </a:lnTo>
                <a:close/>
                <a:moveTo>
                  <a:pt x="7576" y="2117"/>
                </a:moveTo>
                <a:lnTo>
                  <a:pt x="7441" y="2117"/>
                </a:lnTo>
                <a:lnTo>
                  <a:pt x="7502" y="2056"/>
                </a:lnTo>
                <a:lnTo>
                  <a:pt x="7576" y="2117"/>
                </a:lnTo>
                <a:close/>
                <a:moveTo>
                  <a:pt x="7588" y="2178"/>
                </a:moveTo>
                <a:lnTo>
                  <a:pt x="7588" y="2313"/>
                </a:lnTo>
                <a:lnTo>
                  <a:pt x="7527" y="2240"/>
                </a:lnTo>
                <a:lnTo>
                  <a:pt x="7588" y="2178"/>
                </a:lnTo>
                <a:close/>
                <a:moveTo>
                  <a:pt x="7564" y="2166"/>
                </a:moveTo>
                <a:lnTo>
                  <a:pt x="7502" y="2227"/>
                </a:lnTo>
                <a:lnTo>
                  <a:pt x="7453" y="2166"/>
                </a:lnTo>
                <a:lnTo>
                  <a:pt x="7564" y="2166"/>
                </a:lnTo>
                <a:close/>
                <a:moveTo>
                  <a:pt x="7576" y="2325"/>
                </a:moveTo>
                <a:lnTo>
                  <a:pt x="7441" y="2325"/>
                </a:lnTo>
                <a:lnTo>
                  <a:pt x="7502" y="2264"/>
                </a:lnTo>
                <a:lnTo>
                  <a:pt x="7576" y="2325"/>
                </a:lnTo>
                <a:close/>
                <a:moveTo>
                  <a:pt x="7564" y="2374"/>
                </a:moveTo>
                <a:lnTo>
                  <a:pt x="7502" y="2435"/>
                </a:lnTo>
                <a:lnTo>
                  <a:pt x="7453" y="2374"/>
                </a:lnTo>
                <a:lnTo>
                  <a:pt x="7564" y="2374"/>
                </a:lnTo>
                <a:close/>
                <a:moveTo>
                  <a:pt x="7576" y="2533"/>
                </a:moveTo>
                <a:lnTo>
                  <a:pt x="7441" y="2533"/>
                </a:lnTo>
                <a:lnTo>
                  <a:pt x="7502" y="2472"/>
                </a:lnTo>
                <a:lnTo>
                  <a:pt x="7576" y="2533"/>
                </a:lnTo>
                <a:close/>
                <a:moveTo>
                  <a:pt x="7527" y="2448"/>
                </a:moveTo>
                <a:lnTo>
                  <a:pt x="7588" y="2387"/>
                </a:lnTo>
                <a:lnTo>
                  <a:pt x="7588" y="2521"/>
                </a:lnTo>
                <a:lnTo>
                  <a:pt x="7527" y="2448"/>
                </a:lnTo>
                <a:close/>
                <a:moveTo>
                  <a:pt x="7417" y="1872"/>
                </a:moveTo>
                <a:lnTo>
                  <a:pt x="7588" y="1872"/>
                </a:lnTo>
                <a:lnTo>
                  <a:pt x="7588" y="1909"/>
                </a:lnTo>
                <a:lnTo>
                  <a:pt x="7417" y="1909"/>
                </a:lnTo>
                <a:lnTo>
                  <a:pt x="7417" y="1872"/>
                </a:lnTo>
                <a:close/>
                <a:moveTo>
                  <a:pt x="7417" y="1970"/>
                </a:moveTo>
                <a:lnTo>
                  <a:pt x="7490" y="2032"/>
                </a:lnTo>
                <a:lnTo>
                  <a:pt x="7417" y="2105"/>
                </a:lnTo>
                <a:lnTo>
                  <a:pt x="7417" y="1970"/>
                </a:lnTo>
                <a:close/>
                <a:moveTo>
                  <a:pt x="7417" y="2178"/>
                </a:moveTo>
                <a:lnTo>
                  <a:pt x="7490" y="2240"/>
                </a:lnTo>
                <a:lnTo>
                  <a:pt x="7417" y="2313"/>
                </a:lnTo>
                <a:lnTo>
                  <a:pt x="7417" y="2178"/>
                </a:lnTo>
                <a:close/>
                <a:moveTo>
                  <a:pt x="7417" y="2387"/>
                </a:moveTo>
                <a:lnTo>
                  <a:pt x="7490" y="2448"/>
                </a:lnTo>
                <a:lnTo>
                  <a:pt x="7417" y="2521"/>
                </a:lnTo>
                <a:lnTo>
                  <a:pt x="7417" y="2387"/>
                </a:lnTo>
                <a:close/>
                <a:moveTo>
                  <a:pt x="7417" y="2582"/>
                </a:moveTo>
                <a:lnTo>
                  <a:pt x="7588" y="2582"/>
                </a:lnTo>
                <a:lnTo>
                  <a:pt x="7588" y="2607"/>
                </a:lnTo>
                <a:lnTo>
                  <a:pt x="7417" y="2607"/>
                </a:lnTo>
                <a:lnTo>
                  <a:pt x="7417" y="2582"/>
                </a:lnTo>
                <a:close/>
                <a:moveTo>
                  <a:pt x="7307" y="1872"/>
                </a:moveTo>
                <a:lnTo>
                  <a:pt x="7368" y="1872"/>
                </a:lnTo>
                <a:lnTo>
                  <a:pt x="7368" y="2607"/>
                </a:lnTo>
                <a:lnTo>
                  <a:pt x="7307" y="2607"/>
                </a:lnTo>
                <a:lnTo>
                  <a:pt x="7307" y="1872"/>
                </a:lnTo>
                <a:close/>
                <a:moveTo>
                  <a:pt x="7307" y="2790"/>
                </a:moveTo>
                <a:lnTo>
                  <a:pt x="7539" y="2790"/>
                </a:lnTo>
                <a:lnTo>
                  <a:pt x="7539" y="2925"/>
                </a:lnTo>
                <a:lnTo>
                  <a:pt x="7588" y="2925"/>
                </a:lnTo>
                <a:lnTo>
                  <a:pt x="7588" y="3158"/>
                </a:lnTo>
                <a:lnTo>
                  <a:pt x="7539" y="3158"/>
                </a:lnTo>
                <a:lnTo>
                  <a:pt x="7539" y="3268"/>
                </a:lnTo>
                <a:lnTo>
                  <a:pt x="7307" y="3268"/>
                </a:lnTo>
                <a:lnTo>
                  <a:pt x="7307" y="2790"/>
                </a:lnTo>
                <a:close/>
                <a:moveTo>
                  <a:pt x="7294" y="918"/>
                </a:moveTo>
                <a:lnTo>
                  <a:pt x="7294" y="881"/>
                </a:lnTo>
                <a:lnTo>
                  <a:pt x="7307" y="869"/>
                </a:lnTo>
                <a:lnTo>
                  <a:pt x="7356" y="918"/>
                </a:lnTo>
                <a:lnTo>
                  <a:pt x="7294" y="918"/>
                </a:lnTo>
                <a:close/>
                <a:moveTo>
                  <a:pt x="7294" y="820"/>
                </a:moveTo>
                <a:lnTo>
                  <a:pt x="7294" y="783"/>
                </a:lnTo>
                <a:lnTo>
                  <a:pt x="7356" y="783"/>
                </a:lnTo>
                <a:lnTo>
                  <a:pt x="7307" y="832"/>
                </a:lnTo>
                <a:lnTo>
                  <a:pt x="7294" y="820"/>
                </a:lnTo>
                <a:close/>
                <a:moveTo>
                  <a:pt x="7368" y="893"/>
                </a:moveTo>
                <a:lnTo>
                  <a:pt x="7331" y="857"/>
                </a:lnTo>
                <a:lnTo>
                  <a:pt x="7368" y="808"/>
                </a:lnTo>
                <a:lnTo>
                  <a:pt x="7368" y="893"/>
                </a:lnTo>
                <a:close/>
                <a:moveTo>
                  <a:pt x="7441" y="857"/>
                </a:moveTo>
                <a:lnTo>
                  <a:pt x="7392" y="893"/>
                </a:lnTo>
                <a:lnTo>
                  <a:pt x="7392" y="808"/>
                </a:lnTo>
                <a:lnTo>
                  <a:pt x="7441" y="857"/>
                </a:lnTo>
                <a:close/>
                <a:moveTo>
                  <a:pt x="7417" y="783"/>
                </a:moveTo>
                <a:lnTo>
                  <a:pt x="7502" y="783"/>
                </a:lnTo>
                <a:lnTo>
                  <a:pt x="7453" y="832"/>
                </a:lnTo>
                <a:lnTo>
                  <a:pt x="7417" y="783"/>
                </a:lnTo>
                <a:close/>
                <a:moveTo>
                  <a:pt x="7405" y="918"/>
                </a:moveTo>
                <a:lnTo>
                  <a:pt x="7453" y="869"/>
                </a:lnTo>
                <a:lnTo>
                  <a:pt x="7502" y="918"/>
                </a:lnTo>
                <a:lnTo>
                  <a:pt x="7405" y="918"/>
                </a:lnTo>
                <a:close/>
                <a:moveTo>
                  <a:pt x="7515" y="893"/>
                </a:moveTo>
                <a:lnTo>
                  <a:pt x="7466" y="857"/>
                </a:lnTo>
                <a:lnTo>
                  <a:pt x="7515" y="808"/>
                </a:lnTo>
                <a:lnTo>
                  <a:pt x="7515" y="893"/>
                </a:lnTo>
                <a:close/>
                <a:moveTo>
                  <a:pt x="7588" y="857"/>
                </a:moveTo>
                <a:lnTo>
                  <a:pt x="7539" y="893"/>
                </a:lnTo>
                <a:lnTo>
                  <a:pt x="7539" y="808"/>
                </a:lnTo>
                <a:lnTo>
                  <a:pt x="7588" y="857"/>
                </a:lnTo>
                <a:close/>
                <a:moveTo>
                  <a:pt x="7551" y="783"/>
                </a:moveTo>
                <a:lnTo>
                  <a:pt x="7649" y="783"/>
                </a:lnTo>
                <a:lnTo>
                  <a:pt x="7600" y="832"/>
                </a:lnTo>
                <a:lnTo>
                  <a:pt x="7551" y="783"/>
                </a:lnTo>
                <a:close/>
                <a:moveTo>
                  <a:pt x="7551" y="918"/>
                </a:moveTo>
                <a:lnTo>
                  <a:pt x="7600" y="869"/>
                </a:lnTo>
                <a:lnTo>
                  <a:pt x="7649" y="918"/>
                </a:lnTo>
                <a:lnTo>
                  <a:pt x="7551" y="918"/>
                </a:lnTo>
                <a:close/>
                <a:moveTo>
                  <a:pt x="7662" y="893"/>
                </a:moveTo>
                <a:lnTo>
                  <a:pt x="7613" y="857"/>
                </a:lnTo>
                <a:lnTo>
                  <a:pt x="7662" y="808"/>
                </a:lnTo>
                <a:lnTo>
                  <a:pt x="7662" y="893"/>
                </a:lnTo>
                <a:close/>
                <a:moveTo>
                  <a:pt x="7735" y="918"/>
                </a:moveTo>
                <a:lnTo>
                  <a:pt x="7698" y="918"/>
                </a:lnTo>
                <a:lnTo>
                  <a:pt x="7735" y="881"/>
                </a:lnTo>
                <a:lnTo>
                  <a:pt x="7735" y="918"/>
                </a:lnTo>
                <a:close/>
                <a:moveTo>
                  <a:pt x="7686" y="893"/>
                </a:moveTo>
                <a:lnTo>
                  <a:pt x="7686" y="808"/>
                </a:lnTo>
                <a:lnTo>
                  <a:pt x="7735" y="857"/>
                </a:lnTo>
                <a:lnTo>
                  <a:pt x="7686" y="893"/>
                </a:lnTo>
                <a:close/>
                <a:moveTo>
                  <a:pt x="7735" y="783"/>
                </a:moveTo>
                <a:lnTo>
                  <a:pt x="7735" y="820"/>
                </a:lnTo>
                <a:lnTo>
                  <a:pt x="7698" y="783"/>
                </a:lnTo>
                <a:lnTo>
                  <a:pt x="7735" y="783"/>
                </a:lnTo>
                <a:close/>
                <a:moveTo>
                  <a:pt x="7258" y="673"/>
                </a:moveTo>
                <a:lnTo>
                  <a:pt x="7258" y="526"/>
                </a:lnTo>
                <a:lnTo>
                  <a:pt x="7258" y="490"/>
                </a:lnTo>
                <a:lnTo>
                  <a:pt x="7258" y="343"/>
                </a:lnTo>
                <a:lnTo>
                  <a:pt x="7258" y="318"/>
                </a:lnTo>
                <a:lnTo>
                  <a:pt x="7698" y="759"/>
                </a:lnTo>
                <a:lnTo>
                  <a:pt x="7686" y="759"/>
                </a:lnTo>
                <a:lnTo>
                  <a:pt x="7662" y="759"/>
                </a:lnTo>
                <a:lnTo>
                  <a:pt x="7539" y="759"/>
                </a:lnTo>
                <a:lnTo>
                  <a:pt x="7515" y="759"/>
                </a:lnTo>
                <a:lnTo>
                  <a:pt x="7392" y="759"/>
                </a:lnTo>
                <a:lnTo>
                  <a:pt x="7368" y="759"/>
                </a:lnTo>
                <a:lnTo>
                  <a:pt x="7294" y="759"/>
                </a:lnTo>
                <a:lnTo>
                  <a:pt x="7294" y="673"/>
                </a:lnTo>
                <a:lnTo>
                  <a:pt x="7258" y="673"/>
                </a:lnTo>
                <a:lnTo>
                  <a:pt x="7258" y="673"/>
                </a:lnTo>
                <a:close/>
                <a:moveTo>
                  <a:pt x="7209" y="1995"/>
                </a:moveTo>
                <a:lnTo>
                  <a:pt x="7147" y="2068"/>
                </a:lnTo>
                <a:lnTo>
                  <a:pt x="7074" y="1995"/>
                </a:lnTo>
                <a:lnTo>
                  <a:pt x="7209" y="1995"/>
                </a:lnTo>
                <a:close/>
                <a:moveTo>
                  <a:pt x="7086" y="1946"/>
                </a:moveTo>
                <a:lnTo>
                  <a:pt x="7147" y="1872"/>
                </a:lnTo>
                <a:lnTo>
                  <a:pt x="7209" y="1946"/>
                </a:lnTo>
                <a:lnTo>
                  <a:pt x="7086" y="1946"/>
                </a:lnTo>
                <a:close/>
                <a:moveTo>
                  <a:pt x="7209" y="2191"/>
                </a:moveTo>
                <a:lnTo>
                  <a:pt x="7086" y="2191"/>
                </a:lnTo>
                <a:lnTo>
                  <a:pt x="7147" y="2117"/>
                </a:lnTo>
                <a:lnTo>
                  <a:pt x="7209" y="2191"/>
                </a:lnTo>
                <a:close/>
                <a:moveTo>
                  <a:pt x="7209" y="2240"/>
                </a:moveTo>
                <a:lnTo>
                  <a:pt x="7147" y="2313"/>
                </a:lnTo>
                <a:lnTo>
                  <a:pt x="7074" y="2240"/>
                </a:lnTo>
                <a:lnTo>
                  <a:pt x="7209" y="2240"/>
                </a:lnTo>
                <a:close/>
                <a:moveTo>
                  <a:pt x="7209" y="2435"/>
                </a:moveTo>
                <a:lnTo>
                  <a:pt x="7086" y="2435"/>
                </a:lnTo>
                <a:lnTo>
                  <a:pt x="7147" y="2362"/>
                </a:lnTo>
                <a:lnTo>
                  <a:pt x="7209" y="2435"/>
                </a:lnTo>
                <a:close/>
                <a:moveTo>
                  <a:pt x="7209" y="2484"/>
                </a:moveTo>
                <a:lnTo>
                  <a:pt x="7147" y="2558"/>
                </a:lnTo>
                <a:lnTo>
                  <a:pt x="7074" y="2484"/>
                </a:lnTo>
                <a:lnTo>
                  <a:pt x="7209" y="2484"/>
                </a:lnTo>
                <a:close/>
                <a:moveTo>
                  <a:pt x="7233" y="2509"/>
                </a:moveTo>
                <a:lnTo>
                  <a:pt x="7233" y="2656"/>
                </a:lnTo>
                <a:lnTo>
                  <a:pt x="7172" y="2582"/>
                </a:lnTo>
                <a:lnTo>
                  <a:pt x="7233" y="2509"/>
                </a:lnTo>
                <a:close/>
                <a:moveTo>
                  <a:pt x="7172" y="2338"/>
                </a:moveTo>
                <a:lnTo>
                  <a:pt x="7233" y="2264"/>
                </a:lnTo>
                <a:lnTo>
                  <a:pt x="7233" y="2411"/>
                </a:lnTo>
                <a:lnTo>
                  <a:pt x="7172" y="2338"/>
                </a:lnTo>
                <a:close/>
                <a:moveTo>
                  <a:pt x="7172" y="2093"/>
                </a:moveTo>
                <a:lnTo>
                  <a:pt x="7233" y="2019"/>
                </a:lnTo>
                <a:lnTo>
                  <a:pt x="7233" y="2166"/>
                </a:lnTo>
                <a:lnTo>
                  <a:pt x="7172" y="2093"/>
                </a:lnTo>
                <a:close/>
                <a:moveTo>
                  <a:pt x="7172" y="1848"/>
                </a:moveTo>
                <a:lnTo>
                  <a:pt x="7233" y="1775"/>
                </a:lnTo>
                <a:lnTo>
                  <a:pt x="7233" y="1921"/>
                </a:lnTo>
                <a:lnTo>
                  <a:pt x="7172" y="1848"/>
                </a:lnTo>
                <a:close/>
                <a:moveTo>
                  <a:pt x="7196" y="526"/>
                </a:moveTo>
                <a:lnTo>
                  <a:pt x="7147" y="587"/>
                </a:lnTo>
                <a:lnTo>
                  <a:pt x="7099" y="526"/>
                </a:lnTo>
                <a:lnTo>
                  <a:pt x="7196" y="526"/>
                </a:lnTo>
                <a:close/>
                <a:moveTo>
                  <a:pt x="7099" y="490"/>
                </a:moveTo>
                <a:lnTo>
                  <a:pt x="7147" y="428"/>
                </a:lnTo>
                <a:lnTo>
                  <a:pt x="7196" y="490"/>
                </a:lnTo>
                <a:lnTo>
                  <a:pt x="7099" y="490"/>
                </a:lnTo>
                <a:close/>
                <a:moveTo>
                  <a:pt x="7221" y="538"/>
                </a:moveTo>
                <a:lnTo>
                  <a:pt x="7221" y="661"/>
                </a:lnTo>
                <a:lnTo>
                  <a:pt x="7172" y="600"/>
                </a:lnTo>
                <a:lnTo>
                  <a:pt x="7221" y="538"/>
                </a:lnTo>
                <a:close/>
                <a:moveTo>
                  <a:pt x="7196" y="673"/>
                </a:moveTo>
                <a:lnTo>
                  <a:pt x="7099" y="673"/>
                </a:lnTo>
                <a:lnTo>
                  <a:pt x="7147" y="624"/>
                </a:lnTo>
                <a:lnTo>
                  <a:pt x="7196" y="673"/>
                </a:lnTo>
                <a:close/>
                <a:moveTo>
                  <a:pt x="7209" y="1297"/>
                </a:moveTo>
                <a:lnTo>
                  <a:pt x="7147" y="1358"/>
                </a:lnTo>
                <a:lnTo>
                  <a:pt x="7099" y="1297"/>
                </a:lnTo>
                <a:lnTo>
                  <a:pt x="7209" y="1297"/>
                </a:lnTo>
                <a:close/>
                <a:moveTo>
                  <a:pt x="7099" y="1261"/>
                </a:moveTo>
                <a:lnTo>
                  <a:pt x="7147" y="1212"/>
                </a:lnTo>
                <a:lnTo>
                  <a:pt x="7196" y="1261"/>
                </a:lnTo>
                <a:lnTo>
                  <a:pt x="7099" y="1261"/>
                </a:lnTo>
                <a:close/>
                <a:moveTo>
                  <a:pt x="7196" y="1444"/>
                </a:moveTo>
                <a:lnTo>
                  <a:pt x="7099" y="1444"/>
                </a:lnTo>
                <a:lnTo>
                  <a:pt x="7147" y="1395"/>
                </a:lnTo>
                <a:lnTo>
                  <a:pt x="7196" y="1444"/>
                </a:lnTo>
                <a:close/>
                <a:moveTo>
                  <a:pt x="7209" y="1481"/>
                </a:moveTo>
                <a:lnTo>
                  <a:pt x="7147" y="1542"/>
                </a:lnTo>
                <a:lnTo>
                  <a:pt x="7099" y="1481"/>
                </a:lnTo>
                <a:lnTo>
                  <a:pt x="7209" y="1481"/>
                </a:lnTo>
                <a:close/>
                <a:moveTo>
                  <a:pt x="7221" y="1505"/>
                </a:moveTo>
                <a:lnTo>
                  <a:pt x="7221" y="1615"/>
                </a:lnTo>
                <a:lnTo>
                  <a:pt x="7172" y="1567"/>
                </a:lnTo>
                <a:lnTo>
                  <a:pt x="7221" y="1505"/>
                </a:lnTo>
                <a:close/>
                <a:moveTo>
                  <a:pt x="7172" y="1371"/>
                </a:moveTo>
                <a:lnTo>
                  <a:pt x="7221" y="1322"/>
                </a:lnTo>
                <a:lnTo>
                  <a:pt x="7221" y="1432"/>
                </a:lnTo>
                <a:lnTo>
                  <a:pt x="7172" y="1371"/>
                </a:lnTo>
                <a:close/>
                <a:moveTo>
                  <a:pt x="7172" y="1187"/>
                </a:moveTo>
                <a:lnTo>
                  <a:pt x="7221" y="1126"/>
                </a:lnTo>
                <a:lnTo>
                  <a:pt x="7221" y="1248"/>
                </a:lnTo>
                <a:lnTo>
                  <a:pt x="7172" y="1187"/>
                </a:lnTo>
                <a:close/>
                <a:moveTo>
                  <a:pt x="7147" y="1175"/>
                </a:moveTo>
                <a:lnTo>
                  <a:pt x="7099" y="1114"/>
                </a:lnTo>
                <a:lnTo>
                  <a:pt x="7209" y="1114"/>
                </a:lnTo>
                <a:lnTo>
                  <a:pt x="7147" y="1175"/>
                </a:lnTo>
                <a:close/>
                <a:moveTo>
                  <a:pt x="7099" y="1077"/>
                </a:moveTo>
                <a:lnTo>
                  <a:pt x="7135" y="1028"/>
                </a:lnTo>
                <a:lnTo>
                  <a:pt x="7160" y="1028"/>
                </a:lnTo>
                <a:lnTo>
                  <a:pt x="7196" y="1077"/>
                </a:lnTo>
                <a:lnTo>
                  <a:pt x="7099" y="1077"/>
                </a:lnTo>
                <a:close/>
                <a:moveTo>
                  <a:pt x="7111" y="1028"/>
                </a:moveTo>
                <a:lnTo>
                  <a:pt x="7074" y="1065"/>
                </a:lnTo>
                <a:lnTo>
                  <a:pt x="7074" y="1028"/>
                </a:lnTo>
                <a:lnTo>
                  <a:pt x="7111" y="1028"/>
                </a:lnTo>
                <a:close/>
                <a:moveTo>
                  <a:pt x="7135" y="1187"/>
                </a:moveTo>
                <a:lnTo>
                  <a:pt x="7074" y="1248"/>
                </a:lnTo>
                <a:lnTo>
                  <a:pt x="7074" y="1126"/>
                </a:lnTo>
                <a:lnTo>
                  <a:pt x="7135" y="1187"/>
                </a:lnTo>
                <a:close/>
                <a:moveTo>
                  <a:pt x="7135" y="1371"/>
                </a:moveTo>
                <a:lnTo>
                  <a:pt x="7074" y="1432"/>
                </a:lnTo>
                <a:lnTo>
                  <a:pt x="7074" y="1310"/>
                </a:lnTo>
                <a:lnTo>
                  <a:pt x="7135" y="1371"/>
                </a:lnTo>
                <a:close/>
                <a:moveTo>
                  <a:pt x="7135" y="1567"/>
                </a:moveTo>
                <a:lnTo>
                  <a:pt x="7074" y="1628"/>
                </a:lnTo>
                <a:lnTo>
                  <a:pt x="7074" y="1505"/>
                </a:lnTo>
                <a:lnTo>
                  <a:pt x="7135" y="1567"/>
                </a:lnTo>
                <a:close/>
                <a:moveTo>
                  <a:pt x="7147" y="1579"/>
                </a:moveTo>
                <a:lnTo>
                  <a:pt x="7221" y="1652"/>
                </a:lnTo>
                <a:lnTo>
                  <a:pt x="7221" y="1701"/>
                </a:lnTo>
                <a:lnTo>
                  <a:pt x="7074" y="1701"/>
                </a:lnTo>
                <a:lnTo>
                  <a:pt x="7074" y="1664"/>
                </a:lnTo>
                <a:lnTo>
                  <a:pt x="7147" y="1579"/>
                </a:lnTo>
                <a:close/>
                <a:moveTo>
                  <a:pt x="7221" y="1065"/>
                </a:moveTo>
                <a:lnTo>
                  <a:pt x="7196" y="1028"/>
                </a:lnTo>
                <a:lnTo>
                  <a:pt x="7221" y="1028"/>
                </a:lnTo>
                <a:lnTo>
                  <a:pt x="7221" y="1065"/>
                </a:lnTo>
                <a:close/>
                <a:moveTo>
                  <a:pt x="7221" y="477"/>
                </a:moveTo>
                <a:lnTo>
                  <a:pt x="7172" y="416"/>
                </a:lnTo>
                <a:lnTo>
                  <a:pt x="7221" y="355"/>
                </a:lnTo>
                <a:lnTo>
                  <a:pt x="7221" y="477"/>
                </a:lnTo>
                <a:close/>
                <a:moveTo>
                  <a:pt x="7209" y="343"/>
                </a:moveTo>
                <a:lnTo>
                  <a:pt x="7147" y="392"/>
                </a:lnTo>
                <a:lnTo>
                  <a:pt x="7099" y="343"/>
                </a:lnTo>
                <a:lnTo>
                  <a:pt x="7209" y="343"/>
                </a:lnTo>
                <a:close/>
                <a:moveTo>
                  <a:pt x="7074" y="355"/>
                </a:moveTo>
                <a:lnTo>
                  <a:pt x="7135" y="416"/>
                </a:lnTo>
                <a:lnTo>
                  <a:pt x="7074" y="477"/>
                </a:lnTo>
                <a:lnTo>
                  <a:pt x="7074" y="355"/>
                </a:lnTo>
                <a:close/>
                <a:moveTo>
                  <a:pt x="7074" y="538"/>
                </a:moveTo>
                <a:lnTo>
                  <a:pt x="7135" y="600"/>
                </a:lnTo>
                <a:lnTo>
                  <a:pt x="7074" y="661"/>
                </a:lnTo>
                <a:lnTo>
                  <a:pt x="7074" y="538"/>
                </a:lnTo>
                <a:close/>
                <a:moveTo>
                  <a:pt x="7209" y="1750"/>
                </a:moveTo>
                <a:lnTo>
                  <a:pt x="7147" y="1824"/>
                </a:lnTo>
                <a:lnTo>
                  <a:pt x="7074" y="1750"/>
                </a:lnTo>
                <a:lnTo>
                  <a:pt x="7209" y="1750"/>
                </a:lnTo>
                <a:close/>
                <a:moveTo>
                  <a:pt x="7050" y="1775"/>
                </a:moveTo>
                <a:lnTo>
                  <a:pt x="7123" y="1848"/>
                </a:lnTo>
                <a:lnTo>
                  <a:pt x="7050" y="1934"/>
                </a:lnTo>
                <a:lnTo>
                  <a:pt x="7050" y="1775"/>
                </a:lnTo>
                <a:close/>
                <a:moveTo>
                  <a:pt x="7050" y="2019"/>
                </a:moveTo>
                <a:lnTo>
                  <a:pt x="7123" y="2093"/>
                </a:lnTo>
                <a:lnTo>
                  <a:pt x="7050" y="2178"/>
                </a:lnTo>
                <a:lnTo>
                  <a:pt x="7050" y="2019"/>
                </a:lnTo>
                <a:close/>
                <a:moveTo>
                  <a:pt x="7050" y="2264"/>
                </a:moveTo>
                <a:lnTo>
                  <a:pt x="7123" y="2338"/>
                </a:lnTo>
                <a:lnTo>
                  <a:pt x="7050" y="2423"/>
                </a:lnTo>
                <a:lnTo>
                  <a:pt x="7050" y="2264"/>
                </a:lnTo>
                <a:close/>
                <a:moveTo>
                  <a:pt x="7050" y="2497"/>
                </a:moveTo>
                <a:lnTo>
                  <a:pt x="7123" y="2582"/>
                </a:lnTo>
                <a:lnTo>
                  <a:pt x="7050" y="2656"/>
                </a:lnTo>
                <a:lnTo>
                  <a:pt x="7050" y="2497"/>
                </a:lnTo>
                <a:close/>
                <a:moveTo>
                  <a:pt x="7050" y="2705"/>
                </a:moveTo>
                <a:lnTo>
                  <a:pt x="7050" y="2705"/>
                </a:lnTo>
                <a:lnTo>
                  <a:pt x="7147" y="2607"/>
                </a:lnTo>
                <a:lnTo>
                  <a:pt x="7233" y="2705"/>
                </a:lnTo>
                <a:lnTo>
                  <a:pt x="7233" y="2741"/>
                </a:lnTo>
                <a:lnTo>
                  <a:pt x="7050" y="2741"/>
                </a:lnTo>
                <a:lnTo>
                  <a:pt x="7050" y="2705"/>
                </a:lnTo>
                <a:close/>
                <a:moveTo>
                  <a:pt x="7209" y="2986"/>
                </a:moveTo>
                <a:lnTo>
                  <a:pt x="7086" y="2986"/>
                </a:lnTo>
                <a:lnTo>
                  <a:pt x="7147" y="2913"/>
                </a:lnTo>
                <a:lnTo>
                  <a:pt x="7209" y="2986"/>
                </a:lnTo>
                <a:close/>
                <a:moveTo>
                  <a:pt x="7074" y="2790"/>
                </a:moveTo>
                <a:lnTo>
                  <a:pt x="7209" y="2790"/>
                </a:lnTo>
                <a:lnTo>
                  <a:pt x="7147" y="2864"/>
                </a:lnTo>
                <a:lnTo>
                  <a:pt x="7074" y="2790"/>
                </a:lnTo>
                <a:close/>
                <a:moveTo>
                  <a:pt x="7209" y="3035"/>
                </a:moveTo>
                <a:lnTo>
                  <a:pt x="7147" y="3109"/>
                </a:lnTo>
                <a:lnTo>
                  <a:pt x="7074" y="3035"/>
                </a:lnTo>
                <a:lnTo>
                  <a:pt x="7209" y="3035"/>
                </a:lnTo>
                <a:close/>
                <a:moveTo>
                  <a:pt x="7209" y="3231"/>
                </a:moveTo>
                <a:lnTo>
                  <a:pt x="7086" y="3231"/>
                </a:lnTo>
                <a:lnTo>
                  <a:pt x="7147" y="3158"/>
                </a:lnTo>
                <a:lnTo>
                  <a:pt x="7209" y="3231"/>
                </a:lnTo>
                <a:close/>
                <a:moveTo>
                  <a:pt x="7209" y="3280"/>
                </a:moveTo>
                <a:lnTo>
                  <a:pt x="7147" y="3353"/>
                </a:lnTo>
                <a:lnTo>
                  <a:pt x="7074" y="3280"/>
                </a:lnTo>
                <a:lnTo>
                  <a:pt x="7209" y="3280"/>
                </a:lnTo>
                <a:close/>
                <a:moveTo>
                  <a:pt x="7209" y="3476"/>
                </a:moveTo>
                <a:lnTo>
                  <a:pt x="7086" y="3476"/>
                </a:lnTo>
                <a:lnTo>
                  <a:pt x="7147" y="3402"/>
                </a:lnTo>
                <a:lnTo>
                  <a:pt x="7209" y="3476"/>
                </a:lnTo>
                <a:close/>
                <a:moveTo>
                  <a:pt x="7209" y="3525"/>
                </a:moveTo>
                <a:lnTo>
                  <a:pt x="7147" y="3598"/>
                </a:lnTo>
                <a:lnTo>
                  <a:pt x="7074" y="3525"/>
                </a:lnTo>
                <a:lnTo>
                  <a:pt x="7209" y="3525"/>
                </a:lnTo>
                <a:close/>
                <a:moveTo>
                  <a:pt x="7233" y="3549"/>
                </a:moveTo>
                <a:lnTo>
                  <a:pt x="7233" y="3696"/>
                </a:lnTo>
                <a:lnTo>
                  <a:pt x="7172" y="3623"/>
                </a:lnTo>
                <a:lnTo>
                  <a:pt x="7233" y="3549"/>
                </a:lnTo>
                <a:close/>
                <a:moveTo>
                  <a:pt x="7172" y="3378"/>
                </a:moveTo>
                <a:lnTo>
                  <a:pt x="7233" y="3304"/>
                </a:lnTo>
                <a:lnTo>
                  <a:pt x="7233" y="3451"/>
                </a:lnTo>
                <a:lnTo>
                  <a:pt x="7172" y="3378"/>
                </a:lnTo>
                <a:close/>
                <a:moveTo>
                  <a:pt x="7172" y="3133"/>
                </a:moveTo>
                <a:lnTo>
                  <a:pt x="7233" y="3060"/>
                </a:lnTo>
                <a:lnTo>
                  <a:pt x="7233" y="3207"/>
                </a:lnTo>
                <a:lnTo>
                  <a:pt x="7172" y="3133"/>
                </a:lnTo>
                <a:close/>
                <a:moveTo>
                  <a:pt x="7172" y="2888"/>
                </a:moveTo>
                <a:lnTo>
                  <a:pt x="7233" y="2815"/>
                </a:lnTo>
                <a:lnTo>
                  <a:pt x="7233" y="2962"/>
                </a:lnTo>
                <a:lnTo>
                  <a:pt x="7172" y="2888"/>
                </a:lnTo>
                <a:close/>
                <a:moveTo>
                  <a:pt x="7050" y="2815"/>
                </a:moveTo>
                <a:lnTo>
                  <a:pt x="7123" y="2888"/>
                </a:lnTo>
                <a:lnTo>
                  <a:pt x="7050" y="2974"/>
                </a:lnTo>
                <a:lnTo>
                  <a:pt x="7050" y="2815"/>
                </a:lnTo>
                <a:close/>
                <a:moveTo>
                  <a:pt x="7050" y="3060"/>
                </a:moveTo>
                <a:lnTo>
                  <a:pt x="7123" y="3133"/>
                </a:lnTo>
                <a:lnTo>
                  <a:pt x="7050" y="3219"/>
                </a:lnTo>
                <a:lnTo>
                  <a:pt x="7050" y="3060"/>
                </a:lnTo>
                <a:close/>
                <a:moveTo>
                  <a:pt x="7050" y="3292"/>
                </a:moveTo>
                <a:lnTo>
                  <a:pt x="7123" y="3378"/>
                </a:lnTo>
                <a:lnTo>
                  <a:pt x="7050" y="3451"/>
                </a:lnTo>
                <a:lnTo>
                  <a:pt x="7050" y="3292"/>
                </a:lnTo>
                <a:close/>
                <a:moveTo>
                  <a:pt x="7050" y="3537"/>
                </a:moveTo>
                <a:lnTo>
                  <a:pt x="7123" y="3623"/>
                </a:lnTo>
                <a:lnTo>
                  <a:pt x="7050" y="3696"/>
                </a:lnTo>
                <a:lnTo>
                  <a:pt x="7050" y="3537"/>
                </a:lnTo>
                <a:close/>
                <a:moveTo>
                  <a:pt x="7050" y="3806"/>
                </a:moveTo>
                <a:lnTo>
                  <a:pt x="7050" y="3745"/>
                </a:lnTo>
                <a:lnTo>
                  <a:pt x="7050" y="3745"/>
                </a:lnTo>
                <a:lnTo>
                  <a:pt x="7147" y="3647"/>
                </a:lnTo>
                <a:lnTo>
                  <a:pt x="7233" y="3745"/>
                </a:lnTo>
                <a:lnTo>
                  <a:pt x="7233" y="3806"/>
                </a:lnTo>
                <a:lnTo>
                  <a:pt x="7282" y="3806"/>
                </a:lnTo>
                <a:lnTo>
                  <a:pt x="7282" y="3818"/>
                </a:lnTo>
                <a:lnTo>
                  <a:pt x="7050" y="3818"/>
                </a:lnTo>
                <a:lnTo>
                  <a:pt x="7050" y="3806"/>
                </a:lnTo>
                <a:lnTo>
                  <a:pt x="7050" y="3806"/>
                </a:lnTo>
                <a:close/>
                <a:moveTo>
                  <a:pt x="6389" y="1383"/>
                </a:moveTo>
                <a:lnTo>
                  <a:pt x="6621" y="1383"/>
                </a:lnTo>
                <a:lnTo>
                  <a:pt x="6621" y="1493"/>
                </a:lnTo>
                <a:lnTo>
                  <a:pt x="6389" y="1493"/>
                </a:lnTo>
                <a:lnTo>
                  <a:pt x="6389" y="1383"/>
                </a:lnTo>
                <a:close/>
                <a:moveTo>
                  <a:pt x="6389" y="1554"/>
                </a:moveTo>
                <a:lnTo>
                  <a:pt x="6621" y="1554"/>
                </a:lnTo>
                <a:lnTo>
                  <a:pt x="6621" y="1664"/>
                </a:lnTo>
                <a:lnTo>
                  <a:pt x="6389" y="1664"/>
                </a:lnTo>
                <a:lnTo>
                  <a:pt x="6389" y="1554"/>
                </a:lnTo>
                <a:close/>
                <a:moveTo>
                  <a:pt x="6389" y="1713"/>
                </a:moveTo>
                <a:lnTo>
                  <a:pt x="6621" y="1713"/>
                </a:lnTo>
                <a:lnTo>
                  <a:pt x="6621" y="1824"/>
                </a:lnTo>
                <a:lnTo>
                  <a:pt x="6389" y="1824"/>
                </a:lnTo>
                <a:lnTo>
                  <a:pt x="6389" y="1713"/>
                </a:lnTo>
                <a:close/>
                <a:moveTo>
                  <a:pt x="6389" y="1885"/>
                </a:moveTo>
                <a:lnTo>
                  <a:pt x="6621" y="1885"/>
                </a:lnTo>
                <a:lnTo>
                  <a:pt x="6621" y="1995"/>
                </a:lnTo>
                <a:lnTo>
                  <a:pt x="6389" y="1995"/>
                </a:lnTo>
                <a:lnTo>
                  <a:pt x="6389" y="1885"/>
                </a:lnTo>
                <a:close/>
                <a:moveTo>
                  <a:pt x="6389" y="2044"/>
                </a:moveTo>
                <a:lnTo>
                  <a:pt x="6621" y="2044"/>
                </a:lnTo>
                <a:lnTo>
                  <a:pt x="6621" y="2154"/>
                </a:lnTo>
                <a:lnTo>
                  <a:pt x="6389" y="2154"/>
                </a:lnTo>
                <a:lnTo>
                  <a:pt x="6389" y="2044"/>
                </a:lnTo>
                <a:close/>
                <a:moveTo>
                  <a:pt x="6389" y="2215"/>
                </a:moveTo>
                <a:lnTo>
                  <a:pt x="6621" y="2215"/>
                </a:lnTo>
                <a:lnTo>
                  <a:pt x="6621" y="2325"/>
                </a:lnTo>
                <a:lnTo>
                  <a:pt x="6389" y="2325"/>
                </a:lnTo>
                <a:lnTo>
                  <a:pt x="6389" y="2215"/>
                </a:lnTo>
                <a:close/>
                <a:moveTo>
                  <a:pt x="6389" y="2374"/>
                </a:moveTo>
                <a:lnTo>
                  <a:pt x="6621" y="2374"/>
                </a:lnTo>
                <a:lnTo>
                  <a:pt x="6621" y="2484"/>
                </a:lnTo>
                <a:lnTo>
                  <a:pt x="6389" y="2484"/>
                </a:lnTo>
                <a:lnTo>
                  <a:pt x="6389" y="2374"/>
                </a:lnTo>
                <a:close/>
                <a:moveTo>
                  <a:pt x="6389" y="2546"/>
                </a:moveTo>
                <a:lnTo>
                  <a:pt x="6621" y="2546"/>
                </a:lnTo>
                <a:lnTo>
                  <a:pt x="6621" y="2656"/>
                </a:lnTo>
                <a:lnTo>
                  <a:pt x="6389" y="2656"/>
                </a:lnTo>
                <a:lnTo>
                  <a:pt x="6389" y="2546"/>
                </a:lnTo>
                <a:close/>
                <a:moveTo>
                  <a:pt x="6389" y="2705"/>
                </a:moveTo>
                <a:lnTo>
                  <a:pt x="6621" y="2705"/>
                </a:lnTo>
                <a:lnTo>
                  <a:pt x="6621" y="2815"/>
                </a:lnTo>
                <a:lnTo>
                  <a:pt x="6389" y="2815"/>
                </a:lnTo>
                <a:lnTo>
                  <a:pt x="6389" y="2705"/>
                </a:lnTo>
                <a:close/>
                <a:moveTo>
                  <a:pt x="6389" y="2876"/>
                </a:moveTo>
                <a:lnTo>
                  <a:pt x="6621" y="2876"/>
                </a:lnTo>
                <a:lnTo>
                  <a:pt x="6621" y="2974"/>
                </a:lnTo>
                <a:lnTo>
                  <a:pt x="6389" y="2974"/>
                </a:lnTo>
                <a:lnTo>
                  <a:pt x="6389" y="2876"/>
                </a:lnTo>
                <a:close/>
                <a:moveTo>
                  <a:pt x="5985" y="1383"/>
                </a:moveTo>
                <a:lnTo>
                  <a:pt x="6217" y="1383"/>
                </a:lnTo>
                <a:lnTo>
                  <a:pt x="6217" y="1493"/>
                </a:lnTo>
                <a:lnTo>
                  <a:pt x="5985" y="1493"/>
                </a:lnTo>
                <a:lnTo>
                  <a:pt x="5985" y="1383"/>
                </a:lnTo>
                <a:close/>
                <a:moveTo>
                  <a:pt x="5985" y="1554"/>
                </a:moveTo>
                <a:lnTo>
                  <a:pt x="6217" y="1554"/>
                </a:lnTo>
                <a:lnTo>
                  <a:pt x="6217" y="1664"/>
                </a:lnTo>
                <a:lnTo>
                  <a:pt x="5985" y="1664"/>
                </a:lnTo>
                <a:lnTo>
                  <a:pt x="5985" y="1554"/>
                </a:lnTo>
                <a:close/>
                <a:moveTo>
                  <a:pt x="5985" y="1713"/>
                </a:moveTo>
                <a:lnTo>
                  <a:pt x="6217" y="1713"/>
                </a:lnTo>
                <a:lnTo>
                  <a:pt x="6217" y="1824"/>
                </a:lnTo>
                <a:lnTo>
                  <a:pt x="5985" y="1824"/>
                </a:lnTo>
                <a:lnTo>
                  <a:pt x="5985" y="1713"/>
                </a:lnTo>
                <a:close/>
                <a:moveTo>
                  <a:pt x="5985" y="1885"/>
                </a:moveTo>
                <a:lnTo>
                  <a:pt x="6217" y="1885"/>
                </a:lnTo>
                <a:lnTo>
                  <a:pt x="6217" y="1995"/>
                </a:lnTo>
                <a:lnTo>
                  <a:pt x="5985" y="1995"/>
                </a:lnTo>
                <a:lnTo>
                  <a:pt x="5985" y="1885"/>
                </a:lnTo>
                <a:close/>
                <a:moveTo>
                  <a:pt x="5985" y="2044"/>
                </a:moveTo>
                <a:lnTo>
                  <a:pt x="6217" y="2044"/>
                </a:lnTo>
                <a:lnTo>
                  <a:pt x="6217" y="2154"/>
                </a:lnTo>
                <a:lnTo>
                  <a:pt x="5985" y="2154"/>
                </a:lnTo>
                <a:lnTo>
                  <a:pt x="5985" y="2044"/>
                </a:lnTo>
                <a:close/>
                <a:moveTo>
                  <a:pt x="5985" y="2215"/>
                </a:moveTo>
                <a:lnTo>
                  <a:pt x="6217" y="2215"/>
                </a:lnTo>
                <a:lnTo>
                  <a:pt x="6217" y="2325"/>
                </a:lnTo>
                <a:lnTo>
                  <a:pt x="5985" y="2325"/>
                </a:lnTo>
                <a:lnTo>
                  <a:pt x="5985" y="2215"/>
                </a:lnTo>
                <a:close/>
                <a:moveTo>
                  <a:pt x="5985" y="2374"/>
                </a:moveTo>
                <a:lnTo>
                  <a:pt x="6217" y="2374"/>
                </a:lnTo>
                <a:lnTo>
                  <a:pt x="6217" y="2484"/>
                </a:lnTo>
                <a:lnTo>
                  <a:pt x="5985" y="2484"/>
                </a:lnTo>
                <a:lnTo>
                  <a:pt x="5985" y="2374"/>
                </a:lnTo>
                <a:close/>
                <a:moveTo>
                  <a:pt x="5985" y="2546"/>
                </a:moveTo>
                <a:lnTo>
                  <a:pt x="6217" y="2546"/>
                </a:lnTo>
                <a:lnTo>
                  <a:pt x="6217" y="2656"/>
                </a:lnTo>
                <a:lnTo>
                  <a:pt x="5985" y="2656"/>
                </a:lnTo>
                <a:lnTo>
                  <a:pt x="5985" y="2546"/>
                </a:lnTo>
                <a:close/>
                <a:moveTo>
                  <a:pt x="5985" y="2705"/>
                </a:moveTo>
                <a:lnTo>
                  <a:pt x="6217" y="2705"/>
                </a:lnTo>
                <a:lnTo>
                  <a:pt x="6217" y="2815"/>
                </a:lnTo>
                <a:lnTo>
                  <a:pt x="5985" y="2815"/>
                </a:lnTo>
                <a:lnTo>
                  <a:pt x="5985" y="2705"/>
                </a:lnTo>
                <a:close/>
                <a:moveTo>
                  <a:pt x="5985" y="2876"/>
                </a:moveTo>
                <a:lnTo>
                  <a:pt x="6217" y="2876"/>
                </a:lnTo>
                <a:lnTo>
                  <a:pt x="6217" y="2974"/>
                </a:lnTo>
                <a:lnTo>
                  <a:pt x="5985" y="2974"/>
                </a:lnTo>
                <a:lnTo>
                  <a:pt x="5985" y="2876"/>
                </a:lnTo>
                <a:close/>
                <a:moveTo>
                  <a:pt x="5312" y="3378"/>
                </a:moveTo>
                <a:lnTo>
                  <a:pt x="5373" y="3378"/>
                </a:lnTo>
                <a:lnTo>
                  <a:pt x="5373" y="3464"/>
                </a:lnTo>
                <a:lnTo>
                  <a:pt x="5312" y="3464"/>
                </a:lnTo>
                <a:lnTo>
                  <a:pt x="5312" y="3378"/>
                </a:lnTo>
                <a:close/>
                <a:moveTo>
                  <a:pt x="5312" y="3500"/>
                </a:moveTo>
                <a:lnTo>
                  <a:pt x="5373" y="3500"/>
                </a:lnTo>
                <a:lnTo>
                  <a:pt x="5373" y="3525"/>
                </a:lnTo>
                <a:lnTo>
                  <a:pt x="5312" y="3525"/>
                </a:lnTo>
                <a:lnTo>
                  <a:pt x="5312" y="3500"/>
                </a:lnTo>
                <a:close/>
                <a:moveTo>
                  <a:pt x="5312" y="3549"/>
                </a:moveTo>
                <a:lnTo>
                  <a:pt x="5373" y="3549"/>
                </a:lnTo>
                <a:lnTo>
                  <a:pt x="5373" y="3549"/>
                </a:lnTo>
                <a:lnTo>
                  <a:pt x="5312" y="3549"/>
                </a:lnTo>
                <a:lnTo>
                  <a:pt x="5312" y="3549"/>
                </a:lnTo>
                <a:close/>
                <a:moveTo>
                  <a:pt x="5312" y="3586"/>
                </a:moveTo>
                <a:lnTo>
                  <a:pt x="5373" y="3586"/>
                </a:lnTo>
                <a:lnTo>
                  <a:pt x="5373" y="3659"/>
                </a:lnTo>
                <a:lnTo>
                  <a:pt x="5312" y="3659"/>
                </a:lnTo>
                <a:lnTo>
                  <a:pt x="5312" y="3586"/>
                </a:lnTo>
                <a:close/>
                <a:moveTo>
                  <a:pt x="5312" y="3708"/>
                </a:moveTo>
                <a:lnTo>
                  <a:pt x="5373" y="3708"/>
                </a:lnTo>
                <a:lnTo>
                  <a:pt x="5373" y="3745"/>
                </a:lnTo>
                <a:lnTo>
                  <a:pt x="5312" y="3745"/>
                </a:lnTo>
                <a:lnTo>
                  <a:pt x="5312" y="3708"/>
                </a:lnTo>
                <a:close/>
                <a:moveTo>
                  <a:pt x="5373" y="3782"/>
                </a:moveTo>
                <a:lnTo>
                  <a:pt x="5373" y="3818"/>
                </a:lnTo>
                <a:lnTo>
                  <a:pt x="5312" y="3818"/>
                </a:lnTo>
                <a:lnTo>
                  <a:pt x="5312" y="3782"/>
                </a:lnTo>
                <a:lnTo>
                  <a:pt x="5373" y="3782"/>
                </a:lnTo>
                <a:close/>
                <a:moveTo>
                  <a:pt x="5275" y="3549"/>
                </a:moveTo>
                <a:lnTo>
                  <a:pt x="5275" y="3549"/>
                </a:lnTo>
                <a:lnTo>
                  <a:pt x="5238" y="3549"/>
                </a:lnTo>
                <a:lnTo>
                  <a:pt x="5238" y="3549"/>
                </a:lnTo>
                <a:lnTo>
                  <a:pt x="5275" y="3549"/>
                </a:lnTo>
                <a:close/>
                <a:moveTo>
                  <a:pt x="5238" y="3525"/>
                </a:moveTo>
                <a:lnTo>
                  <a:pt x="5238" y="3500"/>
                </a:lnTo>
                <a:lnTo>
                  <a:pt x="5275" y="3500"/>
                </a:lnTo>
                <a:lnTo>
                  <a:pt x="5275" y="3525"/>
                </a:lnTo>
                <a:lnTo>
                  <a:pt x="5238" y="3525"/>
                </a:lnTo>
                <a:close/>
                <a:moveTo>
                  <a:pt x="5275" y="3586"/>
                </a:moveTo>
                <a:lnTo>
                  <a:pt x="5275" y="3659"/>
                </a:lnTo>
                <a:lnTo>
                  <a:pt x="5238" y="3659"/>
                </a:lnTo>
                <a:lnTo>
                  <a:pt x="5238" y="3586"/>
                </a:lnTo>
                <a:lnTo>
                  <a:pt x="5275" y="3586"/>
                </a:lnTo>
                <a:close/>
                <a:moveTo>
                  <a:pt x="5275" y="3708"/>
                </a:moveTo>
                <a:lnTo>
                  <a:pt x="5275" y="3745"/>
                </a:lnTo>
                <a:lnTo>
                  <a:pt x="5238" y="3745"/>
                </a:lnTo>
                <a:lnTo>
                  <a:pt x="5238" y="3708"/>
                </a:lnTo>
                <a:lnTo>
                  <a:pt x="5275" y="3708"/>
                </a:lnTo>
                <a:close/>
                <a:moveTo>
                  <a:pt x="5275" y="3782"/>
                </a:moveTo>
                <a:lnTo>
                  <a:pt x="5275" y="3818"/>
                </a:lnTo>
                <a:lnTo>
                  <a:pt x="5238" y="3818"/>
                </a:lnTo>
                <a:lnTo>
                  <a:pt x="5238" y="3782"/>
                </a:lnTo>
                <a:lnTo>
                  <a:pt x="5275" y="3782"/>
                </a:lnTo>
                <a:close/>
                <a:moveTo>
                  <a:pt x="5189" y="3047"/>
                </a:moveTo>
                <a:lnTo>
                  <a:pt x="5275" y="3047"/>
                </a:lnTo>
                <a:lnTo>
                  <a:pt x="5275" y="3182"/>
                </a:lnTo>
                <a:lnTo>
                  <a:pt x="5189" y="3182"/>
                </a:lnTo>
                <a:lnTo>
                  <a:pt x="5189" y="3047"/>
                </a:lnTo>
                <a:close/>
                <a:moveTo>
                  <a:pt x="5189" y="3207"/>
                </a:moveTo>
                <a:lnTo>
                  <a:pt x="5275" y="3207"/>
                </a:lnTo>
                <a:lnTo>
                  <a:pt x="5275" y="3341"/>
                </a:lnTo>
                <a:lnTo>
                  <a:pt x="5189" y="3341"/>
                </a:lnTo>
                <a:lnTo>
                  <a:pt x="5189" y="3207"/>
                </a:lnTo>
                <a:close/>
                <a:moveTo>
                  <a:pt x="5189" y="3378"/>
                </a:moveTo>
                <a:lnTo>
                  <a:pt x="5275" y="3378"/>
                </a:lnTo>
                <a:lnTo>
                  <a:pt x="5275" y="3464"/>
                </a:lnTo>
                <a:lnTo>
                  <a:pt x="5238" y="3464"/>
                </a:lnTo>
                <a:lnTo>
                  <a:pt x="5238" y="3427"/>
                </a:lnTo>
                <a:lnTo>
                  <a:pt x="5201" y="3427"/>
                </a:lnTo>
                <a:lnTo>
                  <a:pt x="5201" y="3464"/>
                </a:lnTo>
                <a:lnTo>
                  <a:pt x="5189" y="3464"/>
                </a:lnTo>
                <a:lnTo>
                  <a:pt x="5189" y="3378"/>
                </a:lnTo>
                <a:close/>
                <a:moveTo>
                  <a:pt x="5189" y="3500"/>
                </a:moveTo>
                <a:lnTo>
                  <a:pt x="5201" y="3500"/>
                </a:lnTo>
                <a:lnTo>
                  <a:pt x="5201" y="3525"/>
                </a:lnTo>
                <a:lnTo>
                  <a:pt x="5189" y="3525"/>
                </a:lnTo>
                <a:lnTo>
                  <a:pt x="5189" y="3500"/>
                </a:lnTo>
                <a:close/>
                <a:moveTo>
                  <a:pt x="5189" y="3549"/>
                </a:moveTo>
                <a:lnTo>
                  <a:pt x="5201" y="3549"/>
                </a:lnTo>
                <a:lnTo>
                  <a:pt x="5201" y="3549"/>
                </a:lnTo>
                <a:lnTo>
                  <a:pt x="5189" y="3549"/>
                </a:lnTo>
                <a:lnTo>
                  <a:pt x="5189" y="3549"/>
                </a:lnTo>
                <a:close/>
                <a:moveTo>
                  <a:pt x="5189" y="3586"/>
                </a:moveTo>
                <a:lnTo>
                  <a:pt x="5201" y="3586"/>
                </a:lnTo>
                <a:lnTo>
                  <a:pt x="5201" y="3659"/>
                </a:lnTo>
                <a:lnTo>
                  <a:pt x="5189" y="3659"/>
                </a:lnTo>
                <a:lnTo>
                  <a:pt x="5189" y="3586"/>
                </a:lnTo>
                <a:close/>
                <a:moveTo>
                  <a:pt x="5189" y="3708"/>
                </a:moveTo>
                <a:lnTo>
                  <a:pt x="5201" y="3708"/>
                </a:lnTo>
                <a:lnTo>
                  <a:pt x="5201" y="3745"/>
                </a:lnTo>
                <a:lnTo>
                  <a:pt x="5189" y="3745"/>
                </a:lnTo>
                <a:lnTo>
                  <a:pt x="5189" y="3708"/>
                </a:lnTo>
                <a:close/>
                <a:moveTo>
                  <a:pt x="5201" y="3782"/>
                </a:moveTo>
                <a:lnTo>
                  <a:pt x="5201" y="3818"/>
                </a:lnTo>
                <a:lnTo>
                  <a:pt x="5189" y="3818"/>
                </a:lnTo>
                <a:lnTo>
                  <a:pt x="5189" y="3782"/>
                </a:lnTo>
                <a:lnTo>
                  <a:pt x="5201" y="3782"/>
                </a:lnTo>
                <a:close/>
                <a:moveTo>
                  <a:pt x="5153" y="3207"/>
                </a:moveTo>
                <a:lnTo>
                  <a:pt x="5153" y="3341"/>
                </a:lnTo>
                <a:lnTo>
                  <a:pt x="4969" y="3341"/>
                </a:lnTo>
                <a:lnTo>
                  <a:pt x="4969" y="3207"/>
                </a:lnTo>
                <a:lnTo>
                  <a:pt x="5153" y="3207"/>
                </a:lnTo>
                <a:close/>
                <a:moveTo>
                  <a:pt x="4969" y="3182"/>
                </a:moveTo>
                <a:lnTo>
                  <a:pt x="4969" y="3047"/>
                </a:lnTo>
                <a:lnTo>
                  <a:pt x="5153" y="3047"/>
                </a:lnTo>
                <a:lnTo>
                  <a:pt x="5153" y="3182"/>
                </a:lnTo>
                <a:lnTo>
                  <a:pt x="4969" y="3182"/>
                </a:lnTo>
                <a:close/>
                <a:moveTo>
                  <a:pt x="5153" y="3378"/>
                </a:moveTo>
                <a:lnTo>
                  <a:pt x="5153" y="3464"/>
                </a:lnTo>
                <a:lnTo>
                  <a:pt x="5067" y="3464"/>
                </a:lnTo>
                <a:lnTo>
                  <a:pt x="5067" y="3451"/>
                </a:lnTo>
                <a:lnTo>
                  <a:pt x="5030" y="3451"/>
                </a:lnTo>
                <a:lnTo>
                  <a:pt x="5030" y="3464"/>
                </a:lnTo>
                <a:lnTo>
                  <a:pt x="4969" y="3464"/>
                </a:lnTo>
                <a:lnTo>
                  <a:pt x="4969" y="3378"/>
                </a:lnTo>
                <a:lnTo>
                  <a:pt x="5153" y="3378"/>
                </a:lnTo>
                <a:close/>
                <a:moveTo>
                  <a:pt x="5067" y="3659"/>
                </a:moveTo>
                <a:lnTo>
                  <a:pt x="5067" y="3586"/>
                </a:lnTo>
                <a:lnTo>
                  <a:pt x="5153" y="3586"/>
                </a:lnTo>
                <a:lnTo>
                  <a:pt x="5153" y="3659"/>
                </a:lnTo>
                <a:lnTo>
                  <a:pt x="5067" y="3659"/>
                </a:lnTo>
                <a:close/>
                <a:moveTo>
                  <a:pt x="5153" y="3708"/>
                </a:moveTo>
                <a:lnTo>
                  <a:pt x="5153" y="3745"/>
                </a:lnTo>
                <a:lnTo>
                  <a:pt x="5067" y="3745"/>
                </a:lnTo>
                <a:lnTo>
                  <a:pt x="5067" y="3708"/>
                </a:lnTo>
                <a:lnTo>
                  <a:pt x="5153" y="3708"/>
                </a:lnTo>
                <a:close/>
                <a:moveTo>
                  <a:pt x="5067" y="3549"/>
                </a:moveTo>
                <a:lnTo>
                  <a:pt x="5067" y="3549"/>
                </a:lnTo>
                <a:lnTo>
                  <a:pt x="5153" y="3549"/>
                </a:lnTo>
                <a:lnTo>
                  <a:pt x="5153" y="3549"/>
                </a:lnTo>
                <a:lnTo>
                  <a:pt x="5067" y="3549"/>
                </a:lnTo>
                <a:close/>
                <a:moveTo>
                  <a:pt x="5067" y="3525"/>
                </a:moveTo>
                <a:lnTo>
                  <a:pt x="5067" y="3500"/>
                </a:lnTo>
                <a:lnTo>
                  <a:pt x="5153" y="3500"/>
                </a:lnTo>
                <a:lnTo>
                  <a:pt x="5153" y="3525"/>
                </a:lnTo>
                <a:lnTo>
                  <a:pt x="5067" y="3525"/>
                </a:lnTo>
                <a:close/>
                <a:moveTo>
                  <a:pt x="5030" y="3500"/>
                </a:moveTo>
                <a:lnTo>
                  <a:pt x="5030" y="3525"/>
                </a:lnTo>
                <a:lnTo>
                  <a:pt x="4969" y="3525"/>
                </a:lnTo>
                <a:lnTo>
                  <a:pt x="4969" y="3500"/>
                </a:lnTo>
                <a:lnTo>
                  <a:pt x="5030" y="3500"/>
                </a:lnTo>
                <a:close/>
                <a:moveTo>
                  <a:pt x="5030" y="3549"/>
                </a:moveTo>
                <a:lnTo>
                  <a:pt x="5030" y="3549"/>
                </a:lnTo>
                <a:lnTo>
                  <a:pt x="4969" y="3549"/>
                </a:lnTo>
                <a:lnTo>
                  <a:pt x="4969" y="3549"/>
                </a:lnTo>
                <a:lnTo>
                  <a:pt x="5030" y="3549"/>
                </a:lnTo>
                <a:close/>
                <a:moveTo>
                  <a:pt x="5030" y="3586"/>
                </a:moveTo>
                <a:lnTo>
                  <a:pt x="5030" y="3659"/>
                </a:lnTo>
                <a:lnTo>
                  <a:pt x="4969" y="3659"/>
                </a:lnTo>
                <a:lnTo>
                  <a:pt x="4969" y="3586"/>
                </a:lnTo>
                <a:lnTo>
                  <a:pt x="5030" y="3586"/>
                </a:lnTo>
                <a:close/>
                <a:moveTo>
                  <a:pt x="5030" y="3708"/>
                </a:moveTo>
                <a:lnTo>
                  <a:pt x="5030" y="3745"/>
                </a:lnTo>
                <a:lnTo>
                  <a:pt x="4969" y="3745"/>
                </a:lnTo>
                <a:lnTo>
                  <a:pt x="4969" y="3708"/>
                </a:lnTo>
                <a:lnTo>
                  <a:pt x="5030" y="3708"/>
                </a:lnTo>
                <a:close/>
                <a:moveTo>
                  <a:pt x="5030" y="3782"/>
                </a:moveTo>
                <a:lnTo>
                  <a:pt x="5030" y="3818"/>
                </a:lnTo>
                <a:lnTo>
                  <a:pt x="4969" y="3818"/>
                </a:lnTo>
                <a:lnTo>
                  <a:pt x="4969" y="3782"/>
                </a:lnTo>
                <a:lnTo>
                  <a:pt x="5030" y="3782"/>
                </a:lnTo>
                <a:close/>
                <a:moveTo>
                  <a:pt x="5067" y="3782"/>
                </a:moveTo>
                <a:lnTo>
                  <a:pt x="5153" y="3782"/>
                </a:lnTo>
                <a:lnTo>
                  <a:pt x="5153" y="3818"/>
                </a:lnTo>
                <a:lnTo>
                  <a:pt x="5067" y="3818"/>
                </a:lnTo>
                <a:lnTo>
                  <a:pt x="5067" y="3782"/>
                </a:lnTo>
                <a:close/>
                <a:moveTo>
                  <a:pt x="4957" y="1750"/>
                </a:moveTo>
                <a:lnTo>
                  <a:pt x="5128" y="1750"/>
                </a:lnTo>
                <a:lnTo>
                  <a:pt x="5128" y="1885"/>
                </a:lnTo>
                <a:lnTo>
                  <a:pt x="4957" y="1885"/>
                </a:lnTo>
                <a:lnTo>
                  <a:pt x="4957" y="1750"/>
                </a:lnTo>
                <a:close/>
                <a:moveTo>
                  <a:pt x="4957" y="1909"/>
                </a:moveTo>
                <a:lnTo>
                  <a:pt x="5128" y="1909"/>
                </a:lnTo>
                <a:lnTo>
                  <a:pt x="5128" y="2044"/>
                </a:lnTo>
                <a:lnTo>
                  <a:pt x="4957" y="2044"/>
                </a:lnTo>
                <a:lnTo>
                  <a:pt x="4957" y="1909"/>
                </a:lnTo>
                <a:close/>
                <a:moveTo>
                  <a:pt x="4957" y="2081"/>
                </a:moveTo>
                <a:lnTo>
                  <a:pt x="5128" y="2081"/>
                </a:lnTo>
                <a:lnTo>
                  <a:pt x="5128" y="2203"/>
                </a:lnTo>
                <a:lnTo>
                  <a:pt x="4957" y="2203"/>
                </a:lnTo>
                <a:lnTo>
                  <a:pt x="4957" y="2081"/>
                </a:lnTo>
                <a:close/>
                <a:moveTo>
                  <a:pt x="4957" y="2240"/>
                </a:moveTo>
                <a:lnTo>
                  <a:pt x="5128" y="2240"/>
                </a:lnTo>
                <a:lnTo>
                  <a:pt x="5128" y="2350"/>
                </a:lnTo>
                <a:lnTo>
                  <a:pt x="4957" y="2350"/>
                </a:lnTo>
                <a:lnTo>
                  <a:pt x="4957" y="2240"/>
                </a:lnTo>
                <a:close/>
                <a:moveTo>
                  <a:pt x="4957" y="2374"/>
                </a:moveTo>
                <a:lnTo>
                  <a:pt x="5128" y="2374"/>
                </a:lnTo>
                <a:lnTo>
                  <a:pt x="5128" y="2509"/>
                </a:lnTo>
                <a:lnTo>
                  <a:pt x="4957" y="2509"/>
                </a:lnTo>
                <a:lnTo>
                  <a:pt x="4957" y="2374"/>
                </a:lnTo>
                <a:close/>
                <a:moveTo>
                  <a:pt x="4957" y="2546"/>
                </a:moveTo>
                <a:lnTo>
                  <a:pt x="5128" y="2546"/>
                </a:lnTo>
                <a:lnTo>
                  <a:pt x="5128" y="2680"/>
                </a:lnTo>
                <a:lnTo>
                  <a:pt x="4957" y="2680"/>
                </a:lnTo>
                <a:lnTo>
                  <a:pt x="4957" y="2546"/>
                </a:lnTo>
                <a:close/>
                <a:moveTo>
                  <a:pt x="4957" y="2705"/>
                </a:moveTo>
                <a:lnTo>
                  <a:pt x="5128" y="2705"/>
                </a:lnTo>
                <a:lnTo>
                  <a:pt x="5128" y="2839"/>
                </a:lnTo>
                <a:lnTo>
                  <a:pt x="4957" y="2839"/>
                </a:lnTo>
                <a:lnTo>
                  <a:pt x="4957" y="2705"/>
                </a:lnTo>
                <a:close/>
                <a:moveTo>
                  <a:pt x="4957" y="2876"/>
                </a:moveTo>
                <a:lnTo>
                  <a:pt x="5128" y="2876"/>
                </a:lnTo>
                <a:lnTo>
                  <a:pt x="5128" y="3023"/>
                </a:lnTo>
                <a:lnTo>
                  <a:pt x="5153" y="3023"/>
                </a:lnTo>
                <a:lnTo>
                  <a:pt x="5153" y="3023"/>
                </a:lnTo>
                <a:lnTo>
                  <a:pt x="4969" y="3023"/>
                </a:lnTo>
                <a:lnTo>
                  <a:pt x="4969" y="2901"/>
                </a:lnTo>
                <a:lnTo>
                  <a:pt x="4957" y="2901"/>
                </a:lnTo>
                <a:lnTo>
                  <a:pt x="4957" y="2876"/>
                </a:lnTo>
                <a:close/>
                <a:moveTo>
                  <a:pt x="4847" y="1750"/>
                </a:moveTo>
                <a:lnTo>
                  <a:pt x="4932" y="1750"/>
                </a:lnTo>
                <a:lnTo>
                  <a:pt x="4932" y="1885"/>
                </a:lnTo>
                <a:lnTo>
                  <a:pt x="4847" y="1885"/>
                </a:lnTo>
                <a:lnTo>
                  <a:pt x="4847" y="1750"/>
                </a:lnTo>
                <a:close/>
                <a:moveTo>
                  <a:pt x="4847" y="1909"/>
                </a:moveTo>
                <a:lnTo>
                  <a:pt x="4932" y="1909"/>
                </a:lnTo>
                <a:lnTo>
                  <a:pt x="4932" y="2044"/>
                </a:lnTo>
                <a:lnTo>
                  <a:pt x="4847" y="2044"/>
                </a:lnTo>
                <a:lnTo>
                  <a:pt x="4847" y="1909"/>
                </a:lnTo>
                <a:close/>
                <a:moveTo>
                  <a:pt x="4847" y="2081"/>
                </a:moveTo>
                <a:lnTo>
                  <a:pt x="4932" y="2081"/>
                </a:lnTo>
                <a:lnTo>
                  <a:pt x="4932" y="2203"/>
                </a:lnTo>
                <a:lnTo>
                  <a:pt x="4847" y="2203"/>
                </a:lnTo>
                <a:lnTo>
                  <a:pt x="4847" y="2081"/>
                </a:lnTo>
                <a:close/>
                <a:moveTo>
                  <a:pt x="4847" y="2240"/>
                </a:moveTo>
                <a:lnTo>
                  <a:pt x="4932" y="2240"/>
                </a:lnTo>
                <a:lnTo>
                  <a:pt x="4932" y="2350"/>
                </a:lnTo>
                <a:lnTo>
                  <a:pt x="4847" y="2350"/>
                </a:lnTo>
                <a:lnTo>
                  <a:pt x="4847" y="2240"/>
                </a:lnTo>
                <a:close/>
                <a:moveTo>
                  <a:pt x="4847" y="2374"/>
                </a:moveTo>
                <a:lnTo>
                  <a:pt x="4932" y="2374"/>
                </a:lnTo>
                <a:lnTo>
                  <a:pt x="4932" y="2509"/>
                </a:lnTo>
                <a:lnTo>
                  <a:pt x="4847" y="2509"/>
                </a:lnTo>
                <a:lnTo>
                  <a:pt x="4847" y="2374"/>
                </a:lnTo>
                <a:close/>
                <a:moveTo>
                  <a:pt x="4847" y="2546"/>
                </a:moveTo>
                <a:lnTo>
                  <a:pt x="4932" y="2546"/>
                </a:lnTo>
                <a:lnTo>
                  <a:pt x="4932" y="2680"/>
                </a:lnTo>
                <a:lnTo>
                  <a:pt x="4847" y="2680"/>
                </a:lnTo>
                <a:lnTo>
                  <a:pt x="4847" y="2546"/>
                </a:lnTo>
                <a:close/>
                <a:moveTo>
                  <a:pt x="4847" y="2705"/>
                </a:moveTo>
                <a:lnTo>
                  <a:pt x="4932" y="2705"/>
                </a:lnTo>
                <a:lnTo>
                  <a:pt x="4932" y="2839"/>
                </a:lnTo>
                <a:lnTo>
                  <a:pt x="4847" y="2839"/>
                </a:lnTo>
                <a:lnTo>
                  <a:pt x="4847" y="2705"/>
                </a:lnTo>
                <a:close/>
                <a:moveTo>
                  <a:pt x="4847" y="3023"/>
                </a:moveTo>
                <a:lnTo>
                  <a:pt x="4847" y="3023"/>
                </a:lnTo>
                <a:lnTo>
                  <a:pt x="4847" y="2876"/>
                </a:lnTo>
                <a:lnTo>
                  <a:pt x="4932" y="2876"/>
                </a:lnTo>
                <a:lnTo>
                  <a:pt x="4932" y="3023"/>
                </a:lnTo>
                <a:lnTo>
                  <a:pt x="4932" y="3023"/>
                </a:lnTo>
                <a:lnTo>
                  <a:pt x="4932" y="3023"/>
                </a:lnTo>
                <a:lnTo>
                  <a:pt x="4847" y="3023"/>
                </a:lnTo>
                <a:lnTo>
                  <a:pt x="4847" y="3023"/>
                </a:lnTo>
                <a:close/>
                <a:moveTo>
                  <a:pt x="4847" y="3047"/>
                </a:moveTo>
                <a:lnTo>
                  <a:pt x="4932" y="3047"/>
                </a:lnTo>
                <a:lnTo>
                  <a:pt x="4932" y="3182"/>
                </a:lnTo>
                <a:lnTo>
                  <a:pt x="4847" y="3182"/>
                </a:lnTo>
                <a:lnTo>
                  <a:pt x="4847" y="3047"/>
                </a:lnTo>
                <a:close/>
                <a:moveTo>
                  <a:pt x="4847" y="3207"/>
                </a:moveTo>
                <a:lnTo>
                  <a:pt x="4932" y="3207"/>
                </a:lnTo>
                <a:lnTo>
                  <a:pt x="4932" y="3341"/>
                </a:lnTo>
                <a:lnTo>
                  <a:pt x="4847" y="3341"/>
                </a:lnTo>
                <a:lnTo>
                  <a:pt x="4847" y="3207"/>
                </a:lnTo>
                <a:close/>
                <a:moveTo>
                  <a:pt x="4847" y="3378"/>
                </a:moveTo>
                <a:lnTo>
                  <a:pt x="4932" y="3378"/>
                </a:lnTo>
                <a:lnTo>
                  <a:pt x="4932" y="3464"/>
                </a:lnTo>
                <a:lnTo>
                  <a:pt x="4847" y="3464"/>
                </a:lnTo>
                <a:lnTo>
                  <a:pt x="4847" y="3378"/>
                </a:lnTo>
                <a:close/>
                <a:moveTo>
                  <a:pt x="4847" y="3500"/>
                </a:moveTo>
                <a:lnTo>
                  <a:pt x="4932" y="3500"/>
                </a:lnTo>
                <a:lnTo>
                  <a:pt x="4932" y="3525"/>
                </a:lnTo>
                <a:lnTo>
                  <a:pt x="4847" y="3525"/>
                </a:lnTo>
                <a:lnTo>
                  <a:pt x="4847" y="3500"/>
                </a:lnTo>
                <a:close/>
                <a:moveTo>
                  <a:pt x="4847" y="3549"/>
                </a:moveTo>
                <a:lnTo>
                  <a:pt x="4932" y="3549"/>
                </a:lnTo>
                <a:lnTo>
                  <a:pt x="4932" y="3549"/>
                </a:lnTo>
                <a:lnTo>
                  <a:pt x="4847" y="3549"/>
                </a:lnTo>
                <a:lnTo>
                  <a:pt x="4847" y="3549"/>
                </a:lnTo>
                <a:close/>
                <a:moveTo>
                  <a:pt x="4847" y="3586"/>
                </a:moveTo>
                <a:lnTo>
                  <a:pt x="4932" y="3586"/>
                </a:lnTo>
                <a:lnTo>
                  <a:pt x="4932" y="3659"/>
                </a:lnTo>
                <a:lnTo>
                  <a:pt x="4847" y="3659"/>
                </a:lnTo>
                <a:lnTo>
                  <a:pt x="4847" y="3586"/>
                </a:lnTo>
                <a:close/>
                <a:moveTo>
                  <a:pt x="4847" y="3708"/>
                </a:moveTo>
                <a:lnTo>
                  <a:pt x="4932" y="3708"/>
                </a:lnTo>
                <a:lnTo>
                  <a:pt x="4932" y="3745"/>
                </a:lnTo>
                <a:lnTo>
                  <a:pt x="4847" y="3745"/>
                </a:lnTo>
                <a:lnTo>
                  <a:pt x="4847" y="3708"/>
                </a:lnTo>
                <a:close/>
                <a:moveTo>
                  <a:pt x="4932" y="3782"/>
                </a:moveTo>
                <a:lnTo>
                  <a:pt x="4932" y="3818"/>
                </a:lnTo>
                <a:lnTo>
                  <a:pt x="4847" y="3818"/>
                </a:lnTo>
                <a:lnTo>
                  <a:pt x="4847" y="3782"/>
                </a:lnTo>
                <a:lnTo>
                  <a:pt x="4932" y="3782"/>
                </a:lnTo>
                <a:close/>
                <a:moveTo>
                  <a:pt x="4810" y="3549"/>
                </a:moveTo>
                <a:lnTo>
                  <a:pt x="4810" y="3549"/>
                </a:lnTo>
                <a:lnTo>
                  <a:pt x="4749" y="3549"/>
                </a:lnTo>
                <a:lnTo>
                  <a:pt x="4749" y="3549"/>
                </a:lnTo>
                <a:lnTo>
                  <a:pt x="4810" y="3549"/>
                </a:lnTo>
                <a:close/>
                <a:moveTo>
                  <a:pt x="4749" y="3525"/>
                </a:moveTo>
                <a:lnTo>
                  <a:pt x="4749" y="3500"/>
                </a:lnTo>
                <a:lnTo>
                  <a:pt x="4810" y="3500"/>
                </a:lnTo>
                <a:lnTo>
                  <a:pt x="4810" y="3525"/>
                </a:lnTo>
                <a:lnTo>
                  <a:pt x="4749" y="3525"/>
                </a:lnTo>
                <a:close/>
                <a:moveTo>
                  <a:pt x="4810" y="3586"/>
                </a:moveTo>
                <a:lnTo>
                  <a:pt x="4810" y="3659"/>
                </a:lnTo>
                <a:lnTo>
                  <a:pt x="4749" y="3659"/>
                </a:lnTo>
                <a:lnTo>
                  <a:pt x="4749" y="3586"/>
                </a:lnTo>
                <a:lnTo>
                  <a:pt x="4810" y="3586"/>
                </a:lnTo>
                <a:close/>
                <a:moveTo>
                  <a:pt x="4810" y="3708"/>
                </a:moveTo>
                <a:lnTo>
                  <a:pt x="4810" y="3745"/>
                </a:lnTo>
                <a:lnTo>
                  <a:pt x="4749" y="3745"/>
                </a:lnTo>
                <a:lnTo>
                  <a:pt x="4749" y="3708"/>
                </a:lnTo>
                <a:lnTo>
                  <a:pt x="4810" y="3708"/>
                </a:lnTo>
                <a:close/>
                <a:moveTo>
                  <a:pt x="4810" y="3782"/>
                </a:moveTo>
                <a:lnTo>
                  <a:pt x="4810" y="3818"/>
                </a:lnTo>
                <a:lnTo>
                  <a:pt x="4749" y="3818"/>
                </a:lnTo>
                <a:lnTo>
                  <a:pt x="4749" y="3782"/>
                </a:lnTo>
                <a:lnTo>
                  <a:pt x="4810" y="3782"/>
                </a:lnTo>
                <a:close/>
                <a:moveTo>
                  <a:pt x="4638" y="1750"/>
                </a:moveTo>
                <a:lnTo>
                  <a:pt x="4810" y="1750"/>
                </a:lnTo>
                <a:lnTo>
                  <a:pt x="4810" y="1885"/>
                </a:lnTo>
                <a:lnTo>
                  <a:pt x="4638" y="1885"/>
                </a:lnTo>
                <a:lnTo>
                  <a:pt x="4638" y="1750"/>
                </a:lnTo>
                <a:close/>
                <a:moveTo>
                  <a:pt x="4638" y="1909"/>
                </a:moveTo>
                <a:lnTo>
                  <a:pt x="4810" y="1909"/>
                </a:lnTo>
                <a:lnTo>
                  <a:pt x="4810" y="2044"/>
                </a:lnTo>
                <a:lnTo>
                  <a:pt x="4638" y="2044"/>
                </a:lnTo>
                <a:lnTo>
                  <a:pt x="4638" y="1909"/>
                </a:lnTo>
                <a:close/>
                <a:moveTo>
                  <a:pt x="4638" y="2081"/>
                </a:moveTo>
                <a:lnTo>
                  <a:pt x="4810" y="2081"/>
                </a:lnTo>
                <a:lnTo>
                  <a:pt x="4810" y="2203"/>
                </a:lnTo>
                <a:lnTo>
                  <a:pt x="4638" y="2203"/>
                </a:lnTo>
                <a:lnTo>
                  <a:pt x="4638" y="2081"/>
                </a:lnTo>
                <a:close/>
                <a:moveTo>
                  <a:pt x="4638" y="2240"/>
                </a:moveTo>
                <a:lnTo>
                  <a:pt x="4810" y="2240"/>
                </a:lnTo>
                <a:lnTo>
                  <a:pt x="4810" y="2350"/>
                </a:lnTo>
                <a:lnTo>
                  <a:pt x="4638" y="2350"/>
                </a:lnTo>
                <a:lnTo>
                  <a:pt x="4638" y="2240"/>
                </a:lnTo>
                <a:close/>
                <a:moveTo>
                  <a:pt x="4638" y="2374"/>
                </a:moveTo>
                <a:lnTo>
                  <a:pt x="4810" y="2374"/>
                </a:lnTo>
                <a:lnTo>
                  <a:pt x="4810" y="2509"/>
                </a:lnTo>
                <a:lnTo>
                  <a:pt x="4638" y="2509"/>
                </a:lnTo>
                <a:lnTo>
                  <a:pt x="4638" y="2374"/>
                </a:lnTo>
                <a:close/>
                <a:moveTo>
                  <a:pt x="4638" y="2546"/>
                </a:moveTo>
                <a:lnTo>
                  <a:pt x="4810" y="2546"/>
                </a:lnTo>
                <a:lnTo>
                  <a:pt x="4810" y="2680"/>
                </a:lnTo>
                <a:lnTo>
                  <a:pt x="4638" y="2680"/>
                </a:lnTo>
                <a:lnTo>
                  <a:pt x="4638" y="2546"/>
                </a:lnTo>
                <a:close/>
                <a:moveTo>
                  <a:pt x="4638" y="2705"/>
                </a:moveTo>
                <a:lnTo>
                  <a:pt x="4810" y="2705"/>
                </a:lnTo>
                <a:lnTo>
                  <a:pt x="4810" y="2839"/>
                </a:lnTo>
                <a:lnTo>
                  <a:pt x="4638" y="2839"/>
                </a:lnTo>
                <a:lnTo>
                  <a:pt x="4638" y="2705"/>
                </a:lnTo>
                <a:close/>
                <a:moveTo>
                  <a:pt x="4626" y="3023"/>
                </a:moveTo>
                <a:lnTo>
                  <a:pt x="4638" y="3023"/>
                </a:lnTo>
                <a:lnTo>
                  <a:pt x="4638" y="2876"/>
                </a:lnTo>
                <a:lnTo>
                  <a:pt x="4810" y="2876"/>
                </a:lnTo>
                <a:lnTo>
                  <a:pt x="4810" y="2962"/>
                </a:lnTo>
                <a:lnTo>
                  <a:pt x="4810" y="2962"/>
                </a:lnTo>
                <a:lnTo>
                  <a:pt x="4810" y="3023"/>
                </a:lnTo>
                <a:lnTo>
                  <a:pt x="4626" y="3023"/>
                </a:lnTo>
                <a:lnTo>
                  <a:pt x="4626" y="3023"/>
                </a:lnTo>
                <a:close/>
                <a:moveTo>
                  <a:pt x="4626" y="3047"/>
                </a:moveTo>
                <a:lnTo>
                  <a:pt x="4810" y="3047"/>
                </a:lnTo>
                <a:lnTo>
                  <a:pt x="4810" y="3182"/>
                </a:lnTo>
                <a:lnTo>
                  <a:pt x="4626" y="3182"/>
                </a:lnTo>
                <a:lnTo>
                  <a:pt x="4626" y="3047"/>
                </a:lnTo>
                <a:close/>
                <a:moveTo>
                  <a:pt x="4626" y="3207"/>
                </a:moveTo>
                <a:lnTo>
                  <a:pt x="4810" y="3207"/>
                </a:lnTo>
                <a:lnTo>
                  <a:pt x="4810" y="3341"/>
                </a:lnTo>
                <a:lnTo>
                  <a:pt x="4626" y="3341"/>
                </a:lnTo>
                <a:lnTo>
                  <a:pt x="4626" y="3207"/>
                </a:lnTo>
                <a:close/>
                <a:moveTo>
                  <a:pt x="4626" y="3378"/>
                </a:moveTo>
                <a:lnTo>
                  <a:pt x="4810" y="3378"/>
                </a:lnTo>
                <a:lnTo>
                  <a:pt x="4810" y="3464"/>
                </a:lnTo>
                <a:lnTo>
                  <a:pt x="4749" y="3464"/>
                </a:lnTo>
                <a:lnTo>
                  <a:pt x="4749" y="3427"/>
                </a:lnTo>
                <a:lnTo>
                  <a:pt x="4712" y="3427"/>
                </a:lnTo>
                <a:lnTo>
                  <a:pt x="4712" y="3464"/>
                </a:lnTo>
                <a:lnTo>
                  <a:pt x="4626" y="3464"/>
                </a:lnTo>
                <a:lnTo>
                  <a:pt x="4626" y="3378"/>
                </a:lnTo>
                <a:close/>
                <a:moveTo>
                  <a:pt x="4626" y="3500"/>
                </a:moveTo>
                <a:lnTo>
                  <a:pt x="4712" y="3500"/>
                </a:lnTo>
                <a:lnTo>
                  <a:pt x="4712" y="3525"/>
                </a:lnTo>
                <a:lnTo>
                  <a:pt x="4626" y="3525"/>
                </a:lnTo>
                <a:lnTo>
                  <a:pt x="4626" y="3500"/>
                </a:lnTo>
                <a:close/>
                <a:moveTo>
                  <a:pt x="4626" y="3549"/>
                </a:moveTo>
                <a:lnTo>
                  <a:pt x="4712" y="3549"/>
                </a:lnTo>
                <a:lnTo>
                  <a:pt x="4712" y="3549"/>
                </a:lnTo>
                <a:lnTo>
                  <a:pt x="4626" y="3549"/>
                </a:lnTo>
                <a:lnTo>
                  <a:pt x="4626" y="3549"/>
                </a:lnTo>
                <a:close/>
                <a:moveTo>
                  <a:pt x="4626" y="3586"/>
                </a:moveTo>
                <a:lnTo>
                  <a:pt x="4712" y="3586"/>
                </a:lnTo>
                <a:lnTo>
                  <a:pt x="4712" y="3659"/>
                </a:lnTo>
                <a:lnTo>
                  <a:pt x="4626" y="3659"/>
                </a:lnTo>
                <a:lnTo>
                  <a:pt x="4626" y="3586"/>
                </a:lnTo>
                <a:close/>
                <a:moveTo>
                  <a:pt x="4626" y="3708"/>
                </a:moveTo>
                <a:lnTo>
                  <a:pt x="4712" y="3708"/>
                </a:lnTo>
                <a:lnTo>
                  <a:pt x="4712" y="3745"/>
                </a:lnTo>
                <a:lnTo>
                  <a:pt x="4626" y="3745"/>
                </a:lnTo>
                <a:lnTo>
                  <a:pt x="4626" y="3708"/>
                </a:lnTo>
                <a:close/>
                <a:moveTo>
                  <a:pt x="4712" y="3782"/>
                </a:moveTo>
                <a:lnTo>
                  <a:pt x="4712" y="3818"/>
                </a:lnTo>
                <a:lnTo>
                  <a:pt x="4626" y="3818"/>
                </a:lnTo>
                <a:lnTo>
                  <a:pt x="4626" y="3782"/>
                </a:lnTo>
                <a:lnTo>
                  <a:pt x="4712" y="3782"/>
                </a:lnTo>
                <a:close/>
                <a:moveTo>
                  <a:pt x="4590" y="3586"/>
                </a:moveTo>
                <a:lnTo>
                  <a:pt x="4590" y="3659"/>
                </a:lnTo>
                <a:lnTo>
                  <a:pt x="4565" y="3659"/>
                </a:lnTo>
                <a:lnTo>
                  <a:pt x="4565" y="3586"/>
                </a:lnTo>
                <a:lnTo>
                  <a:pt x="4590" y="3586"/>
                </a:lnTo>
                <a:close/>
                <a:moveTo>
                  <a:pt x="4565" y="3549"/>
                </a:moveTo>
                <a:lnTo>
                  <a:pt x="4565" y="3549"/>
                </a:lnTo>
                <a:lnTo>
                  <a:pt x="4590" y="3549"/>
                </a:lnTo>
                <a:lnTo>
                  <a:pt x="4590" y="3549"/>
                </a:lnTo>
                <a:lnTo>
                  <a:pt x="4565" y="3549"/>
                </a:lnTo>
                <a:close/>
                <a:moveTo>
                  <a:pt x="4590" y="3708"/>
                </a:moveTo>
                <a:lnTo>
                  <a:pt x="4590" y="3745"/>
                </a:lnTo>
                <a:lnTo>
                  <a:pt x="4565" y="3745"/>
                </a:lnTo>
                <a:lnTo>
                  <a:pt x="4565" y="3708"/>
                </a:lnTo>
                <a:lnTo>
                  <a:pt x="4590" y="3708"/>
                </a:lnTo>
                <a:close/>
                <a:moveTo>
                  <a:pt x="4590" y="3782"/>
                </a:moveTo>
                <a:lnTo>
                  <a:pt x="4590" y="3818"/>
                </a:lnTo>
                <a:lnTo>
                  <a:pt x="4565" y="3818"/>
                </a:lnTo>
                <a:lnTo>
                  <a:pt x="4565" y="3782"/>
                </a:lnTo>
                <a:lnTo>
                  <a:pt x="4590" y="3782"/>
                </a:lnTo>
                <a:close/>
                <a:moveTo>
                  <a:pt x="4528" y="1750"/>
                </a:moveTo>
                <a:lnTo>
                  <a:pt x="4614" y="1750"/>
                </a:lnTo>
                <a:lnTo>
                  <a:pt x="4614" y="1885"/>
                </a:lnTo>
                <a:lnTo>
                  <a:pt x="4528" y="1885"/>
                </a:lnTo>
                <a:lnTo>
                  <a:pt x="4528" y="1750"/>
                </a:lnTo>
                <a:close/>
                <a:moveTo>
                  <a:pt x="4528" y="1909"/>
                </a:moveTo>
                <a:lnTo>
                  <a:pt x="4614" y="1909"/>
                </a:lnTo>
                <a:lnTo>
                  <a:pt x="4614" y="2044"/>
                </a:lnTo>
                <a:lnTo>
                  <a:pt x="4528" y="2044"/>
                </a:lnTo>
                <a:lnTo>
                  <a:pt x="4528" y="1909"/>
                </a:lnTo>
                <a:close/>
                <a:moveTo>
                  <a:pt x="4528" y="2081"/>
                </a:moveTo>
                <a:lnTo>
                  <a:pt x="4614" y="2081"/>
                </a:lnTo>
                <a:lnTo>
                  <a:pt x="4614" y="2203"/>
                </a:lnTo>
                <a:lnTo>
                  <a:pt x="4528" y="2203"/>
                </a:lnTo>
                <a:lnTo>
                  <a:pt x="4528" y="2081"/>
                </a:lnTo>
                <a:close/>
                <a:moveTo>
                  <a:pt x="4528" y="2240"/>
                </a:moveTo>
                <a:lnTo>
                  <a:pt x="4614" y="2240"/>
                </a:lnTo>
                <a:lnTo>
                  <a:pt x="4614" y="2350"/>
                </a:lnTo>
                <a:lnTo>
                  <a:pt x="4528" y="2350"/>
                </a:lnTo>
                <a:lnTo>
                  <a:pt x="4528" y="2240"/>
                </a:lnTo>
                <a:close/>
                <a:moveTo>
                  <a:pt x="4528" y="2374"/>
                </a:moveTo>
                <a:lnTo>
                  <a:pt x="4614" y="2374"/>
                </a:lnTo>
                <a:lnTo>
                  <a:pt x="4614" y="2509"/>
                </a:lnTo>
                <a:lnTo>
                  <a:pt x="4528" y="2509"/>
                </a:lnTo>
                <a:lnTo>
                  <a:pt x="4528" y="2374"/>
                </a:lnTo>
                <a:close/>
                <a:moveTo>
                  <a:pt x="4528" y="2546"/>
                </a:moveTo>
                <a:lnTo>
                  <a:pt x="4614" y="2546"/>
                </a:lnTo>
                <a:lnTo>
                  <a:pt x="4614" y="2680"/>
                </a:lnTo>
                <a:lnTo>
                  <a:pt x="4528" y="2680"/>
                </a:lnTo>
                <a:lnTo>
                  <a:pt x="4528" y="2546"/>
                </a:lnTo>
                <a:close/>
                <a:moveTo>
                  <a:pt x="4528" y="2839"/>
                </a:moveTo>
                <a:lnTo>
                  <a:pt x="4528" y="2705"/>
                </a:lnTo>
                <a:lnTo>
                  <a:pt x="4614" y="2705"/>
                </a:lnTo>
                <a:lnTo>
                  <a:pt x="4614" y="2839"/>
                </a:lnTo>
                <a:lnTo>
                  <a:pt x="4528" y="2839"/>
                </a:lnTo>
                <a:close/>
                <a:moveTo>
                  <a:pt x="4504" y="3207"/>
                </a:moveTo>
                <a:lnTo>
                  <a:pt x="4590" y="3207"/>
                </a:lnTo>
                <a:lnTo>
                  <a:pt x="4590" y="3341"/>
                </a:lnTo>
                <a:lnTo>
                  <a:pt x="4504" y="3341"/>
                </a:lnTo>
                <a:lnTo>
                  <a:pt x="4504" y="3207"/>
                </a:lnTo>
                <a:close/>
                <a:moveTo>
                  <a:pt x="4504" y="3378"/>
                </a:moveTo>
                <a:lnTo>
                  <a:pt x="4590" y="3378"/>
                </a:lnTo>
                <a:lnTo>
                  <a:pt x="4590" y="3464"/>
                </a:lnTo>
                <a:lnTo>
                  <a:pt x="4504" y="3464"/>
                </a:lnTo>
                <a:lnTo>
                  <a:pt x="4504" y="3378"/>
                </a:lnTo>
                <a:close/>
                <a:moveTo>
                  <a:pt x="4504" y="3500"/>
                </a:moveTo>
                <a:lnTo>
                  <a:pt x="4590" y="3500"/>
                </a:lnTo>
                <a:lnTo>
                  <a:pt x="4590" y="3525"/>
                </a:lnTo>
                <a:lnTo>
                  <a:pt x="4565" y="3525"/>
                </a:lnTo>
                <a:lnTo>
                  <a:pt x="4565" y="3500"/>
                </a:lnTo>
                <a:lnTo>
                  <a:pt x="4541" y="3500"/>
                </a:lnTo>
                <a:lnTo>
                  <a:pt x="4541" y="3525"/>
                </a:lnTo>
                <a:lnTo>
                  <a:pt x="4504" y="3525"/>
                </a:lnTo>
                <a:lnTo>
                  <a:pt x="4504" y="3500"/>
                </a:lnTo>
                <a:close/>
                <a:moveTo>
                  <a:pt x="4504" y="3549"/>
                </a:moveTo>
                <a:lnTo>
                  <a:pt x="4541" y="3549"/>
                </a:lnTo>
                <a:lnTo>
                  <a:pt x="4541" y="3549"/>
                </a:lnTo>
                <a:lnTo>
                  <a:pt x="4504" y="3549"/>
                </a:lnTo>
                <a:lnTo>
                  <a:pt x="4504" y="3549"/>
                </a:lnTo>
                <a:close/>
                <a:moveTo>
                  <a:pt x="4504" y="3586"/>
                </a:moveTo>
                <a:lnTo>
                  <a:pt x="4541" y="3586"/>
                </a:lnTo>
                <a:lnTo>
                  <a:pt x="4541" y="3659"/>
                </a:lnTo>
                <a:lnTo>
                  <a:pt x="4504" y="3659"/>
                </a:lnTo>
                <a:lnTo>
                  <a:pt x="4504" y="3586"/>
                </a:lnTo>
                <a:close/>
                <a:moveTo>
                  <a:pt x="4504" y="3708"/>
                </a:moveTo>
                <a:lnTo>
                  <a:pt x="4541" y="3708"/>
                </a:lnTo>
                <a:lnTo>
                  <a:pt x="4541" y="3745"/>
                </a:lnTo>
                <a:lnTo>
                  <a:pt x="4504" y="3745"/>
                </a:lnTo>
                <a:lnTo>
                  <a:pt x="4504" y="3708"/>
                </a:lnTo>
                <a:close/>
                <a:moveTo>
                  <a:pt x="4504" y="3782"/>
                </a:moveTo>
                <a:lnTo>
                  <a:pt x="4541" y="3782"/>
                </a:lnTo>
                <a:lnTo>
                  <a:pt x="4541" y="3818"/>
                </a:lnTo>
                <a:lnTo>
                  <a:pt x="4504" y="3818"/>
                </a:lnTo>
                <a:lnTo>
                  <a:pt x="4504" y="3782"/>
                </a:lnTo>
                <a:close/>
                <a:moveTo>
                  <a:pt x="3990" y="3366"/>
                </a:moveTo>
                <a:lnTo>
                  <a:pt x="4100" y="3255"/>
                </a:lnTo>
                <a:lnTo>
                  <a:pt x="4210" y="3366"/>
                </a:lnTo>
                <a:lnTo>
                  <a:pt x="3990" y="3366"/>
                </a:lnTo>
                <a:close/>
                <a:moveTo>
                  <a:pt x="4210" y="3439"/>
                </a:moveTo>
                <a:lnTo>
                  <a:pt x="4100" y="3537"/>
                </a:lnTo>
                <a:lnTo>
                  <a:pt x="4002" y="3439"/>
                </a:lnTo>
                <a:lnTo>
                  <a:pt x="4210" y="3439"/>
                </a:lnTo>
                <a:close/>
                <a:moveTo>
                  <a:pt x="4002" y="3072"/>
                </a:moveTo>
                <a:lnTo>
                  <a:pt x="4210" y="3072"/>
                </a:lnTo>
                <a:lnTo>
                  <a:pt x="4100" y="3182"/>
                </a:lnTo>
                <a:lnTo>
                  <a:pt x="4002" y="3072"/>
                </a:lnTo>
                <a:close/>
                <a:moveTo>
                  <a:pt x="4137" y="3219"/>
                </a:moveTo>
                <a:lnTo>
                  <a:pt x="4247" y="3109"/>
                </a:lnTo>
                <a:lnTo>
                  <a:pt x="4247" y="3329"/>
                </a:lnTo>
                <a:lnTo>
                  <a:pt x="4137" y="3219"/>
                </a:lnTo>
                <a:close/>
                <a:moveTo>
                  <a:pt x="4210" y="2998"/>
                </a:moveTo>
                <a:lnTo>
                  <a:pt x="3990" y="2998"/>
                </a:lnTo>
                <a:lnTo>
                  <a:pt x="4100" y="2888"/>
                </a:lnTo>
                <a:lnTo>
                  <a:pt x="4210" y="2998"/>
                </a:lnTo>
                <a:close/>
                <a:moveTo>
                  <a:pt x="4137" y="2852"/>
                </a:moveTo>
                <a:lnTo>
                  <a:pt x="4247" y="2741"/>
                </a:lnTo>
                <a:lnTo>
                  <a:pt x="4247" y="2962"/>
                </a:lnTo>
                <a:lnTo>
                  <a:pt x="4137" y="2852"/>
                </a:lnTo>
                <a:close/>
                <a:moveTo>
                  <a:pt x="3941" y="2974"/>
                </a:moveTo>
                <a:lnTo>
                  <a:pt x="3941" y="2729"/>
                </a:lnTo>
                <a:lnTo>
                  <a:pt x="4063" y="2852"/>
                </a:lnTo>
                <a:lnTo>
                  <a:pt x="3941" y="2974"/>
                </a:lnTo>
                <a:close/>
                <a:moveTo>
                  <a:pt x="4063" y="3219"/>
                </a:moveTo>
                <a:lnTo>
                  <a:pt x="3941" y="3329"/>
                </a:lnTo>
                <a:lnTo>
                  <a:pt x="3941" y="3096"/>
                </a:lnTo>
                <a:lnTo>
                  <a:pt x="4063" y="3219"/>
                </a:lnTo>
                <a:close/>
                <a:moveTo>
                  <a:pt x="4063" y="3574"/>
                </a:moveTo>
                <a:lnTo>
                  <a:pt x="3941" y="3696"/>
                </a:lnTo>
                <a:lnTo>
                  <a:pt x="3941" y="3464"/>
                </a:lnTo>
                <a:lnTo>
                  <a:pt x="4063" y="3574"/>
                </a:lnTo>
                <a:close/>
                <a:moveTo>
                  <a:pt x="4100" y="3610"/>
                </a:moveTo>
                <a:lnTo>
                  <a:pt x="4210" y="3721"/>
                </a:lnTo>
                <a:lnTo>
                  <a:pt x="3990" y="3721"/>
                </a:lnTo>
                <a:lnTo>
                  <a:pt x="4100" y="3610"/>
                </a:lnTo>
                <a:close/>
                <a:moveTo>
                  <a:pt x="4137" y="3574"/>
                </a:moveTo>
                <a:lnTo>
                  <a:pt x="4247" y="3464"/>
                </a:lnTo>
                <a:lnTo>
                  <a:pt x="4247" y="3696"/>
                </a:lnTo>
                <a:lnTo>
                  <a:pt x="4137" y="3574"/>
                </a:lnTo>
                <a:close/>
                <a:moveTo>
                  <a:pt x="4137" y="1297"/>
                </a:moveTo>
                <a:lnTo>
                  <a:pt x="4271" y="1297"/>
                </a:lnTo>
                <a:lnTo>
                  <a:pt x="4271" y="1358"/>
                </a:lnTo>
                <a:lnTo>
                  <a:pt x="4137" y="1358"/>
                </a:lnTo>
                <a:lnTo>
                  <a:pt x="4137" y="1297"/>
                </a:lnTo>
                <a:close/>
                <a:moveTo>
                  <a:pt x="4137" y="1395"/>
                </a:moveTo>
                <a:lnTo>
                  <a:pt x="4271" y="1395"/>
                </a:lnTo>
                <a:lnTo>
                  <a:pt x="4271" y="1456"/>
                </a:lnTo>
                <a:lnTo>
                  <a:pt x="4137" y="1456"/>
                </a:lnTo>
                <a:lnTo>
                  <a:pt x="4137" y="1395"/>
                </a:lnTo>
                <a:close/>
                <a:moveTo>
                  <a:pt x="4137" y="1481"/>
                </a:moveTo>
                <a:lnTo>
                  <a:pt x="4271" y="1481"/>
                </a:lnTo>
                <a:lnTo>
                  <a:pt x="4271" y="1554"/>
                </a:lnTo>
                <a:lnTo>
                  <a:pt x="4137" y="1554"/>
                </a:lnTo>
                <a:lnTo>
                  <a:pt x="4137" y="1481"/>
                </a:lnTo>
                <a:close/>
                <a:moveTo>
                  <a:pt x="4137" y="1579"/>
                </a:moveTo>
                <a:lnTo>
                  <a:pt x="4271" y="1579"/>
                </a:lnTo>
                <a:lnTo>
                  <a:pt x="4271" y="1640"/>
                </a:lnTo>
                <a:lnTo>
                  <a:pt x="4137" y="1640"/>
                </a:lnTo>
                <a:lnTo>
                  <a:pt x="4137" y="1579"/>
                </a:lnTo>
                <a:close/>
                <a:moveTo>
                  <a:pt x="4137" y="1677"/>
                </a:moveTo>
                <a:lnTo>
                  <a:pt x="4271" y="1677"/>
                </a:lnTo>
                <a:lnTo>
                  <a:pt x="4271" y="1738"/>
                </a:lnTo>
                <a:lnTo>
                  <a:pt x="4137" y="1738"/>
                </a:lnTo>
                <a:lnTo>
                  <a:pt x="4137" y="1677"/>
                </a:lnTo>
                <a:close/>
                <a:moveTo>
                  <a:pt x="4137" y="1775"/>
                </a:moveTo>
                <a:lnTo>
                  <a:pt x="4271" y="1775"/>
                </a:lnTo>
                <a:lnTo>
                  <a:pt x="4271" y="1836"/>
                </a:lnTo>
                <a:lnTo>
                  <a:pt x="4137" y="1836"/>
                </a:lnTo>
                <a:lnTo>
                  <a:pt x="4137" y="1775"/>
                </a:lnTo>
                <a:close/>
                <a:moveTo>
                  <a:pt x="4137" y="1872"/>
                </a:moveTo>
                <a:lnTo>
                  <a:pt x="4271" y="1872"/>
                </a:lnTo>
                <a:lnTo>
                  <a:pt x="4271" y="1934"/>
                </a:lnTo>
                <a:lnTo>
                  <a:pt x="4137" y="1934"/>
                </a:lnTo>
                <a:lnTo>
                  <a:pt x="4137" y="1872"/>
                </a:lnTo>
                <a:close/>
                <a:moveTo>
                  <a:pt x="4137" y="1970"/>
                </a:moveTo>
                <a:lnTo>
                  <a:pt x="4271" y="1970"/>
                </a:lnTo>
                <a:lnTo>
                  <a:pt x="4271" y="2032"/>
                </a:lnTo>
                <a:lnTo>
                  <a:pt x="4137" y="2032"/>
                </a:lnTo>
                <a:lnTo>
                  <a:pt x="4137" y="1970"/>
                </a:lnTo>
                <a:close/>
                <a:moveTo>
                  <a:pt x="4137" y="2056"/>
                </a:moveTo>
                <a:lnTo>
                  <a:pt x="4271" y="2056"/>
                </a:lnTo>
                <a:lnTo>
                  <a:pt x="4271" y="2117"/>
                </a:lnTo>
                <a:lnTo>
                  <a:pt x="4137" y="2117"/>
                </a:lnTo>
                <a:lnTo>
                  <a:pt x="4137" y="2056"/>
                </a:lnTo>
                <a:close/>
                <a:moveTo>
                  <a:pt x="4137" y="2154"/>
                </a:moveTo>
                <a:lnTo>
                  <a:pt x="4271" y="2154"/>
                </a:lnTo>
                <a:lnTo>
                  <a:pt x="4271" y="2215"/>
                </a:lnTo>
                <a:lnTo>
                  <a:pt x="4137" y="2215"/>
                </a:lnTo>
                <a:lnTo>
                  <a:pt x="4137" y="2154"/>
                </a:lnTo>
                <a:close/>
                <a:moveTo>
                  <a:pt x="4210" y="2717"/>
                </a:moveTo>
                <a:lnTo>
                  <a:pt x="4100" y="2815"/>
                </a:lnTo>
                <a:lnTo>
                  <a:pt x="4002" y="2717"/>
                </a:lnTo>
                <a:lnTo>
                  <a:pt x="4210" y="2717"/>
                </a:lnTo>
                <a:close/>
                <a:moveTo>
                  <a:pt x="3904" y="1297"/>
                </a:moveTo>
                <a:lnTo>
                  <a:pt x="4039" y="1297"/>
                </a:lnTo>
                <a:lnTo>
                  <a:pt x="4039" y="1358"/>
                </a:lnTo>
                <a:lnTo>
                  <a:pt x="3904" y="1358"/>
                </a:lnTo>
                <a:lnTo>
                  <a:pt x="3904" y="1297"/>
                </a:lnTo>
                <a:close/>
                <a:moveTo>
                  <a:pt x="3904" y="1395"/>
                </a:moveTo>
                <a:lnTo>
                  <a:pt x="4039" y="1395"/>
                </a:lnTo>
                <a:lnTo>
                  <a:pt x="4039" y="1456"/>
                </a:lnTo>
                <a:lnTo>
                  <a:pt x="3904" y="1456"/>
                </a:lnTo>
                <a:lnTo>
                  <a:pt x="3904" y="1395"/>
                </a:lnTo>
                <a:close/>
                <a:moveTo>
                  <a:pt x="3904" y="1481"/>
                </a:moveTo>
                <a:lnTo>
                  <a:pt x="4039" y="1481"/>
                </a:lnTo>
                <a:lnTo>
                  <a:pt x="4039" y="1554"/>
                </a:lnTo>
                <a:lnTo>
                  <a:pt x="3904" y="1554"/>
                </a:lnTo>
                <a:lnTo>
                  <a:pt x="3904" y="1481"/>
                </a:lnTo>
                <a:close/>
                <a:moveTo>
                  <a:pt x="3904" y="1579"/>
                </a:moveTo>
                <a:lnTo>
                  <a:pt x="4039" y="1579"/>
                </a:lnTo>
                <a:lnTo>
                  <a:pt x="4039" y="1640"/>
                </a:lnTo>
                <a:lnTo>
                  <a:pt x="3904" y="1640"/>
                </a:lnTo>
                <a:lnTo>
                  <a:pt x="3904" y="1579"/>
                </a:lnTo>
                <a:close/>
                <a:moveTo>
                  <a:pt x="3904" y="1677"/>
                </a:moveTo>
                <a:lnTo>
                  <a:pt x="4039" y="1677"/>
                </a:lnTo>
                <a:lnTo>
                  <a:pt x="4039" y="1738"/>
                </a:lnTo>
                <a:lnTo>
                  <a:pt x="3904" y="1738"/>
                </a:lnTo>
                <a:lnTo>
                  <a:pt x="3904" y="1677"/>
                </a:lnTo>
                <a:close/>
                <a:moveTo>
                  <a:pt x="3904" y="1775"/>
                </a:moveTo>
                <a:lnTo>
                  <a:pt x="4039" y="1775"/>
                </a:lnTo>
                <a:lnTo>
                  <a:pt x="4039" y="1836"/>
                </a:lnTo>
                <a:lnTo>
                  <a:pt x="3904" y="1836"/>
                </a:lnTo>
                <a:lnTo>
                  <a:pt x="3904" y="1775"/>
                </a:lnTo>
                <a:close/>
                <a:moveTo>
                  <a:pt x="3904" y="1872"/>
                </a:moveTo>
                <a:lnTo>
                  <a:pt x="4039" y="1872"/>
                </a:lnTo>
                <a:lnTo>
                  <a:pt x="4039" y="1934"/>
                </a:lnTo>
                <a:lnTo>
                  <a:pt x="3904" y="1934"/>
                </a:lnTo>
                <a:lnTo>
                  <a:pt x="3904" y="1872"/>
                </a:lnTo>
                <a:close/>
                <a:moveTo>
                  <a:pt x="3904" y="1970"/>
                </a:moveTo>
                <a:lnTo>
                  <a:pt x="4039" y="1970"/>
                </a:lnTo>
                <a:lnTo>
                  <a:pt x="4039" y="2032"/>
                </a:lnTo>
                <a:lnTo>
                  <a:pt x="3904" y="2032"/>
                </a:lnTo>
                <a:lnTo>
                  <a:pt x="3904" y="1970"/>
                </a:lnTo>
                <a:close/>
                <a:moveTo>
                  <a:pt x="3904" y="2056"/>
                </a:moveTo>
                <a:lnTo>
                  <a:pt x="4039" y="2056"/>
                </a:lnTo>
                <a:lnTo>
                  <a:pt x="4039" y="2117"/>
                </a:lnTo>
                <a:lnTo>
                  <a:pt x="3904" y="2117"/>
                </a:lnTo>
                <a:lnTo>
                  <a:pt x="3904" y="2056"/>
                </a:lnTo>
                <a:close/>
                <a:moveTo>
                  <a:pt x="3904" y="2154"/>
                </a:moveTo>
                <a:lnTo>
                  <a:pt x="4039" y="2154"/>
                </a:lnTo>
                <a:lnTo>
                  <a:pt x="4039" y="2215"/>
                </a:lnTo>
                <a:lnTo>
                  <a:pt x="3904" y="2215"/>
                </a:lnTo>
                <a:lnTo>
                  <a:pt x="3904" y="2154"/>
                </a:lnTo>
                <a:close/>
                <a:moveTo>
                  <a:pt x="3941" y="3806"/>
                </a:moveTo>
                <a:lnTo>
                  <a:pt x="4247" y="3806"/>
                </a:lnTo>
                <a:lnTo>
                  <a:pt x="4247" y="3818"/>
                </a:lnTo>
                <a:lnTo>
                  <a:pt x="3941" y="3818"/>
                </a:lnTo>
                <a:lnTo>
                  <a:pt x="3941" y="3806"/>
                </a:lnTo>
                <a:close/>
                <a:moveTo>
                  <a:pt x="1958" y="3329"/>
                </a:moveTo>
                <a:lnTo>
                  <a:pt x="1885" y="3415"/>
                </a:lnTo>
                <a:lnTo>
                  <a:pt x="1799" y="3329"/>
                </a:lnTo>
                <a:lnTo>
                  <a:pt x="1958" y="3329"/>
                </a:lnTo>
                <a:close/>
                <a:moveTo>
                  <a:pt x="1799" y="3280"/>
                </a:moveTo>
                <a:lnTo>
                  <a:pt x="1885" y="3194"/>
                </a:lnTo>
                <a:lnTo>
                  <a:pt x="1970" y="3280"/>
                </a:lnTo>
                <a:lnTo>
                  <a:pt x="1799" y="3280"/>
                </a:lnTo>
                <a:close/>
                <a:moveTo>
                  <a:pt x="1995" y="3353"/>
                </a:moveTo>
                <a:lnTo>
                  <a:pt x="1995" y="3525"/>
                </a:lnTo>
                <a:lnTo>
                  <a:pt x="1909" y="3439"/>
                </a:lnTo>
                <a:lnTo>
                  <a:pt x="1995" y="3353"/>
                </a:lnTo>
                <a:close/>
                <a:moveTo>
                  <a:pt x="1970" y="3549"/>
                </a:moveTo>
                <a:lnTo>
                  <a:pt x="1799" y="3549"/>
                </a:lnTo>
                <a:lnTo>
                  <a:pt x="1885" y="3464"/>
                </a:lnTo>
                <a:lnTo>
                  <a:pt x="1970" y="3549"/>
                </a:lnTo>
                <a:close/>
                <a:moveTo>
                  <a:pt x="1958" y="3610"/>
                </a:moveTo>
                <a:lnTo>
                  <a:pt x="1885" y="3684"/>
                </a:lnTo>
                <a:lnTo>
                  <a:pt x="1799" y="3610"/>
                </a:lnTo>
                <a:lnTo>
                  <a:pt x="1958" y="3610"/>
                </a:lnTo>
                <a:close/>
                <a:moveTo>
                  <a:pt x="1995" y="3635"/>
                </a:moveTo>
                <a:lnTo>
                  <a:pt x="1995" y="3806"/>
                </a:lnTo>
                <a:lnTo>
                  <a:pt x="1909" y="3721"/>
                </a:lnTo>
                <a:lnTo>
                  <a:pt x="1995" y="3635"/>
                </a:lnTo>
                <a:close/>
                <a:moveTo>
                  <a:pt x="1995" y="3243"/>
                </a:moveTo>
                <a:lnTo>
                  <a:pt x="1909" y="3158"/>
                </a:lnTo>
                <a:lnTo>
                  <a:pt x="1995" y="3072"/>
                </a:lnTo>
                <a:lnTo>
                  <a:pt x="1995" y="3243"/>
                </a:lnTo>
                <a:close/>
                <a:moveTo>
                  <a:pt x="1958" y="3060"/>
                </a:moveTo>
                <a:lnTo>
                  <a:pt x="1885" y="3133"/>
                </a:lnTo>
                <a:lnTo>
                  <a:pt x="1799" y="3060"/>
                </a:lnTo>
                <a:lnTo>
                  <a:pt x="1958" y="3060"/>
                </a:lnTo>
                <a:close/>
                <a:moveTo>
                  <a:pt x="1762" y="3072"/>
                </a:moveTo>
                <a:lnTo>
                  <a:pt x="1848" y="3158"/>
                </a:lnTo>
                <a:lnTo>
                  <a:pt x="1762" y="3255"/>
                </a:lnTo>
                <a:lnTo>
                  <a:pt x="1762" y="3072"/>
                </a:lnTo>
                <a:close/>
                <a:moveTo>
                  <a:pt x="1762" y="3353"/>
                </a:moveTo>
                <a:lnTo>
                  <a:pt x="1848" y="3439"/>
                </a:lnTo>
                <a:lnTo>
                  <a:pt x="1762" y="3525"/>
                </a:lnTo>
                <a:lnTo>
                  <a:pt x="1762" y="3353"/>
                </a:lnTo>
                <a:close/>
                <a:moveTo>
                  <a:pt x="1762" y="3623"/>
                </a:moveTo>
                <a:lnTo>
                  <a:pt x="1848" y="3721"/>
                </a:lnTo>
                <a:lnTo>
                  <a:pt x="1762" y="3806"/>
                </a:lnTo>
                <a:lnTo>
                  <a:pt x="1762" y="3623"/>
                </a:lnTo>
                <a:close/>
                <a:moveTo>
                  <a:pt x="1885" y="3745"/>
                </a:moveTo>
                <a:lnTo>
                  <a:pt x="1958" y="3818"/>
                </a:lnTo>
                <a:lnTo>
                  <a:pt x="1799" y="3818"/>
                </a:lnTo>
                <a:lnTo>
                  <a:pt x="1885" y="3745"/>
                </a:lnTo>
                <a:close/>
                <a:moveTo>
                  <a:pt x="1456" y="2644"/>
                </a:moveTo>
                <a:lnTo>
                  <a:pt x="1542" y="2644"/>
                </a:lnTo>
                <a:lnTo>
                  <a:pt x="1542" y="2778"/>
                </a:lnTo>
                <a:lnTo>
                  <a:pt x="1456" y="2778"/>
                </a:lnTo>
                <a:lnTo>
                  <a:pt x="1456" y="2644"/>
                </a:lnTo>
                <a:close/>
                <a:moveTo>
                  <a:pt x="1456" y="2815"/>
                </a:moveTo>
                <a:lnTo>
                  <a:pt x="1542" y="2815"/>
                </a:lnTo>
                <a:lnTo>
                  <a:pt x="1542" y="2949"/>
                </a:lnTo>
                <a:lnTo>
                  <a:pt x="1456" y="2949"/>
                </a:lnTo>
                <a:lnTo>
                  <a:pt x="1456" y="2815"/>
                </a:lnTo>
                <a:close/>
                <a:moveTo>
                  <a:pt x="1456" y="2974"/>
                </a:moveTo>
                <a:lnTo>
                  <a:pt x="1542" y="2974"/>
                </a:lnTo>
                <a:lnTo>
                  <a:pt x="1542" y="3109"/>
                </a:lnTo>
                <a:lnTo>
                  <a:pt x="1456" y="3109"/>
                </a:lnTo>
                <a:lnTo>
                  <a:pt x="1456" y="2974"/>
                </a:lnTo>
                <a:close/>
                <a:moveTo>
                  <a:pt x="1456" y="3145"/>
                </a:moveTo>
                <a:lnTo>
                  <a:pt x="1542" y="3145"/>
                </a:lnTo>
                <a:lnTo>
                  <a:pt x="1542" y="3243"/>
                </a:lnTo>
                <a:lnTo>
                  <a:pt x="1456" y="3243"/>
                </a:lnTo>
                <a:lnTo>
                  <a:pt x="1456" y="3145"/>
                </a:lnTo>
                <a:close/>
                <a:moveTo>
                  <a:pt x="1456" y="3280"/>
                </a:moveTo>
                <a:lnTo>
                  <a:pt x="1542" y="3280"/>
                </a:lnTo>
                <a:lnTo>
                  <a:pt x="1542" y="3415"/>
                </a:lnTo>
                <a:lnTo>
                  <a:pt x="1456" y="3415"/>
                </a:lnTo>
                <a:lnTo>
                  <a:pt x="1456" y="3280"/>
                </a:lnTo>
                <a:close/>
                <a:moveTo>
                  <a:pt x="1456" y="3439"/>
                </a:moveTo>
                <a:lnTo>
                  <a:pt x="1542" y="3439"/>
                </a:lnTo>
                <a:lnTo>
                  <a:pt x="1542" y="3574"/>
                </a:lnTo>
                <a:lnTo>
                  <a:pt x="1456" y="3574"/>
                </a:lnTo>
                <a:lnTo>
                  <a:pt x="1456" y="3439"/>
                </a:lnTo>
                <a:close/>
                <a:moveTo>
                  <a:pt x="1456" y="3610"/>
                </a:moveTo>
                <a:lnTo>
                  <a:pt x="1542" y="3610"/>
                </a:lnTo>
                <a:lnTo>
                  <a:pt x="1542" y="3745"/>
                </a:lnTo>
                <a:lnTo>
                  <a:pt x="1456" y="3745"/>
                </a:lnTo>
                <a:lnTo>
                  <a:pt x="1456" y="3610"/>
                </a:lnTo>
                <a:close/>
                <a:moveTo>
                  <a:pt x="1456" y="3769"/>
                </a:moveTo>
                <a:lnTo>
                  <a:pt x="1542" y="3769"/>
                </a:lnTo>
                <a:lnTo>
                  <a:pt x="1542" y="3818"/>
                </a:lnTo>
                <a:lnTo>
                  <a:pt x="1456" y="3818"/>
                </a:lnTo>
                <a:lnTo>
                  <a:pt x="1456" y="3769"/>
                </a:lnTo>
                <a:close/>
                <a:moveTo>
                  <a:pt x="942" y="2864"/>
                </a:moveTo>
                <a:lnTo>
                  <a:pt x="869" y="2790"/>
                </a:lnTo>
                <a:lnTo>
                  <a:pt x="1028" y="2790"/>
                </a:lnTo>
                <a:lnTo>
                  <a:pt x="942" y="2864"/>
                </a:lnTo>
                <a:close/>
                <a:moveTo>
                  <a:pt x="1052" y="2803"/>
                </a:moveTo>
                <a:lnTo>
                  <a:pt x="1052" y="2974"/>
                </a:lnTo>
                <a:lnTo>
                  <a:pt x="967" y="2888"/>
                </a:lnTo>
                <a:lnTo>
                  <a:pt x="1052" y="2803"/>
                </a:lnTo>
                <a:close/>
                <a:moveTo>
                  <a:pt x="1016" y="2986"/>
                </a:moveTo>
                <a:lnTo>
                  <a:pt x="869" y="2986"/>
                </a:lnTo>
                <a:lnTo>
                  <a:pt x="942" y="2913"/>
                </a:lnTo>
                <a:lnTo>
                  <a:pt x="1016" y="2986"/>
                </a:lnTo>
                <a:close/>
                <a:moveTo>
                  <a:pt x="1028" y="3047"/>
                </a:moveTo>
                <a:lnTo>
                  <a:pt x="942" y="3121"/>
                </a:lnTo>
                <a:lnTo>
                  <a:pt x="869" y="3047"/>
                </a:lnTo>
                <a:lnTo>
                  <a:pt x="1028" y="3047"/>
                </a:lnTo>
                <a:close/>
                <a:moveTo>
                  <a:pt x="1052" y="3060"/>
                </a:moveTo>
                <a:lnTo>
                  <a:pt x="1052" y="3231"/>
                </a:lnTo>
                <a:lnTo>
                  <a:pt x="967" y="3145"/>
                </a:lnTo>
                <a:lnTo>
                  <a:pt x="1052" y="3060"/>
                </a:lnTo>
                <a:close/>
                <a:moveTo>
                  <a:pt x="1016" y="3243"/>
                </a:moveTo>
                <a:lnTo>
                  <a:pt x="869" y="3243"/>
                </a:lnTo>
                <a:lnTo>
                  <a:pt x="942" y="3170"/>
                </a:lnTo>
                <a:lnTo>
                  <a:pt x="1016" y="3243"/>
                </a:lnTo>
                <a:close/>
                <a:moveTo>
                  <a:pt x="1028" y="3304"/>
                </a:moveTo>
                <a:lnTo>
                  <a:pt x="942" y="3378"/>
                </a:lnTo>
                <a:lnTo>
                  <a:pt x="869" y="3304"/>
                </a:lnTo>
                <a:lnTo>
                  <a:pt x="1028" y="3304"/>
                </a:lnTo>
                <a:close/>
                <a:moveTo>
                  <a:pt x="1052" y="3317"/>
                </a:moveTo>
                <a:lnTo>
                  <a:pt x="1052" y="3488"/>
                </a:lnTo>
                <a:lnTo>
                  <a:pt x="967" y="3402"/>
                </a:lnTo>
                <a:lnTo>
                  <a:pt x="1052" y="3317"/>
                </a:lnTo>
                <a:close/>
                <a:moveTo>
                  <a:pt x="1016" y="3500"/>
                </a:moveTo>
                <a:lnTo>
                  <a:pt x="869" y="3500"/>
                </a:lnTo>
                <a:lnTo>
                  <a:pt x="942" y="3427"/>
                </a:lnTo>
                <a:lnTo>
                  <a:pt x="1016" y="3500"/>
                </a:lnTo>
                <a:close/>
                <a:moveTo>
                  <a:pt x="1028" y="3561"/>
                </a:moveTo>
                <a:lnTo>
                  <a:pt x="942" y="3635"/>
                </a:lnTo>
                <a:lnTo>
                  <a:pt x="869" y="3561"/>
                </a:lnTo>
                <a:lnTo>
                  <a:pt x="1028" y="3561"/>
                </a:lnTo>
                <a:close/>
                <a:moveTo>
                  <a:pt x="1052" y="3574"/>
                </a:moveTo>
                <a:lnTo>
                  <a:pt x="1052" y="3745"/>
                </a:lnTo>
                <a:lnTo>
                  <a:pt x="967" y="3659"/>
                </a:lnTo>
                <a:lnTo>
                  <a:pt x="1052" y="3574"/>
                </a:lnTo>
                <a:close/>
                <a:moveTo>
                  <a:pt x="1028" y="1946"/>
                </a:moveTo>
                <a:lnTo>
                  <a:pt x="942" y="2032"/>
                </a:lnTo>
                <a:lnTo>
                  <a:pt x="869" y="1946"/>
                </a:lnTo>
                <a:lnTo>
                  <a:pt x="1028" y="1946"/>
                </a:lnTo>
                <a:close/>
                <a:moveTo>
                  <a:pt x="869" y="1897"/>
                </a:moveTo>
                <a:lnTo>
                  <a:pt x="942" y="1824"/>
                </a:lnTo>
                <a:lnTo>
                  <a:pt x="1016" y="1897"/>
                </a:lnTo>
                <a:lnTo>
                  <a:pt x="869" y="1897"/>
                </a:lnTo>
                <a:close/>
                <a:moveTo>
                  <a:pt x="1052" y="1970"/>
                </a:moveTo>
                <a:lnTo>
                  <a:pt x="1052" y="2130"/>
                </a:lnTo>
                <a:lnTo>
                  <a:pt x="967" y="2056"/>
                </a:lnTo>
                <a:lnTo>
                  <a:pt x="1052" y="1970"/>
                </a:lnTo>
                <a:close/>
                <a:moveTo>
                  <a:pt x="1016" y="2154"/>
                </a:moveTo>
                <a:lnTo>
                  <a:pt x="869" y="2154"/>
                </a:lnTo>
                <a:lnTo>
                  <a:pt x="942" y="2081"/>
                </a:lnTo>
                <a:lnTo>
                  <a:pt x="1016" y="2154"/>
                </a:lnTo>
                <a:close/>
                <a:moveTo>
                  <a:pt x="1028" y="2203"/>
                </a:moveTo>
                <a:lnTo>
                  <a:pt x="942" y="2289"/>
                </a:lnTo>
                <a:lnTo>
                  <a:pt x="869" y="2203"/>
                </a:lnTo>
                <a:lnTo>
                  <a:pt x="1028" y="2203"/>
                </a:lnTo>
                <a:close/>
                <a:moveTo>
                  <a:pt x="1052" y="2227"/>
                </a:moveTo>
                <a:lnTo>
                  <a:pt x="1052" y="2387"/>
                </a:lnTo>
                <a:lnTo>
                  <a:pt x="967" y="2313"/>
                </a:lnTo>
                <a:lnTo>
                  <a:pt x="1052" y="2227"/>
                </a:lnTo>
                <a:close/>
                <a:moveTo>
                  <a:pt x="1016" y="2411"/>
                </a:moveTo>
                <a:lnTo>
                  <a:pt x="869" y="2411"/>
                </a:lnTo>
                <a:lnTo>
                  <a:pt x="942" y="2338"/>
                </a:lnTo>
                <a:lnTo>
                  <a:pt x="1016" y="2411"/>
                </a:lnTo>
                <a:close/>
                <a:moveTo>
                  <a:pt x="1028" y="2460"/>
                </a:moveTo>
                <a:lnTo>
                  <a:pt x="942" y="2533"/>
                </a:lnTo>
                <a:lnTo>
                  <a:pt x="869" y="2460"/>
                </a:lnTo>
                <a:lnTo>
                  <a:pt x="1028" y="2460"/>
                </a:lnTo>
                <a:close/>
                <a:moveTo>
                  <a:pt x="1052" y="2484"/>
                </a:moveTo>
                <a:lnTo>
                  <a:pt x="1052" y="2644"/>
                </a:lnTo>
                <a:lnTo>
                  <a:pt x="967" y="2570"/>
                </a:lnTo>
                <a:lnTo>
                  <a:pt x="1052" y="2484"/>
                </a:lnTo>
                <a:close/>
                <a:moveTo>
                  <a:pt x="1052" y="1872"/>
                </a:moveTo>
                <a:lnTo>
                  <a:pt x="967" y="1799"/>
                </a:lnTo>
                <a:lnTo>
                  <a:pt x="1052" y="1713"/>
                </a:lnTo>
                <a:lnTo>
                  <a:pt x="1052" y="1872"/>
                </a:lnTo>
                <a:close/>
                <a:moveTo>
                  <a:pt x="942" y="1775"/>
                </a:moveTo>
                <a:lnTo>
                  <a:pt x="869" y="1689"/>
                </a:lnTo>
                <a:lnTo>
                  <a:pt x="1028" y="1689"/>
                </a:lnTo>
                <a:lnTo>
                  <a:pt x="942" y="1775"/>
                </a:lnTo>
                <a:close/>
                <a:moveTo>
                  <a:pt x="1003" y="392"/>
                </a:moveTo>
                <a:lnTo>
                  <a:pt x="942" y="453"/>
                </a:lnTo>
                <a:lnTo>
                  <a:pt x="881" y="392"/>
                </a:lnTo>
                <a:lnTo>
                  <a:pt x="1003" y="392"/>
                </a:lnTo>
                <a:close/>
                <a:moveTo>
                  <a:pt x="881" y="355"/>
                </a:moveTo>
                <a:lnTo>
                  <a:pt x="942" y="294"/>
                </a:lnTo>
                <a:lnTo>
                  <a:pt x="1003" y="355"/>
                </a:lnTo>
                <a:lnTo>
                  <a:pt x="881" y="355"/>
                </a:lnTo>
                <a:close/>
                <a:moveTo>
                  <a:pt x="1028" y="404"/>
                </a:moveTo>
                <a:lnTo>
                  <a:pt x="1028" y="538"/>
                </a:lnTo>
                <a:lnTo>
                  <a:pt x="967" y="465"/>
                </a:lnTo>
                <a:lnTo>
                  <a:pt x="1028" y="404"/>
                </a:lnTo>
                <a:close/>
                <a:moveTo>
                  <a:pt x="1003" y="551"/>
                </a:moveTo>
                <a:lnTo>
                  <a:pt x="881" y="551"/>
                </a:lnTo>
                <a:lnTo>
                  <a:pt x="942" y="490"/>
                </a:lnTo>
                <a:lnTo>
                  <a:pt x="1003" y="551"/>
                </a:lnTo>
                <a:close/>
                <a:moveTo>
                  <a:pt x="1028" y="930"/>
                </a:moveTo>
                <a:lnTo>
                  <a:pt x="1028" y="967"/>
                </a:lnTo>
                <a:lnTo>
                  <a:pt x="991" y="930"/>
                </a:lnTo>
                <a:lnTo>
                  <a:pt x="1028" y="930"/>
                </a:lnTo>
                <a:close/>
                <a:moveTo>
                  <a:pt x="954" y="930"/>
                </a:moveTo>
                <a:lnTo>
                  <a:pt x="991" y="967"/>
                </a:lnTo>
                <a:lnTo>
                  <a:pt x="881" y="967"/>
                </a:lnTo>
                <a:lnTo>
                  <a:pt x="930" y="930"/>
                </a:lnTo>
                <a:lnTo>
                  <a:pt x="954" y="930"/>
                </a:lnTo>
                <a:close/>
                <a:moveTo>
                  <a:pt x="1003" y="1016"/>
                </a:moveTo>
                <a:lnTo>
                  <a:pt x="942" y="1077"/>
                </a:lnTo>
                <a:lnTo>
                  <a:pt x="881" y="1016"/>
                </a:lnTo>
                <a:lnTo>
                  <a:pt x="1003" y="1016"/>
                </a:lnTo>
                <a:close/>
                <a:moveTo>
                  <a:pt x="1028" y="1028"/>
                </a:moveTo>
                <a:lnTo>
                  <a:pt x="1028" y="1163"/>
                </a:lnTo>
                <a:lnTo>
                  <a:pt x="954" y="1089"/>
                </a:lnTo>
                <a:lnTo>
                  <a:pt x="1028" y="1028"/>
                </a:lnTo>
                <a:close/>
                <a:moveTo>
                  <a:pt x="991" y="1163"/>
                </a:moveTo>
                <a:lnTo>
                  <a:pt x="881" y="1163"/>
                </a:lnTo>
                <a:lnTo>
                  <a:pt x="942" y="1114"/>
                </a:lnTo>
                <a:lnTo>
                  <a:pt x="991" y="1163"/>
                </a:lnTo>
                <a:close/>
                <a:moveTo>
                  <a:pt x="1003" y="1212"/>
                </a:moveTo>
                <a:lnTo>
                  <a:pt x="942" y="1273"/>
                </a:lnTo>
                <a:lnTo>
                  <a:pt x="881" y="1212"/>
                </a:lnTo>
                <a:lnTo>
                  <a:pt x="1003" y="1212"/>
                </a:lnTo>
                <a:close/>
                <a:moveTo>
                  <a:pt x="1028" y="1224"/>
                </a:moveTo>
                <a:lnTo>
                  <a:pt x="1028" y="1358"/>
                </a:lnTo>
                <a:lnTo>
                  <a:pt x="954" y="1285"/>
                </a:lnTo>
                <a:lnTo>
                  <a:pt x="1028" y="1224"/>
                </a:lnTo>
                <a:close/>
                <a:moveTo>
                  <a:pt x="991" y="1371"/>
                </a:moveTo>
                <a:lnTo>
                  <a:pt x="881" y="1371"/>
                </a:lnTo>
                <a:lnTo>
                  <a:pt x="942" y="1310"/>
                </a:lnTo>
                <a:lnTo>
                  <a:pt x="991" y="1371"/>
                </a:lnTo>
                <a:close/>
                <a:moveTo>
                  <a:pt x="1003" y="1407"/>
                </a:moveTo>
                <a:lnTo>
                  <a:pt x="942" y="1469"/>
                </a:lnTo>
                <a:lnTo>
                  <a:pt x="881" y="1407"/>
                </a:lnTo>
                <a:lnTo>
                  <a:pt x="1003" y="1407"/>
                </a:lnTo>
                <a:close/>
                <a:moveTo>
                  <a:pt x="1028" y="1420"/>
                </a:moveTo>
                <a:lnTo>
                  <a:pt x="1028" y="1554"/>
                </a:lnTo>
                <a:lnTo>
                  <a:pt x="954" y="1481"/>
                </a:lnTo>
                <a:lnTo>
                  <a:pt x="1028" y="1420"/>
                </a:lnTo>
                <a:close/>
                <a:moveTo>
                  <a:pt x="1028" y="343"/>
                </a:moveTo>
                <a:lnTo>
                  <a:pt x="967" y="269"/>
                </a:lnTo>
                <a:lnTo>
                  <a:pt x="1028" y="208"/>
                </a:lnTo>
                <a:lnTo>
                  <a:pt x="1028" y="343"/>
                </a:lnTo>
                <a:close/>
                <a:moveTo>
                  <a:pt x="1003" y="196"/>
                </a:moveTo>
                <a:lnTo>
                  <a:pt x="942" y="257"/>
                </a:lnTo>
                <a:lnTo>
                  <a:pt x="881" y="196"/>
                </a:lnTo>
                <a:lnTo>
                  <a:pt x="1003" y="196"/>
                </a:lnTo>
                <a:close/>
                <a:moveTo>
                  <a:pt x="857" y="208"/>
                </a:moveTo>
                <a:lnTo>
                  <a:pt x="918" y="269"/>
                </a:lnTo>
                <a:lnTo>
                  <a:pt x="857" y="330"/>
                </a:lnTo>
                <a:lnTo>
                  <a:pt x="857" y="208"/>
                </a:lnTo>
                <a:close/>
                <a:moveTo>
                  <a:pt x="857" y="404"/>
                </a:moveTo>
                <a:lnTo>
                  <a:pt x="918" y="465"/>
                </a:lnTo>
                <a:lnTo>
                  <a:pt x="857" y="526"/>
                </a:lnTo>
                <a:lnTo>
                  <a:pt x="857" y="404"/>
                </a:lnTo>
                <a:close/>
                <a:moveTo>
                  <a:pt x="857" y="930"/>
                </a:moveTo>
                <a:lnTo>
                  <a:pt x="881" y="930"/>
                </a:lnTo>
                <a:lnTo>
                  <a:pt x="857" y="955"/>
                </a:lnTo>
                <a:lnTo>
                  <a:pt x="857" y="930"/>
                </a:lnTo>
                <a:close/>
                <a:moveTo>
                  <a:pt x="857" y="1028"/>
                </a:moveTo>
                <a:lnTo>
                  <a:pt x="918" y="1089"/>
                </a:lnTo>
                <a:lnTo>
                  <a:pt x="857" y="1150"/>
                </a:lnTo>
                <a:lnTo>
                  <a:pt x="857" y="1028"/>
                </a:lnTo>
                <a:close/>
                <a:moveTo>
                  <a:pt x="857" y="1224"/>
                </a:moveTo>
                <a:lnTo>
                  <a:pt x="918" y="1285"/>
                </a:lnTo>
                <a:lnTo>
                  <a:pt x="857" y="1346"/>
                </a:lnTo>
                <a:lnTo>
                  <a:pt x="857" y="1224"/>
                </a:lnTo>
                <a:close/>
                <a:moveTo>
                  <a:pt x="857" y="1432"/>
                </a:moveTo>
                <a:lnTo>
                  <a:pt x="918" y="1481"/>
                </a:lnTo>
                <a:lnTo>
                  <a:pt x="857" y="1542"/>
                </a:lnTo>
                <a:lnTo>
                  <a:pt x="857" y="1432"/>
                </a:lnTo>
                <a:close/>
                <a:moveTo>
                  <a:pt x="857" y="1591"/>
                </a:moveTo>
                <a:lnTo>
                  <a:pt x="942" y="1505"/>
                </a:lnTo>
                <a:lnTo>
                  <a:pt x="1028" y="1591"/>
                </a:lnTo>
                <a:lnTo>
                  <a:pt x="1028" y="1640"/>
                </a:lnTo>
                <a:lnTo>
                  <a:pt x="857" y="1640"/>
                </a:lnTo>
                <a:lnTo>
                  <a:pt x="857" y="1591"/>
                </a:lnTo>
                <a:close/>
                <a:moveTo>
                  <a:pt x="844" y="1713"/>
                </a:moveTo>
                <a:lnTo>
                  <a:pt x="918" y="1799"/>
                </a:lnTo>
                <a:lnTo>
                  <a:pt x="844" y="1872"/>
                </a:lnTo>
                <a:lnTo>
                  <a:pt x="844" y="1713"/>
                </a:lnTo>
                <a:close/>
                <a:moveTo>
                  <a:pt x="844" y="1970"/>
                </a:moveTo>
                <a:lnTo>
                  <a:pt x="918" y="2056"/>
                </a:lnTo>
                <a:lnTo>
                  <a:pt x="844" y="2130"/>
                </a:lnTo>
                <a:lnTo>
                  <a:pt x="844" y="1970"/>
                </a:lnTo>
                <a:close/>
                <a:moveTo>
                  <a:pt x="844" y="2227"/>
                </a:moveTo>
                <a:lnTo>
                  <a:pt x="918" y="2313"/>
                </a:lnTo>
                <a:lnTo>
                  <a:pt x="844" y="2387"/>
                </a:lnTo>
                <a:lnTo>
                  <a:pt x="844" y="2227"/>
                </a:lnTo>
                <a:close/>
                <a:moveTo>
                  <a:pt x="844" y="2484"/>
                </a:moveTo>
                <a:lnTo>
                  <a:pt x="918" y="2570"/>
                </a:lnTo>
                <a:lnTo>
                  <a:pt x="844" y="2644"/>
                </a:lnTo>
                <a:lnTo>
                  <a:pt x="844" y="2484"/>
                </a:lnTo>
                <a:close/>
                <a:moveTo>
                  <a:pt x="844" y="2692"/>
                </a:moveTo>
                <a:lnTo>
                  <a:pt x="942" y="2595"/>
                </a:lnTo>
                <a:lnTo>
                  <a:pt x="1052" y="2705"/>
                </a:lnTo>
                <a:lnTo>
                  <a:pt x="1052" y="2705"/>
                </a:lnTo>
                <a:lnTo>
                  <a:pt x="1052" y="2729"/>
                </a:lnTo>
                <a:lnTo>
                  <a:pt x="844" y="2729"/>
                </a:lnTo>
                <a:lnTo>
                  <a:pt x="844" y="2692"/>
                </a:lnTo>
                <a:close/>
                <a:moveTo>
                  <a:pt x="844" y="2815"/>
                </a:moveTo>
                <a:lnTo>
                  <a:pt x="918" y="2888"/>
                </a:lnTo>
                <a:lnTo>
                  <a:pt x="844" y="2974"/>
                </a:lnTo>
                <a:lnTo>
                  <a:pt x="844" y="2815"/>
                </a:lnTo>
                <a:close/>
                <a:moveTo>
                  <a:pt x="844" y="3072"/>
                </a:moveTo>
                <a:lnTo>
                  <a:pt x="918" y="3145"/>
                </a:lnTo>
                <a:lnTo>
                  <a:pt x="844" y="3231"/>
                </a:lnTo>
                <a:lnTo>
                  <a:pt x="844" y="3072"/>
                </a:lnTo>
                <a:close/>
                <a:moveTo>
                  <a:pt x="844" y="3329"/>
                </a:moveTo>
                <a:lnTo>
                  <a:pt x="918" y="3402"/>
                </a:lnTo>
                <a:lnTo>
                  <a:pt x="844" y="3488"/>
                </a:lnTo>
                <a:lnTo>
                  <a:pt x="844" y="3329"/>
                </a:lnTo>
                <a:close/>
                <a:moveTo>
                  <a:pt x="844" y="3586"/>
                </a:moveTo>
                <a:lnTo>
                  <a:pt x="918" y="3659"/>
                </a:lnTo>
                <a:lnTo>
                  <a:pt x="844" y="3745"/>
                </a:lnTo>
                <a:lnTo>
                  <a:pt x="844" y="3586"/>
                </a:lnTo>
                <a:close/>
                <a:moveTo>
                  <a:pt x="281" y="673"/>
                </a:moveTo>
                <a:lnTo>
                  <a:pt x="306" y="673"/>
                </a:lnTo>
                <a:lnTo>
                  <a:pt x="281" y="710"/>
                </a:lnTo>
                <a:lnTo>
                  <a:pt x="281" y="673"/>
                </a:lnTo>
                <a:close/>
                <a:moveTo>
                  <a:pt x="281" y="808"/>
                </a:moveTo>
                <a:lnTo>
                  <a:pt x="281" y="771"/>
                </a:lnTo>
                <a:lnTo>
                  <a:pt x="318" y="808"/>
                </a:lnTo>
                <a:lnTo>
                  <a:pt x="281" y="808"/>
                </a:lnTo>
                <a:close/>
                <a:moveTo>
                  <a:pt x="330" y="783"/>
                </a:moveTo>
                <a:lnTo>
                  <a:pt x="281" y="734"/>
                </a:lnTo>
                <a:lnTo>
                  <a:pt x="330" y="685"/>
                </a:lnTo>
                <a:lnTo>
                  <a:pt x="330" y="783"/>
                </a:lnTo>
                <a:close/>
                <a:moveTo>
                  <a:pt x="416" y="734"/>
                </a:moveTo>
                <a:lnTo>
                  <a:pt x="367" y="783"/>
                </a:lnTo>
                <a:lnTo>
                  <a:pt x="367" y="685"/>
                </a:lnTo>
                <a:lnTo>
                  <a:pt x="416" y="734"/>
                </a:lnTo>
                <a:close/>
                <a:moveTo>
                  <a:pt x="379" y="673"/>
                </a:moveTo>
                <a:lnTo>
                  <a:pt x="477" y="673"/>
                </a:lnTo>
                <a:lnTo>
                  <a:pt x="428" y="722"/>
                </a:lnTo>
                <a:lnTo>
                  <a:pt x="379" y="673"/>
                </a:lnTo>
                <a:close/>
                <a:moveTo>
                  <a:pt x="367" y="808"/>
                </a:moveTo>
                <a:lnTo>
                  <a:pt x="428" y="747"/>
                </a:lnTo>
                <a:lnTo>
                  <a:pt x="477" y="808"/>
                </a:lnTo>
                <a:lnTo>
                  <a:pt x="367" y="808"/>
                </a:lnTo>
                <a:close/>
                <a:moveTo>
                  <a:pt x="489" y="783"/>
                </a:moveTo>
                <a:lnTo>
                  <a:pt x="440" y="734"/>
                </a:lnTo>
                <a:lnTo>
                  <a:pt x="489" y="685"/>
                </a:lnTo>
                <a:lnTo>
                  <a:pt x="489" y="783"/>
                </a:lnTo>
                <a:close/>
                <a:moveTo>
                  <a:pt x="575" y="734"/>
                </a:moveTo>
                <a:lnTo>
                  <a:pt x="526" y="783"/>
                </a:lnTo>
                <a:lnTo>
                  <a:pt x="526" y="685"/>
                </a:lnTo>
                <a:lnTo>
                  <a:pt x="575" y="734"/>
                </a:lnTo>
                <a:close/>
                <a:moveTo>
                  <a:pt x="538" y="673"/>
                </a:moveTo>
                <a:lnTo>
                  <a:pt x="648" y="673"/>
                </a:lnTo>
                <a:lnTo>
                  <a:pt x="587" y="722"/>
                </a:lnTo>
                <a:lnTo>
                  <a:pt x="538" y="673"/>
                </a:lnTo>
                <a:close/>
                <a:moveTo>
                  <a:pt x="538" y="808"/>
                </a:moveTo>
                <a:lnTo>
                  <a:pt x="587" y="747"/>
                </a:lnTo>
                <a:lnTo>
                  <a:pt x="648" y="808"/>
                </a:lnTo>
                <a:lnTo>
                  <a:pt x="538" y="808"/>
                </a:lnTo>
                <a:close/>
                <a:moveTo>
                  <a:pt x="661" y="783"/>
                </a:moveTo>
                <a:lnTo>
                  <a:pt x="612" y="734"/>
                </a:lnTo>
                <a:lnTo>
                  <a:pt x="661" y="685"/>
                </a:lnTo>
                <a:lnTo>
                  <a:pt x="661" y="783"/>
                </a:lnTo>
                <a:close/>
                <a:moveTo>
                  <a:pt x="771" y="808"/>
                </a:moveTo>
                <a:lnTo>
                  <a:pt x="697" y="808"/>
                </a:lnTo>
                <a:lnTo>
                  <a:pt x="759" y="747"/>
                </a:lnTo>
                <a:lnTo>
                  <a:pt x="771" y="771"/>
                </a:lnTo>
                <a:lnTo>
                  <a:pt x="771" y="808"/>
                </a:lnTo>
                <a:close/>
                <a:moveTo>
                  <a:pt x="697" y="783"/>
                </a:moveTo>
                <a:lnTo>
                  <a:pt x="697" y="685"/>
                </a:lnTo>
                <a:lnTo>
                  <a:pt x="746" y="734"/>
                </a:lnTo>
                <a:lnTo>
                  <a:pt x="697" y="783"/>
                </a:lnTo>
                <a:close/>
                <a:moveTo>
                  <a:pt x="771" y="698"/>
                </a:moveTo>
                <a:lnTo>
                  <a:pt x="759" y="722"/>
                </a:lnTo>
                <a:lnTo>
                  <a:pt x="710" y="673"/>
                </a:lnTo>
                <a:lnTo>
                  <a:pt x="771" y="673"/>
                </a:lnTo>
                <a:lnTo>
                  <a:pt x="771" y="698"/>
                </a:lnTo>
                <a:close/>
                <a:moveTo>
                  <a:pt x="771" y="551"/>
                </a:moveTo>
                <a:lnTo>
                  <a:pt x="771" y="636"/>
                </a:lnTo>
                <a:lnTo>
                  <a:pt x="697" y="636"/>
                </a:lnTo>
                <a:lnTo>
                  <a:pt x="661" y="636"/>
                </a:lnTo>
                <a:lnTo>
                  <a:pt x="526" y="636"/>
                </a:lnTo>
                <a:lnTo>
                  <a:pt x="489" y="636"/>
                </a:lnTo>
                <a:lnTo>
                  <a:pt x="367" y="636"/>
                </a:lnTo>
                <a:lnTo>
                  <a:pt x="330" y="636"/>
                </a:lnTo>
                <a:lnTo>
                  <a:pt x="318" y="636"/>
                </a:lnTo>
                <a:lnTo>
                  <a:pt x="820" y="171"/>
                </a:lnTo>
                <a:lnTo>
                  <a:pt x="820" y="196"/>
                </a:lnTo>
                <a:lnTo>
                  <a:pt x="820" y="355"/>
                </a:lnTo>
                <a:lnTo>
                  <a:pt x="820" y="392"/>
                </a:lnTo>
                <a:lnTo>
                  <a:pt x="820" y="551"/>
                </a:lnTo>
                <a:lnTo>
                  <a:pt x="820" y="551"/>
                </a:lnTo>
                <a:lnTo>
                  <a:pt x="771" y="551"/>
                </a:lnTo>
                <a:close/>
                <a:moveTo>
                  <a:pt x="844" y="3794"/>
                </a:moveTo>
                <a:lnTo>
                  <a:pt x="942" y="3684"/>
                </a:lnTo>
                <a:lnTo>
                  <a:pt x="1052" y="3794"/>
                </a:lnTo>
                <a:lnTo>
                  <a:pt x="1052" y="3794"/>
                </a:lnTo>
                <a:lnTo>
                  <a:pt x="1052" y="3818"/>
                </a:lnTo>
                <a:lnTo>
                  <a:pt x="844" y="3818"/>
                </a:lnTo>
                <a:lnTo>
                  <a:pt x="844" y="3794"/>
                </a:lnTo>
                <a:close/>
              </a:path>
            </a:pathLst>
          </a:custGeom>
          <a:solidFill>
            <a:srgbClr val="63666A"/>
          </a:solidFill>
          <a:ln>
            <a:noFill/>
          </a:ln>
        </p:spPr>
        <p:txBody>
          <a:bodyPr vert="horz" wrap="square" lIns="45720" tIns="22860" rIns="45720" bIns="22860" numCol="1" anchor="t" anchorCtr="0" compatLnSpc="1">
            <a:prstTxWarp prst="textNoShape">
              <a:avLst/>
            </a:prstTxWarp>
          </a:bodyPr>
          <a:lstStyle/>
          <a:p>
            <a:endParaRPr lang="th-TH" sz="900"/>
          </a:p>
        </p:txBody>
      </p:sp>
    </p:spTree>
    <p:extLst>
      <p:ext uri="{BB962C8B-B14F-4D97-AF65-F5344CB8AC3E}">
        <p14:creationId xmlns:p14="http://schemas.microsoft.com/office/powerpoint/2010/main" val="332998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hasCustomPrompt="1"/>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dirty="0"/>
              <a:t>Advanced graphics timesaver</a:t>
            </a:r>
          </a:p>
          <a:p>
            <a:pPr lvl="0"/>
            <a:endParaRPr lang="en-US" dirty="0"/>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77"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9" name="TextBox 8">
            <a:extLst>
              <a:ext uri="{FF2B5EF4-FFF2-40B4-BE49-F238E27FC236}">
                <a16:creationId xmlns:a16="http://schemas.microsoft.com/office/drawing/2014/main" id="{0577D2A3-6C5A-2444-AA59-749218F7F4E0}"/>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 2021. For information, contact Deloitte Global</a:t>
            </a:r>
          </a:p>
        </p:txBody>
      </p:sp>
      <p:sp>
        <p:nvSpPr>
          <p:cNvPr id="10" name="TextBox 9">
            <a:extLst>
              <a:ext uri="{FF2B5EF4-FFF2-40B4-BE49-F238E27FC236}">
                <a16:creationId xmlns:a16="http://schemas.microsoft.com/office/drawing/2014/main" id="{00C86A3D-99F6-5145-AAE2-E4DCFB9A8B86}"/>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Advanced graphics timesaver</a:t>
            </a:r>
          </a:p>
        </p:txBody>
      </p:sp>
      <p:sp>
        <p:nvSpPr>
          <p:cNvPr id="11" name="TextBox 10">
            <a:extLst>
              <a:ext uri="{FF2B5EF4-FFF2-40B4-BE49-F238E27FC236}">
                <a16:creationId xmlns:a16="http://schemas.microsoft.com/office/drawing/2014/main" id="{CC403D44-5C3F-9E42-A9BF-3F2D6C6B851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47" r:id="rId1"/>
    <p:sldLayoutId id="2147484001" r:id="rId2"/>
    <p:sldLayoutId id="2147484007" r:id="rId3"/>
    <p:sldLayoutId id="2147484014" r:id="rId4"/>
    <p:sldLayoutId id="2147484015" r:id="rId5"/>
    <p:sldLayoutId id="2147483977" r:id="rId6"/>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69" orient="horz" pos="2088" userDrawn="1">
          <p15:clr>
            <a:srgbClr val="F26B43"/>
          </p15:clr>
        </p15:guide>
        <p15:guide id="70" orient="horz" pos="1080" userDrawn="1">
          <p15:clr>
            <a:srgbClr val="F26B43"/>
          </p15:clr>
        </p15:guide>
        <p15:guide id="71" orient="horz" pos="216" userDrawn="1">
          <p15:clr>
            <a:srgbClr val="F26B43"/>
          </p15:clr>
        </p15:guide>
        <p15:guide id="72" pos="3840" userDrawn="1">
          <p15:clr>
            <a:srgbClr val="F26B43"/>
          </p15:clr>
        </p15:guide>
        <p15:guide id="73" pos="3936" userDrawn="1">
          <p15:clr>
            <a:srgbClr val="F26B43"/>
          </p15:clr>
        </p15:guide>
        <p15:guide id="74" pos="288" userDrawn="1">
          <p15:clr>
            <a:srgbClr val="F26B43"/>
          </p15:clr>
        </p15:guide>
        <p15:guide id="75" pos="4960" userDrawn="1">
          <p15:clr>
            <a:srgbClr val="F26B43"/>
          </p15:clr>
        </p15:guide>
        <p15:guide id="76" pos="3744" userDrawn="1">
          <p15:clr>
            <a:srgbClr val="F26B43"/>
          </p15:clr>
        </p15:guide>
        <p15:guide id="77" pos="2720" userDrawn="1">
          <p15:clr>
            <a:srgbClr val="F26B43"/>
          </p15:clr>
        </p15:guide>
        <p15:guide id="78" pos="2528" userDrawn="1">
          <p15:clr>
            <a:srgbClr val="F26B43"/>
          </p15:clr>
        </p15:guide>
        <p15:guide id="79" pos="1312" userDrawn="1">
          <p15:clr>
            <a:srgbClr val="F26B43"/>
          </p15:clr>
        </p15:guide>
        <p15:guide id="80" pos="1504" userDrawn="1">
          <p15:clr>
            <a:srgbClr val="F26B43"/>
          </p15:clr>
        </p15:guide>
        <p15:guide id="81" pos="5152" userDrawn="1">
          <p15:clr>
            <a:srgbClr val="F26B43"/>
          </p15:clr>
        </p15:guide>
        <p15:guide id="82" pos="6176" userDrawn="1">
          <p15:clr>
            <a:srgbClr val="F26B43"/>
          </p15:clr>
        </p15:guide>
        <p15:guide id="83" pos="6368" userDrawn="1">
          <p15:clr>
            <a:srgbClr val="F26B43"/>
          </p15:clr>
        </p15:guide>
        <p15:guide id="84" pos="7392" userDrawn="1">
          <p15:clr>
            <a:srgbClr val="F26B43"/>
          </p15:clr>
        </p15:guide>
        <p15:guide id="85" orient="horz" pos="21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xml"/><Relationship Id="rId1" Type="http://schemas.openxmlformats.org/officeDocument/2006/relationships/tags" Target="../tags/tag102.xml"/></Relationships>
</file>

<file path=ppt/slides/_rels/slide10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3.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3.xml"/><Relationship Id="rId1" Type="http://schemas.openxmlformats.org/officeDocument/2006/relationships/tags" Target="../tags/tag104.xml"/></Relationships>
</file>

<file path=ppt/slides/_rels/slide10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5.xml"/></Relationships>
</file>

<file path=ppt/slides/_rels/slide10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6.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3.xml"/><Relationship Id="rId1" Type="http://schemas.openxmlformats.org/officeDocument/2006/relationships/tags" Target="../tags/tag107.xml"/></Relationships>
</file>

<file path=ppt/slides/_rels/slide10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8.xml"/></Relationships>
</file>

<file path=ppt/slides/_rels/slide10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9.xml"/></Relationships>
</file>

<file path=ppt/slides/_rels/slide10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10.xml"/></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3.xml"/><Relationship Id="rId1" Type="http://schemas.openxmlformats.org/officeDocument/2006/relationships/tags" Target="../tags/tag111.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3.xml"/></Relationships>
</file>

<file path=ppt/slides/_rels/slide1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12.xm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113.xml"/></Relationships>
</file>

<file path=ppt/slides/_rels/slide11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14.xml"/></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3.xml"/><Relationship Id="rId1" Type="http://schemas.openxmlformats.org/officeDocument/2006/relationships/tags" Target="../tags/tag115.xml"/></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3.xml"/><Relationship Id="rId1" Type="http://schemas.openxmlformats.org/officeDocument/2006/relationships/tags" Target="../tags/tag116.xml"/></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4.xml"/><Relationship Id="rId1" Type="http://schemas.openxmlformats.org/officeDocument/2006/relationships/tags" Target="../tags/tag117.xml"/></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4.xml"/><Relationship Id="rId1" Type="http://schemas.openxmlformats.org/officeDocument/2006/relationships/tags" Target="../tags/tag118.xml"/></Relationships>
</file>

<file path=ppt/slides/_rels/slide11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19.xml"/></Relationships>
</file>

<file path=ppt/slides/_rels/slide11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20.xml"/></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3.xml"/><Relationship Id="rId1" Type="http://schemas.openxmlformats.org/officeDocument/2006/relationships/tags" Target="../tags/tag12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4.xml"/></Relationships>
</file>

<file path=ppt/slides/_rels/slide12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22.xml"/></Relationships>
</file>

<file path=ppt/slides/_rels/slide12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23.xml"/></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3.xml"/><Relationship Id="rId1" Type="http://schemas.openxmlformats.org/officeDocument/2006/relationships/tags" Target="../tags/tag124.xml"/></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3.xml"/><Relationship Id="rId1" Type="http://schemas.openxmlformats.org/officeDocument/2006/relationships/tags" Target="../tags/tag125.xml"/></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3.xml"/><Relationship Id="rId1" Type="http://schemas.openxmlformats.org/officeDocument/2006/relationships/tags" Target="../tags/tag126.xml"/></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4.xml"/><Relationship Id="rId1" Type="http://schemas.openxmlformats.org/officeDocument/2006/relationships/tags" Target="../tags/tag127.xml"/></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3.xml"/><Relationship Id="rId1" Type="http://schemas.openxmlformats.org/officeDocument/2006/relationships/tags" Target="../tags/tag128.xml"/></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3.xml"/><Relationship Id="rId1" Type="http://schemas.openxmlformats.org/officeDocument/2006/relationships/tags" Target="../tags/tag129.xml"/></Relationships>
</file>

<file path=ppt/slides/_rels/slide12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30.xml"/></Relationships>
</file>

<file path=ppt/slides/_rels/slide12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31.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3.xml"/><Relationship Id="rId1" Type="http://schemas.openxmlformats.org/officeDocument/2006/relationships/tags" Target="../tags/tag132.xml"/></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3.xml"/><Relationship Id="rId1" Type="http://schemas.openxmlformats.org/officeDocument/2006/relationships/tags" Target="../tags/tag133.xml"/></Relationships>
</file>

<file path=ppt/slides/_rels/slide13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34.xml"/></Relationships>
</file>

<file path=ppt/slides/_rels/slide13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35.xml"/></Relationships>
</file>

<file path=ppt/slides/_rels/slide13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36.xml"/></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3.xml"/><Relationship Id="rId1" Type="http://schemas.openxmlformats.org/officeDocument/2006/relationships/tags" Target="../tags/tag137.xml"/></Relationships>
</file>

<file path=ppt/slides/_rels/slide13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38.xml"/></Relationships>
</file>

<file path=ppt/slides/_rels/slide13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39.xml"/></Relationships>
</file>

<file path=ppt/slides/_rels/slide13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40.xml"/></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3.xml"/><Relationship Id="rId1" Type="http://schemas.openxmlformats.org/officeDocument/2006/relationships/tags" Target="../tags/tag141.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14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74.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14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3.xml"/><Relationship Id="rId1" Type="http://schemas.openxmlformats.org/officeDocument/2006/relationships/tags" Target="../tags/tag143.xml"/></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3.xml"/><Relationship Id="rId1" Type="http://schemas.openxmlformats.org/officeDocument/2006/relationships/tags" Target="../tags/tag144.xml"/></Relationships>
</file>

<file path=ppt/slides/_rels/slide14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45.xml"/></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3.xml"/><Relationship Id="rId1" Type="http://schemas.openxmlformats.org/officeDocument/2006/relationships/tags" Target="../tags/tag146.xml"/></Relationships>
</file>

<file path=ppt/slides/_rels/slide14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47.xml"/></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3.xml"/><Relationship Id="rId1" Type="http://schemas.openxmlformats.org/officeDocument/2006/relationships/tags" Target="../tags/tag148.xml"/></Relationships>
</file>

<file path=ppt/slides/_rels/slide1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9.xml"/><Relationship Id="rId1" Type="http://schemas.openxmlformats.org/officeDocument/2006/relationships/vmlDrawing" Target="../drawings/vmlDrawing2.v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79.xml"/></Relationships>
</file>

<file path=ppt/slides/_rels/slide14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50.xml"/></Relationships>
</file>

<file path=ppt/slides/_rels/slide14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5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5.png"/></Relationships>
</file>

<file path=ppt/slides/_rels/slide15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52.xml"/></Relationships>
</file>

<file path=ppt/slides/_rels/slide15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53.xml"/></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4.xml"/><Relationship Id="rId1" Type="http://schemas.openxmlformats.org/officeDocument/2006/relationships/tags" Target="../tags/tag154.xml"/></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3.xml"/><Relationship Id="rId1" Type="http://schemas.openxmlformats.org/officeDocument/2006/relationships/tags" Target="../tags/tag155.xml"/></Relationships>
</file>

<file path=ppt/slides/_rels/slide15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56.xml"/></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3.xml"/><Relationship Id="rId1" Type="http://schemas.openxmlformats.org/officeDocument/2006/relationships/tags" Target="../tags/tag157.xml"/></Relationships>
</file>

<file path=ppt/slides/_rels/slide15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58.xml"/></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3.xml"/><Relationship Id="rId1" Type="http://schemas.openxmlformats.org/officeDocument/2006/relationships/tags" Target="../tags/tag159.xml"/></Relationships>
</file>

<file path=ppt/slides/_rels/slide15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60.xml"/></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3.xml"/><Relationship Id="rId1" Type="http://schemas.openxmlformats.org/officeDocument/2006/relationships/tags" Target="../tags/tag16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8.xml"/></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3.xml"/><Relationship Id="rId1" Type="http://schemas.openxmlformats.org/officeDocument/2006/relationships/tags" Target="../tags/tag162.xml"/></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3.xml"/><Relationship Id="rId1" Type="http://schemas.openxmlformats.org/officeDocument/2006/relationships/tags" Target="../tags/tag163.xml"/></Relationships>
</file>

<file path=ppt/slides/_rels/slide16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64.xml"/></Relationships>
</file>

<file path=ppt/slides/_rels/slide16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65.xml"/></Relationships>
</file>

<file path=ppt/slides/_rels/slide16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66.xml"/></Relationships>
</file>

<file path=ppt/slides/_rels/slide16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67.xml"/></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3.xml"/><Relationship Id="rId1" Type="http://schemas.openxmlformats.org/officeDocument/2006/relationships/tags" Target="../tags/tag168.xml"/></Relationships>
</file>

<file path=ppt/slides/_rels/slide16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9.xml"/><Relationship Id="rId1" Type="http://schemas.openxmlformats.org/officeDocument/2006/relationships/vmlDrawing" Target="../drawings/vmlDrawing3.v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88.xml"/></Relationships>
</file>

<file path=ppt/slides/_rels/slide16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70.xml"/></Relationships>
</file>

<file path=ppt/slides/_rels/slide16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9.xml"/></Relationships>
</file>

<file path=ppt/slides/_rels/slide17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2.xml"/></Relationships>
</file>

<file path=ppt/slides/_rels/slide17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3.xml"/></Relationships>
</file>

<file path=ppt/slides/_rels/slide17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4.xml"/></Relationships>
</file>

<file path=ppt/slides/_rels/slide17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5.xml"/></Relationships>
</file>

<file path=ppt/slides/_rels/slide17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6.xml"/></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3.xml"/><Relationship Id="rId1" Type="http://schemas.openxmlformats.org/officeDocument/2006/relationships/tags" Target="../tags/tag177.xml"/></Relationships>
</file>

<file path=ppt/slides/_rels/slide17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8.xml"/></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3.xml"/><Relationship Id="rId1" Type="http://schemas.openxmlformats.org/officeDocument/2006/relationships/tags" Target="../tags/tag179.xml"/></Relationships>
</file>

<file path=ppt/slides/_rels/slide17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80.xml"/></Relationships>
</file>

<file path=ppt/slides/_rels/slide17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8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20.xml"/></Relationships>
</file>

<file path=ppt/slides/_rels/slide18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82.xml"/></Relationships>
</file>

<file path=ppt/slides/_rels/slide18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83.xml"/></Relationships>
</file>

<file path=ppt/slides/_rels/slide18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84.xml"/></Relationships>
</file>

<file path=ppt/slides/_rels/slide183.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4.xml"/><Relationship Id="rId1" Type="http://schemas.openxmlformats.org/officeDocument/2006/relationships/tags" Target="../tags/tag185.xml"/><Relationship Id="rId4" Type="http://schemas.openxmlformats.org/officeDocument/2006/relationships/image" Target="../media/image16.png"/></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3.xml"/><Relationship Id="rId1" Type="http://schemas.openxmlformats.org/officeDocument/2006/relationships/tags" Target="../tags/tag186.xml"/><Relationship Id="rId4" Type="http://schemas.openxmlformats.org/officeDocument/2006/relationships/image" Target="../media/image17.emf"/></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3.xml"/><Relationship Id="rId1" Type="http://schemas.openxmlformats.org/officeDocument/2006/relationships/tags" Target="../tags/tag187.xml"/></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4.xml"/><Relationship Id="rId1" Type="http://schemas.openxmlformats.org/officeDocument/2006/relationships/tags" Target="../tags/tag188.xml"/></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4.xml"/><Relationship Id="rId1" Type="http://schemas.openxmlformats.org/officeDocument/2006/relationships/tags" Target="../tags/tag189.xml"/></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4.xml"/><Relationship Id="rId1" Type="http://schemas.openxmlformats.org/officeDocument/2006/relationships/tags" Target="../tags/tag190.xml"/></Relationships>
</file>

<file path=ppt/slides/_rels/slide18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9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21.xml"/></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3.xml"/><Relationship Id="rId1" Type="http://schemas.openxmlformats.org/officeDocument/2006/relationships/tags" Target="../tags/tag192.xml"/><Relationship Id="rId4" Type="http://schemas.openxmlformats.org/officeDocument/2006/relationships/chart" Target="../charts/chart3.xml"/></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3.xml"/><Relationship Id="rId1" Type="http://schemas.openxmlformats.org/officeDocument/2006/relationships/tags" Target="../tags/tag193.xml"/><Relationship Id="rId4" Type="http://schemas.openxmlformats.org/officeDocument/2006/relationships/chart" Target="../charts/chart4.xml"/></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3.xml"/><Relationship Id="rId1" Type="http://schemas.openxmlformats.org/officeDocument/2006/relationships/tags" Target="../tags/tag194.xml"/><Relationship Id="rId4" Type="http://schemas.openxmlformats.org/officeDocument/2006/relationships/chart" Target="../charts/chart5.xml"/></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3.xml"/><Relationship Id="rId1" Type="http://schemas.openxmlformats.org/officeDocument/2006/relationships/tags" Target="../tags/tag195.xml"/></Relationships>
</file>

<file path=ppt/slides/_rels/slide19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96.xml"/></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4.xml"/><Relationship Id="rId1" Type="http://schemas.openxmlformats.org/officeDocument/2006/relationships/tags" Target="../tags/tag197.xml"/></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3.xml"/><Relationship Id="rId1" Type="http://schemas.openxmlformats.org/officeDocument/2006/relationships/tags" Target="../tags/tag198.xml"/></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3.xml"/><Relationship Id="rId1" Type="http://schemas.openxmlformats.org/officeDocument/2006/relationships/tags" Target="../tags/tag199.xml"/></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4.xml"/><Relationship Id="rId1" Type="http://schemas.openxmlformats.org/officeDocument/2006/relationships/tags" Target="../tags/tag200.xml"/></Relationships>
</file>

<file path=ppt/slides/_rels/slide199.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3.xml"/><Relationship Id="rId1" Type="http://schemas.openxmlformats.org/officeDocument/2006/relationships/tags" Target="../tags/tag201.xml"/></Relationships>
</file>

<file path=ppt/slides/_rels/slide2.xml.rels><?xml version="1.0" encoding="UTF-8" standalone="yes"?>
<Relationships xmlns="http://schemas.openxmlformats.org/package/2006/relationships"><Relationship Id="rId3" Type="http://schemas.openxmlformats.org/officeDocument/2006/relationships/hyperlink" Target="mailto:globalbrandingteam@deloitte.com" TargetMode="External"/><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hyperlink" Target="https://brandspace.deloitte.com/content/index/guid/ourbrand_inclusivity_accessibility?parent=2620" TargetMode="Externa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22.xml"/></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3.xml"/><Relationship Id="rId1" Type="http://schemas.openxmlformats.org/officeDocument/2006/relationships/tags" Target="../tags/tag202.xml"/></Relationships>
</file>

<file path=ppt/slides/_rels/slide201.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3.xml"/><Relationship Id="rId1" Type="http://schemas.openxmlformats.org/officeDocument/2006/relationships/tags" Target="../tags/tag203.xml"/></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3.xml"/><Relationship Id="rId1" Type="http://schemas.openxmlformats.org/officeDocument/2006/relationships/tags" Target="../tags/tag204.xml"/></Relationships>
</file>

<file path=ppt/slides/_rels/slide20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5.xml"/></Relationships>
</file>

<file path=ppt/slides/_rels/slide20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6.xml"/></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4.xml"/><Relationship Id="rId1" Type="http://schemas.openxmlformats.org/officeDocument/2006/relationships/tags" Target="../tags/tag207.xml"/></Relationships>
</file>

<file path=ppt/slides/_rels/slide20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8.xml"/></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3.xml"/><Relationship Id="rId1" Type="http://schemas.openxmlformats.org/officeDocument/2006/relationships/tags" Target="../tags/tag209.xml"/><Relationship Id="rId4" Type="http://schemas.openxmlformats.org/officeDocument/2006/relationships/image" Target="../media/image18.png"/></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3.xml"/><Relationship Id="rId1" Type="http://schemas.openxmlformats.org/officeDocument/2006/relationships/tags" Target="../tags/tag210.xml"/><Relationship Id="rId5" Type="http://schemas.openxmlformats.org/officeDocument/2006/relationships/image" Target="../media/image20.png"/><Relationship Id="rId4" Type="http://schemas.openxmlformats.org/officeDocument/2006/relationships/image" Target="../media/image19.png"/></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3.xml"/><Relationship Id="rId1" Type="http://schemas.openxmlformats.org/officeDocument/2006/relationships/tags" Target="../tags/tag211.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3.xml"/></Relationships>
</file>

<file path=ppt/slides/_rels/slide2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12.xml"/></Relationships>
</file>

<file path=ppt/slides/_rels/slide211.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3.xml"/><Relationship Id="rId1" Type="http://schemas.openxmlformats.org/officeDocument/2006/relationships/tags" Target="../tags/tag213.xml"/></Relationships>
</file>

<file path=ppt/slides/_rels/slide212.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3.xml"/><Relationship Id="rId1" Type="http://schemas.openxmlformats.org/officeDocument/2006/relationships/tags" Target="../tags/tag214.xml"/></Relationships>
</file>

<file path=ppt/slides/_rels/slide2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15.xml"/></Relationships>
</file>

<file path=ppt/slides/_rels/slide21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16.xml"/></Relationships>
</file>

<file path=ppt/slides/_rels/slide21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17.xml"/></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3.xml"/><Relationship Id="rId1" Type="http://schemas.openxmlformats.org/officeDocument/2006/relationships/tags" Target="../tags/tag218.xml"/></Relationships>
</file>

<file path=ppt/slides/_rels/slide217.xml.rels><?xml version="1.0" encoding="UTF-8" standalone="yes"?>
<Relationships xmlns="http://schemas.openxmlformats.org/package/2006/relationships"><Relationship Id="rId3" Type="http://schemas.openxmlformats.org/officeDocument/2006/relationships/tags" Target="../tags/tag221.xml"/><Relationship Id="rId7" Type="http://schemas.openxmlformats.org/officeDocument/2006/relationships/slideLayout" Target="../slideLayouts/slideLayout3.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5" Type="http://schemas.openxmlformats.org/officeDocument/2006/relationships/tags" Target="../tags/tag223.xml"/><Relationship Id="rId4" Type="http://schemas.openxmlformats.org/officeDocument/2006/relationships/tags" Target="../tags/tag222.xml"/></Relationships>
</file>

<file path=ppt/slides/_rels/slide21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25.xml"/></Relationships>
</file>

<file path=ppt/slides/_rels/slide21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26.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24.xml"/></Relationships>
</file>

<file path=ppt/slides/_rels/slide22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27.xml"/></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3.xml"/><Relationship Id="rId1" Type="http://schemas.openxmlformats.org/officeDocument/2006/relationships/tags" Target="../tags/tag228.xml"/></Relationships>
</file>

<file path=ppt/slides/_rels/slide22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29.xml"/></Relationships>
</file>

<file path=ppt/slides/_rels/slide22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30.xml"/></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4.xml"/><Relationship Id="rId1" Type="http://schemas.openxmlformats.org/officeDocument/2006/relationships/tags" Target="../tags/tag231.xml"/><Relationship Id="rId5" Type="http://schemas.openxmlformats.org/officeDocument/2006/relationships/image" Target="../media/image22.emf"/><Relationship Id="rId4" Type="http://schemas.openxmlformats.org/officeDocument/2006/relationships/image" Target="../media/image21.emf"/></Relationships>
</file>

<file path=ppt/slides/_rels/slide22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32.xml"/></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4.xml"/><Relationship Id="rId1" Type="http://schemas.openxmlformats.org/officeDocument/2006/relationships/tags" Target="../tags/tag233.xml"/></Relationships>
</file>

<file path=ppt/slides/_rels/slide22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slideLayout" Target="../slideLayouts/slideLayout3.xml"/><Relationship Id="rId1" Type="http://schemas.openxmlformats.org/officeDocument/2006/relationships/tags" Target="../tags/tag234.xml"/></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3.xml"/><Relationship Id="rId1" Type="http://schemas.openxmlformats.org/officeDocument/2006/relationships/tags" Target="../tags/tag235.xml"/></Relationships>
</file>

<file path=ppt/slides/_rels/slide22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3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25.xml"/></Relationships>
</file>

<file path=ppt/slides/_rels/slide23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37.xml"/></Relationships>
</file>

<file path=ppt/slides/_rels/slide23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38.xml"/></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3.xml"/><Relationship Id="rId1" Type="http://schemas.openxmlformats.org/officeDocument/2006/relationships/tags" Target="../tags/tag239.xml"/></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4.xml"/><Relationship Id="rId1" Type="http://schemas.openxmlformats.org/officeDocument/2006/relationships/tags" Target="../tags/tag240.xml"/></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4.xml"/><Relationship Id="rId1" Type="http://schemas.openxmlformats.org/officeDocument/2006/relationships/tags" Target="../tags/tag241.xml"/></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4.xml"/><Relationship Id="rId1" Type="http://schemas.openxmlformats.org/officeDocument/2006/relationships/tags" Target="../tags/tag242.xml"/></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4.xml"/><Relationship Id="rId1" Type="http://schemas.openxmlformats.org/officeDocument/2006/relationships/tags" Target="../tags/tag243.xml"/></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4.xml"/><Relationship Id="rId1" Type="http://schemas.openxmlformats.org/officeDocument/2006/relationships/tags" Target="../tags/tag244.xml"/></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4.xml"/><Relationship Id="rId1" Type="http://schemas.openxmlformats.org/officeDocument/2006/relationships/tags" Target="../tags/tag245.xml"/></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3.xml"/><Relationship Id="rId1" Type="http://schemas.openxmlformats.org/officeDocument/2006/relationships/tags" Target="../tags/tag246.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6.xml"/></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4.xml"/><Relationship Id="rId1" Type="http://schemas.openxmlformats.org/officeDocument/2006/relationships/tags" Target="../tags/tag247.xml"/></Relationships>
</file>

<file path=ppt/slides/_rels/slide241.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3.xml"/><Relationship Id="rId1" Type="http://schemas.openxmlformats.org/officeDocument/2006/relationships/tags" Target="../tags/tag248.xml"/></Relationships>
</file>

<file path=ppt/slides/_rels/slide24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49.xml"/></Relationships>
</file>

<file path=ppt/slides/_rels/slide24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50.xml"/></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3.xml"/><Relationship Id="rId1" Type="http://schemas.openxmlformats.org/officeDocument/2006/relationships/tags" Target="../tags/tag251.xml"/></Relationships>
</file>

<file path=ppt/slides/_rels/slide245.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3.xml"/><Relationship Id="rId1" Type="http://schemas.openxmlformats.org/officeDocument/2006/relationships/tags" Target="../tags/tag252.xml"/></Relationships>
</file>

<file path=ppt/slides/_rels/slide24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53.xml"/></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3.xml"/><Relationship Id="rId1" Type="http://schemas.openxmlformats.org/officeDocument/2006/relationships/tags" Target="../tags/tag254.xml"/></Relationships>
</file>

<file path=ppt/slides/_rels/slide24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55.xml"/></Relationships>
</file>

<file path=ppt/slides/_rels/slide24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5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27.xml"/></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3.xml"/><Relationship Id="rId1" Type="http://schemas.openxmlformats.org/officeDocument/2006/relationships/tags" Target="../tags/tag257.xml"/></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4.xml"/><Relationship Id="rId1" Type="http://schemas.openxmlformats.org/officeDocument/2006/relationships/tags" Target="../tags/tag258.xml"/><Relationship Id="rId4" Type="http://schemas.openxmlformats.org/officeDocument/2006/relationships/image" Target="../media/image24.png"/></Relationships>
</file>

<file path=ppt/slides/_rels/slide25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59.xml"/></Relationships>
</file>

<file path=ppt/slides/_rels/slide25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60.xml"/></Relationships>
</file>

<file path=ppt/slides/_rels/slide25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61.xml"/></Relationships>
</file>

<file path=ppt/slides/_rels/slide25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62.xml"/></Relationships>
</file>

<file path=ppt/slides/_rels/slide25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63.xml"/></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3.xml"/><Relationship Id="rId1" Type="http://schemas.openxmlformats.org/officeDocument/2006/relationships/tags" Target="../tags/tag264.xml"/></Relationships>
</file>

<file path=ppt/slides/_rels/slide258.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3.xml"/><Relationship Id="rId1" Type="http://schemas.openxmlformats.org/officeDocument/2006/relationships/tags" Target="../tags/tag265.xml"/></Relationships>
</file>

<file path=ppt/slides/_rels/slide259.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3.xml"/><Relationship Id="rId1" Type="http://schemas.openxmlformats.org/officeDocument/2006/relationships/tags" Target="../tags/tag266.xml"/><Relationship Id="rId4" Type="http://schemas.openxmlformats.org/officeDocument/2006/relationships/image" Target="../media/image25.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28.xml"/></Relationships>
</file>

<file path=ppt/slides/_rels/slide260.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4.xml"/><Relationship Id="rId1" Type="http://schemas.openxmlformats.org/officeDocument/2006/relationships/tags" Target="../tags/tag267.xml"/></Relationships>
</file>

<file path=ppt/slides/_rels/slide26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68.xml"/></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4.xml"/><Relationship Id="rId1" Type="http://schemas.openxmlformats.org/officeDocument/2006/relationships/tags" Target="../tags/tag269.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6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0.xml"/></Relationships>
</file>

<file path=ppt/slides/_rels/slide26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1.xml"/></Relationships>
</file>

<file path=ppt/slides/_rels/slide26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2.xml"/></Relationships>
</file>

<file path=ppt/slides/_rels/slide26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3.xml"/></Relationships>
</file>

<file path=ppt/slides/_rels/slide26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4.xml"/></Relationships>
</file>

<file path=ppt/slides/_rels/slide26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5.xml"/></Relationships>
</file>

<file path=ppt/slides/_rels/slide26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29.xml"/></Relationships>
</file>

<file path=ppt/slides/_rels/slide27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7.xml"/></Relationships>
</file>

<file path=ppt/slides/_rels/slide27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8.xml"/></Relationships>
</file>

<file path=ppt/slides/_rels/slide27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9.xml"/></Relationships>
</file>

<file path=ppt/slides/_rels/slide27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80.xml"/></Relationships>
</file>

<file path=ppt/slides/_rels/slide27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81.xml"/></Relationships>
</file>

<file path=ppt/slides/_rels/slide27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82.xml"/></Relationships>
</file>

<file path=ppt/slides/_rels/slide27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83.xml"/></Relationships>
</file>

<file path=ppt/slides/_rels/slide27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84.xml"/></Relationships>
</file>

<file path=ppt/slides/_rels/slide27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85.xml"/></Relationships>
</file>

<file path=ppt/slides/_rels/slide27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86.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0.xml"/></Relationships>
</file>

<file path=ppt/slides/_rels/slide28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87.xml"/></Relationships>
</file>

<file path=ppt/slides/_rels/slide281.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4.xml"/><Relationship Id="rId1" Type="http://schemas.openxmlformats.org/officeDocument/2006/relationships/tags" Target="../tags/tag288.xml"/><Relationship Id="rId4" Type="http://schemas.openxmlformats.org/officeDocument/2006/relationships/image" Target="../media/image29.png"/></Relationships>
</file>

<file path=ppt/slides/_rels/slide282.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4.xml"/><Relationship Id="rId1" Type="http://schemas.openxmlformats.org/officeDocument/2006/relationships/tags" Target="../tags/tag289.xml"/></Relationships>
</file>

<file path=ppt/slides/_rels/slide283.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4.xml"/><Relationship Id="rId1" Type="http://schemas.openxmlformats.org/officeDocument/2006/relationships/tags" Target="../tags/tag290.xml"/></Relationships>
</file>

<file path=ppt/slides/_rels/slide284.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4.xml"/><Relationship Id="rId1" Type="http://schemas.openxmlformats.org/officeDocument/2006/relationships/tags" Target="../tags/tag291.xml"/></Relationships>
</file>

<file path=ppt/slides/_rels/slide28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92.xml"/></Relationships>
</file>

<file path=ppt/slides/_rels/slide286.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4.xml"/><Relationship Id="rId1" Type="http://schemas.openxmlformats.org/officeDocument/2006/relationships/tags" Target="../tags/tag293.xml"/></Relationships>
</file>

<file path=ppt/slides/_rels/slide287.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3.xml"/><Relationship Id="rId1" Type="http://schemas.openxmlformats.org/officeDocument/2006/relationships/tags" Target="../tags/tag294.xml"/></Relationships>
</file>

<file path=ppt/slides/_rels/slide288.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3.xml"/><Relationship Id="rId1" Type="http://schemas.openxmlformats.org/officeDocument/2006/relationships/tags" Target="../tags/tag295.xml"/></Relationships>
</file>

<file path=ppt/slides/_rels/slide289.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3.xml"/><Relationship Id="rId1" Type="http://schemas.openxmlformats.org/officeDocument/2006/relationships/tags" Target="../tags/tag296.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1.xml"/></Relationships>
</file>

<file path=ppt/slides/_rels/slide290.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3.xml"/><Relationship Id="rId1" Type="http://schemas.openxmlformats.org/officeDocument/2006/relationships/tags" Target="../tags/tag297.xml"/></Relationships>
</file>

<file path=ppt/slides/_rels/slide291.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3.xml"/><Relationship Id="rId1" Type="http://schemas.openxmlformats.org/officeDocument/2006/relationships/tags" Target="../tags/tag298.xml"/></Relationships>
</file>

<file path=ppt/slides/_rels/slide292.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3.xml"/><Relationship Id="rId1" Type="http://schemas.openxmlformats.org/officeDocument/2006/relationships/tags" Target="../tags/tag299.xml"/></Relationships>
</file>

<file path=ppt/slides/_rels/slide293.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3.xml"/><Relationship Id="rId1" Type="http://schemas.openxmlformats.org/officeDocument/2006/relationships/tags" Target="../tags/tag300.xml"/></Relationships>
</file>

<file path=ppt/slides/_rels/slide29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01.xml"/></Relationships>
</file>

<file path=ppt/slides/_rels/slide295.xml.rels><?xml version="1.0" encoding="UTF-8" standalone="yes"?>
<Relationships xmlns="http://schemas.openxmlformats.org/package/2006/relationships"><Relationship Id="rId3" Type="http://schemas.openxmlformats.org/officeDocument/2006/relationships/tags" Target="../tags/tag303.xml"/><Relationship Id="rId7" Type="http://schemas.openxmlformats.org/officeDocument/2006/relationships/image" Target="../media/image30.emf"/><Relationship Id="rId2" Type="http://schemas.openxmlformats.org/officeDocument/2006/relationships/tags" Target="../tags/tag30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52.xml"/><Relationship Id="rId4" Type="http://schemas.openxmlformats.org/officeDocument/2006/relationships/slideLayout" Target="../slideLayouts/slideLayout3.xml"/></Relationships>
</file>

<file path=ppt/slides/_rels/slide296.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3.xml"/><Relationship Id="rId1" Type="http://schemas.openxmlformats.org/officeDocument/2006/relationships/tags" Target="../tags/tag304.xml"/></Relationships>
</file>

<file path=ppt/slides/_rels/slide297.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3.xml"/><Relationship Id="rId1" Type="http://schemas.openxmlformats.org/officeDocument/2006/relationships/tags" Target="../tags/tag305.xml"/></Relationships>
</file>

<file path=ppt/slides/_rels/slide29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06.xml"/></Relationships>
</file>

<file path=ppt/slides/_rels/slide299.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3.xml"/><Relationship Id="rId1" Type="http://schemas.openxmlformats.org/officeDocument/2006/relationships/tags" Target="../tags/tag30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2.xml"/></Relationships>
</file>

<file path=ppt/slides/_rels/slide30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08.xml"/></Relationships>
</file>

<file path=ppt/slides/_rels/slide301.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3.xml"/><Relationship Id="rId1" Type="http://schemas.openxmlformats.org/officeDocument/2006/relationships/tags" Target="../tags/tag309.xml"/></Relationships>
</file>

<file path=ppt/slides/_rels/slide302.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3.xml"/><Relationship Id="rId1" Type="http://schemas.openxmlformats.org/officeDocument/2006/relationships/tags" Target="../tags/tag310.xml"/></Relationships>
</file>

<file path=ppt/slides/_rels/slide303.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3.xml"/><Relationship Id="rId1" Type="http://schemas.openxmlformats.org/officeDocument/2006/relationships/tags" Target="../tags/tag311.xml"/></Relationships>
</file>

<file path=ppt/slides/_rels/slide30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12.xml"/></Relationships>
</file>

<file path=ppt/slides/_rels/slide30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13.xml"/></Relationships>
</file>

<file path=ppt/slides/_rels/slide30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14.xml"/></Relationships>
</file>

<file path=ppt/slides/_rels/slide30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15.xml"/></Relationships>
</file>

<file path=ppt/slides/_rels/slide30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16.xml"/></Relationships>
</file>

<file path=ppt/slides/_rels/slide30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17.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3.xml"/></Relationships>
</file>

<file path=ppt/slides/_rels/slide3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18.xml"/></Relationships>
</file>

<file path=ppt/slides/_rels/slide31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19.xml"/></Relationships>
</file>

<file path=ppt/slides/_rels/slide312.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4.xml"/><Relationship Id="rId1" Type="http://schemas.openxmlformats.org/officeDocument/2006/relationships/tags" Target="../tags/tag320.xml"/></Relationships>
</file>

<file path=ppt/slides/_rels/slide313.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4.xml"/><Relationship Id="rId1" Type="http://schemas.openxmlformats.org/officeDocument/2006/relationships/tags" Target="../tags/tag321.xml"/></Relationships>
</file>

<file path=ppt/slides/_rels/slide314.xml.rels><?xml version="1.0" encoding="UTF-8" standalone="yes"?>
<Relationships xmlns="http://schemas.openxmlformats.org/package/2006/relationships"><Relationship Id="rId3" Type="http://schemas.openxmlformats.org/officeDocument/2006/relationships/tags" Target="../tags/tag324.xml"/><Relationship Id="rId2" Type="http://schemas.openxmlformats.org/officeDocument/2006/relationships/tags" Target="../tags/tag323.xml"/><Relationship Id="rId1" Type="http://schemas.openxmlformats.org/officeDocument/2006/relationships/tags" Target="../tags/tag322.xml"/><Relationship Id="rId4" Type="http://schemas.openxmlformats.org/officeDocument/2006/relationships/slideLayout" Target="../slideLayouts/slideLayout3.xml"/></Relationships>
</file>

<file path=ppt/slides/_rels/slide315.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3.xml"/><Relationship Id="rId1" Type="http://schemas.openxmlformats.org/officeDocument/2006/relationships/tags" Target="../tags/tag325.xml"/></Relationships>
</file>

<file path=ppt/slides/_rels/slide31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26.xml"/></Relationships>
</file>

<file path=ppt/slides/_rels/slide317.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3.xml"/><Relationship Id="rId1" Type="http://schemas.openxmlformats.org/officeDocument/2006/relationships/tags" Target="../tags/tag327.xml"/></Relationships>
</file>

<file path=ppt/slides/_rels/slide318.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3.xml"/><Relationship Id="rId1" Type="http://schemas.openxmlformats.org/officeDocument/2006/relationships/tags" Target="../tags/tag328.xml"/></Relationships>
</file>

<file path=ppt/slides/_rels/slide319.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4.xml"/><Relationship Id="rId1" Type="http://schemas.openxmlformats.org/officeDocument/2006/relationships/tags" Target="../tags/tag329.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34.xml"/></Relationships>
</file>

<file path=ppt/slides/_rels/slide320.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3.xml"/><Relationship Id="rId1" Type="http://schemas.openxmlformats.org/officeDocument/2006/relationships/tags" Target="../tags/tag330.xml"/><Relationship Id="rId5" Type="http://schemas.openxmlformats.org/officeDocument/2006/relationships/image" Target="../media/image32.emf"/><Relationship Id="rId4" Type="http://schemas.openxmlformats.org/officeDocument/2006/relationships/image" Target="../media/image31.emf"/></Relationships>
</file>

<file path=ppt/slides/_rels/slide321.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slideLayout" Target="../slideLayouts/slideLayout6.xml"/><Relationship Id="rId1" Type="http://schemas.openxmlformats.org/officeDocument/2006/relationships/tags" Target="../tags/tag331.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5.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37.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39.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4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41.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2.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3.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4.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5.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6.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47.xml"/><Relationship Id="rId5" Type="http://schemas.openxmlformats.org/officeDocument/2006/relationships/image" Target="../media/image7.png"/><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49.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50.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51.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5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5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54.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55.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6.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57.xml"/></Relationships>
</file>

<file path=ppt/slides/_rels/slide5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8.xml"/></Relationships>
</file>

<file path=ppt/slides/_rels/slide5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9.xml"/></Relationships>
</file>

<file path=ppt/slides/_rels/slide5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Layout" Target="../slideLayouts/slideLayout3.xml"/><Relationship Id="rId1" Type="http://schemas.openxmlformats.org/officeDocument/2006/relationships/tags" Target="../tags/tag60.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61.xml"/></Relationships>
</file>

<file path=ppt/slides/_rels/slide6.xml.rels><?xml version="1.0" encoding="UTF-8" standalone="yes"?>
<Relationships xmlns="http://schemas.openxmlformats.org/package/2006/relationships"><Relationship Id="rId3" Type="http://schemas.openxmlformats.org/officeDocument/2006/relationships/video" Target="../media/media1.mp4"/><Relationship Id="rId2" Type="http://schemas.microsoft.com/office/2007/relationships/media" Target="../media/media1.mp4"/><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2.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63.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64.xml"/></Relationships>
</file>

<file path=ppt/slides/_rels/slide6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5.xml"/></Relationships>
</file>

<file path=ppt/slides/_rels/slide6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6.xml"/></Relationships>
</file>

<file path=ppt/slides/_rels/slide6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7.xml"/></Relationships>
</file>

<file path=ppt/slides/_rels/slide6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8.xml"/></Relationships>
</file>

<file path=ppt/slides/_rels/slide6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9.xml"/></Relationships>
</file>

<file path=ppt/slides/_rels/slide6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0.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71.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72.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xml"/><Relationship Id="rId1" Type="http://schemas.openxmlformats.org/officeDocument/2006/relationships/tags" Target="../tags/tag73.xml"/></Relationships>
</file>

<file path=ppt/slides/_rels/slide7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4.xml"/></Relationships>
</file>

<file path=ppt/slides/_rels/slide7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5.xml"/></Relationships>
</file>

<file path=ppt/slides/_rels/slide7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6.xml"/></Relationships>
</file>

<file path=ppt/slides/_rels/slide7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7.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78.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xml"/><Relationship Id="rId1" Type="http://schemas.openxmlformats.org/officeDocument/2006/relationships/tags" Target="../tags/tag79.xml"/></Relationships>
</file>

<file path=ppt/slides/_rels/slide7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0.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xml"/><Relationship Id="rId1" Type="http://schemas.openxmlformats.org/officeDocument/2006/relationships/tags" Target="../tags/tag81.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8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2.xml"/></Relationships>
</file>

<file path=ppt/slides/_rels/slide8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3.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xml"/><Relationship Id="rId1" Type="http://schemas.openxmlformats.org/officeDocument/2006/relationships/tags" Target="../tags/tag84.xml"/></Relationships>
</file>

<file path=ppt/slides/_rels/slide8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5.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xml"/><Relationship Id="rId1" Type="http://schemas.openxmlformats.org/officeDocument/2006/relationships/tags" Target="../tags/tag86.xml"/><Relationship Id="rId4" Type="http://schemas.openxmlformats.org/officeDocument/2006/relationships/chart" Target="../charts/chart1.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3.xml"/><Relationship Id="rId1" Type="http://schemas.openxmlformats.org/officeDocument/2006/relationships/tags" Target="../tags/tag87.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88.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tags" Target="../tags/tag89.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xml"/><Relationship Id="rId1" Type="http://schemas.openxmlformats.org/officeDocument/2006/relationships/tags" Target="../tags/tag90.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91.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1.xml"/></Relationships>
</file>

<file path=ppt/slides/_rels/slide9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2.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xml"/><Relationship Id="rId1" Type="http://schemas.openxmlformats.org/officeDocument/2006/relationships/tags" Target="../tags/tag93.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3.xml"/><Relationship Id="rId1" Type="http://schemas.openxmlformats.org/officeDocument/2006/relationships/tags" Target="../tags/tag94.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xml"/><Relationship Id="rId1" Type="http://schemas.openxmlformats.org/officeDocument/2006/relationships/tags" Target="../tags/tag95.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xml"/><Relationship Id="rId1" Type="http://schemas.openxmlformats.org/officeDocument/2006/relationships/tags" Target="../tags/tag96.xml"/><Relationship Id="rId4" Type="http://schemas.openxmlformats.org/officeDocument/2006/relationships/chart" Target="../charts/chart2.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xml"/><Relationship Id="rId1" Type="http://schemas.openxmlformats.org/officeDocument/2006/relationships/tags" Target="../tags/tag97.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xml"/><Relationship Id="rId1" Type="http://schemas.openxmlformats.org/officeDocument/2006/relationships/tags" Target="../tags/tag98.xml"/></Relationships>
</file>

<file path=ppt/slides/_rels/slide9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9.xml"/></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xml"/><Relationship Id="rId1" Type="http://schemas.openxmlformats.org/officeDocument/2006/relationships/tags" Target="../tags/tag100.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xml"/><Relationship Id="rId1" Type="http://schemas.openxmlformats.org/officeDocument/2006/relationships/tags" Target="../tags/tag10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E327673-1413-4DDD-9B6F-FD99E249528C}"/>
              </a:ext>
            </a:extLst>
          </p:cNvPr>
          <p:cNvPicPr>
            <a:picLocks noChangeAspect="1"/>
          </p:cNvPicPr>
          <p:nvPr/>
        </p:nvPicPr>
        <p:blipFill>
          <a:blip r:embed="rId4"/>
          <a:srcRect/>
          <a:stretch/>
        </p:blipFill>
        <p:spPr>
          <a:xfrm>
            <a:off x="10694852" y="5659120"/>
            <a:ext cx="1198880" cy="1198880"/>
          </a:xfrm>
          <a:prstGeom prst="rect">
            <a:avLst/>
          </a:prstGeom>
        </p:spPr>
      </p:pic>
      <p:sp>
        <p:nvSpPr>
          <p:cNvPr id="9" name="Title 2">
            <a:extLst>
              <a:ext uri="{FF2B5EF4-FFF2-40B4-BE49-F238E27FC236}">
                <a16:creationId xmlns:a16="http://schemas.microsoft.com/office/drawing/2014/main" id="{0BB0C0D3-0E6F-764F-ADFD-A1A8DF9DCF8E}"/>
              </a:ext>
            </a:extLst>
          </p:cNvPr>
          <p:cNvSpPr txBox="1">
            <a:spLocks/>
          </p:cNvSpPr>
          <p:nvPr/>
        </p:nvSpPr>
        <p:spPr bwMode="gray">
          <a:xfrm>
            <a:off x="501651" y="5186207"/>
            <a:ext cx="4446269" cy="895983"/>
          </a:xfrm>
          <a:prstGeom prst="rect">
            <a:avLst/>
          </a:prstGeom>
        </p:spPr>
        <p:txBody>
          <a:bodyPr vert="horz" lIns="0" tIns="0" rIns="0" bIns="0" rtlCol="0" anchor="b" anchorCtr="0">
            <a:noAutofit/>
          </a:bodyPr>
          <a:lstStyle>
            <a:lvl1pPr algn="l" defTabSz="6858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dirty="0"/>
              <a:t>Advanced graphics timesaver</a:t>
            </a:r>
            <a:br>
              <a:rPr lang="en-GB" dirty="0"/>
            </a:br>
            <a:r>
              <a:rPr lang="en-US" dirty="0">
                <a:solidFill>
                  <a:schemeClr val="bg1"/>
                </a:solidFill>
              </a:rPr>
              <a:t>Charts, tables, </a:t>
            </a:r>
          </a:p>
          <a:p>
            <a:r>
              <a:rPr lang="en-US" dirty="0">
                <a:solidFill>
                  <a:schemeClr val="bg1"/>
                </a:solidFill>
              </a:rPr>
              <a:t>diagrams, and more</a:t>
            </a:r>
            <a:endParaRPr lang="en-GB" dirty="0">
              <a:solidFill>
                <a:schemeClr val="bg1"/>
              </a:solidFill>
            </a:endParaRPr>
          </a:p>
        </p:txBody>
      </p:sp>
      <p:sp>
        <p:nvSpPr>
          <p:cNvPr id="10" name="Text Placeholder 4">
            <a:extLst>
              <a:ext uri="{FF2B5EF4-FFF2-40B4-BE49-F238E27FC236}">
                <a16:creationId xmlns:a16="http://schemas.microsoft.com/office/drawing/2014/main" id="{6E62AF7C-D11A-9D40-92E3-A706C56E95D6}"/>
              </a:ext>
            </a:extLst>
          </p:cNvPr>
          <p:cNvSpPr txBox="1">
            <a:spLocks/>
          </p:cNvSpPr>
          <p:nvPr/>
        </p:nvSpPr>
        <p:spPr>
          <a:xfrm>
            <a:off x="501651" y="6381750"/>
            <a:ext cx="4446269" cy="273050"/>
          </a:xfrm>
          <a:prstGeom prst="rect">
            <a:avLst/>
          </a:prstGeom>
        </p:spPr>
        <p:txBody>
          <a:bodyPr vert="horz" lIns="0" tIns="0" rIns="0" bIns="0" rtlCol="0" anchor="t">
            <a:noAutofit/>
          </a:bodyPr>
          <a:lstStyle>
            <a:lvl1pPr marL="0" indent="0" algn="l" defTabSz="6858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bg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bg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bg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bg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cap="all" dirty="0"/>
              <a:t>July 2021</a:t>
            </a:r>
          </a:p>
        </p:txBody>
      </p:sp>
      <p:pic>
        <p:nvPicPr>
          <p:cNvPr id="17" name="Picture 16">
            <a:extLst>
              <a:ext uri="{FF2B5EF4-FFF2-40B4-BE49-F238E27FC236}">
                <a16:creationId xmlns:a16="http://schemas.microsoft.com/office/drawing/2014/main" id="{025D5513-8A1E-B449-A924-1FE6AD638960}"/>
              </a:ext>
            </a:extLst>
          </p:cNvPr>
          <p:cNvPicPr>
            <a:picLocks noChangeAspect="1"/>
          </p:cNvPicPr>
          <p:nvPr/>
        </p:nvPicPr>
        <p:blipFill>
          <a:blip r:embed="rId5"/>
          <a:stretch>
            <a:fillRect/>
          </a:stretch>
        </p:blipFill>
        <p:spPr>
          <a:xfrm>
            <a:off x="4065494" y="1236232"/>
            <a:ext cx="4282440" cy="4282440"/>
          </a:xfrm>
          <a:prstGeom prst="rect">
            <a:avLst/>
          </a:prstGeom>
        </p:spPr>
      </p:pic>
    </p:spTree>
    <p:custDataLst>
      <p:tags r:id="rId1"/>
    </p:custDataLst>
    <p:extLst>
      <p:ext uri="{BB962C8B-B14F-4D97-AF65-F5344CB8AC3E}">
        <p14:creationId xmlns:p14="http://schemas.microsoft.com/office/powerpoint/2010/main" val="14852231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590368" y="2371031"/>
            <a:ext cx="2175328" cy="1356269"/>
            <a:chOff x="590368" y="2371031"/>
            <a:chExt cx="2175328" cy="1356269"/>
          </a:xfrm>
        </p:grpSpPr>
        <p:sp>
          <p:nvSpPr>
            <p:cNvPr id="102" name="Rounded Rectangle 101">
              <a:extLst>
                <a:ext uri="{FF2B5EF4-FFF2-40B4-BE49-F238E27FC236}">
                  <a16:creationId xmlns:a16="http://schemas.microsoft.com/office/drawing/2014/main" id="{66D769F5-9CE5-134D-AF85-DBAE3FCD3DE0}"/>
                </a:ext>
              </a:extLst>
            </p:cNvPr>
            <p:cNvSpPr/>
            <p:nvPr/>
          </p:nvSpPr>
          <p:spPr bwMode="gray">
            <a:xfrm>
              <a:off x="1638801" y="2872388"/>
              <a:ext cx="78461" cy="854912"/>
            </a:xfrm>
            <a:prstGeom prst="roundRect">
              <a:avLst/>
            </a:prstGeom>
            <a:solidFill>
              <a:srgbClr val="046A38"/>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Verdana"/>
              </a:endParaRPr>
            </a:p>
          </p:txBody>
        </p:sp>
        <p:grpSp>
          <p:nvGrpSpPr>
            <p:cNvPr id="3" name="Group 2"/>
            <p:cNvGrpSpPr/>
            <p:nvPr/>
          </p:nvGrpSpPr>
          <p:grpSpPr>
            <a:xfrm>
              <a:off x="590368" y="2371031"/>
              <a:ext cx="2175328" cy="695639"/>
              <a:chOff x="590368" y="2371031"/>
              <a:chExt cx="2175328" cy="695639"/>
            </a:xfrm>
          </p:grpSpPr>
          <p:sp>
            <p:nvSpPr>
              <p:cNvPr id="116" name="Isosceles Triangle 19">
                <a:extLst>
                  <a:ext uri="{FF2B5EF4-FFF2-40B4-BE49-F238E27FC236}">
                    <a16:creationId xmlns:a16="http://schemas.microsoft.com/office/drawing/2014/main" id="{3580654C-BB53-264B-964C-35B0B125B33A}"/>
                  </a:ext>
                </a:extLst>
              </p:cNvPr>
              <p:cNvSpPr/>
              <p:nvPr/>
            </p:nvSpPr>
            <p:spPr bwMode="gray">
              <a:xfrm rot="5400000">
                <a:off x="2381547" y="2682522"/>
                <a:ext cx="695639" cy="72658"/>
              </a:xfrm>
              <a:prstGeom prst="triangle">
                <a:avLst/>
              </a:prstGeom>
              <a:solidFill>
                <a:srgbClr val="046A38"/>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mj-lt"/>
                </a:endParaRPr>
              </a:p>
            </p:txBody>
          </p:sp>
          <p:sp>
            <p:nvSpPr>
              <p:cNvPr id="117" name="Chevron 116">
                <a:extLst>
                  <a:ext uri="{FF2B5EF4-FFF2-40B4-BE49-F238E27FC236}">
                    <a16:creationId xmlns:a16="http://schemas.microsoft.com/office/drawing/2014/main" id="{A978BC70-B789-3440-8953-4227055BCB54}"/>
                  </a:ext>
                </a:extLst>
              </p:cNvPr>
              <p:cNvSpPr/>
              <p:nvPr/>
            </p:nvSpPr>
            <p:spPr bwMode="gray">
              <a:xfrm>
                <a:off x="590368" y="2461681"/>
                <a:ext cx="2175328" cy="514338"/>
              </a:xfrm>
              <a:prstGeom prst="chevron">
                <a:avLst>
                  <a:gd name="adj" fmla="val 13377"/>
                </a:avLst>
              </a:prstGeom>
              <a:solidFill>
                <a:srgbClr val="046A38"/>
              </a:solidFill>
              <a:ln w="19050" algn="ctr">
                <a:noFill/>
                <a:miter lim="800000"/>
                <a:headEnd/>
                <a:tailEnd/>
              </a:ln>
            </p:spPr>
            <p:txBody>
              <a:bodyPr wrap="square" lIns="88900" tIns="88900" rIns="88900" bIns="88900" rtlCol="0" anchor="ctr"/>
              <a:lstStyle/>
              <a:p>
                <a:pPr algn="ctr">
                  <a:defRPr/>
                </a:pPr>
                <a:r>
                  <a:rPr lang="da-DK" sz="1300" kern="0" dirty="0">
                    <a:solidFill>
                      <a:srgbClr val="FFFFFF"/>
                    </a:solidFill>
                    <a:latin typeface="+mj-lt"/>
                  </a:rPr>
                  <a:t>Lorem ipsum dolor sit amet</a:t>
                </a:r>
                <a:endParaRPr lang="en-US" sz="1300" kern="0" dirty="0">
                  <a:solidFill>
                    <a:srgbClr val="FFFFFF"/>
                  </a:solidFill>
                  <a:latin typeface="+mj-lt"/>
                </a:endParaRPr>
              </a:p>
            </p:txBody>
          </p:sp>
        </p:grpSp>
      </p:grpSp>
      <p:grpSp>
        <p:nvGrpSpPr>
          <p:cNvPr id="11" name="Group 10"/>
          <p:cNvGrpSpPr/>
          <p:nvPr/>
        </p:nvGrpSpPr>
        <p:grpSpPr>
          <a:xfrm>
            <a:off x="2794838" y="2371031"/>
            <a:ext cx="2175328" cy="1356269"/>
            <a:chOff x="2794838" y="2371031"/>
            <a:chExt cx="2175328" cy="1356269"/>
          </a:xfrm>
        </p:grpSpPr>
        <p:sp>
          <p:nvSpPr>
            <p:cNvPr id="105" name="Rounded Rectangle 104">
              <a:extLst>
                <a:ext uri="{FF2B5EF4-FFF2-40B4-BE49-F238E27FC236}">
                  <a16:creationId xmlns:a16="http://schemas.microsoft.com/office/drawing/2014/main" id="{2AD0746D-5A34-964D-82ED-9455DFDADCE2}"/>
                </a:ext>
              </a:extLst>
            </p:cNvPr>
            <p:cNvSpPr/>
            <p:nvPr/>
          </p:nvSpPr>
          <p:spPr bwMode="gray">
            <a:xfrm>
              <a:off x="3843272" y="2872388"/>
              <a:ext cx="78461" cy="854912"/>
            </a:xfrm>
            <a:prstGeom prst="roundRect">
              <a:avLst/>
            </a:prstGeom>
            <a:solidFill>
              <a:srgbClr val="009A44"/>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Verdana"/>
              </a:endParaRPr>
            </a:p>
          </p:txBody>
        </p:sp>
        <p:grpSp>
          <p:nvGrpSpPr>
            <p:cNvPr id="4" name="Group 3"/>
            <p:cNvGrpSpPr/>
            <p:nvPr/>
          </p:nvGrpSpPr>
          <p:grpSpPr>
            <a:xfrm>
              <a:off x="2794838" y="2371031"/>
              <a:ext cx="2175328" cy="695639"/>
              <a:chOff x="2794838" y="2371031"/>
              <a:chExt cx="2175328" cy="695639"/>
            </a:xfrm>
          </p:grpSpPr>
          <p:sp>
            <p:nvSpPr>
              <p:cNvPr id="118" name="Isosceles Triangle 21">
                <a:extLst>
                  <a:ext uri="{FF2B5EF4-FFF2-40B4-BE49-F238E27FC236}">
                    <a16:creationId xmlns:a16="http://schemas.microsoft.com/office/drawing/2014/main" id="{C2F30E0C-85A8-A641-B824-60146B218ED5}"/>
                  </a:ext>
                </a:extLst>
              </p:cNvPr>
              <p:cNvSpPr/>
              <p:nvPr/>
            </p:nvSpPr>
            <p:spPr bwMode="gray">
              <a:xfrm rot="5400000">
                <a:off x="4586017" y="2682522"/>
                <a:ext cx="695639" cy="72658"/>
              </a:xfrm>
              <a:prstGeom prst="triangle">
                <a:avLst/>
              </a:prstGeom>
              <a:solidFill>
                <a:srgbClr val="43B02A"/>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mj-lt"/>
                </a:endParaRPr>
              </a:p>
            </p:txBody>
          </p:sp>
          <p:sp>
            <p:nvSpPr>
              <p:cNvPr id="119" name="Chevron 118">
                <a:extLst>
                  <a:ext uri="{FF2B5EF4-FFF2-40B4-BE49-F238E27FC236}">
                    <a16:creationId xmlns:a16="http://schemas.microsoft.com/office/drawing/2014/main" id="{29D324EC-3E92-9446-80EF-3934CB118DF7}"/>
                  </a:ext>
                </a:extLst>
              </p:cNvPr>
              <p:cNvSpPr/>
              <p:nvPr/>
            </p:nvSpPr>
            <p:spPr bwMode="gray">
              <a:xfrm>
                <a:off x="2794838" y="2461681"/>
                <a:ext cx="2175328" cy="514338"/>
              </a:xfrm>
              <a:prstGeom prst="chevron">
                <a:avLst>
                  <a:gd name="adj" fmla="val 13377"/>
                </a:avLst>
              </a:prstGeom>
              <a:solidFill>
                <a:srgbClr val="009A44"/>
              </a:solidFill>
              <a:ln w="19050" algn="ctr">
                <a:noFill/>
                <a:miter lim="800000"/>
                <a:headEnd/>
                <a:tailEnd/>
              </a:ln>
            </p:spPr>
            <p:txBody>
              <a:bodyPr wrap="square" lIns="88900" tIns="88900" rIns="88900" bIns="88900" rtlCol="0" anchor="ctr"/>
              <a:lstStyle/>
              <a:p>
                <a:pPr algn="ctr">
                  <a:defRPr/>
                </a:pPr>
                <a:r>
                  <a:rPr lang="da-DK" sz="1300" kern="0" dirty="0">
                    <a:solidFill>
                      <a:srgbClr val="FFFFFF"/>
                    </a:solidFill>
                    <a:latin typeface="+mj-lt"/>
                  </a:rPr>
                  <a:t>Lorem ipsum dolor sit amet</a:t>
                </a:r>
                <a:endParaRPr lang="en-US" sz="1300" kern="0" dirty="0">
                  <a:solidFill>
                    <a:srgbClr val="FFFFFF"/>
                  </a:solidFill>
                  <a:latin typeface="+mj-lt"/>
                </a:endParaRPr>
              </a:p>
            </p:txBody>
          </p:sp>
        </p:grpSp>
      </p:grpSp>
      <p:grpSp>
        <p:nvGrpSpPr>
          <p:cNvPr id="10" name="Group 9"/>
          <p:cNvGrpSpPr/>
          <p:nvPr/>
        </p:nvGrpSpPr>
        <p:grpSpPr>
          <a:xfrm>
            <a:off x="4999309" y="2371031"/>
            <a:ext cx="2175328" cy="1356269"/>
            <a:chOff x="4999309" y="2371031"/>
            <a:chExt cx="2175328" cy="1356269"/>
          </a:xfrm>
        </p:grpSpPr>
        <p:sp>
          <p:nvSpPr>
            <p:cNvPr id="108" name="Rounded Rectangle 107">
              <a:extLst>
                <a:ext uri="{FF2B5EF4-FFF2-40B4-BE49-F238E27FC236}">
                  <a16:creationId xmlns:a16="http://schemas.microsoft.com/office/drawing/2014/main" id="{6410D482-2C6B-DD42-8859-EC9C6D3E5B35}"/>
                </a:ext>
              </a:extLst>
            </p:cNvPr>
            <p:cNvSpPr/>
            <p:nvPr/>
          </p:nvSpPr>
          <p:spPr bwMode="gray">
            <a:xfrm>
              <a:off x="6047742" y="2872388"/>
              <a:ext cx="78461" cy="854912"/>
            </a:xfrm>
            <a:prstGeom prst="roundRect">
              <a:avLst/>
            </a:prstGeom>
            <a:solidFill>
              <a:srgbClr val="43B02A"/>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Verdana"/>
              </a:endParaRPr>
            </a:p>
          </p:txBody>
        </p:sp>
        <p:grpSp>
          <p:nvGrpSpPr>
            <p:cNvPr id="5" name="Group 4"/>
            <p:cNvGrpSpPr/>
            <p:nvPr/>
          </p:nvGrpSpPr>
          <p:grpSpPr>
            <a:xfrm>
              <a:off x="4999309" y="2371031"/>
              <a:ext cx="2175328" cy="695639"/>
              <a:chOff x="4999309" y="2371031"/>
              <a:chExt cx="2175328" cy="695639"/>
            </a:xfrm>
          </p:grpSpPr>
          <p:sp>
            <p:nvSpPr>
              <p:cNvPr id="120" name="Isosceles Triangle 23">
                <a:extLst>
                  <a:ext uri="{FF2B5EF4-FFF2-40B4-BE49-F238E27FC236}">
                    <a16:creationId xmlns:a16="http://schemas.microsoft.com/office/drawing/2014/main" id="{A7E3C28D-DA76-754D-B65D-BC33A2860775}"/>
                  </a:ext>
                </a:extLst>
              </p:cNvPr>
              <p:cNvSpPr/>
              <p:nvPr/>
            </p:nvSpPr>
            <p:spPr bwMode="gray">
              <a:xfrm rot="5400000">
                <a:off x="6790488" y="2682522"/>
                <a:ext cx="695639" cy="72658"/>
              </a:xfrm>
              <a:prstGeom prst="triangle">
                <a:avLst/>
              </a:prstGeom>
              <a:solidFill>
                <a:srgbClr val="43B02A"/>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mj-lt"/>
                </a:endParaRPr>
              </a:p>
            </p:txBody>
          </p:sp>
          <p:sp>
            <p:nvSpPr>
              <p:cNvPr id="121" name="Chevron 120">
                <a:extLst>
                  <a:ext uri="{FF2B5EF4-FFF2-40B4-BE49-F238E27FC236}">
                    <a16:creationId xmlns:a16="http://schemas.microsoft.com/office/drawing/2014/main" id="{DA90E8BD-2023-F34B-A7C0-CCA0D3A3B6B4}"/>
                  </a:ext>
                </a:extLst>
              </p:cNvPr>
              <p:cNvSpPr/>
              <p:nvPr/>
            </p:nvSpPr>
            <p:spPr bwMode="gray">
              <a:xfrm>
                <a:off x="4999309" y="2461681"/>
                <a:ext cx="2175328" cy="514338"/>
              </a:xfrm>
              <a:prstGeom prst="chevron">
                <a:avLst>
                  <a:gd name="adj" fmla="val 13377"/>
                </a:avLst>
              </a:prstGeom>
              <a:solidFill>
                <a:srgbClr val="43B02A"/>
              </a:solidFill>
              <a:ln w="19050" algn="ctr">
                <a:noFill/>
                <a:miter lim="800000"/>
                <a:headEnd/>
                <a:tailEnd/>
              </a:ln>
            </p:spPr>
            <p:txBody>
              <a:bodyPr wrap="square" lIns="88900" tIns="88900" rIns="88900" bIns="88900" rtlCol="0" anchor="ctr"/>
              <a:lstStyle/>
              <a:p>
                <a:pPr algn="ctr">
                  <a:defRPr/>
                </a:pPr>
                <a:r>
                  <a:rPr lang="da-DK" sz="1300" kern="0" dirty="0">
                    <a:solidFill>
                      <a:srgbClr val="FFFFFF"/>
                    </a:solidFill>
                    <a:latin typeface="+mj-lt"/>
                  </a:rPr>
                  <a:t>Lorem ipsum dolor sit amet</a:t>
                </a:r>
                <a:endParaRPr lang="en-US" sz="1300" kern="0" dirty="0">
                  <a:solidFill>
                    <a:srgbClr val="FFFFFF"/>
                  </a:solidFill>
                  <a:latin typeface="+mj-lt"/>
                </a:endParaRPr>
              </a:p>
            </p:txBody>
          </p:sp>
        </p:grpSp>
      </p:grpSp>
      <p:grpSp>
        <p:nvGrpSpPr>
          <p:cNvPr id="9" name="Group 8"/>
          <p:cNvGrpSpPr/>
          <p:nvPr/>
        </p:nvGrpSpPr>
        <p:grpSpPr>
          <a:xfrm>
            <a:off x="7203779" y="2371031"/>
            <a:ext cx="2175328" cy="1356269"/>
            <a:chOff x="7203779" y="2371031"/>
            <a:chExt cx="2175328" cy="1356269"/>
          </a:xfrm>
        </p:grpSpPr>
        <p:sp>
          <p:nvSpPr>
            <p:cNvPr id="111" name="Rounded Rectangle 110">
              <a:extLst>
                <a:ext uri="{FF2B5EF4-FFF2-40B4-BE49-F238E27FC236}">
                  <a16:creationId xmlns:a16="http://schemas.microsoft.com/office/drawing/2014/main" id="{AE3BA232-E6A0-EB43-BDFF-7A3E327C0FB4}"/>
                </a:ext>
              </a:extLst>
            </p:cNvPr>
            <p:cNvSpPr/>
            <p:nvPr/>
          </p:nvSpPr>
          <p:spPr bwMode="gray">
            <a:xfrm>
              <a:off x="8252213" y="2872388"/>
              <a:ext cx="78461" cy="854912"/>
            </a:xfrm>
            <a:prstGeom prst="roundRect">
              <a:avLst/>
            </a:prstGeom>
            <a:solidFill>
              <a:srgbClr val="86BC25"/>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Verdana"/>
              </a:endParaRPr>
            </a:p>
          </p:txBody>
        </p:sp>
        <p:grpSp>
          <p:nvGrpSpPr>
            <p:cNvPr id="6" name="Group 5"/>
            <p:cNvGrpSpPr/>
            <p:nvPr/>
          </p:nvGrpSpPr>
          <p:grpSpPr>
            <a:xfrm>
              <a:off x="7203779" y="2371031"/>
              <a:ext cx="2175328" cy="695639"/>
              <a:chOff x="7203779" y="2371031"/>
              <a:chExt cx="2175328" cy="695639"/>
            </a:xfrm>
          </p:grpSpPr>
          <p:sp>
            <p:nvSpPr>
              <p:cNvPr id="122" name="Isosceles Triangle 25">
                <a:extLst>
                  <a:ext uri="{FF2B5EF4-FFF2-40B4-BE49-F238E27FC236}">
                    <a16:creationId xmlns:a16="http://schemas.microsoft.com/office/drawing/2014/main" id="{6947A3BB-8B39-3644-B3E9-68FD392A0D70}"/>
                  </a:ext>
                </a:extLst>
              </p:cNvPr>
              <p:cNvSpPr/>
              <p:nvPr/>
            </p:nvSpPr>
            <p:spPr bwMode="gray">
              <a:xfrm rot="5400000">
                <a:off x="8994958" y="2682522"/>
                <a:ext cx="695639" cy="72658"/>
              </a:xfrm>
              <a:prstGeom prst="triangle">
                <a:avLst/>
              </a:prstGeom>
              <a:solidFill>
                <a:srgbClr val="86BC25"/>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mj-lt"/>
                </a:endParaRPr>
              </a:p>
            </p:txBody>
          </p:sp>
          <p:sp>
            <p:nvSpPr>
              <p:cNvPr id="123" name="Chevron 122">
                <a:extLst>
                  <a:ext uri="{FF2B5EF4-FFF2-40B4-BE49-F238E27FC236}">
                    <a16:creationId xmlns:a16="http://schemas.microsoft.com/office/drawing/2014/main" id="{B3EC146C-BBAD-334E-BDD0-23BF275ACB34}"/>
                  </a:ext>
                </a:extLst>
              </p:cNvPr>
              <p:cNvSpPr/>
              <p:nvPr/>
            </p:nvSpPr>
            <p:spPr bwMode="gray">
              <a:xfrm>
                <a:off x="7203779" y="2461681"/>
                <a:ext cx="2175328" cy="514338"/>
              </a:xfrm>
              <a:prstGeom prst="chevron">
                <a:avLst>
                  <a:gd name="adj" fmla="val 13377"/>
                </a:avLst>
              </a:prstGeom>
              <a:solidFill>
                <a:srgbClr val="86BC25"/>
              </a:solidFill>
              <a:ln w="19050" algn="ctr">
                <a:noFill/>
                <a:miter lim="800000"/>
                <a:headEnd/>
                <a:tailEnd/>
              </a:ln>
            </p:spPr>
            <p:txBody>
              <a:bodyPr wrap="square" lIns="88900" tIns="88900" rIns="88900" bIns="88900" rtlCol="0" anchor="ctr"/>
              <a:lstStyle/>
              <a:p>
                <a:pPr algn="ctr">
                  <a:defRPr/>
                </a:pPr>
                <a:r>
                  <a:rPr lang="da-DK" sz="1300" kern="0" dirty="0">
                    <a:solidFill>
                      <a:srgbClr val="000000"/>
                    </a:solidFill>
                    <a:latin typeface="+mj-lt"/>
                  </a:rPr>
                  <a:t>Lorem ipsum dolor sit amet</a:t>
                </a:r>
                <a:endParaRPr lang="en-US" sz="1300" kern="0" dirty="0">
                  <a:solidFill>
                    <a:srgbClr val="000000"/>
                  </a:solidFill>
                  <a:latin typeface="+mj-lt"/>
                </a:endParaRPr>
              </a:p>
            </p:txBody>
          </p:sp>
        </p:grpSp>
      </p:grpSp>
      <p:grpSp>
        <p:nvGrpSpPr>
          <p:cNvPr id="8" name="Group 7"/>
          <p:cNvGrpSpPr/>
          <p:nvPr/>
        </p:nvGrpSpPr>
        <p:grpSpPr>
          <a:xfrm>
            <a:off x="9408248" y="2371031"/>
            <a:ext cx="2175328" cy="1356269"/>
            <a:chOff x="9408248" y="2371031"/>
            <a:chExt cx="2175328" cy="1356269"/>
          </a:xfrm>
        </p:grpSpPr>
        <p:sp>
          <p:nvSpPr>
            <p:cNvPr id="114" name="Rounded Rectangle 113">
              <a:extLst>
                <a:ext uri="{FF2B5EF4-FFF2-40B4-BE49-F238E27FC236}">
                  <a16:creationId xmlns:a16="http://schemas.microsoft.com/office/drawing/2014/main" id="{8CC3BD71-5AE2-FD46-BF02-4E778A2890D3}"/>
                </a:ext>
              </a:extLst>
            </p:cNvPr>
            <p:cNvSpPr/>
            <p:nvPr/>
          </p:nvSpPr>
          <p:spPr bwMode="gray">
            <a:xfrm>
              <a:off x="10456682" y="2872388"/>
              <a:ext cx="78461" cy="854912"/>
            </a:xfrm>
            <a:prstGeom prst="roundRect">
              <a:avLst/>
            </a:prstGeom>
            <a:solidFill>
              <a:srgbClr val="C4D600"/>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Verdana"/>
              </a:endParaRPr>
            </a:p>
          </p:txBody>
        </p:sp>
        <p:grpSp>
          <p:nvGrpSpPr>
            <p:cNvPr id="7" name="Group 6"/>
            <p:cNvGrpSpPr/>
            <p:nvPr/>
          </p:nvGrpSpPr>
          <p:grpSpPr>
            <a:xfrm>
              <a:off x="9408248" y="2371031"/>
              <a:ext cx="2175328" cy="695639"/>
              <a:chOff x="9408248" y="2371031"/>
              <a:chExt cx="2175328" cy="695639"/>
            </a:xfrm>
          </p:grpSpPr>
          <p:sp>
            <p:nvSpPr>
              <p:cNvPr id="124" name="Isosceles Triangle 27">
                <a:extLst>
                  <a:ext uri="{FF2B5EF4-FFF2-40B4-BE49-F238E27FC236}">
                    <a16:creationId xmlns:a16="http://schemas.microsoft.com/office/drawing/2014/main" id="{98AD0B61-4374-534D-8B29-B5631FDBF12F}"/>
                  </a:ext>
                </a:extLst>
              </p:cNvPr>
              <p:cNvSpPr/>
              <p:nvPr/>
            </p:nvSpPr>
            <p:spPr bwMode="gray">
              <a:xfrm rot="5400000">
                <a:off x="11199427" y="2682522"/>
                <a:ext cx="695639" cy="72658"/>
              </a:xfrm>
              <a:prstGeom prst="triangle">
                <a:avLst/>
              </a:prstGeom>
              <a:solidFill>
                <a:srgbClr val="C4D600"/>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mj-lt"/>
                </a:endParaRPr>
              </a:p>
            </p:txBody>
          </p:sp>
          <p:sp>
            <p:nvSpPr>
              <p:cNvPr id="125" name="Chevron 124">
                <a:extLst>
                  <a:ext uri="{FF2B5EF4-FFF2-40B4-BE49-F238E27FC236}">
                    <a16:creationId xmlns:a16="http://schemas.microsoft.com/office/drawing/2014/main" id="{AAFCC316-3860-B74E-8B01-6CAAB1A6A2D3}"/>
                  </a:ext>
                </a:extLst>
              </p:cNvPr>
              <p:cNvSpPr/>
              <p:nvPr/>
            </p:nvSpPr>
            <p:spPr bwMode="gray">
              <a:xfrm>
                <a:off x="9408248" y="2461681"/>
                <a:ext cx="2175328" cy="514338"/>
              </a:xfrm>
              <a:prstGeom prst="chevron">
                <a:avLst>
                  <a:gd name="adj" fmla="val 13377"/>
                </a:avLst>
              </a:prstGeom>
              <a:solidFill>
                <a:srgbClr val="C4D600"/>
              </a:solidFill>
              <a:ln w="19050" algn="ctr">
                <a:noFill/>
                <a:miter lim="800000"/>
                <a:headEnd/>
                <a:tailEnd/>
              </a:ln>
            </p:spPr>
            <p:txBody>
              <a:bodyPr wrap="square" lIns="88900" tIns="88900" rIns="88900" bIns="88900" rtlCol="0" anchor="ctr"/>
              <a:lstStyle/>
              <a:p>
                <a:pPr algn="ctr">
                  <a:defRPr/>
                </a:pPr>
                <a:r>
                  <a:rPr lang="da-DK" sz="1300" kern="0" dirty="0">
                    <a:solidFill>
                      <a:srgbClr val="000000"/>
                    </a:solidFill>
                    <a:latin typeface="+mj-lt"/>
                  </a:rPr>
                  <a:t>Lorem ipsum dolor sit amet</a:t>
                </a:r>
                <a:endParaRPr lang="en-US" sz="1300" kern="0" dirty="0">
                  <a:solidFill>
                    <a:srgbClr val="000000"/>
                  </a:solidFill>
                  <a:latin typeface="+mj-lt"/>
                </a:endParaRPr>
              </a:p>
            </p:txBody>
          </p:sp>
        </p:grpSp>
      </p:grpSp>
      <p:sp>
        <p:nvSpPr>
          <p:cNvPr id="100" name="Rectangle 99">
            <a:extLst>
              <a:ext uri="{FF2B5EF4-FFF2-40B4-BE49-F238E27FC236}">
                <a16:creationId xmlns:a16="http://schemas.microsoft.com/office/drawing/2014/main" id="{00C07091-958A-AA4B-9F6B-96DD7F8C332C}"/>
              </a:ext>
            </a:extLst>
          </p:cNvPr>
          <p:cNvSpPr/>
          <p:nvPr/>
        </p:nvSpPr>
        <p:spPr bwMode="gray">
          <a:xfrm>
            <a:off x="684774" y="5817235"/>
            <a:ext cx="10804397" cy="230247"/>
          </a:xfrm>
          <a:prstGeom prst="rect">
            <a:avLst/>
          </a:prstGeom>
          <a:solidFill>
            <a:srgbClr val="53565A"/>
          </a:solidFill>
          <a:ln w="19050" algn="ctr">
            <a:noFill/>
            <a:miter lim="800000"/>
            <a:headEnd/>
            <a:tailEnd/>
          </a:ln>
        </p:spPr>
        <p:txBody>
          <a:bodyPr wrap="square" lIns="93834" tIns="93834" rIns="93834" bIns="93834" rtlCol="0" anchor="ctr"/>
          <a:lstStyle/>
          <a:p>
            <a:pPr defTabSz="965149">
              <a:defRPr/>
            </a:pPr>
            <a:endParaRPr lang="en-US" sz="1300" kern="0" dirty="0">
              <a:solidFill>
                <a:prstClr val="white"/>
              </a:solidFill>
              <a:latin typeface="Verdana"/>
            </a:endParaRPr>
          </a:p>
        </p:txBody>
      </p:sp>
      <p:sp>
        <p:nvSpPr>
          <p:cNvPr id="99" name="Rectangle 98">
            <a:extLst>
              <a:ext uri="{FF2B5EF4-FFF2-40B4-BE49-F238E27FC236}">
                <a16:creationId xmlns:a16="http://schemas.microsoft.com/office/drawing/2014/main" id="{384DA7D6-9188-CF46-AC34-762A2F0549F5}"/>
              </a:ext>
            </a:extLst>
          </p:cNvPr>
          <p:cNvSpPr/>
          <p:nvPr/>
        </p:nvSpPr>
        <p:spPr bwMode="gray">
          <a:xfrm>
            <a:off x="528224" y="5957859"/>
            <a:ext cx="11262724" cy="223669"/>
          </a:xfrm>
          <a:prstGeom prst="rect">
            <a:avLst/>
          </a:prstGeom>
          <a:solidFill>
            <a:srgbClr val="000000"/>
          </a:solidFill>
          <a:ln w="19050" algn="ctr">
            <a:noFill/>
            <a:miter lim="800000"/>
            <a:headEnd/>
            <a:tailEnd/>
          </a:ln>
        </p:spPr>
        <p:txBody>
          <a:bodyPr wrap="square" lIns="93834" tIns="93834" rIns="93834" bIns="93834" rtlCol="0" anchor="ctr"/>
          <a:lstStyle/>
          <a:p>
            <a:pPr defTabSz="965149">
              <a:defRPr/>
            </a:pPr>
            <a:endParaRPr lang="en-US" sz="1300" kern="0" dirty="0">
              <a:solidFill>
                <a:prstClr val="white"/>
              </a:solidFill>
              <a:latin typeface="Verdana"/>
            </a:endParaRPr>
          </a:p>
        </p:txBody>
      </p:sp>
      <p:sp>
        <p:nvSpPr>
          <p:cNvPr id="101" name="Round Single Corner Rectangle 100">
            <a:extLst>
              <a:ext uri="{FF2B5EF4-FFF2-40B4-BE49-F238E27FC236}">
                <a16:creationId xmlns:a16="http://schemas.microsoft.com/office/drawing/2014/main" id="{4A02D415-15D6-A74E-A780-335DAEEA2D59}"/>
              </a:ext>
            </a:extLst>
          </p:cNvPr>
          <p:cNvSpPr/>
          <p:nvPr/>
        </p:nvSpPr>
        <p:spPr>
          <a:xfrm>
            <a:off x="684774" y="3727298"/>
            <a:ext cx="1986515" cy="1999287"/>
          </a:xfrm>
          <a:prstGeom prst="round1Rect">
            <a:avLst>
              <a:gd name="adj" fmla="val 11091"/>
            </a:avLst>
          </a:prstGeom>
          <a:noFill/>
          <a:ln w="6350" cap="flat" cmpd="sng" algn="ctr">
            <a:solidFill>
              <a:srgbClr val="046A38"/>
            </a:solidFill>
            <a:prstDash val="solid"/>
          </a:ln>
          <a:effectLst/>
        </p:spPr>
        <p:txBody>
          <a:bodyPr lIns="73152" tIns="91440" rIns="73152" bIns="73152" rtlCol="0" anchor="t"/>
          <a:lstStyle/>
          <a:p>
            <a:pPr defTabSz="965149">
              <a:defRPr/>
            </a:pPr>
            <a:r>
              <a:rPr lang="en-US" sz="1300" kern="0" dirty="0">
                <a:solidFill>
                  <a:prstClr val="black"/>
                </a:solidFill>
              </a:rPr>
              <a:t>This is dummy text it is not here to be read. The is just text to show where you could insert text. Please replace with your text content here.</a:t>
            </a:r>
          </a:p>
        </p:txBody>
      </p:sp>
      <p:sp>
        <p:nvSpPr>
          <p:cNvPr id="103" name="Rounded Rectangle 102">
            <a:extLst>
              <a:ext uri="{FF2B5EF4-FFF2-40B4-BE49-F238E27FC236}">
                <a16:creationId xmlns:a16="http://schemas.microsoft.com/office/drawing/2014/main" id="{130E11D7-609C-B247-A1FD-D898D7C91FA6}"/>
              </a:ext>
            </a:extLst>
          </p:cNvPr>
          <p:cNvSpPr/>
          <p:nvPr/>
        </p:nvSpPr>
        <p:spPr bwMode="gray">
          <a:xfrm>
            <a:off x="1073421" y="3113735"/>
            <a:ext cx="1209223" cy="474346"/>
          </a:xfrm>
          <a:prstGeom prst="roundRect">
            <a:avLst/>
          </a:prstGeom>
          <a:solidFill>
            <a:sysClr val="window" lastClr="FFFFFF"/>
          </a:solidFill>
          <a:ln w="28575" cap="flat" cmpd="sng" algn="ctr">
            <a:solidFill>
              <a:srgbClr val="046A38"/>
            </a:solidFill>
            <a:prstDash val="solid"/>
          </a:ln>
          <a:effectLst/>
        </p:spPr>
        <p:txBody>
          <a:bodyPr lIns="73152" tIns="91440" rIns="73152" bIns="73152" rtlCol="0" anchor="t"/>
          <a:lstStyle/>
          <a:p>
            <a:pPr defTabSz="965149">
              <a:defRPr/>
            </a:pPr>
            <a:endParaRPr lang="en-GB" sz="1300" kern="0" dirty="0">
              <a:solidFill>
                <a:prstClr val="black"/>
              </a:solidFill>
              <a:latin typeface="Verdana"/>
            </a:endParaRPr>
          </a:p>
        </p:txBody>
      </p:sp>
      <p:sp>
        <p:nvSpPr>
          <p:cNvPr id="104" name="Round Single Corner Rectangle 103">
            <a:extLst>
              <a:ext uri="{FF2B5EF4-FFF2-40B4-BE49-F238E27FC236}">
                <a16:creationId xmlns:a16="http://schemas.microsoft.com/office/drawing/2014/main" id="{B9ABFE70-F048-E44F-AD89-2A306473DDA3}"/>
              </a:ext>
            </a:extLst>
          </p:cNvPr>
          <p:cNvSpPr/>
          <p:nvPr/>
        </p:nvSpPr>
        <p:spPr>
          <a:xfrm>
            <a:off x="2889245" y="3727298"/>
            <a:ext cx="1986515" cy="1999287"/>
          </a:xfrm>
          <a:prstGeom prst="round1Rect">
            <a:avLst>
              <a:gd name="adj" fmla="val 11091"/>
            </a:avLst>
          </a:prstGeom>
          <a:noFill/>
          <a:ln w="6350" cap="flat" cmpd="sng" algn="ctr">
            <a:solidFill>
              <a:srgbClr val="009A44"/>
            </a:solidFill>
            <a:prstDash val="solid"/>
          </a:ln>
          <a:effectLst/>
        </p:spPr>
        <p:txBody>
          <a:bodyPr lIns="73152" tIns="91440" rIns="73152" bIns="73152" rtlCol="0" anchor="t"/>
          <a:lstStyle/>
          <a:p>
            <a:pPr defTabSz="965149">
              <a:defRPr/>
            </a:pPr>
            <a:r>
              <a:rPr lang="en-US" sz="1300" kern="0" dirty="0">
                <a:solidFill>
                  <a:prstClr val="black"/>
                </a:solidFill>
              </a:rPr>
              <a:t>This is dummy text it is not here to be read. The is just text to show where you could insert text. Please replace with your text content here.</a:t>
            </a:r>
          </a:p>
        </p:txBody>
      </p:sp>
      <p:sp>
        <p:nvSpPr>
          <p:cNvPr id="106" name="Rounded Rectangle 105">
            <a:extLst>
              <a:ext uri="{FF2B5EF4-FFF2-40B4-BE49-F238E27FC236}">
                <a16:creationId xmlns:a16="http://schemas.microsoft.com/office/drawing/2014/main" id="{44E55118-893E-8447-92BD-21B417B06984}"/>
              </a:ext>
            </a:extLst>
          </p:cNvPr>
          <p:cNvSpPr/>
          <p:nvPr/>
        </p:nvSpPr>
        <p:spPr bwMode="gray">
          <a:xfrm>
            <a:off x="3277892" y="3113735"/>
            <a:ext cx="1209223" cy="474346"/>
          </a:xfrm>
          <a:prstGeom prst="roundRect">
            <a:avLst/>
          </a:prstGeom>
          <a:solidFill>
            <a:sysClr val="window" lastClr="FFFFFF"/>
          </a:solidFill>
          <a:ln w="28575" cap="flat" cmpd="sng" algn="ctr">
            <a:solidFill>
              <a:srgbClr val="009A44"/>
            </a:solidFill>
            <a:prstDash val="solid"/>
          </a:ln>
          <a:effectLst/>
        </p:spPr>
        <p:txBody>
          <a:bodyPr lIns="73152" tIns="91440" rIns="73152" bIns="73152" rtlCol="0" anchor="t"/>
          <a:lstStyle/>
          <a:p>
            <a:pPr defTabSz="965149">
              <a:defRPr/>
            </a:pPr>
            <a:endParaRPr lang="en-GB" sz="1300" kern="0" dirty="0">
              <a:solidFill>
                <a:prstClr val="black"/>
              </a:solidFill>
              <a:latin typeface="Verdana"/>
            </a:endParaRPr>
          </a:p>
        </p:txBody>
      </p:sp>
      <p:sp>
        <p:nvSpPr>
          <p:cNvPr id="107" name="Round Single Corner Rectangle 106">
            <a:extLst>
              <a:ext uri="{FF2B5EF4-FFF2-40B4-BE49-F238E27FC236}">
                <a16:creationId xmlns:a16="http://schemas.microsoft.com/office/drawing/2014/main" id="{D073A516-93B4-784F-9802-84C08BE16FB9}"/>
              </a:ext>
            </a:extLst>
          </p:cNvPr>
          <p:cNvSpPr/>
          <p:nvPr/>
        </p:nvSpPr>
        <p:spPr>
          <a:xfrm>
            <a:off x="5093715" y="3727298"/>
            <a:ext cx="1986515" cy="1999287"/>
          </a:xfrm>
          <a:prstGeom prst="round1Rect">
            <a:avLst>
              <a:gd name="adj" fmla="val 11091"/>
            </a:avLst>
          </a:prstGeom>
          <a:noFill/>
          <a:ln w="6350" cap="flat" cmpd="sng" algn="ctr">
            <a:solidFill>
              <a:srgbClr val="43B02A"/>
            </a:solidFill>
            <a:prstDash val="solid"/>
          </a:ln>
          <a:effectLst/>
        </p:spPr>
        <p:txBody>
          <a:bodyPr lIns="73152" tIns="91440" rIns="73152" bIns="73152" rtlCol="0" anchor="t"/>
          <a:lstStyle/>
          <a:p>
            <a:pPr defTabSz="965149">
              <a:defRPr/>
            </a:pPr>
            <a:r>
              <a:rPr lang="en-US" sz="1300" kern="0" dirty="0">
                <a:solidFill>
                  <a:prstClr val="black"/>
                </a:solidFill>
              </a:rPr>
              <a:t>This is dummy text it is not here to be read. The is just text to show where you could insert text. Please replace with your text content here.</a:t>
            </a:r>
          </a:p>
        </p:txBody>
      </p:sp>
      <p:sp>
        <p:nvSpPr>
          <p:cNvPr id="109" name="Rounded Rectangle 108">
            <a:extLst>
              <a:ext uri="{FF2B5EF4-FFF2-40B4-BE49-F238E27FC236}">
                <a16:creationId xmlns:a16="http://schemas.microsoft.com/office/drawing/2014/main" id="{E86B395C-2F0F-804C-9AEA-02338FE22170}"/>
              </a:ext>
            </a:extLst>
          </p:cNvPr>
          <p:cNvSpPr/>
          <p:nvPr/>
        </p:nvSpPr>
        <p:spPr bwMode="gray">
          <a:xfrm>
            <a:off x="5482362" y="3113735"/>
            <a:ext cx="1209223" cy="474346"/>
          </a:xfrm>
          <a:prstGeom prst="roundRect">
            <a:avLst/>
          </a:prstGeom>
          <a:solidFill>
            <a:sysClr val="window" lastClr="FFFFFF"/>
          </a:solidFill>
          <a:ln w="28575" cap="flat" cmpd="sng" algn="ctr">
            <a:solidFill>
              <a:srgbClr val="43B02A"/>
            </a:solidFill>
            <a:prstDash val="solid"/>
          </a:ln>
          <a:effectLst/>
        </p:spPr>
        <p:txBody>
          <a:bodyPr lIns="73152" tIns="91440" rIns="73152" bIns="73152" rtlCol="0" anchor="t"/>
          <a:lstStyle/>
          <a:p>
            <a:pPr defTabSz="965149">
              <a:defRPr/>
            </a:pPr>
            <a:endParaRPr lang="en-GB" sz="1300" kern="0" dirty="0">
              <a:solidFill>
                <a:prstClr val="black"/>
              </a:solidFill>
              <a:latin typeface="Verdana"/>
            </a:endParaRPr>
          </a:p>
        </p:txBody>
      </p:sp>
      <p:sp>
        <p:nvSpPr>
          <p:cNvPr id="110" name="Round Single Corner Rectangle 109">
            <a:extLst>
              <a:ext uri="{FF2B5EF4-FFF2-40B4-BE49-F238E27FC236}">
                <a16:creationId xmlns:a16="http://schemas.microsoft.com/office/drawing/2014/main" id="{52961324-8ABB-4442-878D-4CD22EA4D5B8}"/>
              </a:ext>
            </a:extLst>
          </p:cNvPr>
          <p:cNvSpPr/>
          <p:nvPr/>
        </p:nvSpPr>
        <p:spPr>
          <a:xfrm>
            <a:off x="7298187" y="3727298"/>
            <a:ext cx="1986515" cy="1999287"/>
          </a:xfrm>
          <a:prstGeom prst="round1Rect">
            <a:avLst>
              <a:gd name="adj" fmla="val 11091"/>
            </a:avLst>
          </a:prstGeom>
          <a:noFill/>
          <a:ln w="6350" cap="flat" cmpd="sng" algn="ctr">
            <a:solidFill>
              <a:srgbClr val="86BC25"/>
            </a:solidFill>
            <a:prstDash val="solid"/>
          </a:ln>
          <a:effectLst/>
        </p:spPr>
        <p:txBody>
          <a:bodyPr lIns="73152" tIns="91440" rIns="73152" bIns="73152" rtlCol="0" anchor="t"/>
          <a:lstStyle/>
          <a:p>
            <a:pPr defTabSz="965149">
              <a:defRPr/>
            </a:pPr>
            <a:r>
              <a:rPr lang="en-US" sz="1300" kern="0" dirty="0">
                <a:solidFill>
                  <a:prstClr val="black"/>
                </a:solidFill>
              </a:rPr>
              <a:t>This is dummy text it is not here to be read. The is just text to show where you could insert text. Please replace with your text content here.</a:t>
            </a:r>
          </a:p>
        </p:txBody>
      </p:sp>
      <p:sp>
        <p:nvSpPr>
          <p:cNvPr id="112" name="Rounded Rectangle 111">
            <a:extLst>
              <a:ext uri="{FF2B5EF4-FFF2-40B4-BE49-F238E27FC236}">
                <a16:creationId xmlns:a16="http://schemas.microsoft.com/office/drawing/2014/main" id="{95314274-090A-7641-BA96-8F67B6DD9A99}"/>
              </a:ext>
            </a:extLst>
          </p:cNvPr>
          <p:cNvSpPr/>
          <p:nvPr/>
        </p:nvSpPr>
        <p:spPr bwMode="gray">
          <a:xfrm>
            <a:off x="7686833" y="3113735"/>
            <a:ext cx="1209223" cy="474346"/>
          </a:xfrm>
          <a:prstGeom prst="roundRect">
            <a:avLst/>
          </a:prstGeom>
          <a:solidFill>
            <a:sysClr val="window" lastClr="FFFFFF"/>
          </a:solidFill>
          <a:ln w="28575" cap="flat" cmpd="sng" algn="ctr">
            <a:solidFill>
              <a:srgbClr val="86BC25"/>
            </a:solidFill>
            <a:prstDash val="solid"/>
          </a:ln>
          <a:effectLst/>
        </p:spPr>
        <p:txBody>
          <a:bodyPr lIns="73152" tIns="91440" rIns="73152" bIns="73152" rtlCol="0" anchor="t"/>
          <a:lstStyle/>
          <a:p>
            <a:pPr defTabSz="965149">
              <a:defRPr/>
            </a:pPr>
            <a:endParaRPr lang="en-GB" sz="1300" kern="0" dirty="0">
              <a:solidFill>
                <a:prstClr val="black"/>
              </a:solidFill>
              <a:latin typeface="Verdana"/>
            </a:endParaRPr>
          </a:p>
        </p:txBody>
      </p:sp>
      <p:sp>
        <p:nvSpPr>
          <p:cNvPr id="113" name="Round Single Corner Rectangle 112">
            <a:extLst>
              <a:ext uri="{FF2B5EF4-FFF2-40B4-BE49-F238E27FC236}">
                <a16:creationId xmlns:a16="http://schemas.microsoft.com/office/drawing/2014/main" id="{AAF58973-1E33-C741-951F-1E11C718E84D}"/>
              </a:ext>
            </a:extLst>
          </p:cNvPr>
          <p:cNvSpPr/>
          <p:nvPr/>
        </p:nvSpPr>
        <p:spPr>
          <a:xfrm>
            <a:off x="9502656" y="3727298"/>
            <a:ext cx="1986515" cy="1999287"/>
          </a:xfrm>
          <a:prstGeom prst="round1Rect">
            <a:avLst>
              <a:gd name="adj" fmla="val 11091"/>
            </a:avLst>
          </a:prstGeom>
          <a:noFill/>
          <a:ln w="6350" cap="flat" cmpd="sng" algn="ctr">
            <a:solidFill>
              <a:srgbClr val="C4D600"/>
            </a:solidFill>
            <a:prstDash val="solid"/>
          </a:ln>
          <a:effectLst/>
        </p:spPr>
        <p:txBody>
          <a:bodyPr lIns="73152" tIns="91440" rIns="73152" bIns="73152" rtlCol="0" anchor="t"/>
          <a:lstStyle/>
          <a:p>
            <a:pPr defTabSz="965149">
              <a:defRPr/>
            </a:pPr>
            <a:r>
              <a:rPr lang="en-US" sz="1300" kern="0" dirty="0">
                <a:solidFill>
                  <a:prstClr val="black"/>
                </a:solidFill>
              </a:rPr>
              <a:t>This is dummy text it is not here to be read. The is just text to show where you could insert text. Please replace with your text content here.</a:t>
            </a:r>
          </a:p>
        </p:txBody>
      </p:sp>
      <p:sp>
        <p:nvSpPr>
          <p:cNvPr id="115" name="Rounded Rectangle 114">
            <a:extLst>
              <a:ext uri="{FF2B5EF4-FFF2-40B4-BE49-F238E27FC236}">
                <a16:creationId xmlns:a16="http://schemas.microsoft.com/office/drawing/2014/main" id="{7D794667-BAD6-0D4B-B7A1-828BBEDE2ABC}"/>
              </a:ext>
            </a:extLst>
          </p:cNvPr>
          <p:cNvSpPr/>
          <p:nvPr/>
        </p:nvSpPr>
        <p:spPr bwMode="gray">
          <a:xfrm>
            <a:off x="9891302" y="3113735"/>
            <a:ext cx="1209223" cy="474346"/>
          </a:xfrm>
          <a:prstGeom prst="roundRect">
            <a:avLst/>
          </a:prstGeom>
          <a:solidFill>
            <a:sysClr val="window" lastClr="FFFFFF"/>
          </a:solidFill>
          <a:ln w="28575" cap="flat" cmpd="sng" algn="ctr">
            <a:solidFill>
              <a:srgbClr val="C4D600"/>
            </a:solidFill>
            <a:prstDash val="solid"/>
          </a:ln>
          <a:effectLst/>
        </p:spPr>
        <p:txBody>
          <a:bodyPr lIns="73152" tIns="91440" rIns="73152" bIns="73152" rtlCol="0" anchor="t"/>
          <a:lstStyle/>
          <a:p>
            <a:pPr defTabSz="965149">
              <a:defRPr/>
            </a:pPr>
            <a:endParaRPr lang="en-GB" sz="1300" kern="0" dirty="0">
              <a:solidFill>
                <a:prstClr val="black"/>
              </a:solidFill>
              <a:latin typeface="Verdana"/>
            </a:endParaRPr>
          </a:p>
        </p:txBody>
      </p:sp>
      <p:sp>
        <p:nvSpPr>
          <p:cNvPr id="126" name="Freeform 624">
            <a:extLst>
              <a:ext uri="{FF2B5EF4-FFF2-40B4-BE49-F238E27FC236}">
                <a16:creationId xmlns:a16="http://schemas.microsoft.com/office/drawing/2014/main" id="{29BB1D7A-17DC-2044-A015-139B47E4A07D}"/>
              </a:ext>
            </a:extLst>
          </p:cNvPr>
          <p:cNvSpPr>
            <a:spLocks noChangeAspect="1" noEditPoints="1"/>
          </p:cNvSpPr>
          <p:nvPr/>
        </p:nvSpPr>
        <p:spPr bwMode="auto">
          <a:xfrm>
            <a:off x="1493869" y="3166745"/>
            <a:ext cx="368326" cy="368326"/>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127" name="Freeform 189">
            <a:extLst>
              <a:ext uri="{FF2B5EF4-FFF2-40B4-BE49-F238E27FC236}">
                <a16:creationId xmlns:a16="http://schemas.microsoft.com/office/drawing/2014/main" id="{C116D234-7CDD-EF4B-B219-9EFD5FB307B6}"/>
              </a:ext>
            </a:extLst>
          </p:cNvPr>
          <p:cNvSpPr>
            <a:spLocks noChangeAspect="1" noEditPoints="1"/>
          </p:cNvSpPr>
          <p:nvPr/>
        </p:nvSpPr>
        <p:spPr bwMode="auto">
          <a:xfrm>
            <a:off x="3698810" y="3167216"/>
            <a:ext cx="367385" cy="367384"/>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128" name="Freeform 774">
            <a:extLst>
              <a:ext uri="{FF2B5EF4-FFF2-40B4-BE49-F238E27FC236}">
                <a16:creationId xmlns:a16="http://schemas.microsoft.com/office/drawing/2014/main" id="{742E7DFE-530F-B843-8C82-350613296162}"/>
              </a:ext>
            </a:extLst>
          </p:cNvPr>
          <p:cNvSpPr>
            <a:spLocks noChangeAspect="1" noEditPoints="1"/>
          </p:cNvSpPr>
          <p:nvPr/>
        </p:nvSpPr>
        <p:spPr bwMode="auto">
          <a:xfrm>
            <a:off x="5902290" y="3166225"/>
            <a:ext cx="369366" cy="369366"/>
          </a:xfrm>
          <a:custGeom>
            <a:avLst/>
            <a:gdLst>
              <a:gd name="T0" fmla="*/ 216 w 512"/>
              <a:gd name="T1" fmla="*/ 171 h 512"/>
              <a:gd name="T2" fmla="*/ 320 w 512"/>
              <a:gd name="T3" fmla="*/ 275 h 512"/>
              <a:gd name="T4" fmla="*/ 223 w 512"/>
              <a:gd name="T5" fmla="*/ 268 h 512"/>
              <a:gd name="T6" fmla="*/ 216 w 512"/>
              <a:gd name="T7" fmla="*/ 171 h 512"/>
              <a:gd name="T8" fmla="*/ 197 w 512"/>
              <a:gd name="T9" fmla="*/ 395 h 512"/>
              <a:gd name="T10" fmla="*/ 251 w 512"/>
              <a:gd name="T11" fmla="*/ 395 h 512"/>
              <a:gd name="T12" fmla="*/ 224 w 512"/>
              <a:gd name="T13" fmla="*/ 320 h 512"/>
              <a:gd name="T14" fmla="*/ 197 w 512"/>
              <a:gd name="T15" fmla="*/ 395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47 w 512"/>
              <a:gd name="T27" fmla="*/ 276 h 512"/>
              <a:gd name="T28" fmla="*/ 343 w 512"/>
              <a:gd name="T29" fmla="*/ 268 h 512"/>
              <a:gd name="T30" fmla="*/ 291 w 512"/>
              <a:gd name="T31" fmla="*/ 215 h 512"/>
              <a:gd name="T32" fmla="*/ 296 w 512"/>
              <a:gd name="T33" fmla="*/ 211 h 512"/>
              <a:gd name="T34" fmla="*/ 296 w 512"/>
              <a:gd name="T35" fmla="*/ 195 h 512"/>
              <a:gd name="T36" fmla="*/ 280 w 512"/>
              <a:gd name="T37" fmla="*/ 195 h 512"/>
              <a:gd name="T38" fmla="*/ 276 w 512"/>
              <a:gd name="T39" fmla="*/ 200 h 512"/>
              <a:gd name="T40" fmla="*/ 223 w 512"/>
              <a:gd name="T41" fmla="*/ 148 h 512"/>
              <a:gd name="T42" fmla="*/ 208 w 512"/>
              <a:gd name="T43" fmla="*/ 148 h 512"/>
              <a:gd name="T44" fmla="*/ 208 w 512"/>
              <a:gd name="T45" fmla="*/ 283 h 512"/>
              <a:gd name="T46" fmla="*/ 213 w 512"/>
              <a:gd name="T47" fmla="*/ 288 h 512"/>
              <a:gd name="T48" fmla="*/ 174 w 512"/>
              <a:gd name="T49" fmla="*/ 395 h 512"/>
              <a:gd name="T50" fmla="*/ 160 w 512"/>
              <a:gd name="T51" fmla="*/ 395 h 512"/>
              <a:gd name="T52" fmla="*/ 149 w 512"/>
              <a:gd name="T53" fmla="*/ 406 h 512"/>
              <a:gd name="T54" fmla="*/ 160 w 512"/>
              <a:gd name="T55" fmla="*/ 416 h 512"/>
              <a:gd name="T56" fmla="*/ 288 w 512"/>
              <a:gd name="T57" fmla="*/ 416 h 512"/>
              <a:gd name="T58" fmla="*/ 299 w 512"/>
              <a:gd name="T59" fmla="*/ 406 h 512"/>
              <a:gd name="T60" fmla="*/ 288 w 512"/>
              <a:gd name="T61" fmla="*/ 395 h 512"/>
              <a:gd name="T62" fmla="*/ 274 w 512"/>
              <a:gd name="T63" fmla="*/ 395 h 512"/>
              <a:gd name="T64" fmla="*/ 241 w 512"/>
              <a:gd name="T65" fmla="*/ 305 h 512"/>
              <a:gd name="T66" fmla="*/ 276 w 512"/>
              <a:gd name="T67" fmla="*/ 311 h 512"/>
              <a:gd name="T68" fmla="*/ 343 w 512"/>
              <a:gd name="T69" fmla="*/ 283 h 512"/>
              <a:gd name="T70" fmla="*/ 347 w 512"/>
              <a:gd name="T71" fmla="*/ 276 h 512"/>
              <a:gd name="T72" fmla="*/ 288 w 512"/>
              <a:gd name="T73" fmla="*/ 182 h 512"/>
              <a:gd name="T74" fmla="*/ 309 w 512"/>
              <a:gd name="T75" fmla="*/ 203 h 512"/>
              <a:gd name="T76" fmla="*/ 320 w 512"/>
              <a:gd name="T77" fmla="*/ 214 h 512"/>
              <a:gd name="T78" fmla="*/ 331 w 512"/>
              <a:gd name="T79" fmla="*/ 203 h 512"/>
              <a:gd name="T80" fmla="*/ 288 w 512"/>
              <a:gd name="T81" fmla="*/ 160 h 512"/>
              <a:gd name="T82" fmla="*/ 277 w 512"/>
              <a:gd name="T83" fmla="*/ 171 h 512"/>
              <a:gd name="T84" fmla="*/ 288 w 512"/>
              <a:gd name="T85" fmla="*/ 182 h 512"/>
              <a:gd name="T86" fmla="*/ 373 w 512"/>
              <a:gd name="T87" fmla="*/ 203 h 512"/>
              <a:gd name="T88" fmla="*/ 288 w 512"/>
              <a:gd name="T89" fmla="*/ 118 h 512"/>
              <a:gd name="T90" fmla="*/ 277 w 512"/>
              <a:gd name="T91" fmla="*/ 128 h 512"/>
              <a:gd name="T92" fmla="*/ 288 w 512"/>
              <a:gd name="T93" fmla="*/ 139 h 512"/>
              <a:gd name="T94" fmla="*/ 352 w 512"/>
              <a:gd name="T95" fmla="*/ 203 h 512"/>
              <a:gd name="T96" fmla="*/ 363 w 512"/>
              <a:gd name="T97" fmla="*/ 214 h 512"/>
              <a:gd name="T98" fmla="*/ 373 w 512"/>
              <a:gd name="T99" fmla="*/ 2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16" y="171"/>
                </a:moveTo>
                <a:cubicBezTo>
                  <a:pt x="320" y="275"/>
                  <a:pt x="320" y="275"/>
                  <a:pt x="320" y="275"/>
                </a:cubicBezTo>
                <a:cubicBezTo>
                  <a:pt x="291" y="297"/>
                  <a:pt x="249" y="295"/>
                  <a:pt x="223" y="268"/>
                </a:cubicBezTo>
                <a:cubicBezTo>
                  <a:pt x="196" y="242"/>
                  <a:pt x="194" y="200"/>
                  <a:pt x="216" y="171"/>
                </a:cubicBezTo>
                <a:close/>
                <a:moveTo>
                  <a:pt x="197" y="395"/>
                </a:moveTo>
                <a:cubicBezTo>
                  <a:pt x="251" y="395"/>
                  <a:pt x="251" y="395"/>
                  <a:pt x="251" y="395"/>
                </a:cubicBezTo>
                <a:cubicBezTo>
                  <a:pt x="224" y="320"/>
                  <a:pt x="224" y="320"/>
                  <a:pt x="224" y="320"/>
                </a:cubicBezTo>
                <a:lnTo>
                  <a:pt x="197" y="395"/>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47" y="276"/>
                </a:moveTo>
                <a:cubicBezTo>
                  <a:pt x="347" y="273"/>
                  <a:pt x="345" y="270"/>
                  <a:pt x="343" y="268"/>
                </a:cubicBezTo>
                <a:cubicBezTo>
                  <a:pt x="291" y="215"/>
                  <a:pt x="291" y="215"/>
                  <a:pt x="291" y="215"/>
                </a:cubicBezTo>
                <a:cubicBezTo>
                  <a:pt x="296" y="211"/>
                  <a:pt x="296" y="211"/>
                  <a:pt x="296" y="211"/>
                </a:cubicBezTo>
                <a:cubicBezTo>
                  <a:pt x="300" y="206"/>
                  <a:pt x="300" y="200"/>
                  <a:pt x="296" y="195"/>
                </a:cubicBezTo>
                <a:cubicBezTo>
                  <a:pt x="291" y="191"/>
                  <a:pt x="285" y="191"/>
                  <a:pt x="280" y="195"/>
                </a:cubicBezTo>
                <a:cubicBezTo>
                  <a:pt x="276" y="200"/>
                  <a:pt x="276" y="200"/>
                  <a:pt x="276" y="200"/>
                </a:cubicBezTo>
                <a:cubicBezTo>
                  <a:pt x="223" y="148"/>
                  <a:pt x="223" y="148"/>
                  <a:pt x="223" y="148"/>
                </a:cubicBezTo>
                <a:cubicBezTo>
                  <a:pt x="219" y="143"/>
                  <a:pt x="212" y="143"/>
                  <a:pt x="208" y="148"/>
                </a:cubicBezTo>
                <a:cubicBezTo>
                  <a:pt x="170" y="185"/>
                  <a:pt x="170" y="246"/>
                  <a:pt x="208" y="283"/>
                </a:cubicBezTo>
                <a:cubicBezTo>
                  <a:pt x="209" y="285"/>
                  <a:pt x="211" y="287"/>
                  <a:pt x="213" y="288"/>
                </a:cubicBezTo>
                <a:cubicBezTo>
                  <a:pt x="174" y="395"/>
                  <a:pt x="174" y="395"/>
                  <a:pt x="174" y="395"/>
                </a:cubicBezTo>
                <a:cubicBezTo>
                  <a:pt x="160" y="395"/>
                  <a:pt x="160" y="395"/>
                  <a:pt x="160" y="395"/>
                </a:cubicBezTo>
                <a:cubicBezTo>
                  <a:pt x="154" y="395"/>
                  <a:pt x="149" y="400"/>
                  <a:pt x="149" y="406"/>
                </a:cubicBezTo>
                <a:cubicBezTo>
                  <a:pt x="149" y="412"/>
                  <a:pt x="154" y="416"/>
                  <a:pt x="160" y="416"/>
                </a:cubicBezTo>
                <a:cubicBezTo>
                  <a:pt x="288" y="416"/>
                  <a:pt x="288" y="416"/>
                  <a:pt x="288" y="416"/>
                </a:cubicBezTo>
                <a:cubicBezTo>
                  <a:pt x="294" y="416"/>
                  <a:pt x="299" y="412"/>
                  <a:pt x="299" y="406"/>
                </a:cubicBezTo>
                <a:cubicBezTo>
                  <a:pt x="299" y="400"/>
                  <a:pt x="294" y="395"/>
                  <a:pt x="288" y="395"/>
                </a:cubicBezTo>
                <a:cubicBezTo>
                  <a:pt x="274" y="395"/>
                  <a:pt x="274" y="395"/>
                  <a:pt x="274" y="395"/>
                </a:cubicBezTo>
                <a:cubicBezTo>
                  <a:pt x="241" y="305"/>
                  <a:pt x="241" y="305"/>
                  <a:pt x="241" y="305"/>
                </a:cubicBezTo>
                <a:cubicBezTo>
                  <a:pt x="252" y="309"/>
                  <a:pt x="264" y="311"/>
                  <a:pt x="276" y="311"/>
                </a:cubicBezTo>
                <a:cubicBezTo>
                  <a:pt x="300" y="311"/>
                  <a:pt x="325" y="302"/>
                  <a:pt x="343" y="283"/>
                </a:cubicBezTo>
                <a:cubicBezTo>
                  <a:pt x="345" y="281"/>
                  <a:pt x="347" y="279"/>
                  <a:pt x="347" y="276"/>
                </a:cubicBezTo>
                <a:close/>
                <a:moveTo>
                  <a:pt x="288" y="182"/>
                </a:moveTo>
                <a:cubicBezTo>
                  <a:pt x="300" y="182"/>
                  <a:pt x="309" y="191"/>
                  <a:pt x="309" y="203"/>
                </a:cubicBezTo>
                <a:cubicBezTo>
                  <a:pt x="309" y="209"/>
                  <a:pt x="314" y="214"/>
                  <a:pt x="320" y="214"/>
                </a:cubicBezTo>
                <a:cubicBezTo>
                  <a:pt x="326" y="214"/>
                  <a:pt x="331" y="209"/>
                  <a:pt x="331" y="203"/>
                </a:cubicBezTo>
                <a:cubicBezTo>
                  <a:pt x="331" y="179"/>
                  <a:pt x="312" y="160"/>
                  <a:pt x="288" y="160"/>
                </a:cubicBezTo>
                <a:cubicBezTo>
                  <a:pt x="282" y="160"/>
                  <a:pt x="277" y="165"/>
                  <a:pt x="277" y="171"/>
                </a:cubicBezTo>
                <a:cubicBezTo>
                  <a:pt x="277" y="177"/>
                  <a:pt x="282" y="182"/>
                  <a:pt x="288" y="182"/>
                </a:cubicBezTo>
                <a:close/>
                <a:moveTo>
                  <a:pt x="373" y="203"/>
                </a:moveTo>
                <a:cubicBezTo>
                  <a:pt x="373" y="156"/>
                  <a:pt x="335" y="118"/>
                  <a:pt x="288" y="118"/>
                </a:cubicBezTo>
                <a:cubicBezTo>
                  <a:pt x="282" y="118"/>
                  <a:pt x="277" y="122"/>
                  <a:pt x="277" y="128"/>
                </a:cubicBezTo>
                <a:cubicBezTo>
                  <a:pt x="277" y="134"/>
                  <a:pt x="282" y="139"/>
                  <a:pt x="288" y="139"/>
                </a:cubicBezTo>
                <a:cubicBezTo>
                  <a:pt x="323" y="139"/>
                  <a:pt x="352" y="168"/>
                  <a:pt x="352" y="203"/>
                </a:cubicBezTo>
                <a:cubicBezTo>
                  <a:pt x="352" y="209"/>
                  <a:pt x="357" y="214"/>
                  <a:pt x="363" y="214"/>
                </a:cubicBezTo>
                <a:cubicBezTo>
                  <a:pt x="369" y="214"/>
                  <a:pt x="373" y="209"/>
                  <a:pt x="373" y="203"/>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129" name="Freeform 756">
            <a:extLst>
              <a:ext uri="{FF2B5EF4-FFF2-40B4-BE49-F238E27FC236}">
                <a16:creationId xmlns:a16="http://schemas.microsoft.com/office/drawing/2014/main" id="{50095C37-33B2-0F47-9043-8E8E29EBF787}"/>
              </a:ext>
            </a:extLst>
          </p:cNvPr>
          <p:cNvSpPr>
            <a:spLocks noChangeAspect="1" noEditPoints="1"/>
          </p:cNvSpPr>
          <p:nvPr/>
        </p:nvSpPr>
        <p:spPr bwMode="auto">
          <a:xfrm>
            <a:off x="8106433" y="3165897"/>
            <a:ext cx="370022" cy="370022"/>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130" name="Freeform 96">
            <a:extLst>
              <a:ext uri="{FF2B5EF4-FFF2-40B4-BE49-F238E27FC236}">
                <a16:creationId xmlns:a16="http://schemas.microsoft.com/office/drawing/2014/main" id="{C897E1C5-C5CA-774C-95A0-D0105D0B0415}"/>
              </a:ext>
            </a:extLst>
          </p:cNvPr>
          <p:cNvSpPr>
            <a:spLocks noChangeAspect="1" noEditPoints="1"/>
          </p:cNvSpPr>
          <p:nvPr/>
        </p:nvSpPr>
        <p:spPr bwMode="auto">
          <a:xfrm>
            <a:off x="10312221" y="3167216"/>
            <a:ext cx="367384" cy="367384"/>
          </a:xfrm>
          <a:custGeom>
            <a:avLst/>
            <a:gdLst>
              <a:gd name="T0" fmla="*/ 340 w 512"/>
              <a:gd name="T1" fmla="*/ 232 h 512"/>
              <a:gd name="T2" fmla="*/ 258 w 512"/>
              <a:gd name="T3" fmla="*/ 315 h 512"/>
              <a:gd name="T4" fmla="*/ 175 w 512"/>
              <a:gd name="T5" fmla="*/ 232 h 512"/>
              <a:gd name="T6" fmla="*/ 258 w 512"/>
              <a:gd name="T7" fmla="*/ 150 h 512"/>
              <a:gd name="T8" fmla="*/ 340 w 512"/>
              <a:gd name="T9" fmla="*/ 23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55 w 512"/>
              <a:gd name="T21" fmla="*/ 320 h 512"/>
              <a:gd name="T22" fmla="*/ 340 w 512"/>
              <a:gd name="T23" fmla="*/ 319 h 512"/>
              <a:gd name="T24" fmla="*/ 258 w 512"/>
              <a:gd name="T25" fmla="*/ 352 h 512"/>
              <a:gd name="T26" fmla="*/ 138 w 512"/>
              <a:gd name="T27" fmla="*/ 232 h 512"/>
              <a:gd name="T28" fmla="*/ 171 w 512"/>
              <a:gd name="T29" fmla="*/ 150 h 512"/>
              <a:gd name="T30" fmla="*/ 170 w 512"/>
              <a:gd name="T31" fmla="*/ 135 h 512"/>
              <a:gd name="T32" fmla="*/ 155 w 512"/>
              <a:gd name="T33" fmla="*/ 136 h 512"/>
              <a:gd name="T34" fmla="*/ 117 w 512"/>
              <a:gd name="T35" fmla="*/ 232 h 512"/>
              <a:gd name="T36" fmla="*/ 245 w 512"/>
              <a:gd name="T37" fmla="*/ 372 h 512"/>
              <a:gd name="T38" fmla="*/ 245 w 512"/>
              <a:gd name="T39" fmla="*/ 394 h 512"/>
              <a:gd name="T40" fmla="*/ 192 w 512"/>
              <a:gd name="T41" fmla="*/ 394 h 512"/>
              <a:gd name="T42" fmla="*/ 181 w 512"/>
              <a:gd name="T43" fmla="*/ 405 h 512"/>
              <a:gd name="T44" fmla="*/ 192 w 512"/>
              <a:gd name="T45" fmla="*/ 416 h 512"/>
              <a:gd name="T46" fmla="*/ 320 w 512"/>
              <a:gd name="T47" fmla="*/ 416 h 512"/>
              <a:gd name="T48" fmla="*/ 330 w 512"/>
              <a:gd name="T49" fmla="*/ 405 h 512"/>
              <a:gd name="T50" fmla="*/ 320 w 512"/>
              <a:gd name="T51" fmla="*/ 394 h 512"/>
              <a:gd name="T52" fmla="*/ 266 w 512"/>
              <a:gd name="T53" fmla="*/ 394 h 512"/>
              <a:gd name="T54" fmla="*/ 266 w 512"/>
              <a:gd name="T55" fmla="*/ 373 h 512"/>
              <a:gd name="T56" fmla="*/ 354 w 512"/>
              <a:gd name="T57" fmla="*/ 335 h 512"/>
              <a:gd name="T58" fmla="*/ 355 w 512"/>
              <a:gd name="T59" fmla="*/ 320 h 512"/>
              <a:gd name="T60" fmla="*/ 362 w 512"/>
              <a:gd name="T61" fmla="*/ 232 h 512"/>
              <a:gd name="T62" fmla="*/ 258 w 512"/>
              <a:gd name="T63" fmla="*/ 128 h 512"/>
              <a:gd name="T64" fmla="*/ 154 w 512"/>
              <a:gd name="T65" fmla="*/ 232 h 512"/>
              <a:gd name="T66" fmla="*/ 258 w 512"/>
              <a:gd name="T67" fmla="*/ 336 h 512"/>
              <a:gd name="T68" fmla="*/ 362 w 512"/>
              <a:gd name="T69" fmla="*/ 2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40" y="232"/>
                </a:moveTo>
                <a:cubicBezTo>
                  <a:pt x="340" y="278"/>
                  <a:pt x="303" y="315"/>
                  <a:pt x="258" y="315"/>
                </a:cubicBezTo>
                <a:cubicBezTo>
                  <a:pt x="212" y="315"/>
                  <a:pt x="175" y="278"/>
                  <a:pt x="175" y="232"/>
                </a:cubicBezTo>
                <a:cubicBezTo>
                  <a:pt x="175" y="187"/>
                  <a:pt x="212" y="150"/>
                  <a:pt x="258" y="150"/>
                </a:cubicBezTo>
                <a:cubicBezTo>
                  <a:pt x="303" y="150"/>
                  <a:pt x="340" y="187"/>
                  <a:pt x="340" y="23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5" y="320"/>
                </a:moveTo>
                <a:cubicBezTo>
                  <a:pt x="351" y="315"/>
                  <a:pt x="344" y="315"/>
                  <a:pt x="340" y="319"/>
                </a:cubicBezTo>
                <a:cubicBezTo>
                  <a:pt x="317" y="340"/>
                  <a:pt x="288" y="352"/>
                  <a:pt x="258" y="352"/>
                </a:cubicBezTo>
                <a:cubicBezTo>
                  <a:pt x="192" y="352"/>
                  <a:pt x="138" y="298"/>
                  <a:pt x="138" y="232"/>
                </a:cubicBezTo>
                <a:cubicBezTo>
                  <a:pt x="138" y="202"/>
                  <a:pt x="150" y="173"/>
                  <a:pt x="171" y="150"/>
                </a:cubicBezTo>
                <a:cubicBezTo>
                  <a:pt x="175" y="146"/>
                  <a:pt x="175" y="139"/>
                  <a:pt x="170" y="135"/>
                </a:cubicBezTo>
                <a:cubicBezTo>
                  <a:pt x="166" y="131"/>
                  <a:pt x="159" y="132"/>
                  <a:pt x="155" y="136"/>
                </a:cubicBezTo>
                <a:cubicBezTo>
                  <a:pt x="131" y="162"/>
                  <a:pt x="117" y="196"/>
                  <a:pt x="117" y="232"/>
                </a:cubicBezTo>
                <a:cubicBezTo>
                  <a:pt x="117" y="306"/>
                  <a:pt x="173" y="366"/>
                  <a:pt x="245" y="372"/>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373"/>
                  <a:pt x="266" y="373"/>
                  <a:pt x="266" y="373"/>
                </a:cubicBezTo>
                <a:cubicBezTo>
                  <a:pt x="299" y="371"/>
                  <a:pt x="330" y="357"/>
                  <a:pt x="354" y="335"/>
                </a:cubicBezTo>
                <a:cubicBezTo>
                  <a:pt x="358" y="331"/>
                  <a:pt x="359" y="324"/>
                  <a:pt x="355" y="320"/>
                </a:cubicBezTo>
                <a:close/>
                <a:moveTo>
                  <a:pt x="362" y="232"/>
                </a:moveTo>
                <a:cubicBezTo>
                  <a:pt x="362" y="175"/>
                  <a:pt x="315" y="128"/>
                  <a:pt x="258" y="128"/>
                </a:cubicBezTo>
                <a:cubicBezTo>
                  <a:pt x="200" y="128"/>
                  <a:pt x="154" y="175"/>
                  <a:pt x="154" y="232"/>
                </a:cubicBezTo>
                <a:cubicBezTo>
                  <a:pt x="154" y="290"/>
                  <a:pt x="200" y="336"/>
                  <a:pt x="258" y="336"/>
                </a:cubicBezTo>
                <a:cubicBezTo>
                  <a:pt x="315" y="336"/>
                  <a:pt x="362" y="290"/>
                  <a:pt x="362" y="232"/>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sz="1300" dirty="0"/>
          </a:p>
        </p:txBody>
      </p:sp>
      <p:grpSp>
        <p:nvGrpSpPr>
          <p:cNvPr id="2" name="Group 1"/>
          <p:cNvGrpSpPr/>
          <p:nvPr/>
        </p:nvGrpSpPr>
        <p:grpSpPr>
          <a:xfrm>
            <a:off x="465818" y="1714500"/>
            <a:ext cx="11260364" cy="638558"/>
            <a:chOff x="529404" y="1578244"/>
            <a:chExt cx="11260364" cy="774814"/>
          </a:xfrm>
        </p:grpSpPr>
        <p:sp>
          <p:nvSpPr>
            <p:cNvPr id="98" name="Isosceles Triangle 1">
              <a:extLst>
                <a:ext uri="{FF2B5EF4-FFF2-40B4-BE49-F238E27FC236}">
                  <a16:creationId xmlns:a16="http://schemas.microsoft.com/office/drawing/2014/main" id="{224E06EB-493C-964A-B822-0291CCA1A8CD}"/>
                </a:ext>
              </a:extLst>
            </p:cNvPr>
            <p:cNvSpPr/>
            <p:nvPr/>
          </p:nvSpPr>
          <p:spPr bwMode="gray">
            <a:xfrm>
              <a:off x="529404" y="1578244"/>
              <a:ext cx="11260364" cy="774814"/>
            </a:xfrm>
            <a:prstGeom prst="triangle">
              <a:avLst/>
            </a:prstGeom>
            <a:solidFill>
              <a:srgbClr val="53565A"/>
            </a:solidFill>
            <a:ln w="19050" algn="ctr">
              <a:noFill/>
              <a:miter lim="800000"/>
              <a:headEnd/>
              <a:tailEnd/>
            </a:ln>
          </p:spPr>
          <p:txBody>
            <a:bodyPr wrap="square" lIns="93834" tIns="93834" rIns="93834" bIns="93834" rtlCol="0" anchor="ctr"/>
            <a:lstStyle/>
            <a:p>
              <a:pPr defTabSz="965149">
                <a:defRPr/>
              </a:pPr>
              <a:endParaRPr lang="en-US" sz="1300" kern="0" dirty="0">
                <a:solidFill>
                  <a:prstClr val="white"/>
                </a:solidFill>
                <a:latin typeface="Verdana"/>
              </a:endParaRPr>
            </a:p>
          </p:txBody>
        </p:sp>
        <p:sp>
          <p:nvSpPr>
            <p:cNvPr id="38" name="Isosceles Triangle 1">
              <a:extLst>
                <a:ext uri="{FF2B5EF4-FFF2-40B4-BE49-F238E27FC236}">
                  <a16:creationId xmlns:a16="http://schemas.microsoft.com/office/drawing/2014/main" id="{224E06EB-493C-964A-B822-0291CCA1A8CD}"/>
                </a:ext>
              </a:extLst>
            </p:cNvPr>
            <p:cNvSpPr/>
            <p:nvPr/>
          </p:nvSpPr>
          <p:spPr bwMode="gray">
            <a:xfrm>
              <a:off x="1587586" y="1578470"/>
              <a:ext cx="9144000" cy="629189"/>
            </a:xfrm>
            <a:prstGeom prst="triangle">
              <a:avLst/>
            </a:prstGeom>
            <a:solidFill>
              <a:srgbClr val="000000"/>
            </a:solidFill>
            <a:ln w="19050" algn="ctr">
              <a:noFill/>
              <a:miter lim="800000"/>
              <a:headEnd/>
              <a:tailEnd/>
            </a:ln>
          </p:spPr>
          <p:txBody>
            <a:bodyPr wrap="square" lIns="93834" tIns="93834" rIns="93834" bIns="93834" rtlCol="0" anchor="ctr"/>
            <a:lstStyle/>
            <a:p>
              <a:pPr defTabSz="965149">
                <a:defRPr/>
              </a:pPr>
              <a:endParaRPr lang="en-US" sz="1300" kern="0" dirty="0">
                <a:solidFill>
                  <a:prstClr val="white"/>
                </a:solidFill>
                <a:latin typeface="Verdana"/>
              </a:endParaRPr>
            </a:p>
          </p:txBody>
        </p:sp>
      </p:grpSp>
    </p:spTree>
    <p:custDataLst>
      <p:tags r:id="rId1"/>
    </p:custDataLst>
    <p:extLst>
      <p:ext uri="{BB962C8B-B14F-4D97-AF65-F5344CB8AC3E}">
        <p14:creationId xmlns:p14="http://schemas.microsoft.com/office/powerpoint/2010/main" val="2904497288"/>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椭圆 4"/>
          <p:cNvSpPr/>
          <p:nvPr/>
        </p:nvSpPr>
        <p:spPr bwMode="gray">
          <a:xfrm>
            <a:off x="849946" y="1733889"/>
            <a:ext cx="1728787" cy="1728787"/>
          </a:xfrm>
          <a:prstGeom prst="ellipse">
            <a:avLst/>
          </a:prstGeom>
          <a:noFill/>
          <a:ln w="3810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12" name="任意多边形 11"/>
          <p:cNvSpPr/>
          <p:nvPr/>
        </p:nvSpPr>
        <p:spPr bwMode="gray">
          <a:xfrm>
            <a:off x="940339" y="2598281"/>
            <a:ext cx="1548000" cy="774000"/>
          </a:xfrm>
          <a:custGeom>
            <a:avLst/>
            <a:gdLst>
              <a:gd name="connsiteX0" fmla="*/ 0 w 1548000"/>
              <a:gd name="connsiteY0" fmla="*/ 0 h 774000"/>
              <a:gd name="connsiteX1" fmla="*/ 1548000 w 1548000"/>
              <a:gd name="connsiteY1" fmla="*/ 0 h 774000"/>
              <a:gd name="connsiteX2" fmla="*/ 774000 w 1548000"/>
              <a:gd name="connsiteY2" fmla="*/ 774000 h 774000"/>
              <a:gd name="connsiteX3" fmla="*/ 0 w 1548000"/>
              <a:gd name="connsiteY3" fmla="*/ 0 h 774000"/>
            </a:gdLst>
            <a:ahLst/>
            <a:cxnLst>
              <a:cxn ang="0">
                <a:pos x="connsiteX0" y="connsiteY0"/>
              </a:cxn>
              <a:cxn ang="0">
                <a:pos x="connsiteX1" y="connsiteY1"/>
              </a:cxn>
              <a:cxn ang="0">
                <a:pos x="connsiteX2" y="connsiteY2"/>
              </a:cxn>
              <a:cxn ang="0">
                <a:pos x="connsiteX3" y="connsiteY3"/>
              </a:cxn>
            </a:cxnLst>
            <a:rect l="l" t="t" r="r" b="b"/>
            <a:pathLst>
              <a:path w="1548000" h="774000">
                <a:moveTo>
                  <a:pt x="0" y="0"/>
                </a:moveTo>
                <a:lnTo>
                  <a:pt x="1548000" y="0"/>
                </a:lnTo>
                <a:cubicBezTo>
                  <a:pt x="1548000" y="427468"/>
                  <a:pt x="1201468" y="774000"/>
                  <a:pt x="774000" y="774000"/>
                </a:cubicBezTo>
                <a:cubicBezTo>
                  <a:pt x="346532" y="774000"/>
                  <a:pt x="0" y="427468"/>
                  <a:pt x="0" y="0"/>
                </a:cubicBezTo>
                <a:close/>
              </a:path>
            </a:pathLst>
          </a:cu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cxnSp>
        <p:nvCxnSpPr>
          <p:cNvPr id="17" name="直接连接符 16"/>
          <p:cNvCxnSpPr/>
          <p:nvPr/>
        </p:nvCxnSpPr>
        <p:spPr>
          <a:xfrm>
            <a:off x="1714316" y="3462675"/>
            <a:ext cx="46" cy="713842"/>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sp>
        <p:nvSpPr>
          <p:cNvPr id="19" name="Rectangle 160"/>
          <p:cNvSpPr/>
          <p:nvPr/>
        </p:nvSpPr>
        <p:spPr>
          <a:xfrm>
            <a:off x="557780" y="4703624"/>
            <a:ext cx="2313117"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grpSp>
        <p:nvGrpSpPr>
          <p:cNvPr id="30" name="组合 29"/>
          <p:cNvGrpSpPr/>
          <p:nvPr/>
        </p:nvGrpSpPr>
        <p:grpSpPr>
          <a:xfrm>
            <a:off x="1401756" y="1953153"/>
            <a:ext cx="625167" cy="542598"/>
            <a:chOff x="6716189" y="4824598"/>
            <a:chExt cx="897882" cy="779294"/>
          </a:xfrm>
          <a:solidFill>
            <a:srgbClr val="000000"/>
          </a:solidFill>
        </p:grpSpPr>
        <p:sp>
          <p:nvSpPr>
            <p:cNvPr id="26" name="Freeform 59"/>
            <p:cNvSpPr>
              <a:spLocks noEditPoints="1"/>
            </p:cNvSpPr>
            <p:nvPr/>
          </p:nvSpPr>
          <p:spPr bwMode="auto">
            <a:xfrm>
              <a:off x="6716189" y="4824598"/>
              <a:ext cx="897882" cy="77929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7" name="Oval 60"/>
            <p:cNvSpPr>
              <a:spLocks noChangeArrowheads="1"/>
            </p:cNvSpPr>
            <p:nvPr/>
          </p:nvSpPr>
          <p:spPr bwMode="auto">
            <a:xfrm>
              <a:off x="7012659" y="5091422"/>
              <a:ext cx="63529" cy="63529"/>
            </a:xfrm>
            <a:prstGeom prst="ellipse">
              <a:avLst/>
            </a:pr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8" name="Oval 61"/>
            <p:cNvSpPr>
              <a:spLocks noChangeArrowheads="1"/>
            </p:cNvSpPr>
            <p:nvPr/>
          </p:nvSpPr>
          <p:spPr bwMode="auto">
            <a:xfrm>
              <a:off x="7135483" y="5091422"/>
              <a:ext cx="59294" cy="63529"/>
            </a:xfrm>
            <a:prstGeom prst="ellipse">
              <a:avLst/>
            </a:pr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9" name="Oval 62"/>
            <p:cNvSpPr>
              <a:spLocks noChangeArrowheads="1"/>
            </p:cNvSpPr>
            <p:nvPr/>
          </p:nvSpPr>
          <p:spPr bwMode="auto">
            <a:xfrm>
              <a:off x="7254071" y="5091422"/>
              <a:ext cx="59294" cy="63529"/>
            </a:xfrm>
            <a:prstGeom prst="ellipse">
              <a:avLst/>
            </a:pr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grpSp>
      <p:sp>
        <p:nvSpPr>
          <p:cNvPr id="44" name="椭圆 43"/>
          <p:cNvSpPr/>
          <p:nvPr/>
        </p:nvSpPr>
        <p:spPr bwMode="gray">
          <a:xfrm>
            <a:off x="3791881" y="1733889"/>
            <a:ext cx="1728787" cy="1728787"/>
          </a:xfrm>
          <a:prstGeom prst="ellipse">
            <a:avLst/>
          </a:prstGeom>
          <a:noFill/>
          <a:ln w="3810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45" name="任意多边形 44"/>
          <p:cNvSpPr/>
          <p:nvPr/>
        </p:nvSpPr>
        <p:spPr bwMode="gray">
          <a:xfrm>
            <a:off x="3882274" y="2598281"/>
            <a:ext cx="1548000" cy="774000"/>
          </a:xfrm>
          <a:custGeom>
            <a:avLst/>
            <a:gdLst>
              <a:gd name="connsiteX0" fmla="*/ 0 w 1548000"/>
              <a:gd name="connsiteY0" fmla="*/ 0 h 774000"/>
              <a:gd name="connsiteX1" fmla="*/ 1548000 w 1548000"/>
              <a:gd name="connsiteY1" fmla="*/ 0 h 774000"/>
              <a:gd name="connsiteX2" fmla="*/ 774000 w 1548000"/>
              <a:gd name="connsiteY2" fmla="*/ 774000 h 774000"/>
              <a:gd name="connsiteX3" fmla="*/ 0 w 1548000"/>
              <a:gd name="connsiteY3" fmla="*/ 0 h 774000"/>
            </a:gdLst>
            <a:ahLst/>
            <a:cxnLst>
              <a:cxn ang="0">
                <a:pos x="connsiteX0" y="connsiteY0"/>
              </a:cxn>
              <a:cxn ang="0">
                <a:pos x="connsiteX1" y="connsiteY1"/>
              </a:cxn>
              <a:cxn ang="0">
                <a:pos x="connsiteX2" y="connsiteY2"/>
              </a:cxn>
              <a:cxn ang="0">
                <a:pos x="connsiteX3" y="connsiteY3"/>
              </a:cxn>
            </a:cxnLst>
            <a:rect l="l" t="t" r="r" b="b"/>
            <a:pathLst>
              <a:path w="1548000" h="774000">
                <a:moveTo>
                  <a:pt x="0" y="0"/>
                </a:moveTo>
                <a:lnTo>
                  <a:pt x="1548000" y="0"/>
                </a:lnTo>
                <a:cubicBezTo>
                  <a:pt x="1548000" y="427468"/>
                  <a:pt x="1201468" y="774000"/>
                  <a:pt x="774000" y="774000"/>
                </a:cubicBezTo>
                <a:cubicBezTo>
                  <a:pt x="346532" y="774000"/>
                  <a:pt x="0" y="427468"/>
                  <a:pt x="0" y="0"/>
                </a:cubicBezTo>
                <a:close/>
              </a:path>
            </a:pathLst>
          </a:cu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cxnSp>
        <p:nvCxnSpPr>
          <p:cNvPr id="46" name="直接连接符 45"/>
          <p:cNvCxnSpPr/>
          <p:nvPr/>
        </p:nvCxnSpPr>
        <p:spPr>
          <a:xfrm>
            <a:off x="4656251" y="3462675"/>
            <a:ext cx="46" cy="713842"/>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48" name="Rectangle 160"/>
          <p:cNvSpPr/>
          <p:nvPr/>
        </p:nvSpPr>
        <p:spPr>
          <a:xfrm>
            <a:off x="3499716" y="4703624"/>
            <a:ext cx="2313117"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sp>
        <p:nvSpPr>
          <p:cNvPr id="56" name="椭圆 55"/>
          <p:cNvSpPr/>
          <p:nvPr/>
        </p:nvSpPr>
        <p:spPr bwMode="gray">
          <a:xfrm>
            <a:off x="6733815" y="1733889"/>
            <a:ext cx="1728787" cy="1728787"/>
          </a:xfrm>
          <a:prstGeom prst="ellipse">
            <a:avLst/>
          </a:prstGeom>
          <a:noFill/>
          <a:ln w="3810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57" name="任意多边形 56"/>
          <p:cNvSpPr/>
          <p:nvPr/>
        </p:nvSpPr>
        <p:spPr bwMode="gray">
          <a:xfrm>
            <a:off x="6824208" y="2598281"/>
            <a:ext cx="1548000" cy="774000"/>
          </a:xfrm>
          <a:custGeom>
            <a:avLst/>
            <a:gdLst>
              <a:gd name="connsiteX0" fmla="*/ 0 w 1548000"/>
              <a:gd name="connsiteY0" fmla="*/ 0 h 774000"/>
              <a:gd name="connsiteX1" fmla="*/ 1548000 w 1548000"/>
              <a:gd name="connsiteY1" fmla="*/ 0 h 774000"/>
              <a:gd name="connsiteX2" fmla="*/ 774000 w 1548000"/>
              <a:gd name="connsiteY2" fmla="*/ 774000 h 774000"/>
              <a:gd name="connsiteX3" fmla="*/ 0 w 1548000"/>
              <a:gd name="connsiteY3" fmla="*/ 0 h 774000"/>
            </a:gdLst>
            <a:ahLst/>
            <a:cxnLst>
              <a:cxn ang="0">
                <a:pos x="connsiteX0" y="connsiteY0"/>
              </a:cxn>
              <a:cxn ang="0">
                <a:pos x="connsiteX1" y="connsiteY1"/>
              </a:cxn>
              <a:cxn ang="0">
                <a:pos x="connsiteX2" y="connsiteY2"/>
              </a:cxn>
              <a:cxn ang="0">
                <a:pos x="connsiteX3" y="connsiteY3"/>
              </a:cxn>
            </a:cxnLst>
            <a:rect l="l" t="t" r="r" b="b"/>
            <a:pathLst>
              <a:path w="1548000" h="774000">
                <a:moveTo>
                  <a:pt x="0" y="0"/>
                </a:moveTo>
                <a:lnTo>
                  <a:pt x="1548000" y="0"/>
                </a:lnTo>
                <a:cubicBezTo>
                  <a:pt x="1548000" y="427468"/>
                  <a:pt x="1201468" y="774000"/>
                  <a:pt x="774000" y="774000"/>
                </a:cubicBezTo>
                <a:cubicBezTo>
                  <a:pt x="346532" y="774000"/>
                  <a:pt x="0" y="427468"/>
                  <a:pt x="0" y="0"/>
                </a:cubicBezTo>
                <a:close/>
              </a:path>
            </a:pathLst>
          </a:cu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cxnSp>
        <p:nvCxnSpPr>
          <p:cNvPr id="58" name="直接连接符 57"/>
          <p:cNvCxnSpPr/>
          <p:nvPr/>
        </p:nvCxnSpPr>
        <p:spPr>
          <a:xfrm>
            <a:off x="7598185" y="3462675"/>
            <a:ext cx="46" cy="713842"/>
          </a:xfrm>
          <a:prstGeom prst="line">
            <a:avLst/>
          </a:prstGeom>
          <a:ln w="28575">
            <a:solidFill>
              <a:srgbClr val="86BC25"/>
            </a:solidFill>
            <a:prstDash val="sysDot"/>
          </a:ln>
        </p:spPr>
        <p:style>
          <a:lnRef idx="1">
            <a:schemeClr val="accent1"/>
          </a:lnRef>
          <a:fillRef idx="0">
            <a:schemeClr val="accent1"/>
          </a:fillRef>
          <a:effectRef idx="0">
            <a:schemeClr val="accent1"/>
          </a:effectRef>
          <a:fontRef idx="minor">
            <a:schemeClr val="tx1"/>
          </a:fontRef>
        </p:style>
      </p:cxnSp>
      <p:sp>
        <p:nvSpPr>
          <p:cNvPr id="60" name="Rectangle 160"/>
          <p:cNvSpPr/>
          <p:nvPr/>
        </p:nvSpPr>
        <p:spPr>
          <a:xfrm>
            <a:off x="6441649" y="4703624"/>
            <a:ext cx="2313118"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sp>
        <p:nvSpPr>
          <p:cNvPr id="68" name="椭圆 67"/>
          <p:cNvSpPr/>
          <p:nvPr/>
        </p:nvSpPr>
        <p:spPr bwMode="gray">
          <a:xfrm>
            <a:off x="9675749" y="1733889"/>
            <a:ext cx="1728787" cy="1728787"/>
          </a:xfrm>
          <a:prstGeom prst="ellipse">
            <a:avLst/>
          </a:prstGeom>
          <a:noFill/>
          <a:ln w="3810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69" name="任意多边形 68"/>
          <p:cNvSpPr/>
          <p:nvPr/>
        </p:nvSpPr>
        <p:spPr bwMode="gray">
          <a:xfrm>
            <a:off x="9766142" y="2598281"/>
            <a:ext cx="1548000" cy="774000"/>
          </a:xfrm>
          <a:custGeom>
            <a:avLst/>
            <a:gdLst>
              <a:gd name="connsiteX0" fmla="*/ 0 w 1548000"/>
              <a:gd name="connsiteY0" fmla="*/ 0 h 774000"/>
              <a:gd name="connsiteX1" fmla="*/ 1548000 w 1548000"/>
              <a:gd name="connsiteY1" fmla="*/ 0 h 774000"/>
              <a:gd name="connsiteX2" fmla="*/ 774000 w 1548000"/>
              <a:gd name="connsiteY2" fmla="*/ 774000 h 774000"/>
              <a:gd name="connsiteX3" fmla="*/ 0 w 1548000"/>
              <a:gd name="connsiteY3" fmla="*/ 0 h 774000"/>
            </a:gdLst>
            <a:ahLst/>
            <a:cxnLst>
              <a:cxn ang="0">
                <a:pos x="connsiteX0" y="connsiteY0"/>
              </a:cxn>
              <a:cxn ang="0">
                <a:pos x="connsiteX1" y="connsiteY1"/>
              </a:cxn>
              <a:cxn ang="0">
                <a:pos x="connsiteX2" y="connsiteY2"/>
              </a:cxn>
              <a:cxn ang="0">
                <a:pos x="connsiteX3" y="connsiteY3"/>
              </a:cxn>
            </a:cxnLst>
            <a:rect l="l" t="t" r="r" b="b"/>
            <a:pathLst>
              <a:path w="1548000" h="774000">
                <a:moveTo>
                  <a:pt x="0" y="0"/>
                </a:moveTo>
                <a:lnTo>
                  <a:pt x="1548000" y="0"/>
                </a:lnTo>
                <a:cubicBezTo>
                  <a:pt x="1548000" y="427468"/>
                  <a:pt x="1201468" y="774000"/>
                  <a:pt x="774000" y="774000"/>
                </a:cubicBezTo>
                <a:cubicBezTo>
                  <a:pt x="346532" y="774000"/>
                  <a:pt x="0" y="427468"/>
                  <a:pt x="0" y="0"/>
                </a:cubicBezTo>
                <a:close/>
              </a:path>
            </a:pathLst>
          </a:cu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cxnSp>
        <p:nvCxnSpPr>
          <p:cNvPr id="70" name="直接连接符 69"/>
          <p:cNvCxnSpPr/>
          <p:nvPr/>
        </p:nvCxnSpPr>
        <p:spPr>
          <a:xfrm>
            <a:off x="10540119" y="3462675"/>
            <a:ext cx="46" cy="713842"/>
          </a:xfrm>
          <a:prstGeom prst="line">
            <a:avLst/>
          </a:prstGeom>
          <a:ln w="28575">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72" name="Rectangle 160"/>
          <p:cNvSpPr/>
          <p:nvPr/>
        </p:nvSpPr>
        <p:spPr>
          <a:xfrm>
            <a:off x="9383583" y="4703624"/>
            <a:ext cx="2313118"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sp>
        <p:nvSpPr>
          <p:cNvPr id="18" name="Rounded Rectangle 136"/>
          <p:cNvSpPr/>
          <p:nvPr/>
        </p:nvSpPr>
        <p:spPr>
          <a:xfrm>
            <a:off x="557781" y="4176518"/>
            <a:ext cx="2313117" cy="317193"/>
          </a:xfrm>
          <a:prstGeom prst="roundRect">
            <a:avLst>
              <a:gd name="adj" fmla="val 50000"/>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47" name="Rounded Rectangle 136"/>
          <p:cNvSpPr/>
          <p:nvPr/>
        </p:nvSpPr>
        <p:spPr>
          <a:xfrm>
            <a:off x="3499716" y="4176518"/>
            <a:ext cx="2313117" cy="317193"/>
          </a:xfrm>
          <a:prstGeom prst="roundRect">
            <a:avLst>
              <a:gd name="adj" fmla="val 50000"/>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dirty="0">
                <a:solidFill>
                  <a:schemeClr val="bg1"/>
                </a:solidFill>
              </a:rPr>
              <a:t>Lorem Ipsum</a:t>
            </a:r>
            <a:endParaRPr lang="en-US" sz="1300" dirty="0">
              <a:solidFill>
                <a:schemeClr val="bg1"/>
              </a:solidFill>
            </a:endParaRPr>
          </a:p>
        </p:txBody>
      </p:sp>
      <p:sp>
        <p:nvSpPr>
          <p:cNvPr id="59" name="Rounded Rectangle 136"/>
          <p:cNvSpPr/>
          <p:nvPr/>
        </p:nvSpPr>
        <p:spPr>
          <a:xfrm>
            <a:off x="6441650" y="4176518"/>
            <a:ext cx="2313117" cy="317193"/>
          </a:xfrm>
          <a:prstGeom prst="roundRect">
            <a:avLst>
              <a:gd name="adj" fmla="val 50000"/>
            </a:avLst>
          </a:prstGeom>
          <a:solidFill>
            <a:schemeClr val="accent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71" name="Rounded Rectangle 136"/>
          <p:cNvSpPr/>
          <p:nvPr/>
        </p:nvSpPr>
        <p:spPr>
          <a:xfrm>
            <a:off x="9383584" y="4176518"/>
            <a:ext cx="2313117" cy="317193"/>
          </a:xfrm>
          <a:prstGeom prst="roundRect">
            <a:avLst>
              <a:gd name="adj" fmla="val 50000"/>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84" name="Freeform 728"/>
          <p:cNvSpPr>
            <a:spLocks noEditPoints="1"/>
          </p:cNvSpPr>
          <p:nvPr/>
        </p:nvSpPr>
        <p:spPr bwMode="auto">
          <a:xfrm>
            <a:off x="4371507" y="1923235"/>
            <a:ext cx="569535" cy="572517"/>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solidFill>
            <a:schemeClr val="accent3"/>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87" name="Freeform 993"/>
          <p:cNvSpPr>
            <a:spLocks noEditPoints="1"/>
          </p:cNvSpPr>
          <p:nvPr/>
        </p:nvSpPr>
        <p:spPr bwMode="auto">
          <a:xfrm>
            <a:off x="7310600" y="1923234"/>
            <a:ext cx="575216" cy="572516"/>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solidFill>
            <a:schemeClr val="accent1"/>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90" name="Freeform 262"/>
          <p:cNvSpPr>
            <a:spLocks noEditPoints="1"/>
          </p:cNvSpPr>
          <p:nvPr/>
        </p:nvSpPr>
        <p:spPr bwMode="auto">
          <a:xfrm>
            <a:off x="10245240" y="1958826"/>
            <a:ext cx="589804" cy="501332"/>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rgbClr val="43B02A"/>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Tree>
    <p:custDataLst>
      <p:tags r:id="rId1"/>
    </p:custDataLst>
    <p:extLst>
      <p:ext uri="{BB962C8B-B14F-4D97-AF65-F5344CB8AC3E}">
        <p14:creationId xmlns:p14="http://schemas.microsoft.com/office/powerpoint/2010/main" val="3347133427"/>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413064" y="3308807"/>
            <a:ext cx="1990302" cy="939385"/>
            <a:chOff x="413064" y="3308807"/>
            <a:chExt cx="1990302" cy="939385"/>
          </a:xfrm>
          <a:solidFill>
            <a:srgbClr val="2C5234"/>
          </a:solidFill>
        </p:grpSpPr>
        <p:sp>
          <p:nvSpPr>
            <p:cNvPr id="53" name="Freeform 52">
              <a:extLst>
                <a:ext uri="{FF2B5EF4-FFF2-40B4-BE49-F238E27FC236}">
                  <a16:creationId xmlns:a16="http://schemas.microsoft.com/office/drawing/2014/main" id="{99E5A4D0-164C-0144-9DB3-D86D874FA5B8}"/>
                </a:ext>
              </a:extLst>
            </p:cNvPr>
            <p:cNvSpPr>
              <a:spLocks/>
            </p:cNvSpPr>
            <p:nvPr/>
          </p:nvSpPr>
          <p:spPr bwMode="auto">
            <a:xfrm>
              <a:off x="413064" y="3308807"/>
              <a:ext cx="11938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4" name="Freeform 53">
              <a:extLst>
                <a:ext uri="{FF2B5EF4-FFF2-40B4-BE49-F238E27FC236}">
                  <a16:creationId xmlns:a16="http://schemas.microsoft.com/office/drawing/2014/main" id="{01F7157B-E53F-8C4F-ADAE-0199F159E553}"/>
                </a:ext>
              </a:extLst>
            </p:cNvPr>
            <p:cNvSpPr>
              <a:spLocks/>
            </p:cNvSpPr>
            <p:nvPr/>
          </p:nvSpPr>
          <p:spPr bwMode="auto">
            <a:xfrm>
              <a:off x="2283979" y="3308807"/>
              <a:ext cx="11938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sp>
        <p:nvSpPr>
          <p:cNvPr id="55" name="Freeform 54">
            <a:extLst>
              <a:ext uri="{FF2B5EF4-FFF2-40B4-BE49-F238E27FC236}">
                <a16:creationId xmlns:a16="http://schemas.microsoft.com/office/drawing/2014/main" id="{2F9FA543-FB55-6641-8CC2-D17A9D62F65E}"/>
              </a:ext>
            </a:extLst>
          </p:cNvPr>
          <p:cNvSpPr>
            <a:spLocks/>
          </p:cNvSpPr>
          <p:nvPr/>
        </p:nvSpPr>
        <p:spPr bwMode="auto">
          <a:xfrm>
            <a:off x="529310" y="1701800"/>
            <a:ext cx="1754670" cy="4200526"/>
          </a:xfrm>
          <a:custGeom>
            <a:avLst/>
            <a:gdLst>
              <a:gd name="T0" fmla="*/ 1201 w 2401"/>
              <a:gd name="T1" fmla="*/ 0 h 5743"/>
              <a:gd name="T2" fmla="*/ 1201 w 2401"/>
              <a:gd name="T3" fmla="*/ 0 h 5743"/>
              <a:gd name="T4" fmla="*/ 0 w 2401"/>
              <a:gd name="T5" fmla="*/ 1199 h 5743"/>
              <a:gd name="T6" fmla="*/ 0 w 2401"/>
              <a:gd name="T7" fmla="*/ 5092 h 5743"/>
              <a:gd name="T8" fmla="*/ 1197 w 2401"/>
              <a:gd name="T9" fmla="*/ 5743 h 5743"/>
              <a:gd name="T10" fmla="*/ 2401 w 2401"/>
              <a:gd name="T11" fmla="*/ 5092 h 5743"/>
              <a:gd name="T12" fmla="*/ 2401 w 2401"/>
              <a:gd name="T13" fmla="*/ 1199 h 5743"/>
              <a:gd name="T14" fmla="*/ 1201 w 2401"/>
              <a:gd name="T15" fmla="*/ 0 h 57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1" h="5743">
                <a:moveTo>
                  <a:pt x="1201" y="0"/>
                </a:moveTo>
                <a:lnTo>
                  <a:pt x="1201" y="0"/>
                </a:lnTo>
                <a:cubicBezTo>
                  <a:pt x="537" y="0"/>
                  <a:pt x="0" y="536"/>
                  <a:pt x="0" y="1199"/>
                </a:cubicBezTo>
                <a:lnTo>
                  <a:pt x="0" y="5092"/>
                </a:lnTo>
                <a:lnTo>
                  <a:pt x="1197" y="5743"/>
                </a:lnTo>
                <a:lnTo>
                  <a:pt x="2401" y="5092"/>
                </a:lnTo>
                <a:lnTo>
                  <a:pt x="2401" y="1199"/>
                </a:lnTo>
                <a:cubicBezTo>
                  <a:pt x="2401" y="536"/>
                  <a:pt x="1864" y="0"/>
                  <a:pt x="1201" y="0"/>
                </a:cubicBezTo>
                <a:close/>
              </a:path>
            </a:pathLst>
          </a:custGeom>
          <a:solidFill>
            <a:srgbClr val="046A3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6" name="Freeform 55">
            <a:extLst>
              <a:ext uri="{FF2B5EF4-FFF2-40B4-BE49-F238E27FC236}">
                <a16:creationId xmlns:a16="http://schemas.microsoft.com/office/drawing/2014/main" id="{CCC6D0A9-E74B-C346-A174-E28755EECE23}"/>
              </a:ext>
            </a:extLst>
          </p:cNvPr>
          <p:cNvSpPr>
            <a:spLocks/>
          </p:cNvSpPr>
          <p:nvPr/>
        </p:nvSpPr>
        <p:spPr bwMode="auto">
          <a:xfrm>
            <a:off x="620420" y="1791340"/>
            <a:ext cx="1572448" cy="1572448"/>
          </a:xfrm>
          <a:custGeom>
            <a:avLst/>
            <a:gdLst>
              <a:gd name="T0" fmla="*/ 2150 w 2150"/>
              <a:gd name="T1" fmla="*/ 1075 h 2150"/>
              <a:gd name="T2" fmla="*/ 2150 w 2150"/>
              <a:gd name="T3" fmla="*/ 1075 h 2150"/>
              <a:gd name="T4" fmla="*/ 1075 w 2150"/>
              <a:gd name="T5" fmla="*/ 2150 h 2150"/>
              <a:gd name="T6" fmla="*/ 0 w 2150"/>
              <a:gd name="T7" fmla="*/ 1075 h 2150"/>
              <a:gd name="T8" fmla="*/ 1075 w 2150"/>
              <a:gd name="T9" fmla="*/ 0 h 2150"/>
              <a:gd name="T10" fmla="*/ 2150 w 2150"/>
              <a:gd name="T11" fmla="*/ 1075 h 2150"/>
            </a:gdLst>
            <a:ahLst/>
            <a:cxnLst>
              <a:cxn ang="0">
                <a:pos x="T0" y="T1"/>
              </a:cxn>
              <a:cxn ang="0">
                <a:pos x="T2" y="T3"/>
              </a:cxn>
              <a:cxn ang="0">
                <a:pos x="T4" y="T5"/>
              </a:cxn>
              <a:cxn ang="0">
                <a:pos x="T6" y="T7"/>
              </a:cxn>
              <a:cxn ang="0">
                <a:pos x="T8" y="T9"/>
              </a:cxn>
              <a:cxn ang="0">
                <a:pos x="T10" y="T11"/>
              </a:cxn>
            </a:cxnLst>
            <a:rect l="0" t="0" r="r" b="b"/>
            <a:pathLst>
              <a:path w="2150" h="2150">
                <a:moveTo>
                  <a:pt x="2150" y="1075"/>
                </a:moveTo>
                <a:lnTo>
                  <a:pt x="2150" y="1075"/>
                </a:lnTo>
                <a:cubicBezTo>
                  <a:pt x="2150" y="1669"/>
                  <a:pt x="1668" y="2150"/>
                  <a:pt x="1075" y="2150"/>
                </a:cubicBezTo>
                <a:cubicBezTo>
                  <a:pt x="481" y="2150"/>
                  <a:pt x="0" y="1669"/>
                  <a:pt x="0" y="1075"/>
                </a:cubicBezTo>
                <a:cubicBezTo>
                  <a:pt x="0" y="481"/>
                  <a:pt x="481" y="0"/>
                  <a:pt x="1075" y="0"/>
                </a:cubicBezTo>
                <a:cubicBezTo>
                  <a:pt x="1668" y="0"/>
                  <a:pt x="2150" y="481"/>
                  <a:pt x="2150" y="1075"/>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7" name="Freeform 56">
            <a:extLst>
              <a:ext uri="{FF2B5EF4-FFF2-40B4-BE49-F238E27FC236}">
                <a16:creationId xmlns:a16="http://schemas.microsoft.com/office/drawing/2014/main" id="{52AAFE33-A20F-F749-A51C-CD9A8E462009}"/>
              </a:ext>
            </a:extLst>
          </p:cNvPr>
          <p:cNvSpPr>
            <a:spLocks/>
          </p:cNvSpPr>
          <p:nvPr/>
        </p:nvSpPr>
        <p:spPr bwMode="auto">
          <a:xfrm>
            <a:off x="413064" y="3308807"/>
            <a:ext cx="1995015" cy="939385"/>
          </a:xfrm>
          <a:custGeom>
            <a:avLst/>
            <a:gdLst>
              <a:gd name="T0" fmla="*/ 2729 w 2729"/>
              <a:gd name="T1" fmla="*/ 664 h 1285"/>
              <a:gd name="T2" fmla="*/ 2729 w 2729"/>
              <a:gd name="T3" fmla="*/ 664 h 1285"/>
              <a:gd name="T4" fmla="*/ 0 w 2729"/>
              <a:gd name="T5" fmla="*/ 1285 h 1285"/>
              <a:gd name="T6" fmla="*/ 0 w 2729"/>
              <a:gd name="T7" fmla="*/ 621 h 1285"/>
              <a:gd name="T8" fmla="*/ 2729 w 2729"/>
              <a:gd name="T9" fmla="*/ 0 h 1285"/>
              <a:gd name="T10" fmla="*/ 2729 w 2729"/>
              <a:gd name="T11" fmla="*/ 664 h 1285"/>
            </a:gdLst>
            <a:ahLst/>
            <a:cxnLst>
              <a:cxn ang="0">
                <a:pos x="T0" y="T1"/>
              </a:cxn>
              <a:cxn ang="0">
                <a:pos x="T2" y="T3"/>
              </a:cxn>
              <a:cxn ang="0">
                <a:pos x="T4" y="T5"/>
              </a:cxn>
              <a:cxn ang="0">
                <a:pos x="T6" y="T7"/>
              </a:cxn>
              <a:cxn ang="0">
                <a:pos x="T8" y="T9"/>
              </a:cxn>
              <a:cxn ang="0">
                <a:pos x="T10" y="T11"/>
              </a:cxn>
            </a:cxnLst>
            <a:rect l="0" t="0" r="r" b="b"/>
            <a:pathLst>
              <a:path w="2729" h="1285">
                <a:moveTo>
                  <a:pt x="2729" y="664"/>
                </a:moveTo>
                <a:lnTo>
                  <a:pt x="2729" y="664"/>
                </a:lnTo>
                <a:lnTo>
                  <a:pt x="0" y="1285"/>
                </a:lnTo>
                <a:lnTo>
                  <a:pt x="0" y="621"/>
                </a:lnTo>
                <a:lnTo>
                  <a:pt x="2729" y="0"/>
                </a:lnTo>
                <a:lnTo>
                  <a:pt x="2729" y="664"/>
                </a:lnTo>
                <a:close/>
              </a:path>
            </a:pathLst>
          </a:custGeom>
          <a:solidFill>
            <a:srgbClr val="009A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8" name="Freeform 57">
            <a:extLst>
              <a:ext uri="{FF2B5EF4-FFF2-40B4-BE49-F238E27FC236}">
                <a16:creationId xmlns:a16="http://schemas.microsoft.com/office/drawing/2014/main" id="{6F2A0855-101D-BC42-B294-58AB47551433}"/>
              </a:ext>
            </a:extLst>
          </p:cNvPr>
          <p:cNvSpPr>
            <a:spLocks/>
          </p:cNvSpPr>
          <p:nvPr/>
        </p:nvSpPr>
        <p:spPr bwMode="auto">
          <a:xfrm>
            <a:off x="675401" y="1781915"/>
            <a:ext cx="1424786" cy="1526893"/>
          </a:xfrm>
          <a:custGeom>
            <a:avLst/>
            <a:gdLst>
              <a:gd name="T0" fmla="*/ 1947 w 1948"/>
              <a:gd name="T1" fmla="*/ 1050 h 2087"/>
              <a:gd name="T2" fmla="*/ 1947 w 1948"/>
              <a:gd name="T3" fmla="*/ 1050 h 2087"/>
              <a:gd name="T4" fmla="*/ 1290 w 1948"/>
              <a:gd name="T5" fmla="*/ 1946 h 2087"/>
              <a:gd name="T6" fmla="*/ 252 w 1948"/>
              <a:gd name="T7" fmla="*/ 1626 h 2087"/>
              <a:gd name="T8" fmla="*/ 53 w 1948"/>
              <a:gd name="T9" fmla="*/ 1083 h 2087"/>
              <a:gd name="T10" fmla="*/ 266 w 1948"/>
              <a:gd name="T11" fmla="*/ 534 h 2087"/>
              <a:gd name="T12" fmla="*/ 1402 w 1948"/>
              <a:gd name="T13" fmla="*/ 277 h 2087"/>
              <a:gd name="T14" fmla="*/ 1402 w 1948"/>
              <a:gd name="T15" fmla="*/ 186 h 2087"/>
              <a:gd name="T16" fmla="*/ 237 w 1948"/>
              <a:gd name="T17" fmla="*/ 480 h 2087"/>
              <a:gd name="T18" fmla="*/ 105 w 1948"/>
              <a:gd name="T19" fmla="*/ 1448 h 2087"/>
              <a:gd name="T20" fmla="*/ 1025 w 1948"/>
              <a:gd name="T21" fmla="*/ 2082 h 2087"/>
              <a:gd name="T22" fmla="*/ 1909 w 1948"/>
              <a:gd name="T23" fmla="*/ 1402 h 2087"/>
              <a:gd name="T24" fmla="*/ 1948 w 1948"/>
              <a:gd name="T25" fmla="*/ 1128 h 2087"/>
              <a:gd name="T26" fmla="*/ 1948 w 1948"/>
              <a:gd name="T27" fmla="*/ 1066 h 2087"/>
              <a:gd name="T28" fmla="*/ 1947 w 1948"/>
              <a:gd name="T29" fmla="*/ 1050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8" h="2087">
                <a:moveTo>
                  <a:pt x="1947" y="1050"/>
                </a:moveTo>
                <a:lnTo>
                  <a:pt x="1947" y="1050"/>
                </a:lnTo>
                <a:cubicBezTo>
                  <a:pt x="1942" y="1459"/>
                  <a:pt x="1677" y="1816"/>
                  <a:pt x="1290" y="1946"/>
                </a:cubicBezTo>
                <a:cubicBezTo>
                  <a:pt x="914" y="2072"/>
                  <a:pt x="496" y="1931"/>
                  <a:pt x="252" y="1626"/>
                </a:cubicBezTo>
                <a:cubicBezTo>
                  <a:pt x="136" y="1481"/>
                  <a:pt x="46" y="1271"/>
                  <a:pt x="53" y="1083"/>
                </a:cubicBezTo>
                <a:cubicBezTo>
                  <a:pt x="61" y="882"/>
                  <a:pt x="142" y="690"/>
                  <a:pt x="266" y="534"/>
                </a:cubicBezTo>
                <a:cubicBezTo>
                  <a:pt x="537" y="196"/>
                  <a:pt x="1014" y="101"/>
                  <a:pt x="1402" y="277"/>
                </a:cubicBezTo>
                <a:cubicBezTo>
                  <a:pt x="1392" y="272"/>
                  <a:pt x="1414" y="191"/>
                  <a:pt x="1402" y="186"/>
                </a:cubicBezTo>
                <a:cubicBezTo>
                  <a:pt x="990" y="0"/>
                  <a:pt x="511" y="120"/>
                  <a:pt x="237" y="480"/>
                </a:cubicBezTo>
                <a:cubicBezTo>
                  <a:pt x="35" y="746"/>
                  <a:pt x="0" y="1135"/>
                  <a:pt x="105" y="1448"/>
                </a:cubicBezTo>
                <a:cubicBezTo>
                  <a:pt x="236" y="1837"/>
                  <a:pt x="621" y="2087"/>
                  <a:pt x="1025" y="2082"/>
                </a:cubicBezTo>
                <a:cubicBezTo>
                  <a:pt x="1434" y="2077"/>
                  <a:pt x="1791" y="1788"/>
                  <a:pt x="1909" y="1402"/>
                </a:cubicBezTo>
                <a:cubicBezTo>
                  <a:pt x="1936" y="1313"/>
                  <a:pt x="1946" y="1221"/>
                  <a:pt x="1948" y="1128"/>
                </a:cubicBezTo>
                <a:cubicBezTo>
                  <a:pt x="1948" y="1108"/>
                  <a:pt x="1948" y="1087"/>
                  <a:pt x="1948" y="1066"/>
                </a:cubicBezTo>
                <a:cubicBezTo>
                  <a:pt x="1948" y="1064"/>
                  <a:pt x="1947" y="1033"/>
                  <a:pt x="1947" y="1050"/>
                </a:cubicBezTo>
                <a:close/>
              </a:path>
            </a:pathLst>
          </a:custGeom>
          <a:solidFill>
            <a:srgbClr val="009A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9" name="Freeform 58">
            <a:extLst>
              <a:ext uri="{FF2B5EF4-FFF2-40B4-BE49-F238E27FC236}">
                <a16:creationId xmlns:a16="http://schemas.microsoft.com/office/drawing/2014/main" id="{74C4CA2F-1CF7-134C-9E2B-D2B35A9ADDEF}"/>
              </a:ext>
            </a:extLst>
          </p:cNvPr>
          <p:cNvSpPr>
            <a:spLocks/>
          </p:cNvSpPr>
          <p:nvPr/>
        </p:nvSpPr>
        <p:spPr bwMode="auto">
          <a:xfrm>
            <a:off x="609425" y="4647195"/>
            <a:ext cx="1592870" cy="1154595"/>
          </a:xfrm>
          <a:custGeom>
            <a:avLst/>
            <a:gdLst>
              <a:gd name="T0" fmla="*/ 0 w 2179"/>
              <a:gd name="T1" fmla="*/ 0 h 1579"/>
              <a:gd name="T2" fmla="*/ 0 w 2179"/>
              <a:gd name="T3" fmla="*/ 0 h 1579"/>
              <a:gd name="T4" fmla="*/ 0 w 2179"/>
              <a:gd name="T5" fmla="*/ 989 h 1579"/>
              <a:gd name="T6" fmla="*/ 1087 w 2179"/>
              <a:gd name="T7" fmla="*/ 1579 h 1579"/>
              <a:gd name="T8" fmla="*/ 2179 w 2179"/>
              <a:gd name="T9" fmla="*/ 989 h 1579"/>
              <a:gd name="T10" fmla="*/ 2179 w 2179"/>
              <a:gd name="T11" fmla="*/ 0 h 1579"/>
              <a:gd name="T12" fmla="*/ 0 w 2179"/>
              <a:gd name="T13" fmla="*/ 0 h 1579"/>
            </a:gdLst>
            <a:ahLst/>
            <a:cxnLst>
              <a:cxn ang="0">
                <a:pos x="T0" y="T1"/>
              </a:cxn>
              <a:cxn ang="0">
                <a:pos x="T2" y="T3"/>
              </a:cxn>
              <a:cxn ang="0">
                <a:pos x="T4" y="T5"/>
              </a:cxn>
              <a:cxn ang="0">
                <a:pos x="T6" y="T7"/>
              </a:cxn>
              <a:cxn ang="0">
                <a:pos x="T8" y="T9"/>
              </a:cxn>
              <a:cxn ang="0">
                <a:pos x="T10" y="T11"/>
              </a:cxn>
              <a:cxn ang="0">
                <a:pos x="T12" y="T13"/>
              </a:cxn>
            </a:cxnLst>
            <a:rect l="0" t="0" r="r" b="b"/>
            <a:pathLst>
              <a:path w="2179" h="1579">
                <a:moveTo>
                  <a:pt x="0" y="0"/>
                </a:moveTo>
                <a:lnTo>
                  <a:pt x="0" y="0"/>
                </a:lnTo>
                <a:lnTo>
                  <a:pt x="0" y="989"/>
                </a:lnTo>
                <a:lnTo>
                  <a:pt x="1087" y="1579"/>
                </a:lnTo>
                <a:lnTo>
                  <a:pt x="2179" y="989"/>
                </a:lnTo>
                <a:lnTo>
                  <a:pt x="2179" y="0"/>
                </a:lnTo>
                <a:lnTo>
                  <a:pt x="0"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0" name="Rectangle 59">
            <a:extLst>
              <a:ext uri="{FF2B5EF4-FFF2-40B4-BE49-F238E27FC236}">
                <a16:creationId xmlns:a16="http://schemas.microsoft.com/office/drawing/2014/main" id="{32DA0D88-B781-9C40-AD86-2F8D63CE6D69}"/>
              </a:ext>
            </a:extLst>
          </p:cNvPr>
          <p:cNvSpPr/>
          <p:nvPr/>
        </p:nvSpPr>
        <p:spPr>
          <a:xfrm rot="20904627">
            <a:off x="950454" y="3685683"/>
            <a:ext cx="853119" cy="200055"/>
          </a:xfrm>
          <a:prstGeom prst="rect">
            <a:avLst/>
          </a:prstGeom>
        </p:spPr>
        <p:txBody>
          <a:bodyPr wrap="none" lIns="0" tIns="0" rIns="0" bIns="0">
            <a:spAutoFit/>
          </a:bodyPr>
          <a:lstStyle/>
          <a:p>
            <a:r>
              <a:rPr lang="en-US" sz="1300" b="1" dirty="0">
                <a:solidFill>
                  <a:prstClr val="white"/>
                </a:solidFill>
              </a:rPr>
              <a:t>Dummy text</a:t>
            </a:r>
          </a:p>
        </p:txBody>
      </p:sp>
      <p:sp>
        <p:nvSpPr>
          <p:cNvPr id="45" name="Freeform 44">
            <a:extLst>
              <a:ext uri="{FF2B5EF4-FFF2-40B4-BE49-F238E27FC236}">
                <a16:creationId xmlns:a16="http://schemas.microsoft.com/office/drawing/2014/main" id="{BD768DD6-D8EB-3241-876F-6D1544CD91B7}"/>
              </a:ext>
            </a:extLst>
          </p:cNvPr>
          <p:cNvSpPr>
            <a:spLocks/>
          </p:cNvSpPr>
          <p:nvPr/>
        </p:nvSpPr>
        <p:spPr bwMode="auto">
          <a:xfrm>
            <a:off x="3655205" y="1701800"/>
            <a:ext cx="1754670" cy="4200526"/>
          </a:xfrm>
          <a:custGeom>
            <a:avLst/>
            <a:gdLst>
              <a:gd name="T0" fmla="*/ 1201 w 2401"/>
              <a:gd name="T1" fmla="*/ 0 h 5743"/>
              <a:gd name="T2" fmla="*/ 1201 w 2401"/>
              <a:gd name="T3" fmla="*/ 0 h 5743"/>
              <a:gd name="T4" fmla="*/ 0 w 2401"/>
              <a:gd name="T5" fmla="*/ 1199 h 5743"/>
              <a:gd name="T6" fmla="*/ 0 w 2401"/>
              <a:gd name="T7" fmla="*/ 5092 h 5743"/>
              <a:gd name="T8" fmla="*/ 1198 w 2401"/>
              <a:gd name="T9" fmla="*/ 5743 h 5743"/>
              <a:gd name="T10" fmla="*/ 2401 w 2401"/>
              <a:gd name="T11" fmla="*/ 5092 h 5743"/>
              <a:gd name="T12" fmla="*/ 2401 w 2401"/>
              <a:gd name="T13" fmla="*/ 1199 h 5743"/>
              <a:gd name="T14" fmla="*/ 1201 w 2401"/>
              <a:gd name="T15" fmla="*/ 0 h 57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1" h="5743">
                <a:moveTo>
                  <a:pt x="1201" y="0"/>
                </a:moveTo>
                <a:lnTo>
                  <a:pt x="1201" y="0"/>
                </a:lnTo>
                <a:cubicBezTo>
                  <a:pt x="538" y="0"/>
                  <a:pt x="0" y="536"/>
                  <a:pt x="0" y="1199"/>
                </a:cubicBezTo>
                <a:lnTo>
                  <a:pt x="0" y="5092"/>
                </a:lnTo>
                <a:lnTo>
                  <a:pt x="1198" y="5743"/>
                </a:lnTo>
                <a:lnTo>
                  <a:pt x="2401" y="5092"/>
                </a:lnTo>
                <a:lnTo>
                  <a:pt x="2401" y="1199"/>
                </a:lnTo>
                <a:cubicBezTo>
                  <a:pt x="2401" y="536"/>
                  <a:pt x="1864" y="0"/>
                  <a:pt x="1201" y="0"/>
                </a:cubicBezTo>
                <a:close/>
              </a:path>
            </a:pathLst>
          </a:custGeom>
          <a:solidFill>
            <a:schemeClr val="tx2">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nvGrpSpPr>
          <p:cNvPr id="8" name="Group 7"/>
          <p:cNvGrpSpPr/>
          <p:nvPr/>
        </p:nvGrpSpPr>
        <p:grpSpPr>
          <a:xfrm>
            <a:off x="3538960" y="3308807"/>
            <a:ext cx="1990302" cy="939385"/>
            <a:chOff x="3538960" y="3308807"/>
            <a:chExt cx="1990302" cy="939385"/>
          </a:xfrm>
          <a:solidFill>
            <a:schemeClr val="tx1">
              <a:lumMod val="85000"/>
              <a:lumOff val="15000"/>
            </a:schemeClr>
          </a:solidFill>
        </p:grpSpPr>
        <p:sp>
          <p:nvSpPr>
            <p:cNvPr id="46" name="Freeform 45">
              <a:extLst>
                <a:ext uri="{FF2B5EF4-FFF2-40B4-BE49-F238E27FC236}">
                  <a16:creationId xmlns:a16="http://schemas.microsoft.com/office/drawing/2014/main" id="{E798DA3D-A397-1842-A032-17B3058FE668}"/>
                </a:ext>
              </a:extLst>
            </p:cNvPr>
            <p:cNvSpPr>
              <a:spLocks/>
            </p:cNvSpPr>
            <p:nvPr/>
          </p:nvSpPr>
          <p:spPr bwMode="auto">
            <a:xfrm>
              <a:off x="3538960" y="3308807"/>
              <a:ext cx="119387" cy="939385"/>
            </a:xfrm>
            <a:custGeom>
              <a:avLst/>
              <a:gdLst>
                <a:gd name="T0" fmla="*/ 0 w 163"/>
                <a:gd name="T1" fmla="*/ 621 h 1285"/>
                <a:gd name="T2" fmla="*/ 0 w 163"/>
                <a:gd name="T3" fmla="*/ 621 h 1285"/>
                <a:gd name="T4" fmla="*/ 0 w 163"/>
                <a:gd name="T5" fmla="*/ 1285 h 1285"/>
                <a:gd name="T6" fmla="*/ 163 w 163"/>
                <a:gd name="T7" fmla="*/ 664 h 1285"/>
                <a:gd name="T8" fmla="*/ 163 w 163"/>
                <a:gd name="T9" fmla="*/ 0 h 1285"/>
                <a:gd name="T10" fmla="*/ 0 w 163"/>
                <a:gd name="T11" fmla="*/ 621 h 1285"/>
              </a:gdLst>
              <a:ahLst/>
              <a:cxnLst>
                <a:cxn ang="0">
                  <a:pos x="T0" y="T1"/>
                </a:cxn>
                <a:cxn ang="0">
                  <a:pos x="T2" y="T3"/>
                </a:cxn>
                <a:cxn ang="0">
                  <a:pos x="T4" y="T5"/>
                </a:cxn>
                <a:cxn ang="0">
                  <a:pos x="T6" y="T7"/>
                </a:cxn>
                <a:cxn ang="0">
                  <a:pos x="T8" y="T9"/>
                </a:cxn>
                <a:cxn ang="0">
                  <a:pos x="T10" y="T11"/>
                </a:cxn>
              </a:cxnLst>
              <a:rect l="0" t="0" r="r" b="b"/>
              <a:pathLst>
                <a:path w="163" h="1285">
                  <a:moveTo>
                    <a:pt x="0" y="621"/>
                  </a:moveTo>
                  <a:lnTo>
                    <a:pt x="0" y="621"/>
                  </a:lnTo>
                  <a:lnTo>
                    <a:pt x="0" y="1285"/>
                  </a:lnTo>
                  <a:lnTo>
                    <a:pt x="163" y="664"/>
                  </a:lnTo>
                  <a:lnTo>
                    <a:pt x="163" y="0"/>
                  </a:lnTo>
                  <a:lnTo>
                    <a:pt x="0" y="62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47" name="Freeform 46">
              <a:extLst>
                <a:ext uri="{FF2B5EF4-FFF2-40B4-BE49-F238E27FC236}">
                  <a16:creationId xmlns:a16="http://schemas.microsoft.com/office/drawing/2014/main" id="{8F0C582D-6010-C049-8F12-16A30D5F8E1A}"/>
                </a:ext>
              </a:extLst>
            </p:cNvPr>
            <p:cNvSpPr>
              <a:spLocks/>
            </p:cNvSpPr>
            <p:nvPr/>
          </p:nvSpPr>
          <p:spPr bwMode="auto">
            <a:xfrm>
              <a:off x="5409875" y="3308807"/>
              <a:ext cx="11938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sp>
        <p:nvSpPr>
          <p:cNvPr id="48" name="Freeform 47">
            <a:extLst>
              <a:ext uri="{FF2B5EF4-FFF2-40B4-BE49-F238E27FC236}">
                <a16:creationId xmlns:a16="http://schemas.microsoft.com/office/drawing/2014/main" id="{42147259-EA63-BA4D-9EF4-93889827E910}"/>
              </a:ext>
            </a:extLst>
          </p:cNvPr>
          <p:cNvSpPr>
            <a:spLocks/>
          </p:cNvSpPr>
          <p:nvPr/>
        </p:nvSpPr>
        <p:spPr bwMode="auto">
          <a:xfrm>
            <a:off x="3746316" y="1791340"/>
            <a:ext cx="1572448" cy="1572448"/>
          </a:xfrm>
          <a:custGeom>
            <a:avLst/>
            <a:gdLst>
              <a:gd name="T0" fmla="*/ 2150 w 2150"/>
              <a:gd name="T1" fmla="*/ 1075 h 2150"/>
              <a:gd name="T2" fmla="*/ 2150 w 2150"/>
              <a:gd name="T3" fmla="*/ 1075 h 2150"/>
              <a:gd name="T4" fmla="*/ 1075 w 2150"/>
              <a:gd name="T5" fmla="*/ 2150 h 2150"/>
              <a:gd name="T6" fmla="*/ 0 w 2150"/>
              <a:gd name="T7" fmla="*/ 1075 h 2150"/>
              <a:gd name="T8" fmla="*/ 1075 w 2150"/>
              <a:gd name="T9" fmla="*/ 0 h 2150"/>
              <a:gd name="T10" fmla="*/ 2150 w 2150"/>
              <a:gd name="T11" fmla="*/ 1075 h 2150"/>
            </a:gdLst>
            <a:ahLst/>
            <a:cxnLst>
              <a:cxn ang="0">
                <a:pos x="T0" y="T1"/>
              </a:cxn>
              <a:cxn ang="0">
                <a:pos x="T2" y="T3"/>
              </a:cxn>
              <a:cxn ang="0">
                <a:pos x="T4" y="T5"/>
              </a:cxn>
              <a:cxn ang="0">
                <a:pos x="T6" y="T7"/>
              </a:cxn>
              <a:cxn ang="0">
                <a:pos x="T8" y="T9"/>
              </a:cxn>
              <a:cxn ang="0">
                <a:pos x="T10" y="T11"/>
              </a:cxn>
            </a:cxnLst>
            <a:rect l="0" t="0" r="r" b="b"/>
            <a:pathLst>
              <a:path w="2150" h="2150">
                <a:moveTo>
                  <a:pt x="2150" y="1075"/>
                </a:moveTo>
                <a:lnTo>
                  <a:pt x="2150" y="1075"/>
                </a:lnTo>
                <a:cubicBezTo>
                  <a:pt x="2150" y="1669"/>
                  <a:pt x="1669" y="2150"/>
                  <a:pt x="1075" y="2150"/>
                </a:cubicBezTo>
                <a:cubicBezTo>
                  <a:pt x="481" y="2150"/>
                  <a:pt x="0" y="1669"/>
                  <a:pt x="0" y="1075"/>
                </a:cubicBezTo>
                <a:cubicBezTo>
                  <a:pt x="0" y="481"/>
                  <a:pt x="481" y="0"/>
                  <a:pt x="1075" y="0"/>
                </a:cubicBezTo>
                <a:cubicBezTo>
                  <a:pt x="1669" y="0"/>
                  <a:pt x="2150" y="481"/>
                  <a:pt x="2150" y="1075"/>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49" name="Freeform 48">
            <a:extLst>
              <a:ext uri="{FF2B5EF4-FFF2-40B4-BE49-F238E27FC236}">
                <a16:creationId xmlns:a16="http://schemas.microsoft.com/office/drawing/2014/main" id="{6B2D67EB-9DF7-864E-8B8D-FE8F8F9F67BB}"/>
              </a:ext>
            </a:extLst>
          </p:cNvPr>
          <p:cNvSpPr>
            <a:spLocks/>
          </p:cNvSpPr>
          <p:nvPr/>
        </p:nvSpPr>
        <p:spPr bwMode="auto">
          <a:xfrm>
            <a:off x="3538960" y="3308807"/>
            <a:ext cx="1993443" cy="939385"/>
          </a:xfrm>
          <a:custGeom>
            <a:avLst/>
            <a:gdLst>
              <a:gd name="T0" fmla="*/ 2728 w 2728"/>
              <a:gd name="T1" fmla="*/ 664 h 1285"/>
              <a:gd name="T2" fmla="*/ 2728 w 2728"/>
              <a:gd name="T3" fmla="*/ 664 h 1285"/>
              <a:gd name="T4" fmla="*/ 0 w 2728"/>
              <a:gd name="T5" fmla="*/ 1285 h 1285"/>
              <a:gd name="T6" fmla="*/ 0 w 2728"/>
              <a:gd name="T7" fmla="*/ 621 h 1285"/>
              <a:gd name="T8" fmla="*/ 2728 w 2728"/>
              <a:gd name="T9" fmla="*/ 0 h 1285"/>
              <a:gd name="T10" fmla="*/ 2728 w 2728"/>
              <a:gd name="T11" fmla="*/ 664 h 1285"/>
            </a:gdLst>
            <a:ahLst/>
            <a:cxnLst>
              <a:cxn ang="0">
                <a:pos x="T0" y="T1"/>
              </a:cxn>
              <a:cxn ang="0">
                <a:pos x="T2" y="T3"/>
              </a:cxn>
              <a:cxn ang="0">
                <a:pos x="T4" y="T5"/>
              </a:cxn>
              <a:cxn ang="0">
                <a:pos x="T6" y="T7"/>
              </a:cxn>
              <a:cxn ang="0">
                <a:pos x="T8" y="T9"/>
              </a:cxn>
              <a:cxn ang="0">
                <a:pos x="T10" y="T11"/>
              </a:cxn>
            </a:cxnLst>
            <a:rect l="0" t="0" r="r" b="b"/>
            <a:pathLst>
              <a:path w="2728" h="1285">
                <a:moveTo>
                  <a:pt x="2728" y="664"/>
                </a:moveTo>
                <a:lnTo>
                  <a:pt x="2728" y="664"/>
                </a:lnTo>
                <a:lnTo>
                  <a:pt x="0" y="1285"/>
                </a:lnTo>
                <a:lnTo>
                  <a:pt x="0" y="621"/>
                </a:lnTo>
                <a:lnTo>
                  <a:pt x="2728" y="0"/>
                </a:lnTo>
                <a:lnTo>
                  <a:pt x="2728" y="66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0" name="Freeform 49">
            <a:extLst>
              <a:ext uri="{FF2B5EF4-FFF2-40B4-BE49-F238E27FC236}">
                <a16:creationId xmlns:a16="http://schemas.microsoft.com/office/drawing/2014/main" id="{906D9A68-144A-7B4D-B44D-F13726855018}"/>
              </a:ext>
            </a:extLst>
          </p:cNvPr>
          <p:cNvSpPr>
            <a:spLocks/>
          </p:cNvSpPr>
          <p:nvPr/>
        </p:nvSpPr>
        <p:spPr bwMode="auto">
          <a:xfrm>
            <a:off x="3801297" y="1781915"/>
            <a:ext cx="1424786" cy="1526893"/>
          </a:xfrm>
          <a:custGeom>
            <a:avLst/>
            <a:gdLst>
              <a:gd name="T0" fmla="*/ 1947 w 1948"/>
              <a:gd name="T1" fmla="*/ 1050 h 2087"/>
              <a:gd name="T2" fmla="*/ 1947 w 1948"/>
              <a:gd name="T3" fmla="*/ 1050 h 2087"/>
              <a:gd name="T4" fmla="*/ 1290 w 1948"/>
              <a:gd name="T5" fmla="*/ 1946 h 2087"/>
              <a:gd name="T6" fmla="*/ 252 w 1948"/>
              <a:gd name="T7" fmla="*/ 1626 h 2087"/>
              <a:gd name="T8" fmla="*/ 53 w 1948"/>
              <a:gd name="T9" fmla="*/ 1083 h 2087"/>
              <a:gd name="T10" fmla="*/ 267 w 1948"/>
              <a:gd name="T11" fmla="*/ 534 h 2087"/>
              <a:gd name="T12" fmla="*/ 1403 w 1948"/>
              <a:gd name="T13" fmla="*/ 277 h 2087"/>
              <a:gd name="T14" fmla="*/ 1403 w 1948"/>
              <a:gd name="T15" fmla="*/ 186 h 2087"/>
              <a:gd name="T16" fmla="*/ 238 w 1948"/>
              <a:gd name="T17" fmla="*/ 480 h 2087"/>
              <a:gd name="T18" fmla="*/ 105 w 1948"/>
              <a:gd name="T19" fmla="*/ 1448 h 2087"/>
              <a:gd name="T20" fmla="*/ 1025 w 1948"/>
              <a:gd name="T21" fmla="*/ 2082 h 2087"/>
              <a:gd name="T22" fmla="*/ 1909 w 1948"/>
              <a:gd name="T23" fmla="*/ 1402 h 2087"/>
              <a:gd name="T24" fmla="*/ 1948 w 1948"/>
              <a:gd name="T25" fmla="*/ 1128 h 2087"/>
              <a:gd name="T26" fmla="*/ 1948 w 1948"/>
              <a:gd name="T27" fmla="*/ 1066 h 2087"/>
              <a:gd name="T28" fmla="*/ 1947 w 1948"/>
              <a:gd name="T29" fmla="*/ 1050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8" h="2087">
                <a:moveTo>
                  <a:pt x="1947" y="1050"/>
                </a:moveTo>
                <a:lnTo>
                  <a:pt x="1947" y="1050"/>
                </a:lnTo>
                <a:cubicBezTo>
                  <a:pt x="1942" y="1459"/>
                  <a:pt x="1677" y="1816"/>
                  <a:pt x="1290" y="1946"/>
                </a:cubicBezTo>
                <a:cubicBezTo>
                  <a:pt x="914" y="2072"/>
                  <a:pt x="496" y="1931"/>
                  <a:pt x="252" y="1626"/>
                </a:cubicBezTo>
                <a:cubicBezTo>
                  <a:pt x="136" y="1481"/>
                  <a:pt x="46" y="1271"/>
                  <a:pt x="53" y="1083"/>
                </a:cubicBezTo>
                <a:cubicBezTo>
                  <a:pt x="61" y="882"/>
                  <a:pt x="142" y="690"/>
                  <a:pt x="267" y="534"/>
                </a:cubicBezTo>
                <a:cubicBezTo>
                  <a:pt x="537" y="196"/>
                  <a:pt x="1014" y="101"/>
                  <a:pt x="1403" y="277"/>
                </a:cubicBezTo>
                <a:cubicBezTo>
                  <a:pt x="1392" y="272"/>
                  <a:pt x="1415" y="191"/>
                  <a:pt x="1403" y="186"/>
                </a:cubicBezTo>
                <a:cubicBezTo>
                  <a:pt x="990" y="0"/>
                  <a:pt x="511" y="120"/>
                  <a:pt x="238" y="480"/>
                </a:cubicBezTo>
                <a:cubicBezTo>
                  <a:pt x="35" y="746"/>
                  <a:pt x="0" y="1135"/>
                  <a:pt x="105" y="1448"/>
                </a:cubicBezTo>
                <a:cubicBezTo>
                  <a:pt x="236" y="1837"/>
                  <a:pt x="621" y="2087"/>
                  <a:pt x="1025" y="2082"/>
                </a:cubicBezTo>
                <a:cubicBezTo>
                  <a:pt x="1434" y="2077"/>
                  <a:pt x="1791" y="1788"/>
                  <a:pt x="1909" y="1402"/>
                </a:cubicBezTo>
                <a:cubicBezTo>
                  <a:pt x="1937" y="1313"/>
                  <a:pt x="1947" y="1221"/>
                  <a:pt x="1948" y="1128"/>
                </a:cubicBezTo>
                <a:cubicBezTo>
                  <a:pt x="1948" y="1108"/>
                  <a:pt x="1948" y="1087"/>
                  <a:pt x="1948" y="1066"/>
                </a:cubicBezTo>
                <a:cubicBezTo>
                  <a:pt x="1948" y="1064"/>
                  <a:pt x="1948" y="1033"/>
                  <a:pt x="1947" y="1050"/>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1" name="Freeform 50">
            <a:extLst>
              <a:ext uri="{FF2B5EF4-FFF2-40B4-BE49-F238E27FC236}">
                <a16:creationId xmlns:a16="http://schemas.microsoft.com/office/drawing/2014/main" id="{2D5544AF-2217-E54D-B0FF-82D9BE5037C7}"/>
              </a:ext>
            </a:extLst>
          </p:cNvPr>
          <p:cNvSpPr>
            <a:spLocks/>
          </p:cNvSpPr>
          <p:nvPr/>
        </p:nvSpPr>
        <p:spPr bwMode="auto">
          <a:xfrm>
            <a:off x="3736890" y="4647195"/>
            <a:ext cx="1591299" cy="1154595"/>
          </a:xfrm>
          <a:custGeom>
            <a:avLst/>
            <a:gdLst>
              <a:gd name="T0" fmla="*/ 0 w 2178"/>
              <a:gd name="T1" fmla="*/ 0 h 1579"/>
              <a:gd name="T2" fmla="*/ 0 w 2178"/>
              <a:gd name="T3" fmla="*/ 0 h 1579"/>
              <a:gd name="T4" fmla="*/ 0 w 2178"/>
              <a:gd name="T5" fmla="*/ 989 h 1579"/>
              <a:gd name="T6" fmla="*/ 1086 w 2178"/>
              <a:gd name="T7" fmla="*/ 1579 h 1579"/>
              <a:gd name="T8" fmla="*/ 2178 w 2178"/>
              <a:gd name="T9" fmla="*/ 989 h 1579"/>
              <a:gd name="T10" fmla="*/ 2178 w 2178"/>
              <a:gd name="T11" fmla="*/ 0 h 1579"/>
              <a:gd name="T12" fmla="*/ 0 w 2178"/>
              <a:gd name="T13" fmla="*/ 0 h 1579"/>
            </a:gdLst>
            <a:ahLst/>
            <a:cxnLst>
              <a:cxn ang="0">
                <a:pos x="T0" y="T1"/>
              </a:cxn>
              <a:cxn ang="0">
                <a:pos x="T2" y="T3"/>
              </a:cxn>
              <a:cxn ang="0">
                <a:pos x="T4" y="T5"/>
              </a:cxn>
              <a:cxn ang="0">
                <a:pos x="T6" y="T7"/>
              </a:cxn>
              <a:cxn ang="0">
                <a:pos x="T8" y="T9"/>
              </a:cxn>
              <a:cxn ang="0">
                <a:pos x="T10" y="T11"/>
              </a:cxn>
              <a:cxn ang="0">
                <a:pos x="T12" y="T13"/>
              </a:cxn>
            </a:cxnLst>
            <a:rect l="0" t="0" r="r" b="b"/>
            <a:pathLst>
              <a:path w="2178" h="1579">
                <a:moveTo>
                  <a:pt x="0" y="0"/>
                </a:moveTo>
                <a:lnTo>
                  <a:pt x="0" y="0"/>
                </a:lnTo>
                <a:lnTo>
                  <a:pt x="0" y="989"/>
                </a:lnTo>
                <a:lnTo>
                  <a:pt x="1086" y="1579"/>
                </a:lnTo>
                <a:lnTo>
                  <a:pt x="2178" y="989"/>
                </a:lnTo>
                <a:lnTo>
                  <a:pt x="2178" y="0"/>
                </a:lnTo>
                <a:lnTo>
                  <a:pt x="0"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1" name="Rectangle 60">
            <a:extLst>
              <a:ext uri="{FF2B5EF4-FFF2-40B4-BE49-F238E27FC236}">
                <a16:creationId xmlns:a16="http://schemas.microsoft.com/office/drawing/2014/main" id="{1032FCD8-23FA-1444-81C1-A553F9CA15BA}"/>
              </a:ext>
            </a:extLst>
          </p:cNvPr>
          <p:cNvSpPr/>
          <p:nvPr/>
        </p:nvSpPr>
        <p:spPr>
          <a:xfrm rot="20904627">
            <a:off x="4119638" y="3667653"/>
            <a:ext cx="853119" cy="200055"/>
          </a:xfrm>
          <a:prstGeom prst="rect">
            <a:avLst/>
          </a:prstGeom>
        </p:spPr>
        <p:txBody>
          <a:bodyPr wrap="none" lIns="0" tIns="0" rIns="0" bIns="0">
            <a:spAutoFit/>
          </a:bodyPr>
          <a:lstStyle/>
          <a:p>
            <a:r>
              <a:rPr lang="en-US" sz="1300" b="1" dirty="0">
                <a:solidFill>
                  <a:prstClr val="white"/>
                </a:solidFill>
              </a:rPr>
              <a:t>Dummy text</a:t>
            </a:r>
          </a:p>
        </p:txBody>
      </p:sp>
      <p:grpSp>
        <p:nvGrpSpPr>
          <p:cNvPr id="9" name="Group 8"/>
          <p:cNvGrpSpPr/>
          <p:nvPr/>
        </p:nvGrpSpPr>
        <p:grpSpPr>
          <a:xfrm>
            <a:off x="6663284" y="3308807"/>
            <a:ext cx="1991872" cy="939385"/>
            <a:chOff x="6663284" y="3308807"/>
            <a:chExt cx="1991872" cy="939385"/>
          </a:xfrm>
          <a:solidFill>
            <a:srgbClr val="046A38"/>
          </a:solidFill>
        </p:grpSpPr>
        <p:sp>
          <p:nvSpPr>
            <p:cNvPr id="29" name="Freeform 28">
              <a:extLst>
                <a:ext uri="{FF2B5EF4-FFF2-40B4-BE49-F238E27FC236}">
                  <a16:creationId xmlns:a16="http://schemas.microsoft.com/office/drawing/2014/main" id="{00826222-5070-BF4F-8BA9-647BAD997400}"/>
                </a:ext>
              </a:extLst>
            </p:cNvPr>
            <p:cNvSpPr>
              <a:spLocks/>
            </p:cNvSpPr>
            <p:nvPr/>
          </p:nvSpPr>
          <p:spPr bwMode="auto">
            <a:xfrm>
              <a:off x="6663284" y="3308807"/>
              <a:ext cx="11938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0" name="Freeform 29">
              <a:extLst>
                <a:ext uri="{FF2B5EF4-FFF2-40B4-BE49-F238E27FC236}">
                  <a16:creationId xmlns:a16="http://schemas.microsoft.com/office/drawing/2014/main" id="{EC5E037D-1786-E645-8BED-F6B662823A26}"/>
                </a:ext>
              </a:extLst>
            </p:cNvPr>
            <p:cNvSpPr>
              <a:spLocks/>
            </p:cNvSpPr>
            <p:nvPr/>
          </p:nvSpPr>
          <p:spPr bwMode="auto">
            <a:xfrm>
              <a:off x="8534199" y="3308807"/>
              <a:ext cx="12095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sp>
        <p:nvSpPr>
          <p:cNvPr id="31" name="Freeform 30">
            <a:extLst>
              <a:ext uri="{FF2B5EF4-FFF2-40B4-BE49-F238E27FC236}">
                <a16:creationId xmlns:a16="http://schemas.microsoft.com/office/drawing/2014/main" id="{59C65992-1729-2D46-812E-DC09DD244CA2}"/>
              </a:ext>
            </a:extLst>
          </p:cNvPr>
          <p:cNvSpPr>
            <a:spLocks/>
          </p:cNvSpPr>
          <p:nvPr/>
        </p:nvSpPr>
        <p:spPr bwMode="auto">
          <a:xfrm>
            <a:off x="6779529" y="1701800"/>
            <a:ext cx="1754670" cy="4200526"/>
          </a:xfrm>
          <a:custGeom>
            <a:avLst/>
            <a:gdLst>
              <a:gd name="T0" fmla="*/ 1200 w 2401"/>
              <a:gd name="T1" fmla="*/ 0 h 5743"/>
              <a:gd name="T2" fmla="*/ 1200 w 2401"/>
              <a:gd name="T3" fmla="*/ 0 h 5743"/>
              <a:gd name="T4" fmla="*/ 0 w 2401"/>
              <a:gd name="T5" fmla="*/ 1199 h 5743"/>
              <a:gd name="T6" fmla="*/ 0 w 2401"/>
              <a:gd name="T7" fmla="*/ 5092 h 5743"/>
              <a:gd name="T8" fmla="*/ 1197 w 2401"/>
              <a:gd name="T9" fmla="*/ 5743 h 5743"/>
              <a:gd name="T10" fmla="*/ 2401 w 2401"/>
              <a:gd name="T11" fmla="*/ 5092 h 5743"/>
              <a:gd name="T12" fmla="*/ 2401 w 2401"/>
              <a:gd name="T13" fmla="*/ 1199 h 5743"/>
              <a:gd name="T14" fmla="*/ 1200 w 2401"/>
              <a:gd name="T15" fmla="*/ 0 h 57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1" h="5743">
                <a:moveTo>
                  <a:pt x="1200" y="0"/>
                </a:moveTo>
                <a:lnTo>
                  <a:pt x="1200" y="0"/>
                </a:lnTo>
                <a:cubicBezTo>
                  <a:pt x="537" y="0"/>
                  <a:pt x="0" y="536"/>
                  <a:pt x="0" y="1199"/>
                </a:cubicBezTo>
                <a:lnTo>
                  <a:pt x="0" y="5092"/>
                </a:lnTo>
                <a:lnTo>
                  <a:pt x="1197" y="5743"/>
                </a:lnTo>
                <a:lnTo>
                  <a:pt x="2401" y="5092"/>
                </a:lnTo>
                <a:lnTo>
                  <a:pt x="2401" y="1199"/>
                </a:lnTo>
                <a:cubicBezTo>
                  <a:pt x="2401" y="536"/>
                  <a:pt x="1863" y="0"/>
                  <a:pt x="120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2" name="Freeform 31">
            <a:extLst>
              <a:ext uri="{FF2B5EF4-FFF2-40B4-BE49-F238E27FC236}">
                <a16:creationId xmlns:a16="http://schemas.microsoft.com/office/drawing/2014/main" id="{24F4F835-0889-6C43-8C70-73B8E87FA7C3}"/>
              </a:ext>
            </a:extLst>
          </p:cNvPr>
          <p:cNvSpPr>
            <a:spLocks/>
          </p:cNvSpPr>
          <p:nvPr/>
        </p:nvSpPr>
        <p:spPr bwMode="auto">
          <a:xfrm>
            <a:off x="6870640" y="1791340"/>
            <a:ext cx="1572448" cy="1572448"/>
          </a:xfrm>
          <a:custGeom>
            <a:avLst/>
            <a:gdLst>
              <a:gd name="T0" fmla="*/ 2150 w 2150"/>
              <a:gd name="T1" fmla="*/ 1075 h 2150"/>
              <a:gd name="T2" fmla="*/ 2150 w 2150"/>
              <a:gd name="T3" fmla="*/ 1075 h 2150"/>
              <a:gd name="T4" fmla="*/ 1075 w 2150"/>
              <a:gd name="T5" fmla="*/ 2150 h 2150"/>
              <a:gd name="T6" fmla="*/ 0 w 2150"/>
              <a:gd name="T7" fmla="*/ 1075 h 2150"/>
              <a:gd name="T8" fmla="*/ 1075 w 2150"/>
              <a:gd name="T9" fmla="*/ 0 h 2150"/>
              <a:gd name="T10" fmla="*/ 2150 w 2150"/>
              <a:gd name="T11" fmla="*/ 1075 h 2150"/>
            </a:gdLst>
            <a:ahLst/>
            <a:cxnLst>
              <a:cxn ang="0">
                <a:pos x="T0" y="T1"/>
              </a:cxn>
              <a:cxn ang="0">
                <a:pos x="T2" y="T3"/>
              </a:cxn>
              <a:cxn ang="0">
                <a:pos x="T4" y="T5"/>
              </a:cxn>
              <a:cxn ang="0">
                <a:pos x="T6" y="T7"/>
              </a:cxn>
              <a:cxn ang="0">
                <a:pos x="T8" y="T9"/>
              </a:cxn>
              <a:cxn ang="0">
                <a:pos x="T10" y="T11"/>
              </a:cxn>
            </a:cxnLst>
            <a:rect l="0" t="0" r="r" b="b"/>
            <a:pathLst>
              <a:path w="2150" h="2150">
                <a:moveTo>
                  <a:pt x="2150" y="1075"/>
                </a:moveTo>
                <a:lnTo>
                  <a:pt x="2150" y="1075"/>
                </a:lnTo>
                <a:cubicBezTo>
                  <a:pt x="2150" y="1669"/>
                  <a:pt x="1669" y="2150"/>
                  <a:pt x="1075" y="2150"/>
                </a:cubicBezTo>
                <a:cubicBezTo>
                  <a:pt x="482" y="2150"/>
                  <a:pt x="0" y="1669"/>
                  <a:pt x="0" y="1075"/>
                </a:cubicBezTo>
                <a:cubicBezTo>
                  <a:pt x="0" y="481"/>
                  <a:pt x="482" y="0"/>
                  <a:pt x="1075" y="0"/>
                </a:cubicBezTo>
                <a:cubicBezTo>
                  <a:pt x="1669" y="0"/>
                  <a:pt x="2150" y="481"/>
                  <a:pt x="2150" y="1075"/>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3" name="Freeform 32">
            <a:extLst>
              <a:ext uri="{FF2B5EF4-FFF2-40B4-BE49-F238E27FC236}">
                <a16:creationId xmlns:a16="http://schemas.microsoft.com/office/drawing/2014/main" id="{47DC28EA-A26A-4449-A87B-AE2F9A29BF8C}"/>
              </a:ext>
            </a:extLst>
          </p:cNvPr>
          <p:cNvSpPr>
            <a:spLocks/>
          </p:cNvSpPr>
          <p:nvPr/>
        </p:nvSpPr>
        <p:spPr bwMode="auto">
          <a:xfrm>
            <a:off x="6663284" y="3308807"/>
            <a:ext cx="1993443" cy="939385"/>
          </a:xfrm>
          <a:custGeom>
            <a:avLst/>
            <a:gdLst>
              <a:gd name="T0" fmla="*/ 2728 w 2728"/>
              <a:gd name="T1" fmla="*/ 664 h 1285"/>
              <a:gd name="T2" fmla="*/ 2728 w 2728"/>
              <a:gd name="T3" fmla="*/ 664 h 1285"/>
              <a:gd name="T4" fmla="*/ 0 w 2728"/>
              <a:gd name="T5" fmla="*/ 1285 h 1285"/>
              <a:gd name="T6" fmla="*/ 0 w 2728"/>
              <a:gd name="T7" fmla="*/ 621 h 1285"/>
              <a:gd name="T8" fmla="*/ 2728 w 2728"/>
              <a:gd name="T9" fmla="*/ 0 h 1285"/>
              <a:gd name="T10" fmla="*/ 2728 w 2728"/>
              <a:gd name="T11" fmla="*/ 664 h 1285"/>
            </a:gdLst>
            <a:ahLst/>
            <a:cxnLst>
              <a:cxn ang="0">
                <a:pos x="T0" y="T1"/>
              </a:cxn>
              <a:cxn ang="0">
                <a:pos x="T2" y="T3"/>
              </a:cxn>
              <a:cxn ang="0">
                <a:pos x="T4" y="T5"/>
              </a:cxn>
              <a:cxn ang="0">
                <a:pos x="T6" y="T7"/>
              </a:cxn>
              <a:cxn ang="0">
                <a:pos x="T8" y="T9"/>
              </a:cxn>
              <a:cxn ang="0">
                <a:pos x="T10" y="T11"/>
              </a:cxn>
            </a:cxnLst>
            <a:rect l="0" t="0" r="r" b="b"/>
            <a:pathLst>
              <a:path w="2728" h="1285">
                <a:moveTo>
                  <a:pt x="2728" y="664"/>
                </a:moveTo>
                <a:lnTo>
                  <a:pt x="2728" y="664"/>
                </a:lnTo>
                <a:lnTo>
                  <a:pt x="0" y="1285"/>
                </a:lnTo>
                <a:lnTo>
                  <a:pt x="0" y="621"/>
                </a:lnTo>
                <a:lnTo>
                  <a:pt x="2728" y="0"/>
                </a:lnTo>
                <a:lnTo>
                  <a:pt x="2728" y="66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4" name="Freeform 33">
            <a:extLst>
              <a:ext uri="{FF2B5EF4-FFF2-40B4-BE49-F238E27FC236}">
                <a16:creationId xmlns:a16="http://schemas.microsoft.com/office/drawing/2014/main" id="{05BE67E8-D32C-2B4E-96F7-D945314435DC}"/>
              </a:ext>
            </a:extLst>
          </p:cNvPr>
          <p:cNvSpPr>
            <a:spLocks/>
          </p:cNvSpPr>
          <p:nvPr/>
        </p:nvSpPr>
        <p:spPr bwMode="auto">
          <a:xfrm>
            <a:off x="6925620" y="1781915"/>
            <a:ext cx="1424786" cy="1526893"/>
          </a:xfrm>
          <a:custGeom>
            <a:avLst/>
            <a:gdLst>
              <a:gd name="T0" fmla="*/ 1947 w 1948"/>
              <a:gd name="T1" fmla="*/ 1050 h 2087"/>
              <a:gd name="T2" fmla="*/ 1947 w 1948"/>
              <a:gd name="T3" fmla="*/ 1050 h 2087"/>
              <a:gd name="T4" fmla="*/ 1290 w 1948"/>
              <a:gd name="T5" fmla="*/ 1946 h 2087"/>
              <a:gd name="T6" fmla="*/ 251 w 1948"/>
              <a:gd name="T7" fmla="*/ 1626 h 2087"/>
              <a:gd name="T8" fmla="*/ 53 w 1948"/>
              <a:gd name="T9" fmla="*/ 1083 h 2087"/>
              <a:gd name="T10" fmla="*/ 266 w 1948"/>
              <a:gd name="T11" fmla="*/ 534 h 2087"/>
              <a:gd name="T12" fmla="*/ 1402 w 1948"/>
              <a:gd name="T13" fmla="*/ 277 h 2087"/>
              <a:gd name="T14" fmla="*/ 1402 w 1948"/>
              <a:gd name="T15" fmla="*/ 186 h 2087"/>
              <a:gd name="T16" fmla="*/ 237 w 1948"/>
              <a:gd name="T17" fmla="*/ 480 h 2087"/>
              <a:gd name="T18" fmla="*/ 105 w 1948"/>
              <a:gd name="T19" fmla="*/ 1448 h 2087"/>
              <a:gd name="T20" fmla="*/ 1025 w 1948"/>
              <a:gd name="T21" fmla="*/ 2082 h 2087"/>
              <a:gd name="T22" fmla="*/ 1909 w 1948"/>
              <a:gd name="T23" fmla="*/ 1402 h 2087"/>
              <a:gd name="T24" fmla="*/ 1947 w 1948"/>
              <a:gd name="T25" fmla="*/ 1128 h 2087"/>
              <a:gd name="T26" fmla="*/ 1947 w 1948"/>
              <a:gd name="T27" fmla="*/ 1066 h 2087"/>
              <a:gd name="T28" fmla="*/ 1947 w 1948"/>
              <a:gd name="T29" fmla="*/ 1050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8" h="2087">
                <a:moveTo>
                  <a:pt x="1947" y="1050"/>
                </a:moveTo>
                <a:lnTo>
                  <a:pt x="1947" y="1050"/>
                </a:lnTo>
                <a:cubicBezTo>
                  <a:pt x="1942" y="1459"/>
                  <a:pt x="1676" y="1816"/>
                  <a:pt x="1290" y="1946"/>
                </a:cubicBezTo>
                <a:cubicBezTo>
                  <a:pt x="914" y="2072"/>
                  <a:pt x="496" y="1931"/>
                  <a:pt x="251" y="1626"/>
                </a:cubicBezTo>
                <a:cubicBezTo>
                  <a:pt x="136" y="1481"/>
                  <a:pt x="46" y="1271"/>
                  <a:pt x="53" y="1083"/>
                </a:cubicBezTo>
                <a:cubicBezTo>
                  <a:pt x="61" y="882"/>
                  <a:pt x="142" y="690"/>
                  <a:pt x="266" y="534"/>
                </a:cubicBezTo>
                <a:cubicBezTo>
                  <a:pt x="537" y="196"/>
                  <a:pt x="1013" y="101"/>
                  <a:pt x="1402" y="277"/>
                </a:cubicBezTo>
                <a:cubicBezTo>
                  <a:pt x="1391" y="272"/>
                  <a:pt x="1414" y="191"/>
                  <a:pt x="1402" y="186"/>
                </a:cubicBezTo>
                <a:cubicBezTo>
                  <a:pt x="990" y="0"/>
                  <a:pt x="511" y="120"/>
                  <a:pt x="237" y="480"/>
                </a:cubicBezTo>
                <a:cubicBezTo>
                  <a:pt x="35" y="746"/>
                  <a:pt x="0" y="1135"/>
                  <a:pt x="105" y="1448"/>
                </a:cubicBezTo>
                <a:cubicBezTo>
                  <a:pt x="235" y="1837"/>
                  <a:pt x="620" y="2087"/>
                  <a:pt x="1025" y="2082"/>
                </a:cubicBezTo>
                <a:cubicBezTo>
                  <a:pt x="1434" y="2077"/>
                  <a:pt x="1790" y="1788"/>
                  <a:pt x="1909" y="1402"/>
                </a:cubicBezTo>
                <a:cubicBezTo>
                  <a:pt x="1936" y="1313"/>
                  <a:pt x="1946" y="1221"/>
                  <a:pt x="1947" y="1128"/>
                </a:cubicBezTo>
                <a:cubicBezTo>
                  <a:pt x="1948" y="1108"/>
                  <a:pt x="1948" y="1087"/>
                  <a:pt x="1947" y="1066"/>
                </a:cubicBezTo>
                <a:cubicBezTo>
                  <a:pt x="1947" y="1064"/>
                  <a:pt x="1947" y="1033"/>
                  <a:pt x="1947" y="105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5" name="Freeform 34">
            <a:extLst>
              <a:ext uri="{FF2B5EF4-FFF2-40B4-BE49-F238E27FC236}">
                <a16:creationId xmlns:a16="http://schemas.microsoft.com/office/drawing/2014/main" id="{44457682-936C-1142-B6D0-095DAE4D75FE}"/>
              </a:ext>
            </a:extLst>
          </p:cNvPr>
          <p:cNvSpPr>
            <a:spLocks/>
          </p:cNvSpPr>
          <p:nvPr/>
        </p:nvSpPr>
        <p:spPr bwMode="auto">
          <a:xfrm>
            <a:off x="6861214" y="4647195"/>
            <a:ext cx="1592870" cy="1154595"/>
          </a:xfrm>
          <a:custGeom>
            <a:avLst/>
            <a:gdLst>
              <a:gd name="T0" fmla="*/ 0 w 2179"/>
              <a:gd name="T1" fmla="*/ 0 h 1579"/>
              <a:gd name="T2" fmla="*/ 0 w 2179"/>
              <a:gd name="T3" fmla="*/ 0 h 1579"/>
              <a:gd name="T4" fmla="*/ 0 w 2179"/>
              <a:gd name="T5" fmla="*/ 989 h 1579"/>
              <a:gd name="T6" fmla="*/ 1086 w 2179"/>
              <a:gd name="T7" fmla="*/ 1579 h 1579"/>
              <a:gd name="T8" fmla="*/ 2179 w 2179"/>
              <a:gd name="T9" fmla="*/ 989 h 1579"/>
              <a:gd name="T10" fmla="*/ 2179 w 2179"/>
              <a:gd name="T11" fmla="*/ 0 h 1579"/>
              <a:gd name="T12" fmla="*/ 0 w 2179"/>
              <a:gd name="T13" fmla="*/ 0 h 1579"/>
            </a:gdLst>
            <a:ahLst/>
            <a:cxnLst>
              <a:cxn ang="0">
                <a:pos x="T0" y="T1"/>
              </a:cxn>
              <a:cxn ang="0">
                <a:pos x="T2" y="T3"/>
              </a:cxn>
              <a:cxn ang="0">
                <a:pos x="T4" y="T5"/>
              </a:cxn>
              <a:cxn ang="0">
                <a:pos x="T6" y="T7"/>
              </a:cxn>
              <a:cxn ang="0">
                <a:pos x="T8" y="T9"/>
              </a:cxn>
              <a:cxn ang="0">
                <a:pos x="T10" y="T11"/>
              </a:cxn>
              <a:cxn ang="0">
                <a:pos x="T12" y="T13"/>
              </a:cxn>
            </a:cxnLst>
            <a:rect l="0" t="0" r="r" b="b"/>
            <a:pathLst>
              <a:path w="2179" h="1579">
                <a:moveTo>
                  <a:pt x="0" y="0"/>
                </a:moveTo>
                <a:lnTo>
                  <a:pt x="0" y="0"/>
                </a:lnTo>
                <a:lnTo>
                  <a:pt x="0" y="989"/>
                </a:lnTo>
                <a:lnTo>
                  <a:pt x="1086" y="1579"/>
                </a:lnTo>
                <a:lnTo>
                  <a:pt x="2179" y="989"/>
                </a:lnTo>
                <a:lnTo>
                  <a:pt x="2179" y="0"/>
                </a:lnTo>
                <a:lnTo>
                  <a:pt x="0"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2" name="Rectangle 61">
            <a:extLst>
              <a:ext uri="{FF2B5EF4-FFF2-40B4-BE49-F238E27FC236}">
                <a16:creationId xmlns:a16="http://schemas.microsoft.com/office/drawing/2014/main" id="{E73B5EC2-B3E7-534B-B3D6-7BB428A4F109}"/>
              </a:ext>
            </a:extLst>
          </p:cNvPr>
          <p:cNvSpPr/>
          <p:nvPr/>
        </p:nvSpPr>
        <p:spPr>
          <a:xfrm rot="20904627">
            <a:off x="7233446" y="3675604"/>
            <a:ext cx="853119" cy="200055"/>
          </a:xfrm>
          <a:prstGeom prst="rect">
            <a:avLst/>
          </a:prstGeom>
        </p:spPr>
        <p:txBody>
          <a:bodyPr wrap="none" lIns="0" tIns="0" rIns="0" bIns="0">
            <a:spAutoFit/>
          </a:bodyPr>
          <a:lstStyle/>
          <a:p>
            <a:r>
              <a:rPr lang="en-US" sz="1300" b="1" dirty="0">
                <a:solidFill>
                  <a:prstClr val="white"/>
                </a:solidFill>
              </a:rPr>
              <a:t>Dummy text</a:t>
            </a:r>
          </a:p>
        </p:txBody>
      </p:sp>
      <p:grpSp>
        <p:nvGrpSpPr>
          <p:cNvPr id="11" name="Group 10"/>
          <p:cNvGrpSpPr/>
          <p:nvPr/>
        </p:nvGrpSpPr>
        <p:grpSpPr>
          <a:xfrm>
            <a:off x="9787608" y="3308807"/>
            <a:ext cx="1991872" cy="939385"/>
            <a:chOff x="9787608" y="3308807"/>
            <a:chExt cx="1991872" cy="939385"/>
          </a:xfrm>
          <a:solidFill>
            <a:srgbClr val="000000"/>
          </a:solidFill>
        </p:grpSpPr>
        <p:sp>
          <p:nvSpPr>
            <p:cNvPr id="37" name="Freeform 36">
              <a:extLst>
                <a:ext uri="{FF2B5EF4-FFF2-40B4-BE49-F238E27FC236}">
                  <a16:creationId xmlns:a16="http://schemas.microsoft.com/office/drawing/2014/main" id="{768B9F6B-8995-0340-87E6-1082C168AF66}"/>
                </a:ext>
              </a:extLst>
            </p:cNvPr>
            <p:cNvSpPr>
              <a:spLocks/>
            </p:cNvSpPr>
            <p:nvPr/>
          </p:nvSpPr>
          <p:spPr bwMode="auto">
            <a:xfrm>
              <a:off x="9787608" y="3308807"/>
              <a:ext cx="11938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8" name="Freeform 37">
              <a:extLst>
                <a:ext uri="{FF2B5EF4-FFF2-40B4-BE49-F238E27FC236}">
                  <a16:creationId xmlns:a16="http://schemas.microsoft.com/office/drawing/2014/main" id="{666C84B9-8DEE-3C4C-9F7F-B0715E1C241B}"/>
                </a:ext>
              </a:extLst>
            </p:cNvPr>
            <p:cNvSpPr>
              <a:spLocks/>
            </p:cNvSpPr>
            <p:nvPr/>
          </p:nvSpPr>
          <p:spPr bwMode="auto">
            <a:xfrm>
              <a:off x="11658523" y="3308807"/>
              <a:ext cx="12095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sp>
        <p:nvSpPr>
          <p:cNvPr id="39" name="Freeform 38">
            <a:extLst>
              <a:ext uri="{FF2B5EF4-FFF2-40B4-BE49-F238E27FC236}">
                <a16:creationId xmlns:a16="http://schemas.microsoft.com/office/drawing/2014/main" id="{E7D6552B-85C4-A94A-A7F2-D2A41C311B96}"/>
              </a:ext>
            </a:extLst>
          </p:cNvPr>
          <p:cNvSpPr>
            <a:spLocks/>
          </p:cNvSpPr>
          <p:nvPr/>
        </p:nvSpPr>
        <p:spPr bwMode="auto">
          <a:xfrm>
            <a:off x="9903853" y="1701800"/>
            <a:ext cx="1754670" cy="4200526"/>
          </a:xfrm>
          <a:custGeom>
            <a:avLst/>
            <a:gdLst>
              <a:gd name="T0" fmla="*/ 1200 w 2401"/>
              <a:gd name="T1" fmla="*/ 0 h 5743"/>
              <a:gd name="T2" fmla="*/ 1200 w 2401"/>
              <a:gd name="T3" fmla="*/ 0 h 5743"/>
              <a:gd name="T4" fmla="*/ 0 w 2401"/>
              <a:gd name="T5" fmla="*/ 1199 h 5743"/>
              <a:gd name="T6" fmla="*/ 0 w 2401"/>
              <a:gd name="T7" fmla="*/ 5092 h 5743"/>
              <a:gd name="T8" fmla="*/ 1197 w 2401"/>
              <a:gd name="T9" fmla="*/ 5743 h 5743"/>
              <a:gd name="T10" fmla="*/ 2401 w 2401"/>
              <a:gd name="T11" fmla="*/ 5092 h 5743"/>
              <a:gd name="T12" fmla="*/ 2401 w 2401"/>
              <a:gd name="T13" fmla="*/ 1199 h 5743"/>
              <a:gd name="T14" fmla="*/ 1200 w 2401"/>
              <a:gd name="T15" fmla="*/ 0 h 57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1" h="5743">
                <a:moveTo>
                  <a:pt x="1200" y="0"/>
                </a:moveTo>
                <a:lnTo>
                  <a:pt x="1200" y="0"/>
                </a:lnTo>
                <a:cubicBezTo>
                  <a:pt x="537" y="0"/>
                  <a:pt x="0" y="536"/>
                  <a:pt x="0" y="1199"/>
                </a:cubicBezTo>
                <a:lnTo>
                  <a:pt x="0" y="5092"/>
                </a:lnTo>
                <a:lnTo>
                  <a:pt x="1197" y="5743"/>
                </a:lnTo>
                <a:lnTo>
                  <a:pt x="2401" y="5092"/>
                </a:lnTo>
                <a:lnTo>
                  <a:pt x="2401" y="1199"/>
                </a:lnTo>
                <a:cubicBezTo>
                  <a:pt x="2401" y="536"/>
                  <a:pt x="1863" y="0"/>
                  <a:pt x="1200" y="0"/>
                </a:cubicBezTo>
                <a:close/>
              </a:path>
            </a:pathLst>
          </a:custGeom>
          <a:solidFill>
            <a:srgbClr val="53565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40" name="Freeform 39">
            <a:extLst>
              <a:ext uri="{FF2B5EF4-FFF2-40B4-BE49-F238E27FC236}">
                <a16:creationId xmlns:a16="http://schemas.microsoft.com/office/drawing/2014/main" id="{C01F025B-9067-7840-B549-D6A3E8E855B4}"/>
              </a:ext>
            </a:extLst>
          </p:cNvPr>
          <p:cNvSpPr>
            <a:spLocks/>
          </p:cNvSpPr>
          <p:nvPr/>
        </p:nvSpPr>
        <p:spPr bwMode="auto">
          <a:xfrm>
            <a:off x="9994964" y="1791340"/>
            <a:ext cx="1572448" cy="1572448"/>
          </a:xfrm>
          <a:custGeom>
            <a:avLst/>
            <a:gdLst>
              <a:gd name="T0" fmla="*/ 2150 w 2150"/>
              <a:gd name="T1" fmla="*/ 1075 h 2150"/>
              <a:gd name="T2" fmla="*/ 2150 w 2150"/>
              <a:gd name="T3" fmla="*/ 1075 h 2150"/>
              <a:gd name="T4" fmla="*/ 1075 w 2150"/>
              <a:gd name="T5" fmla="*/ 2150 h 2150"/>
              <a:gd name="T6" fmla="*/ 0 w 2150"/>
              <a:gd name="T7" fmla="*/ 1075 h 2150"/>
              <a:gd name="T8" fmla="*/ 1075 w 2150"/>
              <a:gd name="T9" fmla="*/ 0 h 2150"/>
              <a:gd name="T10" fmla="*/ 2150 w 2150"/>
              <a:gd name="T11" fmla="*/ 1075 h 2150"/>
            </a:gdLst>
            <a:ahLst/>
            <a:cxnLst>
              <a:cxn ang="0">
                <a:pos x="T0" y="T1"/>
              </a:cxn>
              <a:cxn ang="0">
                <a:pos x="T2" y="T3"/>
              </a:cxn>
              <a:cxn ang="0">
                <a:pos x="T4" y="T5"/>
              </a:cxn>
              <a:cxn ang="0">
                <a:pos x="T6" y="T7"/>
              </a:cxn>
              <a:cxn ang="0">
                <a:pos x="T8" y="T9"/>
              </a:cxn>
              <a:cxn ang="0">
                <a:pos x="T10" y="T11"/>
              </a:cxn>
            </a:cxnLst>
            <a:rect l="0" t="0" r="r" b="b"/>
            <a:pathLst>
              <a:path w="2150" h="2150">
                <a:moveTo>
                  <a:pt x="2150" y="1075"/>
                </a:moveTo>
                <a:lnTo>
                  <a:pt x="2150" y="1075"/>
                </a:lnTo>
                <a:cubicBezTo>
                  <a:pt x="2150" y="1669"/>
                  <a:pt x="1669" y="2150"/>
                  <a:pt x="1075" y="2150"/>
                </a:cubicBezTo>
                <a:cubicBezTo>
                  <a:pt x="482" y="2150"/>
                  <a:pt x="0" y="1669"/>
                  <a:pt x="0" y="1075"/>
                </a:cubicBezTo>
                <a:cubicBezTo>
                  <a:pt x="0" y="481"/>
                  <a:pt x="482" y="0"/>
                  <a:pt x="1075" y="0"/>
                </a:cubicBezTo>
                <a:cubicBezTo>
                  <a:pt x="1669" y="0"/>
                  <a:pt x="2150" y="481"/>
                  <a:pt x="2150" y="1075"/>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nvGrpSpPr>
          <p:cNvPr id="10" name="Group 9"/>
          <p:cNvGrpSpPr/>
          <p:nvPr/>
        </p:nvGrpSpPr>
        <p:grpSpPr>
          <a:xfrm>
            <a:off x="9787608" y="1781915"/>
            <a:ext cx="1993443" cy="2466277"/>
            <a:chOff x="9787608" y="1781915"/>
            <a:chExt cx="1993443" cy="2466277"/>
          </a:xfrm>
          <a:solidFill>
            <a:schemeClr val="tx1">
              <a:lumMod val="85000"/>
              <a:lumOff val="15000"/>
            </a:schemeClr>
          </a:solidFill>
        </p:grpSpPr>
        <p:sp>
          <p:nvSpPr>
            <p:cNvPr id="41" name="Freeform 40">
              <a:extLst>
                <a:ext uri="{FF2B5EF4-FFF2-40B4-BE49-F238E27FC236}">
                  <a16:creationId xmlns:a16="http://schemas.microsoft.com/office/drawing/2014/main" id="{0810F711-D4F0-9F47-B32C-67F69E862CB6}"/>
                </a:ext>
              </a:extLst>
            </p:cNvPr>
            <p:cNvSpPr>
              <a:spLocks/>
            </p:cNvSpPr>
            <p:nvPr/>
          </p:nvSpPr>
          <p:spPr bwMode="auto">
            <a:xfrm>
              <a:off x="9787608" y="3308807"/>
              <a:ext cx="1993443" cy="939385"/>
            </a:xfrm>
            <a:custGeom>
              <a:avLst/>
              <a:gdLst>
                <a:gd name="T0" fmla="*/ 2728 w 2728"/>
                <a:gd name="T1" fmla="*/ 664 h 1285"/>
                <a:gd name="T2" fmla="*/ 2728 w 2728"/>
                <a:gd name="T3" fmla="*/ 664 h 1285"/>
                <a:gd name="T4" fmla="*/ 0 w 2728"/>
                <a:gd name="T5" fmla="*/ 1285 h 1285"/>
                <a:gd name="T6" fmla="*/ 0 w 2728"/>
                <a:gd name="T7" fmla="*/ 621 h 1285"/>
                <a:gd name="T8" fmla="*/ 2728 w 2728"/>
                <a:gd name="T9" fmla="*/ 0 h 1285"/>
                <a:gd name="T10" fmla="*/ 2728 w 2728"/>
                <a:gd name="T11" fmla="*/ 664 h 1285"/>
              </a:gdLst>
              <a:ahLst/>
              <a:cxnLst>
                <a:cxn ang="0">
                  <a:pos x="T0" y="T1"/>
                </a:cxn>
                <a:cxn ang="0">
                  <a:pos x="T2" y="T3"/>
                </a:cxn>
                <a:cxn ang="0">
                  <a:pos x="T4" y="T5"/>
                </a:cxn>
                <a:cxn ang="0">
                  <a:pos x="T6" y="T7"/>
                </a:cxn>
                <a:cxn ang="0">
                  <a:pos x="T8" y="T9"/>
                </a:cxn>
                <a:cxn ang="0">
                  <a:pos x="T10" y="T11"/>
                </a:cxn>
              </a:cxnLst>
              <a:rect l="0" t="0" r="r" b="b"/>
              <a:pathLst>
                <a:path w="2728" h="1285">
                  <a:moveTo>
                    <a:pt x="2728" y="664"/>
                  </a:moveTo>
                  <a:lnTo>
                    <a:pt x="2728" y="664"/>
                  </a:lnTo>
                  <a:lnTo>
                    <a:pt x="0" y="1285"/>
                  </a:lnTo>
                  <a:lnTo>
                    <a:pt x="0" y="621"/>
                  </a:lnTo>
                  <a:lnTo>
                    <a:pt x="2728" y="0"/>
                  </a:lnTo>
                  <a:lnTo>
                    <a:pt x="2728"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42" name="Freeform 41">
              <a:extLst>
                <a:ext uri="{FF2B5EF4-FFF2-40B4-BE49-F238E27FC236}">
                  <a16:creationId xmlns:a16="http://schemas.microsoft.com/office/drawing/2014/main" id="{910AEAE5-DB97-094C-AE5A-1EA91D159A05}"/>
                </a:ext>
              </a:extLst>
            </p:cNvPr>
            <p:cNvSpPr>
              <a:spLocks/>
            </p:cNvSpPr>
            <p:nvPr/>
          </p:nvSpPr>
          <p:spPr bwMode="auto">
            <a:xfrm>
              <a:off x="10049944" y="1781915"/>
              <a:ext cx="1424786" cy="1526893"/>
            </a:xfrm>
            <a:custGeom>
              <a:avLst/>
              <a:gdLst>
                <a:gd name="T0" fmla="*/ 1947 w 1948"/>
                <a:gd name="T1" fmla="*/ 1050 h 2087"/>
                <a:gd name="T2" fmla="*/ 1947 w 1948"/>
                <a:gd name="T3" fmla="*/ 1050 h 2087"/>
                <a:gd name="T4" fmla="*/ 1290 w 1948"/>
                <a:gd name="T5" fmla="*/ 1946 h 2087"/>
                <a:gd name="T6" fmla="*/ 251 w 1948"/>
                <a:gd name="T7" fmla="*/ 1626 h 2087"/>
                <a:gd name="T8" fmla="*/ 53 w 1948"/>
                <a:gd name="T9" fmla="*/ 1083 h 2087"/>
                <a:gd name="T10" fmla="*/ 266 w 1948"/>
                <a:gd name="T11" fmla="*/ 534 h 2087"/>
                <a:gd name="T12" fmla="*/ 1402 w 1948"/>
                <a:gd name="T13" fmla="*/ 277 h 2087"/>
                <a:gd name="T14" fmla="*/ 1402 w 1948"/>
                <a:gd name="T15" fmla="*/ 186 h 2087"/>
                <a:gd name="T16" fmla="*/ 237 w 1948"/>
                <a:gd name="T17" fmla="*/ 480 h 2087"/>
                <a:gd name="T18" fmla="*/ 105 w 1948"/>
                <a:gd name="T19" fmla="*/ 1448 h 2087"/>
                <a:gd name="T20" fmla="*/ 1025 w 1948"/>
                <a:gd name="T21" fmla="*/ 2082 h 2087"/>
                <a:gd name="T22" fmla="*/ 1909 w 1948"/>
                <a:gd name="T23" fmla="*/ 1402 h 2087"/>
                <a:gd name="T24" fmla="*/ 1947 w 1948"/>
                <a:gd name="T25" fmla="*/ 1128 h 2087"/>
                <a:gd name="T26" fmla="*/ 1947 w 1948"/>
                <a:gd name="T27" fmla="*/ 1066 h 2087"/>
                <a:gd name="T28" fmla="*/ 1947 w 1948"/>
                <a:gd name="T29" fmla="*/ 1050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8" h="2087">
                  <a:moveTo>
                    <a:pt x="1947" y="1050"/>
                  </a:moveTo>
                  <a:lnTo>
                    <a:pt x="1947" y="1050"/>
                  </a:lnTo>
                  <a:cubicBezTo>
                    <a:pt x="1942" y="1459"/>
                    <a:pt x="1676" y="1816"/>
                    <a:pt x="1290" y="1946"/>
                  </a:cubicBezTo>
                  <a:cubicBezTo>
                    <a:pt x="914" y="2072"/>
                    <a:pt x="496" y="1931"/>
                    <a:pt x="251" y="1626"/>
                  </a:cubicBezTo>
                  <a:cubicBezTo>
                    <a:pt x="136" y="1481"/>
                    <a:pt x="46" y="1271"/>
                    <a:pt x="53" y="1083"/>
                  </a:cubicBezTo>
                  <a:cubicBezTo>
                    <a:pt x="61" y="882"/>
                    <a:pt x="142" y="690"/>
                    <a:pt x="266" y="534"/>
                  </a:cubicBezTo>
                  <a:cubicBezTo>
                    <a:pt x="537" y="196"/>
                    <a:pt x="1013" y="101"/>
                    <a:pt x="1402" y="277"/>
                  </a:cubicBezTo>
                  <a:cubicBezTo>
                    <a:pt x="1391" y="272"/>
                    <a:pt x="1414" y="191"/>
                    <a:pt x="1402" y="186"/>
                  </a:cubicBezTo>
                  <a:cubicBezTo>
                    <a:pt x="990" y="0"/>
                    <a:pt x="511" y="120"/>
                    <a:pt x="237" y="480"/>
                  </a:cubicBezTo>
                  <a:cubicBezTo>
                    <a:pt x="35" y="746"/>
                    <a:pt x="0" y="1135"/>
                    <a:pt x="105" y="1448"/>
                  </a:cubicBezTo>
                  <a:cubicBezTo>
                    <a:pt x="235" y="1837"/>
                    <a:pt x="620" y="2087"/>
                    <a:pt x="1025" y="2082"/>
                  </a:cubicBezTo>
                  <a:cubicBezTo>
                    <a:pt x="1434" y="2077"/>
                    <a:pt x="1790" y="1788"/>
                    <a:pt x="1909" y="1402"/>
                  </a:cubicBezTo>
                  <a:cubicBezTo>
                    <a:pt x="1936" y="1313"/>
                    <a:pt x="1946" y="1221"/>
                    <a:pt x="1947" y="1128"/>
                  </a:cubicBezTo>
                  <a:cubicBezTo>
                    <a:pt x="1948" y="1108"/>
                    <a:pt x="1948" y="1087"/>
                    <a:pt x="1947" y="1066"/>
                  </a:cubicBezTo>
                  <a:cubicBezTo>
                    <a:pt x="1947" y="1064"/>
                    <a:pt x="1947" y="1033"/>
                    <a:pt x="1947" y="105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sp>
        <p:nvSpPr>
          <p:cNvPr id="43" name="Freeform 42">
            <a:extLst>
              <a:ext uri="{FF2B5EF4-FFF2-40B4-BE49-F238E27FC236}">
                <a16:creationId xmlns:a16="http://schemas.microsoft.com/office/drawing/2014/main" id="{999D8D85-CD7C-8749-A7EE-23341855F20C}"/>
              </a:ext>
            </a:extLst>
          </p:cNvPr>
          <p:cNvSpPr>
            <a:spLocks/>
          </p:cNvSpPr>
          <p:nvPr/>
        </p:nvSpPr>
        <p:spPr bwMode="auto">
          <a:xfrm>
            <a:off x="9985538" y="4647195"/>
            <a:ext cx="1592870" cy="1154595"/>
          </a:xfrm>
          <a:custGeom>
            <a:avLst/>
            <a:gdLst>
              <a:gd name="T0" fmla="*/ 0 w 2179"/>
              <a:gd name="T1" fmla="*/ 0 h 1579"/>
              <a:gd name="T2" fmla="*/ 0 w 2179"/>
              <a:gd name="T3" fmla="*/ 0 h 1579"/>
              <a:gd name="T4" fmla="*/ 0 w 2179"/>
              <a:gd name="T5" fmla="*/ 989 h 1579"/>
              <a:gd name="T6" fmla="*/ 1086 w 2179"/>
              <a:gd name="T7" fmla="*/ 1579 h 1579"/>
              <a:gd name="T8" fmla="*/ 2179 w 2179"/>
              <a:gd name="T9" fmla="*/ 989 h 1579"/>
              <a:gd name="T10" fmla="*/ 2179 w 2179"/>
              <a:gd name="T11" fmla="*/ 0 h 1579"/>
              <a:gd name="T12" fmla="*/ 0 w 2179"/>
              <a:gd name="T13" fmla="*/ 0 h 1579"/>
            </a:gdLst>
            <a:ahLst/>
            <a:cxnLst>
              <a:cxn ang="0">
                <a:pos x="T0" y="T1"/>
              </a:cxn>
              <a:cxn ang="0">
                <a:pos x="T2" y="T3"/>
              </a:cxn>
              <a:cxn ang="0">
                <a:pos x="T4" y="T5"/>
              </a:cxn>
              <a:cxn ang="0">
                <a:pos x="T6" y="T7"/>
              </a:cxn>
              <a:cxn ang="0">
                <a:pos x="T8" y="T9"/>
              </a:cxn>
              <a:cxn ang="0">
                <a:pos x="T10" y="T11"/>
              </a:cxn>
              <a:cxn ang="0">
                <a:pos x="T12" y="T13"/>
              </a:cxn>
            </a:cxnLst>
            <a:rect l="0" t="0" r="r" b="b"/>
            <a:pathLst>
              <a:path w="2179" h="1579">
                <a:moveTo>
                  <a:pt x="0" y="0"/>
                </a:moveTo>
                <a:lnTo>
                  <a:pt x="0" y="0"/>
                </a:lnTo>
                <a:lnTo>
                  <a:pt x="0" y="989"/>
                </a:lnTo>
                <a:lnTo>
                  <a:pt x="1086" y="1579"/>
                </a:lnTo>
                <a:lnTo>
                  <a:pt x="2179" y="989"/>
                </a:lnTo>
                <a:lnTo>
                  <a:pt x="2179" y="0"/>
                </a:lnTo>
                <a:lnTo>
                  <a:pt x="0"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3" name="Rectangle 62">
            <a:extLst>
              <a:ext uri="{FF2B5EF4-FFF2-40B4-BE49-F238E27FC236}">
                <a16:creationId xmlns:a16="http://schemas.microsoft.com/office/drawing/2014/main" id="{D995EC6A-BF95-1745-A4A7-2C9B561A97EB}"/>
              </a:ext>
            </a:extLst>
          </p:cNvPr>
          <p:cNvSpPr/>
          <p:nvPr/>
        </p:nvSpPr>
        <p:spPr>
          <a:xfrm rot="20904627">
            <a:off x="10418590" y="3660201"/>
            <a:ext cx="853119" cy="200055"/>
          </a:xfrm>
          <a:prstGeom prst="rect">
            <a:avLst/>
          </a:prstGeom>
        </p:spPr>
        <p:txBody>
          <a:bodyPr wrap="none" lIns="0" tIns="0" rIns="0" bIns="0">
            <a:spAutoFit/>
          </a:bodyPr>
          <a:lstStyle/>
          <a:p>
            <a:r>
              <a:rPr lang="en-US" sz="1300" b="1" dirty="0">
                <a:solidFill>
                  <a:prstClr val="white"/>
                </a:solidFill>
              </a:rPr>
              <a:t>Dummy text</a:t>
            </a:r>
          </a:p>
        </p:txBody>
      </p:sp>
    </p:spTree>
    <p:custDataLst>
      <p:tags r:id="rId1"/>
    </p:custDataLst>
    <p:extLst>
      <p:ext uri="{BB962C8B-B14F-4D97-AF65-F5344CB8AC3E}">
        <p14:creationId xmlns:p14="http://schemas.microsoft.com/office/powerpoint/2010/main" val="3352862547"/>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Freeform 5">
            <a:extLst>
              <a:ext uri="{FF2B5EF4-FFF2-40B4-BE49-F238E27FC236}">
                <a16:creationId xmlns:a16="http://schemas.microsoft.com/office/drawing/2014/main" id="{3BE4AB5A-1102-4008-8D9B-CC50635B7EF8}"/>
              </a:ext>
            </a:extLst>
          </p:cNvPr>
          <p:cNvSpPr>
            <a:spLocks/>
          </p:cNvSpPr>
          <p:nvPr/>
        </p:nvSpPr>
        <p:spPr bwMode="auto">
          <a:xfrm>
            <a:off x="2236331" y="1714500"/>
            <a:ext cx="2299830" cy="796778"/>
          </a:xfrm>
          <a:custGeom>
            <a:avLst/>
            <a:gdLst>
              <a:gd name="T0" fmla="*/ 542 w 548"/>
              <a:gd name="T1" fmla="*/ 171 h 189"/>
              <a:gd name="T2" fmla="*/ 548 w 548"/>
              <a:gd name="T3" fmla="*/ 149 h 189"/>
              <a:gd name="T4" fmla="*/ 449 w 548"/>
              <a:gd name="T5" fmla="*/ 83 h 189"/>
              <a:gd name="T6" fmla="*/ 273 w 548"/>
              <a:gd name="T7" fmla="*/ 0 h 189"/>
              <a:gd name="T8" fmla="*/ 98 w 548"/>
              <a:gd name="T9" fmla="*/ 83 h 189"/>
              <a:gd name="T10" fmla="*/ 0 w 548"/>
              <a:gd name="T11" fmla="*/ 148 h 189"/>
              <a:gd name="T12" fmla="*/ 7 w 548"/>
              <a:gd name="T13" fmla="*/ 176 h 189"/>
              <a:gd name="T14" fmla="*/ 6 w 548"/>
              <a:gd name="T15" fmla="*/ 188 h 189"/>
              <a:gd name="T16" fmla="*/ 125 w 548"/>
              <a:gd name="T17" fmla="*/ 112 h 189"/>
              <a:gd name="T18" fmla="*/ 273 w 548"/>
              <a:gd name="T19" fmla="*/ 40 h 189"/>
              <a:gd name="T20" fmla="*/ 421 w 548"/>
              <a:gd name="T21" fmla="*/ 112 h 189"/>
              <a:gd name="T22" fmla="*/ 543 w 548"/>
              <a:gd name="T23" fmla="*/ 189 h 189"/>
              <a:gd name="T24" fmla="*/ 542 w 548"/>
              <a:gd name="T25" fmla="*/ 17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8" h="189">
                <a:moveTo>
                  <a:pt x="542" y="171"/>
                </a:moveTo>
                <a:cubicBezTo>
                  <a:pt x="542" y="163"/>
                  <a:pt x="545" y="156"/>
                  <a:pt x="548" y="149"/>
                </a:cubicBezTo>
                <a:cubicBezTo>
                  <a:pt x="506" y="138"/>
                  <a:pt x="479" y="112"/>
                  <a:pt x="449" y="83"/>
                </a:cubicBezTo>
                <a:cubicBezTo>
                  <a:pt x="408" y="44"/>
                  <a:pt x="362" y="0"/>
                  <a:pt x="273" y="0"/>
                </a:cubicBezTo>
                <a:cubicBezTo>
                  <a:pt x="184" y="0"/>
                  <a:pt x="138" y="44"/>
                  <a:pt x="98" y="83"/>
                </a:cubicBezTo>
                <a:cubicBezTo>
                  <a:pt x="68" y="111"/>
                  <a:pt x="41" y="137"/>
                  <a:pt x="0" y="148"/>
                </a:cubicBezTo>
                <a:cubicBezTo>
                  <a:pt x="5" y="157"/>
                  <a:pt x="7" y="166"/>
                  <a:pt x="7" y="176"/>
                </a:cubicBezTo>
                <a:cubicBezTo>
                  <a:pt x="7" y="180"/>
                  <a:pt x="7" y="184"/>
                  <a:pt x="6" y="188"/>
                </a:cubicBezTo>
                <a:cubicBezTo>
                  <a:pt x="60" y="174"/>
                  <a:pt x="94" y="142"/>
                  <a:pt x="125" y="112"/>
                </a:cubicBezTo>
                <a:cubicBezTo>
                  <a:pt x="165" y="73"/>
                  <a:pt x="200" y="40"/>
                  <a:pt x="273" y="40"/>
                </a:cubicBezTo>
                <a:cubicBezTo>
                  <a:pt x="346" y="40"/>
                  <a:pt x="381" y="73"/>
                  <a:pt x="421" y="112"/>
                </a:cubicBezTo>
                <a:cubicBezTo>
                  <a:pt x="452" y="142"/>
                  <a:pt x="487" y="176"/>
                  <a:pt x="543" y="189"/>
                </a:cubicBezTo>
                <a:cubicBezTo>
                  <a:pt x="542" y="183"/>
                  <a:pt x="541" y="177"/>
                  <a:pt x="542" y="171"/>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0" name="Freeform 6">
            <a:extLst>
              <a:ext uri="{FF2B5EF4-FFF2-40B4-BE49-F238E27FC236}">
                <a16:creationId xmlns:a16="http://schemas.microsoft.com/office/drawing/2014/main" id="{E622D9D5-5541-4F9A-8880-AECE14B82A09}"/>
              </a:ext>
            </a:extLst>
          </p:cNvPr>
          <p:cNvSpPr>
            <a:spLocks/>
          </p:cNvSpPr>
          <p:nvPr/>
        </p:nvSpPr>
        <p:spPr bwMode="auto">
          <a:xfrm>
            <a:off x="7632769" y="1714500"/>
            <a:ext cx="2298056" cy="803876"/>
          </a:xfrm>
          <a:custGeom>
            <a:avLst/>
            <a:gdLst>
              <a:gd name="T0" fmla="*/ 540 w 548"/>
              <a:gd name="T1" fmla="*/ 171 h 191"/>
              <a:gd name="T2" fmla="*/ 548 w 548"/>
              <a:gd name="T3" fmla="*/ 147 h 191"/>
              <a:gd name="T4" fmla="*/ 456 w 548"/>
              <a:gd name="T5" fmla="*/ 83 h 191"/>
              <a:gd name="T6" fmla="*/ 281 w 548"/>
              <a:gd name="T7" fmla="*/ 0 h 191"/>
              <a:gd name="T8" fmla="*/ 105 w 548"/>
              <a:gd name="T9" fmla="*/ 83 h 191"/>
              <a:gd name="T10" fmla="*/ 0 w 548"/>
              <a:gd name="T11" fmla="*/ 151 h 191"/>
              <a:gd name="T12" fmla="*/ 6 w 548"/>
              <a:gd name="T13" fmla="*/ 176 h 191"/>
              <a:gd name="T14" fmla="*/ 4 w 548"/>
              <a:gd name="T15" fmla="*/ 191 h 191"/>
              <a:gd name="T16" fmla="*/ 133 w 548"/>
              <a:gd name="T17" fmla="*/ 112 h 191"/>
              <a:gd name="T18" fmla="*/ 281 w 548"/>
              <a:gd name="T19" fmla="*/ 40 h 191"/>
              <a:gd name="T20" fmla="*/ 429 w 548"/>
              <a:gd name="T21" fmla="*/ 112 h 191"/>
              <a:gd name="T22" fmla="*/ 541 w 548"/>
              <a:gd name="T23" fmla="*/ 186 h 191"/>
              <a:gd name="T24" fmla="*/ 540 w 548"/>
              <a:gd name="T25" fmla="*/ 17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8" h="191">
                <a:moveTo>
                  <a:pt x="540" y="171"/>
                </a:moveTo>
                <a:cubicBezTo>
                  <a:pt x="541" y="162"/>
                  <a:pt x="544" y="154"/>
                  <a:pt x="548" y="147"/>
                </a:cubicBezTo>
                <a:cubicBezTo>
                  <a:pt x="510" y="135"/>
                  <a:pt x="485" y="110"/>
                  <a:pt x="456" y="83"/>
                </a:cubicBezTo>
                <a:cubicBezTo>
                  <a:pt x="416" y="44"/>
                  <a:pt x="370" y="0"/>
                  <a:pt x="281" y="0"/>
                </a:cubicBezTo>
                <a:cubicBezTo>
                  <a:pt x="192" y="0"/>
                  <a:pt x="146" y="44"/>
                  <a:pt x="105" y="83"/>
                </a:cubicBezTo>
                <a:cubicBezTo>
                  <a:pt x="74" y="113"/>
                  <a:pt x="46" y="140"/>
                  <a:pt x="0" y="151"/>
                </a:cubicBezTo>
                <a:cubicBezTo>
                  <a:pt x="4" y="158"/>
                  <a:pt x="6" y="167"/>
                  <a:pt x="6" y="176"/>
                </a:cubicBezTo>
                <a:cubicBezTo>
                  <a:pt x="6" y="181"/>
                  <a:pt x="5" y="186"/>
                  <a:pt x="4" y="191"/>
                </a:cubicBezTo>
                <a:cubicBezTo>
                  <a:pt x="64" y="178"/>
                  <a:pt x="100" y="143"/>
                  <a:pt x="133" y="112"/>
                </a:cubicBezTo>
                <a:cubicBezTo>
                  <a:pt x="173" y="73"/>
                  <a:pt x="208" y="40"/>
                  <a:pt x="281" y="40"/>
                </a:cubicBezTo>
                <a:cubicBezTo>
                  <a:pt x="354" y="40"/>
                  <a:pt x="388" y="73"/>
                  <a:pt x="429" y="112"/>
                </a:cubicBezTo>
                <a:cubicBezTo>
                  <a:pt x="458" y="140"/>
                  <a:pt x="491" y="172"/>
                  <a:pt x="541" y="186"/>
                </a:cubicBezTo>
                <a:cubicBezTo>
                  <a:pt x="540" y="181"/>
                  <a:pt x="540" y="176"/>
                  <a:pt x="540" y="171"/>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1" name="Freeform 7">
            <a:extLst>
              <a:ext uri="{FF2B5EF4-FFF2-40B4-BE49-F238E27FC236}">
                <a16:creationId xmlns:a16="http://schemas.microsoft.com/office/drawing/2014/main" id="{69B76EB9-702F-4648-A993-E8CB9FF1EA80}"/>
              </a:ext>
            </a:extLst>
          </p:cNvPr>
          <p:cNvSpPr>
            <a:spLocks/>
          </p:cNvSpPr>
          <p:nvPr/>
        </p:nvSpPr>
        <p:spPr bwMode="auto">
          <a:xfrm>
            <a:off x="10372690" y="1714500"/>
            <a:ext cx="1236869" cy="796778"/>
          </a:xfrm>
          <a:custGeom>
            <a:avLst/>
            <a:gdLst>
              <a:gd name="T0" fmla="*/ 275 w 295"/>
              <a:gd name="T1" fmla="*/ 0 h 189"/>
              <a:gd name="T2" fmla="*/ 99 w 295"/>
              <a:gd name="T3" fmla="*/ 83 h 189"/>
              <a:gd name="T4" fmla="*/ 0 w 295"/>
              <a:gd name="T5" fmla="*/ 149 h 189"/>
              <a:gd name="T6" fmla="*/ 6 w 295"/>
              <a:gd name="T7" fmla="*/ 176 h 189"/>
              <a:gd name="T8" fmla="*/ 5 w 295"/>
              <a:gd name="T9" fmla="*/ 189 h 189"/>
              <a:gd name="T10" fmla="*/ 127 w 295"/>
              <a:gd name="T11" fmla="*/ 112 h 189"/>
              <a:gd name="T12" fmla="*/ 275 w 295"/>
              <a:gd name="T13" fmla="*/ 40 h 189"/>
              <a:gd name="T14" fmla="*/ 295 w 295"/>
              <a:gd name="T15" fmla="*/ 20 h 189"/>
              <a:gd name="T16" fmla="*/ 275 w 295"/>
              <a:gd name="T1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5" h="189">
                <a:moveTo>
                  <a:pt x="275" y="0"/>
                </a:moveTo>
                <a:cubicBezTo>
                  <a:pt x="186" y="0"/>
                  <a:pt x="140" y="44"/>
                  <a:pt x="99" y="83"/>
                </a:cubicBezTo>
                <a:cubicBezTo>
                  <a:pt x="69" y="112"/>
                  <a:pt x="42" y="138"/>
                  <a:pt x="0" y="149"/>
                </a:cubicBezTo>
                <a:cubicBezTo>
                  <a:pt x="4" y="157"/>
                  <a:pt x="6" y="166"/>
                  <a:pt x="6" y="176"/>
                </a:cubicBezTo>
                <a:cubicBezTo>
                  <a:pt x="6" y="181"/>
                  <a:pt x="6" y="185"/>
                  <a:pt x="5" y="189"/>
                </a:cubicBezTo>
                <a:cubicBezTo>
                  <a:pt x="60" y="176"/>
                  <a:pt x="95" y="142"/>
                  <a:pt x="127" y="112"/>
                </a:cubicBezTo>
                <a:cubicBezTo>
                  <a:pt x="167" y="73"/>
                  <a:pt x="202" y="40"/>
                  <a:pt x="275" y="40"/>
                </a:cubicBezTo>
                <a:cubicBezTo>
                  <a:pt x="286" y="40"/>
                  <a:pt x="295" y="31"/>
                  <a:pt x="295" y="20"/>
                </a:cubicBezTo>
                <a:cubicBezTo>
                  <a:pt x="295" y="9"/>
                  <a:pt x="286" y="0"/>
                  <a:pt x="275" y="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2" name="Freeform 8">
            <a:extLst>
              <a:ext uri="{FF2B5EF4-FFF2-40B4-BE49-F238E27FC236}">
                <a16:creationId xmlns:a16="http://schemas.microsoft.com/office/drawing/2014/main" id="{D369587C-E5CB-47BE-BE85-9CB28FAA27CE}"/>
              </a:ext>
            </a:extLst>
          </p:cNvPr>
          <p:cNvSpPr>
            <a:spLocks/>
          </p:cNvSpPr>
          <p:nvPr/>
        </p:nvSpPr>
        <p:spPr bwMode="auto">
          <a:xfrm>
            <a:off x="4976252" y="1714500"/>
            <a:ext cx="2219975" cy="784355"/>
          </a:xfrm>
          <a:custGeom>
            <a:avLst/>
            <a:gdLst>
              <a:gd name="T0" fmla="*/ 520 w 529"/>
              <a:gd name="T1" fmla="*/ 171 h 186"/>
              <a:gd name="T2" fmla="*/ 529 w 529"/>
              <a:gd name="T3" fmla="*/ 145 h 186"/>
              <a:gd name="T4" fmla="*/ 442 w 529"/>
              <a:gd name="T5" fmla="*/ 83 h 186"/>
              <a:gd name="T6" fmla="*/ 267 w 529"/>
              <a:gd name="T7" fmla="*/ 0 h 186"/>
              <a:gd name="T8" fmla="*/ 91 w 529"/>
              <a:gd name="T9" fmla="*/ 83 h 186"/>
              <a:gd name="T10" fmla="*/ 0 w 529"/>
              <a:gd name="T11" fmla="*/ 147 h 186"/>
              <a:gd name="T12" fmla="*/ 8 w 529"/>
              <a:gd name="T13" fmla="*/ 176 h 186"/>
              <a:gd name="T14" fmla="*/ 7 w 529"/>
              <a:gd name="T15" fmla="*/ 186 h 186"/>
              <a:gd name="T16" fmla="*/ 119 w 529"/>
              <a:gd name="T17" fmla="*/ 112 h 186"/>
              <a:gd name="T18" fmla="*/ 267 w 529"/>
              <a:gd name="T19" fmla="*/ 40 h 186"/>
              <a:gd name="T20" fmla="*/ 415 w 529"/>
              <a:gd name="T21" fmla="*/ 112 h 186"/>
              <a:gd name="T22" fmla="*/ 520 w 529"/>
              <a:gd name="T23" fmla="*/ 184 h 186"/>
              <a:gd name="T24" fmla="*/ 520 w 529"/>
              <a:gd name="T25" fmla="*/ 1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9" h="186">
                <a:moveTo>
                  <a:pt x="520" y="171"/>
                </a:moveTo>
                <a:cubicBezTo>
                  <a:pt x="521" y="162"/>
                  <a:pt x="524" y="153"/>
                  <a:pt x="529" y="145"/>
                </a:cubicBezTo>
                <a:cubicBezTo>
                  <a:pt x="494" y="132"/>
                  <a:pt x="469" y="109"/>
                  <a:pt x="442" y="83"/>
                </a:cubicBezTo>
                <a:cubicBezTo>
                  <a:pt x="402" y="44"/>
                  <a:pt x="356" y="0"/>
                  <a:pt x="267" y="0"/>
                </a:cubicBezTo>
                <a:cubicBezTo>
                  <a:pt x="178" y="0"/>
                  <a:pt x="132" y="44"/>
                  <a:pt x="91" y="83"/>
                </a:cubicBezTo>
                <a:cubicBezTo>
                  <a:pt x="63" y="110"/>
                  <a:pt x="38" y="135"/>
                  <a:pt x="0" y="147"/>
                </a:cubicBezTo>
                <a:cubicBezTo>
                  <a:pt x="5" y="155"/>
                  <a:pt x="8" y="165"/>
                  <a:pt x="8" y="176"/>
                </a:cubicBezTo>
                <a:cubicBezTo>
                  <a:pt x="8" y="180"/>
                  <a:pt x="7" y="183"/>
                  <a:pt x="7" y="186"/>
                </a:cubicBezTo>
                <a:cubicBezTo>
                  <a:pt x="57" y="172"/>
                  <a:pt x="89" y="140"/>
                  <a:pt x="119" y="112"/>
                </a:cubicBezTo>
                <a:cubicBezTo>
                  <a:pt x="159" y="73"/>
                  <a:pt x="194" y="40"/>
                  <a:pt x="267" y="40"/>
                </a:cubicBezTo>
                <a:cubicBezTo>
                  <a:pt x="340" y="40"/>
                  <a:pt x="374" y="73"/>
                  <a:pt x="415" y="112"/>
                </a:cubicBezTo>
                <a:cubicBezTo>
                  <a:pt x="443" y="139"/>
                  <a:pt x="474" y="169"/>
                  <a:pt x="520" y="184"/>
                </a:cubicBezTo>
                <a:cubicBezTo>
                  <a:pt x="520" y="180"/>
                  <a:pt x="520" y="176"/>
                  <a:pt x="520" y="171"/>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3" name="Freeform 9">
            <a:extLst>
              <a:ext uri="{FF2B5EF4-FFF2-40B4-BE49-F238E27FC236}">
                <a16:creationId xmlns:a16="http://schemas.microsoft.com/office/drawing/2014/main" id="{577416E8-C2D9-4BB7-B7A0-E73BB47CEDB5}"/>
              </a:ext>
            </a:extLst>
          </p:cNvPr>
          <p:cNvSpPr>
            <a:spLocks/>
          </p:cNvSpPr>
          <p:nvPr/>
        </p:nvSpPr>
        <p:spPr bwMode="auto">
          <a:xfrm>
            <a:off x="582441" y="1714500"/>
            <a:ext cx="1213799" cy="787905"/>
          </a:xfrm>
          <a:custGeom>
            <a:avLst/>
            <a:gdLst>
              <a:gd name="T0" fmla="*/ 282 w 289"/>
              <a:gd name="T1" fmla="*/ 171 h 187"/>
              <a:gd name="T2" fmla="*/ 289 w 289"/>
              <a:gd name="T3" fmla="*/ 147 h 187"/>
              <a:gd name="T4" fmla="*/ 196 w 289"/>
              <a:gd name="T5" fmla="*/ 83 h 187"/>
              <a:gd name="T6" fmla="*/ 20 w 289"/>
              <a:gd name="T7" fmla="*/ 0 h 187"/>
              <a:gd name="T8" fmla="*/ 0 w 289"/>
              <a:gd name="T9" fmla="*/ 20 h 187"/>
              <a:gd name="T10" fmla="*/ 20 w 289"/>
              <a:gd name="T11" fmla="*/ 40 h 187"/>
              <a:gd name="T12" fmla="*/ 168 w 289"/>
              <a:gd name="T13" fmla="*/ 112 h 187"/>
              <a:gd name="T14" fmla="*/ 283 w 289"/>
              <a:gd name="T15" fmla="*/ 187 h 187"/>
              <a:gd name="T16" fmla="*/ 282 w 289"/>
              <a:gd name="T17" fmla="*/ 17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187">
                <a:moveTo>
                  <a:pt x="282" y="171"/>
                </a:moveTo>
                <a:cubicBezTo>
                  <a:pt x="283" y="163"/>
                  <a:pt x="286" y="155"/>
                  <a:pt x="289" y="147"/>
                </a:cubicBezTo>
                <a:cubicBezTo>
                  <a:pt x="251" y="135"/>
                  <a:pt x="225" y="111"/>
                  <a:pt x="196" y="83"/>
                </a:cubicBezTo>
                <a:cubicBezTo>
                  <a:pt x="155" y="44"/>
                  <a:pt x="109" y="0"/>
                  <a:pt x="20" y="0"/>
                </a:cubicBezTo>
                <a:cubicBezTo>
                  <a:pt x="9" y="0"/>
                  <a:pt x="0" y="9"/>
                  <a:pt x="0" y="20"/>
                </a:cubicBezTo>
                <a:cubicBezTo>
                  <a:pt x="0" y="31"/>
                  <a:pt x="9" y="40"/>
                  <a:pt x="20" y="40"/>
                </a:cubicBezTo>
                <a:cubicBezTo>
                  <a:pt x="93" y="40"/>
                  <a:pt x="128" y="73"/>
                  <a:pt x="168" y="112"/>
                </a:cubicBezTo>
                <a:cubicBezTo>
                  <a:pt x="198" y="141"/>
                  <a:pt x="232" y="173"/>
                  <a:pt x="283" y="187"/>
                </a:cubicBezTo>
                <a:cubicBezTo>
                  <a:pt x="282" y="182"/>
                  <a:pt x="282" y="177"/>
                  <a:pt x="282" y="171"/>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4" name="Freeform 12">
            <a:extLst>
              <a:ext uri="{FF2B5EF4-FFF2-40B4-BE49-F238E27FC236}">
                <a16:creationId xmlns:a16="http://schemas.microsoft.com/office/drawing/2014/main" id="{08FC0FF7-9049-43F4-8BFA-F6FECBDFF875}"/>
              </a:ext>
            </a:extLst>
          </p:cNvPr>
          <p:cNvSpPr>
            <a:spLocks/>
          </p:cNvSpPr>
          <p:nvPr/>
        </p:nvSpPr>
        <p:spPr bwMode="auto">
          <a:xfrm>
            <a:off x="1920459" y="2358666"/>
            <a:ext cx="193428" cy="193428"/>
          </a:xfrm>
          <a:custGeom>
            <a:avLst/>
            <a:gdLst>
              <a:gd name="T0" fmla="*/ 23 w 46"/>
              <a:gd name="T1" fmla="*/ 46 h 46"/>
              <a:gd name="T2" fmla="*/ 23 w 46"/>
              <a:gd name="T3" fmla="*/ 46 h 46"/>
              <a:gd name="T4" fmla="*/ 0 w 46"/>
              <a:gd name="T5" fmla="*/ 23 h 46"/>
              <a:gd name="T6" fmla="*/ 0 w 46"/>
              <a:gd name="T7" fmla="*/ 23 h 46"/>
              <a:gd name="T8" fmla="*/ 23 w 46"/>
              <a:gd name="T9" fmla="*/ 0 h 46"/>
              <a:gd name="T10" fmla="*/ 23 w 46"/>
              <a:gd name="T11" fmla="*/ 0 h 46"/>
              <a:gd name="T12" fmla="*/ 46 w 46"/>
              <a:gd name="T13" fmla="*/ 23 h 46"/>
              <a:gd name="T14" fmla="*/ 46 w 46"/>
              <a:gd name="T15" fmla="*/ 23 h 46"/>
              <a:gd name="T16" fmla="*/ 23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3" y="46"/>
                </a:moveTo>
                <a:cubicBezTo>
                  <a:pt x="23" y="46"/>
                  <a:pt x="23" y="46"/>
                  <a:pt x="23" y="46"/>
                </a:cubicBezTo>
                <a:cubicBezTo>
                  <a:pt x="10" y="46"/>
                  <a:pt x="0" y="36"/>
                  <a:pt x="0" y="23"/>
                </a:cubicBezTo>
                <a:cubicBezTo>
                  <a:pt x="0" y="23"/>
                  <a:pt x="0" y="23"/>
                  <a:pt x="0" y="23"/>
                </a:cubicBezTo>
                <a:cubicBezTo>
                  <a:pt x="0" y="10"/>
                  <a:pt x="10" y="0"/>
                  <a:pt x="23" y="0"/>
                </a:cubicBezTo>
                <a:cubicBezTo>
                  <a:pt x="23" y="0"/>
                  <a:pt x="23" y="0"/>
                  <a:pt x="23" y="0"/>
                </a:cubicBezTo>
                <a:cubicBezTo>
                  <a:pt x="35" y="0"/>
                  <a:pt x="46" y="10"/>
                  <a:pt x="46" y="23"/>
                </a:cubicBezTo>
                <a:cubicBezTo>
                  <a:pt x="46" y="23"/>
                  <a:pt x="46" y="23"/>
                  <a:pt x="46" y="23"/>
                </a:cubicBezTo>
                <a:cubicBezTo>
                  <a:pt x="46" y="36"/>
                  <a:pt x="35" y="46"/>
                  <a:pt x="23" y="4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6" name="Freeform 12">
            <a:extLst>
              <a:ext uri="{FF2B5EF4-FFF2-40B4-BE49-F238E27FC236}">
                <a16:creationId xmlns:a16="http://schemas.microsoft.com/office/drawing/2014/main" id="{D79F12E7-3CC2-4818-A05F-E1F24229806F}"/>
              </a:ext>
            </a:extLst>
          </p:cNvPr>
          <p:cNvSpPr>
            <a:spLocks/>
          </p:cNvSpPr>
          <p:nvPr/>
        </p:nvSpPr>
        <p:spPr bwMode="auto">
          <a:xfrm>
            <a:off x="4659493" y="2358666"/>
            <a:ext cx="193428" cy="193428"/>
          </a:xfrm>
          <a:custGeom>
            <a:avLst/>
            <a:gdLst>
              <a:gd name="T0" fmla="*/ 23 w 46"/>
              <a:gd name="T1" fmla="*/ 46 h 46"/>
              <a:gd name="T2" fmla="*/ 23 w 46"/>
              <a:gd name="T3" fmla="*/ 46 h 46"/>
              <a:gd name="T4" fmla="*/ 0 w 46"/>
              <a:gd name="T5" fmla="*/ 23 h 46"/>
              <a:gd name="T6" fmla="*/ 0 w 46"/>
              <a:gd name="T7" fmla="*/ 23 h 46"/>
              <a:gd name="T8" fmla="*/ 23 w 46"/>
              <a:gd name="T9" fmla="*/ 0 h 46"/>
              <a:gd name="T10" fmla="*/ 23 w 46"/>
              <a:gd name="T11" fmla="*/ 0 h 46"/>
              <a:gd name="T12" fmla="*/ 46 w 46"/>
              <a:gd name="T13" fmla="*/ 23 h 46"/>
              <a:gd name="T14" fmla="*/ 46 w 46"/>
              <a:gd name="T15" fmla="*/ 23 h 46"/>
              <a:gd name="T16" fmla="*/ 23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3" y="46"/>
                </a:moveTo>
                <a:cubicBezTo>
                  <a:pt x="23" y="46"/>
                  <a:pt x="23" y="46"/>
                  <a:pt x="23" y="46"/>
                </a:cubicBezTo>
                <a:cubicBezTo>
                  <a:pt x="10" y="46"/>
                  <a:pt x="0" y="36"/>
                  <a:pt x="0" y="23"/>
                </a:cubicBezTo>
                <a:cubicBezTo>
                  <a:pt x="0" y="23"/>
                  <a:pt x="0" y="23"/>
                  <a:pt x="0" y="23"/>
                </a:cubicBezTo>
                <a:cubicBezTo>
                  <a:pt x="0" y="10"/>
                  <a:pt x="10" y="0"/>
                  <a:pt x="23" y="0"/>
                </a:cubicBezTo>
                <a:cubicBezTo>
                  <a:pt x="23" y="0"/>
                  <a:pt x="23" y="0"/>
                  <a:pt x="23" y="0"/>
                </a:cubicBezTo>
                <a:cubicBezTo>
                  <a:pt x="35" y="0"/>
                  <a:pt x="46" y="10"/>
                  <a:pt x="46" y="23"/>
                </a:cubicBezTo>
                <a:cubicBezTo>
                  <a:pt x="46" y="23"/>
                  <a:pt x="46" y="23"/>
                  <a:pt x="46" y="23"/>
                </a:cubicBezTo>
                <a:cubicBezTo>
                  <a:pt x="46" y="36"/>
                  <a:pt x="35" y="46"/>
                  <a:pt x="23" y="4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8" name="Freeform 12">
            <a:extLst>
              <a:ext uri="{FF2B5EF4-FFF2-40B4-BE49-F238E27FC236}">
                <a16:creationId xmlns:a16="http://schemas.microsoft.com/office/drawing/2014/main" id="{0A96D5C1-BD0C-40EA-A4D9-DBA0FBBFDD6F}"/>
              </a:ext>
            </a:extLst>
          </p:cNvPr>
          <p:cNvSpPr>
            <a:spLocks/>
          </p:cNvSpPr>
          <p:nvPr/>
        </p:nvSpPr>
        <p:spPr bwMode="auto">
          <a:xfrm>
            <a:off x="7313347" y="2358666"/>
            <a:ext cx="193428" cy="193428"/>
          </a:xfrm>
          <a:custGeom>
            <a:avLst/>
            <a:gdLst>
              <a:gd name="T0" fmla="*/ 23 w 46"/>
              <a:gd name="T1" fmla="*/ 46 h 46"/>
              <a:gd name="T2" fmla="*/ 23 w 46"/>
              <a:gd name="T3" fmla="*/ 46 h 46"/>
              <a:gd name="T4" fmla="*/ 0 w 46"/>
              <a:gd name="T5" fmla="*/ 23 h 46"/>
              <a:gd name="T6" fmla="*/ 0 w 46"/>
              <a:gd name="T7" fmla="*/ 23 h 46"/>
              <a:gd name="T8" fmla="*/ 23 w 46"/>
              <a:gd name="T9" fmla="*/ 0 h 46"/>
              <a:gd name="T10" fmla="*/ 23 w 46"/>
              <a:gd name="T11" fmla="*/ 0 h 46"/>
              <a:gd name="T12" fmla="*/ 46 w 46"/>
              <a:gd name="T13" fmla="*/ 23 h 46"/>
              <a:gd name="T14" fmla="*/ 46 w 46"/>
              <a:gd name="T15" fmla="*/ 23 h 46"/>
              <a:gd name="T16" fmla="*/ 23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3" y="46"/>
                </a:moveTo>
                <a:cubicBezTo>
                  <a:pt x="23" y="46"/>
                  <a:pt x="23" y="46"/>
                  <a:pt x="23" y="46"/>
                </a:cubicBezTo>
                <a:cubicBezTo>
                  <a:pt x="10" y="46"/>
                  <a:pt x="0" y="36"/>
                  <a:pt x="0" y="23"/>
                </a:cubicBezTo>
                <a:cubicBezTo>
                  <a:pt x="0" y="23"/>
                  <a:pt x="0" y="23"/>
                  <a:pt x="0" y="23"/>
                </a:cubicBezTo>
                <a:cubicBezTo>
                  <a:pt x="0" y="10"/>
                  <a:pt x="10" y="0"/>
                  <a:pt x="23" y="0"/>
                </a:cubicBezTo>
                <a:cubicBezTo>
                  <a:pt x="23" y="0"/>
                  <a:pt x="23" y="0"/>
                  <a:pt x="23" y="0"/>
                </a:cubicBezTo>
                <a:cubicBezTo>
                  <a:pt x="35" y="0"/>
                  <a:pt x="46" y="10"/>
                  <a:pt x="46" y="23"/>
                </a:cubicBezTo>
                <a:cubicBezTo>
                  <a:pt x="46" y="23"/>
                  <a:pt x="46" y="23"/>
                  <a:pt x="46" y="23"/>
                </a:cubicBezTo>
                <a:cubicBezTo>
                  <a:pt x="46" y="36"/>
                  <a:pt x="35" y="46"/>
                  <a:pt x="23" y="4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0" name="Freeform 12">
            <a:extLst>
              <a:ext uri="{FF2B5EF4-FFF2-40B4-BE49-F238E27FC236}">
                <a16:creationId xmlns:a16="http://schemas.microsoft.com/office/drawing/2014/main" id="{95C2BDB3-B49F-4090-B495-39E898057E39}"/>
              </a:ext>
            </a:extLst>
          </p:cNvPr>
          <p:cNvSpPr>
            <a:spLocks/>
          </p:cNvSpPr>
          <p:nvPr/>
        </p:nvSpPr>
        <p:spPr bwMode="auto">
          <a:xfrm>
            <a:off x="10056818" y="2358666"/>
            <a:ext cx="193428" cy="193428"/>
          </a:xfrm>
          <a:custGeom>
            <a:avLst/>
            <a:gdLst>
              <a:gd name="T0" fmla="*/ 23 w 46"/>
              <a:gd name="T1" fmla="*/ 46 h 46"/>
              <a:gd name="T2" fmla="*/ 23 w 46"/>
              <a:gd name="T3" fmla="*/ 46 h 46"/>
              <a:gd name="T4" fmla="*/ 0 w 46"/>
              <a:gd name="T5" fmla="*/ 23 h 46"/>
              <a:gd name="T6" fmla="*/ 0 w 46"/>
              <a:gd name="T7" fmla="*/ 23 h 46"/>
              <a:gd name="T8" fmla="*/ 23 w 46"/>
              <a:gd name="T9" fmla="*/ 0 h 46"/>
              <a:gd name="T10" fmla="*/ 23 w 46"/>
              <a:gd name="T11" fmla="*/ 0 h 46"/>
              <a:gd name="T12" fmla="*/ 46 w 46"/>
              <a:gd name="T13" fmla="*/ 23 h 46"/>
              <a:gd name="T14" fmla="*/ 46 w 46"/>
              <a:gd name="T15" fmla="*/ 23 h 46"/>
              <a:gd name="T16" fmla="*/ 23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3" y="46"/>
                </a:moveTo>
                <a:cubicBezTo>
                  <a:pt x="23" y="46"/>
                  <a:pt x="23" y="46"/>
                  <a:pt x="23" y="46"/>
                </a:cubicBezTo>
                <a:cubicBezTo>
                  <a:pt x="10" y="46"/>
                  <a:pt x="0" y="36"/>
                  <a:pt x="0" y="23"/>
                </a:cubicBezTo>
                <a:cubicBezTo>
                  <a:pt x="0" y="23"/>
                  <a:pt x="0" y="23"/>
                  <a:pt x="0" y="23"/>
                </a:cubicBezTo>
                <a:cubicBezTo>
                  <a:pt x="0" y="10"/>
                  <a:pt x="10" y="0"/>
                  <a:pt x="23" y="0"/>
                </a:cubicBezTo>
                <a:cubicBezTo>
                  <a:pt x="23" y="0"/>
                  <a:pt x="23" y="0"/>
                  <a:pt x="23" y="0"/>
                </a:cubicBezTo>
                <a:cubicBezTo>
                  <a:pt x="35" y="0"/>
                  <a:pt x="46" y="10"/>
                  <a:pt x="46" y="23"/>
                </a:cubicBezTo>
                <a:cubicBezTo>
                  <a:pt x="46" y="23"/>
                  <a:pt x="46" y="23"/>
                  <a:pt x="46" y="23"/>
                </a:cubicBezTo>
                <a:cubicBezTo>
                  <a:pt x="46" y="36"/>
                  <a:pt x="35" y="46"/>
                  <a:pt x="23" y="4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2" name="TextBox 41">
            <a:extLst>
              <a:ext uri="{FF2B5EF4-FFF2-40B4-BE49-F238E27FC236}">
                <a16:creationId xmlns:a16="http://schemas.microsoft.com/office/drawing/2014/main" id="{D522802E-D84B-48DE-BC0B-B8196DA9D87E}"/>
              </a:ext>
            </a:extLst>
          </p:cNvPr>
          <p:cNvSpPr txBox="1"/>
          <p:nvPr/>
        </p:nvSpPr>
        <p:spPr>
          <a:xfrm>
            <a:off x="1116128" y="4461520"/>
            <a:ext cx="1794992" cy="338554"/>
          </a:xfrm>
          <a:prstGeom prst="rect">
            <a:avLst/>
          </a:prstGeom>
          <a:noFill/>
        </p:spPr>
        <p:txBody>
          <a:bodyPr wrap="square" lIns="91440" tIns="45720" rIns="91440" bIns="45720" rtlCol="0">
            <a:spAutoFit/>
          </a:bodyPr>
          <a:lstStyle/>
          <a:p>
            <a:pPr algn="ctr"/>
            <a:r>
              <a:rPr lang="en-US" sz="1600" b="1" dirty="0">
                <a:solidFill>
                  <a:srgbClr val="000000"/>
                </a:solidFill>
                <a:ea typeface="Liberation Sans" panose="020B0604020202020204" pitchFamily="34" charset="0"/>
                <a:cs typeface="Segoe UI" panose="020B0502040204020203" pitchFamily="34" charset="0"/>
              </a:rPr>
              <a:t>Option 1</a:t>
            </a:r>
          </a:p>
        </p:txBody>
      </p:sp>
      <p:sp>
        <p:nvSpPr>
          <p:cNvPr id="143" name="Rectangle 42">
            <a:extLst>
              <a:ext uri="{FF2B5EF4-FFF2-40B4-BE49-F238E27FC236}">
                <a16:creationId xmlns:a16="http://schemas.microsoft.com/office/drawing/2014/main" id="{D8A5D862-73A5-4C32-BF41-2662B2020B52}"/>
              </a:ext>
            </a:extLst>
          </p:cNvPr>
          <p:cNvSpPr/>
          <p:nvPr/>
        </p:nvSpPr>
        <p:spPr>
          <a:xfrm>
            <a:off x="806036" y="4799182"/>
            <a:ext cx="2415177" cy="692497"/>
          </a:xfrm>
          <a:prstGeom prst="rect">
            <a:avLst/>
          </a:prstGeom>
        </p:spPr>
        <p:txBody>
          <a:bodyPr wrap="square">
            <a:spAutoFit/>
          </a:bodyPr>
          <a:lstStyle/>
          <a:p>
            <a:pPr algn="ctr"/>
            <a:r>
              <a:rPr lang="en-US" sz="1300" dirty="0"/>
              <a:t>this is dummy text it is not here to be read it is here to show how this document will look</a:t>
            </a:r>
          </a:p>
        </p:txBody>
      </p:sp>
      <p:sp>
        <p:nvSpPr>
          <p:cNvPr id="144" name="TextBox 50">
            <a:extLst>
              <a:ext uri="{FF2B5EF4-FFF2-40B4-BE49-F238E27FC236}">
                <a16:creationId xmlns:a16="http://schemas.microsoft.com/office/drawing/2014/main" id="{8FB62C7C-59A9-4CB8-B453-D31FA4E1AB30}"/>
              </a:ext>
            </a:extLst>
          </p:cNvPr>
          <p:cNvSpPr txBox="1"/>
          <p:nvPr/>
        </p:nvSpPr>
        <p:spPr>
          <a:xfrm>
            <a:off x="3863147" y="4461520"/>
            <a:ext cx="1794992" cy="338554"/>
          </a:xfrm>
          <a:prstGeom prst="rect">
            <a:avLst/>
          </a:prstGeom>
          <a:noFill/>
        </p:spPr>
        <p:txBody>
          <a:bodyPr wrap="square" lIns="91440" tIns="45720" rIns="91440" bIns="45720" rtlCol="0">
            <a:spAutoFit/>
          </a:bodyPr>
          <a:lstStyle/>
          <a:p>
            <a:pPr algn="ctr"/>
            <a:r>
              <a:rPr lang="en-US" sz="1600" b="1" dirty="0">
                <a:solidFill>
                  <a:srgbClr val="000000"/>
                </a:solidFill>
                <a:ea typeface="Liberation Sans" panose="020B0604020202020204" pitchFamily="34" charset="0"/>
                <a:cs typeface="Segoe UI" panose="020B0502040204020203" pitchFamily="34" charset="0"/>
              </a:rPr>
              <a:t>Option 2</a:t>
            </a:r>
          </a:p>
        </p:txBody>
      </p:sp>
      <p:sp>
        <p:nvSpPr>
          <p:cNvPr id="145" name="Rectangle 51">
            <a:extLst>
              <a:ext uri="{FF2B5EF4-FFF2-40B4-BE49-F238E27FC236}">
                <a16:creationId xmlns:a16="http://schemas.microsoft.com/office/drawing/2014/main" id="{693A5C3F-DF08-4615-A2FB-4C1265CBBB0C}"/>
              </a:ext>
            </a:extLst>
          </p:cNvPr>
          <p:cNvSpPr/>
          <p:nvPr/>
        </p:nvSpPr>
        <p:spPr>
          <a:xfrm>
            <a:off x="3553055" y="4799182"/>
            <a:ext cx="2415177" cy="692497"/>
          </a:xfrm>
          <a:prstGeom prst="rect">
            <a:avLst/>
          </a:prstGeom>
        </p:spPr>
        <p:txBody>
          <a:bodyPr wrap="square">
            <a:spAutoFit/>
          </a:bodyPr>
          <a:lstStyle/>
          <a:p>
            <a:pPr algn="ctr"/>
            <a:r>
              <a:rPr lang="en-US" sz="1300" dirty="0"/>
              <a:t>this is dummy text it is not here to be read it is here to show how this document will look</a:t>
            </a:r>
          </a:p>
        </p:txBody>
      </p:sp>
      <p:sp>
        <p:nvSpPr>
          <p:cNvPr id="146" name="TextBox 54">
            <a:extLst>
              <a:ext uri="{FF2B5EF4-FFF2-40B4-BE49-F238E27FC236}">
                <a16:creationId xmlns:a16="http://schemas.microsoft.com/office/drawing/2014/main" id="{C0265C44-0529-4088-9328-1AF207558845}"/>
              </a:ext>
            </a:extLst>
          </p:cNvPr>
          <p:cNvSpPr txBox="1"/>
          <p:nvPr/>
        </p:nvSpPr>
        <p:spPr>
          <a:xfrm>
            <a:off x="6509017" y="4461520"/>
            <a:ext cx="1794992" cy="338554"/>
          </a:xfrm>
          <a:prstGeom prst="rect">
            <a:avLst/>
          </a:prstGeom>
          <a:noFill/>
        </p:spPr>
        <p:txBody>
          <a:bodyPr wrap="square" lIns="91440" tIns="45720" rIns="91440" bIns="45720" rtlCol="0">
            <a:spAutoFit/>
          </a:bodyPr>
          <a:lstStyle/>
          <a:p>
            <a:pPr algn="ctr"/>
            <a:r>
              <a:rPr lang="en-US" sz="1600" b="1" dirty="0">
                <a:solidFill>
                  <a:srgbClr val="000000"/>
                </a:solidFill>
                <a:ea typeface="Liberation Sans" panose="020B0604020202020204" pitchFamily="34" charset="0"/>
                <a:cs typeface="Segoe UI" panose="020B0502040204020203" pitchFamily="34" charset="0"/>
              </a:rPr>
              <a:t>Option 3</a:t>
            </a:r>
          </a:p>
        </p:txBody>
      </p:sp>
      <p:sp>
        <p:nvSpPr>
          <p:cNvPr id="147" name="Rectangle 55">
            <a:extLst>
              <a:ext uri="{FF2B5EF4-FFF2-40B4-BE49-F238E27FC236}">
                <a16:creationId xmlns:a16="http://schemas.microsoft.com/office/drawing/2014/main" id="{5EEC028C-7D0A-4D54-9C01-586B7EE67078}"/>
              </a:ext>
            </a:extLst>
          </p:cNvPr>
          <p:cNvSpPr/>
          <p:nvPr/>
        </p:nvSpPr>
        <p:spPr>
          <a:xfrm>
            <a:off x="6198924" y="4799182"/>
            <a:ext cx="2415177" cy="692497"/>
          </a:xfrm>
          <a:prstGeom prst="rect">
            <a:avLst/>
          </a:prstGeom>
        </p:spPr>
        <p:txBody>
          <a:bodyPr wrap="square">
            <a:spAutoFit/>
          </a:bodyPr>
          <a:lstStyle/>
          <a:p>
            <a:pPr algn="ctr"/>
            <a:r>
              <a:rPr lang="en-US" sz="1300" dirty="0"/>
              <a:t>this is dummy text it is not here to be read it is here to show how this document will look</a:t>
            </a:r>
          </a:p>
        </p:txBody>
      </p:sp>
      <p:sp>
        <p:nvSpPr>
          <p:cNvPr id="148" name="TextBox 58">
            <a:extLst>
              <a:ext uri="{FF2B5EF4-FFF2-40B4-BE49-F238E27FC236}">
                <a16:creationId xmlns:a16="http://schemas.microsoft.com/office/drawing/2014/main" id="{DFAD3D17-1BD6-4490-AE36-5378F8ED92CE}"/>
              </a:ext>
            </a:extLst>
          </p:cNvPr>
          <p:cNvSpPr txBox="1"/>
          <p:nvPr/>
        </p:nvSpPr>
        <p:spPr>
          <a:xfrm>
            <a:off x="9245845" y="4461520"/>
            <a:ext cx="1794992" cy="338554"/>
          </a:xfrm>
          <a:prstGeom prst="rect">
            <a:avLst/>
          </a:prstGeom>
          <a:noFill/>
        </p:spPr>
        <p:txBody>
          <a:bodyPr wrap="square" lIns="91440" tIns="45720" rIns="91440" bIns="45720" rtlCol="0">
            <a:spAutoFit/>
          </a:bodyPr>
          <a:lstStyle/>
          <a:p>
            <a:pPr algn="ctr"/>
            <a:r>
              <a:rPr lang="en-US" sz="1600" b="1" dirty="0">
                <a:solidFill>
                  <a:srgbClr val="000000"/>
                </a:solidFill>
                <a:ea typeface="Liberation Sans" panose="020B0604020202020204" pitchFamily="34" charset="0"/>
                <a:cs typeface="Segoe UI" panose="020B0502040204020203" pitchFamily="34" charset="0"/>
              </a:rPr>
              <a:t>Option 4</a:t>
            </a:r>
          </a:p>
        </p:txBody>
      </p:sp>
      <p:sp>
        <p:nvSpPr>
          <p:cNvPr id="149" name="Rectangle 59">
            <a:extLst>
              <a:ext uri="{FF2B5EF4-FFF2-40B4-BE49-F238E27FC236}">
                <a16:creationId xmlns:a16="http://schemas.microsoft.com/office/drawing/2014/main" id="{3D24EBC0-B80B-42D4-88F0-992BD31B92D6}"/>
              </a:ext>
            </a:extLst>
          </p:cNvPr>
          <p:cNvSpPr/>
          <p:nvPr/>
        </p:nvSpPr>
        <p:spPr>
          <a:xfrm>
            <a:off x="8935752" y="4799182"/>
            <a:ext cx="2415177" cy="692497"/>
          </a:xfrm>
          <a:prstGeom prst="rect">
            <a:avLst/>
          </a:prstGeom>
        </p:spPr>
        <p:txBody>
          <a:bodyPr wrap="square">
            <a:spAutoFit/>
          </a:bodyPr>
          <a:lstStyle/>
          <a:p>
            <a:pPr algn="ctr"/>
            <a:r>
              <a:rPr lang="en-US" sz="1300" dirty="0"/>
              <a:t>this is dummy text it is not here to be read it is here to show how this document will look</a:t>
            </a:r>
          </a:p>
        </p:txBody>
      </p:sp>
      <p:grpSp>
        <p:nvGrpSpPr>
          <p:cNvPr id="4" name="Group 3"/>
          <p:cNvGrpSpPr/>
          <p:nvPr/>
        </p:nvGrpSpPr>
        <p:grpSpPr>
          <a:xfrm>
            <a:off x="4235007" y="2232671"/>
            <a:ext cx="1046989" cy="2187389"/>
            <a:chOff x="4235007" y="2537472"/>
            <a:chExt cx="1046989" cy="2187389"/>
          </a:xfrm>
          <a:solidFill>
            <a:srgbClr val="43B02A"/>
          </a:solidFill>
        </p:grpSpPr>
        <p:sp>
          <p:nvSpPr>
            <p:cNvPr id="137" name="Freeform 13">
              <a:extLst>
                <a:ext uri="{FF2B5EF4-FFF2-40B4-BE49-F238E27FC236}">
                  <a16:creationId xmlns:a16="http://schemas.microsoft.com/office/drawing/2014/main" id="{A30BF224-3EFE-4A21-82CC-76442E204E50}"/>
                </a:ext>
              </a:extLst>
            </p:cNvPr>
            <p:cNvSpPr>
              <a:spLocks noEditPoints="1"/>
            </p:cNvSpPr>
            <p:nvPr/>
          </p:nvSpPr>
          <p:spPr bwMode="auto">
            <a:xfrm>
              <a:off x="4526401" y="2537472"/>
              <a:ext cx="452513" cy="1313174"/>
            </a:xfrm>
            <a:custGeom>
              <a:avLst/>
              <a:gdLst>
                <a:gd name="T0" fmla="*/ 45 w 108"/>
                <a:gd name="T1" fmla="*/ 312 h 312"/>
                <a:gd name="T2" fmla="*/ 45 w 108"/>
                <a:gd name="T3" fmla="*/ 147 h 312"/>
                <a:gd name="T4" fmla="*/ 20 w 108"/>
                <a:gd name="T5" fmla="*/ 94 h 312"/>
                <a:gd name="T6" fmla="*/ 1 w 108"/>
                <a:gd name="T7" fmla="*/ 49 h 312"/>
                <a:gd name="T8" fmla="*/ 49 w 108"/>
                <a:gd name="T9" fmla="*/ 0 h 312"/>
                <a:gd name="T10" fmla="*/ 55 w 108"/>
                <a:gd name="T11" fmla="*/ 0 h 312"/>
                <a:gd name="T12" fmla="*/ 108 w 108"/>
                <a:gd name="T13" fmla="*/ 53 h 312"/>
                <a:gd name="T14" fmla="*/ 89 w 108"/>
                <a:gd name="T15" fmla="*/ 95 h 312"/>
                <a:gd name="T16" fmla="*/ 64 w 108"/>
                <a:gd name="T17" fmla="*/ 147 h 312"/>
                <a:gd name="T18" fmla="*/ 64 w 108"/>
                <a:gd name="T19" fmla="*/ 312 h 312"/>
                <a:gd name="T20" fmla="*/ 45 w 108"/>
                <a:gd name="T21" fmla="*/ 312 h 312"/>
                <a:gd name="T22" fmla="*/ 55 w 108"/>
                <a:gd name="T23" fmla="*/ 19 h 312"/>
                <a:gd name="T24" fmla="*/ 20 w 108"/>
                <a:gd name="T25" fmla="*/ 53 h 312"/>
                <a:gd name="T26" fmla="*/ 55 w 108"/>
                <a:gd name="T27" fmla="*/ 88 h 312"/>
                <a:gd name="T28" fmla="*/ 89 w 108"/>
                <a:gd name="T29" fmla="*/ 53 h 312"/>
                <a:gd name="T30" fmla="*/ 55 w 108"/>
                <a:gd name="T31"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12">
                  <a:moveTo>
                    <a:pt x="45" y="312"/>
                  </a:moveTo>
                  <a:cubicBezTo>
                    <a:pt x="45" y="147"/>
                    <a:pt x="45" y="147"/>
                    <a:pt x="45" y="147"/>
                  </a:cubicBezTo>
                  <a:cubicBezTo>
                    <a:pt x="45" y="127"/>
                    <a:pt x="36" y="108"/>
                    <a:pt x="20" y="94"/>
                  </a:cubicBezTo>
                  <a:cubicBezTo>
                    <a:pt x="7" y="83"/>
                    <a:pt x="0" y="66"/>
                    <a:pt x="1" y="49"/>
                  </a:cubicBezTo>
                  <a:cubicBezTo>
                    <a:pt x="3" y="23"/>
                    <a:pt x="23" y="3"/>
                    <a:pt x="49" y="0"/>
                  </a:cubicBezTo>
                  <a:cubicBezTo>
                    <a:pt x="51" y="0"/>
                    <a:pt x="53" y="0"/>
                    <a:pt x="55" y="0"/>
                  </a:cubicBezTo>
                  <a:cubicBezTo>
                    <a:pt x="84" y="0"/>
                    <a:pt x="108" y="24"/>
                    <a:pt x="108" y="53"/>
                  </a:cubicBezTo>
                  <a:cubicBezTo>
                    <a:pt x="108" y="69"/>
                    <a:pt x="101" y="84"/>
                    <a:pt x="89" y="95"/>
                  </a:cubicBezTo>
                  <a:cubicBezTo>
                    <a:pt x="73" y="107"/>
                    <a:pt x="64" y="126"/>
                    <a:pt x="64" y="147"/>
                  </a:cubicBezTo>
                  <a:cubicBezTo>
                    <a:pt x="64" y="312"/>
                    <a:pt x="64" y="312"/>
                    <a:pt x="64" y="312"/>
                  </a:cubicBezTo>
                  <a:lnTo>
                    <a:pt x="45" y="312"/>
                  </a:lnTo>
                  <a:close/>
                  <a:moveTo>
                    <a:pt x="55" y="19"/>
                  </a:moveTo>
                  <a:cubicBezTo>
                    <a:pt x="36" y="19"/>
                    <a:pt x="20" y="34"/>
                    <a:pt x="20" y="53"/>
                  </a:cubicBezTo>
                  <a:cubicBezTo>
                    <a:pt x="20" y="72"/>
                    <a:pt x="36" y="88"/>
                    <a:pt x="55" y="88"/>
                  </a:cubicBezTo>
                  <a:cubicBezTo>
                    <a:pt x="74" y="88"/>
                    <a:pt x="89" y="72"/>
                    <a:pt x="89" y="53"/>
                  </a:cubicBezTo>
                  <a:cubicBezTo>
                    <a:pt x="89" y="34"/>
                    <a:pt x="74" y="19"/>
                    <a:pt x="5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6" name="Oval 34">
              <a:extLst>
                <a:ext uri="{FF2B5EF4-FFF2-40B4-BE49-F238E27FC236}">
                  <a16:creationId xmlns:a16="http://schemas.microsoft.com/office/drawing/2014/main" id="{3E3C2A90-19C0-49F1-A404-539321316238}"/>
                </a:ext>
              </a:extLst>
            </p:cNvPr>
            <p:cNvSpPr/>
            <p:nvPr/>
          </p:nvSpPr>
          <p:spPr>
            <a:xfrm>
              <a:off x="4235007" y="3677872"/>
              <a:ext cx="1046989" cy="104698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5" name="Group 4"/>
          <p:cNvGrpSpPr/>
          <p:nvPr/>
        </p:nvGrpSpPr>
        <p:grpSpPr>
          <a:xfrm>
            <a:off x="6884831" y="2232671"/>
            <a:ext cx="1046989" cy="2187389"/>
            <a:chOff x="6884831" y="2537472"/>
            <a:chExt cx="1046989" cy="2187389"/>
          </a:xfrm>
          <a:solidFill>
            <a:srgbClr val="43B02A"/>
          </a:solidFill>
        </p:grpSpPr>
        <p:sp>
          <p:nvSpPr>
            <p:cNvPr id="139" name="Freeform 13">
              <a:extLst>
                <a:ext uri="{FF2B5EF4-FFF2-40B4-BE49-F238E27FC236}">
                  <a16:creationId xmlns:a16="http://schemas.microsoft.com/office/drawing/2014/main" id="{230CF2A6-66B7-40CF-8C65-E0FFBC6AC657}"/>
                </a:ext>
              </a:extLst>
            </p:cNvPr>
            <p:cNvSpPr>
              <a:spLocks noEditPoints="1"/>
            </p:cNvSpPr>
            <p:nvPr/>
          </p:nvSpPr>
          <p:spPr bwMode="auto">
            <a:xfrm>
              <a:off x="7180256" y="2537472"/>
              <a:ext cx="452513" cy="1313174"/>
            </a:xfrm>
            <a:custGeom>
              <a:avLst/>
              <a:gdLst>
                <a:gd name="T0" fmla="*/ 45 w 108"/>
                <a:gd name="T1" fmla="*/ 312 h 312"/>
                <a:gd name="T2" fmla="*/ 45 w 108"/>
                <a:gd name="T3" fmla="*/ 147 h 312"/>
                <a:gd name="T4" fmla="*/ 20 w 108"/>
                <a:gd name="T5" fmla="*/ 94 h 312"/>
                <a:gd name="T6" fmla="*/ 1 w 108"/>
                <a:gd name="T7" fmla="*/ 49 h 312"/>
                <a:gd name="T8" fmla="*/ 49 w 108"/>
                <a:gd name="T9" fmla="*/ 0 h 312"/>
                <a:gd name="T10" fmla="*/ 55 w 108"/>
                <a:gd name="T11" fmla="*/ 0 h 312"/>
                <a:gd name="T12" fmla="*/ 108 w 108"/>
                <a:gd name="T13" fmla="*/ 53 h 312"/>
                <a:gd name="T14" fmla="*/ 89 w 108"/>
                <a:gd name="T15" fmla="*/ 95 h 312"/>
                <a:gd name="T16" fmla="*/ 64 w 108"/>
                <a:gd name="T17" fmla="*/ 147 h 312"/>
                <a:gd name="T18" fmla="*/ 64 w 108"/>
                <a:gd name="T19" fmla="*/ 312 h 312"/>
                <a:gd name="T20" fmla="*/ 45 w 108"/>
                <a:gd name="T21" fmla="*/ 312 h 312"/>
                <a:gd name="T22" fmla="*/ 55 w 108"/>
                <a:gd name="T23" fmla="*/ 19 h 312"/>
                <a:gd name="T24" fmla="*/ 20 w 108"/>
                <a:gd name="T25" fmla="*/ 53 h 312"/>
                <a:gd name="T26" fmla="*/ 55 w 108"/>
                <a:gd name="T27" fmla="*/ 88 h 312"/>
                <a:gd name="T28" fmla="*/ 89 w 108"/>
                <a:gd name="T29" fmla="*/ 53 h 312"/>
                <a:gd name="T30" fmla="*/ 55 w 108"/>
                <a:gd name="T31"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12">
                  <a:moveTo>
                    <a:pt x="45" y="312"/>
                  </a:moveTo>
                  <a:cubicBezTo>
                    <a:pt x="45" y="147"/>
                    <a:pt x="45" y="147"/>
                    <a:pt x="45" y="147"/>
                  </a:cubicBezTo>
                  <a:cubicBezTo>
                    <a:pt x="45" y="127"/>
                    <a:pt x="36" y="108"/>
                    <a:pt x="20" y="94"/>
                  </a:cubicBezTo>
                  <a:cubicBezTo>
                    <a:pt x="7" y="83"/>
                    <a:pt x="0" y="66"/>
                    <a:pt x="1" y="49"/>
                  </a:cubicBezTo>
                  <a:cubicBezTo>
                    <a:pt x="3" y="23"/>
                    <a:pt x="23" y="3"/>
                    <a:pt x="49" y="0"/>
                  </a:cubicBezTo>
                  <a:cubicBezTo>
                    <a:pt x="51" y="0"/>
                    <a:pt x="53" y="0"/>
                    <a:pt x="55" y="0"/>
                  </a:cubicBezTo>
                  <a:cubicBezTo>
                    <a:pt x="84" y="0"/>
                    <a:pt x="108" y="24"/>
                    <a:pt x="108" y="53"/>
                  </a:cubicBezTo>
                  <a:cubicBezTo>
                    <a:pt x="108" y="69"/>
                    <a:pt x="101" y="84"/>
                    <a:pt x="89" y="95"/>
                  </a:cubicBezTo>
                  <a:cubicBezTo>
                    <a:pt x="73" y="107"/>
                    <a:pt x="64" y="126"/>
                    <a:pt x="64" y="147"/>
                  </a:cubicBezTo>
                  <a:cubicBezTo>
                    <a:pt x="64" y="312"/>
                    <a:pt x="64" y="312"/>
                    <a:pt x="64" y="312"/>
                  </a:cubicBezTo>
                  <a:lnTo>
                    <a:pt x="45" y="312"/>
                  </a:lnTo>
                  <a:close/>
                  <a:moveTo>
                    <a:pt x="55" y="19"/>
                  </a:moveTo>
                  <a:cubicBezTo>
                    <a:pt x="36" y="19"/>
                    <a:pt x="20" y="34"/>
                    <a:pt x="20" y="53"/>
                  </a:cubicBezTo>
                  <a:cubicBezTo>
                    <a:pt x="20" y="72"/>
                    <a:pt x="36" y="88"/>
                    <a:pt x="55" y="88"/>
                  </a:cubicBezTo>
                  <a:cubicBezTo>
                    <a:pt x="74" y="88"/>
                    <a:pt x="89" y="72"/>
                    <a:pt x="89" y="53"/>
                  </a:cubicBezTo>
                  <a:cubicBezTo>
                    <a:pt x="89" y="34"/>
                    <a:pt x="74" y="19"/>
                    <a:pt x="5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7" name="Oval 34">
              <a:extLst>
                <a:ext uri="{FF2B5EF4-FFF2-40B4-BE49-F238E27FC236}">
                  <a16:creationId xmlns:a16="http://schemas.microsoft.com/office/drawing/2014/main" id="{3E3C2A90-19C0-49F1-A404-539321316238}"/>
                </a:ext>
              </a:extLst>
            </p:cNvPr>
            <p:cNvSpPr/>
            <p:nvPr/>
          </p:nvSpPr>
          <p:spPr>
            <a:xfrm>
              <a:off x="6884831" y="3677872"/>
              <a:ext cx="1046989" cy="104698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6" name="Group 5"/>
          <p:cNvGrpSpPr/>
          <p:nvPr/>
        </p:nvGrpSpPr>
        <p:grpSpPr>
          <a:xfrm>
            <a:off x="9631550" y="2232671"/>
            <a:ext cx="1046989" cy="2187389"/>
            <a:chOff x="9631550" y="2537472"/>
            <a:chExt cx="1046989" cy="2187389"/>
          </a:xfrm>
          <a:solidFill>
            <a:srgbClr val="43B02A"/>
          </a:solidFill>
        </p:grpSpPr>
        <p:sp>
          <p:nvSpPr>
            <p:cNvPr id="141" name="Freeform 13">
              <a:extLst>
                <a:ext uri="{FF2B5EF4-FFF2-40B4-BE49-F238E27FC236}">
                  <a16:creationId xmlns:a16="http://schemas.microsoft.com/office/drawing/2014/main" id="{52373DB4-28AF-47A3-9EC9-913AF9A949B2}"/>
                </a:ext>
              </a:extLst>
            </p:cNvPr>
            <p:cNvSpPr>
              <a:spLocks noEditPoints="1"/>
            </p:cNvSpPr>
            <p:nvPr/>
          </p:nvSpPr>
          <p:spPr bwMode="auto">
            <a:xfrm>
              <a:off x="9923727" y="2537472"/>
              <a:ext cx="452513" cy="1313174"/>
            </a:xfrm>
            <a:custGeom>
              <a:avLst/>
              <a:gdLst>
                <a:gd name="T0" fmla="*/ 45 w 108"/>
                <a:gd name="T1" fmla="*/ 312 h 312"/>
                <a:gd name="T2" fmla="*/ 45 w 108"/>
                <a:gd name="T3" fmla="*/ 147 h 312"/>
                <a:gd name="T4" fmla="*/ 20 w 108"/>
                <a:gd name="T5" fmla="*/ 94 h 312"/>
                <a:gd name="T6" fmla="*/ 1 w 108"/>
                <a:gd name="T7" fmla="*/ 49 h 312"/>
                <a:gd name="T8" fmla="*/ 49 w 108"/>
                <a:gd name="T9" fmla="*/ 0 h 312"/>
                <a:gd name="T10" fmla="*/ 55 w 108"/>
                <a:gd name="T11" fmla="*/ 0 h 312"/>
                <a:gd name="T12" fmla="*/ 108 w 108"/>
                <a:gd name="T13" fmla="*/ 53 h 312"/>
                <a:gd name="T14" fmla="*/ 89 w 108"/>
                <a:gd name="T15" fmla="*/ 95 h 312"/>
                <a:gd name="T16" fmla="*/ 64 w 108"/>
                <a:gd name="T17" fmla="*/ 147 h 312"/>
                <a:gd name="T18" fmla="*/ 64 w 108"/>
                <a:gd name="T19" fmla="*/ 312 h 312"/>
                <a:gd name="T20" fmla="*/ 45 w 108"/>
                <a:gd name="T21" fmla="*/ 312 h 312"/>
                <a:gd name="T22" fmla="*/ 55 w 108"/>
                <a:gd name="T23" fmla="*/ 19 h 312"/>
                <a:gd name="T24" fmla="*/ 20 w 108"/>
                <a:gd name="T25" fmla="*/ 53 h 312"/>
                <a:gd name="T26" fmla="*/ 55 w 108"/>
                <a:gd name="T27" fmla="*/ 88 h 312"/>
                <a:gd name="T28" fmla="*/ 89 w 108"/>
                <a:gd name="T29" fmla="*/ 53 h 312"/>
                <a:gd name="T30" fmla="*/ 55 w 108"/>
                <a:gd name="T31"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12">
                  <a:moveTo>
                    <a:pt x="45" y="312"/>
                  </a:moveTo>
                  <a:cubicBezTo>
                    <a:pt x="45" y="147"/>
                    <a:pt x="45" y="147"/>
                    <a:pt x="45" y="147"/>
                  </a:cubicBezTo>
                  <a:cubicBezTo>
                    <a:pt x="45" y="127"/>
                    <a:pt x="36" y="108"/>
                    <a:pt x="20" y="94"/>
                  </a:cubicBezTo>
                  <a:cubicBezTo>
                    <a:pt x="7" y="83"/>
                    <a:pt x="0" y="66"/>
                    <a:pt x="1" y="49"/>
                  </a:cubicBezTo>
                  <a:cubicBezTo>
                    <a:pt x="3" y="23"/>
                    <a:pt x="23" y="3"/>
                    <a:pt x="49" y="0"/>
                  </a:cubicBezTo>
                  <a:cubicBezTo>
                    <a:pt x="51" y="0"/>
                    <a:pt x="53" y="0"/>
                    <a:pt x="55" y="0"/>
                  </a:cubicBezTo>
                  <a:cubicBezTo>
                    <a:pt x="84" y="0"/>
                    <a:pt x="108" y="24"/>
                    <a:pt x="108" y="53"/>
                  </a:cubicBezTo>
                  <a:cubicBezTo>
                    <a:pt x="108" y="69"/>
                    <a:pt x="101" y="84"/>
                    <a:pt x="89" y="95"/>
                  </a:cubicBezTo>
                  <a:cubicBezTo>
                    <a:pt x="73" y="107"/>
                    <a:pt x="64" y="126"/>
                    <a:pt x="64" y="147"/>
                  </a:cubicBezTo>
                  <a:cubicBezTo>
                    <a:pt x="64" y="312"/>
                    <a:pt x="64" y="312"/>
                    <a:pt x="64" y="312"/>
                  </a:cubicBezTo>
                  <a:lnTo>
                    <a:pt x="45" y="312"/>
                  </a:lnTo>
                  <a:close/>
                  <a:moveTo>
                    <a:pt x="55" y="19"/>
                  </a:moveTo>
                  <a:cubicBezTo>
                    <a:pt x="36" y="19"/>
                    <a:pt x="20" y="34"/>
                    <a:pt x="20" y="53"/>
                  </a:cubicBezTo>
                  <a:cubicBezTo>
                    <a:pt x="20" y="72"/>
                    <a:pt x="36" y="88"/>
                    <a:pt x="55" y="88"/>
                  </a:cubicBezTo>
                  <a:cubicBezTo>
                    <a:pt x="74" y="88"/>
                    <a:pt x="89" y="72"/>
                    <a:pt x="89" y="53"/>
                  </a:cubicBezTo>
                  <a:cubicBezTo>
                    <a:pt x="89" y="34"/>
                    <a:pt x="74" y="19"/>
                    <a:pt x="5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8" name="Oval 34">
              <a:extLst>
                <a:ext uri="{FF2B5EF4-FFF2-40B4-BE49-F238E27FC236}">
                  <a16:creationId xmlns:a16="http://schemas.microsoft.com/office/drawing/2014/main" id="{3E3C2A90-19C0-49F1-A404-539321316238}"/>
                </a:ext>
              </a:extLst>
            </p:cNvPr>
            <p:cNvSpPr/>
            <p:nvPr/>
          </p:nvSpPr>
          <p:spPr>
            <a:xfrm>
              <a:off x="9631550" y="3677872"/>
              <a:ext cx="1046989" cy="104698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 name="Group 2"/>
          <p:cNvGrpSpPr/>
          <p:nvPr/>
        </p:nvGrpSpPr>
        <p:grpSpPr>
          <a:xfrm>
            <a:off x="1493133" y="2232671"/>
            <a:ext cx="1046989" cy="2187389"/>
            <a:chOff x="1493133" y="2537472"/>
            <a:chExt cx="1046989" cy="2187389"/>
          </a:xfrm>
          <a:solidFill>
            <a:srgbClr val="43B02A"/>
          </a:solidFill>
        </p:grpSpPr>
        <p:sp>
          <p:nvSpPr>
            <p:cNvPr id="135" name="Freeform 13">
              <a:extLst>
                <a:ext uri="{FF2B5EF4-FFF2-40B4-BE49-F238E27FC236}">
                  <a16:creationId xmlns:a16="http://schemas.microsoft.com/office/drawing/2014/main" id="{A05BD280-3264-4D46-B9FA-EF71EDA8729E}"/>
                </a:ext>
              </a:extLst>
            </p:cNvPr>
            <p:cNvSpPr>
              <a:spLocks noEditPoints="1"/>
            </p:cNvSpPr>
            <p:nvPr/>
          </p:nvSpPr>
          <p:spPr bwMode="auto">
            <a:xfrm>
              <a:off x="1787368" y="2537472"/>
              <a:ext cx="452513" cy="1313174"/>
            </a:xfrm>
            <a:custGeom>
              <a:avLst/>
              <a:gdLst>
                <a:gd name="T0" fmla="*/ 45 w 108"/>
                <a:gd name="T1" fmla="*/ 312 h 312"/>
                <a:gd name="T2" fmla="*/ 45 w 108"/>
                <a:gd name="T3" fmla="*/ 147 h 312"/>
                <a:gd name="T4" fmla="*/ 20 w 108"/>
                <a:gd name="T5" fmla="*/ 94 h 312"/>
                <a:gd name="T6" fmla="*/ 1 w 108"/>
                <a:gd name="T7" fmla="*/ 49 h 312"/>
                <a:gd name="T8" fmla="*/ 49 w 108"/>
                <a:gd name="T9" fmla="*/ 0 h 312"/>
                <a:gd name="T10" fmla="*/ 55 w 108"/>
                <a:gd name="T11" fmla="*/ 0 h 312"/>
                <a:gd name="T12" fmla="*/ 108 w 108"/>
                <a:gd name="T13" fmla="*/ 53 h 312"/>
                <a:gd name="T14" fmla="*/ 89 w 108"/>
                <a:gd name="T15" fmla="*/ 95 h 312"/>
                <a:gd name="T16" fmla="*/ 64 w 108"/>
                <a:gd name="T17" fmla="*/ 147 h 312"/>
                <a:gd name="T18" fmla="*/ 64 w 108"/>
                <a:gd name="T19" fmla="*/ 312 h 312"/>
                <a:gd name="T20" fmla="*/ 45 w 108"/>
                <a:gd name="T21" fmla="*/ 312 h 312"/>
                <a:gd name="T22" fmla="*/ 55 w 108"/>
                <a:gd name="T23" fmla="*/ 19 h 312"/>
                <a:gd name="T24" fmla="*/ 20 w 108"/>
                <a:gd name="T25" fmla="*/ 53 h 312"/>
                <a:gd name="T26" fmla="*/ 55 w 108"/>
                <a:gd name="T27" fmla="*/ 88 h 312"/>
                <a:gd name="T28" fmla="*/ 89 w 108"/>
                <a:gd name="T29" fmla="*/ 53 h 312"/>
                <a:gd name="T30" fmla="*/ 55 w 108"/>
                <a:gd name="T31"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12">
                  <a:moveTo>
                    <a:pt x="45" y="312"/>
                  </a:moveTo>
                  <a:cubicBezTo>
                    <a:pt x="45" y="147"/>
                    <a:pt x="45" y="147"/>
                    <a:pt x="45" y="147"/>
                  </a:cubicBezTo>
                  <a:cubicBezTo>
                    <a:pt x="45" y="127"/>
                    <a:pt x="36" y="108"/>
                    <a:pt x="20" y="94"/>
                  </a:cubicBezTo>
                  <a:cubicBezTo>
                    <a:pt x="7" y="83"/>
                    <a:pt x="0" y="66"/>
                    <a:pt x="1" y="49"/>
                  </a:cubicBezTo>
                  <a:cubicBezTo>
                    <a:pt x="3" y="23"/>
                    <a:pt x="23" y="3"/>
                    <a:pt x="49" y="0"/>
                  </a:cubicBezTo>
                  <a:cubicBezTo>
                    <a:pt x="51" y="0"/>
                    <a:pt x="53" y="0"/>
                    <a:pt x="55" y="0"/>
                  </a:cubicBezTo>
                  <a:cubicBezTo>
                    <a:pt x="84" y="0"/>
                    <a:pt x="108" y="24"/>
                    <a:pt x="108" y="53"/>
                  </a:cubicBezTo>
                  <a:cubicBezTo>
                    <a:pt x="108" y="69"/>
                    <a:pt x="101" y="84"/>
                    <a:pt x="89" y="95"/>
                  </a:cubicBezTo>
                  <a:cubicBezTo>
                    <a:pt x="73" y="107"/>
                    <a:pt x="64" y="126"/>
                    <a:pt x="64" y="147"/>
                  </a:cubicBezTo>
                  <a:cubicBezTo>
                    <a:pt x="64" y="312"/>
                    <a:pt x="64" y="312"/>
                    <a:pt x="64" y="312"/>
                  </a:cubicBezTo>
                  <a:lnTo>
                    <a:pt x="45" y="312"/>
                  </a:lnTo>
                  <a:close/>
                  <a:moveTo>
                    <a:pt x="55" y="19"/>
                  </a:moveTo>
                  <a:cubicBezTo>
                    <a:pt x="36" y="19"/>
                    <a:pt x="20" y="34"/>
                    <a:pt x="20" y="53"/>
                  </a:cubicBezTo>
                  <a:cubicBezTo>
                    <a:pt x="20" y="72"/>
                    <a:pt x="36" y="88"/>
                    <a:pt x="55" y="88"/>
                  </a:cubicBezTo>
                  <a:cubicBezTo>
                    <a:pt x="74" y="88"/>
                    <a:pt x="89" y="72"/>
                    <a:pt x="89" y="53"/>
                  </a:cubicBezTo>
                  <a:cubicBezTo>
                    <a:pt x="89" y="34"/>
                    <a:pt x="74" y="19"/>
                    <a:pt x="5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4" name="Oval 34">
              <a:extLst>
                <a:ext uri="{FF2B5EF4-FFF2-40B4-BE49-F238E27FC236}">
                  <a16:creationId xmlns:a16="http://schemas.microsoft.com/office/drawing/2014/main" id="{3E3C2A90-19C0-49F1-A404-539321316238}"/>
                </a:ext>
              </a:extLst>
            </p:cNvPr>
            <p:cNvSpPr/>
            <p:nvPr/>
          </p:nvSpPr>
          <p:spPr>
            <a:xfrm>
              <a:off x="1493133" y="3677872"/>
              <a:ext cx="1046989" cy="104698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89" name="Freeform 650"/>
          <p:cNvSpPr>
            <a:spLocks noEditPoints="1"/>
          </p:cNvSpPr>
          <p:nvPr/>
        </p:nvSpPr>
        <p:spPr bwMode="auto">
          <a:xfrm>
            <a:off x="1785912" y="3577971"/>
            <a:ext cx="450418" cy="611074"/>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90" name="Freeform 650"/>
          <p:cNvSpPr>
            <a:spLocks noEditPoints="1"/>
          </p:cNvSpPr>
          <p:nvPr/>
        </p:nvSpPr>
        <p:spPr bwMode="auto">
          <a:xfrm>
            <a:off x="4536161" y="3587305"/>
            <a:ext cx="450419" cy="611075"/>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91" name="Freeform 650"/>
          <p:cNvSpPr>
            <a:spLocks noEditPoints="1"/>
          </p:cNvSpPr>
          <p:nvPr/>
        </p:nvSpPr>
        <p:spPr bwMode="auto">
          <a:xfrm>
            <a:off x="7182351" y="3577971"/>
            <a:ext cx="450419" cy="611075"/>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92" name="Freeform 650"/>
          <p:cNvSpPr>
            <a:spLocks noEditPoints="1"/>
          </p:cNvSpPr>
          <p:nvPr/>
        </p:nvSpPr>
        <p:spPr bwMode="auto">
          <a:xfrm>
            <a:off x="9930825" y="3549211"/>
            <a:ext cx="450419" cy="611075"/>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custDataLst>
      <p:tags r:id="rId1"/>
    </p:custDataLst>
    <p:extLst>
      <p:ext uri="{BB962C8B-B14F-4D97-AF65-F5344CB8AC3E}">
        <p14:creationId xmlns:p14="http://schemas.microsoft.com/office/powerpoint/2010/main" val="4225312124"/>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105AC45F-4830-BC4F-A8CD-C03665B6BDC1}"/>
              </a:ext>
            </a:extLst>
          </p:cNvPr>
          <p:cNvSpPr/>
          <p:nvPr/>
        </p:nvSpPr>
        <p:spPr bwMode="gray">
          <a:xfrm>
            <a:off x="890287" y="2415342"/>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sp>
        <p:nvSpPr>
          <p:cNvPr id="77" name="Oval 76">
            <a:extLst>
              <a:ext uri="{FF2B5EF4-FFF2-40B4-BE49-F238E27FC236}">
                <a16:creationId xmlns:a16="http://schemas.microsoft.com/office/drawing/2014/main" id="{D15B47D5-5CDE-664A-A3CA-0630D03F50D0}"/>
              </a:ext>
            </a:extLst>
          </p:cNvPr>
          <p:cNvSpPr/>
          <p:nvPr/>
        </p:nvSpPr>
        <p:spPr bwMode="gray">
          <a:xfrm>
            <a:off x="1048161" y="1714500"/>
            <a:ext cx="1520856" cy="1520856"/>
          </a:xfrm>
          <a:prstGeom prst="ellipse">
            <a:avLst/>
          </a:prstGeom>
          <a:solidFill>
            <a:srgbClr val="E3E48D"/>
          </a:solidFill>
          <a:ln w="19050" algn="ctr">
            <a:noFill/>
            <a:miter lim="800000"/>
            <a:headEnd/>
            <a:tailEnd/>
          </a:ln>
        </p:spPr>
        <p:txBody>
          <a:bodyPr wrap="square" lIns="0" tIns="0" rIns="0" bIns="0" rtlCol="0" anchor="ctr"/>
          <a:lstStyle/>
          <a:p>
            <a:pPr algn="ctr">
              <a:buFont typeface="Wingdings 2" pitchFamily="18" charset="2"/>
              <a:buNone/>
            </a:pPr>
            <a:r>
              <a:rPr lang="en-US" sz="1300" b="1" dirty="0"/>
              <a:t>This is dummy text </a:t>
            </a:r>
          </a:p>
          <a:p>
            <a:pPr algn="ctr">
              <a:buFont typeface="Wingdings 2" pitchFamily="18" charset="2"/>
              <a:buNone/>
            </a:pPr>
            <a:r>
              <a:rPr lang="en-US" sz="1300" b="1" dirty="0"/>
              <a:t>it is not here</a:t>
            </a:r>
          </a:p>
        </p:txBody>
      </p:sp>
      <p:sp>
        <p:nvSpPr>
          <p:cNvPr id="78" name="Oval 77">
            <a:extLst>
              <a:ext uri="{FF2B5EF4-FFF2-40B4-BE49-F238E27FC236}">
                <a16:creationId xmlns:a16="http://schemas.microsoft.com/office/drawing/2014/main" id="{307E086C-087D-FB4F-A507-BC2DFCF0A422}"/>
              </a:ext>
            </a:extLst>
          </p:cNvPr>
          <p:cNvSpPr/>
          <p:nvPr/>
        </p:nvSpPr>
        <p:spPr bwMode="gray">
          <a:xfrm>
            <a:off x="1678067" y="3832701"/>
            <a:ext cx="261042" cy="261042"/>
          </a:xfrm>
          <a:prstGeom prst="ellipse">
            <a:avLst/>
          </a:pr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cxnSp>
        <p:nvCxnSpPr>
          <p:cNvPr id="79" name="Straight Connector 78">
            <a:extLst>
              <a:ext uri="{FF2B5EF4-FFF2-40B4-BE49-F238E27FC236}">
                <a16:creationId xmlns:a16="http://schemas.microsoft.com/office/drawing/2014/main" id="{BA236498-7284-404A-9601-55039B5AEB6C}"/>
              </a:ext>
            </a:extLst>
          </p:cNvPr>
          <p:cNvCxnSpPr>
            <a:stCxn id="40" idx="3"/>
            <a:endCxn id="78" idx="0"/>
          </p:cNvCxnSpPr>
          <p:nvPr/>
        </p:nvCxnSpPr>
        <p:spPr>
          <a:xfrm flipH="1">
            <a:off x="1808588" y="3405600"/>
            <a:ext cx="1" cy="427101"/>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1" name="Freeform 80">
            <a:extLst>
              <a:ext uri="{FF2B5EF4-FFF2-40B4-BE49-F238E27FC236}">
                <a16:creationId xmlns:a16="http://schemas.microsoft.com/office/drawing/2014/main" id="{F545BC19-BAF4-4942-BB8B-8F6C7CC32E84}"/>
              </a:ext>
            </a:extLst>
          </p:cNvPr>
          <p:cNvSpPr/>
          <p:nvPr/>
        </p:nvSpPr>
        <p:spPr bwMode="gray">
          <a:xfrm>
            <a:off x="3757028" y="2415342"/>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tx2"/>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sp>
        <p:nvSpPr>
          <p:cNvPr id="82" name="Oval 81">
            <a:extLst>
              <a:ext uri="{FF2B5EF4-FFF2-40B4-BE49-F238E27FC236}">
                <a16:creationId xmlns:a16="http://schemas.microsoft.com/office/drawing/2014/main" id="{F23160B0-EBAA-6E48-8F61-2D3FE56EF34F}"/>
              </a:ext>
            </a:extLst>
          </p:cNvPr>
          <p:cNvSpPr/>
          <p:nvPr/>
        </p:nvSpPr>
        <p:spPr bwMode="gray">
          <a:xfrm>
            <a:off x="3914902" y="1714500"/>
            <a:ext cx="1520856" cy="1520856"/>
          </a:xfrm>
          <a:prstGeom prst="ellipse">
            <a:avLst/>
          </a:prstGeom>
          <a:solidFill>
            <a:schemeClr val="tx2">
              <a:lumMod val="20000"/>
              <a:lumOff val="80000"/>
            </a:schemeClr>
          </a:solidFill>
          <a:ln w="19050" algn="ctr">
            <a:noFill/>
            <a:miter lim="800000"/>
            <a:headEnd/>
            <a:tailEnd/>
          </a:ln>
        </p:spPr>
        <p:txBody>
          <a:bodyPr wrap="square" lIns="0" tIns="0" rIns="0" bIns="0" rtlCol="0" anchor="ctr"/>
          <a:lstStyle/>
          <a:p>
            <a:pPr algn="ctr">
              <a:buFont typeface="Wingdings 2" pitchFamily="18" charset="2"/>
              <a:buNone/>
            </a:pPr>
            <a:r>
              <a:rPr lang="en-US" sz="1300" b="1" dirty="0"/>
              <a:t>This is dummy text </a:t>
            </a:r>
          </a:p>
          <a:p>
            <a:pPr algn="ctr">
              <a:buFont typeface="Wingdings 2" pitchFamily="18" charset="2"/>
              <a:buNone/>
            </a:pPr>
            <a:r>
              <a:rPr lang="en-US" sz="1300" b="1" dirty="0"/>
              <a:t>it is not here</a:t>
            </a:r>
          </a:p>
        </p:txBody>
      </p:sp>
      <p:sp>
        <p:nvSpPr>
          <p:cNvPr id="83" name="Oval 82">
            <a:extLst>
              <a:ext uri="{FF2B5EF4-FFF2-40B4-BE49-F238E27FC236}">
                <a16:creationId xmlns:a16="http://schemas.microsoft.com/office/drawing/2014/main" id="{136095F7-09A6-CA4F-B095-3EF4383E0071}"/>
              </a:ext>
            </a:extLst>
          </p:cNvPr>
          <p:cNvSpPr/>
          <p:nvPr/>
        </p:nvSpPr>
        <p:spPr bwMode="gray">
          <a:xfrm>
            <a:off x="4544808" y="3832701"/>
            <a:ext cx="261042" cy="261042"/>
          </a:xfrm>
          <a:prstGeom prst="ellipse">
            <a:avLst/>
          </a:prstGeom>
          <a:solidFill>
            <a:schemeClr val="tx2"/>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cxnSp>
        <p:nvCxnSpPr>
          <p:cNvPr id="84" name="Straight Connector 83">
            <a:extLst>
              <a:ext uri="{FF2B5EF4-FFF2-40B4-BE49-F238E27FC236}">
                <a16:creationId xmlns:a16="http://schemas.microsoft.com/office/drawing/2014/main" id="{73622807-004C-7F45-B663-C9A7A353927E}"/>
              </a:ext>
            </a:extLst>
          </p:cNvPr>
          <p:cNvCxnSpPr>
            <a:stCxn id="81" idx="3"/>
            <a:endCxn id="83" idx="0"/>
          </p:cNvCxnSpPr>
          <p:nvPr/>
        </p:nvCxnSpPr>
        <p:spPr>
          <a:xfrm flipH="1">
            <a:off x="4675329" y="3405600"/>
            <a:ext cx="1" cy="427101"/>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86" name="Freeform 85">
            <a:extLst>
              <a:ext uri="{FF2B5EF4-FFF2-40B4-BE49-F238E27FC236}">
                <a16:creationId xmlns:a16="http://schemas.microsoft.com/office/drawing/2014/main" id="{27755FAA-5EA9-554D-8B02-8E2F6C229A30}"/>
              </a:ext>
            </a:extLst>
          </p:cNvPr>
          <p:cNvSpPr/>
          <p:nvPr/>
        </p:nvSpPr>
        <p:spPr bwMode="gray">
          <a:xfrm>
            <a:off x="6623769" y="2415342"/>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sp>
        <p:nvSpPr>
          <p:cNvPr id="87" name="Oval 86">
            <a:extLst>
              <a:ext uri="{FF2B5EF4-FFF2-40B4-BE49-F238E27FC236}">
                <a16:creationId xmlns:a16="http://schemas.microsoft.com/office/drawing/2014/main" id="{F2A9DE18-811D-6A48-897F-A429A11617C5}"/>
              </a:ext>
            </a:extLst>
          </p:cNvPr>
          <p:cNvSpPr/>
          <p:nvPr/>
        </p:nvSpPr>
        <p:spPr bwMode="gray">
          <a:xfrm>
            <a:off x="6781643" y="1714500"/>
            <a:ext cx="1520856" cy="1520856"/>
          </a:xfrm>
          <a:prstGeom prst="ellipse">
            <a:avLst/>
          </a:prstGeom>
          <a:solidFill>
            <a:srgbClr val="C4D600"/>
          </a:solidFill>
          <a:ln w="19050" algn="ctr">
            <a:noFill/>
            <a:miter lim="800000"/>
            <a:headEnd/>
            <a:tailEnd/>
          </a:ln>
        </p:spPr>
        <p:txBody>
          <a:bodyPr wrap="square" lIns="0" tIns="0" rIns="0" bIns="0" rtlCol="0" anchor="ctr"/>
          <a:lstStyle/>
          <a:p>
            <a:pPr algn="ctr">
              <a:buFont typeface="Wingdings 2" pitchFamily="18" charset="2"/>
              <a:buNone/>
            </a:pPr>
            <a:r>
              <a:rPr lang="en-US" sz="1300" b="1" dirty="0"/>
              <a:t>This is dummy text </a:t>
            </a:r>
          </a:p>
          <a:p>
            <a:pPr algn="ctr">
              <a:buFont typeface="Wingdings 2" pitchFamily="18" charset="2"/>
              <a:buNone/>
            </a:pPr>
            <a:r>
              <a:rPr lang="en-US" sz="1300" b="1" dirty="0"/>
              <a:t>it is not here</a:t>
            </a:r>
          </a:p>
        </p:txBody>
      </p:sp>
      <p:sp>
        <p:nvSpPr>
          <p:cNvPr id="88" name="Oval 87">
            <a:extLst>
              <a:ext uri="{FF2B5EF4-FFF2-40B4-BE49-F238E27FC236}">
                <a16:creationId xmlns:a16="http://schemas.microsoft.com/office/drawing/2014/main" id="{AEE2CAAC-7797-454C-9992-7AD91BC44EC1}"/>
              </a:ext>
            </a:extLst>
          </p:cNvPr>
          <p:cNvSpPr/>
          <p:nvPr/>
        </p:nvSpPr>
        <p:spPr bwMode="gray">
          <a:xfrm>
            <a:off x="7411549" y="3832701"/>
            <a:ext cx="261042" cy="261042"/>
          </a:xfrm>
          <a:prstGeom prst="ellips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cxnSp>
        <p:nvCxnSpPr>
          <p:cNvPr id="89" name="Straight Connector 88">
            <a:extLst>
              <a:ext uri="{FF2B5EF4-FFF2-40B4-BE49-F238E27FC236}">
                <a16:creationId xmlns:a16="http://schemas.microsoft.com/office/drawing/2014/main" id="{A553A74A-2FB7-054C-AF99-63A43D454530}"/>
              </a:ext>
            </a:extLst>
          </p:cNvPr>
          <p:cNvCxnSpPr>
            <a:stCxn id="86" idx="3"/>
            <a:endCxn id="88" idx="0"/>
          </p:cNvCxnSpPr>
          <p:nvPr/>
        </p:nvCxnSpPr>
        <p:spPr>
          <a:xfrm flipH="1">
            <a:off x="7542070" y="3405600"/>
            <a:ext cx="1" cy="427101"/>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1" name="Freeform 90">
            <a:extLst>
              <a:ext uri="{FF2B5EF4-FFF2-40B4-BE49-F238E27FC236}">
                <a16:creationId xmlns:a16="http://schemas.microsoft.com/office/drawing/2014/main" id="{AC2FC23D-D6F0-AB4E-ADC5-A7AAB0A02FAA}"/>
              </a:ext>
            </a:extLst>
          </p:cNvPr>
          <p:cNvSpPr/>
          <p:nvPr/>
        </p:nvSpPr>
        <p:spPr bwMode="gray">
          <a:xfrm>
            <a:off x="9490511" y="2415342"/>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sp>
        <p:nvSpPr>
          <p:cNvPr id="92" name="Oval 91">
            <a:extLst>
              <a:ext uri="{FF2B5EF4-FFF2-40B4-BE49-F238E27FC236}">
                <a16:creationId xmlns:a16="http://schemas.microsoft.com/office/drawing/2014/main" id="{3EDF1DCA-FA1E-614A-946F-566756217AF8}"/>
              </a:ext>
            </a:extLst>
          </p:cNvPr>
          <p:cNvSpPr/>
          <p:nvPr/>
        </p:nvSpPr>
        <p:spPr bwMode="gray">
          <a:xfrm>
            <a:off x="9648385" y="1714500"/>
            <a:ext cx="1520856" cy="1520856"/>
          </a:xfrm>
          <a:prstGeom prst="ellipse">
            <a:avLst/>
          </a:prstGeom>
          <a:solidFill>
            <a:srgbClr val="D0D0CE"/>
          </a:solidFill>
          <a:ln w="19050" algn="ctr">
            <a:noFill/>
            <a:miter lim="800000"/>
            <a:headEnd/>
            <a:tailEnd/>
          </a:ln>
        </p:spPr>
        <p:txBody>
          <a:bodyPr wrap="square" lIns="0" tIns="0" rIns="0" bIns="0" rtlCol="0" anchor="ctr"/>
          <a:lstStyle/>
          <a:p>
            <a:pPr algn="ctr">
              <a:buFont typeface="Wingdings 2" pitchFamily="18" charset="2"/>
              <a:buNone/>
            </a:pPr>
            <a:r>
              <a:rPr lang="en-US" sz="1300" b="1" dirty="0"/>
              <a:t>This is dummy text </a:t>
            </a:r>
          </a:p>
          <a:p>
            <a:pPr algn="ctr">
              <a:buFont typeface="Wingdings 2" pitchFamily="18" charset="2"/>
              <a:buNone/>
            </a:pPr>
            <a:r>
              <a:rPr lang="en-US" sz="1300" b="1" dirty="0"/>
              <a:t>it is not here</a:t>
            </a:r>
          </a:p>
        </p:txBody>
      </p:sp>
      <p:sp>
        <p:nvSpPr>
          <p:cNvPr id="93" name="Oval 92">
            <a:extLst>
              <a:ext uri="{FF2B5EF4-FFF2-40B4-BE49-F238E27FC236}">
                <a16:creationId xmlns:a16="http://schemas.microsoft.com/office/drawing/2014/main" id="{FFDE5D79-BED5-214E-8B81-DB1C93993FC7}"/>
              </a:ext>
            </a:extLst>
          </p:cNvPr>
          <p:cNvSpPr/>
          <p:nvPr/>
        </p:nvSpPr>
        <p:spPr bwMode="gray">
          <a:xfrm>
            <a:off x="10278291" y="3832701"/>
            <a:ext cx="261042" cy="261042"/>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cxnSp>
        <p:nvCxnSpPr>
          <p:cNvPr id="94" name="Straight Connector 93">
            <a:extLst>
              <a:ext uri="{FF2B5EF4-FFF2-40B4-BE49-F238E27FC236}">
                <a16:creationId xmlns:a16="http://schemas.microsoft.com/office/drawing/2014/main" id="{CCC4DE30-A296-3646-8A83-25EC1AE780D0}"/>
              </a:ext>
            </a:extLst>
          </p:cNvPr>
          <p:cNvCxnSpPr>
            <a:stCxn id="91" idx="3"/>
            <a:endCxn id="93" idx="0"/>
          </p:cNvCxnSpPr>
          <p:nvPr/>
        </p:nvCxnSpPr>
        <p:spPr>
          <a:xfrm flipH="1">
            <a:off x="10408812" y="3405600"/>
            <a:ext cx="1" cy="42710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709311350"/>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ounded Rectangle 84">
            <a:extLst>
              <a:ext uri="{FF2B5EF4-FFF2-40B4-BE49-F238E27FC236}">
                <a16:creationId xmlns:a16="http://schemas.microsoft.com/office/drawing/2014/main" id="{876DFB25-F017-4E4F-A1A4-17271342D227}"/>
              </a:ext>
            </a:extLst>
          </p:cNvPr>
          <p:cNvSpPr/>
          <p:nvPr/>
        </p:nvSpPr>
        <p:spPr bwMode="gray">
          <a:xfrm>
            <a:off x="6599218" y="1714500"/>
            <a:ext cx="1705059" cy="2593576"/>
          </a:xfrm>
          <a:prstGeom prst="roundRect">
            <a:avLst>
              <a:gd name="adj" fmla="val 50000"/>
            </a:avLst>
          </a:prstGeom>
          <a:noFill/>
          <a:ln w="57150" algn="ctr">
            <a:solidFill>
              <a:schemeClr val="accent2"/>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schemeClr val="bg1"/>
              </a:solidFill>
            </a:endParaRPr>
          </a:p>
        </p:txBody>
      </p:sp>
      <p:sp>
        <p:nvSpPr>
          <p:cNvPr id="111" name="Rounded Rectangle 110">
            <a:extLst>
              <a:ext uri="{FF2B5EF4-FFF2-40B4-BE49-F238E27FC236}">
                <a16:creationId xmlns:a16="http://schemas.microsoft.com/office/drawing/2014/main" id="{E70D2B22-FA4F-BA45-9FBF-9C72832AF187}"/>
              </a:ext>
            </a:extLst>
          </p:cNvPr>
          <p:cNvSpPr/>
          <p:nvPr/>
        </p:nvSpPr>
        <p:spPr bwMode="gray">
          <a:xfrm>
            <a:off x="1002178" y="1714500"/>
            <a:ext cx="1705059" cy="2593576"/>
          </a:xfrm>
          <a:prstGeom prst="roundRect">
            <a:avLst>
              <a:gd name="adj" fmla="val 50000"/>
            </a:avLst>
          </a:prstGeom>
          <a:noFill/>
          <a:ln w="57150" algn="ctr">
            <a:solidFill>
              <a:schemeClr val="accent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schemeClr val="bg1"/>
              </a:solidFill>
            </a:endParaRPr>
          </a:p>
        </p:txBody>
      </p:sp>
      <p:sp>
        <p:nvSpPr>
          <p:cNvPr id="112" name="Rounded Rectangle 111">
            <a:extLst>
              <a:ext uri="{FF2B5EF4-FFF2-40B4-BE49-F238E27FC236}">
                <a16:creationId xmlns:a16="http://schemas.microsoft.com/office/drawing/2014/main" id="{FC6507F3-7714-CD4C-BA9A-7D01ACC96F31}"/>
              </a:ext>
            </a:extLst>
          </p:cNvPr>
          <p:cNvSpPr/>
          <p:nvPr/>
        </p:nvSpPr>
        <p:spPr bwMode="gray">
          <a:xfrm>
            <a:off x="9398859" y="1714500"/>
            <a:ext cx="1705059" cy="2593576"/>
          </a:xfrm>
          <a:prstGeom prst="roundRect">
            <a:avLst>
              <a:gd name="adj" fmla="val 50000"/>
            </a:avLst>
          </a:prstGeom>
          <a:noFill/>
          <a:ln w="57150" algn="ctr">
            <a:solidFill>
              <a:srgbClr val="000000"/>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schemeClr val="bg1"/>
              </a:solidFill>
            </a:endParaRPr>
          </a:p>
        </p:txBody>
      </p:sp>
      <p:sp>
        <p:nvSpPr>
          <p:cNvPr id="113" name="Rounded Rectangle 112">
            <a:extLst>
              <a:ext uri="{FF2B5EF4-FFF2-40B4-BE49-F238E27FC236}">
                <a16:creationId xmlns:a16="http://schemas.microsoft.com/office/drawing/2014/main" id="{14B0C3C3-700C-DD4F-85FE-93FC0FB8C3A1}"/>
              </a:ext>
            </a:extLst>
          </p:cNvPr>
          <p:cNvSpPr/>
          <p:nvPr/>
        </p:nvSpPr>
        <p:spPr bwMode="gray">
          <a:xfrm>
            <a:off x="3799575" y="1714500"/>
            <a:ext cx="1705059" cy="2593576"/>
          </a:xfrm>
          <a:prstGeom prst="roundRect">
            <a:avLst>
              <a:gd name="adj" fmla="val 50000"/>
            </a:avLst>
          </a:prstGeom>
          <a:noFill/>
          <a:ln w="57150" algn="ctr">
            <a:solidFill>
              <a:schemeClr val="accent3"/>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schemeClr val="bg1"/>
              </a:solidFill>
            </a:endParaRPr>
          </a:p>
        </p:txBody>
      </p:sp>
      <p:sp>
        <p:nvSpPr>
          <p:cNvPr id="114" name="TextBox 113">
            <a:extLst>
              <a:ext uri="{FF2B5EF4-FFF2-40B4-BE49-F238E27FC236}">
                <a16:creationId xmlns:a16="http://schemas.microsoft.com/office/drawing/2014/main" id="{A033210C-586A-1A46-9DA2-152DD763E30F}"/>
              </a:ext>
            </a:extLst>
          </p:cNvPr>
          <p:cNvSpPr txBox="1"/>
          <p:nvPr/>
        </p:nvSpPr>
        <p:spPr>
          <a:xfrm>
            <a:off x="506620" y="3590119"/>
            <a:ext cx="2696172" cy="2362812"/>
          </a:xfrm>
          <a:prstGeom prst="rect">
            <a:avLst/>
          </a:prstGeom>
          <a:solidFill>
            <a:schemeClr val="bg1">
              <a:lumMod val="95000"/>
            </a:schemeClr>
          </a:solidFill>
        </p:spPr>
        <p:txBody>
          <a:bodyPr wrap="square" lIns="68580" tIns="68580" rIns="68580" bIns="68580" rtlCol="0">
            <a:noAutofit/>
          </a:bodyPr>
          <a:lstStyle>
            <a:defPPr>
              <a:defRPr lang="en-US"/>
            </a:defPPr>
            <a:lvl1pPr>
              <a:buSzPct val="100000"/>
              <a:defRPr sz="1200">
                <a:solidFill>
                  <a:srgbClr val="313131"/>
                </a:solidFill>
              </a:defRPr>
            </a:lvl1pPr>
          </a:lstStyle>
          <a:p>
            <a:r>
              <a:rPr lang="en-US" sz="1300" dirty="0">
                <a:solidFill>
                  <a:schemeClr val="tx1"/>
                </a:solidFill>
              </a:rPr>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115" name="TextBox 114">
            <a:extLst>
              <a:ext uri="{FF2B5EF4-FFF2-40B4-BE49-F238E27FC236}">
                <a16:creationId xmlns:a16="http://schemas.microsoft.com/office/drawing/2014/main" id="{B369D1E3-4AA0-854B-AC0F-6B5F4BE650A7}"/>
              </a:ext>
            </a:extLst>
          </p:cNvPr>
          <p:cNvSpPr txBox="1"/>
          <p:nvPr/>
        </p:nvSpPr>
        <p:spPr>
          <a:xfrm>
            <a:off x="3302687" y="3590119"/>
            <a:ext cx="2724172" cy="2362812"/>
          </a:xfrm>
          <a:prstGeom prst="rect">
            <a:avLst/>
          </a:prstGeom>
          <a:solidFill>
            <a:schemeClr val="bg1">
              <a:lumMod val="95000"/>
            </a:schemeClr>
          </a:solidFill>
        </p:spPr>
        <p:txBody>
          <a:bodyPr wrap="square" lIns="68580" tIns="68580" rIns="68580" bIns="68580" rtlCol="0">
            <a:noAutofit/>
          </a:bodyPr>
          <a:lstStyle>
            <a:defPPr>
              <a:defRPr lang="en-US"/>
            </a:defPPr>
            <a:lvl1pPr>
              <a:buSzPct val="100000"/>
              <a:defRPr sz="1200">
                <a:solidFill>
                  <a:srgbClr val="313131"/>
                </a:solidFill>
              </a:defRPr>
            </a:lvl1pPr>
          </a:lstStyle>
          <a:p>
            <a:r>
              <a:rPr lang="en-US" sz="1300" dirty="0">
                <a:solidFill>
                  <a:schemeClr val="tx1"/>
                </a:solidFill>
              </a:rPr>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116" name="TextBox 115">
            <a:extLst>
              <a:ext uri="{FF2B5EF4-FFF2-40B4-BE49-F238E27FC236}">
                <a16:creationId xmlns:a16="http://schemas.microsoft.com/office/drawing/2014/main" id="{1536BA18-04E9-9241-8916-6BFB0DE6112E}"/>
              </a:ext>
            </a:extLst>
          </p:cNvPr>
          <p:cNvSpPr txBox="1"/>
          <p:nvPr/>
        </p:nvSpPr>
        <p:spPr>
          <a:xfrm>
            <a:off x="6102330" y="3590119"/>
            <a:ext cx="2724170" cy="2362812"/>
          </a:xfrm>
          <a:prstGeom prst="rect">
            <a:avLst/>
          </a:prstGeom>
          <a:solidFill>
            <a:schemeClr val="bg1">
              <a:lumMod val="95000"/>
            </a:schemeClr>
          </a:solidFill>
        </p:spPr>
        <p:txBody>
          <a:bodyPr wrap="square" lIns="68580" tIns="68580" rIns="68580" bIns="68580" rtlCol="0">
            <a:noAutofit/>
          </a:bodyPr>
          <a:lstStyle>
            <a:defPPr>
              <a:defRPr lang="en-US"/>
            </a:defPPr>
            <a:lvl1pPr>
              <a:buSzPct val="100000"/>
              <a:defRPr sz="1200">
                <a:solidFill>
                  <a:srgbClr val="313131"/>
                </a:solidFill>
              </a:defRPr>
            </a:lvl1pPr>
          </a:lstStyle>
          <a:p>
            <a:r>
              <a:rPr lang="en-US" sz="1300" dirty="0">
                <a:solidFill>
                  <a:schemeClr val="tx1"/>
                </a:solidFill>
              </a:rPr>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117" name="TextBox 116">
            <a:extLst>
              <a:ext uri="{FF2B5EF4-FFF2-40B4-BE49-F238E27FC236}">
                <a16:creationId xmlns:a16="http://schemas.microsoft.com/office/drawing/2014/main" id="{FEE20961-1343-444D-AFC8-B3684A8C03C2}"/>
              </a:ext>
            </a:extLst>
          </p:cNvPr>
          <p:cNvSpPr txBox="1"/>
          <p:nvPr/>
        </p:nvSpPr>
        <p:spPr>
          <a:xfrm>
            <a:off x="8901971" y="3590119"/>
            <a:ext cx="2724879" cy="2362812"/>
          </a:xfrm>
          <a:prstGeom prst="rect">
            <a:avLst/>
          </a:prstGeom>
          <a:solidFill>
            <a:schemeClr val="bg1">
              <a:lumMod val="95000"/>
            </a:schemeClr>
          </a:solidFill>
        </p:spPr>
        <p:txBody>
          <a:bodyPr wrap="square" lIns="68580" tIns="68580" rIns="68580" bIns="68580" rtlCol="0">
            <a:noAutofit/>
          </a:bodyPr>
          <a:lstStyle>
            <a:defPPr>
              <a:defRPr lang="en-US"/>
            </a:defPPr>
            <a:lvl1pPr>
              <a:buSzPct val="100000"/>
              <a:defRPr sz="1200">
                <a:solidFill>
                  <a:srgbClr val="313131"/>
                </a:solidFill>
              </a:defRPr>
            </a:lvl1pPr>
          </a:lstStyle>
          <a:p>
            <a:r>
              <a:rPr lang="en-US" sz="1300" dirty="0">
                <a:solidFill>
                  <a:schemeClr val="tx1"/>
                </a:solidFill>
              </a:rPr>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118" name="Text Box 10">
            <a:extLst>
              <a:ext uri="{FF2B5EF4-FFF2-40B4-BE49-F238E27FC236}">
                <a16:creationId xmlns:a16="http://schemas.microsoft.com/office/drawing/2014/main" id="{899202C5-667C-5441-B51C-1DD5D29FED96}"/>
              </a:ext>
            </a:extLst>
          </p:cNvPr>
          <p:cNvSpPr txBox="1">
            <a:spLocks noChangeArrowheads="1"/>
          </p:cNvSpPr>
          <p:nvPr/>
        </p:nvSpPr>
        <p:spPr bwMode="auto">
          <a:xfrm>
            <a:off x="506621" y="2903426"/>
            <a:ext cx="2822904" cy="686696"/>
          </a:xfrm>
          <a:prstGeom prst="homePlate">
            <a:avLst>
              <a:gd name="adj" fmla="val 16907"/>
            </a:avLst>
          </a:prstGeom>
          <a:solidFill>
            <a:schemeClr val="accent1"/>
          </a:solidFill>
          <a:ln w="12700" algn="ctr">
            <a:noFill/>
            <a:miter lim="800000"/>
            <a:headEnd/>
            <a:tailEnd type="none" w="sm" len="med"/>
          </a:ln>
        </p:spPr>
        <p:txBody>
          <a:bodyPr lIns="34290" tIns="34290" rIns="34290" bIns="34290" anchor="ctr" anchorCtr="0"/>
          <a:lstStyle/>
          <a:p>
            <a:pPr algn="ctr" defTabSz="717947"/>
            <a:r>
              <a:rPr lang="en-US" sz="1300" b="1" dirty="0">
                <a:solidFill>
                  <a:prstClr val="white"/>
                </a:solidFill>
                <a:cs typeface="Arial" pitchFamily="34" charset="0"/>
              </a:rPr>
              <a:t>Lorem ipsum</a:t>
            </a:r>
          </a:p>
        </p:txBody>
      </p:sp>
      <p:sp>
        <p:nvSpPr>
          <p:cNvPr id="119" name="Text Box 10">
            <a:extLst>
              <a:ext uri="{FF2B5EF4-FFF2-40B4-BE49-F238E27FC236}">
                <a16:creationId xmlns:a16="http://schemas.microsoft.com/office/drawing/2014/main" id="{7D9968DD-387E-014D-9471-063C92A06EC2}"/>
              </a:ext>
            </a:extLst>
          </p:cNvPr>
          <p:cNvSpPr txBox="1">
            <a:spLocks noChangeArrowheads="1"/>
          </p:cNvSpPr>
          <p:nvPr/>
        </p:nvSpPr>
        <p:spPr bwMode="auto">
          <a:xfrm>
            <a:off x="3302687" y="2903426"/>
            <a:ext cx="2826479" cy="686696"/>
          </a:xfrm>
          <a:prstGeom prst="chevron">
            <a:avLst>
              <a:gd name="adj" fmla="val 12770"/>
            </a:avLst>
          </a:prstGeom>
          <a:solidFill>
            <a:schemeClr val="accent3"/>
          </a:solidFill>
          <a:ln w="12700" algn="ctr">
            <a:noFill/>
            <a:miter lim="800000"/>
            <a:headEnd/>
            <a:tailEnd type="none" w="sm" len="med"/>
          </a:ln>
        </p:spPr>
        <p:txBody>
          <a:bodyPr lIns="34290" tIns="34290" rIns="34290" bIns="34290" anchor="ctr" anchorCtr="0"/>
          <a:lstStyle/>
          <a:p>
            <a:pPr algn="ctr" defTabSz="717947"/>
            <a:r>
              <a:rPr lang="en-US" sz="1300" b="1" dirty="0">
                <a:solidFill>
                  <a:prstClr val="white"/>
                </a:solidFill>
                <a:cs typeface="Arial" pitchFamily="34" charset="0"/>
              </a:rPr>
              <a:t>Lorem ipsum</a:t>
            </a:r>
          </a:p>
        </p:txBody>
      </p:sp>
      <p:sp>
        <p:nvSpPr>
          <p:cNvPr id="120" name="Text Box 10">
            <a:extLst>
              <a:ext uri="{FF2B5EF4-FFF2-40B4-BE49-F238E27FC236}">
                <a16:creationId xmlns:a16="http://schemas.microsoft.com/office/drawing/2014/main" id="{17EEB0F7-9C3A-CA40-A337-EBF8A7DF00D5}"/>
              </a:ext>
            </a:extLst>
          </p:cNvPr>
          <p:cNvSpPr txBox="1">
            <a:spLocks noChangeArrowheads="1"/>
          </p:cNvSpPr>
          <p:nvPr/>
        </p:nvSpPr>
        <p:spPr bwMode="auto">
          <a:xfrm>
            <a:off x="6102330" y="2903426"/>
            <a:ext cx="2826479" cy="686696"/>
          </a:xfrm>
          <a:prstGeom prst="chevron">
            <a:avLst>
              <a:gd name="adj" fmla="val 12770"/>
            </a:avLst>
          </a:prstGeom>
          <a:solidFill>
            <a:schemeClr val="accent2"/>
          </a:solidFill>
          <a:ln w="12700" algn="ctr">
            <a:noFill/>
            <a:miter lim="800000"/>
            <a:headEnd/>
            <a:tailEnd type="none" w="sm" len="med"/>
          </a:ln>
        </p:spPr>
        <p:txBody>
          <a:bodyPr lIns="34290" tIns="34290" rIns="34290" bIns="34290" anchor="ctr" anchorCtr="0"/>
          <a:lstStyle>
            <a:defPPr>
              <a:defRPr lang="en-US"/>
            </a:defPPr>
            <a:lvl1pPr algn="ctr" defTabSz="957263">
              <a:defRPr sz="1200" b="1">
                <a:solidFill>
                  <a:prstClr val="white"/>
                </a:solidFill>
                <a:cs typeface="Arial" pitchFamily="34" charset="0"/>
              </a:defRPr>
            </a:lvl1pPr>
          </a:lstStyle>
          <a:p>
            <a:r>
              <a:rPr lang="en-US" sz="1300" dirty="0"/>
              <a:t>Lorem ipsum</a:t>
            </a:r>
          </a:p>
        </p:txBody>
      </p:sp>
      <p:sp>
        <p:nvSpPr>
          <p:cNvPr id="121" name="Text Box 10">
            <a:extLst>
              <a:ext uri="{FF2B5EF4-FFF2-40B4-BE49-F238E27FC236}">
                <a16:creationId xmlns:a16="http://schemas.microsoft.com/office/drawing/2014/main" id="{EFD80C21-4105-1C42-9F77-EAD5BCD09A16}"/>
              </a:ext>
            </a:extLst>
          </p:cNvPr>
          <p:cNvSpPr txBox="1">
            <a:spLocks noChangeArrowheads="1"/>
          </p:cNvSpPr>
          <p:nvPr/>
        </p:nvSpPr>
        <p:spPr bwMode="auto">
          <a:xfrm>
            <a:off x="8901971" y="2903426"/>
            <a:ext cx="2826479" cy="686696"/>
          </a:xfrm>
          <a:prstGeom prst="chevron">
            <a:avLst>
              <a:gd name="adj" fmla="val 12770"/>
            </a:avLst>
          </a:prstGeom>
          <a:solidFill>
            <a:srgbClr val="000000"/>
          </a:solidFill>
          <a:ln w="12700" algn="ctr">
            <a:noFill/>
            <a:miter lim="800000"/>
            <a:headEnd/>
            <a:tailEnd type="none" w="sm" len="med"/>
          </a:ln>
        </p:spPr>
        <p:txBody>
          <a:bodyPr lIns="34290" tIns="34290" rIns="34290" bIns="34290" anchor="ctr" anchorCtr="0"/>
          <a:lstStyle>
            <a:defPPr>
              <a:defRPr lang="en-US"/>
            </a:defPPr>
            <a:lvl1pPr algn="ctr" defTabSz="957263">
              <a:defRPr sz="1200" b="1">
                <a:solidFill>
                  <a:prstClr val="white"/>
                </a:solidFill>
                <a:cs typeface="Arial" pitchFamily="34" charset="0"/>
              </a:defRPr>
            </a:lvl1pPr>
          </a:lstStyle>
          <a:p>
            <a:r>
              <a:rPr lang="en-US" sz="1300" dirty="0"/>
              <a:t>Lorem ipsum</a:t>
            </a:r>
          </a:p>
        </p:txBody>
      </p:sp>
      <p:grpSp>
        <p:nvGrpSpPr>
          <p:cNvPr id="122" name="Group 412">
            <a:extLst>
              <a:ext uri="{FF2B5EF4-FFF2-40B4-BE49-F238E27FC236}">
                <a16:creationId xmlns:a16="http://schemas.microsoft.com/office/drawing/2014/main" id="{4E6301EB-3090-F44E-A5F6-DAAB1508852F}"/>
              </a:ext>
            </a:extLst>
          </p:cNvPr>
          <p:cNvGrpSpPr>
            <a:grpSpLocks noChangeAspect="1"/>
          </p:cNvGrpSpPr>
          <p:nvPr/>
        </p:nvGrpSpPr>
        <p:grpSpPr bwMode="auto">
          <a:xfrm>
            <a:off x="1489172" y="2022049"/>
            <a:ext cx="729414" cy="729414"/>
            <a:chOff x="2297" y="1592"/>
            <a:chExt cx="340" cy="340"/>
          </a:xfrm>
          <a:solidFill>
            <a:schemeClr val="accent1"/>
          </a:solidFill>
        </p:grpSpPr>
        <p:sp>
          <p:nvSpPr>
            <p:cNvPr id="123" name="Freeform 122">
              <a:extLst>
                <a:ext uri="{FF2B5EF4-FFF2-40B4-BE49-F238E27FC236}">
                  <a16:creationId xmlns:a16="http://schemas.microsoft.com/office/drawing/2014/main" id="{51A11965-941B-5C42-AB37-18F6BEAF3C9B}"/>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24" name="Freeform 123">
              <a:extLst>
                <a:ext uri="{FF2B5EF4-FFF2-40B4-BE49-F238E27FC236}">
                  <a16:creationId xmlns:a16="http://schemas.microsoft.com/office/drawing/2014/main" id="{3FCA93C5-4500-5E47-9054-1CA54DADE07B}"/>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sp>
        <p:nvSpPr>
          <p:cNvPr id="125" name="Freeform 627">
            <a:extLst>
              <a:ext uri="{FF2B5EF4-FFF2-40B4-BE49-F238E27FC236}">
                <a16:creationId xmlns:a16="http://schemas.microsoft.com/office/drawing/2014/main" id="{56816A69-4960-C844-8B16-0592AB19C3A1}"/>
              </a:ext>
            </a:extLst>
          </p:cNvPr>
          <p:cNvSpPr>
            <a:spLocks noChangeAspect="1" noEditPoints="1"/>
          </p:cNvSpPr>
          <p:nvPr/>
        </p:nvSpPr>
        <p:spPr bwMode="auto">
          <a:xfrm>
            <a:off x="4287395" y="2022049"/>
            <a:ext cx="729414" cy="729414"/>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26" name="Freeform 373">
            <a:extLst>
              <a:ext uri="{FF2B5EF4-FFF2-40B4-BE49-F238E27FC236}">
                <a16:creationId xmlns:a16="http://schemas.microsoft.com/office/drawing/2014/main" id="{64D482D3-57D0-B34D-94E0-CB34EDE5BB73}"/>
              </a:ext>
            </a:extLst>
          </p:cNvPr>
          <p:cNvSpPr>
            <a:spLocks noChangeAspect="1" noEditPoints="1"/>
          </p:cNvSpPr>
          <p:nvPr/>
        </p:nvSpPr>
        <p:spPr bwMode="auto">
          <a:xfrm>
            <a:off x="7087038" y="2022049"/>
            <a:ext cx="729414" cy="72941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256 h 512"/>
              <a:gd name="T12" fmla="*/ 362 w 512"/>
              <a:gd name="T13" fmla="*/ 245 h 512"/>
              <a:gd name="T14" fmla="*/ 373 w 512"/>
              <a:gd name="T15" fmla="*/ 256 h 512"/>
              <a:gd name="T16" fmla="*/ 373 w 512"/>
              <a:gd name="T17" fmla="*/ 320 h 512"/>
              <a:gd name="T18" fmla="*/ 362 w 512"/>
              <a:gd name="T19" fmla="*/ 330 h 512"/>
              <a:gd name="T20" fmla="*/ 352 w 512"/>
              <a:gd name="T21" fmla="*/ 320 h 512"/>
              <a:gd name="T22" fmla="*/ 352 w 512"/>
              <a:gd name="T23" fmla="*/ 256 h 512"/>
              <a:gd name="T24" fmla="*/ 309 w 512"/>
              <a:gd name="T25" fmla="*/ 170 h 512"/>
              <a:gd name="T26" fmla="*/ 320 w 512"/>
              <a:gd name="T27" fmla="*/ 160 h 512"/>
              <a:gd name="T28" fmla="*/ 330 w 512"/>
              <a:gd name="T29" fmla="*/ 170 h 512"/>
              <a:gd name="T30" fmla="*/ 330 w 512"/>
              <a:gd name="T31" fmla="*/ 320 h 512"/>
              <a:gd name="T32" fmla="*/ 320 w 512"/>
              <a:gd name="T33" fmla="*/ 330 h 512"/>
              <a:gd name="T34" fmla="*/ 309 w 512"/>
              <a:gd name="T35" fmla="*/ 320 h 512"/>
              <a:gd name="T36" fmla="*/ 309 w 512"/>
              <a:gd name="T37" fmla="*/ 170 h 512"/>
              <a:gd name="T38" fmla="*/ 266 w 512"/>
              <a:gd name="T39" fmla="*/ 202 h 512"/>
              <a:gd name="T40" fmla="*/ 277 w 512"/>
              <a:gd name="T41" fmla="*/ 192 h 512"/>
              <a:gd name="T42" fmla="*/ 288 w 512"/>
              <a:gd name="T43" fmla="*/ 202 h 512"/>
              <a:gd name="T44" fmla="*/ 288 w 512"/>
              <a:gd name="T45" fmla="*/ 320 h 512"/>
              <a:gd name="T46" fmla="*/ 277 w 512"/>
              <a:gd name="T47" fmla="*/ 330 h 512"/>
              <a:gd name="T48" fmla="*/ 266 w 512"/>
              <a:gd name="T49" fmla="*/ 320 h 512"/>
              <a:gd name="T50" fmla="*/ 266 w 512"/>
              <a:gd name="T51" fmla="*/ 202 h 512"/>
              <a:gd name="T52" fmla="*/ 224 w 512"/>
              <a:gd name="T53" fmla="*/ 149 h 512"/>
              <a:gd name="T54" fmla="*/ 234 w 512"/>
              <a:gd name="T55" fmla="*/ 138 h 512"/>
              <a:gd name="T56" fmla="*/ 245 w 512"/>
              <a:gd name="T57" fmla="*/ 149 h 512"/>
              <a:gd name="T58" fmla="*/ 245 w 512"/>
              <a:gd name="T59" fmla="*/ 320 h 512"/>
              <a:gd name="T60" fmla="*/ 234 w 512"/>
              <a:gd name="T61" fmla="*/ 330 h 512"/>
              <a:gd name="T62" fmla="*/ 224 w 512"/>
              <a:gd name="T63" fmla="*/ 320 h 512"/>
              <a:gd name="T64" fmla="*/ 224 w 512"/>
              <a:gd name="T65" fmla="*/ 149 h 512"/>
              <a:gd name="T66" fmla="*/ 181 w 512"/>
              <a:gd name="T67" fmla="*/ 245 h 512"/>
              <a:gd name="T68" fmla="*/ 192 w 512"/>
              <a:gd name="T69" fmla="*/ 234 h 512"/>
              <a:gd name="T70" fmla="*/ 202 w 512"/>
              <a:gd name="T71" fmla="*/ 245 h 512"/>
              <a:gd name="T72" fmla="*/ 202 w 512"/>
              <a:gd name="T73" fmla="*/ 320 h 512"/>
              <a:gd name="T74" fmla="*/ 192 w 512"/>
              <a:gd name="T75" fmla="*/ 330 h 512"/>
              <a:gd name="T76" fmla="*/ 181 w 512"/>
              <a:gd name="T77" fmla="*/ 320 h 512"/>
              <a:gd name="T78" fmla="*/ 181 w 512"/>
              <a:gd name="T79" fmla="*/ 245 h 512"/>
              <a:gd name="T80" fmla="*/ 138 w 512"/>
              <a:gd name="T81" fmla="*/ 277 h 512"/>
              <a:gd name="T82" fmla="*/ 149 w 512"/>
              <a:gd name="T83" fmla="*/ 266 h 512"/>
              <a:gd name="T84" fmla="*/ 160 w 512"/>
              <a:gd name="T85" fmla="*/ 277 h 512"/>
              <a:gd name="T86" fmla="*/ 160 w 512"/>
              <a:gd name="T87" fmla="*/ 320 h 512"/>
              <a:gd name="T88" fmla="*/ 149 w 512"/>
              <a:gd name="T89" fmla="*/ 330 h 512"/>
              <a:gd name="T90" fmla="*/ 138 w 512"/>
              <a:gd name="T91" fmla="*/ 320 h 512"/>
              <a:gd name="T92" fmla="*/ 138 w 512"/>
              <a:gd name="T93" fmla="*/ 277 h 512"/>
              <a:gd name="T94" fmla="*/ 405 w 512"/>
              <a:gd name="T95" fmla="*/ 373 h 512"/>
              <a:gd name="T96" fmla="*/ 106 w 512"/>
              <a:gd name="T97" fmla="*/ 373 h 512"/>
              <a:gd name="T98" fmla="*/ 96 w 512"/>
              <a:gd name="T99" fmla="*/ 362 h 512"/>
              <a:gd name="T100" fmla="*/ 96 w 512"/>
              <a:gd name="T101" fmla="*/ 149 h 512"/>
              <a:gd name="T102" fmla="*/ 106 w 512"/>
              <a:gd name="T103" fmla="*/ 138 h 512"/>
              <a:gd name="T104" fmla="*/ 117 w 512"/>
              <a:gd name="T105" fmla="*/ 149 h 512"/>
              <a:gd name="T106" fmla="*/ 117 w 512"/>
              <a:gd name="T107" fmla="*/ 352 h 512"/>
              <a:gd name="T108" fmla="*/ 405 w 512"/>
              <a:gd name="T109" fmla="*/ 352 h 512"/>
              <a:gd name="T110" fmla="*/ 416 w 512"/>
              <a:gd name="T111" fmla="*/ 362 h 512"/>
              <a:gd name="T112" fmla="*/ 405 w 512"/>
              <a:gd name="T11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56"/>
                </a:moveTo>
                <a:cubicBezTo>
                  <a:pt x="352" y="250"/>
                  <a:pt x="356" y="245"/>
                  <a:pt x="362" y="245"/>
                </a:cubicBezTo>
                <a:cubicBezTo>
                  <a:pt x="368" y="245"/>
                  <a:pt x="373" y="250"/>
                  <a:pt x="373" y="256"/>
                </a:cubicBezTo>
                <a:cubicBezTo>
                  <a:pt x="373" y="320"/>
                  <a:pt x="373" y="320"/>
                  <a:pt x="373" y="320"/>
                </a:cubicBezTo>
                <a:cubicBezTo>
                  <a:pt x="373" y="326"/>
                  <a:pt x="368" y="330"/>
                  <a:pt x="362" y="330"/>
                </a:cubicBezTo>
                <a:cubicBezTo>
                  <a:pt x="356" y="330"/>
                  <a:pt x="352" y="326"/>
                  <a:pt x="352" y="320"/>
                </a:cubicBezTo>
                <a:lnTo>
                  <a:pt x="352" y="256"/>
                </a:lnTo>
                <a:close/>
                <a:moveTo>
                  <a:pt x="309" y="170"/>
                </a:moveTo>
                <a:cubicBezTo>
                  <a:pt x="309" y="164"/>
                  <a:pt x="314" y="160"/>
                  <a:pt x="320" y="160"/>
                </a:cubicBezTo>
                <a:cubicBezTo>
                  <a:pt x="326" y="160"/>
                  <a:pt x="330" y="164"/>
                  <a:pt x="330" y="170"/>
                </a:cubicBezTo>
                <a:cubicBezTo>
                  <a:pt x="330" y="320"/>
                  <a:pt x="330" y="320"/>
                  <a:pt x="330" y="320"/>
                </a:cubicBezTo>
                <a:cubicBezTo>
                  <a:pt x="330" y="326"/>
                  <a:pt x="326" y="330"/>
                  <a:pt x="320" y="330"/>
                </a:cubicBezTo>
                <a:cubicBezTo>
                  <a:pt x="314" y="330"/>
                  <a:pt x="309" y="326"/>
                  <a:pt x="309" y="320"/>
                </a:cubicBezTo>
                <a:lnTo>
                  <a:pt x="309" y="170"/>
                </a:lnTo>
                <a:close/>
                <a:moveTo>
                  <a:pt x="266" y="202"/>
                </a:moveTo>
                <a:cubicBezTo>
                  <a:pt x="266" y="196"/>
                  <a:pt x="271" y="192"/>
                  <a:pt x="277" y="192"/>
                </a:cubicBezTo>
                <a:cubicBezTo>
                  <a:pt x="283" y="192"/>
                  <a:pt x="288" y="196"/>
                  <a:pt x="288" y="202"/>
                </a:cubicBezTo>
                <a:cubicBezTo>
                  <a:pt x="288" y="320"/>
                  <a:pt x="288" y="320"/>
                  <a:pt x="288" y="320"/>
                </a:cubicBezTo>
                <a:cubicBezTo>
                  <a:pt x="288" y="326"/>
                  <a:pt x="283" y="330"/>
                  <a:pt x="277" y="330"/>
                </a:cubicBezTo>
                <a:cubicBezTo>
                  <a:pt x="271" y="330"/>
                  <a:pt x="266" y="326"/>
                  <a:pt x="266" y="320"/>
                </a:cubicBezTo>
                <a:lnTo>
                  <a:pt x="266" y="202"/>
                </a:lnTo>
                <a:close/>
                <a:moveTo>
                  <a:pt x="224" y="149"/>
                </a:moveTo>
                <a:cubicBezTo>
                  <a:pt x="224" y="143"/>
                  <a:pt x="228" y="138"/>
                  <a:pt x="234" y="138"/>
                </a:cubicBezTo>
                <a:cubicBezTo>
                  <a:pt x="240" y="138"/>
                  <a:pt x="245" y="143"/>
                  <a:pt x="245" y="149"/>
                </a:cubicBezTo>
                <a:cubicBezTo>
                  <a:pt x="245" y="320"/>
                  <a:pt x="245" y="320"/>
                  <a:pt x="245" y="320"/>
                </a:cubicBezTo>
                <a:cubicBezTo>
                  <a:pt x="245" y="326"/>
                  <a:pt x="240" y="330"/>
                  <a:pt x="234" y="330"/>
                </a:cubicBezTo>
                <a:cubicBezTo>
                  <a:pt x="228" y="330"/>
                  <a:pt x="224" y="326"/>
                  <a:pt x="224" y="320"/>
                </a:cubicBezTo>
                <a:lnTo>
                  <a:pt x="224" y="149"/>
                </a:lnTo>
                <a:close/>
                <a:moveTo>
                  <a:pt x="181" y="245"/>
                </a:moveTo>
                <a:cubicBezTo>
                  <a:pt x="181" y="239"/>
                  <a:pt x="186" y="234"/>
                  <a:pt x="192" y="234"/>
                </a:cubicBezTo>
                <a:cubicBezTo>
                  <a:pt x="198" y="234"/>
                  <a:pt x="202" y="239"/>
                  <a:pt x="202" y="245"/>
                </a:cubicBezTo>
                <a:cubicBezTo>
                  <a:pt x="202" y="320"/>
                  <a:pt x="202" y="320"/>
                  <a:pt x="202" y="320"/>
                </a:cubicBezTo>
                <a:cubicBezTo>
                  <a:pt x="202" y="326"/>
                  <a:pt x="198" y="330"/>
                  <a:pt x="192" y="330"/>
                </a:cubicBezTo>
                <a:cubicBezTo>
                  <a:pt x="186" y="330"/>
                  <a:pt x="181" y="326"/>
                  <a:pt x="181" y="320"/>
                </a:cubicBezTo>
                <a:lnTo>
                  <a:pt x="181" y="245"/>
                </a:lnTo>
                <a:close/>
                <a:moveTo>
                  <a:pt x="138" y="277"/>
                </a:moveTo>
                <a:cubicBezTo>
                  <a:pt x="138" y="271"/>
                  <a:pt x="143" y="266"/>
                  <a:pt x="149" y="266"/>
                </a:cubicBezTo>
                <a:cubicBezTo>
                  <a:pt x="155" y="266"/>
                  <a:pt x="160" y="271"/>
                  <a:pt x="160" y="277"/>
                </a:cubicBezTo>
                <a:cubicBezTo>
                  <a:pt x="160" y="320"/>
                  <a:pt x="160" y="320"/>
                  <a:pt x="160" y="320"/>
                </a:cubicBezTo>
                <a:cubicBezTo>
                  <a:pt x="160" y="326"/>
                  <a:pt x="155" y="330"/>
                  <a:pt x="149" y="330"/>
                </a:cubicBezTo>
                <a:cubicBezTo>
                  <a:pt x="143" y="330"/>
                  <a:pt x="138" y="326"/>
                  <a:pt x="138" y="320"/>
                </a:cubicBezTo>
                <a:lnTo>
                  <a:pt x="138" y="277"/>
                </a:ln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27" name="Freeform 644">
            <a:extLst>
              <a:ext uri="{FF2B5EF4-FFF2-40B4-BE49-F238E27FC236}">
                <a16:creationId xmlns:a16="http://schemas.microsoft.com/office/drawing/2014/main" id="{7D10BEC0-3FD8-D241-AEBC-86B31E9A8A09}"/>
              </a:ext>
            </a:extLst>
          </p:cNvPr>
          <p:cNvSpPr>
            <a:spLocks noChangeAspect="1" noEditPoints="1"/>
          </p:cNvSpPr>
          <p:nvPr/>
        </p:nvSpPr>
        <p:spPr bwMode="auto">
          <a:xfrm>
            <a:off x="9886680" y="2022049"/>
            <a:ext cx="729414" cy="72941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397 h 512"/>
              <a:gd name="T12" fmla="*/ 309 w 512"/>
              <a:gd name="T13" fmla="*/ 416 h 512"/>
              <a:gd name="T14" fmla="*/ 295 w 512"/>
              <a:gd name="T15" fmla="*/ 411 h 512"/>
              <a:gd name="T16" fmla="*/ 256 w 512"/>
              <a:gd name="T17" fmla="*/ 416 h 512"/>
              <a:gd name="T18" fmla="*/ 96 w 512"/>
              <a:gd name="T19" fmla="*/ 256 h 512"/>
              <a:gd name="T20" fmla="*/ 107 w 512"/>
              <a:gd name="T21" fmla="*/ 196 h 512"/>
              <a:gd name="T22" fmla="*/ 130 w 512"/>
              <a:gd name="T23" fmla="*/ 157 h 512"/>
              <a:gd name="T24" fmla="*/ 145 w 512"/>
              <a:gd name="T25" fmla="*/ 155 h 512"/>
              <a:gd name="T26" fmla="*/ 147 w 512"/>
              <a:gd name="T27" fmla="*/ 170 h 512"/>
              <a:gd name="T28" fmla="*/ 127 w 512"/>
              <a:gd name="T29" fmla="*/ 204 h 512"/>
              <a:gd name="T30" fmla="*/ 117 w 512"/>
              <a:gd name="T31" fmla="*/ 256 h 512"/>
              <a:gd name="T32" fmla="*/ 256 w 512"/>
              <a:gd name="T33" fmla="*/ 394 h 512"/>
              <a:gd name="T34" fmla="*/ 288 w 512"/>
              <a:gd name="T35" fmla="*/ 390 h 512"/>
              <a:gd name="T36" fmla="*/ 309 w 512"/>
              <a:gd name="T37" fmla="*/ 373 h 512"/>
              <a:gd name="T38" fmla="*/ 322 w 512"/>
              <a:gd name="T39" fmla="*/ 377 h 512"/>
              <a:gd name="T40" fmla="*/ 394 w 512"/>
              <a:gd name="T41" fmla="*/ 256 h 512"/>
              <a:gd name="T42" fmla="*/ 345 w 512"/>
              <a:gd name="T43" fmla="*/ 150 h 512"/>
              <a:gd name="T44" fmla="*/ 326 w 512"/>
              <a:gd name="T45" fmla="*/ 176 h 512"/>
              <a:gd name="T46" fmla="*/ 362 w 512"/>
              <a:gd name="T47" fmla="*/ 256 h 512"/>
              <a:gd name="T48" fmla="*/ 256 w 512"/>
              <a:gd name="T49" fmla="*/ 362 h 512"/>
              <a:gd name="T50" fmla="*/ 151 w 512"/>
              <a:gd name="T51" fmla="*/ 275 h 512"/>
              <a:gd name="T52" fmla="*/ 138 w 512"/>
              <a:gd name="T53" fmla="*/ 256 h 512"/>
              <a:gd name="T54" fmla="*/ 151 w 512"/>
              <a:gd name="T55" fmla="*/ 236 h 512"/>
              <a:gd name="T56" fmla="*/ 155 w 512"/>
              <a:gd name="T57" fmla="*/ 220 h 512"/>
              <a:gd name="T58" fmla="*/ 169 w 512"/>
              <a:gd name="T59" fmla="*/ 214 h 512"/>
              <a:gd name="T60" fmla="*/ 175 w 512"/>
              <a:gd name="T61" fmla="*/ 227 h 512"/>
              <a:gd name="T62" fmla="*/ 172 w 512"/>
              <a:gd name="T63" fmla="*/ 238 h 512"/>
              <a:gd name="T64" fmla="*/ 181 w 512"/>
              <a:gd name="T65" fmla="*/ 256 h 512"/>
              <a:gd name="T66" fmla="*/ 172 w 512"/>
              <a:gd name="T67" fmla="*/ 273 h 512"/>
              <a:gd name="T68" fmla="*/ 256 w 512"/>
              <a:gd name="T69" fmla="*/ 341 h 512"/>
              <a:gd name="T70" fmla="*/ 341 w 512"/>
              <a:gd name="T71" fmla="*/ 256 h 512"/>
              <a:gd name="T72" fmla="*/ 313 w 512"/>
              <a:gd name="T73" fmla="*/ 193 h 512"/>
              <a:gd name="T74" fmla="*/ 295 w 512"/>
              <a:gd name="T75" fmla="*/ 219 h 512"/>
              <a:gd name="T76" fmla="*/ 309 w 512"/>
              <a:gd name="T77" fmla="*/ 256 h 512"/>
              <a:gd name="T78" fmla="*/ 256 w 512"/>
              <a:gd name="T79" fmla="*/ 309 h 512"/>
              <a:gd name="T80" fmla="*/ 202 w 512"/>
              <a:gd name="T81" fmla="*/ 256 h 512"/>
              <a:gd name="T82" fmla="*/ 229 w 512"/>
              <a:gd name="T83" fmla="*/ 209 h 512"/>
              <a:gd name="T84" fmla="*/ 244 w 512"/>
              <a:gd name="T85" fmla="*/ 213 h 512"/>
              <a:gd name="T86" fmla="*/ 240 w 512"/>
              <a:gd name="T87" fmla="*/ 228 h 512"/>
              <a:gd name="T88" fmla="*/ 224 w 512"/>
              <a:gd name="T89" fmla="*/ 256 h 512"/>
              <a:gd name="T90" fmla="*/ 256 w 512"/>
              <a:gd name="T91" fmla="*/ 288 h 512"/>
              <a:gd name="T92" fmla="*/ 288 w 512"/>
              <a:gd name="T93" fmla="*/ 256 h 512"/>
              <a:gd name="T94" fmla="*/ 282 w 512"/>
              <a:gd name="T95" fmla="*/ 237 h 512"/>
              <a:gd name="T96" fmla="*/ 264 w 512"/>
              <a:gd name="T97" fmla="*/ 262 h 512"/>
              <a:gd name="T98" fmla="*/ 256 w 512"/>
              <a:gd name="T99" fmla="*/ 266 h 512"/>
              <a:gd name="T100" fmla="*/ 249 w 512"/>
              <a:gd name="T101" fmla="*/ 264 h 512"/>
              <a:gd name="T102" fmla="*/ 247 w 512"/>
              <a:gd name="T103" fmla="*/ 249 h 512"/>
              <a:gd name="T104" fmla="*/ 354 w 512"/>
              <a:gd name="T105" fmla="*/ 100 h 512"/>
              <a:gd name="T106" fmla="*/ 369 w 512"/>
              <a:gd name="T107" fmla="*/ 98 h 512"/>
              <a:gd name="T108" fmla="*/ 371 w 512"/>
              <a:gd name="T109" fmla="*/ 113 h 512"/>
              <a:gd name="T110" fmla="*/ 357 w 512"/>
              <a:gd name="T111" fmla="*/ 132 h 512"/>
              <a:gd name="T112" fmla="*/ 416 w 512"/>
              <a:gd name="T113" fmla="*/ 256 h 512"/>
              <a:gd name="T114" fmla="*/ 330 w 512"/>
              <a:gd name="T115"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397"/>
                </a:moveTo>
                <a:cubicBezTo>
                  <a:pt x="329" y="408"/>
                  <a:pt x="320" y="416"/>
                  <a:pt x="309" y="416"/>
                </a:cubicBezTo>
                <a:cubicBezTo>
                  <a:pt x="304" y="416"/>
                  <a:pt x="299" y="414"/>
                  <a:pt x="295" y="411"/>
                </a:cubicBezTo>
                <a:cubicBezTo>
                  <a:pt x="283" y="414"/>
                  <a:pt x="269" y="416"/>
                  <a:pt x="256" y="416"/>
                </a:cubicBezTo>
                <a:cubicBezTo>
                  <a:pt x="167" y="416"/>
                  <a:pt x="96" y="344"/>
                  <a:pt x="96" y="256"/>
                </a:cubicBezTo>
                <a:cubicBezTo>
                  <a:pt x="96" y="235"/>
                  <a:pt x="100" y="215"/>
                  <a:pt x="107" y="196"/>
                </a:cubicBezTo>
                <a:cubicBezTo>
                  <a:pt x="113" y="182"/>
                  <a:pt x="120" y="169"/>
                  <a:pt x="130" y="157"/>
                </a:cubicBezTo>
                <a:cubicBezTo>
                  <a:pt x="134" y="152"/>
                  <a:pt x="140" y="151"/>
                  <a:pt x="145" y="155"/>
                </a:cubicBezTo>
                <a:cubicBezTo>
                  <a:pt x="150" y="159"/>
                  <a:pt x="150" y="165"/>
                  <a:pt x="147" y="170"/>
                </a:cubicBezTo>
                <a:cubicBezTo>
                  <a:pt x="138" y="180"/>
                  <a:pt x="132" y="192"/>
                  <a:pt x="127" y="204"/>
                </a:cubicBezTo>
                <a:cubicBezTo>
                  <a:pt x="120" y="220"/>
                  <a:pt x="117" y="238"/>
                  <a:pt x="117" y="256"/>
                </a:cubicBezTo>
                <a:cubicBezTo>
                  <a:pt x="117" y="332"/>
                  <a:pt x="179" y="394"/>
                  <a:pt x="256" y="394"/>
                </a:cubicBezTo>
                <a:cubicBezTo>
                  <a:pt x="267" y="394"/>
                  <a:pt x="278" y="393"/>
                  <a:pt x="288" y="390"/>
                </a:cubicBezTo>
                <a:cubicBezTo>
                  <a:pt x="290" y="380"/>
                  <a:pt x="299" y="373"/>
                  <a:pt x="309" y="373"/>
                </a:cubicBezTo>
                <a:cubicBezTo>
                  <a:pt x="314" y="373"/>
                  <a:pt x="318" y="375"/>
                  <a:pt x="322" y="377"/>
                </a:cubicBezTo>
                <a:cubicBezTo>
                  <a:pt x="365" y="354"/>
                  <a:pt x="394" y="308"/>
                  <a:pt x="394" y="256"/>
                </a:cubicBezTo>
                <a:cubicBezTo>
                  <a:pt x="394" y="214"/>
                  <a:pt x="376" y="176"/>
                  <a:pt x="345" y="150"/>
                </a:cubicBezTo>
                <a:cubicBezTo>
                  <a:pt x="326" y="176"/>
                  <a:pt x="326" y="176"/>
                  <a:pt x="326" y="176"/>
                </a:cubicBezTo>
                <a:cubicBezTo>
                  <a:pt x="349" y="196"/>
                  <a:pt x="362" y="225"/>
                  <a:pt x="362" y="256"/>
                </a:cubicBezTo>
                <a:cubicBezTo>
                  <a:pt x="362" y="314"/>
                  <a:pt x="314" y="362"/>
                  <a:pt x="256" y="362"/>
                </a:cubicBezTo>
                <a:cubicBezTo>
                  <a:pt x="203" y="362"/>
                  <a:pt x="160" y="325"/>
                  <a:pt x="151" y="275"/>
                </a:cubicBezTo>
                <a:cubicBezTo>
                  <a:pt x="143" y="272"/>
                  <a:pt x="138" y="264"/>
                  <a:pt x="138" y="256"/>
                </a:cubicBezTo>
                <a:cubicBezTo>
                  <a:pt x="138" y="247"/>
                  <a:pt x="143" y="240"/>
                  <a:pt x="151" y="236"/>
                </a:cubicBezTo>
                <a:cubicBezTo>
                  <a:pt x="152" y="231"/>
                  <a:pt x="153" y="225"/>
                  <a:pt x="155" y="220"/>
                </a:cubicBezTo>
                <a:cubicBezTo>
                  <a:pt x="157" y="215"/>
                  <a:pt x="163" y="212"/>
                  <a:pt x="169" y="214"/>
                </a:cubicBezTo>
                <a:cubicBezTo>
                  <a:pt x="174" y="216"/>
                  <a:pt x="177" y="222"/>
                  <a:pt x="175" y="227"/>
                </a:cubicBezTo>
                <a:cubicBezTo>
                  <a:pt x="174" y="231"/>
                  <a:pt x="173" y="235"/>
                  <a:pt x="172" y="238"/>
                </a:cubicBezTo>
                <a:cubicBezTo>
                  <a:pt x="177" y="242"/>
                  <a:pt x="181" y="249"/>
                  <a:pt x="181" y="256"/>
                </a:cubicBezTo>
                <a:cubicBezTo>
                  <a:pt x="181" y="263"/>
                  <a:pt x="177" y="269"/>
                  <a:pt x="172" y="273"/>
                </a:cubicBezTo>
                <a:cubicBezTo>
                  <a:pt x="180" y="312"/>
                  <a:pt x="215" y="341"/>
                  <a:pt x="256" y="341"/>
                </a:cubicBezTo>
                <a:cubicBezTo>
                  <a:pt x="303" y="341"/>
                  <a:pt x="341" y="303"/>
                  <a:pt x="341" y="256"/>
                </a:cubicBezTo>
                <a:cubicBezTo>
                  <a:pt x="341" y="232"/>
                  <a:pt x="331" y="209"/>
                  <a:pt x="313" y="193"/>
                </a:cubicBezTo>
                <a:cubicBezTo>
                  <a:pt x="295" y="219"/>
                  <a:pt x="295" y="219"/>
                  <a:pt x="295" y="219"/>
                </a:cubicBezTo>
                <a:cubicBezTo>
                  <a:pt x="304" y="229"/>
                  <a:pt x="309" y="242"/>
                  <a:pt x="309" y="256"/>
                </a:cubicBezTo>
                <a:cubicBezTo>
                  <a:pt x="309" y="285"/>
                  <a:pt x="285" y="309"/>
                  <a:pt x="256" y="309"/>
                </a:cubicBezTo>
                <a:cubicBezTo>
                  <a:pt x="226" y="309"/>
                  <a:pt x="202" y="285"/>
                  <a:pt x="202" y="256"/>
                </a:cubicBezTo>
                <a:cubicBezTo>
                  <a:pt x="202" y="237"/>
                  <a:pt x="213" y="219"/>
                  <a:pt x="229" y="209"/>
                </a:cubicBezTo>
                <a:cubicBezTo>
                  <a:pt x="234" y="207"/>
                  <a:pt x="241" y="208"/>
                  <a:pt x="244" y="213"/>
                </a:cubicBezTo>
                <a:cubicBezTo>
                  <a:pt x="247" y="218"/>
                  <a:pt x="245" y="225"/>
                  <a:pt x="240" y="228"/>
                </a:cubicBezTo>
                <a:cubicBezTo>
                  <a:pt x="230" y="234"/>
                  <a:pt x="224" y="244"/>
                  <a:pt x="224" y="256"/>
                </a:cubicBezTo>
                <a:cubicBezTo>
                  <a:pt x="224" y="273"/>
                  <a:pt x="238" y="288"/>
                  <a:pt x="256" y="288"/>
                </a:cubicBezTo>
                <a:cubicBezTo>
                  <a:pt x="273" y="288"/>
                  <a:pt x="288" y="273"/>
                  <a:pt x="288" y="256"/>
                </a:cubicBezTo>
                <a:cubicBezTo>
                  <a:pt x="288" y="249"/>
                  <a:pt x="286" y="243"/>
                  <a:pt x="282" y="237"/>
                </a:cubicBezTo>
                <a:cubicBezTo>
                  <a:pt x="264" y="262"/>
                  <a:pt x="264" y="262"/>
                  <a:pt x="264" y="262"/>
                </a:cubicBezTo>
                <a:cubicBezTo>
                  <a:pt x="262" y="265"/>
                  <a:pt x="259" y="266"/>
                  <a:pt x="256" y="266"/>
                </a:cubicBezTo>
                <a:cubicBezTo>
                  <a:pt x="254" y="266"/>
                  <a:pt x="251" y="266"/>
                  <a:pt x="249" y="264"/>
                </a:cubicBezTo>
                <a:cubicBezTo>
                  <a:pt x="245" y="261"/>
                  <a:pt x="244" y="254"/>
                  <a:pt x="247" y="249"/>
                </a:cubicBezTo>
                <a:cubicBezTo>
                  <a:pt x="354" y="100"/>
                  <a:pt x="354" y="100"/>
                  <a:pt x="354" y="100"/>
                </a:cubicBezTo>
                <a:cubicBezTo>
                  <a:pt x="357" y="95"/>
                  <a:pt x="364" y="94"/>
                  <a:pt x="369" y="98"/>
                </a:cubicBezTo>
                <a:cubicBezTo>
                  <a:pt x="373" y="101"/>
                  <a:pt x="374" y="108"/>
                  <a:pt x="371" y="113"/>
                </a:cubicBezTo>
                <a:cubicBezTo>
                  <a:pt x="357" y="132"/>
                  <a:pt x="357" y="132"/>
                  <a:pt x="357" y="132"/>
                </a:cubicBezTo>
                <a:cubicBezTo>
                  <a:pt x="394" y="163"/>
                  <a:pt x="416" y="207"/>
                  <a:pt x="416" y="256"/>
                </a:cubicBezTo>
                <a:cubicBezTo>
                  <a:pt x="416" y="317"/>
                  <a:pt x="381" y="370"/>
                  <a:pt x="330" y="397"/>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GB" sz="1350" dirty="0"/>
          </a:p>
        </p:txBody>
      </p:sp>
    </p:spTree>
    <p:custDataLst>
      <p:tags r:id="rId1"/>
    </p:custDataLst>
    <p:extLst>
      <p:ext uri="{BB962C8B-B14F-4D97-AF65-F5344CB8AC3E}">
        <p14:creationId xmlns:p14="http://schemas.microsoft.com/office/powerpoint/2010/main" val="239261948"/>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îş1îdê">
            <a:extLst>
              <a:ext uri="{FF2B5EF4-FFF2-40B4-BE49-F238E27FC236}">
                <a16:creationId xmlns:a16="http://schemas.microsoft.com/office/drawing/2014/main" id="{6C07A372-B112-4B10-9E3D-9D14E1F0B9F8}"/>
              </a:ext>
            </a:extLst>
          </p:cNvPr>
          <p:cNvSpPr txBox="1"/>
          <p:nvPr/>
        </p:nvSpPr>
        <p:spPr>
          <a:xfrm>
            <a:off x="457199" y="1782647"/>
            <a:ext cx="1606058" cy="246221"/>
          </a:xfrm>
          <a:prstGeom prst="rect">
            <a:avLst/>
          </a:prstGeom>
          <a:noFill/>
        </p:spPr>
        <p:txBody>
          <a:bodyPr wrap="square" lIns="0" tIns="0" rIns="0" bIns="0" rtlCol="0" anchor="ctr">
            <a:spAutoFit/>
          </a:bodyPr>
          <a:lstStyle/>
          <a:p>
            <a:r>
              <a:rPr lang="en-US" altLang="zh-CN" sz="1600" b="1" dirty="0">
                <a:latin typeface="+mn-ea"/>
              </a:rPr>
              <a:t>Lorem ipsum</a:t>
            </a:r>
          </a:p>
        </p:txBody>
      </p:sp>
      <p:sp>
        <p:nvSpPr>
          <p:cNvPr id="36" name="îṥľïḋè">
            <a:extLst>
              <a:ext uri="{FF2B5EF4-FFF2-40B4-BE49-F238E27FC236}">
                <a16:creationId xmlns:a16="http://schemas.microsoft.com/office/drawing/2014/main" id="{38D76DCE-2CCE-4E8F-BB3A-E7D7A1FE59FD}"/>
              </a:ext>
            </a:extLst>
          </p:cNvPr>
          <p:cNvSpPr/>
          <p:nvPr/>
        </p:nvSpPr>
        <p:spPr>
          <a:xfrm>
            <a:off x="480266" y="2430599"/>
            <a:ext cx="2441877" cy="2800767"/>
          </a:xfrm>
          <a:prstGeom prst="rect">
            <a:avLst/>
          </a:prstGeom>
          <a:ln w="12700">
            <a:miter lim="400000"/>
          </a:ln>
          <a:extLst>
            <a:ext uri="{C572A759-6A51-4108-AA02-DFA0A04FC94B}">
              <ma14:wrappingTextBoxFlag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xmlns="" val="1"/>
            </a:ext>
          </a:extLst>
        </p:spPr>
        <p:txBody>
          <a:bodyPr wrap="square" lIns="0" tIns="0" rIns="0" bIns="0">
            <a:spAutoFit/>
          </a:bodyPr>
          <a:lstStyle/>
          <a:p>
            <a:r>
              <a:rPr lang="en-US" altLang="zh-CN" sz="1300" b="1" dirty="0">
                <a:latin typeface="+mn-ea"/>
              </a:rPr>
              <a:t>Lorem ipsum </a:t>
            </a:r>
          </a:p>
          <a:p>
            <a:endParaRPr lang="en-US" altLang="zh-CN" sz="1300" dirty="0">
              <a:latin typeface="+mn-ea"/>
            </a:endParaRPr>
          </a:p>
          <a:p>
            <a:r>
              <a:rPr lang="en-US" altLang="zh-CN" sz="1300" dirty="0">
                <a:latin typeface="+mn-ea"/>
              </a:rPr>
              <a:t>This is dummy text it is not here to be read. The is just text to show where you could insert text. The is just text to show where you could insert text. Please replace with your text content here. </a:t>
            </a:r>
          </a:p>
          <a:p>
            <a:pPr marL="171450" indent="-171450">
              <a:buFont typeface="Arial" panose="020B0604020202020204" pitchFamily="34" charset="0"/>
              <a:buChar char="•"/>
            </a:pPr>
            <a:endParaRPr lang="en-US" altLang="zh-CN" sz="1300" dirty="0">
              <a:latin typeface="+mn-ea"/>
            </a:endParaRPr>
          </a:p>
          <a:p>
            <a:pPr marL="171450" indent="-171450">
              <a:buFont typeface="Arial" panose="020B0604020202020204" pitchFamily="34" charset="0"/>
              <a:buChar char="•"/>
            </a:pPr>
            <a:r>
              <a:rPr lang="en-US" altLang="zh-CN" sz="1300" dirty="0">
                <a:latin typeface="+mn-ea"/>
              </a:rPr>
              <a:t>This is dummy text it is not here to be read. The is just text to show where you could insert text. </a:t>
            </a:r>
          </a:p>
        </p:txBody>
      </p:sp>
      <p:sp>
        <p:nvSpPr>
          <p:cNvPr id="37" name="iSļîďe">
            <a:extLst>
              <a:ext uri="{FF2B5EF4-FFF2-40B4-BE49-F238E27FC236}">
                <a16:creationId xmlns:a16="http://schemas.microsoft.com/office/drawing/2014/main" id="{F565B9B4-A190-483E-BDB7-B8444763B450}"/>
              </a:ext>
            </a:extLst>
          </p:cNvPr>
          <p:cNvSpPr txBox="1"/>
          <p:nvPr/>
        </p:nvSpPr>
        <p:spPr>
          <a:xfrm>
            <a:off x="3409765" y="1782647"/>
            <a:ext cx="1600610" cy="246221"/>
          </a:xfrm>
          <a:prstGeom prst="rect">
            <a:avLst/>
          </a:prstGeom>
          <a:noFill/>
        </p:spPr>
        <p:txBody>
          <a:bodyPr wrap="square" lIns="0" tIns="0" rIns="0" bIns="0" rtlCol="0" anchor="ctr">
            <a:spAutoFit/>
          </a:bodyPr>
          <a:lstStyle/>
          <a:p>
            <a:r>
              <a:rPr lang="en-US" altLang="zh-CN" sz="1600" b="1" dirty="0">
                <a:solidFill>
                  <a:srgbClr val="43B02A"/>
                </a:solidFill>
                <a:latin typeface="+mn-ea"/>
              </a:rPr>
              <a:t>Lorem ipsum</a:t>
            </a:r>
          </a:p>
        </p:txBody>
      </p:sp>
      <p:sp>
        <p:nvSpPr>
          <p:cNvPr id="38" name="íṥļíḑè">
            <a:extLst>
              <a:ext uri="{FF2B5EF4-FFF2-40B4-BE49-F238E27FC236}">
                <a16:creationId xmlns:a16="http://schemas.microsoft.com/office/drawing/2014/main" id="{80BE154D-A589-4C76-9BFD-4A0E4AD5B2F5}"/>
              </a:ext>
            </a:extLst>
          </p:cNvPr>
          <p:cNvSpPr/>
          <p:nvPr/>
        </p:nvSpPr>
        <p:spPr>
          <a:xfrm>
            <a:off x="3404369" y="2430599"/>
            <a:ext cx="2472952" cy="2800767"/>
          </a:xfrm>
          <a:prstGeom prst="rect">
            <a:avLst/>
          </a:prstGeom>
          <a:ln w="12700">
            <a:miter lim="400000"/>
          </a:ln>
          <a:extLst>
            <a:ext uri="{C572A759-6A51-4108-AA02-DFA0A04FC94B}">
              <ma14:wrappingTextBoxFlag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xmlns="" val="1"/>
            </a:ext>
          </a:extLst>
        </p:spPr>
        <p:txBody>
          <a:bodyPr wrap="square" lIns="0" tIns="0" rIns="0" bIns="0">
            <a:spAutoFit/>
          </a:bodyPr>
          <a:lstStyle/>
          <a:p>
            <a:r>
              <a:rPr lang="en-US" altLang="zh-CN" sz="1300" b="1" dirty="0">
                <a:latin typeface="+mn-ea"/>
              </a:rPr>
              <a:t>Lorem ipsum </a:t>
            </a:r>
          </a:p>
          <a:p>
            <a:endParaRPr lang="en-US" altLang="zh-CN" sz="1300" dirty="0">
              <a:latin typeface="+mn-ea"/>
            </a:endParaRPr>
          </a:p>
          <a:p>
            <a:r>
              <a:rPr lang="en-US" altLang="zh-CN" sz="1300" dirty="0">
                <a:latin typeface="+mn-ea"/>
              </a:rPr>
              <a:t>This is dummy text it is not here to be read. The is just text to show where you could insert text. The is just text to show where you could insert text. Please replace with your text content here. </a:t>
            </a:r>
          </a:p>
          <a:p>
            <a:pPr marL="171450" indent="-171450">
              <a:buFont typeface="Arial" panose="020B0604020202020204" pitchFamily="34" charset="0"/>
              <a:buChar char="•"/>
            </a:pPr>
            <a:endParaRPr lang="en-US" altLang="zh-CN" sz="1300" dirty="0">
              <a:latin typeface="+mn-ea"/>
            </a:endParaRPr>
          </a:p>
          <a:p>
            <a:pPr marL="171450" indent="-171450">
              <a:buFont typeface="Arial" panose="020B0604020202020204" pitchFamily="34" charset="0"/>
              <a:buChar char="•"/>
            </a:pPr>
            <a:r>
              <a:rPr lang="en-US" altLang="zh-CN" sz="1300" dirty="0">
                <a:latin typeface="+mn-ea"/>
              </a:rPr>
              <a:t>This is dummy text it is not here to be read. The is just text to show where you could insert text. </a:t>
            </a:r>
          </a:p>
        </p:txBody>
      </p:sp>
      <p:sp>
        <p:nvSpPr>
          <p:cNvPr id="39" name="iṡľiḓè">
            <a:extLst>
              <a:ext uri="{FF2B5EF4-FFF2-40B4-BE49-F238E27FC236}">
                <a16:creationId xmlns:a16="http://schemas.microsoft.com/office/drawing/2014/main" id="{23C62F76-A3E8-4FE0-8885-EE0648C91E57}"/>
              </a:ext>
            </a:extLst>
          </p:cNvPr>
          <p:cNvSpPr txBox="1"/>
          <p:nvPr/>
        </p:nvSpPr>
        <p:spPr>
          <a:xfrm>
            <a:off x="6339873" y="1782647"/>
            <a:ext cx="1601210" cy="246221"/>
          </a:xfrm>
          <a:prstGeom prst="rect">
            <a:avLst/>
          </a:prstGeom>
          <a:noFill/>
        </p:spPr>
        <p:txBody>
          <a:bodyPr wrap="square" lIns="0" tIns="0" rIns="0" bIns="0" rtlCol="0" anchor="ctr">
            <a:spAutoFit/>
          </a:bodyPr>
          <a:lstStyle/>
          <a:p>
            <a:r>
              <a:rPr lang="en-US" altLang="zh-CN" sz="1600" b="1" dirty="0">
                <a:solidFill>
                  <a:schemeClr val="accent3"/>
                </a:solidFill>
                <a:latin typeface="+mn-ea"/>
              </a:rPr>
              <a:t>Lorem ipsum</a:t>
            </a:r>
          </a:p>
        </p:txBody>
      </p:sp>
      <p:sp>
        <p:nvSpPr>
          <p:cNvPr id="40" name="ïŝľiḋe">
            <a:extLst>
              <a:ext uri="{FF2B5EF4-FFF2-40B4-BE49-F238E27FC236}">
                <a16:creationId xmlns:a16="http://schemas.microsoft.com/office/drawing/2014/main" id="{9E0EB43C-F7B2-48BF-B23F-55F4E79275B8}"/>
              </a:ext>
            </a:extLst>
          </p:cNvPr>
          <p:cNvSpPr/>
          <p:nvPr/>
        </p:nvSpPr>
        <p:spPr>
          <a:xfrm>
            <a:off x="6359547" y="2430599"/>
            <a:ext cx="2427532" cy="2800767"/>
          </a:xfrm>
          <a:prstGeom prst="rect">
            <a:avLst/>
          </a:prstGeom>
          <a:ln w="12700">
            <a:miter lim="400000"/>
          </a:ln>
          <a:extLst>
            <a:ext uri="{C572A759-6A51-4108-AA02-DFA0A04FC94B}">
              <ma14:wrappingTextBoxFlag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xmlns="" val="1"/>
            </a:ext>
          </a:extLst>
        </p:spPr>
        <p:txBody>
          <a:bodyPr wrap="square" lIns="0" tIns="0" rIns="0" bIns="0">
            <a:spAutoFit/>
          </a:bodyPr>
          <a:lstStyle/>
          <a:p>
            <a:r>
              <a:rPr lang="en-US" altLang="zh-CN" sz="1300" b="1" dirty="0">
                <a:latin typeface="+mn-ea"/>
              </a:rPr>
              <a:t>Lorem ipsum </a:t>
            </a:r>
          </a:p>
          <a:p>
            <a:endParaRPr lang="en-US" altLang="zh-CN" sz="1300" dirty="0">
              <a:latin typeface="+mn-ea"/>
            </a:endParaRPr>
          </a:p>
          <a:p>
            <a:r>
              <a:rPr lang="en-US" altLang="zh-CN" sz="1300" dirty="0">
                <a:latin typeface="+mn-ea"/>
              </a:rPr>
              <a:t>This is dummy text it is not here to be read. The is just text to show where you could insert text. The is just text to show where you could insert text. Please replace with your text content here. </a:t>
            </a:r>
          </a:p>
          <a:p>
            <a:pPr marL="171450" indent="-171450">
              <a:buFont typeface="Arial" panose="020B0604020202020204" pitchFamily="34" charset="0"/>
              <a:buChar char="•"/>
            </a:pPr>
            <a:endParaRPr lang="en-US" altLang="zh-CN" sz="1300" dirty="0">
              <a:latin typeface="+mn-ea"/>
            </a:endParaRPr>
          </a:p>
          <a:p>
            <a:pPr marL="171450" indent="-171450">
              <a:buFont typeface="Arial" panose="020B0604020202020204" pitchFamily="34" charset="0"/>
              <a:buChar char="•"/>
            </a:pPr>
            <a:r>
              <a:rPr lang="en-US" altLang="zh-CN" sz="1300" dirty="0">
                <a:latin typeface="+mn-ea"/>
              </a:rPr>
              <a:t>This is dummy text it is not here to be read. The is just text to show where you could insert text. </a:t>
            </a:r>
          </a:p>
        </p:txBody>
      </p:sp>
      <p:sp>
        <p:nvSpPr>
          <p:cNvPr id="41" name="îṡ1ïde">
            <a:extLst>
              <a:ext uri="{FF2B5EF4-FFF2-40B4-BE49-F238E27FC236}">
                <a16:creationId xmlns:a16="http://schemas.microsoft.com/office/drawing/2014/main" id="{BD6A7846-6E6D-40FD-ADCC-AC7C29229D27}"/>
              </a:ext>
            </a:extLst>
          </p:cNvPr>
          <p:cNvSpPr txBox="1"/>
          <p:nvPr/>
        </p:nvSpPr>
        <p:spPr>
          <a:xfrm>
            <a:off x="9263813" y="1782647"/>
            <a:ext cx="1612813" cy="246221"/>
          </a:xfrm>
          <a:prstGeom prst="rect">
            <a:avLst/>
          </a:prstGeom>
          <a:noFill/>
        </p:spPr>
        <p:txBody>
          <a:bodyPr wrap="square" lIns="0" tIns="0" rIns="0" bIns="0" rtlCol="0" anchor="ctr">
            <a:spAutoFit/>
          </a:bodyPr>
          <a:lstStyle/>
          <a:p>
            <a:r>
              <a:rPr lang="en-US" altLang="zh-CN" sz="1600" b="1" dirty="0">
                <a:solidFill>
                  <a:srgbClr val="86BC25"/>
                </a:solidFill>
                <a:latin typeface="+mn-ea"/>
              </a:rPr>
              <a:t>Lorem ipsum</a:t>
            </a:r>
          </a:p>
        </p:txBody>
      </p:sp>
      <p:sp>
        <p:nvSpPr>
          <p:cNvPr id="42" name="iSľïḓê">
            <a:extLst>
              <a:ext uri="{FF2B5EF4-FFF2-40B4-BE49-F238E27FC236}">
                <a16:creationId xmlns:a16="http://schemas.microsoft.com/office/drawing/2014/main" id="{78FB8181-8B32-4D13-8416-ACAC4D418B49}"/>
              </a:ext>
            </a:extLst>
          </p:cNvPr>
          <p:cNvSpPr/>
          <p:nvPr/>
        </p:nvSpPr>
        <p:spPr>
          <a:xfrm>
            <a:off x="9267190" y="2430599"/>
            <a:ext cx="2459143" cy="2800767"/>
          </a:xfrm>
          <a:prstGeom prst="rect">
            <a:avLst/>
          </a:prstGeom>
          <a:ln w="12700">
            <a:miter lim="400000"/>
          </a:ln>
          <a:extLst>
            <a:ext uri="{C572A759-6A51-4108-AA02-DFA0A04FC94B}">
              <ma14:wrappingTextBoxFlag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xmlns="" val="1"/>
            </a:ext>
          </a:extLst>
        </p:spPr>
        <p:txBody>
          <a:bodyPr wrap="square" lIns="0" tIns="0" rIns="0" bIns="0">
            <a:spAutoFit/>
          </a:bodyPr>
          <a:lstStyle/>
          <a:p>
            <a:r>
              <a:rPr lang="en-US" altLang="zh-CN" sz="1300" b="1" dirty="0">
                <a:latin typeface="+mn-ea"/>
              </a:rPr>
              <a:t>Lorem ipsum </a:t>
            </a:r>
          </a:p>
          <a:p>
            <a:endParaRPr lang="en-US" altLang="zh-CN" sz="1300" dirty="0">
              <a:latin typeface="+mn-ea"/>
            </a:endParaRPr>
          </a:p>
          <a:p>
            <a:r>
              <a:rPr lang="en-US" altLang="zh-CN" sz="1300" dirty="0">
                <a:latin typeface="+mn-ea"/>
              </a:rPr>
              <a:t>This is dummy text it is not here to be read. The is just text to show where you could insert text. The is just text to show where you could insert text. Please replace with your text content here. </a:t>
            </a:r>
          </a:p>
          <a:p>
            <a:pPr marL="171450" indent="-171450">
              <a:buFont typeface="Arial" panose="020B0604020202020204" pitchFamily="34" charset="0"/>
              <a:buChar char="•"/>
            </a:pPr>
            <a:endParaRPr lang="en-US" altLang="zh-CN" sz="1300" dirty="0">
              <a:latin typeface="+mn-ea"/>
            </a:endParaRPr>
          </a:p>
          <a:p>
            <a:pPr marL="171450" indent="-171450">
              <a:buFont typeface="Arial" panose="020B0604020202020204" pitchFamily="34" charset="0"/>
              <a:buChar char="•"/>
            </a:pPr>
            <a:r>
              <a:rPr lang="en-US" altLang="zh-CN" sz="1300" dirty="0">
                <a:latin typeface="+mn-ea"/>
              </a:rPr>
              <a:t>This is dummy text it is not here to be read. The is just text to show where you could insert text. </a:t>
            </a:r>
          </a:p>
        </p:txBody>
      </p:sp>
      <p:sp>
        <p:nvSpPr>
          <p:cNvPr id="45" name="Oval 7">
            <a:extLst>
              <a:ext uri="{FF2B5EF4-FFF2-40B4-BE49-F238E27FC236}">
                <a16:creationId xmlns:a16="http://schemas.microsoft.com/office/drawing/2014/main" id="{EC9190E2-7721-8848-8981-324699EA1560}"/>
              </a:ext>
            </a:extLst>
          </p:cNvPr>
          <p:cNvSpPr>
            <a:spLocks noChangeArrowheads="1"/>
          </p:cNvSpPr>
          <p:nvPr/>
        </p:nvSpPr>
        <p:spPr bwMode="auto">
          <a:xfrm>
            <a:off x="2271968" y="1726445"/>
            <a:ext cx="647886" cy="443922"/>
          </a:xfrm>
          <a:prstGeom prst="triangle">
            <a:avLst/>
          </a:prstGeom>
          <a:solidFill>
            <a:srgbClr val="000000"/>
          </a:solidFill>
          <a:ln>
            <a:noFill/>
          </a:ln>
        </p:spPr>
        <p:txBody>
          <a:bodyPr vert="horz" wrap="square" lIns="0" tIns="0" rIns="0" bIns="0" numCol="1" anchor="b" anchorCtr="0" compatLnSpc="1">
            <a:prstTxWarp prst="textNoShape">
              <a:avLst/>
            </a:prstTxWarp>
          </a:bodyPr>
          <a:lstStyle/>
          <a:p>
            <a:pPr algn="ctr"/>
            <a:r>
              <a:rPr lang="en-US" sz="2000" b="1" dirty="0">
                <a:solidFill>
                  <a:schemeClr val="bg1"/>
                </a:solidFill>
              </a:rPr>
              <a:t>01</a:t>
            </a:r>
          </a:p>
        </p:txBody>
      </p:sp>
      <p:sp>
        <p:nvSpPr>
          <p:cNvPr id="48" name="Oval 7">
            <a:extLst>
              <a:ext uri="{FF2B5EF4-FFF2-40B4-BE49-F238E27FC236}">
                <a16:creationId xmlns:a16="http://schemas.microsoft.com/office/drawing/2014/main" id="{EC9190E2-7721-8848-8981-324699EA1560}"/>
              </a:ext>
            </a:extLst>
          </p:cNvPr>
          <p:cNvSpPr>
            <a:spLocks noChangeArrowheads="1"/>
          </p:cNvSpPr>
          <p:nvPr/>
        </p:nvSpPr>
        <p:spPr bwMode="auto">
          <a:xfrm>
            <a:off x="5224810" y="1726445"/>
            <a:ext cx="647886" cy="443922"/>
          </a:xfrm>
          <a:prstGeom prst="triangle">
            <a:avLst/>
          </a:prstGeom>
          <a:solidFill>
            <a:srgbClr val="009A44"/>
          </a:solidFill>
          <a:ln>
            <a:noFill/>
          </a:ln>
        </p:spPr>
        <p:txBody>
          <a:bodyPr vert="horz" wrap="square" lIns="0" tIns="0" rIns="0" bIns="0" numCol="1" anchor="b" anchorCtr="0" compatLnSpc="1">
            <a:prstTxWarp prst="textNoShape">
              <a:avLst/>
            </a:prstTxWarp>
          </a:bodyPr>
          <a:lstStyle/>
          <a:p>
            <a:pPr algn="ctr"/>
            <a:r>
              <a:rPr lang="en-US" sz="2000" b="1" dirty="0">
                <a:solidFill>
                  <a:schemeClr val="bg1"/>
                </a:solidFill>
              </a:rPr>
              <a:t>0</a:t>
            </a:r>
            <a:r>
              <a:rPr lang="en-US" altLang="zh-CN" sz="2000" b="1" dirty="0">
                <a:solidFill>
                  <a:schemeClr val="bg1"/>
                </a:solidFill>
              </a:rPr>
              <a:t>2</a:t>
            </a:r>
            <a:endParaRPr lang="en-US" sz="2000" b="1" dirty="0">
              <a:solidFill>
                <a:schemeClr val="bg1"/>
              </a:solidFill>
            </a:endParaRPr>
          </a:p>
        </p:txBody>
      </p:sp>
      <p:sp>
        <p:nvSpPr>
          <p:cNvPr id="51" name="Oval 7">
            <a:extLst>
              <a:ext uri="{FF2B5EF4-FFF2-40B4-BE49-F238E27FC236}">
                <a16:creationId xmlns:a16="http://schemas.microsoft.com/office/drawing/2014/main" id="{EC9190E2-7721-8848-8981-324699EA1560}"/>
              </a:ext>
            </a:extLst>
          </p:cNvPr>
          <p:cNvSpPr>
            <a:spLocks noChangeArrowheads="1"/>
          </p:cNvSpPr>
          <p:nvPr/>
        </p:nvSpPr>
        <p:spPr bwMode="auto">
          <a:xfrm>
            <a:off x="8154884" y="1726445"/>
            <a:ext cx="647886" cy="443922"/>
          </a:xfrm>
          <a:prstGeom prst="triangle">
            <a:avLst/>
          </a:prstGeom>
          <a:solidFill>
            <a:schemeClr val="accent3"/>
          </a:solidFill>
          <a:ln>
            <a:noFill/>
          </a:ln>
        </p:spPr>
        <p:txBody>
          <a:bodyPr vert="horz" wrap="square" lIns="0" tIns="0" rIns="0" bIns="0" numCol="1" anchor="b" anchorCtr="0" compatLnSpc="1">
            <a:prstTxWarp prst="textNoShape">
              <a:avLst/>
            </a:prstTxWarp>
          </a:bodyPr>
          <a:lstStyle/>
          <a:p>
            <a:pPr algn="ctr"/>
            <a:r>
              <a:rPr lang="en-US" altLang="zh-CN" sz="2000" b="1" dirty="0">
                <a:solidFill>
                  <a:schemeClr val="bg1"/>
                </a:solidFill>
              </a:rPr>
              <a:t>03</a:t>
            </a:r>
            <a:endParaRPr lang="en-US" sz="2000" b="1" dirty="0">
              <a:solidFill>
                <a:schemeClr val="bg1"/>
              </a:solidFill>
            </a:endParaRPr>
          </a:p>
        </p:txBody>
      </p:sp>
      <p:sp>
        <p:nvSpPr>
          <p:cNvPr id="54" name="Oval 7">
            <a:extLst>
              <a:ext uri="{FF2B5EF4-FFF2-40B4-BE49-F238E27FC236}">
                <a16:creationId xmlns:a16="http://schemas.microsoft.com/office/drawing/2014/main" id="{EC9190E2-7721-8848-8981-324699EA1560}"/>
              </a:ext>
            </a:extLst>
          </p:cNvPr>
          <p:cNvSpPr>
            <a:spLocks noChangeArrowheads="1"/>
          </p:cNvSpPr>
          <p:nvPr/>
        </p:nvSpPr>
        <p:spPr bwMode="auto">
          <a:xfrm>
            <a:off x="11072892" y="1726445"/>
            <a:ext cx="647886" cy="443922"/>
          </a:xfrm>
          <a:prstGeom prst="triangle">
            <a:avLst/>
          </a:prstGeom>
          <a:solidFill>
            <a:srgbClr val="86BC25"/>
          </a:solidFill>
          <a:ln>
            <a:noFill/>
          </a:ln>
        </p:spPr>
        <p:txBody>
          <a:bodyPr vert="horz" wrap="square" lIns="0" tIns="0" rIns="0" bIns="0" numCol="1" anchor="b" anchorCtr="0" compatLnSpc="1">
            <a:prstTxWarp prst="textNoShape">
              <a:avLst/>
            </a:prstTxWarp>
          </a:bodyPr>
          <a:lstStyle/>
          <a:p>
            <a:pPr algn="ctr"/>
            <a:r>
              <a:rPr lang="en-US" altLang="zh-CN" sz="2000" b="1" dirty="0">
                <a:solidFill>
                  <a:schemeClr val="bg1"/>
                </a:solidFill>
              </a:rPr>
              <a:t>04</a:t>
            </a:r>
            <a:endParaRPr lang="en-US" sz="2000" b="1" dirty="0">
              <a:solidFill>
                <a:schemeClr val="bg1"/>
              </a:solidFill>
            </a:endParaRPr>
          </a:p>
        </p:txBody>
      </p:sp>
      <p:sp>
        <p:nvSpPr>
          <p:cNvPr id="56" name="L-Shape 3">
            <a:extLst>
              <a:ext uri="{FF2B5EF4-FFF2-40B4-BE49-F238E27FC236}">
                <a16:creationId xmlns:a16="http://schemas.microsoft.com/office/drawing/2014/main" id="{14BA1BF9-6261-2A49-8398-834582221AAA}"/>
              </a:ext>
            </a:extLst>
          </p:cNvPr>
          <p:cNvSpPr/>
          <p:nvPr/>
        </p:nvSpPr>
        <p:spPr>
          <a:xfrm rot="5400000">
            <a:off x="1673004" y="950743"/>
            <a:ext cx="36000" cy="2467609"/>
          </a:xfrm>
          <a:prstGeom prst="rect">
            <a:avLst/>
          </a:prstGeom>
          <a:solidFill>
            <a:srgbClr val="000000"/>
          </a:solidFill>
          <a:ln>
            <a:noFill/>
          </a:ln>
        </p:spPr>
        <p:style>
          <a:lnRef idx="2">
            <a:scrgbClr r="0" g="0" b="0"/>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59" name="L-Shape 3">
            <a:extLst>
              <a:ext uri="{FF2B5EF4-FFF2-40B4-BE49-F238E27FC236}">
                <a16:creationId xmlns:a16="http://schemas.microsoft.com/office/drawing/2014/main" id="{14BA1BF9-6261-2A49-8398-834582221AAA}"/>
              </a:ext>
            </a:extLst>
          </p:cNvPr>
          <p:cNvSpPr/>
          <p:nvPr/>
        </p:nvSpPr>
        <p:spPr>
          <a:xfrm rot="5400000">
            <a:off x="4622846" y="950742"/>
            <a:ext cx="36000" cy="2467609"/>
          </a:xfrm>
          <a:prstGeom prst="rect">
            <a:avLst/>
          </a:prstGeom>
          <a:solidFill>
            <a:srgbClr val="009A44"/>
          </a:solidFill>
          <a:ln>
            <a:noFill/>
          </a:ln>
        </p:spPr>
        <p:style>
          <a:lnRef idx="2">
            <a:scrgbClr r="0" g="0" b="0"/>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62" name="L-Shape 3">
            <a:extLst>
              <a:ext uri="{FF2B5EF4-FFF2-40B4-BE49-F238E27FC236}">
                <a16:creationId xmlns:a16="http://schemas.microsoft.com/office/drawing/2014/main" id="{14BA1BF9-6261-2A49-8398-834582221AAA}"/>
              </a:ext>
            </a:extLst>
          </p:cNvPr>
          <p:cNvSpPr/>
          <p:nvPr/>
        </p:nvSpPr>
        <p:spPr>
          <a:xfrm rot="5400000">
            <a:off x="7553254" y="950742"/>
            <a:ext cx="36000" cy="2467609"/>
          </a:xfrm>
          <a:prstGeom prst="rect">
            <a:avLst/>
          </a:prstGeom>
          <a:solidFill>
            <a:schemeClr val="accent3"/>
          </a:solidFill>
          <a:ln>
            <a:noFill/>
          </a:ln>
        </p:spPr>
        <p:style>
          <a:lnRef idx="2">
            <a:scrgbClr r="0" g="0" b="0"/>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65" name="L-Shape 3">
            <a:extLst>
              <a:ext uri="{FF2B5EF4-FFF2-40B4-BE49-F238E27FC236}">
                <a16:creationId xmlns:a16="http://schemas.microsoft.com/office/drawing/2014/main" id="{14BA1BF9-6261-2A49-8398-834582221AAA}"/>
              </a:ext>
            </a:extLst>
          </p:cNvPr>
          <p:cNvSpPr/>
          <p:nvPr/>
        </p:nvSpPr>
        <p:spPr>
          <a:xfrm rot="5400000">
            <a:off x="10482995" y="950743"/>
            <a:ext cx="36000" cy="2467609"/>
          </a:xfrm>
          <a:prstGeom prst="rect">
            <a:avLst/>
          </a:prstGeom>
          <a:solidFill>
            <a:srgbClr val="86BC25"/>
          </a:solidFill>
          <a:ln>
            <a:noFill/>
          </a:ln>
        </p:spPr>
        <p:style>
          <a:lnRef idx="2">
            <a:scrgbClr r="0" g="0" b="0"/>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3" name="Isosceles Triangle 2"/>
          <p:cNvSpPr/>
          <p:nvPr/>
        </p:nvSpPr>
        <p:spPr bwMode="gray">
          <a:xfrm rot="10800000">
            <a:off x="1606296" y="2199638"/>
            <a:ext cx="169418" cy="146050"/>
          </a:xfrm>
          <a:prstGeom prst="triangl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3" name="Isosceles Triangle 32"/>
          <p:cNvSpPr/>
          <p:nvPr/>
        </p:nvSpPr>
        <p:spPr bwMode="gray">
          <a:xfrm rot="10800000">
            <a:off x="4556137" y="2199638"/>
            <a:ext cx="169418" cy="146050"/>
          </a:xfrm>
          <a:prstGeom prst="triangle">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4" name="Isosceles Triangle 33"/>
          <p:cNvSpPr/>
          <p:nvPr/>
        </p:nvSpPr>
        <p:spPr bwMode="gray">
          <a:xfrm rot="10800000">
            <a:off x="7486545" y="2199638"/>
            <a:ext cx="169418" cy="146050"/>
          </a:xfrm>
          <a:prstGeom prst="triangl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6" name="Isosceles Triangle 45"/>
          <p:cNvSpPr/>
          <p:nvPr/>
        </p:nvSpPr>
        <p:spPr bwMode="gray">
          <a:xfrm rot="10800000">
            <a:off x="10416286" y="2199638"/>
            <a:ext cx="169418" cy="146050"/>
          </a:xfrm>
          <a:prstGeom prst="triangle">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Tree>
    <p:custDataLst>
      <p:tags r:id="rId1"/>
    </p:custDataLst>
    <p:extLst>
      <p:ext uri="{BB962C8B-B14F-4D97-AF65-F5344CB8AC3E}">
        <p14:creationId xmlns:p14="http://schemas.microsoft.com/office/powerpoint/2010/main" val="4082705617"/>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Snip Same Side Corner Rectangle 93">
            <a:extLst>
              <a:ext uri="{FF2B5EF4-FFF2-40B4-BE49-F238E27FC236}">
                <a16:creationId xmlns:a16="http://schemas.microsoft.com/office/drawing/2014/main" id="{88FE5548-BD7F-274F-BFD3-2AAA9A3F564B}"/>
              </a:ext>
            </a:extLst>
          </p:cNvPr>
          <p:cNvSpPr/>
          <p:nvPr/>
        </p:nvSpPr>
        <p:spPr bwMode="gray">
          <a:xfrm>
            <a:off x="522668" y="1714500"/>
            <a:ext cx="2448952" cy="885106"/>
          </a:xfrm>
          <a:prstGeom prst="snip2SameRect">
            <a:avLst>
              <a:gd name="adj1" fmla="val 0"/>
              <a:gd name="adj2" fmla="val 17936"/>
            </a:avLst>
          </a:prstGeom>
          <a:solidFill>
            <a:schemeClr val="accent3"/>
          </a:solidFill>
          <a:ln w="19050" algn="ctr">
            <a:noFill/>
            <a:miter lim="800000"/>
            <a:headEnd/>
            <a:tailEnd/>
          </a:ln>
        </p:spPr>
        <p:txBody>
          <a:bodyPr wrap="square" lIns="88900" tIns="88900" rIns="88900" bIns="88900" rtlCol="0" anchor="ctr"/>
          <a:lstStyle/>
          <a:p>
            <a:pPr defTabSz="913686">
              <a:buSzPct val="100000"/>
            </a:pPr>
            <a:r>
              <a:rPr lang="en-US" sz="1600" b="1" dirty="0" err="1">
                <a:solidFill>
                  <a:prstClr val="white"/>
                </a:solidFill>
              </a:rPr>
              <a:t>Duis</a:t>
            </a:r>
            <a:r>
              <a:rPr lang="en-US" sz="1600" b="1" dirty="0">
                <a:solidFill>
                  <a:prstClr val="white"/>
                </a:solidFill>
              </a:rPr>
              <a:t> </a:t>
            </a:r>
            <a:r>
              <a:rPr lang="en-US" sz="1600" b="1" dirty="0" err="1">
                <a:solidFill>
                  <a:prstClr val="white"/>
                </a:solidFill>
              </a:rPr>
              <a:t>aute</a:t>
            </a:r>
            <a:r>
              <a:rPr lang="en-US" sz="1600" b="1" dirty="0">
                <a:solidFill>
                  <a:prstClr val="white"/>
                </a:solidFill>
              </a:rPr>
              <a:t> </a:t>
            </a:r>
            <a:r>
              <a:rPr lang="en-US" sz="1600" b="1" dirty="0" err="1">
                <a:solidFill>
                  <a:prstClr val="white"/>
                </a:solidFill>
              </a:rPr>
              <a:t>irure</a:t>
            </a:r>
            <a:endParaRPr lang="en-GB" sz="1600" b="1" dirty="0">
              <a:solidFill>
                <a:prstClr val="white"/>
              </a:solidFill>
            </a:endParaRPr>
          </a:p>
        </p:txBody>
      </p:sp>
      <p:sp>
        <p:nvSpPr>
          <p:cNvPr id="154" name="Snip Same Side Corner Rectangle 153">
            <a:extLst>
              <a:ext uri="{FF2B5EF4-FFF2-40B4-BE49-F238E27FC236}">
                <a16:creationId xmlns:a16="http://schemas.microsoft.com/office/drawing/2014/main" id="{88FE5548-BD7F-274F-BFD3-2AAA9A3F564B}"/>
              </a:ext>
            </a:extLst>
          </p:cNvPr>
          <p:cNvSpPr/>
          <p:nvPr/>
        </p:nvSpPr>
        <p:spPr bwMode="gray">
          <a:xfrm>
            <a:off x="3430946" y="1714500"/>
            <a:ext cx="2448952" cy="885106"/>
          </a:xfrm>
          <a:prstGeom prst="snip2SameRect">
            <a:avLst>
              <a:gd name="adj1" fmla="val 0"/>
              <a:gd name="adj2" fmla="val 17936"/>
            </a:avLst>
          </a:prstGeom>
          <a:solidFill>
            <a:srgbClr val="009A44"/>
          </a:solidFill>
          <a:ln w="19050" algn="ctr">
            <a:noFill/>
            <a:miter lim="800000"/>
            <a:headEnd/>
            <a:tailEnd/>
          </a:ln>
        </p:spPr>
        <p:txBody>
          <a:bodyPr wrap="square" lIns="88900" tIns="88900" rIns="88900" bIns="88900" rtlCol="0" anchor="ctr"/>
          <a:lstStyle/>
          <a:p>
            <a:pPr defTabSz="913686">
              <a:buSzPct val="100000"/>
            </a:pPr>
            <a:r>
              <a:rPr lang="en-US" sz="1600" b="1">
                <a:solidFill>
                  <a:prstClr val="white"/>
                </a:solidFill>
              </a:rPr>
              <a:t>Duis aute irure</a:t>
            </a:r>
            <a:endParaRPr lang="en-GB" sz="1600" b="1" dirty="0">
              <a:solidFill>
                <a:prstClr val="white"/>
              </a:solidFill>
            </a:endParaRPr>
          </a:p>
        </p:txBody>
      </p:sp>
      <p:sp>
        <p:nvSpPr>
          <p:cNvPr id="155" name="Snip Same Side Corner Rectangle 154">
            <a:extLst>
              <a:ext uri="{FF2B5EF4-FFF2-40B4-BE49-F238E27FC236}">
                <a16:creationId xmlns:a16="http://schemas.microsoft.com/office/drawing/2014/main" id="{88FE5548-BD7F-274F-BFD3-2AAA9A3F564B}"/>
              </a:ext>
            </a:extLst>
          </p:cNvPr>
          <p:cNvSpPr/>
          <p:nvPr/>
        </p:nvSpPr>
        <p:spPr bwMode="gray">
          <a:xfrm>
            <a:off x="6339224" y="1714500"/>
            <a:ext cx="2448952" cy="885106"/>
          </a:xfrm>
          <a:prstGeom prst="snip2SameRect">
            <a:avLst>
              <a:gd name="adj1" fmla="val 0"/>
              <a:gd name="adj2" fmla="val 17936"/>
            </a:avLst>
          </a:prstGeom>
          <a:solidFill>
            <a:srgbClr val="43B02A"/>
          </a:solidFill>
          <a:ln w="19050" algn="ctr">
            <a:noFill/>
            <a:miter lim="800000"/>
            <a:headEnd/>
            <a:tailEnd/>
          </a:ln>
        </p:spPr>
        <p:txBody>
          <a:bodyPr wrap="square" lIns="88900" tIns="88900" rIns="88900" bIns="88900" rtlCol="0" anchor="ctr"/>
          <a:lstStyle/>
          <a:p>
            <a:pPr defTabSz="913686">
              <a:buSzPct val="100000"/>
            </a:pPr>
            <a:r>
              <a:rPr lang="en-US" sz="1600" b="1">
                <a:solidFill>
                  <a:prstClr val="white"/>
                </a:solidFill>
              </a:rPr>
              <a:t>Duis aute irure</a:t>
            </a:r>
            <a:endParaRPr lang="en-GB" sz="1600" b="1" dirty="0">
              <a:solidFill>
                <a:prstClr val="white"/>
              </a:solidFill>
            </a:endParaRPr>
          </a:p>
        </p:txBody>
      </p:sp>
      <p:sp>
        <p:nvSpPr>
          <p:cNvPr id="156" name="Snip Same Side Corner Rectangle 155">
            <a:extLst>
              <a:ext uri="{FF2B5EF4-FFF2-40B4-BE49-F238E27FC236}">
                <a16:creationId xmlns:a16="http://schemas.microsoft.com/office/drawing/2014/main" id="{88FE5548-BD7F-274F-BFD3-2AAA9A3F564B}"/>
              </a:ext>
            </a:extLst>
          </p:cNvPr>
          <p:cNvSpPr/>
          <p:nvPr/>
        </p:nvSpPr>
        <p:spPr bwMode="gray">
          <a:xfrm>
            <a:off x="9247501" y="1714500"/>
            <a:ext cx="2448952" cy="885106"/>
          </a:xfrm>
          <a:prstGeom prst="snip2SameRect">
            <a:avLst>
              <a:gd name="adj1" fmla="val 0"/>
              <a:gd name="adj2" fmla="val 17936"/>
            </a:avLst>
          </a:prstGeom>
          <a:solidFill>
            <a:srgbClr val="000000"/>
          </a:solidFill>
          <a:ln w="19050" algn="ctr">
            <a:noFill/>
            <a:miter lim="800000"/>
            <a:headEnd/>
            <a:tailEnd/>
          </a:ln>
        </p:spPr>
        <p:txBody>
          <a:bodyPr wrap="square" lIns="88900" tIns="88900" rIns="88900" bIns="88900" rtlCol="0" anchor="ctr"/>
          <a:lstStyle/>
          <a:p>
            <a:pPr defTabSz="913686">
              <a:buSzPct val="100000"/>
            </a:pPr>
            <a:r>
              <a:rPr lang="en-US" sz="1600" b="1">
                <a:solidFill>
                  <a:prstClr val="white"/>
                </a:solidFill>
              </a:rPr>
              <a:t>Duis aute irure</a:t>
            </a:r>
            <a:endParaRPr lang="en-GB" sz="1600" b="1" dirty="0">
              <a:solidFill>
                <a:prstClr val="white"/>
              </a:solidFill>
            </a:endParaRPr>
          </a:p>
        </p:txBody>
      </p:sp>
      <p:grpSp>
        <p:nvGrpSpPr>
          <p:cNvPr id="36" name="Group 226">
            <a:extLst>
              <a:ext uri="{FF2B5EF4-FFF2-40B4-BE49-F238E27FC236}">
                <a16:creationId xmlns:a16="http://schemas.microsoft.com/office/drawing/2014/main" id="{A20E0139-1FAF-504B-B45A-A50C09C4EA7F}"/>
              </a:ext>
            </a:extLst>
          </p:cNvPr>
          <p:cNvGrpSpPr>
            <a:grpSpLocks noChangeAspect="1"/>
          </p:cNvGrpSpPr>
          <p:nvPr/>
        </p:nvGrpSpPr>
        <p:grpSpPr bwMode="auto">
          <a:xfrm>
            <a:off x="2267994" y="1810102"/>
            <a:ext cx="585013" cy="585013"/>
            <a:chOff x="5048" y="783"/>
            <a:chExt cx="340" cy="340"/>
          </a:xfrm>
          <a:solidFill>
            <a:schemeClr val="bg1"/>
          </a:solidFill>
        </p:grpSpPr>
        <p:sp>
          <p:nvSpPr>
            <p:cNvPr id="37" name="Freeform 227">
              <a:extLst>
                <a:ext uri="{FF2B5EF4-FFF2-40B4-BE49-F238E27FC236}">
                  <a16:creationId xmlns:a16="http://schemas.microsoft.com/office/drawing/2014/main" id="{19C4059A-9D76-CB47-BD59-EF11EF9FBAAD}"/>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38" name="Freeform 228">
              <a:extLst>
                <a:ext uri="{FF2B5EF4-FFF2-40B4-BE49-F238E27FC236}">
                  <a16:creationId xmlns:a16="http://schemas.microsoft.com/office/drawing/2014/main" id="{168C7E55-261A-0444-BDA1-468713C7F370}"/>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sp>
        <p:nvSpPr>
          <p:cNvPr id="48" name="Snip Same Side Corner Rectangle 47">
            <a:extLst>
              <a:ext uri="{FF2B5EF4-FFF2-40B4-BE49-F238E27FC236}">
                <a16:creationId xmlns:a16="http://schemas.microsoft.com/office/drawing/2014/main" id="{B6BC6832-C990-7D40-BEC0-C3DA712FB0AE}"/>
              </a:ext>
            </a:extLst>
          </p:cNvPr>
          <p:cNvSpPr/>
          <p:nvPr/>
        </p:nvSpPr>
        <p:spPr bwMode="gray">
          <a:xfrm>
            <a:off x="9247501" y="2963501"/>
            <a:ext cx="2448952" cy="2867385"/>
          </a:xfrm>
          <a:prstGeom prst="snip2SameRect">
            <a:avLst>
              <a:gd name="adj1" fmla="val 5515"/>
              <a:gd name="adj2" fmla="val 0"/>
            </a:avLst>
          </a:prstGeom>
          <a:solidFill>
            <a:srgbClr val="53565A"/>
          </a:solidFill>
          <a:ln w="19050" algn="ctr">
            <a:noFill/>
            <a:miter lim="800000"/>
            <a:headEnd/>
            <a:tailEnd/>
          </a:ln>
        </p:spPr>
        <p:txBody>
          <a:bodyPr rot="0" spcFirstLastPara="0" vertOverflow="overflow" horzOverflow="overflow" vert="horz" wrap="square" lIns="0" tIns="137160" rIns="0" bIns="45720" numCol="1" spcCol="0" rtlCol="0" fromWordArt="0" anchor="t" anchorCtr="0" forceAA="0" compatLnSpc="1">
            <a:prstTxWarp prst="textNoShape">
              <a:avLst/>
            </a:prstTxWarp>
            <a:noAutofit/>
          </a:bodyPr>
          <a:lstStyle/>
          <a:p>
            <a:pPr marL="171450" indent="-171450" defTabSz="913686">
              <a:buFont typeface="Arial" panose="020B0604020202020204" pitchFamily="34" charset="0"/>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endParaRPr lang="en-GB" sz="1300" dirty="0">
              <a:solidFill>
                <a:prstClr val="white"/>
              </a:solidFill>
            </a:endParaRPr>
          </a:p>
        </p:txBody>
      </p:sp>
      <p:grpSp>
        <p:nvGrpSpPr>
          <p:cNvPr id="143" name="Group 142">
            <a:extLst>
              <a:ext uri="{FF2B5EF4-FFF2-40B4-BE49-F238E27FC236}">
                <a16:creationId xmlns:a16="http://schemas.microsoft.com/office/drawing/2014/main" id="{A0FE122A-D66A-6349-A169-0C506C4487F9}"/>
              </a:ext>
            </a:extLst>
          </p:cNvPr>
          <p:cNvGrpSpPr>
            <a:grpSpLocks noChangeAspect="1"/>
          </p:cNvGrpSpPr>
          <p:nvPr/>
        </p:nvGrpSpPr>
        <p:grpSpPr bwMode="auto">
          <a:xfrm>
            <a:off x="5171603" y="1810102"/>
            <a:ext cx="585013" cy="585013"/>
            <a:chOff x="378" y="713"/>
            <a:chExt cx="340" cy="340"/>
          </a:xfrm>
          <a:solidFill>
            <a:schemeClr val="bg1"/>
          </a:solidFill>
        </p:grpSpPr>
        <p:sp>
          <p:nvSpPr>
            <p:cNvPr id="144" name="Freeform 143">
              <a:extLst>
                <a:ext uri="{FF2B5EF4-FFF2-40B4-BE49-F238E27FC236}">
                  <a16:creationId xmlns:a16="http://schemas.microsoft.com/office/drawing/2014/main" id="{2D6F58CF-AA62-6D43-91E8-F9B771D7AC69}"/>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145" name="Freeform 144">
              <a:extLst>
                <a:ext uri="{FF2B5EF4-FFF2-40B4-BE49-F238E27FC236}">
                  <a16:creationId xmlns:a16="http://schemas.microsoft.com/office/drawing/2014/main" id="{E370987C-CF45-3A41-A085-6640BB15DC2E}"/>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grpSp>
        <p:nvGrpSpPr>
          <p:cNvPr id="146" name="Group 423">
            <a:extLst>
              <a:ext uri="{FF2B5EF4-FFF2-40B4-BE49-F238E27FC236}">
                <a16:creationId xmlns:a16="http://schemas.microsoft.com/office/drawing/2014/main" id="{975BA089-FE8C-444F-AC64-4F97762E64E0}"/>
              </a:ext>
            </a:extLst>
          </p:cNvPr>
          <p:cNvGrpSpPr>
            <a:grpSpLocks noChangeAspect="1"/>
          </p:cNvGrpSpPr>
          <p:nvPr/>
        </p:nvGrpSpPr>
        <p:grpSpPr bwMode="auto">
          <a:xfrm>
            <a:off x="10978821" y="1810102"/>
            <a:ext cx="585013" cy="585013"/>
            <a:chOff x="4285" y="1550"/>
            <a:chExt cx="340" cy="340"/>
          </a:xfrm>
          <a:solidFill>
            <a:schemeClr val="bg1"/>
          </a:solidFill>
        </p:grpSpPr>
        <p:sp>
          <p:nvSpPr>
            <p:cNvPr id="147" name="Freeform 424">
              <a:extLst>
                <a:ext uri="{FF2B5EF4-FFF2-40B4-BE49-F238E27FC236}">
                  <a16:creationId xmlns:a16="http://schemas.microsoft.com/office/drawing/2014/main" id="{AAC76694-7B02-AB46-A61C-887EAAB69F32}"/>
                </a:ext>
              </a:extLst>
            </p:cNvPr>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148" name="Freeform 425">
              <a:extLst>
                <a:ext uri="{FF2B5EF4-FFF2-40B4-BE49-F238E27FC236}">
                  <a16:creationId xmlns:a16="http://schemas.microsoft.com/office/drawing/2014/main" id="{C0463B43-50EB-0049-A37F-BBEFBE7862C1}"/>
                </a:ext>
              </a:extLst>
            </p:cNvPr>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grpSp>
        <p:nvGrpSpPr>
          <p:cNvPr id="149" name="Group 99">
            <a:extLst>
              <a:ext uri="{FF2B5EF4-FFF2-40B4-BE49-F238E27FC236}">
                <a16:creationId xmlns:a16="http://schemas.microsoft.com/office/drawing/2014/main" id="{22C196F8-DCD7-EE4C-BDC7-C9ED82664720}"/>
              </a:ext>
            </a:extLst>
          </p:cNvPr>
          <p:cNvGrpSpPr>
            <a:grpSpLocks noChangeAspect="1"/>
          </p:cNvGrpSpPr>
          <p:nvPr/>
        </p:nvGrpSpPr>
        <p:grpSpPr bwMode="auto">
          <a:xfrm>
            <a:off x="8075212" y="1810102"/>
            <a:ext cx="585013" cy="585013"/>
            <a:chOff x="390" y="346"/>
            <a:chExt cx="340" cy="340"/>
          </a:xfrm>
          <a:solidFill>
            <a:schemeClr val="bg1"/>
          </a:solidFill>
        </p:grpSpPr>
        <p:sp>
          <p:nvSpPr>
            <p:cNvPr id="150" name="Freeform 100">
              <a:extLst>
                <a:ext uri="{FF2B5EF4-FFF2-40B4-BE49-F238E27FC236}">
                  <a16:creationId xmlns:a16="http://schemas.microsoft.com/office/drawing/2014/main" id="{9CE2789E-6901-E04E-88A8-1BC0D287943E}"/>
                </a:ext>
              </a:extLst>
            </p:cNvPr>
            <p:cNvSpPr>
              <a:spLocks noEditPoints="1"/>
            </p:cNvSpPr>
            <p:nvPr/>
          </p:nvSpPr>
          <p:spPr bwMode="auto">
            <a:xfrm>
              <a:off x="390" y="34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151" name="Freeform 101">
              <a:extLst>
                <a:ext uri="{FF2B5EF4-FFF2-40B4-BE49-F238E27FC236}">
                  <a16:creationId xmlns:a16="http://schemas.microsoft.com/office/drawing/2014/main" id="{E638DF06-E89D-354F-B8CA-0638B703171A}"/>
                </a:ext>
              </a:extLst>
            </p:cNvPr>
            <p:cNvSpPr>
              <a:spLocks/>
            </p:cNvSpPr>
            <p:nvPr/>
          </p:nvSpPr>
          <p:spPr bwMode="auto">
            <a:xfrm>
              <a:off x="468" y="433"/>
              <a:ext cx="160" cy="189"/>
            </a:xfrm>
            <a:custGeom>
              <a:avLst/>
              <a:gdLst>
                <a:gd name="T0" fmla="*/ 223 w 242"/>
                <a:gd name="T1" fmla="*/ 188 h 285"/>
                <a:gd name="T2" fmla="*/ 141 w 242"/>
                <a:gd name="T3" fmla="*/ 221 h 285"/>
                <a:gd name="T4" fmla="*/ 21 w 242"/>
                <a:gd name="T5" fmla="*/ 101 h 285"/>
                <a:gd name="T6" fmla="*/ 54 w 242"/>
                <a:gd name="T7" fmla="*/ 19 h 285"/>
                <a:gd name="T8" fmla="*/ 53 w 242"/>
                <a:gd name="T9" fmla="*/ 4 h 285"/>
                <a:gd name="T10" fmla="*/ 38 w 242"/>
                <a:gd name="T11" fmla="*/ 5 h 285"/>
                <a:gd name="T12" fmla="*/ 0 w 242"/>
                <a:gd name="T13" fmla="*/ 101 h 285"/>
                <a:gd name="T14" fmla="*/ 128 w 242"/>
                <a:gd name="T15" fmla="*/ 241 h 285"/>
                <a:gd name="T16" fmla="*/ 128 w 242"/>
                <a:gd name="T17" fmla="*/ 263 h 285"/>
                <a:gd name="T18" fmla="*/ 75 w 242"/>
                <a:gd name="T19" fmla="*/ 263 h 285"/>
                <a:gd name="T20" fmla="*/ 64 w 242"/>
                <a:gd name="T21" fmla="*/ 274 h 285"/>
                <a:gd name="T22" fmla="*/ 75 w 242"/>
                <a:gd name="T23" fmla="*/ 285 h 285"/>
                <a:gd name="T24" fmla="*/ 203 w 242"/>
                <a:gd name="T25" fmla="*/ 285 h 285"/>
                <a:gd name="T26" fmla="*/ 213 w 242"/>
                <a:gd name="T27" fmla="*/ 274 h 285"/>
                <a:gd name="T28" fmla="*/ 203 w 242"/>
                <a:gd name="T29" fmla="*/ 263 h 285"/>
                <a:gd name="T30" fmla="*/ 149 w 242"/>
                <a:gd name="T31" fmla="*/ 263 h 285"/>
                <a:gd name="T32" fmla="*/ 149 w 242"/>
                <a:gd name="T33" fmla="*/ 242 h 285"/>
                <a:gd name="T34" fmla="*/ 237 w 242"/>
                <a:gd name="T35" fmla="*/ 204 h 285"/>
                <a:gd name="T36" fmla="*/ 238 w 242"/>
                <a:gd name="T37" fmla="*/ 189 h 285"/>
                <a:gd name="T38" fmla="*/ 223 w 242"/>
                <a:gd name="T39" fmla="*/ 18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285">
                  <a:moveTo>
                    <a:pt x="223" y="188"/>
                  </a:moveTo>
                  <a:cubicBezTo>
                    <a:pt x="200" y="209"/>
                    <a:pt x="171" y="221"/>
                    <a:pt x="141" y="221"/>
                  </a:cubicBezTo>
                  <a:cubicBezTo>
                    <a:pt x="75" y="221"/>
                    <a:pt x="21" y="167"/>
                    <a:pt x="21" y="101"/>
                  </a:cubicBezTo>
                  <a:cubicBezTo>
                    <a:pt x="21" y="71"/>
                    <a:pt x="33" y="42"/>
                    <a:pt x="54" y="19"/>
                  </a:cubicBezTo>
                  <a:cubicBezTo>
                    <a:pt x="58" y="15"/>
                    <a:pt x="58" y="8"/>
                    <a:pt x="53" y="4"/>
                  </a:cubicBezTo>
                  <a:cubicBezTo>
                    <a:pt x="49" y="0"/>
                    <a:pt x="42" y="1"/>
                    <a:pt x="38" y="5"/>
                  </a:cubicBezTo>
                  <a:cubicBezTo>
                    <a:pt x="14" y="31"/>
                    <a:pt x="0" y="65"/>
                    <a:pt x="0" y="101"/>
                  </a:cubicBezTo>
                  <a:cubicBezTo>
                    <a:pt x="0" y="175"/>
                    <a:pt x="56" y="235"/>
                    <a:pt x="128" y="241"/>
                  </a:cubicBezTo>
                  <a:cubicBezTo>
                    <a:pt x="128" y="263"/>
                    <a:pt x="128" y="263"/>
                    <a:pt x="128" y="263"/>
                  </a:cubicBezTo>
                  <a:cubicBezTo>
                    <a:pt x="75" y="263"/>
                    <a:pt x="75" y="263"/>
                    <a:pt x="75" y="263"/>
                  </a:cubicBezTo>
                  <a:cubicBezTo>
                    <a:pt x="69" y="263"/>
                    <a:pt x="64" y="268"/>
                    <a:pt x="64" y="274"/>
                  </a:cubicBezTo>
                  <a:cubicBezTo>
                    <a:pt x="64" y="280"/>
                    <a:pt x="69" y="285"/>
                    <a:pt x="75" y="285"/>
                  </a:cubicBezTo>
                  <a:cubicBezTo>
                    <a:pt x="203" y="285"/>
                    <a:pt x="203" y="285"/>
                    <a:pt x="203" y="285"/>
                  </a:cubicBezTo>
                  <a:cubicBezTo>
                    <a:pt x="209" y="285"/>
                    <a:pt x="213" y="280"/>
                    <a:pt x="213" y="274"/>
                  </a:cubicBezTo>
                  <a:cubicBezTo>
                    <a:pt x="213" y="268"/>
                    <a:pt x="209" y="263"/>
                    <a:pt x="203" y="263"/>
                  </a:cubicBezTo>
                  <a:cubicBezTo>
                    <a:pt x="149" y="263"/>
                    <a:pt x="149" y="263"/>
                    <a:pt x="149" y="263"/>
                  </a:cubicBezTo>
                  <a:cubicBezTo>
                    <a:pt x="149" y="242"/>
                    <a:pt x="149" y="242"/>
                    <a:pt x="149" y="242"/>
                  </a:cubicBezTo>
                  <a:cubicBezTo>
                    <a:pt x="182" y="240"/>
                    <a:pt x="213" y="226"/>
                    <a:pt x="237" y="204"/>
                  </a:cubicBezTo>
                  <a:cubicBezTo>
                    <a:pt x="241" y="200"/>
                    <a:pt x="242" y="193"/>
                    <a:pt x="238" y="189"/>
                  </a:cubicBezTo>
                  <a:cubicBezTo>
                    <a:pt x="234" y="184"/>
                    <a:pt x="227" y="184"/>
                    <a:pt x="223" y="18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152" name="Freeform 102">
              <a:extLst>
                <a:ext uri="{FF2B5EF4-FFF2-40B4-BE49-F238E27FC236}">
                  <a16:creationId xmlns:a16="http://schemas.microsoft.com/office/drawing/2014/main" id="{ADB22751-1D01-7F4A-B78B-DE1283152873}"/>
                </a:ext>
              </a:extLst>
            </p:cNvPr>
            <p:cNvSpPr>
              <a:spLocks noEditPoints="1"/>
            </p:cNvSpPr>
            <p:nvPr/>
          </p:nvSpPr>
          <p:spPr bwMode="auto">
            <a:xfrm>
              <a:off x="492" y="431"/>
              <a:ext cx="138" cy="138"/>
            </a:xfrm>
            <a:custGeom>
              <a:avLst/>
              <a:gdLst>
                <a:gd name="T0" fmla="*/ 104 w 208"/>
                <a:gd name="T1" fmla="*/ 208 h 208"/>
                <a:gd name="T2" fmla="*/ 208 w 208"/>
                <a:gd name="T3" fmla="*/ 104 h 208"/>
                <a:gd name="T4" fmla="*/ 104 w 208"/>
                <a:gd name="T5" fmla="*/ 0 h 208"/>
                <a:gd name="T6" fmla="*/ 0 w 208"/>
                <a:gd name="T7" fmla="*/ 104 h 208"/>
                <a:gd name="T8" fmla="*/ 104 w 208"/>
                <a:gd name="T9" fmla="*/ 208 h 208"/>
                <a:gd name="T10" fmla="*/ 104 w 208"/>
                <a:gd name="T11" fmla="*/ 22 h 208"/>
                <a:gd name="T12" fmla="*/ 186 w 208"/>
                <a:gd name="T13" fmla="*/ 104 h 208"/>
                <a:gd name="T14" fmla="*/ 104 w 208"/>
                <a:gd name="T15" fmla="*/ 187 h 208"/>
                <a:gd name="T16" fmla="*/ 21 w 208"/>
                <a:gd name="T17" fmla="*/ 104 h 208"/>
                <a:gd name="T18" fmla="*/ 104 w 208"/>
                <a:gd name="T19" fmla="*/ 2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161" y="208"/>
                    <a:pt x="208" y="162"/>
                    <a:pt x="208" y="104"/>
                  </a:cubicBezTo>
                  <a:cubicBezTo>
                    <a:pt x="208" y="47"/>
                    <a:pt x="161" y="0"/>
                    <a:pt x="104" y="0"/>
                  </a:cubicBezTo>
                  <a:cubicBezTo>
                    <a:pt x="46" y="0"/>
                    <a:pt x="0" y="47"/>
                    <a:pt x="0" y="104"/>
                  </a:cubicBezTo>
                  <a:cubicBezTo>
                    <a:pt x="0" y="162"/>
                    <a:pt x="46" y="208"/>
                    <a:pt x="104" y="208"/>
                  </a:cubicBezTo>
                  <a:close/>
                  <a:moveTo>
                    <a:pt x="104" y="22"/>
                  </a:moveTo>
                  <a:cubicBezTo>
                    <a:pt x="149" y="22"/>
                    <a:pt x="186" y="59"/>
                    <a:pt x="186" y="104"/>
                  </a:cubicBezTo>
                  <a:cubicBezTo>
                    <a:pt x="186" y="150"/>
                    <a:pt x="149" y="187"/>
                    <a:pt x="104" y="187"/>
                  </a:cubicBezTo>
                  <a:cubicBezTo>
                    <a:pt x="58" y="187"/>
                    <a:pt x="21" y="150"/>
                    <a:pt x="21" y="104"/>
                  </a:cubicBezTo>
                  <a:cubicBezTo>
                    <a:pt x="21" y="59"/>
                    <a:pt x="58" y="22"/>
                    <a:pt x="104" y="2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sp>
        <p:nvSpPr>
          <p:cNvPr id="91" name="Snip Same Side Corner Rectangle 90">
            <a:extLst>
              <a:ext uri="{FF2B5EF4-FFF2-40B4-BE49-F238E27FC236}">
                <a16:creationId xmlns:a16="http://schemas.microsoft.com/office/drawing/2014/main" id="{B6BC6832-C990-7D40-BEC0-C3DA712FB0AE}"/>
              </a:ext>
            </a:extLst>
          </p:cNvPr>
          <p:cNvSpPr/>
          <p:nvPr/>
        </p:nvSpPr>
        <p:spPr bwMode="gray">
          <a:xfrm>
            <a:off x="6339224" y="2963501"/>
            <a:ext cx="2448952" cy="2867385"/>
          </a:xfrm>
          <a:prstGeom prst="snip2SameRect">
            <a:avLst>
              <a:gd name="adj1" fmla="val 5515"/>
              <a:gd name="adj2" fmla="val 0"/>
            </a:avLst>
          </a:prstGeom>
          <a:solidFill>
            <a:srgbClr val="86BC25"/>
          </a:solidFill>
          <a:ln w="19050" algn="ctr">
            <a:noFill/>
            <a:miter lim="800000"/>
            <a:headEnd/>
            <a:tailEnd/>
          </a:ln>
        </p:spPr>
        <p:txBody>
          <a:bodyPr rot="0" spcFirstLastPara="0" vertOverflow="overflow" horzOverflow="overflow" vert="horz" wrap="square" lIns="0" tIns="137160" rIns="0" bIns="45720" numCol="1" spcCol="0" rtlCol="0" fromWordArt="0" anchor="t" anchorCtr="0" forceAA="0" compatLnSpc="1">
            <a:prstTxWarp prst="textNoShape">
              <a:avLst/>
            </a:prstTxWarp>
            <a:noAutofit/>
          </a:bodyPr>
          <a:lstStyle/>
          <a:p>
            <a:pPr marL="171450" indent="-171450" defTabSz="913686">
              <a:buFont typeface="Arial" panose="020B0604020202020204" pitchFamily="34" charset="0"/>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endParaRPr lang="en-GB" sz="1300" dirty="0">
              <a:solidFill>
                <a:prstClr val="white"/>
              </a:solidFill>
            </a:endParaRPr>
          </a:p>
        </p:txBody>
      </p:sp>
      <p:sp>
        <p:nvSpPr>
          <p:cNvPr id="93" name="Snip Same Side Corner Rectangle 92">
            <a:extLst>
              <a:ext uri="{FF2B5EF4-FFF2-40B4-BE49-F238E27FC236}">
                <a16:creationId xmlns:a16="http://schemas.microsoft.com/office/drawing/2014/main" id="{B6BC6832-C990-7D40-BEC0-C3DA712FB0AE}"/>
              </a:ext>
            </a:extLst>
          </p:cNvPr>
          <p:cNvSpPr/>
          <p:nvPr/>
        </p:nvSpPr>
        <p:spPr bwMode="gray">
          <a:xfrm>
            <a:off x="3430946" y="2963501"/>
            <a:ext cx="2448952" cy="2867385"/>
          </a:xfrm>
          <a:prstGeom prst="snip2SameRect">
            <a:avLst>
              <a:gd name="adj1" fmla="val 5515"/>
              <a:gd name="adj2" fmla="val 0"/>
            </a:avLst>
          </a:prstGeom>
          <a:solidFill>
            <a:srgbClr val="43B02A"/>
          </a:solidFill>
          <a:ln w="19050" algn="ctr">
            <a:noFill/>
            <a:miter lim="800000"/>
            <a:headEnd/>
            <a:tailEnd/>
          </a:ln>
        </p:spPr>
        <p:txBody>
          <a:bodyPr rot="0" spcFirstLastPara="0" vertOverflow="overflow" horzOverflow="overflow" vert="horz" wrap="square" lIns="0" tIns="137160" rIns="0" bIns="45720" numCol="1" spcCol="0" rtlCol="0" fromWordArt="0" anchor="t" anchorCtr="0" forceAA="0" compatLnSpc="1">
            <a:prstTxWarp prst="textNoShape">
              <a:avLst/>
            </a:prstTxWarp>
            <a:noAutofit/>
          </a:bodyPr>
          <a:lstStyle/>
          <a:p>
            <a:pPr marL="171450" indent="-171450" defTabSz="913686">
              <a:buFont typeface="Arial" panose="020B0604020202020204" pitchFamily="34" charset="0"/>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endParaRPr lang="en-GB" sz="1300" dirty="0">
              <a:solidFill>
                <a:prstClr val="white"/>
              </a:solidFill>
            </a:endParaRPr>
          </a:p>
        </p:txBody>
      </p:sp>
      <p:sp>
        <p:nvSpPr>
          <p:cNvPr id="153" name="Snip Same Side Corner Rectangle 152">
            <a:extLst>
              <a:ext uri="{FF2B5EF4-FFF2-40B4-BE49-F238E27FC236}">
                <a16:creationId xmlns:a16="http://schemas.microsoft.com/office/drawing/2014/main" id="{B6BC6832-C990-7D40-BEC0-C3DA712FB0AE}"/>
              </a:ext>
            </a:extLst>
          </p:cNvPr>
          <p:cNvSpPr/>
          <p:nvPr/>
        </p:nvSpPr>
        <p:spPr bwMode="gray">
          <a:xfrm>
            <a:off x="522668" y="2963501"/>
            <a:ext cx="2448952" cy="2867385"/>
          </a:xfrm>
          <a:prstGeom prst="snip2SameRect">
            <a:avLst>
              <a:gd name="adj1" fmla="val 5515"/>
              <a:gd name="adj2" fmla="val 0"/>
            </a:avLst>
          </a:prstGeom>
          <a:solidFill>
            <a:srgbClr val="009A44"/>
          </a:solidFill>
          <a:ln w="19050" algn="ctr">
            <a:noFill/>
            <a:miter lim="800000"/>
            <a:headEnd/>
            <a:tailEnd/>
          </a:ln>
        </p:spPr>
        <p:txBody>
          <a:bodyPr rot="0" spcFirstLastPara="0" vertOverflow="overflow" horzOverflow="overflow" vert="horz" wrap="square" lIns="0" tIns="137160" rIns="0" bIns="45720" numCol="1" spcCol="0" rtlCol="0" fromWordArt="0" anchor="t" anchorCtr="0" forceAA="0" compatLnSpc="1">
            <a:prstTxWarp prst="textNoShape">
              <a:avLst/>
            </a:prstTxWarp>
            <a:noAutofit/>
          </a:bodyPr>
          <a:lstStyle/>
          <a:p>
            <a:pPr marL="171450" indent="-171450" defTabSz="913686">
              <a:buFont typeface="Arial" panose="020B0604020202020204" pitchFamily="34" charset="0"/>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endParaRPr lang="en-GB" sz="1300" dirty="0">
              <a:solidFill>
                <a:prstClr val="white"/>
              </a:solidFill>
            </a:endParaRPr>
          </a:p>
        </p:txBody>
      </p:sp>
      <p:grpSp>
        <p:nvGrpSpPr>
          <p:cNvPr id="6" name="Group 5"/>
          <p:cNvGrpSpPr/>
          <p:nvPr/>
        </p:nvGrpSpPr>
        <p:grpSpPr>
          <a:xfrm>
            <a:off x="1094662" y="2599606"/>
            <a:ext cx="1304964" cy="363895"/>
            <a:chOff x="1060450" y="2775820"/>
            <a:chExt cx="1304964" cy="678506"/>
          </a:xfrm>
        </p:grpSpPr>
        <p:cxnSp>
          <p:nvCxnSpPr>
            <p:cNvPr id="5" name="Straight Connector 4"/>
            <p:cNvCxnSpPr/>
            <p:nvPr/>
          </p:nvCxnSpPr>
          <p:spPr>
            <a:xfrm>
              <a:off x="1060450"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2365414"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58" name="Group 157"/>
          <p:cNvGrpSpPr/>
          <p:nvPr/>
        </p:nvGrpSpPr>
        <p:grpSpPr>
          <a:xfrm>
            <a:off x="4002940" y="2599606"/>
            <a:ext cx="1304964" cy="363895"/>
            <a:chOff x="1060450" y="2775820"/>
            <a:chExt cx="1304964" cy="678506"/>
          </a:xfrm>
        </p:grpSpPr>
        <p:cxnSp>
          <p:nvCxnSpPr>
            <p:cNvPr id="159" name="Straight Connector 158"/>
            <p:cNvCxnSpPr/>
            <p:nvPr/>
          </p:nvCxnSpPr>
          <p:spPr>
            <a:xfrm>
              <a:off x="1060450"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2365414"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61" name="Group 160"/>
          <p:cNvGrpSpPr/>
          <p:nvPr/>
        </p:nvGrpSpPr>
        <p:grpSpPr>
          <a:xfrm>
            <a:off x="6911218" y="2599606"/>
            <a:ext cx="1304964" cy="363895"/>
            <a:chOff x="1060450" y="2775820"/>
            <a:chExt cx="1304964" cy="678506"/>
          </a:xfrm>
        </p:grpSpPr>
        <p:cxnSp>
          <p:nvCxnSpPr>
            <p:cNvPr id="162" name="Straight Connector 161"/>
            <p:cNvCxnSpPr/>
            <p:nvPr/>
          </p:nvCxnSpPr>
          <p:spPr>
            <a:xfrm>
              <a:off x="1060450"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2365414"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64" name="Group 163"/>
          <p:cNvGrpSpPr/>
          <p:nvPr/>
        </p:nvGrpSpPr>
        <p:grpSpPr>
          <a:xfrm>
            <a:off x="9819495" y="2599606"/>
            <a:ext cx="1304964" cy="363895"/>
            <a:chOff x="1060450" y="2775820"/>
            <a:chExt cx="1304964" cy="678506"/>
          </a:xfrm>
        </p:grpSpPr>
        <p:cxnSp>
          <p:nvCxnSpPr>
            <p:cNvPr id="165" name="Straight Connector 164"/>
            <p:cNvCxnSpPr/>
            <p:nvPr/>
          </p:nvCxnSpPr>
          <p:spPr>
            <a:xfrm>
              <a:off x="1060450"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2365414"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072869642"/>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492929" y="2214439"/>
            <a:ext cx="11206142" cy="659866"/>
            <a:chOff x="492929" y="2062634"/>
            <a:chExt cx="11206142" cy="365264"/>
          </a:xfrm>
        </p:grpSpPr>
        <p:sp>
          <p:nvSpPr>
            <p:cNvPr id="66" name="Freeform 65"/>
            <p:cNvSpPr/>
            <p:nvPr/>
          </p:nvSpPr>
          <p:spPr bwMode="gray">
            <a:xfrm>
              <a:off x="6096002" y="2062634"/>
              <a:ext cx="5603069" cy="365264"/>
            </a:xfrm>
            <a:custGeom>
              <a:avLst/>
              <a:gdLst>
                <a:gd name="connsiteX0" fmla="*/ 0 w 5571623"/>
                <a:gd name="connsiteY0" fmla="*/ 0 h 365264"/>
                <a:gd name="connsiteX1" fmla="*/ 5571623 w 5571623"/>
                <a:gd name="connsiteY1" fmla="*/ 365264 h 365264"/>
                <a:gd name="connsiteX2" fmla="*/ 3013720 w 5571623"/>
                <a:gd name="connsiteY2" fmla="*/ 365264 h 365264"/>
                <a:gd name="connsiteX3" fmla="*/ 0 w 5571623"/>
                <a:gd name="connsiteY3" fmla="*/ 0 h 365264"/>
              </a:gdLst>
              <a:ahLst/>
              <a:cxnLst>
                <a:cxn ang="0">
                  <a:pos x="connsiteX0" y="connsiteY0"/>
                </a:cxn>
                <a:cxn ang="0">
                  <a:pos x="connsiteX1" y="connsiteY1"/>
                </a:cxn>
                <a:cxn ang="0">
                  <a:pos x="connsiteX2" y="connsiteY2"/>
                </a:cxn>
                <a:cxn ang="0">
                  <a:pos x="connsiteX3" y="connsiteY3"/>
                </a:cxn>
              </a:cxnLst>
              <a:rect l="l" t="t" r="r" b="b"/>
              <a:pathLst>
                <a:path w="5571623" h="365264">
                  <a:moveTo>
                    <a:pt x="0" y="0"/>
                  </a:moveTo>
                  <a:lnTo>
                    <a:pt x="5571623" y="365264"/>
                  </a:lnTo>
                  <a:lnTo>
                    <a:pt x="3013720" y="365264"/>
                  </a:lnTo>
                  <a:lnTo>
                    <a:pt x="0" y="0"/>
                  </a:lnTo>
                  <a:close/>
                </a:path>
              </a:pathLst>
            </a:custGeom>
            <a:solidFill>
              <a:srgbClr val="75787B"/>
            </a:solidFill>
            <a:ln>
              <a:noFill/>
            </a:ln>
          </p:spPr>
          <p:txBody>
            <a:bodyPr vert="horz" wrap="square" lIns="91370" tIns="45685" rIns="91370" bIns="45685" numCol="1" anchor="t" anchorCtr="0" compatLnSpc="1">
              <a:prstTxWarp prst="textNoShape">
                <a:avLst/>
              </a:prstTxWarp>
            </a:bodyPr>
            <a:lstStyle/>
            <a:p>
              <a:pPr defTabSz="913686"/>
              <a:endParaRPr lang="en-US" dirty="0">
                <a:solidFill>
                  <a:prstClr val="black"/>
                </a:solidFill>
              </a:endParaRPr>
            </a:p>
          </p:txBody>
        </p:sp>
        <p:sp>
          <p:nvSpPr>
            <p:cNvPr id="65" name="Freeform 64"/>
            <p:cNvSpPr/>
            <p:nvPr/>
          </p:nvSpPr>
          <p:spPr bwMode="gray">
            <a:xfrm>
              <a:off x="6096003" y="2062634"/>
              <a:ext cx="2740232" cy="365264"/>
            </a:xfrm>
            <a:custGeom>
              <a:avLst/>
              <a:gdLst>
                <a:gd name="connsiteX0" fmla="*/ 0 w 2796869"/>
                <a:gd name="connsiteY0" fmla="*/ 0 h 365264"/>
                <a:gd name="connsiteX1" fmla="*/ 2796869 w 2796869"/>
                <a:gd name="connsiteY1" fmla="*/ 365264 h 365264"/>
                <a:gd name="connsiteX2" fmla="*/ 114685 w 2796869"/>
                <a:gd name="connsiteY2" fmla="*/ 365264 h 365264"/>
                <a:gd name="connsiteX3" fmla="*/ 0 w 2796869"/>
                <a:gd name="connsiteY3" fmla="*/ 0 h 365264"/>
              </a:gdLst>
              <a:ahLst/>
              <a:cxnLst>
                <a:cxn ang="0">
                  <a:pos x="connsiteX0" y="connsiteY0"/>
                </a:cxn>
                <a:cxn ang="0">
                  <a:pos x="connsiteX1" y="connsiteY1"/>
                </a:cxn>
                <a:cxn ang="0">
                  <a:pos x="connsiteX2" y="connsiteY2"/>
                </a:cxn>
                <a:cxn ang="0">
                  <a:pos x="connsiteX3" y="connsiteY3"/>
                </a:cxn>
              </a:cxnLst>
              <a:rect l="l" t="t" r="r" b="b"/>
              <a:pathLst>
                <a:path w="2796869" h="365264">
                  <a:moveTo>
                    <a:pt x="0" y="0"/>
                  </a:moveTo>
                  <a:lnTo>
                    <a:pt x="2796869" y="365264"/>
                  </a:lnTo>
                  <a:lnTo>
                    <a:pt x="114685" y="365264"/>
                  </a:lnTo>
                  <a:lnTo>
                    <a:pt x="0" y="0"/>
                  </a:lnTo>
                  <a:close/>
                </a:path>
              </a:pathLst>
            </a:custGeom>
            <a:solidFill>
              <a:schemeClr val="tx1">
                <a:lumMod val="75000"/>
                <a:lumOff val="25000"/>
              </a:schemeClr>
            </a:solidFill>
            <a:ln>
              <a:noFill/>
            </a:ln>
          </p:spPr>
          <p:txBody>
            <a:bodyPr vert="horz" wrap="square" lIns="91370" tIns="45685" rIns="91370" bIns="45685" numCol="1" anchor="t" anchorCtr="0" compatLnSpc="1">
              <a:prstTxWarp prst="textNoShape">
                <a:avLst/>
              </a:prstTxWarp>
            </a:bodyPr>
            <a:lstStyle/>
            <a:p>
              <a:pPr defTabSz="913686"/>
              <a:endParaRPr lang="en-US" dirty="0">
                <a:solidFill>
                  <a:prstClr val="black"/>
                </a:solidFill>
              </a:endParaRPr>
            </a:p>
          </p:txBody>
        </p:sp>
        <p:sp>
          <p:nvSpPr>
            <p:cNvPr id="64" name="Freeform 63"/>
            <p:cNvSpPr/>
            <p:nvPr/>
          </p:nvSpPr>
          <p:spPr bwMode="gray">
            <a:xfrm>
              <a:off x="3355768" y="2062634"/>
              <a:ext cx="2740234" cy="365264"/>
            </a:xfrm>
            <a:custGeom>
              <a:avLst/>
              <a:gdLst>
                <a:gd name="connsiteX0" fmla="*/ 2796869 w 2796869"/>
                <a:gd name="connsiteY0" fmla="*/ 0 h 365264"/>
                <a:gd name="connsiteX1" fmla="*/ 2682184 w 2796869"/>
                <a:gd name="connsiteY1" fmla="*/ 365264 h 365264"/>
                <a:gd name="connsiteX2" fmla="*/ 0 w 2796869"/>
                <a:gd name="connsiteY2" fmla="*/ 365264 h 365264"/>
                <a:gd name="connsiteX3" fmla="*/ 2796869 w 2796869"/>
                <a:gd name="connsiteY3" fmla="*/ 0 h 365264"/>
              </a:gdLst>
              <a:ahLst/>
              <a:cxnLst>
                <a:cxn ang="0">
                  <a:pos x="connsiteX0" y="connsiteY0"/>
                </a:cxn>
                <a:cxn ang="0">
                  <a:pos x="connsiteX1" y="connsiteY1"/>
                </a:cxn>
                <a:cxn ang="0">
                  <a:pos x="connsiteX2" y="connsiteY2"/>
                </a:cxn>
                <a:cxn ang="0">
                  <a:pos x="connsiteX3" y="connsiteY3"/>
                </a:cxn>
              </a:cxnLst>
              <a:rect l="l" t="t" r="r" b="b"/>
              <a:pathLst>
                <a:path w="2796869" h="365264">
                  <a:moveTo>
                    <a:pt x="2796869" y="0"/>
                  </a:moveTo>
                  <a:lnTo>
                    <a:pt x="2682184" y="365264"/>
                  </a:lnTo>
                  <a:lnTo>
                    <a:pt x="0" y="365264"/>
                  </a:lnTo>
                  <a:lnTo>
                    <a:pt x="2796869" y="0"/>
                  </a:lnTo>
                  <a:close/>
                </a:path>
              </a:pathLst>
            </a:custGeom>
            <a:solidFill>
              <a:srgbClr val="046A38"/>
            </a:solidFill>
            <a:ln>
              <a:noFill/>
            </a:ln>
          </p:spPr>
          <p:txBody>
            <a:bodyPr vert="horz" wrap="square" lIns="91370" tIns="45685" rIns="91370" bIns="45685" numCol="1" anchor="t" anchorCtr="0" compatLnSpc="1">
              <a:prstTxWarp prst="textNoShape">
                <a:avLst/>
              </a:prstTxWarp>
            </a:bodyPr>
            <a:lstStyle/>
            <a:p>
              <a:pPr defTabSz="913686"/>
              <a:endParaRPr lang="en-US" dirty="0">
                <a:solidFill>
                  <a:prstClr val="black"/>
                </a:solidFill>
              </a:endParaRPr>
            </a:p>
          </p:txBody>
        </p:sp>
        <p:sp>
          <p:nvSpPr>
            <p:cNvPr id="63" name="Freeform 62"/>
            <p:cNvSpPr/>
            <p:nvPr/>
          </p:nvSpPr>
          <p:spPr bwMode="gray">
            <a:xfrm>
              <a:off x="492929" y="2062634"/>
              <a:ext cx="5603072" cy="365264"/>
            </a:xfrm>
            <a:custGeom>
              <a:avLst/>
              <a:gdLst>
                <a:gd name="connsiteX0" fmla="*/ 5571624 w 5571624"/>
                <a:gd name="connsiteY0" fmla="*/ 0 h 365264"/>
                <a:gd name="connsiteX1" fmla="*/ 2557904 w 5571624"/>
                <a:gd name="connsiteY1" fmla="*/ 365264 h 365264"/>
                <a:gd name="connsiteX2" fmla="*/ 0 w 5571624"/>
                <a:gd name="connsiteY2" fmla="*/ 365264 h 365264"/>
                <a:gd name="connsiteX3" fmla="*/ 5571624 w 5571624"/>
                <a:gd name="connsiteY3" fmla="*/ 0 h 365264"/>
              </a:gdLst>
              <a:ahLst/>
              <a:cxnLst>
                <a:cxn ang="0">
                  <a:pos x="connsiteX0" y="connsiteY0"/>
                </a:cxn>
                <a:cxn ang="0">
                  <a:pos x="connsiteX1" y="connsiteY1"/>
                </a:cxn>
                <a:cxn ang="0">
                  <a:pos x="connsiteX2" y="connsiteY2"/>
                </a:cxn>
                <a:cxn ang="0">
                  <a:pos x="connsiteX3" y="connsiteY3"/>
                </a:cxn>
              </a:cxnLst>
              <a:rect l="l" t="t" r="r" b="b"/>
              <a:pathLst>
                <a:path w="5571624" h="365264">
                  <a:moveTo>
                    <a:pt x="5571624" y="0"/>
                  </a:moveTo>
                  <a:lnTo>
                    <a:pt x="2557904" y="365264"/>
                  </a:lnTo>
                  <a:lnTo>
                    <a:pt x="0" y="365264"/>
                  </a:lnTo>
                  <a:lnTo>
                    <a:pt x="5571624" y="0"/>
                  </a:lnTo>
                  <a:close/>
                </a:path>
              </a:pathLst>
            </a:custGeom>
            <a:solidFill>
              <a:srgbClr val="43B02A"/>
            </a:solidFill>
            <a:ln>
              <a:noFill/>
            </a:ln>
          </p:spPr>
          <p:txBody>
            <a:bodyPr vert="horz" wrap="square" lIns="91370" tIns="45685" rIns="91370" bIns="45685" numCol="1" anchor="t" anchorCtr="0" compatLnSpc="1">
              <a:prstTxWarp prst="textNoShape">
                <a:avLst/>
              </a:prstTxWarp>
            </a:bodyPr>
            <a:lstStyle/>
            <a:p>
              <a:pPr defTabSz="913686"/>
              <a:endParaRPr lang="en-US" dirty="0">
                <a:solidFill>
                  <a:prstClr val="black"/>
                </a:solidFill>
              </a:endParaRPr>
            </a:p>
          </p:txBody>
        </p:sp>
      </p:grpSp>
      <p:sp>
        <p:nvSpPr>
          <p:cNvPr id="44" name="Rectangle 10">
            <a:extLst>
              <a:ext uri="{FF2B5EF4-FFF2-40B4-BE49-F238E27FC236}">
                <a16:creationId xmlns:a16="http://schemas.microsoft.com/office/drawing/2014/main" id="{0B7E72B8-5EC8-E448-BEB9-F94ACDD63003}"/>
              </a:ext>
            </a:extLst>
          </p:cNvPr>
          <p:cNvSpPr>
            <a:spLocks noChangeArrowheads="1"/>
          </p:cNvSpPr>
          <p:nvPr/>
        </p:nvSpPr>
        <p:spPr bwMode="auto">
          <a:xfrm>
            <a:off x="3355768" y="2905749"/>
            <a:ext cx="2620800" cy="3456952"/>
          </a:xfrm>
          <a:prstGeom prst="rect">
            <a:avLst/>
          </a:prstGeom>
          <a:solidFill>
            <a:srgbClr val="43B02A"/>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a:t>
            </a:r>
          </a:p>
          <a:p>
            <a:pPr marL="125315" lvl="1" indent="-125315" defTabSz="913686">
              <a:buSzPct val="100000"/>
              <a:buFont typeface="Arial"/>
              <a:buChar char="•"/>
            </a:pPr>
            <a:endParaRPr lang="en-US" sz="1300" dirty="0">
              <a:solidFill>
                <a:srgbClr val="FFFFFF"/>
              </a:solidFill>
            </a:endParaRPr>
          </a:p>
          <a:p>
            <a:pPr marL="125315" lvl="1" indent="-125315" defTabSz="913686">
              <a:buSzPct val="100000"/>
              <a:buFont typeface="Arial"/>
              <a:buChar char="•"/>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45" name="Rectangle 11">
            <a:extLst>
              <a:ext uri="{FF2B5EF4-FFF2-40B4-BE49-F238E27FC236}">
                <a16:creationId xmlns:a16="http://schemas.microsoft.com/office/drawing/2014/main" id="{731D1FD0-8245-F343-93B4-566139492C23}"/>
              </a:ext>
            </a:extLst>
          </p:cNvPr>
          <p:cNvSpPr>
            <a:spLocks noChangeArrowheads="1"/>
          </p:cNvSpPr>
          <p:nvPr/>
        </p:nvSpPr>
        <p:spPr bwMode="auto">
          <a:xfrm>
            <a:off x="492929" y="2905749"/>
            <a:ext cx="2622387" cy="3456952"/>
          </a:xfrm>
          <a:prstGeom prst="rect">
            <a:avLst/>
          </a:prstGeom>
          <a:solidFill>
            <a:srgbClr val="86BC25"/>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a:t>
            </a:r>
          </a:p>
          <a:p>
            <a:pPr marL="125315" lvl="1" indent="-125315" defTabSz="913686">
              <a:buSzPct val="100000"/>
              <a:buFont typeface="Arial"/>
              <a:buChar char="•"/>
            </a:pPr>
            <a:endParaRPr lang="en-US" sz="1300" dirty="0">
              <a:solidFill>
                <a:srgbClr val="FFFFFF"/>
              </a:solidFill>
            </a:endParaRPr>
          </a:p>
          <a:p>
            <a:pPr marL="125315" lvl="1" indent="-125315" defTabSz="913686">
              <a:buSzPct val="100000"/>
              <a:buFont typeface="Arial"/>
              <a:buChar char="•"/>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46" name="Rectangle 12">
            <a:extLst>
              <a:ext uri="{FF2B5EF4-FFF2-40B4-BE49-F238E27FC236}">
                <a16:creationId xmlns:a16="http://schemas.microsoft.com/office/drawing/2014/main" id="{66B03893-5B1A-B743-A76C-0EB52503A61B}"/>
              </a:ext>
            </a:extLst>
          </p:cNvPr>
          <p:cNvSpPr>
            <a:spLocks noChangeArrowheads="1"/>
          </p:cNvSpPr>
          <p:nvPr/>
        </p:nvSpPr>
        <p:spPr bwMode="auto">
          <a:xfrm>
            <a:off x="6217020" y="2905749"/>
            <a:ext cx="2620800" cy="3456964"/>
          </a:xfrm>
          <a:prstGeom prst="rect">
            <a:avLst/>
          </a:prstGeom>
          <a:solidFill>
            <a:srgbClr val="000000"/>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a:t>
            </a:r>
          </a:p>
          <a:p>
            <a:pPr marL="125315" lvl="1" indent="-125315" defTabSz="913686">
              <a:buSzPct val="100000"/>
              <a:buFont typeface="Arial"/>
              <a:buChar char="•"/>
            </a:pPr>
            <a:endParaRPr lang="en-US" sz="1300" dirty="0">
              <a:solidFill>
                <a:srgbClr val="FFFFFF"/>
              </a:solidFill>
            </a:endParaRPr>
          </a:p>
          <a:p>
            <a:pPr marL="125315" lvl="1" indent="-125315" defTabSz="913686">
              <a:buSzPct val="100000"/>
              <a:buFont typeface="Arial"/>
              <a:buChar char="•"/>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47" name="Rectangle 13">
            <a:extLst>
              <a:ext uri="{FF2B5EF4-FFF2-40B4-BE49-F238E27FC236}">
                <a16:creationId xmlns:a16="http://schemas.microsoft.com/office/drawing/2014/main" id="{8524FE45-9DC0-0C4E-95CE-B46961F677FE}"/>
              </a:ext>
            </a:extLst>
          </p:cNvPr>
          <p:cNvSpPr>
            <a:spLocks noChangeArrowheads="1"/>
          </p:cNvSpPr>
          <p:nvPr/>
        </p:nvSpPr>
        <p:spPr bwMode="auto">
          <a:xfrm>
            <a:off x="9078271" y="2905749"/>
            <a:ext cx="2620800" cy="3456952"/>
          </a:xfrm>
          <a:prstGeom prst="rect">
            <a:avLst/>
          </a:prstGeom>
          <a:solidFill>
            <a:srgbClr val="97999B"/>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a:t>
            </a:r>
          </a:p>
          <a:p>
            <a:pPr marL="125315" lvl="1" indent="-125315" defTabSz="913686">
              <a:buSzPct val="100000"/>
              <a:buFont typeface="Arial"/>
              <a:buChar char="•"/>
            </a:pPr>
            <a:endParaRPr lang="en-US" sz="1300" dirty="0">
              <a:solidFill>
                <a:srgbClr val="FFFFFF"/>
              </a:solidFill>
            </a:endParaRPr>
          </a:p>
          <a:p>
            <a:pPr marL="125315" lvl="1" indent="-125315" defTabSz="913686">
              <a:buSzPct val="100000"/>
              <a:buFont typeface="Arial"/>
              <a:buChar char="•"/>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53" name="Oval 52">
            <a:extLst>
              <a:ext uri="{FF2B5EF4-FFF2-40B4-BE49-F238E27FC236}">
                <a16:creationId xmlns:a16="http://schemas.microsoft.com/office/drawing/2014/main" id="{AF48D792-38BB-B44F-8F9A-FCCF316E183E}"/>
              </a:ext>
            </a:extLst>
          </p:cNvPr>
          <p:cNvSpPr/>
          <p:nvPr/>
        </p:nvSpPr>
        <p:spPr bwMode="gray">
          <a:xfrm>
            <a:off x="5569744" y="1714500"/>
            <a:ext cx="1052512" cy="1066252"/>
          </a:xfrm>
          <a:prstGeom prst="ellipse">
            <a:avLst/>
          </a:prstGeom>
          <a:solidFill>
            <a:srgbClr val="000000"/>
          </a:solidFill>
          <a:ln w="19050" algn="ctr">
            <a:solidFill>
              <a:schemeClr val="bg1"/>
            </a:solidFill>
            <a:miter lim="800000"/>
            <a:headEnd/>
            <a:tailEnd/>
          </a:ln>
        </p:spPr>
        <p:txBody>
          <a:bodyPr wrap="square" lIns="88900" tIns="88900" rIns="88900" bIns="88900" rtlCol="0" anchor="ctr"/>
          <a:lstStyle/>
          <a:p>
            <a:pPr algn="ctr" defTabSz="913686"/>
            <a:endParaRPr lang="en-US" sz="1200" b="1" dirty="0">
              <a:solidFill>
                <a:prstClr val="white"/>
              </a:solidFill>
            </a:endParaRPr>
          </a:p>
        </p:txBody>
      </p:sp>
      <p:sp>
        <p:nvSpPr>
          <p:cNvPr id="55" name="Rectangle 54">
            <a:extLst>
              <a:ext uri="{FF2B5EF4-FFF2-40B4-BE49-F238E27FC236}">
                <a16:creationId xmlns:a16="http://schemas.microsoft.com/office/drawing/2014/main" id="{EC2BCEA2-57BF-B542-88D7-AED6E573CBFB}"/>
              </a:ext>
            </a:extLst>
          </p:cNvPr>
          <p:cNvSpPr/>
          <p:nvPr/>
        </p:nvSpPr>
        <p:spPr>
          <a:xfrm>
            <a:off x="6675925" y="1906095"/>
            <a:ext cx="1102738" cy="246221"/>
          </a:xfrm>
          <a:prstGeom prst="rect">
            <a:avLst/>
          </a:prstGeom>
        </p:spPr>
        <p:txBody>
          <a:bodyPr wrap="none" lIns="0" tIns="0" rIns="0" bIns="0">
            <a:spAutoFit/>
          </a:bodyPr>
          <a:lstStyle/>
          <a:p>
            <a:pPr defTabSz="913686"/>
            <a:r>
              <a:rPr lang="en-US" sz="1600" b="1" dirty="0"/>
              <a:t>Lorem ipsum</a:t>
            </a:r>
          </a:p>
        </p:txBody>
      </p:sp>
      <p:grpSp>
        <p:nvGrpSpPr>
          <p:cNvPr id="29" name="Group 977">
            <a:extLst>
              <a:ext uri="{FF2B5EF4-FFF2-40B4-BE49-F238E27FC236}">
                <a16:creationId xmlns:a16="http://schemas.microsoft.com/office/drawing/2014/main" id="{477AA323-64EE-46FF-A6EB-BD59B436E883}"/>
              </a:ext>
            </a:extLst>
          </p:cNvPr>
          <p:cNvGrpSpPr>
            <a:grpSpLocks noChangeAspect="1"/>
          </p:cNvGrpSpPr>
          <p:nvPr/>
        </p:nvGrpSpPr>
        <p:grpSpPr bwMode="auto">
          <a:xfrm>
            <a:off x="7364833" y="5815842"/>
            <a:ext cx="413830" cy="413828"/>
            <a:chOff x="1925" y="3985"/>
            <a:chExt cx="340" cy="340"/>
          </a:xfrm>
          <a:solidFill>
            <a:schemeClr val="bg1"/>
          </a:solidFill>
        </p:grpSpPr>
        <p:sp>
          <p:nvSpPr>
            <p:cNvPr id="30" name="Freeform 978">
              <a:extLst>
                <a:ext uri="{FF2B5EF4-FFF2-40B4-BE49-F238E27FC236}">
                  <a16:creationId xmlns:a16="http://schemas.microsoft.com/office/drawing/2014/main" id="{C0238D6E-18EF-41FB-B5B4-0E7870B7610B}"/>
                </a:ext>
              </a:extLst>
            </p:cNvPr>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1" name="Freeform 979">
              <a:extLst>
                <a:ext uri="{FF2B5EF4-FFF2-40B4-BE49-F238E27FC236}">
                  <a16:creationId xmlns:a16="http://schemas.microsoft.com/office/drawing/2014/main" id="{3E9C8A6F-ACD2-4D32-A341-AA7EB4936DC3}"/>
                </a:ext>
              </a:extLst>
            </p:cNvPr>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2" name="Freeform 980">
              <a:extLst>
                <a:ext uri="{FF2B5EF4-FFF2-40B4-BE49-F238E27FC236}">
                  <a16:creationId xmlns:a16="http://schemas.microsoft.com/office/drawing/2014/main" id="{489AACDA-4B1D-4BF5-84BB-F67FD9B76D01}"/>
                </a:ext>
              </a:extLst>
            </p:cNvPr>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3" name="Group 614">
            <a:extLst>
              <a:ext uri="{FF2B5EF4-FFF2-40B4-BE49-F238E27FC236}">
                <a16:creationId xmlns:a16="http://schemas.microsoft.com/office/drawing/2014/main" id="{CB263A05-0494-4BD0-8D82-CF4A065A95EB}"/>
              </a:ext>
            </a:extLst>
          </p:cNvPr>
          <p:cNvGrpSpPr>
            <a:grpSpLocks noChangeAspect="1"/>
          </p:cNvGrpSpPr>
          <p:nvPr/>
        </p:nvGrpSpPr>
        <p:grpSpPr bwMode="auto">
          <a:xfrm>
            <a:off x="5764696" y="1916323"/>
            <a:ext cx="662610" cy="662606"/>
            <a:chOff x="3780" y="2658"/>
            <a:chExt cx="340" cy="340"/>
          </a:xfrm>
          <a:solidFill>
            <a:schemeClr val="bg1"/>
          </a:solidFill>
        </p:grpSpPr>
        <p:sp>
          <p:nvSpPr>
            <p:cNvPr id="34" name="Freeform 615">
              <a:extLst>
                <a:ext uri="{FF2B5EF4-FFF2-40B4-BE49-F238E27FC236}">
                  <a16:creationId xmlns:a16="http://schemas.microsoft.com/office/drawing/2014/main" id="{40C7E478-6DAB-4AF5-92EE-C90AF44713C8}"/>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5" name="Freeform 616">
              <a:extLst>
                <a:ext uri="{FF2B5EF4-FFF2-40B4-BE49-F238E27FC236}">
                  <a16:creationId xmlns:a16="http://schemas.microsoft.com/office/drawing/2014/main" id="{38D00208-D411-4D3B-A7FA-67643384F58D}"/>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6" name="Freeform 617">
              <a:extLst>
                <a:ext uri="{FF2B5EF4-FFF2-40B4-BE49-F238E27FC236}">
                  <a16:creationId xmlns:a16="http://schemas.microsoft.com/office/drawing/2014/main" id="{D3E254D2-E294-404B-8DD2-2A2C8333C493}"/>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7" name="Freeform 618">
              <a:extLst>
                <a:ext uri="{FF2B5EF4-FFF2-40B4-BE49-F238E27FC236}">
                  <a16:creationId xmlns:a16="http://schemas.microsoft.com/office/drawing/2014/main" id="{329EBF17-6AFF-4D91-AB20-56059856195F}"/>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8" name="Freeform 619">
              <a:extLst>
                <a:ext uri="{FF2B5EF4-FFF2-40B4-BE49-F238E27FC236}">
                  <a16:creationId xmlns:a16="http://schemas.microsoft.com/office/drawing/2014/main" id="{4466F518-EB9B-4D71-BF00-DBA0D58A385C}"/>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9" name="Freeform 620">
              <a:extLst>
                <a:ext uri="{FF2B5EF4-FFF2-40B4-BE49-F238E27FC236}">
                  <a16:creationId xmlns:a16="http://schemas.microsoft.com/office/drawing/2014/main" id="{9190DE0B-8E15-456D-A1D6-A72D06ECE3F0}"/>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40" name="Freeform 621">
              <a:extLst>
                <a:ext uri="{FF2B5EF4-FFF2-40B4-BE49-F238E27FC236}">
                  <a16:creationId xmlns:a16="http://schemas.microsoft.com/office/drawing/2014/main" id="{C9967790-88E5-4C5E-932D-F3719A33C88E}"/>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41" name="Freeform 622">
              <a:extLst>
                <a:ext uri="{FF2B5EF4-FFF2-40B4-BE49-F238E27FC236}">
                  <a16:creationId xmlns:a16="http://schemas.microsoft.com/office/drawing/2014/main" id="{EC9D6E3E-7183-4F34-A459-5F03D8078A3E}"/>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7" name="Freeform 623">
              <a:extLst>
                <a:ext uri="{FF2B5EF4-FFF2-40B4-BE49-F238E27FC236}">
                  <a16:creationId xmlns:a16="http://schemas.microsoft.com/office/drawing/2014/main" id="{D1B99C43-2CC6-4B00-AB16-B2DB63CCB134}"/>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8" name="Group 861">
            <a:extLst>
              <a:ext uri="{FF2B5EF4-FFF2-40B4-BE49-F238E27FC236}">
                <a16:creationId xmlns:a16="http://schemas.microsoft.com/office/drawing/2014/main" id="{E6C1C155-F154-4409-93E5-91038B79421D}"/>
              </a:ext>
            </a:extLst>
          </p:cNvPr>
          <p:cNvGrpSpPr>
            <a:grpSpLocks noChangeAspect="1"/>
          </p:cNvGrpSpPr>
          <p:nvPr/>
        </p:nvGrpSpPr>
        <p:grpSpPr bwMode="auto">
          <a:xfrm>
            <a:off x="10190448" y="5815510"/>
            <a:ext cx="414493" cy="414493"/>
            <a:chOff x="5813" y="3162"/>
            <a:chExt cx="340" cy="340"/>
          </a:xfrm>
          <a:solidFill>
            <a:schemeClr val="bg1"/>
          </a:solidFill>
        </p:grpSpPr>
        <p:sp>
          <p:nvSpPr>
            <p:cNvPr id="69" name="Freeform 862">
              <a:extLst>
                <a:ext uri="{FF2B5EF4-FFF2-40B4-BE49-F238E27FC236}">
                  <a16:creationId xmlns:a16="http://schemas.microsoft.com/office/drawing/2014/main" id="{EC60D2A5-FDEA-4B54-BC13-843C8EE716F4}"/>
                </a:ext>
              </a:extLst>
            </p:cNvPr>
            <p:cNvSpPr>
              <a:spLocks noEditPoints="1"/>
            </p:cNvSpPr>
            <p:nvPr/>
          </p:nvSpPr>
          <p:spPr bwMode="auto">
            <a:xfrm>
              <a:off x="5813" y="316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0" name="Freeform 863">
              <a:extLst>
                <a:ext uri="{FF2B5EF4-FFF2-40B4-BE49-F238E27FC236}">
                  <a16:creationId xmlns:a16="http://schemas.microsoft.com/office/drawing/2014/main" id="{D7D9FEF4-BA17-4AFE-8C5B-647994ACA19E}"/>
                </a:ext>
              </a:extLst>
            </p:cNvPr>
            <p:cNvSpPr>
              <a:spLocks noEditPoints="1"/>
            </p:cNvSpPr>
            <p:nvPr/>
          </p:nvSpPr>
          <p:spPr bwMode="auto">
            <a:xfrm>
              <a:off x="5905" y="3216"/>
              <a:ext cx="156" cy="208"/>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71" name="Group 432">
            <a:extLst>
              <a:ext uri="{FF2B5EF4-FFF2-40B4-BE49-F238E27FC236}">
                <a16:creationId xmlns:a16="http://schemas.microsoft.com/office/drawing/2014/main" id="{F9A02FB3-F399-40C8-8BD2-A3022DD6EB74}"/>
              </a:ext>
            </a:extLst>
          </p:cNvPr>
          <p:cNvGrpSpPr>
            <a:grpSpLocks noChangeAspect="1"/>
          </p:cNvGrpSpPr>
          <p:nvPr/>
        </p:nvGrpSpPr>
        <p:grpSpPr bwMode="auto">
          <a:xfrm>
            <a:off x="1636193" y="5813744"/>
            <a:ext cx="416800" cy="418024"/>
            <a:chOff x="3505" y="1546"/>
            <a:chExt cx="340" cy="341"/>
          </a:xfrm>
          <a:solidFill>
            <a:schemeClr val="bg1"/>
          </a:solidFill>
        </p:grpSpPr>
        <p:sp>
          <p:nvSpPr>
            <p:cNvPr id="72" name="Freeform 433">
              <a:extLst>
                <a:ext uri="{FF2B5EF4-FFF2-40B4-BE49-F238E27FC236}">
                  <a16:creationId xmlns:a16="http://schemas.microsoft.com/office/drawing/2014/main" id="{B832EEF6-47C8-44AA-A520-6B6B29F84F2F}"/>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3" name="Freeform 434">
              <a:extLst>
                <a:ext uri="{FF2B5EF4-FFF2-40B4-BE49-F238E27FC236}">
                  <a16:creationId xmlns:a16="http://schemas.microsoft.com/office/drawing/2014/main" id="{D37CBBFB-0533-42BF-8AAE-324C9F827CBF}"/>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74" name="Group 510">
            <a:extLst>
              <a:ext uri="{FF2B5EF4-FFF2-40B4-BE49-F238E27FC236}">
                <a16:creationId xmlns:a16="http://schemas.microsoft.com/office/drawing/2014/main" id="{0E0E0585-9A06-4B72-8AF4-3FC33153351C}"/>
              </a:ext>
            </a:extLst>
          </p:cNvPr>
          <p:cNvGrpSpPr>
            <a:grpSpLocks noChangeAspect="1"/>
          </p:cNvGrpSpPr>
          <p:nvPr/>
        </p:nvGrpSpPr>
        <p:grpSpPr bwMode="auto">
          <a:xfrm>
            <a:off x="4490640" y="5815311"/>
            <a:ext cx="416112" cy="414890"/>
            <a:chOff x="4155" y="3088"/>
            <a:chExt cx="341" cy="340"/>
          </a:xfrm>
          <a:solidFill>
            <a:schemeClr val="bg1"/>
          </a:solidFill>
        </p:grpSpPr>
        <p:sp>
          <p:nvSpPr>
            <p:cNvPr id="75" name="Freeform 511">
              <a:extLst>
                <a:ext uri="{FF2B5EF4-FFF2-40B4-BE49-F238E27FC236}">
                  <a16:creationId xmlns:a16="http://schemas.microsoft.com/office/drawing/2014/main" id="{7E3173C5-57EF-469C-B919-AF068E1D559B}"/>
                </a:ext>
              </a:extLst>
            </p:cNvPr>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6" name="Freeform 512">
              <a:extLst>
                <a:ext uri="{FF2B5EF4-FFF2-40B4-BE49-F238E27FC236}">
                  <a16:creationId xmlns:a16="http://schemas.microsoft.com/office/drawing/2014/main" id="{DCB06F49-E914-46D2-9422-C998F10DF42B}"/>
                </a:ext>
              </a:extLst>
            </p:cNvPr>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custDataLst>
      <p:tags r:id="rId1"/>
    </p:custDataLst>
    <p:extLst>
      <p:ext uri="{BB962C8B-B14F-4D97-AF65-F5344CB8AC3E}">
        <p14:creationId xmlns:p14="http://schemas.microsoft.com/office/powerpoint/2010/main" val="2763198061"/>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6">
            <a:extLst>
              <a:ext uri="{FF2B5EF4-FFF2-40B4-BE49-F238E27FC236}">
                <a16:creationId xmlns:a16="http://schemas.microsoft.com/office/drawing/2014/main" id="{D522802E-A94D-E648-A5CB-7146629EA8A1}"/>
              </a:ext>
            </a:extLst>
          </p:cNvPr>
          <p:cNvSpPr>
            <a:spLocks/>
          </p:cNvSpPr>
          <p:nvPr/>
        </p:nvSpPr>
        <p:spPr bwMode="auto">
          <a:xfrm>
            <a:off x="9242401" y="2868564"/>
            <a:ext cx="2446303" cy="1047536"/>
          </a:xfrm>
          <a:custGeom>
            <a:avLst/>
            <a:gdLst>
              <a:gd name="T0" fmla="*/ 0 w 433"/>
              <a:gd name="T1" fmla="*/ 0 h 354"/>
              <a:gd name="T2" fmla="*/ 0 w 433"/>
              <a:gd name="T3" fmla="*/ 354 h 354"/>
              <a:gd name="T4" fmla="*/ 433 w 433"/>
              <a:gd name="T5" fmla="*/ 354 h 354"/>
              <a:gd name="T6" fmla="*/ 433 w 433"/>
              <a:gd name="T7" fmla="*/ 347 h 354"/>
              <a:gd name="T8" fmla="*/ 0 w 433"/>
              <a:gd name="T9" fmla="*/ 0 h 354"/>
            </a:gdLst>
            <a:ahLst/>
            <a:cxnLst>
              <a:cxn ang="0">
                <a:pos x="T0" y="T1"/>
              </a:cxn>
              <a:cxn ang="0">
                <a:pos x="T2" y="T3"/>
              </a:cxn>
              <a:cxn ang="0">
                <a:pos x="T4" y="T5"/>
              </a:cxn>
              <a:cxn ang="0">
                <a:pos x="T6" y="T7"/>
              </a:cxn>
              <a:cxn ang="0">
                <a:pos x="T8" y="T9"/>
              </a:cxn>
            </a:cxnLst>
            <a:rect l="0" t="0" r="r" b="b"/>
            <a:pathLst>
              <a:path w="433" h="354">
                <a:moveTo>
                  <a:pt x="0" y="0"/>
                </a:moveTo>
                <a:lnTo>
                  <a:pt x="0" y="354"/>
                </a:lnTo>
                <a:lnTo>
                  <a:pt x="433" y="354"/>
                </a:lnTo>
                <a:lnTo>
                  <a:pt x="433" y="347"/>
                </a:lnTo>
                <a:lnTo>
                  <a:pt x="0" y="0"/>
                </a:lnTo>
                <a:close/>
              </a:path>
            </a:pathLst>
          </a:custGeom>
          <a:solidFill>
            <a:srgbClr val="53565A"/>
          </a:solidFill>
          <a:ln>
            <a:noFill/>
          </a:ln>
        </p:spPr>
        <p:txBody>
          <a:bodyPr vert="horz" wrap="square" lIns="91370" tIns="45685" rIns="91370" bIns="45685" numCol="1" anchor="t" anchorCtr="0" compatLnSpc="1">
            <a:prstTxWarp prst="textNoShape">
              <a:avLst/>
            </a:prstTxWarp>
          </a:bodyPr>
          <a:lstStyle/>
          <a:p>
            <a:pPr defTabSz="913686"/>
            <a:endParaRPr lang="en-US">
              <a:solidFill>
                <a:prstClr val="black"/>
              </a:solidFill>
            </a:endParaRPr>
          </a:p>
        </p:txBody>
      </p:sp>
      <p:sp>
        <p:nvSpPr>
          <p:cNvPr id="47" name="Freeform 7">
            <a:extLst>
              <a:ext uri="{FF2B5EF4-FFF2-40B4-BE49-F238E27FC236}">
                <a16:creationId xmlns:a16="http://schemas.microsoft.com/office/drawing/2014/main" id="{58A19382-F903-474D-B2DD-717DE3E7A499}"/>
              </a:ext>
            </a:extLst>
          </p:cNvPr>
          <p:cNvSpPr>
            <a:spLocks/>
          </p:cNvSpPr>
          <p:nvPr/>
        </p:nvSpPr>
        <p:spPr bwMode="auto">
          <a:xfrm>
            <a:off x="9242401" y="1736693"/>
            <a:ext cx="2446303" cy="2098032"/>
          </a:xfrm>
          <a:custGeom>
            <a:avLst/>
            <a:gdLst>
              <a:gd name="T0" fmla="*/ 0 w 433"/>
              <a:gd name="T1" fmla="*/ 0 h 709"/>
              <a:gd name="T2" fmla="*/ 0 w 433"/>
              <a:gd name="T3" fmla="*/ 355 h 709"/>
              <a:gd name="T4" fmla="*/ 433 w 433"/>
              <a:gd name="T5" fmla="*/ 709 h 709"/>
              <a:gd name="T6" fmla="*/ 433 w 433"/>
              <a:gd name="T7" fmla="*/ 709 h 709"/>
              <a:gd name="T8" fmla="*/ 0 w 433"/>
              <a:gd name="T9" fmla="*/ 0 h 709"/>
            </a:gdLst>
            <a:ahLst/>
            <a:cxnLst>
              <a:cxn ang="0">
                <a:pos x="T0" y="T1"/>
              </a:cxn>
              <a:cxn ang="0">
                <a:pos x="T2" y="T3"/>
              </a:cxn>
              <a:cxn ang="0">
                <a:pos x="T4" y="T5"/>
              </a:cxn>
              <a:cxn ang="0">
                <a:pos x="T6" y="T7"/>
              </a:cxn>
              <a:cxn ang="0">
                <a:pos x="T8" y="T9"/>
              </a:cxn>
            </a:cxnLst>
            <a:rect l="0" t="0" r="r" b="b"/>
            <a:pathLst>
              <a:path w="433" h="709">
                <a:moveTo>
                  <a:pt x="0" y="0"/>
                </a:moveTo>
                <a:lnTo>
                  <a:pt x="0" y="355"/>
                </a:lnTo>
                <a:lnTo>
                  <a:pt x="433" y="709"/>
                </a:lnTo>
                <a:lnTo>
                  <a:pt x="433" y="709"/>
                </a:lnTo>
                <a:lnTo>
                  <a:pt x="0" y="0"/>
                </a:lnTo>
                <a:close/>
              </a:path>
            </a:pathLst>
          </a:custGeom>
          <a:solidFill>
            <a:schemeClr val="accent2"/>
          </a:solidFill>
          <a:ln>
            <a:noFill/>
          </a:ln>
        </p:spPr>
        <p:txBody>
          <a:bodyPr vert="horz" wrap="square" lIns="91370" tIns="45685" rIns="91370" bIns="45685" numCol="1" anchor="t" anchorCtr="0" compatLnSpc="1">
            <a:prstTxWarp prst="textNoShape">
              <a:avLst/>
            </a:prstTxWarp>
          </a:bodyPr>
          <a:lstStyle/>
          <a:p>
            <a:pPr defTabSz="913686"/>
            <a:endParaRPr lang="en-US">
              <a:solidFill>
                <a:prstClr val="black"/>
              </a:solidFill>
            </a:endParaRPr>
          </a:p>
        </p:txBody>
      </p:sp>
      <p:sp>
        <p:nvSpPr>
          <p:cNvPr id="48" name="Freeform 8">
            <a:extLst>
              <a:ext uri="{FF2B5EF4-FFF2-40B4-BE49-F238E27FC236}">
                <a16:creationId xmlns:a16="http://schemas.microsoft.com/office/drawing/2014/main" id="{2F5B168A-881A-0143-884B-B3453AD76A6D}"/>
              </a:ext>
            </a:extLst>
          </p:cNvPr>
          <p:cNvSpPr>
            <a:spLocks/>
          </p:cNvSpPr>
          <p:nvPr/>
        </p:nvSpPr>
        <p:spPr bwMode="auto">
          <a:xfrm>
            <a:off x="9242401" y="3981202"/>
            <a:ext cx="2446303" cy="1047536"/>
          </a:xfrm>
          <a:custGeom>
            <a:avLst/>
            <a:gdLst>
              <a:gd name="T0" fmla="*/ 0 w 433"/>
              <a:gd name="T1" fmla="*/ 354 h 354"/>
              <a:gd name="T2" fmla="*/ 0 w 433"/>
              <a:gd name="T3" fmla="*/ 0 h 354"/>
              <a:gd name="T4" fmla="*/ 433 w 433"/>
              <a:gd name="T5" fmla="*/ 0 h 354"/>
              <a:gd name="T6" fmla="*/ 433 w 433"/>
              <a:gd name="T7" fmla="*/ 0 h 354"/>
              <a:gd name="T8" fmla="*/ 0 w 433"/>
              <a:gd name="T9" fmla="*/ 354 h 354"/>
            </a:gdLst>
            <a:ahLst/>
            <a:cxnLst>
              <a:cxn ang="0">
                <a:pos x="T0" y="T1"/>
              </a:cxn>
              <a:cxn ang="0">
                <a:pos x="T2" y="T3"/>
              </a:cxn>
              <a:cxn ang="0">
                <a:pos x="T4" y="T5"/>
              </a:cxn>
              <a:cxn ang="0">
                <a:pos x="T6" y="T7"/>
              </a:cxn>
              <a:cxn ang="0">
                <a:pos x="T8" y="T9"/>
              </a:cxn>
            </a:cxnLst>
            <a:rect l="0" t="0" r="r" b="b"/>
            <a:pathLst>
              <a:path w="433" h="354">
                <a:moveTo>
                  <a:pt x="0" y="354"/>
                </a:moveTo>
                <a:lnTo>
                  <a:pt x="0" y="0"/>
                </a:lnTo>
                <a:lnTo>
                  <a:pt x="433" y="0"/>
                </a:lnTo>
                <a:lnTo>
                  <a:pt x="433" y="0"/>
                </a:lnTo>
                <a:lnTo>
                  <a:pt x="0" y="354"/>
                </a:lnTo>
                <a:close/>
              </a:path>
            </a:pathLst>
          </a:custGeom>
          <a:solidFill>
            <a:schemeClr val="accent3"/>
          </a:solidFill>
          <a:ln>
            <a:noFill/>
          </a:ln>
        </p:spPr>
        <p:txBody>
          <a:bodyPr vert="horz" wrap="square" lIns="91370" tIns="45685" rIns="91370" bIns="45685" numCol="1" anchor="t" anchorCtr="0" compatLnSpc="1">
            <a:prstTxWarp prst="textNoShape">
              <a:avLst/>
            </a:prstTxWarp>
          </a:bodyPr>
          <a:lstStyle/>
          <a:p>
            <a:pPr defTabSz="913686"/>
            <a:endParaRPr lang="en-US">
              <a:solidFill>
                <a:prstClr val="black"/>
              </a:solidFill>
            </a:endParaRPr>
          </a:p>
        </p:txBody>
      </p:sp>
      <p:sp>
        <p:nvSpPr>
          <p:cNvPr id="49" name="Freeform 9">
            <a:extLst>
              <a:ext uri="{FF2B5EF4-FFF2-40B4-BE49-F238E27FC236}">
                <a16:creationId xmlns:a16="http://schemas.microsoft.com/office/drawing/2014/main" id="{26E7356A-AE61-8D4F-BEE1-A889F86597B3}"/>
              </a:ext>
            </a:extLst>
          </p:cNvPr>
          <p:cNvSpPr>
            <a:spLocks/>
          </p:cNvSpPr>
          <p:nvPr/>
        </p:nvSpPr>
        <p:spPr bwMode="auto">
          <a:xfrm>
            <a:off x="9242401" y="4064058"/>
            <a:ext cx="2446303" cy="2098032"/>
          </a:xfrm>
          <a:custGeom>
            <a:avLst/>
            <a:gdLst>
              <a:gd name="T0" fmla="*/ 0 w 433"/>
              <a:gd name="T1" fmla="*/ 709 h 709"/>
              <a:gd name="T2" fmla="*/ 0 w 433"/>
              <a:gd name="T3" fmla="*/ 354 h 709"/>
              <a:gd name="T4" fmla="*/ 433 w 433"/>
              <a:gd name="T5" fmla="*/ 0 h 709"/>
              <a:gd name="T6" fmla="*/ 433 w 433"/>
              <a:gd name="T7" fmla="*/ 0 h 709"/>
              <a:gd name="T8" fmla="*/ 0 w 433"/>
              <a:gd name="T9" fmla="*/ 709 h 709"/>
            </a:gdLst>
            <a:ahLst/>
            <a:cxnLst>
              <a:cxn ang="0">
                <a:pos x="T0" y="T1"/>
              </a:cxn>
              <a:cxn ang="0">
                <a:pos x="T2" y="T3"/>
              </a:cxn>
              <a:cxn ang="0">
                <a:pos x="T4" y="T5"/>
              </a:cxn>
              <a:cxn ang="0">
                <a:pos x="T6" y="T7"/>
              </a:cxn>
              <a:cxn ang="0">
                <a:pos x="T8" y="T9"/>
              </a:cxn>
            </a:cxnLst>
            <a:rect l="0" t="0" r="r" b="b"/>
            <a:pathLst>
              <a:path w="433" h="709">
                <a:moveTo>
                  <a:pt x="0" y="709"/>
                </a:moveTo>
                <a:lnTo>
                  <a:pt x="0" y="354"/>
                </a:lnTo>
                <a:lnTo>
                  <a:pt x="433" y="0"/>
                </a:lnTo>
                <a:lnTo>
                  <a:pt x="433" y="0"/>
                </a:lnTo>
                <a:lnTo>
                  <a:pt x="0" y="709"/>
                </a:lnTo>
                <a:close/>
              </a:path>
            </a:pathLst>
          </a:custGeom>
          <a:solidFill>
            <a:srgbClr val="000000"/>
          </a:solidFill>
          <a:ln>
            <a:noFill/>
          </a:ln>
        </p:spPr>
        <p:txBody>
          <a:bodyPr vert="horz" wrap="square" lIns="91370" tIns="45685" rIns="91370" bIns="45685" numCol="1" anchor="t" anchorCtr="0" compatLnSpc="1">
            <a:prstTxWarp prst="textNoShape">
              <a:avLst/>
            </a:prstTxWarp>
          </a:bodyPr>
          <a:lstStyle/>
          <a:p>
            <a:pPr defTabSz="913686"/>
            <a:endParaRPr lang="en-US">
              <a:solidFill>
                <a:prstClr val="black"/>
              </a:solidFill>
            </a:endParaRPr>
          </a:p>
        </p:txBody>
      </p:sp>
      <p:sp>
        <p:nvSpPr>
          <p:cNvPr id="50" name="Rectangle 10">
            <a:extLst>
              <a:ext uri="{FF2B5EF4-FFF2-40B4-BE49-F238E27FC236}">
                <a16:creationId xmlns:a16="http://schemas.microsoft.com/office/drawing/2014/main" id="{3F40A88D-00E2-754B-9839-91C745AB040D}"/>
              </a:ext>
            </a:extLst>
          </p:cNvPr>
          <p:cNvSpPr>
            <a:spLocks noChangeArrowheads="1"/>
          </p:cNvSpPr>
          <p:nvPr/>
        </p:nvSpPr>
        <p:spPr bwMode="auto">
          <a:xfrm>
            <a:off x="457200" y="2847859"/>
            <a:ext cx="8743765" cy="1068251"/>
          </a:xfrm>
          <a:prstGeom prst="rect">
            <a:avLst/>
          </a:prstGeom>
          <a:solidFill>
            <a:srgbClr val="75787B"/>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 dolor </a:t>
            </a:r>
          </a:p>
          <a:p>
            <a:pPr marL="0" lvl="1" defTabSz="913686">
              <a:buSzPct val="100000"/>
            </a:pPr>
            <a:endParaRPr lang="en-US" sz="1300" b="1" dirty="0">
              <a:solidFill>
                <a:srgbClr val="FFFFFF"/>
              </a:solidFill>
            </a:endParaRPr>
          </a:p>
          <a:p>
            <a:pPr marL="0" lvl="1" defTabSz="913686">
              <a:buSzPct val="100000"/>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51" name="Rectangle 11">
            <a:extLst>
              <a:ext uri="{FF2B5EF4-FFF2-40B4-BE49-F238E27FC236}">
                <a16:creationId xmlns:a16="http://schemas.microsoft.com/office/drawing/2014/main" id="{2777425A-9A8E-CA40-B10E-4BBCCBA8FE5F}"/>
              </a:ext>
            </a:extLst>
          </p:cNvPr>
          <p:cNvSpPr>
            <a:spLocks noChangeArrowheads="1"/>
          </p:cNvSpPr>
          <p:nvPr/>
        </p:nvSpPr>
        <p:spPr bwMode="auto">
          <a:xfrm>
            <a:off x="457200" y="1714500"/>
            <a:ext cx="8743765" cy="1071209"/>
          </a:xfrm>
          <a:prstGeom prst="rect">
            <a:avLst/>
          </a:prstGeom>
          <a:solidFill>
            <a:srgbClr val="86BC25"/>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 dolor </a:t>
            </a:r>
          </a:p>
          <a:p>
            <a:pPr marL="0" lvl="1" defTabSz="913686">
              <a:buSzPct val="100000"/>
            </a:pPr>
            <a:endParaRPr lang="en-US" sz="1300" b="1" dirty="0">
              <a:solidFill>
                <a:srgbClr val="FFFFFF"/>
              </a:solidFill>
            </a:endParaRPr>
          </a:p>
          <a:p>
            <a:pPr marL="0" lvl="1" defTabSz="913686">
              <a:buSzPct val="100000"/>
            </a:pPr>
            <a:r>
              <a:rPr lang="en-US" sz="1300" dirty="0">
                <a:solidFill>
                  <a:srgbClr val="FFFFFF"/>
                </a:solidFill>
              </a:rPr>
              <a:t>This is dummy text it is not here to be read. The is just text to show where you could insert text. The is just text to show where you could insert text. Please replace with your text content here. </a:t>
            </a:r>
          </a:p>
        </p:txBody>
      </p:sp>
      <p:sp>
        <p:nvSpPr>
          <p:cNvPr id="52" name="Rectangle 12">
            <a:extLst>
              <a:ext uri="{FF2B5EF4-FFF2-40B4-BE49-F238E27FC236}">
                <a16:creationId xmlns:a16="http://schemas.microsoft.com/office/drawing/2014/main" id="{FB1DBC92-B747-4E4F-9B17-E7D0119F28D1}"/>
              </a:ext>
            </a:extLst>
          </p:cNvPr>
          <p:cNvSpPr>
            <a:spLocks noChangeArrowheads="1"/>
          </p:cNvSpPr>
          <p:nvPr/>
        </p:nvSpPr>
        <p:spPr bwMode="auto">
          <a:xfrm>
            <a:off x="457200" y="3981210"/>
            <a:ext cx="8743765" cy="1068251"/>
          </a:xfrm>
          <a:prstGeom prst="rect">
            <a:avLst/>
          </a:prstGeom>
          <a:solidFill>
            <a:srgbClr val="43B02A"/>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 dolor </a:t>
            </a:r>
          </a:p>
          <a:p>
            <a:pPr marL="0" lvl="1" defTabSz="913686">
              <a:buSzPct val="100000"/>
            </a:pPr>
            <a:endParaRPr lang="en-US" sz="1300" b="1" dirty="0">
              <a:solidFill>
                <a:srgbClr val="FFFFFF"/>
              </a:solidFill>
            </a:endParaRPr>
          </a:p>
          <a:p>
            <a:pPr marL="0" lvl="1" defTabSz="913686">
              <a:buSzPct val="100000"/>
            </a:pPr>
            <a:r>
              <a:rPr lang="en-US" sz="1300" dirty="0">
                <a:solidFill>
                  <a:srgbClr val="FFFFFF"/>
                </a:solidFill>
              </a:rPr>
              <a:t>This is dummy text it is not here to be read. The is just text to show where you could insert text. The is just text to show where you could insert text. Please replace with your text content here. </a:t>
            </a:r>
          </a:p>
        </p:txBody>
      </p:sp>
      <p:sp>
        <p:nvSpPr>
          <p:cNvPr id="53" name="Rectangle 13">
            <a:extLst>
              <a:ext uri="{FF2B5EF4-FFF2-40B4-BE49-F238E27FC236}">
                <a16:creationId xmlns:a16="http://schemas.microsoft.com/office/drawing/2014/main" id="{10E9A9B5-4B1C-1944-A996-47C7D8D32CEE}"/>
              </a:ext>
            </a:extLst>
          </p:cNvPr>
          <p:cNvSpPr>
            <a:spLocks noChangeArrowheads="1"/>
          </p:cNvSpPr>
          <p:nvPr/>
        </p:nvSpPr>
        <p:spPr bwMode="auto">
          <a:xfrm>
            <a:off x="457200" y="5111596"/>
            <a:ext cx="8743765" cy="1071209"/>
          </a:xfrm>
          <a:prstGeom prst="rect">
            <a:avLst/>
          </a:prstGeom>
          <a:solidFill>
            <a:srgbClr val="53565A"/>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 dolor </a:t>
            </a:r>
          </a:p>
          <a:p>
            <a:pPr marL="0" lvl="1" defTabSz="913686">
              <a:buSzPct val="100000"/>
            </a:pPr>
            <a:endParaRPr lang="en-US" sz="1300" b="1" dirty="0">
              <a:solidFill>
                <a:srgbClr val="FFFFFF"/>
              </a:solidFill>
            </a:endParaRPr>
          </a:p>
          <a:p>
            <a:pPr marL="0" lvl="1" defTabSz="913686">
              <a:buSzPct val="100000"/>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54" name="Freeform 14">
            <a:extLst>
              <a:ext uri="{FF2B5EF4-FFF2-40B4-BE49-F238E27FC236}">
                <a16:creationId xmlns:a16="http://schemas.microsoft.com/office/drawing/2014/main" id="{2E48AAAC-E4BF-CC49-9BB4-2E7C0A232FA5}"/>
              </a:ext>
            </a:extLst>
          </p:cNvPr>
          <p:cNvSpPr>
            <a:spLocks noEditPoints="1"/>
          </p:cNvSpPr>
          <p:nvPr/>
        </p:nvSpPr>
        <p:spPr bwMode="auto">
          <a:xfrm>
            <a:off x="10458602" y="1714500"/>
            <a:ext cx="1230102" cy="4447589"/>
          </a:xfrm>
          <a:prstGeom prst="rect">
            <a:avLst/>
          </a:prstGeom>
          <a:solidFill>
            <a:srgbClr val="FFFFFF"/>
          </a:solidFill>
          <a:ln w="34925">
            <a:solidFill>
              <a:srgbClr val="000000"/>
            </a:solidFill>
            <a:round/>
            <a:headEnd/>
            <a:tailEnd/>
          </a:ln>
        </p:spPr>
        <p:txBody>
          <a:bodyPr vert="horz" wrap="square" lIns="91370" tIns="45685" rIns="91370" bIns="45685" numCol="1" anchor="t" anchorCtr="0" compatLnSpc="1">
            <a:prstTxWarp prst="textNoShape">
              <a:avLst/>
            </a:prstTxWarp>
          </a:bodyPr>
          <a:lstStyle/>
          <a:p>
            <a:pPr defTabSz="913686"/>
            <a:endParaRPr lang="en-US">
              <a:solidFill>
                <a:prstClr val="black"/>
              </a:solidFill>
            </a:endParaRPr>
          </a:p>
        </p:txBody>
      </p:sp>
      <p:sp>
        <p:nvSpPr>
          <p:cNvPr id="79" name="Rectangle 78">
            <a:extLst>
              <a:ext uri="{FF2B5EF4-FFF2-40B4-BE49-F238E27FC236}">
                <a16:creationId xmlns:a16="http://schemas.microsoft.com/office/drawing/2014/main" id="{02E6B0D3-5F61-1A40-A88D-FD0D22E5911E}"/>
              </a:ext>
            </a:extLst>
          </p:cNvPr>
          <p:cNvSpPr/>
          <p:nvPr/>
        </p:nvSpPr>
        <p:spPr>
          <a:xfrm>
            <a:off x="10622114" y="3722556"/>
            <a:ext cx="903078" cy="400110"/>
          </a:xfrm>
          <a:prstGeom prst="rect">
            <a:avLst/>
          </a:prstGeom>
        </p:spPr>
        <p:txBody>
          <a:bodyPr wrap="square" lIns="0" tIns="0" rIns="0" bIns="0">
            <a:spAutoFit/>
          </a:bodyPr>
          <a:lstStyle/>
          <a:p>
            <a:pPr algn="ctr" defTabSz="913686"/>
            <a:r>
              <a:rPr lang="en-US" sz="1300" b="1" dirty="0"/>
              <a:t>Lorem ipsum dolor </a:t>
            </a:r>
          </a:p>
        </p:txBody>
      </p:sp>
      <p:grpSp>
        <p:nvGrpSpPr>
          <p:cNvPr id="23" name="Group 977">
            <a:extLst>
              <a:ext uri="{FF2B5EF4-FFF2-40B4-BE49-F238E27FC236}">
                <a16:creationId xmlns:a16="http://schemas.microsoft.com/office/drawing/2014/main" id="{477AA323-64EE-46FF-A6EB-BD59B436E883}"/>
              </a:ext>
            </a:extLst>
          </p:cNvPr>
          <p:cNvGrpSpPr>
            <a:grpSpLocks noChangeAspect="1"/>
          </p:cNvGrpSpPr>
          <p:nvPr/>
        </p:nvGrpSpPr>
        <p:grpSpPr bwMode="auto">
          <a:xfrm>
            <a:off x="9604758" y="2439536"/>
            <a:ext cx="413830" cy="413828"/>
            <a:chOff x="1925" y="3985"/>
            <a:chExt cx="340" cy="340"/>
          </a:xfrm>
          <a:solidFill>
            <a:schemeClr val="bg1"/>
          </a:solidFill>
        </p:grpSpPr>
        <p:sp>
          <p:nvSpPr>
            <p:cNvPr id="24" name="Freeform 978">
              <a:extLst>
                <a:ext uri="{FF2B5EF4-FFF2-40B4-BE49-F238E27FC236}">
                  <a16:creationId xmlns:a16="http://schemas.microsoft.com/office/drawing/2014/main" id="{C0238D6E-18EF-41FB-B5B4-0E7870B7610B}"/>
                </a:ext>
              </a:extLst>
            </p:cNvPr>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25" name="Freeform 979">
              <a:extLst>
                <a:ext uri="{FF2B5EF4-FFF2-40B4-BE49-F238E27FC236}">
                  <a16:creationId xmlns:a16="http://schemas.microsoft.com/office/drawing/2014/main" id="{3E9C8A6F-ACD2-4D32-A341-AA7EB4936DC3}"/>
                </a:ext>
              </a:extLst>
            </p:cNvPr>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26" name="Freeform 980">
              <a:extLst>
                <a:ext uri="{FF2B5EF4-FFF2-40B4-BE49-F238E27FC236}">
                  <a16:creationId xmlns:a16="http://schemas.microsoft.com/office/drawing/2014/main" id="{489AACDA-4B1D-4BF5-84BB-F67FD9B76D01}"/>
                </a:ext>
              </a:extLst>
            </p:cNvPr>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27" name="Group 861">
            <a:extLst>
              <a:ext uri="{FF2B5EF4-FFF2-40B4-BE49-F238E27FC236}">
                <a16:creationId xmlns:a16="http://schemas.microsoft.com/office/drawing/2014/main" id="{E6C1C155-F154-4409-93E5-91038B79421D}"/>
              </a:ext>
            </a:extLst>
          </p:cNvPr>
          <p:cNvGrpSpPr>
            <a:grpSpLocks noChangeAspect="1"/>
          </p:cNvGrpSpPr>
          <p:nvPr/>
        </p:nvGrpSpPr>
        <p:grpSpPr bwMode="auto">
          <a:xfrm>
            <a:off x="9604427" y="5049608"/>
            <a:ext cx="414493" cy="414493"/>
            <a:chOff x="5813" y="3162"/>
            <a:chExt cx="340" cy="340"/>
          </a:xfrm>
          <a:solidFill>
            <a:schemeClr val="bg1"/>
          </a:solidFill>
        </p:grpSpPr>
        <p:sp>
          <p:nvSpPr>
            <p:cNvPr id="28" name="Freeform 862">
              <a:extLst>
                <a:ext uri="{FF2B5EF4-FFF2-40B4-BE49-F238E27FC236}">
                  <a16:creationId xmlns:a16="http://schemas.microsoft.com/office/drawing/2014/main" id="{EC60D2A5-FDEA-4B54-BC13-843C8EE716F4}"/>
                </a:ext>
              </a:extLst>
            </p:cNvPr>
            <p:cNvSpPr>
              <a:spLocks noEditPoints="1"/>
            </p:cNvSpPr>
            <p:nvPr/>
          </p:nvSpPr>
          <p:spPr bwMode="auto">
            <a:xfrm>
              <a:off x="5813" y="316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29" name="Freeform 863">
              <a:extLst>
                <a:ext uri="{FF2B5EF4-FFF2-40B4-BE49-F238E27FC236}">
                  <a16:creationId xmlns:a16="http://schemas.microsoft.com/office/drawing/2014/main" id="{D7D9FEF4-BA17-4AFE-8C5B-647994ACA19E}"/>
                </a:ext>
              </a:extLst>
            </p:cNvPr>
            <p:cNvSpPr>
              <a:spLocks noEditPoints="1"/>
            </p:cNvSpPr>
            <p:nvPr/>
          </p:nvSpPr>
          <p:spPr bwMode="auto">
            <a:xfrm>
              <a:off x="5905" y="3216"/>
              <a:ext cx="156" cy="208"/>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0" name="Group 432">
            <a:extLst>
              <a:ext uri="{FF2B5EF4-FFF2-40B4-BE49-F238E27FC236}">
                <a16:creationId xmlns:a16="http://schemas.microsoft.com/office/drawing/2014/main" id="{F9A02FB3-F399-40C8-8BD2-A3022DD6EB74}"/>
              </a:ext>
            </a:extLst>
          </p:cNvPr>
          <p:cNvGrpSpPr>
            <a:grpSpLocks noChangeAspect="1"/>
          </p:cNvGrpSpPr>
          <p:nvPr/>
        </p:nvGrpSpPr>
        <p:grpSpPr bwMode="auto">
          <a:xfrm>
            <a:off x="9603273" y="4103365"/>
            <a:ext cx="416800" cy="418024"/>
            <a:chOff x="3505" y="1546"/>
            <a:chExt cx="340" cy="341"/>
          </a:xfrm>
          <a:solidFill>
            <a:schemeClr val="bg1"/>
          </a:solidFill>
        </p:grpSpPr>
        <p:sp>
          <p:nvSpPr>
            <p:cNvPr id="31" name="Freeform 433">
              <a:extLst>
                <a:ext uri="{FF2B5EF4-FFF2-40B4-BE49-F238E27FC236}">
                  <a16:creationId xmlns:a16="http://schemas.microsoft.com/office/drawing/2014/main" id="{B832EEF6-47C8-44AA-A520-6B6B29F84F2F}"/>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2" name="Freeform 434">
              <a:extLst>
                <a:ext uri="{FF2B5EF4-FFF2-40B4-BE49-F238E27FC236}">
                  <a16:creationId xmlns:a16="http://schemas.microsoft.com/office/drawing/2014/main" id="{D37CBBFB-0533-42BF-8AAE-324C9F827CBF}"/>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3" name="Group 510">
            <a:extLst>
              <a:ext uri="{FF2B5EF4-FFF2-40B4-BE49-F238E27FC236}">
                <a16:creationId xmlns:a16="http://schemas.microsoft.com/office/drawing/2014/main" id="{0E0E0585-9A06-4B72-8AF4-3FC33153351C}"/>
              </a:ext>
            </a:extLst>
          </p:cNvPr>
          <p:cNvGrpSpPr>
            <a:grpSpLocks noChangeAspect="1"/>
          </p:cNvGrpSpPr>
          <p:nvPr/>
        </p:nvGrpSpPr>
        <p:grpSpPr bwMode="auto">
          <a:xfrm>
            <a:off x="9603617" y="3317307"/>
            <a:ext cx="416112" cy="414890"/>
            <a:chOff x="4155" y="3088"/>
            <a:chExt cx="341" cy="340"/>
          </a:xfrm>
          <a:solidFill>
            <a:schemeClr val="bg1"/>
          </a:solidFill>
        </p:grpSpPr>
        <p:sp>
          <p:nvSpPr>
            <p:cNvPr id="34" name="Freeform 511">
              <a:extLst>
                <a:ext uri="{FF2B5EF4-FFF2-40B4-BE49-F238E27FC236}">
                  <a16:creationId xmlns:a16="http://schemas.microsoft.com/office/drawing/2014/main" id="{7E3173C5-57EF-469C-B919-AF068E1D559B}"/>
                </a:ext>
              </a:extLst>
            </p:cNvPr>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5" name="Freeform 512">
              <a:extLst>
                <a:ext uri="{FF2B5EF4-FFF2-40B4-BE49-F238E27FC236}">
                  <a16:creationId xmlns:a16="http://schemas.microsoft.com/office/drawing/2014/main" id="{DCB06F49-E914-46D2-9422-C998F10DF42B}"/>
                </a:ext>
              </a:extLst>
            </p:cNvPr>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custDataLst>
      <p:tags r:id="rId1"/>
    </p:custDataLst>
    <p:extLst>
      <p:ext uri="{BB962C8B-B14F-4D97-AF65-F5344CB8AC3E}">
        <p14:creationId xmlns:p14="http://schemas.microsoft.com/office/powerpoint/2010/main" val="1996217345"/>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直接连接符 13"/>
          <p:cNvCxnSpPr>
            <a:cxnSpLocks noChangeShapeType="1"/>
          </p:cNvCxnSpPr>
          <p:nvPr/>
        </p:nvCxnSpPr>
        <p:spPr bwMode="auto">
          <a:xfrm>
            <a:off x="4256416" y="2707994"/>
            <a:ext cx="1718886" cy="2173865"/>
          </a:xfrm>
          <a:prstGeom prst="line">
            <a:avLst/>
          </a:prstGeom>
          <a:noFill/>
          <a:ln w="38100">
            <a:solidFill>
              <a:srgbClr val="43B02A"/>
            </a:solidFill>
            <a:miter lim="800000"/>
            <a:headEnd/>
            <a:tailEnd/>
          </a:ln>
          <a:extLst>
            <a:ext uri="{909E8E84-426E-40DD-AFC4-6F175D3DCCD1}">
              <a14:hiddenFill xmlns:a14="http://schemas.microsoft.com/office/drawing/2010/main">
                <a:noFill/>
              </a14:hiddenFill>
            </a:ext>
          </a:extLst>
        </p:spPr>
      </p:cxnSp>
      <p:cxnSp>
        <p:nvCxnSpPr>
          <p:cNvPr id="9" name="直接连接符 15"/>
          <p:cNvCxnSpPr>
            <a:cxnSpLocks noChangeShapeType="1"/>
            <a:stCxn id="29" idx="18"/>
          </p:cNvCxnSpPr>
          <p:nvPr/>
        </p:nvCxnSpPr>
        <p:spPr bwMode="auto">
          <a:xfrm flipV="1">
            <a:off x="7388056" y="4433390"/>
            <a:ext cx="2362128" cy="950194"/>
          </a:xfrm>
          <a:prstGeom prst="line">
            <a:avLst/>
          </a:prstGeom>
          <a:noFill/>
          <a:ln w="38100">
            <a:solidFill>
              <a:schemeClr val="tx2"/>
            </a:solidFill>
            <a:miter lim="800000"/>
            <a:headEnd/>
            <a:tailEnd/>
          </a:ln>
          <a:extLst>
            <a:ext uri="{909E8E84-426E-40DD-AFC4-6F175D3DCCD1}">
              <a14:hiddenFill xmlns:a14="http://schemas.microsoft.com/office/drawing/2010/main">
                <a:noFill/>
              </a14:hiddenFill>
            </a:ext>
          </a:extLst>
        </p:spPr>
      </p:cxnSp>
      <p:sp>
        <p:nvSpPr>
          <p:cNvPr id="10" name="圆角矩形标注 20"/>
          <p:cNvSpPr>
            <a:spLocks noChangeArrowheads="1"/>
          </p:cNvSpPr>
          <p:nvPr/>
        </p:nvSpPr>
        <p:spPr bwMode="auto">
          <a:xfrm>
            <a:off x="5810786" y="2051404"/>
            <a:ext cx="2266889" cy="2004600"/>
          </a:xfrm>
          <a:prstGeom prst="wedgeRoundRectCallout">
            <a:avLst>
              <a:gd name="adj1" fmla="val -17782"/>
              <a:gd name="adj2" fmla="val 64523"/>
              <a:gd name="adj3" fmla="val 16667"/>
            </a:avLst>
          </a:prstGeom>
          <a:solidFill>
            <a:srgbClr val="53565A"/>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00000"/>
              </a:lnSpc>
              <a:spcBef>
                <a:spcPts val="0"/>
              </a:spcBef>
              <a:buNone/>
            </a:pPr>
            <a:r>
              <a:rPr lang="en-US" altLang="zh-CN" sz="1300" dirty="0">
                <a:solidFill>
                  <a:schemeClr val="bg1"/>
                </a:solidFill>
                <a:ea typeface="方正兰亭细黑_GBK" panose="02000000000000000000" pitchFamily="2" charset="-122"/>
                <a:sym typeface="方正兰亭超细黑简体" panose="02000000000000000000" pitchFamily="2" charset="-122"/>
              </a:rPr>
              <a:t>Add your text here and write down your ideas here thank you add your text here and write down your ideas thank you</a:t>
            </a:r>
            <a:endParaRPr lang="zh-CN" altLang="en-US" sz="1300" dirty="0">
              <a:solidFill>
                <a:schemeClr val="bg1"/>
              </a:solidFill>
              <a:ea typeface="方正兰亭细黑_GBK" panose="02000000000000000000" pitchFamily="2" charset="-122"/>
              <a:sym typeface="方正兰亭超细黑简体" panose="02000000000000000000" pitchFamily="2" charset="-122"/>
            </a:endParaRPr>
          </a:p>
        </p:txBody>
      </p:sp>
      <p:sp>
        <p:nvSpPr>
          <p:cNvPr id="12" name="圆角矩形标注 26"/>
          <p:cNvSpPr>
            <a:spLocks noChangeArrowheads="1"/>
          </p:cNvSpPr>
          <p:nvPr/>
        </p:nvSpPr>
        <p:spPr bwMode="auto">
          <a:xfrm>
            <a:off x="9750184" y="1714500"/>
            <a:ext cx="1983346" cy="1626958"/>
          </a:xfrm>
          <a:prstGeom prst="wedgeRoundRectCallout">
            <a:avLst>
              <a:gd name="adj1" fmla="val -19995"/>
              <a:gd name="adj2" fmla="val 65000"/>
              <a:gd name="adj3" fmla="val 16667"/>
            </a:avLst>
          </a:prstGeom>
          <a:solidFill>
            <a:srgbClr val="86BC25"/>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00000"/>
              </a:lnSpc>
              <a:spcBef>
                <a:spcPts val="0"/>
              </a:spcBef>
              <a:buNone/>
            </a:pPr>
            <a:r>
              <a:rPr lang="en-US" altLang="zh-CN" sz="1300">
                <a:solidFill>
                  <a:schemeClr val="bg1"/>
                </a:solidFill>
                <a:ea typeface="方正兰亭细黑_GBK" panose="02000000000000000000" pitchFamily="2" charset="-122"/>
                <a:sym typeface="方正兰亭超细黑简体" panose="02000000000000000000" pitchFamily="2" charset="-122"/>
              </a:rPr>
              <a:t>Add your text here and write down your ideas here thank you add your text here</a:t>
            </a:r>
            <a:endParaRPr lang="zh-CN" altLang="en-US" sz="1300" dirty="0">
              <a:solidFill>
                <a:schemeClr val="bg1"/>
              </a:solidFill>
              <a:ea typeface="方正兰亭细黑_GBK" panose="02000000000000000000" pitchFamily="2" charset="-122"/>
              <a:sym typeface="方正兰亭超细黑简体" panose="02000000000000000000" pitchFamily="2" charset="-122"/>
            </a:endParaRPr>
          </a:p>
        </p:txBody>
      </p:sp>
      <p:sp>
        <p:nvSpPr>
          <p:cNvPr id="14" name="圆角矩形标注 28"/>
          <p:cNvSpPr>
            <a:spLocks noChangeArrowheads="1"/>
          </p:cNvSpPr>
          <p:nvPr/>
        </p:nvSpPr>
        <p:spPr bwMode="auto">
          <a:xfrm>
            <a:off x="492253" y="4651774"/>
            <a:ext cx="1769244" cy="1710926"/>
          </a:xfrm>
          <a:prstGeom prst="wedgeRoundRectCallout">
            <a:avLst>
              <a:gd name="adj1" fmla="val 22775"/>
              <a:gd name="adj2" fmla="val -65840"/>
              <a:gd name="adj3" fmla="val 16667"/>
            </a:avLst>
          </a:prstGeom>
          <a:solidFill>
            <a:srgbClr val="000000"/>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00000"/>
              </a:lnSpc>
              <a:spcBef>
                <a:spcPts val="0"/>
              </a:spcBef>
              <a:buNone/>
            </a:pPr>
            <a:r>
              <a:rPr lang="en-US" altLang="zh-CN" sz="1300" dirty="0">
                <a:solidFill>
                  <a:schemeClr val="bg1"/>
                </a:solidFill>
                <a:ea typeface="方正兰亭细黑_GBK" panose="02000000000000000000" pitchFamily="2" charset="-122"/>
                <a:sym typeface="方正兰亭超细黑简体" panose="02000000000000000000" pitchFamily="2" charset="-122"/>
              </a:rPr>
              <a:t>Add your text here and write down your ideas here thank you add your text</a:t>
            </a:r>
            <a:endParaRPr lang="zh-CN" altLang="en-US" sz="1300" dirty="0">
              <a:solidFill>
                <a:schemeClr val="bg1"/>
              </a:solidFill>
              <a:ea typeface="方正兰亭细黑_GBK" panose="02000000000000000000" pitchFamily="2" charset="-122"/>
              <a:sym typeface="方正兰亭超细黑简体" panose="02000000000000000000" pitchFamily="2" charset="-122"/>
            </a:endParaRPr>
          </a:p>
        </p:txBody>
      </p:sp>
      <p:sp>
        <p:nvSpPr>
          <p:cNvPr id="15" name="圆角矩形标注 29"/>
          <p:cNvSpPr>
            <a:spLocks noChangeArrowheads="1"/>
          </p:cNvSpPr>
          <p:nvPr/>
        </p:nvSpPr>
        <p:spPr bwMode="auto">
          <a:xfrm>
            <a:off x="2805894" y="3243111"/>
            <a:ext cx="1883528" cy="2140473"/>
          </a:xfrm>
          <a:prstGeom prst="wedgeRoundRectCallout">
            <a:avLst>
              <a:gd name="adj1" fmla="val 17738"/>
              <a:gd name="adj2" fmla="val -59625"/>
              <a:gd name="adj3" fmla="val 16667"/>
            </a:avLst>
          </a:prstGeom>
          <a:solidFill>
            <a:srgbClr val="43B02A"/>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00000"/>
              </a:lnSpc>
              <a:spcBef>
                <a:spcPts val="0"/>
              </a:spcBef>
              <a:buNone/>
            </a:pPr>
            <a:r>
              <a:rPr lang="en-US" altLang="zh-CN" sz="1300" dirty="0">
                <a:solidFill>
                  <a:schemeClr val="bg1"/>
                </a:solidFill>
                <a:ea typeface="方正兰亭细黑_GBK" panose="02000000000000000000" pitchFamily="2" charset="-122"/>
                <a:sym typeface="方正兰亭超细黑简体" panose="02000000000000000000" pitchFamily="2" charset="-122"/>
              </a:rPr>
              <a:t>Add your text here and write down your ideas here thank you add your text here and write down your ideas</a:t>
            </a:r>
            <a:endParaRPr lang="zh-CN" altLang="en-US" sz="1300" dirty="0">
              <a:solidFill>
                <a:schemeClr val="bg1"/>
              </a:solidFill>
              <a:ea typeface="方正兰亭细黑_GBK" panose="02000000000000000000" pitchFamily="2" charset="-122"/>
              <a:sym typeface="方正兰亭超细黑简体" panose="02000000000000000000" pitchFamily="2" charset="-122"/>
            </a:endParaRPr>
          </a:p>
        </p:txBody>
      </p:sp>
      <p:grpSp>
        <p:nvGrpSpPr>
          <p:cNvPr id="20" name="组合 36"/>
          <p:cNvGrpSpPr>
            <a:grpSpLocks/>
          </p:cNvGrpSpPr>
          <p:nvPr/>
        </p:nvGrpSpPr>
        <p:grpSpPr bwMode="auto">
          <a:xfrm>
            <a:off x="1403638" y="3486083"/>
            <a:ext cx="661116" cy="665282"/>
            <a:chOff x="0" y="0"/>
            <a:chExt cx="495300" cy="498475"/>
          </a:xfrm>
        </p:grpSpPr>
        <p:sp>
          <p:nvSpPr>
            <p:cNvPr id="21" name="Freeform 90"/>
            <p:cNvSpPr>
              <a:spLocks noChangeArrowheads="1"/>
            </p:cNvSpPr>
            <p:nvPr/>
          </p:nvSpPr>
          <p:spPr bwMode="auto">
            <a:xfrm>
              <a:off x="0" y="52387"/>
              <a:ext cx="446088" cy="446088"/>
            </a:xfrm>
            <a:custGeom>
              <a:avLst/>
              <a:gdLst>
                <a:gd name="T0" fmla="*/ 478352172 w 208"/>
                <a:gd name="T1" fmla="*/ 956704345 h 208"/>
                <a:gd name="T2" fmla="*/ 956704345 w 208"/>
                <a:gd name="T3" fmla="*/ 478352172 h 208"/>
                <a:gd name="T4" fmla="*/ 901509534 w 208"/>
                <a:gd name="T5" fmla="*/ 252974789 h 208"/>
                <a:gd name="T6" fmla="*/ 892311113 w 208"/>
                <a:gd name="T7" fmla="*/ 252974789 h 208"/>
                <a:gd name="T8" fmla="*/ 883112693 w 208"/>
                <a:gd name="T9" fmla="*/ 252974789 h 208"/>
                <a:gd name="T10" fmla="*/ 823317599 w 208"/>
                <a:gd name="T11" fmla="*/ 248374507 h 208"/>
                <a:gd name="T12" fmla="*/ 777323353 w 208"/>
                <a:gd name="T13" fmla="*/ 289770615 h 208"/>
                <a:gd name="T14" fmla="*/ 832516019 w 208"/>
                <a:gd name="T15" fmla="*/ 478352172 h 208"/>
                <a:gd name="T16" fmla="*/ 478352172 w 208"/>
                <a:gd name="T17" fmla="*/ 827917881 h 208"/>
                <a:gd name="T18" fmla="*/ 128786463 w 208"/>
                <a:gd name="T19" fmla="*/ 478352172 h 208"/>
                <a:gd name="T20" fmla="*/ 478352172 w 208"/>
                <a:gd name="T21" fmla="*/ 124188326 h 208"/>
                <a:gd name="T22" fmla="*/ 666933730 w 208"/>
                <a:gd name="T23" fmla="*/ 179383137 h 208"/>
                <a:gd name="T24" fmla="*/ 703729556 w 208"/>
                <a:gd name="T25" fmla="*/ 137987028 h 208"/>
                <a:gd name="T26" fmla="*/ 699129273 w 208"/>
                <a:gd name="T27" fmla="*/ 68993514 h 208"/>
                <a:gd name="T28" fmla="*/ 699129273 w 208"/>
                <a:gd name="T29" fmla="*/ 50594529 h 208"/>
                <a:gd name="T30" fmla="*/ 478352172 w 208"/>
                <a:gd name="T31" fmla="*/ 0 h 208"/>
                <a:gd name="T32" fmla="*/ 0 w 208"/>
                <a:gd name="T33" fmla="*/ 478352172 h 208"/>
                <a:gd name="T34" fmla="*/ 478352172 w 208"/>
                <a:gd name="T35" fmla="*/ 956704345 h 2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8"/>
                <a:gd name="T55" fmla="*/ 0 h 208"/>
                <a:gd name="T56" fmla="*/ 208 w 208"/>
                <a:gd name="T57" fmla="*/ 208 h 20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8" h="208">
                  <a:moveTo>
                    <a:pt x="104" y="208"/>
                  </a:moveTo>
                  <a:cubicBezTo>
                    <a:pt x="162" y="208"/>
                    <a:pt x="208" y="161"/>
                    <a:pt x="208" y="104"/>
                  </a:cubicBezTo>
                  <a:cubicBezTo>
                    <a:pt x="208" y="86"/>
                    <a:pt x="204" y="69"/>
                    <a:pt x="196" y="55"/>
                  </a:cubicBezTo>
                  <a:cubicBezTo>
                    <a:pt x="195" y="55"/>
                    <a:pt x="194" y="55"/>
                    <a:pt x="194" y="55"/>
                  </a:cubicBezTo>
                  <a:cubicBezTo>
                    <a:pt x="193" y="55"/>
                    <a:pt x="193" y="55"/>
                    <a:pt x="192" y="55"/>
                  </a:cubicBezTo>
                  <a:cubicBezTo>
                    <a:pt x="179" y="54"/>
                    <a:pt x="179" y="54"/>
                    <a:pt x="179" y="54"/>
                  </a:cubicBezTo>
                  <a:cubicBezTo>
                    <a:pt x="169" y="63"/>
                    <a:pt x="169" y="63"/>
                    <a:pt x="169" y="63"/>
                  </a:cubicBezTo>
                  <a:cubicBezTo>
                    <a:pt x="177" y="75"/>
                    <a:pt x="181" y="89"/>
                    <a:pt x="181" y="104"/>
                  </a:cubicBezTo>
                  <a:cubicBezTo>
                    <a:pt x="181" y="146"/>
                    <a:pt x="147" y="180"/>
                    <a:pt x="104" y="180"/>
                  </a:cubicBezTo>
                  <a:cubicBezTo>
                    <a:pt x="62" y="180"/>
                    <a:pt x="28" y="146"/>
                    <a:pt x="28" y="104"/>
                  </a:cubicBezTo>
                  <a:cubicBezTo>
                    <a:pt x="28" y="61"/>
                    <a:pt x="62" y="27"/>
                    <a:pt x="104" y="27"/>
                  </a:cubicBezTo>
                  <a:cubicBezTo>
                    <a:pt x="119" y="27"/>
                    <a:pt x="133" y="31"/>
                    <a:pt x="145" y="39"/>
                  </a:cubicBezTo>
                  <a:cubicBezTo>
                    <a:pt x="153" y="30"/>
                    <a:pt x="153" y="30"/>
                    <a:pt x="153" y="30"/>
                  </a:cubicBezTo>
                  <a:cubicBezTo>
                    <a:pt x="152" y="15"/>
                    <a:pt x="152" y="15"/>
                    <a:pt x="152" y="15"/>
                  </a:cubicBezTo>
                  <a:cubicBezTo>
                    <a:pt x="152" y="14"/>
                    <a:pt x="152" y="12"/>
                    <a:pt x="152" y="11"/>
                  </a:cubicBezTo>
                  <a:cubicBezTo>
                    <a:pt x="138" y="4"/>
                    <a:pt x="121" y="0"/>
                    <a:pt x="104" y="0"/>
                  </a:cubicBezTo>
                  <a:cubicBezTo>
                    <a:pt x="47" y="0"/>
                    <a:pt x="0" y="46"/>
                    <a:pt x="0" y="104"/>
                  </a:cubicBezTo>
                  <a:cubicBezTo>
                    <a:pt x="0" y="161"/>
                    <a:pt x="47" y="208"/>
                    <a:pt x="104" y="208"/>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2" name="Freeform 91"/>
            <p:cNvSpPr>
              <a:spLocks noChangeArrowheads="1"/>
            </p:cNvSpPr>
            <p:nvPr/>
          </p:nvSpPr>
          <p:spPr bwMode="auto">
            <a:xfrm>
              <a:off x="114300" y="163512"/>
              <a:ext cx="217488" cy="220663"/>
            </a:xfrm>
            <a:custGeom>
              <a:avLst/>
              <a:gdLst>
                <a:gd name="T0" fmla="*/ 231867795 w 102"/>
                <a:gd name="T1" fmla="*/ 114742618 h 103"/>
                <a:gd name="T2" fmla="*/ 240959646 w 102"/>
                <a:gd name="T3" fmla="*/ 114742618 h 103"/>
                <a:gd name="T4" fmla="*/ 331888820 w 102"/>
                <a:gd name="T5" fmla="*/ 27537885 h 103"/>
                <a:gd name="T6" fmla="*/ 331888820 w 102"/>
                <a:gd name="T7" fmla="*/ 22948952 h 103"/>
                <a:gd name="T8" fmla="*/ 231867795 w 102"/>
                <a:gd name="T9" fmla="*/ 0 h 103"/>
                <a:gd name="T10" fmla="*/ 0 w 102"/>
                <a:gd name="T11" fmla="*/ 238665245 h 103"/>
                <a:gd name="T12" fmla="*/ 231867795 w 102"/>
                <a:gd name="T13" fmla="*/ 472739413 h 103"/>
                <a:gd name="T14" fmla="*/ 463735590 w 102"/>
                <a:gd name="T15" fmla="*/ 238665245 h 103"/>
                <a:gd name="T16" fmla="*/ 445549755 w 102"/>
                <a:gd name="T17" fmla="*/ 137691570 h 103"/>
                <a:gd name="T18" fmla="*/ 441003829 w 102"/>
                <a:gd name="T19" fmla="*/ 137691570 h 103"/>
                <a:gd name="T20" fmla="*/ 354620581 w 102"/>
                <a:gd name="T21" fmla="*/ 229485235 h 103"/>
                <a:gd name="T22" fmla="*/ 354620581 w 102"/>
                <a:gd name="T23" fmla="*/ 238665245 h 103"/>
                <a:gd name="T24" fmla="*/ 231867795 w 102"/>
                <a:gd name="T25" fmla="*/ 362585729 h 103"/>
                <a:gd name="T26" fmla="*/ 109115009 w 102"/>
                <a:gd name="T27" fmla="*/ 238665245 h 103"/>
                <a:gd name="T28" fmla="*/ 231867795 w 102"/>
                <a:gd name="T29" fmla="*/ 114742618 h 10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2"/>
                <a:gd name="T46" fmla="*/ 0 h 103"/>
                <a:gd name="T47" fmla="*/ 102 w 102"/>
                <a:gd name="T48" fmla="*/ 103 h 10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2" h="103">
                  <a:moveTo>
                    <a:pt x="51" y="25"/>
                  </a:moveTo>
                  <a:cubicBezTo>
                    <a:pt x="52" y="25"/>
                    <a:pt x="53" y="25"/>
                    <a:pt x="53" y="25"/>
                  </a:cubicBezTo>
                  <a:cubicBezTo>
                    <a:pt x="73" y="6"/>
                    <a:pt x="73" y="6"/>
                    <a:pt x="73" y="6"/>
                  </a:cubicBezTo>
                  <a:cubicBezTo>
                    <a:pt x="73" y="5"/>
                    <a:pt x="73" y="5"/>
                    <a:pt x="73" y="5"/>
                  </a:cubicBezTo>
                  <a:cubicBezTo>
                    <a:pt x="66" y="2"/>
                    <a:pt x="59" y="0"/>
                    <a:pt x="51" y="0"/>
                  </a:cubicBezTo>
                  <a:cubicBezTo>
                    <a:pt x="23" y="0"/>
                    <a:pt x="0" y="23"/>
                    <a:pt x="0" y="52"/>
                  </a:cubicBezTo>
                  <a:cubicBezTo>
                    <a:pt x="0" y="80"/>
                    <a:pt x="23" y="103"/>
                    <a:pt x="51" y="103"/>
                  </a:cubicBezTo>
                  <a:cubicBezTo>
                    <a:pt x="80" y="103"/>
                    <a:pt x="102" y="80"/>
                    <a:pt x="102" y="52"/>
                  </a:cubicBezTo>
                  <a:cubicBezTo>
                    <a:pt x="102" y="44"/>
                    <a:pt x="101" y="37"/>
                    <a:pt x="98" y="30"/>
                  </a:cubicBezTo>
                  <a:cubicBezTo>
                    <a:pt x="97" y="30"/>
                    <a:pt x="97" y="30"/>
                    <a:pt x="97" y="30"/>
                  </a:cubicBezTo>
                  <a:cubicBezTo>
                    <a:pt x="78" y="50"/>
                    <a:pt x="78" y="50"/>
                    <a:pt x="78" y="50"/>
                  </a:cubicBezTo>
                  <a:cubicBezTo>
                    <a:pt x="78" y="50"/>
                    <a:pt x="78" y="51"/>
                    <a:pt x="78" y="52"/>
                  </a:cubicBezTo>
                  <a:cubicBezTo>
                    <a:pt x="78" y="67"/>
                    <a:pt x="66" y="79"/>
                    <a:pt x="51" y="79"/>
                  </a:cubicBezTo>
                  <a:cubicBezTo>
                    <a:pt x="36" y="79"/>
                    <a:pt x="24" y="67"/>
                    <a:pt x="24" y="52"/>
                  </a:cubicBezTo>
                  <a:cubicBezTo>
                    <a:pt x="24" y="37"/>
                    <a:pt x="36" y="25"/>
                    <a:pt x="51" y="25"/>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3" name="Freeform 92"/>
            <p:cNvSpPr>
              <a:spLocks noChangeArrowheads="1"/>
            </p:cNvSpPr>
            <p:nvPr/>
          </p:nvSpPr>
          <p:spPr bwMode="auto">
            <a:xfrm>
              <a:off x="222250" y="0"/>
              <a:ext cx="273050" cy="273050"/>
            </a:xfrm>
            <a:custGeom>
              <a:avLst/>
              <a:gdLst>
                <a:gd name="T0" fmla="*/ 494607500 w 127"/>
                <a:gd name="T1" fmla="*/ 161787500 h 127"/>
                <a:gd name="T2" fmla="*/ 526965000 w 127"/>
                <a:gd name="T3" fmla="*/ 134052500 h 127"/>
                <a:gd name="T4" fmla="*/ 526965000 w 127"/>
                <a:gd name="T5" fmla="*/ 87827500 h 127"/>
                <a:gd name="T6" fmla="*/ 503852500 w 127"/>
                <a:gd name="T7" fmla="*/ 64715000 h 127"/>
                <a:gd name="T8" fmla="*/ 480740000 w 127"/>
                <a:gd name="T9" fmla="*/ 55470000 h 127"/>
                <a:gd name="T10" fmla="*/ 457627500 w 127"/>
                <a:gd name="T11" fmla="*/ 64715000 h 127"/>
                <a:gd name="T12" fmla="*/ 425270000 w 127"/>
                <a:gd name="T13" fmla="*/ 97072500 h 127"/>
                <a:gd name="T14" fmla="*/ 420647500 w 127"/>
                <a:gd name="T15" fmla="*/ 13867500 h 127"/>
                <a:gd name="T16" fmla="*/ 406780000 w 127"/>
                <a:gd name="T17" fmla="*/ 0 h 127"/>
                <a:gd name="T18" fmla="*/ 402157500 w 127"/>
                <a:gd name="T19" fmla="*/ 4622500 h 127"/>
                <a:gd name="T20" fmla="*/ 272727500 w 127"/>
                <a:gd name="T21" fmla="*/ 134052500 h 127"/>
                <a:gd name="T22" fmla="*/ 254237500 w 127"/>
                <a:gd name="T23" fmla="*/ 175655000 h 127"/>
                <a:gd name="T24" fmla="*/ 254237500 w 127"/>
                <a:gd name="T25" fmla="*/ 180277500 h 127"/>
                <a:gd name="T26" fmla="*/ 263482500 w 127"/>
                <a:gd name="T27" fmla="*/ 263482500 h 127"/>
                <a:gd name="T28" fmla="*/ 217257500 w 127"/>
                <a:gd name="T29" fmla="*/ 309707500 h 127"/>
                <a:gd name="T30" fmla="*/ 134052500 w 127"/>
                <a:gd name="T31" fmla="*/ 392912500 h 127"/>
                <a:gd name="T32" fmla="*/ 129430000 w 127"/>
                <a:gd name="T33" fmla="*/ 392912500 h 127"/>
                <a:gd name="T34" fmla="*/ 50847500 w 127"/>
                <a:gd name="T35" fmla="*/ 476117500 h 127"/>
                <a:gd name="T36" fmla="*/ 13867500 w 127"/>
                <a:gd name="T37" fmla="*/ 513097500 h 127"/>
                <a:gd name="T38" fmla="*/ 4622500 w 127"/>
                <a:gd name="T39" fmla="*/ 526965000 h 127"/>
                <a:gd name="T40" fmla="*/ 4622500 w 127"/>
                <a:gd name="T41" fmla="*/ 559322500 h 127"/>
                <a:gd name="T42" fmla="*/ 32357500 w 127"/>
                <a:gd name="T43" fmla="*/ 587057500 h 127"/>
                <a:gd name="T44" fmla="*/ 32357500 w 127"/>
                <a:gd name="T45" fmla="*/ 587057500 h 127"/>
                <a:gd name="T46" fmla="*/ 60092500 w 127"/>
                <a:gd name="T47" fmla="*/ 587057500 h 127"/>
                <a:gd name="T48" fmla="*/ 78582500 w 127"/>
                <a:gd name="T49" fmla="*/ 577812500 h 127"/>
                <a:gd name="T50" fmla="*/ 332820000 w 127"/>
                <a:gd name="T51" fmla="*/ 323575000 h 127"/>
                <a:gd name="T52" fmla="*/ 406780000 w 127"/>
                <a:gd name="T53" fmla="*/ 332820000 h 127"/>
                <a:gd name="T54" fmla="*/ 411402500 w 127"/>
                <a:gd name="T55" fmla="*/ 332820000 h 127"/>
                <a:gd name="T56" fmla="*/ 416025000 w 127"/>
                <a:gd name="T57" fmla="*/ 332820000 h 127"/>
                <a:gd name="T58" fmla="*/ 453005000 w 127"/>
                <a:gd name="T59" fmla="*/ 314330000 h 127"/>
                <a:gd name="T60" fmla="*/ 582435000 w 127"/>
                <a:gd name="T61" fmla="*/ 184900000 h 127"/>
                <a:gd name="T62" fmla="*/ 573190000 w 127"/>
                <a:gd name="T63" fmla="*/ 166410000 h 127"/>
                <a:gd name="T64" fmla="*/ 494607500 w 127"/>
                <a:gd name="T65" fmla="*/ 161787500 h 1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7"/>
                <a:gd name="T100" fmla="*/ 0 h 127"/>
                <a:gd name="T101" fmla="*/ 127 w 127"/>
                <a:gd name="T102" fmla="*/ 127 h 12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7" h="127">
                  <a:moveTo>
                    <a:pt x="107" y="35"/>
                  </a:moveTo>
                  <a:cubicBezTo>
                    <a:pt x="114" y="29"/>
                    <a:pt x="114" y="29"/>
                    <a:pt x="114" y="29"/>
                  </a:cubicBezTo>
                  <a:cubicBezTo>
                    <a:pt x="116" y="26"/>
                    <a:pt x="116" y="21"/>
                    <a:pt x="114" y="19"/>
                  </a:cubicBezTo>
                  <a:cubicBezTo>
                    <a:pt x="109" y="14"/>
                    <a:pt x="109" y="14"/>
                    <a:pt x="109" y="14"/>
                  </a:cubicBezTo>
                  <a:cubicBezTo>
                    <a:pt x="108" y="13"/>
                    <a:pt x="106" y="12"/>
                    <a:pt x="104" y="12"/>
                  </a:cubicBezTo>
                  <a:cubicBezTo>
                    <a:pt x="102" y="12"/>
                    <a:pt x="101" y="13"/>
                    <a:pt x="99" y="14"/>
                  </a:cubicBezTo>
                  <a:cubicBezTo>
                    <a:pt x="92" y="21"/>
                    <a:pt x="92" y="21"/>
                    <a:pt x="92" y="21"/>
                  </a:cubicBezTo>
                  <a:cubicBezTo>
                    <a:pt x="91" y="3"/>
                    <a:pt x="91" y="3"/>
                    <a:pt x="91" y="3"/>
                  </a:cubicBezTo>
                  <a:cubicBezTo>
                    <a:pt x="91" y="1"/>
                    <a:pt x="89" y="0"/>
                    <a:pt x="88" y="0"/>
                  </a:cubicBezTo>
                  <a:cubicBezTo>
                    <a:pt x="88" y="0"/>
                    <a:pt x="87" y="1"/>
                    <a:pt x="87" y="1"/>
                  </a:cubicBezTo>
                  <a:cubicBezTo>
                    <a:pt x="59" y="29"/>
                    <a:pt x="59" y="29"/>
                    <a:pt x="59" y="29"/>
                  </a:cubicBezTo>
                  <a:cubicBezTo>
                    <a:pt x="56" y="31"/>
                    <a:pt x="55" y="35"/>
                    <a:pt x="55" y="38"/>
                  </a:cubicBezTo>
                  <a:cubicBezTo>
                    <a:pt x="55" y="39"/>
                    <a:pt x="55" y="39"/>
                    <a:pt x="55" y="39"/>
                  </a:cubicBezTo>
                  <a:cubicBezTo>
                    <a:pt x="57" y="57"/>
                    <a:pt x="57" y="57"/>
                    <a:pt x="57" y="57"/>
                  </a:cubicBezTo>
                  <a:cubicBezTo>
                    <a:pt x="47" y="67"/>
                    <a:pt x="47" y="67"/>
                    <a:pt x="47" y="67"/>
                  </a:cubicBezTo>
                  <a:cubicBezTo>
                    <a:pt x="29" y="85"/>
                    <a:pt x="29" y="85"/>
                    <a:pt x="29" y="85"/>
                  </a:cubicBezTo>
                  <a:cubicBezTo>
                    <a:pt x="28" y="85"/>
                    <a:pt x="28" y="85"/>
                    <a:pt x="28" y="85"/>
                  </a:cubicBezTo>
                  <a:cubicBezTo>
                    <a:pt x="11" y="103"/>
                    <a:pt x="11" y="103"/>
                    <a:pt x="11" y="103"/>
                  </a:cubicBezTo>
                  <a:cubicBezTo>
                    <a:pt x="3" y="111"/>
                    <a:pt x="3" y="111"/>
                    <a:pt x="3" y="111"/>
                  </a:cubicBezTo>
                  <a:cubicBezTo>
                    <a:pt x="2" y="112"/>
                    <a:pt x="1" y="113"/>
                    <a:pt x="1" y="114"/>
                  </a:cubicBezTo>
                  <a:cubicBezTo>
                    <a:pt x="1" y="121"/>
                    <a:pt x="1" y="121"/>
                    <a:pt x="1" y="121"/>
                  </a:cubicBezTo>
                  <a:cubicBezTo>
                    <a:pt x="0" y="124"/>
                    <a:pt x="3" y="127"/>
                    <a:pt x="7" y="127"/>
                  </a:cubicBezTo>
                  <a:cubicBezTo>
                    <a:pt x="7" y="127"/>
                    <a:pt x="7" y="127"/>
                    <a:pt x="7" y="127"/>
                  </a:cubicBezTo>
                  <a:cubicBezTo>
                    <a:pt x="13" y="127"/>
                    <a:pt x="13" y="127"/>
                    <a:pt x="13" y="127"/>
                  </a:cubicBezTo>
                  <a:cubicBezTo>
                    <a:pt x="15" y="127"/>
                    <a:pt x="16" y="126"/>
                    <a:pt x="17" y="125"/>
                  </a:cubicBezTo>
                  <a:cubicBezTo>
                    <a:pt x="72" y="70"/>
                    <a:pt x="72" y="70"/>
                    <a:pt x="72" y="70"/>
                  </a:cubicBezTo>
                  <a:cubicBezTo>
                    <a:pt x="88" y="72"/>
                    <a:pt x="88" y="72"/>
                    <a:pt x="88" y="72"/>
                  </a:cubicBezTo>
                  <a:cubicBezTo>
                    <a:pt x="89" y="72"/>
                    <a:pt x="89" y="72"/>
                    <a:pt x="89" y="72"/>
                  </a:cubicBezTo>
                  <a:cubicBezTo>
                    <a:pt x="90" y="72"/>
                    <a:pt x="90" y="72"/>
                    <a:pt x="90" y="72"/>
                  </a:cubicBezTo>
                  <a:cubicBezTo>
                    <a:pt x="93" y="72"/>
                    <a:pt x="96" y="70"/>
                    <a:pt x="98" y="68"/>
                  </a:cubicBezTo>
                  <a:cubicBezTo>
                    <a:pt x="126" y="40"/>
                    <a:pt x="126" y="40"/>
                    <a:pt x="126" y="40"/>
                  </a:cubicBezTo>
                  <a:cubicBezTo>
                    <a:pt x="127" y="39"/>
                    <a:pt x="126" y="36"/>
                    <a:pt x="124" y="36"/>
                  </a:cubicBezTo>
                  <a:lnTo>
                    <a:pt x="107" y="35"/>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grpSp>
        <p:nvGrpSpPr>
          <p:cNvPr id="24" name="组合 40"/>
          <p:cNvGrpSpPr>
            <a:grpSpLocks/>
          </p:cNvGrpSpPr>
          <p:nvPr/>
        </p:nvGrpSpPr>
        <p:grpSpPr bwMode="auto">
          <a:xfrm>
            <a:off x="9962840" y="3847650"/>
            <a:ext cx="724768" cy="723133"/>
            <a:chOff x="0" y="0"/>
            <a:chExt cx="479425" cy="479425"/>
          </a:xfrm>
        </p:grpSpPr>
        <p:sp>
          <p:nvSpPr>
            <p:cNvPr id="25" name="Freeform 101"/>
            <p:cNvSpPr>
              <a:spLocks noEditPoints="1" noChangeArrowheads="1"/>
            </p:cNvSpPr>
            <p:nvPr/>
          </p:nvSpPr>
          <p:spPr bwMode="auto">
            <a:xfrm>
              <a:off x="115887" y="115887"/>
              <a:ext cx="363538" cy="363538"/>
            </a:xfrm>
            <a:custGeom>
              <a:avLst/>
              <a:gdLst>
                <a:gd name="T0" fmla="*/ 690523323 w 170"/>
                <a:gd name="T1" fmla="*/ 310963990 h 170"/>
                <a:gd name="T2" fmla="*/ 653940708 w 170"/>
                <a:gd name="T3" fmla="*/ 260661023 h 170"/>
                <a:gd name="T4" fmla="*/ 685951298 w 170"/>
                <a:gd name="T5" fmla="*/ 201211868 h 170"/>
                <a:gd name="T6" fmla="*/ 640220356 w 170"/>
                <a:gd name="T7" fmla="*/ 91459745 h 170"/>
                <a:gd name="T8" fmla="*/ 571625013 w 170"/>
                <a:gd name="T9" fmla="*/ 91459745 h 170"/>
                <a:gd name="T10" fmla="*/ 530468234 w 170"/>
                <a:gd name="T11" fmla="*/ 128044499 h 170"/>
                <a:gd name="T12" fmla="*/ 484739431 w 170"/>
                <a:gd name="T13" fmla="*/ 109752122 h 170"/>
                <a:gd name="T14" fmla="*/ 466447054 w 170"/>
                <a:gd name="T15" fmla="*/ 45730942 h 170"/>
                <a:gd name="T16" fmla="*/ 356694932 w 170"/>
                <a:gd name="T17" fmla="*/ 0 h 170"/>
                <a:gd name="T18" fmla="*/ 310963990 w 170"/>
                <a:gd name="T19" fmla="*/ 86887720 h 170"/>
                <a:gd name="T20" fmla="*/ 260661023 w 170"/>
                <a:gd name="T21" fmla="*/ 123470336 h 170"/>
                <a:gd name="T22" fmla="*/ 228650433 w 170"/>
                <a:gd name="T23" fmla="*/ 118898311 h 170"/>
                <a:gd name="T24" fmla="*/ 169201277 w 170"/>
                <a:gd name="T25" fmla="*/ 77741532 h 170"/>
                <a:gd name="T26" fmla="*/ 91459745 w 170"/>
                <a:gd name="T27" fmla="*/ 137190687 h 170"/>
                <a:gd name="T28" fmla="*/ 91459745 w 170"/>
                <a:gd name="T29" fmla="*/ 201211868 h 170"/>
                <a:gd name="T30" fmla="*/ 123470336 w 170"/>
                <a:gd name="T31" fmla="*/ 260661023 h 170"/>
                <a:gd name="T32" fmla="*/ 86887720 w 170"/>
                <a:gd name="T33" fmla="*/ 310963990 h 170"/>
                <a:gd name="T34" fmla="*/ 0 w 170"/>
                <a:gd name="T35" fmla="*/ 356694932 h 170"/>
                <a:gd name="T36" fmla="*/ 50302967 w 170"/>
                <a:gd name="T37" fmla="*/ 466447054 h 170"/>
                <a:gd name="T38" fmla="*/ 109752122 w 170"/>
                <a:gd name="T39" fmla="*/ 484739431 h 170"/>
                <a:gd name="T40" fmla="*/ 118898311 w 170"/>
                <a:gd name="T41" fmla="*/ 548760611 h 170"/>
                <a:gd name="T42" fmla="*/ 91459745 w 170"/>
                <a:gd name="T43" fmla="*/ 640220356 h 170"/>
                <a:gd name="T44" fmla="*/ 169201277 w 170"/>
                <a:gd name="T45" fmla="*/ 699669512 h 170"/>
                <a:gd name="T46" fmla="*/ 228650433 w 170"/>
                <a:gd name="T47" fmla="*/ 658512733 h 170"/>
                <a:gd name="T48" fmla="*/ 260661023 w 170"/>
                <a:gd name="T49" fmla="*/ 653940708 h 170"/>
                <a:gd name="T50" fmla="*/ 310963990 w 170"/>
                <a:gd name="T51" fmla="*/ 690523323 h 170"/>
                <a:gd name="T52" fmla="*/ 356694932 w 170"/>
                <a:gd name="T53" fmla="*/ 777411044 h 170"/>
                <a:gd name="T54" fmla="*/ 466447054 w 170"/>
                <a:gd name="T55" fmla="*/ 727108077 h 170"/>
                <a:gd name="T56" fmla="*/ 484739431 w 170"/>
                <a:gd name="T57" fmla="*/ 667658922 h 170"/>
                <a:gd name="T58" fmla="*/ 530468234 w 170"/>
                <a:gd name="T59" fmla="*/ 649366545 h 170"/>
                <a:gd name="T60" fmla="*/ 571625013 w 170"/>
                <a:gd name="T61" fmla="*/ 681377135 h 170"/>
                <a:gd name="T62" fmla="*/ 640220356 w 170"/>
                <a:gd name="T63" fmla="*/ 681377135 h 170"/>
                <a:gd name="T64" fmla="*/ 685951298 w 170"/>
                <a:gd name="T65" fmla="*/ 571625013 h 170"/>
                <a:gd name="T66" fmla="*/ 653940708 w 170"/>
                <a:gd name="T67" fmla="*/ 516750021 h 170"/>
                <a:gd name="T68" fmla="*/ 690523323 w 170"/>
                <a:gd name="T69" fmla="*/ 466447054 h 170"/>
                <a:gd name="T70" fmla="*/ 777411044 w 170"/>
                <a:gd name="T71" fmla="*/ 420716112 h 170"/>
                <a:gd name="T72" fmla="*/ 727108077 w 170"/>
                <a:gd name="T73" fmla="*/ 310963990 h 170"/>
                <a:gd name="T74" fmla="*/ 388705522 w 170"/>
                <a:gd name="T75" fmla="*/ 525896209 h 170"/>
                <a:gd name="T76" fmla="*/ 388705522 w 170"/>
                <a:gd name="T77" fmla="*/ 246942810 h 1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0"/>
                <a:gd name="T118" fmla="*/ 0 h 170"/>
                <a:gd name="T119" fmla="*/ 170 w 170"/>
                <a:gd name="T120" fmla="*/ 170 h 17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0" h="170">
                  <a:moveTo>
                    <a:pt x="159" y="68"/>
                  </a:moveTo>
                  <a:cubicBezTo>
                    <a:pt x="151" y="68"/>
                    <a:pt x="151" y="68"/>
                    <a:pt x="151" y="68"/>
                  </a:cubicBezTo>
                  <a:cubicBezTo>
                    <a:pt x="149" y="68"/>
                    <a:pt x="146" y="66"/>
                    <a:pt x="146" y="64"/>
                  </a:cubicBezTo>
                  <a:cubicBezTo>
                    <a:pt x="145" y="61"/>
                    <a:pt x="144" y="59"/>
                    <a:pt x="143" y="57"/>
                  </a:cubicBezTo>
                  <a:cubicBezTo>
                    <a:pt x="142" y="55"/>
                    <a:pt x="142" y="52"/>
                    <a:pt x="144" y="50"/>
                  </a:cubicBezTo>
                  <a:cubicBezTo>
                    <a:pt x="150" y="44"/>
                    <a:pt x="150" y="44"/>
                    <a:pt x="150" y="44"/>
                  </a:cubicBezTo>
                  <a:cubicBezTo>
                    <a:pt x="154" y="40"/>
                    <a:pt x="154" y="34"/>
                    <a:pt x="150" y="30"/>
                  </a:cubicBezTo>
                  <a:cubicBezTo>
                    <a:pt x="140" y="20"/>
                    <a:pt x="140" y="20"/>
                    <a:pt x="140" y="20"/>
                  </a:cubicBezTo>
                  <a:cubicBezTo>
                    <a:pt x="138" y="18"/>
                    <a:pt x="136" y="17"/>
                    <a:pt x="133" y="17"/>
                  </a:cubicBezTo>
                  <a:cubicBezTo>
                    <a:pt x="130" y="17"/>
                    <a:pt x="127" y="18"/>
                    <a:pt x="125" y="20"/>
                  </a:cubicBezTo>
                  <a:cubicBezTo>
                    <a:pt x="120" y="26"/>
                    <a:pt x="120" y="26"/>
                    <a:pt x="120" y="26"/>
                  </a:cubicBezTo>
                  <a:cubicBezTo>
                    <a:pt x="119" y="27"/>
                    <a:pt x="117" y="28"/>
                    <a:pt x="116" y="28"/>
                  </a:cubicBezTo>
                  <a:cubicBezTo>
                    <a:pt x="115" y="28"/>
                    <a:pt x="114" y="27"/>
                    <a:pt x="113" y="27"/>
                  </a:cubicBezTo>
                  <a:cubicBezTo>
                    <a:pt x="111" y="26"/>
                    <a:pt x="108" y="25"/>
                    <a:pt x="106" y="24"/>
                  </a:cubicBezTo>
                  <a:cubicBezTo>
                    <a:pt x="104" y="23"/>
                    <a:pt x="102" y="21"/>
                    <a:pt x="102" y="19"/>
                  </a:cubicBezTo>
                  <a:cubicBezTo>
                    <a:pt x="102" y="10"/>
                    <a:pt x="102" y="10"/>
                    <a:pt x="102" y="10"/>
                  </a:cubicBezTo>
                  <a:cubicBezTo>
                    <a:pt x="102" y="5"/>
                    <a:pt x="97" y="0"/>
                    <a:pt x="92" y="0"/>
                  </a:cubicBezTo>
                  <a:cubicBezTo>
                    <a:pt x="78" y="0"/>
                    <a:pt x="78" y="0"/>
                    <a:pt x="78" y="0"/>
                  </a:cubicBezTo>
                  <a:cubicBezTo>
                    <a:pt x="73" y="0"/>
                    <a:pt x="68" y="5"/>
                    <a:pt x="68" y="10"/>
                  </a:cubicBezTo>
                  <a:cubicBezTo>
                    <a:pt x="68" y="19"/>
                    <a:pt x="68" y="19"/>
                    <a:pt x="68" y="19"/>
                  </a:cubicBezTo>
                  <a:cubicBezTo>
                    <a:pt x="68" y="21"/>
                    <a:pt x="66" y="23"/>
                    <a:pt x="64" y="24"/>
                  </a:cubicBezTo>
                  <a:cubicBezTo>
                    <a:pt x="61" y="25"/>
                    <a:pt x="59" y="26"/>
                    <a:pt x="57" y="27"/>
                  </a:cubicBezTo>
                  <a:cubicBezTo>
                    <a:pt x="56" y="27"/>
                    <a:pt x="55" y="28"/>
                    <a:pt x="54" y="28"/>
                  </a:cubicBezTo>
                  <a:cubicBezTo>
                    <a:pt x="53" y="28"/>
                    <a:pt x="51" y="27"/>
                    <a:pt x="50" y="26"/>
                  </a:cubicBezTo>
                  <a:cubicBezTo>
                    <a:pt x="44" y="20"/>
                    <a:pt x="44" y="20"/>
                    <a:pt x="44" y="20"/>
                  </a:cubicBezTo>
                  <a:cubicBezTo>
                    <a:pt x="42" y="18"/>
                    <a:pt x="40" y="17"/>
                    <a:pt x="37" y="17"/>
                  </a:cubicBezTo>
                  <a:cubicBezTo>
                    <a:pt x="34" y="17"/>
                    <a:pt x="32" y="18"/>
                    <a:pt x="30" y="20"/>
                  </a:cubicBezTo>
                  <a:cubicBezTo>
                    <a:pt x="20" y="30"/>
                    <a:pt x="20" y="30"/>
                    <a:pt x="20" y="30"/>
                  </a:cubicBezTo>
                  <a:cubicBezTo>
                    <a:pt x="18" y="32"/>
                    <a:pt x="17" y="34"/>
                    <a:pt x="17" y="37"/>
                  </a:cubicBezTo>
                  <a:cubicBezTo>
                    <a:pt x="17" y="40"/>
                    <a:pt x="18" y="42"/>
                    <a:pt x="20" y="44"/>
                  </a:cubicBezTo>
                  <a:cubicBezTo>
                    <a:pt x="26" y="50"/>
                    <a:pt x="26" y="50"/>
                    <a:pt x="26" y="50"/>
                  </a:cubicBezTo>
                  <a:cubicBezTo>
                    <a:pt x="28" y="52"/>
                    <a:pt x="28" y="55"/>
                    <a:pt x="27" y="57"/>
                  </a:cubicBezTo>
                  <a:cubicBezTo>
                    <a:pt x="26" y="59"/>
                    <a:pt x="25" y="61"/>
                    <a:pt x="24" y="64"/>
                  </a:cubicBezTo>
                  <a:cubicBezTo>
                    <a:pt x="23" y="66"/>
                    <a:pt x="21" y="68"/>
                    <a:pt x="19" y="68"/>
                  </a:cubicBezTo>
                  <a:cubicBezTo>
                    <a:pt x="11" y="68"/>
                    <a:pt x="11" y="68"/>
                    <a:pt x="11" y="68"/>
                  </a:cubicBezTo>
                  <a:cubicBezTo>
                    <a:pt x="5" y="68"/>
                    <a:pt x="0" y="73"/>
                    <a:pt x="0" y="78"/>
                  </a:cubicBezTo>
                  <a:cubicBezTo>
                    <a:pt x="0" y="92"/>
                    <a:pt x="0" y="92"/>
                    <a:pt x="0" y="92"/>
                  </a:cubicBezTo>
                  <a:cubicBezTo>
                    <a:pt x="0" y="97"/>
                    <a:pt x="5" y="102"/>
                    <a:pt x="11" y="102"/>
                  </a:cubicBezTo>
                  <a:cubicBezTo>
                    <a:pt x="19" y="102"/>
                    <a:pt x="19" y="102"/>
                    <a:pt x="19" y="102"/>
                  </a:cubicBezTo>
                  <a:cubicBezTo>
                    <a:pt x="21" y="102"/>
                    <a:pt x="23" y="104"/>
                    <a:pt x="24" y="106"/>
                  </a:cubicBezTo>
                  <a:cubicBezTo>
                    <a:pt x="25" y="108"/>
                    <a:pt x="26" y="111"/>
                    <a:pt x="27" y="113"/>
                  </a:cubicBezTo>
                  <a:cubicBezTo>
                    <a:pt x="28" y="115"/>
                    <a:pt x="28" y="118"/>
                    <a:pt x="26" y="120"/>
                  </a:cubicBezTo>
                  <a:cubicBezTo>
                    <a:pt x="20" y="125"/>
                    <a:pt x="20" y="125"/>
                    <a:pt x="20" y="125"/>
                  </a:cubicBezTo>
                  <a:cubicBezTo>
                    <a:pt x="16" y="129"/>
                    <a:pt x="16" y="136"/>
                    <a:pt x="20" y="140"/>
                  </a:cubicBezTo>
                  <a:cubicBezTo>
                    <a:pt x="30" y="149"/>
                    <a:pt x="30" y="149"/>
                    <a:pt x="30" y="149"/>
                  </a:cubicBezTo>
                  <a:cubicBezTo>
                    <a:pt x="32" y="151"/>
                    <a:pt x="34" y="153"/>
                    <a:pt x="37" y="153"/>
                  </a:cubicBezTo>
                  <a:cubicBezTo>
                    <a:pt x="40" y="153"/>
                    <a:pt x="42" y="151"/>
                    <a:pt x="44" y="149"/>
                  </a:cubicBezTo>
                  <a:cubicBezTo>
                    <a:pt x="50" y="144"/>
                    <a:pt x="50" y="144"/>
                    <a:pt x="50" y="144"/>
                  </a:cubicBezTo>
                  <a:cubicBezTo>
                    <a:pt x="51" y="143"/>
                    <a:pt x="53" y="142"/>
                    <a:pt x="54" y="142"/>
                  </a:cubicBezTo>
                  <a:cubicBezTo>
                    <a:pt x="55" y="142"/>
                    <a:pt x="56" y="142"/>
                    <a:pt x="57" y="143"/>
                  </a:cubicBezTo>
                  <a:cubicBezTo>
                    <a:pt x="59" y="144"/>
                    <a:pt x="61" y="145"/>
                    <a:pt x="64" y="146"/>
                  </a:cubicBezTo>
                  <a:cubicBezTo>
                    <a:pt x="66" y="146"/>
                    <a:pt x="68" y="149"/>
                    <a:pt x="68" y="151"/>
                  </a:cubicBezTo>
                  <a:cubicBezTo>
                    <a:pt x="68" y="159"/>
                    <a:pt x="68" y="159"/>
                    <a:pt x="68" y="159"/>
                  </a:cubicBezTo>
                  <a:cubicBezTo>
                    <a:pt x="68" y="165"/>
                    <a:pt x="73" y="170"/>
                    <a:pt x="78" y="170"/>
                  </a:cubicBezTo>
                  <a:cubicBezTo>
                    <a:pt x="92" y="170"/>
                    <a:pt x="92" y="170"/>
                    <a:pt x="92" y="170"/>
                  </a:cubicBezTo>
                  <a:cubicBezTo>
                    <a:pt x="97" y="170"/>
                    <a:pt x="102" y="165"/>
                    <a:pt x="102" y="159"/>
                  </a:cubicBezTo>
                  <a:cubicBezTo>
                    <a:pt x="102" y="151"/>
                    <a:pt x="102" y="151"/>
                    <a:pt x="102" y="151"/>
                  </a:cubicBezTo>
                  <a:cubicBezTo>
                    <a:pt x="102" y="149"/>
                    <a:pt x="104" y="146"/>
                    <a:pt x="106" y="146"/>
                  </a:cubicBezTo>
                  <a:cubicBezTo>
                    <a:pt x="108" y="145"/>
                    <a:pt x="111" y="144"/>
                    <a:pt x="113" y="143"/>
                  </a:cubicBezTo>
                  <a:cubicBezTo>
                    <a:pt x="114" y="142"/>
                    <a:pt x="115" y="142"/>
                    <a:pt x="116" y="142"/>
                  </a:cubicBezTo>
                  <a:cubicBezTo>
                    <a:pt x="117" y="142"/>
                    <a:pt x="119" y="143"/>
                    <a:pt x="120" y="144"/>
                  </a:cubicBezTo>
                  <a:cubicBezTo>
                    <a:pt x="125" y="149"/>
                    <a:pt x="125" y="149"/>
                    <a:pt x="125" y="149"/>
                  </a:cubicBezTo>
                  <a:cubicBezTo>
                    <a:pt x="127" y="151"/>
                    <a:pt x="130" y="153"/>
                    <a:pt x="133" y="153"/>
                  </a:cubicBezTo>
                  <a:cubicBezTo>
                    <a:pt x="136" y="153"/>
                    <a:pt x="138" y="151"/>
                    <a:pt x="140" y="149"/>
                  </a:cubicBezTo>
                  <a:cubicBezTo>
                    <a:pt x="150" y="140"/>
                    <a:pt x="150" y="140"/>
                    <a:pt x="150" y="140"/>
                  </a:cubicBezTo>
                  <a:cubicBezTo>
                    <a:pt x="154" y="136"/>
                    <a:pt x="154" y="129"/>
                    <a:pt x="150" y="125"/>
                  </a:cubicBezTo>
                  <a:cubicBezTo>
                    <a:pt x="144" y="120"/>
                    <a:pt x="144" y="120"/>
                    <a:pt x="144" y="120"/>
                  </a:cubicBezTo>
                  <a:cubicBezTo>
                    <a:pt x="142" y="118"/>
                    <a:pt x="142" y="115"/>
                    <a:pt x="143" y="113"/>
                  </a:cubicBezTo>
                  <a:cubicBezTo>
                    <a:pt x="144" y="111"/>
                    <a:pt x="145" y="108"/>
                    <a:pt x="146" y="106"/>
                  </a:cubicBezTo>
                  <a:cubicBezTo>
                    <a:pt x="146" y="104"/>
                    <a:pt x="149" y="102"/>
                    <a:pt x="151" y="102"/>
                  </a:cubicBezTo>
                  <a:cubicBezTo>
                    <a:pt x="159" y="102"/>
                    <a:pt x="159" y="102"/>
                    <a:pt x="159" y="102"/>
                  </a:cubicBezTo>
                  <a:cubicBezTo>
                    <a:pt x="165" y="102"/>
                    <a:pt x="170" y="97"/>
                    <a:pt x="170" y="92"/>
                  </a:cubicBezTo>
                  <a:cubicBezTo>
                    <a:pt x="170" y="78"/>
                    <a:pt x="170" y="78"/>
                    <a:pt x="170" y="78"/>
                  </a:cubicBezTo>
                  <a:cubicBezTo>
                    <a:pt x="170" y="73"/>
                    <a:pt x="165" y="68"/>
                    <a:pt x="159" y="68"/>
                  </a:cubicBezTo>
                  <a:moveTo>
                    <a:pt x="115" y="85"/>
                  </a:moveTo>
                  <a:cubicBezTo>
                    <a:pt x="115" y="102"/>
                    <a:pt x="102" y="115"/>
                    <a:pt x="85" y="115"/>
                  </a:cubicBezTo>
                  <a:cubicBezTo>
                    <a:pt x="68" y="115"/>
                    <a:pt x="55" y="102"/>
                    <a:pt x="55" y="85"/>
                  </a:cubicBezTo>
                  <a:cubicBezTo>
                    <a:pt x="55" y="68"/>
                    <a:pt x="68" y="54"/>
                    <a:pt x="85" y="54"/>
                  </a:cubicBezTo>
                  <a:cubicBezTo>
                    <a:pt x="102" y="54"/>
                    <a:pt x="115" y="68"/>
                    <a:pt x="115" y="85"/>
                  </a:cubicBezTo>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6" name="Freeform 102"/>
            <p:cNvSpPr>
              <a:spLocks noEditPoints="1" noChangeArrowheads="1"/>
            </p:cNvSpPr>
            <p:nvPr/>
          </p:nvSpPr>
          <p:spPr bwMode="auto">
            <a:xfrm>
              <a:off x="0" y="0"/>
              <a:ext cx="188913" cy="187325"/>
            </a:xfrm>
            <a:custGeom>
              <a:avLst/>
              <a:gdLst>
                <a:gd name="T0" fmla="*/ 354853750 w 88"/>
                <a:gd name="T1" fmla="*/ 244691153 h 88"/>
                <a:gd name="T2" fmla="*/ 405546836 w 88"/>
                <a:gd name="T3" fmla="*/ 212973624 h 88"/>
                <a:gd name="T4" fmla="*/ 373287795 w 88"/>
                <a:gd name="T5" fmla="*/ 154066298 h 88"/>
                <a:gd name="T6" fmla="*/ 350244702 w 88"/>
                <a:gd name="T7" fmla="*/ 149534310 h 88"/>
                <a:gd name="T8" fmla="*/ 345635654 w 88"/>
                <a:gd name="T9" fmla="*/ 126876500 h 88"/>
                <a:gd name="T10" fmla="*/ 359462798 w 88"/>
                <a:gd name="T11" fmla="*/ 67969173 h 88"/>
                <a:gd name="T12" fmla="*/ 313376613 w 88"/>
                <a:gd name="T13" fmla="*/ 36251645 h 88"/>
                <a:gd name="T14" fmla="*/ 276508523 w 88"/>
                <a:gd name="T15" fmla="*/ 58907326 h 88"/>
                <a:gd name="T16" fmla="*/ 271901622 w 88"/>
                <a:gd name="T17" fmla="*/ 58907326 h 88"/>
                <a:gd name="T18" fmla="*/ 248858530 w 88"/>
                <a:gd name="T19" fmla="*/ 49845480 h 88"/>
                <a:gd name="T20" fmla="*/ 216599488 w 88"/>
                <a:gd name="T21" fmla="*/ 0 h 88"/>
                <a:gd name="T22" fmla="*/ 156688306 w 88"/>
                <a:gd name="T23" fmla="*/ 31719657 h 88"/>
                <a:gd name="T24" fmla="*/ 152079258 w 88"/>
                <a:gd name="T25" fmla="*/ 54375339 h 88"/>
                <a:gd name="T26" fmla="*/ 133645214 w 88"/>
                <a:gd name="T27" fmla="*/ 63439314 h 88"/>
                <a:gd name="T28" fmla="*/ 115211169 w 88"/>
                <a:gd name="T29" fmla="*/ 49845480 h 88"/>
                <a:gd name="T30" fmla="*/ 69127131 w 88"/>
                <a:gd name="T31" fmla="*/ 49845480 h 88"/>
                <a:gd name="T32" fmla="*/ 50693086 w 88"/>
                <a:gd name="T33" fmla="*/ 113282665 h 88"/>
                <a:gd name="T34" fmla="*/ 64518083 w 88"/>
                <a:gd name="T35" fmla="*/ 131408488 h 88"/>
                <a:gd name="T36" fmla="*/ 50693086 w 88"/>
                <a:gd name="T37" fmla="*/ 154066298 h 88"/>
                <a:gd name="T38" fmla="*/ 0 w 88"/>
                <a:gd name="T39" fmla="*/ 185783826 h 88"/>
                <a:gd name="T40" fmla="*/ 32259041 w 88"/>
                <a:gd name="T41" fmla="*/ 244691153 h 88"/>
                <a:gd name="T42" fmla="*/ 55302134 w 88"/>
                <a:gd name="T43" fmla="*/ 249223140 h 88"/>
                <a:gd name="T44" fmla="*/ 59911182 w 88"/>
                <a:gd name="T45" fmla="*/ 271880951 h 88"/>
                <a:gd name="T46" fmla="*/ 41477137 w 88"/>
                <a:gd name="T47" fmla="*/ 308130467 h 88"/>
                <a:gd name="T48" fmla="*/ 69127131 w 88"/>
                <a:gd name="T49" fmla="*/ 353443959 h 88"/>
                <a:gd name="T50" fmla="*/ 115211169 w 88"/>
                <a:gd name="T51" fmla="*/ 353443959 h 88"/>
                <a:gd name="T52" fmla="*/ 133645214 w 88"/>
                <a:gd name="T53" fmla="*/ 335318136 h 88"/>
                <a:gd name="T54" fmla="*/ 152079258 w 88"/>
                <a:gd name="T55" fmla="*/ 344382112 h 88"/>
                <a:gd name="T56" fmla="*/ 156688306 w 88"/>
                <a:gd name="T57" fmla="*/ 367037793 h 88"/>
                <a:gd name="T58" fmla="*/ 216599488 w 88"/>
                <a:gd name="T59" fmla="*/ 398757450 h 88"/>
                <a:gd name="T60" fmla="*/ 248858530 w 88"/>
                <a:gd name="T61" fmla="*/ 348911971 h 88"/>
                <a:gd name="T62" fmla="*/ 271901622 w 88"/>
                <a:gd name="T63" fmla="*/ 339850124 h 88"/>
                <a:gd name="T64" fmla="*/ 276508523 w 88"/>
                <a:gd name="T65" fmla="*/ 339850124 h 88"/>
                <a:gd name="T66" fmla="*/ 313376613 w 88"/>
                <a:gd name="T67" fmla="*/ 362505805 h 88"/>
                <a:gd name="T68" fmla="*/ 359462798 w 88"/>
                <a:gd name="T69" fmla="*/ 330788277 h 88"/>
                <a:gd name="T70" fmla="*/ 345635654 w 88"/>
                <a:gd name="T71" fmla="*/ 271880951 h 88"/>
                <a:gd name="T72" fmla="*/ 350244702 w 88"/>
                <a:gd name="T73" fmla="*/ 249223140 h 88"/>
                <a:gd name="T74" fmla="*/ 202774491 w 88"/>
                <a:gd name="T75" fmla="*/ 262816975 h 88"/>
                <a:gd name="T76" fmla="*/ 202774491 w 88"/>
                <a:gd name="T77" fmla="*/ 140470334 h 8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8"/>
                <a:gd name="T118" fmla="*/ 0 h 88"/>
                <a:gd name="T119" fmla="*/ 88 w 88"/>
                <a:gd name="T120" fmla="*/ 88 h 8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8" h="88">
                  <a:moveTo>
                    <a:pt x="76" y="55"/>
                  </a:moveTo>
                  <a:cubicBezTo>
                    <a:pt x="76" y="55"/>
                    <a:pt x="77" y="54"/>
                    <a:pt x="77" y="54"/>
                  </a:cubicBezTo>
                  <a:cubicBezTo>
                    <a:pt x="81" y="54"/>
                    <a:pt x="81" y="54"/>
                    <a:pt x="81" y="54"/>
                  </a:cubicBezTo>
                  <a:cubicBezTo>
                    <a:pt x="85" y="54"/>
                    <a:pt x="88" y="51"/>
                    <a:pt x="88" y="47"/>
                  </a:cubicBezTo>
                  <a:cubicBezTo>
                    <a:pt x="88" y="41"/>
                    <a:pt x="88" y="41"/>
                    <a:pt x="88" y="41"/>
                  </a:cubicBezTo>
                  <a:cubicBezTo>
                    <a:pt x="88" y="37"/>
                    <a:pt x="85" y="34"/>
                    <a:pt x="81" y="34"/>
                  </a:cubicBezTo>
                  <a:cubicBezTo>
                    <a:pt x="77" y="34"/>
                    <a:pt x="77" y="34"/>
                    <a:pt x="77" y="34"/>
                  </a:cubicBezTo>
                  <a:cubicBezTo>
                    <a:pt x="77" y="34"/>
                    <a:pt x="76" y="33"/>
                    <a:pt x="76" y="33"/>
                  </a:cubicBezTo>
                  <a:cubicBezTo>
                    <a:pt x="76" y="32"/>
                    <a:pt x="75" y="30"/>
                    <a:pt x="75" y="29"/>
                  </a:cubicBezTo>
                  <a:cubicBezTo>
                    <a:pt x="74" y="29"/>
                    <a:pt x="75" y="28"/>
                    <a:pt x="75" y="28"/>
                  </a:cubicBezTo>
                  <a:cubicBezTo>
                    <a:pt x="78" y="25"/>
                    <a:pt x="78" y="25"/>
                    <a:pt x="78" y="25"/>
                  </a:cubicBezTo>
                  <a:cubicBezTo>
                    <a:pt x="80" y="22"/>
                    <a:pt x="80" y="18"/>
                    <a:pt x="78" y="15"/>
                  </a:cubicBezTo>
                  <a:cubicBezTo>
                    <a:pt x="73" y="11"/>
                    <a:pt x="73" y="11"/>
                    <a:pt x="73" y="11"/>
                  </a:cubicBezTo>
                  <a:cubicBezTo>
                    <a:pt x="72" y="9"/>
                    <a:pt x="70" y="8"/>
                    <a:pt x="68" y="8"/>
                  </a:cubicBezTo>
                  <a:cubicBezTo>
                    <a:pt x="66" y="8"/>
                    <a:pt x="64" y="9"/>
                    <a:pt x="63" y="11"/>
                  </a:cubicBezTo>
                  <a:cubicBezTo>
                    <a:pt x="60" y="13"/>
                    <a:pt x="60" y="13"/>
                    <a:pt x="60" y="13"/>
                  </a:cubicBezTo>
                  <a:cubicBezTo>
                    <a:pt x="60" y="13"/>
                    <a:pt x="60" y="14"/>
                    <a:pt x="59" y="14"/>
                  </a:cubicBezTo>
                  <a:cubicBezTo>
                    <a:pt x="59" y="13"/>
                    <a:pt x="59" y="13"/>
                    <a:pt x="59" y="13"/>
                  </a:cubicBezTo>
                  <a:cubicBezTo>
                    <a:pt x="58" y="13"/>
                    <a:pt x="56" y="12"/>
                    <a:pt x="55" y="12"/>
                  </a:cubicBezTo>
                  <a:cubicBezTo>
                    <a:pt x="55" y="12"/>
                    <a:pt x="54" y="11"/>
                    <a:pt x="54" y="11"/>
                  </a:cubicBezTo>
                  <a:cubicBezTo>
                    <a:pt x="54" y="7"/>
                    <a:pt x="54" y="7"/>
                    <a:pt x="54" y="7"/>
                  </a:cubicBezTo>
                  <a:cubicBezTo>
                    <a:pt x="54" y="3"/>
                    <a:pt x="51" y="0"/>
                    <a:pt x="47" y="0"/>
                  </a:cubicBezTo>
                  <a:cubicBezTo>
                    <a:pt x="41" y="0"/>
                    <a:pt x="41" y="0"/>
                    <a:pt x="41" y="0"/>
                  </a:cubicBezTo>
                  <a:cubicBezTo>
                    <a:pt x="37" y="0"/>
                    <a:pt x="34" y="3"/>
                    <a:pt x="34" y="7"/>
                  </a:cubicBezTo>
                  <a:cubicBezTo>
                    <a:pt x="34" y="11"/>
                    <a:pt x="34" y="11"/>
                    <a:pt x="34" y="11"/>
                  </a:cubicBezTo>
                  <a:cubicBezTo>
                    <a:pt x="34" y="11"/>
                    <a:pt x="33" y="12"/>
                    <a:pt x="33" y="12"/>
                  </a:cubicBezTo>
                  <a:cubicBezTo>
                    <a:pt x="32" y="12"/>
                    <a:pt x="31" y="13"/>
                    <a:pt x="29" y="13"/>
                  </a:cubicBezTo>
                  <a:cubicBezTo>
                    <a:pt x="29" y="14"/>
                    <a:pt x="29" y="14"/>
                    <a:pt x="29" y="14"/>
                  </a:cubicBezTo>
                  <a:cubicBezTo>
                    <a:pt x="28" y="14"/>
                    <a:pt x="28" y="13"/>
                    <a:pt x="28" y="13"/>
                  </a:cubicBezTo>
                  <a:cubicBezTo>
                    <a:pt x="25" y="11"/>
                    <a:pt x="25" y="11"/>
                    <a:pt x="25" y="11"/>
                  </a:cubicBezTo>
                  <a:cubicBezTo>
                    <a:pt x="24" y="9"/>
                    <a:pt x="22" y="8"/>
                    <a:pt x="20" y="8"/>
                  </a:cubicBezTo>
                  <a:cubicBezTo>
                    <a:pt x="18" y="8"/>
                    <a:pt x="17" y="9"/>
                    <a:pt x="15" y="11"/>
                  </a:cubicBezTo>
                  <a:cubicBezTo>
                    <a:pt x="11" y="15"/>
                    <a:pt x="11" y="15"/>
                    <a:pt x="11" y="15"/>
                  </a:cubicBezTo>
                  <a:cubicBezTo>
                    <a:pt x="8" y="18"/>
                    <a:pt x="8" y="22"/>
                    <a:pt x="11" y="25"/>
                  </a:cubicBezTo>
                  <a:cubicBezTo>
                    <a:pt x="13" y="28"/>
                    <a:pt x="13" y="28"/>
                    <a:pt x="13" y="28"/>
                  </a:cubicBezTo>
                  <a:cubicBezTo>
                    <a:pt x="14" y="28"/>
                    <a:pt x="14" y="29"/>
                    <a:pt x="14" y="29"/>
                  </a:cubicBezTo>
                  <a:cubicBezTo>
                    <a:pt x="13" y="30"/>
                    <a:pt x="13" y="32"/>
                    <a:pt x="12" y="33"/>
                  </a:cubicBezTo>
                  <a:cubicBezTo>
                    <a:pt x="12" y="33"/>
                    <a:pt x="11" y="34"/>
                    <a:pt x="11" y="34"/>
                  </a:cubicBezTo>
                  <a:cubicBezTo>
                    <a:pt x="7" y="34"/>
                    <a:pt x="7" y="34"/>
                    <a:pt x="7" y="34"/>
                  </a:cubicBezTo>
                  <a:cubicBezTo>
                    <a:pt x="3" y="34"/>
                    <a:pt x="0" y="37"/>
                    <a:pt x="0" y="41"/>
                  </a:cubicBezTo>
                  <a:cubicBezTo>
                    <a:pt x="0" y="47"/>
                    <a:pt x="0" y="47"/>
                    <a:pt x="0" y="47"/>
                  </a:cubicBezTo>
                  <a:cubicBezTo>
                    <a:pt x="0" y="51"/>
                    <a:pt x="3" y="54"/>
                    <a:pt x="7" y="54"/>
                  </a:cubicBezTo>
                  <a:cubicBezTo>
                    <a:pt x="11" y="54"/>
                    <a:pt x="11" y="54"/>
                    <a:pt x="11" y="54"/>
                  </a:cubicBezTo>
                  <a:cubicBezTo>
                    <a:pt x="11" y="54"/>
                    <a:pt x="12" y="55"/>
                    <a:pt x="12" y="55"/>
                  </a:cubicBezTo>
                  <a:cubicBezTo>
                    <a:pt x="13" y="56"/>
                    <a:pt x="13" y="58"/>
                    <a:pt x="14" y="59"/>
                  </a:cubicBezTo>
                  <a:cubicBezTo>
                    <a:pt x="14" y="59"/>
                    <a:pt x="14" y="60"/>
                    <a:pt x="13" y="60"/>
                  </a:cubicBezTo>
                  <a:cubicBezTo>
                    <a:pt x="11" y="63"/>
                    <a:pt x="11" y="63"/>
                    <a:pt x="11" y="63"/>
                  </a:cubicBezTo>
                  <a:cubicBezTo>
                    <a:pt x="9" y="64"/>
                    <a:pt x="9" y="66"/>
                    <a:pt x="9" y="68"/>
                  </a:cubicBezTo>
                  <a:cubicBezTo>
                    <a:pt x="9" y="70"/>
                    <a:pt x="9" y="72"/>
                    <a:pt x="11" y="73"/>
                  </a:cubicBezTo>
                  <a:cubicBezTo>
                    <a:pt x="15" y="78"/>
                    <a:pt x="15" y="78"/>
                    <a:pt x="15" y="78"/>
                  </a:cubicBezTo>
                  <a:cubicBezTo>
                    <a:pt x="17" y="79"/>
                    <a:pt x="18" y="80"/>
                    <a:pt x="20" y="80"/>
                  </a:cubicBezTo>
                  <a:cubicBezTo>
                    <a:pt x="22" y="80"/>
                    <a:pt x="24" y="79"/>
                    <a:pt x="25" y="78"/>
                  </a:cubicBezTo>
                  <a:cubicBezTo>
                    <a:pt x="28" y="75"/>
                    <a:pt x="28" y="75"/>
                    <a:pt x="28" y="75"/>
                  </a:cubicBezTo>
                  <a:cubicBezTo>
                    <a:pt x="28" y="75"/>
                    <a:pt x="28" y="74"/>
                    <a:pt x="29" y="74"/>
                  </a:cubicBezTo>
                  <a:cubicBezTo>
                    <a:pt x="29" y="75"/>
                    <a:pt x="29" y="75"/>
                    <a:pt x="29" y="75"/>
                  </a:cubicBezTo>
                  <a:cubicBezTo>
                    <a:pt x="31" y="75"/>
                    <a:pt x="32" y="76"/>
                    <a:pt x="33" y="76"/>
                  </a:cubicBezTo>
                  <a:cubicBezTo>
                    <a:pt x="33" y="76"/>
                    <a:pt x="34" y="77"/>
                    <a:pt x="34" y="77"/>
                  </a:cubicBezTo>
                  <a:cubicBezTo>
                    <a:pt x="34" y="81"/>
                    <a:pt x="34" y="81"/>
                    <a:pt x="34" y="81"/>
                  </a:cubicBezTo>
                  <a:cubicBezTo>
                    <a:pt x="34" y="85"/>
                    <a:pt x="37" y="88"/>
                    <a:pt x="41" y="88"/>
                  </a:cubicBezTo>
                  <a:cubicBezTo>
                    <a:pt x="47" y="88"/>
                    <a:pt x="47" y="88"/>
                    <a:pt x="47" y="88"/>
                  </a:cubicBezTo>
                  <a:cubicBezTo>
                    <a:pt x="51" y="88"/>
                    <a:pt x="54" y="85"/>
                    <a:pt x="54" y="81"/>
                  </a:cubicBezTo>
                  <a:cubicBezTo>
                    <a:pt x="54" y="77"/>
                    <a:pt x="54" y="77"/>
                    <a:pt x="54" y="77"/>
                  </a:cubicBezTo>
                  <a:cubicBezTo>
                    <a:pt x="54" y="77"/>
                    <a:pt x="55" y="76"/>
                    <a:pt x="55" y="76"/>
                  </a:cubicBezTo>
                  <a:cubicBezTo>
                    <a:pt x="56" y="76"/>
                    <a:pt x="58" y="75"/>
                    <a:pt x="59" y="75"/>
                  </a:cubicBezTo>
                  <a:cubicBezTo>
                    <a:pt x="59" y="74"/>
                    <a:pt x="59" y="74"/>
                    <a:pt x="59" y="74"/>
                  </a:cubicBezTo>
                  <a:cubicBezTo>
                    <a:pt x="60" y="74"/>
                    <a:pt x="60" y="75"/>
                    <a:pt x="60" y="75"/>
                  </a:cubicBezTo>
                  <a:cubicBezTo>
                    <a:pt x="63" y="78"/>
                    <a:pt x="63" y="78"/>
                    <a:pt x="63" y="78"/>
                  </a:cubicBezTo>
                  <a:cubicBezTo>
                    <a:pt x="64" y="79"/>
                    <a:pt x="66" y="80"/>
                    <a:pt x="68" y="80"/>
                  </a:cubicBezTo>
                  <a:cubicBezTo>
                    <a:pt x="70" y="80"/>
                    <a:pt x="72" y="79"/>
                    <a:pt x="73" y="78"/>
                  </a:cubicBezTo>
                  <a:cubicBezTo>
                    <a:pt x="78" y="73"/>
                    <a:pt x="78" y="73"/>
                    <a:pt x="78" y="73"/>
                  </a:cubicBezTo>
                  <a:cubicBezTo>
                    <a:pt x="80" y="70"/>
                    <a:pt x="80" y="66"/>
                    <a:pt x="78" y="63"/>
                  </a:cubicBezTo>
                  <a:cubicBezTo>
                    <a:pt x="75" y="60"/>
                    <a:pt x="75" y="60"/>
                    <a:pt x="75" y="60"/>
                  </a:cubicBezTo>
                  <a:cubicBezTo>
                    <a:pt x="75" y="60"/>
                    <a:pt x="74" y="59"/>
                    <a:pt x="75" y="59"/>
                  </a:cubicBezTo>
                  <a:cubicBezTo>
                    <a:pt x="75" y="58"/>
                    <a:pt x="76" y="56"/>
                    <a:pt x="76" y="55"/>
                  </a:cubicBezTo>
                  <a:close/>
                  <a:moveTo>
                    <a:pt x="58" y="44"/>
                  </a:moveTo>
                  <a:cubicBezTo>
                    <a:pt x="58" y="51"/>
                    <a:pt x="52" y="58"/>
                    <a:pt x="44" y="58"/>
                  </a:cubicBezTo>
                  <a:cubicBezTo>
                    <a:pt x="37" y="58"/>
                    <a:pt x="31" y="51"/>
                    <a:pt x="31" y="44"/>
                  </a:cubicBezTo>
                  <a:cubicBezTo>
                    <a:pt x="31" y="37"/>
                    <a:pt x="37" y="31"/>
                    <a:pt x="44" y="31"/>
                  </a:cubicBezTo>
                  <a:cubicBezTo>
                    <a:pt x="52" y="31"/>
                    <a:pt x="58" y="37"/>
                    <a:pt x="58" y="44"/>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cxnSp>
        <p:nvCxnSpPr>
          <p:cNvPr id="50" name="直接连接符 11"/>
          <p:cNvCxnSpPr>
            <a:cxnSpLocks noChangeShapeType="1"/>
          </p:cNvCxnSpPr>
          <p:nvPr/>
        </p:nvCxnSpPr>
        <p:spPr bwMode="auto">
          <a:xfrm flipV="1">
            <a:off x="2106706" y="2736918"/>
            <a:ext cx="1406136" cy="780983"/>
          </a:xfrm>
          <a:prstGeom prst="line">
            <a:avLst/>
          </a:prstGeom>
          <a:noFill/>
          <a:ln w="38100">
            <a:solidFill>
              <a:schemeClr val="tx2"/>
            </a:solidFill>
            <a:miter lim="800000"/>
            <a:headEnd/>
            <a:tailEnd/>
          </a:ln>
          <a:extLst>
            <a:ext uri="{909E8E84-426E-40DD-AFC4-6F175D3DCCD1}">
              <a14:hiddenFill xmlns:a14="http://schemas.microsoft.com/office/drawing/2010/main">
                <a:noFill/>
              </a14:hiddenFill>
            </a:ext>
          </a:extLst>
        </p:spPr>
      </p:cxnSp>
      <p:sp>
        <p:nvSpPr>
          <p:cNvPr id="27" name="Freeform 654">
            <a:extLst>
              <a:ext uri="{FF2B5EF4-FFF2-40B4-BE49-F238E27FC236}">
                <a16:creationId xmlns:a16="http://schemas.microsoft.com/office/drawing/2014/main" id="{17D12F72-866A-4395-B2CE-EEEAB26CE3CD}"/>
              </a:ext>
            </a:extLst>
          </p:cNvPr>
          <p:cNvSpPr>
            <a:spLocks noChangeAspect="1" noEditPoints="1"/>
          </p:cNvSpPr>
          <p:nvPr/>
        </p:nvSpPr>
        <p:spPr bwMode="auto">
          <a:xfrm>
            <a:off x="1316478" y="3299028"/>
            <a:ext cx="967081" cy="967081"/>
          </a:xfrm>
          <a:custGeom>
            <a:avLst/>
            <a:gdLst>
              <a:gd name="T0" fmla="*/ 192 w 512"/>
              <a:gd name="T1" fmla="*/ 353 h 512"/>
              <a:gd name="T2" fmla="*/ 197 w 512"/>
              <a:gd name="T3" fmla="*/ 384 h 512"/>
              <a:gd name="T4" fmla="*/ 161 w 512"/>
              <a:gd name="T5" fmla="*/ 390 h 512"/>
              <a:gd name="T6" fmla="*/ 156 w 512"/>
              <a:gd name="T7" fmla="*/ 360 h 512"/>
              <a:gd name="T8" fmla="*/ 192 w 512"/>
              <a:gd name="T9" fmla="*/ 353 h 512"/>
              <a:gd name="T10" fmla="*/ 256 w 512"/>
              <a:gd name="T11" fmla="*/ 117 h 512"/>
              <a:gd name="T12" fmla="*/ 135 w 512"/>
              <a:gd name="T13" fmla="*/ 237 h 512"/>
              <a:gd name="T14" fmla="*/ 136 w 512"/>
              <a:gd name="T15" fmla="*/ 245 h 512"/>
              <a:gd name="T16" fmla="*/ 136 w 512"/>
              <a:gd name="T17" fmla="*/ 246 h 512"/>
              <a:gd name="T18" fmla="*/ 152 w 512"/>
              <a:gd name="T19" fmla="*/ 339 h 512"/>
              <a:gd name="T20" fmla="*/ 188 w 512"/>
              <a:gd name="T21" fmla="*/ 332 h 512"/>
              <a:gd name="T22" fmla="*/ 174 w 512"/>
              <a:gd name="T23" fmla="*/ 251 h 512"/>
              <a:gd name="T24" fmla="*/ 172 w 512"/>
              <a:gd name="T25" fmla="*/ 237 h 512"/>
              <a:gd name="T26" fmla="*/ 256 w 512"/>
              <a:gd name="T27" fmla="*/ 154 h 512"/>
              <a:gd name="T28" fmla="*/ 339 w 512"/>
              <a:gd name="T29" fmla="*/ 237 h 512"/>
              <a:gd name="T30" fmla="*/ 338 w 512"/>
              <a:gd name="T31" fmla="*/ 250 h 512"/>
              <a:gd name="T32" fmla="*/ 323 w 512"/>
              <a:gd name="T33" fmla="*/ 332 h 512"/>
              <a:gd name="T34" fmla="*/ 359 w 512"/>
              <a:gd name="T35" fmla="*/ 339 h 512"/>
              <a:gd name="T36" fmla="*/ 375 w 512"/>
              <a:gd name="T37" fmla="*/ 245 h 512"/>
              <a:gd name="T38" fmla="*/ 375 w 512"/>
              <a:gd name="T39" fmla="*/ 245 h 512"/>
              <a:gd name="T40" fmla="*/ 376 w 512"/>
              <a:gd name="T41" fmla="*/ 237 h 512"/>
              <a:gd name="T42" fmla="*/ 256 w 512"/>
              <a:gd name="T43" fmla="*/ 117 h 512"/>
              <a:gd name="T44" fmla="*/ 314 w 512"/>
              <a:gd name="T45" fmla="*/ 384 h 512"/>
              <a:gd name="T46" fmla="*/ 351 w 512"/>
              <a:gd name="T47" fmla="*/ 390 h 512"/>
              <a:gd name="T48" fmla="*/ 356 w 512"/>
              <a:gd name="T49" fmla="*/ 360 h 512"/>
              <a:gd name="T50" fmla="*/ 320 w 512"/>
              <a:gd name="T51" fmla="*/ 353 h 512"/>
              <a:gd name="T52" fmla="*/ 314 w 512"/>
              <a:gd name="T53" fmla="*/ 384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97 w 512"/>
              <a:gd name="T65" fmla="*/ 237 h 512"/>
              <a:gd name="T66" fmla="*/ 256 w 512"/>
              <a:gd name="T67" fmla="*/ 96 h 512"/>
              <a:gd name="T68" fmla="*/ 114 w 512"/>
              <a:gd name="T69" fmla="*/ 237 h 512"/>
              <a:gd name="T70" fmla="*/ 115 w 512"/>
              <a:gd name="T71" fmla="*/ 247 h 512"/>
              <a:gd name="T72" fmla="*/ 141 w 512"/>
              <a:gd name="T73" fmla="*/ 404 h 512"/>
              <a:gd name="T74" fmla="*/ 146 w 512"/>
              <a:gd name="T75" fmla="*/ 411 h 512"/>
              <a:gd name="T76" fmla="*/ 154 w 512"/>
              <a:gd name="T77" fmla="*/ 413 h 512"/>
              <a:gd name="T78" fmla="*/ 211 w 512"/>
              <a:gd name="T79" fmla="*/ 403 h 512"/>
              <a:gd name="T80" fmla="*/ 220 w 512"/>
              <a:gd name="T81" fmla="*/ 391 h 512"/>
              <a:gd name="T82" fmla="*/ 195 w 512"/>
              <a:gd name="T83" fmla="*/ 247 h 512"/>
              <a:gd name="T84" fmla="*/ 194 w 512"/>
              <a:gd name="T85" fmla="*/ 237 h 512"/>
              <a:gd name="T86" fmla="*/ 256 w 512"/>
              <a:gd name="T87" fmla="*/ 175 h 512"/>
              <a:gd name="T88" fmla="*/ 318 w 512"/>
              <a:gd name="T89" fmla="*/ 237 h 512"/>
              <a:gd name="T90" fmla="*/ 317 w 512"/>
              <a:gd name="T91" fmla="*/ 247 h 512"/>
              <a:gd name="T92" fmla="*/ 292 w 512"/>
              <a:gd name="T93" fmla="*/ 391 h 512"/>
              <a:gd name="T94" fmla="*/ 300 w 512"/>
              <a:gd name="T95" fmla="*/ 403 h 512"/>
              <a:gd name="T96" fmla="*/ 357 w 512"/>
              <a:gd name="T97" fmla="*/ 413 h 512"/>
              <a:gd name="T98" fmla="*/ 359 w 512"/>
              <a:gd name="T99" fmla="*/ 413 h 512"/>
              <a:gd name="T100" fmla="*/ 365 w 512"/>
              <a:gd name="T101" fmla="*/ 411 h 512"/>
              <a:gd name="T102" fmla="*/ 370 w 512"/>
              <a:gd name="T103" fmla="*/ 404 h 512"/>
              <a:gd name="T104" fmla="*/ 397 w 512"/>
              <a:gd name="T105" fmla="*/ 248 h 512"/>
              <a:gd name="T106" fmla="*/ 397 w 512"/>
              <a:gd name="T107" fmla="*/ 247 h 512"/>
              <a:gd name="T108" fmla="*/ 397 w 512"/>
              <a:gd name="T109" fmla="*/ 2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192" y="353"/>
                </a:moveTo>
                <a:cubicBezTo>
                  <a:pt x="197" y="384"/>
                  <a:pt x="197" y="384"/>
                  <a:pt x="197" y="384"/>
                </a:cubicBezTo>
                <a:cubicBezTo>
                  <a:pt x="161" y="390"/>
                  <a:pt x="161" y="390"/>
                  <a:pt x="161" y="390"/>
                </a:cubicBezTo>
                <a:cubicBezTo>
                  <a:pt x="156" y="360"/>
                  <a:pt x="156" y="360"/>
                  <a:pt x="156" y="360"/>
                </a:cubicBezTo>
                <a:lnTo>
                  <a:pt x="192" y="353"/>
                </a:lnTo>
                <a:close/>
                <a:moveTo>
                  <a:pt x="256" y="117"/>
                </a:moveTo>
                <a:cubicBezTo>
                  <a:pt x="189" y="117"/>
                  <a:pt x="135" y="171"/>
                  <a:pt x="135" y="237"/>
                </a:cubicBezTo>
                <a:cubicBezTo>
                  <a:pt x="135" y="240"/>
                  <a:pt x="136" y="242"/>
                  <a:pt x="136" y="245"/>
                </a:cubicBezTo>
                <a:cubicBezTo>
                  <a:pt x="136" y="246"/>
                  <a:pt x="136" y="246"/>
                  <a:pt x="136" y="246"/>
                </a:cubicBezTo>
                <a:cubicBezTo>
                  <a:pt x="152" y="339"/>
                  <a:pt x="152" y="339"/>
                  <a:pt x="152" y="339"/>
                </a:cubicBezTo>
                <a:cubicBezTo>
                  <a:pt x="188" y="332"/>
                  <a:pt x="188" y="332"/>
                  <a:pt x="188" y="332"/>
                </a:cubicBezTo>
                <a:cubicBezTo>
                  <a:pt x="174" y="251"/>
                  <a:pt x="174" y="251"/>
                  <a:pt x="174" y="251"/>
                </a:cubicBezTo>
                <a:cubicBezTo>
                  <a:pt x="173" y="247"/>
                  <a:pt x="172" y="242"/>
                  <a:pt x="172" y="237"/>
                </a:cubicBezTo>
                <a:cubicBezTo>
                  <a:pt x="172" y="190"/>
                  <a:pt x="208" y="154"/>
                  <a:pt x="256" y="154"/>
                </a:cubicBezTo>
                <a:cubicBezTo>
                  <a:pt x="302" y="154"/>
                  <a:pt x="339" y="191"/>
                  <a:pt x="339" y="237"/>
                </a:cubicBezTo>
                <a:cubicBezTo>
                  <a:pt x="339" y="242"/>
                  <a:pt x="338" y="247"/>
                  <a:pt x="338" y="250"/>
                </a:cubicBezTo>
                <a:cubicBezTo>
                  <a:pt x="323" y="332"/>
                  <a:pt x="323" y="332"/>
                  <a:pt x="323" y="332"/>
                </a:cubicBezTo>
                <a:cubicBezTo>
                  <a:pt x="359" y="339"/>
                  <a:pt x="359" y="339"/>
                  <a:pt x="359" y="339"/>
                </a:cubicBezTo>
                <a:cubicBezTo>
                  <a:pt x="375" y="245"/>
                  <a:pt x="375" y="245"/>
                  <a:pt x="375" y="245"/>
                </a:cubicBezTo>
                <a:cubicBezTo>
                  <a:pt x="375" y="245"/>
                  <a:pt x="375" y="245"/>
                  <a:pt x="375" y="245"/>
                </a:cubicBezTo>
                <a:cubicBezTo>
                  <a:pt x="376" y="242"/>
                  <a:pt x="376" y="240"/>
                  <a:pt x="376" y="237"/>
                </a:cubicBezTo>
                <a:cubicBezTo>
                  <a:pt x="376" y="171"/>
                  <a:pt x="322" y="117"/>
                  <a:pt x="256" y="117"/>
                </a:cubicBezTo>
                <a:close/>
                <a:moveTo>
                  <a:pt x="314" y="384"/>
                </a:moveTo>
                <a:cubicBezTo>
                  <a:pt x="351" y="390"/>
                  <a:pt x="351" y="390"/>
                  <a:pt x="351" y="390"/>
                </a:cubicBezTo>
                <a:cubicBezTo>
                  <a:pt x="356" y="360"/>
                  <a:pt x="356" y="360"/>
                  <a:pt x="356" y="360"/>
                </a:cubicBezTo>
                <a:cubicBezTo>
                  <a:pt x="320" y="353"/>
                  <a:pt x="320" y="353"/>
                  <a:pt x="320" y="353"/>
                </a:cubicBezTo>
                <a:lnTo>
                  <a:pt x="314" y="38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7" y="237"/>
                </a:moveTo>
                <a:cubicBezTo>
                  <a:pt x="397" y="159"/>
                  <a:pt x="334" y="96"/>
                  <a:pt x="256" y="96"/>
                </a:cubicBezTo>
                <a:cubicBezTo>
                  <a:pt x="178" y="96"/>
                  <a:pt x="114" y="159"/>
                  <a:pt x="114" y="237"/>
                </a:cubicBezTo>
                <a:cubicBezTo>
                  <a:pt x="114" y="240"/>
                  <a:pt x="114" y="243"/>
                  <a:pt x="115" y="247"/>
                </a:cubicBezTo>
                <a:cubicBezTo>
                  <a:pt x="141" y="404"/>
                  <a:pt x="141" y="404"/>
                  <a:pt x="141" y="404"/>
                </a:cubicBezTo>
                <a:cubicBezTo>
                  <a:pt x="142" y="407"/>
                  <a:pt x="144" y="410"/>
                  <a:pt x="146" y="411"/>
                </a:cubicBezTo>
                <a:cubicBezTo>
                  <a:pt x="148" y="413"/>
                  <a:pt x="151" y="414"/>
                  <a:pt x="154" y="413"/>
                </a:cubicBezTo>
                <a:cubicBezTo>
                  <a:pt x="211" y="403"/>
                  <a:pt x="211" y="403"/>
                  <a:pt x="211" y="403"/>
                </a:cubicBezTo>
                <a:cubicBezTo>
                  <a:pt x="217" y="402"/>
                  <a:pt x="221" y="396"/>
                  <a:pt x="220" y="391"/>
                </a:cubicBezTo>
                <a:cubicBezTo>
                  <a:pt x="195" y="247"/>
                  <a:pt x="195" y="247"/>
                  <a:pt x="195" y="247"/>
                </a:cubicBezTo>
                <a:cubicBezTo>
                  <a:pt x="194" y="244"/>
                  <a:pt x="194" y="240"/>
                  <a:pt x="194" y="237"/>
                </a:cubicBezTo>
                <a:cubicBezTo>
                  <a:pt x="194" y="201"/>
                  <a:pt x="220" y="175"/>
                  <a:pt x="256" y="175"/>
                </a:cubicBezTo>
                <a:cubicBezTo>
                  <a:pt x="290" y="175"/>
                  <a:pt x="318" y="203"/>
                  <a:pt x="318" y="237"/>
                </a:cubicBezTo>
                <a:cubicBezTo>
                  <a:pt x="318" y="240"/>
                  <a:pt x="317" y="244"/>
                  <a:pt x="317" y="247"/>
                </a:cubicBezTo>
                <a:cubicBezTo>
                  <a:pt x="292" y="391"/>
                  <a:pt x="292" y="391"/>
                  <a:pt x="292" y="391"/>
                </a:cubicBezTo>
                <a:cubicBezTo>
                  <a:pt x="291" y="396"/>
                  <a:pt x="294" y="402"/>
                  <a:pt x="300" y="403"/>
                </a:cubicBezTo>
                <a:cubicBezTo>
                  <a:pt x="357" y="413"/>
                  <a:pt x="357" y="413"/>
                  <a:pt x="357" y="413"/>
                </a:cubicBezTo>
                <a:cubicBezTo>
                  <a:pt x="358" y="413"/>
                  <a:pt x="359" y="413"/>
                  <a:pt x="359" y="413"/>
                </a:cubicBezTo>
                <a:cubicBezTo>
                  <a:pt x="362" y="413"/>
                  <a:pt x="364" y="413"/>
                  <a:pt x="365" y="411"/>
                </a:cubicBezTo>
                <a:cubicBezTo>
                  <a:pt x="368" y="410"/>
                  <a:pt x="369" y="407"/>
                  <a:pt x="370" y="404"/>
                </a:cubicBezTo>
                <a:cubicBezTo>
                  <a:pt x="397" y="248"/>
                  <a:pt x="397" y="248"/>
                  <a:pt x="397" y="248"/>
                </a:cubicBezTo>
                <a:cubicBezTo>
                  <a:pt x="397" y="247"/>
                  <a:pt x="397" y="247"/>
                  <a:pt x="397" y="247"/>
                </a:cubicBezTo>
                <a:cubicBezTo>
                  <a:pt x="397" y="243"/>
                  <a:pt x="397" y="240"/>
                  <a:pt x="397" y="237"/>
                </a:cubicBezTo>
                <a:close/>
              </a:path>
            </a:pathLst>
          </a:custGeom>
          <a:solidFill>
            <a:srgbClr val="000000"/>
          </a:solidFill>
          <a:ln w="15875">
            <a:solidFill>
              <a:srgbClr val="000000"/>
            </a:solidFill>
          </a:ln>
        </p:spPr>
        <p:txBody>
          <a:bodyPr vert="horz" wrap="square" lIns="91440" tIns="45720" rIns="91440" bIns="45720" numCol="1" anchor="t" anchorCtr="0" compatLnSpc="1">
            <a:prstTxWarp prst="textNoShape">
              <a:avLst/>
            </a:prstTxWarp>
          </a:bodyPr>
          <a:lstStyle/>
          <a:p>
            <a:endParaRPr lang="en-GB" dirty="0"/>
          </a:p>
        </p:txBody>
      </p:sp>
      <p:sp>
        <p:nvSpPr>
          <p:cNvPr id="28" name="Freeform 980">
            <a:extLst>
              <a:ext uri="{FF2B5EF4-FFF2-40B4-BE49-F238E27FC236}">
                <a16:creationId xmlns:a16="http://schemas.microsoft.com/office/drawing/2014/main" id="{CECD3853-9513-4905-B605-3C6E939D2F32}"/>
              </a:ext>
            </a:extLst>
          </p:cNvPr>
          <p:cNvSpPr>
            <a:spLocks noChangeAspect="1" noEditPoints="1"/>
          </p:cNvSpPr>
          <p:nvPr/>
        </p:nvSpPr>
        <p:spPr bwMode="auto">
          <a:xfrm>
            <a:off x="3338128" y="1812845"/>
            <a:ext cx="1073559" cy="1073559"/>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rgbClr val="43B02A"/>
          </a:solidFill>
          <a:ln w="15875">
            <a:solidFill>
              <a:srgbClr val="43B02A"/>
            </a:solidFill>
          </a:ln>
        </p:spPr>
        <p:txBody>
          <a:bodyPr vert="horz" wrap="square" lIns="91440" tIns="45720" rIns="91440" bIns="45720" numCol="1" anchor="t" anchorCtr="0" compatLnSpc="1">
            <a:prstTxWarp prst="textNoShape">
              <a:avLst/>
            </a:prstTxWarp>
          </a:bodyPr>
          <a:lstStyle/>
          <a:p>
            <a:endParaRPr lang="en-GB" dirty="0"/>
          </a:p>
        </p:txBody>
      </p:sp>
      <p:sp>
        <p:nvSpPr>
          <p:cNvPr id="29" name="Freeform 723">
            <a:extLst>
              <a:ext uri="{FF2B5EF4-FFF2-40B4-BE49-F238E27FC236}">
                <a16:creationId xmlns:a16="http://schemas.microsoft.com/office/drawing/2014/main" id="{167EB1B8-DA23-416B-84A0-9B435F9F9709}"/>
              </a:ext>
            </a:extLst>
          </p:cNvPr>
          <p:cNvSpPr>
            <a:spLocks noChangeAspect="1" noEditPoints="1"/>
          </p:cNvSpPr>
          <p:nvPr/>
        </p:nvSpPr>
        <p:spPr bwMode="auto">
          <a:xfrm>
            <a:off x="5785708" y="4582410"/>
            <a:ext cx="1602348" cy="1602348"/>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53565A"/>
          </a:solidFill>
          <a:ln w="34925">
            <a:solidFill>
              <a:srgbClr val="53565A"/>
            </a:solidFill>
          </a:ln>
        </p:spPr>
        <p:txBody>
          <a:bodyPr vert="horz" wrap="square" lIns="91440" tIns="45720" rIns="91440" bIns="45720" numCol="1" anchor="t" anchorCtr="0" compatLnSpc="1">
            <a:prstTxWarp prst="textNoShape">
              <a:avLst/>
            </a:prstTxWarp>
          </a:bodyPr>
          <a:lstStyle/>
          <a:p>
            <a:endParaRPr lang="en-GB" dirty="0"/>
          </a:p>
        </p:txBody>
      </p:sp>
      <p:sp>
        <p:nvSpPr>
          <p:cNvPr id="30" name="Freeform 153">
            <a:extLst>
              <a:ext uri="{FF2B5EF4-FFF2-40B4-BE49-F238E27FC236}">
                <a16:creationId xmlns:a16="http://schemas.microsoft.com/office/drawing/2014/main" id="{279CDABE-F3EE-4A56-B6BB-E0A67E21A9AA}"/>
              </a:ext>
            </a:extLst>
          </p:cNvPr>
          <p:cNvSpPr>
            <a:spLocks noChangeAspect="1" noEditPoints="1"/>
          </p:cNvSpPr>
          <p:nvPr/>
        </p:nvSpPr>
        <p:spPr bwMode="auto">
          <a:xfrm>
            <a:off x="9686000" y="3673327"/>
            <a:ext cx="1074673" cy="1074673"/>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rgbClr val="86BC25"/>
          </a:solidFill>
          <a:ln w="19050">
            <a:solidFill>
              <a:srgbClr val="86BC25"/>
            </a:solid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103362476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lowchart: Process 1">
            <a:extLst>
              <a:ext uri="{FF2B5EF4-FFF2-40B4-BE49-F238E27FC236}">
                <a16:creationId xmlns:a16="http://schemas.microsoft.com/office/drawing/2014/main" id="{120E9260-D1F2-B445-A951-14D2AD8FA340}"/>
              </a:ext>
            </a:extLst>
          </p:cNvPr>
          <p:cNvSpPr/>
          <p:nvPr/>
        </p:nvSpPr>
        <p:spPr bwMode="auto">
          <a:xfrm>
            <a:off x="1493870" y="2875334"/>
            <a:ext cx="2965018" cy="2762684"/>
          </a:xfrm>
          <a:prstGeom prst="flowChartProcess">
            <a:avLst/>
          </a:prstGeom>
          <a:solidFill>
            <a:srgbClr val="43B02A">
              <a:alpha val="30000"/>
            </a:srgbClr>
          </a:solidFill>
          <a:ln w="9525" cap="flat" cmpd="sng" algn="ctr">
            <a:noFill/>
            <a:prstDash val="solid"/>
            <a:roun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gn="ctr" defTabSz="913686" fontAlgn="base"/>
            <a:r>
              <a:rPr lang="en-US" sz="1300" b="1" dirty="0">
                <a:solidFill>
                  <a:srgbClr val="43B02A"/>
                </a:solidFill>
              </a:rPr>
              <a:t>Lorem ipsum</a:t>
            </a:r>
          </a:p>
        </p:txBody>
      </p:sp>
      <p:sp>
        <p:nvSpPr>
          <p:cNvPr id="57" name="Flowchart: Process 2">
            <a:extLst>
              <a:ext uri="{FF2B5EF4-FFF2-40B4-BE49-F238E27FC236}">
                <a16:creationId xmlns:a16="http://schemas.microsoft.com/office/drawing/2014/main" id="{E0D9F8E3-7CA2-8343-B54C-00919A777891}"/>
              </a:ext>
            </a:extLst>
          </p:cNvPr>
          <p:cNvSpPr/>
          <p:nvPr/>
        </p:nvSpPr>
        <p:spPr bwMode="auto">
          <a:xfrm>
            <a:off x="4613316" y="3617001"/>
            <a:ext cx="2965018" cy="2029837"/>
          </a:xfrm>
          <a:prstGeom prst="flowChartProcess">
            <a:avLst/>
          </a:prstGeom>
          <a:solidFill>
            <a:srgbClr val="009A44">
              <a:alpha val="30000"/>
            </a:srgbClr>
          </a:solidFill>
          <a:ln w="9525" cap="flat" cmpd="sng" algn="ctr">
            <a:noFill/>
            <a:prstDash val="solid"/>
            <a:roun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gn="ctr" defTabSz="913686" fontAlgn="base"/>
            <a:r>
              <a:rPr lang="en-US" sz="1300" b="1" dirty="0">
                <a:solidFill>
                  <a:srgbClr val="43B02A"/>
                </a:solidFill>
              </a:rPr>
              <a:t>Lorem ipsum</a:t>
            </a:r>
          </a:p>
        </p:txBody>
      </p:sp>
      <p:sp>
        <p:nvSpPr>
          <p:cNvPr id="58" name="Flowchart: Process 3">
            <a:extLst>
              <a:ext uri="{FF2B5EF4-FFF2-40B4-BE49-F238E27FC236}">
                <a16:creationId xmlns:a16="http://schemas.microsoft.com/office/drawing/2014/main" id="{5DDEFED9-3F16-BE48-B546-B12C1AA6AF39}"/>
              </a:ext>
            </a:extLst>
          </p:cNvPr>
          <p:cNvSpPr/>
          <p:nvPr/>
        </p:nvSpPr>
        <p:spPr bwMode="auto">
          <a:xfrm>
            <a:off x="7732762" y="3569989"/>
            <a:ext cx="2965018" cy="2076851"/>
          </a:xfrm>
          <a:prstGeom prst="flowChartProcess">
            <a:avLst/>
          </a:prstGeom>
          <a:solidFill>
            <a:srgbClr val="046A38">
              <a:alpha val="30000"/>
            </a:srgbClr>
          </a:solidFill>
          <a:ln w="9525" cap="flat" cmpd="sng" algn="ctr">
            <a:noFill/>
            <a:prstDash val="solid"/>
            <a:roun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gn="ctr" defTabSz="913686" fontAlgn="base"/>
            <a:r>
              <a:rPr lang="en-US" sz="1300" b="1" dirty="0">
                <a:solidFill>
                  <a:srgbClr val="43B02A"/>
                </a:solidFill>
              </a:rPr>
              <a:t>Lorem ipsum</a:t>
            </a:r>
          </a:p>
        </p:txBody>
      </p:sp>
      <p:sp>
        <p:nvSpPr>
          <p:cNvPr id="59" name="Flowchart: Extract 4">
            <a:extLst>
              <a:ext uri="{FF2B5EF4-FFF2-40B4-BE49-F238E27FC236}">
                <a16:creationId xmlns:a16="http://schemas.microsoft.com/office/drawing/2014/main" id="{2F79EC35-35B9-9D41-B283-E902896F4FDA}"/>
              </a:ext>
            </a:extLst>
          </p:cNvPr>
          <p:cNvSpPr/>
          <p:nvPr/>
        </p:nvSpPr>
        <p:spPr bwMode="auto">
          <a:xfrm>
            <a:off x="498746" y="1714500"/>
            <a:ext cx="11194158" cy="675700"/>
          </a:xfrm>
          <a:prstGeom prst="flowChartExtract">
            <a:avLst/>
          </a:prstGeom>
          <a:solidFill>
            <a:srgbClr val="53565A"/>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fontAlgn="base"/>
            <a:endParaRPr lang="en-US" sz="1300" dirty="0">
              <a:solidFill>
                <a:srgbClr val="FFFFFF"/>
              </a:solidFill>
            </a:endParaRPr>
          </a:p>
        </p:txBody>
      </p:sp>
      <p:sp>
        <p:nvSpPr>
          <p:cNvPr id="60" name="Rectangle 59">
            <a:extLst>
              <a:ext uri="{FF2B5EF4-FFF2-40B4-BE49-F238E27FC236}">
                <a16:creationId xmlns:a16="http://schemas.microsoft.com/office/drawing/2014/main" id="{E0836713-F444-3E4A-9926-B66A0890E743}"/>
              </a:ext>
            </a:extLst>
          </p:cNvPr>
          <p:cNvSpPr/>
          <p:nvPr/>
        </p:nvSpPr>
        <p:spPr bwMode="auto">
          <a:xfrm>
            <a:off x="509587" y="2543103"/>
            <a:ext cx="829855" cy="3094916"/>
          </a:xfrm>
          <a:prstGeom prst="rect">
            <a:avLst/>
          </a:prstGeom>
          <a:solidFill>
            <a:schemeClr val="tx1">
              <a:lumMod val="85000"/>
              <a:lumOff val="15000"/>
            </a:schemeClr>
          </a:solidFill>
          <a:ln w="9525" cap="flat" cmpd="sng" algn="ctr">
            <a:noFill/>
            <a:prstDash val="solid"/>
            <a:round/>
            <a:headEnd type="none" w="med" len="med"/>
            <a:tailEnd type="none" w="med" len="med"/>
          </a:ln>
          <a:effectLst/>
        </p:spPr>
        <p:txBody>
          <a:bodyPr vert="vert270" wrap="square" lIns="0" tIns="360000" rIns="0" bIns="0" numCol="1" rtlCol="0" anchor="ctr" anchorCtr="0" compatLnSpc="1">
            <a:prstTxWarp prst="textNoShape">
              <a:avLst/>
            </a:prstTxWarp>
          </a:bodyPr>
          <a:lstStyle/>
          <a:p>
            <a:pPr algn="ctr" fontAlgn="base">
              <a:buFont typeface="Wingdings 2" pitchFamily="18" charset="2"/>
              <a:buNone/>
            </a:pPr>
            <a:r>
              <a:rPr lang="en-US" sz="1300" b="1" dirty="0">
                <a:solidFill>
                  <a:prstClr val="white"/>
                </a:solidFill>
              </a:rPr>
              <a:t>Lorem ipsum</a:t>
            </a:r>
          </a:p>
        </p:txBody>
      </p:sp>
      <p:sp>
        <p:nvSpPr>
          <p:cNvPr id="61" name="TextBox 60">
            <a:extLst>
              <a:ext uri="{FF2B5EF4-FFF2-40B4-BE49-F238E27FC236}">
                <a16:creationId xmlns:a16="http://schemas.microsoft.com/office/drawing/2014/main" id="{8967E9D0-D5A3-5649-9B3E-F93771436D72}"/>
              </a:ext>
            </a:extLst>
          </p:cNvPr>
          <p:cNvSpPr txBox="1"/>
          <p:nvPr/>
        </p:nvSpPr>
        <p:spPr bwMode="auto">
          <a:xfrm>
            <a:off x="5645380" y="1987869"/>
            <a:ext cx="900888" cy="200055"/>
          </a:xfrm>
          <a:prstGeom prst="rect">
            <a:avLst/>
          </a:prstGeom>
        </p:spPr>
        <p:txBody>
          <a:bodyPr wrap="none" lIns="0" tIns="0" rIns="0" bIns="0" rtlCol="0">
            <a:spAutoFit/>
          </a:bodyPr>
          <a:lstStyle/>
          <a:p>
            <a:pPr indent="-225425" algn="ctr" defTabSz="913686" fontAlgn="base">
              <a:buClr>
                <a:srgbClr val="000000"/>
              </a:buClr>
              <a:defRPr/>
            </a:pPr>
            <a:r>
              <a:rPr lang="en-US" sz="1300" b="1" kern="0" dirty="0">
                <a:solidFill>
                  <a:srgbClr val="FFFFFF"/>
                </a:solidFill>
              </a:rPr>
              <a:t>Lorem ipsum</a:t>
            </a:r>
          </a:p>
        </p:txBody>
      </p:sp>
      <p:sp>
        <p:nvSpPr>
          <p:cNvPr id="62" name="Rectangle 61">
            <a:extLst>
              <a:ext uri="{FF2B5EF4-FFF2-40B4-BE49-F238E27FC236}">
                <a16:creationId xmlns:a16="http://schemas.microsoft.com/office/drawing/2014/main" id="{75AC6718-9A3B-C446-83E6-7F9828A93E7F}"/>
              </a:ext>
            </a:extLst>
          </p:cNvPr>
          <p:cNvSpPr/>
          <p:nvPr/>
        </p:nvSpPr>
        <p:spPr bwMode="auto">
          <a:xfrm>
            <a:off x="10862699" y="2543103"/>
            <a:ext cx="830205" cy="3094916"/>
          </a:xfrm>
          <a:prstGeom prst="rect">
            <a:avLst/>
          </a:prstGeom>
          <a:solidFill>
            <a:schemeClr val="tx1">
              <a:lumMod val="85000"/>
              <a:lumOff val="15000"/>
            </a:schemeClr>
          </a:solidFill>
          <a:ln w="9525" cap="flat" cmpd="sng" algn="ctr">
            <a:noFill/>
            <a:prstDash val="solid"/>
            <a:round/>
            <a:headEnd type="none" w="med" len="med"/>
            <a:tailEnd type="none" w="med" len="med"/>
          </a:ln>
          <a:effectLst/>
        </p:spPr>
        <p:txBody>
          <a:bodyPr vert="vert" wrap="square" lIns="0" tIns="360000" rIns="0" bIns="0" numCol="1" rtlCol="0" anchor="ctr" anchorCtr="0" compatLnSpc="1">
            <a:prstTxWarp prst="textNoShape">
              <a:avLst/>
            </a:prstTxWarp>
          </a:bodyPr>
          <a:lstStyle/>
          <a:p>
            <a:pPr algn="ctr" fontAlgn="base">
              <a:buFont typeface="Wingdings 2" pitchFamily="18" charset="2"/>
              <a:buNone/>
            </a:pPr>
            <a:r>
              <a:rPr lang="en-US" sz="1300" b="1" dirty="0">
                <a:solidFill>
                  <a:prstClr val="white"/>
                </a:solidFill>
              </a:rPr>
              <a:t>Lorem ipsum</a:t>
            </a:r>
          </a:p>
        </p:txBody>
      </p:sp>
      <p:sp>
        <p:nvSpPr>
          <p:cNvPr id="63" name="Flowchart: Process 8">
            <a:extLst>
              <a:ext uri="{FF2B5EF4-FFF2-40B4-BE49-F238E27FC236}">
                <a16:creationId xmlns:a16="http://schemas.microsoft.com/office/drawing/2014/main" id="{12677B77-4400-E242-B2FB-E1A8A872CCDF}"/>
              </a:ext>
            </a:extLst>
          </p:cNvPr>
          <p:cNvSpPr/>
          <p:nvPr/>
        </p:nvSpPr>
        <p:spPr bwMode="auto">
          <a:xfrm>
            <a:off x="7732762" y="3569989"/>
            <a:ext cx="2965018" cy="574121"/>
          </a:xfrm>
          <a:prstGeom prst="flowChartProcess">
            <a:avLst/>
          </a:prstGeom>
          <a:solidFill>
            <a:srgbClr val="046A38"/>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913686" fontAlgn="base"/>
            <a:r>
              <a:rPr lang="en-US" sz="1300" b="1" dirty="0">
                <a:solidFill>
                  <a:prstClr val="white"/>
                </a:solidFill>
              </a:rPr>
              <a:t>Lorem ipsum</a:t>
            </a:r>
          </a:p>
        </p:txBody>
      </p:sp>
      <p:sp>
        <p:nvSpPr>
          <p:cNvPr id="64" name="Flowchart: Process 9">
            <a:extLst>
              <a:ext uri="{FF2B5EF4-FFF2-40B4-BE49-F238E27FC236}">
                <a16:creationId xmlns:a16="http://schemas.microsoft.com/office/drawing/2014/main" id="{743F35C6-B04F-F646-B802-AB7E5B9AAEC3}"/>
              </a:ext>
            </a:extLst>
          </p:cNvPr>
          <p:cNvSpPr/>
          <p:nvPr/>
        </p:nvSpPr>
        <p:spPr bwMode="auto">
          <a:xfrm>
            <a:off x="4613316" y="3569989"/>
            <a:ext cx="2965018" cy="574121"/>
          </a:xfrm>
          <a:prstGeom prst="flowChartProcess">
            <a:avLst/>
          </a:prstGeom>
          <a:solidFill>
            <a:srgbClr val="009A44"/>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913686" fontAlgn="base"/>
            <a:r>
              <a:rPr lang="en-US" sz="1300" b="1" dirty="0">
                <a:solidFill>
                  <a:prstClr val="white"/>
                </a:solidFill>
              </a:rPr>
              <a:t>Lorem ipsum</a:t>
            </a:r>
          </a:p>
        </p:txBody>
      </p:sp>
      <p:grpSp>
        <p:nvGrpSpPr>
          <p:cNvPr id="65" name="Group 64">
            <a:extLst>
              <a:ext uri="{FF2B5EF4-FFF2-40B4-BE49-F238E27FC236}">
                <a16:creationId xmlns:a16="http://schemas.microsoft.com/office/drawing/2014/main" id="{877B8946-D599-364A-AA8A-BEE57A61B656}"/>
              </a:ext>
            </a:extLst>
          </p:cNvPr>
          <p:cNvGrpSpPr/>
          <p:nvPr/>
        </p:nvGrpSpPr>
        <p:grpSpPr>
          <a:xfrm>
            <a:off x="509587" y="5751872"/>
            <a:ext cx="11172826" cy="619257"/>
            <a:chOff x="2643411" y="4962147"/>
            <a:chExt cx="6891312" cy="493145"/>
          </a:xfrm>
        </p:grpSpPr>
        <p:sp>
          <p:nvSpPr>
            <p:cNvPr id="94" name="Chevron 10">
              <a:extLst>
                <a:ext uri="{FF2B5EF4-FFF2-40B4-BE49-F238E27FC236}">
                  <a16:creationId xmlns:a16="http://schemas.microsoft.com/office/drawing/2014/main" id="{797BA86A-7273-6A46-AB0A-A1F913F71BBC}"/>
                </a:ext>
              </a:extLst>
            </p:cNvPr>
            <p:cNvSpPr/>
            <p:nvPr/>
          </p:nvSpPr>
          <p:spPr>
            <a:xfrm flipH="1">
              <a:off x="8941476" y="5197419"/>
              <a:ext cx="593247" cy="217211"/>
            </a:xfrm>
            <a:custGeom>
              <a:avLst/>
              <a:gdLst>
                <a:gd name="connsiteX0" fmla="*/ 0 w 497434"/>
                <a:gd name="connsiteY0" fmla="*/ 0 h 365760"/>
                <a:gd name="connsiteX1" fmla="*/ 314554 w 497434"/>
                <a:gd name="connsiteY1" fmla="*/ 0 h 365760"/>
                <a:gd name="connsiteX2" fmla="*/ 497434 w 497434"/>
                <a:gd name="connsiteY2" fmla="*/ 182880 h 365760"/>
                <a:gd name="connsiteX3" fmla="*/ 314554 w 497434"/>
                <a:gd name="connsiteY3" fmla="*/ 365760 h 365760"/>
                <a:gd name="connsiteX4" fmla="*/ 0 w 497434"/>
                <a:gd name="connsiteY4" fmla="*/ 365760 h 365760"/>
                <a:gd name="connsiteX5" fmla="*/ 182880 w 497434"/>
                <a:gd name="connsiteY5" fmla="*/ 182880 h 365760"/>
                <a:gd name="connsiteX6" fmla="*/ 0 w 497434"/>
                <a:gd name="connsiteY6" fmla="*/ 0 h 365760"/>
                <a:gd name="connsiteX0" fmla="*/ 0 w 321869"/>
                <a:gd name="connsiteY0" fmla="*/ 0 h 365760"/>
                <a:gd name="connsiteX1" fmla="*/ 314554 w 321869"/>
                <a:gd name="connsiteY1" fmla="*/ 0 h 365760"/>
                <a:gd name="connsiteX2" fmla="*/ 321869 w 321869"/>
                <a:gd name="connsiteY2" fmla="*/ 146304 h 365760"/>
                <a:gd name="connsiteX3" fmla="*/ 314554 w 321869"/>
                <a:gd name="connsiteY3" fmla="*/ 365760 h 365760"/>
                <a:gd name="connsiteX4" fmla="*/ 0 w 321869"/>
                <a:gd name="connsiteY4" fmla="*/ 365760 h 365760"/>
                <a:gd name="connsiteX5" fmla="*/ 182880 w 321869"/>
                <a:gd name="connsiteY5" fmla="*/ 182880 h 365760"/>
                <a:gd name="connsiteX6" fmla="*/ 0 w 321869"/>
                <a:gd name="connsiteY6" fmla="*/ 0 h 365760"/>
                <a:gd name="connsiteX0" fmla="*/ 0 w 431597"/>
                <a:gd name="connsiteY0" fmla="*/ 0 h 365760"/>
                <a:gd name="connsiteX1" fmla="*/ 314554 w 431597"/>
                <a:gd name="connsiteY1" fmla="*/ 0 h 365760"/>
                <a:gd name="connsiteX2" fmla="*/ 321869 w 431597"/>
                <a:gd name="connsiteY2" fmla="*/ 146304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 name="connsiteX0" fmla="*/ 0 w 431597"/>
                <a:gd name="connsiteY0" fmla="*/ 0 h 365760"/>
                <a:gd name="connsiteX1" fmla="*/ 314554 w 431597"/>
                <a:gd name="connsiteY1" fmla="*/ 0 h 365760"/>
                <a:gd name="connsiteX2" fmla="*/ 321869 w 431597"/>
                <a:gd name="connsiteY2" fmla="*/ 263348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597" h="365760">
                  <a:moveTo>
                    <a:pt x="0" y="0"/>
                  </a:moveTo>
                  <a:lnTo>
                    <a:pt x="314554" y="0"/>
                  </a:lnTo>
                  <a:lnTo>
                    <a:pt x="321869" y="263348"/>
                  </a:lnTo>
                  <a:lnTo>
                    <a:pt x="431597" y="365760"/>
                  </a:lnTo>
                  <a:lnTo>
                    <a:pt x="0" y="365760"/>
                  </a:lnTo>
                  <a:lnTo>
                    <a:pt x="182880" y="182880"/>
                  </a:lnTo>
                  <a:lnTo>
                    <a:pt x="0" y="0"/>
                  </a:lnTo>
                  <a:close/>
                </a:path>
              </a:pathLst>
            </a:custGeom>
            <a:solidFill>
              <a:schemeClr val="tx1">
                <a:lumMod val="85000"/>
                <a:lumOff val="15000"/>
              </a:schemeClr>
            </a:solidFill>
            <a:ln w="9525" cap="flat" cmpd="sng" algn="ctr">
              <a:noFill/>
              <a:prstDash val="solid"/>
            </a:ln>
            <a:effectLst/>
          </p:spPr>
          <p:txBody>
            <a:bodyPr lIns="36000" tIns="36000" rIns="36000" bIns="36000" rtlCol="0" anchor="ctr">
              <a:spAutoFit/>
            </a:bodyPr>
            <a:lstStyle/>
            <a:p>
              <a:pPr algn="ctr">
                <a:defRPr/>
              </a:pPr>
              <a:endParaRPr lang="en-US" sz="1300" kern="0" dirty="0">
                <a:solidFill>
                  <a:prstClr val="white"/>
                </a:solidFill>
              </a:endParaRPr>
            </a:p>
          </p:txBody>
        </p:sp>
        <p:sp>
          <p:nvSpPr>
            <p:cNvPr id="95" name="Freeform 94">
              <a:extLst>
                <a:ext uri="{FF2B5EF4-FFF2-40B4-BE49-F238E27FC236}">
                  <a16:creationId xmlns:a16="http://schemas.microsoft.com/office/drawing/2014/main" id="{B0CB09EE-63C8-574A-A653-1EC007B65E90}"/>
                </a:ext>
              </a:extLst>
            </p:cNvPr>
            <p:cNvSpPr/>
            <p:nvPr/>
          </p:nvSpPr>
          <p:spPr>
            <a:xfrm flipH="1">
              <a:off x="8942089" y="5256439"/>
              <a:ext cx="160880" cy="198853"/>
            </a:xfrm>
            <a:custGeom>
              <a:avLst/>
              <a:gdLst>
                <a:gd name="connsiteX0" fmla="*/ 109728 w 117043"/>
                <a:gd name="connsiteY0" fmla="*/ 190195 h 190195"/>
                <a:gd name="connsiteX1" fmla="*/ 117043 w 117043"/>
                <a:gd name="connsiteY1" fmla="*/ 0 h 190195"/>
                <a:gd name="connsiteX2" fmla="*/ 0 w 117043"/>
                <a:gd name="connsiteY2" fmla="*/ 95098 h 190195"/>
                <a:gd name="connsiteX3" fmla="*/ 109728 w 117043"/>
                <a:gd name="connsiteY3" fmla="*/ 190195 h 190195"/>
              </a:gdLst>
              <a:ahLst/>
              <a:cxnLst>
                <a:cxn ang="0">
                  <a:pos x="connsiteX0" y="connsiteY0"/>
                </a:cxn>
                <a:cxn ang="0">
                  <a:pos x="connsiteX1" y="connsiteY1"/>
                </a:cxn>
                <a:cxn ang="0">
                  <a:pos x="connsiteX2" y="connsiteY2"/>
                </a:cxn>
                <a:cxn ang="0">
                  <a:pos x="connsiteX3" y="connsiteY3"/>
                </a:cxn>
              </a:cxnLst>
              <a:rect l="l" t="t" r="r" b="b"/>
              <a:pathLst>
                <a:path w="117043" h="190195">
                  <a:moveTo>
                    <a:pt x="109728" y="190195"/>
                  </a:moveTo>
                  <a:lnTo>
                    <a:pt x="117043" y="0"/>
                  </a:lnTo>
                  <a:lnTo>
                    <a:pt x="0" y="95098"/>
                  </a:lnTo>
                  <a:lnTo>
                    <a:pt x="109728" y="190195"/>
                  </a:lnTo>
                  <a:close/>
                </a:path>
              </a:pathLst>
            </a:custGeom>
            <a:solidFill>
              <a:schemeClr val="tx1">
                <a:lumMod val="85000"/>
                <a:lumOff val="15000"/>
              </a:schemeClr>
            </a:solidFill>
            <a:ln w="9525" cap="flat" cmpd="sng" algn="ctr">
              <a:noFill/>
              <a:prstDash val="solid"/>
            </a:ln>
            <a:effectLst/>
          </p:spPr>
          <p:txBody>
            <a:bodyPr lIns="36000" tIns="36000" rIns="36000" bIns="36000" rtlCol="0" anchor="ctr">
              <a:noAutofit/>
            </a:bodyPr>
            <a:lstStyle/>
            <a:p>
              <a:pPr algn="ctr">
                <a:defRPr/>
              </a:pPr>
              <a:endParaRPr lang="en-US" sz="1300" kern="0" dirty="0">
                <a:solidFill>
                  <a:prstClr val="white"/>
                </a:solidFill>
              </a:endParaRPr>
            </a:p>
          </p:txBody>
        </p:sp>
        <p:sp>
          <p:nvSpPr>
            <p:cNvPr id="96" name="Chevron 10">
              <a:extLst>
                <a:ext uri="{FF2B5EF4-FFF2-40B4-BE49-F238E27FC236}">
                  <a16:creationId xmlns:a16="http://schemas.microsoft.com/office/drawing/2014/main" id="{0A45F4F0-96D9-6842-A99D-F54E4F3C7725}"/>
                </a:ext>
              </a:extLst>
            </p:cNvPr>
            <p:cNvSpPr/>
            <p:nvPr/>
          </p:nvSpPr>
          <p:spPr>
            <a:xfrm>
              <a:off x="2643411" y="5194754"/>
              <a:ext cx="593247" cy="217211"/>
            </a:xfrm>
            <a:custGeom>
              <a:avLst/>
              <a:gdLst>
                <a:gd name="connsiteX0" fmla="*/ 0 w 497434"/>
                <a:gd name="connsiteY0" fmla="*/ 0 h 365760"/>
                <a:gd name="connsiteX1" fmla="*/ 314554 w 497434"/>
                <a:gd name="connsiteY1" fmla="*/ 0 h 365760"/>
                <a:gd name="connsiteX2" fmla="*/ 497434 w 497434"/>
                <a:gd name="connsiteY2" fmla="*/ 182880 h 365760"/>
                <a:gd name="connsiteX3" fmla="*/ 314554 w 497434"/>
                <a:gd name="connsiteY3" fmla="*/ 365760 h 365760"/>
                <a:gd name="connsiteX4" fmla="*/ 0 w 497434"/>
                <a:gd name="connsiteY4" fmla="*/ 365760 h 365760"/>
                <a:gd name="connsiteX5" fmla="*/ 182880 w 497434"/>
                <a:gd name="connsiteY5" fmla="*/ 182880 h 365760"/>
                <a:gd name="connsiteX6" fmla="*/ 0 w 497434"/>
                <a:gd name="connsiteY6" fmla="*/ 0 h 365760"/>
                <a:gd name="connsiteX0" fmla="*/ 0 w 321869"/>
                <a:gd name="connsiteY0" fmla="*/ 0 h 365760"/>
                <a:gd name="connsiteX1" fmla="*/ 314554 w 321869"/>
                <a:gd name="connsiteY1" fmla="*/ 0 h 365760"/>
                <a:gd name="connsiteX2" fmla="*/ 321869 w 321869"/>
                <a:gd name="connsiteY2" fmla="*/ 146304 h 365760"/>
                <a:gd name="connsiteX3" fmla="*/ 314554 w 321869"/>
                <a:gd name="connsiteY3" fmla="*/ 365760 h 365760"/>
                <a:gd name="connsiteX4" fmla="*/ 0 w 321869"/>
                <a:gd name="connsiteY4" fmla="*/ 365760 h 365760"/>
                <a:gd name="connsiteX5" fmla="*/ 182880 w 321869"/>
                <a:gd name="connsiteY5" fmla="*/ 182880 h 365760"/>
                <a:gd name="connsiteX6" fmla="*/ 0 w 321869"/>
                <a:gd name="connsiteY6" fmla="*/ 0 h 365760"/>
                <a:gd name="connsiteX0" fmla="*/ 0 w 431597"/>
                <a:gd name="connsiteY0" fmla="*/ 0 h 365760"/>
                <a:gd name="connsiteX1" fmla="*/ 314554 w 431597"/>
                <a:gd name="connsiteY1" fmla="*/ 0 h 365760"/>
                <a:gd name="connsiteX2" fmla="*/ 321869 w 431597"/>
                <a:gd name="connsiteY2" fmla="*/ 146304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 name="connsiteX0" fmla="*/ 0 w 431597"/>
                <a:gd name="connsiteY0" fmla="*/ 0 h 365760"/>
                <a:gd name="connsiteX1" fmla="*/ 314554 w 431597"/>
                <a:gd name="connsiteY1" fmla="*/ 0 h 365760"/>
                <a:gd name="connsiteX2" fmla="*/ 321869 w 431597"/>
                <a:gd name="connsiteY2" fmla="*/ 263348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597" h="365760">
                  <a:moveTo>
                    <a:pt x="0" y="0"/>
                  </a:moveTo>
                  <a:lnTo>
                    <a:pt x="314554" y="0"/>
                  </a:lnTo>
                  <a:lnTo>
                    <a:pt x="321869" y="263348"/>
                  </a:lnTo>
                  <a:lnTo>
                    <a:pt x="431597" y="365760"/>
                  </a:lnTo>
                  <a:lnTo>
                    <a:pt x="0" y="365760"/>
                  </a:lnTo>
                  <a:lnTo>
                    <a:pt x="182880" y="182880"/>
                  </a:lnTo>
                  <a:lnTo>
                    <a:pt x="0" y="0"/>
                  </a:lnTo>
                  <a:close/>
                </a:path>
              </a:pathLst>
            </a:custGeom>
            <a:solidFill>
              <a:schemeClr val="tx1">
                <a:lumMod val="85000"/>
                <a:lumOff val="15000"/>
              </a:schemeClr>
            </a:solidFill>
            <a:ln w="9525" cap="flat" cmpd="sng" algn="ctr">
              <a:noFill/>
              <a:prstDash val="solid"/>
            </a:ln>
            <a:effectLst/>
          </p:spPr>
          <p:txBody>
            <a:bodyPr lIns="36000" tIns="36000" rIns="36000" bIns="36000" rtlCol="0" anchor="ctr">
              <a:spAutoFit/>
            </a:bodyPr>
            <a:lstStyle/>
            <a:p>
              <a:pPr algn="ctr">
                <a:defRPr/>
              </a:pPr>
              <a:endParaRPr lang="en-US" sz="1300" kern="0" dirty="0">
                <a:solidFill>
                  <a:prstClr val="white"/>
                </a:solidFill>
              </a:endParaRPr>
            </a:p>
          </p:txBody>
        </p:sp>
        <p:sp>
          <p:nvSpPr>
            <p:cNvPr id="97" name="Freeform 96">
              <a:extLst>
                <a:ext uri="{FF2B5EF4-FFF2-40B4-BE49-F238E27FC236}">
                  <a16:creationId xmlns:a16="http://schemas.microsoft.com/office/drawing/2014/main" id="{78BCCA57-C2A1-2144-B636-87FF25E14194}"/>
                </a:ext>
              </a:extLst>
            </p:cNvPr>
            <p:cNvSpPr/>
            <p:nvPr/>
          </p:nvSpPr>
          <p:spPr>
            <a:xfrm>
              <a:off x="3075163" y="5256439"/>
              <a:ext cx="160880" cy="198853"/>
            </a:xfrm>
            <a:custGeom>
              <a:avLst/>
              <a:gdLst>
                <a:gd name="connsiteX0" fmla="*/ 109728 w 117043"/>
                <a:gd name="connsiteY0" fmla="*/ 190195 h 190195"/>
                <a:gd name="connsiteX1" fmla="*/ 117043 w 117043"/>
                <a:gd name="connsiteY1" fmla="*/ 0 h 190195"/>
                <a:gd name="connsiteX2" fmla="*/ 0 w 117043"/>
                <a:gd name="connsiteY2" fmla="*/ 95098 h 190195"/>
                <a:gd name="connsiteX3" fmla="*/ 109728 w 117043"/>
                <a:gd name="connsiteY3" fmla="*/ 190195 h 190195"/>
              </a:gdLst>
              <a:ahLst/>
              <a:cxnLst>
                <a:cxn ang="0">
                  <a:pos x="connsiteX0" y="connsiteY0"/>
                </a:cxn>
                <a:cxn ang="0">
                  <a:pos x="connsiteX1" y="connsiteY1"/>
                </a:cxn>
                <a:cxn ang="0">
                  <a:pos x="connsiteX2" y="connsiteY2"/>
                </a:cxn>
                <a:cxn ang="0">
                  <a:pos x="connsiteX3" y="connsiteY3"/>
                </a:cxn>
              </a:cxnLst>
              <a:rect l="l" t="t" r="r" b="b"/>
              <a:pathLst>
                <a:path w="117043" h="190195">
                  <a:moveTo>
                    <a:pt x="109728" y="190195"/>
                  </a:moveTo>
                  <a:lnTo>
                    <a:pt x="117043" y="0"/>
                  </a:lnTo>
                  <a:lnTo>
                    <a:pt x="0" y="95098"/>
                  </a:lnTo>
                  <a:lnTo>
                    <a:pt x="109728" y="190195"/>
                  </a:lnTo>
                  <a:close/>
                </a:path>
              </a:pathLst>
            </a:custGeom>
            <a:solidFill>
              <a:schemeClr val="tx1">
                <a:lumMod val="85000"/>
                <a:lumOff val="15000"/>
              </a:schemeClr>
            </a:solidFill>
            <a:ln w="9525" cap="flat" cmpd="sng" algn="ctr">
              <a:noFill/>
              <a:prstDash val="solid"/>
            </a:ln>
            <a:effectLst/>
          </p:spPr>
          <p:txBody>
            <a:bodyPr lIns="36000" tIns="36000" rIns="36000" bIns="36000" rtlCol="0" anchor="ctr">
              <a:noAutofit/>
            </a:bodyPr>
            <a:lstStyle/>
            <a:p>
              <a:pPr algn="ctr">
                <a:defRPr/>
              </a:pPr>
              <a:endParaRPr lang="en-US" sz="1300" kern="0" dirty="0">
                <a:solidFill>
                  <a:prstClr val="white"/>
                </a:solidFill>
              </a:endParaRPr>
            </a:p>
          </p:txBody>
        </p:sp>
        <p:sp>
          <p:nvSpPr>
            <p:cNvPr id="98" name="Rectangle 97">
              <a:extLst>
                <a:ext uri="{FF2B5EF4-FFF2-40B4-BE49-F238E27FC236}">
                  <a16:creationId xmlns:a16="http://schemas.microsoft.com/office/drawing/2014/main" id="{57F330F0-233B-F948-950C-88128CED058F}"/>
                </a:ext>
              </a:extLst>
            </p:cNvPr>
            <p:cNvSpPr/>
            <p:nvPr/>
          </p:nvSpPr>
          <p:spPr>
            <a:xfrm>
              <a:off x="3075163" y="4962147"/>
              <a:ext cx="6027805" cy="395022"/>
            </a:xfrm>
            <a:prstGeom prst="rect">
              <a:avLst/>
            </a:prstGeom>
            <a:solidFill>
              <a:srgbClr val="53565A"/>
            </a:solidFill>
            <a:ln w="9525" cap="flat" cmpd="sng" algn="ctr">
              <a:noFill/>
              <a:prstDash val="solid"/>
            </a:ln>
            <a:effectLst/>
          </p:spPr>
          <p:txBody>
            <a:bodyPr lIns="88900" tIns="88900" rIns="88900" bIns="88900" rtlCol="0" anchor="ctr">
              <a:noAutofit/>
            </a:bodyPr>
            <a:lstStyle/>
            <a:p>
              <a:pPr algn="ctr" defTabSz="913686">
                <a:defRPr/>
              </a:pPr>
              <a:r>
                <a:rPr lang="en-US" sz="1300" b="1" kern="0" dirty="0">
                  <a:solidFill>
                    <a:prstClr val="white"/>
                  </a:solidFill>
                </a:rPr>
                <a:t>Lorem ipsum</a:t>
              </a:r>
            </a:p>
          </p:txBody>
        </p:sp>
      </p:grpSp>
      <p:sp>
        <p:nvSpPr>
          <p:cNvPr id="66" name="Flowchart: Process 16">
            <a:extLst>
              <a:ext uri="{FF2B5EF4-FFF2-40B4-BE49-F238E27FC236}">
                <a16:creationId xmlns:a16="http://schemas.microsoft.com/office/drawing/2014/main" id="{4F343C22-26E4-694E-866A-2249FD27D585}"/>
              </a:ext>
            </a:extLst>
          </p:cNvPr>
          <p:cNvSpPr/>
          <p:nvPr/>
        </p:nvSpPr>
        <p:spPr bwMode="auto">
          <a:xfrm>
            <a:off x="1493870" y="2875334"/>
            <a:ext cx="2965018" cy="574121"/>
          </a:xfrm>
          <a:prstGeom prst="flowChartProcess">
            <a:avLst/>
          </a:prstGeom>
          <a:solidFill>
            <a:schemeClr val="accent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231775" indent="-231775" algn="ctr" defTabSz="913686" fontAlgn="base"/>
            <a:r>
              <a:rPr lang="en-US" sz="1300" b="1" dirty="0">
                <a:solidFill>
                  <a:prstClr val="white"/>
                </a:solidFill>
              </a:rPr>
              <a:t>Lorem ipsum</a:t>
            </a:r>
          </a:p>
        </p:txBody>
      </p:sp>
      <p:sp>
        <p:nvSpPr>
          <p:cNvPr id="67" name="Flowchart: Process 17">
            <a:extLst>
              <a:ext uri="{FF2B5EF4-FFF2-40B4-BE49-F238E27FC236}">
                <a16:creationId xmlns:a16="http://schemas.microsoft.com/office/drawing/2014/main" id="{AE140F15-E152-8845-B615-135F47E8A9ED}"/>
              </a:ext>
            </a:extLst>
          </p:cNvPr>
          <p:cNvSpPr/>
          <p:nvPr/>
        </p:nvSpPr>
        <p:spPr bwMode="auto">
          <a:xfrm>
            <a:off x="4613316" y="2875334"/>
            <a:ext cx="6084464" cy="574121"/>
          </a:xfrm>
          <a:prstGeom prst="flowChartProcess">
            <a:avLst/>
          </a:prstGeom>
          <a:solidFill>
            <a:srgbClr val="43B02A"/>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913686" fontAlgn="base"/>
            <a:r>
              <a:rPr lang="en-US" sz="1300" b="1" dirty="0">
                <a:solidFill>
                  <a:prstClr val="white"/>
                </a:solidFill>
              </a:rPr>
              <a:t>Lorem ipsum</a:t>
            </a:r>
          </a:p>
        </p:txBody>
      </p:sp>
      <p:sp>
        <p:nvSpPr>
          <p:cNvPr id="68" name="TextBox 67">
            <a:extLst>
              <a:ext uri="{FF2B5EF4-FFF2-40B4-BE49-F238E27FC236}">
                <a16:creationId xmlns:a16="http://schemas.microsoft.com/office/drawing/2014/main" id="{8F149E60-B235-F54D-AEA4-6AAB26050000}"/>
              </a:ext>
            </a:extLst>
          </p:cNvPr>
          <p:cNvSpPr txBox="1"/>
          <p:nvPr/>
        </p:nvSpPr>
        <p:spPr>
          <a:xfrm>
            <a:off x="4912916" y="4265498"/>
            <a:ext cx="1001749" cy="600164"/>
          </a:xfrm>
          <a:prstGeom prst="rect">
            <a:avLst/>
          </a:prstGeom>
          <a:noFill/>
        </p:spPr>
        <p:txBody>
          <a:bodyPr wrap="none" lIns="0" tIns="0" rIns="0" bIns="0" rtlCol="0">
            <a:spAutoFit/>
          </a:bodyPr>
          <a:lstStyle/>
          <a:p>
            <a:pPr marL="118872" indent="-118872" defTabSz="913686">
              <a:buSzPct val="100000"/>
              <a:buFont typeface="Arial"/>
              <a:buChar char="•"/>
            </a:pPr>
            <a:r>
              <a:rPr lang="en-US" sz="1300" dirty="0">
                <a:solidFill>
                  <a:srgbClr val="FFFFFF"/>
                </a:solidFill>
              </a:rPr>
              <a:t>Lorem ipsum</a:t>
            </a:r>
          </a:p>
          <a:p>
            <a:pPr marL="118872" indent="-118872" defTabSz="913686">
              <a:buSzPct val="100000"/>
              <a:buFont typeface="Arial"/>
              <a:buChar char="•"/>
            </a:pPr>
            <a:r>
              <a:rPr lang="en-US" sz="1300" dirty="0">
                <a:solidFill>
                  <a:srgbClr val="FFFFFF"/>
                </a:solidFill>
              </a:rPr>
              <a:t>Lorem ipsum</a:t>
            </a:r>
          </a:p>
          <a:p>
            <a:pPr marL="118872" indent="-118872" defTabSz="913686">
              <a:buSzPct val="100000"/>
              <a:buFont typeface="Arial"/>
              <a:buChar char="•"/>
            </a:pPr>
            <a:r>
              <a:rPr lang="en-US" sz="1300" dirty="0">
                <a:solidFill>
                  <a:srgbClr val="FFFFFF"/>
                </a:solidFill>
              </a:rPr>
              <a:t>Lorem ipsum</a:t>
            </a:r>
          </a:p>
        </p:txBody>
      </p:sp>
      <p:sp>
        <p:nvSpPr>
          <p:cNvPr id="69" name="TextBox 68">
            <a:extLst>
              <a:ext uri="{FF2B5EF4-FFF2-40B4-BE49-F238E27FC236}">
                <a16:creationId xmlns:a16="http://schemas.microsoft.com/office/drawing/2014/main" id="{AA67C64D-DD43-2C4F-95A9-8454E3290F2C}"/>
              </a:ext>
            </a:extLst>
          </p:cNvPr>
          <p:cNvSpPr txBox="1"/>
          <p:nvPr/>
        </p:nvSpPr>
        <p:spPr>
          <a:xfrm>
            <a:off x="8088945" y="4265498"/>
            <a:ext cx="1001749" cy="400110"/>
          </a:xfrm>
          <a:prstGeom prst="rect">
            <a:avLst/>
          </a:prstGeom>
          <a:noFill/>
        </p:spPr>
        <p:txBody>
          <a:bodyPr wrap="none" lIns="0" tIns="0" rIns="0" bIns="0" rtlCol="0">
            <a:spAutoFit/>
          </a:bodyPr>
          <a:lstStyle/>
          <a:p>
            <a:pPr marL="118872" indent="-118872" defTabSz="913686">
              <a:buSzPct val="100000"/>
              <a:buFont typeface="Arial"/>
              <a:buChar char="•"/>
            </a:pPr>
            <a:r>
              <a:rPr lang="en-US" sz="1300" dirty="0">
                <a:solidFill>
                  <a:srgbClr val="FFFFFF"/>
                </a:solidFill>
              </a:rPr>
              <a:t>Lorem ipsum</a:t>
            </a:r>
          </a:p>
          <a:p>
            <a:pPr marL="118872" indent="-118872" defTabSz="913686">
              <a:buSzPct val="100000"/>
              <a:buFont typeface="Arial"/>
              <a:buChar char="•"/>
            </a:pPr>
            <a:r>
              <a:rPr lang="en-US" sz="1300" dirty="0">
                <a:solidFill>
                  <a:srgbClr val="FFFFFF"/>
                </a:solidFill>
              </a:rPr>
              <a:t>Lorem ipsum</a:t>
            </a:r>
          </a:p>
        </p:txBody>
      </p:sp>
      <p:grpSp>
        <p:nvGrpSpPr>
          <p:cNvPr id="76" name="Group 75">
            <a:extLst>
              <a:ext uri="{FF2B5EF4-FFF2-40B4-BE49-F238E27FC236}">
                <a16:creationId xmlns:a16="http://schemas.microsoft.com/office/drawing/2014/main" id="{30A35167-4AAF-3E41-A4D2-738E1AF93CE6}"/>
              </a:ext>
            </a:extLst>
          </p:cNvPr>
          <p:cNvGrpSpPr/>
          <p:nvPr/>
        </p:nvGrpSpPr>
        <p:grpSpPr>
          <a:xfrm>
            <a:off x="1927434" y="3604975"/>
            <a:ext cx="2097890" cy="1238830"/>
            <a:chOff x="3517928" y="3252463"/>
            <a:chExt cx="1293962" cy="1228010"/>
          </a:xfrm>
        </p:grpSpPr>
        <p:cxnSp>
          <p:nvCxnSpPr>
            <p:cNvPr id="82" name="Straight Arrow Connector 81">
              <a:extLst>
                <a:ext uri="{FF2B5EF4-FFF2-40B4-BE49-F238E27FC236}">
                  <a16:creationId xmlns:a16="http://schemas.microsoft.com/office/drawing/2014/main" id="{6D8D614D-18E1-3443-9593-D476230B500A}"/>
                </a:ext>
              </a:extLst>
            </p:cNvPr>
            <p:cNvCxnSpPr/>
            <p:nvPr/>
          </p:nvCxnSpPr>
          <p:spPr>
            <a:xfrm flipH="1" flipV="1">
              <a:off x="3517928" y="3252463"/>
              <a:ext cx="0" cy="1228010"/>
            </a:xfrm>
            <a:prstGeom prst="straightConnector1">
              <a:avLst/>
            </a:prstGeom>
            <a:ln w="63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41CB32A0-F6DF-C548-BCF3-AA93F930D6A1}"/>
                </a:ext>
              </a:extLst>
            </p:cNvPr>
            <p:cNvCxnSpPr/>
            <p:nvPr/>
          </p:nvCxnSpPr>
          <p:spPr>
            <a:xfrm>
              <a:off x="3517928" y="4480473"/>
              <a:ext cx="1293962" cy="0"/>
            </a:xfrm>
            <a:prstGeom prst="straightConnector1">
              <a:avLst/>
            </a:prstGeom>
            <a:ln w="63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77" name="Isosceles Triangle 39">
            <a:extLst>
              <a:ext uri="{FF2B5EF4-FFF2-40B4-BE49-F238E27FC236}">
                <a16:creationId xmlns:a16="http://schemas.microsoft.com/office/drawing/2014/main" id="{E4EF45AE-9C38-2B40-B82C-8BE054081DFE}"/>
              </a:ext>
            </a:extLst>
          </p:cNvPr>
          <p:cNvSpPr/>
          <p:nvPr/>
        </p:nvSpPr>
        <p:spPr bwMode="gray">
          <a:xfrm>
            <a:off x="3407378" y="3832211"/>
            <a:ext cx="623772" cy="416490"/>
          </a:xfrm>
          <a:prstGeom prst="triangle">
            <a:avLst/>
          </a:prstGeom>
          <a:solidFill>
            <a:schemeClr val="accent2"/>
          </a:solidFill>
          <a:ln w="19050" algn="ctr">
            <a:noFill/>
            <a:miter lim="800000"/>
            <a:headEnd/>
            <a:tailEnd/>
          </a:ln>
        </p:spPr>
        <p:txBody>
          <a:bodyPr wrap="square" lIns="88900" tIns="88900" rIns="88900" bIns="88900" rtlCol="0" anchor="ctr"/>
          <a:lstStyle/>
          <a:p>
            <a:pPr algn="ctr" defTabSz="913686"/>
            <a:endParaRPr lang="en-US" sz="1300" b="1" dirty="0">
              <a:solidFill>
                <a:prstClr val="white"/>
              </a:solidFill>
            </a:endParaRPr>
          </a:p>
        </p:txBody>
      </p:sp>
      <p:sp>
        <p:nvSpPr>
          <p:cNvPr id="78" name="TextBox 77">
            <a:extLst>
              <a:ext uri="{FF2B5EF4-FFF2-40B4-BE49-F238E27FC236}">
                <a16:creationId xmlns:a16="http://schemas.microsoft.com/office/drawing/2014/main" id="{D4A3D5DD-D103-124B-98E0-C6FED54880E2}"/>
              </a:ext>
            </a:extLst>
          </p:cNvPr>
          <p:cNvSpPr txBox="1"/>
          <p:nvPr/>
        </p:nvSpPr>
        <p:spPr>
          <a:xfrm>
            <a:off x="3270162" y="4299709"/>
            <a:ext cx="898196" cy="200055"/>
          </a:xfrm>
          <a:prstGeom prst="rect">
            <a:avLst/>
          </a:prstGeom>
          <a:noFill/>
        </p:spPr>
        <p:txBody>
          <a:bodyPr wrap="none" lIns="0" tIns="0" rIns="0" bIns="0" rtlCol="0">
            <a:spAutoFit/>
          </a:bodyPr>
          <a:lstStyle/>
          <a:p>
            <a:pPr algn="ctr" defTabSz="913686">
              <a:buSzPct val="100000"/>
            </a:pPr>
            <a:r>
              <a:rPr lang="en-US" sz="1300" b="1" dirty="0">
                <a:solidFill>
                  <a:srgbClr val="FFFFFF"/>
                </a:solidFill>
              </a:rPr>
              <a:t>Lorem ipsum</a:t>
            </a:r>
          </a:p>
        </p:txBody>
      </p:sp>
      <p:sp>
        <p:nvSpPr>
          <p:cNvPr id="79" name="TextBox 78">
            <a:extLst>
              <a:ext uri="{FF2B5EF4-FFF2-40B4-BE49-F238E27FC236}">
                <a16:creationId xmlns:a16="http://schemas.microsoft.com/office/drawing/2014/main" id="{DE80CA7C-C597-FE40-A8D3-C9BC2FBD6D0F}"/>
              </a:ext>
            </a:extLst>
          </p:cNvPr>
          <p:cNvSpPr txBox="1"/>
          <p:nvPr/>
        </p:nvSpPr>
        <p:spPr>
          <a:xfrm>
            <a:off x="1905347" y="4879154"/>
            <a:ext cx="1802160" cy="200055"/>
          </a:xfrm>
          <a:prstGeom prst="rect">
            <a:avLst/>
          </a:prstGeom>
          <a:noFill/>
        </p:spPr>
        <p:txBody>
          <a:bodyPr wrap="none" lIns="0" tIns="0" rIns="0" bIns="0" rtlCol="0">
            <a:spAutoFit/>
          </a:bodyPr>
          <a:lstStyle/>
          <a:p>
            <a:pPr defTabSz="913686">
              <a:buSzPct val="100000"/>
            </a:pPr>
            <a:r>
              <a:rPr lang="en-US" sz="1300" dirty="0">
                <a:solidFill>
                  <a:srgbClr val="FFFFFF"/>
                </a:solidFill>
              </a:rPr>
              <a:t>Lorem ipsum Lorem ipsum</a:t>
            </a:r>
          </a:p>
        </p:txBody>
      </p:sp>
      <p:sp>
        <p:nvSpPr>
          <p:cNvPr id="80" name="TextBox 79">
            <a:extLst>
              <a:ext uri="{FF2B5EF4-FFF2-40B4-BE49-F238E27FC236}">
                <a16:creationId xmlns:a16="http://schemas.microsoft.com/office/drawing/2014/main" id="{BA424905-234C-4B4E-B5BF-C092B4760DBF}"/>
              </a:ext>
            </a:extLst>
          </p:cNvPr>
          <p:cNvSpPr txBox="1"/>
          <p:nvPr/>
        </p:nvSpPr>
        <p:spPr>
          <a:xfrm>
            <a:off x="1632553" y="3959700"/>
            <a:ext cx="1024191" cy="255455"/>
          </a:xfrm>
          <a:prstGeom prst="rect">
            <a:avLst/>
          </a:prstGeom>
          <a:solidFill>
            <a:srgbClr val="C4D600"/>
          </a:solidFill>
        </p:spPr>
        <p:txBody>
          <a:bodyPr wrap="none" lIns="27432" tIns="27432" rIns="27432" bIns="27432" rtlCol="0" anchor="ctr">
            <a:spAutoFit/>
          </a:bodyPr>
          <a:lstStyle/>
          <a:p>
            <a:pPr defTabSz="913686">
              <a:buSzPct val="100000"/>
            </a:pPr>
            <a:r>
              <a:rPr lang="en-US" sz="1300" b="1" dirty="0">
                <a:solidFill>
                  <a:srgbClr val="313131"/>
                </a:solidFill>
              </a:rPr>
              <a:t>Requirements</a:t>
            </a:r>
          </a:p>
        </p:txBody>
      </p:sp>
      <p:sp>
        <p:nvSpPr>
          <p:cNvPr id="81" name="Right Arrow 80">
            <a:extLst>
              <a:ext uri="{FF2B5EF4-FFF2-40B4-BE49-F238E27FC236}">
                <a16:creationId xmlns:a16="http://schemas.microsoft.com/office/drawing/2014/main" id="{5F6C9675-5D44-7145-9F34-FC7BD15ED06F}"/>
              </a:ext>
            </a:extLst>
          </p:cNvPr>
          <p:cNvSpPr/>
          <p:nvPr/>
        </p:nvSpPr>
        <p:spPr bwMode="gray">
          <a:xfrm>
            <a:off x="1493870" y="2543104"/>
            <a:ext cx="9203910" cy="272082"/>
          </a:xfrm>
          <a:prstGeom prst="rightArrow">
            <a:avLst/>
          </a:prstGeom>
          <a:solidFill>
            <a:srgbClr val="046A38"/>
          </a:solidFill>
          <a:ln w="19050" algn="ctr">
            <a:noFill/>
            <a:miter lim="800000"/>
            <a:headEnd/>
            <a:tailEnd/>
          </a:ln>
        </p:spPr>
        <p:txBody>
          <a:bodyPr wrap="square" lIns="88900" tIns="88900" rIns="88900" bIns="88900" rtlCol="0" anchor="ctr"/>
          <a:lstStyle/>
          <a:p>
            <a:pPr algn="ctr" defTabSz="913686"/>
            <a:endParaRPr lang="en-US" sz="1300" b="1" dirty="0">
              <a:solidFill>
                <a:prstClr val="white"/>
              </a:solidFill>
            </a:endParaRPr>
          </a:p>
        </p:txBody>
      </p:sp>
      <p:grpSp>
        <p:nvGrpSpPr>
          <p:cNvPr id="46" name="Group 39">
            <a:extLst>
              <a:ext uri="{FF2B5EF4-FFF2-40B4-BE49-F238E27FC236}">
                <a16:creationId xmlns:a16="http://schemas.microsoft.com/office/drawing/2014/main" id="{3BCC8767-305A-44EF-9451-D989F7E1E097}"/>
              </a:ext>
            </a:extLst>
          </p:cNvPr>
          <p:cNvGrpSpPr>
            <a:grpSpLocks noChangeAspect="1"/>
          </p:cNvGrpSpPr>
          <p:nvPr/>
        </p:nvGrpSpPr>
        <p:grpSpPr bwMode="auto">
          <a:xfrm>
            <a:off x="8096516" y="3687927"/>
            <a:ext cx="338246" cy="338244"/>
            <a:chOff x="3987" y="1509"/>
            <a:chExt cx="340" cy="340"/>
          </a:xfrm>
          <a:solidFill>
            <a:schemeClr val="bg1"/>
          </a:solidFill>
        </p:grpSpPr>
        <p:sp>
          <p:nvSpPr>
            <p:cNvPr id="47" name="Freeform 40">
              <a:extLst>
                <a:ext uri="{FF2B5EF4-FFF2-40B4-BE49-F238E27FC236}">
                  <a16:creationId xmlns:a16="http://schemas.microsoft.com/office/drawing/2014/main" id="{4037FA83-7476-4D4E-94AF-A3DC00CF6A6D}"/>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8" name="Freeform 41">
              <a:extLst>
                <a:ext uri="{FF2B5EF4-FFF2-40B4-BE49-F238E27FC236}">
                  <a16:creationId xmlns:a16="http://schemas.microsoft.com/office/drawing/2014/main" id="{1EC38C2B-4EC8-41D2-B118-5E3E5B907AE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49" name="Group 749">
            <a:extLst>
              <a:ext uri="{FF2B5EF4-FFF2-40B4-BE49-F238E27FC236}">
                <a16:creationId xmlns:a16="http://schemas.microsoft.com/office/drawing/2014/main" id="{26DDB2C8-A8F1-46B2-851C-9B3FD80DF843}"/>
              </a:ext>
            </a:extLst>
          </p:cNvPr>
          <p:cNvGrpSpPr>
            <a:grpSpLocks noChangeAspect="1"/>
          </p:cNvGrpSpPr>
          <p:nvPr/>
        </p:nvGrpSpPr>
        <p:grpSpPr bwMode="auto">
          <a:xfrm>
            <a:off x="11045261" y="2967037"/>
            <a:ext cx="465081" cy="465081"/>
            <a:chOff x="3520" y="2686"/>
            <a:chExt cx="340" cy="340"/>
          </a:xfrm>
          <a:solidFill>
            <a:schemeClr val="bg1"/>
          </a:solidFill>
        </p:grpSpPr>
        <p:sp>
          <p:nvSpPr>
            <p:cNvPr id="50" name="Freeform 750">
              <a:extLst>
                <a:ext uri="{FF2B5EF4-FFF2-40B4-BE49-F238E27FC236}">
                  <a16:creationId xmlns:a16="http://schemas.microsoft.com/office/drawing/2014/main" id="{987B96C6-D2A0-496D-BF88-992FB499A426}"/>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51" name="Freeform 751">
              <a:extLst>
                <a:ext uri="{FF2B5EF4-FFF2-40B4-BE49-F238E27FC236}">
                  <a16:creationId xmlns:a16="http://schemas.microsoft.com/office/drawing/2014/main" id="{EEB303A1-8525-4427-A561-2760ECEC50E8}"/>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52" name="Freeform 752">
              <a:extLst>
                <a:ext uri="{FF2B5EF4-FFF2-40B4-BE49-F238E27FC236}">
                  <a16:creationId xmlns:a16="http://schemas.microsoft.com/office/drawing/2014/main" id="{711A4D33-6A4A-4E6C-84A3-335F99AE10E5}"/>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53" name="Group 816">
            <a:extLst>
              <a:ext uri="{FF2B5EF4-FFF2-40B4-BE49-F238E27FC236}">
                <a16:creationId xmlns:a16="http://schemas.microsoft.com/office/drawing/2014/main" id="{21F5B060-C23F-450B-B7FA-84DC9E2E817B}"/>
              </a:ext>
            </a:extLst>
          </p:cNvPr>
          <p:cNvGrpSpPr>
            <a:grpSpLocks noChangeAspect="1"/>
          </p:cNvGrpSpPr>
          <p:nvPr/>
        </p:nvGrpSpPr>
        <p:grpSpPr bwMode="auto">
          <a:xfrm>
            <a:off x="691974" y="2967036"/>
            <a:ext cx="465081" cy="465081"/>
            <a:chOff x="4518" y="3391"/>
            <a:chExt cx="340" cy="340"/>
          </a:xfrm>
          <a:solidFill>
            <a:schemeClr val="bg1"/>
          </a:solidFill>
        </p:grpSpPr>
        <p:sp>
          <p:nvSpPr>
            <p:cNvPr id="54" name="Freeform 817">
              <a:extLst>
                <a:ext uri="{FF2B5EF4-FFF2-40B4-BE49-F238E27FC236}">
                  <a16:creationId xmlns:a16="http://schemas.microsoft.com/office/drawing/2014/main" id="{3281F173-7489-4F77-8E9D-6838F95A2C85}"/>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9" name="Freeform 818">
              <a:extLst>
                <a:ext uri="{FF2B5EF4-FFF2-40B4-BE49-F238E27FC236}">
                  <a16:creationId xmlns:a16="http://schemas.microsoft.com/office/drawing/2014/main" id="{FD0857B9-4CF6-492B-B75D-AD66345C275F}"/>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100" name="Group 941">
            <a:extLst>
              <a:ext uri="{FF2B5EF4-FFF2-40B4-BE49-F238E27FC236}">
                <a16:creationId xmlns:a16="http://schemas.microsoft.com/office/drawing/2014/main" id="{F2E8E19B-974A-4F13-8DE8-5CB8011E4EA5}"/>
              </a:ext>
            </a:extLst>
          </p:cNvPr>
          <p:cNvGrpSpPr>
            <a:grpSpLocks noChangeAspect="1"/>
          </p:cNvGrpSpPr>
          <p:nvPr/>
        </p:nvGrpSpPr>
        <p:grpSpPr bwMode="auto">
          <a:xfrm>
            <a:off x="4936762" y="3682243"/>
            <a:ext cx="349614" cy="349612"/>
            <a:chOff x="6569" y="3572"/>
            <a:chExt cx="340" cy="340"/>
          </a:xfrm>
          <a:solidFill>
            <a:schemeClr val="bg1"/>
          </a:solidFill>
        </p:grpSpPr>
        <p:sp>
          <p:nvSpPr>
            <p:cNvPr id="101" name="Freeform 942">
              <a:extLst>
                <a:ext uri="{FF2B5EF4-FFF2-40B4-BE49-F238E27FC236}">
                  <a16:creationId xmlns:a16="http://schemas.microsoft.com/office/drawing/2014/main" id="{55EE4D9E-758D-4628-8AC8-F8D0A32253A7}"/>
                </a:ext>
              </a:extLst>
            </p:cNvPr>
            <p:cNvSpPr>
              <a:spLocks noEditPoints="1"/>
            </p:cNvSpPr>
            <p:nvPr/>
          </p:nvSpPr>
          <p:spPr bwMode="auto">
            <a:xfrm>
              <a:off x="6569"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2" name="Freeform 943">
              <a:extLst>
                <a:ext uri="{FF2B5EF4-FFF2-40B4-BE49-F238E27FC236}">
                  <a16:creationId xmlns:a16="http://schemas.microsoft.com/office/drawing/2014/main" id="{3D8A01AC-5DAF-439C-87E8-5B5D2E4D12C1}"/>
                </a:ext>
              </a:extLst>
            </p:cNvPr>
            <p:cNvSpPr>
              <a:spLocks noEditPoints="1"/>
            </p:cNvSpPr>
            <p:nvPr/>
          </p:nvSpPr>
          <p:spPr bwMode="auto">
            <a:xfrm>
              <a:off x="6685" y="3636"/>
              <a:ext cx="107" cy="212"/>
            </a:xfrm>
            <a:custGeom>
              <a:avLst/>
              <a:gdLst>
                <a:gd name="T0" fmla="*/ 147 w 161"/>
                <a:gd name="T1" fmla="*/ 99 h 320"/>
                <a:gd name="T2" fmla="*/ 123 w 161"/>
                <a:gd name="T3" fmla="*/ 74 h 320"/>
                <a:gd name="T4" fmla="*/ 91 w 161"/>
                <a:gd name="T5" fmla="*/ 74 h 320"/>
                <a:gd name="T6" fmla="*/ 91 w 161"/>
                <a:gd name="T7" fmla="*/ 72 h 320"/>
                <a:gd name="T8" fmla="*/ 81 w 161"/>
                <a:gd name="T9" fmla="*/ 36 h 320"/>
                <a:gd name="T10" fmla="*/ 73 w 161"/>
                <a:gd name="T11" fmla="*/ 10 h 320"/>
                <a:gd name="T12" fmla="*/ 63 w 161"/>
                <a:gd name="T13" fmla="*/ 0 h 320"/>
                <a:gd name="T14" fmla="*/ 52 w 161"/>
                <a:gd name="T15" fmla="*/ 10 h 320"/>
                <a:gd name="T16" fmla="*/ 62 w 161"/>
                <a:gd name="T17" fmla="*/ 47 h 320"/>
                <a:gd name="T18" fmla="*/ 70 w 161"/>
                <a:gd name="T19" fmla="*/ 72 h 320"/>
                <a:gd name="T20" fmla="*/ 70 w 161"/>
                <a:gd name="T21" fmla="*/ 74 h 320"/>
                <a:gd name="T22" fmla="*/ 39 w 161"/>
                <a:gd name="T23" fmla="*/ 74 h 320"/>
                <a:gd name="T24" fmla="*/ 14 w 161"/>
                <a:gd name="T25" fmla="*/ 98 h 320"/>
                <a:gd name="T26" fmla="*/ 0 w 161"/>
                <a:gd name="T27" fmla="*/ 238 h 320"/>
                <a:gd name="T28" fmla="*/ 0 w 161"/>
                <a:gd name="T29" fmla="*/ 239 h 320"/>
                <a:gd name="T30" fmla="*/ 81 w 161"/>
                <a:gd name="T31" fmla="*/ 320 h 320"/>
                <a:gd name="T32" fmla="*/ 161 w 161"/>
                <a:gd name="T33" fmla="*/ 238 h 320"/>
                <a:gd name="T34" fmla="*/ 147 w 161"/>
                <a:gd name="T35" fmla="*/ 99 h 320"/>
                <a:gd name="T36" fmla="*/ 126 w 161"/>
                <a:gd name="T37" fmla="*/ 100 h 320"/>
                <a:gd name="T38" fmla="*/ 130 w 161"/>
                <a:gd name="T39" fmla="*/ 138 h 320"/>
                <a:gd name="T40" fmla="*/ 91 w 161"/>
                <a:gd name="T41" fmla="*/ 138 h 320"/>
                <a:gd name="T42" fmla="*/ 91 w 161"/>
                <a:gd name="T43" fmla="*/ 96 h 320"/>
                <a:gd name="T44" fmla="*/ 123 w 161"/>
                <a:gd name="T45" fmla="*/ 96 h 320"/>
                <a:gd name="T46" fmla="*/ 126 w 161"/>
                <a:gd name="T47" fmla="*/ 100 h 320"/>
                <a:gd name="T48" fmla="*/ 39 w 161"/>
                <a:gd name="T49" fmla="*/ 96 h 320"/>
                <a:gd name="T50" fmla="*/ 70 w 161"/>
                <a:gd name="T51" fmla="*/ 96 h 320"/>
                <a:gd name="T52" fmla="*/ 70 w 161"/>
                <a:gd name="T53" fmla="*/ 138 h 320"/>
                <a:gd name="T54" fmla="*/ 32 w 161"/>
                <a:gd name="T55" fmla="*/ 138 h 320"/>
                <a:gd name="T56" fmla="*/ 36 w 161"/>
                <a:gd name="T57" fmla="*/ 99 h 320"/>
                <a:gd name="T58" fmla="*/ 39 w 161"/>
                <a:gd name="T59" fmla="*/ 96 h 320"/>
                <a:gd name="T60" fmla="*/ 81 w 161"/>
                <a:gd name="T61" fmla="*/ 298 h 320"/>
                <a:gd name="T62" fmla="*/ 22 w 161"/>
                <a:gd name="T63" fmla="*/ 240 h 320"/>
                <a:gd name="T64" fmla="*/ 30 w 161"/>
                <a:gd name="T65" fmla="*/ 160 h 320"/>
                <a:gd name="T66" fmla="*/ 132 w 161"/>
                <a:gd name="T67" fmla="*/ 160 h 320"/>
                <a:gd name="T68" fmla="*/ 140 w 161"/>
                <a:gd name="T69" fmla="*/ 239 h 320"/>
                <a:gd name="T70" fmla="*/ 81 w 161"/>
                <a:gd name="T7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320">
                  <a:moveTo>
                    <a:pt x="147" y="99"/>
                  </a:moveTo>
                  <a:cubicBezTo>
                    <a:pt x="147" y="86"/>
                    <a:pt x="136" y="74"/>
                    <a:pt x="123" y="74"/>
                  </a:cubicBezTo>
                  <a:cubicBezTo>
                    <a:pt x="91" y="74"/>
                    <a:pt x="91" y="74"/>
                    <a:pt x="91" y="74"/>
                  </a:cubicBezTo>
                  <a:cubicBezTo>
                    <a:pt x="91" y="72"/>
                    <a:pt x="91" y="72"/>
                    <a:pt x="91" y="72"/>
                  </a:cubicBezTo>
                  <a:cubicBezTo>
                    <a:pt x="91" y="53"/>
                    <a:pt x="85" y="43"/>
                    <a:pt x="81" y="36"/>
                  </a:cubicBezTo>
                  <a:cubicBezTo>
                    <a:pt x="77" y="29"/>
                    <a:pt x="73" y="23"/>
                    <a:pt x="73" y="10"/>
                  </a:cubicBezTo>
                  <a:cubicBezTo>
                    <a:pt x="73" y="4"/>
                    <a:pt x="69" y="0"/>
                    <a:pt x="63" y="0"/>
                  </a:cubicBezTo>
                  <a:cubicBezTo>
                    <a:pt x="57" y="0"/>
                    <a:pt x="52" y="4"/>
                    <a:pt x="52" y="10"/>
                  </a:cubicBezTo>
                  <a:cubicBezTo>
                    <a:pt x="52" y="29"/>
                    <a:pt x="58" y="39"/>
                    <a:pt x="62" y="47"/>
                  </a:cubicBezTo>
                  <a:cubicBezTo>
                    <a:pt x="67" y="54"/>
                    <a:pt x="70" y="59"/>
                    <a:pt x="70" y="72"/>
                  </a:cubicBezTo>
                  <a:cubicBezTo>
                    <a:pt x="70" y="74"/>
                    <a:pt x="70" y="74"/>
                    <a:pt x="70" y="74"/>
                  </a:cubicBezTo>
                  <a:cubicBezTo>
                    <a:pt x="39" y="74"/>
                    <a:pt x="39" y="74"/>
                    <a:pt x="39" y="74"/>
                  </a:cubicBezTo>
                  <a:cubicBezTo>
                    <a:pt x="25" y="74"/>
                    <a:pt x="14" y="86"/>
                    <a:pt x="14" y="98"/>
                  </a:cubicBezTo>
                  <a:cubicBezTo>
                    <a:pt x="0" y="238"/>
                    <a:pt x="0" y="238"/>
                    <a:pt x="0" y="238"/>
                  </a:cubicBezTo>
                  <a:cubicBezTo>
                    <a:pt x="0" y="239"/>
                    <a:pt x="0" y="239"/>
                    <a:pt x="0" y="239"/>
                  </a:cubicBezTo>
                  <a:cubicBezTo>
                    <a:pt x="0" y="284"/>
                    <a:pt x="36" y="320"/>
                    <a:pt x="81" y="320"/>
                  </a:cubicBezTo>
                  <a:cubicBezTo>
                    <a:pt x="125" y="320"/>
                    <a:pt x="161" y="284"/>
                    <a:pt x="161" y="238"/>
                  </a:cubicBezTo>
                  <a:lnTo>
                    <a:pt x="147" y="99"/>
                  </a:lnTo>
                  <a:close/>
                  <a:moveTo>
                    <a:pt x="126" y="100"/>
                  </a:moveTo>
                  <a:cubicBezTo>
                    <a:pt x="130" y="138"/>
                    <a:pt x="130" y="138"/>
                    <a:pt x="130" y="138"/>
                  </a:cubicBezTo>
                  <a:cubicBezTo>
                    <a:pt x="91" y="138"/>
                    <a:pt x="91" y="138"/>
                    <a:pt x="91" y="138"/>
                  </a:cubicBezTo>
                  <a:cubicBezTo>
                    <a:pt x="91" y="96"/>
                    <a:pt x="91" y="96"/>
                    <a:pt x="91" y="96"/>
                  </a:cubicBezTo>
                  <a:cubicBezTo>
                    <a:pt x="123" y="96"/>
                    <a:pt x="123" y="96"/>
                    <a:pt x="123" y="96"/>
                  </a:cubicBezTo>
                  <a:cubicBezTo>
                    <a:pt x="124" y="96"/>
                    <a:pt x="126" y="97"/>
                    <a:pt x="126" y="100"/>
                  </a:cubicBezTo>
                  <a:close/>
                  <a:moveTo>
                    <a:pt x="39" y="96"/>
                  </a:moveTo>
                  <a:cubicBezTo>
                    <a:pt x="70" y="96"/>
                    <a:pt x="70" y="96"/>
                    <a:pt x="70" y="96"/>
                  </a:cubicBezTo>
                  <a:cubicBezTo>
                    <a:pt x="70" y="138"/>
                    <a:pt x="70" y="138"/>
                    <a:pt x="70" y="138"/>
                  </a:cubicBezTo>
                  <a:cubicBezTo>
                    <a:pt x="32" y="138"/>
                    <a:pt x="32" y="138"/>
                    <a:pt x="32" y="138"/>
                  </a:cubicBezTo>
                  <a:cubicBezTo>
                    <a:pt x="36" y="99"/>
                    <a:pt x="36" y="99"/>
                    <a:pt x="36" y="99"/>
                  </a:cubicBezTo>
                  <a:cubicBezTo>
                    <a:pt x="36" y="97"/>
                    <a:pt x="37" y="96"/>
                    <a:pt x="39" y="96"/>
                  </a:cubicBezTo>
                  <a:close/>
                  <a:moveTo>
                    <a:pt x="81" y="298"/>
                  </a:moveTo>
                  <a:cubicBezTo>
                    <a:pt x="48" y="298"/>
                    <a:pt x="22" y="272"/>
                    <a:pt x="22" y="240"/>
                  </a:cubicBezTo>
                  <a:cubicBezTo>
                    <a:pt x="30" y="160"/>
                    <a:pt x="30" y="160"/>
                    <a:pt x="30" y="160"/>
                  </a:cubicBezTo>
                  <a:cubicBezTo>
                    <a:pt x="132" y="160"/>
                    <a:pt x="132" y="160"/>
                    <a:pt x="132" y="160"/>
                  </a:cubicBezTo>
                  <a:cubicBezTo>
                    <a:pt x="140" y="239"/>
                    <a:pt x="140" y="239"/>
                    <a:pt x="140" y="239"/>
                  </a:cubicBezTo>
                  <a:cubicBezTo>
                    <a:pt x="140" y="272"/>
                    <a:pt x="113" y="298"/>
                    <a:pt x="81" y="29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70" name="Group 892">
            <a:extLst>
              <a:ext uri="{FF2B5EF4-FFF2-40B4-BE49-F238E27FC236}">
                <a16:creationId xmlns:a16="http://schemas.microsoft.com/office/drawing/2014/main" id="{BE0B1D6A-D0FB-4343-B404-B8CF863E44F2}"/>
              </a:ext>
            </a:extLst>
          </p:cNvPr>
          <p:cNvGrpSpPr>
            <a:grpSpLocks noChangeAspect="1"/>
          </p:cNvGrpSpPr>
          <p:nvPr/>
        </p:nvGrpSpPr>
        <p:grpSpPr bwMode="auto">
          <a:xfrm>
            <a:off x="1747652" y="2975035"/>
            <a:ext cx="373619" cy="374718"/>
            <a:chOff x="4270" y="3457"/>
            <a:chExt cx="340" cy="341"/>
          </a:xfrm>
          <a:solidFill>
            <a:schemeClr val="bg1"/>
          </a:solidFill>
        </p:grpSpPr>
        <p:sp>
          <p:nvSpPr>
            <p:cNvPr id="71" name="Freeform 893">
              <a:extLst>
                <a:ext uri="{FF2B5EF4-FFF2-40B4-BE49-F238E27FC236}">
                  <a16:creationId xmlns:a16="http://schemas.microsoft.com/office/drawing/2014/main" id="{A3F4B255-063A-4874-A112-CF4044C0D4CE}"/>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74" name="Freeform 894">
              <a:extLst>
                <a:ext uri="{FF2B5EF4-FFF2-40B4-BE49-F238E27FC236}">
                  <a16:creationId xmlns:a16="http://schemas.microsoft.com/office/drawing/2014/main" id="{B66E4D25-1793-43DA-9DC9-D99BF6A169AD}"/>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75" name="Group 519">
            <a:extLst>
              <a:ext uri="{FF2B5EF4-FFF2-40B4-BE49-F238E27FC236}">
                <a16:creationId xmlns:a16="http://schemas.microsoft.com/office/drawing/2014/main" id="{7717792E-C785-43BB-8A59-15ECEEF27044}"/>
              </a:ext>
            </a:extLst>
          </p:cNvPr>
          <p:cNvGrpSpPr>
            <a:grpSpLocks noChangeAspect="1"/>
          </p:cNvGrpSpPr>
          <p:nvPr/>
        </p:nvGrpSpPr>
        <p:grpSpPr bwMode="auto">
          <a:xfrm>
            <a:off x="4936762" y="2975035"/>
            <a:ext cx="374718" cy="374718"/>
            <a:chOff x="4190" y="2983"/>
            <a:chExt cx="340" cy="340"/>
          </a:xfrm>
          <a:solidFill>
            <a:schemeClr val="bg1"/>
          </a:solidFill>
        </p:grpSpPr>
        <p:sp>
          <p:nvSpPr>
            <p:cNvPr id="84" name="Freeform 520">
              <a:extLst>
                <a:ext uri="{FF2B5EF4-FFF2-40B4-BE49-F238E27FC236}">
                  <a16:creationId xmlns:a16="http://schemas.microsoft.com/office/drawing/2014/main" id="{9E34A5F6-0593-4BE5-9FF4-487CA55A8157}"/>
                </a:ext>
              </a:extLst>
            </p:cNvPr>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85" name="Freeform 521">
              <a:extLst>
                <a:ext uri="{FF2B5EF4-FFF2-40B4-BE49-F238E27FC236}">
                  <a16:creationId xmlns:a16="http://schemas.microsoft.com/office/drawing/2014/main" id="{F0E63458-B043-47A0-B6AA-641436E36A6B}"/>
                </a:ext>
              </a:extLst>
            </p:cNvPr>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spTree>
    <p:custDataLst>
      <p:tags r:id="rId1"/>
    </p:custDataLst>
    <p:extLst>
      <p:ext uri="{BB962C8B-B14F-4D97-AF65-F5344CB8AC3E}">
        <p14:creationId xmlns:p14="http://schemas.microsoft.com/office/powerpoint/2010/main" val="3938352741"/>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Snip Diagonal Corner Rectangle 156">
            <a:extLst>
              <a:ext uri="{FF2B5EF4-FFF2-40B4-BE49-F238E27FC236}">
                <a16:creationId xmlns:a16="http://schemas.microsoft.com/office/drawing/2014/main" id="{EDA2B5E1-D05F-614D-AEE0-3ADCA27A2923}"/>
              </a:ext>
            </a:extLst>
          </p:cNvPr>
          <p:cNvSpPr/>
          <p:nvPr/>
        </p:nvSpPr>
        <p:spPr bwMode="gray">
          <a:xfrm>
            <a:off x="492125" y="2395969"/>
            <a:ext cx="2373307" cy="585952"/>
          </a:xfrm>
          <a:prstGeom prst="snip2DiagRect">
            <a:avLst>
              <a:gd name="adj1" fmla="val 0"/>
              <a:gd name="adj2" fmla="val 40745"/>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n-US" sz="1300" b="1" dirty="0">
                <a:solidFill>
                  <a:prstClr val="white"/>
                </a:solidFill>
              </a:rPr>
              <a:t>Lorem ipsum dolor </a:t>
            </a:r>
          </a:p>
        </p:txBody>
      </p:sp>
      <p:sp>
        <p:nvSpPr>
          <p:cNvPr id="162" name="Text Placeholder 3">
            <a:extLst>
              <a:ext uri="{FF2B5EF4-FFF2-40B4-BE49-F238E27FC236}">
                <a16:creationId xmlns:a16="http://schemas.microsoft.com/office/drawing/2014/main" id="{6EC9F5DD-B713-B24A-B7F7-92508563558B}"/>
              </a:ext>
            </a:extLst>
          </p:cNvPr>
          <p:cNvSpPr txBox="1">
            <a:spLocks/>
          </p:cNvSpPr>
          <p:nvPr/>
        </p:nvSpPr>
        <p:spPr bwMode="gray">
          <a:xfrm>
            <a:off x="723900" y="3147021"/>
            <a:ext cx="1898650" cy="2000548"/>
          </a:xfrm>
          <a:prstGeom prst="rect">
            <a:avLst/>
          </a:prstGeom>
        </p:spPr>
        <p:txBody>
          <a:bodyPr vert="horz" wrap="square" lIns="0" tIns="0" rIns="0" bIns="0" rtlCol="0">
            <a:spAutoFit/>
          </a:bodyPr>
          <a:lstStyle/>
          <a:p>
            <a:pPr marL="85725" lvl="1" indent="-85725">
              <a:buSzPct val="100000"/>
              <a:buFont typeface="Arial" panose="020B0604020202020204" pitchFamily="34" charset="0"/>
              <a:buChar char="•"/>
              <a:defRPr/>
            </a:pPr>
            <a:r>
              <a:rPr lang="en-US" sz="1300" dirty="0">
                <a:solidFill>
                  <a:prstClr val="black"/>
                </a:solidFill>
              </a:rPr>
              <a:t>This is dummy text it is not here to be read. The is just tex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The is jus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Please replace with your text content here.</a:t>
            </a:r>
          </a:p>
        </p:txBody>
      </p:sp>
      <p:sp>
        <p:nvSpPr>
          <p:cNvPr id="165" name="Isosceles Triangle 13">
            <a:extLst>
              <a:ext uri="{FF2B5EF4-FFF2-40B4-BE49-F238E27FC236}">
                <a16:creationId xmlns:a16="http://schemas.microsoft.com/office/drawing/2014/main" id="{7A2A662C-941D-CB40-AB5A-2FFAA1B8200F}"/>
              </a:ext>
            </a:extLst>
          </p:cNvPr>
          <p:cNvSpPr/>
          <p:nvPr/>
        </p:nvSpPr>
        <p:spPr bwMode="gray">
          <a:xfrm>
            <a:off x="1219493" y="2067335"/>
            <a:ext cx="747389" cy="289082"/>
          </a:xfrm>
          <a:prstGeom prst="triangle">
            <a:avLst/>
          </a:prstGeom>
          <a:solidFill>
            <a:srgbClr val="A7A8AA"/>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166" name="Oval 165">
            <a:extLst>
              <a:ext uri="{FF2B5EF4-FFF2-40B4-BE49-F238E27FC236}">
                <a16:creationId xmlns:a16="http://schemas.microsoft.com/office/drawing/2014/main" id="{FA48C6B6-B32C-FD44-BB31-00888A1A3948}"/>
              </a:ext>
            </a:extLst>
          </p:cNvPr>
          <p:cNvSpPr/>
          <p:nvPr/>
        </p:nvSpPr>
        <p:spPr bwMode="gray">
          <a:xfrm rot="5400000">
            <a:off x="972652" y="1714500"/>
            <a:ext cx="648736" cy="648736"/>
          </a:xfrm>
          <a:prstGeom prst="ellipse">
            <a:avLst/>
          </a:prstGeom>
          <a:solidFill>
            <a:srgbClr val="000000"/>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173" name="Straight Connector 172">
            <a:extLst>
              <a:ext uri="{FF2B5EF4-FFF2-40B4-BE49-F238E27FC236}">
                <a16:creationId xmlns:a16="http://schemas.microsoft.com/office/drawing/2014/main" id="{BF6C6E86-7F68-6241-B4FB-3AB1291A8951}"/>
              </a:ext>
            </a:extLst>
          </p:cNvPr>
          <p:cNvCxnSpPr/>
          <p:nvPr/>
        </p:nvCxnSpPr>
        <p:spPr>
          <a:xfrm>
            <a:off x="2859976" y="2981920"/>
            <a:ext cx="0" cy="2516799"/>
          </a:xfrm>
          <a:prstGeom prst="line">
            <a:avLst/>
          </a:prstGeom>
          <a:ln>
            <a:solidFill>
              <a:srgbClr val="000000"/>
            </a:solidFill>
            <a:tailEnd type="oval"/>
          </a:ln>
        </p:spPr>
        <p:style>
          <a:lnRef idx="1">
            <a:schemeClr val="accent1"/>
          </a:lnRef>
          <a:fillRef idx="0">
            <a:schemeClr val="accent1"/>
          </a:fillRef>
          <a:effectRef idx="0">
            <a:schemeClr val="accent1"/>
          </a:effectRef>
          <a:fontRef idx="minor">
            <a:schemeClr val="tx1"/>
          </a:fontRef>
        </p:style>
      </p:cxnSp>
      <p:grpSp>
        <p:nvGrpSpPr>
          <p:cNvPr id="177" name="Group 144">
            <a:extLst>
              <a:ext uri="{FF2B5EF4-FFF2-40B4-BE49-F238E27FC236}">
                <a16:creationId xmlns:a16="http://schemas.microsoft.com/office/drawing/2014/main" id="{5091D5AC-68F3-0D4E-AD3B-484CD9BD35DF}"/>
              </a:ext>
            </a:extLst>
          </p:cNvPr>
          <p:cNvGrpSpPr>
            <a:grpSpLocks noChangeAspect="1"/>
          </p:cNvGrpSpPr>
          <p:nvPr/>
        </p:nvGrpSpPr>
        <p:grpSpPr bwMode="auto">
          <a:xfrm>
            <a:off x="1054468" y="1788429"/>
            <a:ext cx="490985" cy="490985"/>
            <a:chOff x="2963" y="1300"/>
            <a:chExt cx="340" cy="340"/>
          </a:xfrm>
          <a:solidFill>
            <a:schemeClr val="bg1"/>
          </a:solidFill>
        </p:grpSpPr>
        <p:sp>
          <p:nvSpPr>
            <p:cNvPr id="187" name="Freeform 145">
              <a:extLst>
                <a:ext uri="{FF2B5EF4-FFF2-40B4-BE49-F238E27FC236}">
                  <a16:creationId xmlns:a16="http://schemas.microsoft.com/office/drawing/2014/main" id="{8370EDDB-5243-F648-8F23-B42CCF436E48}"/>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188" name="Freeform 146">
              <a:extLst>
                <a:ext uri="{FF2B5EF4-FFF2-40B4-BE49-F238E27FC236}">
                  <a16:creationId xmlns:a16="http://schemas.microsoft.com/office/drawing/2014/main" id="{CFC584C0-4E4B-CC4B-9AF2-E37A419D8FDC}"/>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163" name="Snip Diagonal Corner Rectangle 162">
            <a:extLst>
              <a:ext uri="{FF2B5EF4-FFF2-40B4-BE49-F238E27FC236}">
                <a16:creationId xmlns:a16="http://schemas.microsoft.com/office/drawing/2014/main" id="{744C2EFD-9209-DC40-A0A6-8DF55D89C594}"/>
              </a:ext>
            </a:extLst>
          </p:cNvPr>
          <p:cNvSpPr/>
          <p:nvPr/>
        </p:nvSpPr>
        <p:spPr bwMode="gray">
          <a:xfrm>
            <a:off x="3431821" y="2395969"/>
            <a:ext cx="2373307" cy="585952"/>
          </a:xfrm>
          <a:prstGeom prst="snip2DiagRect">
            <a:avLst>
              <a:gd name="adj1" fmla="val 0"/>
              <a:gd name="adj2" fmla="val 359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n-US" sz="1300" b="1" dirty="0">
                <a:solidFill>
                  <a:prstClr val="white"/>
                </a:solidFill>
              </a:rPr>
              <a:t>Lorem ipsum dolor </a:t>
            </a:r>
          </a:p>
        </p:txBody>
      </p:sp>
      <p:sp>
        <p:nvSpPr>
          <p:cNvPr id="164" name="Text Placeholder 3">
            <a:extLst>
              <a:ext uri="{FF2B5EF4-FFF2-40B4-BE49-F238E27FC236}">
                <a16:creationId xmlns:a16="http://schemas.microsoft.com/office/drawing/2014/main" id="{168D657D-85AB-5B42-BE41-556067E8F344}"/>
              </a:ext>
            </a:extLst>
          </p:cNvPr>
          <p:cNvSpPr txBox="1">
            <a:spLocks/>
          </p:cNvSpPr>
          <p:nvPr/>
        </p:nvSpPr>
        <p:spPr bwMode="gray">
          <a:xfrm>
            <a:off x="3663596" y="3147021"/>
            <a:ext cx="1898650" cy="2000548"/>
          </a:xfrm>
          <a:prstGeom prst="rect">
            <a:avLst/>
          </a:prstGeom>
        </p:spPr>
        <p:txBody>
          <a:bodyPr vert="horz" wrap="square" lIns="0" tIns="0" rIns="0" bIns="0" rtlCol="0">
            <a:spAutoFit/>
          </a:bodyPr>
          <a:lstStyle/>
          <a:p>
            <a:pPr marL="85725" lvl="1" indent="-85725">
              <a:buSzPct val="100000"/>
              <a:buFont typeface="Arial" panose="020B0604020202020204" pitchFamily="34" charset="0"/>
              <a:buChar char="•"/>
              <a:defRPr/>
            </a:pPr>
            <a:r>
              <a:rPr lang="en-US" sz="1300" dirty="0">
                <a:solidFill>
                  <a:prstClr val="black"/>
                </a:solidFill>
              </a:rPr>
              <a:t>This is dummy text it is not here to be read. The is just tex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The is jus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Please replace with your text content here.</a:t>
            </a:r>
          </a:p>
        </p:txBody>
      </p:sp>
      <p:sp>
        <p:nvSpPr>
          <p:cNvPr id="167" name="Isosceles Triangle 14">
            <a:extLst>
              <a:ext uri="{FF2B5EF4-FFF2-40B4-BE49-F238E27FC236}">
                <a16:creationId xmlns:a16="http://schemas.microsoft.com/office/drawing/2014/main" id="{646E63EC-EFD0-9941-B3B0-5D11B03431FE}"/>
              </a:ext>
            </a:extLst>
          </p:cNvPr>
          <p:cNvSpPr/>
          <p:nvPr/>
        </p:nvSpPr>
        <p:spPr bwMode="gray">
          <a:xfrm>
            <a:off x="4246160" y="2067335"/>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168" name="Oval 167">
            <a:extLst>
              <a:ext uri="{FF2B5EF4-FFF2-40B4-BE49-F238E27FC236}">
                <a16:creationId xmlns:a16="http://schemas.microsoft.com/office/drawing/2014/main" id="{73615390-8204-D44E-B05F-3F2928133329}"/>
              </a:ext>
            </a:extLst>
          </p:cNvPr>
          <p:cNvSpPr/>
          <p:nvPr/>
        </p:nvSpPr>
        <p:spPr bwMode="gray">
          <a:xfrm rot="5400000">
            <a:off x="3999319" y="1714500"/>
            <a:ext cx="648736" cy="648736"/>
          </a:xfrm>
          <a:prstGeom prst="ellipse">
            <a:avLst/>
          </a:prstGeom>
          <a:solidFill>
            <a:schemeClr val="accent1"/>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174" name="Straight Connector 173">
            <a:extLst>
              <a:ext uri="{FF2B5EF4-FFF2-40B4-BE49-F238E27FC236}">
                <a16:creationId xmlns:a16="http://schemas.microsoft.com/office/drawing/2014/main" id="{78D12390-4464-DA40-836F-DAC62618E729}"/>
              </a:ext>
            </a:extLst>
          </p:cNvPr>
          <p:cNvCxnSpPr/>
          <p:nvPr/>
        </p:nvCxnSpPr>
        <p:spPr>
          <a:xfrm>
            <a:off x="5792704" y="2981920"/>
            <a:ext cx="0" cy="2516799"/>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nvGrpSpPr>
          <p:cNvPr id="178" name="Group 726">
            <a:extLst>
              <a:ext uri="{FF2B5EF4-FFF2-40B4-BE49-F238E27FC236}">
                <a16:creationId xmlns:a16="http://schemas.microsoft.com/office/drawing/2014/main" id="{34E3D019-E2B1-8B48-A9F7-A16BD3CC2882}"/>
              </a:ext>
            </a:extLst>
          </p:cNvPr>
          <p:cNvGrpSpPr>
            <a:grpSpLocks noChangeAspect="1"/>
          </p:cNvGrpSpPr>
          <p:nvPr/>
        </p:nvGrpSpPr>
        <p:grpSpPr bwMode="auto">
          <a:xfrm>
            <a:off x="4083257" y="1795249"/>
            <a:ext cx="490985" cy="490985"/>
            <a:chOff x="5022" y="3403"/>
            <a:chExt cx="340" cy="340"/>
          </a:xfrm>
          <a:solidFill>
            <a:schemeClr val="bg1"/>
          </a:solidFill>
        </p:grpSpPr>
        <p:sp>
          <p:nvSpPr>
            <p:cNvPr id="185" name="Freeform 727">
              <a:extLst>
                <a:ext uri="{FF2B5EF4-FFF2-40B4-BE49-F238E27FC236}">
                  <a16:creationId xmlns:a16="http://schemas.microsoft.com/office/drawing/2014/main" id="{4CBB8A33-D367-094E-BACE-36C8A8F2D92B}"/>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186" name="Freeform 728">
              <a:extLst>
                <a:ext uri="{FF2B5EF4-FFF2-40B4-BE49-F238E27FC236}">
                  <a16:creationId xmlns:a16="http://schemas.microsoft.com/office/drawing/2014/main" id="{103C372C-CD2A-104C-9B61-69D14880F295}"/>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158" name="Text Placeholder 3">
            <a:extLst>
              <a:ext uri="{FF2B5EF4-FFF2-40B4-BE49-F238E27FC236}">
                <a16:creationId xmlns:a16="http://schemas.microsoft.com/office/drawing/2014/main" id="{9CA5F1FB-EE49-A241-AC55-C54ED8FA63E0}"/>
              </a:ext>
            </a:extLst>
          </p:cNvPr>
          <p:cNvSpPr txBox="1">
            <a:spLocks/>
          </p:cNvSpPr>
          <p:nvPr/>
        </p:nvSpPr>
        <p:spPr bwMode="gray">
          <a:xfrm>
            <a:off x="6603292" y="3147021"/>
            <a:ext cx="1898650" cy="2000548"/>
          </a:xfrm>
          <a:prstGeom prst="rect">
            <a:avLst/>
          </a:prstGeom>
        </p:spPr>
        <p:txBody>
          <a:bodyPr vert="horz" wrap="square" lIns="0" tIns="0" rIns="0" bIns="0" rtlCol="0">
            <a:spAutoFit/>
          </a:bodyPr>
          <a:lstStyle/>
          <a:p>
            <a:pPr marL="85725" lvl="1" indent="-85725">
              <a:buSzPct val="100000"/>
              <a:buFont typeface="Arial" panose="020B0604020202020204" pitchFamily="34" charset="0"/>
              <a:buChar char="•"/>
              <a:defRPr/>
            </a:pPr>
            <a:r>
              <a:rPr lang="en-US" sz="1300" dirty="0">
                <a:solidFill>
                  <a:prstClr val="black"/>
                </a:solidFill>
              </a:rPr>
              <a:t>This is dummy text it is not here to be read. The is just tex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The is jus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Please replace with your text content here.</a:t>
            </a:r>
          </a:p>
        </p:txBody>
      </p:sp>
      <p:sp>
        <p:nvSpPr>
          <p:cNvPr id="159" name="Snip Diagonal Corner Rectangle 158">
            <a:extLst>
              <a:ext uri="{FF2B5EF4-FFF2-40B4-BE49-F238E27FC236}">
                <a16:creationId xmlns:a16="http://schemas.microsoft.com/office/drawing/2014/main" id="{57C2DDF7-3D08-B745-8337-785CC421C40D}"/>
              </a:ext>
            </a:extLst>
          </p:cNvPr>
          <p:cNvSpPr/>
          <p:nvPr/>
        </p:nvSpPr>
        <p:spPr bwMode="gray">
          <a:xfrm>
            <a:off x="6371517" y="2395969"/>
            <a:ext cx="2373307" cy="585952"/>
          </a:xfrm>
          <a:prstGeom prst="snip2DiagRect">
            <a:avLst>
              <a:gd name="adj1" fmla="val 0"/>
              <a:gd name="adj2" fmla="val 3833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n-US" sz="1300" b="1" dirty="0">
                <a:solidFill>
                  <a:prstClr val="white"/>
                </a:solidFill>
              </a:rPr>
              <a:t>Lorem ipsum dolor </a:t>
            </a:r>
          </a:p>
        </p:txBody>
      </p:sp>
      <p:sp>
        <p:nvSpPr>
          <p:cNvPr id="169" name="Isosceles Triangle 16">
            <a:extLst>
              <a:ext uri="{FF2B5EF4-FFF2-40B4-BE49-F238E27FC236}">
                <a16:creationId xmlns:a16="http://schemas.microsoft.com/office/drawing/2014/main" id="{A8154F24-1175-E048-B0E2-A8EA584947C3}"/>
              </a:ext>
            </a:extLst>
          </p:cNvPr>
          <p:cNvSpPr/>
          <p:nvPr/>
        </p:nvSpPr>
        <p:spPr bwMode="gray">
          <a:xfrm>
            <a:off x="7174066" y="2067335"/>
            <a:ext cx="747389" cy="289082"/>
          </a:xfrm>
          <a:prstGeom prst="triangle">
            <a:avLst/>
          </a:prstGeom>
          <a:solidFill>
            <a:srgbClr val="A7A8AA"/>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170" name="Oval 169">
            <a:extLst>
              <a:ext uri="{FF2B5EF4-FFF2-40B4-BE49-F238E27FC236}">
                <a16:creationId xmlns:a16="http://schemas.microsoft.com/office/drawing/2014/main" id="{58275A06-AA92-3A46-BA14-900D5B8A2D75}"/>
              </a:ext>
            </a:extLst>
          </p:cNvPr>
          <p:cNvSpPr/>
          <p:nvPr/>
        </p:nvSpPr>
        <p:spPr bwMode="gray">
          <a:xfrm rot="5400000">
            <a:off x="6927225" y="1714500"/>
            <a:ext cx="648736" cy="648736"/>
          </a:xfrm>
          <a:prstGeom prst="ellipse">
            <a:avLst/>
          </a:prstGeom>
          <a:solidFill>
            <a:schemeClr val="tx2"/>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175" name="Straight Connector 174">
            <a:extLst>
              <a:ext uri="{FF2B5EF4-FFF2-40B4-BE49-F238E27FC236}">
                <a16:creationId xmlns:a16="http://schemas.microsoft.com/office/drawing/2014/main" id="{669F31C1-664B-5648-BDED-641EE353ADBC}"/>
              </a:ext>
            </a:extLst>
          </p:cNvPr>
          <p:cNvCxnSpPr/>
          <p:nvPr/>
        </p:nvCxnSpPr>
        <p:spPr>
          <a:xfrm>
            <a:off x="8735789" y="2981920"/>
            <a:ext cx="0" cy="2516799"/>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grpSp>
        <p:nvGrpSpPr>
          <p:cNvPr id="179" name="Group 986">
            <a:extLst>
              <a:ext uri="{FF2B5EF4-FFF2-40B4-BE49-F238E27FC236}">
                <a16:creationId xmlns:a16="http://schemas.microsoft.com/office/drawing/2014/main" id="{8C65C291-230E-B14D-BFAD-62A22D4184FE}"/>
              </a:ext>
            </a:extLst>
          </p:cNvPr>
          <p:cNvGrpSpPr>
            <a:grpSpLocks noChangeAspect="1"/>
          </p:cNvGrpSpPr>
          <p:nvPr/>
        </p:nvGrpSpPr>
        <p:grpSpPr bwMode="auto">
          <a:xfrm>
            <a:off x="7012231" y="1795249"/>
            <a:ext cx="490985" cy="490985"/>
            <a:chOff x="4274" y="3998"/>
            <a:chExt cx="340" cy="340"/>
          </a:xfrm>
          <a:solidFill>
            <a:schemeClr val="bg1"/>
          </a:solidFill>
        </p:grpSpPr>
        <p:sp>
          <p:nvSpPr>
            <p:cNvPr id="183" name="Freeform 987">
              <a:extLst>
                <a:ext uri="{FF2B5EF4-FFF2-40B4-BE49-F238E27FC236}">
                  <a16:creationId xmlns:a16="http://schemas.microsoft.com/office/drawing/2014/main" id="{6ED93CD4-A427-954F-AF76-5A824DE1BA3D}"/>
                </a:ext>
              </a:extLst>
            </p:cNvPr>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184" name="Freeform 988">
              <a:extLst>
                <a:ext uri="{FF2B5EF4-FFF2-40B4-BE49-F238E27FC236}">
                  <a16:creationId xmlns:a16="http://schemas.microsoft.com/office/drawing/2014/main" id="{BAD1C67C-6421-E448-ACF2-EF118C6873C9}"/>
                </a:ext>
              </a:extLst>
            </p:cNvPr>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160" name="Text Placeholder 3">
            <a:extLst>
              <a:ext uri="{FF2B5EF4-FFF2-40B4-BE49-F238E27FC236}">
                <a16:creationId xmlns:a16="http://schemas.microsoft.com/office/drawing/2014/main" id="{D5B36F9C-4C2A-2247-96F8-E9204F482A71}"/>
              </a:ext>
            </a:extLst>
          </p:cNvPr>
          <p:cNvSpPr txBox="1">
            <a:spLocks/>
          </p:cNvSpPr>
          <p:nvPr/>
        </p:nvSpPr>
        <p:spPr bwMode="gray">
          <a:xfrm>
            <a:off x="9542989" y="3147021"/>
            <a:ext cx="1898652" cy="2000548"/>
          </a:xfrm>
          <a:prstGeom prst="rect">
            <a:avLst/>
          </a:prstGeom>
        </p:spPr>
        <p:txBody>
          <a:bodyPr vert="horz" wrap="square" lIns="0" tIns="0" rIns="0" bIns="0" rtlCol="0">
            <a:spAutoFit/>
          </a:bodyPr>
          <a:lstStyle/>
          <a:p>
            <a:pPr marL="85725" lvl="1" indent="-85725">
              <a:buSzPct val="100000"/>
              <a:buFont typeface="Arial" panose="020B0604020202020204" pitchFamily="34" charset="0"/>
              <a:buChar char="•"/>
              <a:defRPr/>
            </a:pPr>
            <a:r>
              <a:rPr lang="en-US" sz="1300" dirty="0">
                <a:solidFill>
                  <a:prstClr val="black"/>
                </a:solidFill>
              </a:rPr>
              <a:t>This is dummy text it is not here to be read. The is just tex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The is jus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Please replace with your text content here.</a:t>
            </a:r>
          </a:p>
        </p:txBody>
      </p:sp>
      <p:sp>
        <p:nvSpPr>
          <p:cNvPr id="161" name="Snip Diagonal Corner Rectangle 160">
            <a:extLst>
              <a:ext uri="{FF2B5EF4-FFF2-40B4-BE49-F238E27FC236}">
                <a16:creationId xmlns:a16="http://schemas.microsoft.com/office/drawing/2014/main" id="{45D4FCE7-9EDB-884E-A1D4-E343B1191034}"/>
              </a:ext>
            </a:extLst>
          </p:cNvPr>
          <p:cNvSpPr/>
          <p:nvPr/>
        </p:nvSpPr>
        <p:spPr bwMode="gray">
          <a:xfrm>
            <a:off x="9311216" y="2402844"/>
            <a:ext cx="2373307" cy="585952"/>
          </a:xfrm>
          <a:prstGeom prst="snip2DiagRect">
            <a:avLst>
              <a:gd name="adj1" fmla="val 0"/>
              <a:gd name="adj2" fmla="val 37880"/>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n-US" sz="1300" b="1" dirty="0">
                <a:solidFill>
                  <a:prstClr val="white"/>
                </a:solidFill>
              </a:rPr>
              <a:t>Lorem ipsum dolor </a:t>
            </a:r>
          </a:p>
        </p:txBody>
      </p:sp>
      <p:sp>
        <p:nvSpPr>
          <p:cNvPr id="171" name="Isosceles Triangle 18">
            <a:extLst>
              <a:ext uri="{FF2B5EF4-FFF2-40B4-BE49-F238E27FC236}">
                <a16:creationId xmlns:a16="http://schemas.microsoft.com/office/drawing/2014/main" id="{06936C08-8084-CA4C-8837-B2E99372E847}"/>
              </a:ext>
            </a:extLst>
          </p:cNvPr>
          <p:cNvSpPr/>
          <p:nvPr/>
        </p:nvSpPr>
        <p:spPr bwMode="gray">
          <a:xfrm>
            <a:off x="10130192" y="2067335"/>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172" name="Oval 171">
            <a:extLst>
              <a:ext uri="{FF2B5EF4-FFF2-40B4-BE49-F238E27FC236}">
                <a16:creationId xmlns:a16="http://schemas.microsoft.com/office/drawing/2014/main" id="{04CAD3CB-FD82-8149-977C-919DC5EECE3A}"/>
              </a:ext>
            </a:extLst>
          </p:cNvPr>
          <p:cNvSpPr/>
          <p:nvPr/>
        </p:nvSpPr>
        <p:spPr bwMode="gray">
          <a:xfrm rot="5400000">
            <a:off x="9883352" y="1714500"/>
            <a:ext cx="648736" cy="648736"/>
          </a:xfrm>
          <a:prstGeom prst="ellipse">
            <a:avLst/>
          </a:prstGeom>
          <a:solidFill>
            <a:srgbClr val="43B02A"/>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176" name="Straight Connector 175">
            <a:extLst>
              <a:ext uri="{FF2B5EF4-FFF2-40B4-BE49-F238E27FC236}">
                <a16:creationId xmlns:a16="http://schemas.microsoft.com/office/drawing/2014/main" id="{1FF3763B-7FAE-A342-8716-3C5F3D8FF3F8}"/>
              </a:ext>
            </a:extLst>
          </p:cNvPr>
          <p:cNvCxnSpPr/>
          <p:nvPr/>
        </p:nvCxnSpPr>
        <p:spPr>
          <a:xfrm>
            <a:off x="11679068" y="2981920"/>
            <a:ext cx="0" cy="2516799"/>
          </a:xfrm>
          <a:prstGeom prst="line">
            <a:avLst/>
          </a:prstGeom>
          <a:ln>
            <a:solidFill>
              <a:srgbClr val="43B02A"/>
            </a:solidFill>
            <a:tailEnd type="oval"/>
          </a:ln>
        </p:spPr>
        <p:style>
          <a:lnRef idx="1">
            <a:schemeClr val="accent1"/>
          </a:lnRef>
          <a:fillRef idx="0">
            <a:schemeClr val="accent1"/>
          </a:fillRef>
          <a:effectRef idx="0">
            <a:schemeClr val="accent1"/>
          </a:effectRef>
          <a:fontRef idx="minor">
            <a:schemeClr val="tx1"/>
          </a:fontRef>
        </p:style>
      </p:cxnSp>
      <p:grpSp>
        <p:nvGrpSpPr>
          <p:cNvPr id="180" name="Group 913">
            <a:extLst>
              <a:ext uri="{FF2B5EF4-FFF2-40B4-BE49-F238E27FC236}">
                <a16:creationId xmlns:a16="http://schemas.microsoft.com/office/drawing/2014/main" id="{C303ABA6-4F0A-004A-8A9E-3BDFE34DA146}"/>
              </a:ext>
            </a:extLst>
          </p:cNvPr>
          <p:cNvGrpSpPr>
            <a:grpSpLocks noChangeAspect="1"/>
          </p:cNvGrpSpPr>
          <p:nvPr/>
        </p:nvGrpSpPr>
        <p:grpSpPr bwMode="auto">
          <a:xfrm>
            <a:off x="9962227" y="1795675"/>
            <a:ext cx="490985" cy="490985"/>
            <a:chOff x="4563" y="3912"/>
            <a:chExt cx="340" cy="340"/>
          </a:xfrm>
          <a:solidFill>
            <a:schemeClr val="bg1"/>
          </a:solidFill>
        </p:grpSpPr>
        <p:sp>
          <p:nvSpPr>
            <p:cNvPr id="181" name="Freeform 914">
              <a:extLst>
                <a:ext uri="{FF2B5EF4-FFF2-40B4-BE49-F238E27FC236}">
                  <a16:creationId xmlns:a16="http://schemas.microsoft.com/office/drawing/2014/main" id="{81DCB391-FBCE-104F-B567-E78DAC97819F}"/>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182" name="Freeform 915">
              <a:extLst>
                <a:ext uri="{FF2B5EF4-FFF2-40B4-BE49-F238E27FC236}">
                  <a16:creationId xmlns:a16="http://schemas.microsoft.com/office/drawing/2014/main" id="{A4951A52-8E43-6349-AB47-6FD6FA5D72C9}"/>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Tree>
    <p:custDataLst>
      <p:tags r:id="rId1"/>
    </p:custDataLst>
    <p:extLst>
      <p:ext uri="{BB962C8B-B14F-4D97-AF65-F5344CB8AC3E}">
        <p14:creationId xmlns:p14="http://schemas.microsoft.com/office/powerpoint/2010/main" val="310989101"/>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7"/>
          <p:cNvGrpSpPr/>
          <p:nvPr/>
        </p:nvGrpSpPr>
        <p:grpSpPr>
          <a:xfrm>
            <a:off x="9292018" y="2359643"/>
            <a:ext cx="1930028" cy="3429309"/>
            <a:chOff x="3940935" y="180304"/>
            <a:chExt cx="3451538" cy="6132758"/>
          </a:xfrm>
        </p:grpSpPr>
        <p:sp>
          <p:nvSpPr>
            <p:cNvPr id="8" name="Rounded Rectangle 9"/>
            <p:cNvSpPr/>
            <p:nvPr/>
          </p:nvSpPr>
          <p:spPr>
            <a:xfrm>
              <a:off x="3940935" y="180304"/>
              <a:ext cx="3451538" cy="6132758"/>
            </a:xfrm>
            <a:prstGeom prst="roundRect">
              <a:avLst>
                <a:gd name="adj" fmla="val 252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10"/>
            <p:cNvSpPr/>
            <p:nvPr/>
          </p:nvSpPr>
          <p:spPr>
            <a:xfrm>
              <a:off x="4025148" y="264368"/>
              <a:ext cx="3264914" cy="506748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11"/>
            <p:cNvSpPr/>
            <p:nvPr/>
          </p:nvSpPr>
          <p:spPr>
            <a:xfrm>
              <a:off x="5376929" y="5532683"/>
              <a:ext cx="579550" cy="579550"/>
            </a:xfrm>
            <a:prstGeom prst="ellipse">
              <a:avLst/>
            </a:prstGeom>
            <a:solidFill>
              <a:srgbClr val="535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Freeform 8"/>
          <p:cNvSpPr/>
          <p:nvPr/>
        </p:nvSpPr>
        <p:spPr>
          <a:xfrm rot="13371779" flipV="1">
            <a:off x="10774958" y="5328505"/>
            <a:ext cx="1250812" cy="842847"/>
          </a:xfrm>
          <a:custGeom>
            <a:avLst/>
            <a:gdLst>
              <a:gd name="connsiteX0" fmla="*/ 3448487 w 3753459"/>
              <a:gd name="connsiteY0" fmla="*/ 7963 h 2260898"/>
              <a:gd name="connsiteX1" fmla="*/ 2709301 w 3753459"/>
              <a:gd name="connsiteY1" fmla="*/ 733259 h 2260898"/>
              <a:gd name="connsiteX2" fmla="*/ 2420432 w 3753459"/>
              <a:gd name="connsiteY2" fmla="*/ 1016701 h 2260898"/>
              <a:gd name="connsiteX3" fmla="*/ 2138310 w 3753459"/>
              <a:gd name="connsiteY3" fmla="*/ 1016702 h 2260898"/>
              <a:gd name="connsiteX4" fmla="*/ 1991892 w 3753459"/>
              <a:gd name="connsiteY4" fmla="*/ 1113754 h 2260898"/>
              <a:gd name="connsiteX5" fmla="*/ 1979404 w 3753459"/>
              <a:gd name="connsiteY5" fmla="*/ 1175608 h 2260898"/>
              <a:gd name="connsiteX6" fmla="*/ 1979404 w 3753459"/>
              <a:gd name="connsiteY6" fmla="*/ 1175607 h 2260898"/>
              <a:gd name="connsiteX7" fmla="*/ 1979404 w 3753459"/>
              <a:gd name="connsiteY7" fmla="*/ 1175608 h 2260898"/>
              <a:gd name="connsiteX8" fmla="*/ 1979404 w 3753459"/>
              <a:gd name="connsiteY8" fmla="*/ 1175608 h 2260898"/>
              <a:gd name="connsiteX9" fmla="*/ 1991891 w 3753459"/>
              <a:gd name="connsiteY9" fmla="*/ 1237461 h 2260898"/>
              <a:gd name="connsiteX10" fmla="*/ 2076457 w 3753459"/>
              <a:gd name="connsiteY10" fmla="*/ 1322027 h 2260898"/>
              <a:gd name="connsiteX11" fmla="*/ 2103662 w 3753459"/>
              <a:gd name="connsiteY11" fmla="*/ 1327519 h 2260898"/>
              <a:gd name="connsiteX12" fmla="*/ 2089519 w 3753459"/>
              <a:gd name="connsiteY12" fmla="*/ 1341397 h 2260898"/>
              <a:gd name="connsiteX13" fmla="*/ 3296260 w 3753459"/>
              <a:gd name="connsiteY13" fmla="*/ 1341397 h 2260898"/>
              <a:gd name="connsiteX14" fmla="*/ 3753459 w 3753459"/>
              <a:gd name="connsiteY14" fmla="*/ 1798598 h 2260898"/>
              <a:gd name="connsiteX15" fmla="*/ 3296259 w 3753459"/>
              <a:gd name="connsiteY15" fmla="*/ 2255799 h 2260898"/>
              <a:gd name="connsiteX16" fmla="*/ 1766444 w 3753459"/>
              <a:gd name="connsiteY16" fmla="*/ 2255798 h 2260898"/>
              <a:gd name="connsiteX17" fmla="*/ 1766444 w 3753459"/>
              <a:gd name="connsiteY17" fmla="*/ 2257300 h 2260898"/>
              <a:gd name="connsiteX18" fmla="*/ 662769 w 3753459"/>
              <a:gd name="connsiteY18" fmla="*/ 2257300 h 2260898"/>
              <a:gd name="connsiteX19" fmla="*/ 656880 w 3753459"/>
              <a:gd name="connsiteY19" fmla="*/ 2260898 h 2260898"/>
              <a:gd name="connsiteX20" fmla="*/ 653310 w 3753459"/>
              <a:gd name="connsiteY20" fmla="*/ 2257301 h 2260898"/>
              <a:gd name="connsiteX21" fmla="*/ 646852 w 3753459"/>
              <a:gd name="connsiteY21" fmla="*/ 2257300 h 2260898"/>
              <a:gd name="connsiteX22" fmla="*/ 646852 w 3753459"/>
              <a:gd name="connsiteY22" fmla="*/ 2250789 h 2260898"/>
              <a:gd name="connsiteX23" fmla="*/ 0 w 3753459"/>
              <a:gd name="connsiteY23" fmla="*/ 1598741 h 2260898"/>
              <a:gd name="connsiteX24" fmla="*/ 1493272 w 3753459"/>
              <a:gd name="connsiteY24" fmla="*/ 136848 h 2260898"/>
              <a:gd name="connsiteX25" fmla="*/ 1982968 w 3753459"/>
              <a:gd name="connsiteY25" fmla="*/ 3594 h 2260898"/>
              <a:gd name="connsiteX26" fmla="*/ 3448487 w 3753459"/>
              <a:gd name="connsiteY26" fmla="*/ 7963 h 226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53459" h="2260898">
                <a:moveTo>
                  <a:pt x="3448487" y="7963"/>
                </a:moveTo>
                <a:cubicBezTo>
                  <a:pt x="3200609" y="248218"/>
                  <a:pt x="2954954" y="490739"/>
                  <a:pt x="2709301" y="733259"/>
                </a:cubicBezTo>
                <a:lnTo>
                  <a:pt x="2420432" y="1016701"/>
                </a:lnTo>
                <a:lnTo>
                  <a:pt x="2138310" y="1016702"/>
                </a:lnTo>
                <a:cubicBezTo>
                  <a:pt x="2072489" y="1016702"/>
                  <a:pt x="2016015" y="1056721"/>
                  <a:pt x="1991892" y="1113754"/>
                </a:cubicBezTo>
                <a:lnTo>
                  <a:pt x="1979404" y="1175608"/>
                </a:lnTo>
                <a:lnTo>
                  <a:pt x="1979404" y="1175607"/>
                </a:lnTo>
                <a:lnTo>
                  <a:pt x="1979404" y="1175608"/>
                </a:lnTo>
                <a:lnTo>
                  <a:pt x="1979404" y="1175608"/>
                </a:lnTo>
                <a:lnTo>
                  <a:pt x="1991891" y="1237461"/>
                </a:lnTo>
                <a:cubicBezTo>
                  <a:pt x="2007974" y="1275484"/>
                  <a:pt x="2038434" y="1305944"/>
                  <a:pt x="2076457" y="1322027"/>
                </a:cubicBezTo>
                <a:lnTo>
                  <a:pt x="2103662" y="1327519"/>
                </a:lnTo>
                <a:lnTo>
                  <a:pt x="2089519" y="1341397"/>
                </a:lnTo>
                <a:lnTo>
                  <a:pt x="3296260" y="1341397"/>
                </a:lnTo>
                <a:cubicBezTo>
                  <a:pt x="3548764" y="1341397"/>
                  <a:pt x="3753459" y="1546093"/>
                  <a:pt x="3753459" y="1798598"/>
                </a:cubicBezTo>
                <a:cubicBezTo>
                  <a:pt x="3753459" y="2051103"/>
                  <a:pt x="3548764" y="2255798"/>
                  <a:pt x="3296259" y="2255799"/>
                </a:cubicBezTo>
                <a:lnTo>
                  <a:pt x="1766444" y="2255798"/>
                </a:lnTo>
                <a:lnTo>
                  <a:pt x="1766444" y="2257300"/>
                </a:lnTo>
                <a:lnTo>
                  <a:pt x="662769" y="2257300"/>
                </a:lnTo>
                <a:lnTo>
                  <a:pt x="656880" y="2260898"/>
                </a:lnTo>
                <a:lnTo>
                  <a:pt x="653310" y="2257301"/>
                </a:lnTo>
                <a:lnTo>
                  <a:pt x="646852" y="2257300"/>
                </a:lnTo>
                <a:lnTo>
                  <a:pt x="646852" y="2250789"/>
                </a:lnTo>
                <a:lnTo>
                  <a:pt x="0" y="1598741"/>
                </a:lnTo>
                <a:lnTo>
                  <a:pt x="1493272" y="136848"/>
                </a:lnTo>
                <a:cubicBezTo>
                  <a:pt x="1641146" y="6073"/>
                  <a:pt x="1774466" y="-8989"/>
                  <a:pt x="1982968" y="3594"/>
                </a:cubicBezTo>
                <a:lnTo>
                  <a:pt x="3448487" y="7963"/>
                </a:lnTo>
                <a:close/>
              </a:path>
            </a:pathLst>
          </a:custGeom>
          <a:solidFill>
            <a:srgbClr val="FFFFFF"/>
          </a:solidFill>
          <a:ln w="762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32"/>
          <p:cNvGrpSpPr/>
          <p:nvPr/>
        </p:nvGrpSpPr>
        <p:grpSpPr>
          <a:xfrm flipH="1">
            <a:off x="7714478" y="4312677"/>
            <a:ext cx="3671205" cy="771270"/>
            <a:chOff x="6774991" y="4303007"/>
            <a:chExt cx="3704779" cy="771270"/>
          </a:xfrm>
        </p:grpSpPr>
        <p:grpSp>
          <p:nvGrpSpPr>
            <p:cNvPr id="22" name="Group 33"/>
            <p:cNvGrpSpPr/>
            <p:nvPr/>
          </p:nvGrpSpPr>
          <p:grpSpPr>
            <a:xfrm>
              <a:off x="8651247" y="4303007"/>
              <a:ext cx="1828523" cy="771270"/>
              <a:chOff x="5135315" y="1598443"/>
              <a:chExt cx="1828523" cy="771270"/>
            </a:xfrm>
            <a:solidFill>
              <a:schemeClr val="accent1">
                <a:lumMod val="75000"/>
              </a:schemeClr>
            </a:solidFill>
          </p:grpSpPr>
          <p:sp>
            <p:nvSpPr>
              <p:cNvPr id="26" name="Rectangle 37"/>
              <p:cNvSpPr/>
              <p:nvPr/>
            </p:nvSpPr>
            <p:spPr>
              <a:xfrm>
                <a:off x="5135315" y="1598443"/>
                <a:ext cx="1658291" cy="771270"/>
              </a:xfrm>
              <a:prstGeom prst="rect">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Isosceles Triangle 38"/>
              <p:cNvSpPr/>
              <p:nvPr/>
            </p:nvSpPr>
            <p:spPr>
              <a:xfrm rot="5400000">
                <a:off x="6493087" y="1898962"/>
                <a:ext cx="771270" cy="170232"/>
              </a:xfrm>
              <a:prstGeom prst="triangle">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 name="Group 34"/>
            <p:cNvGrpSpPr/>
            <p:nvPr/>
          </p:nvGrpSpPr>
          <p:grpSpPr>
            <a:xfrm>
              <a:off x="6774991" y="4303007"/>
              <a:ext cx="3600051" cy="771270"/>
              <a:chOff x="3356097" y="1598443"/>
              <a:chExt cx="3600051" cy="771270"/>
            </a:xfrm>
            <a:solidFill>
              <a:schemeClr val="accent1"/>
            </a:solidFill>
          </p:grpSpPr>
          <p:sp>
            <p:nvSpPr>
              <p:cNvPr id="24" name="Rectangle 35"/>
              <p:cNvSpPr/>
              <p:nvPr/>
            </p:nvSpPr>
            <p:spPr>
              <a:xfrm>
                <a:off x="3356097" y="1598443"/>
                <a:ext cx="3429826" cy="77127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300" b="1" dirty="0">
                    <a:solidFill>
                      <a:srgbClr val="FFFFFF"/>
                    </a:solidFill>
                  </a:rPr>
                  <a:t>This is dummy text it is not here to be read. The is just text to show where you could insert text.</a:t>
                </a:r>
                <a:endParaRPr lang="zh-CN" altLang="en-US" sz="1300" b="1" dirty="0">
                  <a:solidFill>
                    <a:srgbClr val="FFFFFF"/>
                  </a:solidFill>
                </a:endParaRPr>
              </a:p>
            </p:txBody>
          </p:sp>
          <p:sp>
            <p:nvSpPr>
              <p:cNvPr id="25" name="Isosceles Triangle 36"/>
              <p:cNvSpPr/>
              <p:nvPr/>
            </p:nvSpPr>
            <p:spPr>
              <a:xfrm rot="5400000">
                <a:off x="6485397" y="1898962"/>
                <a:ext cx="771270" cy="170232"/>
              </a:xfrm>
              <a:prstGeom prst="triangl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0" name="Rectangle 47"/>
          <p:cNvSpPr/>
          <p:nvPr/>
        </p:nvSpPr>
        <p:spPr>
          <a:xfrm flipH="1">
            <a:off x="11382276" y="4312677"/>
            <a:ext cx="339825" cy="1080513"/>
          </a:xfrm>
          <a:custGeom>
            <a:avLst/>
            <a:gdLst>
              <a:gd name="connsiteX0" fmla="*/ 0 w 595816"/>
              <a:gd name="connsiteY0" fmla="*/ 0 h 771270"/>
              <a:gd name="connsiteX1" fmla="*/ 595816 w 595816"/>
              <a:gd name="connsiteY1" fmla="*/ 0 h 771270"/>
              <a:gd name="connsiteX2" fmla="*/ 595816 w 595816"/>
              <a:gd name="connsiteY2" fmla="*/ 771270 h 771270"/>
              <a:gd name="connsiteX3" fmla="*/ 0 w 595816"/>
              <a:gd name="connsiteY3" fmla="*/ 771270 h 771270"/>
              <a:gd name="connsiteX4" fmla="*/ 0 w 595816"/>
              <a:gd name="connsiteY4" fmla="*/ 0 h 771270"/>
              <a:gd name="connsiteX0-1" fmla="*/ 0 w 595816"/>
              <a:gd name="connsiteY0-2" fmla="*/ 0 h 1080513"/>
              <a:gd name="connsiteX1-3" fmla="*/ 595816 w 595816"/>
              <a:gd name="connsiteY1-4" fmla="*/ 0 h 1080513"/>
              <a:gd name="connsiteX2-5" fmla="*/ 595816 w 595816"/>
              <a:gd name="connsiteY2-6" fmla="*/ 771270 h 1080513"/>
              <a:gd name="connsiteX3-7" fmla="*/ 213271 w 595816"/>
              <a:gd name="connsiteY3-8" fmla="*/ 1080513 h 1080513"/>
              <a:gd name="connsiteX4-9" fmla="*/ 0 w 595816"/>
              <a:gd name="connsiteY4-10" fmla="*/ 0 h 1080513"/>
              <a:gd name="connsiteX0-11" fmla="*/ 101303 w 382545"/>
              <a:gd name="connsiteY0-12" fmla="*/ 543841 h 1080513"/>
              <a:gd name="connsiteX1-13" fmla="*/ 382545 w 382545"/>
              <a:gd name="connsiteY1-14" fmla="*/ 0 h 1080513"/>
              <a:gd name="connsiteX2-15" fmla="*/ 382545 w 382545"/>
              <a:gd name="connsiteY2-16" fmla="*/ 771270 h 1080513"/>
              <a:gd name="connsiteX3-17" fmla="*/ 0 w 382545"/>
              <a:gd name="connsiteY3-18" fmla="*/ 1080513 h 1080513"/>
              <a:gd name="connsiteX4-19" fmla="*/ 101303 w 382545"/>
              <a:gd name="connsiteY4-20" fmla="*/ 543841 h 1080513"/>
              <a:gd name="connsiteX0-21" fmla="*/ 101303 w 382545"/>
              <a:gd name="connsiteY0-22" fmla="*/ 543841 h 1080513"/>
              <a:gd name="connsiteX1-23" fmla="*/ 382545 w 382545"/>
              <a:gd name="connsiteY1-24" fmla="*/ 0 h 1080513"/>
              <a:gd name="connsiteX2-25" fmla="*/ 382545 w 382545"/>
              <a:gd name="connsiteY2-26" fmla="*/ 771270 h 1080513"/>
              <a:gd name="connsiteX3-27" fmla="*/ 0 w 382545"/>
              <a:gd name="connsiteY3-28" fmla="*/ 1080513 h 1080513"/>
              <a:gd name="connsiteX4-29" fmla="*/ 101303 w 382545"/>
              <a:gd name="connsiteY4-30" fmla="*/ 543841 h 1080513"/>
              <a:gd name="connsiteX0-31" fmla="*/ 0 w 393209"/>
              <a:gd name="connsiteY0-32" fmla="*/ 325238 h 1080513"/>
              <a:gd name="connsiteX1-33" fmla="*/ 393209 w 393209"/>
              <a:gd name="connsiteY1-34" fmla="*/ 0 h 1080513"/>
              <a:gd name="connsiteX2-35" fmla="*/ 393209 w 393209"/>
              <a:gd name="connsiteY2-36" fmla="*/ 771270 h 1080513"/>
              <a:gd name="connsiteX3-37" fmla="*/ 10664 w 393209"/>
              <a:gd name="connsiteY3-38" fmla="*/ 1080513 h 1080513"/>
              <a:gd name="connsiteX4-39" fmla="*/ 0 w 393209"/>
              <a:gd name="connsiteY4-40" fmla="*/ 325238 h 1080513"/>
              <a:gd name="connsiteX0-41" fmla="*/ 0 w 393209"/>
              <a:gd name="connsiteY0-42" fmla="*/ 325238 h 1080513"/>
              <a:gd name="connsiteX1-43" fmla="*/ 393209 w 393209"/>
              <a:gd name="connsiteY1-44" fmla="*/ 0 h 1080513"/>
              <a:gd name="connsiteX2-45" fmla="*/ 393209 w 393209"/>
              <a:gd name="connsiteY2-46" fmla="*/ 771270 h 1080513"/>
              <a:gd name="connsiteX3-47" fmla="*/ 10664 w 393209"/>
              <a:gd name="connsiteY3-48" fmla="*/ 1080513 h 1080513"/>
              <a:gd name="connsiteX4-49" fmla="*/ 0 w 393209"/>
              <a:gd name="connsiteY4-50" fmla="*/ 325238 h 1080513"/>
              <a:gd name="connsiteX0-51" fmla="*/ 0 w 385211"/>
              <a:gd name="connsiteY0-52" fmla="*/ 325238 h 1080513"/>
              <a:gd name="connsiteX1-53" fmla="*/ 385211 w 385211"/>
              <a:gd name="connsiteY1-54" fmla="*/ 0 h 1080513"/>
              <a:gd name="connsiteX2-55" fmla="*/ 385211 w 385211"/>
              <a:gd name="connsiteY2-56" fmla="*/ 771270 h 1080513"/>
              <a:gd name="connsiteX3-57" fmla="*/ 2666 w 385211"/>
              <a:gd name="connsiteY3-58" fmla="*/ 1080513 h 1080513"/>
              <a:gd name="connsiteX4-59" fmla="*/ 0 w 385211"/>
              <a:gd name="connsiteY4-60" fmla="*/ 325238 h 1080513"/>
              <a:gd name="connsiteX0-61" fmla="*/ 257 w 382802"/>
              <a:gd name="connsiteY0-62" fmla="*/ 325238 h 1080513"/>
              <a:gd name="connsiteX1-63" fmla="*/ 382802 w 382802"/>
              <a:gd name="connsiteY1-64" fmla="*/ 0 h 1080513"/>
              <a:gd name="connsiteX2-65" fmla="*/ 382802 w 382802"/>
              <a:gd name="connsiteY2-66" fmla="*/ 771270 h 1080513"/>
              <a:gd name="connsiteX3-67" fmla="*/ 257 w 382802"/>
              <a:gd name="connsiteY3-68" fmla="*/ 1080513 h 1080513"/>
              <a:gd name="connsiteX4-69" fmla="*/ 257 w 382802"/>
              <a:gd name="connsiteY4-70" fmla="*/ 325238 h 108051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82802" h="1080513">
                <a:moveTo>
                  <a:pt x="257" y="325238"/>
                </a:moveTo>
                <a:lnTo>
                  <a:pt x="382802" y="0"/>
                </a:lnTo>
                <a:lnTo>
                  <a:pt x="382802" y="771270"/>
                </a:lnTo>
                <a:lnTo>
                  <a:pt x="257" y="1080513"/>
                </a:lnTo>
                <a:cubicBezTo>
                  <a:pt x="-632" y="828755"/>
                  <a:pt x="1146" y="576996"/>
                  <a:pt x="257" y="325238"/>
                </a:cubicBezTo>
                <a:close/>
              </a:path>
            </a:pathLst>
          </a:cu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65"/>
          <p:cNvGrpSpPr/>
          <p:nvPr/>
        </p:nvGrpSpPr>
        <p:grpSpPr>
          <a:xfrm>
            <a:off x="469900" y="2374412"/>
            <a:ext cx="4582204" cy="3787154"/>
            <a:chOff x="3389951" y="3258225"/>
            <a:chExt cx="3346948" cy="2766225"/>
          </a:xfrm>
        </p:grpSpPr>
        <p:grpSp>
          <p:nvGrpSpPr>
            <p:cNvPr id="12" name="Group 3"/>
            <p:cNvGrpSpPr/>
            <p:nvPr/>
          </p:nvGrpSpPr>
          <p:grpSpPr>
            <a:xfrm>
              <a:off x="3389951" y="3258225"/>
              <a:ext cx="3346948" cy="2292274"/>
              <a:chOff x="3940935" y="180304"/>
              <a:chExt cx="3451538" cy="6132758"/>
            </a:xfrm>
          </p:grpSpPr>
          <p:sp>
            <p:nvSpPr>
              <p:cNvPr id="16" name="Rounded Rectangle 4"/>
              <p:cNvSpPr/>
              <p:nvPr/>
            </p:nvSpPr>
            <p:spPr>
              <a:xfrm>
                <a:off x="3940935" y="180304"/>
                <a:ext cx="3451538" cy="6132758"/>
              </a:xfrm>
              <a:prstGeom prst="roundRect">
                <a:avLst>
                  <a:gd name="adj" fmla="val 194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5"/>
              <p:cNvSpPr/>
              <p:nvPr/>
            </p:nvSpPr>
            <p:spPr>
              <a:xfrm>
                <a:off x="3983576" y="292939"/>
                <a:ext cx="3377120" cy="5887673"/>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39"/>
            <p:cNvSpPr/>
            <p:nvPr/>
          </p:nvSpPr>
          <p:spPr>
            <a:xfrm>
              <a:off x="4586906" y="5543092"/>
              <a:ext cx="953037" cy="4305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40"/>
            <p:cNvSpPr/>
            <p:nvPr/>
          </p:nvSpPr>
          <p:spPr>
            <a:xfrm>
              <a:off x="4250828" y="5933127"/>
              <a:ext cx="1625192" cy="91323"/>
            </a:xfrm>
            <a:prstGeom prst="roundRect">
              <a:avLst>
                <a:gd name="adj" fmla="val 13736"/>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9" name="Oval 22"/>
          <p:cNvSpPr/>
          <p:nvPr/>
        </p:nvSpPr>
        <p:spPr>
          <a:xfrm>
            <a:off x="4611349" y="4557664"/>
            <a:ext cx="1407956" cy="1407956"/>
          </a:xfrm>
          <a:prstGeom prst="ellipse">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21"/>
          <p:cNvSpPr>
            <a:spLocks noChangeAspect="1"/>
          </p:cNvSpPr>
          <p:nvPr/>
        </p:nvSpPr>
        <p:spPr>
          <a:xfrm>
            <a:off x="5689831" y="2181978"/>
            <a:ext cx="1407600" cy="1407600"/>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Oval 23"/>
          <p:cNvSpPr>
            <a:spLocks noChangeAspect="1"/>
          </p:cNvSpPr>
          <p:nvPr/>
        </p:nvSpPr>
        <p:spPr>
          <a:xfrm>
            <a:off x="6010386" y="3864910"/>
            <a:ext cx="1407600" cy="1407600"/>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Oval 20"/>
          <p:cNvSpPr>
            <a:spLocks noChangeAspect="1"/>
          </p:cNvSpPr>
          <p:nvPr/>
        </p:nvSpPr>
        <p:spPr>
          <a:xfrm>
            <a:off x="4079811" y="1715248"/>
            <a:ext cx="1407600" cy="1407600"/>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Arc 5"/>
          <p:cNvSpPr/>
          <p:nvPr/>
        </p:nvSpPr>
        <p:spPr>
          <a:xfrm flipV="1">
            <a:off x="3788733" y="2456456"/>
            <a:ext cx="914400" cy="914400"/>
          </a:xfrm>
          <a:prstGeom prst="arc">
            <a:avLst/>
          </a:prstGeom>
          <a:ln w="57150">
            <a:solidFill>
              <a:srgbClr val="86BC2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58" name="组合 157"/>
          <p:cNvGrpSpPr/>
          <p:nvPr/>
        </p:nvGrpSpPr>
        <p:grpSpPr>
          <a:xfrm flipV="1">
            <a:off x="5254321" y="2786061"/>
            <a:ext cx="914400" cy="914400"/>
            <a:chOff x="5257033" y="887864"/>
            <a:chExt cx="914400" cy="914400"/>
          </a:xfrm>
        </p:grpSpPr>
        <p:sp>
          <p:nvSpPr>
            <p:cNvPr id="159" name="Arc 5"/>
            <p:cNvSpPr/>
            <p:nvPr/>
          </p:nvSpPr>
          <p:spPr>
            <a:xfrm>
              <a:off x="5257033" y="887864"/>
              <a:ext cx="914400" cy="914400"/>
            </a:xfrm>
            <a:prstGeom prst="arc">
              <a:avLst/>
            </a:prstGeom>
            <a:ln w="53975" cmpd="sng">
              <a:solidFill>
                <a:srgbClr val="43B02A"/>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60" name="Straight Connector 11"/>
            <p:cNvCxnSpPr/>
            <p:nvPr/>
          </p:nvCxnSpPr>
          <p:spPr>
            <a:xfrm flipH="1">
              <a:off x="5294740" y="887864"/>
              <a:ext cx="422635" cy="0"/>
            </a:xfrm>
            <a:prstGeom prst="line">
              <a:avLst/>
            </a:prstGeom>
            <a:ln w="53975" cmpd="sng">
              <a:solidFill>
                <a:srgbClr val="43B02A"/>
              </a:solidFill>
              <a:prstDash val="solid"/>
            </a:ln>
          </p:spPr>
          <p:style>
            <a:lnRef idx="1">
              <a:schemeClr val="accent1"/>
            </a:lnRef>
            <a:fillRef idx="0">
              <a:schemeClr val="accent1"/>
            </a:fillRef>
            <a:effectRef idx="0">
              <a:schemeClr val="accent1"/>
            </a:effectRef>
            <a:fontRef idx="minor">
              <a:schemeClr val="tx1"/>
            </a:fontRef>
          </p:style>
        </p:cxnSp>
      </p:grpSp>
      <p:grpSp>
        <p:nvGrpSpPr>
          <p:cNvPr id="164" name="组合 163"/>
          <p:cNvGrpSpPr/>
          <p:nvPr/>
        </p:nvGrpSpPr>
        <p:grpSpPr>
          <a:xfrm>
            <a:off x="5162484" y="4041295"/>
            <a:ext cx="914400" cy="915963"/>
            <a:chOff x="5599933" y="894739"/>
            <a:chExt cx="914400" cy="914400"/>
          </a:xfrm>
        </p:grpSpPr>
        <p:sp>
          <p:nvSpPr>
            <p:cNvPr id="165" name="Arc 5"/>
            <p:cNvSpPr/>
            <p:nvPr/>
          </p:nvSpPr>
          <p:spPr>
            <a:xfrm>
              <a:off x="5599933" y="894739"/>
              <a:ext cx="914400" cy="914400"/>
            </a:xfrm>
            <a:prstGeom prst="arc">
              <a:avLst/>
            </a:prstGeom>
            <a:ln w="57150">
              <a:solidFill>
                <a:srgbClr val="009A44"/>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66" name="Straight Connector 11"/>
            <p:cNvCxnSpPr/>
            <p:nvPr/>
          </p:nvCxnSpPr>
          <p:spPr>
            <a:xfrm flipH="1">
              <a:off x="5660500" y="894739"/>
              <a:ext cx="422635" cy="0"/>
            </a:xfrm>
            <a:prstGeom prst="line">
              <a:avLst/>
            </a:prstGeom>
            <a:ln w="57150">
              <a:solidFill>
                <a:srgbClr val="009A44"/>
              </a:solidFill>
              <a:prstDash val="solid"/>
            </a:ln>
          </p:spPr>
          <p:style>
            <a:lnRef idx="1">
              <a:schemeClr val="accent1"/>
            </a:lnRef>
            <a:fillRef idx="0">
              <a:schemeClr val="accent1"/>
            </a:fillRef>
            <a:effectRef idx="0">
              <a:schemeClr val="accent1"/>
            </a:effectRef>
            <a:fontRef idx="minor">
              <a:schemeClr val="tx1"/>
            </a:fontRef>
          </p:style>
        </p:cxnSp>
      </p:grpSp>
      <p:cxnSp>
        <p:nvCxnSpPr>
          <p:cNvPr id="156" name="Straight Connector 11"/>
          <p:cNvCxnSpPr/>
          <p:nvPr/>
        </p:nvCxnSpPr>
        <p:spPr>
          <a:xfrm flipH="1">
            <a:off x="1704066" y="3370856"/>
            <a:ext cx="2558342" cy="0"/>
          </a:xfrm>
          <a:prstGeom prst="line">
            <a:avLst/>
          </a:prstGeom>
          <a:ln w="57150">
            <a:solidFill>
              <a:srgbClr val="86BC25"/>
            </a:solidFill>
            <a:prstDash val="solid"/>
          </a:ln>
        </p:spPr>
        <p:style>
          <a:lnRef idx="1">
            <a:schemeClr val="accent1"/>
          </a:lnRef>
          <a:fillRef idx="0">
            <a:schemeClr val="accent1"/>
          </a:fillRef>
          <a:effectRef idx="0">
            <a:schemeClr val="accent1"/>
          </a:effectRef>
          <a:fontRef idx="minor">
            <a:schemeClr val="tx1"/>
          </a:fontRef>
        </p:style>
      </p:cxnSp>
      <p:cxnSp>
        <p:nvCxnSpPr>
          <p:cNvPr id="155" name="Straight Connector 8"/>
          <p:cNvCxnSpPr/>
          <p:nvPr/>
        </p:nvCxnSpPr>
        <p:spPr>
          <a:xfrm flipH="1">
            <a:off x="1704066" y="3700461"/>
            <a:ext cx="3604367" cy="0"/>
          </a:xfrm>
          <a:prstGeom prst="line">
            <a:avLst/>
          </a:prstGeom>
          <a:ln w="53975" cmpd="sng">
            <a:solidFill>
              <a:srgbClr val="43B02A"/>
            </a:solidFill>
            <a:prstDash val="solid"/>
          </a:ln>
        </p:spPr>
        <p:style>
          <a:lnRef idx="1">
            <a:schemeClr val="accent1"/>
          </a:lnRef>
          <a:fillRef idx="0">
            <a:schemeClr val="accent1"/>
          </a:fillRef>
          <a:effectRef idx="0">
            <a:schemeClr val="accent1"/>
          </a:effectRef>
          <a:fontRef idx="minor">
            <a:schemeClr val="tx1"/>
          </a:fontRef>
        </p:style>
      </p:cxnSp>
      <p:cxnSp>
        <p:nvCxnSpPr>
          <p:cNvPr id="163" name="Straight Connector 8"/>
          <p:cNvCxnSpPr/>
          <p:nvPr/>
        </p:nvCxnSpPr>
        <p:spPr>
          <a:xfrm flipH="1">
            <a:off x="1704066" y="4041295"/>
            <a:ext cx="3611261" cy="0"/>
          </a:xfrm>
          <a:prstGeom prst="line">
            <a:avLst/>
          </a:prstGeom>
          <a:ln w="57150">
            <a:solidFill>
              <a:srgbClr val="009A44"/>
            </a:solidFill>
            <a:prstDash val="solid"/>
          </a:ln>
        </p:spPr>
        <p:style>
          <a:lnRef idx="1">
            <a:schemeClr val="accent1"/>
          </a:lnRef>
          <a:fillRef idx="0">
            <a:schemeClr val="accent1"/>
          </a:fillRef>
          <a:effectRef idx="0">
            <a:schemeClr val="accent1"/>
          </a:effectRef>
          <a:fontRef idx="minor">
            <a:schemeClr val="tx1"/>
          </a:fontRef>
        </p:style>
      </p:cxnSp>
      <p:cxnSp>
        <p:nvCxnSpPr>
          <p:cNvPr id="168" name="Straight Connector 8"/>
          <p:cNvCxnSpPr/>
          <p:nvPr/>
        </p:nvCxnSpPr>
        <p:spPr>
          <a:xfrm flipH="1">
            <a:off x="1707118" y="4367479"/>
            <a:ext cx="2775850" cy="0"/>
          </a:xfrm>
          <a:prstGeom prst="line">
            <a:avLst/>
          </a:prstGeom>
          <a:ln w="57150">
            <a:solidFill>
              <a:srgbClr val="046A38"/>
            </a:solidFill>
            <a:prstDash val="solid"/>
          </a:ln>
        </p:spPr>
        <p:style>
          <a:lnRef idx="1">
            <a:schemeClr val="accent1"/>
          </a:lnRef>
          <a:fillRef idx="0">
            <a:schemeClr val="accent1"/>
          </a:fillRef>
          <a:effectRef idx="0">
            <a:schemeClr val="accent1"/>
          </a:effectRef>
          <a:fontRef idx="minor">
            <a:schemeClr val="tx1"/>
          </a:fontRef>
        </p:style>
      </p:cxnSp>
      <p:sp>
        <p:nvSpPr>
          <p:cNvPr id="170" name="Arc 5"/>
          <p:cNvSpPr/>
          <p:nvPr/>
        </p:nvSpPr>
        <p:spPr>
          <a:xfrm>
            <a:off x="4022897" y="4369516"/>
            <a:ext cx="914400" cy="915963"/>
          </a:xfrm>
          <a:prstGeom prst="arc">
            <a:avLst/>
          </a:prstGeom>
          <a:ln w="57150">
            <a:solidFill>
              <a:srgbClr val="046A38"/>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72" name="Group 947"/>
          <p:cNvGrpSpPr>
            <a:grpSpLocks noChangeAspect="1"/>
          </p:cNvGrpSpPr>
          <p:nvPr/>
        </p:nvGrpSpPr>
        <p:grpSpPr bwMode="auto">
          <a:xfrm>
            <a:off x="4235327" y="1875406"/>
            <a:ext cx="1080000" cy="1080000"/>
            <a:chOff x="1851" y="3960"/>
            <a:chExt cx="340" cy="340"/>
          </a:xfrm>
          <a:solidFill>
            <a:srgbClr val="FFFFFF"/>
          </a:solidFill>
        </p:grpSpPr>
        <p:sp>
          <p:nvSpPr>
            <p:cNvPr id="173" name="Freeform 948"/>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74" name="Freeform 949"/>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179" name="Group 749"/>
          <p:cNvGrpSpPr>
            <a:grpSpLocks noChangeAspect="1"/>
          </p:cNvGrpSpPr>
          <p:nvPr/>
        </p:nvGrpSpPr>
        <p:grpSpPr bwMode="auto">
          <a:xfrm>
            <a:off x="5860851" y="2336145"/>
            <a:ext cx="1080000" cy="1080000"/>
            <a:chOff x="3520" y="2686"/>
            <a:chExt cx="340" cy="340"/>
          </a:xfrm>
          <a:solidFill>
            <a:srgbClr val="FFFFFF"/>
          </a:solidFill>
        </p:grpSpPr>
        <p:sp>
          <p:nvSpPr>
            <p:cNvPr id="180"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81"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82"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187" name="Group 777"/>
          <p:cNvGrpSpPr>
            <a:grpSpLocks noChangeAspect="1"/>
          </p:cNvGrpSpPr>
          <p:nvPr/>
        </p:nvGrpSpPr>
        <p:grpSpPr bwMode="auto">
          <a:xfrm>
            <a:off x="6177785" y="4028710"/>
            <a:ext cx="1083175" cy="1080000"/>
            <a:chOff x="5814" y="3070"/>
            <a:chExt cx="341" cy="340"/>
          </a:xfrm>
          <a:solidFill>
            <a:srgbClr val="FFFFFF"/>
          </a:solidFill>
        </p:grpSpPr>
        <p:sp>
          <p:nvSpPr>
            <p:cNvPr id="188" name="Freeform 778"/>
            <p:cNvSpPr>
              <a:spLocks noEditPoints="1"/>
            </p:cNvSpPr>
            <p:nvPr/>
          </p:nvSpPr>
          <p:spPr bwMode="auto">
            <a:xfrm>
              <a:off x="5878" y="3140"/>
              <a:ext cx="213" cy="185"/>
            </a:xfrm>
            <a:custGeom>
              <a:avLst/>
              <a:gdLst>
                <a:gd name="T0" fmla="*/ 309 w 320"/>
                <a:gd name="T1" fmla="*/ 43 h 278"/>
                <a:gd name="T2" fmla="*/ 213 w 320"/>
                <a:gd name="T3" fmla="*/ 43 h 278"/>
                <a:gd name="T4" fmla="*/ 213 w 320"/>
                <a:gd name="T5" fmla="*/ 11 h 278"/>
                <a:gd name="T6" fmla="*/ 202 w 320"/>
                <a:gd name="T7" fmla="*/ 0 h 278"/>
                <a:gd name="T8" fmla="*/ 117 w 320"/>
                <a:gd name="T9" fmla="*/ 0 h 278"/>
                <a:gd name="T10" fmla="*/ 106 w 320"/>
                <a:gd name="T11" fmla="*/ 11 h 278"/>
                <a:gd name="T12" fmla="*/ 106 w 320"/>
                <a:gd name="T13" fmla="*/ 43 h 278"/>
                <a:gd name="T14" fmla="*/ 10 w 320"/>
                <a:gd name="T15" fmla="*/ 43 h 278"/>
                <a:gd name="T16" fmla="*/ 0 w 320"/>
                <a:gd name="T17" fmla="*/ 54 h 278"/>
                <a:gd name="T18" fmla="*/ 0 w 320"/>
                <a:gd name="T19" fmla="*/ 160 h 278"/>
                <a:gd name="T20" fmla="*/ 10 w 320"/>
                <a:gd name="T21" fmla="*/ 171 h 278"/>
                <a:gd name="T22" fmla="*/ 21 w 320"/>
                <a:gd name="T23" fmla="*/ 171 h 278"/>
                <a:gd name="T24" fmla="*/ 21 w 320"/>
                <a:gd name="T25" fmla="*/ 267 h 278"/>
                <a:gd name="T26" fmla="*/ 32 w 320"/>
                <a:gd name="T27" fmla="*/ 278 h 278"/>
                <a:gd name="T28" fmla="*/ 288 w 320"/>
                <a:gd name="T29" fmla="*/ 278 h 278"/>
                <a:gd name="T30" fmla="*/ 298 w 320"/>
                <a:gd name="T31" fmla="*/ 267 h 278"/>
                <a:gd name="T32" fmla="*/ 298 w 320"/>
                <a:gd name="T33" fmla="*/ 171 h 278"/>
                <a:gd name="T34" fmla="*/ 309 w 320"/>
                <a:gd name="T35" fmla="*/ 171 h 278"/>
                <a:gd name="T36" fmla="*/ 320 w 320"/>
                <a:gd name="T37" fmla="*/ 160 h 278"/>
                <a:gd name="T38" fmla="*/ 320 w 320"/>
                <a:gd name="T39" fmla="*/ 54 h 278"/>
                <a:gd name="T40" fmla="*/ 309 w 320"/>
                <a:gd name="T41" fmla="*/ 43 h 278"/>
                <a:gd name="T42" fmla="*/ 128 w 320"/>
                <a:gd name="T43" fmla="*/ 22 h 278"/>
                <a:gd name="T44" fmla="*/ 192 w 320"/>
                <a:gd name="T45" fmla="*/ 22 h 278"/>
                <a:gd name="T46" fmla="*/ 192 w 320"/>
                <a:gd name="T47" fmla="*/ 43 h 278"/>
                <a:gd name="T48" fmla="*/ 128 w 320"/>
                <a:gd name="T49" fmla="*/ 43 h 278"/>
                <a:gd name="T50" fmla="*/ 128 w 320"/>
                <a:gd name="T51" fmla="*/ 22 h 278"/>
                <a:gd name="T52" fmla="*/ 277 w 320"/>
                <a:gd name="T53" fmla="*/ 256 h 278"/>
                <a:gd name="T54" fmla="*/ 42 w 320"/>
                <a:gd name="T55" fmla="*/ 256 h 278"/>
                <a:gd name="T56" fmla="*/ 42 w 320"/>
                <a:gd name="T57" fmla="*/ 171 h 278"/>
                <a:gd name="T58" fmla="*/ 85 w 320"/>
                <a:gd name="T59" fmla="*/ 171 h 278"/>
                <a:gd name="T60" fmla="*/ 85 w 320"/>
                <a:gd name="T61" fmla="*/ 182 h 278"/>
                <a:gd name="T62" fmla="*/ 96 w 320"/>
                <a:gd name="T63" fmla="*/ 192 h 278"/>
                <a:gd name="T64" fmla="*/ 106 w 320"/>
                <a:gd name="T65" fmla="*/ 182 h 278"/>
                <a:gd name="T66" fmla="*/ 106 w 320"/>
                <a:gd name="T67" fmla="*/ 171 h 278"/>
                <a:gd name="T68" fmla="*/ 213 w 320"/>
                <a:gd name="T69" fmla="*/ 171 h 278"/>
                <a:gd name="T70" fmla="*/ 213 w 320"/>
                <a:gd name="T71" fmla="*/ 182 h 278"/>
                <a:gd name="T72" fmla="*/ 224 w 320"/>
                <a:gd name="T73" fmla="*/ 192 h 278"/>
                <a:gd name="T74" fmla="*/ 234 w 320"/>
                <a:gd name="T75" fmla="*/ 182 h 278"/>
                <a:gd name="T76" fmla="*/ 234 w 320"/>
                <a:gd name="T77" fmla="*/ 171 h 278"/>
                <a:gd name="T78" fmla="*/ 277 w 320"/>
                <a:gd name="T79" fmla="*/ 171 h 278"/>
                <a:gd name="T80" fmla="*/ 277 w 320"/>
                <a:gd name="T81" fmla="*/ 256 h 278"/>
                <a:gd name="T82" fmla="*/ 298 w 320"/>
                <a:gd name="T83" fmla="*/ 150 h 278"/>
                <a:gd name="T84" fmla="*/ 234 w 320"/>
                <a:gd name="T85" fmla="*/ 150 h 278"/>
                <a:gd name="T86" fmla="*/ 234 w 320"/>
                <a:gd name="T87" fmla="*/ 139 h 278"/>
                <a:gd name="T88" fmla="*/ 224 w 320"/>
                <a:gd name="T89" fmla="*/ 128 h 278"/>
                <a:gd name="T90" fmla="*/ 213 w 320"/>
                <a:gd name="T91" fmla="*/ 139 h 278"/>
                <a:gd name="T92" fmla="*/ 213 w 320"/>
                <a:gd name="T93" fmla="*/ 150 h 278"/>
                <a:gd name="T94" fmla="*/ 106 w 320"/>
                <a:gd name="T95" fmla="*/ 150 h 278"/>
                <a:gd name="T96" fmla="*/ 106 w 320"/>
                <a:gd name="T97" fmla="*/ 139 h 278"/>
                <a:gd name="T98" fmla="*/ 96 w 320"/>
                <a:gd name="T99" fmla="*/ 128 h 278"/>
                <a:gd name="T100" fmla="*/ 85 w 320"/>
                <a:gd name="T101" fmla="*/ 139 h 278"/>
                <a:gd name="T102" fmla="*/ 85 w 320"/>
                <a:gd name="T103" fmla="*/ 150 h 278"/>
                <a:gd name="T104" fmla="*/ 21 w 320"/>
                <a:gd name="T105" fmla="*/ 150 h 278"/>
                <a:gd name="T106" fmla="*/ 21 w 320"/>
                <a:gd name="T107" fmla="*/ 64 h 278"/>
                <a:gd name="T108" fmla="*/ 298 w 320"/>
                <a:gd name="T109" fmla="*/ 64 h 278"/>
                <a:gd name="T110" fmla="*/ 298 w 320"/>
                <a:gd name="T111" fmla="*/ 15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78">
                  <a:moveTo>
                    <a:pt x="309" y="43"/>
                  </a:moveTo>
                  <a:cubicBezTo>
                    <a:pt x="213" y="43"/>
                    <a:pt x="213" y="43"/>
                    <a:pt x="213" y="43"/>
                  </a:cubicBezTo>
                  <a:cubicBezTo>
                    <a:pt x="213" y="11"/>
                    <a:pt x="213" y="11"/>
                    <a:pt x="213" y="11"/>
                  </a:cubicBezTo>
                  <a:cubicBezTo>
                    <a:pt x="213" y="5"/>
                    <a:pt x="208" y="0"/>
                    <a:pt x="202" y="0"/>
                  </a:cubicBezTo>
                  <a:cubicBezTo>
                    <a:pt x="117" y="0"/>
                    <a:pt x="117" y="0"/>
                    <a:pt x="117" y="0"/>
                  </a:cubicBezTo>
                  <a:cubicBezTo>
                    <a:pt x="111" y="0"/>
                    <a:pt x="106" y="5"/>
                    <a:pt x="106" y="11"/>
                  </a:cubicBezTo>
                  <a:cubicBezTo>
                    <a:pt x="106" y="43"/>
                    <a:pt x="106" y="43"/>
                    <a:pt x="106" y="43"/>
                  </a:cubicBezTo>
                  <a:cubicBezTo>
                    <a:pt x="10" y="43"/>
                    <a:pt x="10" y="43"/>
                    <a:pt x="10" y="43"/>
                  </a:cubicBezTo>
                  <a:cubicBezTo>
                    <a:pt x="4" y="43"/>
                    <a:pt x="0" y="48"/>
                    <a:pt x="0" y="54"/>
                  </a:cubicBezTo>
                  <a:cubicBezTo>
                    <a:pt x="0" y="160"/>
                    <a:pt x="0" y="160"/>
                    <a:pt x="0" y="160"/>
                  </a:cubicBezTo>
                  <a:cubicBezTo>
                    <a:pt x="0" y="166"/>
                    <a:pt x="4" y="171"/>
                    <a:pt x="10" y="171"/>
                  </a:cubicBezTo>
                  <a:cubicBezTo>
                    <a:pt x="21" y="171"/>
                    <a:pt x="21" y="171"/>
                    <a:pt x="21" y="171"/>
                  </a:cubicBezTo>
                  <a:cubicBezTo>
                    <a:pt x="21" y="267"/>
                    <a:pt x="21" y="267"/>
                    <a:pt x="21" y="267"/>
                  </a:cubicBezTo>
                  <a:cubicBezTo>
                    <a:pt x="21" y="273"/>
                    <a:pt x="26" y="278"/>
                    <a:pt x="32" y="278"/>
                  </a:cubicBezTo>
                  <a:cubicBezTo>
                    <a:pt x="288" y="278"/>
                    <a:pt x="288" y="278"/>
                    <a:pt x="288" y="278"/>
                  </a:cubicBezTo>
                  <a:cubicBezTo>
                    <a:pt x="294" y="278"/>
                    <a:pt x="298" y="273"/>
                    <a:pt x="298" y="267"/>
                  </a:cubicBezTo>
                  <a:cubicBezTo>
                    <a:pt x="298" y="171"/>
                    <a:pt x="298" y="171"/>
                    <a:pt x="298" y="171"/>
                  </a:cubicBezTo>
                  <a:cubicBezTo>
                    <a:pt x="309" y="171"/>
                    <a:pt x="309" y="171"/>
                    <a:pt x="309" y="171"/>
                  </a:cubicBezTo>
                  <a:cubicBezTo>
                    <a:pt x="315" y="171"/>
                    <a:pt x="320" y="166"/>
                    <a:pt x="320" y="160"/>
                  </a:cubicBezTo>
                  <a:cubicBezTo>
                    <a:pt x="320" y="54"/>
                    <a:pt x="320" y="54"/>
                    <a:pt x="320" y="54"/>
                  </a:cubicBezTo>
                  <a:cubicBezTo>
                    <a:pt x="320" y="48"/>
                    <a:pt x="315" y="43"/>
                    <a:pt x="309" y="43"/>
                  </a:cubicBezTo>
                  <a:close/>
                  <a:moveTo>
                    <a:pt x="128" y="22"/>
                  </a:moveTo>
                  <a:cubicBezTo>
                    <a:pt x="192" y="22"/>
                    <a:pt x="192" y="22"/>
                    <a:pt x="192" y="22"/>
                  </a:cubicBezTo>
                  <a:cubicBezTo>
                    <a:pt x="192" y="43"/>
                    <a:pt x="192" y="43"/>
                    <a:pt x="192" y="43"/>
                  </a:cubicBezTo>
                  <a:cubicBezTo>
                    <a:pt x="128" y="43"/>
                    <a:pt x="128" y="43"/>
                    <a:pt x="128" y="43"/>
                  </a:cubicBezTo>
                  <a:lnTo>
                    <a:pt x="128" y="22"/>
                  </a:lnTo>
                  <a:close/>
                  <a:moveTo>
                    <a:pt x="277" y="256"/>
                  </a:moveTo>
                  <a:cubicBezTo>
                    <a:pt x="42" y="256"/>
                    <a:pt x="42" y="256"/>
                    <a:pt x="42" y="256"/>
                  </a:cubicBezTo>
                  <a:cubicBezTo>
                    <a:pt x="42" y="171"/>
                    <a:pt x="42" y="171"/>
                    <a:pt x="42" y="171"/>
                  </a:cubicBezTo>
                  <a:cubicBezTo>
                    <a:pt x="85" y="171"/>
                    <a:pt x="85" y="171"/>
                    <a:pt x="85" y="171"/>
                  </a:cubicBezTo>
                  <a:cubicBezTo>
                    <a:pt x="85" y="182"/>
                    <a:pt x="85" y="182"/>
                    <a:pt x="85" y="182"/>
                  </a:cubicBezTo>
                  <a:cubicBezTo>
                    <a:pt x="85" y="188"/>
                    <a:pt x="90" y="192"/>
                    <a:pt x="96" y="192"/>
                  </a:cubicBezTo>
                  <a:cubicBezTo>
                    <a:pt x="102" y="192"/>
                    <a:pt x="106" y="188"/>
                    <a:pt x="106" y="182"/>
                  </a:cubicBezTo>
                  <a:cubicBezTo>
                    <a:pt x="106" y="171"/>
                    <a:pt x="106" y="171"/>
                    <a:pt x="106" y="171"/>
                  </a:cubicBezTo>
                  <a:cubicBezTo>
                    <a:pt x="213" y="171"/>
                    <a:pt x="213" y="171"/>
                    <a:pt x="213" y="171"/>
                  </a:cubicBezTo>
                  <a:cubicBezTo>
                    <a:pt x="213" y="182"/>
                    <a:pt x="213" y="182"/>
                    <a:pt x="213" y="182"/>
                  </a:cubicBezTo>
                  <a:cubicBezTo>
                    <a:pt x="213" y="188"/>
                    <a:pt x="218" y="192"/>
                    <a:pt x="224" y="192"/>
                  </a:cubicBezTo>
                  <a:cubicBezTo>
                    <a:pt x="230" y="192"/>
                    <a:pt x="234" y="188"/>
                    <a:pt x="234" y="182"/>
                  </a:cubicBezTo>
                  <a:cubicBezTo>
                    <a:pt x="234" y="171"/>
                    <a:pt x="234" y="171"/>
                    <a:pt x="234" y="171"/>
                  </a:cubicBezTo>
                  <a:cubicBezTo>
                    <a:pt x="277" y="171"/>
                    <a:pt x="277" y="171"/>
                    <a:pt x="277" y="171"/>
                  </a:cubicBezTo>
                  <a:lnTo>
                    <a:pt x="277" y="256"/>
                  </a:lnTo>
                  <a:close/>
                  <a:moveTo>
                    <a:pt x="298" y="150"/>
                  </a:moveTo>
                  <a:cubicBezTo>
                    <a:pt x="234" y="150"/>
                    <a:pt x="234" y="150"/>
                    <a:pt x="234" y="150"/>
                  </a:cubicBezTo>
                  <a:cubicBezTo>
                    <a:pt x="234" y="139"/>
                    <a:pt x="234" y="139"/>
                    <a:pt x="234" y="139"/>
                  </a:cubicBezTo>
                  <a:cubicBezTo>
                    <a:pt x="234" y="133"/>
                    <a:pt x="230" y="128"/>
                    <a:pt x="224" y="128"/>
                  </a:cubicBezTo>
                  <a:cubicBezTo>
                    <a:pt x="218" y="128"/>
                    <a:pt x="213" y="133"/>
                    <a:pt x="213" y="139"/>
                  </a:cubicBezTo>
                  <a:cubicBezTo>
                    <a:pt x="213" y="150"/>
                    <a:pt x="213" y="150"/>
                    <a:pt x="213" y="150"/>
                  </a:cubicBezTo>
                  <a:cubicBezTo>
                    <a:pt x="106" y="150"/>
                    <a:pt x="106" y="150"/>
                    <a:pt x="106" y="150"/>
                  </a:cubicBezTo>
                  <a:cubicBezTo>
                    <a:pt x="106" y="139"/>
                    <a:pt x="106" y="139"/>
                    <a:pt x="106" y="139"/>
                  </a:cubicBezTo>
                  <a:cubicBezTo>
                    <a:pt x="106" y="133"/>
                    <a:pt x="102" y="128"/>
                    <a:pt x="96" y="128"/>
                  </a:cubicBezTo>
                  <a:cubicBezTo>
                    <a:pt x="90" y="128"/>
                    <a:pt x="85" y="133"/>
                    <a:pt x="85" y="139"/>
                  </a:cubicBezTo>
                  <a:cubicBezTo>
                    <a:pt x="85" y="150"/>
                    <a:pt x="85" y="150"/>
                    <a:pt x="85" y="150"/>
                  </a:cubicBezTo>
                  <a:cubicBezTo>
                    <a:pt x="21" y="150"/>
                    <a:pt x="21" y="150"/>
                    <a:pt x="21" y="150"/>
                  </a:cubicBezTo>
                  <a:cubicBezTo>
                    <a:pt x="21" y="64"/>
                    <a:pt x="21" y="64"/>
                    <a:pt x="21" y="64"/>
                  </a:cubicBezTo>
                  <a:cubicBezTo>
                    <a:pt x="298" y="64"/>
                    <a:pt x="298" y="64"/>
                    <a:pt x="298" y="64"/>
                  </a:cubicBezTo>
                  <a:lnTo>
                    <a:pt x="298" y="150"/>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89" name="Freeform 779"/>
            <p:cNvSpPr>
              <a:spLocks noEditPoints="1"/>
            </p:cNvSpPr>
            <p:nvPr/>
          </p:nvSpPr>
          <p:spPr bwMode="auto">
            <a:xfrm>
              <a:off x="5814" y="307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190" name="Group 1000"/>
          <p:cNvGrpSpPr>
            <a:grpSpLocks noChangeAspect="1"/>
          </p:cNvGrpSpPr>
          <p:nvPr/>
        </p:nvGrpSpPr>
        <p:grpSpPr bwMode="auto">
          <a:xfrm>
            <a:off x="4780743" y="4724869"/>
            <a:ext cx="1080000" cy="1080000"/>
            <a:chOff x="5030" y="4091"/>
            <a:chExt cx="340" cy="340"/>
          </a:xfrm>
          <a:solidFill>
            <a:srgbClr val="FFFFFF"/>
          </a:solidFill>
        </p:grpSpPr>
        <p:sp>
          <p:nvSpPr>
            <p:cNvPr id="191" name="Freeform 1001"/>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92" name="Freeform 1002"/>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sp>
        <p:nvSpPr>
          <p:cNvPr id="199" name="TextBox 52"/>
          <p:cNvSpPr txBox="1"/>
          <p:nvPr/>
        </p:nvSpPr>
        <p:spPr>
          <a:xfrm>
            <a:off x="826912" y="3197507"/>
            <a:ext cx="906407" cy="292388"/>
          </a:xfrm>
          <a:prstGeom prst="rect">
            <a:avLst/>
          </a:prstGeom>
          <a:solidFill>
            <a:srgbClr val="000000"/>
          </a:solidFill>
        </p:spPr>
        <p:txBody>
          <a:bodyPr wrap="square" lIns="0" rIns="0" rtlCol="0">
            <a:spAutoFit/>
          </a:bodyPr>
          <a:lstStyle/>
          <a:p>
            <a:r>
              <a:rPr lang="en-US" altLang="zh-CN" sz="1300" b="1" dirty="0">
                <a:solidFill>
                  <a:schemeClr val="bg1"/>
                </a:solidFill>
              </a:rPr>
              <a:t>Dummy text</a:t>
            </a:r>
            <a:endParaRPr lang="zh-CN" altLang="en-US" sz="1300" b="1" dirty="0">
              <a:solidFill>
                <a:schemeClr val="bg1"/>
              </a:solidFill>
            </a:endParaRPr>
          </a:p>
        </p:txBody>
      </p:sp>
      <p:sp>
        <p:nvSpPr>
          <p:cNvPr id="60" name="TextBox 52"/>
          <p:cNvSpPr txBox="1"/>
          <p:nvPr/>
        </p:nvSpPr>
        <p:spPr>
          <a:xfrm>
            <a:off x="826912" y="3537091"/>
            <a:ext cx="906407" cy="292388"/>
          </a:xfrm>
          <a:prstGeom prst="rect">
            <a:avLst/>
          </a:prstGeom>
          <a:solidFill>
            <a:srgbClr val="000000"/>
          </a:solidFill>
        </p:spPr>
        <p:txBody>
          <a:bodyPr wrap="square" lIns="0" rIns="0" rtlCol="0">
            <a:spAutoFit/>
          </a:bodyPr>
          <a:lstStyle/>
          <a:p>
            <a:r>
              <a:rPr lang="en-US" altLang="zh-CN" sz="1300" b="1" dirty="0">
                <a:solidFill>
                  <a:schemeClr val="bg1"/>
                </a:solidFill>
              </a:rPr>
              <a:t>Dummy text</a:t>
            </a:r>
            <a:endParaRPr lang="zh-CN" altLang="en-US" sz="1300" b="1" dirty="0">
              <a:solidFill>
                <a:schemeClr val="bg1"/>
              </a:solidFill>
            </a:endParaRPr>
          </a:p>
        </p:txBody>
      </p:sp>
      <p:sp>
        <p:nvSpPr>
          <p:cNvPr id="62" name="TextBox 52"/>
          <p:cNvSpPr txBox="1"/>
          <p:nvPr/>
        </p:nvSpPr>
        <p:spPr>
          <a:xfrm>
            <a:off x="826912" y="3876675"/>
            <a:ext cx="906407" cy="292388"/>
          </a:xfrm>
          <a:prstGeom prst="rect">
            <a:avLst/>
          </a:prstGeom>
          <a:solidFill>
            <a:srgbClr val="000000"/>
          </a:solidFill>
        </p:spPr>
        <p:txBody>
          <a:bodyPr wrap="square" lIns="0" rIns="0" rtlCol="0">
            <a:spAutoFit/>
          </a:bodyPr>
          <a:lstStyle/>
          <a:p>
            <a:r>
              <a:rPr lang="en-US" altLang="zh-CN" sz="1300" b="1" dirty="0">
                <a:solidFill>
                  <a:schemeClr val="bg1"/>
                </a:solidFill>
              </a:rPr>
              <a:t>Dummy text</a:t>
            </a:r>
            <a:endParaRPr lang="zh-CN" altLang="en-US" sz="1300" b="1" dirty="0">
              <a:solidFill>
                <a:schemeClr val="bg1"/>
              </a:solidFill>
            </a:endParaRPr>
          </a:p>
        </p:txBody>
      </p:sp>
      <p:sp>
        <p:nvSpPr>
          <p:cNvPr id="63" name="TextBox 52"/>
          <p:cNvSpPr txBox="1"/>
          <p:nvPr/>
        </p:nvSpPr>
        <p:spPr>
          <a:xfrm>
            <a:off x="826912" y="4216260"/>
            <a:ext cx="906407" cy="292388"/>
          </a:xfrm>
          <a:prstGeom prst="rect">
            <a:avLst/>
          </a:prstGeom>
          <a:solidFill>
            <a:srgbClr val="000000"/>
          </a:solidFill>
        </p:spPr>
        <p:txBody>
          <a:bodyPr wrap="square" lIns="0" rIns="0" rtlCol="0">
            <a:spAutoFit/>
          </a:bodyPr>
          <a:lstStyle/>
          <a:p>
            <a:r>
              <a:rPr lang="en-US" altLang="zh-CN" sz="1300" b="1" dirty="0">
                <a:solidFill>
                  <a:schemeClr val="bg1"/>
                </a:solidFill>
              </a:rPr>
              <a:t>Dummy text</a:t>
            </a:r>
            <a:endParaRPr lang="zh-CN" altLang="en-US" sz="1300" b="1" dirty="0">
              <a:solidFill>
                <a:schemeClr val="bg1"/>
              </a:solidFill>
            </a:endParaRPr>
          </a:p>
        </p:txBody>
      </p:sp>
    </p:spTree>
    <p:custDataLst>
      <p:tags r:id="rId1"/>
    </p:custDataLst>
    <p:extLst>
      <p:ext uri="{BB962C8B-B14F-4D97-AF65-F5344CB8AC3E}">
        <p14:creationId xmlns:p14="http://schemas.microsoft.com/office/powerpoint/2010/main" val="1059278824"/>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C384D283-92DD-C44D-82B0-84E00A8DFDF8}"/>
              </a:ext>
            </a:extLst>
          </p:cNvPr>
          <p:cNvCxnSpPr>
            <a:stCxn id="29" idx="2"/>
            <a:endCxn id="38" idx="6"/>
          </p:cNvCxnSpPr>
          <p:nvPr/>
        </p:nvCxnSpPr>
        <p:spPr>
          <a:xfrm flipH="1">
            <a:off x="2067488" y="2169345"/>
            <a:ext cx="6131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73EB97E-88C5-014C-9E7E-01218512F2DE}"/>
              </a:ext>
            </a:extLst>
          </p:cNvPr>
          <p:cNvCxnSpPr>
            <a:stCxn id="33" idx="2"/>
            <a:endCxn id="41" idx="6"/>
          </p:cNvCxnSpPr>
          <p:nvPr/>
        </p:nvCxnSpPr>
        <p:spPr>
          <a:xfrm flipH="1">
            <a:off x="2163084" y="3096214"/>
            <a:ext cx="51755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7E5E983-B3D8-4448-B8B1-D694011F3D48}"/>
              </a:ext>
            </a:extLst>
          </p:cNvPr>
          <p:cNvCxnSpPr>
            <a:stCxn id="39" idx="6"/>
            <a:endCxn id="30" idx="2"/>
          </p:cNvCxnSpPr>
          <p:nvPr/>
        </p:nvCxnSpPr>
        <p:spPr>
          <a:xfrm>
            <a:off x="2163084" y="4039708"/>
            <a:ext cx="51755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A7A496-AC82-984A-877F-053D3D44B12C}"/>
              </a:ext>
            </a:extLst>
          </p:cNvPr>
          <p:cNvCxnSpPr>
            <a:stCxn id="40" idx="6"/>
            <a:endCxn id="31" idx="2"/>
          </p:cNvCxnSpPr>
          <p:nvPr/>
        </p:nvCxnSpPr>
        <p:spPr>
          <a:xfrm>
            <a:off x="2021768" y="4970733"/>
            <a:ext cx="65887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Snip Single Corner Rectangle 23">
            <a:extLst>
              <a:ext uri="{FF2B5EF4-FFF2-40B4-BE49-F238E27FC236}">
                <a16:creationId xmlns:a16="http://schemas.microsoft.com/office/drawing/2014/main" id="{D91C8A8C-EC7E-E644-9725-CDF7BC38020E}"/>
              </a:ext>
            </a:extLst>
          </p:cNvPr>
          <p:cNvSpPr/>
          <p:nvPr/>
        </p:nvSpPr>
        <p:spPr bwMode="gray">
          <a:xfrm>
            <a:off x="3056928" y="4601539"/>
            <a:ext cx="8620722" cy="738391"/>
          </a:xfrm>
          <a:prstGeom prst="snip1Rect">
            <a:avLst>
              <a:gd name="adj" fmla="val 50000"/>
            </a:avLst>
          </a:prstGeom>
          <a:solidFill>
            <a:srgbClr val="046A38"/>
          </a:solidFill>
          <a:ln w="19050" algn="ctr">
            <a:noFill/>
            <a:miter lim="800000"/>
            <a:headEnd/>
            <a:tailEnd/>
          </a:ln>
        </p:spPr>
        <p:txBody>
          <a:bodyPr wrap="square" lIns="640080" tIns="0" rIns="108000" bIns="0" rtlCol="0" anchor="t"/>
          <a:lstStyle/>
          <a:p>
            <a:r>
              <a:rPr lang="en-US" sz="1300" dirty="0">
                <a:solidFill>
                  <a:schemeClr val="bg1"/>
                </a:solidFill>
              </a:rPr>
              <a:t>This is dummy text it is not here to be read. The is just text to show where you could insert text. The is just to show where you could insert text. Please replace with your text content here.</a:t>
            </a:r>
          </a:p>
        </p:txBody>
      </p:sp>
      <p:sp>
        <p:nvSpPr>
          <p:cNvPr id="25" name="Snip Single Corner Rectangle 24">
            <a:extLst>
              <a:ext uri="{FF2B5EF4-FFF2-40B4-BE49-F238E27FC236}">
                <a16:creationId xmlns:a16="http://schemas.microsoft.com/office/drawing/2014/main" id="{9533EE3E-BAD9-6143-8468-EF67FD5CD404}"/>
              </a:ext>
            </a:extLst>
          </p:cNvPr>
          <p:cNvSpPr/>
          <p:nvPr/>
        </p:nvSpPr>
        <p:spPr bwMode="gray">
          <a:xfrm>
            <a:off x="3056928" y="3670514"/>
            <a:ext cx="8620722" cy="738391"/>
          </a:xfrm>
          <a:prstGeom prst="snip1Rect">
            <a:avLst>
              <a:gd name="adj" fmla="val 50000"/>
            </a:avLst>
          </a:prstGeom>
          <a:solidFill>
            <a:srgbClr val="009A44"/>
          </a:solidFill>
          <a:ln w="19050" algn="ctr">
            <a:noFill/>
            <a:miter lim="800000"/>
            <a:headEnd/>
            <a:tailEnd/>
          </a:ln>
        </p:spPr>
        <p:txBody>
          <a:bodyPr wrap="square" lIns="640080" tIns="0" rIns="108000" bIns="0" rtlCol="0" anchor="t"/>
          <a:lstStyle/>
          <a:p>
            <a:r>
              <a:rPr lang="en-US" sz="1300" dirty="0">
                <a:solidFill>
                  <a:schemeClr val="bg1"/>
                </a:solidFill>
              </a:rPr>
              <a:t>This is dummy text it is not here to be read. The is just text to show where you could insert text. The is just to show where you could insert text. Please replace with your text content here.</a:t>
            </a:r>
          </a:p>
        </p:txBody>
      </p:sp>
      <p:sp>
        <p:nvSpPr>
          <p:cNvPr id="26" name="Snip Single Corner Rectangle 25">
            <a:extLst>
              <a:ext uri="{FF2B5EF4-FFF2-40B4-BE49-F238E27FC236}">
                <a16:creationId xmlns:a16="http://schemas.microsoft.com/office/drawing/2014/main" id="{2BE4B81B-B132-EC48-9F1D-A6A5A35D2534}"/>
              </a:ext>
            </a:extLst>
          </p:cNvPr>
          <p:cNvSpPr/>
          <p:nvPr/>
        </p:nvSpPr>
        <p:spPr bwMode="gray">
          <a:xfrm>
            <a:off x="3056928" y="1800151"/>
            <a:ext cx="8620722" cy="738391"/>
          </a:xfrm>
          <a:prstGeom prst="snip1Rect">
            <a:avLst>
              <a:gd name="adj" fmla="val 50000"/>
            </a:avLst>
          </a:prstGeom>
          <a:solidFill>
            <a:srgbClr val="86BC25"/>
          </a:solidFill>
          <a:ln w="19050" algn="ctr">
            <a:noFill/>
            <a:miter lim="800000"/>
            <a:headEnd/>
            <a:tailEnd/>
          </a:ln>
        </p:spPr>
        <p:txBody>
          <a:bodyPr wrap="square" lIns="640080" tIns="0" rIns="108000" bIns="0" rtlCol="0" anchor="t"/>
          <a:lstStyle/>
          <a:p>
            <a:r>
              <a:rPr lang="en-US" sz="1300" dirty="0">
                <a:solidFill>
                  <a:schemeClr val="bg1"/>
                </a:solidFill>
              </a:rPr>
              <a:t>This is dummy text it is not here to be read. The is just text to show where you could insert text. The is just to show where you could insert text. Please replace with your text content here.</a:t>
            </a:r>
          </a:p>
        </p:txBody>
      </p:sp>
      <p:sp>
        <p:nvSpPr>
          <p:cNvPr id="27" name="Oval 26">
            <a:extLst>
              <a:ext uri="{FF2B5EF4-FFF2-40B4-BE49-F238E27FC236}">
                <a16:creationId xmlns:a16="http://schemas.microsoft.com/office/drawing/2014/main" id="{848D4024-0F56-E644-B4D8-EF01B3942542}"/>
              </a:ext>
            </a:extLst>
          </p:cNvPr>
          <p:cNvSpPr/>
          <p:nvPr/>
        </p:nvSpPr>
        <p:spPr bwMode="gray">
          <a:xfrm>
            <a:off x="492449" y="2727350"/>
            <a:ext cx="1554480" cy="155448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8" name="Oval 27">
            <a:extLst>
              <a:ext uri="{FF2B5EF4-FFF2-40B4-BE49-F238E27FC236}">
                <a16:creationId xmlns:a16="http://schemas.microsoft.com/office/drawing/2014/main" id="{31BBCAEE-5A71-3A43-840C-C4E60ADFC9B7}"/>
              </a:ext>
            </a:extLst>
          </p:cNvPr>
          <p:cNvSpPr/>
          <p:nvPr/>
        </p:nvSpPr>
        <p:spPr bwMode="gray">
          <a:xfrm>
            <a:off x="548561" y="2783462"/>
            <a:ext cx="1442259" cy="1442259"/>
          </a:xfrm>
          <a:prstGeom prst="ellipse">
            <a:avLst/>
          </a:prstGeom>
          <a:solidFill>
            <a:schemeClr val="bg1"/>
          </a:solidFill>
          <a:ln w="19050" algn="ctr">
            <a:solidFill>
              <a:schemeClr val="accent3">
                <a:lumMod val="75000"/>
              </a:schemeClr>
            </a:solidFill>
            <a:miter lim="800000"/>
            <a:headEnd/>
            <a:tailEnd/>
          </a:ln>
        </p:spPr>
        <p:txBody>
          <a:bodyPr wrap="square" lIns="0" tIns="0" rIns="0" bIns="0" rtlCol="0" anchor="ctr"/>
          <a:lstStyle/>
          <a:p>
            <a:pPr algn="ctr"/>
            <a:r>
              <a:rPr lang="en-US" sz="1300" b="1" kern="0" dirty="0"/>
              <a:t>Lorem ipsum</a:t>
            </a:r>
          </a:p>
        </p:txBody>
      </p:sp>
      <p:sp>
        <p:nvSpPr>
          <p:cNvPr id="29" name="Oval 28">
            <a:extLst>
              <a:ext uri="{FF2B5EF4-FFF2-40B4-BE49-F238E27FC236}">
                <a16:creationId xmlns:a16="http://schemas.microsoft.com/office/drawing/2014/main" id="{2903E6A0-775B-3646-A4E9-6D82A7002EEA}"/>
              </a:ext>
            </a:extLst>
          </p:cNvPr>
          <p:cNvSpPr/>
          <p:nvPr/>
        </p:nvSpPr>
        <p:spPr bwMode="gray">
          <a:xfrm>
            <a:off x="2680638" y="1752600"/>
            <a:ext cx="833490" cy="833490"/>
          </a:xfrm>
          <a:prstGeom prst="ellipse">
            <a:avLst/>
          </a:prstGeom>
          <a:solidFill>
            <a:schemeClr val="bg1"/>
          </a:solidFill>
          <a:ln w="3810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0" name="Oval 29">
            <a:extLst>
              <a:ext uri="{FF2B5EF4-FFF2-40B4-BE49-F238E27FC236}">
                <a16:creationId xmlns:a16="http://schemas.microsoft.com/office/drawing/2014/main" id="{754768C4-C2D0-BD4E-B213-47000967495A}"/>
              </a:ext>
            </a:extLst>
          </p:cNvPr>
          <p:cNvSpPr/>
          <p:nvPr/>
        </p:nvSpPr>
        <p:spPr bwMode="gray">
          <a:xfrm>
            <a:off x="2680638" y="3622963"/>
            <a:ext cx="833490" cy="833490"/>
          </a:xfrm>
          <a:prstGeom prst="ellipse">
            <a:avLst/>
          </a:prstGeom>
          <a:solidFill>
            <a:schemeClr val="bg1"/>
          </a:solidFill>
          <a:ln w="3810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1" name="Oval 30">
            <a:extLst>
              <a:ext uri="{FF2B5EF4-FFF2-40B4-BE49-F238E27FC236}">
                <a16:creationId xmlns:a16="http://schemas.microsoft.com/office/drawing/2014/main" id="{AD57D9C6-1F1F-BC45-B62B-FF0D438A3284}"/>
              </a:ext>
            </a:extLst>
          </p:cNvPr>
          <p:cNvSpPr/>
          <p:nvPr/>
        </p:nvSpPr>
        <p:spPr bwMode="gray">
          <a:xfrm>
            <a:off x="2680638" y="4553988"/>
            <a:ext cx="833490" cy="833490"/>
          </a:xfrm>
          <a:prstGeom prst="ellipse">
            <a:avLst/>
          </a:prstGeom>
          <a:solidFill>
            <a:schemeClr val="bg1"/>
          </a:solidFill>
          <a:ln w="3810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2" name="Snip Single Corner Rectangle 31">
            <a:extLst>
              <a:ext uri="{FF2B5EF4-FFF2-40B4-BE49-F238E27FC236}">
                <a16:creationId xmlns:a16="http://schemas.microsoft.com/office/drawing/2014/main" id="{0B118FA1-7E50-CD4A-8B4F-75897D1F565D}"/>
              </a:ext>
            </a:extLst>
          </p:cNvPr>
          <p:cNvSpPr/>
          <p:nvPr/>
        </p:nvSpPr>
        <p:spPr bwMode="gray">
          <a:xfrm>
            <a:off x="3056928" y="2727020"/>
            <a:ext cx="8620722" cy="738391"/>
          </a:xfrm>
          <a:prstGeom prst="snip1Rect">
            <a:avLst>
              <a:gd name="adj" fmla="val 50000"/>
            </a:avLst>
          </a:prstGeom>
          <a:solidFill>
            <a:srgbClr val="43B02A"/>
          </a:solidFill>
          <a:ln w="19050" algn="ctr">
            <a:noFill/>
            <a:miter lim="800000"/>
            <a:headEnd/>
            <a:tailEnd/>
          </a:ln>
        </p:spPr>
        <p:txBody>
          <a:bodyPr wrap="square" lIns="640080" tIns="0" rIns="108000" bIns="0" rtlCol="0" anchor="t"/>
          <a:lstStyle/>
          <a:p>
            <a:r>
              <a:rPr lang="en-US" sz="1300" dirty="0">
                <a:solidFill>
                  <a:schemeClr val="bg1"/>
                </a:solidFill>
              </a:rPr>
              <a:t>This is dummy text it is not here to be read. The is just text to show where you could insert text. The is just to show where you could insert text. Please replace with your text content here.</a:t>
            </a:r>
          </a:p>
        </p:txBody>
      </p:sp>
      <p:sp>
        <p:nvSpPr>
          <p:cNvPr id="33" name="Oval 32">
            <a:extLst>
              <a:ext uri="{FF2B5EF4-FFF2-40B4-BE49-F238E27FC236}">
                <a16:creationId xmlns:a16="http://schemas.microsoft.com/office/drawing/2014/main" id="{B3BFA616-4A6A-0D48-B776-90090BE5BC89}"/>
              </a:ext>
            </a:extLst>
          </p:cNvPr>
          <p:cNvSpPr/>
          <p:nvPr/>
        </p:nvSpPr>
        <p:spPr bwMode="gray">
          <a:xfrm>
            <a:off x="2680638" y="2679469"/>
            <a:ext cx="833490" cy="833490"/>
          </a:xfrm>
          <a:prstGeom prst="ellipse">
            <a:avLst/>
          </a:prstGeom>
          <a:solidFill>
            <a:schemeClr val="bg1"/>
          </a:solidFill>
          <a:ln w="3810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cxnSp>
        <p:nvCxnSpPr>
          <p:cNvPr id="34" name="Straight Connector 33">
            <a:extLst>
              <a:ext uri="{FF2B5EF4-FFF2-40B4-BE49-F238E27FC236}">
                <a16:creationId xmlns:a16="http://schemas.microsoft.com/office/drawing/2014/main" id="{6EF7620E-6E90-2140-B706-470F1D1FDE6E}"/>
              </a:ext>
            </a:extLst>
          </p:cNvPr>
          <p:cNvCxnSpPr>
            <a:stCxn id="27" idx="0"/>
            <a:endCxn id="38" idx="3"/>
          </p:cNvCxnSpPr>
          <p:nvPr/>
        </p:nvCxnSpPr>
        <p:spPr>
          <a:xfrm flipV="1">
            <a:off x="1269689" y="2201674"/>
            <a:ext cx="719750" cy="52567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8DEA6D1-FFFF-D549-9F83-53B978716D0D}"/>
              </a:ext>
            </a:extLst>
          </p:cNvPr>
          <p:cNvCxnSpPr>
            <a:endCxn id="39" idx="1"/>
          </p:cNvCxnSpPr>
          <p:nvPr/>
        </p:nvCxnSpPr>
        <p:spPr>
          <a:xfrm>
            <a:off x="1930328" y="3930193"/>
            <a:ext cx="154706" cy="7718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242FA3E-F067-8944-ACA6-3121C56BA72F}"/>
              </a:ext>
            </a:extLst>
          </p:cNvPr>
          <p:cNvCxnSpPr>
            <a:endCxn id="41" idx="3"/>
          </p:cNvCxnSpPr>
          <p:nvPr/>
        </p:nvCxnSpPr>
        <p:spPr>
          <a:xfrm flipV="1">
            <a:off x="1989440" y="3128543"/>
            <a:ext cx="95595" cy="5535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DBD655E-4BF8-C141-8A69-35D72CEE412E}"/>
              </a:ext>
            </a:extLst>
          </p:cNvPr>
          <p:cNvCxnSpPr>
            <a:stCxn id="40" idx="2"/>
            <a:endCxn id="27" idx="4"/>
          </p:cNvCxnSpPr>
          <p:nvPr/>
        </p:nvCxnSpPr>
        <p:spPr>
          <a:xfrm flipH="1" flipV="1">
            <a:off x="1269690" y="4281831"/>
            <a:ext cx="660639" cy="68890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DB310560-2CF2-CD45-BE5F-6D36E25DAB31}"/>
              </a:ext>
            </a:extLst>
          </p:cNvPr>
          <p:cNvSpPr/>
          <p:nvPr/>
        </p:nvSpPr>
        <p:spPr bwMode="gray">
          <a:xfrm>
            <a:off x="1976048" y="2123625"/>
            <a:ext cx="91440" cy="9144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9" name="Oval 38">
            <a:extLst>
              <a:ext uri="{FF2B5EF4-FFF2-40B4-BE49-F238E27FC236}">
                <a16:creationId xmlns:a16="http://schemas.microsoft.com/office/drawing/2014/main" id="{C8A6D31F-ACCD-2B49-B492-509EB5F3E957}"/>
              </a:ext>
            </a:extLst>
          </p:cNvPr>
          <p:cNvSpPr/>
          <p:nvPr/>
        </p:nvSpPr>
        <p:spPr bwMode="gray">
          <a:xfrm>
            <a:off x="2071643" y="3993988"/>
            <a:ext cx="91440" cy="9144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0" name="Oval 39">
            <a:extLst>
              <a:ext uri="{FF2B5EF4-FFF2-40B4-BE49-F238E27FC236}">
                <a16:creationId xmlns:a16="http://schemas.microsoft.com/office/drawing/2014/main" id="{F190879D-C9D8-0340-BDA8-4E46DDC9115E}"/>
              </a:ext>
            </a:extLst>
          </p:cNvPr>
          <p:cNvSpPr/>
          <p:nvPr/>
        </p:nvSpPr>
        <p:spPr bwMode="gray">
          <a:xfrm>
            <a:off x="1930328" y="4925013"/>
            <a:ext cx="91440" cy="9144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1" name="Oval 40">
            <a:extLst>
              <a:ext uri="{FF2B5EF4-FFF2-40B4-BE49-F238E27FC236}">
                <a16:creationId xmlns:a16="http://schemas.microsoft.com/office/drawing/2014/main" id="{D241483E-8F58-4144-92F3-3F41E681CA45}"/>
              </a:ext>
            </a:extLst>
          </p:cNvPr>
          <p:cNvSpPr/>
          <p:nvPr/>
        </p:nvSpPr>
        <p:spPr bwMode="gray">
          <a:xfrm>
            <a:off x="2071643" y="3050494"/>
            <a:ext cx="91440" cy="9144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2" name="Freeform 611">
            <a:extLst>
              <a:ext uri="{FF2B5EF4-FFF2-40B4-BE49-F238E27FC236}">
                <a16:creationId xmlns:a16="http://schemas.microsoft.com/office/drawing/2014/main" id="{033896DA-1650-8C41-954A-4279A500495B}"/>
              </a:ext>
            </a:extLst>
          </p:cNvPr>
          <p:cNvSpPr>
            <a:spLocks noChangeAspect="1" noEditPoints="1"/>
          </p:cNvSpPr>
          <p:nvPr/>
        </p:nvSpPr>
        <p:spPr bwMode="auto">
          <a:xfrm>
            <a:off x="2777343" y="1849305"/>
            <a:ext cx="640080" cy="6400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 name="Freeform 141">
            <a:extLst>
              <a:ext uri="{FF2B5EF4-FFF2-40B4-BE49-F238E27FC236}">
                <a16:creationId xmlns:a16="http://schemas.microsoft.com/office/drawing/2014/main" id="{23FBBBF5-514D-624C-8D06-CD04AEDF9432}"/>
              </a:ext>
            </a:extLst>
          </p:cNvPr>
          <p:cNvSpPr>
            <a:spLocks noChangeAspect="1" noEditPoints="1"/>
          </p:cNvSpPr>
          <p:nvPr/>
        </p:nvSpPr>
        <p:spPr bwMode="auto">
          <a:xfrm>
            <a:off x="2777343" y="2776174"/>
            <a:ext cx="640080" cy="64008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 name="Group 331">
            <a:extLst>
              <a:ext uri="{FF2B5EF4-FFF2-40B4-BE49-F238E27FC236}">
                <a16:creationId xmlns:a16="http://schemas.microsoft.com/office/drawing/2014/main" id="{4C5DBC27-2DA3-7F4B-8C28-E38E6FFE2153}"/>
              </a:ext>
            </a:extLst>
          </p:cNvPr>
          <p:cNvGrpSpPr>
            <a:grpSpLocks noChangeAspect="1"/>
          </p:cNvGrpSpPr>
          <p:nvPr/>
        </p:nvGrpSpPr>
        <p:grpSpPr bwMode="auto">
          <a:xfrm>
            <a:off x="2777343" y="3719668"/>
            <a:ext cx="640080" cy="640080"/>
            <a:chOff x="3832" y="1197"/>
            <a:chExt cx="340" cy="340"/>
          </a:xfrm>
          <a:solidFill>
            <a:srgbClr val="009A44"/>
          </a:solidFill>
        </p:grpSpPr>
        <p:sp>
          <p:nvSpPr>
            <p:cNvPr id="63" name="Freeform 332">
              <a:extLst>
                <a:ext uri="{FF2B5EF4-FFF2-40B4-BE49-F238E27FC236}">
                  <a16:creationId xmlns:a16="http://schemas.microsoft.com/office/drawing/2014/main" id="{EEF6CDDC-C3A9-DF4A-8F0B-60E2D368F033}"/>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333">
              <a:extLst>
                <a:ext uri="{FF2B5EF4-FFF2-40B4-BE49-F238E27FC236}">
                  <a16:creationId xmlns:a16="http://schemas.microsoft.com/office/drawing/2014/main" id="{5367F632-26C3-2740-A87E-300F45252CEF}"/>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5" name="Freeform 351">
            <a:extLst>
              <a:ext uri="{FF2B5EF4-FFF2-40B4-BE49-F238E27FC236}">
                <a16:creationId xmlns:a16="http://schemas.microsoft.com/office/drawing/2014/main" id="{BA2A9B08-F443-B748-9AA4-400C67E9097F}"/>
              </a:ext>
            </a:extLst>
          </p:cNvPr>
          <p:cNvSpPr>
            <a:spLocks noChangeAspect="1" noEditPoints="1"/>
          </p:cNvSpPr>
          <p:nvPr/>
        </p:nvSpPr>
        <p:spPr bwMode="auto">
          <a:xfrm>
            <a:off x="2777343" y="4650693"/>
            <a:ext cx="640080" cy="640080"/>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3167023996"/>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4096038" y="1714500"/>
            <a:ext cx="3999924" cy="4245646"/>
            <a:chOff x="4096038" y="1438275"/>
            <a:chExt cx="3999924" cy="4245646"/>
          </a:xfrm>
        </p:grpSpPr>
        <p:sp>
          <p:nvSpPr>
            <p:cNvPr id="4" name="Isosceles Triangle 3"/>
            <p:cNvSpPr/>
            <p:nvPr/>
          </p:nvSpPr>
          <p:spPr bwMode="gray">
            <a:xfrm>
              <a:off x="5312839" y="2275286"/>
              <a:ext cx="1608312" cy="1146052"/>
            </a:xfrm>
            <a:custGeom>
              <a:avLst/>
              <a:gdLst>
                <a:gd name="connsiteX0" fmla="*/ 0 w 1613647"/>
                <a:gd name="connsiteY0" fmla="*/ 1990165 h 1990165"/>
                <a:gd name="connsiteX1" fmla="*/ 806824 w 1613647"/>
                <a:gd name="connsiteY1" fmla="*/ 0 h 1990165"/>
                <a:gd name="connsiteX2" fmla="*/ 1613647 w 1613647"/>
                <a:gd name="connsiteY2" fmla="*/ 1990165 h 1990165"/>
                <a:gd name="connsiteX3" fmla="*/ 0 w 1613647"/>
                <a:gd name="connsiteY3" fmla="*/ 1990165 h 1990165"/>
                <a:gd name="connsiteX0" fmla="*/ 0 w 1775012"/>
                <a:gd name="connsiteY0" fmla="*/ 1275550 h 1990165"/>
                <a:gd name="connsiteX1" fmla="*/ 968189 w 1775012"/>
                <a:gd name="connsiteY1" fmla="*/ 0 h 1990165"/>
                <a:gd name="connsiteX2" fmla="*/ 1775012 w 1775012"/>
                <a:gd name="connsiteY2" fmla="*/ 1990165 h 1990165"/>
                <a:gd name="connsiteX3" fmla="*/ 0 w 1775012"/>
                <a:gd name="connsiteY3" fmla="*/ 1275550 h 1990165"/>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505886"/>
                <a:gd name="connsiteX1" fmla="*/ 591831 w 2132480"/>
                <a:gd name="connsiteY1" fmla="*/ 0 h 1505886"/>
                <a:gd name="connsiteX2" fmla="*/ 2132480 w 2132480"/>
                <a:gd name="connsiteY2" fmla="*/ 1490702 h 1505886"/>
                <a:gd name="connsiteX3" fmla="*/ 0 w 2132480"/>
                <a:gd name="connsiteY3" fmla="*/ 1359914 h 1505886"/>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6918"/>
                <a:gd name="connsiteX1" fmla="*/ 596594 w 2137243"/>
                <a:gd name="connsiteY1" fmla="*/ 0 h 1506918"/>
                <a:gd name="connsiteX2" fmla="*/ 2137243 w 2137243"/>
                <a:gd name="connsiteY2" fmla="*/ 1490702 h 1506918"/>
                <a:gd name="connsiteX3" fmla="*/ 0 w 2137243"/>
                <a:gd name="connsiteY3" fmla="*/ 1345627 h 1506918"/>
                <a:gd name="connsiteX0" fmla="*/ 0 w 2111369"/>
                <a:gd name="connsiteY0" fmla="*/ 1345627 h 1484906"/>
                <a:gd name="connsiteX1" fmla="*/ 596594 w 2111369"/>
                <a:gd name="connsiteY1" fmla="*/ 0 h 1484906"/>
                <a:gd name="connsiteX2" fmla="*/ 2111369 w 2111369"/>
                <a:gd name="connsiteY2" fmla="*/ 1465409 h 1484906"/>
                <a:gd name="connsiteX3" fmla="*/ 0 w 2111369"/>
                <a:gd name="connsiteY3" fmla="*/ 1345627 h 1484906"/>
                <a:gd name="connsiteX0" fmla="*/ 0 w 2111369"/>
                <a:gd name="connsiteY0" fmla="*/ 1345627 h 1504520"/>
                <a:gd name="connsiteX1" fmla="*/ 596594 w 2111369"/>
                <a:gd name="connsiteY1" fmla="*/ 0 h 1504520"/>
                <a:gd name="connsiteX2" fmla="*/ 2111369 w 2111369"/>
                <a:gd name="connsiteY2" fmla="*/ 1465409 h 1504520"/>
                <a:gd name="connsiteX3" fmla="*/ 0 w 2111369"/>
                <a:gd name="connsiteY3" fmla="*/ 1345627 h 1504520"/>
              </a:gdLst>
              <a:ahLst/>
              <a:cxnLst>
                <a:cxn ang="0">
                  <a:pos x="connsiteX0" y="connsiteY0"/>
                </a:cxn>
                <a:cxn ang="0">
                  <a:pos x="connsiteX1" y="connsiteY1"/>
                </a:cxn>
                <a:cxn ang="0">
                  <a:pos x="connsiteX2" y="connsiteY2"/>
                </a:cxn>
                <a:cxn ang="0">
                  <a:pos x="connsiteX3" y="connsiteY3"/>
                </a:cxn>
              </a:cxnLst>
              <a:rect l="l" t="t" r="r" b="b"/>
              <a:pathLst>
                <a:path w="2111369" h="1504520">
                  <a:moveTo>
                    <a:pt x="0" y="1345627"/>
                  </a:moveTo>
                  <a:cubicBezTo>
                    <a:pt x="275065" y="1155847"/>
                    <a:pt x="527418" y="888306"/>
                    <a:pt x="596594" y="0"/>
                  </a:cubicBezTo>
                  <a:cubicBezTo>
                    <a:pt x="1110144" y="496901"/>
                    <a:pt x="1809130" y="834038"/>
                    <a:pt x="2111369" y="1465409"/>
                  </a:cubicBezTo>
                  <a:cubicBezTo>
                    <a:pt x="1506532" y="1565422"/>
                    <a:pt x="681018" y="1454664"/>
                    <a:pt x="0" y="1345627"/>
                  </a:cubicBezTo>
                  <a:close/>
                </a:path>
              </a:pathLst>
            </a:custGeom>
            <a:solidFill>
              <a:schemeClr val="accent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3" name="Oval 2"/>
            <p:cNvSpPr/>
            <p:nvPr/>
          </p:nvSpPr>
          <p:spPr bwMode="gray">
            <a:xfrm>
              <a:off x="5755582" y="1438275"/>
              <a:ext cx="1975464" cy="1975465"/>
            </a:xfrm>
            <a:prstGeom prst="ellips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0" name="Isosceles Triangle 3"/>
            <p:cNvSpPr/>
            <p:nvPr/>
          </p:nvSpPr>
          <p:spPr bwMode="gray">
            <a:xfrm>
              <a:off x="6195367" y="3486764"/>
              <a:ext cx="1456179" cy="1069054"/>
            </a:xfrm>
            <a:custGeom>
              <a:avLst/>
              <a:gdLst>
                <a:gd name="connsiteX0" fmla="*/ 0 w 1613647"/>
                <a:gd name="connsiteY0" fmla="*/ 1990165 h 1990165"/>
                <a:gd name="connsiteX1" fmla="*/ 806824 w 1613647"/>
                <a:gd name="connsiteY1" fmla="*/ 0 h 1990165"/>
                <a:gd name="connsiteX2" fmla="*/ 1613647 w 1613647"/>
                <a:gd name="connsiteY2" fmla="*/ 1990165 h 1990165"/>
                <a:gd name="connsiteX3" fmla="*/ 0 w 1613647"/>
                <a:gd name="connsiteY3" fmla="*/ 1990165 h 1990165"/>
                <a:gd name="connsiteX0" fmla="*/ 0 w 1775012"/>
                <a:gd name="connsiteY0" fmla="*/ 1275550 h 1990165"/>
                <a:gd name="connsiteX1" fmla="*/ 968189 w 1775012"/>
                <a:gd name="connsiteY1" fmla="*/ 0 h 1990165"/>
                <a:gd name="connsiteX2" fmla="*/ 1775012 w 1775012"/>
                <a:gd name="connsiteY2" fmla="*/ 1990165 h 1990165"/>
                <a:gd name="connsiteX3" fmla="*/ 0 w 1775012"/>
                <a:gd name="connsiteY3" fmla="*/ 1275550 h 1990165"/>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505886"/>
                <a:gd name="connsiteX1" fmla="*/ 591831 w 2132480"/>
                <a:gd name="connsiteY1" fmla="*/ 0 h 1505886"/>
                <a:gd name="connsiteX2" fmla="*/ 2132480 w 2132480"/>
                <a:gd name="connsiteY2" fmla="*/ 1490702 h 1505886"/>
                <a:gd name="connsiteX3" fmla="*/ 0 w 2132480"/>
                <a:gd name="connsiteY3" fmla="*/ 1359914 h 1505886"/>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6918"/>
                <a:gd name="connsiteX1" fmla="*/ 596594 w 2137243"/>
                <a:gd name="connsiteY1" fmla="*/ 0 h 1506918"/>
                <a:gd name="connsiteX2" fmla="*/ 2137243 w 2137243"/>
                <a:gd name="connsiteY2" fmla="*/ 1490702 h 1506918"/>
                <a:gd name="connsiteX3" fmla="*/ 0 w 2137243"/>
                <a:gd name="connsiteY3" fmla="*/ 1345627 h 1506918"/>
                <a:gd name="connsiteX0" fmla="*/ 0 w 2111369"/>
                <a:gd name="connsiteY0" fmla="*/ 1345627 h 1484906"/>
                <a:gd name="connsiteX1" fmla="*/ 596594 w 2111369"/>
                <a:gd name="connsiteY1" fmla="*/ 0 h 1484906"/>
                <a:gd name="connsiteX2" fmla="*/ 2111369 w 2111369"/>
                <a:gd name="connsiteY2" fmla="*/ 1465409 h 1484906"/>
                <a:gd name="connsiteX3" fmla="*/ 0 w 2111369"/>
                <a:gd name="connsiteY3" fmla="*/ 1345627 h 1484906"/>
                <a:gd name="connsiteX0" fmla="*/ 0 w 2111369"/>
                <a:gd name="connsiteY0" fmla="*/ 1345627 h 1504520"/>
                <a:gd name="connsiteX1" fmla="*/ 596594 w 2111369"/>
                <a:gd name="connsiteY1" fmla="*/ 0 h 1504520"/>
                <a:gd name="connsiteX2" fmla="*/ 2111369 w 2111369"/>
                <a:gd name="connsiteY2" fmla="*/ 1465409 h 1504520"/>
                <a:gd name="connsiteX3" fmla="*/ 0 w 2111369"/>
                <a:gd name="connsiteY3" fmla="*/ 1345627 h 1504520"/>
                <a:gd name="connsiteX0" fmla="*/ 0 w 2603494"/>
                <a:gd name="connsiteY0" fmla="*/ 1355280 h 1362678"/>
                <a:gd name="connsiteX1" fmla="*/ 596594 w 2603494"/>
                <a:gd name="connsiteY1" fmla="*/ 9653 h 1362678"/>
                <a:gd name="connsiteX2" fmla="*/ 2603494 w 2603494"/>
                <a:gd name="connsiteY2" fmla="*/ 233637 h 1362678"/>
                <a:gd name="connsiteX3" fmla="*/ 0 w 2603494"/>
                <a:gd name="connsiteY3" fmla="*/ 1355280 h 1362678"/>
                <a:gd name="connsiteX0" fmla="*/ 0 w 2603494"/>
                <a:gd name="connsiteY0" fmla="*/ 1482706 h 1490104"/>
                <a:gd name="connsiteX1" fmla="*/ 596594 w 2603494"/>
                <a:gd name="connsiteY1" fmla="*/ 137079 h 1490104"/>
                <a:gd name="connsiteX2" fmla="*/ 2603494 w 2603494"/>
                <a:gd name="connsiteY2" fmla="*/ 361063 h 1490104"/>
                <a:gd name="connsiteX3" fmla="*/ 0 w 2603494"/>
                <a:gd name="connsiteY3" fmla="*/ 1482706 h 1490104"/>
                <a:gd name="connsiteX0" fmla="*/ 0 w 2603494"/>
                <a:gd name="connsiteY0" fmla="*/ 1391491 h 1398889"/>
                <a:gd name="connsiteX1" fmla="*/ 596594 w 2603494"/>
                <a:gd name="connsiteY1" fmla="*/ 45864 h 1398889"/>
                <a:gd name="connsiteX2" fmla="*/ 2603494 w 2603494"/>
                <a:gd name="connsiteY2" fmla="*/ 269848 h 1398889"/>
                <a:gd name="connsiteX3" fmla="*/ 0 w 2603494"/>
                <a:gd name="connsiteY3" fmla="*/ 1391491 h 1398889"/>
                <a:gd name="connsiteX0" fmla="*/ 0 w 2603494"/>
                <a:gd name="connsiteY0" fmla="*/ 1351606 h 1359004"/>
                <a:gd name="connsiteX1" fmla="*/ 596594 w 2603494"/>
                <a:gd name="connsiteY1" fmla="*/ 5979 h 1359004"/>
                <a:gd name="connsiteX2" fmla="*/ 2603494 w 2603494"/>
                <a:gd name="connsiteY2" fmla="*/ 229963 h 1359004"/>
                <a:gd name="connsiteX3" fmla="*/ 0 w 2603494"/>
                <a:gd name="connsiteY3" fmla="*/ 1351606 h 1359004"/>
                <a:gd name="connsiteX0" fmla="*/ 0 w 2603494"/>
                <a:gd name="connsiteY0" fmla="*/ 1348576 h 1355974"/>
                <a:gd name="connsiteX1" fmla="*/ 596594 w 2603494"/>
                <a:gd name="connsiteY1" fmla="*/ 2949 h 1355974"/>
                <a:gd name="connsiteX2" fmla="*/ 2603494 w 2603494"/>
                <a:gd name="connsiteY2" fmla="*/ 226933 h 1355974"/>
                <a:gd name="connsiteX3" fmla="*/ 0 w 2603494"/>
                <a:gd name="connsiteY3" fmla="*/ 1348576 h 1355974"/>
                <a:gd name="connsiteX0" fmla="*/ 0 w 2603494"/>
                <a:gd name="connsiteY0" fmla="*/ 1349071 h 1356469"/>
                <a:gd name="connsiteX1" fmla="*/ 596594 w 2603494"/>
                <a:gd name="connsiteY1" fmla="*/ 3444 h 1356469"/>
                <a:gd name="connsiteX2" fmla="*/ 2603494 w 2603494"/>
                <a:gd name="connsiteY2" fmla="*/ 227428 h 1356469"/>
                <a:gd name="connsiteX3" fmla="*/ 0 w 2603494"/>
                <a:gd name="connsiteY3" fmla="*/ 1349071 h 1356469"/>
                <a:gd name="connsiteX0" fmla="*/ 0 w 2603494"/>
                <a:gd name="connsiteY0" fmla="*/ 1312377 h 1319775"/>
                <a:gd name="connsiteX1" fmla="*/ 536269 w 2603494"/>
                <a:gd name="connsiteY1" fmla="*/ 4850 h 1319775"/>
                <a:gd name="connsiteX2" fmla="*/ 2603494 w 2603494"/>
                <a:gd name="connsiteY2" fmla="*/ 190734 h 1319775"/>
                <a:gd name="connsiteX3" fmla="*/ 0 w 2603494"/>
                <a:gd name="connsiteY3" fmla="*/ 1312377 h 1319775"/>
                <a:gd name="connsiteX0" fmla="*/ 0 w 2603494"/>
                <a:gd name="connsiteY0" fmla="*/ 1345983 h 1353381"/>
                <a:gd name="connsiteX1" fmla="*/ 596594 w 2603494"/>
                <a:gd name="connsiteY1" fmla="*/ 3531 h 1353381"/>
                <a:gd name="connsiteX2" fmla="*/ 2603494 w 2603494"/>
                <a:gd name="connsiteY2" fmla="*/ 224340 h 1353381"/>
                <a:gd name="connsiteX3" fmla="*/ 0 w 2603494"/>
                <a:gd name="connsiteY3" fmla="*/ 1345983 h 1353381"/>
                <a:gd name="connsiteX0" fmla="*/ 0 w 2603494"/>
                <a:gd name="connsiteY0" fmla="*/ 1342452 h 1349850"/>
                <a:gd name="connsiteX1" fmla="*/ 596594 w 2603494"/>
                <a:gd name="connsiteY1" fmla="*/ 0 h 1349850"/>
                <a:gd name="connsiteX2" fmla="*/ 2603494 w 2603494"/>
                <a:gd name="connsiteY2" fmla="*/ 220809 h 1349850"/>
                <a:gd name="connsiteX3" fmla="*/ 0 w 2603494"/>
                <a:gd name="connsiteY3" fmla="*/ 1342452 h 1349850"/>
                <a:gd name="connsiteX0" fmla="*/ 0 w 2603494"/>
                <a:gd name="connsiteY0" fmla="*/ 1342452 h 1349850"/>
                <a:gd name="connsiteX1" fmla="*/ 596594 w 2603494"/>
                <a:gd name="connsiteY1" fmla="*/ 0 h 1349850"/>
                <a:gd name="connsiteX2" fmla="*/ 2603494 w 2603494"/>
                <a:gd name="connsiteY2" fmla="*/ 220809 h 1349850"/>
                <a:gd name="connsiteX3" fmla="*/ 0 w 2603494"/>
                <a:gd name="connsiteY3" fmla="*/ 1342452 h 1349850"/>
                <a:gd name="connsiteX0" fmla="*/ 1041047 w 2009416"/>
                <a:gd name="connsiteY0" fmla="*/ 1380552 h 1387724"/>
                <a:gd name="connsiteX1" fmla="*/ 2516 w 2009416"/>
                <a:gd name="connsiteY1" fmla="*/ 0 h 1387724"/>
                <a:gd name="connsiteX2" fmla="*/ 2009416 w 2009416"/>
                <a:gd name="connsiteY2" fmla="*/ 220809 h 1387724"/>
                <a:gd name="connsiteX3" fmla="*/ 1041047 w 2009416"/>
                <a:gd name="connsiteY3" fmla="*/ 1380552 h 1387724"/>
                <a:gd name="connsiteX0" fmla="*/ 1043746 w 2012115"/>
                <a:gd name="connsiteY0" fmla="*/ 1380552 h 1387724"/>
                <a:gd name="connsiteX1" fmla="*/ 5215 w 2012115"/>
                <a:gd name="connsiteY1" fmla="*/ 0 h 1387724"/>
                <a:gd name="connsiteX2" fmla="*/ 2012115 w 2012115"/>
                <a:gd name="connsiteY2" fmla="*/ 220809 h 1387724"/>
                <a:gd name="connsiteX3" fmla="*/ 1043746 w 2012115"/>
                <a:gd name="connsiteY3" fmla="*/ 1380552 h 1387724"/>
                <a:gd name="connsiteX0" fmla="*/ 1038531 w 2006900"/>
                <a:gd name="connsiteY0" fmla="*/ 1380552 h 1387724"/>
                <a:gd name="connsiteX1" fmla="*/ 0 w 2006900"/>
                <a:gd name="connsiteY1" fmla="*/ 0 h 1387724"/>
                <a:gd name="connsiteX2" fmla="*/ 2006900 w 2006900"/>
                <a:gd name="connsiteY2" fmla="*/ 220809 h 1387724"/>
                <a:gd name="connsiteX3" fmla="*/ 1038531 w 2006900"/>
                <a:gd name="connsiteY3" fmla="*/ 1380552 h 1387724"/>
                <a:gd name="connsiteX0" fmla="*/ 1038531 w 2006900"/>
                <a:gd name="connsiteY0" fmla="*/ 1380552 h 1387724"/>
                <a:gd name="connsiteX1" fmla="*/ 0 w 2006900"/>
                <a:gd name="connsiteY1" fmla="*/ 0 h 1387724"/>
                <a:gd name="connsiteX2" fmla="*/ 2006900 w 2006900"/>
                <a:gd name="connsiteY2" fmla="*/ 220809 h 1387724"/>
                <a:gd name="connsiteX3" fmla="*/ 1038531 w 2006900"/>
                <a:gd name="connsiteY3" fmla="*/ 1380552 h 1387724"/>
                <a:gd name="connsiteX0" fmla="*/ 940106 w 2006900"/>
                <a:gd name="connsiteY0" fmla="*/ 1396427 h 1403508"/>
                <a:gd name="connsiteX1" fmla="*/ 0 w 2006900"/>
                <a:gd name="connsiteY1" fmla="*/ 0 h 1403508"/>
                <a:gd name="connsiteX2" fmla="*/ 2006900 w 2006900"/>
                <a:gd name="connsiteY2" fmla="*/ 220809 h 1403508"/>
                <a:gd name="connsiteX3" fmla="*/ 940106 w 2006900"/>
                <a:gd name="connsiteY3" fmla="*/ 1396427 h 1403508"/>
                <a:gd name="connsiteX0" fmla="*/ 940106 w 1911650"/>
                <a:gd name="connsiteY0" fmla="*/ 1396427 h 1403438"/>
                <a:gd name="connsiteX1" fmla="*/ 0 w 1911650"/>
                <a:gd name="connsiteY1" fmla="*/ 0 h 1403438"/>
                <a:gd name="connsiteX2" fmla="*/ 1911650 w 1911650"/>
                <a:gd name="connsiteY2" fmla="*/ 208109 h 1403438"/>
                <a:gd name="connsiteX3" fmla="*/ 940106 w 1911650"/>
                <a:gd name="connsiteY3" fmla="*/ 1396427 h 1403438"/>
                <a:gd name="connsiteX0" fmla="*/ 940106 w 1911650"/>
                <a:gd name="connsiteY0" fmla="*/ 1396427 h 1403438"/>
                <a:gd name="connsiteX1" fmla="*/ 0 w 1911650"/>
                <a:gd name="connsiteY1" fmla="*/ 0 h 1403438"/>
                <a:gd name="connsiteX2" fmla="*/ 1911650 w 1911650"/>
                <a:gd name="connsiteY2" fmla="*/ 208109 h 1403438"/>
                <a:gd name="connsiteX3" fmla="*/ 940106 w 1911650"/>
                <a:gd name="connsiteY3" fmla="*/ 1396427 h 1403438"/>
              </a:gdLst>
              <a:ahLst/>
              <a:cxnLst>
                <a:cxn ang="0">
                  <a:pos x="connsiteX0" y="connsiteY0"/>
                </a:cxn>
                <a:cxn ang="0">
                  <a:pos x="connsiteX1" y="connsiteY1"/>
                </a:cxn>
                <a:cxn ang="0">
                  <a:pos x="connsiteX2" y="connsiteY2"/>
                </a:cxn>
                <a:cxn ang="0">
                  <a:pos x="connsiteX3" y="connsiteY3"/>
                </a:cxn>
              </a:cxnLst>
              <a:rect l="l" t="t" r="r" b="b"/>
              <a:pathLst>
                <a:path w="1911650" h="1403438">
                  <a:moveTo>
                    <a:pt x="940106" y="1396427"/>
                  </a:moveTo>
                  <a:cubicBezTo>
                    <a:pt x="465871" y="1247922"/>
                    <a:pt x="924599" y="691456"/>
                    <a:pt x="0" y="0"/>
                  </a:cubicBezTo>
                  <a:cubicBezTo>
                    <a:pt x="545300" y="52401"/>
                    <a:pt x="1714186" y="65688"/>
                    <a:pt x="1911650" y="208109"/>
                  </a:cubicBezTo>
                  <a:cubicBezTo>
                    <a:pt x="1306813" y="308122"/>
                    <a:pt x="1621124" y="1505464"/>
                    <a:pt x="940106" y="1396427"/>
                  </a:cubicBezTo>
                  <a:close/>
                </a:path>
              </a:pathLst>
            </a:cu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2" name="Oval 11"/>
            <p:cNvSpPr/>
            <p:nvPr/>
          </p:nvSpPr>
          <p:spPr bwMode="gray">
            <a:xfrm>
              <a:off x="6713316" y="3585776"/>
              <a:ext cx="1382646" cy="1382646"/>
            </a:xfrm>
            <a:prstGeom prst="ellipse">
              <a:avLst/>
            </a:prstGeom>
            <a:solidFill>
              <a:srgbClr val="A7A8A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3" name="Isosceles Triangle 3"/>
            <p:cNvSpPr/>
            <p:nvPr/>
          </p:nvSpPr>
          <p:spPr bwMode="gray">
            <a:xfrm>
              <a:off x="4399281" y="3439726"/>
              <a:ext cx="1359205" cy="1102783"/>
            </a:xfrm>
            <a:custGeom>
              <a:avLst/>
              <a:gdLst>
                <a:gd name="connsiteX0" fmla="*/ 0 w 1613647"/>
                <a:gd name="connsiteY0" fmla="*/ 1990165 h 1990165"/>
                <a:gd name="connsiteX1" fmla="*/ 806824 w 1613647"/>
                <a:gd name="connsiteY1" fmla="*/ 0 h 1990165"/>
                <a:gd name="connsiteX2" fmla="*/ 1613647 w 1613647"/>
                <a:gd name="connsiteY2" fmla="*/ 1990165 h 1990165"/>
                <a:gd name="connsiteX3" fmla="*/ 0 w 1613647"/>
                <a:gd name="connsiteY3" fmla="*/ 1990165 h 1990165"/>
                <a:gd name="connsiteX0" fmla="*/ 0 w 1775012"/>
                <a:gd name="connsiteY0" fmla="*/ 1275550 h 1990165"/>
                <a:gd name="connsiteX1" fmla="*/ 968189 w 1775012"/>
                <a:gd name="connsiteY1" fmla="*/ 0 h 1990165"/>
                <a:gd name="connsiteX2" fmla="*/ 1775012 w 1775012"/>
                <a:gd name="connsiteY2" fmla="*/ 1990165 h 1990165"/>
                <a:gd name="connsiteX3" fmla="*/ 0 w 1775012"/>
                <a:gd name="connsiteY3" fmla="*/ 1275550 h 1990165"/>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505886"/>
                <a:gd name="connsiteX1" fmla="*/ 591831 w 2132480"/>
                <a:gd name="connsiteY1" fmla="*/ 0 h 1505886"/>
                <a:gd name="connsiteX2" fmla="*/ 2132480 w 2132480"/>
                <a:gd name="connsiteY2" fmla="*/ 1490702 h 1505886"/>
                <a:gd name="connsiteX3" fmla="*/ 0 w 2132480"/>
                <a:gd name="connsiteY3" fmla="*/ 1359914 h 1505886"/>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6918"/>
                <a:gd name="connsiteX1" fmla="*/ 596594 w 2137243"/>
                <a:gd name="connsiteY1" fmla="*/ 0 h 1506918"/>
                <a:gd name="connsiteX2" fmla="*/ 2137243 w 2137243"/>
                <a:gd name="connsiteY2" fmla="*/ 1490702 h 1506918"/>
                <a:gd name="connsiteX3" fmla="*/ 0 w 2137243"/>
                <a:gd name="connsiteY3" fmla="*/ 1345627 h 1506918"/>
                <a:gd name="connsiteX0" fmla="*/ 0 w 2111369"/>
                <a:gd name="connsiteY0" fmla="*/ 1345627 h 1484906"/>
                <a:gd name="connsiteX1" fmla="*/ 596594 w 2111369"/>
                <a:gd name="connsiteY1" fmla="*/ 0 h 1484906"/>
                <a:gd name="connsiteX2" fmla="*/ 2111369 w 2111369"/>
                <a:gd name="connsiteY2" fmla="*/ 1465409 h 1484906"/>
                <a:gd name="connsiteX3" fmla="*/ 0 w 2111369"/>
                <a:gd name="connsiteY3" fmla="*/ 1345627 h 1484906"/>
                <a:gd name="connsiteX0" fmla="*/ 0 w 2111369"/>
                <a:gd name="connsiteY0" fmla="*/ 1345627 h 1504520"/>
                <a:gd name="connsiteX1" fmla="*/ 596594 w 2111369"/>
                <a:gd name="connsiteY1" fmla="*/ 0 h 1504520"/>
                <a:gd name="connsiteX2" fmla="*/ 2111369 w 2111369"/>
                <a:gd name="connsiteY2" fmla="*/ 1465409 h 1504520"/>
                <a:gd name="connsiteX3" fmla="*/ 0 w 2111369"/>
                <a:gd name="connsiteY3" fmla="*/ 1345627 h 1504520"/>
                <a:gd name="connsiteX0" fmla="*/ 0 w 2603494"/>
                <a:gd name="connsiteY0" fmla="*/ 1355280 h 1362678"/>
                <a:gd name="connsiteX1" fmla="*/ 596594 w 2603494"/>
                <a:gd name="connsiteY1" fmla="*/ 9653 h 1362678"/>
                <a:gd name="connsiteX2" fmla="*/ 2603494 w 2603494"/>
                <a:gd name="connsiteY2" fmla="*/ 233637 h 1362678"/>
                <a:gd name="connsiteX3" fmla="*/ 0 w 2603494"/>
                <a:gd name="connsiteY3" fmla="*/ 1355280 h 1362678"/>
                <a:gd name="connsiteX0" fmla="*/ 0 w 2603494"/>
                <a:gd name="connsiteY0" fmla="*/ 1482706 h 1490104"/>
                <a:gd name="connsiteX1" fmla="*/ 596594 w 2603494"/>
                <a:gd name="connsiteY1" fmla="*/ 137079 h 1490104"/>
                <a:gd name="connsiteX2" fmla="*/ 2603494 w 2603494"/>
                <a:gd name="connsiteY2" fmla="*/ 361063 h 1490104"/>
                <a:gd name="connsiteX3" fmla="*/ 0 w 2603494"/>
                <a:gd name="connsiteY3" fmla="*/ 1482706 h 1490104"/>
                <a:gd name="connsiteX0" fmla="*/ 0 w 2603494"/>
                <a:gd name="connsiteY0" fmla="*/ 1391491 h 1398889"/>
                <a:gd name="connsiteX1" fmla="*/ 596594 w 2603494"/>
                <a:gd name="connsiteY1" fmla="*/ 45864 h 1398889"/>
                <a:gd name="connsiteX2" fmla="*/ 2603494 w 2603494"/>
                <a:gd name="connsiteY2" fmla="*/ 269848 h 1398889"/>
                <a:gd name="connsiteX3" fmla="*/ 0 w 2603494"/>
                <a:gd name="connsiteY3" fmla="*/ 1391491 h 1398889"/>
                <a:gd name="connsiteX0" fmla="*/ 0 w 2603494"/>
                <a:gd name="connsiteY0" fmla="*/ 1351606 h 1359004"/>
                <a:gd name="connsiteX1" fmla="*/ 596594 w 2603494"/>
                <a:gd name="connsiteY1" fmla="*/ 5979 h 1359004"/>
                <a:gd name="connsiteX2" fmla="*/ 2603494 w 2603494"/>
                <a:gd name="connsiteY2" fmla="*/ 229963 h 1359004"/>
                <a:gd name="connsiteX3" fmla="*/ 0 w 2603494"/>
                <a:gd name="connsiteY3" fmla="*/ 1351606 h 1359004"/>
                <a:gd name="connsiteX0" fmla="*/ 0 w 2603494"/>
                <a:gd name="connsiteY0" fmla="*/ 1348576 h 1355974"/>
                <a:gd name="connsiteX1" fmla="*/ 596594 w 2603494"/>
                <a:gd name="connsiteY1" fmla="*/ 2949 h 1355974"/>
                <a:gd name="connsiteX2" fmla="*/ 2603494 w 2603494"/>
                <a:gd name="connsiteY2" fmla="*/ 226933 h 1355974"/>
                <a:gd name="connsiteX3" fmla="*/ 0 w 2603494"/>
                <a:gd name="connsiteY3" fmla="*/ 1348576 h 1355974"/>
                <a:gd name="connsiteX0" fmla="*/ 0 w 2603494"/>
                <a:gd name="connsiteY0" fmla="*/ 1349071 h 1356469"/>
                <a:gd name="connsiteX1" fmla="*/ 596594 w 2603494"/>
                <a:gd name="connsiteY1" fmla="*/ 3444 h 1356469"/>
                <a:gd name="connsiteX2" fmla="*/ 2603494 w 2603494"/>
                <a:gd name="connsiteY2" fmla="*/ 227428 h 1356469"/>
                <a:gd name="connsiteX3" fmla="*/ 0 w 2603494"/>
                <a:gd name="connsiteY3" fmla="*/ 1349071 h 1356469"/>
                <a:gd name="connsiteX0" fmla="*/ 0 w 2603494"/>
                <a:gd name="connsiteY0" fmla="*/ 1312377 h 1319775"/>
                <a:gd name="connsiteX1" fmla="*/ 536269 w 2603494"/>
                <a:gd name="connsiteY1" fmla="*/ 4850 h 1319775"/>
                <a:gd name="connsiteX2" fmla="*/ 2603494 w 2603494"/>
                <a:gd name="connsiteY2" fmla="*/ 190734 h 1319775"/>
                <a:gd name="connsiteX3" fmla="*/ 0 w 2603494"/>
                <a:gd name="connsiteY3" fmla="*/ 1312377 h 1319775"/>
                <a:gd name="connsiteX0" fmla="*/ 0 w 2603494"/>
                <a:gd name="connsiteY0" fmla="*/ 1345983 h 1353381"/>
                <a:gd name="connsiteX1" fmla="*/ 596594 w 2603494"/>
                <a:gd name="connsiteY1" fmla="*/ 3531 h 1353381"/>
                <a:gd name="connsiteX2" fmla="*/ 2603494 w 2603494"/>
                <a:gd name="connsiteY2" fmla="*/ 224340 h 1353381"/>
                <a:gd name="connsiteX3" fmla="*/ 0 w 2603494"/>
                <a:gd name="connsiteY3" fmla="*/ 1345983 h 1353381"/>
                <a:gd name="connsiteX0" fmla="*/ 0 w 2603494"/>
                <a:gd name="connsiteY0" fmla="*/ 1342452 h 1349850"/>
                <a:gd name="connsiteX1" fmla="*/ 596594 w 2603494"/>
                <a:gd name="connsiteY1" fmla="*/ 0 h 1349850"/>
                <a:gd name="connsiteX2" fmla="*/ 2603494 w 2603494"/>
                <a:gd name="connsiteY2" fmla="*/ 220809 h 1349850"/>
                <a:gd name="connsiteX3" fmla="*/ 0 w 2603494"/>
                <a:gd name="connsiteY3" fmla="*/ 1342452 h 1349850"/>
                <a:gd name="connsiteX0" fmla="*/ 0 w 2603494"/>
                <a:gd name="connsiteY0" fmla="*/ 1342452 h 1349850"/>
                <a:gd name="connsiteX1" fmla="*/ 596594 w 2603494"/>
                <a:gd name="connsiteY1" fmla="*/ 0 h 1349850"/>
                <a:gd name="connsiteX2" fmla="*/ 2603494 w 2603494"/>
                <a:gd name="connsiteY2" fmla="*/ 220809 h 1349850"/>
                <a:gd name="connsiteX3" fmla="*/ 0 w 2603494"/>
                <a:gd name="connsiteY3" fmla="*/ 1342452 h 1349850"/>
                <a:gd name="connsiteX0" fmla="*/ 1041047 w 2009416"/>
                <a:gd name="connsiteY0" fmla="*/ 1380552 h 1387724"/>
                <a:gd name="connsiteX1" fmla="*/ 2516 w 2009416"/>
                <a:gd name="connsiteY1" fmla="*/ 0 h 1387724"/>
                <a:gd name="connsiteX2" fmla="*/ 2009416 w 2009416"/>
                <a:gd name="connsiteY2" fmla="*/ 220809 h 1387724"/>
                <a:gd name="connsiteX3" fmla="*/ 1041047 w 2009416"/>
                <a:gd name="connsiteY3" fmla="*/ 1380552 h 1387724"/>
                <a:gd name="connsiteX0" fmla="*/ 1043746 w 2012115"/>
                <a:gd name="connsiteY0" fmla="*/ 1380552 h 1387724"/>
                <a:gd name="connsiteX1" fmla="*/ 5215 w 2012115"/>
                <a:gd name="connsiteY1" fmla="*/ 0 h 1387724"/>
                <a:gd name="connsiteX2" fmla="*/ 2012115 w 2012115"/>
                <a:gd name="connsiteY2" fmla="*/ 220809 h 1387724"/>
                <a:gd name="connsiteX3" fmla="*/ 1043746 w 2012115"/>
                <a:gd name="connsiteY3" fmla="*/ 1380552 h 1387724"/>
                <a:gd name="connsiteX0" fmla="*/ 1038531 w 2006900"/>
                <a:gd name="connsiteY0" fmla="*/ 1380552 h 1387724"/>
                <a:gd name="connsiteX1" fmla="*/ 0 w 2006900"/>
                <a:gd name="connsiteY1" fmla="*/ 0 h 1387724"/>
                <a:gd name="connsiteX2" fmla="*/ 2006900 w 2006900"/>
                <a:gd name="connsiteY2" fmla="*/ 220809 h 1387724"/>
                <a:gd name="connsiteX3" fmla="*/ 1038531 w 2006900"/>
                <a:gd name="connsiteY3" fmla="*/ 1380552 h 1387724"/>
                <a:gd name="connsiteX0" fmla="*/ 1038531 w 2006900"/>
                <a:gd name="connsiteY0" fmla="*/ 1380552 h 1387724"/>
                <a:gd name="connsiteX1" fmla="*/ 0 w 2006900"/>
                <a:gd name="connsiteY1" fmla="*/ 0 h 1387724"/>
                <a:gd name="connsiteX2" fmla="*/ 2006900 w 2006900"/>
                <a:gd name="connsiteY2" fmla="*/ 220809 h 1387724"/>
                <a:gd name="connsiteX3" fmla="*/ 1038531 w 2006900"/>
                <a:gd name="connsiteY3" fmla="*/ 1380552 h 1387724"/>
                <a:gd name="connsiteX0" fmla="*/ 940106 w 2006900"/>
                <a:gd name="connsiteY0" fmla="*/ 1396427 h 1403508"/>
                <a:gd name="connsiteX1" fmla="*/ 0 w 2006900"/>
                <a:gd name="connsiteY1" fmla="*/ 0 h 1403508"/>
                <a:gd name="connsiteX2" fmla="*/ 2006900 w 2006900"/>
                <a:gd name="connsiteY2" fmla="*/ 220809 h 1403508"/>
                <a:gd name="connsiteX3" fmla="*/ 940106 w 2006900"/>
                <a:gd name="connsiteY3" fmla="*/ 1396427 h 1403508"/>
                <a:gd name="connsiteX0" fmla="*/ 940106 w 1911650"/>
                <a:gd name="connsiteY0" fmla="*/ 1396427 h 1403438"/>
                <a:gd name="connsiteX1" fmla="*/ 0 w 1911650"/>
                <a:gd name="connsiteY1" fmla="*/ 0 h 1403438"/>
                <a:gd name="connsiteX2" fmla="*/ 1911650 w 1911650"/>
                <a:gd name="connsiteY2" fmla="*/ 208109 h 1403438"/>
                <a:gd name="connsiteX3" fmla="*/ 940106 w 1911650"/>
                <a:gd name="connsiteY3" fmla="*/ 1396427 h 1403438"/>
                <a:gd name="connsiteX0" fmla="*/ 940106 w 1911650"/>
                <a:gd name="connsiteY0" fmla="*/ 1396427 h 1403438"/>
                <a:gd name="connsiteX1" fmla="*/ 0 w 1911650"/>
                <a:gd name="connsiteY1" fmla="*/ 0 h 1403438"/>
                <a:gd name="connsiteX2" fmla="*/ 1911650 w 1911650"/>
                <a:gd name="connsiteY2" fmla="*/ 208109 h 1403438"/>
                <a:gd name="connsiteX3" fmla="*/ 940106 w 1911650"/>
                <a:gd name="connsiteY3" fmla="*/ 1396427 h 1403438"/>
                <a:gd name="connsiteX0" fmla="*/ 940106 w 1657650"/>
                <a:gd name="connsiteY0" fmla="*/ 1396427 h 1403508"/>
                <a:gd name="connsiteX1" fmla="*/ 0 w 1657650"/>
                <a:gd name="connsiteY1" fmla="*/ 0 h 1403508"/>
                <a:gd name="connsiteX2" fmla="*/ 1657650 w 1657650"/>
                <a:gd name="connsiteY2" fmla="*/ 220809 h 1403508"/>
                <a:gd name="connsiteX3" fmla="*/ 940106 w 1657650"/>
                <a:gd name="connsiteY3" fmla="*/ 1396427 h 1403508"/>
                <a:gd name="connsiteX0" fmla="*/ 940106 w 1657650"/>
                <a:gd name="connsiteY0" fmla="*/ 1396427 h 1403508"/>
                <a:gd name="connsiteX1" fmla="*/ 0 w 1657650"/>
                <a:gd name="connsiteY1" fmla="*/ 0 h 1403508"/>
                <a:gd name="connsiteX2" fmla="*/ 1657650 w 1657650"/>
                <a:gd name="connsiteY2" fmla="*/ 220809 h 1403508"/>
                <a:gd name="connsiteX3" fmla="*/ 940106 w 1657650"/>
                <a:gd name="connsiteY3" fmla="*/ 1396427 h 1403508"/>
                <a:gd name="connsiteX0" fmla="*/ 95189 w 1854133"/>
                <a:gd name="connsiteY0" fmla="*/ 1418652 h 1425611"/>
                <a:gd name="connsiteX1" fmla="*/ 196483 w 1854133"/>
                <a:gd name="connsiteY1" fmla="*/ 0 h 1425611"/>
                <a:gd name="connsiteX2" fmla="*/ 1854133 w 1854133"/>
                <a:gd name="connsiteY2" fmla="*/ 220809 h 1425611"/>
                <a:gd name="connsiteX3" fmla="*/ 95189 w 1854133"/>
                <a:gd name="connsiteY3" fmla="*/ 1418652 h 1425611"/>
                <a:gd name="connsiteX0" fmla="*/ 83 w 1759027"/>
                <a:gd name="connsiteY0" fmla="*/ 1418652 h 1425611"/>
                <a:gd name="connsiteX1" fmla="*/ 101377 w 1759027"/>
                <a:gd name="connsiteY1" fmla="*/ 0 h 1425611"/>
                <a:gd name="connsiteX2" fmla="*/ 1759027 w 1759027"/>
                <a:gd name="connsiteY2" fmla="*/ 220809 h 1425611"/>
                <a:gd name="connsiteX3" fmla="*/ 83 w 1759027"/>
                <a:gd name="connsiteY3" fmla="*/ 1418652 h 1425611"/>
                <a:gd name="connsiteX0" fmla="*/ 210 w 1759154"/>
                <a:gd name="connsiteY0" fmla="*/ 1418652 h 1425611"/>
                <a:gd name="connsiteX1" fmla="*/ 101504 w 1759154"/>
                <a:gd name="connsiteY1" fmla="*/ 0 h 1425611"/>
                <a:gd name="connsiteX2" fmla="*/ 1759154 w 1759154"/>
                <a:gd name="connsiteY2" fmla="*/ 220809 h 1425611"/>
                <a:gd name="connsiteX3" fmla="*/ 210 w 1759154"/>
                <a:gd name="connsiteY3" fmla="*/ 1418652 h 1425611"/>
                <a:gd name="connsiteX0" fmla="*/ 197 w 1784541"/>
                <a:gd name="connsiteY0" fmla="*/ 1440877 h 1447717"/>
                <a:gd name="connsiteX1" fmla="*/ 126891 w 1784541"/>
                <a:gd name="connsiteY1" fmla="*/ 0 h 1447717"/>
                <a:gd name="connsiteX2" fmla="*/ 1784541 w 1784541"/>
                <a:gd name="connsiteY2" fmla="*/ 220809 h 1447717"/>
                <a:gd name="connsiteX3" fmla="*/ 197 w 1784541"/>
                <a:gd name="connsiteY3" fmla="*/ 1440877 h 1447717"/>
                <a:gd name="connsiteX0" fmla="*/ 0 w 1784344"/>
                <a:gd name="connsiteY0" fmla="*/ 1440877 h 1447717"/>
                <a:gd name="connsiteX1" fmla="*/ 126694 w 1784344"/>
                <a:gd name="connsiteY1" fmla="*/ 0 h 1447717"/>
                <a:gd name="connsiteX2" fmla="*/ 1784344 w 1784344"/>
                <a:gd name="connsiteY2" fmla="*/ 220809 h 1447717"/>
                <a:gd name="connsiteX3" fmla="*/ 0 w 1784344"/>
                <a:gd name="connsiteY3" fmla="*/ 1440877 h 1447717"/>
                <a:gd name="connsiteX0" fmla="*/ 0 w 1784344"/>
                <a:gd name="connsiteY0" fmla="*/ 1440877 h 1447717"/>
                <a:gd name="connsiteX1" fmla="*/ 126694 w 1784344"/>
                <a:gd name="connsiteY1" fmla="*/ 0 h 1447717"/>
                <a:gd name="connsiteX2" fmla="*/ 1784344 w 1784344"/>
                <a:gd name="connsiteY2" fmla="*/ 220809 h 1447717"/>
                <a:gd name="connsiteX3" fmla="*/ 0 w 1784344"/>
                <a:gd name="connsiteY3" fmla="*/ 1440877 h 1447717"/>
                <a:gd name="connsiteX0" fmla="*/ 0 w 1784344"/>
                <a:gd name="connsiteY0" fmla="*/ 1440877 h 1447717"/>
                <a:gd name="connsiteX1" fmla="*/ 126694 w 1784344"/>
                <a:gd name="connsiteY1" fmla="*/ 0 h 1447717"/>
                <a:gd name="connsiteX2" fmla="*/ 1784344 w 1784344"/>
                <a:gd name="connsiteY2" fmla="*/ 220809 h 1447717"/>
                <a:gd name="connsiteX3" fmla="*/ 0 w 1784344"/>
                <a:gd name="connsiteY3" fmla="*/ 1440877 h 1447717"/>
              </a:gdLst>
              <a:ahLst/>
              <a:cxnLst>
                <a:cxn ang="0">
                  <a:pos x="connsiteX0" y="connsiteY0"/>
                </a:cxn>
                <a:cxn ang="0">
                  <a:pos x="connsiteX1" y="connsiteY1"/>
                </a:cxn>
                <a:cxn ang="0">
                  <a:pos x="connsiteX2" y="connsiteY2"/>
                </a:cxn>
                <a:cxn ang="0">
                  <a:pos x="connsiteX3" y="connsiteY3"/>
                </a:cxn>
              </a:cxnLst>
              <a:rect l="l" t="t" r="r" b="b"/>
              <a:pathLst>
                <a:path w="1784344" h="1447717">
                  <a:moveTo>
                    <a:pt x="0" y="1440877"/>
                  </a:moveTo>
                  <a:cubicBezTo>
                    <a:pt x="100440" y="733572"/>
                    <a:pt x="311518" y="196156"/>
                    <a:pt x="126694" y="0"/>
                  </a:cubicBezTo>
                  <a:cubicBezTo>
                    <a:pt x="671994" y="52401"/>
                    <a:pt x="1634505" y="78388"/>
                    <a:pt x="1784344" y="220809"/>
                  </a:cubicBezTo>
                  <a:cubicBezTo>
                    <a:pt x="1179507" y="320822"/>
                    <a:pt x="681018" y="1549914"/>
                    <a:pt x="0" y="1440877"/>
                  </a:cubicBezTo>
                  <a:close/>
                </a:path>
              </a:pathLst>
            </a:cu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4" name="Oval 13"/>
            <p:cNvSpPr/>
            <p:nvPr/>
          </p:nvSpPr>
          <p:spPr bwMode="gray">
            <a:xfrm>
              <a:off x="4396127" y="3512751"/>
              <a:ext cx="2171170" cy="217117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5" name="Isosceles Triangle 3"/>
            <p:cNvSpPr/>
            <p:nvPr/>
          </p:nvSpPr>
          <p:spPr bwMode="gray">
            <a:xfrm>
              <a:off x="4102974" y="2415312"/>
              <a:ext cx="1407808" cy="867813"/>
            </a:xfrm>
            <a:custGeom>
              <a:avLst/>
              <a:gdLst>
                <a:gd name="connsiteX0" fmla="*/ 0 w 1613647"/>
                <a:gd name="connsiteY0" fmla="*/ 1990165 h 1990165"/>
                <a:gd name="connsiteX1" fmla="*/ 806824 w 1613647"/>
                <a:gd name="connsiteY1" fmla="*/ 0 h 1990165"/>
                <a:gd name="connsiteX2" fmla="*/ 1613647 w 1613647"/>
                <a:gd name="connsiteY2" fmla="*/ 1990165 h 1990165"/>
                <a:gd name="connsiteX3" fmla="*/ 0 w 1613647"/>
                <a:gd name="connsiteY3" fmla="*/ 1990165 h 1990165"/>
                <a:gd name="connsiteX0" fmla="*/ 0 w 1775012"/>
                <a:gd name="connsiteY0" fmla="*/ 1275550 h 1990165"/>
                <a:gd name="connsiteX1" fmla="*/ 968189 w 1775012"/>
                <a:gd name="connsiteY1" fmla="*/ 0 h 1990165"/>
                <a:gd name="connsiteX2" fmla="*/ 1775012 w 1775012"/>
                <a:gd name="connsiteY2" fmla="*/ 1990165 h 1990165"/>
                <a:gd name="connsiteX3" fmla="*/ 0 w 1775012"/>
                <a:gd name="connsiteY3" fmla="*/ 1275550 h 1990165"/>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505886"/>
                <a:gd name="connsiteX1" fmla="*/ 591831 w 2132480"/>
                <a:gd name="connsiteY1" fmla="*/ 0 h 1505886"/>
                <a:gd name="connsiteX2" fmla="*/ 2132480 w 2132480"/>
                <a:gd name="connsiteY2" fmla="*/ 1490702 h 1505886"/>
                <a:gd name="connsiteX3" fmla="*/ 0 w 2132480"/>
                <a:gd name="connsiteY3" fmla="*/ 1359914 h 1505886"/>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6918"/>
                <a:gd name="connsiteX1" fmla="*/ 596594 w 2137243"/>
                <a:gd name="connsiteY1" fmla="*/ 0 h 1506918"/>
                <a:gd name="connsiteX2" fmla="*/ 2137243 w 2137243"/>
                <a:gd name="connsiteY2" fmla="*/ 1490702 h 1506918"/>
                <a:gd name="connsiteX3" fmla="*/ 0 w 2137243"/>
                <a:gd name="connsiteY3" fmla="*/ 1345627 h 1506918"/>
                <a:gd name="connsiteX0" fmla="*/ 0 w 2111369"/>
                <a:gd name="connsiteY0" fmla="*/ 1345627 h 1484906"/>
                <a:gd name="connsiteX1" fmla="*/ 596594 w 2111369"/>
                <a:gd name="connsiteY1" fmla="*/ 0 h 1484906"/>
                <a:gd name="connsiteX2" fmla="*/ 2111369 w 2111369"/>
                <a:gd name="connsiteY2" fmla="*/ 1465409 h 1484906"/>
                <a:gd name="connsiteX3" fmla="*/ 0 w 2111369"/>
                <a:gd name="connsiteY3" fmla="*/ 1345627 h 1484906"/>
                <a:gd name="connsiteX0" fmla="*/ 0 w 2111369"/>
                <a:gd name="connsiteY0" fmla="*/ 1345627 h 1504520"/>
                <a:gd name="connsiteX1" fmla="*/ 596594 w 2111369"/>
                <a:gd name="connsiteY1" fmla="*/ 0 h 1504520"/>
                <a:gd name="connsiteX2" fmla="*/ 2111369 w 2111369"/>
                <a:gd name="connsiteY2" fmla="*/ 1465409 h 1504520"/>
                <a:gd name="connsiteX3" fmla="*/ 0 w 2111369"/>
                <a:gd name="connsiteY3" fmla="*/ 1345627 h 1504520"/>
                <a:gd name="connsiteX0" fmla="*/ 585036 w 2696405"/>
                <a:gd name="connsiteY0" fmla="*/ 1139252 h 1298145"/>
                <a:gd name="connsiteX1" fmla="*/ 3705 w 2696405"/>
                <a:gd name="connsiteY1" fmla="*/ 0 h 1298145"/>
                <a:gd name="connsiteX2" fmla="*/ 2696405 w 2696405"/>
                <a:gd name="connsiteY2" fmla="*/ 1259034 h 1298145"/>
                <a:gd name="connsiteX3" fmla="*/ 585036 w 2696405"/>
                <a:gd name="connsiteY3" fmla="*/ 1139252 h 1298145"/>
                <a:gd name="connsiteX0" fmla="*/ 585036 w 1851855"/>
                <a:gd name="connsiteY0" fmla="*/ 1139252 h 1148437"/>
                <a:gd name="connsiteX1" fmla="*/ 3705 w 1851855"/>
                <a:gd name="connsiteY1" fmla="*/ 0 h 1148437"/>
                <a:gd name="connsiteX2" fmla="*/ 1851855 w 1851855"/>
                <a:gd name="connsiteY2" fmla="*/ 252559 h 1148437"/>
                <a:gd name="connsiteX3" fmla="*/ 585036 w 1851855"/>
                <a:gd name="connsiteY3" fmla="*/ 1139252 h 1148437"/>
                <a:gd name="connsiteX0" fmla="*/ 585036 w 1851855"/>
                <a:gd name="connsiteY0" fmla="*/ 1139252 h 1151208"/>
                <a:gd name="connsiteX1" fmla="*/ 3705 w 1851855"/>
                <a:gd name="connsiteY1" fmla="*/ 0 h 1151208"/>
                <a:gd name="connsiteX2" fmla="*/ 1851855 w 1851855"/>
                <a:gd name="connsiteY2" fmla="*/ 252559 h 1151208"/>
                <a:gd name="connsiteX3" fmla="*/ 585036 w 1851855"/>
                <a:gd name="connsiteY3" fmla="*/ 1139252 h 1151208"/>
                <a:gd name="connsiteX0" fmla="*/ 581455 w 1848274"/>
                <a:gd name="connsiteY0" fmla="*/ 1139252 h 1151208"/>
                <a:gd name="connsiteX1" fmla="*/ 124 w 1848274"/>
                <a:gd name="connsiteY1" fmla="*/ 0 h 1151208"/>
                <a:gd name="connsiteX2" fmla="*/ 1848274 w 1848274"/>
                <a:gd name="connsiteY2" fmla="*/ 252559 h 1151208"/>
                <a:gd name="connsiteX3" fmla="*/ 581455 w 1848274"/>
                <a:gd name="connsiteY3" fmla="*/ 1139252 h 1151208"/>
                <a:gd name="connsiteX0" fmla="*/ 581544 w 1848363"/>
                <a:gd name="connsiteY0" fmla="*/ 1139252 h 1151208"/>
                <a:gd name="connsiteX1" fmla="*/ 213 w 1848363"/>
                <a:gd name="connsiteY1" fmla="*/ 0 h 1151208"/>
                <a:gd name="connsiteX2" fmla="*/ 1848363 w 1848363"/>
                <a:gd name="connsiteY2" fmla="*/ 252559 h 1151208"/>
                <a:gd name="connsiteX3" fmla="*/ 581544 w 1848363"/>
                <a:gd name="connsiteY3" fmla="*/ 1139252 h 1151208"/>
                <a:gd name="connsiteX0" fmla="*/ 581331 w 1848150"/>
                <a:gd name="connsiteY0" fmla="*/ 1139252 h 1151208"/>
                <a:gd name="connsiteX1" fmla="*/ 0 w 1848150"/>
                <a:gd name="connsiteY1" fmla="*/ 0 h 1151208"/>
                <a:gd name="connsiteX2" fmla="*/ 1848150 w 1848150"/>
                <a:gd name="connsiteY2" fmla="*/ 252559 h 1151208"/>
                <a:gd name="connsiteX3" fmla="*/ 581331 w 1848150"/>
                <a:gd name="connsiteY3" fmla="*/ 1139252 h 1151208"/>
                <a:gd name="connsiteX0" fmla="*/ 581331 w 1848150"/>
                <a:gd name="connsiteY0" fmla="*/ 1139252 h 1139252"/>
                <a:gd name="connsiteX1" fmla="*/ 0 w 1848150"/>
                <a:gd name="connsiteY1" fmla="*/ 0 h 1139252"/>
                <a:gd name="connsiteX2" fmla="*/ 1848150 w 1848150"/>
                <a:gd name="connsiteY2" fmla="*/ 252559 h 1139252"/>
                <a:gd name="connsiteX3" fmla="*/ 581331 w 1848150"/>
                <a:gd name="connsiteY3" fmla="*/ 1139252 h 1139252"/>
                <a:gd name="connsiteX0" fmla="*/ 581331 w 1848150"/>
                <a:gd name="connsiteY0" fmla="*/ 1139252 h 1139252"/>
                <a:gd name="connsiteX1" fmla="*/ 0 w 1848150"/>
                <a:gd name="connsiteY1" fmla="*/ 0 h 1139252"/>
                <a:gd name="connsiteX2" fmla="*/ 1848150 w 1848150"/>
                <a:gd name="connsiteY2" fmla="*/ 252559 h 1139252"/>
                <a:gd name="connsiteX3" fmla="*/ 581331 w 1848150"/>
                <a:gd name="connsiteY3" fmla="*/ 1139252 h 1139252"/>
                <a:gd name="connsiteX0" fmla="*/ 581331 w 1848150"/>
                <a:gd name="connsiteY0" fmla="*/ 1139252 h 1139252"/>
                <a:gd name="connsiteX1" fmla="*/ 0 w 1848150"/>
                <a:gd name="connsiteY1" fmla="*/ 0 h 1139252"/>
                <a:gd name="connsiteX2" fmla="*/ 1848150 w 1848150"/>
                <a:gd name="connsiteY2" fmla="*/ 252559 h 1139252"/>
                <a:gd name="connsiteX3" fmla="*/ 581331 w 1848150"/>
                <a:gd name="connsiteY3" fmla="*/ 1139252 h 1139252"/>
                <a:gd name="connsiteX0" fmla="*/ 581331 w 1848150"/>
                <a:gd name="connsiteY0" fmla="*/ 1139252 h 1139252"/>
                <a:gd name="connsiteX1" fmla="*/ 0 w 1848150"/>
                <a:gd name="connsiteY1" fmla="*/ 0 h 1139252"/>
                <a:gd name="connsiteX2" fmla="*/ 1848150 w 1848150"/>
                <a:gd name="connsiteY2" fmla="*/ 252559 h 1139252"/>
                <a:gd name="connsiteX3" fmla="*/ 581331 w 1848150"/>
                <a:gd name="connsiteY3" fmla="*/ 1139252 h 1139252"/>
                <a:gd name="connsiteX0" fmla="*/ 581331 w 1848150"/>
                <a:gd name="connsiteY0" fmla="*/ 1139252 h 1139252"/>
                <a:gd name="connsiteX1" fmla="*/ 0 w 1848150"/>
                <a:gd name="connsiteY1" fmla="*/ 0 h 1139252"/>
                <a:gd name="connsiteX2" fmla="*/ 1848150 w 1848150"/>
                <a:gd name="connsiteY2" fmla="*/ 252559 h 1139252"/>
                <a:gd name="connsiteX3" fmla="*/ 581331 w 1848150"/>
                <a:gd name="connsiteY3" fmla="*/ 1139252 h 1139252"/>
              </a:gdLst>
              <a:ahLst/>
              <a:cxnLst>
                <a:cxn ang="0">
                  <a:pos x="connsiteX0" y="connsiteY0"/>
                </a:cxn>
                <a:cxn ang="0">
                  <a:pos x="connsiteX1" y="connsiteY1"/>
                </a:cxn>
                <a:cxn ang="0">
                  <a:pos x="connsiteX2" y="connsiteY2"/>
                </a:cxn>
                <a:cxn ang="0">
                  <a:pos x="connsiteX3" y="connsiteY3"/>
                </a:cxn>
              </a:cxnLst>
              <a:rect l="l" t="t" r="r" b="b"/>
              <a:pathLst>
                <a:path w="1848150" h="1139252">
                  <a:moveTo>
                    <a:pt x="581331" y="1139252"/>
                  </a:moveTo>
                  <a:cubicBezTo>
                    <a:pt x="284896" y="778022"/>
                    <a:pt x="95924" y="510481"/>
                    <a:pt x="0" y="0"/>
                  </a:cubicBezTo>
                  <a:cubicBezTo>
                    <a:pt x="513550" y="496901"/>
                    <a:pt x="1545911" y="-378812"/>
                    <a:pt x="1848150" y="252559"/>
                  </a:cubicBezTo>
                  <a:cubicBezTo>
                    <a:pt x="1744963" y="584347"/>
                    <a:pt x="1481424" y="886339"/>
                    <a:pt x="581331" y="1139252"/>
                  </a:cubicBezTo>
                  <a:close/>
                </a:path>
              </a:pathLst>
            </a:cu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6" name="Oval 15"/>
            <p:cNvSpPr/>
            <p:nvPr/>
          </p:nvSpPr>
          <p:spPr bwMode="gray">
            <a:xfrm>
              <a:off x="4096038" y="1644562"/>
              <a:ext cx="1466508" cy="1466509"/>
            </a:xfrm>
            <a:prstGeom prst="ellipse">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8" name="Group 7"/>
            <p:cNvGrpSpPr/>
            <p:nvPr/>
          </p:nvGrpSpPr>
          <p:grpSpPr>
            <a:xfrm>
              <a:off x="4269833" y="2678900"/>
              <a:ext cx="2015405" cy="1149787"/>
              <a:chOff x="5698411" y="1323942"/>
              <a:chExt cx="8664700" cy="4943208"/>
            </a:xfrm>
          </p:grpSpPr>
          <p:sp>
            <p:nvSpPr>
              <p:cNvPr id="6" name="Teardrop 5"/>
              <p:cNvSpPr/>
              <p:nvPr/>
            </p:nvSpPr>
            <p:spPr bwMode="gray">
              <a:xfrm>
                <a:off x="6078917" y="4730344"/>
                <a:ext cx="610127" cy="1192009"/>
              </a:xfrm>
              <a:custGeom>
                <a:avLst/>
                <a:gdLst>
                  <a:gd name="connsiteX0" fmla="*/ 0 w 1278892"/>
                  <a:gd name="connsiteY0" fmla="*/ 639446 h 1278892"/>
                  <a:gd name="connsiteX1" fmla="*/ 639446 w 1278892"/>
                  <a:gd name="connsiteY1" fmla="*/ 0 h 1278892"/>
                  <a:gd name="connsiteX2" fmla="*/ 1278892 w 1278892"/>
                  <a:gd name="connsiteY2" fmla="*/ 0 h 1278892"/>
                  <a:gd name="connsiteX3" fmla="*/ 1278892 w 1278892"/>
                  <a:gd name="connsiteY3" fmla="*/ 639446 h 1278892"/>
                  <a:gd name="connsiteX4" fmla="*/ 639446 w 1278892"/>
                  <a:gd name="connsiteY4" fmla="*/ 1278892 h 1278892"/>
                  <a:gd name="connsiteX5" fmla="*/ 0 w 1278892"/>
                  <a:gd name="connsiteY5" fmla="*/ 639446 h 1278892"/>
                  <a:gd name="connsiteX0" fmla="*/ 0 w 1082042"/>
                  <a:gd name="connsiteY0" fmla="*/ 626746 h 1278903"/>
                  <a:gd name="connsiteX1" fmla="*/ 442596 w 1082042"/>
                  <a:gd name="connsiteY1" fmla="*/ 0 h 1278903"/>
                  <a:gd name="connsiteX2" fmla="*/ 1082042 w 1082042"/>
                  <a:gd name="connsiteY2" fmla="*/ 0 h 1278903"/>
                  <a:gd name="connsiteX3" fmla="*/ 1082042 w 1082042"/>
                  <a:gd name="connsiteY3" fmla="*/ 639446 h 1278903"/>
                  <a:gd name="connsiteX4" fmla="*/ 442596 w 1082042"/>
                  <a:gd name="connsiteY4" fmla="*/ 1278892 h 1278903"/>
                  <a:gd name="connsiteX5" fmla="*/ 0 w 1082042"/>
                  <a:gd name="connsiteY5" fmla="*/ 626746 h 1278903"/>
                  <a:gd name="connsiteX0" fmla="*/ 8249 w 918841"/>
                  <a:gd name="connsiteY0" fmla="*/ 648971 h 1278898"/>
                  <a:gd name="connsiteX1" fmla="*/ 279395 w 918841"/>
                  <a:gd name="connsiteY1" fmla="*/ 0 h 1278898"/>
                  <a:gd name="connsiteX2" fmla="*/ 918841 w 918841"/>
                  <a:gd name="connsiteY2" fmla="*/ 0 h 1278898"/>
                  <a:gd name="connsiteX3" fmla="*/ 918841 w 918841"/>
                  <a:gd name="connsiteY3" fmla="*/ 639446 h 1278898"/>
                  <a:gd name="connsiteX4" fmla="*/ 279395 w 918841"/>
                  <a:gd name="connsiteY4" fmla="*/ 1278892 h 1278898"/>
                  <a:gd name="connsiteX5" fmla="*/ 8249 w 918841"/>
                  <a:gd name="connsiteY5" fmla="*/ 648971 h 1278898"/>
                  <a:gd name="connsiteX0" fmla="*/ 22322 w 932914"/>
                  <a:gd name="connsiteY0" fmla="*/ 648971 h 1180472"/>
                  <a:gd name="connsiteX1" fmla="*/ 293468 w 932914"/>
                  <a:gd name="connsiteY1" fmla="*/ 0 h 1180472"/>
                  <a:gd name="connsiteX2" fmla="*/ 932914 w 932914"/>
                  <a:gd name="connsiteY2" fmla="*/ 0 h 1180472"/>
                  <a:gd name="connsiteX3" fmla="*/ 932914 w 932914"/>
                  <a:gd name="connsiteY3" fmla="*/ 639446 h 1180472"/>
                  <a:gd name="connsiteX4" fmla="*/ 118843 w 932914"/>
                  <a:gd name="connsiteY4" fmla="*/ 1180467 h 1180472"/>
                  <a:gd name="connsiteX5" fmla="*/ 22322 w 932914"/>
                  <a:gd name="connsiteY5" fmla="*/ 648971 h 1180472"/>
                  <a:gd name="connsiteX0" fmla="*/ 55328 w 889720"/>
                  <a:gd name="connsiteY0" fmla="*/ 791846 h 1182500"/>
                  <a:gd name="connsiteX1" fmla="*/ 250274 w 889720"/>
                  <a:gd name="connsiteY1" fmla="*/ 0 h 1182500"/>
                  <a:gd name="connsiteX2" fmla="*/ 889720 w 889720"/>
                  <a:gd name="connsiteY2" fmla="*/ 0 h 1182500"/>
                  <a:gd name="connsiteX3" fmla="*/ 889720 w 889720"/>
                  <a:gd name="connsiteY3" fmla="*/ 639446 h 1182500"/>
                  <a:gd name="connsiteX4" fmla="*/ 75649 w 889720"/>
                  <a:gd name="connsiteY4" fmla="*/ 1180467 h 1182500"/>
                  <a:gd name="connsiteX5" fmla="*/ 55328 w 889720"/>
                  <a:gd name="connsiteY5" fmla="*/ 791846 h 1182500"/>
                  <a:gd name="connsiteX0" fmla="*/ 148362 w 982754"/>
                  <a:gd name="connsiteY0" fmla="*/ 791846 h 1182474"/>
                  <a:gd name="connsiteX1" fmla="*/ 343308 w 982754"/>
                  <a:gd name="connsiteY1" fmla="*/ 0 h 1182474"/>
                  <a:gd name="connsiteX2" fmla="*/ 982754 w 982754"/>
                  <a:gd name="connsiteY2" fmla="*/ 0 h 1182474"/>
                  <a:gd name="connsiteX3" fmla="*/ 982754 w 982754"/>
                  <a:gd name="connsiteY3" fmla="*/ 639446 h 1182474"/>
                  <a:gd name="connsiteX4" fmla="*/ 168683 w 982754"/>
                  <a:gd name="connsiteY4" fmla="*/ 1180467 h 1182474"/>
                  <a:gd name="connsiteX5" fmla="*/ 148362 w 982754"/>
                  <a:gd name="connsiteY5" fmla="*/ 791846 h 1182474"/>
                  <a:gd name="connsiteX0" fmla="*/ 148362 w 982754"/>
                  <a:gd name="connsiteY0" fmla="*/ 766446 h 1181766"/>
                  <a:gd name="connsiteX1" fmla="*/ 343308 w 982754"/>
                  <a:gd name="connsiteY1" fmla="*/ 0 h 1181766"/>
                  <a:gd name="connsiteX2" fmla="*/ 982754 w 982754"/>
                  <a:gd name="connsiteY2" fmla="*/ 0 h 1181766"/>
                  <a:gd name="connsiteX3" fmla="*/ 982754 w 982754"/>
                  <a:gd name="connsiteY3" fmla="*/ 639446 h 1181766"/>
                  <a:gd name="connsiteX4" fmla="*/ 168683 w 982754"/>
                  <a:gd name="connsiteY4" fmla="*/ 1180467 h 1181766"/>
                  <a:gd name="connsiteX5" fmla="*/ 148362 w 982754"/>
                  <a:gd name="connsiteY5" fmla="*/ 766446 h 1181766"/>
                  <a:gd name="connsiteX0" fmla="*/ 170292 w 1004684"/>
                  <a:gd name="connsiteY0" fmla="*/ 766446 h 1180869"/>
                  <a:gd name="connsiteX1" fmla="*/ 365238 w 1004684"/>
                  <a:gd name="connsiteY1" fmla="*/ 0 h 1180869"/>
                  <a:gd name="connsiteX2" fmla="*/ 1004684 w 1004684"/>
                  <a:gd name="connsiteY2" fmla="*/ 0 h 1180869"/>
                  <a:gd name="connsiteX3" fmla="*/ 1004684 w 1004684"/>
                  <a:gd name="connsiteY3" fmla="*/ 639446 h 1180869"/>
                  <a:gd name="connsiteX4" fmla="*/ 190613 w 1004684"/>
                  <a:gd name="connsiteY4" fmla="*/ 1180467 h 1180869"/>
                  <a:gd name="connsiteX5" fmla="*/ 170292 w 1004684"/>
                  <a:gd name="connsiteY5" fmla="*/ 766446 h 1180869"/>
                  <a:gd name="connsiteX0" fmla="*/ 128386 w 962778"/>
                  <a:gd name="connsiteY0" fmla="*/ 766446 h 1181766"/>
                  <a:gd name="connsiteX1" fmla="*/ 323332 w 962778"/>
                  <a:gd name="connsiteY1" fmla="*/ 0 h 1181766"/>
                  <a:gd name="connsiteX2" fmla="*/ 962778 w 962778"/>
                  <a:gd name="connsiteY2" fmla="*/ 0 h 1181766"/>
                  <a:gd name="connsiteX3" fmla="*/ 518278 w 962778"/>
                  <a:gd name="connsiteY3" fmla="*/ 639446 h 1181766"/>
                  <a:gd name="connsiteX4" fmla="*/ 148707 w 962778"/>
                  <a:gd name="connsiteY4" fmla="*/ 1180467 h 1181766"/>
                  <a:gd name="connsiteX5" fmla="*/ 128386 w 962778"/>
                  <a:gd name="connsiteY5" fmla="*/ 766446 h 1181766"/>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571182"/>
                  <a:gd name="connsiteY0" fmla="*/ 766446 h 1185005"/>
                  <a:gd name="connsiteX1" fmla="*/ 325436 w 571182"/>
                  <a:gd name="connsiteY1" fmla="*/ 0 h 1185005"/>
                  <a:gd name="connsiteX2" fmla="*/ 548957 w 571182"/>
                  <a:gd name="connsiteY2" fmla="*/ 3175 h 1185005"/>
                  <a:gd name="connsiteX3" fmla="*/ 571182 w 571182"/>
                  <a:gd name="connsiteY3" fmla="*/ 512446 h 1185005"/>
                  <a:gd name="connsiteX4" fmla="*/ 150811 w 571182"/>
                  <a:gd name="connsiteY4" fmla="*/ 1180467 h 1185005"/>
                  <a:gd name="connsiteX5" fmla="*/ 130490 w 571182"/>
                  <a:gd name="connsiteY5" fmla="*/ 766446 h 1185005"/>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26454 w 468721"/>
                  <a:gd name="connsiteY0" fmla="*/ 775971 h 1217994"/>
                  <a:gd name="connsiteX1" fmla="*/ 321400 w 468721"/>
                  <a:gd name="connsiteY1" fmla="*/ 9525 h 1217994"/>
                  <a:gd name="connsiteX2" fmla="*/ 468721 w 468721"/>
                  <a:gd name="connsiteY2" fmla="*/ 0 h 1217994"/>
                  <a:gd name="connsiteX3" fmla="*/ 146775 w 468721"/>
                  <a:gd name="connsiteY3" fmla="*/ 1189992 h 1217994"/>
                  <a:gd name="connsiteX4" fmla="*/ 126454 w 468721"/>
                  <a:gd name="connsiteY4" fmla="*/ 775971 h 1217994"/>
                  <a:gd name="connsiteX0" fmla="*/ 41012 w 383279"/>
                  <a:gd name="connsiteY0" fmla="*/ 775971 h 1099664"/>
                  <a:gd name="connsiteX1" fmla="*/ 235958 w 383279"/>
                  <a:gd name="connsiteY1" fmla="*/ 9525 h 1099664"/>
                  <a:gd name="connsiteX2" fmla="*/ 383279 w 383279"/>
                  <a:gd name="connsiteY2" fmla="*/ 0 h 1099664"/>
                  <a:gd name="connsiteX3" fmla="*/ 321683 w 383279"/>
                  <a:gd name="connsiteY3" fmla="*/ 1062992 h 1099664"/>
                  <a:gd name="connsiteX4" fmla="*/ 41012 w 383279"/>
                  <a:gd name="connsiteY4" fmla="*/ 775971 h 1099664"/>
                  <a:gd name="connsiteX0" fmla="*/ 41012 w 510976"/>
                  <a:gd name="connsiteY0" fmla="*/ 775971 h 1279428"/>
                  <a:gd name="connsiteX1" fmla="*/ 235958 w 510976"/>
                  <a:gd name="connsiteY1" fmla="*/ 9525 h 1279428"/>
                  <a:gd name="connsiteX2" fmla="*/ 383279 w 510976"/>
                  <a:gd name="connsiteY2" fmla="*/ 0 h 1279428"/>
                  <a:gd name="connsiteX3" fmla="*/ 321683 w 510976"/>
                  <a:gd name="connsiteY3" fmla="*/ 1062992 h 1279428"/>
                  <a:gd name="connsiteX4" fmla="*/ 41012 w 510976"/>
                  <a:gd name="connsiteY4" fmla="*/ 775971 h 1279428"/>
                  <a:gd name="connsiteX0" fmla="*/ 41647 w 518397"/>
                  <a:gd name="connsiteY0" fmla="*/ 775971 h 1155749"/>
                  <a:gd name="connsiteX1" fmla="*/ 236593 w 518397"/>
                  <a:gd name="connsiteY1" fmla="*/ 9525 h 1155749"/>
                  <a:gd name="connsiteX2" fmla="*/ 383914 w 518397"/>
                  <a:gd name="connsiteY2" fmla="*/ 0 h 1155749"/>
                  <a:gd name="connsiteX3" fmla="*/ 331843 w 518397"/>
                  <a:gd name="connsiteY3" fmla="*/ 910592 h 1155749"/>
                  <a:gd name="connsiteX4" fmla="*/ 41647 w 518397"/>
                  <a:gd name="connsiteY4" fmla="*/ 775971 h 1155749"/>
                  <a:gd name="connsiteX0" fmla="*/ 41647 w 383914"/>
                  <a:gd name="connsiteY0" fmla="*/ 775971 h 966949"/>
                  <a:gd name="connsiteX1" fmla="*/ 236593 w 383914"/>
                  <a:gd name="connsiteY1" fmla="*/ 9525 h 966949"/>
                  <a:gd name="connsiteX2" fmla="*/ 383914 w 383914"/>
                  <a:gd name="connsiteY2" fmla="*/ 0 h 966949"/>
                  <a:gd name="connsiteX3" fmla="*/ 331843 w 383914"/>
                  <a:gd name="connsiteY3" fmla="*/ 910592 h 966949"/>
                  <a:gd name="connsiteX4" fmla="*/ 41647 w 383914"/>
                  <a:gd name="connsiteY4" fmla="*/ 775971 h 966949"/>
                  <a:gd name="connsiteX0" fmla="*/ 4778 w 493095"/>
                  <a:gd name="connsiteY0" fmla="*/ 998221 h 1080371"/>
                  <a:gd name="connsiteX1" fmla="*/ 345774 w 493095"/>
                  <a:gd name="connsiteY1" fmla="*/ 9525 h 1080371"/>
                  <a:gd name="connsiteX2" fmla="*/ 493095 w 493095"/>
                  <a:gd name="connsiteY2" fmla="*/ 0 h 1080371"/>
                  <a:gd name="connsiteX3" fmla="*/ 441024 w 493095"/>
                  <a:gd name="connsiteY3" fmla="*/ 910592 h 1080371"/>
                  <a:gd name="connsiteX4" fmla="*/ 4778 w 493095"/>
                  <a:gd name="connsiteY4" fmla="*/ 998221 h 1080371"/>
                  <a:gd name="connsiteX0" fmla="*/ 2311 w 490628"/>
                  <a:gd name="connsiteY0" fmla="*/ 998221 h 1169264"/>
                  <a:gd name="connsiteX1" fmla="*/ 343307 w 490628"/>
                  <a:gd name="connsiteY1" fmla="*/ 9525 h 1169264"/>
                  <a:gd name="connsiteX2" fmla="*/ 490628 w 490628"/>
                  <a:gd name="connsiteY2" fmla="*/ 0 h 1169264"/>
                  <a:gd name="connsiteX3" fmla="*/ 394107 w 490628"/>
                  <a:gd name="connsiteY3" fmla="*/ 1072517 h 1169264"/>
                  <a:gd name="connsiteX4" fmla="*/ 2311 w 490628"/>
                  <a:gd name="connsiteY4" fmla="*/ 998221 h 1169264"/>
                  <a:gd name="connsiteX0" fmla="*/ 2311 w 513147"/>
                  <a:gd name="connsiteY0" fmla="*/ 998221 h 1209324"/>
                  <a:gd name="connsiteX1" fmla="*/ 343307 w 513147"/>
                  <a:gd name="connsiteY1" fmla="*/ 9525 h 1209324"/>
                  <a:gd name="connsiteX2" fmla="*/ 490628 w 513147"/>
                  <a:gd name="connsiteY2" fmla="*/ 0 h 1209324"/>
                  <a:gd name="connsiteX3" fmla="*/ 394107 w 513147"/>
                  <a:gd name="connsiteY3" fmla="*/ 1072517 h 1209324"/>
                  <a:gd name="connsiteX4" fmla="*/ 2311 w 513147"/>
                  <a:gd name="connsiteY4" fmla="*/ 998221 h 1209324"/>
                  <a:gd name="connsiteX0" fmla="*/ 2311 w 500153"/>
                  <a:gd name="connsiteY0" fmla="*/ 998221 h 1169264"/>
                  <a:gd name="connsiteX1" fmla="*/ 343307 w 500153"/>
                  <a:gd name="connsiteY1" fmla="*/ 9525 h 1169264"/>
                  <a:gd name="connsiteX2" fmla="*/ 500153 w 500153"/>
                  <a:gd name="connsiteY2" fmla="*/ 0 h 1169264"/>
                  <a:gd name="connsiteX3" fmla="*/ 394107 w 500153"/>
                  <a:gd name="connsiteY3" fmla="*/ 1072517 h 1169264"/>
                  <a:gd name="connsiteX4" fmla="*/ 2311 w 500153"/>
                  <a:gd name="connsiteY4" fmla="*/ 998221 h 1169264"/>
                  <a:gd name="connsiteX0" fmla="*/ 2311 w 597709"/>
                  <a:gd name="connsiteY0" fmla="*/ 998221 h 1169264"/>
                  <a:gd name="connsiteX1" fmla="*/ 343307 w 597709"/>
                  <a:gd name="connsiteY1" fmla="*/ 9525 h 1169264"/>
                  <a:gd name="connsiteX2" fmla="*/ 500153 w 597709"/>
                  <a:gd name="connsiteY2" fmla="*/ 0 h 1169264"/>
                  <a:gd name="connsiteX3" fmla="*/ 394107 w 597709"/>
                  <a:gd name="connsiteY3" fmla="*/ 1072517 h 1169264"/>
                  <a:gd name="connsiteX4" fmla="*/ 2311 w 597709"/>
                  <a:gd name="connsiteY4" fmla="*/ 998221 h 1169264"/>
                  <a:gd name="connsiteX0" fmla="*/ 1506 w 593602"/>
                  <a:gd name="connsiteY0" fmla="*/ 998221 h 1191964"/>
                  <a:gd name="connsiteX1" fmla="*/ 342502 w 593602"/>
                  <a:gd name="connsiteY1" fmla="*/ 9525 h 1191964"/>
                  <a:gd name="connsiteX2" fmla="*/ 499348 w 593602"/>
                  <a:gd name="connsiteY2" fmla="*/ 0 h 1191964"/>
                  <a:gd name="connsiteX3" fmla="*/ 377427 w 593602"/>
                  <a:gd name="connsiteY3" fmla="*/ 1104267 h 1191964"/>
                  <a:gd name="connsiteX4" fmla="*/ 1506 w 593602"/>
                  <a:gd name="connsiteY4" fmla="*/ 998221 h 1191964"/>
                  <a:gd name="connsiteX0" fmla="*/ 1506 w 604625"/>
                  <a:gd name="connsiteY0" fmla="*/ 998221 h 1193365"/>
                  <a:gd name="connsiteX1" fmla="*/ 342502 w 604625"/>
                  <a:gd name="connsiteY1" fmla="*/ 9525 h 1193365"/>
                  <a:gd name="connsiteX2" fmla="*/ 499348 w 604625"/>
                  <a:gd name="connsiteY2" fmla="*/ 0 h 1193365"/>
                  <a:gd name="connsiteX3" fmla="*/ 377427 w 604625"/>
                  <a:gd name="connsiteY3" fmla="*/ 1104267 h 1193365"/>
                  <a:gd name="connsiteX4" fmla="*/ 1506 w 604625"/>
                  <a:gd name="connsiteY4" fmla="*/ 998221 h 1193365"/>
                  <a:gd name="connsiteX0" fmla="*/ 1506 w 604625"/>
                  <a:gd name="connsiteY0" fmla="*/ 998221 h 1184807"/>
                  <a:gd name="connsiteX1" fmla="*/ 342502 w 604625"/>
                  <a:gd name="connsiteY1" fmla="*/ 222250 h 1184807"/>
                  <a:gd name="connsiteX2" fmla="*/ 499348 w 604625"/>
                  <a:gd name="connsiteY2" fmla="*/ 0 h 1184807"/>
                  <a:gd name="connsiteX3" fmla="*/ 377427 w 604625"/>
                  <a:gd name="connsiteY3" fmla="*/ 1104267 h 1184807"/>
                  <a:gd name="connsiteX4" fmla="*/ 1506 w 604625"/>
                  <a:gd name="connsiteY4" fmla="*/ 998221 h 1184807"/>
                  <a:gd name="connsiteX0" fmla="*/ 0 w 525622"/>
                  <a:gd name="connsiteY0" fmla="*/ 998498 h 1185084"/>
                  <a:gd name="connsiteX1" fmla="*/ 497842 w 525622"/>
                  <a:gd name="connsiteY1" fmla="*/ 277 h 1185084"/>
                  <a:gd name="connsiteX2" fmla="*/ 375921 w 525622"/>
                  <a:gd name="connsiteY2" fmla="*/ 1104544 h 1185084"/>
                  <a:gd name="connsiteX3" fmla="*/ 0 w 525622"/>
                  <a:gd name="connsiteY3" fmla="*/ 998498 h 1185084"/>
                  <a:gd name="connsiteX0" fmla="*/ 944 w 518238"/>
                  <a:gd name="connsiteY0" fmla="*/ 998498 h 1192650"/>
                  <a:gd name="connsiteX1" fmla="*/ 498786 w 518238"/>
                  <a:gd name="connsiteY1" fmla="*/ 277 h 1192650"/>
                  <a:gd name="connsiteX2" fmla="*/ 376865 w 518238"/>
                  <a:gd name="connsiteY2" fmla="*/ 1104544 h 1192650"/>
                  <a:gd name="connsiteX3" fmla="*/ 944 w 518238"/>
                  <a:gd name="connsiteY3" fmla="*/ 998498 h 1192650"/>
                  <a:gd name="connsiteX0" fmla="*/ 944 w 592901"/>
                  <a:gd name="connsiteY0" fmla="*/ 998498 h 1192650"/>
                  <a:gd name="connsiteX1" fmla="*/ 498786 w 592901"/>
                  <a:gd name="connsiteY1" fmla="*/ 277 h 1192650"/>
                  <a:gd name="connsiteX2" fmla="*/ 376865 w 592901"/>
                  <a:gd name="connsiteY2" fmla="*/ 1104544 h 1192650"/>
                  <a:gd name="connsiteX3" fmla="*/ 944 w 592901"/>
                  <a:gd name="connsiteY3" fmla="*/ 998498 h 1192650"/>
                  <a:gd name="connsiteX0" fmla="*/ 944 w 592901"/>
                  <a:gd name="connsiteY0" fmla="*/ 998221 h 1192373"/>
                  <a:gd name="connsiteX1" fmla="*/ 498786 w 592901"/>
                  <a:gd name="connsiteY1" fmla="*/ 0 h 1192373"/>
                  <a:gd name="connsiteX2" fmla="*/ 376865 w 592901"/>
                  <a:gd name="connsiteY2" fmla="*/ 1104267 h 1192373"/>
                  <a:gd name="connsiteX3" fmla="*/ 944 w 592901"/>
                  <a:gd name="connsiteY3" fmla="*/ 998221 h 1192373"/>
                  <a:gd name="connsiteX0" fmla="*/ 1060 w 591755"/>
                  <a:gd name="connsiteY0" fmla="*/ 998221 h 1192373"/>
                  <a:gd name="connsiteX1" fmla="*/ 498902 w 591755"/>
                  <a:gd name="connsiteY1" fmla="*/ 0 h 1192373"/>
                  <a:gd name="connsiteX2" fmla="*/ 370631 w 591755"/>
                  <a:gd name="connsiteY2" fmla="*/ 1104267 h 1192373"/>
                  <a:gd name="connsiteX3" fmla="*/ 1060 w 591755"/>
                  <a:gd name="connsiteY3" fmla="*/ 998221 h 1192373"/>
                  <a:gd name="connsiteX0" fmla="*/ 1362 w 606138"/>
                  <a:gd name="connsiteY0" fmla="*/ 998221 h 1196572"/>
                  <a:gd name="connsiteX1" fmla="*/ 499204 w 606138"/>
                  <a:gd name="connsiteY1" fmla="*/ 0 h 1196572"/>
                  <a:gd name="connsiteX2" fmla="*/ 370933 w 606138"/>
                  <a:gd name="connsiteY2" fmla="*/ 1104267 h 1196572"/>
                  <a:gd name="connsiteX3" fmla="*/ 1362 w 606138"/>
                  <a:gd name="connsiteY3" fmla="*/ 998221 h 1196572"/>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2109 w 592804"/>
                  <a:gd name="connsiteY0" fmla="*/ 991871 h 1210415"/>
                  <a:gd name="connsiteX1" fmla="*/ 499951 w 592804"/>
                  <a:gd name="connsiteY1" fmla="*/ 0 h 1210415"/>
                  <a:gd name="connsiteX2" fmla="*/ 371680 w 592804"/>
                  <a:gd name="connsiteY2" fmla="*/ 1104267 h 1210415"/>
                  <a:gd name="connsiteX3" fmla="*/ 2109 w 592804"/>
                  <a:gd name="connsiteY3" fmla="*/ 991871 h 1210415"/>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1298 w 603412"/>
                  <a:gd name="connsiteY0" fmla="*/ 991871 h 1189982"/>
                  <a:gd name="connsiteX1" fmla="*/ 499140 w 603412"/>
                  <a:gd name="connsiteY1" fmla="*/ 0 h 1189982"/>
                  <a:gd name="connsiteX2" fmla="*/ 370869 w 603412"/>
                  <a:gd name="connsiteY2" fmla="*/ 1104267 h 1189982"/>
                  <a:gd name="connsiteX3" fmla="*/ 1298 w 603412"/>
                  <a:gd name="connsiteY3" fmla="*/ 991871 h 1189982"/>
                  <a:gd name="connsiteX0" fmla="*/ 1051 w 595012"/>
                  <a:gd name="connsiteY0" fmla="*/ 969646 h 1182098"/>
                  <a:gd name="connsiteX1" fmla="*/ 502068 w 595012"/>
                  <a:gd name="connsiteY1" fmla="*/ 0 h 1182098"/>
                  <a:gd name="connsiteX2" fmla="*/ 373797 w 595012"/>
                  <a:gd name="connsiteY2" fmla="*/ 1104267 h 1182098"/>
                  <a:gd name="connsiteX3" fmla="*/ 1051 w 595012"/>
                  <a:gd name="connsiteY3" fmla="*/ 969646 h 1182098"/>
                  <a:gd name="connsiteX0" fmla="*/ 10923 w 604884"/>
                  <a:gd name="connsiteY0" fmla="*/ 969646 h 1198071"/>
                  <a:gd name="connsiteX1" fmla="*/ 511940 w 604884"/>
                  <a:gd name="connsiteY1" fmla="*/ 0 h 1198071"/>
                  <a:gd name="connsiteX2" fmla="*/ 383669 w 604884"/>
                  <a:gd name="connsiteY2" fmla="*/ 1104267 h 1198071"/>
                  <a:gd name="connsiteX3" fmla="*/ 10923 w 604884"/>
                  <a:gd name="connsiteY3" fmla="*/ 969646 h 1198071"/>
                  <a:gd name="connsiteX0" fmla="*/ 169 w 610907"/>
                  <a:gd name="connsiteY0" fmla="*/ 969646 h 1129030"/>
                  <a:gd name="connsiteX1" fmla="*/ 501186 w 610907"/>
                  <a:gd name="connsiteY1" fmla="*/ 0 h 1129030"/>
                  <a:gd name="connsiteX2" fmla="*/ 445940 w 610907"/>
                  <a:gd name="connsiteY2" fmla="*/ 1031242 h 1129030"/>
                  <a:gd name="connsiteX3" fmla="*/ 169 w 610907"/>
                  <a:gd name="connsiteY3" fmla="*/ 969646 h 1129030"/>
                  <a:gd name="connsiteX0" fmla="*/ 217 w 633031"/>
                  <a:gd name="connsiteY0" fmla="*/ 969646 h 1163202"/>
                  <a:gd name="connsiteX1" fmla="*/ 501234 w 633031"/>
                  <a:gd name="connsiteY1" fmla="*/ 0 h 1163202"/>
                  <a:gd name="connsiteX2" fmla="*/ 445988 w 633031"/>
                  <a:gd name="connsiteY2" fmla="*/ 1031242 h 1163202"/>
                  <a:gd name="connsiteX3" fmla="*/ 217 w 633031"/>
                  <a:gd name="connsiteY3" fmla="*/ 969646 h 1163202"/>
                  <a:gd name="connsiteX0" fmla="*/ 374 w 627821"/>
                  <a:gd name="connsiteY0" fmla="*/ 969646 h 1183789"/>
                  <a:gd name="connsiteX1" fmla="*/ 501391 w 627821"/>
                  <a:gd name="connsiteY1" fmla="*/ 0 h 1183789"/>
                  <a:gd name="connsiteX2" fmla="*/ 430270 w 627821"/>
                  <a:gd name="connsiteY2" fmla="*/ 1059817 h 1183789"/>
                  <a:gd name="connsiteX3" fmla="*/ 374 w 627821"/>
                  <a:gd name="connsiteY3" fmla="*/ 969646 h 1183789"/>
                  <a:gd name="connsiteX0" fmla="*/ 735 w 620305"/>
                  <a:gd name="connsiteY0" fmla="*/ 969646 h 1195580"/>
                  <a:gd name="connsiteX1" fmla="*/ 501752 w 620305"/>
                  <a:gd name="connsiteY1" fmla="*/ 0 h 1195580"/>
                  <a:gd name="connsiteX2" fmla="*/ 405231 w 620305"/>
                  <a:gd name="connsiteY2" fmla="*/ 1075692 h 1195580"/>
                  <a:gd name="connsiteX3" fmla="*/ 735 w 620305"/>
                  <a:gd name="connsiteY3" fmla="*/ 969646 h 1195580"/>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1306 w 592833"/>
                  <a:gd name="connsiteY0" fmla="*/ 969646 h 1177209"/>
                  <a:gd name="connsiteX1" fmla="*/ 502323 w 592833"/>
                  <a:gd name="connsiteY1" fmla="*/ 0 h 1177209"/>
                  <a:gd name="connsiteX2" fmla="*/ 361352 w 592833"/>
                  <a:gd name="connsiteY2" fmla="*/ 1097917 h 1177209"/>
                  <a:gd name="connsiteX3" fmla="*/ 1306 w 592833"/>
                  <a:gd name="connsiteY3" fmla="*/ 969646 h 1177209"/>
                  <a:gd name="connsiteX0" fmla="*/ 1550 w 602147"/>
                  <a:gd name="connsiteY0" fmla="*/ 969646 h 1177209"/>
                  <a:gd name="connsiteX1" fmla="*/ 502567 w 602147"/>
                  <a:gd name="connsiteY1" fmla="*/ 0 h 1177209"/>
                  <a:gd name="connsiteX2" fmla="*/ 361596 w 602147"/>
                  <a:gd name="connsiteY2" fmla="*/ 1097917 h 1177209"/>
                  <a:gd name="connsiteX3" fmla="*/ 1550 w 602147"/>
                  <a:gd name="connsiteY3" fmla="*/ 969646 h 1177209"/>
                  <a:gd name="connsiteX0" fmla="*/ 1824 w 610811"/>
                  <a:gd name="connsiteY0" fmla="*/ 969646 h 1177209"/>
                  <a:gd name="connsiteX1" fmla="*/ 502841 w 610811"/>
                  <a:gd name="connsiteY1" fmla="*/ 0 h 1177209"/>
                  <a:gd name="connsiteX2" fmla="*/ 361870 w 610811"/>
                  <a:gd name="connsiteY2" fmla="*/ 1097917 h 1177209"/>
                  <a:gd name="connsiteX3" fmla="*/ 1824 w 610811"/>
                  <a:gd name="connsiteY3" fmla="*/ 969646 h 1177209"/>
                  <a:gd name="connsiteX0" fmla="*/ 2494 w 606902"/>
                  <a:gd name="connsiteY0" fmla="*/ 969646 h 1192009"/>
                  <a:gd name="connsiteX1" fmla="*/ 503511 w 606902"/>
                  <a:gd name="connsiteY1" fmla="*/ 0 h 1192009"/>
                  <a:gd name="connsiteX2" fmla="*/ 343490 w 606902"/>
                  <a:gd name="connsiteY2" fmla="*/ 1116967 h 1192009"/>
                  <a:gd name="connsiteX3" fmla="*/ 2494 w 606902"/>
                  <a:gd name="connsiteY3" fmla="*/ 969646 h 1192009"/>
                  <a:gd name="connsiteX0" fmla="*/ 1927 w 610127"/>
                  <a:gd name="connsiteY0" fmla="*/ 969646 h 1192009"/>
                  <a:gd name="connsiteX1" fmla="*/ 502944 w 610127"/>
                  <a:gd name="connsiteY1" fmla="*/ 0 h 1192009"/>
                  <a:gd name="connsiteX2" fmla="*/ 358798 w 610127"/>
                  <a:gd name="connsiteY2" fmla="*/ 1116967 h 1192009"/>
                  <a:gd name="connsiteX3" fmla="*/ 1927 w 610127"/>
                  <a:gd name="connsiteY3" fmla="*/ 969646 h 1192009"/>
                </a:gdLst>
                <a:ahLst/>
                <a:cxnLst>
                  <a:cxn ang="0">
                    <a:pos x="connsiteX0" y="connsiteY0"/>
                  </a:cxn>
                  <a:cxn ang="0">
                    <a:pos x="connsiteX1" y="connsiteY1"/>
                  </a:cxn>
                  <a:cxn ang="0">
                    <a:pos x="connsiteX2" y="connsiteY2"/>
                  </a:cxn>
                  <a:cxn ang="0">
                    <a:pos x="connsiteX3" y="connsiteY3"/>
                  </a:cxn>
                </a:cxnLst>
                <a:rect l="l" t="t" r="r" b="b"/>
                <a:pathLst>
                  <a:path w="610127" h="1192009">
                    <a:moveTo>
                      <a:pt x="1927" y="969646"/>
                    </a:moveTo>
                    <a:cubicBezTo>
                      <a:pt x="25951" y="783485"/>
                      <a:pt x="462516" y="690351"/>
                      <a:pt x="502944" y="0"/>
                    </a:cubicBezTo>
                    <a:cubicBezTo>
                      <a:pt x="740222" y="655849"/>
                      <a:pt x="534376" y="955359"/>
                      <a:pt x="358798" y="1116967"/>
                    </a:cubicBezTo>
                    <a:cubicBezTo>
                      <a:pt x="183220" y="1278575"/>
                      <a:pt x="-22097" y="1155807"/>
                      <a:pt x="1927" y="969646"/>
                    </a:cubicBezTo>
                    <a:close/>
                  </a:path>
                </a:pathLst>
              </a:cu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8" name="Teardrop 5"/>
              <p:cNvSpPr/>
              <p:nvPr/>
            </p:nvSpPr>
            <p:spPr bwMode="gray">
              <a:xfrm rot="15360123" flipH="1">
                <a:off x="8814275" y="2351052"/>
                <a:ext cx="550617" cy="2387082"/>
              </a:xfrm>
              <a:custGeom>
                <a:avLst/>
                <a:gdLst>
                  <a:gd name="connsiteX0" fmla="*/ 0 w 1278892"/>
                  <a:gd name="connsiteY0" fmla="*/ 639446 h 1278892"/>
                  <a:gd name="connsiteX1" fmla="*/ 639446 w 1278892"/>
                  <a:gd name="connsiteY1" fmla="*/ 0 h 1278892"/>
                  <a:gd name="connsiteX2" fmla="*/ 1278892 w 1278892"/>
                  <a:gd name="connsiteY2" fmla="*/ 0 h 1278892"/>
                  <a:gd name="connsiteX3" fmla="*/ 1278892 w 1278892"/>
                  <a:gd name="connsiteY3" fmla="*/ 639446 h 1278892"/>
                  <a:gd name="connsiteX4" fmla="*/ 639446 w 1278892"/>
                  <a:gd name="connsiteY4" fmla="*/ 1278892 h 1278892"/>
                  <a:gd name="connsiteX5" fmla="*/ 0 w 1278892"/>
                  <a:gd name="connsiteY5" fmla="*/ 639446 h 1278892"/>
                  <a:gd name="connsiteX0" fmla="*/ 0 w 1082042"/>
                  <a:gd name="connsiteY0" fmla="*/ 626746 h 1278903"/>
                  <a:gd name="connsiteX1" fmla="*/ 442596 w 1082042"/>
                  <a:gd name="connsiteY1" fmla="*/ 0 h 1278903"/>
                  <a:gd name="connsiteX2" fmla="*/ 1082042 w 1082042"/>
                  <a:gd name="connsiteY2" fmla="*/ 0 h 1278903"/>
                  <a:gd name="connsiteX3" fmla="*/ 1082042 w 1082042"/>
                  <a:gd name="connsiteY3" fmla="*/ 639446 h 1278903"/>
                  <a:gd name="connsiteX4" fmla="*/ 442596 w 1082042"/>
                  <a:gd name="connsiteY4" fmla="*/ 1278892 h 1278903"/>
                  <a:gd name="connsiteX5" fmla="*/ 0 w 1082042"/>
                  <a:gd name="connsiteY5" fmla="*/ 626746 h 1278903"/>
                  <a:gd name="connsiteX0" fmla="*/ 8249 w 918841"/>
                  <a:gd name="connsiteY0" fmla="*/ 648971 h 1278898"/>
                  <a:gd name="connsiteX1" fmla="*/ 279395 w 918841"/>
                  <a:gd name="connsiteY1" fmla="*/ 0 h 1278898"/>
                  <a:gd name="connsiteX2" fmla="*/ 918841 w 918841"/>
                  <a:gd name="connsiteY2" fmla="*/ 0 h 1278898"/>
                  <a:gd name="connsiteX3" fmla="*/ 918841 w 918841"/>
                  <a:gd name="connsiteY3" fmla="*/ 639446 h 1278898"/>
                  <a:gd name="connsiteX4" fmla="*/ 279395 w 918841"/>
                  <a:gd name="connsiteY4" fmla="*/ 1278892 h 1278898"/>
                  <a:gd name="connsiteX5" fmla="*/ 8249 w 918841"/>
                  <a:gd name="connsiteY5" fmla="*/ 648971 h 1278898"/>
                  <a:gd name="connsiteX0" fmla="*/ 22322 w 932914"/>
                  <a:gd name="connsiteY0" fmla="*/ 648971 h 1180472"/>
                  <a:gd name="connsiteX1" fmla="*/ 293468 w 932914"/>
                  <a:gd name="connsiteY1" fmla="*/ 0 h 1180472"/>
                  <a:gd name="connsiteX2" fmla="*/ 932914 w 932914"/>
                  <a:gd name="connsiteY2" fmla="*/ 0 h 1180472"/>
                  <a:gd name="connsiteX3" fmla="*/ 932914 w 932914"/>
                  <a:gd name="connsiteY3" fmla="*/ 639446 h 1180472"/>
                  <a:gd name="connsiteX4" fmla="*/ 118843 w 932914"/>
                  <a:gd name="connsiteY4" fmla="*/ 1180467 h 1180472"/>
                  <a:gd name="connsiteX5" fmla="*/ 22322 w 932914"/>
                  <a:gd name="connsiteY5" fmla="*/ 648971 h 1180472"/>
                  <a:gd name="connsiteX0" fmla="*/ 55328 w 889720"/>
                  <a:gd name="connsiteY0" fmla="*/ 791846 h 1182500"/>
                  <a:gd name="connsiteX1" fmla="*/ 250274 w 889720"/>
                  <a:gd name="connsiteY1" fmla="*/ 0 h 1182500"/>
                  <a:gd name="connsiteX2" fmla="*/ 889720 w 889720"/>
                  <a:gd name="connsiteY2" fmla="*/ 0 h 1182500"/>
                  <a:gd name="connsiteX3" fmla="*/ 889720 w 889720"/>
                  <a:gd name="connsiteY3" fmla="*/ 639446 h 1182500"/>
                  <a:gd name="connsiteX4" fmla="*/ 75649 w 889720"/>
                  <a:gd name="connsiteY4" fmla="*/ 1180467 h 1182500"/>
                  <a:gd name="connsiteX5" fmla="*/ 55328 w 889720"/>
                  <a:gd name="connsiteY5" fmla="*/ 791846 h 1182500"/>
                  <a:gd name="connsiteX0" fmla="*/ 148362 w 982754"/>
                  <a:gd name="connsiteY0" fmla="*/ 791846 h 1182474"/>
                  <a:gd name="connsiteX1" fmla="*/ 343308 w 982754"/>
                  <a:gd name="connsiteY1" fmla="*/ 0 h 1182474"/>
                  <a:gd name="connsiteX2" fmla="*/ 982754 w 982754"/>
                  <a:gd name="connsiteY2" fmla="*/ 0 h 1182474"/>
                  <a:gd name="connsiteX3" fmla="*/ 982754 w 982754"/>
                  <a:gd name="connsiteY3" fmla="*/ 639446 h 1182474"/>
                  <a:gd name="connsiteX4" fmla="*/ 168683 w 982754"/>
                  <a:gd name="connsiteY4" fmla="*/ 1180467 h 1182474"/>
                  <a:gd name="connsiteX5" fmla="*/ 148362 w 982754"/>
                  <a:gd name="connsiteY5" fmla="*/ 791846 h 1182474"/>
                  <a:gd name="connsiteX0" fmla="*/ 148362 w 982754"/>
                  <a:gd name="connsiteY0" fmla="*/ 766446 h 1181766"/>
                  <a:gd name="connsiteX1" fmla="*/ 343308 w 982754"/>
                  <a:gd name="connsiteY1" fmla="*/ 0 h 1181766"/>
                  <a:gd name="connsiteX2" fmla="*/ 982754 w 982754"/>
                  <a:gd name="connsiteY2" fmla="*/ 0 h 1181766"/>
                  <a:gd name="connsiteX3" fmla="*/ 982754 w 982754"/>
                  <a:gd name="connsiteY3" fmla="*/ 639446 h 1181766"/>
                  <a:gd name="connsiteX4" fmla="*/ 168683 w 982754"/>
                  <a:gd name="connsiteY4" fmla="*/ 1180467 h 1181766"/>
                  <a:gd name="connsiteX5" fmla="*/ 148362 w 982754"/>
                  <a:gd name="connsiteY5" fmla="*/ 766446 h 1181766"/>
                  <a:gd name="connsiteX0" fmla="*/ 170292 w 1004684"/>
                  <a:gd name="connsiteY0" fmla="*/ 766446 h 1180869"/>
                  <a:gd name="connsiteX1" fmla="*/ 365238 w 1004684"/>
                  <a:gd name="connsiteY1" fmla="*/ 0 h 1180869"/>
                  <a:gd name="connsiteX2" fmla="*/ 1004684 w 1004684"/>
                  <a:gd name="connsiteY2" fmla="*/ 0 h 1180869"/>
                  <a:gd name="connsiteX3" fmla="*/ 1004684 w 1004684"/>
                  <a:gd name="connsiteY3" fmla="*/ 639446 h 1180869"/>
                  <a:gd name="connsiteX4" fmla="*/ 190613 w 1004684"/>
                  <a:gd name="connsiteY4" fmla="*/ 1180467 h 1180869"/>
                  <a:gd name="connsiteX5" fmla="*/ 170292 w 1004684"/>
                  <a:gd name="connsiteY5" fmla="*/ 766446 h 1180869"/>
                  <a:gd name="connsiteX0" fmla="*/ 128386 w 962778"/>
                  <a:gd name="connsiteY0" fmla="*/ 766446 h 1181766"/>
                  <a:gd name="connsiteX1" fmla="*/ 323332 w 962778"/>
                  <a:gd name="connsiteY1" fmla="*/ 0 h 1181766"/>
                  <a:gd name="connsiteX2" fmla="*/ 962778 w 962778"/>
                  <a:gd name="connsiteY2" fmla="*/ 0 h 1181766"/>
                  <a:gd name="connsiteX3" fmla="*/ 518278 w 962778"/>
                  <a:gd name="connsiteY3" fmla="*/ 639446 h 1181766"/>
                  <a:gd name="connsiteX4" fmla="*/ 148707 w 962778"/>
                  <a:gd name="connsiteY4" fmla="*/ 1180467 h 1181766"/>
                  <a:gd name="connsiteX5" fmla="*/ 128386 w 962778"/>
                  <a:gd name="connsiteY5" fmla="*/ 766446 h 1181766"/>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571182"/>
                  <a:gd name="connsiteY0" fmla="*/ 766446 h 1185005"/>
                  <a:gd name="connsiteX1" fmla="*/ 325436 w 571182"/>
                  <a:gd name="connsiteY1" fmla="*/ 0 h 1185005"/>
                  <a:gd name="connsiteX2" fmla="*/ 548957 w 571182"/>
                  <a:gd name="connsiteY2" fmla="*/ 3175 h 1185005"/>
                  <a:gd name="connsiteX3" fmla="*/ 571182 w 571182"/>
                  <a:gd name="connsiteY3" fmla="*/ 512446 h 1185005"/>
                  <a:gd name="connsiteX4" fmla="*/ 150811 w 571182"/>
                  <a:gd name="connsiteY4" fmla="*/ 1180467 h 1185005"/>
                  <a:gd name="connsiteX5" fmla="*/ 130490 w 571182"/>
                  <a:gd name="connsiteY5" fmla="*/ 766446 h 1185005"/>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26454 w 468721"/>
                  <a:gd name="connsiteY0" fmla="*/ 775971 h 1217994"/>
                  <a:gd name="connsiteX1" fmla="*/ 321400 w 468721"/>
                  <a:gd name="connsiteY1" fmla="*/ 9525 h 1217994"/>
                  <a:gd name="connsiteX2" fmla="*/ 468721 w 468721"/>
                  <a:gd name="connsiteY2" fmla="*/ 0 h 1217994"/>
                  <a:gd name="connsiteX3" fmla="*/ 146775 w 468721"/>
                  <a:gd name="connsiteY3" fmla="*/ 1189992 h 1217994"/>
                  <a:gd name="connsiteX4" fmla="*/ 126454 w 468721"/>
                  <a:gd name="connsiteY4" fmla="*/ 775971 h 1217994"/>
                  <a:gd name="connsiteX0" fmla="*/ 41012 w 383279"/>
                  <a:gd name="connsiteY0" fmla="*/ 775971 h 1099664"/>
                  <a:gd name="connsiteX1" fmla="*/ 235958 w 383279"/>
                  <a:gd name="connsiteY1" fmla="*/ 9525 h 1099664"/>
                  <a:gd name="connsiteX2" fmla="*/ 383279 w 383279"/>
                  <a:gd name="connsiteY2" fmla="*/ 0 h 1099664"/>
                  <a:gd name="connsiteX3" fmla="*/ 321683 w 383279"/>
                  <a:gd name="connsiteY3" fmla="*/ 1062992 h 1099664"/>
                  <a:gd name="connsiteX4" fmla="*/ 41012 w 383279"/>
                  <a:gd name="connsiteY4" fmla="*/ 775971 h 1099664"/>
                  <a:gd name="connsiteX0" fmla="*/ 41012 w 510976"/>
                  <a:gd name="connsiteY0" fmla="*/ 775971 h 1279428"/>
                  <a:gd name="connsiteX1" fmla="*/ 235958 w 510976"/>
                  <a:gd name="connsiteY1" fmla="*/ 9525 h 1279428"/>
                  <a:gd name="connsiteX2" fmla="*/ 383279 w 510976"/>
                  <a:gd name="connsiteY2" fmla="*/ 0 h 1279428"/>
                  <a:gd name="connsiteX3" fmla="*/ 321683 w 510976"/>
                  <a:gd name="connsiteY3" fmla="*/ 1062992 h 1279428"/>
                  <a:gd name="connsiteX4" fmla="*/ 41012 w 510976"/>
                  <a:gd name="connsiteY4" fmla="*/ 775971 h 1279428"/>
                  <a:gd name="connsiteX0" fmla="*/ 41647 w 518397"/>
                  <a:gd name="connsiteY0" fmla="*/ 775971 h 1155749"/>
                  <a:gd name="connsiteX1" fmla="*/ 236593 w 518397"/>
                  <a:gd name="connsiteY1" fmla="*/ 9525 h 1155749"/>
                  <a:gd name="connsiteX2" fmla="*/ 383914 w 518397"/>
                  <a:gd name="connsiteY2" fmla="*/ 0 h 1155749"/>
                  <a:gd name="connsiteX3" fmla="*/ 331843 w 518397"/>
                  <a:gd name="connsiteY3" fmla="*/ 910592 h 1155749"/>
                  <a:gd name="connsiteX4" fmla="*/ 41647 w 518397"/>
                  <a:gd name="connsiteY4" fmla="*/ 775971 h 1155749"/>
                  <a:gd name="connsiteX0" fmla="*/ 41647 w 383914"/>
                  <a:gd name="connsiteY0" fmla="*/ 775971 h 966949"/>
                  <a:gd name="connsiteX1" fmla="*/ 236593 w 383914"/>
                  <a:gd name="connsiteY1" fmla="*/ 9525 h 966949"/>
                  <a:gd name="connsiteX2" fmla="*/ 383914 w 383914"/>
                  <a:gd name="connsiteY2" fmla="*/ 0 h 966949"/>
                  <a:gd name="connsiteX3" fmla="*/ 331843 w 383914"/>
                  <a:gd name="connsiteY3" fmla="*/ 910592 h 966949"/>
                  <a:gd name="connsiteX4" fmla="*/ 41647 w 383914"/>
                  <a:gd name="connsiteY4" fmla="*/ 775971 h 966949"/>
                  <a:gd name="connsiteX0" fmla="*/ 4778 w 493095"/>
                  <a:gd name="connsiteY0" fmla="*/ 998221 h 1080371"/>
                  <a:gd name="connsiteX1" fmla="*/ 345774 w 493095"/>
                  <a:gd name="connsiteY1" fmla="*/ 9525 h 1080371"/>
                  <a:gd name="connsiteX2" fmla="*/ 493095 w 493095"/>
                  <a:gd name="connsiteY2" fmla="*/ 0 h 1080371"/>
                  <a:gd name="connsiteX3" fmla="*/ 441024 w 493095"/>
                  <a:gd name="connsiteY3" fmla="*/ 910592 h 1080371"/>
                  <a:gd name="connsiteX4" fmla="*/ 4778 w 493095"/>
                  <a:gd name="connsiteY4" fmla="*/ 998221 h 1080371"/>
                  <a:gd name="connsiteX0" fmla="*/ 2311 w 490628"/>
                  <a:gd name="connsiteY0" fmla="*/ 998221 h 1169264"/>
                  <a:gd name="connsiteX1" fmla="*/ 343307 w 490628"/>
                  <a:gd name="connsiteY1" fmla="*/ 9525 h 1169264"/>
                  <a:gd name="connsiteX2" fmla="*/ 490628 w 490628"/>
                  <a:gd name="connsiteY2" fmla="*/ 0 h 1169264"/>
                  <a:gd name="connsiteX3" fmla="*/ 394107 w 490628"/>
                  <a:gd name="connsiteY3" fmla="*/ 1072517 h 1169264"/>
                  <a:gd name="connsiteX4" fmla="*/ 2311 w 490628"/>
                  <a:gd name="connsiteY4" fmla="*/ 998221 h 1169264"/>
                  <a:gd name="connsiteX0" fmla="*/ 2311 w 513147"/>
                  <a:gd name="connsiteY0" fmla="*/ 998221 h 1209324"/>
                  <a:gd name="connsiteX1" fmla="*/ 343307 w 513147"/>
                  <a:gd name="connsiteY1" fmla="*/ 9525 h 1209324"/>
                  <a:gd name="connsiteX2" fmla="*/ 490628 w 513147"/>
                  <a:gd name="connsiteY2" fmla="*/ 0 h 1209324"/>
                  <a:gd name="connsiteX3" fmla="*/ 394107 w 513147"/>
                  <a:gd name="connsiteY3" fmla="*/ 1072517 h 1209324"/>
                  <a:gd name="connsiteX4" fmla="*/ 2311 w 513147"/>
                  <a:gd name="connsiteY4" fmla="*/ 998221 h 1209324"/>
                  <a:gd name="connsiteX0" fmla="*/ 2311 w 500153"/>
                  <a:gd name="connsiteY0" fmla="*/ 998221 h 1169264"/>
                  <a:gd name="connsiteX1" fmla="*/ 343307 w 500153"/>
                  <a:gd name="connsiteY1" fmla="*/ 9525 h 1169264"/>
                  <a:gd name="connsiteX2" fmla="*/ 500153 w 500153"/>
                  <a:gd name="connsiteY2" fmla="*/ 0 h 1169264"/>
                  <a:gd name="connsiteX3" fmla="*/ 394107 w 500153"/>
                  <a:gd name="connsiteY3" fmla="*/ 1072517 h 1169264"/>
                  <a:gd name="connsiteX4" fmla="*/ 2311 w 500153"/>
                  <a:gd name="connsiteY4" fmla="*/ 998221 h 1169264"/>
                  <a:gd name="connsiteX0" fmla="*/ 2311 w 597709"/>
                  <a:gd name="connsiteY0" fmla="*/ 998221 h 1169264"/>
                  <a:gd name="connsiteX1" fmla="*/ 343307 w 597709"/>
                  <a:gd name="connsiteY1" fmla="*/ 9525 h 1169264"/>
                  <a:gd name="connsiteX2" fmla="*/ 500153 w 597709"/>
                  <a:gd name="connsiteY2" fmla="*/ 0 h 1169264"/>
                  <a:gd name="connsiteX3" fmla="*/ 394107 w 597709"/>
                  <a:gd name="connsiteY3" fmla="*/ 1072517 h 1169264"/>
                  <a:gd name="connsiteX4" fmla="*/ 2311 w 597709"/>
                  <a:gd name="connsiteY4" fmla="*/ 998221 h 1169264"/>
                  <a:gd name="connsiteX0" fmla="*/ 1506 w 593602"/>
                  <a:gd name="connsiteY0" fmla="*/ 998221 h 1191964"/>
                  <a:gd name="connsiteX1" fmla="*/ 342502 w 593602"/>
                  <a:gd name="connsiteY1" fmla="*/ 9525 h 1191964"/>
                  <a:gd name="connsiteX2" fmla="*/ 499348 w 593602"/>
                  <a:gd name="connsiteY2" fmla="*/ 0 h 1191964"/>
                  <a:gd name="connsiteX3" fmla="*/ 377427 w 593602"/>
                  <a:gd name="connsiteY3" fmla="*/ 1104267 h 1191964"/>
                  <a:gd name="connsiteX4" fmla="*/ 1506 w 593602"/>
                  <a:gd name="connsiteY4" fmla="*/ 998221 h 1191964"/>
                  <a:gd name="connsiteX0" fmla="*/ 1506 w 604625"/>
                  <a:gd name="connsiteY0" fmla="*/ 998221 h 1193365"/>
                  <a:gd name="connsiteX1" fmla="*/ 342502 w 604625"/>
                  <a:gd name="connsiteY1" fmla="*/ 9525 h 1193365"/>
                  <a:gd name="connsiteX2" fmla="*/ 499348 w 604625"/>
                  <a:gd name="connsiteY2" fmla="*/ 0 h 1193365"/>
                  <a:gd name="connsiteX3" fmla="*/ 377427 w 604625"/>
                  <a:gd name="connsiteY3" fmla="*/ 1104267 h 1193365"/>
                  <a:gd name="connsiteX4" fmla="*/ 1506 w 604625"/>
                  <a:gd name="connsiteY4" fmla="*/ 998221 h 1193365"/>
                  <a:gd name="connsiteX0" fmla="*/ 1506 w 604625"/>
                  <a:gd name="connsiteY0" fmla="*/ 998221 h 1184807"/>
                  <a:gd name="connsiteX1" fmla="*/ 342502 w 604625"/>
                  <a:gd name="connsiteY1" fmla="*/ 222250 h 1184807"/>
                  <a:gd name="connsiteX2" fmla="*/ 499348 w 604625"/>
                  <a:gd name="connsiteY2" fmla="*/ 0 h 1184807"/>
                  <a:gd name="connsiteX3" fmla="*/ 377427 w 604625"/>
                  <a:gd name="connsiteY3" fmla="*/ 1104267 h 1184807"/>
                  <a:gd name="connsiteX4" fmla="*/ 1506 w 604625"/>
                  <a:gd name="connsiteY4" fmla="*/ 998221 h 1184807"/>
                  <a:gd name="connsiteX0" fmla="*/ 0 w 525622"/>
                  <a:gd name="connsiteY0" fmla="*/ 998498 h 1185084"/>
                  <a:gd name="connsiteX1" fmla="*/ 497842 w 525622"/>
                  <a:gd name="connsiteY1" fmla="*/ 277 h 1185084"/>
                  <a:gd name="connsiteX2" fmla="*/ 375921 w 525622"/>
                  <a:gd name="connsiteY2" fmla="*/ 1104544 h 1185084"/>
                  <a:gd name="connsiteX3" fmla="*/ 0 w 525622"/>
                  <a:gd name="connsiteY3" fmla="*/ 998498 h 1185084"/>
                  <a:gd name="connsiteX0" fmla="*/ 944 w 518238"/>
                  <a:gd name="connsiteY0" fmla="*/ 998498 h 1192650"/>
                  <a:gd name="connsiteX1" fmla="*/ 498786 w 518238"/>
                  <a:gd name="connsiteY1" fmla="*/ 277 h 1192650"/>
                  <a:gd name="connsiteX2" fmla="*/ 376865 w 518238"/>
                  <a:gd name="connsiteY2" fmla="*/ 1104544 h 1192650"/>
                  <a:gd name="connsiteX3" fmla="*/ 944 w 518238"/>
                  <a:gd name="connsiteY3" fmla="*/ 998498 h 1192650"/>
                  <a:gd name="connsiteX0" fmla="*/ 944 w 592901"/>
                  <a:gd name="connsiteY0" fmla="*/ 998498 h 1192650"/>
                  <a:gd name="connsiteX1" fmla="*/ 498786 w 592901"/>
                  <a:gd name="connsiteY1" fmla="*/ 277 h 1192650"/>
                  <a:gd name="connsiteX2" fmla="*/ 376865 w 592901"/>
                  <a:gd name="connsiteY2" fmla="*/ 1104544 h 1192650"/>
                  <a:gd name="connsiteX3" fmla="*/ 944 w 592901"/>
                  <a:gd name="connsiteY3" fmla="*/ 998498 h 1192650"/>
                  <a:gd name="connsiteX0" fmla="*/ 944 w 592901"/>
                  <a:gd name="connsiteY0" fmla="*/ 998221 h 1192373"/>
                  <a:gd name="connsiteX1" fmla="*/ 498786 w 592901"/>
                  <a:gd name="connsiteY1" fmla="*/ 0 h 1192373"/>
                  <a:gd name="connsiteX2" fmla="*/ 376865 w 592901"/>
                  <a:gd name="connsiteY2" fmla="*/ 1104267 h 1192373"/>
                  <a:gd name="connsiteX3" fmla="*/ 944 w 592901"/>
                  <a:gd name="connsiteY3" fmla="*/ 998221 h 1192373"/>
                  <a:gd name="connsiteX0" fmla="*/ 1060 w 591755"/>
                  <a:gd name="connsiteY0" fmla="*/ 998221 h 1192373"/>
                  <a:gd name="connsiteX1" fmla="*/ 498902 w 591755"/>
                  <a:gd name="connsiteY1" fmla="*/ 0 h 1192373"/>
                  <a:gd name="connsiteX2" fmla="*/ 370631 w 591755"/>
                  <a:gd name="connsiteY2" fmla="*/ 1104267 h 1192373"/>
                  <a:gd name="connsiteX3" fmla="*/ 1060 w 591755"/>
                  <a:gd name="connsiteY3" fmla="*/ 998221 h 1192373"/>
                  <a:gd name="connsiteX0" fmla="*/ 1362 w 606138"/>
                  <a:gd name="connsiteY0" fmla="*/ 998221 h 1196572"/>
                  <a:gd name="connsiteX1" fmla="*/ 499204 w 606138"/>
                  <a:gd name="connsiteY1" fmla="*/ 0 h 1196572"/>
                  <a:gd name="connsiteX2" fmla="*/ 370933 w 606138"/>
                  <a:gd name="connsiteY2" fmla="*/ 1104267 h 1196572"/>
                  <a:gd name="connsiteX3" fmla="*/ 1362 w 606138"/>
                  <a:gd name="connsiteY3" fmla="*/ 998221 h 1196572"/>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2109 w 592804"/>
                  <a:gd name="connsiteY0" fmla="*/ 991871 h 1210415"/>
                  <a:gd name="connsiteX1" fmla="*/ 499951 w 592804"/>
                  <a:gd name="connsiteY1" fmla="*/ 0 h 1210415"/>
                  <a:gd name="connsiteX2" fmla="*/ 371680 w 592804"/>
                  <a:gd name="connsiteY2" fmla="*/ 1104267 h 1210415"/>
                  <a:gd name="connsiteX3" fmla="*/ 2109 w 592804"/>
                  <a:gd name="connsiteY3" fmla="*/ 991871 h 1210415"/>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1298 w 603412"/>
                  <a:gd name="connsiteY0" fmla="*/ 991871 h 1189982"/>
                  <a:gd name="connsiteX1" fmla="*/ 499140 w 603412"/>
                  <a:gd name="connsiteY1" fmla="*/ 0 h 1189982"/>
                  <a:gd name="connsiteX2" fmla="*/ 370869 w 603412"/>
                  <a:gd name="connsiteY2" fmla="*/ 1104267 h 1189982"/>
                  <a:gd name="connsiteX3" fmla="*/ 1298 w 603412"/>
                  <a:gd name="connsiteY3" fmla="*/ 991871 h 1189982"/>
                  <a:gd name="connsiteX0" fmla="*/ 1051 w 595012"/>
                  <a:gd name="connsiteY0" fmla="*/ 969646 h 1182098"/>
                  <a:gd name="connsiteX1" fmla="*/ 502068 w 595012"/>
                  <a:gd name="connsiteY1" fmla="*/ 0 h 1182098"/>
                  <a:gd name="connsiteX2" fmla="*/ 373797 w 595012"/>
                  <a:gd name="connsiteY2" fmla="*/ 1104267 h 1182098"/>
                  <a:gd name="connsiteX3" fmla="*/ 1051 w 595012"/>
                  <a:gd name="connsiteY3" fmla="*/ 969646 h 1182098"/>
                  <a:gd name="connsiteX0" fmla="*/ 10923 w 604884"/>
                  <a:gd name="connsiteY0" fmla="*/ 969646 h 1198071"/>
                  <a:gd name="connsiteX1" fmla="*/ 511940 w 604884"/>
                  <a:gd name="connsiteY1" fmla="*/ 0 h 1198071"/>
                  <a:gd name="connsiteX2" fmla="*/ 383669 w 604884"/>
                  <a:gd name="connsiteY2" fmla="*/ 1104267 h 1198071"/>
                  <a:gd name="connsiteX3" fmla="*/ 10923 w 604884"/>
                  <a:gd name="connsiteY3" fmla="*/ 969646 h 1198071"/>
                  <a:gd name="connsiteX0" fmla="*/ 169 w 610907"/>
                  <a:gd name="connsiteY0" fmla="*/ 969646 h 1129030"/>
                  <a:gd name="connsiteX1" fmla="*/ 501186 w 610907"/>
                  <a:gd name="connsiteY1" fmla="*/ 0 h 1129030"/>
                  <a:gd name="connsiteX2" fmla="*/ 445940 w 610907"/>
                  <a:gd name="connsiteY2" fmla="*/ 1031242 h 1129030"/>
                  <a:gd name="connsiteX3" fmla="*/ 169 w 610907"/>
                  <a:gd name="connsiteY3" fmla="*/ 969646 h 1129030"/>
                  <a:gd name="connsiteX0" fmla="*/ 217 w 633031"/>
                  <a:gd name="connsiteY0" fmla="*/ 969646 h 1163202"/>
                  <a:gd name="connsiteX1" fmla="*/ 501234 w 633031"/>
                  <a:gd name="connsiteY1" fmla="*/ 0 h 1163202"/>
                  <a:gd name="connsiteX2" fmla="*/ 445988 w 633031"/>
                  <a:gd name="connsiteY2" fmla="*/ 1031242 h 1163202"/>
                  <a:gd name="connsiteX3" fmla="*/ 217 w 633031"/>
                  <a:gd name="connsiteY3" fmla="*/ 969646 h 1163202"/>
                  <a:gd name="connsiteX0" fmla="*/ 374 w 627821"/>
                  <a:gd name="connsiteY0" fmla="*/ 969646 h 1183789"/>
                  <a:gd name="connsiteX1" fmla="*/ 501391 w 627821"/>
                  <a:gd name="connsiteY1" fmla="*/ 0 h 1183789"/>
                  <a:gd name="connsiteX2" fmla="*/ 430270 w 627821"/>
                  <a:gd name="connsiteY2" fmla="*/ 1059817 h 1183789"/>
                  <a:gd name="connsiteX3" fmla="*/ 374 w 627821"/>
                  <a:gd name="connsiteY3" fmla="*/ 969646 h 1183789"/>
                  <a:gd name="connsiteX0" fmla="*/ 735 w 620305"/>
                  <a:gd name="connsiteY0" fmla="*/ 969646 h 1195580"/>
                  <a:gd name="connsiteX1" fmla="*/ 501752 w 620305"/>
                  <a:gd name="connsiteY1" fmla="*/ 0 h 1195580"/>
                  <a:gd name="connsiteX2" fmla="*/ 405231 w 620305"/>
                  <a:gd name="connsiteY2" fmla="*/ 1075692 h 1195580"/>
                  <a:gd name="connsiteX3" fmla="*/ 735 w 620305"/>
                  <a:gd name="connsiteY3" fmla="*/ 969646 h 1195580"/>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1306 w 592833"/>
                  <a:gd name="connsiteY0" fmla="*/ 969646 h 1177209"/>
                  <a:gd name="connsiteX1" fmla="*/ 502323 w 592833"/>
                  <a:gd name="connsiteY1" fmla="*/ 0 h 1177209"/>
                  <a:gd name="connsiteX2" fmla="*/ 361352 w 592833"/>
                  <a:gd name="connsiteY2" fmla="*/ 1097917 h 1177209"/>
                  <a:gd name="connsiteX3" fmla="*/ 1306 w 592833"/>
                  <a:gd name="connsiteY3" fmla="*/ 969646 h 1177209"/>
                  <a:gd name="connsiteX0" fmla="*/ 1550 w 602147"/>
                  <a:gd name="connsiteY0" fmla="*/ 969646 h 1177209"/>
                  <a:gd name="connsiteX1" fmla="*/ 502567 w 602147"/>
                  <a:gd name="connsiteY1" fmla="*/ 0 h 1177209"/>
                  <a:gd name="connsiteX2" fmla="*/ 361596 w 602147"/>
                  <a:gd name="connsiteY2" fmla="*/ 1097917 h 1177209"/>
                  <a:gd name="connsiteX3" fmla="*/ 1550 w 602147"/>
                  <a:gd name="connsiteY3" fmla="*/ 969646 h 1177209"/>
                  <a:gd name="connsiteX0" fmla="*/ 1824 w 610811"/>
                  <a:gd name="connsiteY0" fmla="*/ 969646 h 1177209"/>
                  <a:gd name="connsiteX1" fmla="*/ 502841 w 610811"/>
                  <a:gd name="connsiteY1" fmla="*/ 0 h 1177209"/>
                  <a:gd name="connsiteX2" fmla="*/ 361870 w 610811"/>
                  <a:gd name="connsiteY2" fmla="*/ 1097917 h 1177209"/>
                  <a:gd name="connsiteX3" fmla="*/ 1824 w 610811"/>
                  <a:gd name="connsiteY3" fmla="*/ 969646 h 1177209"/>
                  <a:gd name="connsiteX0" fmla="*/ 2494 w 606902"/>
                  <a:gd name="connsiteY0" fmla="*/ 969646 h 1192009"/>
                  <a:gd name="connsiteX1" fmla="*/ 503511 w 606902"/>
                  <a:gd name="connsiteY1" fmla="*/ 0 h 1192009"/>
                  <a:gd name="connsiteX2" fmla="*/ 343490 w 606902"/>
                  <a:gd name="connsiteY2" fmla="*/ 1116967 h 1192009"/>
                  <a:gd name="connsiteX3" fmla="*/ 2494 w 606902"/>
                  <a:gd name="connsiteY3" fmla="*/ 969646 h 1192009"/>
                  <a:gd name="connsiteX0" fmla="*/ 1927 w 610127"/>
                  <a:gd name="connsiteY0" fmla="*/ 969646 h 1192009"/>
                  <a:gd name="connsiteX1" fmla="*/ 502944 w 610127"/>
                  <a:gd name="connsiteY1" fmla="*/ 0 h 1192009"/>
                  <a:gd name="connsiteX2" fmla="*/ 358798 w 610127"/>
                  <a:gd name="connsiteY2" fmla="*/ 1116967 h 1192009"/>
                  <a:gd name="connsiteX3" fmla="*/ 1927 w 610127"/>
                  <a:gd name="connsiteY3" fmla="*/ 969646 h 1192009"/>
                  <a:gd name="connsiteX0" fmla="*/ 1094 w 691407"/>
                  <a:gd name="connsiteY0" fmla="*/ 1101870 h 1248289"/>
                  <a:gd name="connsiteX1" fmla="*/ 598782 w 691407"/>
                  <a:gd name="connsiteY1" fmla="*/ 0 h 1248289"/>
                  <a:gd name="connsiteX2" fmla="*/ 454636 w 691407"/>
                  <a:gd name="connsiteY2" fmla="*/ 1116967 h 1248289"/>
                  <a:gd name="connsiteX3" fmla="*/ 1094 w 691407"/>
                  <a:gd name="connsiteY3" fmla="*/ 1101870 h 1248289"/>
                  <a:gd name="connsiteX0" fmla="*/ 25 w 720689"/>
                  <a:gd name="connsiteY0" fmla="*/ 1101870 h 1211524"/>
                  <a:gd name="connsiteX1" fmla="*/ 597713 w 720689"/>
                  <a:gd name="connsiteY1" fmla="*/ 0 h 1211524"/>
                  <a:gd name="connsiteX2" fmla="*/ 573726 w 720689"/>
                  <a:gd name="connsiteY2" fmla="*/ 1047352 h 1211524"/>
                  <a:gd name="connsiteX3" fmla="*/ 25 w 720689"/>
                  <a:gd name="connsiteY3" fmla="*/ 1101870 h 1211524"/>
                  <a:gd name="connsiteX0" fmla="*/ 28 w 733603"/>
                  <a:gd name="connsiteY0" fmla="*/ 1101870 h 1212894"/>
                  <a:gd name="connsiteX1" fmla="*/ 597716 w 733603"/>
                  <a:gd name="connsiteY1" fmla="*/ 0 h 1212894"/>
                  <a:gd name="connsiteX2" fmla="*/ 573729 w 733603"/>
                  <a:gd name="connsiteY2" fmla="*/ 1047352 h 1212894"/>
                  <a:gd name="connsiteX3" fmla="*/ 28 w 733603"/>
                  <a:gd name="connsiteY3" fmla="*/ 1101870 h 1212894"/>
                </a:gdLst>
                <a:ahLst/>
                <a:cxnLst>
                  <a:cxn ang="0">
                    <a:pos x="connsiteX0" y="connsiteY0"/>
                  </a:cxn>
                  <a:cxn ang="0">
                    <a:pos x="connsiteX1" y="connsiteY1"/>
                  </a:cxn>
                  <a:cxn ang="0">
                    <a:pos x="connsiteX2" y="connsiteY2"/>
                  </a:cxn>
                  <a:cxn ang="0">
                    <a:pos x="connsiteX3" y="connsiteY3"/>
                  </a:cxn>
                </a:cxnLst>
                <a:rect l="l" t="t" r="r" b="b"/>
                <a:pathLst>
                  <a:path w="733603" h="1212894">
                    <a:moveTo>
                      <a:pt x="28" y="1101870"/>
                    </a:moveTo>
                    <a:cubicBezTo>
                      <a:pt x="4026" y="927311"/>
                      <a:pt x="557288" y="690351"/>
                      <a:pt x="597716" y="0"/>
                    </a:cubicBezTo>
                    <a:cubicBezTo>
                      <a:pt x="834994" y="655849"/>
                      <a:pt x="718494" y="859414"/>
                      <a:pt x="573729" y="1047352"/>
                    </a:cubicBezTo>
                    <a:cubicBezTo>
                      <a:pt x="428964" y="1235290"/>
                      <a:pt x="-3970" y="1276429"/>
                      <a:pt x="28" y="1101870"/>
                    </a:cubicBezTo>
                    <a:close/>
                  </a:path>
                </a:pathLst>
              </a:cu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9" name="Teardrop 5"/>
              <p:cNvSpPr/>
              <p:nvPr/>
            </p:nvSpPr>
            <p:spPr bwMode="gray">
              <a:xfrm rot="13172805" flipH="1">
                <a:off x="10747255" y="1323942"/>
                <a:ext cx="485823" cy="1705320"/>
              </a:xfrm>
              <a:custGeom>
                <a:avLst/>
                <a:gdLst>
                  <a:gd name="connsiteX0" fmla="*/ 0 w 1278892"/>
                  <a:gd name="connsiteY0" fmla="*/ 639446 h 1278892"/>
                  <a:gd name="connsiteX1" fmla="*/ 639446 w 1278892"/>
                  <a:gd name="connsiteY1" fmla="*/ 0 h 1278892"/>
                  <a:gd name="connsiteX2" fmla="*/ 1278892 w 1278892"/>
                  <a:gd name="connsiteY2" fmla="*/ 0 h 1278892"/>
                  <a:gd name="connsiteX3" fmla="*/ 1278892 w 1278892"/>
                  <a:gd name="connsiteY3" fmla="*/ 639446 h 1278892"/>
                  <a:gd name="connsiteX4" fmla="*/ 639446 w 1278892"/>
                  <a:gd name="connsiteY4" fmla="*/ 1278892 h 1278892"/>
                  <a:gd name="connsiteX5" fmla="*/ 0 w 1278892"/>
                  <a:gd name="connsiteY5" fmla="*/ 639446 h 1278892"/>
                  <a:gd name="connsiteX0" fmla="*/ 0 w 1082042"/>
                  <a:gd name="connsiteY0" fmla="*/ 626746 h 1278903"/>
                  <a:gd name="connsiteX1" fmla="*/ 442596 w 1082042"/>
                  <a:gd name="connsiteY1" fmla="*/ 0 h 1278903"/>
                  <a:gd name="connsiteX2" fmla="*/ 1082042 w 1082042"/>
                  <a:gd name="connsiteY2" fmla="*/ 0 h 1278903"/>
                  <a:gd name="connsiteX3" fmla="*/ 1082042 w 1082042"/>
                  <a:gd name="connsiteY3" fmla="*/ 639446 h 1278903"/>
                  <a:gd name="connsiteX4" fmla="*/ 442596 w 1082042"/>
                  <a:gd name="connsiteY4" fmla="*/ 1278892 h 1278903"/>
                  <a:gd name="connsiteX5" fmla="*/ 0 w 1082042"/>
                  <a:gd name="connsiteY5" fmla="*/ 626746 h 1278903"/>
                  <a:gd name="connsiteX0" fmla="*/ 8249 w 918841"/>
                  <a:gd name="connsiteY0" fmla="*/ 648971 h 1278898"/>
                  <a:gd name="connsiteX1" fmla="*/ 279395 w 918841"/>
                  <a:gd name="connsiteY1" fmla="*/ 0 h 1278898"/>
                  <a:gd name="connsiteX2" fmla="*/ 918841 w 918841"/>
                  <a:gd name="connsiteY2" fmla="*/ 0 h 1278898"/>
                  <a:gd name="connsiteX3" fmla="*/ 918841 w 918841"/>
                  <a:gd name="connsiteY3" fmla="*/ 639446 h 1278898"/>
                  <a:gd name="connsiteX4" fmla="*/ 279395 w 918841"/>
                  <a:gd name="connsiteY4" fmla="*/ 1278892 h 1278898"/>
                  <a:gd name="connsiteX5" fmla="*/ 8249 w 918841"/>
                  <a:gd name="connsiteY5" fmla="*/ 648971 h 1278898"/>
                  <a:gd name="connsiteX0" fmla="*/ 22322 w 932914"/>
                  <a:gd name="connsiteY0" fmla="*/ 648971 h 1180472"/>
                  <a:gd name="connsiteX1" fmla="*/ 293468 w 932914"/>
                  <a:gd name="connsiteY1" fmla="*/ 0 h 1180472"/>
                  <a:gd name="connsiteX2" fmla="*/ 932914 w 932914"/>
                  <a:gd name="connsiteY2" fmla="*/ 0 h 1180472"/>
                  <a:gd name="connsiteX3" fmla="*/ 932914 w 932914"/>
                  <a:gd name="connsiteY3" fmla="*/ 639446 h 1180472"/>
                  <a:gd name="connsiteX4" fmla="*/ 118843 w 932914"/>
                  <a:gd name="connsiteY4" fmla="*/ 1180467 h 1180472"/>
                  <a:gd name="connsiteX5" fmla="*/ 22322 w 932914"/>
                  <a:gd name="connsiteY5" fmla="*/ 648971 h 1180472"/>
                  <a:gd name="connsiteX0" fmla="*/ 55328 w 889720"/>
                  <a:gd name="connsiteY0" fmla="*/ 791846 h 1182500"/>
                  <a:gd name="connsiteX1" fmla="*/ 250274 w 889720"/>
                  <a:gd name="connsiteY1" fmla="*/ 0 h 1182500"/>
                  <a:gd name="connsiteX2" fmla="*/ 889720 w 889720"/>
                  <a:gd name="connsiteY2" fmla="*/ 0 h 1182500"/>
                  <a:gd name="connsiteX3" fmla="*/ 889720 w 889720"/>
                  <a:gd name="connsiteY3" fmla="*/ 639446 h 1182500"/>
                  <a:gd name="connsiteX4" fmla="*/ 75649 w 889720"/>
                  <a:gd name="connsiteY4" fmla="*/ 1180467 h 1182500"/>
                  <a:gd name="connsiteX5" fmla="*/ 55328 w 889720"/>
                  <a:gd name="connsiteY5" fmla="*/ 791846 h 1182500"/>
                  <a:gd name="connsiteX0" fmla="*/ 148362 w 982754"/>
                  <a:gd name="connsiteY0" fmla="*/ 791846 h 1182474"/>
                  <a:gd name="connsiteX1" fmla="*/ 343308 w 982754"/>
                  <a:gd name="connsiteY1" fmla="*/ 0 h 1182474"/>
                  <a:gd name="connsiteX2" fmla="*/ 982754 w 982754"/>
                  <a:gd name="connsiteY2" fmla="*/ 0 h 1182474"/>
                  <a:gd name="connsiteX3" fmla="*/ 982754 w 982754"/>
                  <a:gd name="connsiteY3" fmla="*/ 639446 h 1182474"/>
                  <a:gd name="connsiteX4" fmla="*/ 168683 w 982754"/>
                  <a:gd name="connsiteY4" fmla="*/ 1180467 h 1182474"/>
                  <a:gd name="connsiteX5" fmla="*/ 148362 w 982754"/>
                  <a:gd name="connsiteY5" fmla="*/ 791846 h 1182474"/>
                  <a:gd name="connsiteX0" fmla="*/ 148362 w 982754"/>
                  <a:gd name="connsiteY0" fmla="*/ 766446 h 1181766"/>
                  <a:gd name="connsiteX1" fmla="*/ 343308 w 982754"/>
                  <a:gd name="connsiteY1" fmla="*/ 0 h 1181766"/>
                  <a:gd name="connsiteX2" fmla="*/ 982754 w 982754"/>
                  <a:gd name="connsiteY2" fmla="*/ 0 h 1181766"/>
                  <a:gd name="connsiteX3" fmla="*/ 982754 w 982754"/>
                  <a:gd name="connsiteY3" fmla="*/ 639446 h 1181766"/>
                  <a:gd name="connsiteX4" fmla="*/ 168683 w 982754"/>
                  <a:gd name="connsiteY4" fmla="*/ 1180467 h 1181766"/>
                  <a:gd name="connsiteX5" fmla="*/ 148362 w 982754"/>
                  <a:gd name="connsiteY5" fmla="*/ 766446 h 1181766"/>
                  <a:gd name="connsiteX0" fmla="*/ 170292 w 1004684"/>
                  <a:gd name="connsiteY0" fmla="*/ 766446 h 1180869"/>
                  <a:gd name="connsiteX1" fmla="*/ 365238 w 1004684"/>
                  <a:gd name="connsiteY1" fmla="*/ 0 h 1180869"/>
                  <a:gd name="connsiteX2" fmla="*/ 1004684 w 1004684"/>
                  <a:gd name="connsiteY2" fmla="*/ 0 h 1180869"/>
                  <a:gd name="connsiteX3" fmla="*/ 1004684 w 1004684"/>
                  <a:gd name="connsiteY3" fmla="*/ 639446 h 1180869"/>
                  <a:gd name="connsiteX4" fmla="*/ 190613 w 1004684"/>
                  <a:gd name="connsiteY4" fmla="*/ 1180467 h 1180869"/>
                  <a:gd name="connsiteX5" fmla="*/ 170292 w 1004684"/>
                  <a:gd name="connsiteY5" fmla="*/ 766446 h 1180869"/>
                  <a:gd name="connsiteX0" fmla="*/ 128386 w 962778"/>
                  <a:gd name="connsiteY0" fmla="*/ 766446 h 1181766"/>
                  <a:gd name="connsiteX1" fmla="*/ 323332 w 962778"/>
                  <a:gd name="connsiteY1" fmla="*/ 0 h 1181766"/>
                  <a:gd name="connsiteX2" fmla="*/ 962778 w 962778"/>
                  <a:gd name="connsiteY2" fmla="*/ 0 h 1181766"/>
                  <a:gd name="connsiteX3" fmla="*/ 518278 w 962778"/>
                  <a:gd name="connsiteY3" fmla="*/ 639446 h 1181766"/>
                  <a:gd name="connsiteX4" fmla="*/ 148707 w 962778"/>
                  <a:gd name="connsiteY4" fmla="*/ 1180467 h 1181766"/>
                  <a:gd name="connsiteX5" fmla="*/ 128386 w 962778"/>
                  <a:gd name="connsiteY5" fmla="*/ 766446 h 1181766"/>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571182"/>
                  <a:gd name="connsiteY0" fmla="*/ 766446 h 1185005"/>
                  <a:gd name="connsiteX1" fmla="*/ 325436 w 571182"/>
                  <a:gd name="connsiteY1" fmla="*/ 0 h 1185005"/>
                  <a:gd name="connsiteX2" fmla="*/ 548957 w 571182"/>
                  <a:gd name="connsiteY2" fmla="*/ 3175 h 1185005"/>
                  <a:gd name="connsiteX3" fmla="*/ 571182 w 571182"/>
                  <a:gd name="connsiteY3" fmla="*/ 512446 h 1185005"/>
                  <a:gd name="connsiteX4" fmla="*/ 150811 w 571182"/>
                  <a:gd name="connsiteY4" fmla="*/ 1180467 h 1185005"/>
                  <a:gd name="connsiteX5" fmla="*/ 130490 w 571182"/>
                  <a:gd name="connsiteY5" fmla="*/ 766446 h 1185005"/>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26454 w 468721"/>
                  <a:gd name="connsiteY0" fmla="*/ 775971 h 1217994"/>
                  <a:gd name="connsiteX1" fmla="*/ 321400 w 468721"/>
                  <a:gd name="connsiteY1" fmla="*/ 9525 h 1217994"/>
                  <a:gd name="connsiteX2" fmla="*/ 468721 w 468721"/>
                  <a:gd name="connsiteY2" fmla="*/ 0 h 1217994"/>
                  <a:gd name="connsiteX3" fmla="*/ 146775 w 468721"/>
                  <a:gd name="connsiteY3" fmla="*/ 1189992 h 1217994"/>
                  <a:gd name="connsiteX4" fmla="*/ 126454 w 468721"/>
                  <a:gd name="connsiteY4" fmla="*/ 775971 h 1217994"/>
                  <a:gd name="connsiteX0" fmla="*/ 41012 w 383279"/>
                  <a:gd name="connsiteY0" fmla="*/ 775971 h 1099664"/>
                  <a:gd name="connsiteX1" fmla="*/ 235958 w 383279"/>
                  <a:gd name="connsiteY1" fmla="*/ 9525 h 1099664"/>
                  <a:gd name="connsiteX2" fmla="*/ 383279 w 383279"/>
                  <a:gd name="connsiteY2" fmla="*/ 0 h 1099664"/>
                  <a:gd name="connsiteX3" fmla="*/ 321683 w 383279"/>
                  <a:gd name="connsiteY3" fmla="*/ 1062992 h 1099664"/>
                  <a:gd name="connsiteX4" fmla="*/ 41012 w 383279"/>
                  <a:gd name="connsiteY4" fmla="*/ 775971 h 1099664"/>
                  <a:gd name="connsiteX0" fmla="*/ 41012 w 510976"/>
                  <a:gd name="connsiteY0" fmla="*/ 775971 h 1279428"/>
                  <a:gd name="connsiteX1" fmla="*/ 235958 w 510976"/>
                  <a:gd name="connsiteY1" fmla="*/ 9525 h 1279428"/>
                  <a:gd name="connsiteX2" fmla="*/ 383279 w 510976"/>
                  <a:gd name="connsiteY2" fmla="*/ 0 h 1279428"/>
                  <a:gd name="connsiteX3" fmla="*/ 321683 w 510976"/>
                  <a:gd name="connsiteY3" fmla="*/ 1062992 h 1279428"/>
                  <a:gd name="connsiteX4" fmla="*/ 41012 w 510976"/>
                  <a:gd name="connsiteY4" fmla="*/ 775971 h 1279428"/>
                  <a:gd name="connsiteX0" fmla="*/ 41647 w 518397"/>
                  <a:gd name="connsiteY0" fmla="*/ 775971 h 1155749"/>
                  <a:gd name="connsiteX1" fmla="*/ 236593 w 518397"/>
                  <a:gd name="connsiteY1" fmla="*/ 9525 h 1155749"/>
                  <a:gd name="connsiteX2" fmla="*/ 383914 w 518397"/>
                  <a:gd name="connsiteY2" fmla="*/ 0 h 1155749"/>
                  <a:gd name="connsiteX3" fmla="*/ 331843 w 518397"/>
                  <a:gd name="connsiteY3" fmla="*/ 910592 h 1155749"/>
                  <a:gd name="connsiteX4" fmla="*/ 41647 w 518397"/>
                  <a:gd name="connsiteY4" fmla="*/ 775971 h 1155749"/>
                  <a:gd name="connsiteX0" fmla="*/ 41647 w 383914"/>
                  <a:gd name="connsiteY0" fmla="*/ 775971 h 966949"/>
                  <a:gd name="connsiteX1" fmla="*/ 236593 w 383914"/>
                  <a:gd name="connsiteY1" fmla="*/ 9525 h 966949"/>
                  <a:gd name="connsiteX2" fmla="*/ 383914 w 383914"/>
                  <a:gd name="connsiteY2" fmla="*/ 0 h 966949"/>
                  <a:gd name="connsiteX3" fmla="*/ 331843 w 383914"/>
                  <a:gd name="connsiteY3" fmla="*/ 910592 h 966949"/>
                  <a:gd name="connsiteX4" fmla="*/ 41647 w 383914"/>
                  <a:gd name="connsiteY4" fmla="*/ 775971 h 966949"/>
                  <a:gd name="connsiteX0" fmla="*/ 4778 w 493095"/>
                  <a:gd name="connsiteY0" fmla="*/ 998221 h 1080371"/>
                  <a:gd name="connsiteX1" fmla="*/ 345774 w 493095"/>
                  <a:gd name="connsiteY1" fmla="*/ 9525 h 1080371"/>
                  <a:gd name="connsiteX2" fmla="*/ 493095 w 493095"/>
                  <a:gd name="connsiteY2" fmla="*/ 0 h 1080371"/>
                  <a:gd name="connsiteX3" fmla="*/ 441024 w 493095"/>
                  <a:gd name="connsiteY3" fmla="*/ 910592 h 1080371"/>
                  <a:gd name="connsiteX4" fmla="*/ 4778 w 493095"/>
                  <a:gd name="connsiteY4" fmla="*/ 998221 h 1080371"/>
                  <a:gd name="connsiteX0" fmla="*/ 2311 w 490628"/>
                  <a:gd name="connsiteY0" fmla="*/ 998221 h 1169264"/>
                  <a:gd name="connsiteX1" fmla="*/ 343307 w 490628"/>
                  <a:gd name="connsiteY1" fmla="*/ 9525 h 1169264"/>
                  <a:gd name="connsiteX2" fmla="*/ 490628 w 490628"/>
                  <a:gd name="connsiteY2" fmla="*/ 0 h 1169264"/>
                  <a:gd name="connsiteX3" fmla="*/ 394107 w 490628"/>
                  <a:gd name="connsiteY3" fmla="*/ 1072517 h 1169264"/>
                  <a:gd name="connsiteX4" fmla="*/ 2311 w 490628"/>
                  <a:gd name="connsiteY4" fmla="*/ 998221 h 1169264"/>
                  <a:gd name="connsiteX0" fmla="*/ 2311 w 513147"/>
                  <a:gd name="connsiteY0" fmla="*/ 998221 h 1209324"/>
                  <a:gd name="connsiteX1" fmla="*/ 343307 w 513147"/>
                  <a:gd name="connsiteY1" fmla="*/ 9525 h 1209324"/>
                  <a:gd name="connsiteX2" fmla="*/ 490628 w 513147"/>
                  <a:gd name="connsiteY2" fmla="*/ 0 h 1209324"/>
                  <a:gd name="connsiteX3" fmla="*/ 394107 w 513147"/>
                  <a:gd name="connsiteY3" fmla="*/ 1072517 h 1209324"/>
                  <a:gd name="connsiteX4" fmla="*/ 2311 w 513147"/>
                  <a:gd name="connsiteY4" fmla="*/ 998221 h 1209324"/>
                  <a:gd name="connsiteX0" fmla="*/ 2311 w 500153"/>
                  <a:gd name="connsiteY0" fmla="*/ 998221 h 1169264"/>
                  <a:gd name="connsiteX1" fmla="*/ 343307 w 500153"/>
                  <a:gd name="connsiteY1" fmla="*/ 9525 h 1169264"/>
                  <a:gd name="connsiteX2" fmla="*/ 500153 w 500153"/>
                  <a:gd name="connsiteY2" fmla="*/ 0 h 1169264"/>
                  <a:gd name="connsiteX3" fmla="*/ 394107 w 500153"/>
                  <a:gd name="connsiteY3" fmla="*/ 1072517 h 1169264"/>
                  <a:gd name="connsiteX4" fmla="*/ 2311 w 500153"/>
                  <a:gd name="connsiteY4" fmla="*/ 998221 h 1169264"/>
                  <a:gd name="connsiteX0" fmla="*/ 2311 w 597709"/>
                  <a:gd name="connsiteY0" fmla="*/ 998221 h 1169264"/>
                  <a:gd name="connsiteX1" fmla="*/ 343307 w 597709"/>
                  <a:gd name="connsiteY1" fmla="*/ 9525 h 1169264"/>
                  <a:gd name="connsiteX2" fmla="*/ 500153 w 597709"/>
                  <a:gd name="connsiteY2" fmla="*/ 0 h 1169264"/>
                  <a:gd name="connsiteX3" fmla="*/ 394107 w 597709"/>
                  <a:gd name="connsiteY3" fmla="*/ 1072517 h 1169264"/>
                  <a:gd name="connsiteX4" fmla="*/ 2311 w 597709"/>
                  <a:gd name="connsiteY4" fmla="*/ 998221 h 1169264"/>
                  <a:gd name="connsiteX0" fmla="*/ 1506 w 593602"/>
                  <a:gd name="connsiteY0" fmla="*/ 998221 h 1191964"/>
                  <a:gd name="connsiteX1" fmla="*/ 342502 w 593602"/>
                  <a:gd name="connsiteY1" fmla="*/ 9525 h 1191964"/>
                  <a:gd name="connsiteX2" fmla="*/ 499348 w 593602"/>
                  <a:gd name="connsiteY2" fmla="*/ 0 h 1191964"/>
                  <a:gd name="connsiteX3" fmla="*/ 377427 w 593602"/>
                  <a:gd name="connsiteY3" fmla="*/ 1104267 h 1191964"/>
                  <a:gd name="connsiteX4" fmla="*/ 1506 w 593602"/>
                  <a:gd name="connsiteY4" fmla="*/ 998221 h 1191964"/>
                  <a:gd name="connsiteX0" fmla="*/ 1506 w 604625"/>
                  <a:gd name="connsiteY0" fmla="*/ 998221 h 1193365"/>
                  <a:gd name="connsiteX1" fmla="*/ 342502 w 604625"/>
                  <a:gd name="connsiteY1" fmla="*/ 9525 h 1193365"/>
                  <a:gd name="connsiteX2" fmla="*/ 499348 w 604625"/>
                  <a:gd name="connsiteY2" fmla="*/ 0 h 1193365"/>
                  <a:gd name="connsiteX3" fmla="*/ 377427 w 604625"/>
                  <a:gd name="connsiteY3" fmla="*/ 1104267 h 1193365"/>
                  <a:gd name="connsiteX4" fmla="*/ 1506 w 604625"/>
                  <a:gd name="connsiteY4" fmla="*/ 998221 h 1193365"/>
                  <a:gd name="connsiteX0" fmla="*/ 1506 w 604625"/>
                  <a:gd name="connsiteY0" fmla="*/ 998221 h 1184807"/>
                  <a:gd name="connsiteX1" fmla="*/ 342502 w 604625"/>
                  <a:gd name="connsiteY1" fmla="*/ 222250 h 1184807"/>
                  <a:gd name="connsiteX2" fmla="*/ 499348 w 604625"/>
                  <a:gd name="connsiteY2" fmla="*/ 0 h 1184807"/>
                  <a:gd name="connsiteX3" fmla="*/ 377427 w 604625"/>
                  <a:gd name="connsiteY3" fmla="*/ 1104267 h 1184807"/>
                  <a:gd name="connsiteX4" fmla="*/ 1506 w 604625"/>
                  <a:gd name="connsiteY4" fmla="*/ 998221 h 1184807"/>
                  <a:gd name="connsiteX0" fmla="*/ 0 w 525622"/>
                  <a:gd name="connsiteY0" fmla="*/ 998498 h 1185084"/>
                  <a:gd name="connsiteX1" fmla="*/ 497842 w 525622"/>
                  <a:gd name="connsiteY1" fmla="*/ 277 h 1185084"/>
                  <a:gd name="connsiteX2" fmla="*/ 375921 w 525622"/>
                  <a:gd name="connsiteY2" fmla="*/ 1104544 h 1185084"/>
                  <a:gd name="connsiteX3" fmla="*/ 0 w 525622"/>
                  <a:gd name="connsiteY3" fmla="*/ 998498 h 1185084"/>
                  <a:gd name="connsiteX0" fmla="*/ 944 w 518238"/>
                  <a:gd name="connsiteY0" fmla="*/ 998498 h 1192650"/>
                  <a:gd name="connsiteX1" fmla="*/ 498786 w 518238"/>
                  <a:gd name="connsiteY1" fmla="*/ 277 h 1192650"/>
                  <a:gd name="connsiteX2" fmla="*/ 376865 w 518238"/>
                  <a:gd name="connsiteY2" fmla="*/ 1104544 h 1192650"/>
                  <a:gd name="connsiteX3" fmla="*/ 944 w 518238"/>
                  <a:gd name="connsiteY3" fmla="*/ 998498 h 1192650"/>
                  <a:gd name="connsiteX0" fmla="*/ 944 w 592901"/>
                  <a:gd name="connsiteY0" fmla="*/ 998498 h 1192650"/>
                  <a:gd name="connsiteX1" fmla="*/ 498786 w 592901"/>
                  <a:gd name="connsiteY1" fmla="*/ 277 h 1192650"/>
                  <a:gd name="connsiteX2" fmla="*/ 376865 w 592901"/>
                  <a:gd name="connsiteY2" fmla="*/ 1104544 h 1192650"/>
                  <a:gd name="connsiteX3" fmla="*/ 944 w 592901"/>
                  <a:gd name="connsiteY3" fmla="*/ 998498 h 1192650"/>
                  <a:gd name="connsiteX0" fmla="*/ 944 w 592901"/>
                  <a:gd name="connsiteY0" fmla="*/ 998221 h 1192373"/>
                  <a:gd name="connsiteX1" fmla="*/ 498786 w 592901"/>
                  <a:gd name="connsiteY1" fmla="*/ 0 h 1192373"/>
                  <a:gd name="connsiteX2" fmla="*/ 376865 w 592901"/>
                  <a:gd name="connsiteY2" fmla="*/ 1104267 h 1192373"/>
                  <a:gd name="connsiteX3" fmla="*/ 944 w 592901"/>
                  <a:gd name="connsiteY3" fmla="*/ 998221 h 1192373"/>
                  <a:gd name="connsiteX0" fmla="*/ 1060 w 591755"/>
                  <a:gd name="connsiteY0" fmla="*/ 998221 h 1192373"/>
                  <a:gd name="connsiteX1" fmla="*/ 498902 w 591755"/>
                  <a:gd name="connsiteY1" fmla="*/ 0 h 1192373"/>
                  <a:gd name="connsiteX2" fmla="*/ 370631 w 591755"/>
                  <a:gd name="connsiteY2" fmla="*/ 1104267 h 1192373"/>
                  <a:gd name="connsiteX3" fmla="*/ 1060 w 591755"/>
                  <a:gd name="connsiteY3" fmla="*/ 998221 h 1192373"/>
                  <a:gd name="connsiteX0" fmla="*/ 1362 w 606138"/>
                  <a:gd name="connsiteY0" fmla="*/ 998221 h 1196572"/>
                  <a:gd name="connsiteX1" fmla="*/ 499204 w 606138"/>
                  <a:gd name="connsiteY1" fmla="*/ 0 h 1196572"/>
                  <a:gd name="connsiteX2" fmla="*/ 370933 w 606138"/>
                  <a:gd name="connsiteY2" fmla="*/ 1104267 h 1196572"/>
                  <a:gd name="connsiteX3" fmla="*/ 1362 w 606138"/>
                  <a:gd name="connsiteY3" fmla="*/ 998221 h 1196572"/>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2109 w 592804"/>
                  <a:gd name="connsiteY0" fmla="*/ 991871 h 1210415"/>
                  <a:gd name="connsiteX1" fmla="*/ 499951 w 592804"/>
                  <a:gd name="connsiteY1" fmla="*/ 0 h 1210415"/>
                  <a:gd name="connsiteX2" fmla="*/ 371680 w 592804"/>
                  <a:gd name="connsiteY2" fmla="*/ 1104267 h 1210415"/>
                  <a:gd name="connsiteX3" fmla="*/ 2109 w 592804"/>
                  <a:gd name="connsiteY3" fmla="*/ 991871 h 1210415"/>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1298 w 603412"/>
                  <a:gd name="connsiteY0" fmla="*/ 991871 h 1189982"/>
                  <a:gd name="connsiteX1" fmla="*/ 499140 w 603412"/>
                  <a:gd name="connsiteY1" fmla="*/ 0 h 1189982"/>
                  <a:gd name="connsiteX2" fmla="*/ 370869 w 603412"/>
                  <a:gd name="connsiteY2" fmla="*/ 1104267 h 1189982"/>
                  <a:gd name="connsiteX3" fmla="*/ 1298 w 603412"/>
                  <a:gd name="connsiteY3" fmla="*/ 991871 h 1189982"/>
                  <a:gd name="connsiteX0" fmla="*/ 1051 w 595012"/>
                  <a:gd name="connsiteY0" fmla="*/ 969646 h 1182098"/>
                  <a:gd name="connsiteX1" fmla="*/ 502068 w 595012"/>
                  <a:gd name="connsiteY1" fmla="*/ 0 h 1182098"/>
                  <a:gd name="connsiteX2" fmla="*/ 373797 w 595012"/>
                  <a:gd name="connsiteY2" fmla="*/ 1104267 h 1182098"/>
                  <a:gd name="connsiteX3" fmla="*/ 1051 w 595012"/>
                  <a:gd name="connsiteY3" fmla="*/ 969646 h 1182098"/>
                  <a:gd name="connsiteX0" fmla="*/ 10923 w 604884"/>
                  <a:gd name="connsiteY0" fmla="*/ 969646 h 1198071"/>
                  <a:gd name="connsiteX1" fmla="*/ 511940 w 604884"/>
                  <a:gd name="connsiteY1" fmla="*/ 0 h 1198071"/>
                  <a:gd name="connsiteX2" fmla="*/ 383669 w 604884"/>
                  <a:gd name="connsiteY2" fmla="*/ 1104267 h 1198071"/>
                  <a:gd name="connsiteX3" fmla="*/ 10923 w 604884"/>
                  <a:gd name="connsiteY3" fmla="*/ 969646 h 1198071"/>
                  <a:gd name="connsiteX0" fmla="*/ 169 w 610907"/>
                  <a:gd name="connsiteY0" fmla="*/ 969646 h 1129030"/>
                  <a:gd name="connsiteX1" fmla="*/ 501186 w 610907"/>
                  <a:gd name="connsiteY1" fmla="*/ 0 h 1129030"/>
                  <a:gd name="connsiteX2" fmla="*/ 445940 w 610907"/>
                  <a:gd name="connsiteY2" fmla="*/ 1031242 h 1129030"/>
                  <a:gd name="connsiteX3" fmla="*/ 169 w 610907"/>
                  <a:gd name="connsiteY3" fmla="*/ 969646 h 1129030"/>
                  <a:gd name="connsiteX0" fmla="*/ 217 w 633031"/>
                  <a:gd name="connsiteY0" fmla="*/ 969646 h 1163202"/>
                  <a:gd name="connsiteX1" fmla="*/ 501234 w 633031"/>
                  <a:gd name="connsiteY1" fmla="*/ 0 h 1163202"/>
                  <a:gd name="connsiteX2" fmla="*/ 445988 w 633031"/>
                  <a:gd name="connsiteY2" fmla="*/ 1031242 h 1163202"/>
                  <a:gd name="connsiteX3" fmla="*/ 217 w 633031"/>
                  <a:gd name="connsiteY3" fmla="*/ 969646 h 1163202"/>
                  <a:gd name="connsiteX0" fmla="*/ 374 w 627821"/>
                  <a:gd name="connsiteY0" fmla="*/ 969646 h 1183789"/>
                  <a:gd name="connsiteX1" fmla="*/ 501391 w 627821"/>
                  <a:gd name="connsiteY1" fmla="*/ 0 h 1183789"/>
                  <a:gd name="connsiteX2" fmla="*/ 430270 w 627821"/>
                  <a:gd name="connsiteY2" fmla="*/ 1059817 h 1183789"/>
                  <a:gd name="connsiteX3" fmla="*/ 374 w 627821"/>
                  <a:gd name="connsiteY3" fmla="*/ 969646 h 1183789"/>
                  <a:gd name="connsiteX0" fmla="*/ 735 w 620305"/>
                  <a:gd name="connsiteY0" fmla="*/ 969646 h 1195580"/>
                  <a:gd name="connsiteX1" fmla="*/ 501752 w 620305"/>
                  <a:gd name="connsiteY1" fmla="*/ 0 h 1195580"/>
                  <a:gd name="connsiteX2" fmla="*/ 405231 w 620305"/>
                  <a:gd name="connsiteY2" fmla="*/ 1075692 h 1195580"/>
                  <a:gd name="connsiteX3" fmla="*/ 735 w 620305"/>
                  <a:gd name="connsiteY3" fmla="*/ 969646 h 1195580"/>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1306 w 592833"/>
                  <a:gd name="connsiteY0" fmla="*/ 969646 h 1177209"/>
                  <a:gd name="connsiteX1" fmla="*/ 502323 w 592833"/>
                  <a:gd name="connsiteY1" fmla="*/ 0 h 1177209"/>
                  <a:gd name="connsiteX2" fmla="*/ 361352 w 592833"/>
                  <a:gd name="connsiteY2" fmla="*/ 1097917 h 1177209"/>
                  <a:gd name="connsiteX3" fmla="*/ 1306 w 592833"/>
                  <a:gd name="connsiteY3" fmla="*/ 969646 h 1177209"/>
                  <a:gd name="connsiteX0" fmla="*/ 1550 w 602147"/>
                  <a:gd name="connsiteY0" fmla="*/ 969646 h 1177209"/>
                  <a:gd name="connsiteX1" fmla="*/ 502567 w 602147"/>
                  <a:gd name="connsiteY1" fmla="*/ 0 h 1177209"/>
                  <a:gd name="connsiteX2" fmla="*/ 361596 w 602147"/>
                  <a:gd name="connsiteY2" fmla="*/ 1097917 h 1177209"/>
                  <a:gd name="connsiteX3" fmla="*/ 1550 w 602147"/>
                  <a:gd name="connsiteY3" fmla="*/ 969646 h 1177209"/>
                  <a:gd name="connsiteX0" fmla="*/ 1824 w 610811"/>
                  <a:gd name="connsiteY0" fmla="*/ 969646 h 1177209"/>
                  <a:gd name="connsiteX1" fmla="*/ 502841 w 610811"/>
                  <a:gd name="connsiteY1" fmla="*/ 0 h 1177209"/>
                  <a:gd name="connsiteX2" fmla="*/ 361870 w 610811"/>
                  <a:gd name="connsiteY2" fmla="*/ 1097917 h 1177209"/>
                  <a:gd name="connsiteX3" fmla="*/ 1824 w 610811"/>
                  <a:gd name="connsiteY3" fmla="*/ 969646 h 1177209"/>
                  <a:gd name="connsiteX0" fmla="*/ 2494 w 606902"/>
                  <a:gd name="connsiteY0" fmla="*/ 969646 h 1192009"/>
                  <a:gd name="connsiteX1" fmla="*/ 503511 w 606902"/>
                  <a:gd name="connsiteY1" fmla="*/ 0 h 1192009"/>
                  <a:gd name="connsiteX2" fmla="*/ 343490 w 606902"/>
                  <a:gd name="connsiteY2" fmla="*/ 1116967 h 1192009"/>
                  <a:gd name="connsiteX3" fmla="*/ 2494 w 606902"/>
                  <a:gd name="connsiteY3" fmla="*/ 969646 h 1192009"/>
                  <a:gd name="connsiteX0" fmla="*/ 1927 w 610127"/>
                  <a:gd name="connsiteY0" fmla="*/ 969646 h 1192009"/>
                  <a:gd name="connsiteX1" fmla="*/ 502944 w 610127"/>
                  <a:gd name="connsiteY1" fmla="*/ 0 h 1192009"/>
                  <a:gd name="connsiteX2" fmla="*/ 358798 w 610127"/>
                  <a:gd name="connsiteY2" fmla="*/ 1116967 h 1192009"/>
                  <a:gd name="connsiteX3" fmla="*/ 1927 w 610127"/>
                  <a:gd name="connsiteY3" fmla="*/ 969646 h 1192009"/>
                  <a:gd name="connsiteX0" fmla="*/ 1094 w 691407"/>
                  <a:gd name="connsiteY0" fmla="*/ 1101870 h 1248289"/>
                  <a:gd name="connsiteX1" fmla="*/ 598782 w 691407"/>
                  <a:gd name="connsiteY1" fmla="*/ 0 h 1248289"/>
                  <a:gd name="connsiteX2" fmla="*/ 454636 w 691407"/>
                  <a:gd name="connsiteY2" fmla="*/ 1116967 h 1248289"/>
                  <a:gd name="connsiteX3" fmla="*/ 1094 w 691407"/>
                  <a:gd name="connsiteY3" fmla="*/ 1101870 h 1248289"/>
                  <a:gd name="connsiteX0" fmla="*/ 25 w 720689"/>
                  <a:gd name="connsiteY0" fmla="*/ 1101870 h 1211524"/>
                  <a:gd name="connsiteX1" fmla="*/ 597713 w 720689"/>
                  <a:gd name="connsiteY1" fmla="*/ 0 h 1211524"/>
                  <a:gd name="connsiteX2" fmla="*/ 573726 w 720689"/>
                  <a:gd name="connsiteY2" fmla="*/ 1047352 h 1211524"/>
                  <a:gd name="connsiteX3" fmla="*/ 25 w 720689"/>
                  <a:gd name="connsiteY3" fmla="*/ 1101870 h 1211524"/>
                  <a:gd name="connsiteX0" fmla="*/ 28 w 733603"/>
                  <a:gd name="connsiteY0" fmla="*/ 1101870 h 1212894"/>
                  <a:gd name="connsiteX1" fmla="*/ 597716 w 733603"/>
                  <a:gd name="connsiteY1" fmla="*/ 0 h 1212894"/>
                  <a:gd name="connsiteX2" fmla="*/ 573729 w 733603"/>
                  <a:gd name="connsiteY2" fmla="*/ 1047352 h 1212894"/>
                  <a:gd name="connsiteX3" fmla="*/ 28 w 733603"/>
                  <a:gd name="connsiteY3" fmla="*/ 1101870 h 1212894"/>
                </a:gdLst>
                <a:ahLst/>
                <a:cxnLst>
                  <a:cxn ang="0">
                    <a:pos x="connsiteX0" y="connsiteY0"/>
                  </a:cxn>
                  <a:cxn ang="0">
                    <a:pos x="connsiteX1" y="connsiteY1"/>
                  </a:cxn>
                  <a:cxn ang="0">
                    <a:pos x="connsiteX2" y="connsiteY2"/>
                  </a:cxn>
                  <a:cxn ang="0">
                    <a:pos x="connsiteX3" y="connsiteY3"/>
                  </a:cxn>
                </a:cxnLst>
                <a:rect l="l" t="t" r="r" b="b"/>
                <a:pathLst>
                  <a:path w="733603" h="1212894">
                    <a:moveTo>
                      <a:pt x="28" y="1101870"/>
                    </a:moveTo>
                    <a:cubicBezTo>
                      <a:pt x="4026" y="927311"/>
                      <a:pt x="557288" y="690351"/>
                      <a:pt x="597716" y="0"/>
                    </a:cubicBezTo>
                    <a:cubicBezTo>
                      <a:pt x="834994" y="655849"/>
                      <a:pt x="718494" y="859414"/>
                      <a:pt x="573729" y="1047352"/>
                    </a:cubicBezTo>
                    <a:cubicBezTo>
                      <a:pt x="428964" y="1235290"/>
                      <a:pt x="-3970" y="1276429"/>
                      <a:pt x="28" y="1101870"/>
                    </a:cubicBezTo>
                    <a:close/>
                  </a:path>
                </a:pathLst>
              </a:custGeom>
              <a:solidFill>
                <a:srgbClr val="C4D6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20" name="Teardrop 5"/>
              <p:cNvSpPr/>
              <p:nvPr/>
            </p:nvSpPr>
            <p:spPr bwMode="gray">
              <a:xfrm rot="8223373" flipH="1">
                <a:off x="5698411" y="2437030"/>
                <a:ext cx="421956" cy="1856695"/>
              </a:xfrm>
              <a:custGeom>
                <a:avLst/>
                <a:gdLst>
                  <a:gd name="connsiteX0" fmla="*/ 0 w 1278892"/>
                  <a:gd name="connsiteY0" fmla="*/ 639446 h 1278892"/>
                  <a:gd name="connsiteX1" fmla="*/ 639446 w 1278892"/>
                  <a:gd name="connsiteY1" fmla="*/ 0 h 1278892"/>
                  <a:gd name="connsiteX2" fmla="*/ 1278892 w 1278892"/>
                  <a:gd name="connsiteY2" fmla="*/ 0 h 1278892"/>
                  <a:gd name="connsiteX3" fmla="*/ 1278892 w 1278892"/>
                  <a:gd name="connsiteY3" fmla="*/ 639446 h 1278892"/>
                  <a:gd name="connsiteX4" fmla="*/ 639446 w 1278892"/>
                  <a:gd name="connsiteY4" fmla="*/ 1278892 h 1278892"/>
                  <a:gd name="connsiteX5" fmla="*/ 0 w 1278892"/>
                  <a:gd name="connsiteY5" fmla="*/ 639446 h 1278892"/>
                  <a:gd name="connsiteX0" fmla="*/ 0 w 1082042"/>
                  <a:gd name="connsiteY0" fmla="*/ 626746 h 1278903"/>
                  <a:gd name="connsiteX1" fmla="*/ 442596 w 1082042"/>
                  <a:gd name="connsiteY1" fmla="*/ 0 h 1278903"/>
                  <a:gd name="connsiteX2" fmla="*/ 1082042 w 1082042"/>
                  <a:gd name="connsiteY2" fmla="*/ 0 h 1278903"/>
                  <a:gd name="connsiteX3" fmla="*/ 1082042 w 1082042"/>
                  <a:gd name="connsiteY3" fmla="*/ 639446 h 1278903"/>
                  <a:gd name="connsiteX4" fmla="*/ 442596 w 1082042"/>
                  <a:gd name="connsiteY4" fmla="*/ 1278892 h 1278903"/>
                  <a:gd name="connsiteX5" fmla="*/ 0 w 1082042"/>
                  <a:gd name="connsiteY5" fmla="*/ 626746 h 1278903"/>
                  <a:gd name="connsiteX0" fmla="*/ 8249 w 918841"/>
                  <a:gd name="connsiteY0" fmla="*/ 648971 h 1278898"/>
                  <a:gd name="connsiteX1" fmla="*/ 279395 w 918841"/>
                  <a:gd name="connsiteY1" fmla="*/ 0 h 1278898"/>
                  <a:gd name="connsiteX2" fmla="*/ 918841 w 918841"/>
                  <a:gd name="connsiteY2" fmla="*/ 0 h 1278898"/>
                  <a:gd name="connsiteX3" fmla="*/ 918841 w 918841"/>
                  <a:gd name="connsiteY3" fmla="*/ 639446 h 1278898"/>
                  <a:gd name="connsiteX4" fmla="*/ 279395 w 918841"/>
                  <a:gd name="connsiteY4" fmla="*/ 1278892 h 1278898"/>
                  <a:gd name="connsiteX5" fmla="*/ 8249 w 918841"/>
                  <a:gd name="connsiteY5" fmla="*/ 648971 h 1278898"/>
                  <a:gd name="connsiteX0" fmla="*/ 22322 w 932914"/>
                  <a:gd name="connsiteY0" fmla="*/ 648971 h 1180472"/>
                  <a:gd name="connsiteX1" fmla="*/ 293468 w 932914"/>
                  <a:gd name="connsiteY1" fmla="*/ 0 h 1180472"/>
                  <a:gd name="connsiteX2" fmla="*/ 932914 w 932914"/>
                  <a:gd name="connsiteY2" fmla="*/ 0 h 1180472"/>
                  <a:gd name="connsiteX3" fmla="*/ 932914 w 932914"/>
                  <a:gd name="connsiteY3" fmla="*/ 639446 h 1180472"/>
                  <a:gd name="connsiteX4" fmla="*/ 118843 w 932914"/>
                  <a:gd name="connsiteY4" fmla="*/ 1180467 h 1180472"/>
                  <a:gd name="connsiteX5" fmla="*/ 22322 w 932914"/>
                  <a:gd name="connsiteY5" fmla="*/ 648971 h 1180472"/>
                  <a:gd name="connsiteX0" fmla="*/ 55328 w 889720"/>
                  <a:gd name="connsiteY0" fmla="*/ 791846 h 1182500"/>
                  <a:gd name="connsiteX1" fmla="*/ 250274 w 889720"/>
                  <a:gd name="connsiteY1" fmla="*/ 0 h 1182500"/>
                  <a:gd name="connsiteX2" fmla="*/ 889720 w 889720"/>
                  <a:gd name="connsiteY2" fmla="*/ 0 h 1182500"/>
                  <a:gd name="connsiteX3" fmla="*/ 889720 w 889720"/>
                  <a:gd name="connsiteY3" fmla="*/ 639446 h 1182500"/>
                  <a:gd name="connsiteX4" fmla="*/ 75649 w 889720"/>
                  <a:gd name="connsiteY4" fmla="*/ 1180467 h 1182500"/>
                  <a:gd name="connsiteX5" fmla="*/ 55328 w 889720"/>
                  <a:gd name="connsiteY5" fmla="*/ 791846 h 1182500"/>
                  <a:gd name="connsiteX0" fmla="*/ 148362 w 982754"/>
                  <a:gd name="connsiteY0" fmla="*/ 791846 h 1182474"/>
                  <a:gd name="connsiteX1" fmla="*/ 343308 w 982754"/>
                  <a:gd name="connsiteY1" fmla="*/ 0 h 1182474"/>
                  <a:gd name="connsiteX2" fmla="*/ 982754 w 982754"/>
                  <a:gd name="connsiteY2" fmla="*/ 0 h 1182474"/>
                  <a:gd name="connsiteX3" fmla="*/ 982754 w 982754"/>
                  <a:gd name="connsiteY3" fmla="*/ 639446 h 1182474"/>
                  <a:gd name="connsiteX4" fmla="*/ 168683 w 982754"/>
                  <a:gd name="connsiteY4" fmla="*/ 1180467 h 1182474"/>
                  <a:gd name="connsiteX5" fmla="*/ 148362 w 982754"/>
                  <a:gd name="connsiteY5" fmla="*/ 791846 h 1182474"/>
                  <a:gd name="connsiteX0" fmla="*/ 148362 w 982754"/>
                  <a:gd name="connsiteY0" fmla="*/ 766446 h 1181766"/>
                  <a:gd name="connsiteX1" fmla="*/ 343308 w 982754"/>
                  <a:gd name="connsiteY1" fmla="*/ 0 h 1181766"/>
                  <a:gd name="connsiteX2" fmla="*/ 982754 w 982754"/>
                  <a:gd name="connsiteY2" fmla="*/ 0 h 1181766"/>
                  <a:gd name="connsiteX3" fmla="*/ 982754 w 982754"/>
                  <a:gd name="connsiteY3" fmla="*/ 639446 h 1181766"/>
                  <a:gd name="connsiteX4" fmla="*/ 168683 w 982754"/>
                  <a:gd name="connsiteY4" fmla="*/ 1180467 h 1181766"/>
                  <a:gd name="connsiteX5" fmla="*/ 148362 w 982754"/>
                  <a:gd name="connsiteY5" fmla="*/ 766446 h 1181766"/>
                  <a:gd name="connsiteX0" fmla="*/ 170292 w 1004684"/>
                  <a:gd name="connsiteY0" fmla="*/ 766446 h 1180869"/>
                  <a:gd name="connsiteX1" fmla="*/ 365238 w 1004684"/>
                  <a:gd name="connsiteY1" fmla="*/ 0 h 1180869"/>
                  <a:gd name="connsiteX2" fmla="*/ 1004684 w 1004684"/>
                  <a:gd name="connsiteY2" fmla="*/ 0 h 1180869"/>
                  <a:gd name="connsiteX3" fmla="*/ 1004684 w 1004684"/>
                  <a:gd name="connsiteY3" fmla="*/ 639446 h 1180869"/>
                  <a:gd name="connsiteX4" fmla="*/ 190613 w 1004684"/>
                  <a:gd name="connsiteY4" fmla="*/ 1180467 h 1180869"/>
                  <a:gd name="connsiteX5" fmla="*/ 170292 w 1004684"/>
                  <a:gd name="connsiteY5" fmla="*/ 766446 h 1180869"/>
                  <a:gd name="connsiteX0" fmla="*/ 128386 w 962778"/>
                  <a:gd name="connsiteY0" fmla="*/ 766446 h 1181766"/>
                  <a:gd name="connsiteX1" fmla="*/ 323332 w 962778"/>
                  <a:gd name="connsiteY1" fmla="*/ 0 h 1181766"/>
                  <a:gd name="connsiteX2" fmla="*/ 962778 w 962778"/>
                  <a:gd name="connsiteY2" fmla="*/ 0 h 1181766"/>
                  <a:gd name="connsiteX3" fmla="*/ 518278 w 962778"/>
                  <a:gd name="connsiteY3" fmla="*/ 639446 h 1181766"/>
                  <a:gd name="connsiteX4" fmla="*/ 148707 w 962778"/>
                  <a:gd name="connsiteY4" fmla="*/ 1180467 h 1181766"/>
                  <a:gd name="connsiteX5" fmla="*/ 128386 w 962778"/>
                  <a:gd name="connsiteY5" fmla="*/ 766446 h 1181766"/>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571182"/>
                  <a:gd name="connsiteY0" fmla="*/ 766446 h 1185005"/>
                  <a:gd name="connsiteX1" fmla="*/ 325436 w 571182"/>
                  <a:gd name="connsiteY1" fmla="*/ 0 h 1185005"/>
                  <a:gd name="connsiteX2" fmla="*/ 548957 w 571182"/>
                  <a:gd name="connsiteY2" fmla="*/ 3175 h 1185005"/>
                  <a:gd name="connsiteX3" fmla="*/ 571182 w 571182"/>
                  <a:gd name="connsiteY3" fmla="*/ 512446 h 1185005"/>
                  <a:gd name="connsiteX4" fmla="*/ 150811 w 571182"/>
                  <a:gd name="connsiteY4" fmla="*/ 1180467 h 1185005"/>
                  <a:gd name="connsiteX5" fmla="*/ 130490 w 571182"/>
                  <a:gd name="connsiteY5" fmla="*/ 766446 h 1185005"/>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26454 w 468721"/>
                  <a:gd name="connsiteY0" fmla="*/ 775971 h 1217994"/>
                  <a:gd name="connsiteX1" fmla="*/ 321400 w 468721"/>
                  <a:gd name="connsiteY1" fmla="*/ 9525 h 1217994"/>
                  <a:gd name="connsiteX2" fmla="*/ 468721 w 468721"/>
                  <a:gd name="connsiteY2" fmla="*/ 0 h 1217994"/>
                  <a:gd name="connsiteX3" fmla="*/ 146775 w 468721"/>
                  <a:gd name="connsiteY3" fmla="*/ 1189992 h 1217994"/>
                  <a:gd name="connsiteX4" fmla="*/ 126454 w 468721"/>
                  <a:gd name="connsiteY4" fmla="*/ 775971 h 1217994"/>
                  <a:gd name="connsiteX0" fmla="*/ 41012 w 383279"/>
                  <a:gd name="connsiteY0" fmla="*/ 775971 h 1099664"/>
                  <a:gd name="connsiteX1" fmla="*/ 235958 w 383279"/>
                  <a:gd name="connsiteY1" fmla="*/ 9525 h 1099664"/>
                  <a:gd name="connsiteX2" fmla="*/ 383279 w 383279"/>
                  <a:gd name="connsiteY2" fmla="*/ 0 h 1099664"/>
                  <a:gd name="connsiteX3" fmla="*/ 321683 w 383279"/>
                  <a:gd name="connsiteY3" fmla="*/ 1062992 h 1099664"/>
                  <a:gd name="connsiteX4" fmla="*/ 41012 w 383279"/>
                  <a:gd name="connsiteY4" fmla="*/ 775971 h 1099664"/>
                  <a:gd name="connsiteX0" fmla="*/ 41012 w 510976"/>
                  <a:gd name="connsiteY0" fmla="*/ 775971 h 1279428"/>
                  <a:gd name="connsiteX1" fmla="*/ 235958 w 510976"/>
                  <a:gd name="connsiteY1" fmla="*/ 9525 h 1279428"/>
                  <a:gd name="connsiteX2" fmla="*/ 383279 w 510976"/>
                  <a:gd name="connsiteY2" fmla="*/ 0 h 1279428"/>
                  <a:gd name="connsiteX3" fmla="*/ 321683 w 510976"/>
                  <a:gd name="connsiteY3" fmla="*/ 1062992 h 1279428"/>
                  <a:gd name="connsiteX4" fmla="*/ 41012 w 510976"/>
                  <a:gd name="connsiteY4" fmla="*/ 775971 h 1279428"/>
                  <a:gd name="connsiteX0" fmla="*/ 41647 w 518397"/>
                  <a:gd name="connsiteY0" fmla="*/ 775971 h 1155749"/>
                  <a:gd name="connsiteX1" fmla="*/ 236593 w 518397"/>
                  <a:gd name="connsiteY1" fmla="*/ 9525 h 1155749"/>
                  <a:gd name="connsiteX2" fmla="*/ 383914 w 518397"/>
                  <a:gd name="connsiteY2" fmla="*/ 0 h 1155749"/>
                  <a:gd name="connsiteX3" fmla="*/ 331843 w 518397"/>
                  <a:gd name="connsiteY3" fmla="*/ 910592 h 1155749"/>
                  <a:gd name="connsiteX4" fmla="*/ 41647 w 518397"/>
                  <a:gd name="connsiteY4" fmla="*/ 775971 h 1155749"/>
                  <a:gd name="connsiteX0" fmla="*/ 41647 w 383914"/>
                  <a:gd name="connsiteY0" fmla="*/ 775971 h 966949"/>
                  <a:gd name="connsiteX1" fmla="*/ 236593 w 383914"/>
                  <a:gd name="connsiteY1" fmla="*/ 9525 h 966949"/>
                  <a:gd name="connsiteX2" fmla="*/ 383914 w 383914"/>
                  <a:gd name="connsiteY2" fmla="*/ 0 h 966949"/>
                  <a:gd name="connsiteX3" fmla="*/ 331843 w 383914"/>
                  <a:gd name="connsiteY3" fmla="*/ 910592 h 966949"/>
                  <a:gd name="connsiteX4" fmla="*/ 41647 w 383914"/>
                  <a:gd name="connsiteY4" fmla="*/ 775971 h 966949"/>
                  <a:gd name="connsiteX0" fmla="*/ 4778 w 493095"/>
                  <a:gd name="connsiteY0" fmla="*/ 998221 h 1080371"/>
                  <a:gd name="connsiteX1" fmla="*/ 345774 w 493095"/>
                  <a:gd name="connsiteY1" fmla="*/ 9525 h 1080371"/>
                  <a:gd name="connsiteX2" fmla="*/ 493095 w 493095"/>
                  <a:gd name="connsiteY2" fmla="*/ 0 h 1080371"/>
                  <a:gd name="connsiteX3" fmla="*/ 441024 w 493095"/>
                  <a:gd name="connsiteY3" fmla="*/ 910592 h 1080371"/>
                  <a:gd name="connsiteX4" fmla="*/ 4778 w 493095"/>
                  <a:gd name="connsiteY4" fmla="*/ 998221 h 1080371"/>
                  <a:gd name="connsiteX0" fmla="*/ 2311 w 490628"/>
                  <a:gd name="connsiteY0" fmla="*/ 998221 h 1169264"/>
                  <a:gd name="connsiteX1" fmla="*/ 343307 w 490628"/>
                  <a:gd name="connsiteY1" fmla="*/ 9525 h 1169264"/>
                  <a:gd name="connsiteX2" fmla="*/ 490628 w 490628"/>
                  <a:gd name="connsiteY2" fmla="*/ 0 h 1169264"/>
                  <a:gd name="connsiteX3" fmla="*/ 394107 w 490628"/>
                  <a:gd name="connsiteY3" fmla="*/ 1072517 h 1169264"/>
                  <a:gd name="connsiteX4" fmla="*/ 2311 w 490628"/>
                  <a:gd name="connsiteY4" fmla="*/ 998221 h 1169264"/>
                  <a:gd name="connsiteX0" fmla="*/ 2311 w 513147"/>
                  <a:gd name="connsiteY0" fmla="*/ 998221 h 1209324"/>
                  <a:gd name="connsiteX1" fmla="*/ 343307 w 513147"/>
                  <a:gd name="connsiteY1" fmla="*/ 9525 h 1209324"/>
                  <a:gd name="connsiteX2" fmla="*/ 490628 w 513147"/>
                  <a:gd name="connsiteY2" fmla="*/ 0 h 1209324"/>
                  <a:gd name="connsiteX3" fmla="*/ 394107 w 513147"/>
                  <a:gd name="connsiteY3" fmla="*/ 1072517 h 1209324"/>
                  <a:gd name="connsiteX4" fmla="*/ 2311 w 513147"/>
                  <a:gd name="connsiteY4" fmla="*/ 998221 h 1209324"/>
                  <a:gd name="connsiteX0" fmla="*/ 2311 w 500153"/>
                  <a:gd name="connsiteY0" fmla="*/ 998221 h 1169264"/>
                  <a:gd name="connsiteX1" fmla="*/ 343307 w 500153"/>
                  <a:gd name="connsiteY1" fmla="*/ 9525 h 1169264"/>
                  <a:gd name="connsiteX2" fmla="*/ 500153 w 500153"/>
                  <a:gd name="connsiteY2" fmla="*/ 0 h 1169264"/>
                  <a:gd name="connsiteX3" fmla="*/ 394107 w 500153"/>
                  <a:gd name="connsiteY3" fmla="*/ 1072517 h 1169264"/>
                  <a:gd name="connsiteX4" fmla="*/ 2311 w 500153"/>
                  <a:gd name="connsiteY4" fmla="*/ 998221 h 1169264"/>
                  <a:gd name="connsiteX0" fmla="*/ 2311 w 597709"/>
                  <a:gd name="connsiteY0" fmla="*/ 998221 h 1169264"/>
                  <a:gd name="connsiteX1" fmla="*/ 343307 w 597709"/>
                  <a:gd name="connsiteY1" fmla="*/ 9525 h 1169264"/>
                  <a:gd name="connsiteX2" fmla="*/ 500153 w 597709"/>
                  <a:gd name="connsiteY2" fmla="*/ 0 h 1169264"/>
                  <a:gd name="connsiteX3" fmla="*/ 394107 w 597709"/>
                  <a:gd name="connsiteY3" fmla="*/ 1072517 h 1169264"/>
                  <a:gd name="connsiteX4" fmla="*/ 2311 w 597709"/>
                  <a:gd name="connsiteY4" fmla="*/ 998221 h 1169264"/>
                  <a:gd name="connsiteX0" fmla="*/ 1506 w 593602"/>
                  <a:gd name="connsiteY0" fmla="*/ 998221 h 1191964"/>
                  <a:gd name="connsiteX1" fmla="*/ 342502 w 593602"/>
                  <a:gd name="connsiteY1" fmla="*/ 9525 h 1191964"/>
                  <a:gd name="connsiteX2" fmla="*/ 499348 w 593602"/>
                  <a:gd name="connsiteY2" fmla="*/ 0 h 1191964"/>
                  <a:gd name="connsiteX3" fmla="*/ 377427 w 593602"/>
                  <a:gd name="connsiteY3" fmla="*/ 1104267 h 1191964"/>
                  <a:gd name="connsiteX4" fmla="*/ 1506 w 593602"/>
                  <a:gd name="connsiteY4" fmla="*/ 998221 h 1191964"/>
                  <a:gd name="connsiteX0" fmla="*/ 1506 w 604625"/>
                  <a:gd name="connsiteY0" fmla="*/ 998221 h 1193365"/>
                  <a:gd name="connsiteX1" fmla="*/ 342502 w 604625"/>
                  <a:gd name="connsiteY1" fmla="*/ 9525 h 1193365"/>
                  <a:gd name="connsiteX2" fmla="*/ 499348 w 604625"/>
                  <a:gd name="connsiteY2" fmla="*/ 0 h 1193365"/>
                  <a:gd name="connsiteX3" fmla="*/ 377427 w 604625"/>
                  <a:gd name="connsiteY3" fmla="*/ 1104267 h 1193365"/>
                  <a:gd name="connsiteX4" fmla="*/ 1506 w 604625"/>
                  <a:gd name="connsiteY4" fmla="*/ 998221 h 1193365"/>
                  <a:gd name="connsiteX0" fmla="*/ 1506 w 604625"/>
                  <a:gd name="connsiteY0" fmla="*/ 998221 h 1184807"/>
                  <a:gd name="connsiteX1" fmla="*/ 342502 w 604625"/>
                  <a:gd name="connsiteY1" fmla="*/ 222250 h 1184807"/>
                  <a:gd name="connsiteX2" fmla="*/ 499348 w 604625"/>
                  <a:gd name="connsiteY2" fmla="*/ 0 h 1184807"/>
                  <a:gd name="connsiteX3" fmla="*/ 377427 w 604625"/>
                  <a:gd name="connsiteY3" fmla="*/ 1104267 h 1184807"/>
                  <a:gd name="connsiteX4" fmla="*/ 1506 w 604625"/>
                  <a:gd name="connsiteY4" fmla="*/ 998221 h 1184807"/>
                  <a:gd name="connsiteX0" fmla="*/ 0 w 525622"/>
                  <a:gd name="connsiteY0" fmla="*/ 998498 h 1185084"/>
                  <a:gd name="connsiteX1" fmla="*/ 497842 w 525622"/>
                  <a:gd name="connsiteY1" fmla="*/ 277 h 1185084"/>
                  <a:gd name="connsiteX2" fmla="*/ 375921 w 525622"/>
                  <a:gd name="connsiteY2" fmla="*/ 1104544 h 1185084"/>
                  <a:gd name="connsiteX3" fmla="*/ 0 w 525622"/>
                  <a:gd name="connsiteY3" fmla="*/ 998498 h 1185084"/>
                  <a:gd name="connsiteX0" fmla="*/ 944 w 518238"/>
                  <a:gd name="connsiteY0" fmla="*/ 998498 h 1192650"/>
                  <a:gd name="connsiteX1" fmla="*/ 498786 w 518238"/>
                  <a:gd name="connsiteY1" fmla="*/ 277 h 1192650"/>
                  <a:gd name="connsiteX2" fmla="*/ 376865 w 518238"/>
                  <a:gd name="connsiteY2" fmla="*/ 1104544 h 1192650"/>
                  <a:gd name="connsiteX3" fmla="*/ 944 w 518238"/>
                  <a:gd name="connsiteY3" fmla="*/ 998498 h 1192650"/>
                  <a:gd name="connsiteX0" fmla="*/ 944 w 592901"/>
                  <a:gd name="connsiteY0" fmla="*/ 998498 h 1192650"/>
                  <a:gd name="connsiteX1" fmla="*/ 498786 w 592901"/>
                  <a:gd name="connsiteY1" fmla="*/ 277 h 1192650"/>
                  <a:gd name="connsiteX2" fmla="*/ 376865 w 592901"/>
                  <a:gd name="connsiteY2" fmla="*/ 1104544 h 1192650"/>
                  <a:gd name="connsiteX3" fmla="*/ 944 w 592901"/>
                  <a:gd name="connsiteY3" fmla="*/ 998498 h 1192650"/>
                  <a:gd name="connsiteX0" fmla="*/ 944 w 592901"/>
                  <a:gd name="connsiteY0" fmla="*/ 998221 h 1192373"/>
                  <a:gd name="connsiteX1" fmla="*/ 498786 w 592901"/>
                  <a:gd name="connsiteY1" fmla="*/ 0 h 1192373"/>
                  <a:gd name="connsiteX2" fmla="*/ 376865 w 592901"/>
                  <a:gd name="connsiteY2" fmla="*/ 1104267 h 1192373"/>
                  <a:gd name="connsiteX3" fmla="*/ 944 w 592901"/>
                  <a:gd name="connsiteY3" fmla="*/ 998221 h 1192373"/>
                  <a:gd name="connsiteX0" fmla="*/ 1060 w 591755"/>
                  <a:gd name="connsiteY0" fmla="*/ 998221 h 1192373"/>
                  <a:gd name="connsiteX1" fmla="*/ 498902 w 591755"/>
                  <a:gd name="connsiteY1" fmla="*/ 0 h 1192373"/>
                  <a:gd name="connsiteX2" fmla="*/ 370631 w 591755"/>
                  <a:gd name="connsiteY2" fmla="*/ 1104267 h 1192373"/>
                  <a:gd name="connsiteX3" fmla="*/ 1060 w 591755"/>
                  <a:gd name="connsiteY3" fmla="*/ 998221 h 1192373"/>
                  <a:gd name="connsiteX0" fmla="*/ 1362 w 606138"/>
                  <a:gd name="connsiteY0" fmla="*/ 998221 h 1196572"/>
                  <a:gd name="connsiteX1" fmla="*/ 499204 w 606138"/>
                  <a:gd name="connsiteY1" fmla="*/ 0 h 1196572"/>
                  <a:gd name="connsiteX2" fmla="*/ 370933 w 606138"/>
                  <a:gd name="connsiteY2" fmla="*/ 1104267 h 1196572"/>
                  <a:gd name="connsiteX3" fmla="*/ 1362 w 606138"/>
                  <a:gd name="connsiteY3" fmla="*/ 998221 h 1196572"/>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2109 w 592804"/>
                  <a:gd name="connsiteY0" fmla="*/ 991871 h 1210415"/>
                  <a:gd name="connsiteX1" fmla="*/ 499951 w 592804"/>
                  <a:gd name="connsiteY1" fmla="*/ 0 h 1210415"/>
                  <a:gd name="connsiteX2" fmla="*/ 371680 w 592804"/>
                  <a:gd name="connsiteY2" fmla="*/ 1104267 h 1210415"/>
                  <a:gd name="connsiteX3" fmla="*/ 2109 w 592804"/>
                  <a:gd name="connsiteY3" fmla="*/ 991871 h 1210415"/>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1298 w 603412"/>
                  <a:gd name="connsiteY0" fmla="*/ 991871 h 1189982"/>
                  <a:gd name="connsiteX1" fmla="*/ 499140 w 603412"/>
                  <a:gd name="connsiteY1" fmla="*/ 0 h 1189982"/>
                  <a:gd name="connsiteX2" fmla="*/ 370869 w 603412"/>
                  <a:gd name="connsiteY2" fmla="*/ 1104267 h 1189982"/>
                  <a:gd name="connsiteX3" fmla="*/ 1298 w 603412"/>
                  <a:gd name="connsiteY3" fmla="*/ 991871 h 1189982"/>
                  <a:gd name="connsiteX0" fmla="*/ 1051 w 595012"/>
                  <a:gd name="connsiteY0" fmla="*/ 969646 h 1182098"/>
                  <a:gd name="connsiteX1" fmla="*/ 502068 w 595012"/>
                  <a:gd name="connsiteY1" fmla="*/ 0 h 1182098"/>
                  <a:gd name="connsiteX2" fmla="*/ 373797 w 595012"/>
                  <a:gd name="connsiteY2" fmla="*/ 1104267 h 1182098"/>
                  <a:gd name="connsiteX3" fmla="*/ 1051 w 595012"/>
                  <a:gd name="connsiteY3" fmla="*/ 969646 h 1182098"/>
                  <a:gd name="connsiteX0" fmla="*/ 10923 w 604884"/>
                  <a:gd name="connsiteY0" fmla="*/ 969646 h 1198071"/>
                  <a:gd name="connsiteX1" fmla="*/ 511940 w 604884"/>
                  <a:gd name="connsiteY1" fmla="*/ 0 h 1198071"/>
                  <a:gd name="connsiteX2" fmla="*/ 383669 w 604884"/>
                  <a:gd name="connsiteY2" fmla="*/ 1104267 h 1198071"/>
                  <a:gd name="connsiteX3" fmla="*/ 10923 w 604884"/>
                  <a:gd name="connsiteY3" fmla="*/ 969646 h 1198071"/>
                  <a:gd name="connsiteX0" fmla="*/ 169 w 610907"/>
                  <a:gd name="connsiteY0" fmla="*/ 969646 h 1129030"/>
                  <a:gd name="connsiteX1" fmla="*/ 501186 w 610907"/>
                  <a:gd name="connsiteY1" fmla="*/ 0 h 1129030"/>
                  <a:gd name="connsiteX2" fmla="*/ 445940 w 610907"/>
                  <a:gd name="connsiteY2" fmla="*/ 1031242 h 1129030"/>
                  <a:gd name="connsiteX3" fmla="*/ 169 w 610907"/>
                  <a:gd name="connsiteY3" fmla="*/ 969646 h 1129030"/>
                  <a:gd name="connsiteX0" fmla="*/ 217 w 633031"/>
                  <a:gd name="connsiteY0" fmla="*/ 969646 h 1163202"/>
                  <a:gd name="connsiteX1" fmla="*/ 501234 w 633031"/>
                  <a:gd name="connsiteY1" fmla="*/ 0 h 1163202"/>
                  <a:gd name="connsiteX2" fmla="*/ 445988 w 633031"/>
                  <a:gd name="connsiteY2" fmla="*/ 1031242 h 1163202"/>
                  <a:gd name="connsiteX3" fmla="*/ 217 w 633031"/>
                  <a:gd name="connsiteY3" fmla="*/ 969646 h 1163202"/>
                  <a:gd name="connsiteX0" fmla="*/ 374 w 627821"/>
                  <a:gd name="connsiteY0" fmla="*/ 969646 h 1183789"/>
                  <a:gd name="connsiteX1" fmla="*/ 501391 w 627821"/>
                  <a:gd name="connsiteY1" fmla="*/ 0 h 1183789"/>
                  <a:gd name="connsiteX2" fmla="*/ 430270 w 627821"/>
                  <a:gd name="connsiteY2" fmla="*/ 1059817 h 1183789"/>
                  <a:gd name="connsiteX3" fmla="*/ 374 w 627821"/>
                  <a:gd name="connsiteY3" fmla="*/ 969646 h 1183789"/>
                  <a:gd name="connsiteX0" fmla="*/ 735 w 620305"/>
                  <a:gd name="connsiteY0" fmla="*/ 969646 h 1195580"/>
                  <a:gd name="connsiteX1" fmla="*/ 501752 w 620305"/>
                  <a:gd name="connsiteY1" fmla="*/ 0 h 1195580"/>
                  <a:gd name="connsiteX2" fmla="*/ 405231 w 620305"/>
                  <a:gd name="connsiteY2" fmla="*/ 1075692 h 1195580"/>
                  <a:gd name="connsiteX3" fmla="*/ 735 w 620305"/>
                  <a:gd name="connsiteY3" fmla="*/ 969646 h 1195580"/>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1306 w 592833"/>
                  <a:gd name="connsiteY0" fmla="*/ 969646 h 1177209"/>
                  <a:gd name="connsiteX1" fmla="*/ 502323 w 592833"/>
                  <a:gd name="connsiteY1" fmla="*/ 0 h 1177209"/>
                  <a:gd name="connsiteX2" fmla="*/ 361352 w 592833"/>
                  <a:gd name="connsiteY2" fmla="*/ 1097917 h 1177209"/>
                  <a:gd name="connsiteX3" fmla="*/ 1306 w 592833"/>
                  <a:gd name="connsiteY3" fmla="*/ 969646 h 1177209"/>
                  <a:gd name="connsiteX0" fmla="*/ 1550 w 602147"/>
                  <a:gd name="connsiteY0" fmla="*/ 969646 h 1177209"/>
                  <a:gd name="connsiteX1" fmla="*/ 502567 w 602147"/>
                  <a:gd name="connsiteY1" fmla="*/ 0 h 1177209"/>
                  <a:gd name="connsiteX2" fmla="*/ 361596 w 602147"/>
                  <a:gd name="connsiteY2" fmla="*/ 1097917 h 1177209"/>
                  <a:gd name="connsiteX3" fmla="*/ 1550 w 602147"/>
                  <a:gd name="connsiteY3" fmla="*/ 969646 h 1177209"/>
                  <a:gd name="connsiteX0" fmla="*/ 1824 w 610811"/>
                  <a:gd name="connsiteY0" fmla="*/ 969646 h 1177209"/>
                  <a:gd name="connsiteX1" fmla="*/ 502841 w 610811"/>
                  <a:gd name="connsiteY1" fmla="*/ 0 h 1177209"/>
                  <a:gd name="connsiteX2" fmla="*/ 361870 w 610811"/>
                  <a:gd name="connsiteY2" fmla="*/ 1097917 h 1177209"/>
                  <a:gd name="connsiteX3" fmla="*/ 1824 w 610811"/>
                  <a:gd name="connsiteY3" fmla="*/ 969646 h 1177209"/>
                  <a:gd name="connsiteX0" fmla="*/ 2494 w 606902"/>
                  <a:gd name="connsiteY0" fmla="*/ 969646 h 1192009"/>
                  <a:gd name="connsiteX1" fmla="*/ 503511 w 606902"/>
                  <a:gd name="connsiteY1" fmla="*/ 0 h 1192009"/>
                  <a:gd name="connsiteX2" fmla="*/ 343490 w 606902"/>
                  <a:gd name="connsiteY2" fmla="*/ 1116967 h 1192009"/>
                  <a:gd name="connsiteX3" fmla="*/ 2494 w 606902"/>
                  <a:gd name="connsiteY3" fmla="*/ 969646 h 1192009"/>
                  <a:gd name="connsiteX0" fmla="*/ 1927 w 610127"/>
                  <a:gd name="connsiteY0" fmla="*/ 969646 h 1192009"/>
                  <a:gd name="connsiteX1" fmla="*/ 502944 w 610127"/>
                  <a:gd name="connsiteY1" fmla="*/ 0 h 1192009"/>
                  <a:gd name="connsiteX2" fmla="*/ 358798 w 610127"/>
                  <a:gd name="connsiteY2" fmla="*/ 1116967 h 1192009"/>
                  <a:gd name="connsiteX3" fmla="*/ 1927 w 610127"/>
                  <a:gd name="connsiteY3" fmla="*/ 969646 h 1192009"/>
                  <a:gd name="connsiteX0" fmla="*/ 1094 w 691407"/>
                  <a:gd name="connsiteY0" fmla="*/ 1101870 h 1248289"/>
                  <a:gd name="connsiteX1" fmla="*/ 598782 w 691407"/>
                  <a:gd name="connsiteY1" fmla="*/ 0 h 1248289"/>
                  <a:gd name="connsiteX2" fmla="*/ 454636 w 691407"/>
                  <a:gd name="connsiteY2" fmla="*/ 1116967 h 1248289"/>
                  <a:gd name="connsiteX3" fmla="*/ 1094 w 691407"/>
                  <a:gd name="connsiteY3" fmla="*/ 1101870 h 1248289"/>
                  <a:gd name="connsiteX0" fmla="*/ 25 w 720689"/>
                  <a:gd name="connsiteY0" fmla="*/ 1101870 h 1211524"/>
                  <a:gd name="connsiteX1" fmla="*/ 597713 w 720689"/>
                  <a:gd name="connsiteY1" fmla="*/ 0 h 1211524"/>
                  <a:gd name="connsiteX2" fmla="*/ 573726 w 720689"/>
                  <a:gd name="connsiteY2" fmla="*/ 1047352 h 1211524"/>
                  <a:gd name="connsiteX3" fmla="*/ 25 w 720689"/>
                  <a:gd name="connsiteY3" fmla="*/ 1101870 h 1211524"/>
                  <a:gd name="connsiteX0" fmla="*/ 28 w 733603"/>
                  <a:gd name="connsiteY0" fmla="*/ 1101870 h 1212894"/>
                  <a:gd name="connsiteX1" fmla="*/ 597716 w 733603"/>
                  <a:gd name="connsiteY1" fmla="*/ 0 h 1212894"/>
                  <a:gd name="connsiteX2" fmla="*/ 573729 w 733603"/>
                  <a:gd name="connsiteY2" fmla="*/ 1047352 h 1212894"/>
                  <a:gd name="connsiteX3" fmla="*/ 28 w 733603"/>
                  <a:gd name="connsiteY3" fmla="*/ 1101870 h 1212894"/>
                </a:gdLst>
                <a:ahLst/>
                <a:cxnLst>
                  <a:cxn ang="0">
                    <a:pos x="connsiteX0" y="connsiteY0"/>
                  </a:cxn>
                  <a:cxn ang="0">
                    <a:pos x="connsiteX1" y="connsiteY1"/>
                  </a:cxn>
                  <a:cxn ang="0">
                    <a:pos x="connsiteX2" y="connsiteY2"/>
                  </a:cxn>
                  <a:cxn ang="0">
                    <a:pos x="connsiteX3" y="connsiteY3"/>
                  </a:cxn>
                </a:cxnLst>
                <a:rect l="l" t="t" r="r" b="b"/>
                <a:pathLst>
                  <a:path w="733603" h="1212894">
                    <a:moveTo>
                      <a:pt x="28" y="1101870"/>
                    </a:moveTo>
                    <a:cubicBezTo>
                      <a:pt x="4026" y="927311"/>
                      <a:pt x="557288" y="690351"/>
                      <a:pt x="597716" y="0"/>
                    </a:cubicBezTo>
                    <a:cubicBezTo>
                      <a:pt x="834994" y="655849"/>
                      <a:pt x="718494" y="859414"/>
                      <a:pt x="573729" y="1047352"/>
                    </a:cubicBezTo>
                    <a:cubicBezTo>
                      <a:pt x="428964" y="1235290"/>
                      <a:pt x="-3970" y="1276429"/>
                      <a:pt x="28" y="1101870"/>
                    </a:cubicBezTo>
                    <a:close/>
                  </a:path>
                </a:pathLst>
              </a:cu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22" name="Teardrop 5"/>
              <p:cNvSpPr/>
              <p:nvPr/>
            </p:nvSpPr>
            <p:spPr bwMode="gray">
              <a:xfrm rot="19268209">
                <a:off x="13884569" y="4841903"/>
                <a:ext cx="478542" cy="1425247"/>
              </a:xfrm>
              <a:custGeom>
                <a:avLst/>
                <a:gdLst>
                  <a:gd name="connsiteX0" fmla="*/ 0 w 1278892"/>
                  <a:gd name="connsiteY0" fmla="*/ 639446 h 1278892"/>
                  <a:gd name="connsiteX1" fmla="*/ 639446 w 1278892"/>
                  <a:gd name="connsiteY1" fmla="*/ 0 h 1278892"/>
                  <a:gd name="connsiteX2" fmla="*/ 1278892 w 1278892"/>
                  <a:gd name="connsiteY2" fmla="*/ 0 h 1278892"/>
                  <a:gd name="connsiteX3" fmla="*/ 1278892 w 1278892"/>
                  <a:gd name="connsiteY3" fmla="*/ 639446 h 1278892"/>
                  <a:gd name="connsiteX4" fmla="*/ 639446 w 1278892"/>
                  <a:gd name="connsiteY4" fmla="*/ 1278892 h 1278892"/>
                  <a:gd name="connsiteX5" fmla="*/ 0 w 1278892"/>
                  <a:gd name="connsiteY5" fmla="*/ 639446 h 1278892"/>
                  <a:gd name="connsiteX0" fmla="*/ 0 w 1082042"/>
                  <a:gd name="connsiteY0" fmla="*/ 626746 h 1278903"/>
                  <a:gd name="connsiteX1" fmla="*/ 442596 w 1082042"/>
                  <a:gd name="connsiteY1" fmla="*/ 0 h 1278903"/>
                  <a:gd name="connsiteX2" fmla="*/ 1082042 w 1082042"/>
                  <a:gd name="connsiteY2" fmla="*/ 0 h 1278903"/>
                  <a:gd name="connsiteX3" fmla="*/ 1082042 w 1082042"/>
                  <a:gd name="connsiteY3" fmla="*/ 639446 h 1278903"/>
                  <a:gd name="connsiteX4" fmla="*/ 442596 w 1082042"/>
                  <a:gd name="connsiteY4" fmla="*/ 1278892 h 1278903"/>
                  <a:gd name="connsiteX5" fmla="*/ 0 w 1082042"/>
                  <a:gd name="connsiteY5" fmla="*/ 626746 h 1278903"/>
                  <a:gd name="connsiteX0" fmla="*/ 8249 w 918841"/>
                  <a:gd name="connsiteY0" fmla="*/ 648971 h 1278898"/>
                  <a:gd name="connsiteX1" fmla="*/ 279395 w 918841"/>
                  <a:gd name="connsiteY1" fmla="*/ 0 h 1278898"/>
                  <a:gd name="connsiteX2" fmla="*/ 918841 w 918841"/>
                  <a:gd name="connsiteY2" fmla="*/ 0 h 1278898"/>
                  <a:gd name="connsiteX3" fmla="*/ 918841 w 918841"/>
                  <a:gd name="connsiteY3" fmla="*/ 639446 h 1278898"/>
                  <a:gd name="connsiteX4" fmla="*/ 279395 w 918841"/>
                  <a:gd name="connsiteY4" fmla="*/ 1278892 h 1278898"/>
                  <a:gd name="connsiteX5" fmla="*/ 8249 w 918841"/>
                  <a:gd name="connsiteY5" fmla="*/ 648971 h 1278898"/>
                  <a:gd name="connsiteX0" fmla="*/ 22322 w 932914"/>
                  <a:gd name="connsiteY0" fmla="*/ 648971 h 1180472"/>
                  <a:gd name="connsiteX1" fmla="*/ 293468 w 932914"/>
                  <a:gd name="connsiteY1" fmla="*/ 0 h 1180472"/>
                  <a:gd name="connsiteX2" fmla="*/ 932914 w 932914"/>
                  <a:gd name="connsiteY2" fmla="*/ 0 h 1180472"/>
                  <a:gd name="connsiteX3" fmla="*/ 932914 w 932914"/>
                  <a:gd name="connsiteY3" fmla="*/ 639446 h 1180472"/>
                  <a:gd name="connsiteX4" fmla="*/ 118843 w 932914"/>
                  <a:gd name="connsiteY4" fmla="*/ 1180467 h 1180472"/>
                  <a:gd name="connsiteX5" fmla="*/ 22322 w 932914"/>
                  <a:gd name="connsiteY5" fmla="*/ 648971 h 1180472"/>
                  <a:gd name="connsiteX0" fmla="*/ 55328 w 889720"/>
                  <a:gd name="connsiteY0" fmla="*/ 791846 h 1182500"/>
                  <a:gd name="connsiteX1" fmla="*/ 250274 w 889720"/>
                  <a:gd name="connsiteY1" fmla="*/ 0 h 1182500"/>
                  <a:gd name="connsiteX2" fmla="*/ 889720 w 889720"/>
                  <a:gd name="connsiteY2" fmla="*/ 0 h 1182500"/>
                  <a:gd name="connsiteX3" fmla="*/ 889720 w 889720"/>
                  <a:gd name="connsiteY3" fmla="*/ 639446 h 1182500"/>
                  <a:gd name="connsiteX4" fmla="*/ 75649 w 889720"/>
                  <a:gd name="connsiteY4" fmla="*/ 1180467 h 1182500"/>
                  <a:gd name="connsiteX5" fmla="*/ 55328 w 889720"/>
                  <a:gd name="connsiteY5" fmla="*/ 791846 h 1182500"/>
                  <a:gd name="connsiteX0" fmla="*/ 148362 w 982754"/>
                  <a:gd name="connsiteY0" fmla="*/ 791846 h 1182474"/>
                  <a:gd name="connsiteX1" fmla="*/ 343308 w 982754"/>
                  <a:gd name="connsiteY1" fmla="*/ 0 h 1182474"/>
                  <a:gd name="connsiteX2" fmla="*/ 982754 w 982754"/>
                  <a:gd name="connsiteY2" fmla="*/ 0 h 1182474"/>
                  <a:gd name="connsiteX3" fmla="*/ 982754 w 982754"/>
                  <a:gd name="connsiteY3" fmla="*/ 639446 h 1182474"/>
                  <a:gd name="connsiteX4" fmla="*/ 168683 w 982754"/>
                  <a:gd name="connsiteY4" fmla="*/ 1180467 h 1182474"/>
                  <a:gd name="connsiteX5" fmla="*/ 148362 w 982754"/>
                  <a:gd name="connsiteY5" fmla="*/ 791846 h 1182474"/>
                  <a:gd name="connsiteX0" fmla="*/ 148362 w 982754"/>
                  <a:gd name="connsiteY0" fmla="*/ 766446 h 1181766"/>
                  <a:gd name="connsiteX1" fmla="*/ 343308 w 982754"/>
                  <a:gd name="connsiteY1" fmla="*/ 0 h 1181766"/>
                  <a:gd name="connsiteX2" fmla="*/ 982754 w 982754"/>
                  <a:gd name="connsiteY2" fmla="*/ 0 h 1181766"/>
                  <a:gd name="connsiteX3" fmla="*/ 982754 w 982754"/>
                  <a:gd name="connsiteY3" fmla="*/ 639446 h 1181766"/>
                  <a:gd name="connsiteX4" fmla="*/ 168683 w 982754"/>
                  <a:gd name="connsiteY4" fmla="*/ 1180467 h 1181766"/>
                  <a:gd name="connsiteX5" fmla="*/ 148362 w 982754"/>
                  <a:gd name="connsiteY5" fmla="*/ 766446 h 1181766"/>
                  <a:gd name="connsiteX0" fmla="*/ 170292 w 1004684"/>
                  <a:gd name="connsiteY0" fmla="*/ 766446 h 1180869"/>
                  <a:gd name="connsiteX1" fmla="*/ 365238 w 1004684"/>
                  <a:gd name="connsiteY1" fmla="*/ 0 h 1180869"/>
                  <a:gd name="connsiteX2" fmla="*/ 1004684 w 1004684"/>
                  <a:gd name="connsiteY2" fmla="*/ 0 h 1180869"/>
                  <a:gd name="connsiteX3" fmla="*/ 1004684 w 1004684"/>
                  <a:gd name="connsiteY3" fmla="*/ 639446 h 1180869"/>
                  <a:gd name="connsiteX4" fmla="*/ 190613 w 1004684"/>
                  <a:gd name="connsiteY4" fmla="*/ 1180467 h 1180869"/>
                  <a:gd name="connsiteX5" fmla="*/ 170292 w 1004684"/>
                  <a:gd name="connsiteY5" fmla="*/ 766446 h 1180869"/>
                  <a:gd name="connsiteX0" fmla="*/ 128386 w 962778"/>
                  <a:gd name="connsiteY0" fmla="*/ 766446 h 1181766"/>
                  <a:gd name="connsiteX1" fmla="*/ 323332 w 962778"/>
                  <a:gd name="connsiteY1" fmla="*/ 0 h 1181766"/>
                  <a:gd name="connsiteX2" fmla="*/ 962778 w 962778"/>
                  <a:gd name="connsiteY2" fmla="*/ 0 h 1181766"/>
                  <a:gd name="connsiteX3" fmla="*/ 518278 w 962778"/>
                  <a:gd name="connsiteY3" fmla="*/ 639446 h 1181766"/>
                  <a:gd name="connsiteX4" fmla="*/ 148707 w 962778"/>
                  <a:gd name="connsiteY4" fmla="*/ 1180467 h 1181766"/>
                  <a:gd name="connsiteX5" fmla="*/ 128386 w 962778"/>
                  <a:gd name="connsiteY5" fmla="*/ 766446 h 1181766"/>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571182"/>
                  <a:gd name="connsiteY0" fmla="*/ 766446 h 1185005"/>
                  <a:gd name="connsiteX1" fmla="*/ 325436 w 571182"/>
                  <a:gd name="connsiteY1" fmla="*/ 0 h 1185005"/>
                  <a:gd name="connsiteX2" fmla="*/ 548957 w 571182"/>
                  <a:gd name="connsiteY2" fmla="*/ 3175 h 1185005"/>
                  <a:gd name="connsiteX3" fmla="*/ 571182 w 571182"/>
                  <a:gd name="connsiteY3" fmla="*/ 512446 h 1185005"/>
                  <a:gd name="connsiteX4" fmla="*/ 150811 w 571182"/>
                  <a:gd name="connsiteY4" fmla="*/ 1180467 h 1185005"/>
                  <a:gd name="connsiteX5" fmla="*/ 130490 w 571182"/>
                  <a:gd name="connsiteY5" fmla="*/ 766446 h 1185005"/>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26454 w 468721"/>
                  <a:gd name="connsiteY0" fmla="*/ 775971 h 1217994"/>
                  <a:gd name="connsiteX1" fmla="*/ 321400 w 468721"/>
                  <a:gd name="connsiteY1" fmla="*/ 9525 h 1217994"/>
                  <a:gd name="connsiteX2" fmla="*/ 468721 w 468721"/>
                  <a:gd name="connsiteY2" fmla="*/ 0 h 1217994"/>
                  <a:gd name="connsiteX3" fmla="*/ 146775 w 468721"/>
                  <a:gd name="connsiteY3" fmla="*/ 1189992 h 1217994"/>
                  <a:gd name="connsiteX4" fmla="*/ 126454 w 468721"/>
                  <a:gd name="connsiteY4" fmla="*/ 775971 h 1217994"/>
                  <a:gd name="connsiteX0" fmla="*/ 41012 w 383279"/>
                  <a:gd name="connsiteY0" fmla="*/ 775971 h 1099664"/>
                  <a:gd name="connsiteX1" fmla="*/ 235958 w 383279"/>
                  <a:gd name="connsiteY1" fmla="*/ 9525 h 1099664"/>
                  <a:gd name="connsiteX2" fmla="*/ 383279 w 383279"/>
                  <a:gd name="connsiteY2" fmla="*/ 0 h 1099664"/>
                  <a:gd name="connsiteX3" fmla="*/ 321683 w 383279"/>
                  <a:gd name="connsiteY3" fmla="*/ 1062992 h 1099664"/>
                  <a:gd name="connsiteX4" fmla="*/ 41012 w 383279"/>
                  <a:gd name="connsiteY4" fmla="*/ 775971 h 1099664"/>
                  <a:gd name="connsiteX0" fmla="*/ 41012 w 510976"/>
                  <a:gd name="connsiteY0" fmla="*/ 775971 h 1279428"/>
                  <a:gd name="connsiteX1" fmla="*/ 235958 w 510976"/>
                  <a:gd name="connsiteY1" fmla="*/ 9525 h 1279428"/>
                  <a:gd name="connsiteX2" fmla="*/ 383279 w 510976"/>
                  <a:gd name="connsiteY2" fmla="*/ 0 h 1279428"/>
                  <a:gd name="connsiteX3" fmla="*/ 321683 w 510976"/>
                  <a:gd name="connsiteY3" fmla="*/ 1062992 h 1279428"/>
                  <a:gd name="connsiteX4" fmla="*/ 41012 w 510976"/>
                  <a:gd name="connsiteY4" fmla="*/ 775971 h 1279428"/>
                  <a:gd name="connsiteX0" fmla="*/ 41647 w 518397"/>
                  <a:gd name="connsiteY0" fmla="*/ 775971 h 1155749"/>
                  <a:gd name="connsiteX1" fmla="*/ 236593 w 518397"/>
                  <a:gd name="connsiteY1" fmla="*/ 9525 h 1155749"/>
                  <a:gd name="connsiteX2" fmla="*/ 383914 w 518397"/>
                  <a:gd name="connsiteY2" fmla="*/ 0 h 1155749"/>
                  <a:gd name="connsiteX3" fmla="*/ 331843 w 518397"/>
                  <a:gd name="connsiteY3" fmla="*/ 910592 h 1155749"/>
                  <a:gd name="connsiteX4" fmla="*/ 41647 w 518397"/>
                  <a:gd name="connsiteY4" fmla="*/ 775971 h 1155749"/>
                  <a:gd name="connsiteX0" fmla="*/ 41647 w 383914"/>
                  <a:gd name="connsiteY0" fmla="*/ 775971 h 966949"/>
                  <a:gd name="connsiteX1" fmla="*/ 236593 w 383914"/>
                  <a:gd name="connsiteY1" fmla="*/ 9525 h 966949"/>
                  <a:gd name="connsiteX2" fmla="*/ 383914 w 383914"/>
                  <a:gd name="connsiteY2" fmla="*/ 0 h 966949"/>
                  <a:gd name="connsiteX3" fmla="*/ 331843 w 383914"/>
                  <a:gd name="connsiteY3" fmla="*/ 910592 h 966949"/>
                  <a:gd name="connsiteX4" fmla="*/ 41647 w 383914"/>
                  <a:gd name="connsiteY4" fmla="*/ 775971 h 966949"/>
                  <a:gd name="connsiteX0" fmla="*/ 4778 w 493095"/>
                  <a:gd name="connsiteY0" fmla="*/ 998221 h 1080371"/>
                  <a:gd name="connsiteX1" fmla="*/ 345774 w 493095"/>
                  <a:gd name="connsiteY1" fmla="*/ 9525 h 1080371"/>
                  <a:gd name="connsiteX2" fmla="*/ 493095 w 493095"/>
                  <a:gd name="connsiteY2" fmla="*/ 0 h 1080371"/>
                  <a:gd name="connsiteX3" fmla="*/ 441024 w 493095"/>
                  <a:gd name="connsiteY3" fmla="*/ 910592 h 1080371"/>
                  <a:gd name="connsiteX4" fmla="*/ 4778 w 493095"/>
                  <a:gd name="connsiteY4" fmla="*/ 998221 h 1080371"/>
                  <a:gd name="connsiteX0" fmla="*/ 2311 w 490628"/>
                  <a:gd name="connsiteY0" fmla="*/ 998221 h 1169264"/>
                  <a:gd name="connsiteX1" fmla="*/ 343307 w 490628"/>
                  <a:gd name="connsiteY1" fmla="*/ 9525 h 1169264"/>
                  <a:gd name="connsiteX2" fmla="*/ 490628 w 490628"/>
                  <a:gd name="connsiteY2" fmla="*/ 0 h 1169264"/>
                  <a:gd name="connsiteX3" fmla="*/ 394107 w 490628"/>
                  <a:gd name="connsiteY3" fmla="*/ 1072517 h 1169264"/>
                  <a:gd name="connsiteX4" fmla="*/ 2311 w 490628"/>
                  <a:gd name="connsiteY4" fmla="*/ 998221 h 1169264"/>
                  <a:gd name="connsiteX0" fmla="*/ 2311 w 513147"/>
                  <a:gd name="connsiteY0" fmla="*/ 998221 h 1209324"/>
                  <a:gd name="connsiteX1" fmla="*/ 343307 w 513147"/>
                  <a:gd name="connsiteY1" fmla="*/ 9525 h 1209324"/>
                  <a:gd name="connsiteX2" fmla="*/ 490628 w 513147"/>
                  <a:gd name="connsiteY2" fmla="*/ 0 h 1209324"/>
                  <a:gd name="connsiteX3" fmla="*/ 394107 w 513147"/>
                  <a:gd name="connsiteY3" fmla="*/ 1072517 h 1209324"/>
                  <a:gd name="connsiteX4" fmla="*/ 2311 w 513147"/>
                  <a:gd name="connsiteY4" fmla="*/ 998221 h 1209324"/>
                  <a:gd name="connsiteX0" fmla="*/ 2311 w 500153"/>
                  <a:gd name="connsiteY0" fmla="*/ 998221 h 1169264"/>
                  <a:gd name="connsiteX1" fmla="*/ 343307 w 500153"/>
                  <a:gd name="connsiteY1" fmla="*/ 9525 h 1169264"/>
                  <a:gd name="connsiteX2" fmla="*/ 500153 w 500153"/>
                  <a:gd name="connsiteY2" fmla="*/ 0 h 1169264"/>
                  <a:gd name="connsiteX3" fmla="*/ 394107 w 500153"/>
                  <a:gd name="connsiteY3" fmla="*/ 1072517 h 1169264"/>
                  <a:gd name="connsiteX4" fmla="*/ 2311 w 500153"/>
                  <a:gd name="connsiteY4" fmla="*/ 998221 h 1169264"/>
                  <a:gd name="connsiteX0" fmla="*/ 2311 w 597709"/>
                  <a:gd name="connsiteY0" fmla="*/ 998221 h 1169264"/>
                  <a:gd name="connsiteX1" fmla="*/ 343307 w 597709"/>
                  <a:gd name="connsiteY1" fmla="*/ 9525 h 1169264"/>
                  <a:gd name="connsiteX2" fmla="*/ 500153 w 597709"/>
                  <a:gd name="connsiteY2" fmla="*/ 0 h 1169264"/>
                  <a:gd name="connsiteX3" fmla="*/ 394107 w 597709"/>
                  <a:gd name="connsiteY3" fmla="*/ 1072517 h 1169264"/>
                  <a:gd name="connsiteX4" fmla="*/ 2311 w 597709"/>
                  <a:gd name="connsiteY4" fmla="*/ 998221 h 1169264"/>
                  <a:gd name="connsiteX0" fmla="*/ 1506 w 593602"/>
                  <a:gd name="connsiteY0" fmla="*/ 998221 h 1191964"/>
                  <a:gd name="connsiteX1" fmla="*/ 342502 w 593602"/>
                  <a:gd name="connsiteY1" fmla="*/ 9525 h 1191964"/>
                  <a:gd name="connsiteX2" fmla="*/ 499348 w 593602"/>
                  <a:gd name="connsiteY2" fmla="*/ 0 h 1191964"/>
                  <a:gd name="connsiteX3" fmla="*/ 377427 w 593602"/>
                  <a:gd name="connsiteY3" fmla="*/ 1104267 h 1191964"/>
                  <a:gd name="connsiteX4" fmla="*/ 1506 w 593602"/>
                  <a:gd name="connsiteY4" fmla="*/ 998221 h 1191964"/>
                  <a:gd name="connsiteX0" fmla="*/ 1506 w 604625"/>
                  <a:gd name="connsiteY0" fmla="*/ 998221 h 1193365"/>
                  <a:gd name="connsiteX1" fmla="*/ 342502 w 604625"/>
                  <a:gd name="connsiteY1" fmla="*/ 9525 h 1193365"/>
                  <a:gd name="connsiteX2" fmla="*/ 499348 w 604625"/>
                  <a:gd name="connsiteY2" fmla="*/ 0 h 1193365"/>
                  <a:gd name="connsiteX3" fmla="*/ 377427 w 604625"/>
                  <a:gd name="connsiteY3" fmla="*/ 1104267 h 1193365"/>
                  <a:gd name="connsiteX4" fmla="*/ 1506 w 604625"/>
                  <a:gd name="connsiteY4" fmla="*/ 998221 h 1193365"/>
                  <a:gd name="connsiteX0" fmla="*/ 1506 w 604625"/>
                  <a:gd name="connsiteY0" fmla="*/ 998221 h 1184807"/>
                  <a:gd name="connsiteX1" fmla="*/ 342502 w 604625"/>
                  <a:gd name="connsiteY1" fmla="*/ 222250 h 1184807"/>
                  <a:gd name="connsiteX2" fmla="*/ 499348 w 604625"/>
                  <a:gd name="connsiteY2" fmla="*/ 0 h 1184807"/>
                  <a:gd name="connsiteX3" fmla="*/ 377427 w 604625"/>
                  <a:gd name="connsiteY3" fmla="*/ 1104267 h 1184807"/>
                  <a:gd name="connsiteX4" fmla="*/ 1506 w 604625"/>
                  <a:gd name="connsiteY4" fmla="*/ 998221 h 1184807"/>
                  <a:gd name="connsiteX0" fmla="*/ 0 w 525622"/>
                  <a:gd name="connsiteY0" fmla="*/ 998498 h 1185084"/>
                  <a:gd name="connsiteX1" fmla="*/ 497842 w 525622"/>
                  <a:gd name="connsiteY1" fmla="*/ 277 h 1185084"/>
                  <a:gd name="connsiteX2" fmla="*/ 375921 w 525622"/>
                  <a:gd name="connsiteY2" fmla="*/ 1104544 h 1185084"/>
                  <a:gd name="connsiteX3" fmla="*/ 0 w 525622"/>
                  <a:gd name="connsiteY3" fmla="*/ 998498 h 1185084"/>
                  <a:gd name="connsiteX0" fmla="*/ 944 w 518238"/>
                  <a:gd name="connsiteY0" fmla="*/ 998498 h 1192650"/>
                  <a:gd name="connsiteX1" fmla="*/ 498786 w 518238"/>
                  <a:gd name="connsiteY1" fmla="*/ 277 h 1192650"/>
                  <a:gd name="connsiteX2" fmla="*/ 376865 w 518238"/>
                  <a:gd name="connsiteY2" fmla="*/ 1104544 h 1192650"/>
                  <a:gd name="connsiteX3" fmla="*/ 944 w 518238"/>
                  <a:gd name="connsiteY3" fmla="*/ 998498 h 1192650"/>
                  <a:gd name="connsiteX0" fmla="*/ 944 w 592901"/>
                  <a:gd name="connsiteY0" fmla="*/ 998498 h 1192650"/>
                  <a:gd name="connsiteX1" fmla="*/ 498786 w 592901"/>
                  <a:gd name="connsiteY1" fmla="*/ 277 h 1192650"/>
                  <a:gd name="connsiteX2" fmla="*/ 376865 w 592901"/>
                  <a:gd name="connsiteY2" fmla="*/ 1104544 h 1192650"/>
                  <a:gd name="connsiteX3" fmla="*/ 944 w 592901"/>
                  <a:gd name="connsiteY3" fmla="*/ 998498 h 1192650"/>
                  <a:gd name="connsiteX0" fmla="*/ 944 w 592901"/>
                  <a:gd name="connsiteY0" fmla="*/ 998221 h 1192373"/>
                  <a:gd name="connsiteX1" fmla="*/ 498786 w 592901"/>
                  <a:gd name="connsiteY1" fmla="*/ 0 h 1192373"/>
                  <a:gd name="connsiteX2" fmla="*/ 376865 w 592901"/>
                  <a:gd name="connsiteY2" fmla="*/ 1104267 h 1192373"/>
                  <a:gd name="connsiteX3" fmla="*/ 944 w 592901"/>
                  <a:gd name="connsiteY3" fmla="*/ 998221 h 1192373"/>
                  <a:gd name="connsiteX0" fmla="*/ 1060 w 591755"/>
                  <a:gd name="connsiteY0" fmla="*/ 998221 h 1192373"/>
                  <a:gd name="connsiteX1" fmla="*/ 498902 w 591755"/>
                  <a:gd name="connsiteY1" fmla="*/ 0 h 1192373"/>
                  <a:gd name="connsiteX2" fmla="*/ 370631 w 591755"/>
                  <a:gd name="connsiteY2" fmla="*/ 1104267 h 1192373"/>
                  <a:gd name="connsiteX3" fmla="*/ 1060 w 591755"/>
                  <a:gd name="connsiteY3" fmla="*/ 998221 h 1192373"/>
                  <a:gd name="connsiteX0" fmla="*/ 1362 w 606138"/>
                  <a:gd name="connsiteY0" fmla="*/ 998221 h 1196572"/>
                  <a:gd name="connsiteX1" fmla="*/ 499204 w 606138"/>
                  <a:gd name="connsiteY1" fmla="*/ 0 h 1196572"/>
                  <a:gd name="connsiteX2" fmla="*/ 370933 w 606138"/>
                  <a:gd name="connsiteY2" fmla="*/ 1104267 h 1196572"/>
                  <a:gd name="connsiteX3" fmla="*/ 1362 w 606138"/>
                  <a:gd name="connsiteY3" fmla="*/ 998221 h 1196572"/>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2109 w 592804"/>
                  <a:gd name="connsiteY0" fmla="*/ 991871 h 1210415"/>
                  <a:gd name="connsiteX1" fmla="*/ 499951 w 592804"/>
                  <a:gd name="connsiteY1" fmla="*/ 0 h 1210415"/>
                  <a:gd name="connsiteX2" fmla="*/ 371680 w 592804"/>
                  <a:gd name="connsiteY2" fmla="*/ 1104267 h 1210415"/>
                  <a:gd name="connsiteX3" fmla="*/ 2109 w 592804"/>
                  <a:gd name="connsiteY3" fmla="*/ 991871 h 1210415"/>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1298 w 603412"/>
                  <a:gd name="connsiteY0" fmla="*/ 991871 h 1189982"/>
                  <a:gd name="connsiteX1" fmla="*/ 499140 w 603412"/>
                  <a:gd name="connsiteY1" fmla="*/ 0 h 1189982"/>
                  <a:gd name="connsiteX2" fmla="*/ 370869 w 603412"/>
                  <a:gd name="connsiteY2" fmla="*/ 1104267 h 1189982"/>
                  <a:gd name="connsiteX3" fmla="*/ 1298 w 603412"/>
                  <a:gd name="connsiteY3" fmla="*/ 991871 h 1189982"/>
                  <a:gd name="connsiteX0" fmla="*/ 1051 w 595012"/>
                  <a:gd name="connsiteY0" fmla="*/ 969646 h 1182098"/>
                  <a:gd name="connsiteX1" fmla="*/ 502068 w 595012"/>
                  <a:gd name="connsiteY1" fmla="*/ 0 h 1182098"/>
                  <a:gd name="connsiteX2" fmla="*/ 373797 w 595012"/>
                  <a:gd name="connsiteY2" fmla="*/ 1104267 h 1182098"/>
                  <a:gd name="connsiteX3" fmla="*/ 1051 w 595012"/>
                  <a:gd name="connsiteY3" fmla="*/ 969646 h 1182098"/>
                  <a:gd name="connsiteX0" fmla="*/ 10923 w 604884"/>
                  <a:gd name="connsiteY0" fmla="*/ 969646 h 1198071"/>
                  <a:gd name="connsiteX1" fmla="*/ 511940 w 604884"/>
                  <a:gd name="connsiteY1" fmla="*/ 0 h 1198071"/>
                  <a:gd name="connsiteX2" fmla="*/ 383669 w 604884"/>
                  <a:gd name="connsiteY2" fmla="*/ 1104267 h 1198071"/>
                  <a:gd name="connsiteX3" fmla="*/ 10923 w 604884"/>
                  <a:gd name="connsiteY3" fmla="*/ 969646 h 1198071"/>
                  <a:gd name="connsiteX0" fmla="*/ 169 w 610907"/>
                  <a:gd name="connsiteY0" fmla="*/ 969646 h 1129030"/>
                  <a:gd name="connsiteX1" fmla="*/ 501186 w 610907"/>
                  <a:gd name="connsiteY1" fmla="*/ 0 h 1129030"/>
                  <a:gd name="connsiteX2" fmla="*/ 445940 w 610907"/>
                  <a:gd name="connsiteY2" fmla="*/ 1031242 h 1129030"/>
                  <a:gd name="connsiteX3" fmla="*/ 169 w 610907"/>
                  <a:gd name="connsiteY3" fmla="*/ 969646 h 1129030"/>
                  <a:gd name="connsiteX0" fmla="*/ 217 w 633031"/>
                  <a:gd name="connsiteY0" fmla="*/ 969646 h 1163202"/>
                  <a:gd name="connsiteX1" fmla="*/ 501234 w 633031"/>
                  <a:gd name="connsiteY1" fmla="*/ 0 h 1163202"/>
                  <a:gd name="connsiteX2" fmla="*/ 445988 w 633031"/>
                  <a:gd name="connsiteY2" fmla="*/ 1031242 h 1163202"/>
                  <a:gd name="connsiteX3" fmla="*/ 217 w 633031"/>
                  <a:gd name="connsiteY3" fmla="*/ 969646 h 1163202"/>
                  <a:gd name="connsiteX0" fmla="*/ 374 w 627821"/>
                  <a:gd name="connsiteY0" fmla="*/ 969646 h 1183789"/>
                  <a:gd name="connsiteX1" fmla="*/ 501391 w 627821"/>
                  <a:gd name="connsiteY1" fmla="*/ 0 h 1183789"/>
                  <a:gd name="connsiteX2" fmla="*/ 430270 w 627821"/>
                  <a:gd name="connsiteY2" fmla="*/ 1059817 h 1183789"/>
                  <a:gd name="connsiteX3" fmla="*/ 374 w 627821"/>
                  <a:gd name="connsiteY3" fmla="*/ 969646 h 1183789"/>
                  <a:gd name="connsiteX0" fmla="*/ 735 w 620305"/>
                  <a:gd name="connsiteY0" fmla="*/ 969646 h 1195580"/>
                  <a:gd name="connsiteX1" fmla="*/ 501752 w 620305"/>
                  <a:gd name="connsiteY1" fmla="*/ 0 h 1195580"/>
                  <a:gd name="connsiteX2" fmla="*/ 405231 w 620305"/>
                  <a:gd name="connsiteY2" fmla="*/ 1075692 h 1195580"/>
                  <a:gd name="connsiteX3" fmla="*/ 735 w 620305"/>
                  <a:gd name="connsiteY3" fmla="*/ 969646 h 1195580"/>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1306 w 592833"/>
                  <a:gd name="connsiteY0" fmla="*/ 969646 h 1177209"/>
                  <a:gd name="connsiteX1" fmla="*/ 502323 w 592833"/>
                  <a:gd name="connsiteY1" fmla="*/ 0 h 1177209"/>
                  <a:gd name="connsiteX2" fmla="*/ 361352 w 592833"/>
                  <a:gd name="connsiteY2" fmla="*/ 1097917 h 1177209"/>
                  <a:gd name="connsiteX3" fmla="*/ 1306 w 592833"/>
                  <a:gd name="connsiteY3" fmla="*/ 969646 h 1177209"/>
                  <a:gd name="connsiteX0" fmla="*/ 1550 w 602147"/>
                  <a:gd name="connsiteY0" fmla="*/ 969646 h 1177209"/>
                  <a:gd name="connsiteX1" fmla="*/ 502567 w 602147"/>
                  <a:gd name="connsiteY1" fmla="*/ 0 h 1177209"/>
                  <a:gd name="connsiteX2" fmla="*/ 361596 w 602147"/>
                  <a:gd name="connsiteY2" fmla="*/ 1097917 h 1177209"/>
                  <a:gd name="connsiteX3" fmla="*/ 1550 w 602147"/>
                  <a:gd name="connsiteY3" fmla="*/ 969646 h 1177209"/>
                  <a:gd name="connsiteX0" fmla="*/ 1824 w 610811"/>
                  <a:gd name="connsiteY0" fmla="*/ 969646 h 1177209"/>
                  <a:gd name="connsiteX1" fmla="*/ 502841 w 610811"/>
                  <a:gd name="connsiteY1" fmla="*/ 0 h 1177209"/>
                  <a:gd name="connsiteX2" fmla="*/ 361870 w 610811"/>
                  <a:gd name="connsiteY2" fmla="*/ 1097917 h 1177209"/>
                  <a:gd name="connsiteX3" fmla="*/ 1824 w 610811"/>
                  <a:gd name="connsiteY3" fmla="*/ 969646 h 1177209"/>
                  <a:gd name="connsiteX0" fmla="*/ 2494 w 606902"/>
                  <a:gd name="connsiteY0" fmla="*/ 969646 h 1192009"/>
                  <a:gd name="connsiteX1" fmla="*/ 503511 w 606902"/>
                  <a:gd name="connsiteY1" fmla="*/ 0 h 1192009"/>
                  <a:gd name="connsiteX2" fmla="*/ 343490 w 606902"/>
                  <a:gd name="connsiteY2" fmla="*/ 1116967 h 1192009"/>
                  <a:gd name="connsiteX3" fmla="*/ 2494 w 606902"/>
                  <a:gd name="connsiteY3" fmla="*/ 969646 h 1192009"/>
                  <a:gd name="connsiteX0" fmla="*/ 1927 w 610127"/>
                  <a:gd name="connsiteY0" fmla="*/ 969646 h 1192009"/>
                  <a:gd name="connsiteX1" fmla="*/ 502944 w 610127"/>
                  <a:gd name="connsiteY1" fmla="*/ 0 h 1192009"/>
                  <a:gd name="connsiteX2" fmla="*/ 358798 w 610127"/>
                  <a:gd name="connsiteY2" fmla="*/ 1116967 h 1192009"/>
                  <a:gd name="connsiteX3" fmla="*/ 1927 w 610127"/>
                  <a:gd name="connsiteY3" fmla="*/ 969646 h 1192009"/>
                  <a:gd name="connsiteX0" fmla="*/ 1094 w 691407"/>
                  <a:gd name="connsiteY0" fmla="*/ 1101870 h 1248289"/>
                  <a:gd name="connsiteX1" fmla="*/ 598782 w 691407"/>
                  <a:gd name="connsiteY1" fmla="*/ 0 h 1248289"/>
                  <a:gd name="connsiteX2" fmla="*/ 454636 w 691407"/>
                  <a:gd name="connsiteY2" fmla="*/ 1116967 h 1248289"/>
                  <a:gd name="connsiteX3" fmla="*/ 1094 w 691407"/>
                  <a:gd name="connsiteY3" fmla="*/ 1101870 h 1248289"/>
                  <a:gd name="connsiteX0" fmla="*/ 25 w 720689"/>
                  <a:gd name="connsiteY0" fmla="*/ 1101870 h 1211524"/>
                  <a:gd name="connsiteX1" fmla="*/ 597713 w 720689"/>
                  <a:gd name="connsiteY1" fmla="*/ 0 h 1211524"/>
                  <a:gd name="connsiteX2" fmla="*/ 573726 w 720689"/>
                  <a:gd name="connsiteY2" fmla="*/ 1047352 h 1211524"/>
                  <a:gd name="connsiteX3" fmla="*/ 25 w 720689"/>
                  <a:gd name="connsiteY3" fmla="*/ 1101870 h 1211524"/>
                  <a:gd name="connsiteX0" fmla="*/ 28 w 733603"/>
                  <a:gd name="connsiteY0" fmla="*/ 1101870 h 1212894"/>
                  <a:gd name="connsiteX1" fmla="*/ 597716 w 733603"/>
                  <a:gd name="connsiteY1" fmla="*/ 0 h 1212894"/>
                  <a:gd name="connsiteX2" fmla="*/ 573729 w 733603"/>
                  <a:gd name="connsiteY2" fmla="*/ 1047352 h 1212894"/>
                  <a:gd name="connsiteX3" fmla="*/ 28 w 733603"/>
                  <a:gd name="connsiteY3" fmla="*/ 1101870 h 1212894"/>
                  <a:gd name="connsiteX0" fmla="*/ 12 w 750723"/>
                  <a:gd name="connsiteY0" fmla="*/ 1101870 h 1205652"/>
                  <a:gd name="connsiteX1" fmla="*/ 597700 w 750723"/>
                  <a:gd name="connsiteY1" fmla="*/ 0 h 1205652"/>
                  <a:gd name="connsiteX2" fmla="*/ 615666 w 750723"/>
                  <a:gd name="connsiteY2" fmla="*/ 1031563 h 1205652"/>
                  <a:gd name="connsiteX3" fmla="*/ 12 w 750723"/>
                  <a:gd name="connsiteY3" fmla="*/ 1101870 h 1205652"/>
                  <a:gd name="connsiteX0" fmla="*/ 12 w 735753"/>
                  <a:gd name="connsiteY0" fmla="*/ 1101870 h 1204360"/>
                  <a:gd name="connsiteX1" fmla="*/ 597700 w 735753"/>
                  <a:gd name="connsiteY1" fmla="*/ 0 h 1204360"/>
                  <a:gd name="connsiteX2" fmla="*/ 615666 w 735753"/>
                  <a:gd name="connsiteY2" fmla="*/ 1031563 h 1204360"/>
                  <a:gd name="connsiteX3" fmla="*/ 12 w 735753"/>
                  <a:gd name="connsiteY3" fmla="*/ 1101870 h 1204360"/>
                  <a:gd name="connsiteX0" fmla="*/ 12 w 718351"/>
                  <a:gd name="connsiteY0" fmla="*/ 1101870 h 1204360"/>
                  <a:gd name="connsiteX1" fmla="*/ 597700 w 718351"/>
                  <a:gd name="connsiteY1" fmla="*/ 0 h 1204360"/>
                  <a:gd name="connsiteX2" fmla="*/ 615666 w 718351"/>
                  <a:gd name="connsiteY2" fmla="*/ 1031563 h 1204360"/>
                  <a:gd name="connsiteX3" fmla="*/ 12 w 718351"/>
                  <a:gd name="connsiteY3" fmla="*/ 1101870 h 1204360"/>
                  <a:gd name="connsiteX0" fmla="*/ 12 w 718351"/>
                  <a:gd name="connsiteY0" fmla="*/ 1101870 h 1204360"/>
                  <a:gd name="connsiteX1" fmla="*/ 597700 w 718351"/>
                  <a:gd name="connsiteY1" fmla="*/ 0 h 1204360"/>
                  <a:gd name="connsiteX2" fmla="*/ 615666 w 718351"/>
                  <a:gd name="connsiteY2" fmla="*/ 1031563 h 1204360"/>
                  <a:gd name="connsiteX3" fmla="*/ 12 w 718351"/>
                  <a:gd name="connsiteY3" fmla="*/ 1101870 h 1204360"/>
                  <a:gd name="connsiteX0" fmla="*/ 13 w 629637"/>
                  <a:gd name="connsiteY0" fmla="*/ 1036900 h 1163536"/>
                  <a:gd name="connsiteX1" fmla="*/ 513605 w 629637"/>
                  <a:gd name="connsiteY1" fmla="*/ 0 h 1163536"/>
                  <a:gd name="connsiteX2" fmla="*/ 531571 w 629637"/>
                  <a:gd name="connsiteY2" fmla="*/ 1031563 h 1163536"/>
                  <a:gd name="connsiteX3" fmla="*/ 13 w 629637"/>
                  <a:gd name="connsiteY3" fmla="*/ 1036900 h 1163536"/>
                  <a:gd name="connsiteX0" fmla="*/ 1 w 621043"/>
                  <a:gd name="connsiteY0" fmla="*/ 1036900 h 1178284"/>
                  <a:gd name="connsiteX1" fmla="*/ 513593 w 621043"/>
                  <a:gd name="connsiteY1" fmla="*/ 0 h 1178284"/>
                  <a:gd name="connsiteX2" fmla="*/ 509173 w 621043"/>
                  <a:gd name="connsiteY2" fmla="*/ 1057169 h 1178284"/>
                  <a:gd name="connsiteX3" fmla="*/ 1 w 621043"/>
                  <a:gd name="connsiteY3" fmla="*/ 1036900 h 1178284"/>
                  <a:gd name="connsiteX0" fmla="*/ 1 w 631260"/>
                  <a:gd name="connsiteY0" fmla="*/ 1036900 h 1170487"/>
                  <a:gd name="connsiteX1" fmla="*/ 513593 w 631260"/>
                  <a:gd name="connsiteY1" fmla="*/ 0 h 1170487"/>
                  <a:gd name="connsiteX2" fmla="*/ 509173 w 631260"/>
                  <a:gd name="connsiteY2" fmla="*/ 1057169 h 1170487"/>
                  <a:gd name="connsiteX3" fmla="*/ 1 w 631260"/>
                  <a:gd name="connsiteY3" fmla="*/ 1036900 h 1170487"/>
                </a:gdLst>
                <a:ahLst/>
                <a:cxnLst>
                  <a:cxn ang="0">
                    <a:pos x="connsiteX0" y="connsiteY0"/>
                  </a:cxn>
                  <a:cxn ang="0">
                    <a:pos x="connsiteX1" y="connsiteY1"/>
                  </a:cxn>
                  <a:cxn ang="0">
                    <a:pos x="connsiteX2" y="connsiteY2"/>
                  </a:cxn>
                  <a:cxn ang="0">
                    <a:pos x="connsiteX3" y="connsiteY3"/>
                  </a:cxn>
                </a:cxnLst>
                <a:rect l="l" t="t" r="r" b="b"/>
                <a:pathLst>
                  <a:path w="631260" h="1170487">
                    <a:moveTo>
                      <a:pt x="1" y="1036900"/>
                    </a:moveTo>
                    <a:cubicBezTo>
                      <a:pt x="738" y="860705"/>
                      <a:pt x="475603" y="721712"/>
                      <a:pt x="513593" y="0"/>
                    </a:cubicBezTo>
                    <a:cubicBezTo>
                      <a:pt x="708823" y="688334"/>
                      <a:pt x="628018" y="904379"/>
                      <a:pt x="509173" y="1057169"/>
                    </a:cubicBezTo>
                    <a:cubicBezTo>
                      <a:pt x="390328" y="1209959"/>
                      <a:pt x="-736" y="1213095"/>
                      <a:pt x="1" y="1036900"/>
                    </a:cubicBezTo>
                    <a:close/>
                  </a:path>
                </a:pathLst>
              </a:custGeom>
              <a:solidFill>
                <a:schemeClr val="accent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grpSp>
      <p:sp>
        <p:nvSpPr>
          <p:cNvPr id="26" name="Content Placeholder 2"/>
          <p:cNvSpPr>
            <a:spLocks noGrp="1"/>
          </p:cNvSpPr>
          <p:nvPr>
            <p:ph sz="quarter" idx="4294967295"/>
          </p:nvPr>
        </p:nvSpPr>
        <p:spPr>
          <a:xfrm>
            <a:off x="7958347" y="2449513"/>
            <a:ext cx="3746500" cy="752475"/>
          </a:xfrm>
          <a:prstGeom prst="rect">
            <a:avLst/>
          </a:prstGeom>
        </p:spPr>
        <p:txBody>
          <a:bodyPr lIns="0" tIns="0" rIns="0" bIns="0">
            <a:normAutofit/>
          </a:bodyPr>
          <a:lstStyle/>
          <a:p>
            <a:pPr>
              <a:spcAft>
                <a:spcPts val="0"/>
              </a:spcAft>
            </a:pPr>
            <a:r>
              <a:rPr lang="en-US" sz="1300" b="1" noProof="0" dirty="0">
                <a:solidFill>
                  <a:schemeClr val="accent3"/>
                </a:solidFill>
              </a:rPr>
              <a:t>Title Bold </a:t>
            </a:r>
          </a:p>
          <a:p>
            <a:pPr>
              <a:spcAft>
                <a:spcPts val="0"/>
              </a:spcAft>
            </a:pPr>
            <a:r>
              <a:rPr lang="en-US" sz="1300" noProof="0" dirty="0"/>
              <a:t>this is dummy text it is not here to be read it is here to show how this document will look</a:t>
            </a:r>
          </a:p>
        </p:txBody>
      </p:sp>
      <p:sp>
        <p:nvSpPr>
          <p:cNvPr id="27" name="Content Placeholder 2"/>
          <p:cNvSpPr>
            <a:spLocks noGrp="1"/>
          </p:cNvSpPr>
          <p:nvPr>
            <p:ph sz="quarter" idx="4294967295"/>
          </p:nvPr>
        </p:nvSpPr>
        <p:spPr>
          <a:xfrm>
            <a:off x="8348872" y="4141788"/>
            <a:ext cx="3355975" cy="754062"/>
          </a:xfrm>
          <a:prstGeom prst="rect">
            <a:avLst/>
          </a:prstGeom>
        </p:spPr>
        <p:txBody>
          <a:bodyPr lIns="0" tIns="0" rIns="0" bIns="0"/>
          <a:lstStyle/>
          <a:p>
            <a:pPr>
              <a:spcAft>
                <a:spcPts val="0"/>
              </a:spcAft>
            </a:pPr>
            <a:r>
              <a:rPr lang="en-US" sz="1300" b="1" noProof="0" dirty="0">
                <a:solidFill>
                  <a:srgbClr val="53565A"/>
                </a:solidFill>
              </a:rPr>
              <a:t>Title Bold</a:t>
            </a:r>
          </a:p>
          <a:p>
            <a:pPr>
              <a:spcAft>
                <a:spcPts val="0"/>
              </a:spcAft>
            </a:pPr>
            <a:r>
              <a:rPr lang="en-US" sz="1300" noProof="0" dirty="0"/>
              <a:t>this is dummy text it is not here to be read it is here to show how this document will look</a:t>
            </a:r>
          </a:p>
        </p:txBody>
      </p:sp>
      <p:sp>
        <p:nvSpPr>
          <p:cNvPr id="28" name="Content Placeholder 2"/>
          <p:cNvSpPr>
            <a:spLocks noGrp="1"/>
          </p:cNvSpPr>
          <p:nvPr>
            <p:ph sz="quarter" idx="4294967295"/>
          </p:nvPr>
        </p:nvSpPr>
        <p:spPr>
          <a:xfrm>
            <a:off x="472836" y="2325688"/>
            <a:ext cx="3433763" cy="752475"/>
          </a:xfrm>
          <a:prstGeom prst="rect">
            <a:avLst/>
          </a:prstGeom>
        </p:spPr>
        <p:txBody>
          <a:bodyPr lIns="0" tIns="0" rIns="0" bIns="0">
            <a:normAutofit/>
          </a:bodyPr>
          <a:lstStyle/>
          <a:p>
            <a:pPr algn="r">
              <a:spcAft>
                <a:spcPts val="0"/>
              </a:spcAft>
            </a:pPr>
            <a:r>
              <a:rPr lang="en-US" sz="1300" b="1" noProof="0" dirty="0">
                <a:solidFill>
                  <a:schemeClr val="accent1"/>
                </a:solidFill>
              </a:rPr>
              <a:t>Title Bold </a:t>
            </a:r>
          </a:p>
          <a:p>
            <a:pPr algn="r">
              <a:spcAft>
                <a:spcPts val="0"/>
              </a:spcAft>
            </a:pPr>
            <a:r>
              <a:rPr lang="en-US" sz="1300" noProof="0" dirty="0"/>
              <a:t>this is dummy text it is not here to be read it is here to show how this document will look</a:t>
            </a:r>
          </a:p>
        </p:txBody>
      </p:sp>
      <p:sp>
        <p:nvSpPr>
          <p:cNvPr id="29" name="Content Placeholder 2"/>
          <p:cNvSpPr>
            <a:spLocks noGrp="1"/>
          </p:cNvSpPr>
          <p:nvPr>
            <p:ph sz="quarter" idx="4294967295"/>
          </p:nvPr>
        </p:nvSpPr>
        <p:spPr>
          <a:xfrm>
            <a:off x="472836" y="4722813"/>
            <a:ext cx="3741738" cy="754062"/>
          </a:xfrm>
          <a:prstGeom prst="rect">
            <a:avLst/>
          </a:prstGeom>
        </p:spPr>
        <p:txBody>
          <a:bodyPr lIns="0" tIns="0" rIns="0" bIns="0"/>
          <a:lstStyle/>
          <a:p>
            <a:pPr algn="r">
              <a:spcAft>
                <a:spcPts val="0"/>
              </a:spcAft>
            </a:pPr>
            <a:r>
              <a:rPr lang="en-US" sz="1300" b="1" noProof="0" dirty="0">
                <a:solidFill>
                  <a:srgbClr val="000000"/>
                </a:solidFill>
              </a:rPr>
              <a:t>Title Bold</a:t>
            </a:r>
          </a:p>
          <a:p>
            <a:pPr algn="r">
              <a:spcAft>
                <a:spcPts val="0"/>
              </a:spcAft>
            </a:pPr>
            <a:r>
              <a:rPr lang="en-US" sz="1300" noProof="0" dirty="0"/>
              <a:t>this is dummy text it is not here to be read it is here to show how this document will look</a:t>
            </a:r>
          </a:p>
        </p:txBody>
      </p:sp>
      <p:sp>
        <p:nvSpPr>
          <p:cNvPr id="31" name="Content Placeholder 2"/>
          <p:cNvSpPr>
            <a:spLocks noGrp="1"/>
          </p:cNvSpPr>
          <p:nvPr>
            <p:ph sz="quarter" idx="4294967295"/>
          </p:nvPr>
        </p:nvSpPr>
        <p:spPr>
          <a:xfrm>
            <a:off x="6195367" y="2325688"/>
            <a:ext cx="1023937" cy="752475"/>
          </a:xfrm>
          <a:prstGeom prst="rect">
            <a:avLst/>
          </a:prstGeom>
        </p:spPr>
        <p:txBody>
          <a:bodyPr lIns="0" tIns="0" rIns="0" bIns="0">
            <a:normAutofit/>
          </a:bodyPr>
          <a:lstStyle/>
          <a:p>
            <a:pPr algn="ctr">
              <a:spcAft>
                <a:spcPts val="0"/>
              </a:spcAft>
            </a:pPr>
            <a:r>
              <a:rPr lang="en-US" sz="1300" b="1" noProof="0" dirty="0">
                <a:solidFill>
                  <a:schemeClr val="bg1"/>
                </a:solidFill>
              </a:rPr>
              <a:t>Title Bold </a:t>
            </a:r>
          </a:p>
          <a:p>
            <a:pPr algn="ctr">
              <a:spcAft>
                <a:spcPts val="0"/>
              </a:spcAft>
            </a:pPr>
            <a:r>
              <a:rPr lang="en-US" sz="1300" noProof="0" dirty="0">
                <a:solidFill>
                  <a:schemeClr val="bg1"/>
                </a:solidFill>
              </a:rPr>
              <a:t>this is dummy text it is not</a:t>
            </a:r>
          </a:p>
        </p:txBody>
      </p:sp>
      <p:sp>
        <p:nvSpPr>
          <p:cNvPr id="32" name="Content Placeholder 2"/>
          <p:cNvSpPr>
            <a:spLocks noGrp="1"/>
          </p:cNvSpPr>
          <p:nvPr>
            <p:ph sz="quarter" idx="4294967295"/>
          </p:nvPr>
        </p:nvSpPr>
        <p:spPr>
          <a:xfrm>
            <a:off x="6892670" y="4177086"/>
            <a:ext cx="1023937" cy="752475"/>
          </a:xfrm>
          <a:prstGeom prst="rect">
            <a:avLst/>
          </a:prstGeom>
        </p:spPr>
        <p:txBody>
          <a:bodyPr lIns="0" tIns="0" rIns="0" bIns="0">
            <a:normAutofit/>
          </a:bodyPr>
          <a:lstStyle/>
          <a:p>
            <a:pPr algn="ctr">
              <a:spcAft>
                <a:spcPts val="0"/>
              </a:spcAft>
            </a:pPr>
            <a:r>
              <a:rPr lang="en-US" sz="1300" b="1" noProof="0" dirty="0">
                <a:solidFill>
                  <a:schemeClr val="bg1"/>
                </a:solidFill>
              </a:rPr>
              <a:t>Title Bold </a:t>
            </a:r>
          </a:p>
          <a:p>
            <a:pPr algn="ctr">
              <a:spcAft>
                <a:spcPts val="0"/>
              </a:spcAft>
            </a:pPr>
            <a:r>
              <a:rPr lang="en-US" sz="1300" noProof="0" dirty="0">
                <a:solidFill>
                  <a:schemeClr val="bg1"/>
                </a:solidFill>
              </a:rPr>
              <a:t>this is dummy text it is not</a:t>
            </a:r>
          </a:p>
        </p:txBody>
      </p:sp>
      <p:sp>
        <p:nvSpPr>
          <p:cNvPr id="30" name="Content Placeholder 2"/>
          <p:cNvSpPr>
            <a:spLocks noGrp="1"/>
          </p:cNvSpPr>
          <p:nvPr>
            <p:ph sz="quarter" idx="4294967295"/>
          </p:nvPr>
        </p:nvSpPr>
        <p:spPr>
          <a:xfrm>
            <a:off x="4325514" y="2315299"/>
            <a:ext cx="1025525" cy="752475"/>
          </a:xfrm>
          <a:prstGeom prst="rect">
            <a:avLst/>
          </a:prstGeom>
        </p:spPr>
        <p:txBody>
          <a:bodyPr lIns="0" tIns="0" rIns="0" bIns="0">
            <a:normAutofit/>
          </a:bodyPr>
          <a:lstStyle/>
          <a:p>
            <a:pPr algn="ctr">
              <a:spcAft>
                <a:spcPts val="0"/>
              </a:spcAft>
            </a:pPr>
            <a:r>
              <a:rPr lang="en-US" sz="1300" b="1" noProof="0" dirty="0">
                <a:solidFill>
                  <a:schemeClr val="bg1"/>
                </a:solidFill>
              </a:rPr>
              <a:t>Title Bold </a:t>
            </a:r>
          </a:p>
          <a:p>
            <a:pPr algn="ctr">
              <a:spcAft>
                <a:spcPts val="0"/>
              </a:spcAft>
            </a:pPr>
            <a:r>
              <a:rPr lang="en-US" sz="1300" noProof="0" dirty="0">
                <a:solidFill>
                  <a:schemeClr val="bg1"/>
                </a:solidFill>
              </a:rPr>
              <a:t>this is dummy text it is not</a:t>
            </a:r>
          </a:p>
        </p:txBody>
      </p:sp>
      <p:sp>
        <p:nvSpPr>
          <p:cNvPr id="33" name="Content Placeholder 2"/>
          <p:cNvSpPr>
            <a:spLocks noGrp="1"/>
          </p:cNvSpPr>
          <p:nvPr>
            <p:ph sz="quarter" idx="4294967295"/>
          </p:nvPr>
        </p:nvSpPr>
        <p:spPr>
          <a:xfrm>
            <a:off x="4942541" y="4532709"/>
            <a:ext cx="1025525" cy="754062"/>
          </a:xfrm>
          <a:prstGeom prst="rect">
            <a:avLst/>
          </a:prstGeom>
        </p:spPr>
        <p:txBody>
          <a:bodyPr lIns="0" tIns="0" rIns="0" bIns="0">
            <a:normAutofit/>
          </a:bodyPr>
          <a:lstStyle/>
          <a:p>
            <a:pPr algn="ctr">
              <a:spcAft>
                <a:spcPts val="0"/>
              </a:spcAft>
            </a:pPr>
            <a:r>
              <a:rPr lang="en-US" sz="1300" b="1" noProof="0" dirty="0">
                <a:solidFill>
                  <a:schemeClr val="bg1"/>
                </a:solidFill>
              </a:rPr>
              <a:t>Title Bold </a:t>
            </a:r>
          </a:p>
          <a:p>
            <a:pPr algn="ctr">
              <a:spcAft>
                <a:spcPts val="0"/>
              </a:spcAft>
            </a:pPr>
            <a:r>
              <a:rPr lang="en-US" sz="1300" noProof="0" dirty="0">
                <a:solidFill>
                  <a:schemeClr val="bg1"/>
                </a:solidFill>
              </a:rPr>
              <a:t>this is dummy text it is not</a:t>
            </a:r>
          </a:p>
        </p:txBody>
      </p:sp>
    </p:spTree>
    <p:custDataLst>
      <p:tags r:id="rId1"/>
    </p:custDataLst>
    <p:extLst>
      <p:ext uri="{BB962C8B-B14F-4D97-AF65-F5344CB8AC3E}">
        <p14:creationId xmlns:p14="http://schemas.microsoft.com/office/powerpoint/2010/main" val="2874358063"/>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entagon 1"/>
          <p:cNvSpPr/>
          <p:nvPr/>
        </p:nvSpPr>
        <p:spPr bwMode="gray">
          <a:xfrm>
            <a:off x="469900" y="2329854"/>
            <a:ext cx="4125398" cy="575256"/>
          </a:xfrm>
          <a:prstGeom prst="homePlate">
            <a:avLst/>
          </a:prstGeom>
          <a:solidFill>
            <a:srgbClr val="86BC25"/>
          </a:solidFill>
          <a:ln w="19050" algn="ctr">
            <a:noFill/>
            <a:miter lim="800000"/>
            <a:headEnd/>
            <a:tailEnd/>
          </a:ln>
        </p:spPr>
        <p:txBody>
          <a:bodyPr wrap="square" lIns="360000" tIns="88900" rIns="88900" bIns="88900" rtlCol="0" anchor="ctr"/>
          <a:lstStyle/>
          <a:p>
            <a:pPr>
              <a:buFont typeface="Wingdings 2" pitchFamily="18" charset="2"/>
              <a:buNone/>
            </a:pPr>
            <a:endParaRPr lang="en-US" dirty="0">
              <a:solidFill>
                <a:schemeClr val="bg1"/>
              </a:solidFill>
            </a:endParaRPr>
          </a:p>
        </p:txBody>
      </p:sp>
      <p:sp>
        <p:nvSpPr>
          <p:cNvPr id="5" name="Chevron 4"/>
          <p:cNvSpPr/>
          <p:nvPr/>
        </p:nvSpPr>
        <p:spPr bwMode="gray">
          <a:xfrm>
            <a:off x="4535197" y="2351319"/>
            <a:ext cx="523741" cy="532327"/>
          </a:xfrm>
          <a:prstGeom prst="chevron">
            <a:avLst/>
          </a:prstGeom>
          <a:solidFill>
            <a:srgbClr val="C4D6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 name="Pentagon 5"/>
          <p:cNvSpPr/>
          <p:nvPr/>
        </p:nvSpPr>
        <p:spPr bwMode="gray">
          <a:xfrm>
            <a:off x="469900" y="3365742"/>
            <a:ext cx="4125398" cy="575256"/>
          </a:xfrm>
          <a:prstGeom prst="homePlate">
            <a:avLst/>
          </a:prstGeom>
          <a:solidFill>
            <a:srgbClr val="43B02A"/>
          </a:solidFill>
          <a:ln w="19050" algn="ctr">
            <a:noFill/>
            <a:miter lim="800000"/>
            <a:headEnd/>
            <a:tailEnd/>
          </a:ln>
        </p:spPr>
        <p:txBody>
          <a:bodyPr wrap="square" lIns="360000" tIns="88900" rIns="88900" bIns="88900" rtlCol="0" anchor="ctr"/>
          <a:lstStyle/>
          <a:p>
            <a:pPr>
              <a:buFont typeface="Wingdings 2" pitchFamily="18" charset="2"/>
              <a:buNone/>
            </a:pPr>
            <a:endParaRPr lang="en-US" dirty="0">
              <a:solidFill>
                <a:schemeClr val="bg1"/>
              </a:solidFill>
            </a:endParaRPr>
          </a:p>
        </p:txBody>
      </p:sp>
      <p:sp>
        <p:nvSpPr>
          <p:cNvPr id="7" name="Chevron 6"/>
          <p:cNvSpPr/>
          <p:nvPr/>
        </p:nvSpPr>
        <p:spPr bwMode="gray">
          <a:xfrm>
            <a:off x="4535197" y="3382913"/>
            <a:ext cx="523741" cy="532327"/>
          </a:xfrm>
          <a:prstGeom prst="chevron">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 name="Pentagon 7"/>
          <p:cNvSpPr/>
          <p:nvPr/>
        </p:nvSpPr>
        <p:spPr bwMode="gray">
          <a:xfrm>
            <a:off x="469900" y="4401630"/>
            <a:ext cx="4125398" cy="575256"/>
          </a:xfrm>
          <a:prstGeom prst="homePlate">
            <a:avLst/>
          </a:prstGeom>
          <a:solidFill>
            <a:srgbClr val="009A44"/>
          </a:solidFill>
          <a:ln w="19050" algn="ctr">
            <a:noFill/>
            <a:miter lim="800000"/>
            <a:headEnd/>
            <a:tailEnd/>
          </a:ln>
        </p:spPr>
        <p:txBody>
          <a:bodyPr wrap="square" lIns="360000" tIns="88900" rIns="88900" bIns="88900" rtlCol="0" anchor="ctr"/>
          <a:lstStyle/>
          <a:p>
            <a:pPr>
              <a:buFont typeface="Wingdings 2" pitchFamily="18" charset="2"/>
              <a:buNone/>
            </a:pPr>
            <a:endParaRPr lang="en-US" dirty="0">
              <a:solidFill>
                <a:schemeClr val="bg1"/>
              </a:solidFill>
            </a:endParaRPr>
          </a:p>
        </p:txBody>
      </p:sp>
      <p:sp>
        <p:nvSpPr>
          <p:cNvPr id="9" name="Chevron 8"/>
          <p:cNvSpPr/>
          <p:nvPr/>
        </p:nvSpPr>
        <p:spPr bwMode="gray">
          <a:xfrm>
            <a:off x="4535197" y="4418801"/>
            <a:ext cx="523741" cy="532327"/>
          </a:xfrm>
          <a:prstGeom prst="chevron">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 name="Pentagon 9"/>
          <p:cNvSpPr/>
          <p:nvPr/>
        </p:nvSpPr>
        <p:spPr bwMode="gray">
          <a:xfrm>
            <a:off x="469900" y="5437518"/>
            <a:ext cx="4125398" cy="575256"/>
          </a:xfrm>
          <a:prstGeom prst="homePlate">
            <a:avLst/>
          </a:prstGeom>
          <a:solidFill>
            <a:schemeClr val="accent4"/>
          </a:solidFill>
          <a:ln w="19050" algn="ctr">
            <a:noFill/>
            <a:miter lim="800000"/>
            <a:headEnd/>
            <a:tailEnd/>
          </a:ln>
        </p:spPr>
        <p:txBody>
          <a:bodyPr wrap="square" lIns="360000" tIns="88900" rIns="88900" bIns="88900" rtlCol="0" anchor="ctr"/>
          <a:lstStyle/>
          <a:p>
            <a:pPr>
              <a:buFont typeface="Wingdings 2" pitchFamily="18" charset="2"/>
              <a:buNone/>
            </a:pPr>
            <a:endParaRPr lang="en-US" dirty="0">
              <a:solidFill>
                <a:schemeClr val="bg1"/>
              </a:solidFill>
            </a:endParaRPr>
          </a:p>
        </p:txBody>
      </p:sp>
      <p:sp>
        <p:nvSpPr>
          <p:cNvPr id="11" name="Chevron 10"/>
          <p:cNvSpPr/>
          <p:nvPr/>
        </p:nvSpPr>
        <p:spPr bwMode="gray">
          <a:xfrm>
            <a:off x="4535197" y="5454689"/>
            <a:ext cx="523741" cy="532327"/>
          </a:xfrm>
          <a:prstGeom prst="chevron">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3" name="Rectangle 12"/>
          <p:cNvSpPr/>
          <p:nvPr/>
        </p:nvSpPr>
        <p:spPr bwMode="gray">
          <a:xfrm>
            <a:off x="1200695" y="1714500"/>
            <a:ext cx="491426" cy="4566574"/>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 name="Rectangle 13"/>
          <p:cNvSpPr/>
          <p:nvPr/>
        </p:nvSpPr>
        <p:spPr bwMode="gray">
          <a:xfrm>
            <a:off x="1091106" y="1973538"/>
            <a:ext cx="716924" cy="579549"/>
          </a:xfrm>
          <a:prstGeom prst="rect">
            <a:avLst/>
          </a:prstGeom>
          <a:solidFill>
            <a:srgbClr val="C4D600"/>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dirty="0">
                <a:solidFill>
                  <a:schemeClr val="bg1"/>
                </a:solidFill>
              </a:rPr>
              <a:t>1</a:t>
            </a:r>
            <a:endParaRPr lang="en-US" dirty="0">
              <a:solidFill>
                <a:schemeClr val="bg1"/>
              </a:solidFill>
            </a:endParaRPr>
          </a:p>
        </p:txBody>
      </p:sp>
      <p:sp>
        <p:nvSpPr>
          <p:cNvPr id="17" name="Right Triangle 16"/>
          <p:cNvSpPr/>
          <p:nvPr/>
        </p:nvSpPr>
        <p:spPr bwMode="gray">
          <a:xfrm rot="5400000">
            <a:off x="1692120" y="2553087"/>
            <a:ext cx="109588" cy="109588"/>
          </a:xfrm>
          <a:prstGeom prst="rtTriangle">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18" name="Right Triangle 17"/>
          <p:cNvSpPr/>
          <p:nvPr/>
        </p:nvSpPr>
        <p:spPr bwMode="gray">
          <a:xfrm rot="10800000">
            <a:off x="1091106" y="2553087"/>
            <a:ext cx="109588" cy="109588"/>
          </a:xfrm>
          <a:prstGeom prst="rtTriangle">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21" name="Rectangle 20"/>
          <p:cNvSpPr/>
          <p:nvPr/>
        </p:nvSpPr>
        <p:spPr bwMode="gray">
          <a:xfrm>
            <a:off x="1091106" y="3006737"/>
            <a:ext cx="716924" cy="579549"/>
          </a:xfrm>
          <a:prstGeom prst="rect">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dirty="0">
                <a:solidFill>
                  <a:schemeClr val="bg1"/>
                </a:solidFill>
              </a:rPr>
              <a:t>2</a:t>
            </a:r>
            <a:endParaRPr lang="en-US" dirty="0">
              <a:solidFill>
                <a:schemeClr val="bg1"/>
              </a:solidFill>
            </a:endParaRPr>
          </a:p>
        </p:txBody>
      </p:sp>
      <p:sp>
        <p:nvSpPr>
          <p:cNvPr id="22" name="Right Triangle 21"/>
          <p:cNvSpPr/>
          <p:nvPr/>
        </p:nvSpPr>
        <p:spPr bwMode="gray">
          <a:xfrm rot="5400000">
            <a:off x="1692120" y="3586286"/>
            <a:ext cx="109588" cy="109588"/>
          </a:xfrm>
          <a:prstGeom prst="rtTriangle">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23" name="Right Triangle 22"/>
          <p:cNvSpPr/>
          <p:nvPr/>
        </p:nvSpPr>
        <p:spPr bwMode="gray">
          <a:xfrm rot="10800000">
            <a:off x="1091106" y="3586286"/>
            <a:ext cx="109588" cy="109588"/>
          </a:xfrm>
          <a:prstGeom prst="rtTriangle">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25" name="Rectangle 24"/>
          <p:cNvSpPr/>
          <p:nvPr/>
        </p:nvSpPr>
        <p:spPr bwMode="gray">
          <a:xfrm>
            <a:off x="1091106" y="4047998"/>
            <a:ext cx="716924" cy="579549"/>
          </a:xfrm>
          <a:prstGeom prst="rect">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dirty="0">
                <a:solidFill>
                  <a:schemeClr val="bg1"/>
                </a:solidFill>
              </a:rPr>
              <a:t>3</a:t>
            </a:r>
            <a:endParaRPr lang="en-US" dirty="0">
              <a:solidFill>
                <a:schemeClr val="bg1"/>
              </a:solidFill>
            </a:endParaRPr>
          </a:p>
        </p:txBody>
      </p:sp>
      <p:sp>
        <p:nvSpPr>
          <p:cNvPr id="26" name="Right Triangle 25"/>
          <p:cNvSpPr/>
          <p:nvPr/>
        </p:nvSpPr>
        <p:spPr bwMode="gray">
          <a:xfrm rot="5400000">
            <a:off x="1692120" y="4627547"/>
            <a:ext cx="109588" cy="109588"/>
          </a:xfrm>
          <a:prstGeom prst="rtTriangle">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27" name="Right Triangle 26"/>
          <p:cNvSpPr/>
          <p:nvPr/>
        </p:nvSpPr>
        <p:spPr bwMode="gray">
          <a:xfrm rot="10800000">
            <a:off x="1091106" y="4627547"/>
            <a:ext cx="109588" cy="109588"/>
          </a:xfrm>
          <a:prstGeom prst="rtTriangle">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grpSp>
        <p:nvGrpSpPr>
          <p:cNvPr id="28" name="Group 27"/>
          <p:cNvGrpSpPr/>
          <p:nvPr/>
        </p:nvGrpSpPr>
        <p:grpSpPr>
          <a:xfrm>
            <a:off x="1091106" y="5092949"/>
            <a:ext cx="716924" cy="689137"/>
            <a:chOff x="1433848" y="1820214"/>
            <a:chExt cx="716924" cy="689137"/>
          </a:xfrm>
        </p:grpSpPr>
        <p:sp>
          <p:nvSpPr>
            <p:cNvPr id="29" name="Rectangle 28"/>
            <p:cNvSpPr/>
            <p:nvPr/>
          </p:nvSpPr>
          <p:spPr bwMode="gray">
            <a:xfrm>
              <a:off x="1433848" y="1820214"/>
              <a:ext cx="716924" cy="579549"/>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dirty="0">
                  <a:solidFill>
                    <a:schemeClr val="bg1"/>
                  </a:solidFill>
                </a:rPr>
                <a:t>4</a:t>
              </a:r>
              <a:endParaRPr lang="en-US" dirty="0">
                <a:solidFill>
                  <a:schemeClr val="bg1"/>
                </a:solidFill>
              </a:endParaRPr>
            </a:p>
          </p:txBody>
        </p:sp>
        <p:sp>
          <p:nvSpPr>
            <p:cNvPr id="30" name="Right Triangle 29"/>
            <p:cNvSpPr/>
            <p:nvPr/>
          </p:nvSpPr>
          <p:spPr bwMode="gray">
            <a:xfrm rot="5400000">
              <a:off x="2034862" y="2399763"/>
              <a:ext cx="109588" cy="109588"/>
            </a:xfrm>
            <a:prstGeom prst="rtTriangle">
              <a:avLst/>
            </a:prstGeom>
            <a:solidFill>
              <a:srgbClr val="2C523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31" name="Right Triangle 30"/>
            <p:cNvSpPr/>
            <p:nvPr/>
          </p:nvSpPr>
          <p:spPr bwMode="gray">
            <a:xfrm rot="10800000">
              <a:off x="1433848" y="2399763"/>
              <a:ext cx="109588" cy="109588"/>
            </a:xfrm>
            <a:prstGeom prst="rtTriangle">
              <a:avLst/>
            </a:prstGeom>
            <a:solidFill>
              <a:srgbClr val="2C523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grpSp>
      <p:sp>
        <p:nvSpPr>
          <p:cNvPr id="32" name="Content Placeholder 2"/>
          <p:cNvSpPr>
            <a:spLocks noGrp="1"/>
          </p:cNvSpPr>
          <p:nvPr>
            <p:ph sz="quarter" idx="4294967295"/>
          </p:nvPr>
        </p:nvSpPr>
        <p:spPr>
          <a:xfrm>
            <a:off x="5187484" y="2371975"/>
            <a:ext cx="1718804" cy="430887"/>
          </a:xfrm>
          <a:prstGeom prst="rect">
            <a:avLst/>
          </a:prstGeom>
        </p:spPr>
        <p:txBody>
          <a:bodyPr wrap="square" lIns="0" tIns="0" rIns="0" bIns="0" anchor="ctr">
            <a:spAutoFit/>
          </a:bodyPr>
          <a:lstStyle/>
          <a:p>
            <a:pPr algn="ctr">
              <a:spcAft>
                <a:spcPts val="0"/>
              </a:spcAft>
            </a:pPr>
            <a:r>
              <a:rPr lang="en-US" sz="2800" dirty="0">
                <a:solidFill>
                  <a:srgbClr val="86BC25"/>
                </a:solidFill>
              </a:rPr>
              <a:t>32%</a:t>
            </a:r>
            <a:endParaRPr lang="en-US" sz="1400" dirty="0">
              <a:solidFill>
                <a:srgbClr val="86BC25"/>
              </a:solidFill>
            </a:endParaRPr>
          </a:p>
        </p:txBody>
      </p:sp>
      <p:sp>
        <p:nvSpPr>
          <p:cNvPr id="33" name="Content Placeholder 2"/>
          <p:cNvSpPr>
            <a:spLocks noGrp="1"/>
          </p:cNvSpPr>
          <p:nvPr>
            <p:ph sz="quarter" idx="4294967295"/>
          </p:nvPr>
        </p:nvSpPr>
        <p:spPr>
          <a:xfrm>
            <a:off x="7013575" y="2232949"/>
            <a:ext cx="4676775" cy="800219"/>
          </a:xfrm>
          <a:prstGeom prst="rect">
            <a:avLst/>
          </a:prstGeom>
        </p:spPr>
        <p:txBody>
          <a:bodyPr wrap="square" lIns="0" tIns="0" rIns="0" bIns="0">
            <a:spAutoFit/>
          </a:bodyPr>
          <a:lstStyle/>
          <a:p>
            <a:pPr>
              <a:spcAft>
                <a:spcPts val="0"/>
              </a:spcAft>
            </a:pPr>
            <a:r>
              <a:rPr lang="en-US" sz="1300" b="1" dirty="0">
                <a:solidFill>
                  <a:srgbClr val="86BC25"/>
                </a:solidFill>
              </a:rPr>
              <a:t>this is dummy </a:t>
            </a:r>
          </a:p>
          <a:p>
            <a:pPr>
              <a:spcAft>
                <a:spcPts val="0"/>
              </a:spcAft>
            </a:pPr>
            <a:r>
              <a:rPr lang="en-US" sz="1300" dirty="0"/>
              <a:t>this </a:t>
            </a:r>
            <a:r>
              <a:rPr lang="en-US" sz="1300" noProof="0" dirty="0"/>
              <a:t>is dummy text it is not here to be read it is here to show how this document will </a:t>
            </a:r>
            <a:r>
              <a:rPr lang="en-US" sz="1300" dirty="0"/>
              <a:t>look this is dummy text it is not here to be read it is here to show how this document will look</a:t>
            </a:r>
          </a:p>
        </p:txBody>
      </p:sp>
      <p:sp>
        <p:nvSpPr>
          <p:cNvPr id="34" name="Content Placeholder 2"/>
          <p:cNvSpPr>
            <a:spLocks noGrp="1"/>
          </p:cNvSpPr>
          <p:nvPr>
            <p:ph sz="quarter" idx="4294967295"/>
          </p:nvPr>
        </p:nvSpPr>
        <p:spPr>
          <a:xfrm>
            <a:off x="5187484" y="3411788"/>
            <a:ext cx="1718804" cy="430887"/>
          </a:xfrm>
          <a:prstGeom prst="rect">
            <a:avLst/>
          </a:prstGeom>
        </p:spPr>
        <p:txBody>
          <a:bodyPr wrap="square" lIns="0" tIns="0" rIns="0" bIns="0" anchor="ctr">
            <a:spAutoFit/>
          </a:bodyPr>
          <a:lstStyle/>
          <a:p>
            <a:pPr algn="ctr">
              <a:spcAft>
                <a:spcPts val="0"/>
              </a:spcAft>
            </a:pPr>
            <a:r>
              <a:rPr lang="en-US" sz="2800" dirty="0">
                <a:solidFill>
                  <a:srgbClr val="43B02A"/>
                </a:solidFill>
              </a:rPr>
              <a:t>32%</a:t>
            </a:r>
            <a:endParaRPr lang="en-US" sz="1400" dirty="0">
              <a:solidFill>
                <a:srgbClr val="43B02A"/>
              </a:solidFill>
            </a:endParaRPr>
          </a:p>
        </p:txBody>
      </p:sp>
      <p:sp>
        <p:nvSpPr>
          <p:cNvPr id="35" name="Content Placeholder 2"/>
          <p:cNvSpPr>
            <a:spLocks noGrp="1"/>
          </p:cNvSpPr>
          <p:nvPr>
            <p:ph sz="quarter" idx="4294967295"/>
          </p:nvPr>
        </p:nvSpPr>
        <p:spPr>
          <a:xfrm>
            <a:off x="5187484" y="4451600"/>
            <a:ext cx="1718804" cy="430887"/>
          </a:xfrm>
          <a:prstGeom prst="rect">
            <a:avLst/>
          </a:prstGeom>
        </p:spPr>
        <p:txBody>
          <a:bodyPr wrap="square" lIns="0" tIns="0" rIns="0" bIns="0" anchor="ctr">
            <a:spAutoFit/>
          </a:bodyPr>
          <a:lstStyle/>
          <a:p>
            <a:pPr algn="ctr">
              <a:spcAft>
                <a:spcPts val="0"/>
              </a:spcAft>
            </a:pPr>
            <a:r>
              <a:rPr lang="en-US" sz="2800" dirty="0">
                <a:solidFill>
                  <a:srgbClr val="009A44"/>
                </a:solidFill>
              </a:rPr>
              <a:t>32%</a:t>
            </a:r>
            <a:endParaRPr lang="en-US" sz="1400" dirty="0">
              <a:solidFill>
                <a:srgbClr val="009A44"/>
              </a:solidFill>
            </a:endParaRPr>
          </a:p>
        </p:txBody>
      </p:sp>
      <p:sp>
        <p:nvSpPr>
          <p:cNvPr id="36" name="Content Placeholder 2"/>
          <p:cNvSpPr>
            <a:spLocks noGrp="1"/>
          </p:cNvSpPr>
          <p:nvPr>
            <p:ph sz="quarter" idx="4294967295"/>
          </p:nvPr>
        </p:nvSpPr>
        <p:spPr>
          <a:xfrm>
            <a:off x="5187484" y="5491413"/>
            <a:ext cx="1718804" cy="430887"/>
          </a:xfrm>
          <a:prstGeom prst="rect">
            <a:avLst/>
          </a:prstGeom>
        </p:spPr>
        <p:txBody>
          <a:bodyPr wrap="square" lIns="0" tIns="0" rIns="0" bIns="0" anchor="ctr">
            <a:spAutoFit/>
          </a:bodyPr>
          <a:lstStyle/>
          <a:p>
            <a:pPr algn="ctr">
              <a:spcAft>
                <a:spcPts val="0"/>
              </a:spcAft>
            </a:pPr>
            <a:r>
              <a:rPr lang="en-US" sz="2800" dirty="0">
                <a:solidFill>
                  <a:schemeClr val="accent4"/>
                </a:solidFill>
              </a:rPr>
              <a:t>32%</a:t>
            </a:r>
            <a:endParaRPr lang="en-US" sz="1400" dirty="0">
              <a:solidFill>
                <a:schemeClr val="accent4"/>
              </a:solidFill>
            </a:endParaRPr>
          </a:p>
        </p:txBody>
      </p:sp>
      <p:sp>
        <p:nvSpPr>
          <p:cNvPr id="37" name="Content Placeholder 2"/>
          <p:cNvSpPr>
            <a:spLocks noGrp="1"/>
          </p:cNvSpPr>
          <p:nvPr>
            <p:ph sz="quarter" idx="4294967295"/>
          </p:nvPr>
        </p:nvSpPr>
        <p:spPr>
          <a:xfrm>
            <a:off x="2088362" y="2432974"/>
            <a:ext cx="1974850" cy="369888"/>
          </a:xfrm>
          <a:prstGeom prst="rect">
            <a:avLst/>
          </a:prstGeom>
        </p:spPr>
        <p:txBody>
          <a:bodyPr wrap="square" lIns="0" tIns="0" rIns="0" bIns="0">
            <a:spAutoFit/>
          </a:bodyPr>
          <a:lstStyle/>
          <a:p>
            <a:pPr>
              <a:spcAft>
                <a:spcPts val="0"/>
              </a:spcAft>
            </a:pPr>
            <a:r>
              <a:rPr lang="en-US" altLang="zh-CN" sz="2400" dirty="0">
                <a:solidFill>
                  <a:schemeClr val="bg1"/>
                </a:solidFill>
              </a:rPr>
              <a:t>Dummy</a:t>
            </a:r>
            <a:endParaRPr lang="en-US" dirty="0">
              <a:solidFill>
                <a:schemeClr val="bg1"/>
              </a:solidFill>
            </a:endParaRPr>
          </a:p>
        </p:txBody>
      </p:sp>
      <p:sp>
        <p:nvSpPr>
          <p:cNvPr id="41" name="Content Placeholder 2"/>
          <p:cNvSpPr>
            <a:spLocks noGrp="1"/>
          </p:cNvSpPr>
          <p:nvPr>
            <p:ph sz="quarter" idx="4294967295"/>
          </p:nvPr>
        </p:nvSpPr>
        <p:spPr>
          <a:xfrm>
            <a:off x="2088362" y="3456912"/>
            <a:ext cx="1974850" cy="368300"/>
          </a:xfrm>
          <a:prstGeom prst="rect">
            <a:avLst/>
          </a:prstGeom>
        </p:spPr>
        <p:txBody>
          <a:bodyPr wrap="square" lIns="0" tIns="0" rIns="0" bIns="0">
            <a:spAutoFit/>
          </a:bodyPr>
          <a:lstStyle/>
          <a:p>
            <a:pPr>
              <a:spcAft>
                <a:spcPts val="0"/>
              </a:spcAft>
            </a:pPr>
            <a:r>
              <a:rPr lang="en-US" altLang="zh-CN" sz="2400" dirty="0">
                <a:solidFill>
                  <a:schemeClr val="bg1"/>
                </a:solidFill>
              </a:rPr>
              <a:t>Dummy</a:t>
            </a:r>
            <a:endParaRPr lang="en-US" dirty="0">
              <a:solidFill>
                <a:schemeClr val="bg1"/>
              </a:solidFill>
            </a:endParaRPr>
          </a:p>
        </p:txBody>
      </p:sp>
      <p:sp>
        <p:nvSpPr>
          <p:cNvPr id="42" name="Content Placeholder 2"/>
          <p:cNvSpPr>
            <a:spLocks noGrp="1"/>
          </p:cNvSpPr>
          <p:nvPr>
            <p:ph sz="quarter" idx="4294967295"/>
          </p:nvPr>
        </p:nvSpPr>
        <p:spPr>
          <a:xfrm>
            <a:off x="2088362" y="4504662"/>
            <a:ext cx="1974850" cy="369887"/>
          </a:xfrm>
          <a:prstGeom prst="rect">
            <a:avLst/>
          </a:prstGeom>
        </p:spPr>
        <p:txBody>
          <a:bodyPr wrap="square" lIns="0" tIns="0" rIns="0" bIns="0">
            <a:spAutoFit/>
          </a:bodyPr>
          <a:lstStyle/>
          <a:p>
            <a:pPr>
              <a:spcAft>
                <a:spcPts val="0"/>
              </a:spcAft>
            </a:pPr>
            <a:r>
              <a:rPr lang="en-US" altLang="zh-CN" sz="2400" dirty="0">
                <a:solidFill>
                  <a:schemeClr val="bg1"/>
                </a:solidFill>
              </a:rPr>
              <a:t>Dummy</a:t>
            </a:r>
            <a:endParaRPr lang="en-US" dirty="0">
              <a:solidFill>
                <a:schemeClr val="bg1"/>
              </a:solidFill>
            </a:endParaRPr>
          </a:p>
        </p:txBody>
      </p:sp>
      <p:sp>
        <p:nvSpPr>
          <p:cNvPr id="43" name="Content Placeholder 2"/>
          <p:cNvSpPr>
            <a:spLocks noGrp="1"/>
          </p:cNvSpPr>
          <p:nvPr>
            <p:ph sz="quarter" idx="4294967295"/>
          </p:nvPr>
        </p:nvSpPr>
        <p:spPr>
          <a:xfrm>
            <a:off x="2088362" y="5542887"/>
            <a:ext cx="1974850" cy="368300"/>
          </a:xfrm>
          <a:prstGeom prst="rect">
            <a:avLst/>
          </a:prstGeom>
        </p:spPr>
        <p:txBody>
          <a:bodyPr wrap="square" lIns="0" tIns="0" rIns="0" bIns="0">
            <a:spAutoFit/>
          </a:bodyPr>
          <a:lstStyle/>
          <a:p>
            <a:pPr>
              <a:spcAft>
                <a:spcPts val="0"/>
              </a:spcAft>
            </a:pPr>
            <a:r>
              <a:rPr lang="en-US" altLang="zh-CN" sz="2400" dirty="0">
                <a:solidFill>
                  <a:schemeClr val="bg1"/>
                </a:solidFill>
              </a:rPr>
              <a:t>Dummy</a:t>
            </a:r>
            <a:endParaRPr lang="en-US" dirty="0">
              <a:solidFill>
                <a:schemeClr val="bg1"/>
              </a:solidFill>
            </a:endParaRPr>
          </a:p>
        </p:txBody>
      </p:sp>
      <p:sp>
        <p:nvSpPr>
          <p:cNvPr id="44" name="Content Placeholder 2"/>
          <p:cNvSpPr>
            <a:spLocks noGrp="1"/>
          </p:cNvSpPr>
          <p:nvPr>
            <p:ph sz="quarter" idx="4294967295"/>
          </p:nvPr>
        </p:nvSpPr>
        <p:spPr>
          <a:xfrm>
            <a:off x="7013575" y="3272762"/>
            <a:ext cx="4676775" cy="800219"/>
          </a:xfrm>
          <a:prstGeom prst="rect">
            <a:avLst/>
          </a:prstGeom>
        </p:spPr>
        <p:txBody>
          <a:bodyPr wrap="square" lIns="0" tIns="0" rIns="0" bIns="0">
            <a:spAutoFit/>
          </a:bodyPr>
          <a:lstStyle/>
          <a:p>
            <a:pPr>
              <a:spcAft>
                <a:spcPts val="0"/>
              </a:spcAft>
            </a:pPr>
            <a:r>
              <a:rPr lang="en-US" sz="1300" b="1" dirty="0">
                <a:solidFill>
                  <a:srgbClr val="43B02A"/>
                </a:solidFill>
              </a:rPr>
              <a:t>this is dummy </a:t>
            </a:r>
          </a:p>
          <a:p>
            <a:pPr>
              <a:spcAft>
                <a:spcPts val="0"/>
              </a:spcAft>
            </a:pPr>
            <a:r>
              <a:rPr lang="en-US" sz="1300" dirty="0"/>
              <a:t>this </a:t>
            </a:r>
            <a:r>
              <a:rPr lang="en-US" sz="1300" noProof="0" dirty="0"/>
              <a:t>is dummy text it is not here to be read it is here to show how this document will </a:t>
            </a:r>
            <a:r>
              <a:rPr lang="en-US" sz="1300" dirty="0"/>
              <a:t>look this is dummy text it is not here to be read it is here to show how this document will look</a:t>
            </a:r>
          </a:p>
        </p:txBody>
      </p:sp>
      <p:sp>
        <p:nvSpPr>
          <p:cNvPr id="45" name="Content Placeholder 2"/>
          <p:cNvSpPr>
            <a:spLocks noGrp="1"/>
          </p:cNvSpPr>
          <p:nvPr>
            <p:ph sz="quarter" idx="4294967295"/>
          </p:nvPr>
        </p:nvSpPr>
        <p:spPr>
          <a:xfrm>
            <a:off x="7013575" y="4310987"/>
            <a:ext cx="4676775" cy="800219"/>
          </a:xfrm>
          <a:prstGeom prst="rect">
            <a:avLst/>
          </a:prstGeom>
        </p:spPr>
        <p:txBody>
          <a:bodyPr wrap="square" lIns="0" tIns="0" rIns="0" bIns="0">
            <a:spAutoFit/>
          </a:bodyPr>
          <a:lstStyle/>
          <a:p>
            <a:pPr>
              <a:spcAft>
                <a:spcPts val="0"/>
              </a:spcAft>
            </a:pPr>
            <a:r>
              <a:rPr lang="en-US" sz="1300" b="1" dirty="0">
                <a:solidFill>
                  <a:srgbClr val="009A44"/>
                </a:solidFill>
              </a:rPr>
              <a:t>this is dummy </a:t>
            </a:r>
          </a:p>
          <a:p>
            <a:pPr>
              <a:spcAft>
                <a:spcPts val="0"/>
              </a:spcAft>
            </a:pPr>
            <a:r>
              <a:rPr lang="en-US" sz="1300" dirty="0"/>
              <a:t>this </a:t>
            </a:r>
            <a:r>
              <a:rPr lang="en-US" sz="1300" noProof="0" dirty="0"/>
              <a:t>is dummy text it is not here to be read it is here to show how this document will </a:t>
            </a:r>
            <a:r>
              <a:rPr lang="en-US" sz="1300" dirty="0"/>
              <a:t>look this is dummy text it is not here to be read it is here to show how this document will look</a:t>
            </a:r>
          </a:p>
        </p:txBody>
      </p:sp>
      <p:sp>
        <p:nvSpPr>
          <p:cNvPr id="46" name="Content Placeholder 2"/>
          <p:cNvSpPr>
            <a:spLocks noGrp="1"/>
          </p:cNvSpPr>
          <p:nvPr>
            <p:ph sz="quarter" idx="4294967295"/>
          </p:nvPr>
        </p:nvSpPr>
        <p:spPr>
          <a:xfrm>
            <a:off x="7013575" y="5350799"/>
            <a:ext cx="4676775" cy="800219"/>
          </a:xfrm>
          <a:prstGeom prst="rect">
            <a:avLst/>
          </a:prstGeom>
        </p:spPr>
        <p:txBody>
          <a:bodyPr wrap="square" lIns="0" tIns="0" rIns="0" bIns="0">
            <a:spAutoFit/>
          </a:bodyPr>
          <a:lstStyle/>
          <a:p>
            <a:pPr>
              <a:spcAft>
                <a:spcPts val="0"/>
              </a:spcAft>
            </a:pPr>
            <a:r>
              <a:rPr lang="en-US" sz="1300" b="1" dirty="0">
                <a:solidFill>
                  <a:schemeClr val="accent4"/>
                </a:solidFill>
              </a:rPr>
              <a:t>this is dummy </a:t>
            </a:r>
          </a:p>
          <a:p>
            <a:pPr>
              <a:spcAft>
                <a:spcPts val="0"/>
              </a:spcAft>
            </a:pPr>
            <a:r>
              <a:rPr lang="en-US" sz="1300" dirty="0"/>
              <a:t>this </a:t>
            </a:r>
            <a:r>
              <a:rPr lang="en-US" sz="1300" noProof="0" dirty="0"/>
              <a:t>is dummy text it is not here to be read it is here to show how this document will </a:t>
            </a:r>
            <a:r>
              <a:rPr lang="en-US" sz="1300" dirty="0"/>
              <a:t>look this is dummy text it is not here to be read it is here to show how this document will look</a:t>
            </a:r>
          </a:p>
        </p:txBody>
      </p:sp>
    </p:spTree>
    <p:custDataLst>
      <p:tags r:id="rId1"/>
    </p:custDataLst>
    <p:extLst>
      <p:ext uri="{BB962C8B-B14F-4D97-AF65-F5344CB8AC3E}">
        <p14:creationId xmlns:p14="http://schemas.microsoft.com/office/powerpoint/2010/main" val="3859207615"/>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1DCD5075-5F6C-40A0-99D1-225D174CAEF8}"/>
              </a:ext>
            </a:extLst>
          </p:cNvPr>
          <p:cNvSpPr>
            <a:spLocks/>
          </p:cNvSpPr>
          <p:nvPr/>
        </p:nvSpPr>
        <p:spPr bwMode="auto">
          <a:xfrm>
            <a:off x="9452030" y="4841510"/>
            <a:ext cx="2270070" cy="1004271"/>
          </a:xfrm>
          <a:custGeom>
            <a:avLst/>
            <a:gdLst>
              <a:gd name="T0" fmla="*/ 465 w 641"/>
              <a:gd name="T1" fmla="*/ 0 h 284"/>
              <a:gd name="T2" fmla="*/ 641 w 641"/>
              <a:gd name="T3" fmla="*/ 284 h 284"/>
              <a:gd name="T4" fmla="*/ 4 w 641"/>
              <a:gd name="T5" fmla="*/ 284 h 284"/>
              <a:gd name="T6" fmla="*/ 37 w 641"/>
              <a:gd name="T7" fmla="*/ 70 h 284"/>
              <a:gd name="T8" fmla="*/ 0 w 641"/>
              <a:gd name="T9" fmla="*/ 0 h 284"/>
              <a:gd name="T10" fmla="*/ 465 w 641"/>
              <a:gd name="T11" fmla="*/ 0 h 284"/>
            </a:gdLst>
            <a:ahLst/>
            <a:cxnLst>
              <a:cxn ang="0">
                <a:pos x="T0" y="T1"/>
              </a:cxn>
              <a:cxn ang="0">
                <a:pos x="T2" y="T3"/>
              </a:cxn>
              <a:cxn ang="0">
                <a:pos x="T4" y="T5"/>
              </a:cxn>
              <a:cxn ang="0">
                <a:pos x="T6" y="T7"/>
              </a:cxn>
              <a:cxn ang="0">
                <a:pos x="T8" y="T9"/>
              </a:cxn>
              <a:cxn ang="0">
                <a:pos x="T10" y="T11"/>
              </a:cxn>
            </a:cxnLst>
            <a:rect l="0" t="0" r="r" b="b"/>
            <a:pathLst>
              <a:path w="641" h="284">
                <a:moveTo>
                  <a:pt x="465" y="0"/>
                </a:moveTo>
                <a:cubicBezTo>
                  <a:pt x="511" y="135"/>
                  <a:pt x="613" y="217"/>
                  <a:pt x="641" y="284"/>
                </a:cubicBezTo>
                <a:cubicBezTo>
                  <a:pt x="4" y="284"/>
                  <a:pt x="4" y="284"/>
                  <a:pt x="4" y="284"/>
                </a:cubicBezTo>
                <a:cubicBezTo>
                  <a:pt x="23" y="214"/>
                  <a:pt x="63" y="151"/>
                  <a:pt x="37" y="70"/>
                </a:cubicBezTo>
                <a:cubicBezTo>
                  <a:pt x="28" y="40"/>
                  <a:pt x="15" y="17"/>
                  <a:pt x="0" y="0"/>
                </a:cubicBezTo>
                <a:lnTo>
                  <a:pt x="465" y="0"/>
                </a:ln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 name="Freeform 6">
            <a:extLst>
              <a:ext uri="{FF2B5EF4-FFF2-40B4-BE49-F238E27FC236}">
                <a16:creationId xmlns:a16="http://schemas.microsoft.com/office/drawing/2014/main" id="{F4FB03A0-3AEE-470C-8A8A-35C73C0AA2EC}"/>
              </a:ext>
            </a:extLst>
          </p:cNvPr>
          <p:cNvSpPr>
            <a:spLocks/>
          </p:cNvSpPr>
          <p:nvPr/>
        </p:nvSpPr>
        <p:spPr bwMode="auto">
          <a:xfrm>
            <a:off x="8792978" y="1570158"/>
            <a:ext cx="2660121" cy="1249360"/>
          </a:xfrm>
          <a:custGeom>
            <a:avLst/>
            <a:gdLst>
              <a:gd name="T0" fmla="*/ 0 w 751"/>
              <a:gd name="T1" fmla="*/ 353 h 353"/>
              <a:gd name="T2" fmla="*/ 57 w 751"/>
              <a:gd name="T3" fmla="*/ 201 h 353"/>
              <a:gd name="T4" fmla="*/ 680 w 751"/>
              <a:gd name="T5" fmla="*/ 150 h 353"/>
              <a:gd name="T6" fmla="*/ 751 w 751"/>
              <a:gd name="T7" fmla="*/ 353 h 353"/>
              <a:gd name="T8" fmla="*/ 0 w 751"/>
              <a:gd name="T9" fmla="*/ 353 h 353"/>
            </a:gdLst>
            <a:ahLst/>
            <a:cxnLst>
              <a:cxn ang="0">
                <a:pos x="T0" y="T1"/>
              </a:cxn>
              <a:cxn ang="0">
                <a:pos x="T2" y="T3"/>
              </a:cxn>
              <a:cxn ang="0">
                <a:pos x="T4" y="T5"/>
              </a:cxn>
              <a:cxn ang="0">
                <a:pos x="T6" y="T7"/>
              </a:cxn>
              <a:cxn ang="0">
                <a:pos x="T8" y="T9"/>
              </a:cxn>
            </a:cxnLst>
            <a:rect l="0" t="0" r="r" b="b"/>
            <a:pathLst>
              <a:path w="751" h="353">
                <a:moveTo>
                  <a:pt x="0" y="353"/>
                </a:moveTo>
                <a:cubicBezTo>
                  <a:pt x="14" y="313"/>
                  <a:pt x="20" y="305"/>
                  <a:pt x="57" y="201"/>
                </a:cubicBezTo>
                <a:cubicBezTo>
                  <a:pt x="126" y="10"/>
                  <a:pt x="558" y="0"/>
                  <a:pt x="680" y="150"/>
                </a:cubicBezTo>
                <a:cubicBezTo>
                  <a:pt x="730" y="213"/>
                  <a:pt x="751" y="284"/>
                  <a:pt x="751" y="353"/>
                </a:cubicBezTo>
                <a:lnTo>
                  <a:pt x="0" y="3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Freeform 7">
            <a:extLst>
              <a:ext uri="{FF2B5EF4-FFF2-40B4-BE49-F238E27FC236}">
                <a16:creationId xmlns:a16="http://schemas.microsoft.com/office/drawing/2014/main" id="{731835FD-9716-4502-B6C4-B550CFF8BA96}"/>
              </a:ext>
            </a:extLst>
          </p:cNvPr>
          <p:cNvSpPr>
            <a:spLocks/>
          </p:cNvSpPr>
          <p:nvPr/>
        </p:nvSpPr>
        <p:spPr bwMode="auto">
          <a:xfrm>
            <a:off x="8485121" y="2816530"/>
            <a:ext cx="2972461" cy="1016226"/>
          </a:xfrm>
          <a:custGeom>
            <a:avLst/>
            <a:gdLst>
              <a:gd name="T0" fmla="*/ 77 w 839"/>
              <a:gd name="T1" fmla="*/ 287 h 287"/>
              <a:gd name="T2" fmla="*/ 71 w 839"/>
              <a:gd name="T3" fmla="*/ 275 h 287"/>
              <a:gd name="T4" fmla="*/ 42 w 839"/>
              <a:gd name="T5" fmla="*/ 261 h 287"/>
              <a:gd name="T6" fmla="*/ 13 w 839"/>
              <a:gd name="T7" fmla="*/ 219 h 287"/>
              <a:gd name="T8" fmla="*/ 51 w 839"/>
              <a:gd name="T9" fmla="*/ 165 h 287"/>
              <a:gd name="T10" fmla="*/ 102 w 839"/>
              <a:gd name="T11" fmla="*/ 86 h 287"/>
              <a:gd name="T12" fmla="*/ 78 w 839"/>
              <a:gd name="T13" fmla="*/ 31 h 287"/>
              <a:gd name="T14" fmla="*/ 88 w 839"/>
              <a:gd name="T15" fmla="*/ 0 h 287"/>
              <a:gd name="T16" fmla="*/ 839 w 839"/>
              <a:gd name="T17" fmla="*/ 0 h 287"/>
              <a:gd name="T18" fmla="*/ 779 w 839"/>
              <a:gd name="T19" fmla="*/ 199 h 287"/>
              <a:gd name="T20" fmla="*/ 737 w 839"/>
              <a:gd name="T21" fmla="*/ 287 h 287"/>
              <a:gd name="T22" fmla="*/ 77 w 839"/>
              <a:gd name="T23"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9" h="287">
                <a:moveTo>
                  <a:pt x="77" y="287"/>
                </a:moveTo>
                <a:cubicBezTo>
                  <a:pt x="76" y="283"/>
                  <a:pt x="74" y="279"/>
                  <a:pt x="71" y="275"/>
                </a:cubicBezTo>
                <a:cubicBezTo>
                  <a:pt x="63" y="266"/>
                  <a:pt x="55" y="265"/>
                  <a:pt x="42" y="261"/>
                </a:cubicBezTo>
                <a:cubicBezTo>
                  <a:pt x="18" y="253"/>
                  <a:pt x="0" y="244"/>
                  <a:pt x="13" y="219"/>
                </a:cubicBezTo>
                <a:cubicBezTo>
                  <a:pt x="24" y="197"/>
                  <a:pt x="26" y="198"/>
                  <a:pt x="51" y="165"/>
                </a:cubicBezTo>
                <a:cubicBezTo>
                  <a:pt x="77" y="129"/>
                  <a:pt x="102" y="96"/>
                  <a:pt x="102" y="86"/>
                </a:cubicBezTo>
                <a:cubicBezTo>
                  <a:pt x="102" y="60"/>
                  <a:pt x="69" y="60"/>
                  <a:pt x="78" y="31"/>
                </a:cubicBezTo>
                <a:cubicBezTo>
                  <a:pt x="82" y="18"/>
                  <a:pt x="85" y="9"/>
                  <a:pt x="88" y="0"/>
                </a:cubicBezTo>
                <a:cubicBezTo>
                  <a:pt x="839" y="0"/>
                  <a:pt x="839" y="0"/>
                  <a:pt x="839" y="0"/>
                </a:cubicBezTo>
                <a:cubicBezTo>
                  <a:pt x="839" y="74"/>
                  <a:pt x="815" y="145"/>
                  <a:pt x="779" y="199"/>
                </a:cubicBezTo>
                <a:cubicBezTo>
                  <a:pt x="764" y="222"/>
                  <a:pt x="749" y="248"/>
                  <a:pt x="737" y="287"/>
                </a:cubicBezTo>
                <a:lnTo>
                  <a:pt x="77" y="287"/>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8">
            <a:extLst>
              <a:ext uri="{FF2B5EF4-FFF2-40B4-BE49-F238E27FC236}">
                <a16:creationId xmlns:a16="http://schemas.microsoft.com/office/drawing/2014/main" id="{4BAC8F32-0335-464D-B7B0-52708D031D41}"/>
              </a:ext>
            </a:extLst>
          </p:cNvPr>
          <p:cNvSpPr>
            <a:spLocks/>
          </p:cNvSpPr>
          <p:nvPr/>
        </p:nvSpPr>
        <p:spPr bwMode="auto">
          <a:xfrm>
            <a:off x="8673422" y="3828272"/>
            <a:ext cx="2429976" cy="1016226"/>
          </a:xfrm>
          <a:custGeom>
            <a:avLst/>
            <a:gdLst>
              <a:gd name="T0" fmla="*/ 666 w 686"/>
              <a:gd name="T1" fmla="*/ 99 h 287"/>
              <a:gd name="T2" fmla="*/ 686 w 686"/>
              <a:gd name="T3" fmla="*/ 287 h 287"/>
              <a:gd name="T4" fmla="*/ 221 w 686"/>
              <a:gd name="T5" fmla="*/ 287 h 287"/>
              <a:gd name="T6" fmla="*/ 53 w 686"/>
              <a:gd name="T7" fmla="*/ 222 h 287"/>
              <a:gd name="T8" fmla="*/ 15 w 686"/>
              <a:gd name="T9" fmla="*/ 184 h 287"/>
              <a:gd name="T10" fmla="*/ 25 w 686"/>
              <a:gd name="T11" fmla="*/ 130 h 287"/>
              <a:gd name="T12" fmla="*/ 15 w 686"/>
              <a:gd name="T13" fmla="*/ 94 h 287"/>
              <a:gd name="T14" fmla="*/ 20 w 686"/>
              <a:gd name="T15" fmla="*/ 75 h 287"/>
              <a:gd name="T16" fmla="*/ 8 w 686"/>
              <a:gd name="T17" fmla="*/ 64 h 287"/>
              <a:gd name="T18" fmla="*/ 14 w 686"/>
              <a:gd name="T19" fmla="*/ 35 h 287"/>
              <a:gd name="T20" fmla="*/ 25 w 686"/>
              <a:gd name="T21" fmla="*/ 0 h 287"/>
              <a:gd name="T22" fmla="*/ 685 w 686"/>
              <a:gd name="T23" fmla="*/ 0 h 287"/>
              <a:gd name="T24" fmla="*/ 666 w 686"/>
              <a:gd name="T25" fmla="*/ 99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6" h="287">
                <a:moveTo>
                  <a:pt x="666" y="99"/>
                </a:moveTo>
                <a:cubicBezTo>
                  <a:pt x="658" y="172"/>
                  <a:pt x="668" y="233"/>
                  <a:pt x="686" y="287"/>
                </a:cubicBezTo>
                <a:cubicBezTo>
                  <a:pt x="221" y="287"/>
                  <a:pt x="221" y="287"/>
                  <a:pt x="221" y="287"/>
                </a:cubicBezTo>
                <a:cubicBezTo>
                  <a:pt x="167" y="221"/>
                  <a:pt x="86" y="228"/>
                  <a:pt x="53" y="222"/>
                </a:cubicBezTo>
                <a:cubicBezTo>
                  <a:pt x="26" y="217"/>
                  <a:pt x="16" y="192"/>
                  <a:pt x="15" y="184"/>
                </a:cubicBezTo>
                <a:cubicBezTo>
                  <a:pt x="12" y="171"/>
                  <a:pt x="12" y="151"/>
                  <a:pt x="25" y="130"/>
                </a:cubicBezTo>
                <a:cubicBezTo>
                  <a:pt x="37" y="108"/>
                  <a:pt x="22" y="109"/>
                  <a:pt x="15" y="94"/>
                </a:cubicBezTo>
                <a:cubicBezTo>
                  <a:pt x="11" y="87"/>
                  <a:pt x="18" y="76"/>
                  <a:pt x="20" y="75"/>
                </a:cubicBezTo>
                <a:cubicBezTo>
                  <a:pt x="24" y="73"/>
                  <a:pt x="16" y="73"/>
                  <a:pt x="8" y="64"/>
                </a:cubicBezTo>
                <a:cubicBezTo>
                  <a:pt x="0" y="54"/>
                  <a:pt x="8" y="45"/>
                  <a:pt x="14" y="35"/>
                </a:cubicBezTo>
                <a:cubicBezTo>
                  <a:pt x="19" y="27"/>
                  <a:pt x="28" y="14"/>
                  <a:pt x="25" y="0"/>
                </a:cubicBezTo>
                <a:cubicBezTo>
                  <a:pt x="685" y="0"/>
                  <a:pt x="685" y="0"/>
                  <a:pt x="685" y="0"/>
                </a:cubicBezTo>
                <a:cubicBezTo>
                  <a:pt x="677" y="27"/>
                  <a:pt x="670" y="59"/>
                  <a:pt x="666" y="9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Text Box 10">
            <a:extLst>
              <a:ext uri="{FF2B5EF4-FFF2-40B4-BE49-F238E27FC236}">
                <a16:creationId xmlns:a16="http://schemas.microsoft.com/office/drawing/2014/main" id="{74525761-DBFB-4E3F-9FAF-F5E028304092}"/>
              </a:ext>
            </a:extLst>
          </p:cNvPr>
          <p:cNvSpPr txBox="1">
            <a:spLocks noChangeArrowheads="1"/>
          </p:cNvSpPr>
          <p:nvPr/>
        </p:nvSpPr>
        <p:spPr bwMode="auto">
          <a:xfrm>
            <a:off x="9743214" y="3205008"/>
            <a:ext cx="1265152" cy="246221"/>
          </a:xfrm>
          <a:prstGeom prst="rect">
            <a:avLst/>
          </a:prstGeom>
          <a:noFill/>
          <a:ln w="9525">
            <a:noFill/>
            <a:miter lim="800000"/>
            <a:headEnd/>
            <a:tailEnd/>
          </a:ln>
        </p:spPr>
        <p:txBody>
          <a:bodyPr wrap="square" lIns="45720" tIns="22860" rIns="45720" bIns="22860">
            <a:spAutoFit/>
          </a:bodyPr>
          <a:lstStyle/>
          <a:p>
            <a:pPr defTabSz="1088232"/>
            <a:r>
              <a:rPr lang="en-US" sz="1300" b="1" dirty="0">
                <a:solidFill>
                  <a:srgbClr val="000000"/>
                </a:solidFill>
                <a:latin typeface="+mj-lt"/>
                <a:ea typeface="Open Sans" pitchFamily="34" charset="0"/>
                <a:cs typeface="Open Sans" pitchFamily="34" charset="0"/>
              </a:rPr>
              <a:t>Dummy text</a:t>
            </a:r>
          </a:p>
        </p:txBody>
      </p:sp>
      <p:sp>
        <p:nvSpPr>
          <p:cNvPr id="42" name="Text Box 10">
            <a:extLst>
              <a:ext uri="{FF2B5EF4-FFF2-40B4-BE49-F238E27FC236}">
                <a16:creationId xmlns:a16="http://schemas.microsoft.com/office/drawing/2014/main" id="{94DBC001-4A84-41B0-B827-153EBE9A77A9}"/>
              </a:ext>
            </a:extLst>
          </p:cNvPr>
          <p:cNvSpPr txBox="1">
            <a:spLocks noChangeArrowheads="1"/>
          </p:cNvSpPr>
          <p:nvPr/>
        </p:nvSpPr>
        <p:spPr bwMode="auto">
          <a:xfrm>
            <a:off x="9123302" y="2211803"/>
            <a:ext cx="1297621" cy="246221"/>
          </a:xfrm>
          <a:prstGeom prst="rect">
            <a:avLst/>
          </a:prstGeom>
          <a:noFill/>
          <a:ln w="9525">
            <a:noFill/>
            <a:miter lim="800000"/>
            <a:headEnd/>
            <a:tailEnd/>
          </a:ln>
        </p:spPr>
        <p:txBody>
          <a:bodyPr wrap="square" lIns="45720" tIns="22860" rIns="45720" bIns="22860">
            <a:spAutoFit/>
          </a:bodyPr>
          <a:lstStyle/>
          <a:p>
            <a:pPr algn="r" defTabSz="1088232"/>
            <a:r>
              <a:rPr lang="en-US" sz="1300" b="1" dirty="0">
                <a:solidFill>
                  <a:srgbClr val="000000"/>
                </a:solidFill>
                <a:latin typeface="+mj-lt"/>
                <a:ea typeface="Open Sans" pitchFamily="34" charset="0"/>
                <a:cs typeface="Open Sans" pitchFamily="34" charset="0"/>
              </a:rPr>
              <a:t>Dummy text</a:t>
            </a:r>
          </a:p>
        </p:txBody>
      </p:sp>
      <p:sp>
        <p:nvSpPr>
          <p:cNvPr id="43" name="Text Box 10">
            <a:extLst>
              <a:ext uri="{FF2B5EF4-FFF2-40B4-BE49-F238E27FC236}">
                <a16:creationId xmlns:a16="http://schemas.microsoft.com/office/drawing/2014/main" id="{CCD9ED6A-91F5-495B-A8BF-CF9DC82195F7}"/>
              </a:ext>
            </a:extLst>
          </p:cNvPr>
          <p:cNvSpPr txBox="1">
            <a:spLocks noChangeArrowheads="1"/>
          </p:cNvSpPr>
          <p:nvPr/>
        </p:nvSpPr>
        <p:spPr bwMode="auto">
          <a:xfrm>
            <a:off x="9028839" y="4199129"/>
            <a:ext cx="1111969" cy="246221"/>
          </a:xfrm>
          <a:prstGeom prst="rect">
            <a:avLst/>
          </a:prstGeom>
          <a:noFill/>
          <a:ln w="9525">
            <a:noFill/>
            <a:miter lim="800000"/>
            <a:headEnd/>
            <a:tailEnd/>
          </a:ln>
        </p:spPr>
        <p:txBody>
          <a:bodyPr wrap="square" lIns="45720" tIns="22860" rIns="45720" bIns="22860">
            <a:spAutoFit/>
          </a:bodyPr>
          <a:lstStyle/>
          <a:p>
            <a:pPr algn="r" defTabSz="1088232"/>
            <a:r>
              <a:rPr lang="en-US" sz="1300" b="1" dirty="0">
                <a:solidFill>
                  <a:srgbClr val="000000"/>
                </a:solidFill>
                <a:latin typeface="+mj-lt"/>
                <a:ea typeface="Open Sans" pitchFamily="34" charset="0"/>
                <a:cs typeface="Open Sans" pitchFamily="34" charset="0"/>
              </a:rPr>
              <a:t>Dummy text</a:t>
            </a:r>
          </a:p>
        </p:txBody>
      </p:sp>
      <p:sp>
        <p:nvSpPr>
          <p:cNvPr id="44" name="Text Box 10">
            <a:extLst>
              <a:ext uri="{FF2B5EF4-FFF2-40B4-BE49-F238E27FC236}">
                <a16:creationId xmlns:a16="http://schemas.microsoft.com/office/drawing/2014/main" id="{02475564-6BD8-4D13-BDA3-BA6DC2D7C215}"/>
              </a:ext>
            </a:extLst>
          </p:cNvPr>
          <p:cNvSpPr txBox="1">
            <a:spLocks noChangeArrowheads="1"/>
          </p:cNvSpPr>
          <p:nvPr/>
        </p:nvSpPr>
        <p:spPr bwMode="auto">
          <a:xfrm>
            <a:off x="10363605" y="5210839"/>
            <a:ext cx="1111969" cy="246221"/>
          </a:xfrm>
          <a:prstGeom prst="rect">
            <a:avLst/>
          </a:prstGeom>
          <a:noFill/>
          <a:ln w="9525">
            <a:noFill/>
            <a:miter lim="800000"/>
            <a:headEnd/>
            <a:tailEnd/>
          </a:ln>
        </p:spPr>
        <p:txBody>
          <a:bodyPr wrap="square" lIns="45720" tIns="22860" rIns="45720" bIns="22860">
            <a:spAutoFit/>
          </a:bodyPr>
          <a:lstStyle/>
          <a:p>
            <a:pPr defTabSz="1088232"/>
            <a:r>
              <a:rPr lang="en-US" sz="1300" b="1" dirty="0">
                <a:solidFill>
                  <a:srgbClr val="000000"/>
                </a:solidFill>
                <a:latin typeface="+mj-lt"/>
                <a:ea typeface="Open Sans" pitchFamily="34" charset="0"/>
                <a:cs typeface="Open Sans" pitchFamily="34" charset="0"/>
              </a:rPr>
              <a:t>Dummy text</a:t>
            </a:r>
          </a:p>
        </p:txBody>
      </p:sp>
      <p:sp>
        <p:nvSpPr>
          <p:cNvPr id="45" name="Text Box 10">
            <a:extLst>
              <a:ext uri="{FF2B5EF4-FFF2-40B4-BE49-F238E27FC236}">
                <a16:creationId xmlns:a16="http://schemas.microsoft.com/office/drawing/2014/main" id="{E3DDF802-FF62-4935-BE23-7F06E6CC3E38}"/>
              </a:ext>
            </a:extLst>
          </p:cNvPr>
          <p:cNvSpPr txBox="1">
            <a:spLocks noChangeArrowheads="1"/>
          </p:cNvSpPr>
          <p:nvPr/>
        </p:nvSpPr>
        <p:spPr bwMode="auto">
          <a:xfrm>
            <a:off x="4225991" y="2758871"/>
            <a:ext cx="2847152" cy="1046440"/>
          </a:xfrm>
          <a:prstGeom prst="rect">
            <a:avLst/>
          </a:prstGeom>
          <a:noFill/>
          <a:ln w="9525">
            <a:noFill/>
            <a:miter lim="800000"/>
            <a:headEnd/>
            <a:tailEnd/>
          </a:ln>
        </p:spPr>
        <p:txBody>
          <a:bodyPr wrap="square" lIns="45720" tIns="22860" rIns="45720" bIns="22860" anchor="ctr">
            <a:spAutoFit/>
          </a:bodyPr>
          <a:lstStyle/>
          <a:p>
            <a:pPr algn="r" defTabSz="1088232"/>
            <a:r>
              <a:rPr lang="en-US" sz="1300" b="1" dirty="0">
                <a:solidFill>
                  <a:srgbClr val="86BC25"/>
                </a:solidFill>
                <a:latin typeface="+mj-lt"/>
                <a:ea typeface="Open Sans" pitchFamily="34" charset="0"/>
                <a:cs typeface="Open Sans" pitchFamily="34" charset="0"/>
              </a:rPr>
              <a:t>Dummy text Dummy text</a:t>
            </a:r>
          </a:p>
          <a:p>
            <a:pPr algn="r" defTabSz="1088232"/>
            <a:r>
              <a:rPr lang="en-US" sz="1300" dirty="0">
                <a:solidFill>
                  <a:srgbClr val="FFFFFF"/>
                </a:solidFill>
                <a:latin typeface="+mj-lt"/>
                <a:ea typeface="Open Sans" pitchFamily="34" charset="0"/>
                <a:cs typeface="Open Sans" pitchFamily="34" charset="0"/>
              </a:rPr>
              <a:t>The is just text to show where you could insert text. The is just to show where you could insert text. Please replace with your text content here.</a:t>
            </a:r>
          </a:p>
        </p:txBody>
      </p:sp>
      <p:sp>
        <p:nvSpPr>
          <p:cNvPr id="46" name="Rounded Rectangle 48">
            <a:extLst>
              <a:ext uri="{FF2B5EF4-FFF2-40B4-BE49-F238E27FC236}">
                <a16:creationId xmlns:a16="http://schemas.microsoft.com/office/drawing/2014/main" id="{EDEC973E-3BDA-471C-9045-6649EA464E04}"/>
              </a:ext>
            </a:extLst>
          </p:cNvPr>
          <p:cNvSpPr/>
          <p:nvPr/>
        </p:nvSpPr>
        <p:spPr>
          <a:xfrm>
            <a:off x="7216444" y="3039392"/>
            <a:ext cx="906198" cy="519696"/>
          </a:xfrm>
          <a:prstGeom prst="round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32"/>
            <a:r>
              <a:rPr lang="en-US" sz="1300" dirty="0">
                <a:solidFill>
                  <a:srgbClr val="000000"/>
                </a:solidFill>
                <a:ea typeface="Open Sans Light" pitchFamily="34" charset="0"/>
                <a:cs typeface="Open Sans Light" pitchFamily="34" charset="0"/>
              </a:rPr>
              <a:t>Dummy text</a:t>
            </a:r>
          </a:p>
        </p:txBody>
      </p:sp>
      <p:sp>
        <p:nvSpPr>
          <p:cNvPr id="47" name="Text Box 10">
            <a:extLst>
              <a:ext uri="{FF2B5EF4-FFF2-40B4-BE49-F238E27FC236}">
                <a16:creationId xmlns:a16="http://schemas.microsoft.com/office/drawing/2014/main" id="{21C2829B-7154-4270-9068-9DCFA14CAF40}"/>
              </a:ext>
            </a:extLst>
          </p:cNvPr>
          <p:cNvSpPr txBox="1">
            <a:spLocks noChangeArrowheads="1"/>
          </p:cNvSpPr>
          <p:nvPr/>
        </p:nvSpPr>
        <p:spPr bwMode="auto">
          <a:xfrm>
            <a:off x="4225991" y="1771459"/>
            <a:ext cx="2847152" cy="846386"/>
          </a:xfrm>
          <a:prstGeom prst="rect">
            <a:avLst/>
          </a:prstGeom>
          <a:noFill/>
          <a:ln w="9525">
            <a:noFill/>
            <a:miter lim="800000"/>
            <a:headEnd/>
            <a:tailEnd/>
          </a:ln>
        </p:spPr>
        <p:txBody>
          <a:bodyPr wrap="square" lIns="45720" tIns="22860" rIns="45720" bIns="22860" anchor="ctr">
            <a:spAutoFit/>
          </a:bodyPr>
          <a:lstStyle/>
          <a:p>
            <a:pPr algn="r" defTabSz="1088232"/>
            <a:r>
              <a:rPr lang="en-US" sz="1300" b="1" dirty="0">
                <a:solidFill>
                  <a:srgbClr val="FFFFFF"/>
                </a:solidFill>
                <a:latin typeface="+mj-lt"/>
                <a:ea typeface="Open Sans" pitchFamily="34" charset="0"/>
                <a:cs typeface="Open Sans" pitchFamily="34" charset="0"/>
              </a:rPr>
              <a:t>Dummy text</a:t>
            </a:r>
          </a:p>
          <a:p>
            <a:pPr algn="r" defTabSz="1088232"/>
            <a:r>
              <a:rPr lang="en-US" sz="1300" dirty="0">
                <a:solidFill>
                  <a:srgbClr val="FFFFFF"/>
                </a:solidFill>
                <a:latin typeface="+mj-lt"/>
                <a:ea typeface="Open Sans" pitchFamily="34" charset="0"/>
                <a:cs typeface="Open Sans" pitchFamily="34" charset="0"/>
              </a:rPr>
              <a:t>This is dummy text it is not here to be read. The is just text to show where you could insert text.</a:t>
            </a:r>
          </a:p>
        </p:txBody>
      </p:sp>
      <p:sp>
        <p:nvSpPr>
          <p:cNvPr id="48" name="Rounded Rectangle 2">
            <a:extLst>
              <a:ext uri="{FF2B5EF4-FFF2-40B4-BE49-F238E27FC236}">
                <a16:creationId xmlns:a16="http://schemas.microsoft.com/office/drawing/2014/main" id="{35C8EBC6-4514-46E8-A7FD-8A7C38B58CCF}"/>
              </a:ext>
            </a:extLst>
          </p:cNvPr>
          <p:cNvSpPr/>
          <p:nvPr/>
        </p:nvSpPr>
        <p:spPr>
          <a:xfrm>
            <a:off x="7216444" y="1951955"/>
            <a:ext cx="906198" cy="519696"/>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32"/>
            <a:r>
              <a:rPr lang="en-US" sz="1300" dirty="0">
                <a:solidFill>
                  <a:srgbClr val="000000"/>
                </a:solidFill>
                <a:ea typeface="Open Sans Light" pitchFamily="34" charset="0"/>
                <a:cs typeface="Open Sans Light" pitchFamily="34" charset="0"/>
              </a:rPr>
              <a:t>Dummy text</a:t>
            </a:r>
          </a:p>
        </p:txBody>
      </p:sp>
      <p:sp>
        <p:nvSpPr>
          <p:cNvPr id="51" name="Text Box 10">
            <a:extLst>
              <a:ext uri="{FF2B5EF4-FFF2-40B4-BE49-F238E27FC236}">
                <a16:creationId xmlns:a16="http://schemas.microsoft.com/office/drawing/2014/main" id="{24D50F51-EFEA-48FB-BDC1-FEEF7488A4EC}"/>
              </a:ext>
            </a:extLst>
          </p:cNvPr>
          <p:cNvSpPr txBox="1">
            <a:spLocks noChangeArrowheads="1"/>
          </p:cNvSpPr>
          <p:nvPr/>
        </p:nvSpPr>
        <p:spPr bwMode="auto">
          <a:xfrm>
            <a:off x="4225991" y="3862814"/>
            <a:ext cx="2847152" cy="846386"/>
          </a:xfrm>
          <a:prstGeom prst="rect">
            <a:avLst/>
          </a:prstGeom>
          <a:noFill/>
          <a:ln w="9525">
            <a:noFill/>
            <a:miter lim="800000"/>
            <a:headEnd/>
            <a:tailEnd/>
          </a:ln>
        </p:spPr>
        <p:txBody>
          <a:bodyPr wrap="square" lIns="45720" tIns="22860" rIns="45720" bIns="22860" anchor="ctr">
            <a:spAutoFit/>
          </a:bodyPr>
          <a:lstStyle/>
          <a:p>
            <a:pPr algn="r" defTabSz="1088232"/>
            <a:r>
              <a:rPr lang="en-US" sz="1300" b="1" dirty="0">
                <a:solidFill>
                  <a:srgbClr val="43B02A"/>
                </a:solidFill>
                <a:latin typeface="+mj-lt"/>
                <a:ea typeface="Open Sans" pitchFamily="34" charset="0"/>
                <a:cs typeface="Open Sans" pitchFamily="34" charset="0"/>
              </a:rPr>
              <a:t>Dummy text</a:t>
            </a:r>
          </a:p>
          <a:p>
            <a:pPr algn="r" defTabSz="1088232"/>
            <a:r>
              <a:rPr lang="en-US" sz="1300" dirty="0">
                <a:solidFill>
                  <a:srgbClr val="FFFFFF"/>
                </a:solidFill>
                <a:latin typeface="+mj-lt"/>
                <a:ea typeface="Open Sans" pitchFamily="34" charset="0"/>
                <a:cs typeface="Open Sans" pitchFamily="34" charset="0"/>
              </a:rPr>
              <a:t>This is dummy text it is not here to be read. The is just text to show where you could insert text.</a:t>
            </a:r>
          </a:p>
        </p:txBody>
      </p:sp>
      <p:sp>
        <p:nvSpPr>
          <p:cNvPr id="52" name="Rounded Rectangle 52">
            <a:extLst>
              <a:ext uri="{FF2B5EF4-FFF2-40B4-BE49-F238E27FC236}">
                <a16:creationId xmlns:a16="http://schemas.microsoft.com/office/drawing/2014/main" id="{3850481D-5132-47B9-8EB3-1E868770653E}"/>
              </a:ext>
            </a:extLst>
          </p:cNvPr>
          <p:cNvSpPr/>
          <p:nvPr/>
        </p:nvSpPr>
        <p:spPr>
          <a:xfrm>
            <a:off x="7216444" y="4043309"/>
            <a:ext cx="906198" cy="519696"/>
          </a:xfrm>
          <a:prstGeom prst="round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32"/>
            <a:r>
              <a:rPr lang="en-US" sz="1300" dirty="0">
                <a:solidFill>
                  <a:srgbClr val="000000"/>
                </a:solidFill>
                <a:ea typeface="Open Sans Light" pitchFamily="34" charset="0"/>
                <a:cs typeface="Open Sans Light" pitchFamily="34" charset="0"/>
              </a:rPr>
              <a:t>Dummy text</a:t>
            </a:r>
          </a:p>
        </p:txBody>
      </p:sp>
      <p:sp>
        <p:nvSpPr>
          <p:cNvPr id="54" name="Text Box 10">
            <a:extLst>
              <a:ext uri="{FF2B5EF4-FFF2-40B4-BE49-F238E27FC236}">
                <a16:creationId xmlns:a16="http://schemas.microsoft.com/office/drawing/2014/main" id="{A117FCC5-D090-4A22-8022-0E09796B3368}"/>
              </a:ext>
            </a:extLst>
          </p:cNvPr>
          <p:cNvSpPr txBox="1">
            <a:spLocks noChangeArrowheads="1"/>
          </p:cNvSpPr>
          <p:nvPr/>
        </p:nvSpPr>
        <p:spPr bwMode="auto">
          <a:xfrm>
            <a:off x="4225991" y="4859958"/>
            <a:ext cx="2847152" cy="1046440"/>
          </a:xfrm>
          <a:prstGeom prst="rect">
            <a:avLst/>
          </a:prstGeom>
          <a:noFill/>
          <a:ln w="9525">
            <a:noFill/>
            <a:miter lim="800000"/>
            <a:headEnd/>
            <a:tailEnd/>
          </a:ln>
        </p:spPr>
        <p:txBody>
          <a:bodyPr wrap="square" lIns="45720" tIns="22860" rIns="45720" bIns="22860" anchor="ctr">
            <a:spAutoFit/>
          </a:bodyPr>
          <a:lstStyle/>
          <a:p>
            <a:pPr algn="r" defTabSz="1088232"/>
            <a:r>
              <a:rPr lang="en-US" sz="1300" b="1" dirty="0">
                <a:solidFill>
                  <a:srgbClr val="009A44"/>
                </a:solidFill>
                <a:latin typeface="+mj-lt"/>
                <a:ea typeface="Open Sans" pitchFamily="34" charset="0"/>
                <a:cs typeface="Open Sans" pitchFamily="34" charset="0"/>
              </a:rPr>
              <a:t>Dummy text</a:t>
            </a:r>
          </a:p>
          <a:p>
            <a:pPr algn="r" defTabSz="1088232"/>
            <a:r>
              <a:rPr lang="en-US" sz="1300" dirty="0">
                <a:solidFill>
                  <a:srgbClr val="FFFFFF"/>
                </a:solidFill>
                <a:latin typeface="+mj-lt"/>
                <a:ea typeface="Open Sans" pitchFamily="34" charset="0"/>
                <a:cs typeface="Open Sans" pitchFamily="34" charset="0"/>
              </a:rPr>
              <a:t>The is just text to show where you could insert text. The is just to show where you could insert text. Please replace with your text content here.</a:t>
            </a:r>
          </a:p>
        </p:txBody>
      </p:sp>
      <p:sp>
        <p:nvSpPr>
          <p:cNvPr id="55" name="Rounded Rectangle 56">
            <a:extLst>
              <a:ext uri="{FF2B5EF4-FFF2-40B4-BE49-F238E27FC236}">
                <a16:creationId xmlns:a16="http://schemas.microsoft.com/office/drawing/2014/main" id="{20200923-61D8-4AEE-9BCF-80CED7775C95}"/>
              </a:ext>
            </a:extLst>
          </p:cNvPr>
          <p:cNvSpPr/>
          <p:nvPr/>
        </p:nvSpPr>
        <p:spPr>
          <a:xfrm>
            <a:off x="7216444" y="5133960"/>
            <a:ext cx="906198" cy="519696"/>
          </a:xfrm>
          <a:prstGeom prst="round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32"/>
            <a:r>
              <a:rPr lang="en-US" sz="1300" dirty="0">
                <a:solidFill>
                  <a:srgbClr val="000000"/>
                </a:solidFill>
                <a:ea typeface="Open Sans Light" pitchFamily="34" charset="0"/>
                <a:cs typeface="Open Sans Light" pitchFamily="34" charset="0"/>
              </a:rPr>
              <a:t>Dummy text</a:t>
            </a:r>
          </a:p>
        </p:txBody>
      </p:sp>
      <p:cxnSp>
        <p:nvCxnSpPr>
          <p:cNvPr id="57" name="Straight Connector 58">
            <a:extLst>
              <a:ext uri="{FF2B5EF4-FFF2-40B4-BE49-F238E27FC236}">
                <a16:creationId xmlns:a16="http://schemas.microsoft.com/office/drawing/2014/main" id="{BAEE7D62-7F64-4E6F-A588-138F50B44088}"/>
              </a:ext>
            </a:extLst>
          </p:cNvPr>
          <p:cNvCxnSpPr/>
          <p:nvPr/>
        </p:nvCxnSpPr>
        <p:spPr>
          <a:xfrm>
            <a:off x="4078871" y="1706376"/>
            <a:ext cx="0" cy="4168510"/>
          </a:xfrm>
          <a:prstGeom prst="line">
            <a:avLst/>
          </a:prstGeom>
          <a:ln w="12700">
            <a:solidFill>
              <a:srgbClr val="75787B"/>
            </a:solidFill>
            <a:prstDash val="dash"/>
          </a:ln>
        </p:spPr>
        <p:style>
          <a:lnRef idx="1">
            <a:schemeClr val="accent1"/>
          </a:lnRef>
          <a:fillRef idx="0">
            <a:schemeClr val="accent1"/>
          </a:fillRef>
          <a:effectRef idx="0">
            <a:schemeClr val="accent1"/>
          </a:effectRef>
          <a:fontRef idx="minor">
            <a:schemeClr val="tx1"/>
          </a:fontRef>
        </p:style>
      </p:cxnSp>
      <p:sp>
        <p:nvSpPr>
          <p:cNvPr id="58" name="Rounded Rectangle 64">
            <a:extLst>
              <a:ext uri="{FF2B5EF4-FFF2-40B4-BE49-F238E27FC236}">
                <a16:creationId xmlns:a16="http://schemas.microsoft.com/office/drawing/2014/main" id="{2024183F-2401-41E0-A1CC-EAB201637816}"/>
              </a:ext>
            </a:extLst>
          </p:cNvPr>
          <p:cNvSpPr/>
          <p:nvPr/>
        </p:nvSpPr>
        <p:spPr>
          <a:xfrm>
            <a:off x="469901" y="1706376"/>
            <a:ext cx="3368278" cy="1993635"/>
          </a:xfrm>
          <a:prstGeom prst="snip2DiagRect">
            <a:avLst/>
          </a:prstGeom>
          <a:noFill/>
          <a:ln w="1905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009A44"/>
                </a:solidFill>
                <a:latin typeface="+mj-lt"/>
              </a:rPr>
              <a:t>Dummy text</a:t>
            </a:r>
          </a:p>
          <a:p>
            <a:pPr algn="ctr"/>
            <a:endParaRPr lang="en-US" sz="1600" dirty="0">
              <a:latin typeface="+mj-lt"/>
            </a:endParaRPr>
          </a:p>
          <a:p>
            <a:pPr algn="ctr"/>
            <a:r>
              <a:rPr lang="en-US" sz="1600" dirty="0">
                <a:latin typeface="+mj-lt"/>
              </a:rPr>
              <a:t>This is dummy text it is not here to be read. The is just text to show where you could insert text. </a:t>
            </a:r>
          </a:p>
        </p:txBody>
      </p:sp>
      <p:sp>
        <p:nvSpPr>
          <p:cNvPr id="60" name="Rounded Rectangle 67">
            <a:extLst>
              <a:ext uri="{FF2B5EF4-FFF2-40B4-BE49-F238E27FC236}">
                <a16:creationId xmlns:a16="http://schemas.microsoft.com/office/drawing/2014/main" id="{73B0CBDC-43DF-4024-A715-E271BA4DACDD}"/>
              </a:ext>
            </a:extLst>
          </p:cNvPr>
          <p:cNvSpPr/>
          <p:nvPr/>
        </p:nvSpPr>
        <p:spPr>
          <a:xfrm>
            <a:off x="475030" y="3881251"/>
            <a:ext cx="3368278" cy="1993635"/>
          </a:xfrm>
          <a:prstGeom prst="snip2Diag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accent3"/>
                </a:solidFill>
              </a:rPr>
              <a:t>Dummy text</a:t>
            </a:r>
          </a:p>
          <a:p>
            <a:pPr algn="ctr"/>
            <a:endParaRPr lang="en-US" altLang="zh-CN" sz="1600" dirty="0"/>
          </a:p>
          <a:p>
            <a:pPr algn="ctr"/>
            <a:r>
              <a:rPr lang="en-US" altLang="zh-CN" sz="1600" dirty="0"/>
              <a:t>The is just to show where you could insert text. Please replace with your text content here.</a:t>
            </a:r>
          </a:p>
        </p:txBody>
      </p:sp>
      <p:sp>
        <p:nvSpPr>
          <p:cNvPr id="59" name="Freeform 832">
            <a:extLst>
              <a:ext uri="{FF2B5EF4-FFF2-40B4-BE49-F238E27FC236}">
                <a16:creationId xmlns:a16="http://schemas.microsoft.com/office/drawing/2014/main" id="{37CAE4F0-C7AA-46D4-BEE2-0D936E99DE3E}"/>
              </a:ext>
            </a:extLst>
          </p:cNvPr>
          <p:cNvSpPr>
            <a:spLocks noChangeAspect="1" noEditPoints="1"/>
          </p:cNvSpPr>
          <p:nvPr/>
        </p:nvSpPr>
        <p:spPr bwMode="auto">
          <a:xfrm>
            <a:off x="10468763" y="2153794"/>
            <a:ext cx="370106" cy="369021"/>
          </a:xfrm>
          <a:custGeom>
            <a:avLst/>
            <a:gdLst>
              <a:gd name="T0" fmla="*/ 245 w 512"/>
              <a:gd name="T1" fmla="*/ 128 h 512"/>
              <a:gd name="T2" fmla="*/ 256 w 512"/>
              <a:gd name="T3" fmla="*/ 118 h 512"/>
              <a:gd name="T4" fmla="*/ 267 w 512"/>
              <a:gd name="T5" fmla="*/ 128 h 512"/>
              <a:gd name="T6" fmla="*/ 256 w 512"/>
              <a:gd name="T7" fmla="*/ 139 h 512"/>
              <a:gd name="T8" fmla="*/ 245 w 512"/>
              <a:gd name="T9" fmla="*/ 128 h 512"/>
              <a:gd name="T10" fmla="*/ 256 w 512"/>
              <a:gd name="T11" fmla="*/ 374 h 512"/>
              <a:gd name="T12" fmla="*/ 245 w 512"/>
              <a:gd name="T13" fmla="*/ 384 h 512"/>
              <a:gd name="T14" fmla="*/ 256 w 512"/>
              <a:gd name="T15" fmla="*/ 395 h 512"/>
              <a:gd name="T16" fmla="*/ 267 w 512"/>
              <a:gd name="T17" fmla="*/ 384 h 512"/>
              <a:gd name="T18" fmla="*/ 256 w 512"/>
              <a:gd name="T19" fmla="*/ 374 h 512"/>
              <a:gd name="T20" fmla="*/ 171 w 512"/>
              <a:gd name="T21" fmla="*/ 118 h 512"/>
              <a:gd name="T22" fmla="*/ 160 w 512"/>
              <a:gd name="T23" fmla="*/ 128 h 512"/>
              <a:gd name="T24" fmla="*/ 171 w 512"/>
              <a:gd name="T25" fmla="*/ 139 h 512"/>
              <a:gd name="T26" fmla="*/ 181 w 512"/>
              <a:gd name="T27" fmla="*/ 128 h 512"/>
              <a:gd name="T28" fmla="*/ 171 w 512"/>
              <a:gd name="T29" fmla="*/ 11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73 w 512"/>
              <a:gd name="T41" fmla="*/ 384 h 512"/>
              <a:gd name="T42" fmla="*/ 352 w 512"/>
              <a:gd name="T43" fmla="*/ 354 h 512"/>
              <a:gd name="T44" fmla="*/ 352 w 512"/>
              <a:gd name="T45" fmla="*/ 288 h 512"/>
              <a:gd name="T46" fmla="*/ 309 w 512"/>
              <a:gd name="T47" fmla="*/ 246 h 512"/>
              <a:gd name="T48" fmla="*/ 267 w 512"/>
              <a:gd name="T49" fmla="*/ 246 h 512"/>
              <a:gd name="T50" fmla="*/ 267 w 512"/>
              <a:gd name="T51" fmla="*/ 160 h 512"/>
              <a:gd name="T52" fmla="*/ 266 w 512"/>
              <a:gd name="T53" fmla="*/ 158 h 512"/>
              <a:gd name="T54" fmla="*/ 288 w 512"/>
              <a:gd name="T55" fmla="*/ 128 h 512"/>
              <a:gd name="T56" fmla="*/ 256 w 512"/>
              <a:gd name="T57" fmla="*/ 96 h 512"/>
              <a:gd name="T58" fmla="*/ 224 w 512"/>
              <a:gd name="T59" fmla="*/ 128 h 512"/>
              <a:gd name="T60" fmla="*/ 246 w 512"/>
              <a:gd name="T61" fmla="*/ 158 h 512"/>
              <a:gd name="T62" fmla="*/ 245 w 512"/>
              <a:gd name="T63" fmla="*/ 160 h 512"/>
              <a:gd name="T64" fmla="*/ 245 w 512"/>
              <a:gd name="T65" fmla="*/ 246 h 512"/>
              <a:gd name="T66" fmla="*/ 203 w 512"/>
              <a:gd name="T67" fmla="*/ 246 h 512"/>
              <a:gd name="T68" fmla="*/ 181 w 512"/>
              <a:gd name="T69" fmla="*/ 224 h 512"/>
              <a:gd name="T70" fmla="*/ 181 w 512"/>
              <a:gd name="T71" fmla="*/ 158 h 512"/>
              <a:gd name="T72" fmla="*/ 203 w 512"/>
              <a:gd name="T73" fmla="*/ 128 h 512"/>
              <a:gd name="T74" fmla="*/ 171 w 512"/>
              <a:gd name="T75" fmla="*/ 96 h 512"/>
              <a:gd name="T76" fmla="*/ 139 w 512"/>
              <a:gd name="T77" fmla="*/ 128 h 512"/>
              <a:gd name="T78" fmla="*/ 160 w 512"/>
              <a:gd name="T79" fmla="*/ 158 h 512"/>
              <a:gd name="T80" fmla="*/ 160 w 512"/>
              <a:gd name="T81" fmla="*/ 224 h 512"/>
              <a:gd name="T82" fmla="*/ 203 w 512"/>
              <a:gd name="T83" fmla="*/ 267 h 512"/>
              <a:gd name="T84" fmla="*/ 245 w 512"/>
              <a:gd name="T85" fmla="*/ 267 h 512"/>
              <a:gd name="T86" fmla="*/ 245 w 512"/>
              <a:gd name="T87" fmla="*/ 354 h 512"/>
              <a:gd name="T88" fmla="*/ 224 w 512"/>
              <a:gd name="T89" fmla="*/ 384 h 512"/>
              <a:gd name="T90" fmla="*/ 256 w 512"/>
              <a:gd name="T91" fmla="*/ 416 h 512"/>
              <a:gd name="T92" fmla="*/ 288 w 512"/>
              <a:gd name="T93" fmla="*/ 384 h 512"/>
              <a:gd name="T94" fmla="*/ 267 w 512"/>
              <a:gd name="T95" fmla="*/ 354 h 512"/>
              <a:gd name="T96" fmla="*/ 267 w 512"/>
              <a:gd name="T97" fmla="*/ 267 h 512"/>
              <a:gd name="T98" fmla="*/ 309 w 512"/>
              <a:gd name="T99" fmla="*/ 267 h 512"/>
              <a:gd name="T100" fmla="*/ 331 w 512"/>
              <a:gd name="T101" fmla="*/ 288 h 512"/>
              <a:gd name="T102" fmla="*/ 331 w 512"/>
              <a:gd name="T103" fmla="*/ 354 h 512"/>
              <a:gd name="T104" fmla="*/ 309 w 512"/>
              <a:gd name="T105" fmla="*/ 384 h 512"/>
              <a:gd name="T106" fmla="*/ 341 w 512"/>
              <a:gd name="T107" fmla="*/ 416 h 512"/>
              <a:gd name="T108" fmla="*/ 373 w 512"/>
              <a:gd name="T109" fmla="*/ 384 h 512"/>
              <a:gd name="T110" fmla="*/ 341 w 512"/>
              <a:gd name="T111" fmla="*/ 374 h 512"/>
              <a:gd name="T112" fmla="*/ 331 w 512"/>
              <a:gd name="T113" fmla="*/ 384 h 512"/>
              <a:gd name="T114" fmla="*/ 341 w 512"/>
              <a:gd name="T115" fmla="*/ 395 h 512"/>
              <a:gd name="T116" fmla="*/ 352 w 512"/>
              <a:gd name="T117" fmla="*/ 384 h 512"/>
              <a:gd name="T118" fmla="*/ 341 w 512"/>
              <a:gd name="T119" fmla="*/ 3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45" y="128"/>
                </a:moveTo>
                <a:cubicBezTo>
                  <a:pt x="245" y="122"/>
                  <a:pt x="250" y="118"/>
                  <a:pt x="256" y="118"/>
                </a:cubicBezTo>
                <a:cubicBezTo>
                  <a:pt x="262" y="118"/>
                  <a:pt x="267" y="122"/>
                  <a:pt x="267" y="128"/>
                </a:cubicBezTo>
                <a:cubicBezTo>
                  <a:pt x="267" y="134"/>
                  <a:pt x="262" y="139"/>
                  <a:pt x="256" y="139"/>
                </a:cubicBezTo>
                <a:cubicBezTo>
                  <a:pt x="250" y="139"/>
                  <a:pt x="245" y="134"/>
                  <a:pt x="245" y="128"/>
                </a:cubicBezTo>
                <a:close/>
                <a:moveTo>
                  <a:pt x="256" y="374"/>
                </a:moveTo>
                <a:cubicBezTo>
                  <a:pt x="250" y="374"/>
                  <a:pt x="245" y="378"/>
                  <a:pt x="245" y="384"/>
                </a:cubicBezTo>
                <a:cubicBezTo>
                  <a:pt x="245" y="390"/>
                  <a:pt x="250" y="395"/>
                  <a:pt x="256" y="395"/>
                </a:cubicBezTo>
                <a:cubicBezTo>
                  <a:pt x="262" y="395"/>
                  <a:pt x="267" y="390"/>
                  <a:pt x="267" y="384"/>
                </a:cubicBezTo>
                <a:cubicBezTo>
                  <a:pt x="267" y="378"/>
                  <a:pt x="262" y="374"/>
                  <a:pt x="256" y="374"/>
                </a:cubicBezTo>
                <a:close/>
                <a:moveTo>
                  <a:pt x="171" y="118"/>
                </a:moveTo>
                <a:cubicBezTo>
                  <a:pt x="165" y="118"/>
                  <a:pt x="160" y="122"/>
                  <a:pt x="160" y="128"/>
                </a:cubicBezTo>
                <a:cubicBezTo>
                  <a:pt x="160" y="134"/>
                  <a:pt x="165" y="139"/>
                  <a:pt x="171" y="139"/>
                </a:cubicBezTo>
                <a:cubicBezTo>
                  <a:pt x="177" y="139"/>
                  <a:pt x="181" y="134"/>
                  <a:pt x="181" y="128"/>
                </a:cubicBezTo>
                <a:cubicBezTo>
                  <a:pt x="181" y="122"/>
                  <a:pt x="177" y="118"/>
                  <a:pt x="171" y="11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384"/>
                </a:moveTo>
                <a:cubicBezTo>
                  <a:pt x="373" y="370"/>
                  <a:pt x="364" y="359"/>
                  <a:pt x="352" y="354"/>
                </a:cubicBezTo>
                <a:cubicBezTo>
                  <a:pt x="352" y="288"/>
                  <a:pt x="352" y="288"/>
                  <a:pt x="352" y="288"/>
                </a:cubicBezTo>
                <a:cubicBezTo>
                  <a:pt x="352" y="257"/>
                  <a:pt x="326" y="246"/>
                  <a:pt x="309" y="246"/>
                </a:cubicBezTo>
                <a:cubicBezTo>
                  <a:pt x="267" y="246"/>
                  <a:pt x="267" y="246"/>
                  <a:pt x="267" y="246"/>
                </a:cubicBezTo>
                <a:cubicBezTo>
                  <a:pt x="267" y="160"/>
                  <a:pt x="267" y="160"/>
                  <a:pt x="267" y="160"/>
                </a:cubicBezTo>
                <a:cubicBezTo>
                  <a:pt x="267" y="160"/>
                  <a:pt x="266" y="159"/>
                  <a:pt x="266" y="158"/>
                </a:cubicBezTo>
                <a:cubicBezTo>
                  <a:pt x="279" y="154"/>
                  <a:pt x="288" y="142"/>
                  <a:pt x="288" y="128"/>
                </a:cubicBezTo>
                <a:cubicBezTo>
                  <a:pt x="288" y="111"/>
                  <a:pt x="274" y="96"/>
                  <a:pt x="256" y="96"/>
                </a:cubicBezTo>
                <a:cubicBezTo>
                  <a:pt x="238" y="96"/>
                  <a:pt x="224" y="111"/>
                  <a:pt x="224" y="128"/>
                </a:cubicBezTo>
                <a:cubicBezTo>
                  <a:pt x="224" y="142"/>
                  <a:pt x="233" y="154"/>
                  <a:pt x="246" y="158"/>
                </a:cubicBezTo>
                <a:cubicBezTo>
                  <a:pt x="246" y="159"/>
                  <a:pt x="245" y="160"/>
                  <a:pt x="245" y="160"/>
                </a:cubicBezTo>
                <a:cubicBezTo>
                  <a:pt x="245" y="246"/>
                  <a:pt x="245" y="246"/>
                  <a:pt x="245" y="246"/>
                </a:cubicBezTo>
                <a:cubicBezTo>
                  <a:pt x="203" y="246"/>
                  <a:pt x="203" y="246"/>
                  <a:pt x="203" y="246"/>
                </a:cubicBezTo>
                <a:cubicBezTo>
                  <a:pt x="199" y="246"/>
                  <a:pt x="181" y="245"/>
                  <a:pt x="181" y="224"/>
                </a:cubicBezTo>
                <a:cubicBezTo>
                  <a:pt x="181" y="158"/>
                  <a:pt x="181" y="158"/>
                  <a:pt x="181" y="158"/>
                </a:cubicBezTo>
                <a:cubicBezTo>
                  <a:pt x="194" y="154"/>
                  <a:pt x="203" y="142"/>
                  <a:pt x="203" y="128"/>
                </a:cubicBezTo>
                <a:cubicBezTo>
                  <a:pt x="203" y="111"/>
                  <a:pt x="188" y="96"/>
                  <a:pt x="171" y="96"/>
                </a:cubicBezTo>
                <a:cubicBezTo>
                  <a:pt x="153" y="96"/>
                  <a:pt x="139" y="111"/>
                  <a:pt x="139" y="128"/>
                </a:cubicBezTo>
                <a:cubicBezTo>
                  <a:pt x="139" y="142"/>
                  <a:pt x="148" y="154"/>
                  <a:pt x="160" y="158"/>
                </a:cubicBezTo>
                <a:cubicBezTo>
                  <a:pt x="160" y="224"/>
                  <a:pt x="160" y="224"/>
                  <a:pt x="160" y="224"/>
                </a:cubicBezTo>
                <a:cubicBezTo>
                  <a:pt x="160" y="256"/>
                  <a:pt x="186" y="267"/>
                  <a:pt x="203" y="267"/>
                </a:cubicBezTo>
                <a:cubicBezTo>
                  <a:pt x="245" y="267"/>
                  <a:pt x="245" y="267"/>
                  <a:pt x="245" y="267"/>
                </a:cubicBezTo>
                <a:cubicBezTo>
                  <a:pt x="245" y="354"/>
                  <a:pt x="245" y="354"/>
                  <a:pt x="245" y="354"/>
                </a:cubicBezTo>
                <a:cubicBezTo>
                  <a:pt x="233" y="359"/>
                  <a:pt x="224" y="370"/>
                  <a:pt x="224" y="384"/>
                </a:cubicBezTo>
                <a:cubicBezTo>
                  <a:pt x="224" y="402"/>
                  <a:pt x="238" y="416"/>
                  <a:pt x="256" y="416"/>
                </a:cubicBezTo>
                <a:cubicBezTo>
                  <a:pt x="274" y="416"/>
                  <a:pt x="288" y="402"/>
                  <a:pt x="288" y="384"/>
                </a:cubicBezTo>
                <a:cubicBezTo>
                  <a:pt x="288" y="370"/>
                  <a:pt x="279" y="359"/>
                  <a:pt x="267" y="354"/>
                </a:cubicBezTo>
                <a:cubicBezTo>
                  <a:pt x="267" y="267"/>
                  <a:pt x="267" y="267"/>
                  <a:pt x="267" y="267"/>
                </a:cubicBezTo>
                <a:cubicBezTo>
                  <a:pt x="309" y="267"/>
                  <a:pt x="309" y="267"/>
                  <a:pt x="309" y="267"/>
                </a:cubicBezTo>
                <a:cubicBezTo>
                  <a:pt x="313" y="267"/>
                  <a:pt x="331" y="268"/>
                  <a:pt x="331" y="288"/>
                </a:cubicBezTo>
                <a:cubicBezTo>
                  <a:pt x="331" y="354"/>
                  <a:pt x="331" y="354"/>
                  <a:pt x="331" y="354"/>
                </a:cubicBezTo>
                <a:cubicBezTo>
                  <a:pt x="318" y="359"/>
                  <a:pt x="309" y="370"/>
                  <a:pt x="309" y="384"/>
                </a:cubicBezTo>
                <a:cubicBezTo>
                  <a:pt x="309" y="402"/>
                  <a:pt x="324" y="416"/>
                  <a:pt x="341" y="416"/>
                </a:cubicBezTo>
                <a:cubicBezTo>
                  <a:pt x="359" y="416"/>
                  <a:pt x="373" y="402"/>
                  <a:pt x="373" y="384"/>
                </a:cubicBezTo>
                <a:close/>
                <a:moveTo>
                  <a:pt x="341" y="374"/>
                </a:moveTo>
                <a:cubicBezTo>
                  <a:pt x="335" y="374"/>
                  <a:pt x="331" y="378"/>
                  <a:pt x="331" y="384"/>
                </a:cubicBezTo>
                <a:cubicBezTo>
                  <a:pt x="331" y="390"/>
                  <a:pt x="335" y="395"/>
                  <a:pt x="341" y="395"/>
                </a:cubicBezTo>
                <a:cubicBezTo>
                  <a:pt x="347" y="395"/>
                  <a:pt x="352" y="390"/>
                  <a:pt x="352" y="384"/>
                </a:cubicBezTo>
                <a:cubicBezTo>
                  <a:pt x="352" y="378"/>
                  <a:pt x="347" y="374"/>
                  <a:pt x="341" y="374"/>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 name="Freeform 953">
            <a:extLst>
              <a:ext uri="{FF2B5EF4-FFF2-40B4-BE49-F238E27FC236}">
                <a16:creationId xmlns:a16="http://schemas.microsoft.com/office/drawing/2014/main" id="{1BB5BFE6-E3FB-4F78-BC38-EE4C6F7F854C}"/>
              </a:ext>
            </a:extLst>
          </p:cNvPr>
          <p:cNvSpPr>
            <a:spLocks noChangeAspect="1" noEditPoints="1"/>
          </p:cNvSpPr>
          <p:nvPr/>
        </p:nvSpPr>
        <p:spPr bwMode="auto">
          <a:xfrm>
            <a:off x="9323165" y="3144124"/>
            <a:ext cx="367982" cy="367982"/>
          </a:xfrm>
          <a:custGeom>
            <a:avLst/>
            <a:gdLst>
              <a:gd name="T0" fmla="*/ 289 w 512"/>
              <a:gd name="T1" fmla="*/ 309 h 512"/>
              <a:gd name="T2" fmla="*/ 222 w 512"/>
              <a:gd name="T3" fmla="*/ 309 h 512"/>
              <a:gd name="T4" fmla="*/ 245 w 512"/>
              <a:gd name="T5" fmla="*/ 213 h 512"/>
              <a:gd name="T6" fmla="*/ 267 w 512"/>
              <a:gd name="T7" fmla="*/ 213 h 512"/>
              <a:gd name="T8" fmla="*/ 289 w 512"/>
              <a:gd name="T9" fmla="*/ 309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30 w 512"/>
              <a:gd name="T21" fmla="*/ 320 h 512"/>
              <a:gd name="T22" fmla="*/ 320 w 512"/>
              <a:gd name="T23" fmla="*/ 309 h 512"/>
              <a:gd name="T24" fmla="*/ 314 w 512"/>
              <a:gd name="T25" fmla="*/ 309 h 512"/>
              <a:gd name="T26" fmla="*/ 288 w 512"/>
              <a:gd name="T27" fmla="*/ 213 h 512"/>
              <a:gd name="T28" fmla="*/ 298 w 512"/>
              <a:gd name="T29" fmla="*/ 213 h 512"/>
              <a:gd name="T30" fmla="*/ 309 w 512"/>
              <a:gd name="T31" fmla="*/ 202 h 512"/>
              <a:gd name="T32" fmla="*/ 298 w 512"/>
              <a:gd name="T33" fmla="*/ 192 h 512"/>
              <a:gd name="T34" fmla="*/ 284 w 512"/>
              <a:gd name="T35" fmla="*/ 192 h 512"/>
              <a:gd name="T36" fmla="*/ 298 w 512"/>
              <a:gd name="T37" fmla="*/ 160 h 512"/>
              <a:gd name="T38" fmla="*/ 256 w 512"/>
              <a:gd name="T39" fmla="*/ 117 h 512"/>
              <a:gd name="T40" fmla="*/ 213 w 512"/>
              <a:gd name="T41" fmla="*/ 160 h 512"/>
              <a:gd name="T42" fmla="*/ 228 w 512"/>
              <a:gd name="T43" fmla="*/ 192 h 512"/>
              <a:gd name="T44" fmla="*/ 213 w 512"/>
              <a:gd name="T45" fmla="*/ 192 h 512"/>
              <a:gd name="T46" fmla="*/ 202 w 512"/>
              <a:gd name="T47" fmla="*/ 202 h 512"/>
              <a:gd name="T48" fmla="*/ 213 w 512"/>
              <a:gd name="T49" fmla="*/ 213 h 512"/>
              <a:gd name="T50" fmla="*/ 223 w 512"/>
              <a:gd name="T51" fmla="*/ 213 h 512"/>
              <a:gd name="T52" fmla="*/ 197 w 512"/>
              <a:gd name="T53" fmla="*/ 309 h 512"/>
              <a:gd name="T54" fmla="*/ 192 w 512"/>
              <a:gd name="T55" fmla="*/ 309 h 512"/>
              <a:gd name="T56" fmla="*/ 181 w 512"/>
              <a:gd name="T57" fmla="*/ 320 h 512"/>
              <a:gd name="T58" fmla="*/ 181 w 512"/>
              <a:gd name="T59" fmla="*/ 362 h 512"/>
              <a:gd name="T60" fmla="*/ 192 w 512"/>
              <a:gd name="T61" fmla="*/ 373 h 512"/>
              <a:gd name="T62" fmla="*/ 320 w 512"/>
              <a:gd name="T63" fmla="*/ 373 h 512"/>
              <a:gd name="T64" fmla="*/ 330 w 512"/>
              <a:gd name="T65" fmla="*/ 362 h 512"/>
              <a:gd name="T66" fmla="*/ 330 w 512"/>
              <a:gd name="T67" fmla="*/ 320 h 512"/>
              <a:gd name="T68" fmla="*/ 202 w 512"/>
              <a:gd name="T69" fmla="*/ 352 h 512"/>
              <a:gd name="T70" fmla="*/ 309 w 512"/>
              <a:gd name="T71" fmla="*/ 352 h 512"/>
              <a:gd name="T72" fmla="*/ 309 w 512"/>
              <a:gd name="T73" fmla="*/ 330 h 512"/>
              <a:gd name="T74" fmla="*/ 202 w 512"/>
              <a:gd name="T75" fmla="*/ 330 h 512"/>
              <a:gd name="T76" fmla="*/ 202 w 512"/>
              <a:gd name="T77" fmla="*/ 352 h 512"/>
              <a:gd name="T78" fmla="*/ 256 w 512"/>
              <a:gd name="T79" fmla="*/ 181 h 512"/>
              <a:gd name="T80" fmla="*/ 277 w 512"/>
              <a:gd name="T81" fmla="*/ 160 h 512"/>
              <a:gd name="T82" fmla="*/ 256 w 512"/>
              <a:gd name="T83" fmla="*/ 138 h 512"/>
              <a:gd name="T84" fmla="*/ 234 w 512"/>
              <a:gd name="T85" fmla="*/ 160 h 512"/>
              <a:gd name="T86" fmla="*/ 256 w 512"/>
              <a:gd name="T8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89" y="309"/>
                </a:moveTo>
                <a:cubicBezTo>
                  <a:pt x="222" y="309"/>
                  <a:pt x="222" y="309"/>
                  <a:pt x="222" y="309"/>
                </a:cubicBezTo>
                <a:cubicBezTo>
                  <a:pt x="232" y="291"/>
                  <a:pt x="243" y="260"/>
                  <a:pt x="245" y="213"/>
                </a:cubicBezTo>
                <a:cubicBezTo>
                  <a:pt x="267" y="213"/>
                  <a:pt x="267" y="213"/>
                  <a:pt x="267" y="213"/>
                </a:cubicBezTo>
                <a:cubicBezTo>
                  <a:pt x="268" y="260"/>
                  <a:pt x="280" y="291"/>
                  <a:pt x="289"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20"/>
                </a:moveTo>
                <a:cubicBezTo>
                  <a:pt x="330" y="314"/>
                  <a:pt x="326" y="309"/>
                  <a:pt x="320" y="309"/>
                </a:cubicBezTo>
                <a:cubicBezTo>
                  <a:pt x="314" y="309"/>
                  <a:pt x="314" y="309"/>
                  <a:pt x="314" y="309"/>
                </a:cubicBezTo>
                <a:cubicBezTo>
                  <a:pt x="307" y="300"/>
                  <a:pt x="290" y="270"/>
                  <a:pt x="288" y="213"/>
                </a:cubicBezTo>
                <a:cubicBezTo>
                  <a:pt x="298" y="213"/>
                  <a:pt x="298" y="213"/>
                  <a:pt x="298" y="213"/>
                </a:cubicBezTo>
                <a:cubicBezTo>
                  <a:pt x="304" y="213"/>
                  <a:pt x="309" y="208"/>
                  <a:pt x="309" y="202"/>
                </a:cubicBezTo>
                <a:cubicBezTo>
                  <a:pt x="309" y="196"/>
                  <a:pt x="304" y="192"/>
                  <a:pt x="298" y="192"/>
                </a:cubicBezTo>
                <a:cubicBezTo>
                  <a:pt x="284" y="192"/>
                  <a:pt x="284" y="192"/>
                  <a:pt x="284" y="192"/>
                </a:cubicBezTo>
                <a:cubicBezTo>
                  <a:pt x="293" y="184"/>
                  <a:pt x="298" y="172"/>
                  <a:pt x="298" y="160"/>
                </a:cubicBezTo>
                <a:cubicBezTo>
                  <a:pt x="298" y="136"/>
                  <a:pt x="279" y="117"/>
                  <a:pt x="256" y="117"/>
                </a:cubicBezTo>
                <a:cubicBezTo>
                  <a:pt x="232" y="117"/>
                  <a:pt x="213" y="136"/>
                  <a:pt x="213" y="160"/>
                </a:cubicBezTo>
                <a:cubicBezTo>
                  <a:pt x="213" y="172"/>
                  <a:pt x="219" y="184"/>
                  <a:pt x="228" y="192"/>
                </a:cubicBezTo>
                <a:cubicBezTo>
                  <a:pt x="213" y="192"/>
                  <a:pt x="213" y="192"/>
                  <a:pt x="213" y="192"/>
                </a:cubicBezTo>
                <a:cubicBezTo>
                  <a:pt x="207" y="192"/>
                  <a:pt x="202" y="196"/>
                  <a:pt x="202" y="202"/>
                </a:cubicBezTo>
                <a:cubicBezTo>
                  <a:pt x="202" y="208"/>
                  <a:pt x="207" y="213"/>
                  <a:pt x="213" y="213"/>
                </a:cubicBezTo>
                <a:cubicBezTo>
                  <a:pt x="223" y="213"/>
                  <a:pt x="223" y="213"/>
                  <a:pt x="223" y="213"/>
                </a:cubicBezTo>
                <a:cubicBezTo>
                  <a:pt x="221" y="270"/>
                  <a:pt x="204" y="300"/>
                  <a:pt x="197" y="309"/>
                </a:cubicBezTo>
                <a:cubicBezTo>
                  <a:pt x="192" y="309"/>
                  <a:pt x="192" y="309"/>
                  <a:pt x="192" y="309"/>
                </a:cubicBezTo>
                <a:cubicBezTo>
                  <a:pt x="186" y="309"/>
                  <a:pt x="181" y="314"/>
                  <a:pt x="181" y="320"/>
                </a:cubicBezTo>
                <a:cubicBezTo>
                  <a:pt x="181" y="362"/>
                  <a:pt x="181" y="362"/>
                  <a:pt x="181" y="362"/>
                </a:cubicBezTo>
                <a:cubicBezTo>
                  <a:pt x="181" y="368"/>
                  <a:pt x="186" y="373"/>
                  <a:pt x="192" y="373"/>
                </a:cubicBezTo>
                <a:cubicBezTo>
                  <a:pt x="320" y="373"/>
                  <a:pt x="320" y="373"/>
                  <a:pt x="320" y="373"/>
                </a:cubicBezTo>
                <a:cubicBezTo>
                  <a:pt x="326" y="373"/>
                  <a:pt x="330" y="368"/>
                  <a:pt x="330" y="362"/>
                </a:cubicBezTo>
                <a:lnTo>
                  <a:pt x="330" y="320"/>
                </a:lnTo>
                <a:close/>
                <a:moveTo>
                  <a:pt x="202" y="352"/>
                </a:moveTo>
                <a:cubicBezTo>
                  <a:pt x="309" y="352"/>
                  <a:pt x="309" y="352"/>
                  <a:pt x="309" y="352"/>
                </a:cubicBezTo>
                <a:cubicBezTo>
                  <a:pt x="309" y="330"/>
                  <a:pt x="309" y="330"/>
                  <a:pt x="309" y="330"/>
                </a:cubicBezTo>
                <a:cubicBezTo>
                  <a:pt x="202" y="330"/>
                  <a:pt x="202" y="330"/>
                  <a:pt x="202" y="330"/>
                </a:cubicBezTo>
                <a:lnTo>
                  <a:pt x="202" y="352"/>
                </a:lnTo>
                <a:close/>
                <a:moveTo>
                  <a:pt x="256" y="181"/>
                </a:moveTo>
                <a:cubicBezTo>
                  <a:pt x="267" y="181"/>
                  <a:pt x="277" y="171"/>
                  <a:pt x="277" y="160"/>
                </a:cubicBezTo>
                <a:cubicBezTo>
                  <a:pt x="277" y="148"/>
                  <a:pt x="267" y="138"/>
                  <a:pt x="256" y="138"/>
                </a:cubicBezTo>
                <a:cubicBezTo>
                  <a:pt x="244" y="138"/>
                  <a:pt x="234" y="148"/>
                  <a:pt x="234" y="160"/>
                </a:cubicBezTo>
                <a:cubicBezTo>
                  <a:pt x="234" y="171"/>
                  <a:pt x="244" y="181"/>
                  <a:pt x="256" y="181"/>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 name="Freeform 803">
            <a:extLst>
              <a:ext uri="{FF2B5EF4-FFF2-40B4-BE49-F238E27FC236}">
                <a16:creationId xmlns:a16="http://schemas.microsoft.com/office/drawing/2014/main" id="{1776ADF2-4596-4215-A6AE-87E4ECA9B928}"/>
              </a:ext>
            </a:extLst>
          </p:cNvPr>
          <p:cNvSpPr>
            <a:spLocks noChangeAspect="1" noEditPoints="1"/>
          </p:cNvSpPr>
          <p:nvPr/>
        </p:nvSpPr>
        <p:spPr bwMode="auto">
          <a:xfrm>
            <a:off x="10170906" y="4147378"/>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0 w 512"/>
              <a:gd name="T11" fmla="*/ 412 h 512"/>
              <a:gd name="T12" fmla="*/ 288 w 512"/>
              <a:gd name="T13" fmla="*/ 412 h 512"/>
              <a:gd name="T14" fmla="*/ 277 w 512"/>
              <a:gd name="T15" fmla="*/ 404 h 512"/>
              <a:gd name="T16" fmla="*/ 285 w 512"/>
              <a:gd name="T17" fmla="*/ 391 h 512"/>
              <a:gd name="T18" fmla="*/ 346 w 512"/>
              <a:gd name="T19" fmla="*/ 361 h 512"/>
              <a:gd name="T20" fmla="*/ 316 w 512"/>
              <a:gd name="T21" fmla="*/ 331 h 512"/>
              <a:gd name="T22" fmla="*/ 256 w 512"/>
              <a:gd name="T23" fmla="*/ 352 h 512"/>
              <a:gd name="T24" fmla="*/ 167 w 512"/>
              <a:gd name="T25" fmla="*/ 292 h 512"/>
              <a:gd name="T26" fmla="*/ 173 w 512"/>
              <a:gd name="T27" fmla="*/ 278 h 512"/>
              <a:gd name="T28" fmla="*/ 186 w 512"/>
              <a:gd name="T29" fmla="*/ 284 h 512"/>
              <a:gd name="T30" fmla="*/ 256 w 512"/>
              <a:gd name="T31" fmla="*/ 330 h 512"/>
              <a:gd name="T32" fmla="*/ 330 w 512"/>
              <a:gd name="T33" fmla="*/ 256 h 512"/>
              <a:gd name="T34" fmla="*/ 256 w 512"/>
              <a:gd name="T35" fmla="*/ 181 h 512"/>
              <a:gd name="T36" fmla="*/ 186 w 512"/>
              <a:gd name="T37" fmla="*/ 228 h 512"/>
              <a:gd name="T38" fmla="*/ 173 w 512"/>
              <a:gd name="T39" fmla="*/ 234 h 512"/>
              <a:gd name="T40" fmla="*/ 167 w 512"/>
              <a:gd name="T41" fmla="*/ 220 h 512"/>
              <a:gd name="T42" fmla="*/ 245 w 512"/>
              <a:gd name="T43" fmla="*/ 160 h 512"/>
              <a:gd name="T44" fmla="*/ 245 w 512"/>
              <a:gd name="T45" fmla="*/ 118 h 512"/>
              <a:gd name="T46" fmla="*/ 117 w 512"/>
              <a:gd name="T47" fmla="*/ 256 h 512"/>
              <a:gd name="T48" fmla="*/ 226 w 512"/>
              <a:gd name="T49" fmla="*/ 391 h 512"/>
              <a:gd name="T50" fmla="*/ 234 w 512"/>
              <a:gd name="T51" fmla="*/ 404 h 512"/>
              <a:gd name="T52" fmla="*/ 224 w 512"/>
              <a:gd name="T53" fmla="*/ 412 h 512"/>
              <a:gd name="T54" fmla="*/ 221 w 512"/>
              <a:gd name="T55" fmla="*/ 412 h 512"/>
              <a:gd name="T56" fmla="*/ 96 w 512"/>
              <a:gd name="T57" fmla="*/ 256 h 512"/>
              <a:gd name="T58" fmla="*/ 256 w 512"/>
              <a:gd name="T59" fmla="*/ 96 h 512"/>
              <a:gd name="T60" fmla="*/ 324 w 512"/>
              <a:gd name="T61" fmla="*/ 111 h 512"/>
              <a:gd name="T62" fmla="*/ 329 w 512"/>
              <a:gd name="T63" fmla="*/ 125 h 512"/>
              <a:gd name="T64" fmla="*/ 315 w 512"/>
              <a:gd name="T65" fmla="*/ 130 h 512"/>
              <a:gd name="T66" fmla="*/ 266 w 512"/>
              <a:gd name="T67" fmla="*/ 118 h 512"/>
              <a:gd name="T68" fmla="*/ 266 w 512"/>
              <a:gd name="T69" fmla="*/ 160 h 512"/>
              <a:gd name="T70" fmla="*/ 352 w 512"/>
              <a:gd name="T71" fmla="*/ 256 h 512"/>
              <a:gd name="T72" fmla="*/ 331 w 512"/>
              <a:gd name="T73" fmla="*/ 316 h 512"/>
              <a:gd name="T74" fmla="*/ 361 w 512"/>
              <a:gd name="T75" fmla="*/ 346 h 512"/>
              <a:gd name="T76" fmla="*/ 394 w 512"/>
              <a:gd name="T77" fmla="*/ 256 h 512"/>
              <a:gd name="T78" fmla="*/ 362 w 512"/>
              <a:gd name="T79" fmla="*/ 167 h 512"/>
              <a:gd name="T80" fmla="*/ 363 w 512"/>
              <a:gd name="T81" fmla="*/ 151 h 512"/>
              <a:gd name="T82" fmla="*/ 378 w 512"/>
              <a:gd name="T83" fmla="*/ 153 h 512"/>
              <a:gd name="T84" fmla="*/ 416 w 512"/>
              <a:gd name="T85" fmla="*/ 256 h 512"/>
              <a:gd name="T86" fmla="*/ 290 w 512"/>
              <a:gd name="T87" fmla="*/ 412 h 512"/>
              <a:gd name="T88" fmla="*/ 213 w 512"/>
              <a:gd name="T89" fmla="*/ 256 h 512"/>
              <a:gd name="T90" fmla="*/ 256 w 512"/>
              <a:gd name="T91" fmla="*/ 213 h 512"/>
              <a:gd name="T92" fmla="*/ 298 w 512"/>
              <a:gd name="T93" fmla="*/ 256 h 512"/>
              <a:gd name="T94" fmla="*/ 256 w 512"/>
              <a:gd name="T95" fmla="*/ 298 h 512"/>
              <a:gd name="T96" fmla="*/ 213 w 512"/>
              <a:gd name="T97" fmla="*/ 256 h 512"/>
              <a:gd name="T98" fmla="*/ 256 w 512"/>
              <a:gd name="T99" fmla="*/ 277 h 512"/>
              <a:gd name="T100" fmla="*/ 234 w 512"/>
              <a:gd name="T101" fmla="*/ 256 h 512"/>
              <a:gd name="T102" fmla="*/ 256 w 512"/>
              <a:gd name="T103" fmla="*/ 234 h 512"/>
              <a:gd name="T104" fmla="*/ 277 w 512"/>
              <a:gd name="T105" fmla="*/ 256 h 512"/>
              <a:gd name="T106" fmla="*/ 256 w 512"/>
              <a:gd name="T107"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0" y="412"/>
                </a:moveTo>
                <a:cubicBezTo>
                  <a:pt x="289" y="412"/>
                  <a:pt x="288" y="412"/>
                  <a:pt x="288" y="412"/>
                </a:cubicBezTo>
                <a:cubicBezTo>
                  <a:pt x="283" y="412"/>
                  <a:pt x="278" y="409"/>
                  <a:pt x="277" y="404"/>
                </a:cubicBezTo>
                <a:cubicBezTo>
                  <a:pt x="276" y="398"/>
                  <a:pt x="280" y="392"/>
                  <a:pt x="285" y="391"/>
                </a:cubicBezTo>
                <a:cubicBezTo>
                  <a:pt x="308" y="386"/>
                  <a:pt x="329" y="375"/>
                  <a:pt x="346" y="361"/>
                </a:cubicBezTo>
                <a:cubicBezTo>
                  <a:pt x="316" y="331"/>
                  <a:pt x="316" y="331"/>
                  <a:pt x="316" y="331"/>
                </a:cubicBezTo>
                <a:cubicBezTo>
                  <a:pt x="299" y="344"/>
                  <a:pt x="278" y="352"/>
                  <a:pt x="256" y="352"/>
                </a:cubicBezTo>
                <a:cubicBezTo>
                  <a:pt x="216" y="352"/>
                  <a:pt x="181" y="328"/>
                  <a:pt x="167" y="292"/>
                </a:cubicBezTo>
                <a:cubicBezTo>
                  <a:pt x="164" y="286"/>
                  <a:pt x="167" y="280"/>
                  <a:pt x="173" y="278"/>
                </a:cubicBezTo>
                <a:cubicBezTo>
                  <a:pt x="178" y="276"/>
                  <a:pt x="184" y="278"/>
                  <a:pt x="186" y="284"/>
                </a:cubicBezTo>
                <a:cubicBezTo>
                  <a:pt x="198" y="312"/>
                  <a:pt x="225" y="330"/>
                  <a:pt x="256" y="330"/>
                </a:cubicBezTo>
                <a:cubicBezTo>
                  <a:pt x="297" y="330"/>
                  <a:pt x="330" y="297"/>
                  <a:pt x="330" y="256"/>
                </a:cubicBezTo>
                <a:cubicBezTo>
                  <a:pt x="330" y="214"/>
                  <a:pt x="297" y="181"/>
                  <a:pt x="256" y="181"/>
                </a:cubicBezTo>
                <a:cubicBezTo>
                  <a:pt x="225" y="181"/>
                  <a:pt x="198" y="199"/>
                  <a:pt x="186" y="228"/>
                </a:cubicBezTo>
                <a:cubicBezTo>
                  <a:pt x="184" y="233"/>
                  <a:pt x="178" y="236"/>
                  <a:pt x="173" y="234"/>
                </a:cubicBezTo>
                <a:cubicBezTo>
                  <a:pt x="167" y="231"/>
                  <a:pt x="164" y="225"/>
                  <a:pt x="167" y="220"/>
                </a:cubicBezTo>
                <a:cubicBezTo>
                  <a:pt x="180" y="187"/>
                  <a:pt x="210" y="164"/>
                  <a:pt x="245" y="160"/>
                </a:cubicBezTo>
                <a:cubicBezTo>
                  <a:pt x="245" y="118"/>
                  <a:pt x="245" y="118"/>
                  <a:pt x="245" y="118"/>
                </a:cubicBezTo>
                <a:cubicBezTo>
                  <a:pt x="174" y="123"/>
                  <a:pt x="117" y="183"/>
                  <a:pt x="117" y="256"/>
                </a:cubicBezTo>
                <a:cubicBezTo>
                  <a:pt x="117" y="320"/>
                  <a:pt x="163" y="377"/>
                  <a:pt x="226" y="391"/>
                </a:cubicBezTo>
                <a:cubicBezTo>
                  <a:pt x="232" y="392"/>
                  <a:pt x="235" y="398"/>
                  <a:pt x="234" y="404"/>
                </a:cubicBezTo>
                <a:cubicBezTo>
                  <a:pt x="233" y="409"/>
                  <a:pt x="229" y="412"/>
                  <a:pt x="224" y="412"/>
                </a:cubicBezTo>
                <a:cubicBezTo>
                  <a:pt x="223" y="412"/>
                  <a:pt x="222" y="412"/>
                  <a:pt x="221" y="412"/>
                </a:cubicBezTo>
                <a:cubicBezTo>
                  <a:pt x="149" y="396"/>
                  <a:pt x="96" y="330"/>
                  <a:pt x="96" y="256"/>
                </a:cubicBezTo>
                <a:cubicBezTo>
                  <a:pt x="96" y="167"/>
                  <a:pt x="167" y="96"/>
                  <a:pt x="256" y="96"/>
                </a:cubicBezTo>
                <a:cubicBezTo>
                  <a:pt x="280" y="96"/>
                  <a:pt x="303" y="101"/>
                  <a:pt x="324" y="111"/>
                </a:cubicBezTo>
                <a:cubicBezTo>
                  <a:pt x="330" y="114"/>
                  <a:pt x="332" y="120"/>
                  <a:pt x="329" y="125"/>
                </a:cubicBezTo>
                <a:cubicBezTo>
                  <a:pt x="327" y="131"/>
                  <a:pt x="320" y="133"/>
                  <a:pt x="315" y="130"/>
                </a:cubicBezTo>
                <a:cubicBezTo>
                  <a:pt x="300" y="123"/>
                  <a:pt x="283" y="119"/>
                  <a:pt x="266" y="118"/>
                </a:cubicBezTo>
                <a:cubicBezTo>
                  <a:pt x="266" y="160"/>
                  <a:pt x="266" y="160"/>
                  <a:pt x="266" y="160"/>
                </a:cubicBezTo>
                <a:cubicBezTo>
                  <a:pt x="314" y="166"/>
                  <a:pt x="352" y="206"/>
                  <a:pt x="352" y="256"/>
                </a:cubicBezTo>
                <a:cubicBezTo>
                  <a:pt x="352" y="278"/>
                  <a:pt x="344" y="299"/>
                  <a:pt x="331" y="316"/>
                </a:cubicBezTo>
                <a:cubicBezTo>
                  <a:pt x="361" y="346"/>
                  <a:pt x="361" y="346"/>
                  <a:pt x="361" y="346"/>
                </a:cubicBezTo>
                <a:cubicBezTo>
                  <a:pt x="382" y="321"/>
                  <a:pt x="394" y="289"/>
                  <a:pt x="394" y="256"/>
                </a:cubicBezTo>
                <a:cubicBezTo>
                  <a:pt x="394" y="223"/>
                  <a:pt x="383" y="191"/>
                  <a:pt x="362" y="167"/>
                </a:cubicBezTo>
                <a:cubicBezTo>
                  <a:pt x="358" y="162"/>
                  <a:pt x="359" y="155"/>
                  <a:pt x="363" y="151"/>
                </a:cubicBezTo>
                <a:cubicBezTo>
                  <a:pt x="368" y="148"/>
                  <a:pt x="374" y="148"/>
                  <a:pt x="378" y="153"/>
                </a:cubicBezTo>
                <a:cubicBezTo>
                  <a:pt x="402" y="182"/>
                  <a:pt x="416" y="218"/>
                  <a:pt x="416" y="256"/>
                </a:cubicBezTo>
                <a:cubicBezTo>
                  <a:pt x="416" y="330"/>
                  <a:pt x="363" y="396"/>
                  <a:pt x="290" y="412"/>
                </a:cubicBezTo>
                <a:close/>
                <a:moveTo>
                  <a:pt x="213" y="256"/>
                </a:moveTo>
                <a:cubicBezTo>
                  <a:pt x="213" y="232"/>
                  <a:pt x="232" y="213"/>
                  <a:pt x="256" y="213"/>
                </a:cubicBezTo>
                <a:cubicBezTo>
                  <a:pt x="279" y="213"/>
                  <a:pt x="298" y="232"/>
                  <a:pt x="298" y="256"/>
                </a:cubicBezTo>
                <a:cubicBezTo>
                  <a:pt x="298" y="279"/>
                  <a:pt x="279" y="298"/>
                  <a:pt x="256" y="298"/>
                </a:cubicBezTo>
                <a:cubicBezTo>
                  <a:pt x="232" y="298"/>
                  <a:pt x="213" y="279"/>
                  <a:pt x="213" y="256"/>
                </a:cubicBezTo>
                <a:close/>
                <a:moveTo>
                  <a:pt x="256" y="277"/>
                </a:moveTo>
                <a:cubicBezTo>
                  <a:pt x="244" y="277"/>
                  <a:pt x="234" y="267"/>
                  <a:pt x="234" y="256"/>
                </a:cubicBezTo>
                <a:cubicBezTo>
                  <a:pt x="234" y="244"/>
                  <a:pt x="244" y="234"/>
                  <a:pt x="256" y="234"/>
                </a:cubicBezTo>
                <a:cubicBezTo>
                  <a:pt x="267" y="234"/>
                  <a:pt x="277" y="244"/>
                  <a:pt x="277" y="256"/>
                </a:cubicBezTo>
                <a:cubicBezTo>
                  <a:pt x="277" y="267"/>
                  <a:pt x="267" y="277"/>
                  <a:pt x="256" y="277"/>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3" name="Freeform 988">
            <a:extLst>
              <a:ext uri="{FF2B5EF4-FFF2-40B4-BE49-F238E27FC236}">
                <a16:creationId xmlns:a16="http://schemas.microsoft.com/office/drawing/2014/main" id="{32985A8E-7E82-451C-BF06-98C5972720D0}"/>
              </a:ext>
            </a:extLst>
          </p:cNvPr>
          <p:cNvSpPr>
            <a:spLocks noChangeAspect="1" noEditPoints="1"/>
          </p:cNvSpPr>
          <p:nvPr/>
        </p:nvSpPr>
        <p:spPr bwMode="auto">
          <a:xfrm>
            <a:off x="9984176" y="5178771"/>
            <a:ext cx="367982" cy="367982"/>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1500613584"/>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125072" y="2024284"/>
            <a:ext cx="3028578" cy="1188695"/>
            <a:chOff x="7125072" y="2024284"/>
            <a:chExt cx="2897572" cy="1188695"/>
          </a:xfrm>
        </p:grpSpPr>
        <p:cxnSp>
          <p:nvCxnSpPr>
            <p:cNvPr id="38" name="Straight Connector 43">
              <a:extLst>
                <a:ext uri="{FF2B5EF4-FFF2-40B4-BE49-F238E27FC236}">
                  <a16:creationId xmlns:a16="http://schemas.microsoft.com/office/drawing/2014/main" id="{7AA35FB0-A3E6-4D51-985E-CC27FF401C71}"/>
                </a:ext>
              </a:extLst>
            </p:cNvPr>
            <p:cNvCxnSpPr/>
            <p:nvPr/>
          </p:nvCxnSpPr>
          <p:spPr>
            <a:xfrm flipV="1">
              <a:off x="7125072" y="2024284"/>
              <a:ext cx="2897572" cy="1"/>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49">
              <a:extLst>
                <a:ext uri="{FF2B5EF4-FFF2-40B4-BE49-F238E27FC236}">
                  <a16:creationId xmlns:a16="http://schemas.microsoft.com/office/drawing/2014/main" id="{1F4E052F-1F66-4B8B-AA55-635E67279929}"/>
                </a:ext>
              </a:extLst>
            </p:cNvPr>
            <p:cNvCxnSpPr/>
            <p:nvPr/>
          </p:nvCxnSpPr>
          <p:spPr>
            <a:xfrm flipV="1">
              <a:off x="10022644" y="2024284"/>
              <a:ext cx="0" cy="1188695"/>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5" name="Freeform 6">
            <a:extLst>
              <a:ext uri="{FF2B5EF4-FFF2-40B4-BE49-F238E27FC236}">
                <a16:creationId xmlns:a16="http://schemas.microsoft.com/office/drawing/2014/main" id="{BCE851E1-DDCE-4C95-969C-615BECA59B0A}"/>
              </a:ext>
            </a:extLst>
          </p:cNvPr>
          <p:cNvSpPr>
            <a:spLocks/>
          </p:cNvSpPr>
          <p:nvPr/>
        </p:nvSpPr>
        <p:spPr bwMode="auto">
          <a:xfrm rot="14643189">
            <a:off x="8374034" y="2983865"/>
            <a:ext cx="3074887" cy="3682615"/>
          </a:xfrm>
          <a:custGeom>
            <a:avLst/>
            <a:gdLst>
              <a:gd name="T0" fmla="*/ 339 w 596"/>
              <a:gd name="T1" fmla="*/ 115 h 709"/>
              <a:gd name="T2" fmla="*/ 596 w 596"/>
              <a:gd name="T3" fmla="*/ 410 h 709"/>
              <a:gd name="T4" fmla="*/ 298 w 596"/>
              <a:gd name="T5" fmla="*/ 709 h 709"/>
              <a:gd name="T6" fmla="*/ 0 w 596"/>
              <a:gd name="T7" fmla="*/ 410 h 709"/>
              <a:gd name="T8" fmla="*/ 255 w 596"/>
              <a:gd name="T9" fmla="*/ 115 h 709"/>
              <a:gd name="T10" fmla="*/ 296 w 596"/>
              <a:gd name="T11" fmla="*/ 0 h 709"/>
              <a:gd name="T12" fmla="*/ 339 w 596"/>
              <a:gd name="T13" fmla="*/ 115 h 709"/>
            </a:gdLst>
            <a:ahLst/>
            <a:cxnLst>
              <a:cxn ang="0">
                <a:pos x="T0" y="T1"/>
              </a:cxn>
              <a:cxn ang="0">
                <a:pos x="T2" y="T3"/>
              </a:cxn>
              <a:cxn ang="0">
                <a:pos x="T4" y="T5"/>
              </a:cxn>
              <a:cxn ang="0">
                <a:pos x="T6" y="T7"/>
              </a:cxn>
              <a:cxn ang="0">
                <a:pos x="T8" y="T9"/>
              </a:cxn>
              <a:cxn ang="0">
                <a:pos x="T10" y="T11"/>
              </a:cxn>
              <a:cxn ang="0">
                <a:pos x="T12" y="T13"/>
              </a:cxn>
            </a:cxnLst>
            <a:rect l="0" t="0" r="r" b="b"/>
            <a:pathLst>
              <a:path w="596" h="709">
                <a:moveTo>
                  <a:pt x="339" y="115"/>
                </a:moveTo>
                <a:cubicBezTo>
                  <a:pt x="484" y="135"/>
                  <a:pt x="596" y="259"/>
                  <a:pt x="596" y="410"/>
                </a:cubicBezTo>
                <a:cubicBezTo>
                  <a:pt x="596" y="575"/>
                  <a:pt x="463" y="709"/>
                  <a:pt x="298" y="709"/>
                </a:cubicBezTo>
                <a:cubicBezTo>
                  <a:pt x="133" y="709"/>
                  <a:pt x="0" y="575"/>
                  <a:pt x="0" y="410"/>
                </a:cubicBezTo>
                <a:cubicBezTo>
                  <a:pt x="0" y="260"/>
                  <a:pt x="111" y="136"/>
                  <a:pt x="255" y="115"/>
                </a:cubicBezTo>
                <a:cubicBezTo>
                  <a:pt x="296" y="0"/>
                  <a:pt x="296" y="0"/>
                  <a:pt x="296" y="0"/>
                </a:cubicBezTo>
                <a:lnTo>
                  <a:pt x="339" y="115"/>
                </a:lnTo>
                <a:close/>
              </a:path>
            </a:pathLst>
          </a:custGeom>
          <a:solidFill>
            <a:srgbClr val="86BC25"/>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 name="Freeform 5">
            <a:extLst>
              <a:ext uri="{FF2B5EF4-FFF2-40B4-BE49-F238E27FC236}">
                <a16:creationId xmlns:a16="http://schemas.microsoft.com/office/drawing/2014/main" id="{78470356-B488-4CF4-9343-3E145C979D53}"/>
              </a:ext>
            </a:extLst>
          </p:cNvPr>
          <p:cNvSpPr>
            <a:spLocks/>
          </p:cNvSpPr>
          <p:nvPr/>
        </p:nvSpPr>
        <p:spPr bwMode="auto">
          <a:xfrm rot="4529480">
            <a:off x="7594013" y="3445354"/>
            <a:ext cx="2458683" cy="2944623"/>
          </a:xfrm>
          <a:custGeom>
            <a:avLst/>
            <a:gdLst>
              <a:gd name="T0" fmla="*/ 339 w 596"/>
              <a:gd name="T1" fmla="*/ 115 h 709"/>
              <a:gd name="T2" fmla="*/ 596 w 596"/>
              <a:gd name="T3" fmla="*/ 410 h 709"/>
              <a:gd name="T4" fmla="*/ 298 w 596"/>
              <a:gd name="T5" fmla="*/ 709 h 709"/>
              <a:gd name="T6" fmla="*/ 0 w 596"/>
              <a:gd name="T7" fmla="*/ 410 h 709"/>
              <a:gd name="T8" fmla="*/ 255 w 596"/>
              <a:gd name="T9" fmla="*/ 115 h 709"/>
              <a:gd name="T10" fmla="*/ 296 w 596"/>
              <a:gd name="T11" fmla="*/ 0 h 709"/>
              <a:gd name="T12" fmla="*/ 339 w 596"/>
              <a:gd name="T13" fmla="*/ 115 h 709"/>
            </a:gdLst>
            <a:ahLst/>
            <a:cxnLst>
              <a:cxn ang="0">
                <a:pos x="T0" y="T1"/>
              </a:cxn>
              <a:cxn ang="0">
                <a:pos x="T2" y="T3"/>
              </a:cxn>
              <a:cxn ang="0">
                <a:pos x="T4" y="T5"/>
              </a:cxn>
              <a:cxn ang="0">
                <a:pos x="T6" y="T7"/>
              </a:cxn>
              <a:cxn ang="0">
                <a:pos x="T8" y="T9"/>
              </a:cxn>
              <a:cxn ang="0">
                <a:pos x="T10" y="T11"/>
              </a:cxn>
              <a:cxn ang="0">
                <a:pos x="T12" y="T13"/>
              </a:cxn>
            </a:cxnLst>
            <a:rect l="0" t="0" r="r" b="b"/>
            <a:pathLst>
              <a:path w="596" h="709">
                <a:moveTo>
                  <a:pt x="339" y="115"/>
                </a:moveTo>
                <a:cubicBezTo>
                  <a:pt x="484" y="135"/>
                  <a:pt x="596" y="259"/>
                  <a:pt x="596" y="410"/>
                </a:cubicBezTo>
                <a:cubicBezTo>
                  <a:pt x="596" y="575"/>
                  <a:pt x="463" y="709"/>
                  <a:pt x="298" y="709"/>
                </a:cubicBezTo>
                <a:cubicBezTo>
                  <a:pt x="133" y="709"/>
                  <a:pt x="0" y="575"/>
                  <a:pt x="0" y="410"/>
                </a:cubicBezTo>
                <a:cubicBezTo>
                  <a:pt x="0" y="260"/>
                  <a:pt x="111" y="136"/>
                  <a:pt x="255" y="115"/>
                </a:cubicBezTo>
                <a:cubicBezTo>
                  <a:pt x="296" y="0"/>
                  <a:pt x="296" y="0"/>
                  <a:pt x="296" y="0"/>
                </a:cubicBezTo>
                <a:lnTo>
                  <a:pt x="339" y="115"/>
                </a:lnTo>
                <a:close/>
              </a:path>
            </a:pathLst>
          </a:custGeom>
          <a:solidFill>
            <a:srgbClr val="43B02A"/>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Freeform 5">
            <a:extLst>
              <a:ext uri="{FF2B5EF4-FFF2-40B4-BE49-F238E27FC236}">
                <a16:creationId xmlns:a16="http://schemas.microsoft.com/office/drawing/2014/main" id="{BF06F0AD-44D1-4952-92E5-DE15A6685790}"/>
              </a:ext>
            </a:extLst>
          </p:cNvPr>
          <p:cNvSpPr>
            <a:spLocks/>
          </p:cNvSpPr>
          <p:nvPr/>
        </p:nvSpPr>
        <p:spPr bwMode="auto">
          <a:xfrm rot="4529480">
            <a:off x="6583131" y="4099030"/>
            <a:ext cx="1928711" cy="2309906"/>
          </a:xfrm>
          <a:custGeom>
            <a:avLst/>
            <a:gdLst>
              <a:gd name="T0" fmla="*/ 339 w 596"/>
              <a:gd name="T1" fmla="*/ 115 h 709"/>
              <a:gd name="T2" fmla="*/ 596 w 596"/>
              <a:gd name="T3" fmla="*/ 410 h 709"/>
              <a:gd name="T4" fmla="*/ 298 w 596"/>
              <a:gd name="T5" fmla="*/ 709 h 709"/>
              <a:gd name="T6" fmla="*/ 0 w 596"/>
              <a:gd name="T7" fmla="*/ 410 h 709"/>
              <a:gd name="T8" fmla="*/ 255 w 596"/>
              <a:gd name="T9" fmla="*/ 115 h 709"/>
              <a:gd name="T10" fmla="*/ 296 w 596"/>
              <a:gd name="T11" fmla="*/ 0 h 709"/>
              <a:gd name="T12" fmla="*/ 339 w 596"/>
              <a:gd name="T13" fmla="*/ 115 h 709"/>
            </a:gdLst>
            <a:ahLst/>
            <a:cxnLst>
              <a:cxn ang="0">
                <a:pos x="T0" y="T1"/>
              </a:cxn>
              <a:cxn ang="0">
                <a:pos x="T2" y="T3"/>
              </a:cxn>
              <a:cxn ang="0">
                <a:pos x="T4" y="T5"/>
              </a:cxn>
              <a:cxn ang="0">
                <a:pos x="T6" y="T7"/>
              </a:cxn>
              <a:cxn ang="0">
                <a:pos x="T8" y="T9"/>
              </a:cxn>
              <a:cxn ang="0">
                <a:pos x="T10" y="T11"/>
              </a:cxn>
              <a:cxn ang="0">
                <a:pos x="T12" y="T13"/>
              </a:cxn>
            </a:cxnLst>
            <a:rect l="0" t="0" r="r" b="b"/>
            <a:pathLst>
              <a:path w="596" h="709">
                <a:moveTo>
                  <a:pt x="339" y="115"/>
                </a:moveTo>
                <a:cubicBezTo>
                  <a:pt x="484" y="135"/>
                  <a:pt x="596" y="259"/>
                  <a:pt x="596" y="410"/>
                </a:cubicBezTo>
                <a:cubicBezTo>
                  <a:pt x="596" y="575"/>
                  <a:pt x="463" y="709"/>
                  <a:pt x="298" y="709"/>
                </a:cubicBezTo>
                <a:cubicBezTo>
                  <a:pt x="133" y="709"/>
                  <a:pt x="0" y="575"/>
                  <a:pt x="0" y="410"/>
                </a:cubicBezTo>
                <a:cubicBezTo>
                  <a:pt x="0" y="260"/>
                  <a:pt x="111" y="136"/>
                  <a:pt x="255" y="115"/>
                </a:cubicBezTo>
                <a:cubicBezTo>
                  <a:pt x="296" y="0"/>
                  <a:pt x="296" y="0"/>
                  <a:pt x="296" y="0"/>
                </a:cubicBezTo>
                <a:lnTo>
                  <a:pt x="339" y="115"/>
                </a:lnTo>
                <a:close/>
              </a:path>
            </a:pathLst>
          </a:custGeom>
          <a:solidFill>
            <a:srgbClr val="009A44"/>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5">
            <a:extLst>
              <a:ext uri="{FF2B5EF4-FFF2-40B4-BE49-F238E27FC236}">
                <a16:creationId xmlns:a16="http://schemas.microsoft.com/office/drawing/2014/main" id="{82948B45-C2D6-4D40-B734-9F58315544B1}"/>
              </a:ext>
            </a:extLst>
          </p:cNvPr>
          <p:cNvSpPr>
            <a:spLocks/>
          </p:cNvSpPr>
          <p:nvPr/>
        </p:nvSpPr>
        <p:spPr bwMode="auto">
          <a:xfrm rot="4529480">
            <a:off x="5652679" y="4658913"/>
            <a:ext cx="1462489" cy="1751538"/>
          </a:xfrm>
          <a:custGeom>
            <a:avLst/>
            <a:gdLst>
              <a:gd name="T0" fmla="*/ 339 w 596"/>
              <a:gd name="T1" fmla="*/ 115 h 709"/>
              <a:gd name="T2" fmla="*/ 596 w 596"/>
              <a:gd name="T3" fmla="*/ 410 h 709"/>
              <a:gd name="T4" fmla="*/ 298 w 596"/>
              <a:gd name="T5" fmla="*/ 709 h 709"/>
              <a:gd name="T6" fmla="*/ 0 w 596"/>
              <a:gd name="T7" fmla="*/ 410 h 709"/>
              <a:gd name="T8" fmla="*/ 255 w 596"/>
              <a:gd name="T9" fmla="*/ 115 h 709"/>
              <a:gd name="T10" fmla="*/ 296 w 596"/>
              <a:gd name="T11" fmla="*/ 0 h 709"/>
              <a:gd name="T12" fmla="*/ 339 w 596"/>
              <a:gd name="T13" fmla="*/ 115 h 709"/>
            </a:gdLst>
            <a:ahLst/>
            <a:cxnLst>
              <a:cxn ang="0">
                <a:pos x="T0" y="T1"/>
              </a:cxn>
              <a:cxn ang="0">
                <a:pos x="T2" y="T3"/>
              </a:cxn>
              <a:cxn ang="0">
                <a:pos x="T4" y="T5"/>
              </a:cxn>
              <a:cxn ang="0">
                <a:pos x="T6" y="T7"/>
              </a:cxn>
              <a:cxn ang="0">
                <a:pos x="T8" y="T9"/>
              </a:cxn>
              <a:cxn ang="0">
                <a:pos x="T10" y="T11"/>
              </a:cxn>
              <a:cxn ang="0">
                <a:pos x="T12" y="T13"/>
              </a:cxn>
            </a:cxnLst>
            <a:rect l="0" t="0" r="r" b="b"/>
            <a:pathLst>
              <a:path w="596" h="709">
                <a:moveTo>
                  <a:pt x="339" y="115"/>
                </a:moveTo>
                <a:cubicBezTo>
                  <a:pt x="484" y="135"/>
                  <a:pt x="596" y="259"/>
                  <a:pt x="596" y="410"/>
                </a:cubicBezTo>
                <a:cubicBezTo>
                  <a:pt x="596" y="575"/>
                  <a:pt x="463" y="709"/>
                  <a:pt x="298" y="709"/>
                </a:cubicBezTo>
                <a:cubicBezTo>
                  <a:pt x="133" y="709"/>
                  <a:pt x="0" y="575"/>
                  <a:pt x="0" y="410"/>
                </a:cubicBezTo>
                <a:cubicBezTo>
                  <a:pt x="0" y="260"/>
                  <a:pt x="111" y="136"/>
                  <a:pt x="255" y="115"/>
                </a:cubicBezTo>
                <a:cubicBezTo>
                  <a:pt x="296" y="0"/>
                  <a:pt x="296" y="0"/>
                  <a:pt x="296" y="0"/>
                </a:cubicBezTo>
                <a:lnTo>
                  <a:pt x="339" y="115"/>
                </a:lnTo>
                <a:close/>
              </a:path>
            </a:pathLst>
          </a:custGeom>
          <a:solidFill>
            <a:srgbClr val="FFFFFF"/>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cxnSp>
        <p:nvCxnSpPr>
          <p:cNvPr id="27" name="Straight Connector 26">
            <a:extLst>
              <a:ext uri="{FF2B5EF4-FFF2-40B4-BE49-F238E27FC236}">
                <a16:creationId xmlns:a16="http://schemas.microsoft.com/office/drawing/2014/main" id="{3A86C5C6-BDC1-423E-9F13-1869118B1B53}"/>
              </a:ext>
            </a:extLst>
          </p:cNvPr>
          <p:cNvCxnSpPr>
            <a:stCxn id="34" idx="6"/>
          </p:cNvCxnSpPr>
          <p:nvPr/>
        </p:nvCxnSpPr>
        <p:spPr>
          <a:xfrm flipV="1">
            <a:off x="4305642" y="5587826"/>
            <a:ext cx="1204751" cy="1"/>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Oval 28">
            <a:extLst>
              <a:ext uri="{FF2B5EF4-FFF2-40B4-BE49-F238E27FC236}">
                <a16:creationId xmlns:a16="http://schemas.microsoft.com/office/drawing/2014/main" id="{12E5FBCF-9F6E-4878-86F0-F074CAA4329D}"/>
              </a:ext>
            </a:extLst>
          </p:cNvPr>
          <p:cNvSpPr>
            <a:spLocks noChangeArrowheads="1"/>
          </p:cNvSpPr>
          <p:nvPr/>
        </p:nvSpPr>
        <p:spPr bwMode="auto">
          <a:xfrm>
            <a:off x="4509969" y="4002139"/>
            <a:ext cx="683388" cy="689549"/>
          </a:xfrm>
          <a:prstGeom prst="ellipse">
            <a:avLst/>
          </a:prstGeom>
          <a:solidFill>
            <a:srgbClr val="009A44"/>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Text Box 10">
            <a:extLst>
              <a:ext uri="{FF2B5EF4-FFF2-40B4-BE49-F238E27FC236}">
                <a16:creationId xmlns:a16="http://schemas.microsoft.com/office/drawing/2014/main" id="{B584A0B3-B6E4-44B6-8E68-9906318A4AD8}"/>
              </a:ext>
            </a:extLst>
          </p:cNvPr>
          <p:cNvSpPr txBox="1">
            <a:spLocks noChangeArrowheads="1"/>
          </p:cNvSpPr>
          <p:nvPr/>
        </p:nvSpPr>
        <p:spPr bwMode="auto">
          <a:xfrm>
            <a:off x="2321517" y="3872362"/>
            <a:ext cx="2099154" cy="846386"/>
          </a:xfrm>
          <a:prstGeom prst="rect">
            <a:avLst/>
          </a:prstGeom>
          <a:noFill/>
          <a:ln w="9525">
            <a:noFill/>
            <a:miter lim="800000"/>
            <a:headEnd/>
            <a:tailEnd/>
          </a:ln>
        </p:spPr>
        <p:txBody>
          <a:bodyPr wrap="square" lIns="45720" tIns="22860" rIns="45720" bIns="22860" anchor="ctr">
            <a:spAutoFit/>
          </a:bodyPr>
          <a:lstStyle/>
          <a:p>
            <a:pPr algn="r" defTabSz="1088232"/>
            <a:r>
              <a:rPr lang="en-US" altLang="zh-CN" sz="1300" b="1" dirty="0">
                <a:solidFill>
                  <a:srgbClr val="009A44"/>
                </a:solidFill>
                <a:ea typeface="Open Sans" pitchFamily="34" charset="0"/>
                <a:cs typeface="Open Sans" pitchFamily="34" charset="0"/>
              </a:rPr>
              <a:t>Dummy text</a:t>
            </a:r>
          </a:p>
          <a:p>
            <a:pPr algn="r" defTabSz="1088232"/>
            <a:endParaRPr lang="en-US" altLang="zh-CN" sz="1300" dirty="0">
              <a:solidFill>
                <a:srgbClr val="FFFFFF"/>
              </a:solidFill>
              <a:ea typeface="Open Sans" pitchFamily="34" charset="0"/>
              <a:cs typeface="Open Sans" pitchFamily="34" charset="0"/>
            </a:endParaRPr>
          </a:p>
          <a:p>
            <a:pPr algn="r" defTabSz="1088232"/>
            <a:r>
              <a:rPr lang="en-US" altLang="zh-CN" sz="1300" dirty="0">
                <a:solidFill>
                  <a:srgbClr val="FFFFFF"/>
                </a:solidFill>
                <a:ea typeface="Open Sans" pitchFamily="34" charset="0"/>
                <a:cs typeface="Open Sans" pitchFamily="34" charset="0"/>
              </a:rPr>
              <a:t>This is dummy text it is not here to be read. </a:t>
            </a:r>
          </a:p>
        </p:txBody>
      </p:sp>
      <p:sp>
        <p:nvSpPr>
          <p:cNvPr id="30" name="Oval 30">
            <a:extLst>
              <a:ext uri="{FF2B5EF4-FFF2-40B4-BE49-F238E27FC236}">
                <a16:creationId xmlns:a16="http://schemas.microsoft.com/office/drawing/2014/main" id="{2C611E6E-5D7D-418A-A427-4E5E8D89456F}"/>
              </a:ext>
            </a:extLst>
          </p:cNvPr>
          <p:cNvSpPr>
            <a:spLocks noChangeArrowheads="1"/>
          </p:cNvSpPr>
          <p:nvPr/>
        </p:nvSpPr>
        <p:spPr bwMode="auto">
          <a:xfrm>
            <a:off x="5475826" y="2868206"/>
            <a:ext cx="683388" cy="689549"/>
          </a:xfrm>
          <a:prstGeom prst="ellipse">
            <a:avLst/>
          </a:prstGeom>
          <a:solidFill>
            <a:srgbClr val="43B02A"/>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Text Box 10">
            <a:extLst>
              <a:ext uri="{FF2B5EF4-FFF2-40B4-BE49-F238E27FC236}">
                <a16:creationId xmlns:a16="http://schemas.microsoft.com/office/drawing/2014/main" id="{F8F800FA-32DA-406E-BDC4-AD9699D03C48}"/>
              </a:ext>
            </a:extLst>
          </p:cNvPr>
          <p:cNvSpPr txBox="1">
            <a:spLocks noChangeArrowheads="1"/>
          </p:cNvSpPr>
          <p:nvPr/>
        </p:nvSpPr>
        <p:spPr bwMode="auto">
          <a:xfrm>
            <a:off x="3287375" y="2738428"/>
            <a:ext cx="2099154" cy="846386"/>
          </a:xfrm>
          <a:prstGeom prst="rect">
            <a:avLst/>
          </a:prstGeom>
          <a:noFill/>
          <a:ln w="9525">
            <a:noFill/>
            <a:miter lim="800000"/>
            <a:headEnd/>
            <a:tailEnd/>
          </a:ln>
        </p:spPr>
        <p:txBody>
          <a:bodyPr wrap="square" lIns="45720" tIns="22860" rIns="45720" bIns="22860" anchor="ctr">
            <a:spAutoFit/>
          </a:bodyPr>
          <a:lstStyle/>
          <a:p>
            <a:pPr algn="r" defTabSz="1088232"/>
            <a:r>
              <a:rPr lang="en-US" altLang="zh-CN" sz="1300" b="1" dirty="0">
                <a:solidFill>
                  <a:srgbClr val="43B02A"/>
                </a:solidFill>
                <a:ea typeface="Open Sans" pitchFamily="34" charset="0"/>
                <a:cs typeface="Open Sans" pitchFamily="34" charset="0"/>
              </a:rPr>
              <a:t>Dummy text</a:t>
            </a:r>
          </a:p>
          <a:p>
            <a:pPr algn="r" defTabSz="1088232"/>
            <a:endParaRPr lang="en-US" altLang="zh-CN" sz="1300" dirty="0">
              <a:solidFill>
                <a:srgbClr val="FFFFFF"/>
              </a:solidFill>
              <a:ea typeface="Open Sans" pitchFamily="34" charset="0"/>
              <a:cs typeface="Open Sans" pitchFamily="34" charset="0"/>
            </a:endParaRPr>
          </a:p>
          <a:p>
            <a:pPr algn="r" defTabSz="1088232"/>
            <a:r>
              <a:rPr lang="en-US" altLang="zh-CN" sz="1300" dirty="0">
                <a:solidFill>
                  <a:srgbClr val="FFFFFF"/>
                </a:solidFill>
                <a:ea typeface="Open Sans" pitchFamily="34" charset="0"/>
                <a:cs typeface="Open Sans" pitchFamily="34" charset="0"/>
              </a:rPr>
              <a:t>This is dummy text it is not here to be read. </a:t>
            </a:r>
          </a:p>
        </p:txBody>
      </p:sp>
      <p:sp>
        <p:nvSpPr>
          <p:cNvPr id="32" name="Oval 32">
            <a:extLst>
              <a:ext uri="{FF2B5EF4-FFF2-40B4-BE49-F238E27FC236}">
                <a16:creationId xmlns:a16="http://schemas.microsoft.com/office/drawing/2014/main" id="{E0664E55-4F25-41FD-9E73-EE397F995803}"/>
              </a:ext>
            </a:extLst>
          </p:cNvPr>
          <p:cNvSpPr>
            <a:spLocks noChangeArrowheads="1"/>
          </p:cNvSpPr>
          <p:nvPr/>
        </p:nvSpPr>
        <p:spPr bwMode="auto">
          <a:xfrm>
            <a:off x="6441684" y="1679509"/>
            <a:ext cx="683388" cy="689549"/>
          </a:xfrm>
          <a:prstGeom prst="ellipse">
            <a:avLst/>
          </a:prstGeom>
          <a:solidFill>
            <a:srgbClr val="86BC25"/>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Text Box 10">
            <a:extLst>
              <a:ext uri="{FF2B5EF4-FFF2-40B4-BE49-F238E27FC236}">
                <a16:creationId xmlns:a16="http://schemas.microsoft.com/office/drawing/2014/main" id="{2C35353B-646B-43BD-A8A0-AD1999928738}"/>
              </a:ext>
            </a:extLst>
          </p:cNvPr>
          <p:cNvSpPr txBox="1">
            <a:spLocks noChangeArrowheads="1"/>
          </p:cNvSpPr>
          <p:nvPr/>
        </p:nvSpPr>
        <p:spPr bwMode="auto">
          <a:xfrm>
            <a:off x="4253232" y="1568839"/>
            <a:ext cx="2099154" cy="846386"/>
          </a:xfrm>
          <a:prstGeom prst="rect">
            <a:avLst/>
          </a:prstGeom>
          <a:noFill/>
          <a:ln w="9525">
            <a:noFill/>
            <a:miter lim="800000"/>
            <a:headEnd/>
            <a:tailEnd/>
          </a:ln>
        </p:spPr>
        <p:txBody>
          <a:bodyPr wrap="square" lIns="45720" tIns="22860" rIns="45720" bIns="22860" anchor="ctr">
            <a:spAutoFit/>
          </a:bodyPr>
          <a:lstStyle/>
          <a:p>
            <a:pPr algn="r" defTabSz="1088232"/>
            <a:r>
              <a:rPr lang="en-US" altLang="zh-CN" sz="1300" b="1" dirty="0">
                <a:solidFill>
                  <a:srgbClr val="86BC25"/>
                </a:solidFill>
                <a:ea typeface="Open Sans" pitchFamily="34" charset="0"/>
                <a:cs typeface="Open Sans" pitchFamily="34" charset="0"/>
              </a:rPr>
              <a:t>Dummy text</a:t>
            </a:r>
          </a:p>
          <a:p>
            <a:pPr algn="r" defTabSz="1088232"/>
            <a:endParaRPr lang="en-US" altLang="zh-CN" sz="1300" dirty="0">
              <a:solidFill>
                <a:schemeClr val="bg1">
                  <a:lumMod val="65000"/>
                </a:schemeClr>
              </a:solidFill>
              <a:ea typeface="Open Sans" pitchFamily="34" charset="0"/>
              <a:cs typeface="Open Sans" pitchFamily="34" charset="0"/>
            </a:endParaRPr>
          </a:p>
          <a:p>
            <a:pPr algn="r" defTabSz="1088232"/>
            <a:r>
              <a:rPr lang="en-US" altLang="zh-CN" sz="1300" dirty="0">
                <a:solidFill>
                  <a:srgbClr val="FFFFFF"/>
                </a:solidFill>
                <a:ea typeface="Open Sans" pitchFamily="34" charset="0"/>
                <a:cs typeface="Open Sans" pitchFamily="34" charset="0"/>
              </a:rPr>
              <a:t>This is dummy text it is not here to be read. </a:t>
            </a:r>
          </a:p>
        </p:txBody>
      </p:sp>
      <p:sp>
        <p:nvSpPr>
          <p:cNvPr id="34" name="Oval 34">
            <a:extLst>
              <a:ext uri="{FF2B5EF4-FFF2-40B4-BE49-F238E27FC236}">
                <a16:creationId xmlns:a16="http://schemas.microsoft.com/office/drawing/2014/main" id="{327526F4-1DA8-4621-AA3C-20E949E7F510}"/>
              </a:ext>
            </a:extLst>
          </p:cNvPr>
          <p:cNvSpPr>
            <a:spLocks noChangeArrowheads="1"/>
          </p:cNvSpPr>
          <p:nvPr/>
        </p:nvSpPr>
        <p:spPr bwMode="auto">
          <a:xfrm>
            <a:off x="3622253" y="5243052"/>
            <a:ext cx="683388" cy="689549"/>
          </a:xfrm>
          <a:prstGeom prst="ellipse">
            <a:avLst/>
          </a:prstGeom>
          <a:solidFill>
            <a:srgbClr val="FFFFFF"/>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 name="Text Box 10">
            <a:extLst>
              <a:ext uri="{FF2B5EF4-FFF2-40B4-BE49-F238E27FC236}">
                <a16:creationId xmlns:a16="http://schemas.microsoft.com/office/drawing/2014/main" id="{5F70E933-47DD-4F20-96E5-91B96041146F}"/>
              </a:ext>
            </a:extLst>
          </p:cNvPr>
          <p:cNvSpPr txBox="1">
            <a:spLocks noChangeArrowheads="1"/>
          </p:cNvSpPr>
          <p:nvPr/>
        </p:nvSpPr>
        <p:spPr bwMode="auto">
          <a:xfrm>
            <a:off x="1433802" y="5113275"/>
            <a:ext cx="2099154" cy="846386"/>
          </a:xfrm>
          <a:prstGeom prst="rect">
            <a:avLst/>
          </a:prstGeom>
          <a:noFill/>
          <a:ln w="9525">
            <a:noFill/>
            <a:miter lim="800000"/>
            <a:headEnd/>
            <a:tailEnd/>
          </a:ln>
        </p:spPr>
        <p:txBody>
          <a:bodyPr wrap="square" lIns="45720" tIns="22860" rIns="45720" bIns="22860" anchor="ctr">
            <a:spAutoFit/>
          </a:bodyPr>
          <a:lstStyle/>
          <a:p>
            <a:pPr algn="r" defTabSz="1088232"/>
            <a:r>
              <a:rPr lang="en-US" altLang="zh-CN" sz="1300" b="1" dirty="0">
                <a:solidFill>
                  <a:srgbClr val="046A38"/>
                </a:solidFill>
                <a:ea typeface="Open Sans" pitchFamily="34" charset="0"/>
                <a:cs typeface="Open Sans" pitchFamily="34" charset="0"/>
              </a:rPr>
              <a:t>Dummy text</a:t>
            </a:r>
          </a:p>
          <a:p>
            <a:pPr algn="r" defTabSz="1088232"/>
            <a:endParaRPr lang="en-US" altLang="zh-CN" sz="1300" dirty="0">
              <a:solidFill>
                <a:schemeClr val="bg1">
                  <a:lumMod val="65000"/>
                </a:schemeClr>
              </a:solidFill>
              <a:ea typeface="Open Sans" pitchFamily="34" charset="0"/>
              <a:cs typeface="Open Sans" pitchFamily="34" charset="0"/>
            </a:endParaRPr>
          </a:p>
          <a:p>
            <a:pPr algn="r" defTabSz="1088232"/>
            <a:r>
              <a:rPr lang="en-US" altLang="zh-CN" sz="1300" dirty="0">
                <a:solidFill>
                  <a:srgbClr val="FFFFFF"/>
                </a:solidFill>
                <a:ea typeface="Open Sans" pitchFamily="34" charset="0"/>
                <a:cs typeface="Open Sans" pitchFamily="34" charset="0"/>
              </a:rPr>
              <a:t>This is dummy text it is not here to be read. </a:t>
            </a:r>
          </a:p>
        </p:txBody>
      </p:sp>
      <p:cxnSp>
        <p:nvCxnSpPr>
          <p:cNvPr id="36" name="Straight Connector 39">
            <a:extLst>
              <a:ext uri="{FF2B5EF4-FFF2-40B4-BE49-F238E27FC236}">
                <a16:creationId xmlns:a16="http://schemas.microsoft.com/office/drawing/2014/main" id="{FB73B934-E0B3-4E1F-B031-81A8248597D4}"/>
              </a:ext>
            </a:extLst>
          </p:cNvPr>
          <p:cNvCxnSpPr>
            <a:stCxn id="28" idx="6"/>
          </p:cNvCxnSpPr>
          <p:nvPr/>
        </p:nvCxnSpPr>
        <p:spPr>
          <a:xfrm flipV="1">
            <a:off x="5193357" y="4346912"/>
            <a:ext cx="2071774" cy="3"/>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159215" y="3212978"/>
            <a:ext cx="2131061" cy="571934"/>
            <a:chOff x="6159215" y="3212978"/>
            <a:chExt cx="2131061" cy="571934"/>
          </a:xfrm>
        </p:grpSpPr>
        <p:cxnSp>
          <p:nvCxnSpPr>
            <p:cNvPr id="37" name="Straight Connector 41">
              <a:extLst>
                <a:ext uri="{FF2B5EF4-FFF2-40B4-BE49-F238E27FC236}">
                  <a16:creationId xmlns:a16="http://schemas.microsoft.com/office/drawing/2014/main" id="{70570DCC-CEC0-48BF-A4DB-62D94E948343}"/>
                </a:ext>
              </a:extLst>
            </p:cNvPr>
            <p:cNvCxnSpPr>
              <a:stCxn id="30" idx="6"/>
            </p:cNvCxnSpPr>
            <p:nvPr/>
          </p:nvCxnSpPr>
          <p:spPr>
            <a:xfrm flipV="1">
              <a:off x="6159215" y="3212978"/>
              <a:ext cx="2124886" cy="3"/>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47">
              <a:extLst>
                <a:ext uri="{FF2B5EF4-FFF2-40B4-BE49-F238E27FC236}">
                  <a16:creationId xmlns:a16="http://schemas.microsoft.com/office/drawing/2014/main" id="{AE091DA6-E8E1-490B-8957-B36B47149C3A}"/>
                </a:ext>
              </a:extLst>
            </p:cNvPr>
            <p:cNvCxnSpPr>
              <a:stCxn id="6" idx="3"/>
            </p:cNvCxnSpPr>
            <p:nvPr/>
          </p:nvCxnSpPr>
          <p:spPr>
            <a:xfrm flipH="1" flipV="1">
              <a:off x="8284101" y="3212978"/>
              <a:ext cx="6175" cy="571934"/>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41" name="Text Box 10">
            <a:extLst>
              <a:ext uri="{FF2B5EF4-FFF2-40B4-BE49-F238E27FC236}">
                <a16:creationId xmlns:a16="http://schemas.microsoft.com/office/drawing/2014/main" id="{9343FE75-70DA-4D9A-B47C-E6D5BB19D0C5}"/>
              </a:ext>
            </a:extLst>
          </p:cNvPr>
          <p:cNvSpPr txBox="1">
            <a:spLocks noChangeArrowheads="1"/>
          </p:cNvSpPr>
          <p:nvPr/>
        </p:nvSpPr>
        <p:spPr bwMode="auto">
          <a:xfrm>
            <a:off x="429584" y="1658355"/>
            <a:ext cx="2140474" cy="2446824"/>
          </a:xfrm>
          <a:prstGeom prst="rect">
            <a:avLst/>
          </a:prstGeom>
          <a:noFill/>
          <a:ln w="9525">
            <a:noFill/>
            <a:miter lim="800000"/>
            <a:headEnd/>
            <a:tailEnd/>
          </a:ln>
        </p:spPr>
        <p:txBody>
          <a:bodyPr wrap="square" lIns="45720" tIns="22860" rIns="45720" bIns="22860">
            <a:spAutoFit/>
          </a:bodyPr>
          <a:lstStyle/>
          <a:p>
            <a:pPr defTabSz="1088232"/>
            <a:r>
              <a:rPr lang="en-US" altLang="zh-CN" sz="1300" b="1" i="1" dirty="0">
                <a:solidFill>
                  <a:schemeClr val="bg1"/>
                </a:solidFill>
                <a:ea typeface="Open Sans" pitchFamily="34" charset="0"/>
                <a:cs typeface="Open Sans" pitchFamily="34" charset="0"/>
              </a:rPr>
              <a:t>Dummy text</a:t>
            </a:r>
          </a:p>
          <a:p>
            <a:pPr defTabSz="1088232"/>
            <a:endParaRPr lang="en-US" altLang="zh-CN" sz="1300" b="1" i="1" dirty="0">
              <a:solidFill>
                <a:schemeClr val="bg1"/>
              </a:solidFill>
              <a:ea typeface="Open Sans" pitchFamily="34" charset="0"/>
              <a:cs typeface="Open Sans" pitchFamily="34" charset="0"/>
            </a:endParaRPr>
          </a:p>
          <a:p>
            <a:pPr defTabSz="1088232"/>
            <a:r>
              <a:rPr lang="en-US" altLang="zh-CN" sz="1300" i="1" dirty="0">
                <a:solidFill>
                  <a:srgbClr val="FFFFFF"/>
                </a:solidFill>
                <a:ea typeface="Open Sans" pitchFamily="34" charset="0"/>
                <a:cs typeface="Open Sans" pitchFamily="34" charset="0"/>
              </a:rPr>
              <a:t>This is dummy text it is not here to be read. The is just text to show where you could insert text. This is dummy text it is not here to be read. The is just text to show where you could insert text. The is just to show where you could insert text. Please replace with your text content here.</a:t>
            </a:r>
            <a:endParaRPr lang="en-US" sz="1300" i="1" dirty="0">
              <a:solidFill>
                <a:srgbClr val="FFFFFF"/>
              </a:solidFill>
              <a:ea typeface="Open Sans" pitchFamily="34" charset="0"/>
              <a:cs typeface="Open Sans" pitchFamily="34" charset="0"/>
            </a:endParaRPr>
          </a:p>
        </p:txBody>
      </p:sp>
    </p:spTree>
    <p:custDataLst>
      <p:tags r:id="rId1"/>
    </p:custDataLst>
    <p:extLst>
      <p:ext uri="{BB962C8B-B14F-4D97-AF65-F5344CB8AC3E}">
        <p14:creationId xmlns:p14="http://schemas.microsoft.com/office/powerpoint/2010/main" val="1487467858"/>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57203" y="1714500"/>
            <a:ext cx="11233145" cy="333317"/>
            <a:chOff x="560389" y="2101850"/>
            <a:chExt cx="11129959" cy="333317"/>
          </a:xfrm>
        </p:grpSpPr>
        <p:sp>
          <p:nvSpPr>
            <p:cNvPr id="41" name="Freeform 40">
              <a:extLst>
                <a:ext uri="{FF2B5EF4-FFF2-40B4-BE49-F238E27FC236}">
                  <a16:creationId xmlns:a16="http://schemas.microsoft.com/office/drawing/2014/main" id="{9572F45A-DBE1-D74B-A257-1ED898722F0D}"/>
                </a:ext>
              </a:extLst>
            </p:cNvPr>
            <p:cNvSpPr>
              <a:spLocks/>
            </p:cNvSpPr>
            <p:nvPr/>
          </p:nvSpPr>
          <p:spPr bwMode="auto">
            <a:xfrm>
              <a:off x="2528581" y="2101851"/>
              <a:ext cx="9161767" cy="223216"/>
            </a:xfrm>
            <a:custGeom>
              <a:avLst/>
              <a:gdLst>
                <a:gd name="T0" fmla="*/ 6689 w 6826"/>
                <a:gd name="T1" fmla="*/ 0 h 272"/>
                <a:gd name="T2" fmla="*/ 6689 w 6826"/>
                <a:gd name="T3" fmla="*/ 0 h 272"/>
                <a:gd name="T4" fmla="*/ 0 w 6826"/>
                <a:gd name="T5" fmla="*/ 0 h 272"/>
                <a:gd name="T6" fmla="*/ 0 w 6826"/>
                <a:gd name="T7" fmla="*/ 272 h 272"/>
                <a:gd name="T8" fmla="*/ 6689 w 6826"/>
                <a:gd name="T9" fmla="*/ 272 h 272"/>
                <a:gd name="T10" fmla="*/ 6826 w 6826"/>
                <a:gd name="T11" fmla="*/ 136 h 272"/>
                <a:gd name="T12" fmla="*/ 6689 w 6826"/>
                <a:gd name="T13" fmla="*/ 0 h 272"/>
              </a:gdLst>
              <a:ahLst/>
              <a:cxnLst>
                <a:cxn ang="0">
                  <a:pos x="T0" y="T1"/>
                </a:cxn>
                <a:cxn ang="0">
                  <a:pos x="T2" y="T3"/>
                </a:cxn>
                <a:cxn ang="0">
                  <a:pos x="T4" y="T5"/>
                </a:cxn>
                <a:cxn ang="0">
                  <a:pos x="T6" y="T7"/>
                </a:cxn>
                <a:cxn ang="0">
                  <a:pos x="T8" y="T9"/>
                </a:cxn>
                <a:cxn ang="0">
                  <a:pos x="T10" y="T11"/>
                </a:cxn>
                <a:cxn ang="0">
                  <a:pos x="T12" y="T13"/>
                </a:cxn>
              </a:cxnLst>
              <a:rect l="0" t="0" r="r" b="b"/>
              <a:pathLst>
                <a:path w="6826" h="272">
                  <a:moveTo>
                    <a:pt x="6689" y="0"/>
                  </a:moveTo>
                  <a:lnTo>
                    <a:pt x="6689" y="0"/>
                  </a:lnTo>
                  <a:lnTo>
                    <a:pt x="0" y="0"/>
                  </a:lnTo>
                  <a:lnTo>
                    <a:pt x="0" y="272"/>
                  </a:lnTo>
                  <a:lnTo>
                    <a:pt x="6689" y="272"/>
                  </a:lnTo>
                  <a:lnTo>
                    <a:pt x="6826" y="136"/>
                  </a:lnTo>
                  <a:lnTo>
                    <a:pt x="6689" y="0"/>
                  </a:lnTo>
                  <a:close/>
                </a:path>
              </a:pathLst>
            </a:custGeom>
            <a:solidFill>
              <a:srgbClr val="000000"/>
            </a:solidFill>
            <a:ln w="0">
              <a:noFill/>
              <a:prstDash val="solid"/>
              <a:round/>
              <a:headEnd/>
              <a:tailEnd/>
            </a:ln>
          </p:spPr>
          <p:txBody>
            <a:bodyPr vert="horz" wrap="square" lIns="91370" tIns="45685" rIns="91370" bIns="45685" numCol="1" anchor="t" anchorCtr="0" compatLnSpc="1">
              <a:prstTxWarp prst="textNoShape">
                <a:avLst/>
              </a:prstTxWarp>
            </a:bodyPr>
            <a:lstStyle/>
            <a:p>
              <a:endParaRPr lang="en-US" sz="1300" dirty="0">
                <a:solidFill>
                  <a:prstClr val="black"/>
                </a:solidFill>
              </a:endParaRPr>
            </a:p>
          </p:txBody>
        </p:sp>
        <p:sp>
          <p:nvSpPr>
            <p:cNvPr id="43" name="Freeform 42">
              <a:extLst>
                <a:ext uri="{FF2B5EF4-FFF2-40B4-BE49-F238E27FC236}">
                  <a16:creationId xmlns:a16="http://schemas.microsoft.com/office/drawing/2014/main" id="{14948E87-5939-FC4F-91C5-CFFAC32909BF}"/>
                </a:ext>
              </a:extLst>
            </p:cNvPr>
            <p:cNvSpPr>
              <a:spLocks/>
            </p:cNvSpPr>
            <p:nvPr/>
          </p:nvSpPr>
          <p:spPr bwMode="auto">
            <a:xfrm>
              <a:off x="2324606" y="2101850"/>
              <a:ext cx="203981" cy="333317"/>
            </a:xfrm>
            <a:custGeom>
              <a:avLst/>
              <a:gdLst>
                <a:gd name="T0" fmla="*/ 172 w 172"/>
                <a:gd name="T1" fmla="*/ 0 h 407"/>
                <a:gd name="T2" fmla="*/ 172 w 172"/>
                <a:gd name="T3" fmla="*/ 0 h 407"/>
                <a:gd name="T4" fmla="*/ 0 w 172"/>
                <a:gd name="T5" fmla="*/ 136 h 407"/>
                <a:gd name="T6" fmla="*/ 0 w 172"/>
                <a:gd name="T7" fmla="*/ 407 h 407"/>
                <a:gd name="T8" fmla="*/ 172 w 172"/>
                <a:gd name="T9" fmla="*/ 270 h 407"/>
                <a:gd name="T10" fmla="*/ 172 w 172"/>
                <a:gd name="T11" fmla="*/ 0 h 407"/>
              </a:gdLst>
              <a:ahLst/>
              <a:cxnLst>
                <a:cxn ang="0">
                  <a:pos x="T0" y="T1"/>
                </a:cxn>
                <a:cxn ang="0">
                  <a:pos x="T2" y="T3"/>
                </a:cxn>
                <a:cxn ang="0">
                  <a:pos x="T4" y="T5"/>
                </a:cxn>
                <a:cxn ang="0">
                  <a:pos x="T6" y="T7"/>
                </a:cxn>
                <a:cxn ang="0">
                  <a:pos x="T8" y="T9"/>
                </a:cxn>
                <a:cxn ang="0">
                  <a:pos x="T10" y="T11"/>
                </a:cxn>
              </a:cxnLst>
              <a:rect l="0" t="0" r="r" b="b"/>
              <a:pathLst>
                <a:path w="172" h="407">
                  <a:moveTo>
                    <a:pt x="172" y="0"/>
                  </a:moveTo>
                  <a:lnTo>
                    <a:pt x="172" y="0"/>
                  </a:lnTo>
                  <a:lnTo>
                    <a:pt x="0" y="136"/>
                  </a:lnTo>
                  <a:lnTo>
                    <a:pt x="0" y="407"/>
                  </a:lnTo>
                  <a:lnTo>
                    <a:pt x="172" y="270"/>
                  </a:lnTo>
                  <a:lnTo>
                    <a:pt x="172" y="0"/>
                  </a:lnTo>
                  <a:close/>
                </a:path>
              </a:pathLst>
            </a:custGeom>
            <a:solidFill>
              <a:srgbClr val="53565A"/>
            </a:solidFill>
            <a:ln w="0">
              <a:noFill/>
              <a:prstDash val="solid"/>
              <a:round/>
              <a:headEnd/>
              <a:tailEnd/>
            </a:ln>
          </p:spPr>
          <p:txBody>
            <a:bodyPr vert="horz" wrap="square" lIns="91370" tIns="45685" rIns="91370" bIns="45685" numCol="1" anchor="t" anchorCtr="0" compatLnSpc="1">
              <a:prstTxWarp prst="textNoShape">
                <a:avLst/>
              </a:prstTxWarp>
            </a:bodyPr>
            <a:lstStyle/>
            <a:p>
              <a:endParaRPr lang="en-US" sz="1300" dirty="0">
                <a:solidFill>
                  <a:prstClr val="black"/>
                </a:solidFill>
              </a:endParaRPr>
            </a:p>
          </p:txBody>
        </p:sp>
        <p:sp>
          <p:nvSpPr>
            <p:cNvPr id="45" name="Freeform 44">
              <a:extLst>
                <a:ext uri="{FF2B5EF4-FFF2-40B4-BE49-F238E27FC236}">
                  <a16:creationId xmlns:a16="http://schemas.microsoft.com/office/drawing/2014/main" id="{0562774E-7697-F946-92FA-EE9058EA4466}"/>
                </a:ext>
              </a:extLst>
            </p:cNvPr>
            <p:cNvSpPr>
              <a:spLocks/>
            </p:cNvSpPr>
            <p:nvPr/>
          </p:nvSpPr>
          <p:spPr bwMode="auto">
            <a:xfrm>
              <a:off x="560389" y="2211950"/>
              <a:ext cx="1766385" cy="223216"/>
            </a:xfrm>
            <a:custGeom>
              <a:avLst/>
              <a:gdLst>
                <a:gd name="T0" fmla="*/ 0 w 1500"/>
                <a:gd name="T1" fmla="*/ 273 h 273"/>
                <a:gd name="T2" fmla="*/ 0 w 1500"/>
                <a:gd name="T3" fmla="*/ 273 h 273"/>
                <a:gd name="T4" fmla="*/ 1500 w 1500"/>
                <a:gd name="T5" fmla="*/ 273 h 273"/>
                <a:gd name="T6" fmla="*/ 1500 w 1500"/>
                <a:gd name="T7" fmla="*/ 0 h 273"/>
                <a:gd name="T8" fmla="*/ 0 w 1500"/>
                <a:gd name="T9" fmla="*/ 0 h 273"/>
                <a:gd name="T10" fmla="*/ 0 w 1500"/>
                <a:gd name="T11" fmla="*/ 273 h 273"/>
              </a:gdLst>
              <a:ahLst/>
              <a:cxnLst>
                <a:cxn ang="0">
                  <a:pos x="T0" y="T1"/>
                </a:cxn>
                <a:cxn ang="0">
                  <a:pos x="T2" y="T3"/>
                </a:cxn>
                <a:cxn ang="0">
                  <a:pos x="T4" y="T5"/>
                </a:cxn>
                <a:cxn ang="0">
                  <a:pos x="T6" y="T7"/>
                </a:cxn>
                <a:cxn ang="0">
                  <a:pos x="T8" y="T9"/>
                </a:cxn>
                <a:cxn ang="0">
                  <a:pos x="T10" y="T11"/>
                </a:cxn>
              </a:cxnLst>
              <a:rect l="0" t="0" r="r" b="b"/>
              <a:pathLst>
                <a:path w="1500" h="273">
                  <a:moveTo>
                    <a:pt x="0" y="273"/>
                  </a:moveTo>
                  <a:lnTo>
                    <a:pt x="0" y="273"/>
                  </a:lnTo>
                  <a:lnTo>
                    <a:pt x="1500" y="273"/>
                  </a:lnTo>
                  <a:lnTo>
                    <a:pt x="1500" y="0"/>
                  </a:lnTo>
                  <a:lnTo>
                    <a:pt x="0" y="0"/>
                  </a:lnTo>
                  <a:lnTo>
                    <a:pt x="0" y="273"/>
                  </a:lnTo>
                  <a:close/>
                </a:path>
              </a:pathLst>
            </a:custGeom>
            <a:solidFill>
              <a:srgbClr val="000000"/>
            </a:solidFill>
            <a:ln w="0">
              <a:noFill/>
              <a:prstDash val="solid"/>
              <a:round/>
              <a:headEnd/>
              <a:tailEnd/>
            </a:ln>
          </p:spPr>
          <p:txBody>
            <a:bodyPr vert="horz" wrap="square" lIns="91370" tIns="45685" rIns="91370" bIns="45685" numCol="1" anchor="t" anchorCtr="0" compatLnSpc="1">
              <a:prstTxWarp prst="textNoShape">
                <a:avLst/>
              </a:prstTxWarp>
            </a:bodyPr>
            <a:lstStyle/>
            <a:p>
              <a:endParaRPr lang="en-US" sz="1300" dirty="0">
                <a:solidFill>
                  <a:prstClr val="black"/>
                </a:solidFill>
              </a:endParaRPr>
            </a:p>
          </p:txBody>
        </p:sp>
      </p:grpSp>
      <p:grpSp>
        <p:nvGrpSpPr>
          <p:cNvPr id="5" name="Group 4"/>
          <p:cNvGrpSpPr/>
          <p:nvPr/>
        </p:nvGrpSpPr>
        <p:grpSpPr>
          <a:xfrm>
            <a:off x="457200" y="2942763"/>
            <a:ext cx="11233149" cy="775995"/>
            <a:chOff x="560386" y="3300593"/>
            <a:chExt cx="11129963" cy="775995"/>
          </a:xfrm>
        </p:grpSpPr>
        <p:sp>
          <p:nvSpPr>
            <p:cNvPr id="46" name="Freeform 45">
              <a:extLst>
                <a:ext uri="{FF2B5EF4-FFF2-40B4-BE49-F238E27FC236}">
                  <a16:creationId xmlns:a16="http://schemas.microsoft.com/office/drawing/2014/main" id="{8FB8B8DC-8842-1B41-9EA6-2FA97B1F88D1}"/>
                </a:ext>
              </a:extLst>
            </p:cNvPr>
            <p:cNvSpPr>
              <a:spLocks/>
            </p:cNvSpPr>
            <p:nvPr/>
          </p:nvSpPr>
          <p:spPr bwMode="auto">
            <a:xfrm>
              <a:off x="2528582" y="3300594"/>
              <a:ext cx="9161767" cy="671588"/>
            </a:xfrm>
            <a:custGeom>
              <a:avLst/>
              <a:gdLst>
                <a:gd name="T0" fmla="*/ 0 w 6988"/>
                <a:gd name="T1" fmla="*/ 0 h 878"/>
                <a:gd name="T2" fmla="*/ 0 w 6988"/>
                <a:gd name="T3" fmla="*/ 0 h 878"/>
                <a:gd name="T4" fmla="*/ 0 w 6988"/>
                <a:gd name="T5" fmla="*/ 878 h 878"/>
                <a:gd name="T6" fmla="*/ 6688 w 6988"/>
                <a:gd name="T7" fmla="*/ 878 h 878"/>
                <a:gd name="T8" fmla="*/ 6988 w 6988"/>
                <a:gd name="T9" fmla="*/ 440 h 878"/>
                <a:gd name="T10" fmla="*/ 6688 w 6988"/>
                <a:gd name="T11" fmla="*/ 0 h 878"/>
                <a:gd name="T12" fmla="*/ 0 w 6988"/>
                <a:gd name="T13" fmla="*/ 0 h 878"/>
              </a:gdLst>
              <a:ahLst/>
              <a:cxnLst>
                <a:cxn ang="0">
                  <a:pos x="T0" y="T1"/>
                </a:cxn>
                <a:cxn ang="0">
                  <a:pos x="T2" y="T3"/>
                </a:cxn>
                <a:cxn ang="0">
                  <a:pos x="T4" y="T5"/>
                </a:cxn>
                <a:cxn ang="0">
                  <a:pos x="T6" y="T7"/>
                </a:cxn>
                <a:cxn ang="0">
                  <a:pos x="T8" y="T9"/>
                </a:cxn>
                <a:cxn ang="0">
                  <a:pos x="T10" y="T11"/>
                </a:cxn>
                <a:cxn ang="0">
                  <a:pos x="T12" y="T13"/>
                </a:cxn>
              </a:cxnLst>
              <a:rect l="0" t="0" r="r" b="b"/>
              <a:pathLst>
                <a:path w="6988" h="878">
                  <a:moveTo>
                    <a:pt x="0" y="0"/>
                  </a:moveTo>
                  <a:lnTo>
                    <a:pt x="0" y="0"/>
                  </a:lnTo>
                  <a:lnTo>
                    <a:pt x="0" y="878"/>
                  </a:lnTo>
                  <a:lnTo>
                    <a:pt x="6688" y="878"/>
                  </a:lnTo>
                  <a:lnTo>
                    <a:pt x="6988" y="440"/>
                  </a:lnTo>
                  <a:lnTo>
                    <a:pt x="6688" y="0"/>
                  </a:lnTo>
                  <a:lnTo>
                    <a:pt x="0" y="0"/>
                  </a:lnTo>
                  <a:close/>
                </a:path>
              </a:pathLst>
            </a:custGeom>
            <a:solidFill>
              <a:srgbClr val="43B02A"/>
            </a:solidFill>
            <a:ln w="0">
              <a:noFill/>
              <a:prstDash val="solid"/>
              <a:round/>
              <a:headEnd/>
              <a:tailEnd/>
            </a:ln>
          </p:spPr>
          <p:txBody>
            <a:bodyPr vert="horz" wrap="square" lIns="91440" tIns="45720" rIns="360000" bIns="45720" numCol="1" anchor="ctr" anchorCtr="0" compatLnSpc="1">
              <a:prstTxWarp prst="textNoShape">
                <a:avLst/>
              </a:prstTxWarp>
            </a:bodyPr>
            <a:lstStyle/>
            <a:p>
              <a:r>
                <a:rPr lang="en-US" sz="1300" dirty="0">
                  <a:solidFill>
                    <a:srgbClr val="FFFFFF"/>
                  </a:solidFill>
                </a:rPr>
                <a:t>This is dummy text. Please replace with text, modify the text content, also can copy your content to this directly. This is dummy text. Please replace with text, modify the text. </a:t>
              </a:r>
            </a:p>
          </p:txBody>
        </p:sp>
        <p:sp>
          <p:nvSpPr>
            <p:cNvPr id="48" name="Freeform 47">
              <a:extLst>
                <a:ext uri="{FF2B5EF4-FFF2-40B4-BE49-F238E27FC236}">
                  <a16:creationId xmlns:a16="http://schemas.microsoft.com/office/drawing/2014/main" id="{70A86213-6934-0445-ACC0-6EABD483304B}"/>
                </a:ext>
              </a:extLst>
            </p:cNvPr>
            <p:cNvSpPr>
              <a:spLocks/>
            </p:cNvSpPr>
            <p:nvPr/>
          </p:nvSpPr>
          <p:spPr bwMode="auto">
            <a:xfrm>
              <a:off x="2326772" y="3300593"/>
              <a:ext cx="201811" cy="775995"/>
            </a:xfrm>
            <a:custGeom>
              <a:avLst/>
              <a:gdLst>
                <a:gd name="T0" fmla="*/ 0 w 172"/>
                <a:gd name="T1" fmla="*/ 137 h 1014"/>
                <a:gd name="T2" fmla="*/ 0 w 172"/>
                <a:gd name="T3" fmla="*/ 137 h 1014"/>
                <a:gd name="T4" fmla="*/ 0 w 172"/>
                <a:gd name="T5" fmla="*/ 1014 h 1014"/>
                <a:gd name="T6" fmla="*/ 172 w 172"/>
                <a:gd name="T7" fmla="*/ 876 h 1014"/>
                <a:gd name="T8" fmla="*/ 172 w 172"/>
                <a:gd name="T9" fmla="*/ 0 h 1014"/>
                <a:gd name="T10" fmla="*/ 0 w 172"/>
                <a:gd name="T11" fmla="*/ 137 h 1014"/>
              </a:gdLst>
              <a:ahLst/>
              <a:cxnLst>
                <a:cxn ang="0">
                  <a:pos x="T0" y="T1"/>
                </a:cxn>
                <a:cxn ang="0">
                  <a:pos x="T2" y="T3"/>
                </a:cxn>
                <a:cxn ang="0">
                  <a:pos x="T4" y="T5"/>
                </a:cxn>
                <a:cxn ang="0">
                  <a:pos x="T6" y="T7"/>
                </a:cxn>
                <a:cxn ang="0">
                  <a:pos x="T8" y="T9"/>
                </a:cxn>
                <a:cxn ang="0">
                  <a:pos x="T10" y="T11"/>
                </a:cxn>
              </a:cxnLst>
              <a:rect l="0" t="0" r="r" b="b"/>
              <a:pathLst>
                <a:path w="172" h="1014">
                  <a:moveTo>
                    <a:pt x="0" y="137"/>
                  </a:moveTo>
                  <a:lnTo>
                    <a:pt x="0" y="137"/>
                  </a:lnTo>
                  <a:lnTo>
                    <a:pt x="0" y="1014"/>
                  </a:lnTo>
                  <a:lnTo>
                    <a:pt x="172" y="876"/>
                  </a:lnTo>
                  <a:lnTo>
                    <a:pt x="172" y="0"/>
                  </a:lnTo>
                  <a:lnTo>
                    <a:pt x="0" y="137"/>
                  </a:lnTo>
                  <a:close/>
                </a:path>
              </a:pathLst>
            </a:custGeom>
            <a:solidFill>
              <a:srgbClr val="86BC25"/>
            </a:solidFill>
            <a:ln w="0">
              <a:noFill/>
              <a:prstDash val="solid"/>
              <a:round/>
              <a:headEnd/>
              <a:tailEnd/>
            </a:ln>
          </p:spPr>
          <p:txBody>
            <a:bodyPr vert="horz" wrap="square" lIns="91440" tIns="45720" rIns="91440" bIns="45720" numCol="1" anchor="ctr" anchorCtr="0" compatLnSpc="1">
              <a:prstTxWarp prst="textNoShape">
                <a:avLst/>
              </a:prstTxWarp>
            </a:bodyPr>
            <a:lstStyle/>
            <a:p>
              <a:endParaRPr lang="en-US" sz="1300" dirty="0">
                <a:solidFill>
                  <a:srgbClr val="FFFFFF"/>
                </a:solidFill>
              </a:endParaRPr>
            </a:p>
          </p:txBody>
        </p:sp>
        <p:sp>
          <p:nvSpPr>
            <p:cNvPr id="50" name="Freeform 49">
              <a:extLst>
                <a:ext uri="{FF2B5EF4-FFF2-40B4-BE49-F238E27FC236}">
                  <a16:creationId xmlns:a16="http://schemas.microsoft.com/office/drawing/2014/main" id="{BD20C743-E4F5-5C4D-98F0-C04C685E556A}"/>
                </a:ext>
              </a:extLst>
            </p:cNvPr>
            <p:cNvSpPr>
              <a:spLocks/>
            </p:cNvSpPr>
            <p:nvPr/>
          </p:nvSpPr>
          <p:spPr bwMode="auto">
            <a:xfrm>
              <a:off x="560386" y="3405000"/>
              <a:ext cx="1766385" cy="671588"/>
            </a:xfrm>
            <a:custGeom>
              <a:avLst/>
              <a:gdLst>
                <a:gd name="T0" fmla="*/ 0 w 1500"/>
                <a:gd name="T1" fmla="*/ 878 h 878"/>
                <a:gd name="T2" fmla="*/ 0 w 1500"/>
                <a:gd name="T3" fmla="*/ 878 h 878"/>
                <a:gd name="T4" fmla="*/ 1500 w 1500"/>
                <a:gd name="T5" fmla="*/ 878 h 878"/>
                <a:gd name="T6" fmla="*/ 1500 w 1500"/>
                <a:gd name="T7" fmla="*/ 0 h 878"/>
                <a:gd name="T8" fmla="*/ 0 w 1500"/>
                <a:gd name="T9" fmla="*/ 0 h 878"/>
                <a:gd name="T10" fmla="*/ 0 w 1500"/>
                <a:gd name="T11" fmla="*/ 878 h 878"/>
              </a:gdLst>
              <a:ahLst/>
              <a:cxnLst>
                <a:cxn ang="0">
                  <a:pos x="T0" y="T1"/>
                </a:cxn>
                <a:cxn ang="0">
                  <a:pos x="T2" y="T3"/>
                </a:cxn>
                <a:cxn ang="0">
                  <a:pos x="T4" y="T5"/>
                </a:cxn>
                <a:cxn ang="0">
                  <a:pos x="T6" y="T7"/>
                </a:cxn>
                <a:cxn ang="0">
                  <a:pos x="T8" y="T9"/>
                </a:cxn>
                <a:cxn ang="0">
                  <a:pos x="T10" y="T11"/>
                </a:cxn>
              </a:cxnLst>
              <a:rect l="0" t="0" r="r" b="b"/>
              <a:pathLst>
                <a:path w="1500" h="878">
                  <a:moveTo>
                    <a:pt x="0" y="878"/>
                  </a:moveTo>
                  <a:lnTo>
                    <a:pt x="0" y="878"/>
                  </a:lnTo>
                  <a:lnTo>
                    <a:pt x="1500" y="878"/>
                  </a:lnTo>
                  <a:lnTo>
                    <a:pt x="1500" y="0"/>
                  </a:lnTo>
                  <a:lnTo>
                    <a:pt x="0" y="0"/>
                  </a:lnTo>
                  <a:lnTo>
                    <a:pt x="0" y="878"/>
                  </a:lnTo>
                  <a:close/>
                </a:path>
              </a:pathLst>
            </a:custGeom>
            <a:solidFill>
              <a:srgbClr val="43B02A"/>
            </a:solidFill>
            <a:ln w="0">
              <a:noFill/>
              <a:prstDash val="solid"/>
              <a:round/>
              <a:headEnd/>
              <a:tailEnd/>
            </a:ln>
          </p:spPr>
          <p:txBody>
            <a:bodyPr vert="horz" wrap="square" lIns="91440" tIns="45720" rIns="91440" bIns="45720" numCol="1" anchor="ctr" anchorCtr="0" compatLnSpc="1">
              <a:prstTxWarp prst="textNoShape">
                <a:avLst/>
              </a:prstTxWarp>
            </a:bodyPr>
            <a:lstStyle/>
            <a:p>
              <a:r>
                <a:rPr lang="da-DK" sz="1300" dirty="0">
                  <a:solidFill>
                    <a:srgbClr val="FFFFFF"/>
                  </a:solidFill>
                </a:rPr>
                <a:t>Lorem ipsum dolor sit amet</a:t>
              </a:r>
              <a:endParaRPr lang="en-US" sz="1300" dirty="0">
                <a:solidFill>
                  <a:srgbClr val="FFFFFF"/>
                </a:solidFill>
              </a:endParaRPr>
            </a:p>
          </p:txBody>
        </p:sp>
      </p:grpSp>
      <p:grpSp>
        <p:nvGrpSpPr>
          <p:cNvPr id="6" name="Group 5"/>
          <p:cNvGrpSpPr/>
          <p:nvPr/>
        </p:nvGrpSpPr>
        <p:grpSpPr>
          <a:xfrm>
            <a:off x="457200" y="2127750"/>
            <a:ext cx="11233149" cy="735080"/>
            <a:chOff x="560386" y="2487734"/>
            <a:chExt cx="11129963" cy="735080"/>
          </a:xfrm>
        </p:grpSpPr>
        <p:sp>
          <p:nvSpPr>
            <p:cNvPr id="51" name="Freeform 50">
              <a:extLst>
                <a:ext uri="{FF2B5EF4-FFF2-40B4-BE49-F238E27FC236}">
                  <a16:creationId xmlns:a16="http://schemas.microsoft.com/office/drawing/2014/main" id="{2F5BAAD3-7813-CE4B-9100-C65BE9C98C75}"/>
                </a:ext>
              </a:extLst>
            </p:cNvPr>
            <p:cNvSpPr>
              <a:spLocks/>
            </p:cNvSpPr>
            <p:nvPr/>
          </p:nvSpPr>
          <p:spPr bwMode="auto">
            <a:xfrm>
              <a:off x="2528582" y="2487734"/>
              <a:ext cx="9161767" cy="630672"/>
            </a:xfrm>
            <a:custGeom>
              <a:avLst/>
              <a:gdLst>
                <a:gd name="T0" fmla="*/ 0 w 6988"/>
                <a:gd name="T1" fmla="*/ 0 h 822"/>
                <a:gd name="T2" fmla="*/ 0 w 6988"/>
                <a:gd name="T3" fmla="*/ 0 h 822"/>
                <a:gd name="T4" fmla="*/ 0 w 6988"/>
                <a:gd name="T5" fmla="*/ 822 h 822"/>
                <a:gd name="T6" fmla="*/ 6688 w 6988"/>
                <a:gd name="T7" fmla="*/ 822 h 822"/>
                <a:gd name="T8" fmla="*/ 6988 w 6988"/>
                <a:gd name="T9" fmla="*/ 415 h 822"/>
                <a:gd name="T10" fmla="*/ 6685 w 6988"/>
                <a:gd name="T11" fmla="*/ 0 h 822"/>
                <a:gd name="T12" fmla="*/ 0 w 6988"/>
                <a:gd name="T13" fmla="*/ 0 h 822"/>
              </a:gdLst>
              <a:ahLst/>
              <a:cxnLst>
                <a:cxn ang="0">
                  <a:pos x="T0" y="T1"/>
                </a:cxn>
                <a:cxn ang="0">
                  <a:pos x="T2" y="T3"/>
                </a:cxn>
                <a:cxn ang="0">
                  <a:pos x="T4" y="T5"/>
                </a:cxn>
                <a:cxn ang="0">
                  <a:pos x="T6" y="T7"/>
                </a:cxn>
                <a:cxn ang="0">
                  <a:pos x="T8" y="T9"/>
                </a:cxn>
                <a:cxn ang="0">
                  <a:pos x="T10" y="T11"/>
                </a:cxn>
                <a:cxn ang="0">
                  <a:pos x="T12" y="T13"/>
                </a:cxn>
              </a:cxnLst>
              <a:rect l="0" t="0" r="r" b="b"/>
              <a:pathLst>
                <a:path w="6988" h="822">
                  <a:moveTo>
                    <a:pt x="0" y="0"/>
                  </a:moveTo>
                  <a:lnTo>
                    <a:pt x="0" y="0"/>
                  </a:lnTo>
                  <a:lnTo>
                    <a:pt x="0" y="822"/>
                  </a:lnTo>
                  <a:lnTo>
                    <a:pt x="6688" y="822"/>
                  </a:lnTo>
                  <a:lnTo>
                    <a:pt x="6988" y="415"/>
                  </a:lnTo>
                  <a:lnTo>
                    <a:pt x="6685" y="0"/>
                  </a:lnTo>
                  <a:lnTo>
                    <a:pt x="0" y="0"/>
                  </a:lnTo>
                  <a:close/>
                </a:path>
              </a:pathLst>
            </a:custGeom>
            <a:solidFill>
              <a:srgbClr val="D0D0CE"/>
            </a:solidFill>
            <a:ln w="0">
              <a:noFill/>
              <a:prstDash val="solid"/>
              <a:round/>
              <a:headEnd/>
              <a:tailEnd/>
            </a:ln>
          </p:spPr>
          <p:txBody>
            <a:bodyPr vert="horz" wrap="square" lIns="91440" tIns="45720" rIns="360000" bIns="45720" numCol="1" anchor="ctr" anchorCtr="0" compatLnSpc="1">
              <a:prstTxWarp prst="textNoShape">
                <a:avLst/>
              </a:prstTxWarp>
            </a:bodyPr>
            <a:lstStyle/>
            <a:p>
              <a:r>
                <a:rPr lang="en-US" sz="1300" dirty="0">
                  <a:solidFill>
                    <a:srgbClr val="000000"/>
                  </a:solidFill>
                </a:rPr>
                <a:t>This is dummy text. Please replace with text, modify the text content, also can copy your content to this directly. This is dummy text. Please replace with text, modify the text. </a:t>
              </a:r>
              <a:endParaRPr lang="en-US" sz="1300" dirty="0"/>
            </a:p>
          </p:txBody>
        </p:sp>
        <p:sp>
          <p:nvSpPr>
            <p:cNvPr id="53" name="Freeform 52">
              <a:extLst>
                <a:ext uri="{FF2B5EF4-FFF2-40B4-BE49-F238E27FC236}">
                  <a16:creationId xmlns:a16="http://schemas.microsoft.com/office/drawing/2014/main" id="{79DD743B-C220-034A-B095-A98272F4CA55}"/>
                </a:ext>
              </a:extLst>
            </p:cNvPr>
            <p:cNvSpPr>
              <a:spLocks/>
            </p:cNvSpPr>
            <p:nvPr/>
          </p:nvSpPr>
          <p:spPr bwMode="auto">
            <a:xfrm>
              <a:off x="2326772" y="2487734"/>
              <a:ext cx="201811" cy="735079"/>
            </a:xfrm>
            <a:custGeom>
              <a:avLst/>
              <a:gdLst>
                <a:gd name="T0" fmla="*/ 0 w 172"/>
                <a:gd name="T1" fmla="*/ 138 h 959"/>
                <a:gd name="T2" fmla="*/ 0 w 172"/>
                <a:gd name="T3" fmla="*/ 138 h 959"/>
                <a:gd name="T4" fmla="*/ 0 w 172"/>
                <a:gd name="T5" fmla="*/ 959 h 959"/>
                <a:gd name="T6" fmla="*/ 172 w 172"/>
                <a:gd name="T7" fmla="*/ 822 h 959"/>
                <a:gd name="T8" fmla="*/ 172 w 172"/>
                <a:gd name="T9" fmla="*/ 0 h 959"/>
                <a:gd name="T10" fmla="*/ 0 w 172"/>
                <a:gd name="T11" fmla="*/ 138 h 959"/>
              </a:gdLst>
              <a:ahLst/>
              <a:cxnLst>
                <a:cxn ang="0">
                  <a:pos x="T0" y="T1"/>
                </a:cxn>
                <a:cxn ang="0">
                  <a:pos x="T2" y="T3"/>
                </a:cxn>
                <a:cxn ang="0">
                  <a:pos x="T4" y="T5"/>
                </a:cxn>
                <a:cxn ang="0">
                  <a:pos x="T6" y="T7"/>
                </a:cxn>
                <a:cxn ang="0">
                  <a:pos x="T8" y="T9"/>
                </a:cxn>
                <a:cxn ang="0">
                  <a:pos x="T10" y="T11"/>
                </a:cxn>
              </a:cxnLst>
              <a:rect l="0" t="0" r="r" b="b"/>
              <a:pathLst>
                <a:path w="172" h="959">
                  <a:moveTo>
                    <a:pt x="0" y="138"/>
                  </a:moveTo>
                  <a:lnTo>
                    <a:pt x="0" y="138"/>
                  </a:lnTo>
                  <a:lnTo>
                    <a:pt x="0" y="959"/>
                  </a:lnTo>
                  <a:lnTo>
                    <a:pt x="172" y="822"/>
                  </a:lnTo>
                  <a:lnTo>
                    <a:pt x="172" y="0"/>
                  </a:lnTo>
                  <a:lnTo>
                    <a:pt x="0" y="138"/>
                  </a:lnTo>
                  <a:close/>
                </a:path>
              </a:pathLst>
            </a:custGeom>
            <a:solidFill>
              <a:schemeClr val="bg1">
                <a:lumMod val="9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endParaRPr lang="en-US" sz="1300" dirty="0">
                <a:solidFill>
                  <a:prstClr val="black"/>
                </a:solidFill>
              </a:endParaRPr>
            </a:p>
          </p:txBody>
        </p:sp>
        <p:sp>
          <p:nvSpPr>
            <p:cNvPr id="55" name="Freeform 54">
              <a:extLst>
                <a:ext uri="{FF2B5EF4-FFF2-40B4-BE49-F238E27FC236}">
                  <a16:creationId xmlns:a16="http://schemas.microsoft.com/office/drawing/2014/main" id="{A964315D-74F2-8148-820E-AB5137D579D4}"/>
                </a:ext>
              </a:extLst>
            </p:cNvPr>
            <p:cNvSpPr>
              <a:spLocks/>
            </p:cNvSpPr>
            <p:nvPr/>
          </p:nvSpPr>
          <p:spPr bwMode="auto">
            <a:xfrm>
              <a:off x="560386" y="2592142"/>
              <a:ext cx="1766385" cy="630672"/>
            </a:xfrm>
            <a:custGeom>
              <a:avLst/>
              <a:gdLst>
                <a:gd name="T0" fmla="*/ 0 w 1500"/>
                <a:gd name="T1" fmla="*/ 823 h 823"/>
                <a:gd name="T2" fmla="*/ 0 w 1500"/>
                <a:gd name="T3" fmla="*/ 823 h 823"/>
                <a:gd name="T4" fmla="*/ 1500 w 1500"/>
                <a:gd name="T5" fmla="*/ 823 h 823"/>
                <a:gd name="T6" fmla="*/ 1500 w 1500"/>
                <a:gd name="T7" fmla="*/ 0 h 823"/>
                <a:gd name="T8" fmla="*/ 0 w 1500"/>
                <a:gd name="T9" fmla="*/ 0 h 823"/>
                <a:gd name="T10" fmla="*/ 0 w 1500"/>
                <a:gd name="T11" fmla="*/ 823 h 823"/>
              </a:gdLst>
              <a:ahLst/>
              <a:cxnLst>
                <a:cxn ang="0">
                  <a:pos x="T0" y="T1"/>
                </a:cxn>
                <a:cxn ang="0">
                  <a:pos x="T2" y="T3"/>
                </a:cxn>
                <a:cxn ang="0">
                  <a:pos x="T4" y="T5"/>
                </a:cxn>
                <a:cxn ang="0">
                  <a:pos x="T6" y="T7"/>
                </a:cxn>
                <a:cxn ang="0">
                  <a:pos x="T8" y="T9"/>
                </a:cxn>
                <a:cxn ang="0">
                  <a:pos x="T10" y="T11"/>
                </a:cxn>
              </a:cxnLst>
              <a:rect l="0" t="0" r="r" b="b"/>
              <a:pathLst>
                <a:path w="1500" h="823">
                  <a:moveTo>
                    <a:pt x="0" y="823"/>
                  </a:moveTo>
                  <a:lnTo>
                    <a:pt x="0" y="823"/>
                  </a:lnTo>
                  <a:lnTo>
                    <a:pt x="1500" y="823"/>
                  </a:lnTo>
                  <a:lnTo>
                    <a:pt x="1500" y="0"/>
                  </a:lnTo>
                  <a:lnTo>
                    <a:pt x="0" y="0"/>
                  </a:lnTo>
                  <a:lnTo>
                    <a:pt x="0" y="823"/>
                  </a:lnTo>
                  <a:close/>
                </a:path>
              </a:pathLst>
            </a:custGeom>
            <a:solidFill>
              <a:srgbClr val="D0D0CE"/>
            </a:solidFill>
            <a:ln w="0">
              <a:noFill/>
              <a:prstDash val="solid"/>
              <a:round/>
              <a:headEnd/>
              <a:tailEnd/>
            </a:ln>
          </p:spPr>
          <p:txBody>
            <a:bodyPr vert="horz" wrap="square" lIns="91440" tIns="45720" rIns="91440" bIns="45720" numCol="1" anchor="ctr" anchorCtr="0" compatLnSpc="1">
              <a:prstTxWarp prst="textNoShape">
                <a:avLst/>
              </a:prstTxWarp>
            </a:bodyPr>
            <a:lstStyle/>
            <a:p>
              <a:r>
                <a:rPr lang="da-DK" sz="1300" dirty="0">
                  <a:solidFill>
                    <a:srgbClr val="000000"/>
                  </a:solidFill>
                </a:rPr>
                <a:t>Lorem ipsum dolor sit amet</a:t>
              </a:r>
              <a:endParaRPr lang="en-US" sz="1300" dirty="0">
                <a:solidFill>
                  <a:srgbClr val="000000"/>
                </a:solidFill>
              </a:endParaRPr>
            </a:p>
          </p:txBody>
        </p:sp>
      </p:grpSp>
      <p:grpSp>
        <p:nvGrpSpPr>
          <p:cNvPr id="4" name="Group 3"/>
          <p:cNvGrpSpPr/>
          <p:nvPr/>
        </p:nvGrpSpPr>
        <p:grpSpPr>
          <a:xfrm>
            <a:off x="457200" y="3798691"/>
            <a:ext cx="11233149" cy="771466"/>
            <a:chOff x="560386" y="4154368"/>
            <a:chExt cx="11129963" cy="692754"/>
          </a:xfrm>
        </p:grpSpPr>
        <p:sp>
          <p:nvSpPr>
            <p:cNvPr id="56" name="Freeform 55">
              <a:extLst>
                <a:ext uri="{FF2B5EF4-FFF2-40B4-BE49-F238E27FC236}">
                  <a16:creationId xmlns:a16="http://schemas.microsoft.com/office/drawing/2014/main" id="{5C59F2E3-EB09-D745-9316-0B5D0684E116}"/>
                </a:ext>
              </a:extLst>
            </p:cNvPr>
            <p:cNvSpPr>
              <a:spLocks/>
            </p:cNvSpPr>
            <p:nvPr/>
          </p:nvSpPr>
          <p:spPr bwMode="auto">
            <a:xfrm>
              <a:off x="2528582" y="4154368"/>
              <a:ext cx="9161767" cy="589756"/>
            </a:xfrm>
            <a:custGeom>
              <a:avLst/>
              <a:gdLst>
                <a:gd name="T0" fmla="*/ 0 w 6988"/>
                <a:gd name="T1" fmla="*/ 0 h 768"/>
                <a:gd name="T2" fmla="*/ 0 w 6988"/>
                <a:gd name="T3" fmla="*/ 0 h 768"/>
                <a:gd name="T4" fmla="*/ 0 w 6988"/>
                <a:gd name="T5" fmla="*/ 768 h 768"/>
                <a:gd name="T6" fmla="*/ 6688 w 6988"/>
                <a:gd name="T7" fmla="*/ 768 h 768"/>
                <a:gd name="T8" fmla="*/ 6988 w 6988"/>
                <a:gd name="T9" fmla="*/ 383 h 768"/>
                <a:gd name="T10" fmla="*/ 6688 w 6988"/>
                <a:gd name="T11" fmla="*/ 0 h 768"/>
                <a:gd name="T12" fmla="*/ 0 w 6988"/>
                <a:gd name="T13" fmla="*/ 0 h 768"/>
              </a:gdLst>
              <a:ahLst/>
              <a:cxnLst>
                <a:cxn ang="0">
                  <a:pos x="T0" y="T1"/>
                </a:cxn>
                <a:cxn ang="0">
                  <a:pos x="T2" y="T3"/>
                </a:cxn>
                <a:cxn ang="0">
                  <a:pos x="T4" y="T5"/>
                </a:cxn>
                <a:cxn ang="0">
                  <a:pos x="T6" y="T7"/>
                </a:cxn>
                <a:cxn ang="0">
                  <a:pos x="T8" y="T9"/>
                </a:cxn>
                <a:cxn ang="0">
                  <a:pos x="T10" y="T11"/>
                </a:cxn>
                <a:cxn ang="0">
                  <a:pos x="T12" y="T13"/>
                </a:cxn>
              </a:cxnLst>
              <a:rect l="0" t="0" r="r" b="b"/>
              <a:pathLst>
                <a:path w="6988" h="768">
                  <a:moveTo>
                    <a:pt x="0" y="0"/>
                  </a:moveTo>
                  <a:lnTo>
                    <a:pt x="0" y="0"/>
                  </a:lnTo>
                  <a:lnTo>
                    <a:pt x="0" y="768"/>
                  </a:lnTo>
                  <a:lnTo>
                    <a:pt x="6688" y="768"/>
                  </a:lnTo>
                  <a:lnTo>
                    <a:pt x="6988" y="383"/>
                  </a:lnTo>
                  <a:lnTo>
                    <a:pt x="6688" y="0"/>
                  </a:lnTo>
                  <a:lnTo>
                    <a:pt x="0" y="0"/>
                  </a:lnTo>
                  <a:close/>
                </a:path>
              </a:pathLst>
            </a:custGeom>
            <a:solidFill>
              <a:srgbClr val="009A44"/>
            </a:solidFill>
            <a:ln w="0">
              <a:noFill/>
              <a:prstDash val="solid"/>
              <a:round/>
              <a:headEnd/>
              <a:tailEnd/>
            </a:ln>
          </p:spPr>
          <p:txBody>
            <a:bodyPr vert="horz" wrap="square" lIns="91440" tIns="45720" rIns="360000" bIns="45720" numCol="1" anchor="ctr" anchorCtr="0" compatLnSpc="1">
              <a:prstTxWarp prst="textNoShape">
                <a:avLst/>
              </a:prstTxWarp>
            </a:bodyPr>
            <a:lstStyle/>
            <a:p>
              <a:r>
                <a:rPr lang="en-US" sz="1300" dirty="0">
                  <a:solidFill>
                    <a:srgbClr val="FFFFFF"/>
                  </a:solidFill>
                </a:rPr>
                <a:t>This is dummy text. Please replace with text, modify the text content, also can copy your content to this directly. This is dummy text. Please replace with text, modify the text. </a:t>
              </a:r>
            </a:p>
          </p:txBody>
        </p:sp>
        <p:sp>
          <p:nvSpPr>
            <p:cNvPr id="58" name="Freeform 57">
              <a:extLst>
                <a:ext uri="{FF2B5EF4-FFF2-40B4-BE49-F238E27FC236}">
                  <a16:creationId xmlns:a16="http://schemas.microsoft.com/office/drawing/2014/main" id="{743ECC8D-73E3-7B4C-A063-5F651C50A629}"/>
                </a:ext>
              </a:extLst>
            </p:cNvPr>
            <p:cNvSpPr>
              <a:spLocks/>
            </p:cNvSpPr>
            <p:nvPr/>
          </p:nvSpPr>
          <p:spPr bwMode="auto">
            <a:xfrm>
              <a:off x="2326772" y="4154369"/>
              <a:ext cx="201811" cy="692753"/>
            </a:xfrm>
            <a:custGeom>
              <a:avLst/>
              <a:gdLst>
                <a:gd name="T0" fmla="*/ 0 w 172"/>
                <a:gd name="T1" fmla="*/ 137 h 904"/>
                <a:gd name="T2" fmla="*/ 0 w 172"/>
                <a:gd name="T3" fmla="*/ 137 h 904"/>
                <a:gd name="T4" fmla="*/ 0 w 172"/>
                <a:gd name="T5" fmla="*/ 904 h 904"/>
                <a:gd name="T6" fmla="*/ 172 w 172"/>
                <a:gd name="T7" fmla="*/ 767 h 904"/>
                <a:gd name="T8" fmla="*/ 172 w 172"/>
                <a:gd name="T9" fmla="*/ 0 h 904"/>
                <a:gd name="T10" fmla="*/ 0 w 172"/>
                <a:gd name="T11" fmla="*/ 137 h 904"/>
              </a:gdLst>
              <a:ahLst/>
              <a:cxnLst>
                <a:cxn ang="0">
                  <a:pos x="T0" y="T1"/>
                </a:cxn>
                <a:cxn ang="0">
                  <a:pos x="T2" y="T3"/>
                </a:cxn>
                <a:cxn ang="0">
                  <a:pos x="T4" y="T5"/>
                </a:cxn>
                <a:cxn ang="0">
                  <a:pos x="T6" y="T7"/>
                </a:cxn>
                <a:cxn ang="0">
                  <a:pos x="T8" y="T9"/>
                </a:cxn>
                <a:cxn ang="0">
                  <a:pos x="T10" y="T11"/>
                </a:cxn>
              </a:cxnLst>
              <a:rect l="0" t="0" r="r" b="b"/>
              <a:pathLst>
                <a:path w="172" h="904">
                  <a:moveTo>
                    <a:pt x="0" y="137"/>
                  </a:moveTo>
                  <a:lnTo>
                    <a:pt x="0" y="137"/>
                  </a:lnTo>
                  <a:lnTo>
                    <a:pt x="0" y="904"/>
                  </a:lnTo>
                  <a:lnTo>
                    <a:pt x="172" y="767"/>
                  </a:lnTo>
                  <a:lnTo>
                    <a:pt x="172" y="0"/>
                  </a:lnTo>
                  <a:lnTo>
                    <a:pt x="0" y="137"/>
                  </a:lnTo>
                  <a:close/>
                </a:path>
              </a:pathLst>
            </a:custGeom>
            <a:solidFill>
              <a:srgbClr val="43B02A"/>
            </a:solidFill>
            <a:ln w="0">
              <a:noFill/>
              <a:prstDash val="solid"/>
              <a:round/>
              <a:headEnd/>
              <a:tailEnd/>
            </a:ln>
          </p:spPr>
          <p:txBody>
            <a:bodyPr vert="horz" wrap="square" lIns="91440" tIns="45720" rIns="91440" bIns="45720" numCol="1" anchor="ctr" anchorCtr="0" compatLnSpc="1">
              <a:prstTxWarp prst="textNoShape">
                <a:avLst/>
              </a:prstTxWarp>
            </a:bodyPr>
            <a:lstStyle/>
            <a:p>
              <a:endParaRPr lang="en-US" sz="1300" dirty="0">
                <a:solidFill>
                  <a:srgbClr val="FFFFFF"/>
                </a:solidFill>
              </a:endParaRPr>
            </a:p>
          </p:txBody>
        </p:sp>
        <p:sp>
          <p:nvSpPr>
            <p:cNvPr id="60" name="Freeform 59">
              <a:extLst>
                <a:ext uri="{FF2B5EF4-FFF2-40B4-BE49-F238E27FC236}">
                  <a16:creationId xmlns:a16="http://schemas.microsoft.com/office/drawing/2014/main" id="{5FB45602-CC9A-8342-A55D-860FB0F0DD0D}"/>
                </a:ext>
              </a:extLst>
            </p:cNvPr>
            <p:cNvSpPr>
              <a:spLocks/>
            </p:cNvSpPr>
            <p:nvPr/>
          </p:nvSpPr>
          <p:spPr bwMode="auto">
            <a:xfrm>
              <a:off x="560386" y="4258777"/>
              <a:ext cx="1766385" cy="588345"/>
            </a:xfrm>
            <a:custGeom>
              <a:avLst/>
              <a:gdLst>
                <a:gd name="T0" fmla="*/ 0 w 1500"/>
                <a:gd name="T1" fmla="*/ 768 h 768"/>
                <a:gd name="T2" fmla="*/ 0 w 1500"/>
                <a:gd name="T3" fmla="*/ 768 h 768"/>
                <a:gd name="T4" fmla="*/ 1500 w 1500"/>
                <a:gd name="T5" fmla="*/ 768 h 768"/>
                <a:gd name="T6" fmla="*/ 1500 w 1500"/>
                <a:gd name="T7" fmla="*/ 0 h 768"/>
                <a:gd name="T8" fmla="*/ 0 w 1500"/>
                <a:gd name="T9" fmla="*/ 0 h 768"/>
                <a:gd name="T10" fmla="*/ 0 w 1500"/>
                <a:gd name="T11" fmla="*/ 768 h 768"/>
              </a:gdLst>
              <a:ahLst/>
              <a:cxnLst>
                <a:cxn ang="0">
                  <a:pos x="T0" y="T1"/>
                </a:cxn>
                <a:cxn ang="0">
                  <a:pos x="T2" y="T3"/>
                </a:cxn>
                <a:cxn ang="0">
                  <a:pos x="T4" y="T5"/>
                </a:cxn>
                <a:cxn ang="0">
                  <a:pos x="T6" y="T7"/>
                </a:cxn>
                <a:cxn ang="0">
                  <a:pos x="T8" y="T9"/>
                </a:cxn>
                <a:cxn ang="0">
                  <a:pos x="T10" y="T11"/>
                </a:cxn>
              </a:cxnLst>
              <a:rect l="0" t="0" r="r" b="b"/>
              <a:pathLst>
                <a:path w="1500" h="768">
                  <a:moveTo>
                    <a:pt x="0" y="768"/>
                  </a:moveTo>
                  <a:lnTo>
                    <a:pt x="0" y="768"/>
                  </a:lnTo>
                  <a:lnTo>
                    <a:pt x="1500" y="768"/>
                  </a:lnTo>
                  <a:lnTo>
                    <a:pt x="1500" y="0"/>
                  </a:lnTo>
                  <a:lnTo>
                    <a:pt x="0" y="0"/>
                  </a:lnTo>
                  <a:lnTo>
                    <a:pt x="0" y="768"/>
                  </a:lnTo>
                  <a:close/>
                </a:path>
              </a:pathLst>
            </a:custGeom>
            <a:solidFill>
              <a:srgbClr val="009A44"/>
            </a:solidFill>
            <a:ln w="0">
              <a:noFill/>
              <a:prstDash val="solid"/>
              <a:round/>
              <a:headEnd/>
              <a:tailEnd/>
            </a:ln>
          </p:spPr>
          <p:txBody>
            <a:bodyPr vert="horz" wrap="square" lIns="91440" tIns="45720" rIns="91440" bIns="45720" numCol="1" anchor="ctr" anchorCtr="0" compatLnSpc="1">
              <a:prstTxWarp prst="textNoShape">
                <a:avLst/>
              </a:prstTxWarp>
            </a:bodyPr>
            <a:lstStyle/>
            <a:p>
              <a:r>
                <a:rPr lang="da-DK" sz="1300" dirty="0">
                  <a:solidFill>
                    <a:srgbClr val="FFFFFF"/>
                  </a:solidFill>
                </a:rPr>
                <a:t>Lorem ipsum dolor sit amet</a:t>
              </a:r>
              <a:endParaRPr lang="en-US" sz="1300" dirty="0">
                <a:solidFill>
                  <a:srgbClr val="FFFFFF"/>
                </a:solidFill>
              </a:endParaRPr>
            </a:p>
          </p:txBody>
        </p:sp>
      </p:grpSp>
      <p:grpSp>
        <p:nvGrpSpPr>
          <p:cNvPr id="7" name="Group 6"/>
          <p:cNvGrpSpPr/>
          <p:nvPr/>
        </p:nvGrpSpPr>
        <p:grpSpPr>
          <a:xfrm>
            <a:off x="457200" y="4650091"/>
            <a:ext cx="11233149" cy="758349"/>
            <a:chOff x="560386" y="5037441"/>
            <a:chExt cx="11129963" cy="758349"/>
          </a:xfrm>
        </p:grpSpPr>
        <p:sp>
          <p:nvSpPr>
            <p:cNvPr id="61" name="Freeform 60">
              <a:extLst>
                <a:ext uri="{FF2B5EF4-FFF2-40B4-BE49-F238E27FC236}">
                  <a16:creationId xmlns:a16="http://schemas.microsoft.com/office/drawing/2014/main" id="{5A6D0813-E91A-F647-9F1C-FFCC0440DD58}"/>
                </a:ext>
              </a:extLst>
            </p:cNvPr>
            <p:cNvSpPr>
              <a:spLocks/>
            </p:cNvSpPr>
            <p:nvPr/>
          </p:nvSpPr>
          <p:spPr bwMode="auto">
            <a:xfrm>
              <a:off x="2528582" y="5037441"/>
              <a:ext cx="9161767" cy="672672"/>
            </a:xfrm>
            <a:custGeom>
              <a:avLst/>
              <a:gdLst>
                <a:gd name="T0" fmla="*/ 0 w 6988"/>
                <a:gd name="T1" fmla="*/ 0 h 1070"/>
                <a:gd name="T2" fmla="*/ 0 w 6988"/>
                <a:gd name="T3" fmla="*/ 0 h 1070"/>
                <a:gd name="T4" fmla="*/ 0 w 6988"/>
                <a:gd name="T5" fmla="*/ 1070 h 1070"/>
                <a:gd name="T6" fmla="*/ 6688 w 6988"/>
                <a:gd name="T7" fmla="*/ 1070 h 1070"/>
                <a:gd name="T8" fmla="*/ 6988 w 6988"/>
                <a:gd name="T9" fmla="*/ 528 h 1070"/>
                <a:gd name="T10" fmla="*/ 6688 w 6988"/>
                <a:gd name="T11" fmla="*/ 0 h 1070"/>
                <a:gd name="T12" fmla="*/ 0 w 6988"/>
                <a:gd name="T13" fmla="*/ 0 h 1070"/>
              </a:gdLst>
              <a:ahLst/>
              <a:cxnLst>
                <a:cxn ang="0">
                  <a:pos x="T0" y="T1"/>
                </a:cxn>
                <a:cxn ang="0">
                  <a:pos x="T2" y="T3"/>
                </a:cxn>
                <a:cxn ang="0">
                  <a:pos x="T4" y="T5"/>
                </a:cxn>
                <a:cxn ang="0">
                  <a:pos x="T6" y="T7"/>
                </a:cxn>
                <a:cxn ang="0">
                  <a:pos x="T8" y="T9"/>
                </a:cxn>
                <a:cxn ang="0">
                  <a:pos x="T10" y="T11"/>
                </a:cxn>
                <a:cxn ang="0">
                  <a:pos x="T12" y="T13"/>
                </a:cxn>
              </a:cxnLst>
              <a:rect l="0" t="0" r="r" b="b"/>
              <a:pathLst>
                <a:path w="6988" h="1070">
                  <a:moveTo>
                    <a:pt x="0" y="0"/>
                  </a:moveTo>
                  <a:lnTo>
                    <a:pt x="0" y="0"/>
                  </a:lnTo>
                  <a:lnTo>
                    <a:pt x="0" y="1070"/>
                  </a:lnTo>
                  <a:lnTo>
                    <a:pt x="6688" y="1070"/>
                  </a:lnTo>
                  <a:lnTo>
                    <a:pt x="6988" y="528"/>
                  </a:lnTo>
                  <a:lnTo>
                    <a:pt x="6688" y="0"/>
                  </a:lnTo>
                  <a:lnTo>
                    <a:pt x="0" y="0"/>
                  </a:lnTo>
                  <a:close/>
                </a:path>
              </a:pathLst>
            </a:custGeom>
            <a:solidFill>
              <a:schemeClr val="accent3"/>
            </a:solidFill>
            <a:ln w="0">
              <a:noFill/>
              <a:prstDash val="solid"/>
              <a:round/>
              <a:headEnd/>
              <a:tailEnd/>
            </a:ln>
          </p:spPr>
          <p:txBody>
            <a:bodyPr vert="horz" wrap="square" lIns="91440" tIns="45720" rIns="360000" bIns="45720" numCol="1" anchor="ctr" anchorCtr="0" compatLnSpc="1">
              <a:prstTxWarp prst="textNoShape">
                <a:avLst/>
              </a:prstTxWarp>
            </a:bodyPr>
            <a:lstStyle/>
            <a:p>
              <a:r>
                <a:rPr lang="en-US" sz="1300" dirty="0">
                  <a:solidFill>
                    <a:srgbClr val="FFFFFF"/>
                  </a:solidFill>
                </a:rPr>
                <a:t>This is dummy text. Please replace with text, modify the text content, also can copy your content to this directly. This is dummy text. Please replace with text, modify the text. </a:t>
              </a:r>
            </a:p>
          </p:txBody>
        </p:sp>
        <p:sp>
          <p:nvSpPr>
            <p:cNvPr id="63" name="Freeform 62">
              <a:extLst>
                <a:ext uri="{FF2B5EF4-FFF2-40B4-BE49-F238E27FC236}">
                  <a16:creationId xmlns:a16="http://schemas.microsoft.com/office/drawing/2014/main" id="{6BC65CFC-5F48-EB4A-9907-72E016D3D106}"/>
                </a:ext>
              </a:extLst>
            </p:cNvPr>
            <p:cNvSpPr>
              <a:spLocks/>
            </p:cNvSpPr>
            <p:nvPr/>
          </p:nvSpPr>
          <p:spPr bwMode="auto">
            <a:xfrm>
              <a:off x="2326772" y="5037441"/>
              <a:ext cx="201811" cy="758349"/>
            </a:xfrm>
            <a:custGeom>
              <a:avLst/>
              <a:gdLst>
                <a:gd name="T0" fmla="*/ 0 w 172"/>
                <a:gd name="T1" fmla="*/ 137 h 1206"/>
                <a:gd name="T2" fmla="*/ 0 w 172"/>
                <a:gd name="T3" fmla="*/ 137 h 1206"/>
                <a:gd name="T4" fmla="*/ 0 w 172"/>
                <a:gd name="T5" fmla="*/ 1206 h 1206"/>
                <a:gd name="T6" fmla="*/ 172 w 172"/>
                <a:gd name="T7" fmla="*/ 1069 h 1206"/>
                <a:gd name="T8" fmla="*/ 172 w 172"/>
                <a:gd name="T9" fmla="*/ 0 h 1206"/>
                <a:gd name="T10" fmla="*/ 0 w 172"/>
                <a:gd name="T11" fmla="*/ 137 h 1206"/>
              </a:gdLst>
              <a:ahLst/>
              <a:cxnLst>
                <a:cxn ang="0">
                  <a:pos x="T0" y="T1"/>
                </a:cxn>
                <a:cxn ang="0">
                  <a:pos x="T2" y="T3"/>
                </a:cxn>
                <a:cxn ang="0">
                  <a:pos x="T4" y="T5"/>
                </a:cxn>
                <a:cxn ang="0">
                  <a:pos x="T6" y="T7"/>
                </a:cxn>
                <a:cxn ang="0">
                  <a:pos x="T8" y="T9"/>
                </a:cxn>
                <a:cxn ang="0">
                  <a:pos x="T10" y="T11"/>
                </a:cxn>
              </a:cxnLst>
              <a:rect l="0" t="0" r="r" b="b"/>
              <a:pathLst>
                <a:path w="172" h="1206">
                  <a:moveTo>
                    <a:pt x="0" y="137"/>
                  </a:moveTo>
                  <a:lnTo>
                    <a:pt x="0" y="137"/>
                  </a:lnTo>
                  <a:lnTo>
                    <a:pt x="0" y="1206"/>
                  </a:lnTo>
                  <a:lnTo>
                    <a:pt x="172" y="1069"/>
                  </a:lnTo>
                  <a:lnTo>
                    <a:pt x="172" y="0"/>
                  </a:lnTo>
                  <a:lnTo>
                    <a:pt x="0" y="137"/>
                  </a:lnTo>
                  <a:close/>
                </a:path>
              </a:pathLst>
            </a:custGeom>
            <a:solidFill>
              <a:srgbClr val="009A44"/>
            </a:solidFill>
            <a:ln w="0">
              <a:noFill/>
              <a:prstDash val="solid"/>
              <a:round/>
              <a:headEnd/>
              <a:tailEnd/>
            </a:ln>
          </p:spPr>
          <p:txBody>
            <a:bodyPr vert="horz" wrap="square" lIns="91440" tIns="45720" rIns="91440" bIns="45720" numCol="1" anchor="ctr" anchorCtr="0" compatLnSpc="1">
              <a:prstTxWarp prst="textNoShape">
                <a:avLst/>
              </a:prstTxWarp>
            </a:bodyPr>
            <a:lstStyle/>
            <a:p>
              <a:endParaRPr lang="en-US" sz="1300" dirty="0">
                <a:solidFill>
                  <a:srgbClr val="FFFFFF"/>
                </a:solidFill>
              </a:endParaRPr>
            </a:p>
          </p:txBody>
        </p:sp>
        <p:sp>
          <p:nvSpPr>
            <p:cNvPr id="65" name="Freeform 64">
              <a:extLst>
                <a:ext uri="{FF2B5EF4-FFF2-40B4-BE49-F238E27FC236}">
                  <a16:creationId xmlns:a16="http://schemas.microsoft.com/office/drawing/2014/main" id="{86789915-B033-0E4A-8294-D6735E57F932}"/>
                </a:ext>
              </a:extLst>
            </p:cNvPr>
            <p:cNvSpPr>
              <a:spLocks/>
            </p:cNvSpPr>
            <p:nvPr/>
          </p:nvSpPr>
          <p:spPr bwMode="auto">
            <a:xfrm>
              <a:off x="560386" y="5123118"/>
              <a:ext cx="1766385" cy="672672"/>
            </a:xfrm>
            <a:custGeom>
              <a:avLst/>
              <a:gdLst>
                <a:gd name="T0" fmla="*/ 0 w 1500"/>
                <a:gd name="T1" fmla="*/ 1071 h 1071"/>
                <a:gd name="T2" fmla="*/ 0 w 1500"/>
                <a:gd name="T3" fmla="*/ 1071 h 1071"/>
                <a:gd name="T4" fmla="*/ 1500 w 1500"/>
                <a:gd name="T5" fmla="*/ 1071 h 1071"/>
                <a:gd name="T6" fmla="*/ 1500 w 1500"/>
                <a:gd name="T7" fmla="*/ 0 h 1071"/>
                <a:gd name="T8" fmla="*/ 0 w 1500"/>
                <a:gd name="T9" fmla="*/ 0 h 1071"/>
                <a:gd name="T10" fmla="*/ 0 w 1500"/>
                <a:gd name="T11" fmla="*/ 1071 h 1071"/>
              </a:gdLst>
              <a:ahLst/>
              <a:cxnLst>
                <a:cxn ang="0">
                  <a:pos x="T0" y="T1"/>
                </a:cxn>
                <a:cxn ang="0">
                  <a:pos x="T2" y="T3"/>
                </a:cxn>
                <a:cxn ang="0">
                  <a:pos x="T4" y="T5"/>
                </a:cxn>
                <a:cxn ang="0">
                  <a:pos x="T6" y="T7"/>
                </a:cxn>
                <a:cxn ang="0">
                  <a:pos x="T8" y="T9"/>
                </a:cxn>
                <a:cxn ang="0">
                  <a:pos x="T10" y="T11"/>
                </a:cxn>
              </a:cxnLst>
              <a:rect l="0" t="0" r="r" b="b"/>
              <a:pathLst>
                <a:path w="1500" h="1071">
                  <a:moveTo>
                    <a:pt x="0" y="1071"/>
                  </a:moveTo>
                  <a:lnTo>
                    <a:pt x="0" y="1071"/>
                  </a:lnTo>
                  <a:lnTo>
                    <a:pt x="1500" y="1071"/>
                  </a:lnTo>
                  <a:lnTo>
                    <a:pt x="1500" y="0"/>
                  </a:lnTo>
                  <a:lnTo>
                    <a:pt x="0" y="0"/>
                  </a:lnTo>
                  <a:lnTo>
                    <a:pt x="0" y="1071"/>
                  </a:lnTo>
                  <a:close/>
                </a:path>
              </a:pathLst>
            </a:custGeom>
            <a:solidFill>
              <a:schemeClr val="accent3"/>
            </a:solidFill>
            <a:ln w="0">
              <a:noFill/>
              <a:prstDash val="solid"/>
              <a:round/>
              <a:headEnd/>
              <a:tailEnd/>
            </a:ln>
          </p:spPr>
          <p:txBody>
            <a:bodyPr vert="horz" wrap="square" lIns="91440" tIns="45720" rIns="91440" bIns="45720" numCol="1" anchor="ctr" anchorCtr="0" compatLnSpc="1">
              <a:prstTxWarp prst="textNoShape">
                <a:avLst/>
              </a:prstTxWarp>
            </a:bodyPr>
            <a:lstStyle/>
            <a:p>
              <a:r>
                <a:rPr lang="da-DK" sz="1300" dirty="0">
                  <a:solidFill>
                    <a:srgbClr val="FFFFFF"/>
                  </a:solidFill>
                </a:rPr>
                <a:t>Lorem ipsum dolor sit amet</a:t>
              </a:r>
              <a:endParaRPr lang="en-US" sz="1300" dirty="0">
                <a:solidFill>
                  <a:srgbClr val="FFFFFF"/>
                </a:solidFill>
              </a:endParaRPr>
            </a:p>
          </p:txBody>
        </p:sp>
      </p:grpSp>
    </p:spTree>
    <p:custDataLst>
      <p:tags r:id="rId1"/>
    </p:custDataLst>
    <p:extLst>
      <p:ext uri="{BB962C8B-B14F-4D97-AF65-F5344CB8AC3E}">
        <p14:creationId xmlns:p14="http://schemas.microsoft.com/office/powerpoint/2010/main" val="2517877136"/>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3">
            <a:extLst>
              <a:ext uri="{FF2B5EF4-FFF2-40B4-BE49-F238E27FC236}">
                <a16:creationId xmlns:a16="http://schemas.microsoft.com/office/drawing/2014/main" id="{B26F8D60-CE01-444C-B27C-1B6B17D772FA}"/>
              </a:ext>
            </a:extLst>
          </p:cNvPr>
          <p:cNvSpPr>
            <a:spLocks/>
          </p:cNvSpPr>
          <p:nvPr/>
        </p:nvSpPr>
        <p:spPr bwMode="gray">
          <a:xfrm>
            <a:off x="2505075" y="3157294"/>
            <a:ext cx="9229725" cy="761038"/>
          </a:xfrm>
          <a:prstGeom prst="roundRect">
            <a:avLst>
              <a:gd name="adj" fmla="val 50000"/>
            </a:avLst>
          </a:prstGeom>
          <a:solidFill>
            <a:srgbClr val="43B02A"/>
          </a:solidFill>
          <a:ln w="9525">
            <a:noFill/>
          </a:ln>
          <a:effectLst/>
        </p:spPr>
        <p:style>
          <a:lnRef idx="3">
            <a:schemeClr val="lt1"/>
          </a:lnRef>
          <a:fillRef idx="1">
            <a:schemeClr val="accent6"/>
          </a:fillRef>
          <a:effectRef idx="1">
            <a:schemeClr val="accent6"/>
          </a:effectRef>
          <a:fontRef idx="minor">
            <a:schemeClr val="lt1"/>
          </a:fontRef>
        </p:style>
        <p:txBody>
          <a:bodyPr wrap="square" lIns="612000" tIns="68580" rIns="68580" bIns="68580" rtlCol="0" anchor="ctr"/>
          <a:lstStyle/>
          <a:p>
            <a:r>
              <a:rPr lang="en-US" sz="1300" dirty="0"/>
              <a:t>This is dummy text. Please replace with text, modify the text content, also can copy your content to this directly. This is dummy text. Please replace with text, modify the text.</a:t>
            </a:r>
          </a:p>
        </p:txBody>
      </p:sp>
      <p:sp>
        <p:nvSpPr>
          <p:cNvPr id="46" name="Freeform 7">
            <a:extLst>
              <a:ext uri="{FF2B5EF4-FFF2-40B4-BE49-F238E27FC236}">
                <a16:creationId xmlns:a16="http://schemas.microsoft.com/office/drawing/2014/main" id="{B297141E-1E7F-7D4E-9D22-E4946B92777B}"/>
              </a:ext>
            </a:extLst>
          </p:cNvPr>
          <p:cNvSpPr>
            <a:spLocks/>
          </p:cNvSpPr>
          <p:nvPr/>
        </p:nvSpPr>
        <p:spPr bwMode="gray">
          <a:xfrm>
            <a:off x="2505075" y="4133363"/>
            <a:ext cx="9229725" cy="761038"/>
          </a:xfrm>
          <a:prstGeom prst="roundRect">
            <a:avLst>
              <a:gd name="adj" fmla="val 50000"/>
            </a:avLst>
          </a:prstGeom>
          <a:solidFill>
            <a:srgbClr val="009A44"/>
          </a:solidFill>
          <a:ln w="9525">
            <a:noFill/>
          </a:ln>
          <a:effectLst/>
        </p:spPr>
        <p:style>
          <a:lnRef idx="3">
            <a:schemeClr val="lt1"/>
          </a:lnRef>
          <a:fillRef idx="1">
            <a:schemeClr val="accent6"/>
          </a:fillRef>
          <a:effectRef idx="1">
            <a:schemeClr val="accent6"/>
          </a:effectRef>
          <a:fontRef idx="minor">
            <a:schemeClr val="lt1"/>
          </a:fontRef>
        </p:style>
        <p:txBody>
          <a:bodyPr wrap="square" lIns="612000" tIns="68580" rIns="68580" bIns="68580" rtlCol="0" anchor="ctr"/>
          <a:lstStyle/>
          <a:p>
            <a:r>
              <a:rPr lang="en-US" sz="1300" dirty="0"/>
              <a:t>This is dummy text. Please replace with text, modify the text content, also can copy your content to this directly. This is dummy text. Please replace with text, modify the text.</a:t>
            </a:r>
          </a:p>
        </p:txBody>
      </p:sp>
      <p:sp>
        <p:nvSpPr>
          <p:cNvPr id="47" name="Freeform 11">
            <a:extLst>
              <a:ext uri="{FF2B5EF4-FFF2-40B4-BE49-F238E27FC236}">
                <a16:creationId xmlns:a16="http://schemas.microsoft.com/office/drawing/2014/main" id="{0BB6FA90-A80D-CA45-89A0-1DAA5DEB828B}"/>
              </a:ext>
            </a:extLst>
          </p:cNvPr>
          <p:cNvSpPr>
            <a:spLocks/>
          </p:cNvSpPr>
          <p:nvPr/>
        </p:nvSpPr>
        <p:spPr bwMode="gray">
          <a:xfrm>
            <a:off x="2505075" y="5109431"/>
            <a:ext cx="9229725" cy="761038"/>
          </a:xfrm>
          <a:prstGeom prst="roundRect">
            <a:avLst>
              <a:gd name="adj" fmla="val 50000"/>
            </a:avLst>
          </a:prstGeom>
          <a:solidFill>
            <a:schemeClr val="accent3"/>
          </a:solidFill>
          <a:ln w="9525">
            <a:noFill/>
          </a:ln>
          <a:effectLst/>
        </p:spPr>
        <p:style>
          <a:lnRef idx="3">
            <a:schemeClr val="lt1"/>
          </a:lnRef>
          <a:fillRef idx="1">
            <a:schemeClr val="accent6"/>
          </a:fillRef>
          <a:effectRef idx="1">
            <a:schemeClr val="accent6"/>
          </a:effectRef>
          <a:fontRef idx="minor">
            <a:schemeClr val="lt1"/>
          </a:fontRef>
        </p:style>
        <p:txBody>
          <a:bodyPr wrap="square" lIns="612000" tIns="68580" rIns="68580" bIns="68580" rtlCol="0" anchor="ctr"/>
          <a:lstStyle/>
          <a:p>
            <a:r>
              <a:rPr lang="en-US" sz="1300" dirty="0"/>
              <a:t>This is dummy text. Please replace with text, modify the text content, also can copy your content to this directly. This is dummy text. Please replace with text, modify the text.</a:t>
            </a:r>
          </a:p>
        </p:txBody>
      </p:sp>
      <p:sp>
        <p:nvSpPr>
          <p:cNvPr id="48" name="Freeform 3">
            <a:extLst>
              <a:ext uri="{FF2B5EF4-FFF2-40B4-BE49-F238E27FC236}">
                <a16:creationId xmlns:a16="http://schemas.microsoft.com/office/drawing/2014/main" id="{45980FF9-049F-9547-989D-C71440874E8E}"/>
              </a:ext>
            </a:extLst>
          </p:cNvPr>
          <p:cNvSpPr>
            <a:spLocks/>
          </p:cNvSpPr>
          <p:nvPr/>
        </p:nvSpPr>
        <p:spPr bwMode="gray">
          <a:xfrm>
            <a:off x="2505075" y="2181225"/>
            <a:ext cx="9229725" cy="761038"/>
          </a:xfrm>
          <a:prstGeom prst="roundRect">
            <a:avLst>
              <a:gd name="adj" fmla="val 50000"/>
            </a:avLst>
          </a:prstGeom>
          <a:solidFill>
            <a:srgbClr val="86BC25"/>
          </a:solidFill>
          <a:ln w="9525">
            <a:noFill/>
          </a:ln>
          <a:effectLst/>
        </p:spPr>
        <p:style>
          <a:lnRef idx="3">
            <a:schemeClr val="lt1"/>
          </a:lnRef>
          <a:fillRef idx="1">
            <a:schemeClr val="accent6"/>
          </a:fillRef>
          <a:effectRef idx="1">
            <a:schemeClr val="accent6"/>
          </a:effectRef>
          <a:fontRef idx="minor">
            <a:schemeClr val="lt1"/>
          </a:fontRef>
        </p:style>
        <p:txBody>
          <a:bodyPr wrap="square" lIns="612000" tIns="68580" rIns="68580" bIns="68580" rtlCol="0" anchor="ctr"/>
          <a:lstStyle/>
          <a:p>
            <a:r>
              <a:rPr lang="en-US" sz="1300" dirty="0"/>
              <a:t>This is dummy text. Please replace with text, modify the text content, also can copy your content to this directly. This is dummy text. Please replace with text, modify the text.</a:t>
            </a:r>
          </a:p>
        </p:txBody>
      </p:sp>
      <p:sp>
        <p:nvSpPr>
          <p:cNvPr id="44" name="Trapezoid 43">
            <a:extLst>
              <a:ext uri="{FF2B5EF4-FFF2-40B4-BE49-F238E27FC236}">
                <a16:creationId xmlns:a16="http://schemas.microsoft.com/office/drawing/2014/main" id="{566A085B-C7E8-B149-8118-D9EF9A189B8A}"/>
              </a:ext>
            </a:extLst>
          </p:cNvPr>
          <p:cNvSpPr/>
          <p:nvPr/>
        </p:nvSpPr>
        <p:spPr bwMode="gray">
          <a:xfrm rot="16200000">
            <a:off x="-534859" y="2722691"/>
            <a:ext cx="4673706" cy="2606312"/>
          </a:xfrm>
          <a:prstGeom prst="trapezoid">
            <a:avLst>
              <a:gd name="adj" fmla="val 89769"/>
            </a:avLst>
          </a:prstGeom>
          <a:solidFill>
            <a:srgbClr val="FFFFFF"/>
          </a:solidFill>
          <a:ln w="19050" algn="ctr">
            <a:noFill/>
            <a:miter lim="800000"/>
            <a:headEnd/>
            <a:tailEnd/>
          </a:ln>
          <a:effectLst>
            <a:outerShdw blurRad="50800" dist="38100" algn="l" rotWithShape="0">
              <a:prstClr val="black">
                <a:alpha val="40000"/>
              </a:prstClr>
            </a:outerShdw>
          </a:effectLst>
        </p:spPr>
        <p:txBody>
          <a:bodyPr wrap="square" lIns="68580" tIns="68580" rIns="68580" bIns="68580" rtlCol="0" anchor="ctr"/>
          <a:lstStyle/>
          <a:p>
            <a:pPr algn="ctr">
              <a:buFont typeface="Wingdings 2" pitchFamily="18" charset="2"/>
              <a:buNone/>
            </a:pPr>
            <a:endParaRPr lang="en-US" sz="1300" dirty="0"/>
          </a:p>
        </p:txBody>
      </p:sp>
      <p:sp>
        <p:nvSpPr>
          <p:cNvPr id="60" name="Freeform 627">
            <a:extLst>
              <a:ext uri="{FF2B5EF4-FFF2-40B4-BE49-F238E27FC236}">
                <a16:creationId xmlns:a16="http://schemas.microsoft.com/office/drawing/2014/main" id="{A1E5D1A4-146A-144F-AF9F-56D0A3084BE9}"/>
              </a:ext>
            </a:extLst>
          </p:cNvPr>
          <p:cNvSpPr>
            <a:spLocks noChangeAspect="1" noEditPoints="1"/>
          </p:cNvSpPr>
          <p:nvPr/>
        </p:nvSpPr>
        <p:spPr bwMode="auto">
          <a:xfrm>
            <a:off x="2409282" y="2275978"/>
            <a:ext cx="575218" cy="571532"/>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US" sz="1300" dirty="0"/>
          </a:p>
        </p:txBody>
      </p:sp>
      <p:sp>
        <p:nvSpPr>
          <p:cNvPr id="52" name="Freeform 584">
            <a:extLst>
              <a:ext uri="{FF2B5EF4-FFF2-40B4-BE49-F238E27FC236}">
                <a16:creationId xmlns:a16="http://schemas.microsoft.com/office/drawing/2014/main" id="{F9AB1A40-0A78-6243-B968-B2EB268842F1}"/>
              </a:ext>
            </a:extLst>
          </p:cNvPr>
          <p:cNvSpPr>
            <a:spLocks noChangeAspect="1" noEditPoints="1"/>
          </p:cNvSpPr>
          <p:nvPr/>
        </p:nvSpPr>
        <p:spPr bwMode="auto">
          <a:xfrm>
            <a:off x="2409800" y="3252078"/>
            <a:ext cx="574184" cy="57147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US" sz="1300" dirty="0"/>
          </a:p>
        </p:txBody>
      </p:sp>
      <p:sp>
        <p:nvSpPr>
          <p:cNvPr id="58" name="Freeform 36">
            <a:extLst>
              <a:ext uri="{FF2B5EF4-FFF2-40B4-BE49-F238E27FC236}">
                <a16:creationId xmlns:a16="http://schemas.microsoft.com/office/drawing/2014/main" id="{71CA94F9-4DEB-854D-AA2F-607597099321}"/>
              </a:ext>
            </a:extLst>
          </p:cNvPr>
          <p:cNvSpPr>
            <a:spLocks noEditPoints="1"/>
          </p:cNvSpPr>
          <p:nvPr/>
        </p:nvSpPr>
        <p:spPr bwMode="auto">
          <a:xfrm>
            <a:off x="2409799" y="4226790"/>
            <a:ext cx="574184" cy="574184"/>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US" sz="1300" dirty="0"/>
          </a:p>
        </p:txBody>
      </p:sp>
      <p:sp>
        <p:nvSpPr>
          <p:cNvPr id="56" name="Freeform 469">
            <a:extLst>
              <a:ext uri="{FF2B5EF4-FFF2-40B4-BE49-F238E27FC236}">
                <a16:creationId xmlns:a16="http://schemas.microsoft.com/office/drawing/2014/main" id="{952B5DE8-57A4-4E46-9848-1DF0CEAA32E1}"/>
              </a:ext>
            </a:extLst>
          </p:cNvPr>
          <p:cNvSpPr>
            <a:spLocks noChangeAspect="1" noEditPoints="1"/>
          </p:cNvSpPr>
          <p:nvPr/>
        </p:nvSpPr>
        <p:spPr bwMode="auto">
          <a:xfrm>
            <a:off x="2409282" y="5207912"/>
            <a:ext cx="575218" cy="564076"/>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US" sz="1300" dirty="0"/>
          </a:p>
        </p:txBody>
      </p:sp>
      <p:sp>
        <p:nvSpPr>
          <p:cNvPr id="49" name="Oval 8" descr="bus_collage2">
            <a:extLst>
              <a:ext uri="{FF2B5EF4-FFF2-40B4-BE49-F238E27FC236}">
                <a16:creationId xmlns:a16="http://schemas.microsoft.com/office/drawing/2014/main" id="{8043E428-585B-0841-93D8-4BD83AD44BF5}"/>
              </a:ext>
            </a:extLst>
          </p:cNvPr>
          <p:cNvSpPr>
            <a:spLocks noChangeArrowheads="1"/>
          </p:cNvSpPr>
          <p:nvPr/>
        </p:nvSpPr>
        <p:spPr bwMode="gray">
          <a:xfrm>
            <a:off x="498838" y="3294392"/>
            <a:ext cx="1462914" cy="1462911"/>
          </a:xfrm>
          <a:prstGeom prst="ellipse">
            <a:avLst/>
          </a:prstGeom>
          <a:solidFill>
            <a:srgbClr val="009A44"/>
          </a:solidFill>
          <a:ln w="9525">
            <a:noFill/>
          </a:ln>
          <a:effectLst/>
        </p:spPr>
        <p:style>
          <a:lnRef idx="3">
            <a:schemeClr val="lt1"/>
          </a:lnRef>
          <a:fillRef idx="1">
            <a:schemeClr val="accent6"/>
          </a:fillRef>
          <a:effectRef idx="1">
            <a:schemeClr val="accent6"/>
          </a:effectRef>
          <a:fontRef idx="minor">
            <a:schemeClr val="lt1"/>
          </a:fontRef>
        </p:style>
        <p:txBody>
          <a:bodyPr wrap="none" lIns="0" tIns="68580" rIns="0" bIns="68580" rtlCol="0" anchor="ctr"/>
          <a:lstStyle/>
          <a:p>
            <a:pPr algn="ctr" defTabSz="813197"/>
            <a:r>
              <a:rPr lang="en-US" sz="1300" b="1" dirty="0">
                <a:solidFill>
                  <a:schemeClr val="bg1"/>
                </a:solidFill>
                <a:cs typeface="Verdana" panose="020B0604030504040204" pitchFamily="34" charset="0"/>
              </a:rPr>
              <a:t>Lorem ipsum</a:t>
            </a:r>
          </a:p>
        </p:txBody>
      </p:sp>
    </p:spTree>
    <p:custDataLst>
      <p:tags r:id="rId1"/>
    </p:custDataLst>
    <p:extLst>
      <p:ext uri="{BB962C8B-B14F-4D97-AF65-F5344CB8AC3E}">
        <p14:creationId xmlns:p14="http://schemas.microsoft.com/office/powerpoint/2010/main" val="1424103434"/>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8134910" y="1603531"/>
            <a:ext cx="3590365" cy="4687462"/>
            <a:chOff x="8134910" y="1603531"/>
            <a:chExt cx="3590365" cy="4687462"/>
          </a:xfrm>
        </p:grpSpPr>
        <p:sp>
          <p:nvSpPr>
            <p:cNvPr id="120" name="TextBox 31"/>
            <p:cNvSpPr txBox="1">
              <a:spLocks noChangeArrowheads="1"/>
            </p:cNvSpPr>
            <p:nvPr/>
          </p:nvSpPr>
          <p:spPr bwMode="auto">
            <a:xfrm>
              <a:off x="8187924" y="5245608"/>
              <a:ext cx="130555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000000"/>
                  </a:solidFill>
                  <a:latin typeface="+mn-lt"/>
                  <a:ea typeface="Lato Black" pitchFamily="34" charset="0"/>
                  <a:cs typeface="Lato Black" pitchFamily="34" charset="0"/>
                </a:rPr>
                <a:t>0%</a:t>
              </a:r>
              <a:endParaRPr lang="id-ID" sz="3200" b="1" dirty="0">
                <a:solidFill>
                  <a:srgbClr val="000000"/>
                </a:solidFill>
                <a:latin typeface="+mn-lt"/>
                <a:ea typeface="Lato Black" pitchFamily="34" charset="0"/>
                <a:cs typeface="Lato Black" pitchFamily="34" charset="0"/>
              </a:endParaRPr>
            </a:p>
          </p:txBody>
        </p:sp>
        <p:sp>
          <p:nvSpPr>
            <p:cNvPr id="73" name="TextBox 161"/>
            <p:cNvSpPr txBox="1"/>
            <p:nvPr/>
          </p:nvSpPr>
          <p:spPr>
            <a:xfrm>
              <a:off x="8134910" y="2048752"/>
              <a:ext cx="3590365" cy="400110"/>
            </a:xfrm>
            <a:prstGeom prst="rect">
              <a:avLst/>
            </a:prstGeom>
            <a:noFill/>
          </p:spPr>
          <p:txBody>
            <a:bodyPr wrap="square" lIns="0" tIns="0" rIns="0" bIns="0" rtlCol="0">
              <a:spAutoFit/>
            </a:bodyPr>
            <a:lstStyle/>
            <a:p>
              <a:r>
                <a:rPr lang="en-US" sz="1300" dirty="0"/>
                <a:t>This is dummy text. Please replace with text, modify the text content, also can copy your content to this.</a:t>
              </a:r>
            </a:p>
          </p:txBody>
        </p:sp>
        <p:sp>
          <p:nvSpPr>
            <p:cNvPr id="74" name="TextBox 31"/>
            <p:cNvSpPr txBox="1">
              <a:spLocks noChangeArrowheads="1"/>
            </p:cNvSpPr>
            <p:nvPr/>
          </p:nvSpPr>
          <p:spPr bwMode="auto">
            <a:xfrm>
              <a:off x="8134910" y="1603531"/>
              <a:ext cx="130555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75787B"/>
                  </a:solidFill>
                  <a:latin typeface="+mn-lt"/>
                  <a:ea typeface="Lato Black" pitchFamily="34" charset="0"/>
                  <a:cs typeface="Lato Black" pitchFamily="34" charset="0"/>
                </a:rPr>
                <a:t>0%</a:t>
              </a:r>
              <a:endParaRPr lang="id-ID" sz="3200" b="1" dirty="0">
                <a:solidFill>
                  <a:srgbClr val="75787B"/>
                </a:solidFill>
                <a:latin typeface="+mn-lt"/>
                <a:ea typeface="Lato Black" pitchFamily="34" charset="0"/>
                <a:cs typeface="Lato Black" pitchFamily="34" charset="0"/>
              </a:endParaRPr>
            </a:p>
          </p:txBody>
        </p:sp>
        <p:sp>
          <p:nvSpPr>
            <p:cNvPr id="84" name="TextBox 172"/>
            <p:cNvSpPr txBox="1"/>
            <p:nvPr/>
          </p:nvSpPr>
          <p:spPr>
            <a:xfrm>
              <a:off x="8439349" y="3133854"/>
              <a:ext cx="3285926" cy="600164"/>
            </a:xfrm>
            <a:prstGeom prst="rect">
              <a:avLst/>
            </a:prstGeom>
            <a:noFill/>
          </p:spPr>
          <p:txBody>
            <a:bodyPr wrap="square" lIns="0" tIns="0" rIns="0" bIns="0" rtlCol="0">
              <a:spAutoFit/>
            </a:bodyPr>
            <a:lstStyle/>
            <a:p>
              <a:r>
                <a:rPr lang="en-US" sz="1300" dirty="0"/>
                <a:t>This is dummy text. Please replace with text, modify the text content, also can copy your content to this directly. </a:t>
              </a:r>
            </a:p>
          </p:txBody>
        </p:sp>
        <p:sp>
          <p:nvSpPr>
            <p:cNvPr id="85" name="TextBox 31"/>
            <p:cNvSpPr txBox="1">
              <a:spLocks noChangeArrowheads="1"/>
            </p:cNvSpPr>
            <p:nvPr/>
          </p:nvSpPr>
          <p:spPr bwMode="auto">
            <a:xfrm>
              <a:off x="8439349" y="2688633"/>
              <a:ext cx="130555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86BC25"/>
                  </a:solidFill>
                  <a:latin typeface="+mn-lt"/>
                  <a:ea typeface="Lato Black" pitchFamily="34" charset="0"/>
                  <a:cs typeface="Lato Black" pitchFamily="34" charset="0"/>
                </a:rPr>
                <a:t>0%</a:t>
              </a:r>
              <a:endParaRPr lang="id-ID" sz="3200" b="1" dirty="0">
                <a:solidFill>
                  <a:srgbClr val="86BC25"/>
                </a:solidFill>
                <a:latin typeface="+mn-lt"/>
                <a:ea typeface="Lato Black" pitchFamily="34" charset="0"/>
                <a:cs typeface="Lato Black" pitchFamily="34" charset="0"/>
              </a:endParaRPr>
            </a:p>
          </p:txBody>
        </p:sp>
        <p:sp>
          <p:nvSpPr>
            <p:cNvPr id="101" name="TextBox 189"/>
            <p:cNvSpPr txBox="1"/>
            <p:nvPr/>
          </p:nvSpPr>
          <p:spPr>
            <a:xfrm>
              <a:off x="8984509" y="4309997"/>
              <a:ext cx="2740765" cy="800219"/>
            </a:xfrm>
            <a:prstGeom prst="rect">
              <a:avLst/>
            </a:prstGeom>
            <a:noFill/>
          </p:spPr>
          <p:txBody>
            <a:bodyPr wrap="square" lIns="0" tIns="0" rIns="0" bIns="0" rtlCol="0">
              <a:spAutoFit/>
            </a:bodyPr>
            <a:lstStyle/>
            <a:p>
              <a:r>
                <a:rPr lang="en-US" sz="1300" dirty="0"/>
                <a:t>This is dummy text. Please replace with text, modify the text content, also can copy your content to this directly. This is dummy text. </a:t>
              </a:r>
            </a:p>
          </p:txBody>
        </p:sp>
        <p:sp>
          <p:nvSpPr>
            <p:cNvPr id="102" name="TextBox 31"/>
            <p:cNvSpPr txBox="1">
              <a:spLocks noChangeArrowheads="1"/>
            </p:cNvSpPr>
            <p:nvPr/>
          </p:nvSpPr>
          <p:spPr bwMode="auto">
            <a:xfrm>
              <a:off x="8984510" y="3864776"/>
              <a:ext cx="130555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43B02A"/>
                  </a:solidFill>
                  <a:latin typeface="+mn-lt"/>
                  <a:ea typeface="Lato Black" pitchFamily="34" charset="0"/>
                  <a:cs typeface="Lato Black" pitchFamily="34" charset="0"/>
                </a:rPr>
                <a:t>0%</a:t>
              </a:r>
              <a:endParaRPr lang="id-ID" sz="3200" b="1" dirty="0">
                <a:solidFill>
                  <a:srgbClr val="43B02A"/>
                </a:solidFill>
                <a:latin typeface="+mn-lt"/>
                <a:ea typeface="Lato Black" pitchFamily="34" charset="0"/>
                <a:cs typeface="Lato Black" pitchFamily="34" charset="0"/>
              </a:endParaRPr>
            </a:p>
          </p:txBody>
        </p:sp>
        <p:sp>
          <p:nvSpPr>
            <p:cNvPr id="119" name="TextBox 207"/>
            <p:cNvSpPr txBox="1"/>
            <p:nvPr/>
          </p:nvSpPr>
          <p:spPr>
            <a:xfrm>
              <a:off x="8187924" y="5690829"/>
              <a:ext cx="3537350" cy="600164"/>
            </a:xfrm>
            <a:prstGeom prst="rect">
              <a:avLst/>
            </a:prstGeom>
            <a:noFill/>
          </p:spPr>
          <p:txBody>
            <a:bodyPr wrap="square" lIns="0" tIns="0" rIns="0" bIns="0" rtlCol="0">
              <a:spAutoFit/>
            </a:bodyPr>
            <a:lstStyle/>
            <a:p>
              <a:r>
                <a:rPr lang="en-US" sz="1300" dirty="0"/>
                <a:t>This is dummy text. Please replace with text, modify the text content, also can copy your content to this directly. This is dummy text. </a:t>
              </a:r>
            </a:p>
          </p:txBody>
        </p:sp>
      </p:grpSp>
      <p:grpSp>
        <p:nvGrpSpPr>
          <p:cNvPr id="7" name="Group 6"/>
          <p:cNvGrpSpPr/>
          <p:nvPr/>
        </p:nvGrpSpPr>
        <p:grpSpPr>
          <a:xfrm>
            <a:off x="476212" y="2845683"/>
            <a:ext cx="2950324" cy="3462216"/>
            <a:chOff x="476212" y="2845683"/>
            <a:chExt cx="2950324" cy="3462216"/>
          </a:xfrm>
        </p:grpSpPr>
        <p:sp>
          <p:nvSpPr>
            <p:cNvPr id="67" name="TextBox 155"/>
            <p:cNvSpPr txBox="1"/>
            <p:nvPr/>
          </p:nvSpPr>
          <p:spPr bwMode="auto">
            <a:xfrm>
              <a:off x="1256285" y="2938088"/>
              <a:ext cx="629403" cy="246221"/>
            </a:xfrm>
            <a:prstGeom prst="rect">
              <a:avLst/>
            </a:prstGeom>
            <a:noFill/>
          </p:spPr>
          <p:txBody>
            <a:bodyPr wrap="none" lIns="0" tIns="0" rIns="0" bIns="0">
              <a:spAutoFit/>
            </a:bodyPr>
            <a:lstStyle/>
            <a:p>
              <a:pPr defTabSz="1828434">
                <a:defRPr/>
              </a:pPr>
              <a:r>
                <a:rPr lang="id-ID" sz="1600" b="1" dirty="0">
                  <a:solidFill>
                    <a:srgbClr val="75787B"/>
                  </a:solidFill>
                  <a:ea typeface="Lato" pitchFamily="34" charset="0"/>
                  <a:cs typeface="Lato" pitchFamily="34" charset="0"/>
                </a:rPr>
                <a:t>Change</a:t>
              </a:r>
            </a:p>
          </p:txBody>
        </p:sp>
        <p:sp>
          <p:nvSpPr>
            <p:cNvPr id="68" name="TextBox 156"/>
            <p:cNvSpPr txBox="1"/>
            <p:nvPr/>
          </p:nvSpPr>
          <p:spPr>
            <a:xfrm>
              <a:off x="1256285" y="3185198"/>
              <a:ext cx="2170251" cy="400110"/>
            </a:xfrm>
            <a:prstGeom prst="rect">
              <a:avLst/>
            </a:prstGeom>
            <a:noFill/>
          </p:spPr>
          <p:txBody>
            <a:bodyPr wrap="square" lIns="0" tIns="0" rIns="0" bIns="0" rtlCol="0">
              <a:spAutoFit/>
            </a:bodyPr>
            <a:lstStyle/>
            <a:p>
              <a:r>
                <a:rPr lang="en-US" sz="1300" dirty="0"/>
                <a:t>The is just text to show where you could insert text.</a:t>
              </a:r>
              <a:endParaRPr lang="en-US" sz="1300" dirty="0">
                <a:solidFill>
                  <a:srgbClr val="000000"/>
                </a:solidFill>
                <a:ea typeface="Lato" pitchFamily="34" charset="0"/>
                <a:cs typeface="Lato" pitchFamily="34" charset="0"/>
              </a:endParaRPr>
            </a:p>
          </p:txBody>
        </p:sp>
        <p:sp>
          <p:nvSpPr>
            <p:cNvPr id="78" name="TextBox 166"/>
            <p:cNvSpPr txBox="1"/>
            <p:nvPr/>
          </p:nvSpPr>
          <p:spPr bwMode="auto">
            <a:xfrm>
              <a:off x="1256285" y="3832027"/>
              <a:ext cx="629403" cy="246221"/>
            </a:xfrm>
            <a:prstGeom prst="rect">
              <a:avLst/>
            </a:prstGeom>
            <a:noFill/>
          </p:spPr>
          <p:txBody>
            <a:bodyPr wrap="none" lIns="0" tIns="0" rIns="0" bIns="0">
              <a:spAutoFit/>
            </a:bodyPr>
            <a:lstStyle/>
            <a:p>
              <a:pPr defTabSz="1828434">
                <a:defRPr/>
              </a:pPr>
              <a:r>
                <a:rPr lang="id-ID" sz="1600" b="1" dirty="0">
                  <a:solidFill>
                    <a:srgbClr val="86BC25"/>
                  </a:solidFill>
                  <a:ea typeface="Lato" pitchFamily="34" charset="0"/>
                  <a:cs typeface="Lato" pitchFamily="34" charset="0"/>
                </a:rPr>
                <a:t>Change</a:t>
              </a:r>
            </a:p>
          </p:txBody>
        </p:sp>
        <p:sp>
          <p:nvSpPr>
            <p:cNvPr id="79" name="TextBox 167"/>
            <p:cNvSpPr txBox="1"/>
            <p:nvPr/>
          </p:nvSpPr>
          <p:spPr>
            <a:xfrm>
              <a:off x="1256285" y="4079138"/>
              <a:ext cx="2170251" cy="400110"/>
            </a:xfrm>
            <a:prstGeom prst="rect">
              <a:avLst/>
            </a:prstGeom>
            <a:noFill/>
          </p:spPr>
          <p:txBody>
            <a:bodyPr wrap="square" lIns="0" tIns="0" rIns="0" bIns="0" rtlCol="0">
              <a:spAutoFit/>
            </a:bodyPr>
            <a:lstStyle/>
            <a:p>
              <a:r>
                <a:rPr lang="en-US" sz="1300" dirty="0"/>
                <a:t>The is just text to show where you could insert text.</a:t>
              </a:r>
              <a:endParaRPr lang="en-US" sz="1300" dirty="0">
                <a:solidFill>
                  <a:srgbClr val="000000"/>
                </a:solidFill>
                <a:ea typeface="Lato" pitchFamily="34" charset="0"/>
                <a:cs typeface="Lato" pitchFamily="34" charset="0"/>
              </a:endParaRPr>
            </a:p>
          </p:txBody>
        </p:sp>
        <p:sp>
          <p:nvSpPr>
            <p:cNvPr id="95" name="TextBox 183"/>
            <p:cNvSpPr txBox="1"/>
            <p:nvPr/>
          </p:nvSpPr>
          <p:spPr bwMode="auto">
            <a:xfrm>
              <a:off x="1256285" y="4726804"/>
              <a:ext cx="629403" cy="246221"/>
            </a:xfrm>
            <a:prstGeom prst="rect">
              <a:avLst/>
            </a:prstGeom>
            <a:noFill/>
          </p:spPr>
          <p:txBody>
            <a:bodyPr wrap="none" lIns="0" tIns="0" rIns="0" bIns="0">
              <a:spAutoFit/>
            </a:bodyPr>
            <a:lstStyle/>
            <a:p>
              <a:pPr defTabSz="1828434">
                <a:defRPr/>
              </a:pPr>
              <a:r>
                <a:rPr lang="id-ID" sz="1600" b="1" dirty="0">
                  <a:solidFill>
                    <a:srgbClr val="43B02A"/>
                  </a:solidFill>
                  <a:ea typeface="Lato" pitchFamily="34" charset="0"/>
                  <a:cs typeface="Lato" pitchFamily="34" charset="0"/>
                </a:rPr>
                <a:t>Change</a:t>
              </a:r>
            </a:p>
          </p:txBody>
        </p:sp>
        <p:sp>
          <p:nvSpPr>
            <p:cNvPr id="96" name="TextBox 184"/>
            <p:cNvSpPr txBox="1"/>
            <p:nvPr/>
          </p:nvSpPr>
          <p:spPr>
            <a:xfrm>
              <a:off x="1256285" y="4973914"/>
              <a:ext cx="2170251" cy="400110"/>
            </a:xfrm>
            <a:prstGeom prst="rect">
              <a:avLst/>
            </a:prstGeom>
            <a:noFill/>
          </p:spPr>
          <p:txBody>
            <a:bodyPr wrap="square" lIns="0" tIns="0" rIns="0" bIns="0" rtlCol="0">
              <a:spAutoFit/>
            </a:bodyPr>
            <a:lstStyle/>
            <a:p>
              <a:r>
                <a:rPr lang="en-US" sz="1300" dirty="0"/>
                <a:t>The is just text to show where you could insert text.</a:t>
              </a:r>
              <a:endParaRPr lang="en-US" sz="1300" dirty="0">
                <a:solidFill>
                  <a:srgbClr val="000000"/>
                </a:solidFill>
                <a:ea typeface="Lato" pitchFamily="34" charset="0"/>
                <a:cs typeface="Lato" pitchFamily="34" charset="0"/>
              </a:endParaRPr>
            </a:p>
          </p:txBody>
        </p:sp>
        <p:sp>
          <p:nvSpPr>
            <p:cNvPr id="113" name="TextBox 201"/>
            <p:cNvSpPr txBox="1"/>
            <p:nvPr/>
          </p:nvSpPr>
          <p:spPr bwMode="auto">
            <a:xfrm>
              <a:off x="1256285" y="5660678"/>
              <a:ext cx="629403" cy="246221"/>
            </a:xfrm>
            <a:prstGeom prst="rect">
              <a:avLst/>
            </a:prstGeom>
            <a:noFill/>
          </p:spPr>
          <p:txBody>
            <a:bodyPr wrap="none" lIns="0" tIns="0" rIns="0" bIns="0">
              <a:spAutoFit/>
            </a:bodyPr>
            <a:lstStyle/>
            <a:p>
              <a:pPr defTabSz="1828434">
                <a:defRPr/>
              </a:pPr>
              <a:r>
                <a:rPr lang="id-ID" sz="1600" b="1" dirty="0">
                  <a:solidFill>
                    <a:srgbClr val="000000"/>
                  </a:solidFill>
                  <a:ea typeface="Lato" pitchFamily="34" charset="0"/>
                  <a:cs typeface="Lato" pitchFamily="34" charset="0"/>
                </a:rPr>
                <a:t>Change</a:t>
              </a:r>
            </a:p>
          </p:txBody>
        </p:sp>
        <p:sp>
          <p:nvSpPr>
            <p:cNvPr id="114" name="TextBox 202"/>
            <p:cNvSpPr txBox="1"/>
            <p:nvPr/>
          </p:nvSpPr>
          <p:spPr>
            <a:xfrm>
              <a:off x="1256285" y="5907789"/>
              <a:ext cx="2031136" cy="400110"/>
            </a:xfrm>
            <a:prstGeom prst="rect">
              <a:avLst/>
            </a:prstGeom>
            <a:noFill/>
          </p:spPr>
          <p:txBody>
            <a:bodyPr wrap="square" lIns="0" tIns="0" rIns="0" bIns="0" rtlCol="0">
              <a:spAutoFit/>
            </a:bodyPr>
            <a:lstStyle/>
            <a:p>
              <a:r>
                <a:rPr lang="en-US" sz="1300" dirty="0"/>
                <a:t>The is just text to show where you could insert text.</a:t>
              </a:r>
              <a:endParaRPr lang="en-US" sz="1300" dirty="0">
                <a:solidFill>
                  <a:srgbClr val="000000"/>
                </a:solidFill>
                <a:ea typeface="Lato" pitchFamily="34" charset="0"/>
                <a:cs typeface="Lato" pitchFamily="34" charset="0"/>
              </a:endParaRPr>
            </a:p>
          </p:txBody>
        </p:sp>
        <p:sp>
          <p:nvSpPr>
            <p:cNvPr id="121" name="Freeform 59"/>
            <p:cNvSpPr>
              <a:spLocks noChangeAspect="1" noEditPoints="1"/>
            </p:cNvSpPr>
            <p:nvPr/>
          </p:nvSpPr>
          <p:spPr bwMode="auto">
            <a:xfrm>
              <a:off x="476212" y="2845683"/>
              <a:ext cx="633762" cy="635624"/>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2" name="Freeform 59"/>
            <p:cNvSpPr>
              <a:spLocks noChangeAspect="1" noEditPoints="1"/>
            </p:cNvSpPr>
            <p:nvPr/>
          </p:nvSpPr>
          <p:spPr bwMode="auto">
            <a:xfrm>
              <a:off x="476212" y="3748608"/>
              <a:ext cx="633762" cy="635624"/>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3" name="Freeform 59"/>
            <p:cNvSpPr>
              <a:spLocks noChangeAspect="1" noEditPoints="1"/>
            </p:cNvSpPr>
            <p:nvPr/>
          </p:nvSpPr>
          <p:spPr bwMode="auto">
            <a:xfrm>
              <a:off x="476212" y="4651533"/>
              <a:ext cx="633762" cy="635624"/>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4" name="Freeform 59"/>
            <p:cNvSpPr>
              <a:spLocks noChangeAspect="1" noEditPoints="1"/>
            </p:cNvSpPr>
            <p:nvPr/>
          </p:nvSpPr>
          <p:spPr bwMode="auto">
            <a:xfrm>
              <a:off x="476212" y="5554459"/>
              <a:ext cx="633762" cy="635624"/>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3" name="Group 2"/>
          <p:cNvGrpSpPr/>
          <p:nvPr/>
        </p:nvGrpSpPr>
        <p:grpSpPr>
          <a:xfrm>
            <a:off x="3741738" y="2069741"/>
            <a:ext cx="4114800" cy="1666875"/>
            <a:chOff x="3741738" y="2069741"/>
            <a:chExt cx="4114800" cy="1666875"/>
          </a:xfrm>
        </p:grpSpPr>
        <p:sp>
          <p:nvSpPr>
            <p:cNvPr id="8" name="Freeform 5"/>
            <p:cNvSpPr>
              <a:spLocks/>
            </p:cNvSpPr>
            <p:nvPr/>
          </p:nvSpPr>
          <p:spPr bwMode="auto">
            <a:xfrm>
              <a:off x="3741738" y="2069741"/>
              <a:ext cx="4114800" cy="1666875"/>
            </a:xfrm>
            <a:custGeom>
              <a:avLst/>
              <a:gdLst>
                <a:gd name="T0" fmla="*/ 1275 w 1345"/>
                <a:gd name="T1" fmla="*/ 0 h 543"/>
                <a:gd name="T2" fmla="*/ 1125 w 1345"/>
                <a:gd name="T3" fmla="*/ 6 h 543"/>
                <a:gd name="T4" fmla="*/ 1125 w 1345"/>
                <a:gd name="T5" fmla="*/ 6 h 543"/>
                <a:gd name="T6" fmla="*/ 1018 w 1345"/>
                <a:gd name="T7" fmla="*/ 9 h 543"/>
                <a:gd name="T8" fmla="*/ 907 w 1345"/>
                <a:gd name="T9" fmla="*/ 160 h 543"/>
                <a:gd name="T10" fmla="*/ 1024 w 1345"/>
                <a:gd name="T11" fmla="*/ 157 h 543"/>
                <a:gd name="T12" fmla="*/ 965 w 1345"/>
                <a:gd name="T13" fmla="*/ 230 h 543"/>
                <a:gd name="T14" fmla="*/ 858 w 1345"/>
                <a:gd name="T15" fmla="*/ 271 h 543"/>
                <a:gd name="T16" fmla="*/ 858 w 1345"/>
                <a:gd name="T17" fmla="*/ 271 h 543"/>
                <a:gd name="T18" fmla="*/ 46 w 1345"/>
                <a:gd name="T19" fmla="*/ 273 h 543"/>
                <a:gd name="T20" fmla="*/ 0 w 1345"/>
                <a:gd name="T21" fmla="*/ 288 h 543"/>
                <a:gd name="T22" fmla="*/ 0 w 1345"/>
                <a:gd name="T23" fmla="*/ 399 h 543"/>
                <a:gd name="T24" fmla="*/ 0 w 1345"/>
                <a:gd name="T25" fmla="*/ 399 h 543"/>
                <a:gd name="T26" fmla="*/ 0 w 1345"/>
                <a:gd name="T27" fmla="*/ 543 h 543"/>
                <a:gd name="T28" fmla="*/ 46 w 1345"/>
                <a:gd name="T29" fmla="*/ 527 h 543"/>
                <a:gd name="T30" fmla="*/ 913 w 1345"/>
                <a:gd name="T31" fmla="*/ 527 h 543"/>
                <a:gd name="T32" fmla="*/ 923 w 1345"/>
                <a:gd name="T33" fmla="*/ 527 h 543"/>
                <a:gd name="T34" fmla="*/ 1103 w 1345"/>
                <a:gd name="T35" fmla="*/ 454 h 543"/>
                <a:gd name="T36" fmla="*/ 1211 w 1345"/>
                <a:gd name="T37" fmla="*/ 307 h 543"/>
                <a:gd name="T38" fmla="*/ 1235 w 1345"/>
                <a:gd name="T39" fmla="*/ 399 h 543"/>
                <a:gd name="T40" fmla="*/ 1345 w 1345"/>
                <a:gd name="T41" fmla="*/ 249 h 543"/>
                <a:gd name="T42" fmla="*/ 1275 w 1345"/>
                <a:gd name="T43" fmla="*/ 0 h 543"/>
                <a:gd name="T44" fmla="*/ 1275 w 1345"/>
                <a:gd name="T45"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45" h="543">
                  <a:moveTo>
                    <a:pt x="1275" y="0"/>
                  </a:moveTo>
                  <a:cubicBezTo>
                    <a:pt x="1125" y="6"/>
                    <a:pt x="1125" y="6"/>
                    <a:pt x="1125" y="6"/>
                  </a:cubicBezTo>
                  <a:cubicBezTo>
                    <a:pt x="1125" y="6"/>
                    <a:pt x="1125" y="6"/>
                    <a:pt x="1125" y="6"/>
                  </a:cubicBezTo>
                  <a:cubicBezTo>
                    <a:pt x="1018" y="9"/>
                    <a:pt x="1018" y="9"/>
                    <a:pt x="1018" y="9"/>
                  </a:cubicBezTo>
                  <a:cubicBezTo>
                    <a:pt x="907" y="160"/>
                    <a:pt x="907" y="160"/>
                    <a:pt x="907" y="160"/>
                  </a:cubicBezTo>
                  <a:cubicBezTo>
                    <a:pt x="1024" y="157"/>
                    <a:pt x="1024" y="157"/>
                    <a:pt x="1024" y="157"/>
                  </a:cubicBezTo>
                  <a:cubicBezTo>
                    <a:pt x="965" y="230"/>
                    <a:pt x="965" y="230"/>
                    <a:pt x="965" y="230"/>
                  </a:cubicBezTo>
                  <a:cubicBezTo>
                    <a:pt x="965" y="230"/>
                    <a:pt x="938" y="275"/>
                    <a:pt x="858" y="271"/>
                  </a:cubicBezTo>
                  <a:cubicBezTo>
                    <a:pt x="858" y="275"/>
                    <a:pt x="858" y="271"/>
                    <a:pt x="858" y="271"/>
                  </a:cubicBezTo>
                  <a:cubicBezTo>
                    <a:pt x="671" y="271"/>
                    <a:pt x="83" y="273"/>
                    <a:pt x="46" y="273"/>
                  </a:cubicBezTo>
                  <a:cubicBezTo>
                    <a:pt x="0" y="273"/>
                    <a:pt x="0" y="288"/>
                    <a:pt x="0" y="288"/>
                  </a:cubicBezTo>
                  <a:cubicBezTo>
                    <a:pt x="0" y="399"/>
                    <a:pt x="0" y="399"/>
                    <a:pt x="0" y="399"/>
                  </a:cubicBezTo>
                  <a:cubicBezTo>
                    <a:pt x="0" y="399"/>
                    <a:pt x="0" y="399"/>
                    <a:pt x="0" y="399"/>
                  </a:cubicBezTo>
                  <a:cubicBezTo>
                    <a:pt x="0" y="543"/>
                    <a:pt x="0" y="543"/>
                    <a:pt x="0" y="543"/>
                  </a:cubicBezTo>
                  <a:cubicBezTo>
                    <a:pt x="3" y="540"/>
                    <a:pt x="3" y="527"/>
                    <a:pt x="46" y="527"/>
                  </a:cubicBezTo>
                  <a:cubicBezTo>
                    <a:pt x="89" y="527"/>
                    <a:pt x="913" y="527"/>
                    <a:pt x="913" y="527"/>
                  </a:cubicBezTo>
                  <a:cubicBezTo>
                    <a:pt x="913" y="527"/>
                    <a:pt x="916" y="527"/>
                    <a:pt x="923" y="527"/>
                  </a:cubicBezTo>
                  <a:cubicBezTo>
                    <a:pt x="956" y="527"/>
                    <a:pt x="1057" y="518"/>
                    <a:pt x="1103" y="454"/>
                  </a:cubicBezTo>
                  <a:cubicBezTo>
                    <a:pt x="1131" y="420"/>
                    <a:pt x="1171" y="359"/>
                    <a:pt x="1211" y="307"/>
                  </a:cubicBezTo>
                  <a:cubicBezTo>
                    <a:pt x="1235" y="399"/>
                    <a:pt x="1235" y="399"/>
                    <a:pt x="1235" y="399"/>
                  </a:cubicBezTo>
                  <a:cubicBezTo>
                    <a:pt x="1345" y="249"/>
                    <a:pt x="1345" y="249"/>
                    <a:pt x="1345" y="249"/>
                  </a:cubicBezTo>
                  <a:cubicBezTo>
                    <a:pt x="1275" y="0"/>
                    <a:pt x="1275" y="0"/>
                    <a:pt x="1275" y="0"/>
                  </a:cubicBezTo>
                  <a:cubicBezTo>
                    <a:pt x="1275" y="0"/>
                    <a:pt x="1275" y="0"/>
                    <a:pt x="1275" y="0"/>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US" sz="1300"/>
            </a:p>
          </p:txBody>
        </p:sp>
        <p:sp>
          <p:nvSpPr>
            <p:cNvPr id="71" name="TextBox 159"/>
            <p:cNvSpPr txBox="1"/>
            <p:nvPr/>
          </p:nvSpPr>
          <p:spPr>
            <a:xfrm>
              <a:off x="3963819" y="2994218"/>
              <a:ext cx="2170251" cy="200055"/>
            </a:xfrm>
            <a:prstGeom prst="rect">
              <a:avLst/>
            </a:prstGeom>
            <a:noFill/>
          </p:spPr>
          <p:txBody>
            <a:bodyPr wrap="square" lIns="0" tIns="0" rIns="0" bIns="0" rtlCol="0">
              <a:spAutoFit/>
            </a:bodyPr>
            <a:lstStyle/>
            <a:p>
              <a:r>
                <a:rPr lang="en-US" sz="1300" dirty="0">
                  <a:solidFill>
                    <a:schemeClr val="bg1"/>
                  </a:solidFill>
                  <a:ea typeface="Lato" pitchFamily="34" charset="0"/>
                  <a:cs typeface="Lato" pitchFamily="34" charset="0"/>
                </a:rPr>
                <a:t>Please replace with text</a:t>
              </a:r>
            </a:p>
          </p:txBody>
        </p:sp>
      </p:grpSp>
      <p:grpSp>
        <p:nvGrpSpPr>
          <p:cNvPr id="4" name="Group 3"/>
          <p:cNvGrpSpPr/>
          <p:nvPr/>
        </p:nvGrpSpPr>
        <p:grpSpPr>
          <a:xfrm>
            <a:off x="3735388" y="2864021"/>
            <a:ext cx="3635375" cy="1733550"/>
            <a:chOff x="3735388" y="2864021"/>
            <a:chExt cx="3635375" cy="1733550"/>
          </a:xfrm>
        </p:grpSpPr>
        <p:sp>
          <p:nvSpPr>
            <p:cNvPr id="11" name="Freeform 9"/>
            <p:cNvSpPr>
              <a:spLocks/>
            </p:cNvSpPr>
            <p:nvPr/>
          </p:nvSpPr>
          <p:spPr bwMode="auto">
            <a:xfrm>
              <a:off x="3735388" y="2864021"/>
              <a:ext cx="3635375" cy="1733550"/>
            </a:xfrm>
            <a:custGeom>
              <a:avLst/>
              <a:gdLst>
                <a:gd name="T0" fmla="*/ 1063 w 1134"/>
                <a:gd name="T1" fmla="*/ 0 h 539"/>
                <a:gd name="T2" fmla="*/ 910 w 1134"/>
                <a:gd name="T3" fmla="*/ 3 h 539"/>
                <a:gd name="T4" fmla="*/ 910 w 1134"/>
                <a:gd name="T5" fmla="*/ 3 h 539"/>
                <a:gd name="T6" fmla="*/ 803 w 1134"/>
                <a:gd name="T7" fmla="*/ 6 h 539"/>
                <a:gd name="T8" fmla="*/ 693 w 1134"/>
                <a:gd name="T9" fmla="*/ 159 h 539"/>
                <a:gd name="T10" fmla="*/ 809 w 1134"/>
                <a:gd name="T11" fmla="*/ 153 h 539"/>
                <a:gd name="T12" fmla="*/ 751 w 1134"/>
                <a:gd name="T13" fmla="*/ 227 h 539"/>
                <a:gd name="T14" fmla="*/ 644 w 1134"/>
                <a:gd name="T15" fmla="*/ 269 h 539"/>
                <a:gd name="T16" fmla="*/ 644 w 1134"/>
                <a:gd name="T17" fmla="*/ 269 h 539"/>
                <a:gd name="T18" fmla="*/ 46 w 1134"/>
                <a:gd name="T19" fmla="*/ 269 h 539"/>
                <a:gd name="T20" fmla="*/ 0 w 1134"/>
                <a:gd name="T21" fmla="*/ 288 h 539"/>
                <a:gd name="T22" fmla="*/ 0 w 1134"/>
                <a:gd name="T23" fmla="*/ 395 h 539"/>
                <a:gd name="T24" fmla="*/ 0 w 1134"/>
                <a:gd name="T25" fmla="*/ 395 h 539"/>
                <a:gd name="T26" fmla="*/ 0 w 1134"/>
                <a:gd name="T27" fmla="*/ 539 h 539"/>
                <a:gd name="T28" fmla="*/ 46 w 1134"/>
                <a:gd name="T29" fmla="*/ 524 h 539"/>
                <a:gd name="T30" fmla="*/ 665 w 1134"/>
                <a:gd name="T31" fmla="*/ 524 h 539"/>
                <a:gd name="T32" fmla="*/ 699 w 1134"/>
                <a:gd name="T33" fmla="*/ 524 h 539"/>
                <a:gd name="T34" fmla="*/ 889 w 1134"/>
                <a:gd name="T35" fmla="*/ 450 h 539"/>
                <a:gd name="T36" fmla="*/ 996 w 1134"/>
                <a:gd name="T37" fmla="*/ 303 h 539"/>
                <a:gd name="T38" fmla="*/ 1024 w 1134"/>
                <a:gd name="T39" fmla="*/ 398 h 539"/>
                <a:gd name="T40" fmla="*/ 1134 w 1134"/>
                <a:gd name="T41" fmla="*/ 248 h 539"/>
                <a:gd name="T42" fmla="*/ 1063 w 1134"/>
                <a:gd name="T43" fmla="*/ 0 h 539"/>
                <a:gd name="T44" fmla="*/ 1063 w 1134"/>
                <a:gd name="T45"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34" h="539">
                  <a:moveTo>
                    <a:pt x="1063" y="0"/>
                  </a:moveTo>
                  <a:cubicBezTo>
                    <a:pt x="910" y="3"/>
                    <a:pt x="910" y="3"/>
                    <a:pt x="910" y="3"/>
                  </a:cubicBezTo>
                  <a:cubicBezTo>
                    <a:pt x="910" y="3"/>
                    <a:pt x="910" y="3"/>
                    <a:pt x="910" y="3"/>
                  </a:cubicBezTo>
                  <a:cubicBezTo>
                    <a:pt x="803" y="6"/>
                    <a:pt x="803" y="6"/>
                    <a:pt x="803" y="6"/>
                  </a:cubicBezTo>
                  <a:cubicBezTo>
                    <a:pt x="693" y="159"/>
                    <a:pt x="693" y="159"/>
                    <a:pt x="693" y="159"/>
                  </a:cubicBezTo>
                  <a:cubicBezTo>
                    <a:pt x="809" y="153"/>
                    <a:pt x="809" y="153"/>
                    <a:pt x="809" y="153"/>
                  </a:cubicBezTo>
                  <a:cubicBezTo>
                    <a:pt x="751" y="227"/>
                    <a:pt x="751" y="227"/>
                    <a:pt x="751" y="227"/>
                  </a:cubicBezTo>
                  <a:cubicBezTo>
                    <a:pt x="751" y="227"/>
                    <a:pt x="723" y="269"/>
                    <a:pt x="644" y="269"/>
                  </a:cubicBezTo>
                  <a:cubicBezTo>
                    <a:pt x="644" y="269"/>
                    <a:pt x="644" y="269"/>
                    <a:pt x="644" y="269"/>
                  </a:cubicBezTo>
                  <a:cubicBezTo>
                    <a:pt x="539" y="269"/>
                    <a:pt x="86" y="269"/>
                    <a:pt x="46" y="269"/>
                  </a:cubicBezTo>
                  <a:cubicBezTo>
                    <a:pt x="0" y="269"/>
                    <a:pt x="0" y="288"/>
                    <a:pt x="0" y="288"/>
                  </a:cubicBezTo>
                  <a:cubicBezTo>
                    <a:pt x="0" y="395"/>
                    <a:pt x="0" y="395"/>
                    <a:pt x="0" y="395"/>
                  </a:cubicBezTo>
                  <a:cubicBezTo>
                    <a:pt x="0" y="395"/>
                    <a:pt x="0" y="395"/>
                    <a:pt x="0" y="395"/>
                  </a:cubicBezTo>
                  <a:cubicBezTo>
                    <a:pt x="0" y="539"/>
                    <a:pt x="0" y="539"/>
                    <a:pt x="0" y="539"/>
                  </a:cubicBezTo>
                  <a:cubicBezTo>
                    <a:pt x="3" y="536"/>
                    <a:pt x="3" y="524"/>
                    <a:pt x="46" y="524"/>
                  </a:cubicBezTo>
                  <a:cubicBezTo>
                    <a:pt x="89" y="524"/>
                    <a:pt x="665" y="524"/>
                    <a:pt x="665" y="524"/>
                  </a:cubicBezTo>
                  <a:cubicBezTo>
                    <a:pt x="699" y="524"/>
                    <a:pt x="699" y="524"/>
                    <a:pt x="699" y="524"/>
                  </a:cubicBezTo>
                  <a:cubicBezTo>
                    <a:pt x="699" y="524"/>
                    <a:pt x="834" y="527"/>
                    <a:pt x="889" y="450"/>
                  </a:cubicBezTo>
                  <a:cubicBezTo>
                    <a:pt x="916" y="416"/>
                    <a:pt x="959" y="358"/>
                    <a:pt x="996" y="303"/>
                  </a:cubicBezTo>
                  <a:cubicBezTo>
                    <a:pt x="1024" y="398"/>
                    <a:pt x="1024" y="398"/>
                    <a:pt x="1024" y="398"/>
                  </a:cubicBezTo>
                  <a:cubicBezTo>
                    <a:pt x="1134" y="248"/>
                    <a:pt x="1134" y="248"/>
                    <a:pt x="1134" y="248"/>
                  </a:cubicBezTo>
                  <a:cubicBezTo>
                    <a:pt x="1063" y="0"/>
                    <a:pt x="1063" y="0"/>
                    <a:pt x="1063" y="0"/>
                  </a:cubicBezTo>
                  <a:cubicBezTo>
                    <a:pt x="1063" y="0"/>
                    <a:pt x="1063" y="0"/>
                    <a:pt x="1063" y="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sz="1300"/>
            </a:p>
          </p:txBody>
        </p:sp>
        <p:sp>
          <p:nvSpPr>
            <p:cNvPr id="82" name="TextBox 170"/>
            <p:cNvSpPr txBox="1"/>
            <p:nvPr/>
          </p:nvSpPr>
          <p:spPr>
            <a:xfrm>
              <a:off x="3911007" y="3895773"/>
              <a:ext cx="2170252" cy="200055"/>
            </a:xfrm>
            <a:prstGeom prst="rect">
              <a:avLst/>
            </a:prstGeom>
            <a:noFill/>
          </p:spPr>
          <p:txBody>
            <a:bodyPr wrap="square" lIns="0" tIns="0" rIns="0" bIns="0" rtlCol="0">
              <a:spAutoFit/>
            </a:bodyPr>
            <a:lstStyle/>
            <a:p>
              <a:r>
                <a:rPr lang="en-US" sz="1300" dirty="0">
                  <a:solidFill>
                    <a:schemeClr val="bg1"/>
                  </a:solidFill>
                  <a:ea typeface="Lato" pitchFamily="34" charset="0"/>
                  <a:cs typeface="Lato" pitchFamily="34" charset="0"/>
                </a:rPr>
                <a:t>Please replace with text</a:t>
              </a:r>
            </a:p>
          </p:txBody>
        </p:sp>
      </p:grpSp>
      <p:grpSp>
        <p:nvGrpSpPr>
          <p:cNvPr id="5" name="Group 4"/>
          <p:cNvGrpSpPr/>
          <p:nvPr/>
        </p:nvGrpSpPr>
        <p:grpSpPr>
          <a:xfrm>
            <a:off x="3738563" y="3715450"/>
            <a:ext cx="4854575" cy="1738312"/>
            <a:chOff x="3738563" y="3715450"/>
            <a:chExt cx="4854575" cy="1738312"/>
          </a:xfrm>
        </p:grpSpPr>
        <p:sp>
          <p:nvSpPr>
            <p:cNvPr id="14" name="Freeform 13"/>
            <p:cNvSpPr>
              <a:spLocks/>
            </p:cNvSpPr>
            <p:nvPr/>
          </p:nvSpPr>
          <p:spPr bwMode="auto">
            <a:xfrm>
              <a:off x="3738563" y="3715450"/>
              <a:ext cx="4854575" cy="1738312"/>
            </a:xfrm>
            <a:custGeom>
              <a:avLst/>
              <a:gdLst>
                <a:gd name="T0" fmla="*/ 1440 w 1510"/>
                <a:gd name="T1" fmla="*/ 0 h 539"/>
                <a:gd name="T2" fmla="*/ 1287 w 1510"/>
                <a:gd name="T3" fmla="*/ 6 h 539"/>
                <a:gd name="T4" fmla="*/ 1287 w 1510"/>
                <a:gd name="T5" fmla="*/ 6 h 539"/>
                <a:gd name="T6" fmla="*/ 1179 w 1510"/>
                <a:gd name="T7" fmla="*/ 9 h 539"/>
                <a:gd name="T8" fmla="*/ 1069 w 1510"/>
                <a:gd name="T9" fmla="*/ 159 h 539"/>
                <a:gd name="T10" fmla="*/ 1185 w 1510"/>
                <a:gd name="T11" fmla="*/ 156 h 539"/>
                <a:gd name="T12" fmla="*/ 1127 w 1510"/>
                <a:gd name="T13" fmla="*/ 227 h 539"/>
                <a:gd name="T14" fmla="*/ 1045 w 1510"/>
                <a:gd name="T15" fmla="*/ 269 h 539"/>
                <a:gd name="T16" fmla="*/ 46 w 1510"/>
                <a:gd name="T17" fmla="*/ 269 h 539"/>
                <a:gd name="T18" fmla="*/ 0 w 1510"/>
                <a:gd name="T19" fmla="*/ 288 h 539"/>
                <a:gd name="T20" fmla="*/ 0 w 1510"/>
                <a:gd name="T21" fmla="*/ 395 h 539"/>
                <a:gd name="T22" fmla="*/ 0 w 1510"/>
                <a:gd name="T23" fmla="*/ 395 h 539"/>
                <a:gd name="T24" fmla="*/ 0 w 1510"/>
                <a:gd name="T25" fmla="*/ 539 h 539"/>
                <a:gd name="T26" fmla="*/ 46 w 1510"/>
                <a:gd name="T27" fmla="*/ 524 h 539"/>
                <a:gd name="T28" fmla="*/ 1090 w 1510"/>
                <a:gd name="T29" fmla="*/ 524 h 539"/>
                <a:gd name="T30" fmla="*/ 1094 w 1510"/>
                <a:gd name="T31" fmla="*/ 524 h 539"/>
                <a:gd name="T32" fmla="*/ 1265 w 1510"/>
                <a:gd name="T33" fmla="*/ 453 h 539"/>
                <a:gd name="T34" fmla="*/ 1372 w 1510"/>
                <a:gd name="T35" fmla="*/ 306 h 539"/>
                <a:gd name="T36" fmla="*/ 1400 w 1510"/>
                <a:gd name="T37" fmla="*/ 398 h 539"/>
                <a:gd name="T38" fmla="*/ 1510 w 1510"/>
                <a:gd name="T39" fmla="*/ 248 h 539"/>
                <a:gd name="T40" fmla="*/ 1440 w 1510"/>
                <a:gd name="T41" fmla="*/ 0 h 539"/>
                <a:gd name="T42" fmla="*/ 1440 w 1510"/>
                <a:gd name="T43"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10" h="539">
                  <a:moveTo>
                    <a:pt x="1440" y="0"/>
                  </a:moveTo>
                  <a:cubicBezTo>
                    <a:pt x="1287" y="6"/>
                    <a:pt x="1287" y="6"/>
                    <a:pt x="1287" y="6"/>
                  </a:cubicBezTo>
                  <a:cubicBezTo>
                    <a:pt x="1287" y="6"/>
                    <a:pt x="1287" y="6"/>
                    <a:pt x="1287" y="6"/>
                  </a:cubicBezTo>
                  <a:cubicBezTo>
                    <a:pt x="1179" y="9"/>
                    <a:pt x="1179" y="9"/>
                    <a:pt x="1179" y="9"/>
                  </a:cubicBezTo>
                  <a:cubicBezTo>
                    <a:pt x="1069" y="159"/>
                    <a:pt x="1069" y="159"/>
                    <a:pt x="1069" y="159"/>
                  </a:cubicBezTo>
                  <a:cubicBezTo>
                    <a:pt x="1185" y="156"/>
                    <a:pt x="1185" y="156"/>
                    <a:pt x="1185" y="156"/>
                  </a:cubicBezTo>
                  <a:cubicBezTo>
                    <a:pt x="1127" y="227"/>
                    <a:pt x="1127" y="227"/>
                    <a:pt x="1127" y="227"/>
                  </a:cubicBezTo>
                  <a:cubicBezTo>
                    <a:pt x="1127" y="227"/>
                    <a:pt x="1106" y="263"/>
                    <a:pt x="1045" y="269"/>
                  </a:cubicBezTo>
                  <a:cubicBezTo>
                    <a:pt x="848" y="269"/>
                    <a:pt x="82" y="269"/>
                    <a:pt x="46" y="269"/>
                  </a:cubicBezTo>
                  <a:cubicBezTo>
                    <a:pt x="0" y="269"/>
                    <a:pt x="0" y="288"/>
                    <a:pt x="0" y="288"/>
                  </a:cubicBezTo>
                  <a:cubicBezTo>
                    <a:pt x="0" y="395"/>
                    <a:pt x="0" y="395"/>
                    <a:pt x="0" y="395"/>
                  </a:cubicBezTo>
                  <a:cubicBezTo>
                    <a:pt x="0" y="395"/>
                    <a:pt x="0" y="395"/>
                    <a:pt x="0" y="395"/>
                  </a:cubicBezTo>
                  <a:cubicBezTo>
                    <a:pt x="0" y="539"/>
                    <a:pt x="0" y="539"/>
                    <a:pt x="0" y="539"/>
                  </a:cubicBezTo>
                  <a:cubicBezTo>
                    <a:pt x="3" y="536"/>
                    <a:pt x="3" y="524"/>
                    <a:pt x="46" y="524"/>
                  </a:cubicBezTo>
                  <a:cubicBezTo>
                    <a:pt x="89" y="524"/>
                    <a:pt x="1090" y="524"/>
                    <a:pt x="1090" y="524"/>
                  </a:cubicBezTo>
                  <a:cubicBezTo>
                    <a:pt x="1090" y="524"/>
                    <a:pt x="1090" y="524"/>
                    <a:pt x="1094" y="524"/>
                  </a:cubicBezTo>
                  <a:cubicBezTo>
                    <a:pt x="1133" y="521"/>
                    <a:pt x="1222" y="512"/>
                    <a:pt x="1265" y="453"/>
                  </a:cubicBezTo>
                  <a:cubicBezTo>
                    <a:pt x="1293" y="417"/>
                    <a:pt x="1336" y="358"/>
                    <a:pt x="1372" y="306"/>
                  </a:cubicBezTo>
                  <a:cubicBezTo>
                    <a:pt x="1400" y="398"/>
                    <a:pt x="1400" y="398"/>
                    <a:pt x="1400" y="398"/>
                  </a:cubicBezTo>
                  <a:cubicBezTo>
                    <a:pt x="1510" y="248"/>
                    <a:pt x="1510" y="248"/>
                    <a:pt x="1510" y="248"/>
                  </a:cubicBezTo>
                  <a:cubicBezTo>
                    <a:pt x="1440" y="0"/>
                    <a:pt x="1440" y="0"/>
                    <a:pt x="1440" y="0"/>
                  </a:cubicBezTo>
                  <a:cubicBezTo>
                    <a:pt x="1440" y="0"/>
                    <a:pt x="1440" y="0"/>
                    <a:pt x="1440"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sz="1300"/>
            </a:p>
          </p:txBody>
        </p:sp>
        <p:sp>
          <p:nvSpPr>
            <p:cNvPr id="99" name="TextBox 187"/>
            <p:cNvSpPr txBox="1"/>
            <p:nvPr/>
          </p:nvSpPr>
          <p:spPr>
            <a:xfrm>
              <a:off x="3911007" y="4752456"/>
              <a:ext cx="2170250" cy="200055"/>
            </a:xfrm>
            <a:prstGeom prst="rect">
              <a:avLst/>
            </a:prstGeom>
            <a:noFill/>
          </p:spPr>
          <p:txBody>
            <a:bodyPr wrap="square" lIns="0" tIns="0" rIns="0" bIns="0" rtlCol="0">
              <a:spAutoFit/>
            </a:bodyPr>
            <a:lstStyle/>
            <a:p>
              <a:r>
                <a:rPr lang="en-US" sz="1300" dirty="0">
                  <a:solidFill>
                    <a:schemeClr val="bg1"/>
                  </a:solidFill>
                  <a:ea typeface="Lato" pitchFamily="34" charset="0"/>
                  <a:cs typeface="Lato" pitchFamily="34" charset="0"/>
                </a:rPr>
                <a:t>Please replace with text</a:t>
              </a:r>
            </a:p>
          </p:txBody>
        </p:sp>
      </p:grpSp>
      <p:grpSp>
        <p:nvGrpSpPr>
          <p:cNvPr id="6" name="Group 5"/>
          <p:cNvGrpSpPr/>
          <p:nvPr/>
        </p:nvGrpSpPr>
        <p:grpSpPr>
          <a:xfrm>
            <a:off x="3738563" y="4571642"/>
            <a:ext cx="4037012" cy="1752600"/>
            <a:chOff x="3738563" y="4571642"/>
            <a:chExt cx="4037012" cy="1752600"/>
          </a:xfrm>
        </p:grpSpPr>
        <p:sp>
          <p:nvSpPr>
            <p:cNvPr id="17" name="Freeform 17"/>
            <p:cNvSpPr>
              <a:spLocks/>
            </p:cNvSpPr>
            <p:nvPr/>
          </p:nvSpPr>
          <p:spPr bwMode="auto">
            <a:xfrm>
              <a:off x="3738563" y="4571642"/>
              <a:ext cx="4037012" cy="1752600"/>
            </a:xfrm>
            <a:custGeom>
              <a:avLst/>
              <a:gdLst>
                <a:gd name="T0" fmla="*/ 1183 w 1254"/>
                <a:gd name="T1" fmla="*/ 0 h 543"/>
                <a:gd name="T2" fmla="*/ 923 w 1254"/>
                <a:gd name="T3" fmla="*/ 10 h 543"/>
                <a:gd name="T4" fmla="*/ 812 w 1254"/>
                <a:gd name="T5" fmla="*/ 160 h 543"/>
                <a:gd name="T6" fmla="*/ 929 w 1254"/>
                <a:gd name="T7" fmla="*/ 157 h 543"/>
                <a:gd name="T8" fmla="*/ 871 w 1254"/>
                <a:gd name="T9" fmla="*/ 227 h 543"/>
                <a:gd name="T10" fmla="*/ 763 w 1254"/>
                <a:gd name="T11" fmla="*/ 273 h 543"/>
                <a:gd name="T12" fmla="*/ 763 w 1254"/>
                <a:gd name="T13" fmla="*/ 273 h 543"/>
                <a:gd name="T14" fmla="*/ 46 w 1254"/>
                <a:gd name="T15" fmla="*/ 273 h 543"/>
                <a:gd name="T16" fmla="*/ 0 w 1254"/>
                <a:gd name="T17" fmla="*/ 289 h 543"/>
                <a:gd name="T18" fmla="*/ 0 w 1254"/>
                <a:gd name="T19" fmla="*/ 399 h 543"/>
                <a:gd name="T20" fmla="*/ 0 w 1254"/>
                <a:gd name="T21" fmla="*/ 399 h 543"/>
                <a:gd name="T22" fmla="*/ 0 w 1254"/>
                <a:gd name="T23" fmla="*/ 543 h 543"/>
                <a:gd name="T24" fmla="*/ 46 w 1254"/>
                <a:gd name="T25" fmla="*/ 528 h 543"/>
                <a:gd name="T26" fmla="*/ 818 w 1254"/>
                <a:gd name="T27" fmla="*/ 521 h 543"/>
                <a:gd name="T28" fmla="*/ 1008 w 1254"/>
                <a:gd name="T29" fmla="*/ 454 h 543"/>
                <a:gd name="T30" fmla="*/ 1116 w 1254"/>
                <a:gd name="T31" fmla="*/ 304 h 543"/>
                <a:gd name="T32" fmla="*/ 1143 w 1254"/>
                <a:gd name="T33" fmla="*/ 399 h 543"/>
                <a:gd name="T34" fmla="*/ 1254 w 1254"/>
                <a:gd name="T35" fmla="*/ 249 h 543"/>
                <a:gd name="T36" fmla="*/ 1183 w 1254"/>
                <a:gd name="T37" fmla="*/ 0 h 543"/>
                <a:gd name="T38" fmla="*/ 1183 w 1254"/>
                <a:gd name="T39"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4" h="543">
                  <a:moveTo>
                    <a:pt x="1183" y="0"/>
                  </a:moveTo>
                  <a:cubicBezTo>
                    <a:pt x="1030" y="4"/>
                    <a:pt x="923" y="10"/>
                    <a:pt x="923" y="10"/>
                  </a:cubicBezTo>
                  <a:cubicBezTo>
                    <a:pt x="812" y="160"/>
                    <a:pt x="812" y="160"/>
                    <a:pt x="812" y="160"/>
                  </a:cubicBezTo>
                  <a:cubicBezTo>
                    <a:pt x="929" y="157"/>
                    <a:pt x="929" y="157"/>
                    <a:pt x="929" y="157"/>
                  </a:cubicBezTo>
                  <a:cubicBezTo>
                    <a:pt x="871" y="227"/>
                    <a:pt x="871" y="227"/>
                    <a:pt x="871" y="227"/>
                  </a:cubicBezTo>
                  <a:cubicBezTo>
                    <a:pt x="871" y="227"/>
                    <a:pt x="843" y="273"/>
                    <a:pt x="763" y="273"/>
                  </a:cubicBezTo>
                  <a:cubicBezTo>
                    <a:pt x="763" y="276"/>
                    <a:pt x="763" y="273"/>
                    <a:pt x="763" y="273"/>
                  </a:cubicBezTo>
                  <a:cubicBezTo>
                    <a:pt x="659" y="273"/>
                    <a:pt x="86" y="273"/>
                    <a:pt x="46" y="273"/>
                  </a:cubicBezTo>
                  <a:cubicBezTo>
                    <a:pt x="0" y="273"/>
                    <a:pt x="0" y="289"/>
                    <a:pt x="0" y="289"/>
                  </a:cubicBezTo>
                  <a:cubicBezTo>
                    <a:pt x="0" y="399"/>
                    <a:pt x="0" y="399"/>
                    <a:pt x="0" y="399"/>
                  </a:cubicBezTo>
                  <a:cubicBezTo>
                    <a:pt x="0" y="399"/>
                    <a:pt x="0" y="399"/>
                    <a:pt x="0" y="399"/>
                  </a:cubicBezTo>
                  <a:cubicBezTo>
                    <a:pt x="0" y="543"/>
                    <a:pt x="0" y="543"/>
                    <a:pt x="0" y="543"/>
                  </a:cubicBezTo>
                  <a:cubicBezTo>
                    <a:pt x="3" y="540"/>
                    <a:pt x="3" y="528"/>
                    <a:pt x="46" y="528"/>
                  </a:cubicBezTo>
                  <a:cubicBezTo>
                    <a:pt x="89" y="528"/>
                    <a:pt x="818" y="521"/>
                    <a:pt x="818" y="521"/>
                  </a:cubicBezTo>
                  <a:cubicBezTo>
                    <a:pt x="818" y="521"/>
                    <a:pt x="953" y="528"/>
                    <a:pt x="1008" y="454"/>
                  </a:cubicBezTo>
                  <a:cubicBezTo>
                    <a:pt x="1036" y="417"/>
                    <a:pt x="1079" y="359"/>
                    <a:pt x="1116" y="304"/>
                  </a:cubicBezTo>
                  <a:cubicBezTo>
                    <a:pt x="1143" y="399"/>
                    <a:pt x="1143" y="399"/>
                    <a:pt x="1143" y="399"/>
                  </a:cubicBezTo>
                  <a:cubicBezTo>
                    <a:pt x="1254" y="249"/>
                    <a:pt x="1254" y="249"/>
                    <a:pt x="1254" y="249"/>
                  </a:cubicBezTo>
                  <a:cubicBezTo>
                    <a:pt x="1183" y="0"/>
                    <a:pt x="1183" y="0"/>
                    <a:pt x="1183" y="0"/>
                  </a:cubicBezTo>
                  <a:cubicBezTo>
                    <a:pt x="1183" y="0"/>
                    <a:pt x="1183" y="0"/>
                    <a:pt x="1183" y="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sz="1300"/>
            </a:p>
          </p:txBody>
        </p:sp>
        <p:sp>
          <p:nvSpPr>
            <p:cNvPr id="117" name="TextBox 205"/>
            <p:cNvSpPr txBox="1"/>
            <p:nvPr/>
          </p:nvSpPr>
          <p:spPr>
            <a:xfrm>
              <a:off x="3911007" y="5624659"/>
              <a:ext cx="2170253" cy="200055"/>
            </a:xfrm>
            <a:prstGeom prst="rect">
              <a:avLst/>
            </a:prstGeom>
            <a:noFill/>
          </p:spPr>
          <p:txBody>
            <a:bodyPr wrap="square" lIns="0" tIns="0" rIns="0" bIns="0" rtlCol="0">
              <a:spAutoFit/>
            </a:bodyPr>
            <a:lstStyle/>
            <a:p>
              <a:r>
                <a:rPr lang="en-US" sz="1300" dirty="0">
                  <a:solidFill>
                    <a:schemeClr val="bg1"/>
                  </a:solidFill>
                  <a:ea typeface="Lato" pitchFamily="34" charset="0"/>
                  <a:cs typeface="Lato" pitchFamily="34" charset="0"/>
                </a:rPr>
                <a:t>Please replace with text</a:t>
              </a:r>
            </a:p>
          </p:txBody>
        </p:sp>
      </p:grpSp>
    </p:spTree>
    <p:custDataLst>
      <p:tags r:id="rId1"/>
    </p:custDataLst>
    <p:extLst>
      <p:ext uri="{BB962C8B-B14F-4D97-AF65-F5344CB8AC3E}">
        <p14:creationId xmlns:p14="http://schemas.microsoft.com/office/powerpoint/2010/main" val="216292357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0C6FFBC4-0C44-0D49-AF96-FE73E0B461E8}"/>
              </a:ext>
            </a:extLst>
          </p:cNvPr>
          <p:cNvSpPr/>
          <p:nvPr/>
        </p:nvSpPr>
        <p:spPr>
          <a:xfrm>
            <a:off x="1111250" y="2682987"/>
            <a:ext cx="1891801" cy="2746263"/>
          </a:xfrm>
          <a:prstGeom prst="rect">
            <a:avLst/>
          </a:prstGeom>
          <a:solidFill>
            <a:srgbClr val="009A44"/>
          </a:solidFill>
          <a:ln w="38100" cap="rnd" cmpd="thickThin" algn="ctr">
            <a:noFill/>
            <a:prstDash val="solid"/>
            <a:round/>
          </a:ln>
          <a:effectLst/>
        </p:spPr>
        <p:txBody>
          <a:bodyPr lIns="48257" tIns="900000" rIns="48257" bIns="48257" rtlCol="0" anchor="t"/>
          <a:lstStyle/>
          <a:p>
            <a:pPr algn="ctr"/>
            <a:r>
              <a:rPr lang="en-US" sz="1300" b="1" dirty="0">
                <a:solidFill>
                  <a:srgbClr val="FFFFFF"/>
                </a:solidFill>
              </a:rPr>
              <a:t>Lorem ipsum</a:t>
            </a:r>
          </a:p>
          <a:p>
            <a:pPr algn="ctr"/>
            <a:endParaRPr lang="en-US" sz="1300" b="1" dirty="0">
              <a:solidFill>
                <a:srgbClr val="FFFFFF"/>
              </a:solidFill>
            </a:endParaRPr>
          </a:p>
          <a:p>
            <a:pPr algn="ctr"/>
            <a:r>
              <a:rPr lang="en-US" sz="1300" dirty="0">
                <a:solidFill>
                  <a:srgbClr val="FFFFFF"/>
                </a:solidFill>
              </a:rPr>
              <a:t>This is dummy text it is not here to be read. The is just text to show where you could insert text. Please replace with your text content here.</a:t>
            </a:r>
          </a:p>
        </p:txBody>
      </p:sp>
      <p:sp>
        <p:nvSpPr>
          <p:cNvPr id="49" name="Rectangle 48">
            <a:extLst>
              <a:ext uri="{FF2B5EF4-FFF2-40B4-BE49-F238E27FC236}">
                <a16:creationId xmlns:a16="http://schemas.microsoft.com/office/drawing/2014/main" id="{FE5DA39B-2C38-0348-9041-2B73415EC526}"/>
              </a:ext>
            </a:extLst>
          </p:cNvPr>
          <p:cNvSpPr/>
          <p:nvPr/>
        </p:nvSpPr>
        <p:spPr>
          <a:xfrm>
            <a:off x="3803816" y="2682987"/>
            <a:ext cx="1891801" cy="2746263"/>
          </a:xfrm>
          <a:prstGeom prst="rect">
            <a:avLst/>
          </a:prstGeom>
          <a:solidFill>
            <a:srgbClr val="43B02A"/>
          </a:solidFill>
          <a:ln w="38100" cap="rnd" cmpd="thickThin" algn="ctr">
            <a:noFill/>
            <a:prstDash val="solid"/>
            <a:round/>
          </a:ln>
          <a:effectLst/>
        </p:spPr>
        <p:txBody>
          <a:bodyPr lIns="48257" tIns="900000" rIns="48257" bIns="48257" rtlCol="0" anchor="t"/>
          <a:lstStyle/>
          <a:p>
            <a:pPr algn="ctr"/>
            <a:r>
              <a:rPr lang="en-US" sz="1300" b="1" dirty="0">
                <a:solidFill>
                  <a:srgbClr val="FFFFFF"/>
                </a:solidFill>
              </a:rPr>
              <a:t>Lorem ipsum</a:t>
            </a:r>
          </a:p>
          <a:p>
            <a:pPr algn="ctr"/>
            <a:endParaRPr lang="en-US" sz="1300" b="1" dirty="0">
              <a:solidFill>
                <a:srgbClr val="FFFFFF"/>
              </a:solidFill>
            </a:endParaRPr>
          </a:p>
          <a:p>
            <a:pPr algn="ctr"/>
            <a:r>
              <a:rPr lang="en-US" sz="1300" dirty="0">
                <a:solidFill>
                  <a:srgbClr val="FFFFFF"/>
                </a:solidFill>
              </a:rPr>
              <a:t>This is dummy text it is not here to be read. The is just text to show where you could insert text. Please replace with your text content here.</a:t>
            </a:r>
          </a:p>
        </p:txBody>
      </p:sp>
      <p:sp>
        <p:nvSpPr>
          <p:cNvPr id="50" name="Rectangle 49">
            <a:extLst>
              <a:ext uri="{FF2B5EF4-FFF2-40B4-BE49-F238E27FC236}">
                <a16:creationId xmlns:a16="http://schemas.microsoft.com/office/drawing/2014/main" id="{ED2B3D0A-C8F3-F24D-9E81-4870297BE81E}"/>
              </a:ext>
            </a:extLst>
          </p:cNvPr>
          <p:cNvSpPr/>
          <p:nvPr/>
        </p:nvSpPr>
        <p:spPr>
          <a:xfrm>
            <a:off x="6496382" y="2682986"/>
            <a:ext cx="1891801" cy="2746263"/>
          </a:xfrm>
          <a:prstGeom prst="rect">
            <a:avLst/>
          </a:prstGeom>
          <a:solidFill>
            <a:schemeClr val="accent3"/>
          </a:solidFill>
          <a:ln w="38100" cap="rnd" cmpd="thickThin" algn="ctr">
            <a:noFill/>
            <a:prstDash val="solid"/>
            <a:round/>
          </a:ln>
          <a:effectLst/>
        </p:spPr>
        <p:txBody>
          <a:bodyPr lIns="48257" tIns="900000" rIns="48257" bIns="48257" rtlCol="0" anchor="t"/>
          <a:lstStyle/>
          <a:p>
            <a:pPr algn="ctr"/>
            <a:r>
              <a:rPr lang="en-US" sz="1300" b="1" dirty="0">
                <a:solidFill>
                  <a:srgbClr val="FFFFFF"/>
                </a:solidFill>
              </a:rPr>
              <a:t>Lorem ipsum</a:t>
            </a:r>
          </a:p>
          <a:p>
            <a:pPr algn="ctr"/>
            <a:endParaRPr lang="en-US" sz="1300" b="1" dirty="0">
              <a:solidFill>
                <a:srgbClr val="FFFFFF"/>
              </a:solidFill>
            </a:endParaRPr>
          </a:p>
          <a:p>
            <a:pPr algn="ctr"/>
            <a:r>
              <a:rPr lang="en-US" sz="1300" dirty="0">
                <a:solidFill>
                  <a:srgbClr val="FFFFFF"/>
                </a:solidFill>
              </a:rPr>
              <a:t>This is dummy text it is not here to be read. The is just text to show where you could insert text. Please replace with your text content here.</a:t>
            </a:r>
          </a:p>
        </p:txBody>
      </p:sp>
      <p:sp>
        <p:nvSpPr>
          <p:cNvPr id="51" name="Rectangle 50">
            <a:extLst>
              <a:ext uri="{FF2B5EF4-FFF2-40B4-BE49-F238E27FC236}">
                <a16:creationId xmlns:a16="http://schemas.microsoft.com/office/drawing/2014/main" id="{C92D7BE7-DB30-094F-8F5E-650D457A463F}"/>
              </a:ext>
            </a:extLst>
          </p:cNvPr>
          <p:cNvSpPr/>
          <p:nvPr/>
        </p:nvSpPr>
        <p:spPr>
          <a:xfrm>
            <a:off x="9188949" y="2682987"/>
            <a:ext cx="1891801" cy="2746263"/>
          </a:xfrm>
          <a:prstGeom prst="rect">
            <a:avLst/>
          </a:prstGeom>
          <a:solidFill>
            <a:schemeClr val="accent4"/>
          </a:solidFill>
          <a:ln w="38100" cap="rnd" cmpd="thickThin" algn="ctr">
            <a:noFill/>
            <a:prstDash val="solid"/>
            <a:round/>
          </a:ln>
          <a:effectLst/>
        </p:spPr>
        <p:txBody>
          <a:bodyPr lIns="48257" tIns="900000" rIns="48257" bIns="48257" rtlCol="0" anchor="t"/>
          <a:lstStyle/>
          <a:p>
            <a:pPr algn="ctr"/>
            <a:r>
              <a:rPr lang="en-US" sz="1300" b="1" dirty="0">
                <a:solidFill>
                  <a:srgbClr val="FFFFFF"/>
                </a:solidFill>
              </a:rPr>
              <a:t>Lorem ipsum</a:t>
            </a:r>
          </a:p>
          <a:p>
            <a:pPr algn="ctr"/>
            <a:endParaRPr lang="en-US" sz="1300" b="1" dirty="0">
              <a:solidFill>
                <a:srgbClr val="FFFFFF"/>
              </a:solidFill>
            </a:endParaRPr>
          </a:p>
          <a:p>
            <a:pPr algn="ctr"/>
            <a:r>
              <a:rPr lang="en-US" sz="1300" dirty="0">
                <a:solidFill>
                  <a:srgbClr val="FFFFFF"/>
                </a:solidFill>
              </a:rPr>
              <a:t>This is dummy text it is not here to be read. The is just text to show where you could insert text. Please replace with your text content here.</a:t>
            </a:r>
          </a:p>
        </p:txBody>
      </p:sp>
      <p:sp>
        <p:nvSpPr>
          <p:cNvPr id="52" name="Isosceles Triangle 7">
            <a:extLst>
              <a:ext uri="{FF2B5EF4-FFF2-40B4-BE49-F238E27FC236}">
                <a16:creationId xmlns:a16="http://schemas.microsoft.com/office/drawing/2014/main" id="{DE9F105D-565D-134C-A6C8-B4C935B5D170}"/>
              </a:ext>
            </a:extLst>
          </p:cNvPr>
          <p:cNvSpPr/>
          <p:nvPr/>
        </p:nvSpPr>
        <p:spPr bwMode="gray">
          <a:xfrm>
            <a:off x="457201" y="1714500"/>
            <a:ext cx="11277598" cy="1060806"/>
          </a:xfrm>
          <a:prstGeom prst="triangle">
            <a:avLst/>
          </a:prstGeom>
          <a:solidFill>
            <a:srgbClr val="FFFFFF"/>
          </a:solidFill>
          <a:ln w="19050" cap="rnd" algn="ctr">
            <a:noFill/>
            <a:round/>
            <a:headEnd/>
            <a:tailEnd/>
          </a:ln>
        </p:spPr>
        <p:txBody>
          <a:bodyPr wrap="square" lIns="93834" tIns="93834" rIns="93834" bIns="93834" rtlCol="0" anchor="ctr"/>
          <a:lstStyle/>
          <a:p>
            <a:pPr algn="ctr"/>
            <a:r>
              <a:rPr lang="en-US" sz="1300" b="1" dirty="0">
                <a:solidFill>
                  <a:srgbClr val="000000"/>
                </a:solidFill>
              </a:rPr>
              <a:t>Lorem ipsum</a:t>
            </a:r>
          </a:p>
          <a:p>
            <a:pPr algn="ctr"/>
            <a:r>
              <a:rPr lang="en-US" sz="1300" dirty="0">
                <a:solidFill>
                  <a:srgbClr val="000000"/>
                </a:solidFill>
              </a:rPr>
              <a:t>This is dummy text it is not here to be read. </a:t>
            </a:r>
          </a:p>
        </p:txBody>
      </p:sp>
      <p:sp>
        <p:nvSpPr>
          <p:cNvPr id="99" name="Rectangle 98">
            <a:extLst>
              <a:ext uri="{FF2B5EF4-FFF2-40B4-BE49-F238E27FC236}">
                <a16:creationId xmlns:a16="http://schemas.microsoft.com/office/drawing/2014/main" id="{AA67C82C-F2D5-0243-9532-42D7719BBDA1}"/>
              </a:ext>
            </a:extLst>
          </p:cNvPr>
          <p:cNvSpPr/>
          <p:nvPr/>
        </p:nvSpPr>
        <p:spPr bwMode="gray">
          <a:xfrm>
            <a:off x="1016333" y="5336933"/>
            <a:ext cx="10159334" cy="482057"/>
          </a:xfrm>
          <a:prstGeom prst="rect">
            <a:avLst/>
          </a:prstGeom>
          <a:solidFill>
            <a:srgbClr val="FFFFFF"/>
          </a:solidFill>
          <a:ln w="19050" cap="rnd" algn="ctr">
            <a:noFill/>
            <a:round/>
            <a:headEnd/>
            <a:tailEnd/>
          </a:ln>
        </p:spPr>
        <p:txBody>
          <a:bodyPr wrap="square" lIns="93834" tIns="93834" rIns="93834" bIns="93834" rtlCol="0" anchor="ctr"/>
          <a:lstStyle/>
          <a:p>
            <a:pPr defTabSz="965149">
              <a:defRPr/>
            </a:pPr>
            <a:endParaRPr lang="en-US" sz="1300" kern="0" dirty="0">
              <a:solidFill>
                <a:prstClr val="white"/>
              </a:solidFill>
            </a:endParaRPr>
          </a:p>
        </p:txBody>
      </p:sp>
      <p:grpSp>
        <p:nvGrpSpPr>
          <p:cNvPr id="31" name="Group 979">
            <a:extLst>
              <a:ext uri="{FF2B5EF4-FFF2-40B4-BE49-F238E27FC236}">
                <a16:creationId xmlns:a16="http://schemas.microsoft.com/office/drawing/2014/main" id="{FF198634-80E4-4436-A74B-E125728E34F6}"/>
              </a:ext>
            </a:extLst>
          </p:cNvPr>
          <p:cNvGrpSpPr>
            <a:grpSpLocks noChangeAspect="1"/>
          </p:cNvGrpSpPr>
          <p:nvPr/>
        </p:nvGrpSpPr>
        <p:grpSpPr bwMode="auto">
          <a:xfrm>
            <a:off x="9928123" y="3006055"/>
            <a:ext cx="413452" cy="414668"/>
            <a:chOff x="2032" y="4237"/>
            <a:chExt cx="340" cy="341"/>
          </a:xfrm>
          <a:solidFill>
            <a:srgbClr val="FFFFFF"/>
          </a:solidFill>
        </p:grpSpPr>
        <p:sp>
          <p:nvSpPr>
            <p:cNvPr id="32" name="Freeform 980">
              <a:extLst>
                <a:ext uri="{FF2B5EF4-FFF2-40B4-BE49-F238E27FC236}">
                  <a16:creationId xmlns:a16="http://schemas.microsoft.com/office/drawing/2014/main" id="{15C8863B-ECC6-435C-80B1-F38C11D3E463}"/>
                </a:ext>
              </a:extLst>
            </p:cNvPr>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33" name="Freeform 981">
              <a:extLst>
                <a:ext uri="{FF2B5EF4-FFF2-40B4-BE49-F238E27FC236}">
                  <a16:creationId xmlns:a16="http://schemas.microsoft.com/office/drawing/2014/main" id="{A6968204-13A1-4B1D-B0A5-C91E70C35800}"/>
                </a:ext>
              </a:extLst>
            </p:cNvPr>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34" name="Freeform 982">
              <a:extLst>
                <a:ext uri="{FF2B5EF4-FFF2-40B4-BE49-F238E27FC236}">
                  <a16:creationId xmlns:a16="http://schemas.microsoft.com/office/drawing/2014/main" id="{DCEFCAA2-48E7-4FDC-96BC-7C4D05381300}"/>
                </a:ext>
              </a:extLst>
            </p:cNvPr>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35" name="Group 489">
            <a:extLst>
              <a:ext uri="{FF2B5EF4-FFF2-40B4-BE49-F238E27FC236}">
                <a16:creationId xmlns:a16="http://schemas.microsoft.com/office/drawing/2014/main" id="{1421BA86-B63B-4C43-A3C0-802067D4C8FA}"/>
              </a:ext>
            </a:extLst>
          </p:cNvPr>
          <p:cNvGrpSpPr>
            <a:grpSpLocks noChangeAspect="1"/>
          </p:cNvGrpSpPr>
          <p:nvPr/>
        </p:nvGrpSpPr>
        <p:grpSpPr bwMode="auto">
          <a:xfrm>
            <a:off x="4542382" y="3006055"/>
            <a:ext cx="414668" cy="414668"/>
            <a:chOff x="2920" y="2264"/>
            <a:chExt cx="340" cy="340"/>
          </a:xfrm>
          <a:solidFill>
            <a:srgbClr val="FFFFFF"/>
          </a:solidFill>
        </p:grpSpPr>
        <p:sp>
          <p:nvSpPr>
            <p:cNvPr id="36" name="Freeform 490">
              <a:extLst>
                <a:ext uri="{FF2B5EF4-FFF2-40B4-BE49-F238E27FC236}">
                  <a16:creationId xmlns:a16="http://schemas.microsoft.com/office/drawing/2014/main" id="{B39BECCF-EB90-4CC3-9A81-1DB5157F7B2D}"/>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37" name="Freeform 491">
              <a:extLst>
                <a:ext uri="{FF2B5EF4-FFF2-40B4-BE49-F238E27FC236}">
                  <a16:creationId xmlns:a16="http://schemas.microsoft.com/office/drawing/2014/main" id="{B6480E3D-DD77-40B2-AF74-B476BC514424}"/>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38" name="Freeform 492">
              <a:extLst>
                <a:ext uri="{FF2B5EF4-FFF2-40B4-BE49-F238E27FC236}">
                  <a16:creationId xmlns:a16="http://schemas.microsoft.com/office/drawing/2014/main" id="{17194BE8-6A5D-43B6-A842-D111214EC1D9}"/>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2" name="Group 1">
            <a:extLst>
              <a:ext uri="{FF2B5EF4-FFF2-40B4-BE49-F238E27FC236}">
                <a16:creationId xmlns:a16="http://schemas.microsoft.com/office/drawing/2014/main" id="{A7C3A6C2-C450-4C24-84C4-D838775004CA}"/>
              </a:ext>
            </a:extLst>
          </p:cNvPr>
          <p:cNvGrpSpPr/>
          <p:nvPr/>
        </p:nvGrpSpPr>
        <p:grpSpPr>
          <a:xfrm>
            <a:off x="7234948" y="3006055"/>
            <a:ext cx="414668" cy="414668"/>
            <a:chOff x="6902772" y="2182121"/>
            <a:chExt cx="548640" cy="548640"/>
          </a:xfrm>
          <a:solidFill>
            <a:srgbClr val="FFFFFF"/>
          </a:solidFill>
        </p:grpSpPr>
        <p:sp>
          <p:nvSpPr>
            <p:cNvPr id="40" name="Freeform 118">
              <a:extLst>
                <a:ext uri="{FF2B5EF4-FFF2-40B4-BE49-F238E27FC236}">
                  <a16:creationId xmlns:a16="http://schemas.microsoft.com/office/drawing/2014/main" id="{27779B73-9F88-42D5-BEA2-3C6F7E4EFEA3}"/>
                </a:ext>
              </a:extLst>
            </p:cNvPr>
            <p:cNvSpPr>
              <a:spLocks noEditPoints="1"/>
            </p:cNvSpPr>
            <p:nvPr/>
          </p:nvSpPr>
          <p:spPr bwMode="auto">
            <a:xfrm>
              <a:off x="7006045" y="2330577"/>
              <a:ext cx="342093" cy="251729"/>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22 h 235"/>
                <a:gd name="T20" fmla="*/ 298 w 320"/>
                <a:gd name="T21" fmla="*/ 43 h 235"/>
                <a:gd name="T22" fmla="*/ 21 w 320"/>
                <a:gd name="T23" fmla="*/ 43 h 235"/>
                <a:gd name="T24" fmla="*/ 21 w 320"/>
                <a:gd name="T25" fmla="*/ 22 h 235"/>
                <a:gd name="T26" fmla="*/ 298 w 320"/>
                <a:gd name="T27" fmla="*/ 22 h 235"/>
                <a:gd name="T28" fmla="*/ 21 w 320"/>
                <a:gd name="T29" fmla="*/ 214 h 235"/>
                <a:gd name="T30" fmla="*/ 21 w 320"/>
                <a:gd name="T31" fmla="*/ 86 h 235"/>
                <a:gd name="T32" fmla="*/ 298 w 320"/>
                <a:gd name="T33" fmla="*/ 86 h 235"/>
                <a:gd name="T34" fmla="*/ 298 w 320"/>
                <a:gd name="T35" fmla="*/ 214 h 235"/>
                <a:gd name="T36" fmla="*/ 21 w 320"/>
                <a:gd name="T37" fmla="*/ 214 h 235"/>
                <a:gd name="T38" fmla="*/ 170 w 320"/>
                <a:gd name="T39" fmla="*/ 182 h 235"/>
                <a:gd name="T40" fmla="*/ 160 w 320"/>
                <a:gd name="T41" fmla="*/ 192 h 235"/>
                <a:gd name="T42" fmla="*/ 53 w 320"/>
                <a:gd name="T43" fmla="*/ 192 h 235"/>
                <a:gd name="T44" fmla="*/ 42 w 320"/>
                <a:gd name="T45" fmla="*/ 182 h 235"/>
                <a:gd name="T46" fmla="*/ 53 w 320"/>
                <a:gd name="T47" fmla="*/ 171 h 235"/>
                <a:gd name="T48" fmla="*/ 160 w 320"/>
                <a:gd name="T49" fmla="*/ 171 h 235"/>
                <a:gd name="T50" fmla="*/ 170 w 320"/>
                <a:gd name="T5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22"/>
                  </a:moveTo>
                  <a:cubicBezTo>
                    <a:pt x="298" y="43"/>
                    <a:pt x="298" y="43"/>
                    <a:pt x="298" y="43"/>
                  </a:cubicBezTo>
                  <a:cubicBezTo>
                    <a:pt x="21" y="43"/>
                    <a:pt x="21" y="43"/>
                    <a:pt x="21" y="43"/>
                  </a:cubicBezTo>
                  <a:cubicBezTo>
                    <a:pt x="21" y="22"/>
                    <a:pt x="21" y="22"/>
                    <a:pt x="21" y="22"/>
                  </a:cubicBezTo>
                  <a:lnTo>
                    <a:pt x="298" y="22"/>
                  </a:lnTo>
                  <a:close/>
                  <a:moveTo>
                    <a:pt x="21" y="214"/>
                  </a:moveTo>
                  <a:cubicBezTo>
                    <a:pt x="21" y="86"/>
                    <a:pt x="21" y="86"/>
                    <a:pt x="21" y="86"/>
                  </a:cubicBezTo>
                  <a:cubicBezTo>
                    <a:pt x="298" y="86"/>
                    <a:pt x="298" y="86"/>
                    <a:pt x="298" y="86"/>
                  </a:cubicBezTo>
                  <a:cubicBezTo>
                    <a:pt x="298" y="214"/>
                    <a:pt x="298" y="214"/>
                    <a:pt x="298" y="214"/>
                  </a:cubicBezTo>
                  <a:lnTo>
                    <a:pt x="21" y="214"/>
                  </a:lnTo>
                  <a:close/>
                  <a:moveTo>
                    <a:pt x="170" y="182"/>
                  </a:moveTo>
                  <a:cubicBezTo>
                    <a:pt x="170" y="188"/>
                    <a:pt x="166" y="192"/>
                    <a:pt x="160" y="192"/>
                  </a:cubicBezTo>
                  <a:cubicBezTo>
                    <a:pt x="53" y="192"/>
                    <a:pt x="53" y="192"/>
                    <a:pt x="53" y="192"/>
                  </a:cubicBezTo>
                  <a:cubicBezTo>
                    <a:pt x="47" y="192"/>
                    <a:pt x="42" y="188"/>
                    <a:pt x="42" y="182"/>
                  </a:cubicBezTo>
                  <a:cubicBezTo>
                    <a:pt x="42" y="176"/>
                    <a:pt x="47" y="171"/>
                    <a:pt x="53" y="171"/>
                  </a:cubicBezTo>
                  <a:cubicBezTo>
                    <a:pt x="160" y="171"/>
                    <a:pt x="160" y="171"/>
                    <a:pt x="160" y="171"/>
                  </a:cubicBezTo>
                  <a:cubicBezTo>
                    <a:pt x="166" y="171"/>
                    <a:pt x="170" y="176"/>
                    <a:pt x="170" y="18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1" name="Freeform 119">
              <a:extLst>
                <a:ext uri="{FF2B5EF4-FFF2-40B4-BE49-F238E27FC236}">
                  <a16:creationId xmlns:a16="http://schemas.microsoft.com/office/drawing/2014/main" id="{81F0ED12-B0ED-4229-8EA9-4FD57B6E2685}"/>
                </a:ext>
              </a:extLst>
            </p:cNvPr>
            <p:cNvSpPr>
              <a:spLocks noEditPoints="1"/>
            </p:cNvSpPr>
            <p:nvPr/>
          </p:nvSpPr>
          <p:spPr bwMode="auto">
            <a:xfrm>
              <a:off x="6902772" y="2182121"/>
              <a:ext cx="548640" cy="5486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42" name="Group 29">
            <a:extLst>
              <a:ext uri="{FF2B5EF4-FFF2-40B4-BE49-F238E27FC236}">
                <a16:creationId xmlns:a16="http://schemas.microsoft.com/office/drawing/2014/main" id="{5F0BB26E-1A9E-4FAD-8047-6A8E61657CFF}"/>
              </a:ext>
            </a:extLst>
          </p:cNvPr>
          <p:cNvGrpSpPr>
            <a:grpSpLocks noChangeAspect="1"/>
          </p:cNvGrpSpPr>
          <p:nvPr/>
        </p:nvGrpSpPr>
        <p:grpSpPr bwMode="auto">
          <a:xfrm>
            <a:off x="1849816" y="3006055"/>
            <a:ext cx="414668" cy="414668"/>
            <a:chOff x="2899" y="653"/>
            <a:chExt cx="340" cy="340"/>
          </a:xfrm>
          <a:solidFill>
            <a:srgbClr val="FFFFFF"/>
          </a:solidFill>
        </p:grpSpPr>
        <p:sp>
          <p:nvSpPr>
            <p:cNvPr id="43" name="Freeform 30">
              <a:extLst>
                <a:ext uri="{FF2B5EF4-FFF2-40B4-BE49-F238E27FC236}">
                  <a16:creationId xmlns:a16="http://schemas.microsoft.com/office/drawing/2014/main" id="{E0C1147C-E607-4FB8-AC0E-971849CA0CD0}"/>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4" name="Freeform 31">
              <a:extLst>
                <a:ext uri="{FF2B5EF4-FFF2-40B4-BE49-F238E27FC236}">
                  <a16:creationId xmlns:a16="http://schemas.microsoft.com/office/drawing/2014/main" id="{7A5B9B8B-0758-4635-BD48-94BD4511EB18}"/>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5" name="Freeform 32">
              <a:extLst>
                <a:ext uri="{FF2B5EF4-FFF2-40B4-BE49-F238E27FC236}">
                  <a16:creationId xmlns:a16="http://schemas.microsoft.com/office/drawing/2014/main" id="{A6508E44-E8D8-4C5C-A52E-1188D25380B8}"/>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sp>
        <p:nvSpPr>
          <p:cNvPr id="58" name="Freeform 1022">
            <a:extLst>
              <a:ext uri="{FF2B5EF4-FFF2-40B4-BE49-F238E27FC236}">
                <a16:creationId xmlns:a16="http://schemas.microsoft.com/office/drawing/2014/main" id="{2413EE25-1481-4BEF-BC24-7486ACC0930A}"/>
              </a:ext>
            </a:extLst>
          </p:cNvPr>
          <p:cNvSpPr>
            <a:spLocks noChangeAspect="1" noEditPoints="1"/>
          </p:cNvSpPr>
          <p:nvPr/>
        </p:nvSpPr>
        <p:spPr bwMode="auto">
          <a:xfrm>
            <a:off x="5882714" y="1830235"/>
            <a:ext cx="414668" cy="414668"/>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72 w 512"/>
              <a:gd name="T11" fmla="*/ 245 h 512"/>
              <a:gd name="T12" fmla="*/ 370 w 512"/>
              <a:gd name="T13" fmla="*/ 157 h 512"/>
              <a:gd name="T14" fmla="*/ 355 w 512"/>
              <a:gd name="T15" fmla="*/ 141 h 512"/>
              <a:gd name="T16" fmla="*/ 266 w 512"/>
              <a:gd name="T17" fmla="*/ 139 h 512"/>
              <a:gd name="T18" fmla="*/ 256 w 512"/>
              <a:gd name="T19" fmla="*/ 96 h 512"/>
              <a:gd name="T20" fmla="*/ 245 w 512"/>
              <a:gd name="T21" fmla="*/ 139 h 512"/>
              <a:gd name="T22" fmla="*/ 157 w 512"/>
              <a:gd name="T23" fmla="*/ 141 h 512"/>
              <a:gd name="T24" fmla="*/ 141 w 512"/>
              <a:gd name="T25" fmla="*/ 157 h 512"/>
              <a:gd name="T26" fmla="*/ 139 w 512"/>
              <a:gd name="T27" fmla="*/ 245 h 512"/>
              <a:gd name="T28" fmla="*/ 96 w 512"/>
              <a:gd name="T29" fmla="*/ 256 h 512"/>
              <a:gd name="T30" fmla="*/ 139 w 512"/>
              <a:gd name="T31" fmla="*/ 266 h 512"/>
              <a:gd name="T32" fmla="*/ 141 w 512"/>
              <a:gd name="T33" fmla="*/ 355 h 512"/>
              <a:gd name="T34" fmla="*/ 149 w 512"/>
              <a:gd name="T35" fmla="*/ 373 h 512"/>
              <a:gd name="T36" fmla="*/ 181 w 512"/>
              <a:gd name="T37" fmla="*/ 346 h 512"/>
              <a:gd name="T38" fmla="*/ 245 w 512"/>
              <a:gd name="T39" fmla="*/ 405 h 512"/>
              <a:gd name="T40" fmla="*/ 266 w 512"/>
              <a:gd name="T41" fmla="*/ 405 h 512"/>
              <a:gd name="T42" fmla="*/ 331 w 512"/>
              <a:gd name="T43" fmla="*/ 346 h 512"/>
              <a:gd name="T44" fmla="*/ 362 w 512"/>
              <a:gd name="T45" fmla="*/ 373 h 512"/>
              <a:gd name="T46" fmla="*/ 370 w 512"/>
              <a:gd name="T47" fmla="*/ 355 h 512"/>
              <a:gd name="T48" fmla="*/ 372 w 512"/>
              <a:gd name="T49" fmla="*/ 266 h 512"/>
              <a:gd name="T50" fmla="*/ 416 w 512"/>
              <a:gd name="T51" fmla="*/ 256 h 512"/>
              <a:gd name="T52" fmla="*/ 351 w 512"/>
              <a:gd name="T53" fmla="*/ 245 h 512"/>
              <a:gd name="T54" fmla="*/ 286 w 512"/>
              <a:gd name="T55" fmla="*/ 245 h 512"/>
              <a:gd name="T56" fmla="*/ 286 w 512"/>
              <a:gd name="T57" fmla="*/ 241 h 512"/>
              <a:gd name="T58" fmla="*/ 351 w 512"/>
              <a:gd name="T59" fmla="*/ 245 h 512"/>
              <a:gd name="T60" fmla="*/ 271 w 512"/>
              <a:gd name="T61" fmla="*/ 226 h 512"/>
              <a:gd name="T62" fmla="*/ 266 w 512"/>
              <a:gd name="T63" fmla="*/ 226 h 512"/>
              <a:gd name="T64" fmla="*/ 266 w 512"/>
              <a:gd name="T65" fmla="*/ 160 h 512"/>
              <a:gd name="T66" fmla="*/ 256 w 512"/>
              <a:gd name="T67" fmla="*/ 266 h 512"/>
              <a:gd name="T68" fmla="*/ 256 w 512"/>
              <a:gd name="T69" fmla="*/ 245 h 512"/>
              <a:gd name="T70" fmla="*/ 256 w 512"/>
              <a:gd name="T71" fmla="*/ 266 h 512"/>
              <a:gd name="T72" fmla="*/ 245 w 512"/>
              <a:gd name="T73" fmla="*/ 224 h 512"/>
              <a:gd name="T74" fmla="*/ 242 w 512"/>
              <a:gd name="T75" fmla="*/ 227 h 512"/>
              <a:gd name="T76" fmla="*/ 196 w 512"/>
              <a:gd name="T77" fmla="*/ 181 h 512"/>
              <a:gd name="T78" fmla="*/ 181 w 512"/>
              <a:gd name="T79" fmla="*/ 196 h 512"/>
              <a:gd name="T80" fmla="*/ 227 w 512"/>
              <a:gd name="T81" fmla="*/ 242 h 512"/>
              <a:gd name="T82" fmla="*/ 224 w 512"/>
              <a:gd name="T83" fmla="*/ 245 h 512"/>
              <a:gd name="T84" fmla="*/ 181 w 512"/>
              <a:gd name="T85" fmla="*/ 196 h 512"/>
              <a:gd name="T86" fmla="*/ 224 w 512"/>
              <a:gd name="T87" fmla="*/ 266 h 512"/>
              <a:gd name="T88" fmla="*/ 227 w 512"/>
              <a:gd name="T89" fmla="*/ 270 h 512"/>
              <a:gd name="T90" fmla="*/ 181 w 512"/>
              <a:gd name="T91" fmla="*/ 316 h 512"/>
              <a:gd name="T92" fmla="*/ 196 w 512"/>
              <a:gd name="T93" fmla="*/ 331 h 512"/>
              <a:gd name="T94" fmla="*/ 242 w 512"/>
              <a:gd name="T95" fmla="*/ 284 h 512"/>
              <a:gd name="T96" fmla="*/ 245 w 512"/>
              <a:gd name="T97" fmla="*/ 288 h 512"/>
              <a:gd name="T98" fmla="*/ 196 w 512"/>
              <a:gd name="T99" fmla="*/ 331 h 512"/>
              <a:gd name="T100" fmla="*/ 266 w 512"/>
              <a:gd name="T101" fmla="*/ 288 h 512"/>
              <a:gd name="T102" fmla="*/ 270 w 512"/>
              <a:gd name="T103" fmla="*/ 284 h 512"/>
              <a:gd name="T104" fmla="*/ 316 w 512"/>
              <a:gd name="T105" fmla="*/ 331 h 512"/>
              <a:gd name="T106" fmla="*/ 331 w 512"/>
              <a:gd name="T107" fmla="*/ 316 h 512"/>
              <a:gd name="T108" fmla="*/ 284 w 512"/>
              <a:gd name="T109" fmla="*/ 270 h 512"/>
              <a:gd name="T110" fmla="*/ 288 w 512"/>
              <a:gd name="T111" fmla="*/ 266 h 512"/>
              <a:gd name="T112" fmla="*/ 331 w 512"/>
              <a:gd name="T113"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45"/>
                </a:moveTo>
                <a:cubicBezTo>
                  <a:pt x="372" y="245"/>
                  <a:pt x="372" y="245"/>
                  <a:pt x="372" y="245"/>
                </a:cubicBezTo>
                <a:cubicBezTo>
                  <a:pt x="370" y="221"/>
                  <a:pt x="361" y="198"/>
                  <a:pt x="346" y="181"/>
                </a:cubicBezTo>
                <a:cubicBezTo>
                  <a:pt x="370" y="157"/>
                  <a:pt x="370" y="157"/>
                  <a:pt x="370" y="157"/>
                </a:cubicBezTo>
                <a:cubicBezTo>
                  <a:pt x="374" y="152"/>
                  <a:pt x="374" y="146"/>
                  <a:pt x="370" y="141"/>
                </a:cubicBezTo>
                <a:cubicBezTo>
                  <a:pt x="366" y="137"/>
                  <a:pt x="359" y="137"/>
                  <a:pt x="355" y="141"/>
                </a:cubicBezTo>
                <a:cubicBezTo>
                  <a:pt x="331" y="166"/>
                  <a:pt x="331" y="166"/>
                  <a:pt x="331" y="166"/>
                </a:cubicBezTo>
                <a:cubicBezTo>
                  <a:pt x="313" y="151"/>
                  <a:pt x="291" y="141"/>
                  <a:pt x="266" y="139"/>
                </a:cubicBezTo>
                <a:cubicBezTo>
                  <a:pt x="266" y="106"/>
                  <a:pt x="266" y="106"/>
                  <a:pt x="266" y="106"/>
                </a:cubicBezTo>
                <a:cubicBezTo>
                  <a:pt x="266" y="100"/>
                  <a:pt x="262" y="96"/>
                  <a:pt x="256" y="96"/>
                </a:cubicBezTo>
                <a:cubicBezTo>
                  <a:pt x="250" y="96"/>
                  <a:pt x="245" y="100"/>
                  <a:pt x="245" y="106"/>
                </a:cubicBezTo>
                <a:cubicBezTo>
                  <a:pt x="245" y="139"/>
                  <a:pt x="245" y="139"/>
                  <a:pt x="245" y="139"/>
                </a:cubicBezTo>
                <a:cubicBezTo>
                  <a:pt x="221" y="141"/>
                  <a:pt x="198" y="151"/>
                  <a:pt x="181" y="166"/>
                </a:cubicBezTo>
                <a:cubicBezTo>
                  <a:pt x="157" y="141"/>
                  <a:pt x="157" y="141"/>
                  <a:pt x="157" y="141"/>
                </a:cubicBezTo>
                <a:cubicBezTo>
                  <a:pt x="152" y="137"/>
                  <a:pt x="146" y="137"/>
                  <a:pt x="141" y="141"/>
                </a:cubicBezTo>
                <a:cubicBezTo>
                  <a:pt x="137" y="146"/>
                  <a:pt x="137" y="152"/>
                  <a:pt x="141" y="157"/>
                </a:cubicBezTo>
                <a:cubicBezTo>
                  <a:pt x="166" y="181"/>
                  <a:pt x="166" y="181"/>
                  <a:pt x="166" y="181"/>
                </a:cubicBezTo>
                <a:cubicBezTo>
                  <a:pt x="151" y="198"/>
                  <a:pt x="141" y="221"/>
                  <a:pt x="139" y="245"/>
                </a:cubicBezTo>
                <a:cubicBezTo>
                  <a:pt x="106" y="245"/>
                  <a:pt x="106" y="245"/>
                  <a:pt x="106" y="245"/>
                </a:cubicBezTo>
                <a:cubicBezTo>
                  <a:pt x="100" y="245"/>
                  <a:pt x="96" y="250"/>
                  <a:pt x="96" y="256"/>
                </a:cubicBezTo>
                <a:cubicBezTo>
                  <a:pt x="96" y="262"/>
                  <a:pt x="100" y="266"/>
                  <a:pt x="106" y="266"/>
                </a:cubicBezTo>
                <a:cubicBezTo>
                  <a:pt x="139" y="266"/>
                  <a:pt x="139" y="266"/>
                  <a:pt x="139" y="266"/>
                </a:cubicBezTo>
                <a:cubicBezTo>
                  <a:pt x="141" y="291"/>
                  <a:pt x="151" y="313"/>
                  <a:pt x="166" y="331"/>
                </a:cubicBezTo>
                <a:cubicBezTo>
                  <a:pt x="141" y="355"/>
                  <a:pt x="141" y="355"/>
                  <a:pt x="141" y="355"/>
                </a:cubicBezTo>
                <a:cubicBezTo>
                  <a:pt x="137" y="359"/>
                  <a:pt x="137" y="366"/>
                  <a:pt x="141" y="370"/>
                </a:cubicBezTo>
                <a:cubicBezTo>
                  <a:pt x="144" y="372"/>
                  <a:pt x="146" y="373"/>
                  <a:pt x="149" y="373"/>
                </a:cubicBezTo>
                <a:cubicBezTo>
                  <a:pt x="152" y="373"/>
                  <a:pt x="154" y="372"/>
                  <a:pt x="157" y="370"/>
                </a:cubicBezTo>
                <a:cubicBezTo>
                  <a:pt x="181" y="346"/>
                  <a:pt x="181" y="346"/>
                  <a:pt x="181" y="346"/>
                </a:cubicBezTo>
                <a:cubicBezTo>
                  <a:pt x="198" y="361"/>
                  <a:pt x="221" y="370"/>
                  <a:pt x="245" y="372"/>
                </a:cubicBezTo>
                <a:cubicBezTo>
                  <a:pt x="245" y="405"/>
                  <a:pt x="245" y="405"/>
                  <a:pt x="245" y="405"/>
                </a:cubicBezTo>
                <a:cubicBezTo>
                  <a:pt x="245" y="411"/>
                  <a:pt x="250" y="416"/>
                  <a:pt x="256" y="416"/>
                </a:cubicBezTo>
                <a:cubicBezTo>
                  <a:pt x="262" y="416"/>
                  <a:pt x="266" y="411"/>
                  <a:pt x="266" y="405"/>
                </a:cubicBezTo>
                <a:cubicBezTo>
                  <a:pt x="266" y="372"/>
                  <a:pt x="266" y="372"/>
                  <a:pt x="266" y="372"/>
                </a:cubicBezTo>
                <a:cubicBezTo>
                  <a:pt x="291" y="370"/>
                  <a:pt x="313" y="361"/>
                  <a:pt x="331" y="346"/>
                </a:cubicBezTo>
                <a:cubicBezTo>
                  <a:pt x="355" y="370"/>
                  <a:pt x="355" y="370"/>
                  <a:pt x="355" y="370"/>
                </a:cubicBezTo>
                <a:cubicBezTo>
                  <a:pt x="357" y="372"/>
                  <a:pt x="360" y="373"/>
                  <a:pt x="362" y="373"/>
                </a:cubicBezTo>
                <a:cubicBezTo>
                  <a:pt x="365" y="373"/>
                  <a:pt x="368" y="372"/>
                  <a:pt x="370" y="370"/>
                </a:cubicBezTo>
                <a:cubicBezTo>
                  <a:pt x="374" y="366"/>
                  <a:pt x="374" y="359"/>
                  <a:pt x="370" y="355"/>
                </a:cubicBezTo>
                <a:cubicBezTo>
                  <a:pt x="346" y="331"/>
                  <a:pt x="346" y="331"/>
                  <a:pt x="346" y="331"/>
                </a:cubicBezTo>
                <a:cubicBezTo>
                  <a:pt x="361" y="313"/>
                  <a:pt x="370" y="291"/>
                  <a:pt x="372" y="266"/>
                </a:cubicBezTo>
                <a:cubicBezTo>
                  <a:pt x="405" y="266"/>
                  <a:pt x="405" y="266"/>
                  <a:pt x="405" y="266"/>
                </a:cubicBezTo>
                <a:cubicBezTo>
                  <a:pt x="411" y="266"/>
                  <a:pt x="416" y="262"/>
                  <a:pt x="416" y="256"/>
                </a:cubicBezTo>
                <a:cubicBezTo>
                  <a:pt x="416" y="250"/>
                  <a:pt x="411" y="245"/>
                  <a:pt x="405" y="245"/>
                </a:cubicBezTo>
                <a:close/>
                <a:moveTo>
                  <a:pt x="351" y="245"/>
                </a:moveTo>
                <a:cubicBezTo>
                  <a:pt x="288" y="245"/>
                  <a:pt x="288" y="245"/>
                  <a:pt x="288" y="245"/>
                </a:cubicBezTo>
                <a:cubicBezTo>
                  <a:pt x="287" y="245"/>
                  <a:pt x="286" y="245"/>
                  <a:pt x="286" y="245"/>
                </a:cubicBezTo>
                <a:cubicBezTo>
                  <a:pt x="285" y="244"/>
                  <a:pt x="285" y="243"/>
                  <a:pt x="284" y="242"/>
                </a:cubicBezTo>
                <a:cubicBezTo>
                  <a:pt x="285" y="241"/>
                  <a:pt x="285" y="241"/>
                  <a:pt x="286" y="241"/>
                </a:cubicBezTo>
                <a:cubicBezTo>
                  <a:pt x="331" y="196"/>
                  <a:pt x="331" y="196"/>
                  <a:pt x="331" y="196"/>
                </a:cubicBezTo>
                <a:cubicBezTo>
                  <a:pt x="342" y="210"/>
                  <a:pt x="349" y="227"/>
                  <a:pt x="351" y="245"/>
                </a:cubicBezTo>
                <a:close/>
                <a:moveTo>
                  <a:pt x="316" y="181"/>
                </a:moveTo>
                <a:cubicBezTo>
                  <a:pt x="271" y="226"/>
                  <a:pt x="271" y="226"/>
                  <a:pt x="271" y="226"/>
                </a:cubicBezTo>
                <a:cubicBezTo>
                  <a:pt x="270" y="226"/>
                  <a:pt x="270" y="227"/>
                  <a:pt x="270" y="227"/>
                </a:cubicBezTo>
                <a:cubicBezTo>
                  <a:pt x="269" y="226"/>
                  <a:pt x="267" y="226"/>
                  <a:pt x="266" y="226"/>
                </a:cubicBezTo>
                <a:cubicBezTo>
                  <a:pt x="266" y="225"/>
                  <a:pt x="266" y="224"/>
                  <a:pt x="266" y="224"/>
                </a:cubicBezTo>
                <a:cubicBezTo>
                  <a:pt x="266" y="160"/>
                  <a:pt x="266" y="160"/>
                  <a:pt x="266" y="160"/>
                </a:cubicBezTo>
                <a:cubicBezTo>
                  <a:pt x="285" y="162"/>
                  <a:pt x="302" y="170"/>
                  <a:pt x="316" y="181"/>
                </a:cubicBezTo>
                <a:close/>
                <a:moveTo>
                  <a:pt x="256" y="266"/>
                </a:moveTo>
                <a:cubicBezTo>
                  <a:pt x="250" y="266"/>
                  <a:pt x="245" y="262"/>
                  <a:pt x="245" y="256"/>
                </a:cubicBezTo>
                <a:cubicBezTo>
                  <a:pt x="245" y="250"/>
                  <a:pt x="250" y="245"/>
                  <a:pt x="256" y="245"/>
                </a:cubicBezTo>
                <a:cubicBezTo>
                  <a:pt x="262" y="245"/>
                  <a:pt x="266" y="250"/>
                  <a:pt x="266" y="256"/>
                </a:cubicBezTo>
                <a:cubicBezTo>
                  <a:pt x="266" y="262"/>
                  <a:pt x="262" y="266"/>
                  <a:pt x="256" y="266"/>
                </a:cubicBezTo>
                <a:close/>
                <a:moveTo>
                  <a:pt x="245" y="160"/>
                </a:moveTo>
                <a:cubicBezTo>
                  <a:pt x="245" y="224"/>
                  <a:pt x="245" y="224"/>
                  <a:pt x="245" y="224"/>
                </a:cubicBezTo>
                <a:cubicBezTo>
                  <a:pt x="245" y="224"/>
                  <a:pt x="245" y="225"/>
                  <a:pt x="245" y="226"/>
                </a:cubicBezTo>
                <a:cubicBezTo>
                  <a:pt x="244" y="226"/>
                  <a:pt x="243" y="226"/>
                  <a:pt x="242" y="227"/>
                </a:cubicBezTo>
                <a:cubicBezTo>
                  <a:pt x="241" y="227"/>
                  <a:pt x="241" y="226"/>
                  <a:pt x="241" y="226"/>
                </a:cubicBezTo>
                <a:cubicBezTo>
                  <a:pt x="196" y="181"/>
                  <a:pt x="196" y="181"/>
                  <a:pt x="196" y="181"/>
                </a:cubicBezTo>
                <a:cubicBezTo>
                  <a:pt x="210" y="170"/>
                  <a:pt x="227" y="162"/>
                  <a:pt x="245" y="160"/>
                </a:cubicBezTo>
                <a:close/>
                <a:moveTo>
                  <a:pt x="181" y="196"/>
                </a:moveTo>
                <a:cubicBezTo>
                  <a:pt x="226" y="241"/>
                  <a:pt x="226" y="241"/>
                  <a:pt x="226" y="241"/>
                </a:cubicBezTo>
                <a:cubicBezTo>
                  <a:pt x="226" y="241"/>
                  <a:pt x="227" y="241"/>
                  <a:pt x="227" y="242"/>
                </a:cubicBezTo>
                <a:cubicBezTo>
                  <a:pt x="226" y="243"/>
                  <a:pt x="226" y="244"/>
                  <a:pt x="226" y="245"/>
                </a:cubicBezTo>
                <a:cubicBezTo>
                  <a:pt x="225" y="245"/>
                  <a:pt x="224" y="245"/>
                  <a:pt x="224" y="245"/>
                </a:cubicBezTo>
                <a:cubicBezTo>
                  <a:pt x="160" y="245"/>
                  <a:pt x="160" y="245"/>
                  <a:pt x="160" y="245"/>
                </a:cubicBezTo>
                <a:cubicBezTo>
                  <a:pt x="162" y="227"/>
                  <a:pt x="170" y="210"/>
                  <a:pt x="181" y="196"/>
                </a:cubicBezTo>
                <a:close/>
                <a:moveTo>
                  <a:pt x="160" y="266"/>
                </a:moveTo>
                <a:cubicBezTo>
                  <a:pt x="224" y="266"/>
                  <a:pt x="224" y="266"/>
                  <a:pt x="224" y="266"/>
                </a:cubicBezTo>
                <a:cubicBezTo>
                  <a:pt x="224" y="266"/>
                  <a:pt x="225" y="266"/>
                  <a:pt x="226" y="266"/>
                </a:cubicBezTo>
                <a:cubicBezTo>
                  <a:pt x="226" y="267"/>
                  <a:pt x="226" y="269"/>
                  <a:pt x="227" y="270"/>
                </a:cubicBezTo>
                <a:cubicBezTo>
                  <a:pt x="227" y="270"/>
                  <a:pt x="226" y="270"/>
                  <a:pt x="226" y="271"/>
                </a:cubicBezTo>
                <a:cubicBezTo>
                  <a:pt x="181" y="316"/>
                  <a:pt x="181" y="316"/>
                  <a:pt x="181" y="316"/>
                </a:cubicBezTo>
                <a:cubicBezTo>
                  <a:pt x="170" y="302"/>
                  <a:pt x="162" y="285"/>
                  <a:pt x="160" y="266"/>
                </a:cubicBezTo>
                <a:close/>
                <a:moveTo>
                  <a:pt x="196" y="331"/>
                </a:moveTo>
                <a:cubicBezTo>
                  <a:pt x="241" y="286"/>
                  <a:pt x="241" y="286"/>
                  <a:pt x="241" y="286"/>
                </a:cubicBezTo>
                <a:cubicBezTo>
                  <a:pt x="241" y="285"/>
                  <a:pt x="241" y="285"/>
                  <a:pt x="242" y="284"/>
                </a:cubicBezTo>
                <a:cubicBezTo>
                  <a:pt x="243" y="285"/>
                  <a:pt x="244" y="285"/>
                  <a:pt x="245" y="286"/>
                </a:cubicBezTo>
                <a:cubicBezTo>
                  <a:pt x="245" y="286"/>
                  <a:pt x="245" y="287"/>
                  <a:pt x="245" y="288"/>
                </a:cubicBezTo>
                <a:cubicBezTo>
                  <a:pt x="245" y="351"/>
                  <a:pt x="245" y="351"/>
                  <a:pt x="245" y="351"/>
                </a:cubicBezTo>
                <a:cubicBezTo>
                  <a:pt x="227" y="349"/>
                  <a:pt x="210" y="342"/>
                  <a:pt x="196" y="331"/>
                </a:cubicBezTo>
                <a:close/>
                <a:moveTo>
                  <a:pt x="266" y="351"/>
                </a:moveTo>
                <a:cubicBezTo>
                  <a:pt x="266" y="288"/>
                  <a:pt x="266" y="288"/>
                  <a:pt x="266" y="288"/>
                </a:cubicBezTo>
                <a:cubicBezTo>
                  <a:pt x="266" y="287"/>
                  <a:pt x="266" y="286"/>
                  <a:pt x="266" y="286"/>
                </a:cubicBezTo>
                <a:cubicBezTo>
                  <a:pt x="267" y="285"/>
                  <a:pt x="269" y="285"/>
                  <a:pt x="270" y="284"/>
                </a:cubicBezTo>
                <a:cubicBezTo>
                  <a:pt x="270" y="285"/>
                  <a:pt x="270" y="285"/>
                  <a:pt x="271" y="286"/>
                </a:cubicBezTo>
                <a:cubicBezTo>
                  <a:pt x="316" y="331"/>
                  <a:pt x="316" y="331"/>
                  <a:pt x="316" y="331"/>
                </a:cubicBezTo>
                <a:cubicBezTo>
                  <a:pt x="302" y="342"/>
                  <a:pt x="285" y="349"/>
                  <a:pt x="266" y="351"/>
                </a:cubicBezTo>
                <a:close/>
                <a:moveTo>
                  <a:pt x="331" y="316"/>
                </a:moveTo>
                <a:cubicBezTo>
                  <a:pt x="286" y="271"/>
                  <a:pt x="286" y="271"/>
                  <a:pt x="286" y="271"/>
                </a:cubicBezTo>
                <a:cubicBezTo>
                  <a:pt x="285" y="270"/>
                  <a:pt x="285" y="270"/>
                  <a:pt x="284" y="270"/>
                </a:cubicBezTo>
                <a:cubicBezTo>
                  <a:pt x="285" y="268"/>
                  <a:pt x="285" y="267"/>
                  <a:pt x="286" y="266"/>
                </a:cubicBezTo>
                <a:cubicBezTo>
                  <a:pt x="286" y="266"/>
                  <a:pt x="287" y="266"/>
                  <a:pt x="288" y="266"/>
                </a:cubicBezTo>
                <a:cubicBezTo>
                  <a:pt x="351" y="266"/>
                  <a:pt x="351" y="266"/>
                  <a:pt x="351" y="266"/>
                </a:cubicBezTo>
                <a:cubicBezTo>
                  <a:pt x="349" y="285"/>
                  <a:pt x="342" y="302"/>
                  <a:pt x="331" y="316"/>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sz="1300" dirty="0">
              <a:solidFill>
                <a:srgbClr val="000000"/>
              </a:solidFill>
            </a:endParaRPr>
          </a:p>
        </p:txBody>
      </p:sp>
      <p:sp>
        <p:nvSpPr>
          <p:cNvPr id="54" name="Rectangle 53">
            <a:extLst>
              <a:ext uri="{FF2B5EF4-FFF2-40B4-BE49-F238E27FC236}">
                <a16:creationId xmlns:a16="http://schemas.microsoft.com/office/drawing/2014/main" id="{8F8677B3-2D20-6146-8DEB-AFD6C14F0DFD}"/>
              </a:ext>
            </a:extLst>
          </p:cNvPr>
          <p:cNvSpPr/>
          <p:nvPr/>
        </p:nvSpPr>
        <p:spPr bwMode="gray">
          <a:xfrm>
            <a:off x="741277" y="5546971"/>
            <a:ext cx="10709446" cy="482057"/>
          </a:xfrm>
          <a:prstGeom prst="rect">
            <a:avLst/>
          </a:prstGeom>
          <a:solidFill>
            <a:srgbClr val="A7A8AA"/>
          </a:solidFill>
          <a:ln w="19050" cap="rnd" algn="ctr">
            <a:noFill/>
            <a:round/>
            <a:headEnd/>
            <a:tailEnd/>
          </a:ln>
        </p:spPr>
        <p:txBody>
          <a:bodyPr wrap="square" lIns="93834" tIns="93834" rIns="93834" bIns="93834" rtlCol="0" anchor="ctr"/>
          <a:lstStyle/>
          <a:p>
            <a:pPr defTabSz="965149">
              <a:defRPr/>
            </a:pPr>
            <a:endParaRPr lang="en-US" sz="1300" kern="0" dirty="0">
              <a:solidFill>
                <a:prstClr val="white"/>
              </a:solidFill>
            </a:endParaRPr>
          </a:p>
        </p:txBody>
      </p:sp>
      <p:sp>
        <p:nvSpPr>
          <p:cNvPr id="53" name="Rectangle 52">
            <a:extLst>
              <a:ext uri="{FF2B5EF4-FFF2-40B4-BE49-F238E27FC236}">
                <a16:creationId xmlns:a16="http://schemas.microsoft.com/office/drawing/2014/main" id="{9A8353FC-205A-1C42-9301-C2C9E1AD2B8D}"/>
              </a:ext>
            </a:extLst>
          </p:cNvPr>
          <p:cNvSpPr/>
          <p:nvPr/>
        </p:nvSpPr>
        <p:spPr bwMode="gray">
          <a:xfrm>
            <a:off x="461880" y="5757009"/>
            <a:ext cx="11268240" cy="468283"/>
          </a:xfrm>
          <a:prstGeom prst="rect">
            <a:avLst/>
          </a:prstGeom>
          <a:solidFill>
            <a:srgbClr val="63666A"/>
          </a:solidFill>
          <a:ln w="19050" cap="rnd" algn="ctr">
            <a:noFill/>
            <a:round/>
            <a:headEnd/>
            <a:tailEnd/>
          </a:ln>
        </p:spPr>
        <p:txBody>
          <a:bodyPr wrap="square" lIns="93834" tIns="93834" rIns="93834" bIns="93834" rtlCol="0" anchor="ctr"/>
          <a:lstStyle/>
          <a:p>
            <a:pPr algn="ctr"/>
            <a:r>
              <a:rPr lang="en-US" sz="1300" b="1" dirty="0">
                <a:solidFill>
                  <a:srgbClr val="FFFFFF"/>
                </a:solidFill>
              </a:rPr>
              <a:t>Lorem ipsum</a:t>
            </a:r>
          </a:p>
          <a:p>
            <a:pPr algn="ctr"/>
            <a:r>
              <a:rPr lang="en-US" sz="1300" dirty="0">
                <a:solidFill>
                  <a:srgbClr val="FFFFFF"/>
                </a:solidFill>
              </a:rPr>
              <a:t>This is dummy text it is not here to be read. The is just text to show where you could insert text. Please replace with your text content here.</a:t>
            </a:r>
          </a:p>
        </p:txBody>
      </p:sp>
    </p:spTree>
    <p:custDataLst>
      <p:tags r:id="rId1"/>
    </p:custDataLst>
    <p:extLst>
      <p:ext uri="{BB962C8B-B14F-4D97-AF65-F5344CB8AC3E}">
        <p14:creationId xmlns:p14="http://schemas.microsoft.com/office/powerpoint/2010/main" val="4093102762"/>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CB583476-B7D2-414B-91D9-3FE7F5BAC66E}"/>
              </a:ext>
            </a:extLst>
          </p:cNvPr>
          <p:cNvSpPr/>
          <p:nvPr/>
        </p:nvSpPr>
        <p:spPr bwMode="gray">
          <a:xfrm rot="10800000">
            <a:off x="4120288" y="4125763"/>
            <a:ext cx="3892254" cy="1978476"/>
          </a:xfrm>
          <a:custGeom>
            <a:avLst/>
            <a:gdLst>
              <a:gd name="connsiteX0" fmla="*/ 1243 w 2960686"/>
              <a:gd name="connsiteY0" fmla="*/ 0 h 1504949"/>
              <a:gd name="connsiteX1" fmla="*/ 2959444 w 2960686"/>
              <a:gd name="connsiteY1" fmla="*/ 0 h 1504949"/>
              <a:gd name="connsiteX2" fmla="*/ 2960686 w 2960686"/>
              <a:gd name="connsiteY2" fmla="*/ 24606 h 1504949"/>
              <a:gd name="connsiteX3" fmla="*/ 1480343 w 2960686"/>
              <a:gd name="connsiteY3" fmla="*/ 1504949 h 1504949"/>
              <a:gd name="connsiteX4" fmla="*/ 0 w 2960686"/>
              <a:gd name="connsiteY4" fmla="*/ 24606 h 1504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686" h="1504949">
                <a:moveTo>
                  <a:pt x="1243" y="0"/>
                </a:moveTo>
                <a:lnTo>
                  <a:pt x="2959444" y="0"/>
                </a:lnTo>
                <a:lnTo>
                  <a:pt x="2960686" y="24606"/>
                </a:lnTo>
                <a:cubicBezTo>
                  <a:pt x="2960686" y="842177"/>
                  <a:pt x="2297914" y="1504949"/>
                  <a:pt x="1480343" y="1504949"/>
                </a:cubicBezTo>
                <a:cubicBezTo>
                  <a:pt x="662772" y="1504949"/>
                  <a:pt x="0" y="842177"/>
                  <a:pt x="0" y="24606"/>
                </a:cubicBezTo>
                <a:close/>
              </a:path>
            </a:pathLst>
          </a:cu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GB" sz="1600" b="1" dirty="0">
              <a:solidFill>
                <a:schemeClr val="bg1"/>
              </a:solidFill>
            </a:endParaRPr>
          </a:p>
        </p:txBody>
      </p:sp>
      <p:sp>
        <p:nvSpPr>
          <p:cNvPr id="23" name="Line 5">
            <a:extLst>
              <a:ext uri="{FF2B5EF4-FFF2-40B4-BE49-F238E27FC236}">
                <a16:creationId xmlns:a16="http://schemas.microsoft.com/office/drawing/2014/main" id="{D0A60C92-6F9E-3944-9F0F-6A7E410A2AE7}"/>
              </a:ext>
            </a:extLst>
          </p:cNvPr>
          <p:cNvSpPr>
            <a:spLocks noChangeShapeType="1"/>
          </p:cNvSpPr>
          <p:nvPr/>
        </p:nvSpPr>
        <p:spPr bwMode="auto">
          <a:xfrm>
            <a:off x="2018679" y="6104239"/>
            <a:ext cx="1362812"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4" name="Freeform 6">
            <a:extLst>
              <a:ext uri="{FF2B5EF4-FFF2-40B4-BE49-F238E27FC236}">
                <a16:creationId xmlns:a16="http://schemas.microsoft.com/office/drawing/2014/main" id="{7C5240AC-2867-2A4F-9B74-F557B990F5BA}"/>
              </a:ext>
            </a:extLst>
          </p:cNvPr>
          <p:cNvSpPr>
            <a:spLocks/>
          </p:cNvSpPr>
          <p:nvPr/>
        </p:nvSpPr>
        <p:spPr bwMode="auto">
          <a:xfrm>
            <a:off x="1736935" y="3430789"/>
            <a:ext cx="2324919" cy="2479357"/>
          </a:xfrm>
          <a:custGeom>
            <a:avLst/>
            <a:gdLst>
              <a:gd name="T0" fmla="*/ 157 w 157"/>
              <a:gd name="T1" fmla="*/ 79 h 167"/>
              <a:gd name="T2" fmla="*/ 72 w 157"/>
              <a:gd name="T3" fmla="*/ 16 h 167"/>
              <a:gd name="T4" fmla="*/ 44 w 157"/>
              <a:gd name="T5" fmla="*/ 23 h 167"/>
              <a:gd name="T6" fmla="*/ 0 w 157"/>
              <a:gd name="T7" fmla="*/ 167 h 167"/>
            </a:gdLst>
            <a:ahLst/>
            <a:cxnLst>
              <a:cxn ang="0">
                <a:pos x="T0" y="T1"/>
              </a:cxn>
              <a:cxn ang="0">
                <a:pos x="T2" y="T3"/>
              </a:cxn>
              <a:cxn ang="0">
                <a:pos x="T4" y="T5"/>
              </a:cxn>
              <a:cxn ang="0">
                <a:pos x="T6" y="T7"/>
              </a:cxn>
            </a:cxnLst>
            <a:rect l="0" t="0" r="r" b="b"/>
            <a:pathLst>
              <a:path w="157" h="167">
                <a:moveTo>
                  <a:pt x="157" y="79"/>
                </a:moveTo>
                <a:cubicBezTo>
                  <a:pt x="72" y="16"/>
                  <a:pt x="72" y="16"/>
                  <a:pt x="72" y="16"/>
                </a:cubicBezTo>
                <a:cubicBezTo>
                  <a:pt x="72" y="16"/>
                  <a:pt x="58" y="0"/>
                  <a:pt x="44" y="23"/>
                </a:cubicBezTo>
                <a:cubicBezTo>
                  <a:pt x="44" y="23"/>
                  <a:pt x="4" y="80"/>
                  <a:pt x="0" y="167"/>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5" name="Freeform 7">
            <a:extLst>
              <a:ext uri="{FF2B5EF4-FFF2-40B4-BE49-F238E27FC236}">
                <a16:creationId xmlns:a16="http://schemas.microsoft.com/office/drawing/2014/main" id="{E7002C38-96F2-5245-857A-FCFD1CD7AA9C}"/>
              </a:ext>
            </a:extLst>
          </p:cNvPr>
          <p:cNvSpPr>
            <a:spLocks/>
          </p:cNvSpPr>
          <p:nvPr/>
        </p:nvSpPr>
        <p:spPr bwMode="auto">
          <a:xfrm>
            <a:off x="2684433" y="1886409"/>
            <a:ext cx="2652578" cy="1811517"/>
          </a:xfrm>
          <a:custGeom>
            <a:avLst/>
            <a:gdLst>
              <a:gd name="T0" fmla="*/ 179 w 179"/>
              <a:gd name="T1" fmla="*/ 122 h 122"/>
              <a:gd name="T2" fmla="*/ 147 w 179"/>
              <a:gd name="T3" fmla="*/ 21 h 122"/>
              <a:gd name="T4" fmla="*/ 121 w 179"/>
              <a:gd name="T5" fmla="*/ 10 h 122"/>
              <a:gd name="T6" fmla="*/ 0 w 179"/>
              <a:gd name="T7" fmla="*/ 100 h 122"/>
            </a:gdLst>
            <a:ahLst/>
            <a:cxnLst>
              <a:cxn ang="0">
                <a:pos x="T0" y="T1"/>
              </a:cxn>
              <a:cxn ang="0">
                <a:pos x="T2" y="T3"/>
              </a:cxn>
              <a:cxn ang="0">
                <a:pos x="T4" y="T5"/>
              </a:cxn>
              <a:cxn ang="0">
                <a:pos x="T6" y="T7"/>
              </a:cxn>
            </a:cxnLst>
            <a:rect l="0" t="0" r="r" b="b"/>
            <a:pathLst>
              <a:path w="179" h="122">
                <a:moveTo>
                  <a:pt x="179" y="122"/>
                </a:moveTo>
                <a:cubicBezTo>
                  <a:pt x="147" y="21"/>
                  <a:pt x="147" y="21"/>
                  <a:pt x="147" y="21"/>
                </a:cubicBezTo>
                <a:cubicBezTo>
                  <a:pt x="147" y="21"/>
                  <a:pt x="146" y="0"/>
                  <a:pt x="121" y="10"/>
                </a:cubicBezTo>
                <a:cubicBezTo>
                  <a:pt x="121" y="10"/>
                  <a:pt x="54" y="32"/>
                  <a:pt x="0" y="100"/>
                </a:cubicBezTo>
              </a:path>
            </a:pathLst>
          </a:custGeom>
          <a:noFill/>
          <a:ln w="1905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6" name="Freeform 8">
            <a:extLst>
              <a:ext uri="{FF2B5EF4-FFF2-40B4-BE49-F238E27FC236}">
                <a16:creationId xmlns:a16="http://schemas.microsoft.com/office/drawing/2014/main" id="{382709BE-0B98-B548-938C-E22A2D043E1C}"/>
              </a:ext>
            </a:extLst>
          </p:cNvPr>
          <p:cNvSpPr>
            <a:spLocks/>
          </p:cNvSpPr>
          <p:nvPr/>
        </p:nvSpPr>
        <p:spPr bwMode="auto">
          <a:xfrm>
            <a:off x="4950916" y="1546228"/>
            <a:ext cx="2608751" cy="2137089"/>
          </a:xfrm>
          <a:custGeom>
            <a:avLst/>
            <a:gdLst>
              <a:gd name="T0" fmla="*/ 135 w 176"/>
              <a:gd name="T1" fmla="*/ 144 h 144"/>
              <a:gd name="T2" fmla="*/ 166 w 176"/>
              <a:gd name="T3" fmla="*/ 43 h 144"/>
              <a:gd name="T4" fmla="*/ 151 w 176"/>
              <a:gd name="T5" fmla="*/ 19 h 144"/>
              <a:gd name="T6" fmla="*/ 0 w 176"/>
              <a:gd name="T7" fmla="*/ 25 h 144"/>
            </a:gdLst>
            <a:ahLst/>
            <a:cxnLst>
              <a:cxn ang="0">
                <a:pos x="T0" y="T1"/>
              </a:cxn>
              <a:cxn ang="0">
                <a:pos x="T2" y="T3"/>
              </a:cxn>
              <a:cxn ang="0">
                <a:pos x="T4" y="T5"/>
              </a:cxn>
              <a:cxn ang="0">
                <a:pos x="T6" y="T7"/>
              </a:cxn>
            </a:cxnLst>
            <a:rect l="0" t="0" r="r" b="b"/>
            <a:pathLst>
              <a:path w="176" h="144">
                <a:moveTo>
                  <a:pt x="135" y="144"/>
                </a:moveTo>
                <a:cubicBezTo>
                  <a:pt x="166" y="43"/>
                  <a:pt x="166" y="43"/>
                  <a:pt x="166" y="43"/>
                </a:cubicBezTo>
                <a:cubicBezTo>
                  <a:pt x="166" y="43"/>
                  <a:pt x="176" y="25"/>
                  <a:pt x="151" y="19"/>
                </a:cubicBezTo>
                <a:cubicBezTo>
                  <a:pt x="151" y="19"/>
                  <a:pt x="83" y="0"/>
                  <a:pt x="0" y="25"/>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7" name="Freeform 9">
            <a:extLst>
              <a:ext uri="{FF2B5EF4-FFF2-40B4-BE49-F238E27FC236}">
                <a16:creationId xmlns:a16="http://schemas.microsoft.com/office/drawing/2014/main" id="{E86CC405-BDBD-BE42-B99A-EC652166E3B7}"/>
              </a:ext>
            </a:extLst>
          </p:cNvPr>
          <p:cNvSpPr>
            <a:spLocks/>
          </p:cNvSpPr>
          <p:nvPr/>
        </p:nvSpPr>
        <p:spPr bwMode="auto">
          <a:xfrm>
            <a:off x="7618102" y="2019978"/>
            <a:ext cx="2043174" cy="2644231"/>
          </a:xfrm>
          <a:custGeom>
            <a:avLst/>
            <a:gdLst>
              <a:gd name="T0" fmla="*/ 32 w 138"/>
              <a:gd name="T1" fmla="*/ 178 h 178"/>
              <a:gd name="T2" fmla="*/ 119 w 138"/>
              <a:gd name="T3" fmla="*/ 117 h 178"/>
              <a:gd name="T4" fmla="*/ 122 w 138"/>
              <a:gd name="T5" fmla="*/ 89 h 178"/>
              <a:gd name="T6" fmla="*/ 0 w 138"/>
              <a:gd name="T7" fmla="*/ 0 h 178"/>
            </a:gdLst>
            <a:ahLst/>
            <a:cxnLst>
              <a:cxn ang="0">
                <a:pos x="T0" y="T1"/>
              </a:cxn>
              <a:cxn ang="0">
                <a:pos x="T2" y="T3"/>
              </a:cxn>
              <a:cxn ang="0">
                <a:pos x="T4" y="T5"/>
              </a:cxn>
              <a:cxn ang="0">
                <a:pos x="T6" y="T7"/>
              </a:cxn>
            </a:cxnLst>
            <a:rect l="0" t="0" r="r" b="b"/>
            <a:pathLst>
              <a:path w="138" h="178">
                <a:moveTo>
                  <a:pt x="32" y="178"/>
                </a:moveTo>
                <a:cubicBezTo>
                  <a:pt x="119" y="117"/>
                  <a:pt x="119" y="117"/>
                  <a:pt x="119" y="117"/>
                </a:cubicBezTo>
                <a:cubicBezTo>
                  <a:pt x="119" y="117"/>
                  <a:pt x="138" y="109"/>
                  <a:pt x="122" y="89"/>
                </a:cubicBezTo>
                <a:cubicBezTo>
                  <a:pt x="122" y="89"/>
                  <a:pt x="81" y="32"/>
                  <a:pt x="0" y="0"/>
                </a:cubicBezTo>
              </a:path>
            </a:pathLst>
          </a:custGeom>
          <a:noFill/>
          <a:ln w="1905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8" name="Freeform 10">
            <a:extLst>
              <a:ext uri="{FF2B5EF4-FFF2-40B4-BE49-F238E27FC236}">
                <a16:creationId xmlns:a16="http://schemas.microsoft.com/office/drawing/2014/main" id="{8476437C-87C7-E142-931C-D8423032B51C}"/>
              </a:ext>
            </a:extLst>
          </p:cNvPr>
          <p:cNvSpPr>
            <a:spLocks/>
          </p:cNvSpPr>
          <p:nvPr/>
        </p:nvSpPr>
        <p:spPr bwMode="auto">
          <a:xfrm>
            <a:off x="3826023" y="4751863"/>
            <a:ext cx="415314" cy="1158286"/>
          </a:xfrm>
          <a:custGeom>
            <a:avLst/>
            <a:gdLst>
              <a:gd name="T0" fmla="*/ 0 w 28"/>
              <a:gd name="T1" fmla="*/ 78 h 78"/>
              <a:gd name="T2" fmla="*/ 28 w 28"/>
              <a:gd name="T3" fmla="*/ 0 h 78"/>
            </a:gdLst>
            <a:ahLst/>
            <a:cxnLst>
              <a:cxn ang="0">
                <a:pos x="T0" y="T1"/>
              </a:cxn>
              <a:cxn ang="0">
                <a:pos x="T2" y="T3"/>
              </a:cxn>
            </a:cxnLst>
            <a:rect l="0" t="0" r="r" b="b"/>
            <a:pathLst>
              <a:path w="28" h="78">
                <a:moveTo>
                  <a:pt x="0" y="78"/>
                </a:moveTo>
                <a:cubicBezTo>
                  <a:pt x="0" y="78"/>
                  <a:pt x="2" y="35"/>
                  <a:pt x="28" y="0"/>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9" name="Freeform 11">
            <a:extLst>
              <a:ext uri="{FF2B5EF4-FFF2-40B4-BE49-F238E27FC236}">
                <a16:creationId xmlns:a16="http://schemas.microsoft.com/office/drawing/2014/main" id="{61155D1C-CD48-2547-AB5A-08721483D899}"/>
              </a:ext>
            </a:extLst>
          </p:cNvPr>
          <p:cNvSpPr>
            <a:spLocks/>
          </p:cNvSpPr>
          <p:nvPr/>
        </p:nvSpPr>
        <p:spPr bwMode="auto">
          <a:xfrm>
            <a:off x="8594819" y="3668709"/>
            <a:ext cx="1882474" cy="2493967"/>
          </a:xfrm>
          <a:custGeom>
            <a:avLst/>
            <a:gdLst>
              <a:gd name="T0" fmla="*/ 0 w 127"/>
              <a:gd name="T1" fmla="*/ 165 h 168"/>
              <a:gd name="T2" fmla="*/ 107 w 127"/>
              <a:gd name="T3" fmla="*/ 164 h 168"/>
              <a:gd name="T4" fmla="*/ 125 w 127"/>
              <a:gd name="T5" fmla="*/ 142 h 168"/>
              <a:gd name="T6" fmla="*/ 74 w 127"/>
              <a:gd name="T7" fmla="*/ 0 h 168"/>
            </a:gdLst>
            <a:ahLst/>
            <a:cxnLst>
              <a:cxn ang="0">
                <a:pos x="T0" y="T1"/>
              </a:cxn>
              <a:cxn ang="0">
                <a:pos x="T2" y="T3"/>
              </a:cxn>
              <a:cxn ang="0">
                <a:pos x="T4" y="T5"/>
              </a:cxn>
              <a:cxn ang="0">
                <a:pos x="T6" y="T7"/>
              </a:cxn>
            </a:cxnLst>
            <a:rect l="0" t="0" r="r" b="b"/>
            <a:pathLst>
              <a:path w="127" h="168">
                <a:moveTo>
                  <a:pt x="0" y="165"/>
                </a:moveTo>
                <a:cubicBezTo>
                  <a:pt x="107" y="164"/>
                  <a:pt x="107" y="164"/>
                  <a:pt x="107" y="164"/>
                </a:cubicBezTo>
                <a:cubicBezTo>
                  <a:pt x="107" y="164"/>
                  <a:pt x="127" y="168"/>
                  <a:pt x="125" y="142"/>
                </a:cubicBezTo>
                <a:cubicBezTo>
                  <a:pt x="125" y="142"/>
                  <a:pt x="123" y="72"/>
                  <a:pt x="74" y="0"/>
                </a:cubicBezTo>
              </a:path>
            </a:pathLst>
          </a:custGeom>
          <a:noFill/>
          <a:ln w="1905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0" name="Freeform 12">
            <a:extLst>
              <a:ext uri="{FF2B5EF4-FFF2-40B4-BE49-F238E27FC236}">
                <a16:creationId xmlns:a16="http://schemas.microsoft.com/office/drawing/2014/main" id="{61E8EC5A-21FE-9D4A-B410-050E51C2E85C}"/>
              </a:ext>
            </a:extLst>
          </p:cNvPr>
          <p:cNvSpPr>
            <a:spLocks/>
          </p:cNvSpPr>
          <p:nvPr/>
        </p:nvSpPr>
        <p:spPr bwMode="auto">
          <a:xfrm>
            <a:off x="8018806" y="4916736"/>
            <a:ext cx="413226" cy="1156199"/>
          </a:xfrm>
          <a:custGeom>
            <a:avLst/>
            <a:gdLst>
              <a:gd name="T0" fmla="*/ 28 w 28"/>
              <a:gd name="T1" fmla="*/ 78 h 78"/>
              <a:gd name="T2" fmla="*/ 0 w 28"/>
              <a:gd name="T3" fmla="*/ 0 h 78"/>
            </a:gdLst>
            <a:ahLst/>
            <a:cxnLst>
              <a:cxn ang="0">
                <a:pos x="T0" y="T1"/>
              </a:cxn>
              <a:cxn ang="0">
                <a:pos x="T2" y="T3"/>
              </a:cxn>
            </a:cxnLst>
            <a:rect l="0" t="0" r="r" b="b"/>
            <a:pathLst>
              <a:path w="28" h="78">
                <a:moveTo>
                  <a:pt x="28" y="78"/>
                </a:moveTo>
                <a:cubicBezTo>
                  <a:pt x="28" y="78"/>
                  <a:pt x="26" y="35"/>
                  <a:pt x="0" y="0"/>
                </a:cubicBezTo>
              </a:path>
            </a:pathLst>
          </a:custGeom>
          <a:noFill/>
          <a:ln w="1905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1" name="Freeform 13">
            <a:extLst>
              <a:ext uri="{FF2B5EF4-FFF2-40B4-BE49-F238E27FC236}">
                <a16:creationId xmlns:a16="http://schemas.microsoft.com/office/drawing/2014/main" id="{653121D6-F207-0949-85F3-BC98DF2BD354}"/>
              </a:ext>
            </a:extLst>
          </p:cNvPr>
          <p:cNvSpPr>
            <a:spLocks/>
          </p:cNvSpPr>
          <p:nvPr/>
        </p:nvSpPr>
        <p:spPr bwMode="auto">
          <a:xfrm>
            <a:off x="4358208" y="3935845"/>
            <a:ext cx="1022630" cy="682450"/>
          </a:xfrm>
          <a:custGeom>
            <a:avLst/>
            <a:gdLst>
              <a:gd name="T0" fmla="*/ 0 w 69"/>
              <a:gd name="T1" fmla="*/ 46 h 46"/>
              <a:gd name="T2" fmla="*/ 69 w 69"/>
              <a:gd name="T3" fmla="*/ 0 h 46"/>
            </a:gdLst>
            <a:ahLst/>
            <a:cxnLst>
              <a:cxn ang="0">
                <a:pos x="T0" y="T1"/>
              </a:cxn>
              <a:cxn ang="0">
                <a:pos x="T2" y="T3"/>
              </a:cxn>
            </a:cxnLst>
            <a:rect l="0" t="0" r="r" b="b"/>
            <a:pathLst>
              <a:path w="69" h="46">
                <a:moveTo>
                  <a:pt x="0" y="46"/>
                </a:moveTo>
                <a:cubicBezTo>
                  <a:pt x="0" y="46"/>
                  <a:pt x="27" y="12"/>
                  <a:pt x="69" y="0"/>
                </a:cubicBezTo>
              </a:path>
            </a:pathLst>
          </a:custGeom>
          <a:noFill/>
          <a:ln w="1905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2" name="Freeform 14">
            <a:extLst>
              <a:ext uri="{FF2B5EF4-FFF2-40B4-BE49-F238E27FC236}">
                <a16:creationId xmlns:a16="http://schemas.microsoft.com/office/drawing/2014/main" id="{F55B0E4A-1460-2D40-A168-A0209C533602}"/>
              </a:ext>
            </a:extLst>
          </p:cNvPr>
          <p:cNvSpPr>
            <a:spLocks/>
          </p:cNvSpPr>
          <p:nvPr/>
        </p:nvSpPr>
        <p:spPr bwMode="auto">
          <a:xfrm>
            <a:off x="5618756" y="3697926"/>
            <a:ext cx="1214634" cy="208700"/>
          </a:xfrm>
          <a:custGeom>
            <a:avLst/>
            <a:gdLst>
              <a:gd name="T0" fmla="*/ 0 w 82"/>
              <a:gd name="T1" fmla="*/ 11 h 14"/>
              <a:gd name="T2" fmla="*/ 82 w 82"/>
              <a:gd name="T3" fmla="*/ 14 h 14"/>
            </a:gdLst>
            <a:ahLst/>
            <a:cxnLst>
              <a:cxn ang="0">
                <a:pos x="T0" y="T1"/>
              </a:cxn>
              <a:cxn ang="0">
                <a:pos x="T2" y="T3"/>
              </a:cxn>
            </a:cxnLst>
            <a:rect l="0" t="0" r="r" b="b"/>
            <a:pathLst>
              <a:path w="82" h="14">
                <a:moveTo>
                  <a:pt x="0" y="11"/>
                </a:moveTo>
                <a:cubicBezTo>
                  <a:pt x="0" y="11"/>
                  <a:pt x="42" y="0"/>
                  <a:pt x="82" y="14"/>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3" name="Freeform 15">
            <a:extLst>
              <a:ext uri="{FF2B5EF4-FFF2-40B4-BE49-F238E27FC236}">
                <a16:creationId xmlns:a16="http://schemas.microsoft.com/office/drawing/2014/main" id="{DF81D0E8-3ACF-254D-B8B9-CD6C73AC95F9}"/>
              </a:ext>
            </a:extLst>
          </p:cNvPr>
          <p:cNvSpPr>
            <a:spLocks/>
          </p:cNvSpPr>
          <p:nvPr/>
        </p:nvSpPr>
        <p:spPr bwMode="auto">
          <a:xfrm>
            <a:off x="6981567" y="3996369"/>
            <a:ext cx="962108" cy="755494"/>
          </a:xfrm>
          <a:custGeom>
            <a:avLst/>
            <a:gdLst>
              <a:gd name="T0" fmla="*/ 0 w 65"/>
              <a:gd name="T1" fmla="*/ 0 h 51"/>
              <a:gd name="T2" fmla="*/ 65 w 65"/>
              <a:gd name="T3" fmla="*/ 51 h 51"/>
            </a:gdLst>
            <a:ahLst/>
            <a:cxnLst>
              <a:cxn ang="0">
                <a:pos x="T0" y="T1"/>
              </a:cxn>
              <a:cxn ang="0">
                <a:pos x="T2" y="T3"/>
              </a:cxn>
            </a:cxnLst>
            <a:rect l="0" t="0" r="r" b="b"/>
            <a:pathLst>
              <a:path w="65" h="51">
                <a:moveTo>
                  <a:pt x="0" y="0"/>
                </a:moveTo>
                <a:cubicBezTo>
                  <a:pt x="0" y="0"/>
                  <a:pt x="40" y="15"/>
                  <a:pt x="65" y="51"/>
                </a:cubicBezTo>
              </a:path>
            </a:pathLst>
          </a:custGeom>
          <a:noFill/>
          <a:ln w="1905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4" name="Rectangle 33">
            <a:extLst>
              <a:ext uri="{FF2B5EF4-FFF2-40B4-BE49-F238E27FC236}">
                <a16:creationId xmlns:a16="http://schemas.microsoft.com/office/drawing/2014/main" id="{11B9F807-8EE3-3741-B570-185F0C3BF537}"/>
              </a:ext>
            </a:extLst>
          </p:cNvPr>
          <p:cNvSpPr/>
          <p:nvPr/>
        </p:nvSpPr>
        <p:spPr>
          <a:xfrm>
            <a:off x="1974672" y="5242306"/>
            <a:ext cx="1688564" cy="400110"/>
          </a:xfrm>
          <a:prstGeom prst="rect">
            <a:avLst/>
          </a:prstGeom>
          <a:noFill/>
        </p:spPr>
        <p:txBody>
          <a:bodyPr wrap="square" lIns="0" tIns="0" rIns="0" bIns="0" rtlCol="0">
            <a:spAutoFit/>
          </a:bodyPr>
          <a:lstStyle/>
          <a:p>
            <a:pPr algn="ctr">
              <a:buSzPct val="100000"/>
            </a:pPr>
            <a:r>
              <a:rPr lang="en-US" sz="1300" dirty="0">
                <a:solidFill>
                  <a:srgbClr val="313131"/>
                </a:solidFill>
              </a:rPr>
              <a:t>This is dummy text it is not here to be read.</a:t>
            </a:r>
          </a:p>
        </p:txBody>
      </p:sp>
      <p:sp>
        <p:nvSpPr>
          <p:cNvPr id="35" name="Rectangle 34">
            <a:extLst>
              <a:ext uri="{FF2B5EF4-FFF2-40B4-BE49-F238E27FC236}">
                <a16:creationId xmlns:a16="http://schemas.microsoft.com/office/drawing/2014/main" id="{2A994398-1869-B14F-A5A0-B039484F4DDF}"/>
              </a:ext>
            </a:extLst>
          </p:cNvPr>
          <p:cNvSpPr/>
          <p:nvPr/>
        </p:nvSpPr>
        <p:spPr>
          <a:xfrm>
            <a:off x="3183386" y="3316735"/>
            <a:ext cx="1756934" cy="400110"/>
          </a:xfrm>
          <a:prstGeom prst="rect">
            <a:avLst/>
          </a:prstGeom>
          <a:noFill/>
        </p:spPr>
        <p:txBody>
          <a:bodyPr wrap="square" lIns="0" tIns="0" rIns="0" bIns="0" rtlCol="0">
            <a:spAutoFit/>
          </a:bodyPr>
          <a:lstStyle/>
          <a:p>
            <a:pPr algn="ctr">
              <a:buSzPct val="100000"/>
            </a:pPr>
            <a:r>
              <a:rPr lang="en-US" sz="1300" dirty="0">
                <a:solidFill>
                  <a:srgbClr val="313131"/>
                </a:solidFill>
              </a:rPr>
              <a:t>This is dummy text it is not here to be read.</a:t>
            </a:r>
          </a:p>
        </p:txBody>
      </p:sp>
      <p:sp>
        <p:nvSpPr>
          <p:cNvPr id="36" name="Rectangle 35">
            <a:extLst>
              <a:ext uri="{FF2B5EF4-FFF2-40B4-BE49-F238E27FC236}">
                <a16:creationId xmlns:a16="http://schemas.microsoft.com/office/drawing/2014/main" id="{C85CEFA6-C81A-D84E-8577-83927DD8BE47}"/>
              </a:ext>
            </a:extLst>
          </p:cNvPr>
          <p:cNvSpPr/>
          <p:nvPr/>
        </p:nvSpPr>
        <p:spPr>
          <a:xfrm>
            <a:off x="7303348" y="3456200"/>
            <a:ext cx="1560306" cy="400110"/>
          </a:xfrm>
          <a:prstGeom prst="rect">
            <a:avLst/>
          </a:prstGeom>
          <a:noFill/>
        </p:spPr>
        <p:txBody>
          <a:bodyPr wrap="square" lIns="0" tIns="0" rIns="0" bIns="0" rtlCol="0">
            <a:spAutoFit/>
          </a:bodyPr>
          <a:lstStyle/>
          <a:p>
            <a:pPr algn="ctr">
              <a:buSzPct val="100000"/>
            </a:pPr>
            <a:r>
              <a:rPr lang="en-US" sz="1300" dirty="0">
                <a:solidFill>
                  <a:srgbClr val="313131"/>
                </a:solidFill>
              </a:rPr>
              <a:t>This is dummy text it is not here to be read.</a:t>
            </a:r>
          </a:p>
        </p:txBody>
      </p:sp>
      <p:sp>
        <p:nvSpPr>
          <p:cNvPr id="37" name="Rectangle 36">
            <a:extLst>
              <a:ext uri="{FF2B5EF4-FFF2-40B4-BE49-F238E27FC236}">
                <a16:creationId xmlns:a16="http://schemas.microsoft.com/office/drawing/2014/main" id="{A8CF731C-B69F-FC4C-B4EB-B3475D05B93F}"/>
              </a:ext>
            </a:extLst>
          </p:cNvPr>
          <p:cNvSpPr/>
          <p:nvPr/>
        </p:nvSpPr>
        <p:spPr>
          <a:xfrm>
            <a:off x="8480615" y="5199241"/>
            <a:ext cx="1539969" cy="400110"/>
          </a:xfrm>
          <a:prstGeom prst="rect">
            <a:avLst/>
          </a:prstGeom>
          <a:noFill/>
        </p:spPr>
        <p:txBody>
          <a:bodyPr wrap="square" lIns="0" tIns="0" rIns="0" bIns="0" rtlCol="0">
            <a:spAutoFit/>
          </a:bodyPr>
          <a:lstStyle/>
          <a:p>
            <a:pPr algn="ctr">
              <a:buSzPct val="100000"/>
            </a:pPr>
            <a:r>
              <a:rPr lang="en-US" sz="1300" dirty="0">
                <a:solidFill>
                  <a:srgbClr val="313131"/>
                </a:solidFill>
              </a:rPr>
              <a:t>This is dummy text it is not here to be read.</a:t>
            </a:r>
          </a:p>
        </p:txBody>
      </p:sp>
      <p:sp>
        <p:nvSpPr>
          <p:cNvPr id="38" name="Rectangle 37">
            <a:extLst>
              <a:ext uri="{FF2B5EF4-FFF2-40B4-BE49-F238E27FC236}">
                <a16:creationId xmlns:a16="http://schemas.microsoft.com/office/drawing/2014/main" id="{98F2BEBB-9332-E340-B0D4-62380A454FDD}"/>
              </a:ext>
            </a:extLst>
          </p:cNvPr>
          <p:cNvSpPr/>
          <p:nvPr/>
        </p:nvSpPr>
        <p:spPr>
          <a:xfrm>
            <a:off x="5369735" y="3112548"/>
            <a:ext cx="1536922" cy="400110"/>
          </a:xfrm>
          <a:prstGeom prst="rect">
            <a:avLst/>
          </a:prstGeom>
          <a:noFill/>
        </p:spPr>
        <p:txBody>
          <a:bodyPr wrap="square" lIns="0" tIns="0" rIns="0" bIns="0" rtlCol="0">
            <a:spAutoFit/>
          </a:bodyPr>
          <a:lstStyle/>
          <a:p>
            <a:pPr algn="ctr">
              <a:buSzPct val="100000"/>
            </a:pPr>
            <a:r>
              <a:rPr lang="en-US" sz="1300" dirty="0">
                <a:solidFill>
                  <a:srgbClr val="313131"/>
                </a:solidFill>
              </a:rPr>
              <a:t>This is dummy text it is not here to be read.</a:t>
            </a:r>
          </a:p>
        </p:txBody>
      </p:sp>
      <p:sp>
        <p:nvSpPr>
          <p:cNvPr id="39" name="Freeform 207">
            <a:extLst>
              <a:ext uri="{FF2B5EF4-FFF2-40B4-BE49-F238E27FC236}">
                <a16:creationId xmlns:a16="http://schemas.microsoft.com/office/drawing/2014/main" id="{E51CC0C1-E863-EA4C-8924-70FBB0DE664B}"/>
              </a:ext>
            </a:extLst>
          </p:cNvPr>
          <p:cNvSpPr>
            <a:spLocks noChangeAspect="1" noEditPoints="1"/>
          </p:cNvSpPr>
          <p:nvPr/>
        </p:nvSpPr>
        <p:spPr bwMode="auto">
          <a:xfrm>
            <a:off x="2457258" y="4360336"/>
            <a:ext cx="723389" cy="721268"/>
          </a:xfrm>
          <a:custGeom>
            <a:avLst/>
            <a:gdLst>
              <a:gd name="T0" fmla="*/ 149 w 512"/>
              <a:gd name="T1" fmla="*/ 266 h 512"/>
              <a:gd name="T2" fmla="*/ 142 w 512"/>
              <a:gd name="T3" fmla="*/ 267 h 512"/>
              <a:gd name="T4" fmla="*/ 178 w 512"/>
              <a:gd name="T5" fmla="*/ 160 h 512"/>
              <a:gd name="T6" fmla="*/ 333 w 512"/>
              <a:gd name="T7" fmla="*/ 160 h 512"/>
              <a:gd name="T8" fmla="*/ 369 w 512"/>
              <a:gd name="T9" fmla="*/ 267 h 512"/>
              <a:gd name="T10" fmla="*/ 362 w 512"/>
              <a:gd name="T11" fmla="*/ 266 h 512"/>
              <a:gd name="T12" fmla="*/ 149 w 512"/>
              <a:gd name="T13" fmla="*/ 266 h 512"/>
              <a:gd name="T14" fmla="*/ 373 w 512"/>
              <a:gd name="T15" fmla="*/ 299 h 512"/>
              <a:gd name="T16" fmla="*/ 373 w 512"/>
              <a:gd name="T17" fmla="*/ 341 h 512"/>
              <a:gd name="T18" fmla="*/ 362 w 512"/>
              <a:gd name="T19" fmla="*/ 352 h 512"/>
              <a:gd name="T20" fmla="*/ 149 w 512"/>
              <a:gd name="T21" fmla="*/ 352 h 512"/>
              <a:gd name="T22" fmla="*/ 138 w 512"/>
              <a:gd name="T23" fmla="*/ 341 h 512"/>
              <a:gd name="T24" fmla="*/ 138 w 512"/>
              <a:gd name="T25" fmla="*/ 299 h 512"/>
              <a:gd name="T26" fmla="*/ 149 w 512"/>
              <a:gd name="T27" fmla="*/ 288 h 512"/>
              <a:gd name="T28" fmla="*/ 362 w 512"/>
              <a:gd name="T29" fmla="*/ 288 h 512"/>
              <a:gd name="T30" fmla="*/ 373 w 512"/>
              <a:gd name="T31" fmla="*/ 299 h 512"/>
              <a:gd name="T32" fmla="*/ 309 w 512"/>
              <a:gd name="T33" fmla="*/ 320 h 512"/>
              <a:gd name="T34" fmla="*/ 298 w 512"/>
              <a:gd name="T35" fmla="*/ 309 h 512"/>
              <a:gd name="T36" fmla="*/ 288 w 512"/>
              <a:gd name="T37" fmla="*/ 320 h 512"/>
              <a:gd name="T38" fmla="*/ 298 w 512"/>
              <a:gd name="T39" fmla="*/ 330 h 512"/>
              <a:gd name="T40" fmla="*/ 309 w 512"/>
              <a:gd name="T41" fmla="*/ 320 h 512"/>
              <a:gd name="T42" fmla="*/ 352 w 512"/>
              <a:gd name="T43" fmla="*/ 320 h 512"/>
              <a:gd name="T44" fmla="*/ 341 w 512"/>
              <a:gd name="T45" fmla="*/ 309 h 512"/>
              <a:gd name="T46" fmla="*/ 330 w 512"/>
              <a:gd name="T47" fmla="*/ 320 h 512"/>
              <a:gd name="T48" fmla="*/ 341 w 512"/>
              <a:gd name="T49" fmla="*/ 330 h 512"/>
              <a:gd name="T50" fmla="*/ 352 w 512"/>
              <a:gd name="T51" fmla="*/ 320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94 w 512"/>
              <a:gd name="T63" fmla="*/ 277 h 512"/>
              <a:gd name="T64" fmla="*/ 394 w 512"/>
              <a:gd name="T65" fmla="*/ 274 h 512"/>
              <a:gd name="T66" fmla="*/ 351 w 512"/>
              <a:gd name="T67" fmla="*/ 146 h 512"/>
              <a:gd name="T68" fmla="*/ 351 w 512"/>
              <a:gd name="T69" fmla="*/ 145 h 512"/>
              <a:gd name="T70" fmla="*/ 341 w 512"/>
              <a:gd name="T71" fmla="*/ 138 h 512"/>
              <a:gd name="T72" fmla="*/ 170 w 512"/>
              <a:gd name="T73" fmla="*/ 138 h 512"/>
              <a:gd name="T74" fmla="*/ 160 w 512"/>
              <a:gd name="T75" fmla="*/ 145 h 512"/>
              <a:gd name="T76" fmla="*/ 160 w 512"/>
              <a:gd name="T77" fmla="*/ 146 h 512"/>
              <a:gd name="T78" fmla="*/ 118 w 512"/>
              <a:gd name="T79" fmla="*/ 274 h 512"/>
              <a:gd name="T80" fmla="*/ 117 w 512"/>
              <a:gd name="T81" fmla="*/ 277 h 512"/>
              <a:gd name="T82" fmla="*/ 117 w 512"/>
              <a:gd name="T83" fmla="*/ 298 h 512"/>
              <a:gd name="T84" fmla="*/ 117 w 512"/>
              <a:gd name="T85" fmla="*/ 298 h 512"/>
              <a:gd name="T86" fmla="*/ 117 w 512"/>
              <a:gd name="T87" fmla="*/ 299 h 512"/>
              <a:gd name="T88" fmla="*/ 117 w 512"/>
              <a:gd name="T89" fmla="*/ 341 h 512"/>
              <a:gd name="T90" fmla="*/ 149 w 512"/>
              <a:gd name="T91" fmla="*/ 373 h 512"/>
              <a:gd name="T92" fmla="*/ 362 w 512"/>
              <a:gd name="T93" fmla="*/ 373 h 512"/>
              <a:gd name="T94" fmla="*/ 394 w 512"/>
              <a:gd name="T95" fmla="*/ 341 h 512"/>
              <a:gd name="T96" fmla="*/ 394 w 512"/>
              <a:gd name="T97" fmla="*/ 299 h 512"/>
              <a:gd name="T98" fmla="*/ 394 w 512"/>
              <a:gd name="T99" fmla="*/ 298 h 512"/>
              <a:gd name="T100" fmla="*/ 394 w 512"/>
              <a:gd name="T101" fmla="*/ 298 h 512"/>
              <a:gd name="T102" fmla="*/ 394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49" y="266"/>
                </a:moveTo>
                <a:cubicBezTo>
                  <a:pt x="147" y="266"/>
                  <a:pt x="144" y="267"/>
                  <a:pt x="142" y="267"/>
                </a:cubicBezTo>
                <a:cubicBezTo>
                  <a:pt x="178" y="160"/>
                  <a:pt x="178" y="160"/>
                  <a:pt x="178" y="160"/>
                </a:cubicBezTo>
                <a:cubicBezTo>
                  <a:pt x="333" y="160"/>
                  <a:pt x="333" y="160"/>
                  <a:pt x="333" y="160"/>
                </a:cubicBezTo>
                <a:cubicBezTo>
                  <a:pt x="369" y="267"/>
                  <a:pt x="369" y="267"/>
                  <a:pt x="369" y="267"/>
                </a:cubicBezTo>
                <a:cubicBezTo>
                  <a:pt x="367" y="267"/>
                  <a:pt x="365" y="266"/>
                  <a:pt x="362" y="266"/>
                </a:cubicBezTo>
                <a:lnTo>
                  <a:pt x="149" y="266"/>
                </a:lnTo>
                <a:close/>
                <a:moveTo>
                  <a:pt x="373" y="299"/>
                </a:moveTo>
                <a:cubicBezTo>
                  <a:pt x="373" y="341"/>
                  <a:pt x="373" y="341"/>
                  <a:pt x="373" y="341"/>
                </a:cubicBezTo>
                <a:cubicBezTo>
                  <a:pt x="373" y="347"/>
                  <a:pt x="368" y="352"/>
                  <a:pt x="362" y="352"/>
                </a:cubicBezTo>
                <a:cubicBezTo>
                  <a:pt x="149" y="352"/>
                  <a:pt x="149" y="352"/>
                  <a:pt x="149" y="352"/>
                </a:cubicBezTo>
                <a:cubicBezTo>
                  <a:pt x="143" y="352"/>
                  <a:pt x="138" y="347"/>
                  <a:pt x="138" y="341"/>
                </a:cubicBezTo>
                <a:cubicBezTo>
                  <a:pt x="138" y="299"/>
                  <a:pt x="138" y="299"/>
                  <a:pt x="138" y="299"/>
                </a:cubicBezTo>
                <a:cubicBezTo>
                  <a:pt x="138" y="293"/>
                  <a:pt x="143" y="288"/>
                  <a:pt x="149" y="288"/>
                </a:cubicBezTo>
                <a:cubicBezTo>
                  <a:pt x="362" y="288"/>
                  <a:pt x="362" y="288"/>
                  <a:pt x="362" y="288"/>
                </a:cubicBezTo>
                <a:cubicBezTo>
                  <a:pt x="368" y="288"/>
                  <a:pt x="373" y="293"/>
                  <a:pt x="373" y="299"/>
                </a:cubicBezTo>
                <a:close/>
                <a:moveTo>
                  <a:pt x="309" y="320"/>
                </a:moveTo>
                <a:cubicBezTo>
                  <a:pt x="309" y="314"/>
                  <a:pt x="304" y="309"/>
                  <a:pt x="298" y="309"/>
                </a:cubicBezTo>
                <a:cubicBezTo>
                  <a:pt x="292" y="309"/>
                  <a:pt x="288" y="314"/>
                  <a:pt x="288" y="320"/>
                </a:cubicBezTo>
                <a:cubicBezTo>
                  <a:pt x="288" y="326"/>
                  <a:pt x="292" y="330"/>
                  <a:pt x="298" y="330"/>
                </a:cubicBezTo>
                <a:cubicBezTo>
                  <a:pt x="304" y="330"/>
                  <a:pt x="309" y="326"/>
                  <a:pt x="309" y="320"/>
                </a:cubicBezTo>
                <a:close/>
                <a:moveTo>
                  <a:pt x="352" y="320"/>
                </a:moveTo>
                <a:cubicBezTo>
                  <a:pt x="352" y="314"/>
                  <a:pt x="347" y="309"/>
                  <a:pt x="341" y="309"/>
                </a:cubicBezTo>
                <a:cubicBezTo>
                  <a:pt x="335" y="309"/>
                  <a:pt x="330" y="314"/>
                  <a:pt x="330" y="320"/>
                </a:cubicBezTo>
                <a:cubicBezTo>
                  <a:pt x="330" y="326"/>
                  <a:pt x="335" y="330"/>
                  <a:pt x="341" y="330"/>
                </a:cubicBezTo>
                <a:cubicBezTo>
                  <a:pt x="347" y="330"/>
                  <a:pt x="352" y="326"/>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77"/>
                </a:moveTo>
                <a:cubicBezTo>
                  <a:pt x="394" y="276"/>
                  <a:pt x="394" y="275"/>
                  <a:pt x="394" y="274"/>
                </a:cubicBezTo>
                <a:cubicBezTo>
                  <a:pt x="351" y="146"/>
                  <a:pt x="351" y="146"/>
                  <a:pt x="351" y="146"/>
                </a:cubicBezTo>
                <a:cubicBezTo>
                  <a:pt x="351" y="145"/>
                  <a:pt x="351" y="145"/>
                  <a:pt x="351" y="145"/>
                </a:cubicBezTo>
                <a:cubicBezTo>
                  <a:pt x="349" y="141"/>
                  <a:pt x="346" y="138"/>
                  <a:pt x="341" y="138"/>
                </a:cubicBezTo>
                <a:cubicBezTo>
                  <a:pt x="170" y="138"/>
                  <a:pt x="170" y="138"/>
                  <a:pt x="170" y="138"/>
                </a:cubicBezTo>
                <a:cubicBezTo>
                  <a:pt x="166" y="138"/>
                  <a:pt x="162" y="141"/>
                  <a:pt x="160" y="145"/>
                </a:cubicBezTo>
                <a:cubicBezTo>
                  <a:pt x="160" y="145"/>
                  <a:pt x="160" y="145"/>
                  <a:pt x="160" y="146"/>
                </a:cubicBezTo>
                <a:cubicBezTo>
                  <a:pt x="118" y="274"/>
                  <a:pt x="118" y="274"/>
                  <a:pt x="118" y="274"/>
                </a:cubicBezTo>
                <a:cubicBezTo>
                  <a:pt x="117" y="275"/>
                  <a:pt x="117" y="276"/>
                  <a:pt x="117" y="277"/>
                </a:cubicBezTo>
                <a:cubicBezTo>
                  <a:pt x="117" y="298"/>
                  <a:pt x="117" y="298"/>
                  <a:pt x="117" y="298"/>
                </a:cubicBezTo>
                <a:cubicBezTo>
                  <a:pt x="117" y="298"/>
                  <a:pt x="117" y="298"/>
                  <a:pt x="117" y="298"/>
                </a:cubicBezTo>
                <a:cubicBezTo>
                  <a:pt x="117" y="298"/>
                  <a:pt x="117" y="298"/>
                  <a:pt x="117" y="299"/>
                </a:cubicBezTo>
                <a:cubicBezTo>
                  <a:pt x="117" y="341"/>
                  <a:pt x="117" y="341"/>
                  <a:pt x="117" y="341"/>
                </a:cubicBezTo>
                <a:cubicBezTo>
                  <a:pt x="117" y="359"/>
                  <a:pt x="131" y="373"/>
                  <a:pt x="149" y="373"/>
                </a:cubicBezTo>
                <a:cubicBezTo>
                  <a:pt x="362" y="373"/>
                  <a:pt x="362" y="373"/>
                  <a:pt x="362" y="373"/>
                </a:cubicBezTo>
                <a:cubicBezTo>
                  <a:pt x="380" y="373"/>
                  <a:pt x="394" y="359"/>
                  <a:pt x="394" y="341"/>
                </a:cubicBezTo>
                <a:cubicBezTo>
                  <a:pt x="394" y="299"/>
                  <a:pt x="394" y="299"/>
                  <a:pt x="394" y="299"/>
                </a:cubicBezTo>
                <a:cubicBezTo>
                  <a:pt x="394" y="298"/>
                  <a:pt x="394" y="298"/>
                  <a:pt x="394" y="298"/>
                </a:cubicBezTo>
                <a:cubicBezTo>
                  <a:pt x="394" y="298"/>
                  <a:pt x="394" y="298"/>
                  <a:pt x="394" y="298"/>
                </a:cubicBezTo>
                <a:lnTo>
                  <a:pt x="394" y="2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40" name="Freeform 404">
            <a:extLst>
              <a:ext uri="{FF2B5EF4-FFF2-40B4-BE49-F238E27FC236}">
                <a16:creationId xmlns:a16="http://schemas.microsoft.com/office/drawing/2014/main" id="{86CA7B5C-4B40-9A48-AB19-371C6557293E}"/>
              </a:ext>
            </a:extLst>
          </p:cNvPr>
          <p:cNvSpPr>
            <a:spLocks noChangeAspect="1" noEditPoints="1"/>
          </p:cNvSpPr>
          <p:nvPr/>
        </p:nvSpPr>
        <p:spPr bwMode="auto">
          <a:xfrm>
            <a:off x="3701217" y="2509943"/>
            <a:ext cx="721267" cy="72126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5 w 512"/>
              <a:gd name="T11" fmla="*/ 370 h 512"/>
              <a:gd name="T12" fmla="*/ 263 w 512"/>
              <a:gd name="T13" fmla="*/ 402 h 512"/>
              <a:gd name="T14" fmla="*/ 260 w 512"/>
              <a:gd name="T15" fmla="*/ 404 h 512"/>
              <a:gd name="T16" fmla="*/ 256 w 512"/>
              <a:gd name="T17" fmla="*/ 405 h 512"/>
              <a:gd name="T18" fmla="*/ 252 w 512"/>
              <a:gd name="T19" fmla="*/ 404 h 512"/>
              <a:gd name="T20" fmla="*/ 248 w 512"/>
              <a:gd name="T21" fmla="*/ 402 h 512"/>
              <a:gd name="T22" fmla="*/ 216 w 512"/>
              <a:gd name="T23" fmla="*/ 370 h 512"/>
              <a:gd name="T24" fmla="*/ 216 w 512"/>
              <a:gd name="T25" fmla="*/ 355 h 512"/>
              <a:gd name="T26" fmla="*/ 231 w 512"/>
              <a:gd name="T27" fmla="*/ 355 h 512"/>
              <a:gd name="T28" fmla="*/ 245 w 512"/>
              <a:gd name="T29" fmla="*/ 369 h 512"/>
              <a:gd name="T30" fmla="*/ 245 w 512"/>
              <a:gd name="T31" fmla="*/ 245 h 512"/>
              <a:gd name="T32" fmla="*/ 256 w 512"/>
              <a:gd name="T33" fmla="*/ 234 h 512"/>
              <a:gd name="T34" fmla="*/ 266 w 512"/>
              <a:gd name="T35" fmla="*/ 245 h 512"/>
              <a:gd name="T36" fmla="*/ 266 w 512"/>
              <a:gd name="T37" fmla="*/ 369 h 512"/>
              <a:gd name="T38" fmla="*/ 280 w 512"/>
              <a:gd name="T39" fmla="*/ 355 h 512"/>
              <a:gd name="T40" fmla="*/ 295 w 512"/>
              <a:gd name="T41" fmla="*/ 355 h 512"/>
              <a:gd name="T42" fmla="*/ 295 w 512"/>
              <a:gd name="T43" fmla="*/ 370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370"/>
                </a:moveTo>
                <a:cubicBezTo>
                  <a:pt x="263" y="402"/>
                  <a:pt x="263" y="402"/>
                  <a:pt x="263" y="402"/>
                </a:cubicBezTo>
                <a:cubicBezTo>
                  <a:pt x="262" y="403"/>
                  <a:pt x="261" y="404"/>
                  <a:pt x="260" y="404"/>
                </a:cubicBezTo>
                <a:cubicBezTo>
                  <a:pt x="258" y="405"/>
                  <a:pt x="257" y="405"/>
                  <a:pt x="256" y="405"/>
                </a:cubicBezTo>
                <a:cubicBezTo>
                  <a:pt x="254" y="405"/>
                  <a:pt x="253" y="405"/>
                  <a:pt x="252" y="404"/>
                </a:cubicBezTo>
                <a:cubicBezTo>
                  <a:pt x="250" y="404"/>
                  <a:pt x="249" y="403"/>
                  <a:pt x="248" y="402"/>
                </a:cubicBezTo>
                <a:cubicBezTo>
                  <a:pt x="216" y="370"/>
                  <a:pt x="216" y="370"/>
                  <a:pt x="216" y="370"/>
                </a:cubicBezTo>
                <a:cubicBezTo>
                  <a:pt x="212" y="366"/>
                  <a:pt x="212" y="359"/>
                  <a:pt x="216" y="355"/>
                </a:cubicBezTo>
                <a:cubicBezTo>
                  <a:pt x="220" y="351"/>
                  <a:pt x="227" y="351"/>
                  <a:pt x="231" y="355"/>
                </a:cubicBezTo>
                <a:cubicBezTo>
                  <a:pt x="245" y="369"/>
                  <a:pt x="245" y="369"/>
                  <a:pt x="245" y="369"/>
                </a:cubicBezTo>
                <a:cubicBezTo>
                  <a:pt x="245" y="245"/>
                  <a:pt x="245" y="245"/>
                  <a:pt x="245" y="245"/>
                </a:cubicBezTo>
                <a:cubicBezTo>
                  <a:pt x="245" y="239"/>
                  <a:pt x="250" y="234"/>
                  <a:pt x="256" y="234"/>
                </a:cubicBezTo>
                <a:cubicBezTo>
                  <a:pt x="262" y="234"/>
                  <a:pt x="266" y="239"/>
                  <a:pt x="266" y="245"/>
                </a:cubicBezTo>
                <a:cubicBezTo>
                  <a:pt x="266" y="369"/>
                  <a:pt x="266" y="369"/>
                  <a:pt x="266" y="369"/>
                </a:cubicBezTo>
                <a:cubicBezTo>
                  <a:pt x="280" y="355"/>
                  <a:pt x="280" y="355"/>
                  <a:pt x="280" y="355"/>
                </a:cubicBezTo>
                <a:cubicBezTo>
                  <a:pt x="284" y="351"/>
                  <a:pt x="291" y="351"/>
                  <a:pt x="295" y="355"/>
                </a:cubicBezTo>
                <a:cubicBezTo>
                  <a:pt x="299" y="359"/>
                  <a:pt x="299" y="366"/>
                  <a:pt x="295" y="370"/>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41" name="Freeform 486">
            <a:extLst>
              <a:ext uri="{FF2B5EF4-FFF2-40B4-BE49-F238E27FC236}">
                <a16:creationId xmlns:a16="http://schemas.microsoft.com/office/drawing/2014/main" id="{C820878F-C8E7-204B-993E-BCFBDED778C9}"/>
              </a:ext>
            </a:extLst>
          </p:cNvPr>
          <p:cNvSpPr>
            <a:spLocks noChangeAspect="1" noEditPoints="1"/>
          </p:cNvSpPr>
          <p:nvPr/>
        </p:nvSpPr>
        <p:spPr bwMode="auto">
          <a:xfrm>
            <a:off x="5812740" y="2281712"/>
            <a:ext cx="721267" cy="72126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42" name="Freeform 393">
            <a:extLst>
              <a:ext uri="{FF2B5EF4-FFF2-40B4-BE49-F238E27FC236}">
                <a16:creationId xmlns:a16="http://schemas.microsoft.com/office/drawing/2014/main" id="{76C654EA-59CC-5C42-B5B4-172A12BA15B2}"/>
              </a:ext>
            </a:extLst>
          </p:cNvPr>
          <p:cNvSpPr>
            <a:spLocks noChangeAspect="1" noEditPoints="1"/>
          </p:cNvSpPr>
          <p:nvPr/>
        </p:nvSpPr>
        <p:spPr bwMode="auto">
          <a:xfrm>
            <a:off x="7723925" y="2660739"/>
            <a:ext cx="719153" cy="721268"/>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48" name="Freeform 198">
            <a:extLst>
              <a:ext uri="{FF2B5EF4-FFF2-40B4-BE49-F238E27FC236}">
                <a16:creationId xmlns:a16="http://schemas.microsoft.com/office/drawing/2014/main" id="{6F6A1B63-6AC1-D041-AB2D-96E541EA2908}"/>
              </a:ext>
            </a:extLst>
          </p:cNvPr>
          <p:cNvSpPr>
            <a:spLocks noChangeAspect="1" noEditPoints="1"/>
          </p:cNvSpPr>
          <p:nvPr/>
        </p:nvSpPr>
        <p:spPr bwMode="auto">
          <a:xfrm>
            <a:off x="8920392" y="4360335"/>
            <a:ext cx="719152" cy="721268"/>
          </a:xfrm>
          <a:custGeom>
            <a:avLst/>
            <a:gdLst>
              <a:gd name="T0" fmla="*/ 213 w 512"/>
              <a:gd name="T1" fmla="*/ 206 h 512"/>
              <a:gd name="T2" fmla="*/ 312 w 512"/>
              <a:gd name="T3" fmla="*/ 206 h 512"/>
              <a:gd name="T4" fmla="*/ 299 w 512"/>
              <a:gd name="T5" fmla="*/ 305 h 512"/>
              <a:gd name="T6" fmla="*/ 199 w 512"/>
              <a:gd name="T7" fmla="*/ 305 h 512"/>
              <a:gd name="T8" fmla="*/ 213 w 512"/>
              <a:gd name="T9" fmla="*/ 20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0 w 512"/>
              <a:gd name="T21" fmla="*/ 195 h 512"/>
              <a:gd name="T22" fmla="*/ 400 w 512"/>
              <a:gd name="T23" fmla="*/ 185 h 512"/>
              <a:gd name="T24" fmla="*/ 336 w 512"/>
              <a:gd name="T25" fmla="*/ 185 h 512"/>
              <a:gd name="T26" fmla="*/ 345 w 512"/>
              <a:gd name="T27" fmla="*/ 121 h 512"/>
              <a:gd name="T28" fmla="*/ 335 w 512"/>
              <a:gd name="T29" fmla="*/ 109 h 512"/>
              <a:gd name="T30" fmla="*/ 323 w 512"/>
              <a:gd name="T31" fmla="*/ 118 h 512"/>
              <a:gd name="T32" fmla="*/ 315 w 512"/>
              <a:gd name="T33" fmla="*/ 185 h 512"/>
              <a:gd name="T34" fmla="*/ 215 w 512"/>
              <a:gd name="T35" fmla="*/ 185 h 512"/>
              <a:gd name="T36" fmla="*/ 224 w 512"/>
              <a:gd name="T37" fmla="*/ 121 h 512"/>
              <a:gd name="T38" fmla="*/ 215 w 512"/>
              <a:gd name="T39" fmla="*/ 109 h 512"/>
              <a:gd name="T40" fmla="*/ 203 w 512"/>
              <a:gd name="T41" fmla="*/ 118 h 512"/>
              <a:gd name="T42" fmla="*/ 194 w 512"/>
              <a:gd name="T43" fmla="*/ 185 h 512"/>
              <a:gd name="T44" fmla="*/ 128 w 512"/>
              <a:gd name="T45" fmla="*/ 185 h 512"/>
              <a:gd name="T46" fmla="*/ 117 w 512"/>
              <a:gd name="T47" fmla="*/ 195 h 512"/>
              <a:gd name="T48" fmla="*/ 128 w 512"/>
              <a:gd name="T49" fmla="*/ 206 h 512"/>
              <a:gd name="T50" fmla="*/ 191 w 512"/>
              <a:gd name="T51" fmla="*/ 206 h 512"/>
              <a:gd name="T52" fmla="*/ 178 w 512"/>
              <a:gd name="T53" fmla="*/ 305 h 512"/>
              <a:gd name="T54" fmla="*/ 112 w 512"/>
              <a:gd name="T55" fmla="*/ 305 h 512"/>
              <a:gd name="T56" fmla="*/ 101 w 512"/>
              <a:gd name="T57" fmla="*/ 316 h 512"/>
              <a:gd name="T58" fmla="*/ 112 w 512"/>
              <a:gd name="T59" fmla="*/ 327 h 512"/>
              <a:gd name="T60" fmla="*/ 175 w 512"/>
              <a:gd name="T61" fmla="*/ 327 h 512"/>
              <a:gd name="T62" fmla="*/ 167 w 512"/>
              <a:gd name="T63" fmla="*/ 390 h 512"/>
              <a:gd name="T64" fmla="*/ 176 w 512"/>
              <a:gd name="T65" fmla="*/ 402 h 512"/>
              <a:gd name="T66" fmla="*/ 177 w 512"/>
              <a:gd name="T67" fmla="*/ 402 h 512"/>
              <a:gd name="T68" fmla="*/ 188 w 512"/>
              <a:gd name="T69" fmla="*/ 393 h 512"/>
              <a:gd name="T70" fmla="*/ 197 w 512"/>
              <a:gd name="T71" fmla="*/ 327 h 512"/>
              <a:gd name="T72" fmla="*/ 296 w 512"/>
              <a:gd name="T73" fmla="*/ 327 h 512"/>
              <a:gd name="T74" fmla="*/ 288 w 512"/>
              <a:gd name="T75" fmla="*/ 390 h 512"/>
              <a:gd name="T76" fmla="*/ 297 w 512"/>
              <a:gd name="T77" fmla="*/ 402 h 512"/>
              <a:gd name="T78" fmla="*/ 298 w 512"/>
              <a:gd name="T79" fmla="*/ 402 h 512"/>
              <a:gd name="T80" fmla="*/ 309 w 512"/>
              <a:gd name="T81" fmla="*/ 393 h 512"/>
              <a:gd name="T82" fmla="*/ 318 w 512"/>
              <a:gd name="T83" fmla="*/ 327 h 512"/>
              <a:gd name="T84" fmla="*/ 384 w 512"/>
              <a:gd name="T85" fmla="*/ 327 h 512"/>
              <a:gd name="T86" fmla="*/ 394 w 512"/>
              <a:gd name="T87" fmla="*/ 316 h 512"/>
              <a:gd name="T88" fmla="*/ 384 w 512"/>
              <a:gd name="T89" fmla="*/ 305 h 512"/>
              <a:gd name="T90" fmla="*/ 320 w 512"/>
              <a:gd name="T91" fmla="*/ 305 h 512"/>
              <a:gd name="T92" fmla="*/ 333 w 512"/>
              <a:gd name="T93" fmla="*/ 206 h 512"/>
              <a:gd name="T94" fmla="*/ 400 w 512"/>
              <a:gd name="T95" fmla="*/ 206 h 512"/>
              <a:gd name="T96" fmla="*/ 410 w 512"/>
              <a:gd name="T97" fmla="*/ 1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13" y="206"/>
                </a:moveTo>
                <a:cubicBezTo>
                  <a:pt x="312" y="206"/>
                  <a:pt x="312" y="206"/>
                  <a:pt x="312" y="206"/>
                </a:cubicBezTo>
                <a:cubicBezTo>
                  <a:pt x="299" y="305"/>
                  <a:pt x="299" y="305"/>
                  <a:pt x="299" y="305"/>
                </a:cubicBezTo>
                <a:cubicBezTo>
                  <a:pt x="199" y="305"/>
                  <a:pt x="199" y="305"/>
                  <a:pt x="199" y="305"/>
                </a:cubicBezTo>
                <a:lnTo>
                  <a:pt x="213" y="20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195"/>
                </a:moveTo>
                <a:cubicBezTo>
                  <a:pt x="410" y="189"/>
                  <a:pt x="406" y="185"/>
                  <a:pt x="400" y="185"/>
                </a:cubicBezTo>
                <a:cubicBezTo>
                  <a:pt x="336" y="185"/>
                  <a:pt x="336" y="185"/>
                  <a:pt x="336" y="185"/>
                </a:cubicBezTo>
                <a:cubicBezTo>
                  <a:pt x="345" y="121"/>
                  <a:pt x="345" y="121"/>
                  <a:pt x="345" y="121"/>
                </a:cubicBezTo>
                <a:cubicBezTo>
                  <a:pt x="345" y="115"/>
                  <a:pt x="341" y="110"/>
                  <a:pt x="335" y="109"/>
                </a:cubicBezTo>
                <a:cubicBezTo>
                  <a:pt x="330" y="108"/>
                  <a:pt x="324" y="112"/>
                  <a:pt x="323" y="118"/>
                </a:cubicBezTo>
                <a:cubicBezTo>
                  <a:pt x="315" y="185"/>
                  <a:pt x="315" y="185"/>
                  <a:pt x="315" y="185"/>
                </a:cubicBezTo>
                <a:cubicBezTo>
                  <a:pt x="215" y="185"/>
                  <a:pt x="215" y="185"/>
                  <a:pt x="215" y="185"/>
                </a:cubicBezTo>
                <a:cubicBezTo>
                  <a:pt x="224" y="121"/>
                  <a:pt x="224" y="121"/>
                  <a:pt x="224" y="121"/>
                </a:cubicBezTo>
                <a:cubicBezTo>
                  <a:pt x="224" y="115"/>
                  <a:pt x="220" y="110"/>
                  <a:pt x="215" y="109"/>
                </a:cubicBezTo>
                <a:cubicBezTo>
                  <a:pt x="209" y="108"/>
                  <a:pt x="203" y="112"/>
                  <a:pt x="203" y="118"/>
                </a:cubicBezTo>
                <a:cubicBezTo>
                  <a:pt x="194" y="185"/>
                  <a:pt x="194" y="185"/>
                  <a:pt x="194" y="185"/>
                </a:cubicBezTo>
                <a:cubicBezTo>
                  <a:pt x="128" y="185"/>
                  <a:pt x="128" y="185"/>
                  <a:pt x="128" y="185"/>
                </a:cubicBezTo>
                <a:cubicBezTo>
                  <a:pt x="122" y="185"/>
                  <a:pt x="117" y="189"/>
                  <a:pt x="117" y="195"/>
                </a:cubicBezTo>
                <a:cubicBezTo>
                  <a:pt x="117" y="201"/>
                  <a:pt x="122" y="206"/>
                  <a:pt x="128" y="206"/>
                </a:cubicBezTo>
                <a:cubicBezTo>
                  <a:pt x="191" y="206"/>
                  <a:pt x="191" y="206"/>
                  <a:pt x="191" y="206"/>
                </a:cubicBezTo>
                <a:cubicBezTo>
                  <a:pt x="178" y="305"/>
                  <a:pt x="178" y="305"/>
                  <a:pt x="178" y="305"/>
                </a:cubicBezTo>
                <a:cubicBezTo>
                  <a:pt x="112" y="305"/>
                  <a:pt x="112" y="305"/>
                  <a:pt x="112" y="305"/>
                </a:cubicBezTo>
                <a:cubicBezTo>
                  <a:pt x="106" y="305"/>
                  <a:pt x="101" y="310"/>
                  <a:pt x="101" y="316"/>
                </a:cubicBezTo>
                <a:cubicBezTo>
                  <a:pt x="101" y="322"/>
                  <a:pt x="106" y="327"/>
                  <a:pt x="112" y="327"/>
                </a:cubicBezTo>
                <a:cubicBezTo>
                  <a:pt x="175" y="327"/>
                  <a:pt x="175" y="327"/>
                  <a:pt x="175" y="327"/>
                </a:cubicBezTo>
                <a:cubicBezTo>
                  <a:pt x="167" y="390"/>
                  <a:pt x="167" y="390"/>
                  <a:pt x="167" y="390"/>
                </a:cubicBezTo>
                <a:cubicBezTo>
                  <a:pt x="166" y="396"/>
                  <a:pt x="170" y="402"/>
                  <a:pt x="176" y="402"/>
                </a:cubicBezTo>
                <a:cubicBezTo>
                  <a:pt x="177" y="402"/>
                  <a:pt x="177" y="402"/>
                  <a:pt x="177" y="402"/>
                </a:cubicBezTo>
                <a:cubicBezTo>
                  <a:pt x="183" y="402"/>
                  <a:pt x="187" y="398"/>
                  <a:pt x="188" y="393"/>
                </a:cubicBezTo>
                <a:cubicBezTo>
                  <a:pt x="197" y="327"/>
                  <a:pt x="197" y="327"/>
                  <a:pt x="197" y="327"/>
                </a:cubicBezTo>
                <a:cubicBezTo>
                  <a:pt x="296" y="327"/>
                  <a:pt x="296" y="327"/>
                  <a:pt x="296" y="327"/>
                </a:cubicBezTo>
                <a:cubicBezTo>
                  <a:pt x="288" y="390"/>
                  <a:pt x="288" y="390"/>
                  <a:pt x="288" y="390"/>
                </a:cubicBezTo>
                <a:cubicBezTo>
                  <a:pt x="287" y="396"/>
                  <a:pt x="291" y="402"/>
                  <a:pt x="297" y="402"/>
                </a:cubicBezTo>
                <a:cubicBezTo>
                  <a:pt x="298" y="402"/>
                  <a:pt x="298" y="402"/>
                  <a:pt x="298" y="402"/>
                </a:cubicBezTo>
                <a:cubicBezTo>
                  <a:pt x="304" y="402"/>
                  <a:pt x="308" y="398"/>
                  <a:pt x="309" y="393"/>
                </a:cubicBezTo>
                <a:cubicBezTo>
                  <a:pt x="318" y="327"/>
                  <a:pt x="318" y="327"/>
                  <a:pt x="318" y="327"/>
                </a:cubicBezTo>
                <a:cubicBezTo>
                  <a:pt x="384" y="327"/>
                  <a:pt x="384" y="327"/>
                  <a:pt x="384" y="327"/>
                </a:cubicBezTo>
                <a:cubicBezTo>
                  <a:pt x="390" y="327"/>
                  <a:pt x="394" y="322"/>
                  <a:pt x="394" y="316"/>
                </a:cubicBezTo>
                <a:cubicBezTo>
                  <a:pt x="394" y="310"/>
                  <a:pt x="390" y="305"/>
                  <a:pt x="384" y="305"/>
                </a:cubicBezTo>
                <a:cubicBezTo>
                  <a:pt x="320" y="305"/>
                  <a:pt x="320" y="305"/>
                  <a:pt x="320" y="305"/>
                </a:cubicBezTo>
                <a:cubicBezTo>
                  <a:pt x="333" y="206"/>
                  <a:pt x="333" y="206"/>
                  <a:pt x="333" y="206"/>
                </a:cubicBezTo>
                <a:cubicBezTo>
                  <a:pt x="400" y="206"/>
                  <a:pt x="400" y="206"/>
                  <a:pt x="400" y="206"/>
                </a:cubicBezTo>
                <a:cubicBezTo>
                  <a:pt x="406" y="206"/>
                  <a:pt x="410" y="201"/>
                  <a:pt x="410" y="195"/>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49" name="Rectangle 48">
            <a:extLst>
              <a:ext uri="{FF2B5EF4-FFF2-40B4-BE49-F238E27FC236}">
                <a16:creationId xmlns:a16="http://schemas.microsoft.com/office/drawing/2014/main" id="{AF7A9244-1A7A-7C4C-95BD-8DCE64DBA328}"/>
              </a:ext>
            </a:extLst>
          </p:cNvPr>
          <p:cNvSpPr/>
          <p:nvPr/>
        </p:nvSpPr>
        <p:spPr>
          <a:xfrm>
            <a:off x="5063610" y="5047773"/>
            <a:ext cx="2005611" cy="492443"/>
          </a:xfrm>
          <a:prstGeom prst="rect">
            <a:avLst/>
          </a:prstGeom>
          <a:noFill/>
        </p:spPr>
        <p:txBody>
          <a:bodyPr wrap="square" lIns="0" tIns="0" rIns="0" bIns="0" rtlCol="0">
            <a:spAutoFit/>
          </a:bodyPr>
          <a:lstStyle/>
          <a:p>
            <a:pPr algn="ctr">
              <a:buSzPct val="100000"/>
            </a:pPr>
            <a:r>
              <a:rPr lang="da-DK" sz="1600" b="1" dirty="0">
                <a:solidFill>
                  <a:srgbClr val="000000"/>
                </a:solidFill>
              </a:rPr>
              <a:t>Lorem ipsum dolor sit amet,</a:t>
            </a:r>
          </a:p>
        </p:txBody>
      </p:sp>
    </p:spTree>
    <p:custDataLst>
      <p:tags r:id="rId1"/>
    </p:custDataLst>
    <p:extLst>
      <p:ext uri="{BB962C8B-B14F-4D97-AF65-F5344CB8AC3E}">
        <p14:creationId xmlns:p14="http://schemas.microsoft.com/office/powerpoint/2010/main" val="1484841789"/>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1E432D7-0DF7-42C6-ACE3-2AF588B5F068}"/>
              </a:ext>
            </a:extLst>
          </p:cNvPr>
          <p:cNvSpPr txBox="1"/>
          <p:nvPr/>
        </p:nvSpPr>
        <p:spPr>
          <a:xfrm>
            <a:off x="514350" y="3805911"/>
            <a:ext cx="2819401" cy="600164"/>
          </a:xfrm>
          <a:prstGeom prst="rect">
            <a:avLst/>
          </a:prstGeom>
          <a:noFill/>
        </p:spPr>
        <p:txBody>
          <a:bodyPr wrap="square" lIns="0" tIns="0" rIns="0" bIns="0" rtlCol="0" anchor="ctr">
            <a:spAutoFit/>
          </a:bodyPr>
          <a:lstStyle/>
          <a:p>
            <a:pPr algn="r"/>
            <a:r>
              <a:rPr lang="en-US" sz="1300" dirty="0"/>
              <a:t>This is dummy text. Please replace with text, modify the text content, also can copy your content to this directly. </a:t>
            </a:r>
          </a:p>
        </p:txBody>
      </p:sp>
      <p:sp>
        <p:nvSpPr>
          <p:cNvPr id="6" name="TextBox 5">
            <a:extLst>
              <a:ext uri="{FF2B5EF4-FFF2-40B4-BE49-F238E27FC236}">
                <a16:creationId xmlns:a16="http://schemas.microsoft.com/office/drawing/2014/main" id="{4DBAEC63-B098-42A5-8D72-82840C8D2703}"/>
              </a:ext>
            </a:extLst>
          </p:cNvPr>
          <p:cNvSpPr txBox="1"/>
          <p:nvPr/>
        </p:nvSpPr>
        <p:spPr>
          <a:xfrm>
            <a:off x="469529" y="1998775"/>
            <a:ext cx="2864222" cy="600164"/>
          </a:xfrm>
          <a:prstGeom prst="rect">
            <a:avLst/>
          </a:prstGeom>
          <a:noFill/>
        </p:spPr>
        <p:txBody>
          <a:bodyPr wrap="square" lIns="0" tIns="0" rIns="0" bIns="0" rtlCol="0" anchor="ctr">
            <a:spAutoFit/>
          </a:bodyPr>
          <a:lstStyle/>
          <a:p>
            <a:pPr algn="r"/>
            <a:r>
              <a:rPr lang="en-US" sz="1300" dirty="0"/>
              <a:t>This is dummy text. Please replace with text, modify the text content, also can copy your content to this directly. </a:t>
            </a:r>
          </a:p>
        </p:txBody>
      </p:sp>
      <p:sp>
        <p:nvSpPr>
          <p:cNvPr id="7" name="TextBox 6">
            <a:extLst>
              <a:ext uri="{FF2B5EF4-FFF2-40B4-BE49-F238E27FC236}">
                <a16:creationId xmlns:a16="http://schemas.microsoft.com/office/drawing/2014/main" id="{39D8AAB9-CE4B-4D8E-A2F4-65FFDF019EE1}"/>
              </a:ext>
            </a:extLst>
          </p:cNvPr>
          <p:cNvSpPr txBox="1"/>
          <p:nvPr/>
        </p:nvSpPr>
        <p:spPr>
          <a:xfrm>
            <a:off x="8858251" y="1780965"/>
            <a:ext cx="2828924" cy="600164"/>
          </a:xfrm>
          <a:prstGeom prst="rect">
            <a:avLst/>
          </a:prstGeom>
          <a:noFill/>
        </p:spPr>
        <p:txBody>
          <a:bodyPr wrap="square" lIns="0" tIns="0" rIns="0" bIns="0" rtlCol="0" anchor="ctr">
            <a:spAutoFit/>
          </a:bodyPr>
          <a:lstStyle/>
          <a:p>
            <a:r>
              <a:rPr lang="en-US" sz="1300" dirty="0"/>
              <a:t>This is dummy text. Please replace with text, modify the text content, also can copy your content to this directly. </a:t>
            </a:r>
          </a:p>
        </p:txBody>
      </p:sp>
      <p:sp>
        <p:nvSpPr>
          <p:cNvPr id="8" name="TextBox 7">
            <a:extLst>
              <a:ext uri="{FF2B5EF4-FFF2-40B4-BE49-F238E27FC236}">
                <a16:creationId xmlns:a16="http://schemas.microsoft.com/office/drawing/2014/main" id="{EA14268A-CFE3-47CE-81CB-5DF7AAD6A9B2}"/>
              </a:ext>
            </a:extLst>
          </p:cNvPr>
          <p:cNvSpPr txBox="1"/>
          <p:nvPr/>
        </p:nvSpPr>
        <p:spPr>
          <a:xfrm>
            <a:off x="8858251" y="3098080"/>
            <a:ext cx="2828924" cy="600164"/>
          </a:xfrm>
          <a:prstGeom prst="rect">
            <a:avLst/>
          </a:prstGeom>
          <a:noFill/>
        </p:spPr>
        <p:txBody>
          <a:bodyPr wrap="square" lIns="0" tIns="0" rIns="0" bIns="0" rtlCol="0" anchor="ctr">
            <a:spAutoFit/>
          </a:bodyPr>
          <a:lstStyle/>
          <a:p>
            <a:r>
              <a:rPr lang="en-US" sz="1300" dirty="0"/>
              <a:t>This is dummy text. Please replace with text, modify the text content, also can copy your content to this directly. </a:t>
            </a:r>
          </a:p>
        </p:txBody>
      </p:sp>
      <p:sp>
        <p:nvSpPr>
          <p:cNvPr id="9" name="TextBox 8">
            <a:extLst>
              <a:ext uri="{FF2B5EF4-FFF2-40B4-BE49-F238E27FC236}">
                <a16:creationId xmlns:a16="http://schemas.microsoft.com/office/drawing/2014/main" id="{700303C8-CE0E-429B-9293-2BF3A4393711}"/>
              </a:ext>
            </a:extLst>
          </p:cNvPr>
          <p:cNvSpPr txBox="1"/>
          <p:nvPr/>
        </p:nvSpPr>
        <p:spPr>
          <a:xfrm>
            <a:off x="8858251" y="4549601"/>
            <a:ext cx="2828924" cy="600164"/>
          </a:xfrm>
          <a:prstGeom prst="rect">
            <a:avLst/>
          </a:prstGeom>
          <a:noFill/>
        </p:spPr>
        <p:txBody>
          <a:bodyPr wrap="square" lIns="0" tIns="0" rIns="0" bIns="0" rtlCol="0" anchor="ctr">
            <a:spAutoFit/>
          </a:bodyPr>
          <a:lstStyle/>
          <a:p>
            <a:r>
              <a:rPr lang="en-US" sz="1300" dirty="0"/>
              <a:t>This is dummy text. Please replace with text, modify the text content, also can copy your content to this directly. </a:t>
            </a:r>
          </a:p>
        </p:txBody>
      </p:sp>
      <p:cxnSp>
        <p:nvCxnSpPr>
          <p:cNvPr id="12" name="Straight Connector 11">
            <a:extLst>
              <a:ext uri="{FF2B5EF4-FFF2-40B4-BE49-F238E27FC236}">
                <a16:creationId xmlns:a16="http://schemas.microsoft.com/office/drawing/2014/main" id="{8FCB656A-6351-44AB-810B-A7348646FE6E}"/>
              </a:ext>
            </a:extLst>
          </p:cNvPr>
          <p:cNvCxnSpPr/>
          <p:nvPr/>
        </p:nvCxnSpPr>
        <p:spPr>
          <a:xfrm>
            <a:off x="8734969" y="1717291"/>
            <a:ext cx="0" cy="727512"/>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sp>
        <p:nvSpPr>
          <p:cNvPr id="81" name="Freeform 11">
            <a:extLst>
              <a:ext uri="{FF2B5EF4-FFF2-40B4-BE49-F238E27FC236}">
                <a16:creationId xmlns:a16="http://schemas.microsoft.com/office/drawing/2014/main" id="{DCB7DDB9-29E4-436E-AD3C-3FD4DBB25FD9}"/>
              </a:ext>
            </a:extLst>
          </p:cNvPr>
          <p:cNvSpPr>
            <a:spLocks/>
          </p:cNvSpPr>
          <p:nvPr/>
        </p:nvSpPr>
        <p:spPr bwMode="auto">
          <a:xfrm>
            <a:off x="5587177" y="1998423"/>
            <a:ext cx="1703237" cy="1331531"/>
          </a:xfrm>
          <a:custGeom>
            <a:avLst/>
            <a:gdLst>
              <a:gd name="T0" fmla="*/ 32 w 196"/>
              <a:gd name="T1" fmla="*/ 137 h 158"/>
              <a:gd name="T2" fmla="*/ 100 w 196"/>
              <a:gd name="T3" fmla="*/ 156 h 158"/>
              <a:gd name="T4" fmla="*/ 108 w 196"/>
              <a:gd name="T5" fmla="*/ 155 h 158"/>
              <a:gd name="T6" fmla="*/ 194 w 196"/>
              <a:gd name="T7" fmla="*/ 44 h 158"/>
              <a:gd name="T8" fmla="*/ 192 w 196"/>
              <a:gd name="T9" fmla="*/ 35 h 158"/>
              <a:gd name="T10" fmla="*/ 59 w 196"/>
              <a:gd name="T11" fmla="*/ 0 h 158"/>
              <a:gd name="T12" fmla="*/ 6 w 196"/>
              <a:gd name="T13" fmla="*/ 5 h 158"/>
              <a:gd name="T14" fmla="*/ 1 w 196"/>
              <a:gd name="T15" fmla="*/ 12 h 158"/>
              <a:gd name="T16" fmla="*/ 21 w 196"/>
              <a:gd name="T17" fmla="*/ 132 h 158"/>
              <a:gd name="T18" fmla="*/ 27 w 196"/>
              <a:gd name="T19" fmla="*/ 137 h 158"/>
              <a:gd name="T20" fmla="*/ 32 w 196"/>
              <a:gd name="T21" fmla="*/ 13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58">
                <a:moveTo>
                  <a:pt x="32" y="137"/>
                </a:moveTo>
                <a:cubicBezTo>
                  <a:pt x="57" y="137"/>
                  <a:pt x="81" y="144"/>
                  <a:pt x="100" y="156"/>
                </a:cubicBezTo>
                <a:cubicBezTo>
                  <a:pt x="103" y="158"/>
                  <a:pt x="106" y="157"/>
                  <a:pt x="108" y="155"/>
                </a:cubicBezTo>
                <a:cubicBezTo>
                  <a:pt x="194" y="44"/>
                  <a:pt x="194" y="44"/>
                  <a:pt x="194" y="44"/>
                </a:cubicBezTo>
                <a:cubicBezTo>
                  <a:pt x="196" y="42"/>
                  <a:pt x="195" y="37"/>
                  <a:pt x="192" y="35"/>
                </a:cubicBezTo>
                <a:cubicBezTo>
                  <a:pt x="153" y="13"/>
                  <a:pt x="107" y="0"/>
                  <a:pt x="59" y="0"/>
                </a:cubicBezTo>
                <a:cubicBezTo>
                  <a:pt x="40" y="0"/>
                  <a:pt x="23" y="2"/>
                  <a:pt x="6" y="5"/>
                </a:cubicBezTo>
                <a:cubicBezTo>
                  <a:pt x="2" y="6"/>
                  <a:pt x="0" y="9"/>
                  <a:pt x="1" y="12"/>
                </a:cubicBezTo>
                <a:cubicBezTo>
                  <a:pt x="21" y="132"/>
                  <a:pt x="21" y="132"/>
                  <a:pt x="21" y="132"/>
                </a:cubicBezTo>
                <a:cubicBezTo>
                  <a:pt x="22" y="135"/>
                  <a:pt x="24" y="137"/>
                  <a:pt x="27" y="137"/>
                </a:cubicBezTo>
                <a:cubicBezTo>
                  <a:pt x="29" y="137"/>
                  <a:pt x="31" y="137"/>
                  <a:pt x="32" y="137"/>
                </a:cubicBezTo>
                <a:close/>
              </a:path>
            </a:pathLst>
          </a:custGeom>
          <a:solidFill>
            <a:srgbClr val="009A44"/>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12">
            <a:extLst>
              <a:ext uri="{FF2B5EF4-FFF2-40B4-BE49-F238E27FC236}">
                <a16:creationId xmlns:a16="http://schemas.microsoft.com/office/drawing/2014/main" id="{7B4906B0-CC57-4A1A-9899-283D6491775F}"/>
              </a:ext>
            </a:extLst>
          </p:cNvPr>
          <p:cNvSpPr>
            <a:spLocks/>
          </p:cNvSpPr>
          <p:nvPr/>
        </p:nvSpPr>
        <p:spPr bwMode="auto">
          <a:xfrm>
            <a:off x="3779864" y="3253961"/>
            <a:ext cx="1087032" cy="1450477"/>
          </a:xfrm>
          <a:custGeom>
            <a:avLst/>
            <a:gdLst>
              <a:gd name="T0" fmla="*/ 113 w 125"/>
              <a:gd name="T1" fmla="*/ 115 h 172"/>
              <a:gd name="T2" fmla="*/ 123 w 125"/>
              <a:gd name="T3" fmla="*/ 65 h 172"/>
              <a:gd name="T4" fmla="*/ 121 w 125"/>
              <a:gd name="T5" fmla="*/ 58 h 172"/>
              <a:gd name="T6" fmla="*/ 34 w 125"/>
              <a:gd name="T7" fmla="*/ 2 h 172"/>
              <a:gd name="T8" fmla="*/ 25 w 125"/>
              <a:gd name="T9" fmla="*/ 5 h 172"/>
              <a:gd name="T10" fmla="*/ 0 w 125"/>
              <a:gd name="T11" fmla="*/ 118 h 172"/>
              <a:gd name="T12" fmla="*/ 4 w 125"/>
              <a:gd name="T13" fmla="*/ 166 h 172"/>
              <a:gd name="T14" fmla="*/ 12 w 125"/>
              <a:gd name="T15" fmla="*/ 171 h 172"/>
              <a:gd name="T16" fmla="*/ 111 w 125"/>
              <a:gd name="T17" fmla="*/ 143 h 172"/>
              <a:gd name="T18" fmla="*/ 115 w 125"/>
              <a:gd name="T19" fmla="*/ 136 h 172"/>
              <a:gd name="T20" fmla="*/ 113 w 125"/>
              <a:gd name="T21" fmla="*/ 11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72">
                <a:moveTo>
                  <a:pt x="113" y="115"/>
                </a:moveTo>
                <a:cubicBezTo>
                  <a:pt x="113" y="97"/>
                  <a:pt x="117" y="80"/>
                  <a:pt x="123" y="65"/>
                </a:cubicBezTo>
                <a:cubicBezTo>
                  <a:pt x="125" y="62"/>
                  <a:pt x="124" y="59"/>
                  <a:pt x="121" y="58"/>
                </a:cubicBezTo>
                <a:cubicBezTo>
                  <a:pt x="34" y="2"/>
                  <a:pt x="34" y="2"/>
                  <a:pt x="34" y="2"/>
                </a:cubicBezTo>
                <a:cubicBezTo>
                  <a:pt x="31" y="0"/>
                  <a:pt x="26" y="1"/>
                  <a:pt x="25" y="5"/>
                </a:cubicBezTo>
                <a:cubicBezTo>
                  <a:pt x="9" y="39"/>
                  <a:pt x="0" y="77"/>
                  <a:pt x="0" y="118"/>
                </a:cubicBezTo>
                <a:cubicBezTo>
                  <a:pt x="0" y="134"/>
                  <a:pt x="1" y="151"/>
                  <a:pt x="4" y="166"/>
                </a:cubicBezTo>
                <a:cubicBezTo>
                  <a:pt x="5" y="170"/>
                  <a:pt x="8" y="172"/>
                  <a:pt x="12" y="171"/>
                </a:cubicBezTo>
                <a:cubicBezTo>
                  <a:pt x="111" y="143"/>
                  <a:pt x="111" y="143"/>
                  <a:pt x="111" y="143"/>
                </a:cubicBezTo>
                <a:cubicBezTo>
                  <a:pt x="114" y="143"/>
                  <a:pt x="115" y="140"/>
                  <a:pt x="115" y="136"/>
                </a:cubicBezTo>
                <a:cubicBezTo>
                  <a:pt x="114" y="130"/>
                  <a:pt x="113" y="122"/>
                  <a:pt x="113" y="115"/>
                </a:cubicBezTo>
                <a:close/>
              </a:path>
            </a:pathLst>
          </a:custGeom>
          <a:solidFill>
            <a:schemeClr val="accent3"/>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13">
            <a:extLst>
              <a:ext uri="{FF2B5EF4-FFF2-40B4-BE49-F238E27FC236}">
                <a16:creationId xmlns:a16="http://schemas.microsoft.com/office/drawing/2014/main" id="{E22D65F0-5806-426D-A4E5-CC8624A8C9D2}"/>
              </a:ext>
            </a:extLst>
          </p:cNvPr>
          <p:cNvSpPr>
            <a:spLocks/>
          </p:cNvSpPr>
          <p:nvPr/>
        </p:nvSpPr>
        <p:spPr bwMode="auto">
          <a:xfrm>
            <a:off x="4128441" y="2107457"/>
            <a:ext cx="1450477" cy="1475257"/>
          </a:xfrm>
          <a:custGeom>
            <a:avLst/>
            <a:gdLst>
              <a:gd name="T0" fmla="*/ 167 w 167"/>
              <a:gd name="T1" fmla="*/ 123 h 175"/>
              <a:gd name="T2" fmla="*/ 147 w 167"/>
              <a:gd name="T3" fmla="*/ 6 h 175"/>
              <a:gd name="T4" fmla="*/ 139 w 167"/>
              <a:gd name="T5" fmla="*/ 2 h 175"/>
              <a:gd name="T6" fmla="*/ 2 w 167"/>
              <a:gd name="T7" fmla="*/ 109 h 175"/>
              <a:gd name="T8" fmla="*/ 4 w 167"/>
              <a:gd name="T9" fmla="*/ 118 h 175"/>
              <a:gd name="T10" fmla="*/ 92 w 167"/>
              <a:gd name="T11" fmla="*/ 174 h 175"/>
              <a:gd name="T12" fmla="*/ 101 w 167"/>
              <a:gd name="T13" fmla="*/ 172 h 175"/>
              <a:gd name="T14" fmla="*/ 163 w 167"/>
              <a:gd name="T15" fmla="*/ 130 h 175"/>
              <a:gd name="T16" fmla="*/ 167 w 167"/>
              <a:gd name="T17"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175">
                <a:moveTo>
                  <a:pt x="167" y="123"/>
                </a:moveTo>
                <a:cubicBezTo>
                  <a:pt x="147" y="6"/>
                  <a:pt x="147" y="6"/>
                  <a:pt x="147" y="6"/>
                </a:cubicBezTo>
                <a:cubicBezTo>
                  <a:pt x="146" y="3"/>
                  <a:pt x="143" y="0"/>
                  <a:pt x="139" y="2"/>
                </a:cubicBezTo>
                <a:cubicBezTo>
                  <a:pt x="82" y="21"/>
                  <a:pt x="34" y="60"/>
                  <a:pt x="2" y="109"/>
                </a:cubicBezTo>
                <a:cubicBezTo>
                  <a:pt x="0" y="112"/>
                  <a:pt x="1" y="116"/>
                  <a:pt x="4" y="118"/>
                </a:cubicBezTo>
                <a:cubicBezTo>
                  <a:pt x="92" y="174"/>
                  <a:pt x="92" y="174"/>
                  <a:pt x="92" y="174"/>
                </a:cubicBezTo>
                <a:cubicBezTo>
                  <a:pt x="95" y="175"/>
                  <a:pt x="99" y="175"/>
                  <a:pt x="101" y="172"/>
                </a:cubicBezTo>
                <a:cubicBezTo>
                  <a:pt x="116" y="152"/>
                  <a:pt x="138" y="137"/>
                  <a:pt x="163" y="130"/>
                </a:cubicBezTo>
                <a:cubicBezTo>
                  <a:pt x="165" y="129"/>
                  <a:pt x="167" y="126"/>
                  <a:pt x="167" y="123"/>
                </a:cubicBezTo>
                <a:close/>
              </a:path>
            </a:pathLst>
          </a:custGeom>
          <a:solidFill>
            <a:srgbClr val="43B02A"/>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14">
            <a:extLst>
              <a:ext uri="{FF2B5EF4-FFF2-40B4-BE49-F238E27FC236}">
                <a16:creationId xmlns:a16="http://schemas.microsoft.com/office/drawing/2014/main" id="{77F8B84A-7C1B-46AF-8EA6-BC6DC66FD1F4}"/>
              </a:ext>
            </a:extLst>
          </p:cNvPr>
          <p:cNvSpPr>
            <a:spLocks/>
          </p:cNvSpPr>
          <p:nvPr/>
        </p:nvSpPr>
        <p:spPr bwMode="auto">
          <a:xfrm>
            <a:off x="6698990" y="4190658"/>
            <a:ext cx="1713148" cy="1676804"/>
          </a:xfrm>
          <a:custGeom>
            <a:avLst/>
            <a:gdLst>
              <a:gd name="T0" fmla="*/ 197 w 197"/>
              <a:gd name="T1" fmla="*/ 7 h 199"/>
              <a:gd name="T2" fmla="*/ 197 w 197"/>
              <a:gd name="T3" fmla="*/ 7 h 199"/>
              <a:gd name="T4" fmla="*/ 191 w 197"/>
              <a:gd name="T5" fmla="*/ 1 h 199"/>
              <a:gd name="T6" fmla="*/ 37 w 197"/>
              <a:gd name="T7" fmla="*/ 13 h 199"/>
              <a:gd name="T8" fmla="*/ 31 w 197"/>
              <a:gd name="T9" fmla="*/ 18 h 199"/>
              <a:gd name="T10" fmla="*/ 2 w 197"/>
              <a:gd name="T11" fmla="*/ 85 h 199"/>
              <a:gd name="T12" fmla="*/ 3 w 197"/>
              <a:gd name="T13" fmla="*/ 94 h 199"/>
              <a:gd name="T14" fmla="*/ 109 w 197"/>
              <a:gd name="T15" fmla="*/ 197 h 199"/>
              <a:gd name="T16" fmla="*/ 118 w 197"/>
              <a:gd name="T17" fmla="*/ 197 h 199"/>
              <a:gd name="T18" fmla="*/ 197 w 197"/>
              <a:gd name="T19" fmla="*/ 7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99">
                <a:moveTo>
                  <a:pt x="197" y="7"/>
                </a:moveTo>
                <a:cubicBezTo>
                  <a:pt x="197" y="7"/>
                  <a:pt x="197" y="7"/>
                  <a:pt x="197" y="7"/>
                </a:cubicBezTo>
                <a:cubicBezTo>
                  <a:pt x="197" y="3"/>
                  <a:pt x="194" y="0"/>
                  <a:pt x="191" y="1"/>
                </a:cubicBezTo>
                <a:cubicBezTo>
                  <a:pt x="37" y="13"/>
                  <a:pt x="37" y="13"/>
                  <a:pt x="37" y="13"/>
                </a:cubicBezTo>
                <a:cubicBezTo>
                  <a:pt x="34" y="13"/>
                  <a:pt x="31" y="15"/>
                  <a:pt x="31" y="18"/>
                </a:cubicBezTo>
                <a:cubicBezTo>
                  <a:pt x="28" y="44"/>
                  <a:pt x="18" y="67"/>
                  <a:pt x="2" y="85"/>
                </a:cubicBezTo>
                <a:cubicBezTo>
                  <a:pt x="0" y="88"/>
                  <a:pt x="1" y="91"/>
                  <a:pt x="3" y="94"/>
                </a:cubicBezTo>
                <a:cubicBezTo>
                  <a:pt x="109" y="197"/>
                  <a:pt x="109" y="197"/>
                  <a:pt x="109" y="197"/>
                </a:cubicBezTo>
                <a:cubicBezTo>
                  <a:pt x="112" y="199"/>
                  <a:pt x="115" y="199"/>
                  <a:pt x="118" y="197"/>
                </a:cubicBezTo>
                <a:cubicBezTo>
                  <a:pt x="167" y="149"/>
                  <a:pt x="197" y="81"/>
                  <a:pt x="197" y="7"/>
                </a:cubicBezTo>
                <a:close/>
              </a:path>
            </a:pathLst>
          </a:custGeom>
          <a:solidFill>
            <a:srgbClr val="000000"/>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15">
            <a:extLst>
              <a:ext uri="{FF2B5EF4-FFF2-40B4-BE49-F238E27FC236}">
                <a16:creationId xmlns:a16="http://schemas.microsoft.com/office/drawing/2014/main" id="{C8A9ACCB-5A80-4A32-B228-FC08C6C48CA4}"/>
              </a:ext>
            </a:extLst>
          </p:cNvPr>
          <p:cNvSpPr>
            <a:spLocks/>
          </p:cNvSpPr>
          <p:nvPr/>
        </p:nvSpPr>
        <p:spPr bwMode="auto">
          <a:xfrm>
            <a:off x="6664297" y="2444469"/>
            <a:ext cx="1737929" cy="1661936"/>
          </a:xfrm>
          <a:custGeom>
            <a:avLst/>
            <a:gdLst>
              <a:gd name="T0" fmla="*/ 41 w 200"/>
              <a:gd name="T1" fmla="*/ 197 h 197"/>
              <a:gd name="T2" fmla="*/ 194 w 200"/>
              <a:gd name="T3" fmla="*/ 185 h 197"/>
              <a:gd name="T4" fmla="*/ 199 w 200"/>
              <a:gd name="T5" fmla="*/ 178 h 197"/>
              <a:gd name="T6" fmla="*/ 98 w 200"/>
              <a:gd name="T7" fmla="*/ 2 h 197"/>
              <a:gd name="T8" fmla="*/ 89 w 200"/>
              <a:gd name="T9" fmla="*/ 4 h 197"/>
              <a:gd name="T10" fmla="*/ 1 w 200"/>
              <a:gd name="T11" fmla="*/ 117 h 197"/>
              <a:gd name="T12" fmla="*/ 2 w 200"/>
              <a:gd name="T13" fmla="*/ 125 h 197"/>
              <a:gd name="T14" fmla="*/ 34 w 200"/>
              <a:gd name="T15" fmla="*/ 192 h 197"/>
              <a:gd name="T16" fmla="*/ 41 w 200"/>
              <a:gd name="T17"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97">
                <a:moveTo>
                  <a:pt x="41" y="197"/>
                </a:moveTo>
                <a:cubicBezTo>
                  <a:pt x="194" y="185"/>
                  <a:pt x="194" y="185"/>
                  <a:pt x="194" y="185"/>
                </a:cubicBezTo>
                <a:cubicBezTo>
                  <a:pt x="197" y="185"/>
                  <a:pt x="200" y="182"/>
                  <a:pt x="199" y="178"/>
                </a:cubicBezTo>
                <a:cubicBezTo>
                  <a:pt x="190" y="107"/>
                  <a:pt x="152" y="44"/>
                  <a:pt x="98" y="2"/>
                </a:cubicBezTo>
                <a:cubicBezTo>
                  <a:pt x="95" y="0"/>
                  <a:pt x="91" y="1"/>
                  <a:pt x="89" y="4"/>
                </a:cubicBezTo>
                <a:cubicBezTo>
                  <a:pt x="1" y="117"/>
                  <a:pt x="1" y="117"/>
                  <a:pt x="1" y="117"/>
                </a:cubicBezTo>
                <a:cubicBezTo>
                  <a:pt x="0" y="119"/>
                  <a:pt x="0" y="122"/>
                  <a:pt x="2" y="125"/>
                </a:cubicBezTo>
                <a:cubicBezTo>
                  <a:pt x="19" y="143"/>
                  <a:pt x="30" y="166"/>
                  <a:pt x="34" y="192"/>
                </a:cubicBezTo>
                <a:cubicBezTo>
                  <a:pt x="35" y="195"/>
                  <a:pt x="38" y="197"/>
                  <a:pt x="41" y="197"/>
                </a:cubicBezTo>
                <a:close/>
              </a:path>
            </a:pathLst>
          </a:custGeom>
          <a:solidFill>
            <a:srgbClr val="046A38"/>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5">
            <a:extLst>
              <a:ext uri="{FF2B5EF4-FFF2-40B4-BE49-F238E27FC236}">
                <a16:creationId xmlns:a16="http://schemas.microsoft.com/office/drawing/2014/main" id="{14E13D8B-E884-406D-A825-5CB3E101AD39}"/>
              </a:ext>
            </a:extLst>
          </p:cNvPr>
          <p:cNvSpPr>
            <a:spLocks/>
          </p:cNvSpPr>
          <p:nvPr/>
        </p:nvSpPr>
        <p:spPr bwMode="auto">
          <a:xfrm>
            <a:off x="4797510" y="3364646"/>
            <a:ext cx="1954344" cy="1904783"/>
          </a:xfrm>
          <a:custGeom>
            <a:avLst/>
            <a:gdLst>
              <a:gd name="T0" fmla="*/ 225 w 225"/>
              <a:gd name="T1" fmla="*/ 100 h 226"/>
              <a:gd name="T2" fmla="*/ 124 w 225"/>
              <a:gd name="T3" fmla="*/ 201 h 226"/>
              <a:gd name="T4" fmla="*/ 56 w 225"/>
              <a:gd name="T5" fmla="*/ 226 h 226"/>
              <a:gd name="T6" fmla="*/ 0 w 225"/>
              <a:gd name="T7" fmla="*/ 169 h 226"/>
              <a:gd name="T8" fmla="*/ 24 w 225"/>
              <a:gd name="T9" fmla="*/ 100 h 226"/>
              <a:gd name="T10" fmla="*/ 124 w 225"/>
              <a:gd name="T11" fmla="*/ 0 h 226"/>
              <a:gd name="T12" fmla="*/ 225 w 225"/>
              <a:gd name="T13" fmla="*/ 100 h 226"/>
            </a:gdLst>
            <a:ahLst/>
            <a:cxnLst>
              <a:cxn ang="0">
                <a:pos x="T0" y="T1"/>
              </a:cxn>
              <a:cxn ang="0">
                <a:pos x="T2" y="T3"/>
              </a:cxn>
              <a:cxn ang="0">
                <a:pos x="T4" y="T5"/>
              </a:cxn>
              <a:cxn ang="0">
                <a:pos x="T6" y="T7"/>
              </a:cxn>
              <a:cxn ang="0">
                <a:pos x="T8" y="T9"/>
              </a:cxn>
              <a:cxn ang="0">
                <a:pos x="T10" y="T11"/>
              </a:cxn>
              <a:cxn ang="0">
                <a:pos x="T12" y="T13"/>
              </a:cxn>
            </a:cxnLst>
            <a:rect l="0" t="0" r="r" b="b"/>
            <a:pathLst>
              <a:path w="225" h="226">
                <a:moveTo>
                  <a:pt x="225" y="100"/>
                </a:moveTo>
                <a:cubicBezTo>
                  <a:pt x="225" y="156"/>
                  <a:pt x="187" y="201"/>
                  <a:pt x="124" y="201"/>
                </a:cubicBezTo>
                <a:cubicBezTo>
                  <a:pt x="88" y="200"/>
                  <a:pt x="66" y="216"/>
                  <a:pt x="56" y="226"/>
                </a:cubicBezTo>
                <a:cubicBezTo>
                  <a:pt x="46" y="215"/>
                  <a:pt x="13" y="183"/>
                  <a:pt x="0" y="169"/>
                </a:cubicBezTo>
                <a:cubicBezTo>
                  <a:pt x="7" y="162"/>
                  <a:pt x="23" y="140"/>
                  <a:pt x="24" y="100"/>
                </a:cubicBezTo>
                <a:cubicBezTo>
                  <a:pt x="25" y="45"/>
                  <a:pt x="69" y="0"/>
                  <a:pt x="124" y="0"/>
                </a:cubicBezTo>
                <a:cubicBezTo>
                  <a:pt x="180" y="0"/>
                  <a:pt x="225" y="45"/>
                  <a:pt x="225" y="100"/>
                </a:cubicBezTo>
                <a:close/>
              </a:path>
            </a:pathLst>
          </a:custGeom>
          <a:solidFill>
            <a:srgbClr val="53565A"/>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6">
            <a:extLst>
              <a:ext uri="{FF2B5EF4-FFF2-40B4-BE49-F238E27FC236}">
                <a16:creationId xmlns:a16="http://schemas.microsoft.com/office/drawing/2014/main" id="{7FEDF0B7-C36B-486B-B3C3-B4F228DFE0D7}"/>
              </a:ext>
            </a:extLst>
          </p:cNvPr>
          <p:cNvSpPr>
            <a:spLocks/>
          </p:cNvSpPr>
          <p:nvPr/>
        </p:nvSpPr>
        <p:spPr bwMode="auto">
          <a:xfrm>
            <a:off x="4467105" y="4788691"/>
            <a:ext cx="824360" cy="791319"/>
          </a:xfrm>
          <a:custGeom>
            <a:avLst/>
            <a:gdLst>
              <a:gd name="T0" fmla="*/ 200 w 499"/>
              <a:gd name="T1" fmla="*/ 0 h 479"/>
              <a:gd name="T2" fmla="*/ 0 w 499"/>
              <a:gd name="T3" fmla="*/ 189 h 479"/>
              <a:gd name="T4" fmla="*/ 63 w 499"/>
              <a:gd name="T5" fmla="*/ 413 h 479"/>
              <a:gd name="T6" fmla="*/ 300 w 499"/>
              <a:gd name="T7" fmla="*/ 479 h 479"/>
              <a:gd name="T8" fmla="*/ 499 w 499"/>
              <a:gd name="T9" fmla="*/ 286 h 479"/>
            </a:gdLst>
            <a:ahLst/>
            <a:cxnLst>
              <a:cxn ang="0">
                <a:pos x="T0" y="T1"/>
              </a:cxn>
              <a:cxn ang="0">
                <a:pos x="T2" y="T3"/>
              </a:cxn>
              <a:cxn ang="0">
                <a:pos x="T4" y="T5"/>
              </a:cxn>
              <a:cxn ang="0">
                <a:pos x="T6" y="T7"/>
              </a:cxn>
              <a:cxn ang="0">
                <a:pos x="T8" y="T9"/>
              </a:cxn>
            </a:cxnLst>
            <a:rect l="0" t="0" r="r" b="b"/>
            <a:pathLst>
              <a:path w="499" h="479">
                <a:moveTo>
                  <a:pt x="200" y="0"/>
                </a:moveTo>
                <a:lnTo>
                  <a:pt x="0" y="189"/>
                </a:lnTo>
                <a:lnTo>
                  <a:pt x="63" y="413"/>
                </a:lnTo>
                <a:lnTo>
                  <a:pt x="300" y="479"/>
                </a:lnTo>
                <a:lnTo>
                  <a:pt x="499" y="286"/>
                </a:lnTo>
              </a:path>
            </a:pathLst>
          </a:custGeom>
          <a:solidFill>
            <a:srgbClr val="53565A"/>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 name="Line 7">
            <a:extLst>
              <a:ext uri="{FF2B5EF4-FFF2-40B4-BE49-F238E27FC236}">
                <a16:creationId xmlns:a16="http://schemas.microsoft.com/office/drawing/2014/main" id="{C3B0F01A-81F0-4160-9236-F6DDCD10498C}"/>
              </a:ext>
            </a:extLst>
          </p:cNvPr>
          <p:cNvSpPr>
            <a:spLocks noChangeShapeType="1"/>
          </p:cNvSpPr>
          <p:nvPr/>
        </p:nvSpPr>
        <p:spPr bwMode="auto">
          <a:xfrm flipH="1" flipV="1">
            <a:off x="4675260" y="4897724"/>
            <a:ext cx="556732" cy="421266"/>
          </a:xfrm>
          <a:prstGeom prst="line">
            <a:avLst/>
          </a:prstGeom>
          <a:no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 name="Line 8">
            <a:extLst>
              <a:ext uri="{FF2B5EF4-FFF2-40B4-BE49-F238E27FC236}">
                <a16:creationId xmlns:a16="http://schemas.microsoft.com/office/drawing/2014/main" id="{EEBE4599-A061-475B-BF39-2632D8E9E4B9}"/>
              </a:ext>
            </a:extLst>
          </p:cNvPr>
          <p:cNvSpPr>
            <a:spLocks noChangeShapeType="1"/>
          </p:cNvSpPr>
          <p:nvPr/>
        </p:nvSpPr>
        <p:spPr bwMode="auto">
          <a:xfrm flipH="1" flipV="1">
            <a:off x="4571183" y="4998498"/>
            <a:ext cx="555080" cy="413006"/>
          </a:xfrm>
          <a:prstGeom prst="line">
            <a:avLst/>
          </a:prstGeom>
          <a:no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 name="Line 9">
            <a:extLst>
              <a:ext uri="{FF2B5EF4-FFF2-40B4-BE49-F238E27FC236}">
                <a16:creationId xmlns:a16="http://schemas.microsoft.com/office/drawing/2014/main" id="{04678421-0155-48E8-8ED5-C659662F8B7B}"/>
              </a:ext>
            </a:extLst>
          </p:cNvPr>
          <p:cNvSpPr>
            <a:spLocks noChangeShapeType="1"/>
          </p:cNvSpPr>
          <p:nvPr/>
        </p:nvSpPr>
        <p:spPr bwMode="auto">
          <a:xfrm flipH="1" flipV="1">
            <a:off x="4467105" y="5091011"/>
            <a:ext cx="555080" cy="422918"/>
          </a:xfrm>
          <a:prstGeom prst="line">
            <a:avLst/>
          </a:prstGeom>
          <a:no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3" name="Group 2"/>
          <p:cNvGrpSpPr/>
          <p:nvPr/>
        </p:nvGrpSpPr>
        <p:grpSpPr>
          <a:xfrm>
            <a:off x="5326422" y="3741576"/>
            <a:ext cx="1078480" cy="1037324"/>
            <a:chOff x="5344330" y="3840446"/>
            <a:chExt cx="1011864" cy="973250"/>
          </a:xfrm>
          <a:solidFill>
            <a:schemeClr val="bg1"/>
          </a:solidFill>
        </p:grpSpPr>
        <p:sp>
          <p:nvSpPr>
            <p:cNvPr id="94" name="Freeform 10">
              <a:extLst>
                <a:ext uri="{FF2B5EF4-FFF2-40B4-BE49-F238E27FC236}">
                  <a16:creationId xmlns:a16="http://schemas.microsoft.com/office/drawing/2014/main" id="{7766D4E6-34EC-4BC1-A313-93520E9C2128}"/>
                </a:ext>
              </a:extLst>
            </p:cNvPr>
            <p:cNvSpPr>
              <a:spLocks noEditPoints="1"/>
            </p:cNvSpPr>
            <p:nvPr/>
          </p:nvSpPr>
          <p:spPr bwMode="auto">
            <a:xfrm>
              <a:off x="5344330" y="3840446"/>
              <a:ext cx="616205" cy="606293"/>
            </a:xfrm>
            <a:custGeom>
              <a:avLst/>
              <a:gdLst>
                <a:gd name="T0" fmla="*/ 64 w 71"/>
                <a:gd name="T1" fmla="*/ 34 h 72"/>
                <a:gd name="T2" fmla="*/ 71 w 71"/>
                <a:gd name="T3" fmla="*/ 29 h 72"/>
                <a:gd name="T4" fmla="*/ 69 w 71"/>
                <a:gd name="T5" fmla="*/ 22 h 72"/>
                <a:gd name="T6" fmla="*/ 60 w 71"/>
                <a:gd name="T7" fmla="*/ 22 h 72"/>
                <a:gd name="T8" fmla="*/ 54 w 71"/>
                <a:gd name="T9" fmla="*/ 14 h 72"/>
                <a:gd name="T10" fmla="*/ 56 w 71"/>
                <a:gd name="T11" fmla="*/ 6 h 72"/>
                <a:gd name="T12" fmla="*/ 50 w 71"/>
                <a:gd name="T13" fmla="*/ 2 h 72"/>
                <a:gd name="T14" fmla="*/ 44 w 71"/>
                <a:gd name="T15" fmla="*/ 9 h 72"/>
                <a:gd name="T16" fmla="*/ 33 w 71"/>
                <a:gd name="T17" fmla="*/ 8 h 72"/>
                <a:gd name="T18" fmla="*/ 28 w 71"/>
                <a:gd name="T19" fmla="*/ 0 h 72"/>
                <a:gd name="T20" fmla="*/ 22 w 71"/>
                <a:gd name="T21" fmla="*/ 2 h 72"/>
                <a:gd name="T22" fmla="*/ 22 w 71"/>
                <a:gd name="T23" fmla="*/ 11 h 72"/>
                <a:gd name="T24" fmla="*/ 14 w 71"/>
                <a:gd name="T25" fmla="*/ 18 h 72"/>
                <a:gd name="T26" fmla="*/ 5 w 71"/>
                <a:gd name="T27" fmla="*/ 16 h 72"/>
                <a:gd name="T28" fmla="*/ 2 w 71"/>
                <a:gd name="T29" fmla="*/ 22 h 72"/>
                <a:gd name="T30" fmla="*/ 9 w 71"/>
                <a:gd name="T31" fmla="*/ 28 h 72"/>
                <a:gd name="T32" fmla="*/ 7 w 71"/>
                <a:gd name="T33" fmla="*/ 38 h 72"/>
                <a:gd name="T34" fmla="*/ 0 w 71"/>
                <a:gd name="T35" fmla="*/ 43 h 72"/>
                <a:gd name="T36" fmla="*/ 2 w 71"/>
                <a:gd name="T37" fmla="*/ 50 h 72"/>
                <a:gd name="T38" fmla="*/ 11 w 71"/>
                <a:gd name="T39" fmla="*/ 49 h 72"/>
                <a:gd name="T40" fmla="*/ 17 w 71"/>
                <a:gd name="T41" fmla="*/ 57 h 72"/>
                <a:gd name="T42" fmla="*/ 15 w 71"/>
                <a:gd name="T43" fmla="*/ 66 h 72"/>
                <a:gd name="T44" fmla="*/ 21 w 71"/>
                <a:gd name="T45" fmla="*/ 69 h 72"/>
                <a:gd name="T46" fmla="*/ 28 w 71"/>
                <a:gd name="T47" fmla="*/ 63 h 72"/>
                <a:gd name="T48" fmla="*/ 38 w 71"/>
                <a:gd name="T49" fmla="*/ 64 h 72"/>
                <a:gd name="T50" fmla="*/ 43 w 71"/>
                <a:gd name="T51" fmla="*/ 72 h 72"/>
                <a:gd name="T52" fmla="*/ 49 w 71"/>
                <a:gd name="T53" fmla="*/ 70 h 72"/>
                <a:gd name="T54" fmla="*/ 49 w 71"/>
                <a:gd name="T55" fmla="*/ 61 h 72"/>
                <a:gd name="T56" fmla="*/ 57 w 71"/>
                <a:gd name="T57" fmla="*/ 54 h 72"/>
                <a:gd name="T58" fmla="*/ 66 w 71"/>
                <a:gd name="T59" fmla="*/ 56 h 72"/>
                <a:gd name="T60" fmla="*/ 69 w 71"/>
                <a:gd name="T61" fmla="*/ 50 h 72"/>
                <a:gd name="T62" fmla="*/ 63 w 71"/>
                <a:gd name="T63" fmla="*/ 44 h 72"/>
                <a:gd name="T64" fmla="*/ 64 w 71"/>
                <a:gd name="T65" fmla="*/ 34 h 72"/>
                <a:gd name="T66" fmla="*/ 47 w 71"/>
                <a:gd name="T67" fmla="*/ 35 h 72"/>
                <a:gd name="T68" fmla="*/ 36 w 71"/>
                <a:gd name="T69" fmla="*/ 48 h 72"/>
                <a:gd name="T70" fmla="*/ 24 w 71"/>
                <a:gd name="T71" fmla="*/ 36 h 72"/>
                <a:gd name="T72" fmla="*/ 35 w 71"/>
                <a:gd name="T73" fmla="*/ 24 h 72"/>
                <a:gd name="T74" fmla="*/ 47 w 71"/>
                <a:gd name="T75"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2">
                  <a:moveTo>
                    <a:pt x="64" y="34"/>
                  </a:moveTo>
                  <a:cubicBezTo>
                    <a:pt x="71" y="29"/>
                    <a:pt x="71" y="29"/>
                    <a:pt x="71" y="29"/>
                  </a:cubicBezTo>
                  <a:cubicBezTo>
                    <a:pt x="69" y="22"/>
                    <a:pt x="69" y="22"/>
                    <a:pt x="69" y="22"/>
                  </a:cubicBezTo>
                  <a:cubicBezTo>
                    <a:pt x="60" y="22"/>
                    <a:pt x="60" y="22"/>
                    <a:pt x="60" y="22"/>
                  </a:cubicBezTo>
                  <a:cubicBezTo>
                    <a:pt x="59" y="19"/>
                    <a:pt x="57" y="17"/>
                    <a:pt x="54" y="14"/>
                  </a:cubicBezTo>
                  <a:cubicBezTo>
                    <a:pt x="56" y="6"/>
                    <a:pt x="56" y="6"/>
                    <a:pt x="56" y="6"/>
                  </a:cubicBezTo>
                  <a:cubicBezTo>
                    <a:pt x="50" y="2"/>
                    <a:pt x="50" y="2"/>
                    <a:pt x="50" y="2"/>
                  </a:cubicBezTo>
                  <a:cubicBezTo>
                    <a:pt x="44" y="9"/>
                    <a:pt x="44" y="9"/>
                    <a:pt x="44" y="9"/>
                  </a:cubicBezTo>
                  <a:cubicBezTo>
                    <a:pt x="40" y="8"/>
                    <a:pt x="37" y="7"/>
                    <a:pt x="33" y="8"/>
                  </a:cubicBezTo>
                  <a:cubicBezTo>
                    <a:pt x="28" y="0"/>
                    <a:pt x="28" y="0"/>
                    <a:pt x="28" y="0"/>
                  </a:cubicBezTo>
                  <a:cubicBezTo>
                    <a:pt x="22" y="2"/>
                    <a:pt x="22" y="2"/>
                    <a:pt x="22" y="2"/>
                  </a:cubicBezTo>
                  <a:cubicBezTo>
                    <a:pt x="22" y="11"/>
                    <a:pt x="22" y="11"/>
                    <a:pt x="22" y="11"/>
                  </a:cubicBezTo>
                  <a:cubicBezTo>
                    <a:pt x="19" y="13"/>
                    <a:pt x="16" y="15"/>
                    <a:pt x="14" y="18"/>
                  </a:cubicBezTo>
                  <a:cubicBezTo>
                    <a:pt x="5" y="16"/>
                    <a:pt x="5" y="16"/>
                    <a:pt x="5" y="16"/>
                  </a:cubicBezTo>
                  <a:cubicBezTo>
                    <a:pt x="2" y="22"/>
                    <a:pt x="2" y="22"/>
                    <a:pt x="2" y="22"/>
                  </a:cubicBezTo>
                  <a:cubicBezTo>
                    <a:pt x="9" y="28"/>
                    <a:pt x="9" y="28"/>
                    <a:pt x="9" y="28"/>
                  </a:cubicBezTo>
                  <a:cubicBezTo>
                    <a:pt x="8" y="31"/>
                    <a:pt x="7" y="35"/>
                    <a:pt x="7" y="38"/>
                  </a:cubicBezTo>
                  <a:cubicBezTo>
                    <a:pt x="0" y="43"/>
                    <a:pt x="0" y="43"/>
                    <a:pt x="0" y="43"/>
                  </a:cubicBezTo>
                  <a:cubicBezTo>
                    <a:pt x="2" y="50"/>
                    <a:pt x="2" y="50"/>
                    <a:pt x="2" y="50"/>
                  </a:cubicBezTo>
                  <a:cubicBezTo>
                    <a:pt x="11" y="49"/>
                    <a:pt x="11" y="49"/>
                    <a:pt x="11" y="49"/>
                  </a:cubicBezTo>
                  <a:cubicBezTo>
                    <a:pt x="13" y="52"/>
                    <a:pt x="15" y="55"/>
                    <a:pt x="17" y="57"/>
                  </a:cubicBezTo>
                  <a:cubicBezTo>
                    <a:pt x="15" y="66"/>
                    <a:pt x="15" y="66"/>
                    <a:pt x="15" y="66"/>
                  </a:cubicBezTo>
                  <a:cubicBezTo>
                    <a:pt x="21" y="69"/>
                    <a:pt x="21" y="69"/>
                    <a:pt x="21" y="69"/>
                  </a:cubicBezTo>
                  <a:cubicBezTo>
                    <a:pt x="28" y="63"/>
                    <a:pt x="28" y="63"/>
                    <a:pt x="28" y="63"/>
                  </a:cubicBezTo>
                  <a:cubicBezTo>
                    <a:pt x="31" y="64"/>
                    <a:pt x="35" y="64"/>
                    <a:pt x="38" y="64"/>
                  </a:cubicBezTo>
                  <a:cubicBezTo>
                    <a:pt x="43" y="72"/>
                    <a:pt x="43" y="72"/>
                    <a:pt x="43" y="72"/>
                  </a:cubicBezTo>
                  <a:cubicBezTo>
                    <a:pt x="49" y="70"/>
                    <a:pt x="49" y="70"/>
                    <a:pt x="49" y="70"/>
                  </a:cubicBezTo>
                  <a:cubicBezTo>
                    <a:pt x="49" y="61"/>
                    <a:pt x="49" y="61"/>
                    <a:pt x="49" y="61"/>
                  </a:cubicBezTo>
                  <a:cubicBezTo>
                    <a:pt x="52" y="59"/>
                    <a:pt x="55" y="57"/>
                    <a:pt x="57" y="54"/>
                  </a:cubicBezTo>
                  <a:cubicBezTo>
                    <a:pt x="66" y="56"/>
                    <a:pt x="66" y="56"/>
                    <a:pt x="66" y="56"/>
                  </a:cubicBezTo>
                  <a:cubicBezTo>
                    <a:pt x="69" y="50"/>
                    <a:pt x="69" y="50"/>
                    <a:pt x="69" y="50"/>
                  </a:cubicBezTo>
                  <a:cubicBezTo>
                    <a:pt x="63" y="44"/>
                    <a:pt x="63" y="44"/>
                    <a:pt x="63" y="44"/>
                  </a:cubicBezTo>
                  <a:cubicBezTo>
                    <a:pt x="64" y="40"/>
                    <a:pt x="64" y="37"/>
                    <a:pt x="64" y="34"/>
                  </a:cubicBezTo>
                  <a:close/>
                  <a:moveTo>
                    <a:pt x="47" y="35"/>
                  </a:moveTo>
                  <a:cubicBezTo>
                    <a:pt x="48" y="42"/>
                    <a:pt x="43" y="47"/>
                    <a:pt x="36" y="48"/>
                  </a:cubicBezTo>
                  <a:cubicBezTo>
                    <a:pt x="30" y="48"/>
                    <a:pt x="24" y="43"/>
                    <a:pt x="24" y="36"/>
                  </a:cubicBezTo>
                  <a:cubicBezTo>
                    <a:pt x="24" y="30"/>
                    <a:pt x="29" y="24"/>
                    <a:pt x="35" y="24"/>
                  </a:cubicBezTo>
                  <a:cubicBezTo>
                    <a:pt x="42" y="24"/>
                    <a:pt x="47" y="29"/>
                    <a:pt x="47" y="35"/>
                  </a:cubicBezTo>
                  <a:close/>
                </a:path>
              </a:pathLst>
            </a:custGeom>
            <a:grp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10">
              <a:extLst>
                <a:ext uri="{FF2B5EF4-FFF2-40B4-BE49-F238E27FC236}">
                  <a16:creationId xmlns:a16="http://schemas.microsoft.com/office/drawing/2014/main" id="{6662C9EE-2FA8-40D6-90C7-C0164EC9794E}"/>
                </a:ext>
              </a:extLst>
            </p:cNvPr>
            <p:cNvSpPr>
              <a:spLocks noEditPoints="1"/>
            </p:cNvSpPr>
            <p:nvPr/>
          </p:nvSpPr>
          <p:spPr bwMode="auto">
            <a:xfrm>
              <a:off x="5956006" y="4134107"/>
              <a:ext cx="400188" cy="393751"/>
            </a:xfrm>
            <a:custGeom>
              <a:avLst/>
              <a:gdLst>
                <a:gd name="T0" fmla="*/ 64 w 71"/>
                <a:gd name="T1" fmla="*/ 34 h 72"/>
                <a:gd name="T2" fmla="*/ 71 w 71"/>
                <a:gd name="T3" fmla="*/ 29 h 72"/>
                <a:gd name="T4" fmla="*/ 69 w 71"/>
                <a:gd name="T5" fmla="*/ 22 h 72"/>
                <a:gd name="T6" fmla="*/ 60 w 71"/>
                <a:gd name="T7" fmla="*/ 22 h 72"/>
                <a:gd name="T8" fmla="*/ 54 w 71"/>
                <a:gd name="T9" fmla="*/ 14 h 72"/>
                <a:gd name="T10" fmla="*/ 56 w 71"/>
                <a:gd name="T11" fmla="*/ 6 h 72"/>
                <a:gd name="T12" fmla="*/ 50 w 71"/>
                <a:gd name="T13" fmla="*/ 2 h 72"/>
                <a:gd name="T14" fmla="*/ 44 w 71"/>
                <a:gd name="T15" fmla="*/ 9 h 72"/>
                <a:gd name="T16" fmla="*/ 33 w 71"/>
                <a:gd name="T17" fmla="*/ 8 h 72"/>
                <a:gd name="T18" fmla="*/ 28 w 71"/>
                <a:gd name="T19" fmla="*/ 0 h 72"/>
                <a:gd name="T20" fmla="*/ 22 w 71"/>
                <a:gd name="T21" fmla="*/ 2 h 72"/>
                <a:gd name="T22" fmla="*/ 22 w 71"/>
                <a:gd name="T23" fmla="*/ 11 h 72"/>
                <a:gd name="T24" fmla="*/ 14 w 71"/>
                <a:gd name="T25" fmla="*/ 18 h 72"/>
                <a:gd name="T26" fmla="*/ 5 w 71"/>
                <a:gd name="T27" fmla="*/ 16 h 72"/>
                <a:gd name="T28" fmla="*/ 2 w 71"/>
                <a:gd name="T29" fmla="*/ 22 h 72"/>
                <a:gd name="T30" fmla="*/ 9 w 71"/>
                <a:gd name="T31" fmla="*/ 28 h 72"/>
                <a:gd name="T32" fmla="*/ 7 w 71"/>
                <a:gd name="T33" fmla="*/ 38 h 72"/>
                <a:gd name="T34" fmla="*/ 0 w 71"/>
                <a:gd name="T35" fmla="*/ 43 h 72"/>
                <a:gd name="T36" fmla="*/ 2 w 71"/>
                <a:gd name="T37" fmla="*/ 50 h 72"/>
                <a:gd name="T38" fmla="*/ 11 w 71"/>
                <a:gd name="T39" fmla="*/ 49 h 72"/>
                <a:gd name="T40" fmla="*/ 17 w 71"/>
                <a:gd name="T41" fmla="*/ 57 h 72"/>
                <a:gd name="T42" fmla="*/ 15 w 71"/>
                <a:gd name="T43" fmla="*/ 66 h 72"/>
                <a:gd name="T44" fmla="*/ 21 w 71"/>
                <a:gd name="T45" fmla="*/ 69 h 72"/>
                <a:gd name="T46" fmla="*/ 28 w 71"/>
                <a:gd name="T47" fmla="*/ 63 h 72"/>
                <a:gd name="T48" fmla="*/ 38 w 71"/>
                <a:gd name="T49" fmla="*/ 64 h 72"/>
                <a:gd name="T50" fmla="*/ 43 w 71"/>
                <a:gd name="T51" fmla="*/ 72 h 72"/>
                <a:gd name="T52" fmla="*/ 49 w 71"/>
                <a:gd name="T53" fmla="*/ 70 h 72"/>
                <a:gd name="T54" fmla="*/ 49 w 71"/>
                <a:gd name="T55" fmla="*/ 61 h 72"/>
                <a:gd name="T56" fmla="*/ 57 w 71"/>
                <a:gd name="T57" fmla="*/ 54 h 72"/>
                <a:gd name="T58" fmla="*/ 66 w 71"/>
                <a:gd name="T59" fmla="*/ 56 h 72"/>
                <a:gd name="T60" fmla="*/ 69 w 71"/>
                <a:gd name="T61" fmla="*/ 50 h 72"/>
                <a:gd name="T62" fmla="*/ 63 w 71"/>
                <a:gd name="T63" fmla="*/ 44 h 72"/>
                <a:gd name="T64" fmla="*/ 64 w 71"/>
                <a:gd name="T65" fmla="*/ 34 h 72"/>
                <a:gd name="T66" fmla="*/ 47 w 71"/>
                <a:gd name="T67" fmla="*/ 35 h 72"/>
                <a:gd name="T68" fmla="*/ 36 w 71"/>
                <a:gd name="T69" fmla="*/ 48 h 72"/>
                <a:gd name="T70" fmla="*/ 24 w 71"/>
                <a:gd name="T71" fmla="*/ 36 h 72"/>
                <a:gd name="T72" fmla="*/ 35 w 71"/>
                <a:gd name="T73" fmla="*/ 24 h 72"/>
                <a:gd name="T74" fmla="*/ 47 w 71"/>
                <a:gd name="T75"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2">
                  <a:moveTo>
                    <a:pt x="64" y="34"/>
                  </a:moveTo>
                  <a:cubicBezTo>
                    <a:pt x="71" y="29"/>
                    <a:pt x="71" y="29"/>
                    <a:pt x="71" y="29"/>
                  </a:cubicBezTo>
                  <a:cubicBezTo>
                    <a:pt x="69" y="22"/>
                    <a:pt x="69" y="22"/>
                    <a:pt x="69" y="22"/>
                  </a:cubicBezTo>
                  <a:cubicBezTo>
                    <a:pt x="60" y="22"/>
                    <a:pt x="60" y="22"/>
                    <a:pt x="60" y="22"/>
                  </a:cubicBezTo>
                  <a:cubicBezTo>
                    <a:pt x="59" y="19"/>
                    <a:pt x="57" y="17"/>
                    <a:pt x="54" y="14"/>
                  </a:cubicBezTo>
                  <a:cubicBezTo>
                    <a:pt x="56" y="6"/>
                    <a:pt x="56" y="6"/>
                    <a:pt x="56" y="6"/>
                  </a:cubicBezTo>
                  <a:cubicBezTo>
                    <a:pt x="50" y="2"/>
                    <a:pt x="50" y="2"/>
                    <a:pt x="50" y="2"/>
                  </a:cubicBezTo>
                  <a:cubicBezTo>
                    <a:pt x="44" y="9"/>
                    <a:pt x="44" y="9"/>
                    <a:pt x="44" y="9"/>
                  </a:cubicBezTo>
                  <a:cubicBezTo>
                    <a:pt x="40" y="8"/>
                    <a:pt x="37" y="7"/>
                    <a:pt x="33" y="8"/>
                  </a:cubicBezTo>
                  <a:cubicBezTo>
                    <a:pt x="28" y="0"/>
                    <a:pt x="28" y="0"/>
                    <a:pt x="28" y="0"/>
                  </a:cubicBezTo>
                  <a:cubicBezTo>
                    <a:pt x="22" y="2"/>
                    <a:pt x="22" y="2"/>
                    <a:pt x="22" y="2"/>
                  </a:cubicBezTo>
                  <a:cubicBezTo>
                    <a:pt x="22" y="11"/>
                    <a:pt x="22" y="11"/>
                    <a:pt x="22" y="11"/>
                  </a:cubicBezTo>
                  <a:cubicBezTo>
                    <a:pt x="19" y="13"/>
                    <a:pt x="16" y="15"/>
                    <a:pt x="14" y="18"/>
                  </a:cubicBezTo>
                  <a:cubicBezTo>
                    <a:pt x="5" y="16"/>
                    <a:pt x="5" y="16"/>
                    <a:pt x="5" y="16"/>
                  </a:cubicBezTo>
                  <a:cubicBezTo>
                    <a:pt x="2" y="22"/>
                    <a:pt x="2" y="22"/>
                    <a:pt x="2" y="22"/>
                  </a:cubicBezTo>
                  <a:cubicBezTo>
                    <a:pt x="9" y="28"/>
                    <a:pt x="9" y="28"/>
                    <a:pt x="9" y="28"/>
                  </a:cubicBezTo>
                  <a:cubicBezTo>
                    <a:pt x="8" y="31"/>
                    <a:pt x="7" y="35"/>
                    <a:pt x="7" y="38"/>
                  </a:cubicBezTo>
                  <a:cubicBezTo>
                    <a:pt x="0" y="43"/>
                    <a:pt x="0" y="43"/>
                    <a:pt x="0" y="43"/>
                  </a:cubicBezTo>
                  <a:cubicBezTo>
                    <a:pt x="2" y="50"/>
                    <a:pt x="2" y="50"/>
                    <a:pt x="2" y="50"/>
                  </a:cubicBezTo>
                  <a:cubicBezTo>
                    <a:pt x="11" y="49"/>
                    <a:pt x="11" y="49"/>
                    <a:pt x="11" y="49"/>
                  </a:cubicBezTo>
                  <a:cubicBezTo>
                    <a:pt x="13" y="52"/>
                    <a:pt x="15" y="55"/>
                    <a:pt x="17" y="57"/>
                  </a:cubicBezTo>
                  <a:cubicBezTo>
                    <a:pt x="15" y="66"/>
                    <a:pt x="15" y="66"/>
                    <a:pt x="15" y="66"/>
                  </a:cubicBezTo>
                  <a:cubicBezTo>
                    <a:pt x="21" y="69"/>
                    <a:pt x="21" y="69"/>
                    <a:pt x="21" y="69"/>
                  </a:cubicBezTo>
                  <a:cubicBezTo>
                    <a:pt x="28" y="63"/>
                    <a:pt x="28" y="63"/>
                    <a:pt x="28" y="63"/>
                  </a:cubicBezTo>
                  <a:cubicBezTo>
                    <a:pt x="31" y="64"/>
                    <a:pt x="35" y="64"/>
                    <a:pt x="38" y="64"/>
                  </a:cubicBezTo>
                  <a:cubicBezTo>
                    <a:pt x="43" y="72"/>
                    <a:pt x="43" y="72"/>
                    <a:pt x="43" y="72"/>
                  </a:cubicBezTo>
                  <a:cubicBezTo>
                    <a:pt x="49" y="70"/>
                    <a:pt x="49" y="70"/>
                    <a:pt x="49" y="70"/>
                  </a:cubicBezTo>
                  <a:cubicBezTo>
                    <a:pt x="49" y="61"/>
                    <a:pt x="49" y="61"/>
                    <a:pt x="49" y="61"/>
                  </a:cubicBezTo>
                  <a:cubicBezTo>
                    <a:pt x="52" y="59"/>
                    <a:pt x="55" y="57"/>
                    <a:pt x="57" y="54"/>
                  </a:cubicBezTo>
                  <a:cubicBezTo>
                    <a:pt x="66" y="56"/>
                    <a:pt x="66" y="56"/>
                    <a:pt x="66" y="56"/>
                  </a:cubicBezTo>
                  <a:cubicBezTo>
                    <a:pt x="69" y="50"/>
                    <a:pt x="69" y="50"/>
                    <a:pt x="69" y="50"/>
                  </a:cubicBezTo>
                  <a:cubicBezTo>
                    <a:pt x="63" y="44"/>
                    <a:pt x="63" y="44"/>
                    <a:pt x="63" y="44"/>
                  </a:cubicBezTo>
                  <a:cubicBezTo>
                    <a:pt x="64" y="40"/>
                    <a:pt x="64" y="37"/>
                    <a:pt x="64" y="34"/>
                  </a:cubicBezTo>
                  <a:close/>
                  <a:moveTo>
                    <a:pt x="47" y="35"/>
                  </a:moveTo>
                  <a:cubicBezTo>
                    <a:pt x="48" y="42"/>
                    <a:pt x="43" y="47"/>
                    <a:pt x="36" y="48"/>
                  </a:cubicBezTo>
                  <a:cubicBezTo>
                    <a:pt x="30" y="48"/>
                    <a:pt x="24" y="43"/>
                    <a:pt x="24" y="36"/>
                  </a:cubicBezTo>
                  <a:cubicBezTo>
                    <a:pt x="24" y="30"/>
                    <a:pt x="29" y="24"/>
                    <a:pt x="35" y="24"/>
                  </a:cubicBezTo>
                  <a:cubicBezTo>
                    <a:pt x="42" y="24"/>
                    <a:pt x="47" y="29"/>
                    <a:pt x="47" y="35"/>
                  </a:cubicBezTo>
                  <a:close/>
                </a:path>
              </a:pathLst>
            </a:custGeom>
            <a:grp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10">
              <a:extLst>
                <a:ext uri="{FF2B5EF4-FFF2-40B4-BE49-F238E27FC236}">
                  <a16:creationId xmlns:a16="http://schemas.microsoft.com/office/drawing/2014/main" id="{40128B0B-3827-4F35-ABF3-817341143719}"/>
                </a:ext>
              </a:extLst>
            </p:cNvPr>
            <p:cNvSpPr>
              <a:spLocks noEditPoints="1"/>
            </p:cNvSpPr>
            <p:nvPr/>
          </p:nvSpPr>
          <p:spPr bwMode="auto">
            <a:xfrm>
              <a:off x="5684447" y="4419945"/>
              <a:ext cx="400188" cy="393751"/>
            </a:xfrm>
            <a:custGeom>
              <a:avLst/>
              <a:gdLst>
                <a:gd name="T0" fmla="*/ 64 w 71"/>
                <a:gd name="T1" fmla="*/ 34 h 72"/>
                <a:gd name="T2" fmla="*/ 71 w 71"/>
                <a:gd name="T3" fmla="*/ 29 h 72"/>
                <a:gd name="T4" fmla="*/ 69 w 71"/>
                <a:gd name="T5" fmla="*/ 22 h 72"/>
                <a:gd name="T6" fmla="*/ 60 w 71"/>
                <a:gd name="T7" fmla="*/ 22 h 72"/>
                <a:gd name="T8" fmla="*/ 54 w 71"/>
                <a:gd name="T9" fmla="*/ 14 h 72"/>
                <a:gd name="T10" fmla="*/ 56 w 71"/>
                <a:gd name="T11" fmla="*/ 6 h 72"/>
                <a:gd name="T12" fmla="*/ 50 w 71"/>
                <a:gd name="T13" fmla="*/ 2 h 72"/>
                <a:gd name="T14" fmla="*/ 44 w 71"/>
                <a:gd name="T15" fmla="*/ 9 h 72"/>
                <a:gd name="T16" fmla="*/ 33 w 71"/>
                <a:gd name="T17" fmla="*/ 8 h 72"/>
                <a:gd name="T18" fmla="*/ 28 w 71"/>
                <a:gd name="T19" fmla="*/ 0 h 72"/>
                <a:gd name="T20" fmla="*/ 22 w 71"/>
                <a:gd name="T21" fmla="*/ 2 h 72"/>
                <a:gd name="T22" fmla="*/ 22 w 71"/>
                <a:gd name="T23" fmla="*/ 11 h 72"/>
                <a:gd name="T24" fmla="*/ 14 w 71"/>
                <a:gd name="T25" fmla="*/ 18 h 72"/>
                <a:gd name="T26" fmla="*/ 5 w 71"/>
                <a:gd name="T27" fmla="*/ 16 h 72"/>
                <a:gd name="T28" fmla="*/ 2 w 71"/>
                <a:gd name="T29" fmla="*/ 22 h 72"/>
                <a:gd name="T30" fmla="*/ 9 w 71"/>
                <a:gd name="T31" fmla="*/ 28 h 72"/>
                <a:gd name="T32" fmla="*/ 7 w 71"/>
                <a:gd name="T33" fmla="*/ 38 h 72"/>
                <a:gd name="T34" fmla="*/ 0 w 71"/>
                <a:gd name="T35" fmla="*/ 43 h 72"/>
                <a:gd name="T36" fmla="*/ 2 w 71"/>
                <a:gd name="T37" fmla="*/ 50 h 72"/>
                <a:gd name="T38" fmla="*/ 11 w 71"/>
                <a:gd name="T39" fmla="*/ 49 h 72"/>
                <a:gd name="T40" fmla="*/ 17 w 71"/>
                <a:gd name="T41" fmla="*/ 57 h 72"/>
                <a:gd name="T42" fmla="*/ 15 w 71"/>
                <a:gd name="T43" fmla="*/ 66 h 72"/>
                <a:gd name="T44" fmla="*/ 21 w 71"/>
                <a:gd name="T45" fmla="*/ 69 h 72"/>
                <a:gd name="T46" fmla="*/ 28 w 71"/>
                <a:gd name="T47" fmla="*/ 63 h 72"/>
                <a:gd name="T48" fmla="*/ 38 w 71"/>
                <a:gd name="T49" fmla="*/ 64 h 72"/>
                <a:gd name="T50" fmla="*/ 43 w 71"/>
                <a:gd name="T51" fmla="*/ 72 h 72"/>
                <a:gd name="T52" fmla="*/ 49 w 71"/>
                <a:gd name="T53" fmla="*/ 70 h 72"/>
                <a:gd name="T54" fmla="*/ 49 w 71"/>
                <a:gd name="T55" fmla="*/ 61 h 72"/>
                <a:gd name="T56" fmla="*/ 57 w 71"/>
                <a:gd name="T57" fmla="*/ 54 h 72"/>
                <a:gd name="T58" fmla="*/ 66 w 71"/>
                <a:gd name="T59" fmla="*/ 56 h 72"/>
                <a:gd name="T60" fmla="*/ 69 w 71"/>
                <a:gd name="T61" fmla="*/ 50 h 72"/>
                <a:gd name="T62" fmla="*/ 63 w 71"/>
                <a:gd name="T63" fmla="*/ 44 h 72"/>
                <a:gd name="T64" fmla="*/ 64 w 71"/>
                <a:gd name="T65" fmla="*/ 34 h 72"/>
                <a:gd name="T66" fmla="*/ 47 w 71"/>
                <a:gd name="T67" fmla="*/ 35 h 72"/>
                <a:gd name="T68" fmla="*/ 36 w 71"/>
                <a:gd name="T69" fmla="*/ 48 h 72"/>
                <a:gd name="T70" fmla="*/ 24 w 71"/>
                <a:gd name="T71" fmla="*/ 36 h 72"/>
                <a:gd name="T72" fmla="*/ 35 w 71"/>
                <a:gd name="T73" fmla="*/ 24 h 72"/>
                <a:gd name="T74" fmla="*/ 47 w 71"/>
                <a:gd name="T75"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2">
                  <a:moveTo>
                    <a:pt x="64" y="34"/>
                  </a:moveTo>
                  <a:cubicBezTo>
                    <a:pt x="71" y="29"/>
                    <a:pt x="71" y="29"/>
                    <a:pt x="71" y="29"/>
                  </a:cubicBezTo>
                  <a:cubicBezTo>
                    <a:pt x="69" y="22"/>
                    <a:pt x="69" y="22"/>
                    <a:pt x="69" y="22"/>
                  </a:cubicBezTo>
                  <a:cubicBezTo>
                    <a:pt x="60" y="22"/>
                    <a:pt x="60" y="22"/>
                    <a:pt x="60" y="22"/>
                  </a:cubicBezTo>
                  <a:cubicBezTo>
                    <a:pt x="59" y="19"/>
                    <a:pt x="57" y="17"/>
                    <a:pt x="54" y="14"/>
                  </a:cubicBezTo>
                  <a:cubicBezTo>
                    <a:pt x="56" y="6"/>
                    <a:pt x="56" y="6"/>
                    <a:pt x="56" y="6"/>
                  </a:cubicBezTo>
                  <a:cubicBezTo>
                    <a:pt x="50" y="2"/>
                    <a:pt x="50" y="2"/>
                    <a:pt x="50" y="2"/>
                  </a:cubicBezTo>
                  <a:cubicBezTo>
                    <a:pt x="44" y="9"/>
                    <a:pt x="44" y="9"/>
                    <a:pt x="44" y="9"/>
                  </a:cubicBezTo>
                  <a:cubicBezTo>
                    <a:pt x="40" y="8"/>
                    <a:pt x="37" y="7"/>
                    <a:pt x="33" y="8"/>
                  </a:cubicBezTo>
                  <a:cubicBezTo>
                    <a:pt x="28" y="0"/>
                    <a:pt x="28" y="0"/>
                    <a:pt x="28" y="0"/>
                  </a:cubicBezTo>
                  <a:cubicBezTo>
                    <a:pt x="22" y="2"/>
                    <a:pt x="22" y="2"/>
                    <a:pt x="22" y="2"/>
                  </a:cubicBezTo>
                  <a:cubicBezTo>
                    <a:pt x="22" y="11"/>
                    <a:pt x="22" y="11"/>
                    <a:pt x="22" y="11"/>
                  </a:cubicBezTo>
                  <a:cubicBezTo>
                    <a:pt x="19" y="13"/>
                    <a:pt x="16" y="15"/>
                    <a:pt x="14" y="18"/>
                  </a:cubicBezTo>
                  <a:cubicBezTo>
                    <a:pt x="5" y="16"/>
                    <a:pt x="5" y="16"/>
                    <a:pt x="5" y="16"/>
                  </a:cubicBezTo>
                  <a:cubicBezTo>
                    <a:pt x="2" y="22"/>
                    <a:pt x="2" y="22"/>
                    <a:pt x="2" y="22"/>
                  </a:cubicBezTo>
                  <a:cubicBezTo>
                    <a:pt x="9" y="28"/>
                    <a:pt x="9" y="28"/>
                    <a:pt x="9" y="28"/>
                  </a:cubicBezTo>
                  <a:cubicBezTo>
                    <a:pt x="8" y="31"/>
                    <a:pt x="7" y="35"/>
                    <a:pt x="7" y="38"/>
                  </a:cubicBezTo>
                  <a:cubicBezTo>
                    <a:pt x="0" y="43"/>
                    <a:pt x="0" y="43"/>
                    <a:pt x="0" y="43"/>
                  </a:cubicBezTo>
                  <a:cubicBezTo>
                    <a:pt x="2" y="50"/>
                    <a:pt x="2" y="50"/>
                    <a:pt x="2" y="50"/>
                  </a:cubicBezTo>
                  <a:cubicBezTo>
                    <a:pt x="11" y="49"/>
                    <a:pt x="11" y="49"/>
                    <a:pt x="11" y="49"/>
                  </a:cubicBezTo>
                  <a:cubicBezTo>
                    <a:pt x="13" y="52"/>
                    <a:pt x="15" y="55"/>
                    <a:pt x="17" y="57"/>
                  </a:cubicBezTo>
                  <a:cubicBezTo>
                    <a:pt x="15" y="66"/>
                    <a:pt x="15" y="66"/>
                    <a:pt x="15" y="66"/>
                  </a:cubicBezTo>
                  <a:cubicBezTo>
                    <a:pt x="21" y="69"/>
                    <a:pt x="21" y="69"/>
                    <a:pt x="21" y="69"/>
                  </a:cubicBezTo>
                  <a:cubicBezTo>
                    <a:pt x="28" y="63"/>
                    <a:pt x="28" y="63"/>
                    <a:pt x="28" y="63"/>
                  </a:cubicBezTo>
                  <a:cubicBezTo>
                    <a:pt x="31" y="64"/>
                    <a:pt x="35" y="64"/>
                    <a:pt x="38" y="64"/>
                  </a:cubicBezTo>
                  <a:cubicBezTo>
                    <a:pt x="43" y="72"/>
                    <a:pt x="43" y="72"/>
                    <a:pt x="43" y="72"/>
                  </a:cubicBezTo>
                  <a:cubicBezTo>
                    <a:pt x="49" y="70"/>
                    <a:pt x="49" y="70"/>
                    <a:pt x="49" y="70"/>
                  </a:cubicBezTo>
                  <a:cubicBezTo>
                    <a:pt x="49" y="61"/>
                    <a:pt x="49" y="61"/>
                    <a:pt x="49" y="61"/>
                  </a:cubicBezTo>
                  <a:cubicBezTo>
                    <a:pt x="52" y="59"/>
                    <a:pt x="55" y="57"/>
                    <a:pt x="57" y="54"/>
                  </a:cubicBezTo>
                  <a:cubicBezTo>
                    <a:pt x="66" y="56"/>
                    <a:pt x="66" y="56"/>
                    <a:pt x="66" y="56"/>
                  </a:cubicBezTo>
                  <a:cubicBezTo>
                    <a:pt x="69" y="50"/>
                    <a:pt x="69" y="50"/>
                    <a:pt x="69" y="50"/>
                  </a:cubicBezTo>
                  <a:cubicBezTo>
                    <a:pt x="63" y="44"/>
                    <a:pt x="63" y="44"/>
                    <a:pt x="63" y="44"/>
                  </a:cubicBezTo>
                  <a:cubicBezTo>
                    <a:pt x="64" y="40"/>
                    <a:pt x="64" y="37"/>
                    <a:pt x="64" y="34"/>
                  </a:cubicBezTo>
                  <a:close/>
                  <a:moveTo>
                    <a:pt x="47" y="35"/>
                  </a:moveTo>
                  <a:cubicBezTo>
                    <a:pt x="48" y="42"/>
                    <a:pt x="43" y="47"/>
                    <a:pt x="36" y="48"/>
                  </a:cubicBezTo>
                  <a:cubicBezTo>
                    <a:pt x="30" y="48"/>
                    <a:pt x="24" y="43"/>
                    <a:pt x="24" y="36"/>
                  </a:cubicBezTo>
                  <a:cubicBezTo>
                    <a:pt x="24" y="30"/>
                    <a:pt x="29" y="24"/>
                    <a:pt x="35" y="24"/>
                  </a:cubicBezTo>
                  <a:cubicBezTo>
                    <a:pt x="42" y="24"/>
                    <a:pt x="47" y="29"/>
                    <a:pt x="47" y="35"/>
                  </a:cubicBezTo>
                  <a:close/>
                </a:path>
              </a:pathLst>
            </a:custGeom>
            <a:grp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13" name="Straight Connector 12">
            <a:extLst>
              <a:ext uri="{FF2B5EF4-FFF2-40B4-BE49-F238E27FC236}">
                <a16:creationId xmlns:a16="http://schemas.microsoft.com/office/drawing/2014/main" id="{98F0E4B5-3254-4219-ACEF-7AD253143E13}"/>
              </a:ext>
            </a:extLst>
          </p:cNvPr>
          <p:cNvCxnSpPr/>
          <p:nvPr/>
        </p:nvCxnSpPr>
        <p:spPr>
          <a:xfrm>
            <a:off x="8734969" y="2958018"/>
            <a:ext cx="0" cy="880289"/>
          </a:xfrm>
          <a:prstGeom prst="line">
            <a:avLst/>
          </a:prstGeom>
          <a:ln w="19050">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56A32EE-5DD1-41F4-9B08-B151313624C3}"/>
              </a:ext>
            </a:extLst>
          </p:cNvPr>
          <p:cNvCxnSpPr/>
          <p:nvPr/>
        </p:nvCxnSpPr>
        <p:spPr>
          <a:xfrm>
            <a:off x="8734969" y="4499099"/>
            <a:ext cx="0" cy="72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C1455B0-4FB1-4AF8-AE5F-5BC44D6C5B55}"/>
              </a:ext>
            </a:extLst>
          </p:cNvPr>
          <p:cNvCxnSpPr>
            <a:cxnSpLocks/>
          </p:cNvCxnSpPr>
          <p:nvPr/>
        </p:nvCxnSpPr>
        <p:spPr>
          <a:xfrm>
            <a:off x="3471247" y="1717291"/>
            <a:ext cx="0" cy="1221379"/>
          </a:xfrm>
          <a:prstGeom prst="line">
            <a:avLst/>
          </a:prstGeom>
          <a:ln w="19050">
            <a:solidFill>
              <a:srgbClr val="97999B"/>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0274F97-D10D-4AEF-BE37-5B44D399A9C2}"/>
              </a:ext>
            </a:extLst>
          </p:cNvPr>
          <p:cNvCxnSpPr>
            <a:cxnSpLocks/>
          </p:cNvCxnSpPr>
          <p:nvPr/>
        </p:nvCxnSpPr>
        <p:spPr>
          <a:xfrm>
            <a:off x="3471247" y="3558481"/>
            <a:ext cx="0" cy="1164909"/>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AF1ACE5F-2096-4776-A354-5E4EB2064D1F}"/>
              </a:ext>
            </a:extLst>
          </p:cNvPr>
          <p:cNvCxnSpPr>
            <a:cxnSpLocks/>
          </p:cNvCxnSpPr>
          <p:nvPr/>
        </p:nvCxnSpPr>
        <p:spPr>
          <a:xfrm rot="10800000">
            <a:off x="3471250" y="2227711"/>
            <a:ext cx="1246045" cy="216759"/>
          </a:xfrm>
          <a:prstGeom prst="bentConnector3">
            <a:avLst>
              <a:gd name="adj1" fmla="val -190"/>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5FEEBB4-A80B-4CF2-B64F-F11CF7581EFA}"/>
              </a:ext>
            </a:extLst>
          </p:cNvPr>
          <p:cNvCxnSpPr/>
          <p:nvPr/>
        </p:nvCxnSpPr>
        <p:spPr>
          <a:xfrm flipH="1">
            <a:off x="3471247" y="4026067"/>
            <a:ext cx="308617" cy="0"/>
          </a:xfrm>
          <a:prstGeom prst="line">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F57E430-A121-4F15-BBB4-CE1702F240CD}"/>
              </a:ext>
            </a:extLst>
          </p:cNvPr>
          <p:cNvCxnSpPr>
            <a:cxnSpLocks/>
          </p:cNvCxnSpPr>
          <p:nvPr/>
        </p:nvCxnSpPr>
        <p:spPr>
          <a:xfrm flipH="1">
            <a:off x="8309356" y="4841763"/>
            <a:ext cx="425613" cy="0"/>
          </a:xfrm>
          <a:prstGeom prst="line">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8917C75-FEC1-4361-A944-4C9B6A375F39}"/>
              </a:ext>
            </a:extLst>
          </p:cNvPr>
          <p:cNvCxnSpPr>
            <a:cxnSpLocks/>
          </p:cNvCxnSpPr>
          <p:nvPr/>
        </p:nvCxnSpPr>
        <p:spPr>
          <a:xfrm flipH="1">
            <a:off x="8091897" y="3136146"/>
            <a:ext cx="620657" cy="0"/>
          </a:xfrm>
          <a:prstGeom prst="line">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54">
            <a:extLst>
              <a:ext uri="{FF2B5EF4-FFF2-40B4-BE49-F238E27FC236}">
                <a16:creationId xmlns:a16="http://schemas.microsoft.com/office/drawing/2014/main" id="{13FAC23D-DD4E-4639-8B36-7F99BE468CBA}"/>
              </a:ext>
            </a:extLst>
          </p:cNvPr>
          <p:cNvCxnSpPr>
            <a:cxnSpLocks/>
          </p:cNvCxnSpPr>
          <p:nvPr/>
        </p:nvCxnSpPr>
        <p:spPr>
          <a:xfrm rot="10800000" flipV="1">
            <a:off x="6997047" y="1886585"/>
            <a:ext cx="1737923" cy="256238"/>
          </a:xfrm>
          <a:prstGeom prst="bentConnector3">
            <a:avLst>
              <a:gd name="adj1" fmla="val 99616"/>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grpSp>
        <p:nvGrpSpPr>
          <p:cNvPr id="97" name="Group 277">
            <a:extLst>
              <a:ext uri="{FF2B5EF4-FFF2-40B4-BE49-F238E27FC236}">
                <a16:creationId xmlns:a16="http://schemas.microsoft.com/office/drawing/2014/main" id="{94D4FC99-8B61-4C3C-9EEF-EDD4933780D5}"/>
              </a:ext>
            </a:extLst>
          </p:cNvPr>
          <p:cNvGrpSpPr>
            <a:grpSpLocks noChangeAspect="1"/>
          </p:cNvGrpSpPr>
          <p:nvPr/>
        </p:nvGrpSpPr>
        <p:grpSpPr bwMode="auto">
          <a:xfrm>
            <a:off x="4010082" y="3746444"/>
            <a:ext cx="550253" cy="548640"/>
            <a:chOff x="2910" y="2160"/>
            <a:chExt cx="341" cy="340"/>
          </a:xfrm>
          <a:solidFill>
            <a:srgbClr val="FFFFFF"/>
          </a:solidFill>
        </p:grpSpPr>
        <p:sp>
          <p:nvSpPr>
            <p:cNvPr id="98" name="Freeform 278">
              <a:extLst>
                <a:ext uri="{FF2B5EF4-FFF2-40B4-BE49-F238E27FC236}">
                  <a16:creationId xmlns:a16="http://schemas.microsoft.com/office/drawing/2014/main" id="{986D5C22-C15B-41B5-8F36-E463FF56338F}"/>
                </a:ext>
              </a:extLst>
            </p:cNvPr>
            <p:cNvSpPr>
              <a:spLocks/>
            </p:cNvSpPr>
            <p:nvPr/>
          </p:nvSpPr>
          <p:spPr bwMode="auto">
            <a:xfrm>
              <a:off x="2981" y="2230"/>
              <a:ext cx="199" cy="199"/>
            </a:xfrm>
            <a:custGeom>
              <a:avLst/>
              <a:gdLst>
                <a:gd name="T0" fmla="*/ 299 w 299"/>
                <a:gd name="T1" fmla="*/ 150 h 299"/>
                <a:gd name="T2" fmla="*/ 288 w 299"/>
                <a:gd name="T3" fmla="*/ 160 h 299"/>
                <a:gd name="T4" fmla="*/ 175 w 299"/>
                <a:gd name="T5" fmla="*/ 160 h 299"/>
                <a:gd name="T6" fmla="*/ 253 w 299"/>
                <a:gd name="T7" fmla="*/ 238 h 299"/>
                <a:gd name="T8" fmla="*/ 253 w 299"/>
                <a:gd name="T9" fmla="*/ 253 h 299"/>
                <a:gd name="T10" fmla="*/ 246 w 299"/>
                <a:gd name="T11" fmla="*/ 256 h 299"/>
                <a:gd name="T12" fmla="*/ 238 w 299"/>
                <a:gd name="T13" fmla="*/ 253 h 299"/>
                <a:gd name="T14" fmla="*/ 160 w 299"/>
                <a:gd name="T15" fmla="*/ 175 h 299"/>
                <a:gd name="T16" fmla="*/ 160 w 299"/>
                <a:gd name="T17" fmla="*/ 288 h 299"/>
                <a:gd name="T18" fmla="*/ 150 w 299"/>
                <a:gd name="T19" fmla="*/ 299 h 299"/>
                <a:gd name="T20" fmla="*/ 139 w 299"/>
                <a:gd name="T21" fmla="*/ 288 h 299"/>
                <a:gd name="T22" fmla="*/ 139 w 299"/>
                <a:gd name="T23" fmla="*/ 175 h 299"/>
                <a:gd name="T24" fmla="*/ 61 w 299"/>
                <a:gd name="T25" fmla="*/ 253 h 299"/>
                <a:gd name="T26" fmla="*/ 54 w 299"/>
                <a:gd name="T27" fmla="*/ 256 h 299"/>
                <a:gd name="T28" fmla="*/ 46 w 299"/>
                <a:gd name="T29" fmla="*/ 253 h 299"/>
                <a:gd name="T30" fmla="*/ 46 w 299"/>
                <a:gd name="T31" fmla="*/ 238 h 299"/>
                <a:gd name="T32" fmla="*/ 124 w 299"/>
                <a:gd name="T33" fmla="*/ 160 h 299"/>
                <a:gd name="T34" fmla="*/ 11 w 299"/>
                <a:gd name="T35" fmla="*/ 160 h 299"/>
                <a:gd name="T36" fmla="*/ 0 w 299"/>
                <a:gd name="T37" fmla="*/ 150 h 299"/>
                <a:gd name="T38" fmla="*/ 11 w 299"/>
                <a:gd name="T39" fmla="*/ 139 h 299"/>
                <a:gd name="T40" fmla="*/ 124 w 299"/>
                <a:gd name="T41" fmla="*/ 139 h 299"/>
                <a:gd name="T42" fmla="*/ 46 w 299"/>
                <a:gd name="T43" fmla="*/ 61 h 299"/>
                <a:gd name="T44" fmla="*/ 46 w 299"/>
                <a:gd name="T45" fmla="*/ 46 h 299"/>
                <a:gd name="T46" fmla="*/ 61 w 299"/>
                <a:gd name="T47" fmla="*/ 46 h 299"/>
                <a:gd name="T48" fmla="*/ 139 w 299"/>
                <a:gd name="T49" fmla="*/ 124 h 299"/>
                <a:gd name="T50" fmla="*/ 139 w 299"/>
                <a:gd name="T51" fmla="*/ 11 h 299"/>
                <a:gd name="T52" fmla="*/ 150 w 299"/>
                <a:gd name="T53" fmla="*/ 0 h 299"/>
                <a:gd name="T54" fmla="*/ 160 w 299"/>
                <a:gd name="T55" fmla="*/ 11 h 299"/>
                <a:gd name="T56" fmla="*/ 160 w 299"/>
                <a:gd name="T57" fmla="*/ 124 h 299"/>
                <a:gd name="T58" fmla="*/ 238 w 299"/>
                <a:gd name="T59" fmla="*/ 46 h 299"/>
                <a:gd name="T60" fmla="*/ 253 w 299"/>
                <a:gd name="T61" fmla="*/ 46 h 299"/>
                <a:gd name="T62" fmla="*/ 253 w 299"/>
                <a:gd name="T63" fmla="*/ 61 h 299"/>
                <a:gd name="T64" fmla="*/ 175 w 299"/>
                <a:gd name="T65" fmla="*/ 139 h 299"/>
                <a:gd name="T66" fmla="*/ 288 w 299"/>
                <a:gd name="T67" fmla="*/ 139 h 299"/>
                <a:gd name="T68" fmla="*/ 299 w 299"/>
                <a:gd name="T69" fmla="*/ 15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299">
                  <a:moveTo>
                    <a:pt x="299" y="150"/>
                  </a:moveTo>
                  <a:cubicBezTo>
                    <a:pt x="299" y="156"/>
                    <a:pt x="294" y="160"/>
                    <a:pt x="288" y="160"/>
                  </a:cubicBezTo>
                  <a:cubicBezTo>
                    <a:pt x="175" y="160"/>
                    <a:pt x="175" y="160"/>
                    <a:pt x="175" y="160"/>
                  </a:cubicBezTo>
                  <a:cubicBezTo>
                    <a:pt x="253" y="238"/>
                    <a:pt x="253" y="238"/>
                    <a:pt x="253" y="238"/>
                  </a:cubicBezTo>
                  <a:cubicBezTo>
                    <a:pt x="257" y="242"/>
                    <a:pt x="257" y="249"/>
                    <a:pt x="253" y="253"/>
                  </a:cubicBezTo>
                  <a:cubicBezTo>
                    <a:pt x="251" y="255"/>
                    <a:pt x="248" y="256"/>
                    <a:pt x="246" y="256"/>
                  </a:cubicBezTo>
                  <a:cubicBezTo>
                    <a:pt x="243" y="256"/>
                    <a:pt x="240" y="255"/>
                    <a:pt x="238" y="253"/>
                  </a:cubicBezTo>
                  <a:cubicBezTo>
                    <a:pt x="160" y="175"/>
                    <a:pt x="160" y="175"/>
                    <a:pt x="160" y="175"/>
                  </a:cubicBezTo>
                  <a:cubicBezTo>
                    <a:pt x="160" y="288"/>
                    <a:pt x="160" y="288"/>
                    <a:pt x="160" y="288"/>
                  </a:cubicBezTo>
                  <a:cubicBezTo>
                    <a:pt x="160" y="294"/>
                    <a:pt x="156" y="299"/>
                    <a:pt x="150" y="299"/>
                  </a:cubicBezTo>
                  <a:cubicBezTo>
                    <a:pt x="144" y="299"/>
                    <a:pt x="139" y="294"/>
                    <a:pt x="139" y="288"/>
                  </a:cubicBezTo>
                  <a:cubicBezTo>
                    <a:pt x="139" y="175"/>
                    <a:pt x="139" y="175"/>
                    <a:pt x="139" y="175"/>
                  </a:cubicBezTo>
                  <a:cubicBezTo>
                    <a:pt x="61" y="253"/>
                    <a:pt x="61" y="253"/>
                    <a:pt x="61" y="253"/>
                  </a:cubicBezTo>
                  <a:cubicBezTo>
                    <a:pt x="59" y="255"/>
                    <a:pt x="56" y="256"/>
                    <a:pt x="54" y="256"/>
                  </a:cubicBezTo>
                  <a:cubicBezTo>
                    <a:pt x="51" y="256"/>
                    <a:pt x="48" y="255"/>
                    <a:pt x="46" y="253"/>
                  </a:cubicBezTo>
                  <a:cubicBezTo>
                    <a:pt x="42" y="249"/>
                    <a:pt x="42" y="242"/>
                    <a:pt x="46" y="238"/>
                  </a:cubicBezTo>
                  <a:cubicBezTo>
                    <a:pt x="124" y="160"/>
                    <a:pt x="124" y="160"/>
                    <a:pt x="124" y="160"/>
                  </a:cubicBezTo>
                  <a:cubicBezTo>
                    <a:pt x="11" y="160"/>
                    <a:pt x="11" y="160"/>
                    <a:pt x="11" y="160"/>
                  </a:cubicBezTo>
                  <a:cubicBezTo>
                    <a:pt x="5" y="160"/>
                    <a:pt x="0" y="156"/>
                    <a:pt x="0" y="150"/>
                  </a:cubicBezTo>
                  <a:cubicBezTo>
                    <a:pt x="0" y="144"/>
                    <a:pt x="5" y="139"/>
                    <a:pt x="11" y="139"/>
                  </a:cubicBezTo>
                  <a:cubicBezTo>
                    <a:pt x="124" y="139"/>
                    <a:pt x="124" y="139"/>
                    <a:pt x="124" y="139"/>
                  </a:cubicBezTo>
                  <a:cubicBezTo>
                    <a:pt x="46" y="61"/>
                    <a:pt x="46" y="61"/>
                    <a:pt x="46" y="61"/>
                  </a:cubicBezTo>
                  <a:cubicBezTo>
                    <a:pt x="42" y="57"/>
                    <a:pt x="42" y="50"/>
                    <a:pt x="46" y="46"/>
                  </a:cubicBezTo>
                  <a:cubicBezTo>
                    <a:pt x="50" y="42"/>
                    <a:pt x="57" y="42"/>
                    <a:pt x="61" y="46"/>
                  </a:cubicBezTo>
                  <a:cubicBezTo>
                    <a:pt x="139" y="124"/>
                    <a:pt x="139" y="124"/>
                    <a:pt x="139" y="124"/>
                  </a:cubicBezTo>
                  <a:cubicBezTo>
                    <a:pt x="139" y="11"/>
                    <a:pt x="139" y="11"/>
                    <a:pt x="139" y="11"/>
                  </a:cubicBezTo>
                  <a:cubicBezTo>
                    <a:pt x="139" y="5"/>
                    <a:pt x="144" y="0"/>
                    <a:pt x="150" y="0"/>
                  </a:cubicBezTo>
                  <a:cubicBezTo>
                    <a:pt x="156" y="0"/>
                    <a:pt x="160" y="5"/>
                    <a:pt x="160" y="11"/>
                  </a:cubicBezTo>
                  <a:cubicBezTo>
                    <a:pt x="160" y="124"/>
                    <a:pt x="160" y="124"/>
                    <a:pt x="160" y="124"/>
                  </a:cubicBezTo>
                  <a:cubicBezTo>
                    <a:pt x="238" y="46"/>
                    <a:pt x="238" y="46"/>
                    <a:pt x="238" y="46"/>
                  </a:cubicBezTo>
                  <a:cubicBezTo>
                    <a:pt x="242" y="42"/>
                    <a:pt x="249" y="42"/>
                    <a:pt x="253" y="46"/>
                  </a:cubicBezTo>
                  <a:cubicBezTo>
                    <a:pt x="257" y="50"/>
                    <a:pt x="257" y="57"/>
                    <a:pt x="253" y="61"/>
                  </a:cubicBezTo>
                  <a:cubicBezTo>
                    <a:pt x="175" y="139"/>
                    <a:pt x="175" y="139"/>
                    <a:pt x="175" y="139"/>
                  </a:cubicBezTo>
                  <a:cubicBezTo>
                    <a:pt x="288" y="139"/>
                    <a:pt x="288" y="139"/>
                    <a:pt x="288" y="139"/>
                  </a:cubicBezTo>
                  <a:cubicBezTo>
                    <a:pt x="294" y="139"/>
                    <a:pt x="299" y="144"/>
                    <a:pt x="299" y="15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279">
              <a:extLst>
                <a:ext uri="{FF2B5EF4-FFF2-40B4-BE49-F238E27FC236}">
                  <a16:creationId xmlns:a16="http://schemas.microsoft.com/office/drawing/2014/main" id="{E6320FEC-6A06-4F38-A1E4-E14759242792}"/>
                </a:ext>
              </a:extLst>
            </p:cNvPr>
            <p:cNvSpPr>
              <a:spLocks noEditPoints="1"/>
            </p:cNvSpPr>
            <p:nvPr/>
          </p:nvSpPr>
          <p:spPr bwMode="auto">
            <a:xfrm>
              <a:off x="2910" y="216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0" name="Group 947">
            <a:extLst>
              <a:ext uri="{FF2B5EF4-FFF2-40B4-BE49-F238E27FC236}">
                <a16:creationId xmlns:a16="http://schemas.microsoft.com/office/drawing/2014/main" id="{243BB168-FC0A-48DA-A4BB-FB1CCFF3CB34}"/>
              </a:ext>
            </a:extLst>
          </p:cNvPr>
          <p:cNvGrpSpPr>
            <a:grpSpLocks noChangeAspect="1"/>
          </p:cNvGrpSpPr>
          <p:nvPr/>
        </p:nvGrpSpPr>
        <p:grpSpPr bwMode="auto">
          <a:xfrm>
            <a:off x="4726163" y="2573726"/>
            <a:ext cx="548640" cy="548640"/>
            <a:chOff x="1851" y="3960"/>
            <a:chExt cx="340" cy="340"/>
          </a:xfrm>
          <a:solidFill>
            <a:srgbClr val="FFFFFF"/>
          </a:solidFill>
        </p:grpSpPr>
        <p:sp>
          <p:nvSpPr>
            <p:cNvPr id="101" name="Freeform 948">
              <a:extLst>
                <a:ext uri="{FF2B5EF4-FFF2-40B4-BE49-F238E27FC236}">
                  <a16:creationId xmlns:a16="http://schemas.microsoft.com/office/drawing/2014/main" id="{81D680A3-CAD8-49C4-9D80-9AA23019D9FA}"/>
                </a:ext>
              </a:extLst>
            </p:cNvPr>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949">
              <a:extLst>
                <a:ext uri="{FF2B5EF4-FFF2-40B4-BE49-F238E27FC236}">
                  <a16:creationId xmlns:a16="http://schemas.microsoft.com/office/drawing/2014/main" id="{CFA7F1E3-DDC7-4E8D-AAAE-0EF895B2567F}"/>
                </a:ext>
              </a:extLst>
            </p:cNvPr>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3" name="Group 271">
            <a:extLst>
              <a:ext uri="{FF2B5EF4-FFF2-40B4-BE49-F238E27FC236}">
                <a16:creationId xmlns:a16="http://schemas.microsoft.com/office/drawing/2014/main" id="{02C84DAD-CCF9-4F08-8CE2-4FD8B68FA079}"/>
              </a:ext>
            </a:extLst>
          </p:cNvPr>
          <p:cNvGrpSpPr>
            <a:grpSpLocks noChangeAspect="1"/>
          </p:cNvGrpSpPr>
          <p:nvPr/>
        </p:nvGrpSpPr>
        <p:grpSpPr bwMode="auto">
          <a:xfrm>
            <a:off x="5985741" y="2389868"/>
            <a:ext cx="548640" cy="548640"/>
            <a:chOff x="6585" y="783"/>
            <a:chExt cx="340" cy="340"/>
          </a:xfrm>
          <a:solidFill>
            <a:srgbClr val="FFFFFF"/>
          </a:solidFill>
        </p:grpSpPr>
        <p:sp>
          <p:nvSpPr>
            <p:cNvPr id="104" name="Freeform 272">
              <a:extLst>
                <a:ext uri="{FF2B5EF4-FFF2-40B4-BE49-F238E27FC236}">
                  <a16:creationId xmlns:a16="http://schemas.microsoft.com/office/drawing/2014/main" id="{6F450BD0-BBAD-418C-9C48-8AFD06E706B0}"/>
                </a:ext>
              </a:extLst>
            </p:cNvPr>
            <p:cNvSpPr>
              <a:spLocks noEditPoints="1"/>
            </p:cNvSpPr>
            <p:nvPr/>
          </p:nvSpPr>
          <p:spPr bwMode="auto">
            <a:xfrm>
              <a:off x="6648" y="874"/>
              <a:ext cx="213" cy="157"/>
            </a:xfrm>
            <a:custGeom>
              <a:avLst/>
              <a:gdLst>
                <a:gd name="T0" fmla="*/ 1 w 321"/>
                <a:gd name="T1" fmla="*/ 51 h 236"/>
                <a:gd name="T2" fmla="*/ 4 w 321"/>
                <a:gd name="T3" fmla="*/ 47 h 236"/>
                <a:gd name="T4" fmla="*/ 46 w 321"/>
                <a:gd name="T5" fmla="*/ 4 h 236"/>
                <a:gd name="T6" fmla="*/ 62 w 321"/>
                <a:gd name="T7" fmla="*/ 4 h 236"/>
                <a:gd name="T8" fmla="*/ 62 w 321"/>
                <a:gd name="T9" fmla="*/ 20 h 236"/>
                <a:gd name="T10" fmla="*/ 37 w 321"/>
                <a:gd name="T11" fmla="*/ 44 h 236"/>
                <a:gd name="T12" fmla="*/ 310 w 321"/>
                <a:gd name="T13" fmla="*/ 44 h 236"/>
                <a:gd name="T14" fmla="*/ 321 w 321"/>
                <a:gd name="T15" fmla="*/ 55 h 236"/>
                <a:gd name="T16" fmla="*/ 310 w 321"/>
                <a:gd name="T17" fmla="*/ 65 h 236"/>
                <a:gd name="T18" fmla="*/ 37 w 321"/>
                <a:gd name="T19" fmla="*/ 65 h 236"/>
                <a:gd name="T20" fmla="*/ 62 w 321"/>
                <a:gd name="T21" fmla="*/ 90 h 236"/>
                <a:gd name="T22" fmla="*/ 62 w 321"/>
                <a:gd name="T23" fmla="*/ 105 h 236"/>
                <a:gd name="T24" fmla="*/ 54 w 321"/>
                <a:gd name="T25" fmla="*/ 108 h 236"/>
                <a:gd name="T26" fmla="*/ 46 w 321"/>
                <a:gd name="T27" fmla="*/ 105 h 236"/>
                <a:gd name="T28" fmla="*/ 4 w 321"/>
                <a:gd name="T29" fmla="*/ 62 h 236"/>
                <a:gd name="T30" fmla="*/ 1 w 321"/>
                <a:gd name="T31" fmla="*/ 59 h 236"/>
                <a:gd name="T32" fmla="*/ 1 w 321"/>
                <a:gd name="T33" fmla="*/ 51 h 236"/>
                <a:gd name="T34" fmla="*/ 320 w 321"/>
                <a:gd name="T35" fmla="*/ 179 h 236"/>
                <a:gd name="T36" fmla="*/ 318 w 321"/>
                <a:gd name="T37" fmla="*/ 175 h 236"/>
                <a:gd name="T38" fmla="*/ 275 w 321"/>
                <a:gd name="T39" fmla="*/ 132 h 236"/>
                <a:gd name="T40" fmla="*/ 260 w 321"/>
                <a:gd name="T41" fmla="*/ 132 h 236"/>
                <a:gd name="T42" fmla="*/ 260 w 321"/>
                <a:gd name="T43" fmla="*/ 148 h 236"/>
                <a:gd name="T44" fmla="*/ 284 w 321"/>
                <a:gd name="T45" fmla="*/ 172 h 236"/>
                <a:gd name="T46" fmla="*/ 11 w 321"/>
                <a:gd name="T47" fmla="*/ 172 h 236"/>
                <a:gd name="T48" fmla="*/ 1 w 321"/>
                <a:gd name="T49" fmla="*/ 183 h 236"/>
                <a:gd name="T50" fmla="*/ 11 w 321"/>
                <a:gd name="T51" fmla="*/ 193 h 236"/>
                <a:gd name="T52" fmla="*/ 284 w 321"/>
                <a:gd name="T53" fmla="*/ 193 h 236"/>
                <a:gd name="T54" fmla="*/ 260 w 321"/>
                <a:gd name="T55" fmla="*/ 218 h 236"/>
                <a:gd name="T56" fmla="*/ 260 w 321"/>
                <a:gd name="T57" fmla="*/ 233 h 236"/>
                <a:gd name="T58" fmla="*/ 267 w 321"/>
                <a:gd name="T59" fmla="*/ 236 h 236"/>
                <a:gd name="T60" fmla="*/ 275 w 321"/>
                <a:gd name="T61" fmla="*/ 233 h 236"/>
                <a:gd name="T62" fmla="*/ 318 w 321"/>
                <a:gd name="T63" fmla="*/ 190 h 236"/>
                <a:gd name="T64" fmla="*/ 320 w 321"/>
                <a:gd name="T65" fmla="*/ 187 h 236"/>
                <a:gd name="T66" fmla="*/ 320 w 321"/>
                <a:gd name="T67" fmla="*/ 17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1"/>
                  </a:moveTo>
                  <a:cubicBezTo>
                    <a:pt x="2" y="49"/>
                    <a:pt x="3" y="48"/>
                    <a:pt x="4" y="47"/>
                  </a:cubicBezTo>
                  <a:cubicBezTo>
                    <a:pt x="46" y="4"/>
                    <a:pt x="46" y="4"/>
                    <a:pt x="46" y="4"/>
                  </a:cubicBezTo>
                  <a:cubicBezTo>
                    <a:pt x="51" y="0"/>
                    <a:pt x="57" y="0"/>
                    <a:pt x="62" y="4"/>
                  </a:cubicBezTo>
                  <a:cubicBezTo>
                    <a:pt x="66" y="9"/>
                    <a:pt x="66" y="15"/>
                    <a:pt x="62" y="20"/>
                  </a:cubicBezTo>
                  <a:cubicBezTo>
                    <a:pt x="37" y="44"/>
                    <a:pt x="37" y="44"/>
                    <a:pt x="37" y="44"/>
                  </a:cubicBezTo>
                  <a:cubicBezTo>
                    <a:pt x="310" y="44"/>
                    <a:pt x="310" y="44"/>
                    <a:pt x="310" y="44"/>
                  </a:cubicBezTo>
                  <a:cubicBezTo>
                    <a:pt x="316" y="44"/>
                    <a:pt x="321" y="49"/>
                    <a:pt x="321" y="55"/>
                  </a:cubicBezTo>
                  <a:cubicBezTo>
                    <a:pt x="321" y="61"/>
                    <a:pt x="316" y="65"/>
                    <a:pt x="310" y="65"/>
                  </a:cubicBezTo>
                  <a:cubicBezTo>
                    <a:pt x="37" y="65"/>
                    <a:pt x="37" y="65"/>
                    <a:pt x="37" y="65"/>
                  </a:cubicBezTo>
                  <a:cubicBezTo>
                    <a:pt x="62" y="90"/>
                    <a:pt x="62" y="90"/>
                    <a:pt x="62" y="90"/>
                  </a:cubicBezTo>
                  <a:cubicBezTo>
                    <a:pt x="66" y="94"/>
                    <a:pt x="66" y="101"/>
                    <a:pt x="62" y="105"/>
                  </a:cubicBezTo>
                  <a:cubicBezTo>
                    <a:pt x="59" y="107"/>
                    <a:pt x="57" y="108"/>
                    <a:pt x="54" y="108"/>
                  </a:cubicBezTo>
                  <a:cubicBezTo>
                    <a:pt x="51" y="108"/>
                    <a:pt x="49" y="107"/>
                    <a:pt x="46" y="105"/>
                  </a:cubicBezTo>
                  <a:cubicBezTo>
                    <a:pt x="4" y="62"/>
                    <a:pt x="4" y="62"/>
                    <a:pt x="4" y="62"/>
                  </a:cubicBezTo>
                  <a:cubicBezTo>
                    <a:pt x="3" y="61"/>
                    <a:pt x="2" y="60"/>
                    <a:pt x="1" y="59"/>
                  </a:cubicBezTo>
                  <a:cubicBezTo>
                    <a:pt x="0" y="56"/>
                    <a:pt x="0" y="53"/>
                    <a:pt x="1" y="51"/>
                  </a:cubicBezTo>
                  <a:close/>
                  <a:moveTo>
                    <a:pt x="320" y="179"/>
                  </a:moveTo>
                  <a:cubicBezTo>
                    <a:pt x="319" y="177"/>
                    <a:pt x="319" y="176"/>
                    <a:pt x="318" y="175"/>
                  </a:cubicBezTo>
                  <a:cubicBezTo>
                    <a:pt x="275" y="132"/>
                    <a:pt x="275" y="132"/>
                    <a:pt x="275" y="132"/>
                  </a:cubicBezTo>
                  <a:cubicBezTo>
                    <a:pt x="271" y="128"/>
                    <a:pt x="264" y="128"/>
                    <a:pt x="260" y="132"/>
                  </a:cubicBezTo>
                  <a:cubicBezTo>
                    <a:pt x="256" y="137"/>
                    <a:pt x="256" y="143"/>
                    <a:pt x="260" y="148"/>
                  </a:cubicBezTo>
                  <a:cubicBezTo>
                    <a:pt x="284" y="172"/>
                    <a:pt x="284" y="172"/>
                    <a:pt x="284" y="172"/>
                  </a:cubicBezTo>
                  <a:cubicBezTo>
                    <a:pt x="11" y="172"/>
                    <a:pt x="11" y="172"/>
                    <a:pt x="11" y="172"/>
                  </a:cubicBezTo>
                  <a:cubicBezTo>
                    <a:pt x="5" y="172"/>
                    <a:pt x="1" y="177"/>
                    <a:pt x="1" y="183"/>
                  </a:cubicBezTo>
                  <a:cubicBezTo>
                    <a:pt x="1" y="189"/>
                    <a:pt x="5" y="193"/>
                    <a:pt x="11" y="193"/>
                  </a:cubicBezTo>
                  <a:cubicBezTo>
                    <a:pt x="284" y="193"/>
                    <a:pt x="284" y="193"/>
                    <a:pt x="284" y="193"/>
                  </a:cubicBezTo>
                  <a:cubicBezTo>
                    <a:pt x="260" y="218"/>
                    <a:pt x="260" y="218"/>
                    <a:pt x="260" y="218"/>
                  </a:cubicBezTo>
                  <a:cubicBezTo>
                    <a:pt x="256" y="222"/>
                    <a:pt x="256" y="229"/>
                    <a:pt x="260" y="233"/>
                  </a:cubicBezTo>
                  <a:cubicBezTo>
                    <a:pt x="262" y="235"/>
                    <a:pt x="265" y="236"/>
                    <a:pt x="267" y="236"/>
                  </a:cubicBezTo>
                  <a:cubicBezTo>
                    <a:pt x="270" y="236"/>
                    <a:pt x="273" y="235"/>
                    <a:pt x="275" y="233"/>
                  </a:cubicBezTo>
                  <a:cubicBezTo>
                    <a:pt x="318" y="190"/>
                    <a:pt x="318" y="190"/>
                    <a:pt x="318" y="190"/>
                  </a:cubicBezTo>
                  <a:cubicBezTo>
                    <a:pt x="319" y="189"/>
                    <a:pt x="319" y="188"/>
                    <a:pt x="320" y="187"/>
                  </a:cubicBezTo>
                  <a:cubicBezTo>
                    <a:pt x="321" y="184"/>
                    <a:pt x="321" y="181"/>
                    <a:pt x="320" y="17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5" name="Freeform 273">
              <a:extLst>
                <a:ext uri="{FF2B5EF4-FFF2-40B4-BE49-F238E27FC236}">
                  <a16:creationId xmlns:a16="http://schemas.microsoft.com/office/drawing/2014/main" id="{AE5474A6-6ECD-448A-B2DE-840AB0BC265B}"/>
                </a:ext>
              </a:extLst>
            </p:cNvPr>
            <p:cNvSpPr>
              <a:spLocks noEditPoints="1"/>
            </p:cNvSpPr>
            <p:nvPr/>
          </p:nvSpPr>
          <p:spPr bwMode="auto">
            <a:xfrm>
              <a:off x="6585"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6" name="Group 171">
            <a:extLst>
              <a:ext uri="{FF2B5EF4-FFF2-40B4-BE49-F238E27FC236}">
                <a16:creationId xmlns:a16="http://schemas.microsoft.com/office/drawing/2014/main" id="{2B1CE1B8-F814-4316-899E-F12FA0FE377A}"/>
              </a:ext>
            </a:extLst>
          </p:cNvPr>
          <p:cNvGrpSpPr>
            <a:grpSpLocks noChangeAspect="1"/>
          </p:cNvGrpSpPr>
          <p:nvPr/>
        </p:nvGrpSpPr>
        <p:grpSpPr bwMode="auto">
          <a:xfrm>
            <a:off x="7258941" y="3167472"/>
            <a:ext cx="548640" cy="548640"/>
            <a:chOff x="4146" y="1371"/>
            <a:chExt cx="340" cy="340"/>
          </a:xfrm>
          <a:solidFill>
            <a:srgbClr val="FFFFFF"/>
          </a:solidFill>
        </p:grpSpPr>
        <p:sp>
          <p:nvSpPr>
            <p:cNvPr id="107" name="Freeform 172">
              <a:extLst>
                <a:ext uri="{FF2B5EF4-FFF2-40B4-BE49-F238E27FC236}">
                  <a16:creationId xmlns:a16="http://schemas.microsoft.com/office/drawing/2014/main" id="{7563A470-5B95-4852-91A4-61E4FB0D4753}"/>
                </a:ext>
              </a:extLst>
            </p:cNvPr>
            <p:cNvSpPr>
              <a:spLocks noEditPoints="1"/>
            </p:cNvSpPr>
            <p:nvPr/>
          </p:nvSpPr>
          <p:spPr bwMode="auto">
            <a:xfrm>
              <a:off x="4146" y="13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8" name="Freeform 173">
              <a:extLst>
                <a:ext uri="{FF2B5EF4-FFF2-40B4-BE49-F238E27FC236}">
                  <a16:creationId xmlns:a16="http://schemas.microsoft.com/office/drawing/2014/main" id="{05E9B35B-9B40-48E8-9EE0-FDF3E526ABFF}"/>
                </a:ext>
              </a:extLst>
            </p:cNvPr>
            <p:cNvSpPr>
              <a:spLocks noEditPoints="1"/>
            </p:cNvSpPr>
            <p:nvPr/>
          </p:nvSpPr>
          <p:spPr bwMode="auto">
            <a:xfrm>
              <a:off x="4210" y="1504"/>
              <a:ext cx="212" cy="72"/>
            </a:xfrm>
            <a:custGeom>
              <a:avLst/>
              <a:gdLst>
                <a:gd name="T0" fmla="*/ 320 w 320"/>
                <a:gd name="T1" fmla="*/ 55 h 108"/>
                <a:gd name="T2" fmla="*/ 309 w 320"/>
                <a:gd name="T3" fmla="*/ 65 h 108"/>
                <a:gd name="T4" fmla="*/ 228 w 320"/>
                <a:gd name="T5" fmla="*/ 65 h 108"/>
                <a:gd name="T6" fmla="*/ 253 w 320"/>
                <a:gd name="T7" fmla="*/ 90 h 108"/>
                <a:gd name="T8" fmla="*/ 253 w 320"/>
                <a:gd name="T9" fmla="*/ 105 h 108"/>
                <a:gd name="T10" fmla="*/ 245 w 320"/>
                <a:gd name="T11" fmla="*/ 108 h 108"/>
                <a:gd name="T12" fmla="*/ 237 w 320"/>
                <a:gd name="T13" fmla="*/ 105 h 108"/>
                <a:gd name="T14" fmla="*/ 195 w 320"/>
                <a:gd name="T15" fmla="*/ 62 h 108"/>
                <a:gd name="T16" fmla="*/ 195 w 320"/>
                <a:gd name="T17" fmla="*/ 47 h 108"/>
                <a:gd name="T18" fmla="*/ 237 w 320"/>
                <a:gd name="T19" fmla="*/ 4 h 108"/>
                <a:gd name="T20" fmla="*/ 253 w 320"/>
                <a:gd name="T21" fmla="*/ 4 h 108"/>
                <a:gd name="T22" fmla="*/ 253 w 320"/>
                <a:gd name="T23" fmla="*/ 20 h 108"/>
                <a:gd name="T24" fmla="*/ 228 w 320"/>
                <a:gd name="T25" fmla="*/ 44 h 108"/>
                <a:gd name="T26" fmla="*/ 309 w 320"/>
                <a:gd name="T27" fmla="*/ 44 h 108"/>
                <a:gd name="T28" fmla="*/ 320 w 320"/>
                <a:gd name="T29" fmla="*/ 55 h 108"/>
                <a:gd name="T30" fmla="*/ 125 w 320"/>
                <a:gd name="T31" fmla="*/ 47 h 108"/>
                <a:gd name="T32" fmla="*/ 82 w 320"/>
                <a:gd name="T33" fmla="*/ 4 h 108"/>
                <a:gd name="T34" fmla="*/ 67 w 320"/>
                <a:gd name="T35" fmla="*/ 4 h 108"/>
                <a:gd name="T36" fmla="*/ 67 w 320"/>
                <a:gd name="T37" fmla="*/ 20 h 108"/>
                <a:gd name="T38" fmla="*/ 91 w 320"/>
                <a:gd name="T39" fmla="*/ 44 h 108"/>
                <a:gd name="T40" fmla="*/ 10 w 320"/>
                <a:gd name="T41" fmla="*/ 44 h 108"/>
                <a:gd name="T42" fmla="*/ 0 w 320"/>
                <a:gd name="T43" fmla="*/ 55 h 108"/>
                <a:gd name="T44" fmla="*/ 10 w 320"/>
                <a:gd name="T45" fmla="*/ 65 h 108"/>
                <a:gd name="T46" fmla="*/ 91 w 320"/>
                <a:gd name="T47" fmla="*/ 65 h 108"/>
                <a:gd name="T48" fmla="*/ 67 w 320"/>
                <a:gd name="T49" fmla="*/ 90 h 108"/>
                <a:gd name="T50" fmla="*/ 67 w 320"/>
                <a:gd name="T51" fmla="*/ 105 h 108"/>
                <a:gd name="T52" fmla="*/ 74 w 320"/>
                <a:gd name="T53" fmla="*/ 108 h 108"/>
                <a:gd name="T54" fmla="*/ 82 w 320"/>
                <a:gd name="T55" fmla="*/ 105 h 108"/>
                <a:gd name="T56" fmla="*/ 125 w 320"/>
                <a:gd name="T57" fmla="*/ 62 h 108"/>
                <a:gd name="T58" fmla="*/ 125 w 320"/>
                <a:gd name="T59" fmla="*/ 4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108">
                  <a:moveTo>
                    <a:pt x="320" y="55"/>
                  </a:moveTo>
                  <a:cubicBezTo>
                    <a:pt x="320" y="61"/>
                    <a:pt x="315" y="65"/>
                    <a:pt x="309" y="65"/>
                  </a:cubicBezTo>
                  <a:cubicBezTo>
                    <a:pt x="228" y="65"/>
                    <a:pt x="228" y="65"/>
                    <a:pt x="228" y="65"/>
                  </a:cubicBezTo>
                  <a:cubicBezTo>
                    <a:pt x="253" y="90"/>
                    <a:pt x="253" y="90"/>
                    <a:pt x="253" y="90"/>
                  </a:cubicBezTo>
                  <a:cubicBezTo>
                    <a:pt x="257" y="94"/>
                    <a:pt x="257" y="101"/>
                    <a:pt x="253" y="105"/>
                  </a:cubicBezTo>
                  <a:cubicBezTo>
                    <a:pt x="250" y="107"/>
                    <a:pt x="248" y="108"/>
                    <a:pt x="245" y="108"/>
                  </a:cubicBezTo>
                  <a:cubicBezTo>
                    <a:pt x="242" y="108"/>
                    <a:pt x="240" y="107"/>
                    <a:pt x="237" y="105"/>
                  </a:cubicBezTo>
                  <a:cubicBezTo>
                    <a:pt x="195" y="62"/>
                    <a:pt x="195" y="62"/>
                    <a:pt x="195" y="62"/>
                  </a:cubicBezTo>
                  <a:cubicBezTo>
                    <a:pt x="191" y="58"/>
                    <a:pt x="191" y="51"/>
                    <a:pt x="195" y="47"/>
                  </a:cubicBezTo>
                  <a:cubicBezTo>
                    <a:pt x="237" y="4"/>
                    <a:pt x="237" y="4"/>
                    <a:pt x="237" y="4"/>
                  </a:cubicBezTo>
                  <a:cubicBezTo>
                    <a:pt x="242" y="0"/>
                    <a:pt x="248" y="0"/>
                    <a:pt x="253" y="4"/>
                  </a:cubicBezTo>
                  <a:cubicBezTo>
                    <a:pt x="257" y="9"/>
                    <a:pt x="257" y="15"/>
                    <a:pt x="253" y="20"/>
                  </a:cubicBezTo>
                  <a:cubicBezTo>
                    <a:pt x="228" y="44"/>
                    <a:pt x="228" y="44"/>
                    <a:pt x="228" y="44"/>
                  </a:cubicBezTo>
                  <a:cubicBezTo>
                    <a:pt x="309" y="44"/>
                    <a:pt x="309" y="44"/>
                    <a:pt x="309" y="44"/>
                  </a:cubicBezTo>
                  <a:cubicBezTo>
                    <a:pt x="315" y="44"/>
                    <a:pt x="320" y="49"/>
                    <a:pt x="320" y="55"/>
                  </a:cubicBezTo>
                  <a:close/>
                  <a:moveTo>
                    <a:pt x="125" y="47"/>
                  </a:moveTo>
                  <a:cubicBezTo>
                    <a:pt x="82" y="4"/>
                    <a:pt x="82" y="4"/>
                    <a:pt x="82" y="4"/>
                  </a:cubicBezTo>
                  <a:cubicBezTo>
                    <a:pt x="78" y="0"/>
                    <a:pt x="71" y="0"/>
                    <a:pt x="67" y="4"/>
                  </a:cubicBezTo>
                  <a:cubicBezTo>
                    <a:pt x="63" y="9"/>
                    <a:pt x="63" y="15"/>
                    <a:pt x="67" y="20"/>
                  </a:cubicBezTo>
                  <a:cubicBezTo>
                    <a:pt x="91" y="44"/>
                    <a:pt x="91" y="44"/>
                    <a:pt x="91" y="44"/>
                  </a:cubicBezTo>
                  <a:cubicBezTo>
                    <a:pt x="10" y="44"/>
                    <a:pt x="10" y="44"/>
                    <a:pt x="10" y="44"/>
                  </a:cubicBezTo>
                  <a:cubicBezTo>
                    <a:pt x="4" y="44"/>
                    <a:pt x="0" y="49"/>
                    <a:pt x="0" y="55"/>
                  </a:cubicBezTo>
                  <a:cubicBezTo>
                    <a:pt x="0" y="61"/>
                    <a:pt x="4" y="65"/>
                    <a:pt x="10" y="65"/>
                  </a:cubicBezTo>
                  <a:cubicBezTo>
                    <a:pt x="91" y="65"/>
                    <a:pt x="91" y="65"/>
                    <a:pt x="91" y="65"/>
                  </a:cubicBezTo>
                  <a:cubicBezTo>
                    <a:pt x="67" y="90"/>
                    <a:pt x="67" y="90"/>
                    <a:pt x="67" y="90"/>
                  </a:cubicBezTo>
                  <a:cubicBezTo>
                    <a:pt x="63" y="94"/>
                    <a:pt x="63" y="101"/>
                    <a:pt x="67" y="105"/>
                  </a:cubicBezTo>
                  <a:cubicBezTo>
                    <a:pt x="69" y="107"/>
                    <a:pt x="72" y="108"/>
                    <a:pt x="74" y="108"/>
                  </a:cubicBezTo>
                  <a:cubicBezTo>
                    <a:pt x="77" y="108"/>
                    <a:pt x="80" y="107"/>
                    <a:pt x="82" y="105"/>
                  </a:cubicBezTo>
                  <a:cubicBezTo>
                    <a:pt x="125" y="62"/>
                    <a:pt x="125" y="62"/>
                    <a:pt x="125" y="62"/>
                  </a:cubicBezTo>
                  <a:cubicBezTo>
                    <a:pt x="129" y="58"/>
                    <a:pt x="129" y="51"/>
                    <a:pt x="125" y="4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2" name="Group 111">
            <a:extLst>
              <a:ext uri="{FF2B5EF4-FFF2-40B4-BE49-F238E27FC236}">
                <a16:creationId xmlns:a16="http://schemas.microsoft.com/office/drawing/2014/main" id="{B629DC0B-05E1-44D4-AA43-D201EEF2B3AF}"/>
              </a:ext>
            </a:extLst>
          </p:cNvPr>
          <p:cNvGrpSpPr/>
          <p:nvPr/>
        </p:nvGrpSpPr>
        <p:grpSpPr>
          <a:xfrm>
            <a:off x="7325360" y="4567443"/>
            <a:ext cx="548640" cy="548640"/>
            <a:chOff x="6839869" y="3362787"/>
            <a:chExt cx="369021" cy="369021"/>
          </a:xfrm>
          <a:solidFill>
            <a:srgbClr val="FFFFFF"/>
          </a:solidFill>
        </p:grpSpPr>
        <p:sp>
          <p:nvSpPr>
            <p:cNvPr id="113" name="Freeform 5">
              <a:extLst>
                <a:ext uri="{FF2B5EF4-FFF2-40B4-BE49-F238E27FC236}">
                  <a16:creationId xmlns:a16="http://schemas.microsoft.com/office/drawing/2014/main" id="{1F25056D-A680-4744-8E1D-D8038A46728F}"/>
                </a:ext>
              </a:extLst>
            </p:cNvPr>
            <p:cNvSpPr>
              <a:spLocks noEditPoints="1"/>
            </p:cNvSpPr>
            <p:nvPr/>
          </p:nvSpPr>
          <p:spPr bwMode="auto">
            <a:xfrm>
              <a:off x="6887280" y="3449517"/>
              <a:ext cx="279905" cy="177785"/>
            </a:xfrm>
            <a:custGeom>
              <a:avLst/>
              <a:gdLst>
                <a:gd name="T0" fmla="*/ 6217 w 6813"/>
                <a:gd name="T1" fmla="*/ 2653 h 4321"/>
                <a:gd name="T2" fmla="*/ 4502 w 6813"/>
                <a:gd name="T3" fmla="*/ 3928 h 4321"/>
                <a:gd name="T4" fmla="*/ 5542 w 6813"/>
                <a:gd name="T5" fmla="*/ 2133 h 4321"/>
                <a:gd name="T6" fmla="*/ 6368 w 6813"/>
                <a:gd name="T7" fmla="*/ 2204 h 4321"/>
                <a:gd name="T8" fmla="*/ 6217 w 6813"/>
                <a:gd name="T9" fmla="*/ 2653 h 4321"/>
                <a:gd name="T10" fmla="*/ 1443 w 6813"/>
                <a:gd name="T11" fmla="*/ 3656 h 4321"/>
                <a:gd name="T12" fmla="*/ 444 w 6813"/>
                <a:gd name="T13" fmla="*/ 2204 h 4321"/>
                <a:gd name="T14" fmla="*/ 1604 w 6813"/>
                <a:gd name="T15" fmla="*/ 3187 h 4321"/>
                <a:gd name="T16" fmla="*/ 1443 w 6813"/>
                <a:gd name="T17" fmla="*/ 3656 h 4321"/>
                <a:gd name="T18" fmla="*/ 1665 w 6813"/>
                <a:gd name="T19" fmla="*/ 1701 h 4321"/>
                <a:gd name="T20" fmla="*/ 1742 w 6813"/>
                <a:gd name="T21" fmla="*/ 1234 h 4321"/>
                <a:gd name="T22" fmla="*/ 3181 w 6813"/>
                <a:gd name="T23" fmla="*/ 2239 h 4321"/>
                <a:gd name="T24" fmla="*/ 2903 w 6813"/>
                <a:gd name="T25" fmla="*/ 3790 h 4321"/>
                <a:gd name="T26" fmla="*/ 1665 w 6813"/>
                <a:gd name="T27" fmla="*/ 1701 h 4321"/>
                <a:gd name="T28" fmla="*/ 3092 w 6813"/>
                <a:gd name="T29" fmla="*/ 885 h 4321"/>
                <a:gd name="T30" fmla="*/ 3395 w 6813"/>
                <a:gd name="T31" fmla="*/ 521 h 4321"/>
                <a:gd name="T32" fmla="*/ 3406 w 6813"/>
                <a:gd name="T33" fmla="*/ 1860 h 4321"/>
                <a:gd name="T34" fmla="*/ 3092 w 6813"/>
                <a:gd name="T35" fmla="*/ 885 h 4321"/>
                <a:gd name="T36" fmla="*/ 5071 w 6813"/>
                <a:gd name="T37" fmla="*/ 1234 h 4321"/>
                <a:gd name="T38" fmla="*/ 5147 w 6813"/>
                <a:gd name="T39" fmla="*/ 1701 h 4321"/>
                <a:gd name="T40" fmla="*/ 3909 w 6813"/>
                <a:gd name="T41" fmla="*/ 3790 h 4321"/>
                <a:gd name="T42" fmla="*/ 3628 w 6813"/>
                <a:gd name="T43" fmla="*/ 2245 h 4321"/>
                <a:gd name="T44" fmla="*/ 5071 w 6813"/>
                <a:gd name="T45" fmla="*/ 1234 h 4321"/>
                <a:gd name="T46" fmla="*/ 6667 w 6813"/>
                <a:gd name="T47" fmla="*/ 1879 h 4321"/>
                <a:gd name="T48" fmla="*/ 5549 w 6813"/>
                <a:gd name="T49" fmla="*/ 1733 h 4321"/>
                <a:gd name="T50" fmla="*/ 5337 w 6813"/>
                <a:gd name="T51" fmla="*/ 787 h 4321"/>
                <a:gd name="T52" fmla="*/ 4293 w 6813"/>
                <a:gd name="T53" fmla="*/ 1106 h 4321"/>
                <a:gd name="T54" fmla="*/ 3391 w 6813"/>
                <a:gd name="T55" fmla="*/ 0 h 4321"/>
                <a:gd name="T56" fmla="*/ 2512 w 6813"/>
                <a:gd name="T57" fmla="*/ 1102 h 4321"/>
                <a:gd name="T58" fmla="*/ 1475 w 6813"/>
                <a:gd name="T59" fmla="*/ 787 h 4321"/>
                <a:gd name="T60" fmla="*/ 1264 w 6813"/>
                <a:gd name="T61" fmla="*/ 1733 h 4321"/>
                <a:gd name="T62" fmla="*/ 0 w 6813"/>
                <a:gd name="T63" fmla="*/ 1934 h 4321"/>
                <a:gd name="T64" fmla="*/ 1237 w 6813"/>
                <a:gd name="T65" fmla="*/ 3995 h 4321"/>
                <a:gd name="T66" fmla="*/ 4593 w 6813"/>
                <a:gd name="T67" fmla="*/ 4319 h 4321"/>
                <a:gd name="T68" fmla="*/ 6794 w 6813"/>
                <a:gd name="T69" fmla="*/ 2088 h 4321"/>
                <a:gd name="T70" fmla="*/ 6667 w 6813"/>
                <a:gd name="T71" fmla="*/ 1879 h 4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13" h="4321">
                  <a:moveTo>
                    <a:pt x="6217" y="2653"/>
                  </a:moveTo>
                  <a:lnTo>
                    <a:pt x="6217" y="2653"/>
                  </a:lnTo>
                  <a:cubicBezTo>
                    <a:pt x="6024" y="3094"/>
                    <a:pt x="5739" y="3431"/>
                    <a:pt x="5369" y="3656"/>
                  </a:cubicBezTo>
                  <a:cubicBezTo>
                    <a:pt x="5105" y="3817"/>
                    <a:pt x="4814" y="3908"/>
                    <a:pt x="4502" y="3928"/>
                  </a:cubicBezTo>
                  <a:cubicBezTo>
                    <a:pt x="4756" y="3760"/>
                    <a:pt x="5008" y="3523"/>
                    <a:pt x="5208" y="3187"/>
                  </a:cubicBezTo>
                  <a:cubicBezTo>
                    <a:pt x="5421" y="2830"/>
                    <a:pt x="5514" y="2464"/>
                    <a:pt x="5542" y="2133"/>
                  </a:cubicBezTo>
                  <a:cubicBezTo>
                    <a:pt x="5658" y="2124"/>
                    <a:pt x="5777" y="2123"/>
                    <a:pt x="5900" y="2131"/>
                  </a:cubicBezTo>
                  <a:cubicBezTo>
                    <a:pt x="6093" y="2144"/>
                    <a:pt x="6257" y="2176"/>
                    <a:pt x="6368" y="2204"/>
                  </a:cubicBezTo>
                  <a:cubicBezTo>
                    <a:pt x="6341" y="2316"/>
                    <a:pt x="6295" y="2476"/>
                    <a:pt x="6217" y="2653"/>
                  </a:cubicBezTo>
                  <a:lnTo>
                    <a:pt x="6217" y="2653"/>
                  </a:lnTo>
                  <a:close/>
                  <a:moveTo>
                    <a:pt x="1443" y="3656"/>
                  </a:moveTo>
                  <a:lnTo>
                    <a:pt x="1443" y="3656"/>
                  </a:lnTo>
                  <a:cubicBezTo>
                    <a:pt x="1073" y="3431"/>
                    <a:pt x="788" y="3094"/>
                    <a:pt x="595" y="2653"/>
                  </a:cubicBezTo>
                  <a:cubicBezTo>
                    <a:pt x="517" y="2476"/>
                    <a:pt x="471" y="2316"/>
                    <a:pt x="444" y="2204"/>
                  </a:cubicBezTo>
                  <a:cubicBezTo>
                    <a:pt x="619" y="2160"/>
                    <a:pt x="921" y="2106"/>
                    <a:pt x="1270" y="2133"/>
                  </a:cubicBezTo>
                  <a:cubicBezTo>
                    <a:pt x="1299" y="2464"/>
                    <a:pt x="1391" y="2831"/>
                    <a:pt x="1604" y="3187"/>
                  </a:cubicBezTo>
                  <a:cubicBezTo>
                    <a:pt x="1804" y="3523"/>
                    <a:pt x="2056" y="3760"/>
                    <a:pt x="2310" y="3928"/>
                  </a:cubicBezTo>
                  <a:cubicBezTo>
                    <a:pt x="1999" y="3908"/>
                    <a:pt x="1708" y="3817"/>
                    <a:pt x="1443" y="3656"/>
                  </a:cubicBezTo>
                  <a:lnTo>
                    <a:pt x="1443" y="3656"/>
                  </a:lnTo>
                  <a:close/>
                  <a:moveTo>
                    <a:pt x="1665" y="1701"/>
                  </a:moveTo>
                  <a:lnTo>
                    <a:pt x="1665" y="1701"/>
                  </a:lnTo>
                  <a:cubicBezTo>
                    <a:pt x="1679" y="1508"/>
                    <a:pt x="1713" y="1345"/>
                    <a:pt x="1742" y="1234"/>
                  </a:cubicBezTo>
                  <a:cubicBezTo>
                    <a:pt x="1853" y="1261"/>
                    <a:pt x="2013" y="1309"/>
                    <a:pt x="2189" y="1388"/>
                  </a:cubicBezTo>
                  <a:cubicBezTo>
                    <a:pt x="2626" y="1584"/>
                    <a:pt x="2960" y="1870"/>
                    <a:pt x="3181" y="2239"/>
                  </a:cubicBezTo>
                  <a:cubicBezTo>
                    <a:pt x="2884" y="2864"/>
                    <a:pt x="2945" y="3466"/>
                    <a:pt x="3036" y="3838"/>
                  </a:cubicBezTo>
                  <a:cubicBezTo>
                    <a:pt x="2994" y="3824"/>
                    <a:pt x="2949" y="3808"/>
                    <a:pt x="2903" y="3790"/>
                  </a:cubicBezTo>
                  <a:cubicBezTo>
                    <a:pt x="2487" y="3623"/>
                    <a:pt x="2165" y="3352"/>
                    <a:pt x="1945" y="2984"/>
                  </a:cubicBezTo>
                  <a:cubicBezTo>
                    <a:pt x="1724" y="2613"/>
                    <a:pt x="1629" y="2181"/>
                    <a:pt x="1665" y="1701"/>
                  </a:cubicBezTo>
                  <a:lnTo>
                    <a:pt x="1665" y="1701"/>
                  </a:lnTo>
                  <a:close/>
                  <a:moveTo>
                    <a:pt x="3092" y="885"/>
                  </a:moveTo>
                  <a:lnTo>
                    <a:pt x="3092" y="885"/>
                  </a:lnTo>
                  <a:cubicBezTo>
                    <a:pt x="3202" y="726"/>
                    <a:pt x="3314" y="602"/>
                    <a:pt x="3395" y="521"/>
                  </a:cubicBezTo>
                  <a:cubicBezTo>
                    <a:pt x="3541" y="664"/>
                    <a:pt x="3786" y="939"/>
                    <a:pt x="3952" y="1318"/>
                  </a:cubicBezTo>
                  <a:cubicBezTo>
                    <a:pt x="3759" y="1458"/>
                    <a:pt x="3569" y="1636"/>
                    <a:pt x="3406" y="1860"/>
                  </a:cubicBezTo>
                  <a:cubicBezTo>
                    <a:pt x="3241" y="1633"/>
                    <a:pt x="3049" y="1454"/>
                    <a:pt x="2854" y="1313"/>
                  </a:cubicBezTo>
                  <a:cubicBezTo>
                    <a:pt x="2916" y="1168"/>
                    <a:pt x="2996" y="1025"/>
                    <a:pt x="3092" y="885"/>
                  </a:cubicBezTo>
                  <a:lnTo>
                    <a:pt x="3092" y="885"/>
                  </a:lnTo>
                  <a:close/>
                  <a:moveTo>
                    <a:pt x="5071" y="1234"/>
                  </a:moveTo>
                  <a:lnTo>
                    <a:pt x="5071" y="1234"/>
                  </a:lnTo>
                  <a:cubicBezTo>
                    <a:pt x="5099" y="1345"/>
                    <a:pt x="5133" y="1508"/>
                    <a:pt x="5147" y="1701"/>
                  </a:cubicBezTo>
                  <a:cubicBezTo>
                    <a:pt x="5183" y="2181"/>
                    <a:pt x="5089" y="2613"/>
                    <a:pt x="4867" y="2984"/>
                  </a:cubicBezTo>
                  <a:cubicBezTo>
                    <a:pt x="4648" y="3352"/>
                    <a:pt x="4325" y="3623"/>
                    <a:pt x="3909" y="3790"/>
                  </a:cubicBezTo>
                  <a:cubicBezTo>
                    <a:pt x="3734" y="3860"/>
                    <a:pt x="3577" y="3896"/>
                    <a:pt x="3472" y="3914"/>
                  </a:cubicBezTo>
                  <a:cubicBezTo>
                    <a:pt x="3377" y="3632"/>
                    <a:pt x="3216" y="2934"/>
                    <a:pt x="3628" y="2245"/>
                  </a:cubicBezTo>
                  <a:cubicBezTo>
                    <a:pt x="3849" y="1873"/>
                    <a:pt x="4184" y="1585"/>
                    <a:pt x="4623" y="1388"/>
                  </a:cubicBezTo>
                  <a:cubicBezTo>
                    <a:pt x="4800" y="1309"/>
                    <a:pt x="4959" y="1261"/>
                    <a:pt x="5071" y="1234"/>
                  </a:cubicBezTo>
                  <a:lnTo>
                    <a:pt x="5071" y="1234"/>
                  </a:lnTo>
                  <a:close/>
                  <a:moveTo>
                    <a:pt x="6667" y="1879"/>
                  </a:moveTo>
                  <a:lnTo>
                    <a:pt x="6667" y="1879"/>
                  </a:lnTo>
                  <a:cubicBezTo>
                    <a:pt x="6636" y="1867"/>
                    <a:pt x="6161" y="1694"/>
                    <a:pt x="5549" y="1733"/>
                  </a:cubicBezTo>
                  <a:cubicBezTo>
                    <a:pt x="5524" y="1280"/>
                    <a:pt x="5403" y="957"/>
                    <a:pt x="5393" y="932"/>
                  </a:cubicBezTo>
                  <a:lnTo>
                    <a:pt x="5337" y="787"/>
                  </a:lnTo>
                  <a:lnTo>
                    <a:pt x="5183" y="806"/>
                  </a:lnTo>
                  <a:cubicBezTo>
                    <a:pt x="5154" y="810"/>
                    <a:pt x="4751" y="866"/>
                    <a:pt x="4293" y="1106"/>
                  </a:cubicBezTo>
                  <a:cubicBezTo>
                    <a:pt x="4004" y="481"/>
                    <a:pt x="3542" y="117"/>
                    <a:pt x="3514" y="96"/>
                  </a:cubicBezTo>
                  <a:lnTo>
                    <a:pt x="3391" y="0"/>
                  </a:lnTo>
                  <a:lnTo>
                    <a:pt x="3269" y="97"/>
                  </a:lnTo>
                  <a:cubicBezTo>
                    <a:pt x="3242" y="119"/>
                    <a:pt x="2793" y="483"/>
                    <a:pt x="2512" y="1102"/>
                  </a:cubicBezTo>
                  <a:cubicBezTo>
                    <a:pt x="2057" y="865"/>
                    <a:pt x="1659" y="810"/>
                    <a:pt x="1630" y="806"/>
                  </a:cubicBezTo>
                  <a:lnTo>
                    <a:pt x="1475" y="787"/>
                  </a:lnTo>
                  <a:lnTo>
                    <a:pt x="1419" y="932"/>
                  </a:lnTo>
                  <a:cubicBezTo>
                    <a:pt x="1409" y="957"/>
                    <a:pt x="1288" y="1280"/>
                    <a:pt x="1264" y="1733"/>
                  </a:cubicBezTo>
                  <a:cubicBezTo>
                    <a:pt x="651" y="1694"/>
                    <a:pt x="176" y="1867"/>
                    <a:pt x="145" y="1879"/>
                  </a:cubicBezTo>
                  <a:lnTo>
                    <a:pt x="0" y="1934"/>
                  </a:lnTo>
                  <a:lnTo>
                    <a:pt x="18" y="2088"/>
                  </a:lnTo>
                  <a:cubicBezTo>
                    <a:pt x="24" y="2140"/>
                    <a:pt x="181" y="3353"/>
                    <a:pt x="1237" y="3995"/>
                  </a:cubicBezTo>
                  <a:cubicBezTo>
                    <a:pt x="1543" y="4181"/>
                    <a:pt x="1878" y="4290"/>
                    <a:pt x="2234" y="4321"/>
                  </a:cubicBezTo>
                  <a:lnTo>
                    <a:pt x="4593" y="4319"/>
                  </a:lnTo>
                  <a:cubicBezTo>
                    <a:pt x="4944" y="4287"/>
                    <a:pt x="5274" y="4179"/>
                    <a:pt x="5576" y="3995"/>
                  </a:cubicBezTo>
                  <a:cubicBezTo>
                    <a:pt x="6632" y="3353"/>
                    <a:pt x="6788" y="2140"/>
                    <a:pt x="6794" y="2088"/>
                  </a:cubicBezTo>
                  <a:lnTo>
                    <a:pt x="6813" y="1934"/>
                  </a:lnTo>
                  <a:lnTo>
                    <a:pt x="6667" y="18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518">
              <a:extLst>
                <a:ext uri="{FF2B5EF4-FFF2-40B4-BE49-F238E27FC236}">
                  <a16:creationId xmlns:a16="http://schemas.microsoft.com/office/drawing/2014/main" id="{FC9DE68D-4AEE-48F7-8149-62426B9605C7}"/>
                </a:ext>
              </a:extLst>
            </p:cNvPr>
            <p:cNvSpPr>
              <a:spLocks noEditPoints="1"/>
            </p:cNvSpPr>
            <p:nvPr/>
          </p:nvSpPr>
          <p:spPr bwMode="auto">
            <a:xfrm>
              <a:off x="6839869" y="3362787"/>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ustDataLst>
      <p:tags r:id="rId1"/>
    </p:custDataLst>
    <p:extLst>
      <p:ext uri="{BB962C8B-B14F-4D97-AF65-F5344CB8AC3E}">
        <p14:creationId xmlns:p14="http://schemas.microsoft.com/office/powerpoint/2010/main" val="3461101170"/>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直接连接符 5"/>
          <p:cNvCxnSpPr/>
          <p:nvPr/>
        </p:nvCxnSpPr>
        <p:spPr>
          <a:xfrm>
            <a:off x="565925" y="3734660"/>
            <a:ext cx="11124426" cy="0"/>
          </a:xfrm>
          <a:prstGeom prst="line">
            <a:avLst/>
          </a:prstGeom>
          <a:ln w="19050">
            <a:solidFill>
              <a:srgbClr val="53565A"/>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1" name="椭圆 30"/>
          <p:cNvSpPr/>
          <p:nvPr/>
        </p:nvSpPr>
        <p:spPr bwMode="gray">
          <a:xfrm>
            <a:off x="1279309" y="3615349"/>
            <a:ext cx="238621" cy="238621"/>
          </a:xfrm>
          <a:prstGeom prst="ellipse">
            <a:avLst/>
          </a:prstGeom>
          <a:solidFill>
            <a:schemeClr val="bg1"/>
          </a:solidFill>
          <a:ln w="28575" cmpd="sng" algn="ctr">
            <a:solidFill>
              <a:srgbClr val="000000"/>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1" name="Rounded Rectangle 136"/>
          <p:cNvSpPr/>
          <p:nvPr/>
        </p:nvSpPr>
        <p:spPr>
          <a:xfrm>
            <a:off x="1213513" y="1714500"/>
            <a:ext cx="2820361" cy="380134"/>
          </a:xfrm>
          <a:prstGeom prst="roundRect">
            <a:avLst>
              <a:gd name="adj" fmla="val 50000"/>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12" name="Oval 137"/>
          <p:cNvSpPr/>
          <p:nvPr/>
        </p:nvSpPr>
        <p:spPr>
          <a:xfrm>
            <a:off x="1266419" y="1772367"/>
            <a:ext cx="264404" cy="26440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3" name="Oval 138"/>
          <p:cNvSpPr/>
          <p:nvPr/>
        </p:nvSpPr>
        <p:spPr>
          <a:xfrm>
            <a:off x="1307716" y="1813664"/>
            <a:ext cx="181810" cy="181810"/>
          </a:xfrm>
          <a:prstGeom prst="ellipse">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5" name="Rectangle 160"/>
          <p:cNvSpPr/>
          <p:nvPr/>
        </p:nvSpPr>
        <p:spPr>
          <a:xfrm>
            <a:off x="1640622" y="2254827"/>
            <a:ext cx="2241853" cy="1200329"/>
          </a:xfrm>
          <a:prstGeom prst="rect">
            <a:avLst/>
          </a:prstGeom>
        </p:spPr>
        <p:txBody>
          <a:bodyPr wrap="square" lIns="18288" tIns="0" rIns="18288" bIns="0">
            <a:spAutoFit/>
          </a:bodyPr>
          <a:lstStyle/>
          <a:p>
            <a:r>
              <a:rPr lang="en-US" sz="1300" dirty="0"/>
              <a:t>This is dummy text. Please replace with text, modify the text content, also can copy your content to this directly. This is dummy text. Please replace with text, modify the text.</a:t>
            </a:r>
          </a:p>
        </p:txBody>
      </p:sp>
      <p:sp>
        <p:nvSpPr>
          <p:cNvPr id="29" name="椭圆 28"/>
          <p:cNvSpPr/>
          <p:nvPr/>
        </p:nvSpPr>
        <p:spPr bwMode="gray">
          <a:xfrm>
            <a:off x="1327033" y="3663074"/>
            <a:ext cx="143173" cy="143173"/>
          </a:xfrm>
          <a:prstGeom prst="ellipse">
            <a:avLst/>
          </a:prstGeom>
          <a:solidFill>
            <a:schemeClr val="bg1"/>
          </a:solidFill>
          <a:ln w="19050" cmpd="sng" algn="ctr">
            <a:solidFill>
              <a:srgbClr val="000000"/>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6" name="椭圆 45"/>
          <p:cNvSpPr/>
          <p:nvPr/>
        </p:nvSpPr>
        <p:spPr bwMode="gray">
          <a:xfrm>
            <a:off x="5107547" y="3615349"/>
            <a:ext cx="238621" cy="238621"/>
          </a:xfrm>
          <a:prstGeom prst="ellipse">
            <a:avLst/>
          </a:prstGeom>
          <a:solidFill>
            <a:schemeClr val="bg1"/>
          </a:solidFill>
          <a:ln w="28575" cmpd="sng" algn="ctr">
            <a:solidFill>
              <a:srgbClr val="97999B"/>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7" name="Rounded Rectangle 136"/>
          <p:cNvSpPr/>
          <p:nvPr/>
        </p:nvSpPr>
        <p:spPr>
          <a:xfrm>
            <a:off x="5041752" y="1714500"/>
            <a:ext cx="2820361" cy="380134"/>
          </a:xfrm>
          <a:prstGeom prst="roundRect">
            <a:avLst>
              <a:gd name="adj" fmla="val 50000"/>
            </a:avLst>
          </a:prstGeom>
          <a:solidFill>
            <a:srgbClr val="97999B"/>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48" name="Oval 137"/>
          <p:cNvSpPr/>
          <p:nvPr/>
        </p:nvSpPr>
        <p:spPr>
          <a:xfrm>
            <a:off x="5094658" y="1772367"/>
            <a:ext cx="264404" cy="26440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9" name="Oval 138"/>
          <p:cNvSpPr/>
          <p:nvPr/>
        </p:nvSpPr>
        <p:spPr>
          <a:xfrm>
            <a:off x="5135955" y="1813664"/>
            <a:ext cx="181810" cy="181810"/>
          </a:xfrm>
          <a:prstGeom prst="ellipse">
            <a:avLst/>
          </a:prstGeom>
          <a:solidFill>
            <a:srgbClr val="97999B"/>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51" name="Rectangle 160"/>
          <p:cNvSpPr/>
          <p:nvPr/>
        </p:nvSpPr>
        <p:spPr>
          <a:xfrm>
            <a:off x="5468861" y="2254827"/>
            <a:ext cx="2241853" cy="1200329"/>
          </a:xfrm>
          <a:prstGeom prst="rect">
            <a:avLst/>
          </a:prstGeom>
        </p:spPr>
        <p:txBody>
          <a:bodyPr wrap="square" lIns="18288" tIns="0" rIns="18288" bIns="0">
            <a:spAutoFit/>
          </a:bodyPr>
          <a:lstStyle/>
          <a:p>
            <a:r>
              <a:rPr lang="en-US" sz="1300" dirty="0"/>
              <a:t>This is dummy text. Please replace with text, modify the text content, also can copy your content to this directly. This is dummy text. Please replace with text, modify the text.</a:t>
            </a:r>
          </a:p>
        </p:txBody>
      </p:sp>
      <p:sp>
        <p:nvSpPr>
          <p:cNvPr id="54" name="椭圆 53"/>
          <p:cNvSpPr/>
          <p:nvPr/>
        </p:nvSpPr>
        <p:spPr bwMode="gray">
          <a:xfrm>
            <a:off x="5155272" y="3663074"/>
            <a:ext cx="143173" cy="143173"/>
          </a:xfrm>
          <a:prstGeom prst="ellipse">
            <a:avLst/>
          </a:prstGeom>
          <a:solidFill>
            <a:schemeClr val="bg1"/>
          </a:solidFill>
          <a:ln w="19050" cmpd="sng" algn="ctr">
            <a:solidFill>
              <a:srgbClr val="97999B"/>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6" name="椭圆 65"/>
          <p:cNvSpPr/>
          <p:nvPr/>
        </p:nvSpPr>
        <p:spPr bwMode="gray">
          <a:xfrm>
            <a:off x="8935785" y="3615349"/>
            <a:ext cx="238621" cy="238621"/>
          </a:xfrm>
          <a:prstGeom prst="ellipse">
            <a:avLst/>
          </a:prstGeom>
          <a:solidFill>
            <a:schemeClr val="bg1"/>
          </a:solidFill>
          <a:ln w="28575" cmpd="sng" algn="ctr">
            <a:solidFill>
              <a:srgbClr val="43B02A"/>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7" name="Rounded Rectangle 136"/>
          <p:cNvSpPr/>
          <p:nvPr/>
        </p:nvSpPr>
        <p:spPr>
          <a:xfrm>
            <a:off x="8869989" y="1714500"/>
            <a:ext cx="2820361" cy="380134"/>
          </a:xfrm>
          <a:prstGeom prst="roundRect">
            <a:avLst>
              <a:gd name="adj" fmla="val 50000"/>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68" name="Oval 137"/>
          <p:cNvSpPr/>
          <p:nvPr/>
        </p:nvSpPr>
        <p:spPr>
          <a:xfrm>
            <a:off x="8922895" y="1772367"/>
            <a:ext cx="264404" cy="26440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69" name="Oval 138"/>
          <p:cNvSpPr/>
          <p:nvPr/>
        </p:nvSpPr>
        <p:spPr>
          <a:xfrm>
            <a:off x="8964193" y="1813664"/>
            <a:ext cx="181810" cy="181810"/>
          </a:xfrm>
          <a:prstGeom prst="ellipse">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1" name="Rectangle 160"/>
          <p:cNvSpPr/>
          <p:nvPr/>
        </p:nvSpPr>
        <p:spPr>
          <a:xfrm>
            <a:off x="9297099" y="2254827"/>
            <a:ext cx="2241853" cy="1200329"/>
          </a:xfrm>
          <a:prstGeom prst="rect">
            <a:avLst/>
          </a:prstGeom>
        </p:spPr>
        <p:txBody>
          <a:bodyPr wrap="square" lIns="18288" tIns="0" rIns="18288" bIns="0">
            <a:spAutoFit/>
          </a:bodyPr>
          <a:lstStyle/>
          <a:p>
            <a:r>
              <a:rPr lang="en-US" sz="1300" dirty="0"/>
              <a:t>This is dummy text. Please replace with text, modify the text content, also can copy your content to this directly. This is dummy text. Please replace with text, modify the text.</a:t>
            </a:r>
          </a:p>
        </p:txBody>
      </p:sp>
      <p:cxnSp>
        <p:nvCxnSpPr>
          <p:cNvPr id="14" name="Straight Connector 154"/>
          <p:cNvCxnSpPr/>
          <p:nvPr/>
        </p:nvCxnSpPr>
        <p:spPr>
          <a:xfrm flipV="1">
            <a:off x="1398621" y="2088352"/>
            <a:ext cx="1" cy="1574722"/>
          </a:xfrm>
          <a:prstGeom prst="line">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sp>
        <p:nvSpPr>
          <p:cNvPr id="28" name="Rectangle 167"/>
          <p:cNvSpPr/>
          <p:nvPr/>
        </p:nvSpPr>
        <p:spPr>
          <a:xfrm rot="16200000">
            <a:off x="608949" y="2775345"/>
            <a:ext cx="1119683" cy="200055"/>
          </a:xfrm>
          <a:prstGeom prst="rect">
            <a:avLst/>
          </a:prstGeom>
        </p:spPr>
        <p:txBody>
          <a:bodyPr wrap="square" lIns="0" tIns="0" rIns="0" bIns="0">
            <a:spAutoFit/>
          </a:bodyPr>
          <a:lstStyle/>
          <a:p>
            <a:pPr algn="ctr"/>
            <a:r>
              <a:rPr lang="en-GB" sz="1300" b="1" dirty="0">
                <a:solidFill>
                  <a:srgbClr val="000000"/>
                </a:solidFill>
              </a:rPr>
              <a:t>1990</a:t>
            </a:r>
            <a:endParaRPr lang="en-US" sz="1300" dirty="0">
              <a:solidFill>
                <a:srgbClr val="000000"/>
              </a:solidFill>
            </a:endParaRPr>
          </a:p>
        </p:txBody>
      </p:sp>
      <p:cxnSp>
        <p:nvCxnSpPr>
          <p:cNvPr id="50" name="Straight Connector 154"/>
          <p:cNvCxnSpPr/>
          <p:nvPr/>
        </p:nvCxnSpPr>
        <p:spPr>
          <a:xfrm flipV="1">
            <a:off x="5226859" y="2088352"/>
            <a:ext cx="1" cy="1574722"/>
          </a:xfrm>
          <a:prstGeom prst="line">
            <a:avLst/>
          </a:prstGeom>
          <a:ln w="19050" cap="rnd">
            <a:solidFill>
              <a:srgbClr val="97999B"/>
            </a:solidFill>
            <a:prstDash val="sysDot"/>
          </a:ln>
        </p:spPr>
        <p:style>
          <a:lnRef idx="1">
            <a:schemeClr val="accent1"/>
          </a:lnRef>
          <a:fillRef idx="0">
            <a:schemeClr val="accent1"/>
          </a:fillRef>
          <a:effectRef idx="0">
            <a:schemeClr val="accent1"/>
          </a:effectRef>
          <a:fontRef idx="minor">
            <a:schemeClr val="tx1"/>
          </a:fontRef>
        </p:style>
      </p:cxnSp>
      <p:sp>
        <p:nvSpPr>
          <p:cNvPr id="53" name="Rectangle 167"/>
          <p:cNvSpPr/>
          <p:nvPr/>
        </p:nvSpPr>
        <p:spPr>
          <a:xfrm rot="16200000">
            <a:off x="4437188" y="2775345"/>
            <a:ext cx="1119683" cy="200055"/>
          </a:xfrm>
          <a:prstGeom prst="rect">
            <a:avLst/>
          </a:prstGeom>
        </p:spPr>
        <p:txBody>
          <a:bodyPr wrap="square" lIns="0" tIns="0" rIns="0" bIns="0">
            <a:spAutoFit/>
          </a:bodyPr>
          <a:lstStyle/>
          <a:p>
            <a:pPr algn="ctr"/>
            <a:r>
              <a:rPr lang="en-GB" sz="1300" b="1" dirty="0">
                <a:solidFill>
                  <a:srgbClr val="75787B"/>
                </a:solidFill>
              </a:rPr>
              <a:t>2000</a:t>
            </a:r>
            <a:endParaRPr lang="en-US" sz="1300" dirty="0">
              <a:solidFill>
                <a:srgbClr val="75787B"/>
              </a:solidFill>
            </a:endParaRPr>
          </a:p>
        </p:txBody>
      </p:sp>
      <p:cxnSp>
        <p:nvCxnSpPr>
          <p:cNvPr id="70" name="Straight Connector 154"/>
          <p:cNvCxnSpPr/>
          <p:nvPr/>
        </p:nvCxnSpPr>
        <p:spPr>
          <a:xfrm flipV="1">
            <a:off x="9055097" y="2088352"/>
            <a:ext cx="1" cy="1574722"/>
          </a:xfrm>
          <a:prstGeom prst="line">
            <a:avLst/>
          </a:prstGeom>
          <a:ln w="19050" cap="rnd">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73" name="Rectangle 167"/>
          <p:cNvSpPr/>
          <p:nvPr/>
        </p:nvSpPr>
        <p:spPr>
          <a:xfrm rot="16200000">
            <a:off x="8265425" y="2775345"/>
            <a:ext cx="1119683" cy="200055"/>
          </a:xfrm>
          <a:prstGeom prst="rect">
            <a:avLst/>
          </a:prstGeom>
        </p:spPr>
        <p:txBody>
          <a:bodyPr wrap="square" lIns="0" tIns="0" rIns="0" bIns="0">
            <a:spAutoFit/>
          </a:bodyPr>
          <a:lstStyle/>
          <a:p>
            <a:pPr algn="ctr"/>
            <a:r>
              <a:rPr lang="en-GB" sz="1300" b="1" dirty="0">
                <a:solidFill>
                  <a:srgbClr val="43B02A"/>
                </a:solidFill>
              </a:rPr>
              <a:t>2010</a:t>
            </a:r>
            <a:endParaRPr lang="en-US" sz="1300" dirty="0">
              <a:solidFill>
                <a:srgbClr val="43B02A"/>
              </a:solidFill>
            </a:endParaRPr>
          </a:p>
        </p:txBody>
      </p:sp>
      <p:sp>
        <p:nvSpPr>
          <p:cNvPr id="74" name="椭圆 73"/>
          <p:cNvSpPr/>
          <p:nvPr/>
        </p:nvSpPr>
        <p:spPr bwMode="gray">
          <a:xfrm>
            <a:off x="8983509" y="3663074"/>
            <a:ext cx="143173" cy="143173"/>
          </a:xfrm>
          <a:prstGeom prst="ellipse">
            <a:avLst/>
          </a:prstGeom>
          <a:solidFill>
            <a:schemeClr val="bg1"/>
          </a:solidFill>
          <a:ln w="19050" cmpd="sng" algn="ctr">
            <a:solidFill>
              <a:srgbClr val="43B02A"/>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6" name="椭圆 75"/>
          <p:cNvSpPr/>
          <p:nvPr/>
        </p:nvSpPr>
        <p:spPr bwMode="gray">
          <a:xfrm>
            <a:off x="2874200" y="3615349"/>
            <a:ext cx="238621" cy="238621"/>
          </a:xfrm>
          <a:prstGeom prst="ellipse">
            <a:avLst/>
          </a:prstGeom>
          <a:solidFill>
            <a:schemeClr val="bg1"/>
          </a:solidFill>
          <a:ln w="28575" cmpd="sng" algn="ctr">
            <a:solidFill>
              <a:schemeClr val="accent3"/>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7" name="Rounded Rectangle 136"/>
          <p:cNvSpPr/>
          <p:nvPr/>
        </p:nvSpPr>
        <p:spPr>
          <a:xfrm>
            <a:off x="2808405" y="5257715"/>
            <a:ext cx="2820361" cy="380134"/>
          </a:xfrm>
          <a:prstGeom prst="roundRect">
            <a:avLst>
              <a:gd name="adj" fmla="val 50000"/>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78" name="Oval 137"/>
          <p:cNvSpPr/>
          <p:nvPr/>
        </p:nvSpPr>
        <p:spPr>
          <a:xfrm>
            <a:off x="2861311" y="5315582"/>
            <a:ext cx="264404" cy="26440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9" name="Oval 138"/>
          <p:cNvSpPr/>
          <p:nvPr/>
        </p:nvSpPr>
        <p:spPr>
          <a:xfrm>
            <a:off x="2902608" y="5356879"/>
            <a:ext cx="181810" cy="181810"/>
          </a:xfrm>
          <a:prstGeom prst="ellipse">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1" name="Rectangle 160"/>
          <p:cNvSpPr/>
          <p:nvPr/>
        </p:nvSpPr>
        <p:spPr>
          <a:xfrm>
            <a:off x="3235514" y="3955678"/>
            <a:ext cx="2241853" cy="1200329"/>
          </a:xfrm>
          <a:prstGeom prst="rect">
            <a:avLst/>
          </a:prstGeom>
        </p:spPr>
        <p:txBody>
          <a:bodyPr wrap="square" lIns="18288" tIns="0" rIns="18288" bIns="0">
            <a:spAutoFit/>
          </a:bodyPr>
          <a:lstStyle/>
          <a:p>
            <a:r>
              <a:rPr lang="en-US" sz="1300" dirty="0"/>
              <a:t>This is dummy text. Please replace with text, modify the text content, also can copy your content to this directly. This is dummy text. Please replace with text, modify the text.</a:t>
            </a:r>
          </a:p>
        </p:txBody>
      </p:sp>
      <p:sp>
        <p:nvSpPr>
          <p:cNvPr id="83" name="Rectangle 167"/>
          <p:cNvSpPr/>
          <p:nvPr/>
        </p:nvSpPr>
        <p:spPr>
          <a:xfrm rot="16200000">
            <a:off x="2384434" y="4455815"/>
            <a:ext cx="758500" cy="200055"/>
          </a:xfrm>
          <a:prstGeom prst="rect">
            <a:avLst/>
          </a:prstGeom>
        </p:spPr>
        <p:txBody>
          <a:bodyPr wrap="square" lIns="0" tIns="0" rIns="0" bIns="0">
            <a:spAutoFit/>
          </a:bodyPr>
          <a:lstStyle/>
          <a:p>
            <a:pPr algn="ctr"/>
            <a:r>
              <a:rPr lang="en-GB" sz="1300" b="1" dirty="0">
                <a:solidFill>
                  <a:schemeClr val="accent3"/>
                </a:solidFill>
              </a:rPr>
              <a:t>1995</a:t>
            </a:r>
            <a:endParaRPr lang="en-US" sz="1300" dirty="0">
              <a:solidFill>
                <a:schemeClr val="accent3"/>
              </a:solidFill>
            </a:endParaRPr>
          </a:p>
        </p:txBody>
      </p:sp>
      <p:sp>
        <p:nvSpPr>
          <p:cNvPr id="84" name="椭圆 83"/>
          <p:cNvSpPr/>
          <p:nvPr/>
        </p:nvSpPr>
        <p:spPr bwMode="gray">
          <a:xfrm>
            <a:off x="2921925" y="3663074"/>
            <a:ext cx="143173" cy="143173"/>
          </a:xfrm>
          <a:prstGeom prst="ellipse">
            <a:avLst/>
          </a:prstGeom>
          <a:solidFill>
            <a:schemeClr val="bg1"/>
          </a:solidFill>
          <a:ln w="19050" cmpd="sng" algn="ctr">
            <a:solidFill>
              <a:schemeClr val="accent3"/>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6" name="椭圆 85"/>
          <p:cNvSpPr/>
          <p:nvPr/>
        </p:nvSpPr>
        <p:spPr bwMode="gray">
          <a:xfrm>
            <a:off x="6702439" y="3615349"/>
            <a:ext cx="238621" cy="238621"/>
          </a:xfrm>
          <a:prstGeom prst="ellipse">
            <a:avLst/>
          </a:prstGeom>
          <a:solidFill>
            <a:schemeClr val="bg1"/>
          </a:solidFill>
          <a:ln w="28575" cmpd="sng" algn="ctr">
            <a:solidFill>
              <a:srgbClr val="86BC25"/>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7" name="Rounded Rectangle 136"/>
          <p:cNvSpPr/>
          <p:nvPr/>
        </p:nvSpPr>
        <p:spPr>
          <a:xfrm>
            <a:off x="6636643" y="5257715"/>
            <a:ext cx="2820361" cy="380134"/>
          </a:xfrm>
          <a:prstGeom prst="roundRect">
            <a:avLst>
              <a:gd name="adj" fmla="val 50000"/>
            </a:avLst>
          </a:prstGeom>
          <a:solidFill>
            <a:srgbClr val="81BC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88" name="Oval 137"/>
          <p:cNvSpPr/>
          <p:nvPr/>
        </p:nvSpPr>
        <p:spPr>
          <a:xfrm>
            <a:off x="6689550" y="5315582"/>
            <a:ext cx="264404" cy="26440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9" name="Oval 138"/>
          <p:cNvSpPr/>
          <p:nvPr/>
        </p:nvSpPr>
        <p:spPr>
          <a:xfrm>
            <a:off x="6730847" y="5356879"/>
            <a:ext cx="181810" cy="181810"/>
          </a:xfrm>
          <a:prstGeom prst="ellipse">
            <a:avLst/>
          </a:prstGeom>
          <a:solidFill>
            <a:srgbClr val="81BC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80" name="Straight Connector 154"/>
          <p:cNvCxnSpPr/>
          <p:nvPr/>
        </p:nvCxnSpPr>
        <p:spPr>
          <a:xfrm flipV="1">
            <a:off x="2993512" y="3768568"/>
            <a:ext cx="1" cy="1547014"/>
          </a:xfrm>
          <a:prstGeom prst="line">
            <a:avLst/>
          </a:prstGeom>
          <a:ln w="1905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90" name="Straight Connector 154"/>
          <p:cNvCxnSpPr/>
          <p:nvPr/>
        </p:nvCxnSpPr>
        <p:spPr>
          <a:xfrm flipV="1">
            <a:off x="6821751" y="3768568"/>
            <a:ext cx="1" cy="1547014"/>
          </a:xfrm>
          <a:prstGeom prst="line">
            <a:avLst/>
          </a:prstGeom>
          <a:ln w="19050" cap="rnd">
            <a:solidFill>
              <a:srgbClr val="81BC00"/>
            </a:solidFill>
            <a:prstDash val="sysDot"/>
          </a:ln>
        </p:spPr>
        <p:style>
          <a:lnRef idx="1">
            <a:schemeClr val="accent1"/>
          </a:lnRef>
          <a:fillRef idx="0">
            <a:schemeClr val="accent1"/>
          </a:fillRef>
          <a:effectRef idx="0">
            <a:schemeClr val="accent1"/>
          </a:effectRef>
          <a:fontRef idx="minor">
            <a:schemeClr val="tx1"/>
          </a:fontRef>
        </p:style>
      </p:cxnSp>
      <p:sp>
        <p:nvSpPr>
          <p:cNvPr id="91" name="Rectangle 160"/>
          <p:cNvSpPr/>
          <p:nvPr/>
        </p:nvSpPr>
        <p:spPr>
          <a:xfrm>
            <a:off x="7063753" y="3955678"/>
            <a:ext cx="2241853" cy="1200329"/>
          </a:xfrm>
          <a:prstGeom prst="rect">
            <a:avLst/>
          </a:prstGeom>
        </p:spPr>
        <p:txBody>
          <a:bodyPr wrap="square" lIns="18288" tIns="0" rIns="18288" bIns="0">
            <a:spAutoFit/>
          </a:bodyPr>
          <a:lstStyle/>
          <a:p>
            <a:r>
              <a:rPr lang="en-US" sz="1300" dirty="0"/>
              <a:t>This is dummy text. Please replace with text, modify the text content, also can copy your content to this directly. This is dummy text. Please replace with text, modify the text.</a:t>
            </a:r>
          </a:p>
        </p:txBody>
      </p:sp>
      <p:sp>
        <p:nvSpPr>
          <p:cNvPr id="93" name="Rectangle 167"/>
          <p:cNvSpPr/>
          <p:nvPr/>
        </p:nvSpPr>
        <p:spPr>
          <a:xfrm rot="16200000">
            <a:off x="6212673" y="4455815"/>
            <a:ext cx="758500" cy="200055"/>
          </a:xfrm>
          <a:prstGeom prst="rect">
            <a:avLst/>
          </a:prstGeom>
        </p:spPr>
        <p:txBody>
          <a:bodyPr wrap="square" lIns="0" tIns="0" rIns="0" bIns="0">
            <a:spAutoFit/>
          </a:bodyPr>
          <a:lstStyle/>
          <a:p>
            <a:pPr algn="ctr"/>
            <a:r>
              <a:rPr lang="en-GB" sz="1300" b="1" dirty="0">
                <a:solidFill>
                  <a:srgbClr val="86BC25"/>
                </a:solidFill>
              </a:rPr>
              <a:t>2005</a:t>
            </a:r>
            <a:endParaRPr lang="en-US" sz="1300" dirty="0">
              <a:solidFill>
                <a:srgbClr val="86BC25"/>
              </a:solidFill>
            </a:endParaRPr>
          </a:p>
        </p:txBody>
      </p:sp>
      <p:sp>
        <p:nvSpPr>
          <p:cNvPr id="94" name="椭圆 93"/>
          <p:cNvSpPr/>
          <p:nvPr/>
        </p:nvSpPr>
        <p:spPr bwMode="gray">
          <a:xfrm>
            <a:off x="6750163" y="3663074"/>
            <a:ext cx="143173" cy="143173"/>
          </a:xfrm>
          <a:prstGeom prst="ellipse">
            <a:avLst/>
          </a:prstGeom>
          <a:solidFill>
            <a:schemeClr val="bg1"/>
          </a:solidFill>
          <a:ln w="19050" cmpd="sng" algn="ctr">
            <a:solidFill>
              <a:srgbClr val="86BC25"/>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Tree>
    <p:custDataLst>
      <p:tags r:id="rId1"/>
    </p:custDataLst>
    <p:extLst>
      <p:ext uri="{BB962C8B-B14F-4D97-AF65-F5344CB8AC3E}">
        <p14:creationId xmlns:p14="http://schemas.microsoft.com/office/powerpoint/2010/main" val="3658236486"/>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7"/>
          <p:cNvSpPr>
            <a:spLocks/>
          </p:cNvSpPr>
          <p:nvPr/>
        </p:nvSpPr>
        <p:spPr bwMode="auto">
          <a:xfrm>
            <a:off x="6394370" y="1726162"/>
            <a:ext cx="1907955" cy="1897252"/>
          </a:xfrm>
          <a:custGeom>
            <a:avLst/>
            <a:gdLst>
              <a:gd name="T0" fmla="*/ 175 w 179"/>
              <a:gd name="T1" fmla="*/ 80 h 178"/>
              <a:gd name="T2" fmla="*/ 97 w 179"/>
              <a:gd name="T3" fmla="*/ 3 h 178"/>
              <a:gd name="T4" fmla="*/ 90 w 179"/>
              <a:gd name="T5" fmla="*/ 0 h 178"/>
              <a:gd name="T6" fmla="*/ 82 w 179"/>
              <a:gd name="T7" fmla="*/ 3 h 178"/>
              <a:gd name="T8" fmla="*/ 5 w 179"/>
              <a:gd name="T9" fmla="*/ 80 h 178"/>
              <a:gd name="T10" fmla="*/ 5 w 179"/>
              <a:gd name="T11" fmla="*/ 96 h 178"/>
              <a:gd name="T12" fmla="*/ 13 w 179"/>
              <a:gd name="T13" fmla="*/ 99 h 178"/>
              <a:gd name="T14" fmla="*/ 29 w 179"/>
              <a:gd name="T15" fmla="*/ 99 h 178"/>
              <a:gd name="T16" fmla="*/ 29 w 179"/>
              <a:gd name="T17" fmla="*/ 178 h 178"/>
              <a:gd name="T18" fmla="*/ 150 w 179"/>
              <a:gd name="T19" fmla="*/ 178 h 178"/>
              <a:gd name="T20" fmla="*/ 150 w 179"/>
              <a:gd name="T21" fmla="*/ 99 h 178"/>
              <a:gd name="T22" fmla="*/ 167 w 179"/>
              <a:gd name="T23" fmla="*/ 99 h 178"/>
              <a:gd name="T24" fmla="*/ 167 w 179"/>
              <a:gd name="T25" fmla="*/ 99 h 178"/>
              <a:gd name="T26" fmla="*/ 167 w 179"/>
              <a:gd name="T27" fmla="*/ 99 h 178"/>
              <a:gd name="T28" fmla="*/ 167 w 179"/>
              <a:gd name="T29" fmla="*/ 99 h 178"/>
              <a:gd name="T30" fmla="*/ 175 w 179"/>
              <a:gd name="T31" fmla="*/ 96 h 178"/>
              <a:gd name="T32" fmla="*/ 175 w 179"/>
              <a:gd name="T33" fmla="*/ 8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9" h="178">
                <a:moveTo>
                  <a:pt x="175" y="80"/>
                </a:moveTo>
                <a:cubicBezTo>
                  <a:pt x="97" y="3"/>
                  <a:pt x="97" y="3"/>
                  <a:pt x="97" y="3"/>
                </a:cubicBezTo>
                <a:cubicBezTo>
                  <a:pt x="95" y="1"/>
                  <a:pt x="92" y="0"/>
                  <a:pt x="90" y="0"/>
                </a:cubicBezTo>
                <a:cubicBezTo>
                  <a:pt x="87" y="0"/>
                  <a:pt x="84" y="1"/>
                  <a:pt x="82" y="3"/>
                </a:cubicBezTo>
                <a:cubicBezTo>
                  <a:pt x="5" y="80"/>
                  <a:pt x="5" y="80"/>
                  <a:pt x="5" y="80"/>
                </a:cubicBezTo>
                <a:cubicBezTo>
                  <a:pt x="0" y="85"/>
                  <a:pt x="0" y="91"/>
                  <a:pt x="5" y="96"/>
                </a:cubicBezTo>
                <a:cubicBezTo>
                  <a:pt x="7" y="98"/>
                  <a:pt x="10" y="99"/>
                  <a:pt x="13" y="99"/>
                </a:cubicBezTo>
                <a:cubicBezTo>
                  <a:pt x="29" y="99"/>
                  <a:pt x="29" y="99"/>
                  <a:pt x="29" y="99"/>
                </a:cubicBezTo>
                <a:cubicBezTo>
                  <a:pt x="29" y="178"/>
                  <a:pt x="29" y="178"/>
                  <a:pt x="29" y="178"/>
                </a:cubicBezTo>
                <a:cubicBezTo>
                  <a:pt x="150" y="178"/>
                  <a:pt x="150" y="178"/>
                  <a:pt x="150" y="178"/>
                </a:cubicBezTo>
                <a:cubicBezTo>
                  <a:pt x="150" y="99"/>
                  <a:pt x="150" y="99"/>
                  <a:pt x="150" y="99"/>
                </a:cubicBezTo>
                <a:cubicBezTo>
                  <a:pt x="167" y="99"/>
                  <a:pt x="167" y="99"/>
                  <a:pt x="167" y="99"/>
                </a:cubicBezTo>
                <a:cubicBezTo>
                  <a:pt x="167" y="99"/>
                  <a:pt x="167" y="99"/>
                  <a:pt x="167" y="99"/>
                </a:cubicBezTo>
                <a:cubicBezTo>
                  <a:pt x="167" y="99"/>
                  <a:pt x="167" y="99"/>
                  <a:pt x="167" y="99"/>
                </a:cubicBezTo>
                <a:cubicBezTo>
                  <a:pt x="167" y="99"/>
                  <a:pt x="167" y="99"/>
                  <a:pt x="167" y="99"/>
                </a:cubicBezTo>
                <a:cubicBezTo>
                  <a:pt x="170" y="99"/>
                  <a:pt x="173" y="98"/>
                  <a:pt x="175" y="96"/>
                </a:cubicBezTo>
                <a:cubicBezTo>
                  <a:pt x="179" y="91"/>
                  <a:pt x="179" y="85"/>
                  <a:pt x="175" y="80"/>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58" name="TextBox 31"/>
          <p:cNvSpPr txBox="1">
            <a:spLocks noChangeArrowheads="1"/>
          </p:cNvSpPr>
          <p:nvPr/>
        </p:nvSpPr>
        <p:spPr bwMode="auto">
          <a:xfrm>
            <a:off x="6825063" y="2674788"/>
            <a:ext cx="1047458" cy="447179"/>
          </a:xfrm>
          <a:prstGeom prst="rect">
            <a:avLst/>
          </a:prstGeom>
          <a:noFill/>
          <a:ln>
            <a:noFill/>
          </a:ln>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400" b="1" dirty="0">
                <a:solidFill>
                  <a:schemeClr val="bg1"/>
                </a:solidFill>
                <a:latin typeface="+mn-lt"/>
                <a:ea typeface="Lato Black" pitchFamily="34" charset="0"/>
                <a:cs typeface="Lato Black" pitchFamily="34" charset="0"/>
              </a:rPr>
              <a:t>05</a:t>
            </a:r>
            <a:endParaRPr lang="id-ID" sz="2400" b="1" dirty="0">
              <a:solidFill>
                <a:schemeClr val="bg1"/>
              </a:solidFill>
              <a:latin typeface="+mn-lt"/>
              <a:ea typeface="Lato Black" pitchFamily="34" charset="0"/>
              <a:cs typeface="Lato Black" pitchFamily="34" charset="0"/>
            </a:endParaRPr>
          </a:p>
        </p:txBody>
      </p:sp>
      <p:sp>
        <p:nvSpPr>
          <p:cNvPr id="60" name="Freeform 9"/>
          <p:cNvSpPr>
            <a:spLocks/>
          </p:cNvSpPr>
          <p:nvPr/>
        </p:nvSpPr>
        <p:spPr bwMode="auto">
          <a:xfrm>
            <a:off x="6703888" y="3709045"/>
            <a:ext cx="1289809" cy="1289810"/>
          </a:xfrm>
          <a:custGeom>
            <a:avLst/>
            <a:gdLst>
              <a:gd name="T0" fmla="*/ 0 w 121"/>
              <a:gd name="T1" fmla="*/ 121 h 121"/>
              <a:gd name="T2" fmla="*/ 121 w 121"/>
              <a:gd name="T3" fmla="*/ 0 h 121"/>
              <a:gd name="T4" fmla="*/ 0 w 121"/>
              <a:gd name="T5" fmla="*/ 0 h 121"/>
              <a:gd name="T6" fmla="*/ 0 w 121"/>
              <a:gd name="T7" fmla="*/ 121 h 121"/>
            </a:gdLst>
            <a:ahLst/>
            <a:cxnLst>
              <a:cxn ang="0">
                <a:pos x="T0" y="T1"/>
              </a:cxn>
              <a:cxn ang="0">
                <a:pos x="T2" y="T3"/>
              </a:cxn>
              <a:cxn ang="0">
                <a:pos x="T4" y="T5"/>
              </a:cxn>
              <a:cxn ang="0">
                <a:pos x="T6" y="T7"/>
              </a:cxn>
            </a:cxnLst>
            <a:rect l="0" t="0" r="r" b="b"/>
            <a:pathLst>
              <a:path w="121" h="121">
                <a:moveTo>
                  <a:pt x="0" y="121"/>
                </a:moveTo>
                <a:cubicBezTo>
                  <a:pt x="67" y="121"/>
                  <a:pt x="121" y="67"/>
                  <a:pt x="121" y="0"/>
                </a:cubicBezTo>
                <a:cubicBezTo>
                  <a:pt x="0" y="0"/>
                  <a:pt x="0" y="0"/>
                  <a:pt x="0" y="0"/>
                </a:cubicBezTo>
                <a:lnTo>
                  <a:pt x="0" y="121"/>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1" name="TextBox 31"/>
          <p:cNvSpPr txBox="1">
            <a:spLocks noChangeArrowheads="1"/>
          </p:cNvSpPr>
          <p:nvPr/>
        </p:nvSpPr>
        <p:spPr bwMode="auto">
          <a:xfrm>
            <a:off x="6674361" y="3906324"/>
            <a:ext cx="1047458" cy="447179"/>
          </a:xfrm>
          <a:prstGeom prst="rect">
            <a:avLst/>
          </a:prstGeom>
          <a:noFill/>
          <a:ln>
            <a:noFill/>
          </a:ln>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400" b="1" dirty="0">
                <a:solidFill>
                  <a:schemeClr val="bg1"/>
                </a:solidFill>
                <a:latin typeface="+mn-lt"/>
                <a:ea typeface="Lato Black" pitchFamily="34" charset="0"/>
                <a:cs typeface="Lato Black" pitchFamily="34" charset="0"/>
              </a:rPr>
              <a:t>04</a:t>
            </a:r>
            <a:endParaRPr lang="id-ID" sz="2400" b="1" dirty="0">
              <a:solidFill>
                <a:schemeClr val="bg1"/>
              </a:solidFill>
              <a:latin typeface="+mn-lt"/>
              <a:ea typeface="Lato Black" pitchFamily="34" charset="0"/>
              <a:cs typeface="Lato Black" pitchFamily="34" charset="0"/>
            </a:endParaRPr>
          </a:p>
        </p:txBody>
      </p:sp>
      <p:sp>
        <p:nvSpPr>
          <p:cNvPr id="63" name="Freeform 8"/>
          <p:cNvSpPr>
            <a:spLocks/>
          </p:cNvSpPr>
          <p:nvPr/>
        </p:nvSpPr>
        <p:spPr bwMode="auto">
          <a:xfrm>
            <a:off x="5339151" y="3709045"/>
            <a:ext cx="1279106" cy="1289810"/>
          </a:xfrm>
          <a:custGeom>
            <a:avLst/>
            <a:gdLst>
              <a:gd name="T0" fmla="*/ 0 w 120"/>
              <a:gd name="T1" fmla="*/ 121 h 121"/>
              <a:gd name="T2" fmla="*/ 120 w 120"/>
              <a:gd name="T3" fmla="*/ 121 h 121"/>
              <a:gd name="T4" fmla="*/ 120 w 120"/>
              <a:gd name="T5" fmla="*/ 0 h 121"/>
              <a:gd name="T6" fmla="*/ 0 w 120"/>
              <a:gd name="T7" fmla="*/ 121 h 121"/>
            </a:gdLst>
            <a:ahLst/>
            <a:cxnLst>
              <a:cxn ang="0">
                <a:pos x="T0" y="T1"/>
              </a:cxn>
              <a:cxn ang="0">
                <a:pos x="T2" y="T3"/>
              </a:cxn>
              <a:cxn ang="0">
                <a:pos x="T4" y="T5"/>
              </a:cxn>
              <a:cxn ang="0">
                <a:pos x="T6" y="T7"/>
              </a:cxn>
            </a:cxnLst>
            <a:rect l="0" t="0" r="r" b="b"/>
            <a:pathLst>
              <a:path w="120" h="121">
                <a:moveTo>
                  <a:pt x="0" y="121"/>
                </a:moveTo>
                <a:cubicBezTo>
                  <a:pt x="120" y="121"/>
                  <a:pt x="120" y="121"/>
                  <a:pt x="120" y="121"/>
                </a:cubicBezTo>
                <a:cubicBezTo>
                  <a:pt x="120" y="0"/>
                  <a:pt x="120" y="0"/>
                  <a:pt x="120" y="0"/>
                </a:cubicBezTo>
                <a:cubicBezTo>
                  <a:pt x="54" y="0"/>
                  <a:pt x="0" y="54"/>
                  <a:pt x="0" y="121"/>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4" name="TextBox 31"/>
          <p:cNvSpPr txBox="1">
            <a:spLocks noChangeArrowheads="1"/>
          </p:cNvSpPr>
          <p:nvPr/>
        </p:nvSpPr>
        <p:spPr bwMode="auto">
          <a:xfrm>
            <a:off x="5570800" y="4353950"/>
            <a:ext cx="1047457" cy="447179"/>
          </a:xfrm>
          <a:prstGeom prst="rect">
            <a:avLst/>
          </a:prstGeom>
          <a:noFill/>
          <a:ln>
            <a:noFill/>
          </a:ln>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400" b="1" dirty="0">
                <a:solidFill>
                  <a:schemeClr val="bg1"/>
                </a:solidFill>
                <a:latin typeface="+mn-lt"/>
                <a:ea typeface="Lato Black" pitchFamily="34" charset="0"/>
                <a:cs typeface="Lato Black" pitchFamily="34" charset="0"/>
              </a:rPr>
              <a:t>03</a:t>
            </a:r>
            <a:endParaRPr lang="id-ID" sz="2400" b="1" dirty="0">
              <a:solidFill>
                <a:schemeClr val="bg1"/>
              </a:solidFill>
              <a:latin typeface="+mn-lt"/>
              <a:ea typeface="Lato Black" pitchFamily="34" charset="0"/>
              <a:cs typeface="Lato Black" pitchFamily="34" charset="0"/>
            </a:endParaRPr>
          </a:p>
        </p:txBody>
      </p:sp>
      <p:sp>
        <p:nvSpPr>
          <p:cNvPr id="66" name="Freeform 11"/>
          <p:cNvSpPr>
            <a:spLocks/>
          </p:cNvSpPr>
          <p:nvPr/>
        </p:nvSpPr>
        <p:spPr bwMode="auto">
          <a:xfrm>
            <a:off x="5339151" y="5083593"/>
            <a:ext cx="1279106" cy="1279106"/>
          </a:xfrm>
          <a:custGeom>
            <a:avLst/>
            <a:gdLst>
              <a:gd name="T0" fmla="*/ 0 w 120"/>
              <a:gd name="T1" fmla="*/ 120 h 120"/>
              <a:gd name="T2" fmla="*/ 120 w 120"/>
              <a:gd name="T3" fmla="*/ 0 h 120"/>
              <a:gd name="T4" fmla="*/ 0 w 120"/>
              <a:gd name="T5" fmla="*/ 0 h 120"/>
              <a:gd name="T6" fmla="*/ 0 w 120"/>
              <a:gd name="T7" fmla="*/ 120 h 120"/>
            </a:gdLst>
            <a:ahLst/>
            <a:cxnLst>
              <a:cxn ang="0">
                <a:pos x="T0" y="T1"/>
              </a:cxn>
              <a:cxn ang="0">
                <a:pos x="T2" y="T3"/>
              </a:cxn>
              <a:cxn ang="0">
                <a:pos x="T4" y="T5"/>
              </a:cxn>
              <a:cxn ang="0">
                <a:pos x="T6" y="T7"/>
              </a:cxn>
            </a:cxnLst>
            <a:rect l="0" t="0" r="r" b="b"/>
            <a:pathLst>
              <a:path w="120" h="120">
                <a:moveTo>
                  <a:pt x="0" y="120"/>
                </a:moveTo>
                <a:cubicBezTo>
                  <a:pt x="66" y="120"/>
                  <a:pt x="120" y="66"/>
                  <a:pt x="120" y="0"/>
                </a:cubicBezTo>
                <a:cubicBezTo>
                  <a:pt x="0" y="0"/>
                  <a:pt x="0" y="0"/>
                  <a:pt x="0" y="0"/>
                </a:cubicBezTo>
                <a:lnTo>
                  <a:pt x="0" y="12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7" name="TextBox 31"/>
          <p:cNvSpPr txBox="1">
            <a:spLocks noChangeArrowheads="1"/>
          </p:cNvSpPr>
          <p:nvPr/>
        </p:nvSpPr>
        <p:spPr bwMode="auto">
          <a:xfrm>
            <a:off x="5419871" y="5365955"/>
            <a:ext cx="1047457" cy="447179"/>
          </a:xfrm>
          <a:prstGeom prst="rect">
            <a:avLst/>
          </a:prstGeom>
          <a:noFill/>
          <a:ln>
            <a:noFill/>
          </a:ln>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400" b="1" dirty="0">
                <a:solidFill>
                  <a:schemeClr val="bg1"/>
                </a:solidFill>
                <a:latin typeface="+mn-lt"/>
                <a:ea typeface="Lato Black" pitchFamily="34" charset="0"/>
                <a:cs typeface="Lato Black" pitchFamily="34" charset="0"/>
              </a:rPr>
              <a:t>02</a:t>
            </a:r>
            <a:endParaRPr lang="id-ID" sz="2400" b="1" dirty="0">
              <a:solidFill>
                <a:schemeClr val="bg1"/>
              </a:solidFill>
              <a:latin typeface="+mn-lt"/>
              <a:ea typeface="Lato Black" pitchFamily="34" charset="0"/>
              <a:cs typeface="Lato Black" pitchFamily="34" charset="0"/>
            </a:endParaRPr>
          </a:p>
        </p:txBody>
      </p:sp>
      <p:sp>
        <p:nvSpPr>
          <p:cNvPr id="69" name="Freeform 10"/>
          <p:cNvSpPr>
            <a:spLocks/>
          </p:cNvSpPr>
          <p:nvPr/>
        </p:nvSpPr>
        <p:spPr bwMode="auto">
          <a:xfrm>
            <a:off x="3889676" y="5083593"/>
            <a:ext cx="1364736" cy="1279106"/>
          </a:xfrm>
          <a:custGeom>
            <a:avLst/>
            <a:gdLst>
              <a:gd name="T0" fmla="*/ 0 w 128"/>
              <a:gd name="T1" fmla="*/ 60 h 120"/>
              <a:gd name="T2" fmla="*/ 60 w 128"/>
              <a:gd name="T3" fmla="*/ 120 h 120"/>
              <a:gd name="T4" fmla="*/ 128 w 128"/>
              <a:gd name="T5" fmla="*/ 120 h 120"/>
              <a:gd name="T6" fmla="*/ 128 w 128"/>
              <a:gd name="T7" fmla="*/ 0 h 120"/>
              <a:gd name="T8" fmla="*/ 60 w 128"/>
              <a:gd name="T9" fmla="*/ 0 h 120"/>
              <a:gd name="T10" fmla="*/ 0 w 128"/>
              <a:gd name="T11" fmla="*/ 60 h 120"/>
            </a:gdLst>
            <a:ahLst/>
            <a:cxnLst>
              <a:cxn ang="0">
                <a:pos x="T0" y="T1"/>
              </a:cxn>
              <a:cxn ang="0">
                <a:pos x="T2" y="T3"/>
              </a:cxn>
              <a:cxn ang="0">
                <a:pos x="T4" y="T5"/>
              </a:cxn>
              <a:cxn ang="0">
                <a:pos x="T6" y="T7"/>
              </a:cxn>
              <a:cxn ang="0">
                <a:pos x="T8" y="T9"/>
              </a:cxn>
              <a:cxn ang="0">
                <a:pos x="T10" y="T11"/>
              </a:cxn>
            </a:cxnLst>
            <a:rect l="0" t="0" r="r" b="b"/>
            <a:pathLst>
              <a:path w="128" h="120">
                <a:moveTo>
                  <a:pt x="0" y="60"/>
                </a:moveTo>
                <a:cubicBezTo>
                  <a:pt x="0" y="93"/>
                  <a:pt x="27" y="120"/>
                  <a:pt x="60" y="120"/>
                </a:cubicBezTo>
                <a:cubicBezTo>
                  <a:pt x="128" y="120"/>
                  <a:pt x="128" y="120"/>
                  <a:pt x="128" y="120"/>
                </a:cubicBezTo>
                <a:cubicBezTo>
                  <a:pt x="128" y="0"/>
                  <a:pt x="128" y="0"/>
                  <a:pt x="128" y="0"/>
                </a:cubicBezTo>
                <a:cubicBezTo>
                  <a:pt x="60" y="0"/>
                  <a:pt x="60" y="0"/>
                  <a:pt x="60" y="0"/>
                </a:cubicBezTo>
                <a:cubicBezTo>
                  <a:pt x="27" y="0"/>
                  <a:pt x="0" y="27"/>
                  <a:pt x="0" y="60"/>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70" name="TextBox 31"/>
          <p:cNvSpPr txBox="1">
            <a:spLocks noChangeArrowheads="1"/>
          </p:cNvSpPr>
          <p:nvPr/>
        </p:nvSpPr>
        <p:spPr bwMode="auto">
          <a:xfrm>
            <a:off x="4163933" y="5499557"/>
            <a:ext cx="1047457" cy="447179"/>
          </a:xfrm>
          <a:prstGeom prst="rect">
            <a:avLst/>
          </a:prstGeom>
          <a:noFill/>
          <a:ln>
            <a:noFill/>
          </a:ln>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400" b="1" dirty="0">
                <a:solidFill>
                  <a:schemeClr val="bg1"/>
                </a:solidFill>
                <a:latin typeface="+mn-lt"/>
                <a:ea typeface="Lato Black" pitchFamily="34" charset="0"/>
                <a:cs typeface="Lato Black" pitchFamily="34" charset="0"/>
              </a:rPr>
              <a:t>01</a:t>
            </a:r>
            <a:endParaRPr lang="id-ID" sz="2400" b="1" dirty="0">
              <a:solidFill>
                <a:schemeClr val="bg1"/>
              </a:solidFill>
              <a:latin typeface="+mn-lt"/>
              <a:ea typeface="Lato Black" pitchFamily="34" charset="0"/>
              <a:cs typeface="Lato Black" pitchFamily="34" charset="0"/>
            </a:endParaRPr>
          </a:p>
        </p:txBody>
      </p:sp>
      <p:sp>
        <p:nvSpPr>
          <p:cNvPr id="81" name="TextBox 133"/>
          <p:cNvSpPr txBox="1"/>
          <p:nvPr/>
        </p:nvSpPr>
        <p:spPr bwMode="auto">
          <a:xfrm>
            <a:off x="1436394" y="5191780"/>
            <a:ext cx="629403" cy="246221"/>
          </a:xfrm>
          <a:prstGeom prst="rect">
            <a:avLst/>
          </a:prstGeom>
          <a:noFill/>
        </p:spPr>
        <p:txBody>
          <a:bodyPr wrap="none" lIns="0" tIns="0" rIns="0" bIns="0">
            <a:spAutoFit/>
          </a:bodyPr>
          <a:lstStyle/>
          <a:p>
            <a:pPr defTabSz="1828434">
              <a:defRPr/>
            </a:pPr>
            <a:r>
              <a:rPr lang="id-ID" sz="1600" b="1" dirty="0">
                <a:solidFill>
                  <a:srgbClr val="75787B"/>
                </a:solidFill>
                <a:ea typeface="Lato" pitchFamily="34" charset="0"/>
                <a:cs typeface="Lato" pitchFamily="34" charset="0"/>
              </a:rPr>
              <a:t>Change</a:t>
            </a:r>
          </a:p>
        </p:txBody>
      </p:sp>
      <p:sp>
        <p:nvSpPr>
          <p:cNvPr id="82" name="TextBox 134"/>
          <p:cNvSpPr txBox="1"/>
          <p:nvPr/>
        </p:nvSpPr>
        <p:spPr>
          <a:xfrm>
            <a:off x="1436394" y="5552154"/>
            <a:ext cx="2367643" cy="600164"/>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86" name="TextBox 138"/>
          <p:cNvSpPr txBox="1"/>
          <p:nvPr/>
        </p:nvSpPr>
        <p:spPr bwMode="auto">
          <a:xfrm>
            <a:off x="7926756" y="5230501"/>
            <a:ext cx="629403" cy="246221"/>
          </a:xfrm>
          <a:prstGeom prst="rect">
            <a:avLst/>
          </a:prstGeom>
          <a:noFill/>
        </p:spPr>
        <p:txBody>
          <a:bodyPr wrap="none" lIns="0" tIns="0" rIns="0" bIns="0">
            <a:spAutoFit/>
          </a:bodyPr>
          <a:lstStyle/>
          <a:p>
            <a:pPr defTabSz="1828434">
              <a:defRPr/>
            </a:pPr>
            <a:r>
              <a:rPr lang="id-ID" sz="1600" b="1" dirty="0">
                <a:solidFill>
                  <a:srgbClr val="000000"/>
                </a:solidFill>
                <a:ea typeface="Lato" pitchFamily="34" charset="0"/>
                <a:cs typeface="Lato" pitchFamily="34" charset="0"/>
              </a:rPr>
              <a:t>Change</a:t>
            </a:r>
          </a:p>
        </p:txBody>
      </p:sp>
      <p:sp>
        <p:nvSpPr>
          <p:cNvPr id="87" name="TextBox 139"/>
          <p:cNvSpPr txBox="1"/>
          <p:nvPr/>
        </p:nvSpPr>
        <p:spPr>
          <a:xfrm>
            <a:off x="7926756" y="5590876"/>
            <a:ext cx="3750894" cy="400110"/>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97" name="TextBox 149"/>
          <p:cNvSpPr txBox="1"/>
          <p:nvPr/>
        </p:nvSpPr>
        <p:spPr bwMode="auto">
          <a:xfrm>
            <a:off x="2880908" y="3794786"/>
            <a:ext cx="629403" cy="246221"/>
          </a:xfrm>
          <a:prstGeom prst="rect">
            <a:avLst/>
          </a:prstGeom>
          <a:noFill/>
        </p:spPr>
        <p:txBody>
          <a:bodyPr wrap="none" lIns="0" tIns="0" rIns="0" bIns="0">
            <a:spAutoFit/>
          </a:bodyPr>
          <a:lstStyle/>
          <a:p>
            <a:pPr defTabSz="1828434">
              <a:defRPr/>
            </a:pPr>
            <a:r>
              <a:rPr lang="id-ID" sz="1600" b="1" dirty="0">
                <a:solidFill>
                  <a:srgbClr val="43B02A"/>
                </a:solidFill>
                <a:ea typeface="Lato" pitchFamily="34" charset="0"/>
                <a:cs typeface="Lato" pitchFamily="34" charset="0"/>
              </a:rPr>
              <a:t>Change</a:t>
            </a:r>
          </a:p>
        </p:txBody>
      </p:sp>
      <p:sp>
        <p:nvSpPr>
          <p:cNvPr id="98" name="TextBox 150"/>
          <p:cNvSpPr txBox="1"/>
          <p:nvPr/>
        </p:nvSpPr>
        <p:spPr>
          <a:xfrm>
            <a:off x="2880908" y="4155161"/>
            <a:ext cx="2372612" cy="600164"/>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109" name="TextBox 161"/>
          <p:cNvSpPr txBox="1"/>
          <p:nvPr/>
        </p:nvSpPr>
        <p:spPr bwMode="auto">
          <a:xfrm>
            <a:off x="9324463" y="3848288"/>
            <a:ext cx="629403" cy="246221"/>
          </a:xfrm>
          <a:prstGeom prst="rect">
            <a:avLst/>
          </a:prstGeom>
          <a:noFill/>
        </p:spPr>
        <p:txBody>
          <a:bodyPr wrap="none" lIns="0" tIns="0" rIns="0" bIns="0">
            <a:spAutoFit/>
          </a:bodyPr>
          <a:lstStyle/>
          <a:p>
            <a:pPr defTabSz="1828434">
              <a:defRPr/>
            </a:pPr>
            <a:r>
              <a:rPr lang="id-ID" sz="1600" b="1" dirty="0">
                <a:solidFill>
                  <a:srgbClr val="86BC25"/>
                </a:solidFill>
                <a:ea typeface="Lato" pitchFamily="34" charset="0"/>
                <a:cs typeface="Lato" pitchFamily="34" charset="0"/>
              </a:rPr>
              <a:t>Change</a:t>
            </a:r>
          </a:p>
        </p:txBody>
      </p:sp>
      <p:sp>
        <p:nvSpPr>
          <p:cNvPr id="110" name="TextBox 162"/>
          <p:cNvSpPr txBox="1"/>
          <p:nvPr/>
        </p:nvSpPr>
        <p:spPr>
          <a:xfrm>
            <a:off x="9324463" y="4208663"/>
            <a:ext cx="2353187" cy="600164"/>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114" name="TextBox 174"/>
          <p:cNvSpPr txBox="1"/>
          <p:nvPr/>
        </p:nvSpPr>
        <p:spPr bwMode="auto">
          <a:xfrm>
            <a:off x="9445113" y="1823446"/>
            <a:ext cx="629403" cy="246221"/>
          </a:xfrm>
          <a:prstGeom prst="rect">
            <a:avLst/>
          </a:prstGeom>
          <a:noFill/>
        </p:spPr>
        <p:txBody>
          <a:bodyPr wrap="none" lIns="0" tIns="0" rIns="0" bIns="0">
            <a:spAutoFit/>
          </a:bodyPr>
          <a:lstStyle/>
          <a:p>
            <a:pPr defTabSz="1828434">
              <a:defRPr/>
            </a:pPr>
            <a:r>
              <a:rPr lang="id-ID" sz="1600" b="1" dirty="0">
                <a:solidFill>
                  <a:schemeClr val="accent3"/>
                </a:solidFill>
                <a:ea typeface="Lato" pitchFamily="34" charset="0"/>
                <a:cs typeface="Lato" pitchFamily="34" charset="0"/>
              </a:rPr>
              <a:t>Change</a:t>
            </a:r>
          </a:p>
        </p:txBody>
      </p:sp>
      <p:sp>
        <p:nvSpPr>
          <p:cNvPr id="115" name="TextBox 175"/>
          <p:cNvSpPr txBox="1"/>
          <p:nvPr/>
        </p:nvSpPr>
        <p:spPr>
          <a:xfrm>
            <a:off x="9445113" y="2183821"/>
            <a:ext cx="2232537" cy="800219"/>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This is dummy text. Please replace with text, modify the text content, also can copy your content to this directly.</a:t>
            </a:r>
          </a:p>
        </p:txBody>
      </p:sp>
      <p:sp>
        <p:nvSpPr>
          <p:cNvPr id="116" name="TextBox 176"/>
          <p:cNvSpPr txBox="1"/>
          <p:nvPr/>
        </p:nvSpPr>
        <p:spPr bwMode="auto">
          <a:xfrm>
            <a:off x="489448" y="1645398"/>
            <a:ext cx="1309076" cy="307777"/>
          </a:xfrm>
          <a:prstGeom prst="rect">
            <a:avLst/>
          </a:prstGeom>
          <a:noFill/>
        </p:spPr>
        <p:txBody>
          <a:bodyPr wrap="none" lIns="0" tIns="0" rIns="0" bIns="0">
            <a:spAutoFit/>
          </a:bodyPr>
          <a:lstStyle/>
          <a:p>
            <a:pPr defTabSz="1828434">
              <a:defRPr/>
            </a:pPr>
            <a:r>
              <a:rPr lang="id-ID" sz="2000" b="1" dirty="0">
                <a:solidFill>
                  <a:srgbClr val="009A44"/>
                </a:solidFill>
                <a:ea typeface="Lato" pitchFamily="34" charset="0"/>
                <a:cs typeface="Lato" pitchFamily="34" charset="0"/>
              </a:rPr>
              <a:t>Dummy text</a:t>
            </a:r>
          </a:p>
        </p:txBody>
      </p:sp>
      <p:sp>
        <p:nvSpPr>
          <p:cNvPr id="117" name="TextBox 31"/>
          <p:cNvSpPr txBox="1">
            <a:spLocks noChangeArrowheads="1"/>
          </p:cNvSpPr>
          <p:nvPr/>
        </p:nvSpPr>
        <p:spPr bwMode="auto">
          <a:xfrm>
            <a:off x="489448" y="2110943"/>
            <a:ext cx="166958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009A44"/>
                </a:solidFill>
                <a:latin typeface="+mn-lt"/>
                <a:ea typeface="Lato Black" pitchFamily="34" charset="0"/>
                <a:cs typeface="Lato Black" pitchFamily="34" charset="0"/>
              </a:rPr>
              <a:t>100%</a:t>
            </a:r>
            <a:endParaRPr lang="id-ID" sz="3200" b="1" dirty="0">
              <a:solidFill>
                <a:srgbClr val="009A44"/>
              </a:solidFill>
              <a:latin typeface="+mn-lt"/>
              <a:ea typeface="Lato Black" pitchFamily="34" charset="0"/>
              <a:cs typeface="Lato Black" pitchFamily="34" charset="0"/>
            </a:endParaRPr>
          </a:p>
        </p:txBody>
      </p:sp>
      <p:sp>
        <p:nvSpPr>
          <p:cNvPr id="118" name="TextBox 30"/>
          <p:cNvSpPr txBox="1">
            <a:spLocks noChangeArrowheads="1"/>
          </p:cNvSpPr>
          <p:nvPr/>
        </p:nvSpPr>
        <p:spPr bwMode="auto">
          <a:xfrm>
            <a:off x="1677317" y="2077030"/>
            <a:ext cx="3742554"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1300" dirty="0">
                <a:solidFill>
                  <a:srgbClr val="000000"/>
                </a:solidFill>
                <a:latin typeface="+mn-lt"/>
                <a:ea typeface="Lato" pitchFamily="34" charset="0"/>
                <a:cs typeface="Lato" pitchFamily="34" charset="0"/>
              </a:rPr>
              <a:t>This is dummy text. Please replace with text, modify the text content, also can copy your content to this directly. This is dummy text. Please replace with text, modify the text content, also can copy your content to this directly.</a:t>
            </a:r>
          </a:p>
          <a:p>
            <a:pPr eaLnBrk="1" hangingPunct="1"/>
            <a:endParaRPr lang="en-US" sz="1300" dirty="0">
              <a:solidFill>
                <a:srgbClr val="000000"/>
              </a:solidFill>
              <a:latin typeface="+mn-lt"/>
              <a:ea typeface="Lato" pitchFamily="34" charset="0"/>
              <a:cs typeface="Lato" pitchFamily="34" charset="0"/>
            </a:endParaRPr>
          </a:p>
        </p:txBody>
      </p:sp>
      <p:grpSp>
        <p:nvGrpSpPr>
          <p:cNvPr id="119" name="Group 238"/>
          <p:cNvGrpSpPr>
            <a:grpSpLocks noChangeAspect="1"/>
          </p:cNvGrpSpPr>
          <p:nvPr/>
        </p:nvGrpSpPr>
        <p:grpSpPr bwMode="auto">
          <a:xfrm>
            <a:off x="8517075" y="1729796"/>
            <a:ext cx="767147" cy="764898"/>
            <a:chOff x="3875" y="720"/>
            <a:chExt cx="341" cy="340"/>
          </a:xfrm>
          <a:solidFill>
            <a:srgbClr val="009A44"/>
          </a:solidFill>
        </p:grpSpPr>
        <p:sp>
          <p:nvSpPr>
            <p:cNvPr id="120"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1"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122" name="Group 238"/>
          <p:cNvGrpSpPr>
            <a:grpSpLocks noChangeAspect="1"/>
          </p:cNvGrpSpPr>
          <p:nvPr/>
        </p:nvGrpSpPr>
        <p:grpSpPr bwMode="auto">
          <a:xfrm>
            <a:off x="8406948" y="3726406"/>
            <a:ext cx="767147" cy="764898"/>
            <a:chOff x="3875" y="720"/>
            <a:chExt cx="341" cy="340"/>
          </a:xfrm>
          <a:solidFill>
            <a:srgbClr val="86BC25"/>
          </a:solidFill>
        </p:grpSpPr>
        <p:sp>
          <p:nvSpPr>
            <p:cNvPr id="123"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4"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125" name="Group 238"/>
          <p:cNvGrpSpPr>
            <a:grpSpLocks noChangeAspect="1"/>
          </p:cNvGrpSpPr>
          <p:nvPr/>
        </p:nvGrpSpPr>
        <p:grpSpPr bwMode="auto">
          <a:xfrm>
            <a:off x="6978153" y="5121021"/>
            <a:ext cx="767147" cy="764898"/>
            <a:chOff x="3875" y="720"/>
            <a:chExt cx="341" cy="340"/>
          </a:xfrm>
          <a:solidFill>
            <a:srgbClr val="000000"/>
          </a:solidFill>
        </p:grpSpPr>
        <p:sp>
          <p:nvSpPr>
            <p:cNvPr id="126"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7"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128" name="Group 238"/>
          <p:cNvGrpSpPr>
            <a:grpSpLocks noChangeAspect="1"/>
          </p:cNvGrpSpPr>
          <p:nvPr/>
        </p:nvGrpSpPr>
        <p:grpSpPr bwMode="auto">
          <a:xfrm>
            <a:off x="1938762" y="3721018"/>
            <a:ext cx="767147" cy="764898"/>
            <a:chOff x="3875" y="720"/>
            <a:chExt cx="341" cy="340"/>
          </a:xfrm>
          <a:solidFill>
            <a:srgbClr val="43B02A"/>
          </a:solidFill>
        </p:grpSpPr>
        <p:sp>
          <p:nvSpPr>
            <p:cNvPr id="129"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30"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131" name="Group 238"/>
          <p:cNvGrpSpPr>
            <a:grpSpLocks noChangeAspect="1"/>
          </p:cNvGrpSpPr>
          <p:nvPr/>
        </p:nvGrpSpPr>
        <p:grpSpPr bwMode="auto">
          <a:xfrm>
            <a:off x="503071" y="5107427"/>
            <a:ext cx="767147" cy="764898"/>
            <a:chOff x="3875" y="720"/>
            <a:chExt cx="341" cy="340"/>
          </a:xfrm>
          <a:solidFill>
            <a:srgbClr val="75787B"/>
          </a:solidFill>
        </p:grpSpPr>
        <p:sp>
          <p:nvSpPr>
            <p:cNvPr id="132"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33"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Tree>
    <p:custDataLst>
      <p:tags r:id="rId1"/>
    </p:custDataLst>
    <p:extLst>
      <p:ext uri="{BB962C8B-B14F-4D97-AF65-F5344CB8AC3E}">
        <p14:creationId xmlns:p14="http://schemas.microsoft.com/office/powerpoint/2010/main" val="1002341658"/>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21"/>
          <p:cNvSpPr>
            <a:spLocks/>
          </p:cNvSpPr>
          <p:nvPr/>
        </p:nvSpPr>
        <p:spPr bwMode="auto">
          <a:xfrm>
            <a:off x="7605565" y="1985115"/>
            <a:ext cx="1367984" cy="1808647"/>
          </a:xfrm>
          <a:custGeom>
            <a:avLst/>
            <a:gdLst>
              <a:gd name="T0" fmla="*/ 43 w 143"/>
              <a:gd name="T1" fmla="*/ 74 h 189"/>
              <a:gd name="T2" fmla="*/ 65 w 143"/>
              <a:gd name="T3" fmla="*/ 95 h 189"/>
              <a:gd name="T4" fmla="*/ 43 w 143"/>
              <a:gd name="T5" fmla="*/ 115 h 189"/>
              <a:gd name="T6" fmla="*/ 43 w 143"/>
              <a:gd name="T7" fmla="*/ 189 h 189"/>
              <a:gd name="T8" fmla="*/ 143 w 143"/>
              <a:gd name="T9" fmla="*/ 95 h 189"/>
              <a:gd name="T10" fmla="*/ 43 w 143"/>
              <a:gd name="T11" fmla="*/ 0 h 189"/>
              <a:gd name="T12" fmla="*/ 0 w 143"/>
              <a:gd name="T13" fmla="*/ 0 h 189"/>
              <a:gd name="T14" fmla="*/ 46 w 143"/>
              <a:gd name="T15" fmla="*/ 37 h 189"/>
              <a:gd name="T16" fmla="*/ 0 w 143"/>
              <a:gd name="T17" fmla="*/ 74 h 189"/>
              <a:gd name="T18" fmla="*/ 43 w 143"/>
              <a:gd name="T19" fmla="*/ 74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89">
                <a:moveTo>
                  <a:pt x="43" y="74"/>
                </a:moveTo>
                <a:cubicBezTo>
                  <a:pt x="55" y="74"/>
                  <a:pt x="65" y="83"/>
                  <a:pt x="65" y="95"/>
                </a:cubicBezTo>
                <a:cubicBezTo>
                  <a:pt x="65" y="106"/>
                  <a:pt x="55" y="115"/>
                  <a:pt x="43" y="115"/>
                </a:cubicBezTo>
                <a:cubicBezTo>
                  <a:pt x="43" y="189"/>
                  <a:pt x="43" y="189"/>
                  <a:pt x="43" y="189"/>
                </a:cubicBezTo>
                <a:cubicBezTo>
                  <a:pt x="98" y="189"/>
                  <a:pt x="143" y="147"/>
                  <a:pt x="143" y="95"/>
                </a:cubicBezTo>
                <a:cubicBezTo>
                  <a:pt x="143" y="42"/>
                  <a:pt x="98" y="0"/>
                  <a:pt x="43" y="0"/>
                </a:cubicBezTo>
                <a:cubicBezTo>
                  <a:pt x="0" y="0"/>
                  <a:pt x="0" y="0"/>
                  <a:pt x="0" y="0"/>
                </a:cubicBezTo>
                <a:cubicBezTo>
                  <a:pt x="46" y="37"/>
                  <a:pt x="46" y="37"/>
                  <a:pt x="46" y="37"/>
                </a:cubicBezTo>
                <a:cubicBezTo>
                  <a:pt x="0" y="74"/>
                  <a:pt x="0" y="74"/>
                  <a:pt x="0" y="74"/>
                </a:cubicBezTo>
                <a:lnTo>
                  <a:pt x="43" y="74"/>
                </a:ln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38" name="Freeform 22"/>
          <p:cNvSpPr>
            <a:spLocks/>
          </p:cNvSpPr>
          <p:nvPr/>
        </p:nvSpPr>
        <p:spPr bwMode="auto">
          <a:xfrm>
            <a:off x="3471251" y="3085391"/>
            <a:ext cx="1177553" cy="1808647"/>
          </a:xfrm>
          <a:custGeom>
            <a:avLst/>
            <a:gdLst>
              <a:gd name="T0" fmla="*/ 93 w 123"/>
              <a:gd name="T1" fmla="*/ 189 h 189"/>
              <a:gd name="T2" fmla="*/ 93 w 123"/>
              <a:gd name="T3" fmla="*/ 114 h 189"/>
              <a:gd name="T4" fmla="*/ 78 w 123"/>
              <a:gd name="T5" fmla="*/ 95 h 189"/>
              <a:gd name="T6" fmla="*/ 100 w 123"/>
              <a:gd name="T7" fmla="*/ 74 h 189"/>
              <a:gd name="T8" fmla="*/ 123 w 123"/>
              <a:gd name="T9" fmla="*/ 74 h 189"/>
              <a:gd name="T10" fmla="*/ 76 w 123"/>
              <a:gd name="T11" fmla="*/ 37 h 189"/>
              <a:gd name="T12" fmla="*/ 123 w 123"/>
              <a:gd name="T13" fmla="*/ 0 h 189"/>
              <a:gd name="T14" fmla="*/ 100 w 123"/>
              <a:gd name="T15" fmla="*/ 0 h 189"/>
              <a:gd name="T16" fmla="*/ 0 w 123"/>
              <a:gd name="T17" fmla="*/ 95 h 189"/>
              <a:gd name="T18" fmla="*/ 93 w 123"/>
              <a:gd name="T1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189">
                <a:moveTo>
                  <a:pt x="93" y="189"/>
                </a:moveTo>
                <a:cubicBezTo>
                  <a:pt x="93" y="114"/>
                  <a:pt x="93" y="114"/>
                  <a:pt x="93" y="114"/>
                </a:cubicBezTo>
                <a:cubicBezTo>
                  <a:pt x="84" y="111"/>
                  <a:pt x="78" y="103"/>
                  <a:pt x="78" y="95"/>
                </a:cubicBezTo>
                <a:cubicBezTo>
                  <a:pt x="78" y="83"/>
                  <a:pt x="88" y="74"/>
                  <a:pt x="100" y="74"/>
                </a:cubicBezTo>
                <a:cubicBezTo>
                  <a:pt x="123" y="74"/>
                  <a:pt x="123" y="74"/>
                  <a:pt x="123" y="74"/>
                </a:cubicBezTo>
                <a:cubicBezTo>
                  <a:pt x="76" y="37"/>
                  <a:pt x="76" y="37"/>
                  <a:pt x="76" y="37"/>
                </a:cubicBezTo>
                <a:cubicBezTo>
                  <a:pt x="123" y="0"/>
                  <a:pt x="123" y="0"/>
                  <a:pt x="123" y="0"/>
                </a:cubicBezTo>
                <a:cubicBezTo>
                  <a:pt x="100" y="0"/>
                  <a:pt x="100" y="0"/>
                  <a:pt x="100" y="0"/>
                </a:cubicBezTo>
                <a:cubicBezTo>
                  <a:pt x="45" y="0"/>
                  <a:pt x="0" y="42"/>
                  <a:pt x="0" y="95"/>
                </a:cubicBezTo>
                <a:cubicBezTo>
                  <a:pt x="0" y="144"/>
                  <a:pt x="41" y="185"/>
                  <a:pt x="93" y="189"/>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39" name="Freeform 23"/>
          <p:cNvSpPr>
            <a:spLocks/>
          </p:cNvSpPr>
          <p:nvPr/>
        </p:nvSpPr>
        <p:spPr bwMode="auto">
          <a:xfrm>
            <a:off x="7605565" y="4204986"/>
            <a:ext cx="1367984" cy="1807728"/>
          </a:xfrm>
          <a:custGeom>
            <a:avLst/>
            <a:gdLst>
              <a:gd name="T0" fmla="*/ 43 w 143"/>
              <a:gd name="T1" fmla="*/ 0 h 189"/>
              <a:gd name="T2" fmla="*/ 0 w 143"/>
              <a:gd name="T3" fmla="*/ 0 h 189"/>
              <a:gd name="T4" fmla="*/ 46 w 143"/>
              <a:gd name="T5" fmla="*/ 37 h 189"/>
              <a:gd name="T6" fmla="*/ 0 w 143"/>
              <a:gd name="T7" fmla="*/ 74 h 189"/>
              <a:gd name="T8" fmla="*/ 43 w 143"/>
              <a:gd name="T9" fmla="*/ 74 h 189"/>
              <a:gd name="T10" fmla="*/ 65 w 143"/>
              <a:gd name="T11" fmla="*/ 94 h 189"/>
              <a:gd name="T12" fmla="*/ 43 w 143"/>
              <a:gd name="T13" fmla="*/ 115 h 189"/>
              <a:gd name="T14" fmla="*/ 32 w 143"/>
              <a:gd name="T15" fmla="*/ 115 h 189"/>
              <a:gd name="T16" fmla="*/ 32 w 143"/>
              <a:gd name="T17" fmla="*/ 189 h 189"/>
              <a:gd name="T18" fmla="*/ 43 w 143"/>
              <a:gd name="T19" fmla="*/ 189 h 189"/>
              <a:gd name="T20" fmla="*/ 143 w 143"/>
              <a:gd name="T21" fmla="*/ 94 h 189"/>
              <a:gd name="T22" fmla="*/ 43 w 143"/>
              <a:gd name="T2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189">
                <a:moveTo>
                  <a:pt x="43" y="0"/>
                </a:moveTo>
                <a:cubicBezTo>
                  <a:pt x="0" y="0"/>
                  <a:pt x="0" y="0"/>
                  <a:pt x="0" y="0"/>
                </a:cubicBezTo>
                <a:cubicBezTo>
                  <a:pt x="46" y="37"/>
                  <a:pt x="46" y="37"/>
                  <a:pt x="46" y="37"/>
                </a:cubicBezTo>
                <a:cubicBezTo>
                  <a:pt x="0" y="74"/>
                  <a:pt x="0" y="74"/>
                  <a:pt x="0" y="74"/>
                </a:cubicBezTo>
                <a:cubicBezTo>
                  <a:pt x="43" y="74"/>
                  <a:pt x="43" y="74"/>
                  <a:pt x="43" y="74"/>
                </a:cubicBezTo>
                <a:cubicBezTo>
                  <a:pt x="55" y="74"/>
                  <a:pt x="65" y="83"/>
                  <a:pt x="65" y="94"/>
                </a:cubicBezTo>
                <a:cubicBezTo>
                  <a:pt x="65" y="106"/>
                  <a:pt x="55" y="115"/>
                  <a:pt x="43" y="115"/>
                </a:cubicBezTo>
                <a:cubicBezTo>
                  <a:pt x="32" y="115"/>
                  <a:pt x="32" y="115"/>
                  <a:pt x="32" y="115"/>
                </a:cubicBezTo>
                <a:cubicBezTo>
                  <a:pt x="32" y="189"/>
                  <a:pt x="32" y="189"/>
                  <a:pt x="32" y="189"/>
                </a:cubicBezTo>
                <a:cubicBezTo>
                  <a:pt x="43" y="189"/>
                  <a:pt x="43" y="189"/>
                  <a:pt x="43" y="189"/>
                </a:cubicBezTo>
                <a:cubicBezTo>
                  <a:pt x="98" y="189"/>
                  <a:pt x="143" y="146"/>
                  <a:pt x="143" y="94"/>
                </a:cubicBezTo>
                <a:cubicBezTo>
                  <a:pt x="143" y="42"/>
                  <a:pt x="98" y="0"/>
                  <a:pt x="43" y="0"/>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53" name="Freeform 17"/>
          <p:cNvSpPr>
            <a:spLocks/>
          </p:cNvSpPr>
          <p:nvPr/>
        </p:nvSpPr>
        <p:spPr bwMode="auto">
          <a:xfrm>
            <a:off x="4265179" y="1928078"/>
            <a:ext cx="3684451" cy="822447"/>
          </a:xfrm>
          <a:custGeom>
            <a:avLst/>
            <a:gdLst>
              <a:gd name="T0" fmla="*/ 4005 w 4005"/>
              <a:gd name="T1" fmla="*/ 447 h 894"/>
              <a:gd name="T2" fmla="*/ 3454 w 4005"/>
              <a:gd name="T3" fmla="*/ 0 h 894"/>
              <a:gd name="T4" fmla="*/ 3454 w 4005"/>
              <a:gd name="T5" fmla="*/ 62 h 894"/>
              <a:gd name="T6" fmla="*/ 0 w 4005"/>
              <a:gd name="T7" fmla="*/ 62 h 894"/>
              <a:gd name="T8" fmla="*/ 0 w 4005"/>
              <a:gd name="T9" fmla="*/ 832 h 894"/>
              <a:gd name="T10" fmla="*/ 3454 w 4005"/>
              <a:gd name="T11" fmla="*/ 832 h 894"/>
              <a:gd name="T12" fmla="*/ 3454 w 4005"/>
              <a:gd name="T13" fmla="*/ 894 h 894"/>
              <a:gd name="T14" fmla="*/ 4005 w 4005"/>
              <a:gd name="T15" fmla="*/ 447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05" h="894">
                <a:moveTo>
                  <a:pt x="4005" y="447"/>
                </a:moveTo>
                <a:lnTo>
                  <a:pt x="3454" y="0"/>
                </a:lnTo>
                <a:lnTo>
                  <a:pt x="3454" y="62"/>
                </a:lnTo>
                <a:lnTo>
                  <a:pt x="0" y="62"/>
                </a:lnTo>
                <a:lnTo>
                  <a:pt x="0" y="832"/>
                </a:lnTo>
                <a:lnTo>
                  <a:pt x="3454" y="832"/>
                </a:lnTo>
                <a:lnTo>
                  <a:pt x="3454" y="894"/>
                </a:lnTo>
                <a:lnTo>
                  <a:pt x="4005" y="447"/>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54" name="TextBox 31"/>
          <p:cNvSpPr txBox="1">
            <a:spLocks noChangeArrowheads="1"/>
          </p:cNvSpPr>
          <p:nvPr/>
        </p:nvSpPr>
        <p:spPr bwMode="auto">
          <a:xfrm>
            <a:off x="5459045" y="2051821"/>
            <a:ext cx="1124686" cy="574961"/>
          </a:xfrm>
          <a:prstGeom prst="rect">
            <a:avLst/>
          </a:prstGeom>
          <a:solidFill>
            <a:srgbClr val="75787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sz="3200" b="1" dirty="0">
                <a:solidFill>
                  <a:schemeClr val="bg1"/>
                </a:solidFill>
                <a:latin typeface="+mn-lt"/>
                <a:ea typeface="Lato Black" pitchFamily="34" charset="0"/>
                <a:cs typeface="Lato Black" pitchFamily="34" charset="0"/>
              </a:rPr>
              <a:t>01</a:t>
            </a:r>
            <a:endParaRPr lang="id-ID" sz="3200" b="1" dirty="0">
              <a:solidFill>
                <a:schemeClr val="bg1"/>
              </a:solidFill>
              <a:latin typeface="+mn-lt"/>
              <a:ea typeface="Lato Black" pitchFamily="34" charset="0"/>
              <a:cs typeface="Lato Black" pitchFamily="34" charset="0"/>
            </a:endParaRPr>
          </a:p>
        </p:txBody>
      </p:sp>
      <p:sp>
        <p:nvSpPr>
          <p:cNvPr id="56" name="Freeform 18"/>
          <p:cNvSpPr>
            <a:spLocks/>
          </p:cNvSpPr>
          <p:nvPr/>
        </p:nvSpPr>
        <p:spPr bwMode="auto">
          <a:xfrm>
            <a:off x="4294618" y="3028353"/>
            <a:ext cx="3626494" cy="822447"/>
          </a:xfrm>
          <a:custGeom>
            <a:avLst/>
            <a:gdLst>
              <a:gd name="T0" fmla="*/ 561 w 3942"/>
              <a:gd name="T1" fmla="*/ 0 h 894"/>
              <a:gd name="T2" fmla="*/ 0 w 3942"/>
              <a:gd name="T3" fmla="*/ 447 h 894"/>
              <a:gd name="T4" fmla="*/ 561 w 3942"/>
              <a:gd name="T5" fmla="*/ 894 h 894"/>
              <a:gd name="T6" fmla="*/ 561 w 3942"/>
              <a:gd name="T7" fmla="*/ 832 h 894"/>
              <a:gd name="T8" fmla="*/ 3942 w 3942"/>
              <a:gd name="T9" fmla="*/ 832 h 894"/>
              <a:gd name="T10" fmla="*/ 3942 w 3942"/>
              <a:gd name="T11" fmla="*/ 62 h 894"/>
              <a:gd name="T12" fmla="*/ 561 w 3942"/>
              <a:gd name="T13" fmla="*/ 62 h 894"/>
              <a:gd name="T14" fmla="*/ 561 w 3942"/>
              <a:gd name="T15" fmla="*/ 0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42" h="894">
                <a:moveTo>
                  <a:pt x="561" y="0"/>
                </a:moveTo>
                <a:lnTo>
                  <a:pt x="0" y="447"/>
                </a:lnTo>
                <a:lnTo>
                  <a:pt x="561" y="894"/>
                </a:lnTo>
                <a:lnTo>
                  <a:pt x="561" y="832"/>
                </a:lnTo>
                <a:lnTo>
                  <a:pt x="3942" y="832"/>
                </a:lnTo>
                <a:lnTo>
                  <a:pt x="3942" y="62"/>
                </a:lnTo>
                <a:lnTo>
                  <a:pt x="561" y="62"/>
                </a:lnTo>
                <a:lnTo>
                  <a:pt x="561"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3" name="TextBox 31"/>
          <p:cNvSpPr txBox="1">
            <a:spLocks noChangeArrowheads="1"/>
          </p:cNvSpPr>
          <p:nvPr/>
        </p:nvSpPr>
        <p:spPr bwMode="auto">
          <a:xfrm>
            <a:off x="5459045" y="3152096"/>
            <a:ext cx="1124686" cy="574961"/>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sz="3200" b="1" dirty="0">
                <a:solidFill>
                  <a:schemeClr val="bg1"/>
                </a:solidFill>
                <a:latin typeface="+mn-lt"/>
                <a:ea typeface="Lato Black" pitchFamily="34" charset="0"/>
                <a:cs typeface="Lato Black" pitchFamily="34" charset="0"/>
              </a:rPr>
              <a:t>02</a:t>
            </a:r>
            <a:endParaRPr lang="id-ID" sz="3200" b="1" dirty="0">
              <a:solidFill>
                <a:schemeClr val="bg1"/>
              </a:solidFill>
              <a:latin typeface="+mn-lt"/>
              <a:ea typeface="Lato Black" pitchFamily="34" charset="0"/>
              <a:cs typeface="Lato Black" pitchFamily="34" charset="0"/>
            </a:endParaRPr>
          </a:p>
        </p:txBody>
      </p:sp>
      <p:sp>
        <p:nvSpPr>
          <p:cNvPr id="66" name="Freeform 19"/>
          <p:cNvSpPr>
            <a:spLocks/>
          </p:cNvSpPr>
          <p:nvPr/>
        </p:nvSpPr>
        <p:spPr bwMode="auto">
          <a:xfrm>
            <a:off x="4438132" y="4128629"/>
            <a:ext cx="3511498" cy="822447"/>
          </a:xfrm>
          <a:custGeom>
            <a:avLst/>
            <a:gdLst>
              <a:gd name="T0" fmla="*/ 3817 w 3817"/>
              <a:gd name="T1" fmla="*/ 447 h 894"/>
              <a:gd name="T2" fmla="*/ 3266 w 3817"/>
              <a:gd name="T3" fmla="*/ 0 h 894"/>
              <a:gd name="T4" fmla="*/ 3266 w 3817"/>
              <a:gd name="T5" fmla="*/ 62 h 894"/>
              <a:gd name="T6" fmla="*/ 0 w 3817"/>
              <a:gd name="T7" fmla="*/ 62 h 894"/>
              <a:gd name="T8" fmla="*/ 0 w 3817"/>
              <a:gd name="T9" fmla="*/ 832 h 894"/>
              <a:gd name="T10" fmla="*/ 3266 w 3817"/>
              <a:gd name="T11" fmla="*/ 832 h 894"/>
              <a:gd name="T12" fmla="*/ 3266 w 3817"/>
              <a:gd name="T13" fmla="*/ 894 h 894"/>
              <a:gd name="T14" fmla="*/ 3817 w 3817"/>
              <a:gd name="T15" fmla="*/ 447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17" h="894">
                <a:moveTo>
                  <a:pt x="3817" y="447"/>
                </a:moveTo>
                <a:lnTo>
                  <a:pt x="3266" y="0"/>
                </a:lnTo>
                <a:lnTo>
                  <a:pt x="3266" y="62"/>
                </a:lnTo>
                <a:lnTo>
                  <a:pt x="0" y="62"/>
                </a:lnTo>
                <a:lnTo>
                  <a:pt x="0" y="832"/>
                </a:lnTo>
                <a:lnTo>
                  <a:pt x="3266" y="832"/>
                </a:lnTo>
                <a:lnTo>
                  <a:pt x="3266" y="894"/>
                </a:lnTo>
                <a:lnTo>
                  <a:pt x="3817" y="447"/>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7" name="TextBox 31"/>
          <p:cNvSpPr txBox="1">
            <a:spLocks noChangeArrowheads="1"/>
          </p:cNvSpPr>
          <p:nvPr/>
        </p:nvSpPr>
        <p:spPr bwMode="auto">
          <a:xfrm>
            <a:off x="5459045" y="4252372"/>
            <a:ext cx="1124686" cy="574961"/>
          </a:xfrm>
          <a:prstGeom prst="rect">
            <a:avLst/>
          </a:prstGeom>
          <a:solidFill>
            <a:srgbClr val="43B02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sz="3200" b="1" dirty="0">
                <a:solidFill>
                  <a:schemeClr val="bg1"/>
                </a:solidFill>
                <a:latin typeface="+mn-lt"/>
                <a:ea typeface="Lato Black" pitchFamily="34" charset="0"/>
                <a:cs typeface="Lato Black" pitchFamily="34" charset="0"/>
              </a:rPr>
              <a:t>03</a:t>
            </a:r>
            <a:endParaRPr lang="id-ID" sz="3200" b="1" dirty="0">
              <a:solidFill>
                <a:schemeClr val="bg1"/>
              </a:solidFill>
              <a:latin typeface="+mn-lt"/>
              <a:ea typeface="Lato Black" pitchFamily="34" charset="0"/>
              <a:cs typeface="Lato Black" pitchFamily="34" charset="0"/>
            </a:endParaRPr>
          </a:p>
        </p:txBody>
      </p:sp>
      <p:sp>
        <p:nvSpPr>
          <p:cNvPr id="69" name="Freeform 20"/>
          <p:cNvSpPr>
            <a:spLocks/>
          </p:cNvSpPr>
          <p:nvPr/>
        </p:nvSpPr>
        <p:spPr bwMode="auto">
          <a:xfrm>
            <a:off x="4236660" y="5228905"/>
            <a:ext cx="3569456" cy="822447"/>
          </a:xfrm>
          <a:custGeom>
            <a:avLst/>
            <a:gdLst>
              <a:gd name="T0" fmla="*/ 562 w 3880"/>
              <a:gd name="T1" fmla="*/ 0 h 894"/>
              <a:gd name="T2" fmla="*/ 0 w 3880"/>
              <a:gd name="T3" fmla="*/ 447 h 894"/>
              <a:gd name="T4" fmla="*/ 562 w 3880"/>
              <a:gd name="T5" fmla="*/ 894 h 894"/>
              <a:gd name="T6" fmla="*/ 562 w 3880"/>
              <a:gd name="T7" fmla="*/ 831 h 894"/>
              <a:gd name="T8" fmla="*/ 3880 w 3880"/>
              <a:gd name="T9" fmla="*/ 831 h 894"/>
              <a:gd name="T10" fmla="*/ 3880 w 3880"/>
              <a:gd name="T11" fmla="*/ 62 h 894"/>
              <a:gd name="T12" fmla="*/ 562 w 3880"/>
              <a:gd name="T13" fmla="*/ 62 h 894"/>
              <a:gd name="T14" fmla="*/ 562 w 3880"/>
              <a:gd name="T15" fmla="*/ 0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80" h="894">
                <a:moveTo>
                  <a:pt x="562" y="0"/>
                </a:moveTo>
                <a:lnTo>
                  <a:pt x="0" y="447"/>
                </a:lnTo>
                <a:lnTo>
                  <a:pt x="562" y="894"/>
                </a:lnTo>
                <a:lnTo>
                  <a:pt x="562" y="831"/>
                </a:lnTo>
                <a:lnTo>
                  <a:pt x="3880" y="831"/>
                </a:lnTo>
                <a:lnTo>
                  <a:pt x="3880" y="62"/>
                </a:lnTo>
                <a:lnTo>
                  <a:pt x="562" y="62"/>
                </a:lnTo>
                <a:lnTo>
                  <a:pt x="562"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70" name="TextBox 31"/>
          <p:cNvSpPr txBox="1">
            <a:spLocks noChangeArrowheads="1"/>
          </p:cNvSpPr>
          <p:nvPr/>
        </p:nvSpPr>
        <p:spPr bwMode="auto">
          <a:xfrm>
            <a:off x="5459045" y="5352648"/>
            <a:ext cx="1124686" cy="57496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sz="3200" b="1" dirty="0">
                <a:solidFill>
                  <a:schemeClr val="bg1"/>
                </a:solidFill>
                <a:latin typeface="+mn-lt"/>
                <a:ea typeface="Lato Black" pitchFamily="34" charset="0"/>
                <a:cs typeface="Lato Black" pitchFamily="34" charset="0"/>
              </a:rPr>
              <a:t>04</a:t>
            </a:r>
            <a:endParaRPr lang="id-ID" sz="3200" b="1" dirty="0">
              <a:solidFill>
                <a:schemeClr val="bg1"/>
              </a:solidFill>
              <a:latin typeface="+mn-lt"/>
              <a:ea typeface="Lato Black" pitchFamily="34" charset="0"/>
              <a:cs typeface="Lato Black" pitchFamily="34" charset="0"/>
            </a:endParaRPr>
          </a:p>
        </p:txBody>
      </p:sp>
      <p:sp>
        <p:nvSpPr>
          <p:cNvPr id="72" name="TextBox 31"/>
          <p:cNvSpPr txBox="1">
            <a:spLocks noChangeArrowheads="1"/>
          </p:cNvSpPr>
          <p:nvPr/>
        </p:nvSpPr>
        <p:spPr bwMode="auto">
          <a:xfrm>
            <a:off x="825548" y="2434476"/>
            <a:ext cx="1660605" cy="636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b="1" dirty="0">
                <a:solidFill>
                  <a:srgbClr val="75787B"/>
                </a:solidFill>
                <a:latin typeface="+mn-lt"/>
                <a:ea typeface="Lato Black" pitchFamily="34" charset="0"/>
                <a:cs typeface="Lato Black" pitchFamily="34" charset="0"/>
              </a:rPr>
              <a:t>0%</a:t>
            </a:r>
            <a:endParaRPr lang="id-ID" b="1" dirty="0">
              <a:solidFill>
                <a:srgbClr val="75787B"/>
              </a:solidFill>
              <a:latin typeface="+mn-lt"/>
              <a:ea typeface="Lato Black" pitchFamily="34" charset="0"/>
              <a:cs typeface="Lato Black" pitchFamily="34" charset="0"/>
            </a:endParaRPr>
          </a:p>
        </p:txBody>
      </p:sp>
      <p:sp>
        <p:nvSpPr>
          <p:cNvPr id="73" name="TextBox 142"/>
          <p:cNvSpPr txBox="1"/>
          <p:nvPr/>
        </p:nvSpPr>
        <p:spPr>
          <a:xfrm>
            <a:off x="570654" y="3013989"/>
            <a:ext cx="2644172" cy="600164"/>
          </a:xfrm>
          <a:prstGeom prst="rect">
            <a:avLst/>
          </a:prstGeom>
          <a:noFill/>
        </p:spPr>
        <p:txBody>
          <a:bodyPr wrap="square" lIns="0" tIns="0" rIns="0" bIns="0" rtlCol="0">
            <a:spAutoFit/>
          </a:bodyPr>
          <a:lstStyle/>
          <a:p>
            <a:pPr algn="ctr"/>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cxnSp>
        <p:nvCxnSpPr>
          <p:cNvPr id="74" name="ตัวเชื่อมต่อตรง 237"/>
          <p:cNvCxnSpPr/>
          <p:nvPr/>
        </p:nvCxnSpPr>
        <p:spPr>
          <a:xfrm>
            <a:off x="570654" y="3845719"/>
            <a:ext cx="2644171" cy="0"/>
          </a:xfrm>
          <a:prstGeom prst="straightConnector1">
            <a:avLst/>
          </a:prstGeom>
          <a:ln w="44450">
            <a:solidFill>
              <a:srgbClr val="75787B"/>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81" name="TextBox 31"/>
          <p:cNvSpPr txBox="1">
            <a:spLocks noChangeArrowheads="1"/>
          </p:cNvSpPr>
          <p:nvPr/>
        </p:nvSpPr>
        <p:spPr bwMode="auto">
          <a:xfrm>
            <a:off x="9681753" y="2434476"/>
            <a:ext cx="1660605" cy="636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b="1" dirty="0">
                <a:solidFill>
                  <a:schemeClr val="accent3"/>
                </a:solidFill>
                <a:latin typeface="+mn-lt"/>
                <a:ea typeface="Lato Black" pitchFamily="34" charset="0"/>
                <a:cs typeface="Lato Black" pitchFamily="34" charset="0"/>
              </a:rPr>
              <a:t>0%</a:t>
            </a:r>
            <a:endParaRPr lang="id-ID" b="1" dirty="0">
              <a:solidFill>
                <a:schemeClr val="accent3"/>
              </a:solidFill>
              <a:latin typeface="+mn-lt"/>
              <a:ea typeface="Lato Black" pitchFamily="34" charset="0"/>
              <a:cs typeface="Lato Black" pitchFamily="34" charset="0"/>
            </a:endParaRPr>
          </a:p>
        </p:txBody>
      </p:sp>
      <p:sp>
        <p:nvSpPr>
          <p:cNvPr id="82" name="TextBox 160"/>
          <p:cNvSpPr txBox="1"/>
          <p:nvPr/>
        </p:nvSpPr>
        <p:spPr>
          <a:xfrm>
            <a:off x="9097348" y="3013989"/>
            <a:ext cx="2499904" cy="600164"/>
          </a:xfrm>
          <a:prstGeom prst="rect">
            <a:avLst/>
          </a:prstGeom>
          <a:noFill/>
        </p:spPr>
        <p:txBody>
          <a:bodyPr wrap="square" lIns="0" tIns="0" rIns="0" bIns="0" rtlCol="0">
            <a:spAutoFit/>
          </a:bodyPr>
          <a:lstStyle/>
          <a:p>
            <a:pPr algn="ctr"/>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cxnSp>
        <p:nvCxnSpPr>
          <p:cNvPr id="83" name="ตัวเชื่อมต่อตรง 237"/>
          <p:cNvCxnSpPr/>
          <p:nvPr/>
        </p:nvCxnSpPr>
        <p:spPr>
          <a:xfrm>
            <a:off x="9097347" y="3859974"/>
            <a:ext cx="2499904" cy="0"/>
          </a:xfrm>
          <a:prstGeom prst="straightConnector1">
            <a:avLst/>
          </a:prstGeom>
          <a:ln w="44450">
            <a:solidFill>
              <a:srgbClr val="75787B"/>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85" name="TextBox 31"/>
          <p:cNvSpPr txBox="1">
            <a:spLocks noChangeArrowheads="1"/>
          </p:cNvSpPr>
          <p:nvPr/>
        </p:nvSpPr>
        <p:spPr bwMode="auto">
          <a:xfrm>
            <a:off x="9681753" y="5081645"/>
            <a:ext cx="1660605" cy="636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b="1" dirty="0">
                <a:solidFill>
                  <a:srgbClr val="43B02A"/>
                </a:solidFill>
                <a:latin typeface="+mn-lt"/>
                <a:ea typeface="Lato Black" pitchFamily="34" charset="0"/>
                <a:cs typeface="Lato Black" pitchFamily="34" charset="0"/>
              </a:rPr>
              <a:t>0%</a:t>
            </a:r>
            <a:endParaRPr lang="id-ID" b="1" dirty="0">
              <a:solidFill>
                <a:srgbClr val="43B02A"/>
              </a:solidFill>
              <a:latin typeface="+mn-lt"/>
              <a:ea typeface="Lato Black" pitchFamily="34" charset="0"/>
              <a:cs typeface="Lato Black" pitchFamily="34" charset="0"/>
            </a:endParaRPr>
          </a:p>
        </p:txBody>
      </p:sp>
      <p:sp>
        <p:nvSpPr>
          <p:cNvPr id="86" name="TextBox 164"/>
          <p:cNvSpPr txBox="1"/>
          <p:nvPr/>
        </p:nvSpPr>
        <p:spPr>
          <a:xfrm>
            <a:off x="9097348" y="5612604"/>
            <a:ext cx="2499904" cy="600164"/>
          </a:xfrm>
          <a:prstGeom prst="rect">
            <a:avLst/>
          </a:prstGeom>
          <a:noFill/>
        </p:spPr>
        <p:txBody>
          <a:bodyPr wrap="square" lIns="0" tIns="0" rIns="0" bIns="0" rtlCol="0">
            <a:spAutoFit/>
          </a:bodyPr>
          <a:lstStyle/>
          <a:p>
            <a:pPr algn="ctr"/>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96" name="TextBox 31"/>
          <p:cNvSpPr txBox="1">
            <a:spLocks noChangeArrowheads="1"/>
          </p:cNvSpPr>
          <p:nvPr/>
        </p:nvSpPr>
        <p:spPr bwMode="auto">
          <a:xfrm>
            <a:off x="825548" y="5081645"/>
            <a:ext cx="1660605" cy="636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b="1" dirty="0">
                <a:solidFill>
                  <a:srgbClr val="000000"/>
                </a:solidFill>
                <a:latin typeface="+mn-lt"/>
                <a:ea typeface="Lato Black" pitchFamily="34" charset="0"/>
                <a:cs typeface="Lato Black" pitchFamily="34" charset="0"/>
              </a:rPr>
              <a:t>0%</a:t>
            </a:r>
            <a:endParaRPr lang="id-ID" b="1" dirty="0">
              <a:solidFill>
                <a:srgbClr val="000000"/>
              </a:solidFill>
              <a:latin typeface="+mn-lt"/>
              <a:ea typeface="Lato Black" pitchFamily="34" charset="0"/>
              <a:cs typeface="Lato Black" pitchFamily="34" charset="0"/>
            </a:endParaRPr>
          </a:p>
        </p:txBody>
      </p:sp>
      <p:sp>
        <p:nvSpPr>
          <p:cNvPr id="97" name="TextBox 174"/>
          <p:cNvSpPr txBox="1"/>
          <p:nvPr/>
        </p:nvSpPr>
        <p:spPr>
          <a:xfrm>
            <a:off x="570654" y="5612604"/>
            <a:ext cx="2644172" cy="600164"/>
          </a:xfrm>
          <a:prstGeom prst="rect">
            <a:avLst/>
          </a:prstGeom>
          <a:noFill/>
        </p:spPr>
        <p:txBody>
          <a:bodyPr wrap="square" lIns="0" tIns="0" rIns="0" bIns="0" rtlCol="0">
            <a:spAutoFit/>
          </a:bodyPr>
          <a:lstStyle/>
          <a:p>
            <a:pPr algn="ctr"/>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98" name="Freeform 984"/>
          <p:cNvSpPr>
            <a:spLocks noChangeAspect="1" noEditPoints="1"/>
          </p:cNvSpPr>
          <p:nvPr/>
        </p:nvSpPr>
        <p:spPr bwMode="auto">
          <a:xfrm>
            <a:off x="1268575" y="1714500"/>
            <a:ext cx="774551" cy="7722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99" name="Freeform 984"/>
          <p:cNvSpPr>
            <a:spLocks noChangeAspect="1" noEditPoints="1"/>
          </p:cNvSpPr>
          <p:nvPr/>
        </p:nvSpPr>
        <p:spPr bwMode="auto">
          <a:xfrm>
            <a:off x="10124780" y="1722610"/>
            <a:ext cx="774551" cy="7722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00" name="Freeform 984"/>
          <p:cNvSpPr>
            <a:spLocks noChangeAspect="1" noEditPoints="1"/>
          </p:cNvSpPr>
          <p:nvPr/>
        </p:nvSpPr>
        <p:spPr bwMode="auto">
          <a:xfrm>
            <a:off x="10124780" y="4358624"/>
            <a:ext cx="774551" cy="7722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01" name="Freeform 984"/>
          <p:cNvSpPr>
            <a:spLocks noChangeAspect="1" noEditPoints="1"/>
          </p:cNvSpPr>
          <p:nvPr/>
        </p:nvSpPr>
        <p:spPr bwMode="auto">
          <a:xfrm>
            <a:off x="1268575" y="4358624"/>
            <a:ext cx="774551" cy="7722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custDataLst>
      <p:tags r:id="rId1"/>
    </p:custDataLst>
    <p:extLst>
      <p:ext uri="{BB962C8B-B14F-4D97-AF65-F5344CB8AC3E}">
        <p14:creationId xmlns:p14="http://schemas.microsoft.com/office/powerpoint/2010/main" val="1692132616"/>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5"/>
          <p:cNvSpPr>
            <a:spLocks/>
          </p:cNvSpPr>
          <p:nvPr/>
        </p:nvSpPr>
        <p:spPr bwMode="auto">
          <a:xfrm>
            <a:off x="3180945" y="1876147"/>
            <a:ext cx="5830110" cy="1167640"/>
          </a:xfrm>
          <a:prstGeom prst="roundRect">
            <a:avLst/>
          </a:prstGeom>
          <a:solidFill>
            <a:srgbClr val="53565A"/>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lvl="0"/>
            <a:r>
              <a:rPr lang="da-DK" altLang="zh-CN" sz="1300" b="1" dirty="0">
                <a:solidFill>
                  <a:srgbClr val="FFFFFF"/>
                </a:solidFill>
                <a:ea typeface="Verdana" panose="020B0604030504040204" pitchFamily="34" charset="0"/>
                <a:cs typeface="Verdana" panose="020B0604030504040204" pitchFamily="34" charset="0"/>
              </a:rPr>
              <a:t>Lorem ipsum dolor sit amet</a:t>
            </a:r>
          </a:p>
          <a:p>
            <a:pPr lvl="0"/>
            <a:endParaRPr lang="da-DK" altLang="zh-CN" sz="1300" b="1" dirty="0">
              <a:solidFill>
                <a:srgbClr val="FFFFFF"/>
              </a:solidFill>
              <a:ea typeface="Verdana" panose="020B0604030504040204" pitchFamily="34" charset="0"/>
              <a:cs typeface="Verdana" panose="020B0604030504040204" pitchFamily="34" charset="0"/>
            </a:endParaRPr>
          </a:p>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Please replace with text, modify the text content, also can copy your content to this directly.</a:t>
            </a:r>
          </a:p>
        </p:txBody>
      </p:sp>
      <p:sp>
        <p:nvSpPr>
          <p:cNvPr id="10" name="Freeform 8"/>
          <p:cNvSpPr>
            <a:spLocks/>
          </p:cNvSpPr>
          <p:nvPr/>
        </p:nvSpPr>
        <p:spPr bwMode="auto">
          <a:xfrm>
            <a:off x="476386" y="3348159"/>
            <a:ext cx="4238560" cy="1223043"/>
          </a:xfrm>
          <a:prstGeom prst="roundRect">
            <a:avLst/>
          </a:prstGeom>
          <a:solidFill>
            <a:schemeClr val="accent3"/>
          </a:solidFill>
          <a:ln w="12700" cap="rnd">
            <a:noFill/>
            <a:prstDash val="solid"/>
            <a:round/>
            <a:headEnd/>
            <a:tailEnd/>
          </a:ln>
        </p:spPr>
        <p:txBody>
          <a:bodyPr vert="horz" wrap="square" lIns="91440" tIns="45720" rIns="180000" bIns="45720" numCol="1" anchor="t" anchorCtr="0" compatLnSpc="1">
            <a:prstTxWarp prst="textNoShape">
              <a:avLst/>
            </a:prstTxWarp>
          </a:bodyPr>
          <a:lstStyle/>
          <a:p>
            <a:pPr lvl="0"/>
            <a:r>
              <a:rPr lang="da-DK" altLang="zh-CN" sz="1300" b="1" dirty="0">
                <a:solidFill>
                  <a:srgbClr val="FFFFFF"/>
                </a:solidFill>
                <a:ea typeface="Verdana" panose="020B0604030504040204" pitchFamily="34" charset="0"/>
                <a:cs typeface="Verdana" panose="020B0604030504040204" pitchFamily="34" charset="0"/>
              </a:rPr>
              <a:t>Lorem ipsum dolor sit amet</a:t>
            </a:r>
          </a:p>
          <a:p>
            <a:pPr lvl="0"/>
            <a:endParaRPr lang="da-DK" altLang="zh-CN" sz="1300" b="1" dirty="0">
              <a:solidFill>
                <a:srgbClr val="FFFFFF"/>
              </a:solidFill>
              <a:ea typeface="Verdana" panose="020B0604030504040204" pitchFamily="34" charset="0"/>
              <a:cs typeface="Verdana" panose="020B0604030504040204" pitchFamily="34" charset="0"/>
            </a:endParaRPr>
          </a:p>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Please replace with text, modify the text content, also can copy your content to this directly.</a:t>
            </a:r>
          </a:p>
        </p:txBody>
      </p:sp>
      <p:sp>
        <p:nvSpPr>
          <p:cNvPr id="8" name="Freeform 6"/>
          <p:cNvSpPr>
            <a:spLocks/>
          </p:cNvSpPr>
          <p:nvPr/>
        </p:nvSpPr>
        <p:spPr bwMode="auto">
          <a:xfrm>
            <a:off x="7539187" y="3341284"/>
            <a:ext cx="4182914" cy="1246559"/>
          </a:xfrm>
          <a:prstGeom prst="roundRect">
            <a:avLst/>
          </a:prstGeom>
          <a:solidFill>
            <a:srgbClr val="FFFFFF"/>
          </a:solidFill>
          <a:ln w="12700" cap="rnd">
            <a:noFill/>
            <a:prstDash val="solid"/>
            <a:round/>
            <a:headEnd/>
            <a:tailEnd/>
          </a:ln>
        </p:spPr>
        <p:txBody>
          <a:bodyPr vert="horz" wrap="square" lIns="180000" tIns="45720" rIns="91440" bIns="45720" numCol="1" anchor="t" anchorCtr="0" compatLnSpc="1">
            <a:prstTxWarp prst="textNoShape">
              <a:avLst/>
            </a:prstTxWarp>
          </a:bodyPr>
          <a:lstStyle/>
          <a:p>
            <a:pPr lvl="0"/>
            <a:r>
              <a:rPr lang="da-DK" altLang="zh-CN" sz="1300" b="1" dirty="0">
                <a:solidFill>
                  <a:srgbClr val="000000"/>
                </a:solidFill>
                <a:ea typeface="Verdana" panose="020B0604030504040204" pitchFamily="34" charset="0"/>
                <a:cs typeface="Verdana" panose="020B0604030504040204" pitchFamily="34" charset="0"/>
              </a:rPr>
              <a:t>Lorem ipsum dolor sit amet</a:t>
            </a:r>
          </a:p>
          <a:p>
            <a:pPr lvl="0"/>
            <a:endParaRPr lang="da-DK" altLang="zh-CN" sz="1300" b="1" dirty="0">
              <a:solidFill>
                <a:srgbClr val="000000"/>
              </a:solidFill>
              <a:ea typeface="Verdana" panose="020B0604030504040204" pitchFamily="34" charset="0"/>
              <a:cs typeface="Verdana" panose="020B0604030504040204" pitchFamily="34" charset="0"/>
            </a:endParaRPr>
          </a:p>
          <a:p>
            <a:pPr marL="180000" lvl="0" indent="-180000">
              <a:buFont typeface="Arial" panose="020B0604020202020204" pitchFamily="34" charset="0"/>
              <a:buChar char="•"/>
            </a:pPr>
            <a:r>
              <a:rPr lang="en-US" altLang="zh-CN" sz="1300" dirty="0">
                <a:solidFill>
                  <a:srgbClr val="000000"/>
                </a:solidFill>
                <a:ea typeface="Verdana" panose="020B0604030504040204" pitchFamily="34" charset="0"/>
                <a:cs typeface="Verdana" panose="020B0604030504040204" pitchFamily="34" charset="0"/>
              </a:rPr>
              <a:t>This is dummy text. Please replace with text, modify the text content, also can copy your content to this directly.</a:t>
            </a:r>
          </a:p>
        </p:txBody>
      </p:sp>
      <p:sp>
        <p:nvSpPr>
          <p:cNvPr id="9" name="Freeform 7"/>
          <p:cNvSpPr>
            <a:spLocks/>
          </p:cNvSpPr>
          <p:nvPr/>
        </p:nvSpPr>
        <p:spPr bwMode="auto">
          <a:xfrm>
            <a:off x="7101887" y="5061234"/>
            <a:ext cx="4620213" cy="1146217"/>
          </a:xfrm>
          <a:prstGeom prst="roundRect">
            <a:avLst/>
          </a:prstGeom>
          <a:solidFill>
            <a:srgbClr val="86BC25"/>
          </a:solidFill>
          <a:ln w="12700" cap="rnd">
            <a:noFill/>
            <a:prstDash val="solid"/>
            <a:round/>
            <a:headEnd/>
            <a:tailEnd/>
          </a:ln>
        </p:spPr>
        <p:txBody>
          <a:bodyPr vert="horz" wrap="square" lIns="360000" tIns="45720" rIns="91440" bIns="45720" numCol="1" anchor="t" anchorCtr="0" compatLnSpc="1">
            <a:prstTxWarp prst="textNoShape">
              <a:avLst/>
            </a:prstTxWarp>
          </a:bodyPr>
          <a:lstStyle/>
          <a:p>
            <a:pPr lvl="0"/>
            <a:r>
              <a:rPr lang="da-DK" altLang="zh-CN" sz="1300" b="1" dirty="0">
                <a:solidFill>
                  <a:srgbClr val="FFFFFF"/>
                </a:solidFill>
                <a:ea typeface="Verdana" panose="020B0604030504040204" pitchFamily="34" charset="0"/>
                <a:cs typeface="Verdana" panose="020B0604030504040204" pitchFamily="34" charset="0"/>
              </a:rPr>
              <a:t>Lorem ipsum dolor sit amet</a:t>
            </a:r>
          </a:p>
          <a:p>
            <a:pPr lvl="0"/>
            <a:endParaRPr lang="da-DK" altLang="zh-CN" sz="1300" b="1" dirty="0">
              <a:solidFill>
                <a:srgbClr val="FFFFFF"/>
              </a:solidFill>
              <a:ea typeface="Verdana" panose="020B0604030504040204" pitchFamily="34" charset="0"/>
              <a:cs typeface="Verdana" panose="020B0604030504040204" pitchFamily="34" charset="0"/>
            </a:endParaRPr>
          </a:p>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Please replace with text, modify the text content, also can copy your content to this directly.</a:t>
            </a:r>
          </a:p>
        </p:txBody>
      </p:sp>
      <p:sp>
        <p:nvSpPr>
          <p:cNvPr id="11" name="Freeform 9"/>
          <p:cNvSpPr>
            <a:spLocks/>
          </p:cNvSpPr>
          <p:nvPr/>
        </p:nvSpPr>
        <p:spPr bwMode="auto">
          <a:xfrm>
            <a:off x="476255" y="5061234"/>
            <a:ext cx="4652005" cy="1146356"/>
          </a:xfrm>
          <a:prstGeom prst="roundRect">
            <a:avLst/>
          </a:prstGeom>
          <a:solidFill>
            <a:srgbClr val="43B02A"/>
          </a:solidFill>
          <a:ln w="12700" cap="rnd">
            <a:noFill/>
            <a:prstDash val="solid"/>
            <a:round/>
            <a:headEnd/>
            <a:tailEnd/>
          </a:ln>
        </p:spPr>
        <p:txBody>
          <a:bodyPr vert="horz" wrap="square" lIns="91440" tIns="45720" rIns="252000" bIns="45720" numCol="1" anchor="t" anchorCtr="0" compatLnSpc="1">
            <a:prstTxWarp prst="textNoShape">
              <a:avLst/>
            </a:prstTxWarp>
          </a:bodyPr>
          <a:lstStyle/>
          <a:p>
            <a:pPr lvl="0"/>
            <a:r>
              <a:rPr lang="da-DK" altLang="zh-CN" sz="1300" b="1" dirty="0">
                <a:solidFill>
                  <a:srgbClr val="FFFFFF"/>
                </a:solidFill>
                <a:ea typeface="Verdana" panose="020B0604030504040204" pitchFamily="34" charset="0"/>
                <a:cs typeface="Verdana" panose="020B0604030504040204" pitchFamily="34" charset="0"/>
              </a:rPr>
              <a:t>Lorem ipsum dolor sit amet</a:t>
            </a:r>
          </a:p>
          <a:p>
            <a:pPr lvl="0"/>
            <a:endParaRPr lang="da-DK" altLang="zh-CN" sz="1300" b="1" dirty="0">
              <a:solidFill>
                <a:srgbClr val="FFFFFF"/>
              </a:solidFill>
              <a:ea typeface="Verdana" panose="020B0604030504040204" pitchFamily="34" charset="0"/>
              <a:cs typeface="Verdana" panose="020B0604030504040204" pitchFamily="34" charset="0"/>
            </a:endParaRPr>
          </a:p>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Please replace with text, modify the text content, also can copy your content to this directly.</a:t>
            </a:r>
          </a:p>
        </p:txBody>
      </p:sp>
      <p:sp>
        <p:nvSpPr>
          <p:cNvPr id="87" name="Rectangle 4"/>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sp>
        <p:nvSpPr>
          <p:cNvPr id="88" name="Rectangle 5"/>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sp>
        <p:nvSpPr>
          <p:cNvPr id="732" name="îśḻíḍè">
            <a:extLst>
              <a:ext uri="{FF2B5EF4-FFF2-40B4-BE49-F238E27FC236}">
                <a16:creationId xmlns:a16="http://schemas.microsoft.com/office/drawing/2014/main" id="{1A4FC03E-FCE3-42E9-AF13-1FC436F03B0F}"/>
              </a:ext>
            </a:extLst>
          </p:cNvPr>
          <p:cNvSpPr/>
          <p:nvPr/>
        </p:nvSpPr>
        <p:spPr>
          <a:xfrm>
            <a:off x="4861656" y="3308126"/>
            <a:ext cx="2462301" cy="2462301"/>
          </a:xfrm>
          <a:prstGeom prst="ellipse">
            <a:avLst/>
          </a:prstGeom>
          <a:noFill/>
          <a:ln w="12700" cap="flat" cmpd="sng" algn="ctr">
            <a:solidFill>
              <a:srgbClr val="75787B"/>
            </a:solid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sp>
        <p:nvSpPr>
          <p:cNvPr id="733" name="íṥḻîḓé">
            <a:extLst>
              <a:ext uri="{FF2B5EF4-FFF2-40B4-BE49-F238E27FC236}">
                <a16:creationId xmlns:a16="http://schemas.microsoft.com/office/drawing/2014/main" id="{9C355E5B-7F5E-44AA-930F-DCF2DA6570E7}"/>
              </a:ext>
            </a:extLst>
          </p:cNvPr>
          <p:cNvSpPr/>
          <p:nvPr/>
        </p:nvSpPr>
        <p:spPr>
          <a:xfrm>
            <a:off x="5750722" y="2986356"/>
            <a:ext cx="684171" cy="684170"/>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rgbClr val="0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sp>
        <p:nvSpPr>
          <p:cNvPr id="734" name="îsļíḍé">
            <a:extLst>
              <a:ext uri="{FF2B5EF4-FFF2-40B4-BE49-F238E27FC236}">
                <a16:creationId xmlns:a16="http://schemas.microsoft.com/office/drawing/2014/main" id="{EF3476F9-1EE1-4E2D-AF97-A9F308A1EED8}"/>
              </a:ext>
            </a:extLst>
          </p:cNvPr>
          <p:cNvSpPr/>
          <p:nvPr/>
        </p:nvSpPr>
        <p:spPr>
          <a:xfrm>
            <a:off x="6982610" y="3788894"/>
            <a:ext cx="684175" cy="684171"/>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rgbClr val="0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sp>
        <p:nvSpPr>
          <p:cNvPr id="735" name="iŝḷîďe">
            <a:extLst>
              <a:ext uri="{FF2B5EF4-FFF2-40B4-BE49-F238E27FC236}">
                <a16:creationId xmlns:a16="http://schemas.microsoft.com/office/drawing/2014/main" id="{32DC892A-11AD-47F5-8289-F985A778115E}"/>
              </a:ext>
            </a:extLst>
          </p:cNvPr>
          <p:cNvSpPr/>
          <p:nvPr/>
        </p:nvSpPr>
        <p:spPr>
          <a:xfrm>
            <a:off x="6684134" y="4948393"/>
            <a:ext cx="684171" cy="684171"/>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rgbClr val="0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sp>
        <p:nvSpPr>
          <p:cNvPr id="736" name="ísḷîḋè">
            <a:extLst>
              <a:ext uri="{FF2B5EF4-FFF2-40B4-BE49-F238E27FC236}">
                <a16:creationId xmlns:a16="http://schemas.microsoft.com/office/drawing/2014/main" id="{C3A805A6-7333-432E-ADD9-CFD6816FFAE4}"/>
              </a:ext>
            </a:extLst>
          </p:cNvPr>
          <p:cNvSpPr/>
          <p:nvPr/>
        </p:nvSpPr>
        <p:spPr>
          <a:xfrm>
            <a:off x="4817971" y="4948393"/>
            <a:ext cx="684171" cy="684171"/>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rgbClr val="0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sp>
        <p:nvSpPr>
          <p:cNvPr id="737" name="iṧľíḓê">
            <a:extLst>
              <a:ext uri="{FF2B5EF4-FFF2-40B4-BE49-F238E27FC236}">
                <a16:creationId xmlns:a16="http://schemas.microsoft.com/office/drawing/2014/main" id="{6A1F07D4-B1BB-471E-963C-81CBE019B9F2}"/>
              </a:ext>
            </a:extLst>
          </p:cNvPr>
          <p:cNvSpPr/>
          <p:nvPr/>
        </p:nvSpPr>
        <p:spPr>
          <a:xfrm>
            <a:off x="4574342" y="3788894"/>
            <a:ext cx="684171" cy="684171"/>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rgbClr val="0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grpSp>
        <p:nvGrpSpPr>
          <p:cNvPr id="36" name="组合 35"/>
          <p:cNvGrpSpPr/>
          <p:nvPr/>
        </p:nvGrpSpPr>
        <p:grpSpPr>
          <a:xfrm>
            <a:off x="5390623" y="4146356"/>
            <a:ext cx="1534015" cy="725106"/>
            <a:chOff x="4484958" y="1146477"/>
            <a:chExt cx="1598101" cy="725106"/>
          </a:xfrm>
        </p:grpSpPr>
        <p:sp>
          <p:nvSpPr>
            <p:cNvPr id="37" name="íṥ1íḑé">
              <a:extLst>
                <a:ext uri="{FF2B5EF4-FFF2-40B4-BE49-F238E27FC236}">
                  <a16:creationId xmlns:a16="http://schemas.microsoft.com/office/drawing/2014/main" id="{BB8B7BF4-6FB5-4534-AAA6-C9970FF13C1A}"/>
                </a:ext>
              </a:extLst>
            </p:cNvPr>
            <p:cNvSpPr/>
            <p:nvPr/>
          </p:nvSpPr>
          <p:spPr bwMode="auto">
            <a:xfrm>
              <a:off x="4484958" y="1437139"/>
              <a:ext cx="1598101" cy="434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Lorem ipsum </a:t>
              </a:r>
            </a:p>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Lorem ipsum </a:t>
              </a:r>
            </a:p>
          </p:txBody>
        </p:sp>
        <p:sp>
          <p:nvSpPr>
            <p:cNvPr id="38" name="ïṣľíḍe">
              <a:extLst>
                <a:ext uri="{FF2B5EF4-FFF2-40B4-BE49-F238E27FC236}">
                  <a16:creationId xmlns:a16="http://schemas.microsoft.com/office/drawing/2014/main" id="{A1E2FB72-F084-4316-A475-936B0DE3CD31}"/>
                </a:ext>
              </a:extLst>
            </p:cNvPr>
            <p:cNvSpPr txBox="1"/>
            <p:nvPr/>
          </p:nvSpPr>
          <p:spPr bwMode="auto">
            <a:xfrm>
              <a:off x="4484959" y="1146477"/>
              <a:ext cx="1426063" cy="44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n-US" altLang="zh-CN" sz="1300" b="1" dirty="0">
                  <a:solidFill>
                    <a:srgbClr val="86BC25"/>
                  </a:solidFill>
                  <a:ea typeface="Verdana" panose="020B0604030504040204" pitchFamily="34" charset="0"/>
                  <a:cs typeface="Verdana" panose="020B0604030504040204" pitchFamily="34" charset="0"/>
                </a:rPr>
                <a:t>Lorem ipsum </a:t>
              </a:r>
            </a:p>
          </p:txBody>
        </p:sp>
      </p:grpSp>
      <p:sp>
        <p:nvSpPr>
          <p:cNvPr id="42" name="Freeform 153"/>
          <p:cNvSpPr>
            <a:spLocks noChangeAspect="1" noEditPoints="1"/>
          </p:cNvSpPr>
          <p:nvPr/>
        </p:nvSpPr>
        <p:spPr bwMode="auto">
          <a:xfrm>
            <a:off x="7054697" y="3860979"/>
            <a:ext cx="540000" cy="540000"/>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43" name="Freeform 26"/>
          <p:cNvSpPr>
            <a:spLocks noChangeAspect="1" noEditPoints="1"/>
          </p:cNvSpPr>
          <p:nvPr/>
        </p:nvSpPr>
        <p:spPr bwMode="auto">
          <a:xfrm>
            <a:off x="4646427" y="3860979"/>
            <a:ext cx="540000" cy="540000"/>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44" name="Freeform 831"/>
          <p:cNvSpPr>
            <a:spLocks noChangeAspect="1" noEditPoints="1"/>
          </p:cNvSpPr>
          <p:nvPr/>
        </p:nvSpPr>
        <p:spPr bwMode="auto">
          <a:xfrm>
            <a:off x="4890056" y="5020478"/>
            <a:ext cx="540000" cy="540000"/>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45" name="Freeform 346"/>
          <p:cNvSpPr>
            <a:spLocks noChangeAspect="1" noEditPoints="1"/>
          </p:cNvSpPr>
          <p:nvPr/>
        </p:nvSpPr>
        <p:spPr bwMode="auto">
          <a:xfrm>
            <a:off x="6756219" y="5020478"/>
            <a:ext cx="540000" cy="540000"/>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46" name="Freeform 189"/>
          <p:cNvSpPr>
            <a:spLocks noChangeAspect="1" noEditPoints="1"/>
          </p:cNvSpPr>
          <p:nvPr/>
        </p:nvSpPr>
        <p:spPr bwMode="auto">
          <a:xfrm>
            <a:off x="5822807" y="3058441"/>
            <a:ext cx="540001" cy="540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Tree>
    <p:custDataLst>
      <p:tags r:id="rId1"/>
    </p:custDataLst>
    <p:extLst>
      <p:ext uri="{BB962C8B-B14F-4D97-AF65-F5344CB8AC3E}">
        <p14:creationId xmlns:p14="http://schemas.microsoft.com/office/powerpoint/2010/main" val="2320932422"/>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9">
            <a:extLst>
              <a:ext uri="{FF2B5EF4-FFF2-40B4-BE49-F238E27FC236}">
                <a16:creationId xmlns:a16="http://schemas.microsoft.com/office/drawing/2014/main" id="{53DC17AB-A8E3-4C9A-922D-5F3AC69C4BA3}"/>
              </a:ext>
            </a:extLst>
          </p:cNvPr>
          <p:cNvCxnSpPr/>
          <p:nvPr/>
        </p:nvCxnSpPr>
        <p:spPr>
          <a:xfrm>
            <a:off x="3139685" y="3699835"/>
            <a:ext cx="1017876"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2">
            <a:extLst>
              <a:ext uri="{FF2B5EF4-FFF2-40B4-BE49-F238E27FC236}">
                <a16:creationId xmlns:a16="http://schemas.microsoft.com/office/drawing/2014/main" id="{0FBF1FFD-EAF1-491B-B932-814C41D7A82E}"/>
              </a:ext>
            </a:extLst>
          </p:cNvPr>
          <p:cNvCxnSpPr/>
          <p:nvPr/>
        </p:nvCxnSpPr>
        <p:spPr>
          <a:xfrm>
            <a:off x="3139685" y="5342746"/>
            <a:ext cx="1371190"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38">
            <a:extLst>
              <a:ext uri="{FF2B5EF4-FFF2-40B4-BE49-F238E27FC236}">
                <a16:creationId xmlns:a16="http://schemas.microsoft.com/office/drawing/2014/main" id="{8C58644C-5152-4138-A06F-B54D4990890B}"/>
              </a:ext>
            </a:extLst>
          </p:cNvPr>
          <p:cNvCxnSpPr/>
          <p:nvPr/>
        </p:nvCxnSpPr>
        <p:spPr>
          <a:xfrm>
            <a:off x="6576793" y="2223543"/>
            <a:ext cx="2435656"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41">
            <a:extLst>
              <a:ext uri="{FF2B5EF4-FFF2-40B4-BE49-F238E27FC236}">
                <a16:creationId xmlns:a16="http://schemas.microsoft.com/office/drawing/2014/main" id="{7A1773E0-8F10-48CB-9DD7-945B4FBB6C98}"/>
              </a:ext>
            </a:extLst>
          </p:cNvPr>
          <p:cNvCxnSpPr/>
          <p:nvPr/>
        </p:nvCxnSpPr>
        <p:spPr>
          <a:xfrm>
            <a:off x="8215340" y="3699835"/>
            <a:ext cx="1017876"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51">
            <a:extLst>
              <a:ext uri="{FF2B5EF4-FFF2-40B4-BE49-F238E27FC236}">
                <a16:creationId xmlns:a16="http://schemas.microsoft.com/office/drawing/2014/main" id="{23FF9507-F08D-4C4C-90D1-2729FD4E9765}"/>
              </a:ext>
            </a:extLst>
          </p:cNvPr>
          <p:cNvCxnSpPr/>
          <p:nvPr/>
        </p:nvCxnSpPr>
        <p:spPr>
          <a:xfrm>
            <a:off x="7806005" y="5342746"/>
            <a:ext cx="1427212"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10" name="Oval 3">
            <a:extLst>
              <a:ext uri="{FF2B5EF4-FFF2-40B4-BE49-F238E27FC236}">
                <a16:creationId xmlns:a16="http://schemas.microsoft.com/office/drawing/2014/main" id="{ABC3EBBB-0427-42C9-ADCB-447BC4D6B3D5}"/>
              </a:ext>
            </a:extLst>
          </p:cNvPr>
          <p:cNvSpPr>
            <a:spLocks noChangeArrowheads="1"/>
          </p:cNvSpPr>
          <p:nvPr/>
        </p:nvSpPr>
        <p:spPr bwMode="auto">
          <a:xfrm>
            <a:off x="6500202" y="2778241"/>
            <a:ext cx="1814742" cy="1842705"/>
          </a:xfrm>
          <a:prstGeom prst="ellipse">
            <a:avLst/>
          </a:prstGeom>
          <a:solidFill>
            <a:srgbClr val="86BC25"/>
          </a:solidFill>
          <a:ln w="12700">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Oval 4">
            <a:extLst>
              <a:ext uri="{FF2B5EF4-FFF2-40B4-BE49-F238E27FC236}">
                <a16:creationId xmlns:a16="http://schemas.microsoft.com/office/drawing/2014/main" id="{0F9BF411-A644-4BAC-866B-5E1BF3C157E8}"/>
              </a:ext>
            </a:extLst>
          </p:cNvPr>
          <p:cNvSpPr>
            <a:spLocks noChangeArrowheads="1"/>
          </p:cNvSpPr>
          <p:nvPr/>
        </p:nvSpPr>
        <p:spPr bwMode="auto">
          <a:xfrm>
            <a:off x="5188629" y="1981969"/>
            <a:ext cx="1814742" cy="1842705"/>
          </a:xfrm>
          <a:prstGeom prst="ellipse">
            <a:avLst/>
          </a:prstGeom>
          <a:solidFill>
            <a:srgbClr val="97999B"/>
          </a:solidFill>
          <a:ln w="12700">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Oval 5">
            <a:extLst>
              <a:ext uri="{FF2B5EF4-FFF2-40B4-BE49-F238E27FC236}">
                <a16:creationId xmlns:a16="http://schemas.microsoft.com/office/drawing/2014/main" id="{82D0664C-640D-4632-90D6-D6CEEFCEC770}"/>
              </a:ext>
            </a:extLst>
          </p:cNvPr>
          <p:cNvSpPr>
            <a:spLocks noChangeArrowheads="1"/>
          </p:cNvSpPr>
          <p:nvPr/>
        </p:nvSpPr>
        <p:spPr bwMode="auto">
          <a:xfrm>
            <a:off x="4031759" y="2778241"/>
            <a:ext cx="1814742" cy="1842705"/>
          </a:xfrm>
          <a:prstGeom prst="ellipse">
            <a:avLst/>
          </a:prstGeom>
          <a:solidFill>
            <a:srgbClr val="009A44"/>
          </a:solidFill>
          <a:ln w="12700">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Oval 6">
            <a:extLst>
              <a:ext uri="{FF2B5EF4-FFF2-40B4-BE49-F238E27FC236}">
                <a16:creationId xmlns:a16="http://schemas.microsoft.com/office/drawing/2014/main" id="{C6795D93-88ED-41FE-9539-8019CC6F884C}"/>
              </a:ext>
            </a:extLst>
          </p:cNvPr>
          <p:cNvSpPr>
            <a:spLocks noChangeArrowheads="1"/>
          </p:cNvSpPr>
          <p:nvPr/>
        </p:nvSpPr>
        <p:spPr bwMode="auto">
          <a:xfrm>
            <a:off x="6096000" y="4291156"/>
            <a:ext cx="1814742" cy="1842705"/>
          </a:xfrm>
          <a:prstGeom prst="ellipse">
            <a:avLst/>
          </a:prstGeom>
          <a:solidFill>
            <a:srgbClr val="53565A"/>
          </a:solidFill>
          <a:ln w="12700">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Oval 7">
            <a:extLst>
              <a:ext uri="{FF2B5EF4-FFF2-40B4-BE49-F238E27FC236}">
                <a16:creationId xmlns:a16="http://schemas.microsoft.com/office/drawing/2014/main" id="{A85C281F-32BF-41DD-B787-4BB0A727CF71}"/>
              </a:ext>
            </a:extLst>
          </p:cNvPr>
          <p:cNvSpPr>
            <a:spLocks noChangeArrowheads="1"/>
          </p:cNvSpPr>
          <p:nvPr/>
        </p:nvSpPr>
        <p:spPr bwMode="auto">
          <a:xfrm>
            <a:off x="4440513" y="4291156"/>
            <a:ext cx="1814742" cy="1842705"/>
          </a:xfrm>
          <a:prstGeom prst="ellipse">
            <a:avLst/>
          </a:prstGeom>
          <a:solidFill>
            <a:srgbClr val="43B02A"/>
          </a:solidFill>
          <a:ln w="12700">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Oval 2">
            <a:extLst>
              <a:ext uri="{FF2B5EF4-FFF2-40B4-BE49-F238E27FC236}">
                <a16:creationId xmlns:a16="http://schemas.microsoft.com/office/drawing/2014/main" id="{4A2CB48E-A4E4-450C-AA6D-871513C136DF}"/>
              </a:ext>
            </a:extLst>
          </p:cNvPr>
          <p:cNvSpPr>
            <a:spLocks noChangeArrowheads="1"/>
          </p:cNvSpPr>
          <p:nvPr/>
        </p:nvSpPr>
        <p:spPr bwMode="auto">
          <a:xfrm>
            <a:off x="5260698" y="3260245"/>
            <a:ext cx="1814742" cy="1842705"/>
          </a:xfrm>
          <a:prstGeom prst="ellipse">
            <a:avLst/>
          </a:prstGeom>
          <a:solidFill>
            <a:srgbClr val="000000"/>
          </a:solidFill>
          <a:ln w="12700">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 name="Oval 57">
            <a:extLst>
              <a:ext uri="{FF2B5EF4-FFF2-40B4-BE49-F238E27FC236}">
                <a16:creationId xmlns:a16="http://schemas.microsoft.com/office/drawing/2014/main" id="{98B1C30F-9095-4A95-9E1A-3DC8261A3CF8}"/>
              </a:ext>
            </a:extLst>
          </p:cNvPr>
          <p:cNvSpPr>
            <a:spLocks noChangeArrowheads="1"/>
          </p:cNvSpPr>
          <p:nvPr/>
        </p:nvSpPr>
        <p:spPr bwMode="auto">
          <a:xfrm>
            <a:off x="8724278" y="3326530"/>
            <a:ext cx="716532" cy="727553"/>
          </a:xfrm>
          <a:prstGeom prst="ellipse">
            <a:avLst/>
          </a:prstGeom>
          <a:solidFill>
            <a:srgbClr val="86BC25"/>
          </a:solidFill>
          <a:ln w="12700">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0%</a:t>
            </a:r>
            <a:endParaRPr lang="en-US" sz="1300" b="1" dirty="0">
              <a:solidFill>
                <a:schemeClr val="bg1"/>
              </a:solidFill>
              <a:ea typeface="Open Sans" pitchFamily="34" charset="0"/>
              <a:cs typeface="Open Sans" pitchFamily="34" charset="0"/>
            </a:endParaRPr>
          </a:p>
        </p:txBody>
      </p:sp>
      <p:sp>
        <p:nvSpPr>
          <p:cNvPr id="47" name="Text Box 10">
            <a:extLst>
              <a:ext uri="{FF2B5EF4-FFF2-40B4-BE49-F238E27FC236}">
                <a16:creationId xmlns:a16="http://schemas.microsoft.com/office/drawing/2014/main" id="{5B1517D3-323C-4B7E-BAD0-27AABBFC3855}"/>
              </a:ext>
            </a:extLst>
          </p:cNvPr>
          <p:cNvSpPr txBox="1">
            <a:spLocks noChangeArrowheads="1"/>
          </p:cNvSpPr>
          <p:nvPr/>
        </p:nvSpPr>
        <p:spPr bwMode="auto">
          <a:xfrm>
            <a:off x="5546902" y="4412272"/>
            <a:ext cx="1340461" cy="246221"/>
          </a:xfrm>
          <a:prstGeom prst="rect">
            <a:avLst/>
          </a:prstGeom>
          <a:noFill/>
          <a:ln w="9525">
            <a:noFill/>
            <a:miter lim="800000"/>
            <a:headEnd/>
            <a:tailEnd/>
          </a:ln>
        </p:spPr>
        <p:txBody>
          <a:bodyPr wrap="square" lIns="45720" tIns="22860" rIns="45720" bIns="22860">
            <a:spAutoFit/>
          </a:bodyPr>
          <a:lstStyle/>
          <a:p>
            <a:pPr algn="ctr" defTabSz="1088232"/>
            <a:r>
              <a:rPr lang="en-US" sz="1300" b="1" dirty="0">
                <a:solidFill>
                  <a:schemeClr val="bg1"/>
                </a:solidFill>
                <a:latin typeface="+mj-lt"/>
                <a:ea typeface="Open Sans" pitchFamily="34" charset="0"/>
                <a:cs typeface="Open Sans" pitchFamily="34" charset="0"/>
              </a:rPr>
              <a:t>Lorem ipsum</a:t>
            </a:r>
          </a:p>
        </p:txBody>
      </p:sp>
      <p:sp>
        <p:nvSpPr>
          <p:cNvPr id="48" name="Oval 67">
            <a:extLst>
              <a:ext uri="{FF2B5EF4-FFF2-40B4-BE49-F238E27FC236}">
                <a16:creationId xmlns:a16="http://schemas.microsoft.com/office/drawing/2014/main" id="{79F7AABA-2CDC-41EA-A82B-AA83F347E083}"/>
              </a:ext>
            </a:extLst>
          </p:cNvPr>
          <p:cNvSpPr>
            <a:spLocks noChangeArrowheads="1"/>
          </p:cNvSpPr>
          <p:nvPr/>
        </p:nvSpPr>
        <p:spPr bwMode="auto">
          <a:xfrm>
            <a:off x="8724278" y="5001228"/>
            <a:ext cx="716532" cy="727553"/>
          </a:xfrm>
          <a:prstGeom prst="ellipse">
            <a:avLst/>
          </a:prstGeom>
          <a:solidFill>
            <a:srgbClr val="53565A"/>
          </a:solidFill>
          <a:ln w="12700">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0%</a:t>
            </a:r>
          </a:p>
        </p:txBody>
      </p:sp>
      <p:sp>
        <p:nvSpPr>
          <p:cNvPr id="49" name="Oval 68">
            <a:extLst>
              <a:ext uri="{FF2B5EF4-FFF2-40B4-BE49-F238E27FC236}">
                <a16:creationId xmlns:a16="http://schemas.microsoft.com/office/drawing/2014/main" id="{68F5F15E-FD2F-4CED-99B9-3DF55A2A8DF6}"/>
              </a:ext>
            </a:extLst>
          </p:cNvPr>
          <p:cNvSpPr>
            <a:spLocks noChangeArrowheads="1"/>
          </p:cNvSpPr>
          <p:nvPr/>
        </p:nvSpPr>
        <p:spPr bwMode="auto">
          <a:xfrm>
            <a:off x="8724278" y="1861859"/>
            <a:ext cx="716532" cy="727553"/>
          </a:xfrm>
          <a:prstGeom prst="ellipse">
            <a:avLst/>
          </a:prstGeom>
          <a:solidFill>
            <a:srgbClr val="97999B"/>
          </a:solidFill>
          <a:ln w="12700">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5%</a:t>
            </a:r>
            <a:endParaRPr lang="en-US" sz="1300" b="1" dirty="0">
              <a:solidFill>
                <a:schemeClr val="bg1"/>
              </a:solidFill>
              <a:ea typeface="Open Sans" pitchFamily="34" charset="0"/>
              <a:cs typeface="Open Sans" pitchFamily="34" charset="0"/>
            </a:endParaRPr>
          </a:p>
        </p:txBody>
      </p:sp>
      <p:sp>
        <p:nvSpPr>
          <p:cNvPr id="50" name="Oval 69">
            <a:extLst>
              <a:ext uri="{FF2B5EF4-FFF2-40B4-BE49-F238E27FC236}">
                <a16:creationId xmlns:a16="http://schemas.microsoft.com/office/drawing/2014/main" id="{FD4787C8-C294-4A5B-8405-4F43587BD198}"/>
              </a:ext>
            </a:extLst>
          </p:cNvPr>
          <p:cNvSpPr>
            <a:spLocks noChangeArrowheads="1"/>
          </p:cNvSpPr>
          <p:nvPr/>
        </p:nvSpPr>
        <p:spPr bwMode="auto">
          <a:xfrm>
            <a:off x="2932091" y="5001228"/>
            <a:ext cx="716532" cy="727553"/>
          </a:xfrm>
          <a:prstGeom prst="ellipse">
            <a:avLst/>
          </a:prstGeom>
          <a:solidFill>
            <a:srgbClr val="43B02A"/>
          </a:solidFill>
          <a:ln w="12700">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15%</a:t>
            </a:r>
          </a:p>
        </p:txBody>
      </p:sp>
      <p:sp>
        <p:nvSpPr>
          <p:cNvPr id="51" name="Oval 70">
            <a:extLst>
              <a:ext uri="{FF2B5EF4-FFF2-40B4-BE49-F238E27FC236}">
                <a16:creationId xmlns:a16="http://schemas.microsoft.com/office/drawing/2014/main" id="{4D423497-E252-49F8-A4C5-21299EBB93CB}"/>
              </a:ext>
            </a:extLst>
          </p:cNvPr>
          <p:cNvSpPr>
            <a:spLocks noChangeArrowheads="1"/>
          </p:cNvSpPr>
          <p:nvPr/>
        </p:nvSpPr>
        <p:spPr bwMode="auto">
          <a:xfrm>
            <a:off x="2932091" y="3298302"/>
            <a:ext cx="716532" cy="727553"/>
          </a:xfrm>
          <a:prstGeom prst="ellipse">
            <a:avLst/>
          </a:prstGeom>
          <a:solidFill>
            <a:srgbClr val="009A44"/>
          </a:solidFill>
          <a:ln w="12700">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15%</a:t>
            </a:r>
            <a:endParaRPr lang="en-US" sz="1300" b="1" dirty="0">
              <a:solidFill>
                <a:schemeClr val="bg1"/>
              </a:solidFill>
              <a:ea typeface="Open Sans" pitchFamily="34" charset="0"/>
              <a:cs typeface="Open Sans" pitchFamily="34" charset="0"/>
            </a:endParaRPr>
          </a:p>
        </p:txBody>
      </p:sp>
      <p:sp>
        <p:nvSpPr>
          <p:cNvPr id="58" name="Freeform 878">
            <a:extLst>
              <a:ext uri="{FF2B5EF4-FFF2-40B4-BE49-F238E27FC236}">
                <a16:creationId xmlns:a16="http://schemas.microsoft.com/office/drawing/2014/main" id="{34F37B28-5CE8-4DB0-AEEC-301F7C1E0935}"/>
              </a:ext>
            </a:extLst>
          </p:cNvPr>
          <p:cNvSpPr>
            <a:spLocks noChangeAspect="1" noEditPoints="1"/>
          </p:cNvSpPr>
          <p:nvPr/>
        </p:nvSpPr>
        <p:spPr bwMode="auto">
          <a:xfrm>
            <a:off x="4398056" y="3287614"/>
            <a:ext cx="731520" cy="7315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94 h 512"/>
              <a:gd name="T12" fmla="*/ 234 w 512"/>
              <a:gd name="T13" fmla="*/ 373 h 512"/>
              <a:gd name="T14" fmla="*/ 256 w 512"/>
              <a:gd name="T15" fmla="*/ 352 h 512"/>
              <a:gd name="T16" fmla="*/ 277 w 512"/>
              <a:gd name="T17" fmla="*/ 373 h 512"/>
              <a:gd name="T18" fmla="*/ 256 w 512"/>
              <a:gd name="T19" fmla="*/ 394 h 512"/>
              <a:gd name="T20" fmla="*/ 317 w 512"/>
              <a:gd name="T21" fmla="*/ 327 h 512"/>
              <a:gd name="T22" fmla="*/ 301 w 512"/>
              <a:gd name="T23" fmla="*/ 327 h 512"/>
              <a:gd name="T24" fmla="*/ 256 w 512"/>
              <a:gd name="T25" fmla="*/ 309 h 512"/>
              <a:gd name="T26" fmla="*/ 210 w 512"/>
              <a:gd name="T27" fmla="*/ 327 h 512"/>
              <a:gd name="T28" fmla="*/ 202 w 512"/>
              <a:gd name="T29" fmla="*/ 330 h 512"/>
              <a:gd name="T30" fmla="*/ 195 w 512"/>
              <a:gd name="T31" fmla="*/ 327 h 512"/>
              <a:gd name="T32" fmla="*/ 195 w 512"/>
              <a:gd name="T33" fmla="*/ 312 h 512"/>
              <a:gd name="T34" fmla="*/ 256 w 512"/>
              <a:gd name="T35" fmla="*/ 288 h 512"/>
              <a:gd name="T36" fmla="*/ 317 w 512"/>
              <a:gd name="T37" fmla="*/ 312 h 512"/>
              <a:gd name="T38" fmla="*/ 317 w 512"/>
              <a:gd name="T39" fmla="*/ 327 h 512"/>
              <a:gd name="T40" fmla="*/ 370 w 512"/>
              <a:gd name="T41" fmla="*/ 274 h 512"/>
              <a:gd name="T42" fmla="*/ 355 w 512"/>
              <a:gd name="T43" fmla="*/ 274 h 512"/>
              <a:gd name="T44" fmla="*/ 256 w 512"/>
              <a:gd name="T45" fmla="*/ 234 h 512"/>
              <a:gd name="T46" fmla="*/ 167 w 512"/>
              <a:gd name="T47" fmla="*/ 274 h 512"/>
              <a:gd name="T48" fmla="*/ 160 w 512"/>
              <a:gd name="T49" fmla="*/ 277 h 512"/>
              <a:gd name="T50" fmla="*/ 152 w 512"/>
              <a:gd name="T51" fmla="*/ 274 h 512"/>
              <a:gd name="T52" fmla="*/ 152 w 512"/>
              <a:gd name="T53" fmla="*/ 259 h 512"/>
              <a:gd name="T54" fmla="*/ 256 w 512"/>
              <a:gd name="T55" fmla="*/ 213 h 512"/>
              <a:gd name="T56" fmla="*/ 370 w 512"/>
              <a:gd name="T57" fmla="*/ 259 h 512"/>
              <a:gd name="T58" fmla="*/ 370 w 512"/>
              <a:gd name="T59" fmla="*/ 274 h 512"/>
              <a:gd name="T60" fmla="*/ 413 w 512"/>
              <a:gd name="T61" fmla="*/ 221 h 512"/>
              <a:gd name="T62" fmla="*/ 405 w 512"/>
              <a:gd name="T63" fmla="*/ 224 h 512"/>
              <a:gd name="T64" fmla="*/ 397 w 512"/>
              <a:gd name="T65" fmla="*/ 221 h 512"/>
              <a:gd name="T66" fmla="*/ 256 w 512"/>
              <a:gd name="T67" fmla="*/ 160 h 512"/>
              <a:gd name="T68" fmla="*/ 114 w 512"/>
              <a:gd name="T69" fmla="*/ 221 h 512"/>
              <a:gd name="T70" fmla="*/ 99 w 512"/>
              <a:gd name="T71" fmla="*/ 221 h 512"/>
              <a:gd name="T72" fmla="*/ 99 w 512"/>
              <a:gd name="T73" fmla="*/ 205 h 512"/>
              <a:gd name="T74" fmla="*/ 256 w 512"/>
              <a:gd name="T75" fmla="*/ 138 h 512"/>
              <a:gd name="T76" fmla="*/ 413 w 512"/>
              <a:gd name="T77" fmla="*/ 205 h 512"/>
              <a:gd name="T78" fmla="*/ 413 w 512"/>
              <a:gd name="T7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94"/>
                </a:moveTo>
                <a:cubicBezTo>
                  <a:pt x="244" y="394"/>
                  <a:pt x="234" y="385"/>
                  <a:pt x="234" y="373"/>
                </a:cubicBezTo>
                <a:cubicBezTo>
                  <a:pt x="234" y="361"/>
                  <a:pt x="244" y="352"/>
                  <a:pt x="256" y="352"/>
                </a:cubicBezTo>
                <a:cubicBezTo>
                  <a:pt x="267" y="352"/>
                  <a:pt x="277" y="361"/>
                  <a:pt x="277" y="373"/>
                </a:cubicBezTo>
                <a:cubicBezTo>
                  <a:pt x="277" y="385"/>
                  <a:pt x="267" y="394"/>
                  <a:pt x="256" y="394"/>
                </a:cubicBezTo>
                <a:close/>
                <a:moveTo>
                  <a:pt x="317" y="327"/>
                </a:moveTo>
                <a:cubicBezTo>
                  <a:pt x="312" y="331"/>
                  <a:pt x="306" y="331"/>
                  <a:pt x="301" y="327"/>
                </a:cubicBezTo>
                <a:cubicBezTo>
                  <a:pt x="290" y="316"/>
                  <a:pt x="273" y="309"/>
                  <a:pt x="256" y="309"/>
                </a:cubicBezTo>
                <a:cubicBezTo>
                  <a:pt x="239" y="309"/>
                  <a:pt x="221" y="316"/>
                  <a:pt x="210" y="327"/>
                </a:cubicBezTo>
                <a:cubicBezTo>
                  <a:pt x="208" y="329"/>
                  <a:pt x="205" y="330"/>
                  <a:pt x="202" y="330"/>
                </a:cubicBezTo>
                <a:cubicBezTo>
                  <a:pt x="200" y="330"/>
                  <a:pt x="197" y="329"/>
                  <a:pt x="195" y="327"/>
                </a:cubicBezTo>
                <a:cubicBezTo>
                  <a:pt x="191" y="323"/>
                  <a:pt x="191" y="316"/>
                  <a:pt x="195" y="312"/>
                </a:cubicBezTo>
                <a:cubicBezTo>
                  <a:pt x="210" y="297"/>
                  <a:pt x="233" y="288"/>
                  <a:pt x="256" y="288"/>
                </a:cubicBezTo>
                <a:cubicBezTo>
                  <a:pt x="278" y="288"/>
                  <a:pt x="301" y="297"/>
                  <a:pt x="317" y="312"/>
                </a:cubicBezTo>
                <a:cubicBezTo>
                  <a:pt x="321" y="316"/>
                  <a:pt x="321" y="323"/>
                  <a:pt x="317" y="327"/>
                </a:cubicBezTo>
                <a:close/>
                <a:moveTo>
                  <a:pt x="370" y="274"/>
                </a:moveTo>
                <a:cubicBezTo>
                  <a:pt x="366" y="278"/>
                  <a:pt x="359" y="278"/>
                  <a:pt x="355" y="274"/>
                </a:cubicBezTo>
                <a:cubicBezTo>
                  <a:pt x="330" y="249"/>
                  <a:pt x="292" y="234"/>
                  <a:pt x="256" y="234"/>
                </a:cubicBezTo>
                <a:cubicBezTo>
                  <a:pt x="222" y="234"/>
                  <a:pt x="194" y="247"/>
                  <a:pt x="167" y="274"/>
                </a:cubicBezTo>
                <a:cubicBezTo>
                  <a:pt x="165" y="276"/>
                  <a:pt x="162" y="277"/>
                  <a:pt x="160" y="277"/>
                </a:cubicBezTo>
                <a:cubicBezTo>
                  <a:pt x="157" y="277"/>
                  <a:pt x="154" y="276"/>
                  <a:pt x="152" y="274"/>
                </a:cubicBezTo>
                <a:cubicBezTo>
                  <a:pt x="148" y="270"/>
                  <a:pt x="148" y="263"/>
                  <a:pt x="152" y="259"/>
                </a:cubicBezTo>
                <a:cubicBezTo>
                  <a:pt x="183" y="228"/>
                  <a:pt x="216" y="213"/>
                  <a:pt x="256" y="213"/>
                </a:cubicBezTo>
                <a:cubicBezTo>
                  <a:pt x="298" y="213"/>
                  <a:pt x="342" y="231"/>
                  <a:pt x="370" y="259"/>
                </a:cubicBezTo>
                <a:cubicBezTo>
                  <a:pt x="374" y="263"/>
                  <a:pt x="374" y="270"/>
                  <a:pt x="370" y="274"/>
                </a:cubicBezTo>
                <a:close/>
                <a:moveTo>
                  <a:pt x="413" y="221"/>
                </a:moveTo>
                <a:cubicBezTo>
                  <a:pt x="410" y="223"/>
                  <a:pt x="408" y="224"/>
                  <a:pt x="405" y="224"/>
                </a:cubicBezTo>
                <a:cubicBezTo>
                  <a:pt x="402" y="224"/>
                  <a:pt x="400" y="223"/>
                  <a:pt x="397" y="221"/>
                </a:cubicBezTo>
                <a:cubicBezTo>
                  <a:pt x="358" y="181"/>
                  <a:pt x="309" y="160"/>
                  <a:pt x="256" y="160"/>
                </a:cubicBezTo>
                <a:cubicBezTo>
                  <a:pt x="203" y="160"/>
                  <a:pt x="154" y="181"/>
                  <a:pt x="114" y="221"/>
                </a:cubicBezTo>
                <a:cubicBezTo>
                  <a:pt x="110" y="225"/>
                  <a:pt x="103" y="225"/>
                  <a:pt x="99" y="221"/>
                </a:cubicBezTo>
                <a:cubicBezTo>
                  <a:pt x="95" y="216"/>
                  <a:pt x="95" y="210"/>
                  <a:pt x="99" y="205"/>
                </a:cubicBezTo>
                <a:cubicBezTo>
                  <a:pt x="143" y="162"/>
                  <a:pt x="197" y="138"/>
                  <a:pt x="256" y="138"/>
                </a:cubicBezTo>
                <a:cubicBezTo>
                  <a:pt x="314" y="138"/>
                  <a:pt x="369" y="162"/>
                  <a:pt x="413" y="205"/>
                </a:cubicBezTo>
                <a:cubicBezTo>
                  <a:pt x="417" y="210"/>
                  <a:pt x="417" y="216"/>
                  <a:pt x="413" y="2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9" name="Freeform 971">
            <a:extLst>
              <a:ext uri="{FF2B5EF4-FFF2-40B4-BE49-F238E27FC236}">
                <a16:creationId xmlns:a16="http://schemas.microsoft.com/office/drawing/2014/main" id="{148780A8-3199-4A8A-8EA6-3056295F4631}"/>
              </a:ext>
            </a:extLst>
          </p:cNvPr>
          <p:cNvSpPr>
            <a:spLocks noChangeAspect="1" noEditPoints="1"/>
          </p:cNvSpPr>
          <p:nvPr/>
        </p:nvSpPr>
        <p:spPr bwMode="auto">
          <a:xfrm>
            <a:off x="4825927" y="4985523"/>
            <a:ext cx="731520" cy="731520"/>
          </a:xfrm>
          <a:custGeom>
            <a:avLst/>
            <a:gdLst>
              <a:gd name="T0" fmla="*/ 177 w 512"/>
              <a:gd name="T1" fmla="*/ 266 h 512"/>
              <a:gd name="T2" fmla="*/ 138 w 512"/>
              <a:gd name="T3" fmla="*/ 245 h 512"/>
              <a:gd name="T4" fmla="*/ 312 w 512"/>
              <a:gd name="T5" fmla="*/ 160 h 512"/>
              <a:gd name="T6" fmla="*/ 242 w 512"/>
              <a:gd name="T7" fmla="*/ 161 h 512"/>
              <a:gd name="T8" fmla="*/ 312 w 512"/>
              <a:gd name="T9" fmla="*/ 160 h 512"/>
              <a:gd name="T10" fmla="*/ 214 w 512"/>
              <a:gd name="T11" fmla="*/ 171 h 512"/>
              <a:gd name="T12" fmla="*/ 199 w 512"/>
              <a:gd name="T13" fmla="*/ 199 h 512"/>
              <a:gd name="T14" fmla="*/ 350 w 512"/>
              <a:gd name="T15" fmla="*/ 147 h 512"/>
              <a:gd name="T16" fmla="*/ 313 w 512"/>
              <a:gd name="T17" fmla="*/ 137 h 512"/>
              <a:gd name="T18" fmla="*/ 350 w 512"/>
              <a:gd name="T19" fmla="*/ 147 h 512"/>
              <a:gd name="T20" fmla="*/ 305 w 512"/>
              <a:gd name="T21" fmla="*/ 245 h 512"/>
              <a:gd name="T22" fmla="*/ 281 w 512"/>
              <a:gd name="T23" fmla="*/ 266 h 512"/>
              <a:gd name="T24" fmla="*/ 207 w 512"/>
              <a:gd name="T25" fmla="*/ 266 h 512"/>
              <a:gd name="T26" fmla="*/ 230 w 512"/>
              <a:gd name="T27" fmla="*/ 245 h 512"/>
              <a:gd name="T28" fmla="*/ 207 w 512"/>
              <a:gd name="T29" fmla="*/ 266 h 512"/>
              <a:gd name="T30" fmla="*/ 127 w 512"/>
              <a:gd name="T31" fmla="*/ 201 h 512"/>
              <a:gd name="T32" fmla="*/ 170 w 512"/>
              <a:gd name="T33" fmla="*/ 208 h 512"/>
              <a:gd name="T34" fmla="*/ 512 w 512"/>
              <a:gd name="T35" fmla="*/ 256 h 512"/>
              <a:gd name="T36" fmla="*/ 0 w 512"/>
              <a:gd name="T37" fmla="*/ 256 h 512"/>
              <a:gd name="T38" fmla="*/ 512 w 512"/>
              <a:gd name="T39" fmla="*/ 256 h 512"/>
              <a:gd name="T40" fmla="*/ 384 w 512"/>
              <a:gd name="T41" fmla="*/ 224 h 512"/>
              <a:gd name="T42" fmla="*/ 201 w 512"/>
              <a:gd name="T43" fmla="*/ 220 h 512"/>
              <a:gd name="T44" fmla="*/ 271 w 512"/>
              <a:gd name="T45" fmla="*/ 196 h 512"/>
              <a:gd name="T46" fmla="*/ 342 w 512"/>
              <a:gd name="T47" fmla="*/ 172 h 512"/>
              <a:gd name="T48" fmla="*/ 367 w 512"/>
              <a:gd name="T49" fmla="*/ 164 h 512"/>
              <a:gd name="T50" fmla="*/ 374 w 512"/>
              <a:gd name="T51" fmla="*/ 150 h 512"/>
              <a:gd name="T52" fmla="*/ 346 w 512"/>
              <a:gd name="T53" fmla="*/ 103 h 512"/>
              <a:gd name="T54" fmla="*/ 104 w 512"/>
              <a:gd name="T55" fmla="*/ 197 h 512"/>
              <a:gd name="T56" fmla="*/ 117 w 512"/>
              <a:gd name="T57" fmla="*/ 384 h 512"/>
              <a:gd name="T58" fmla="*/ 384 w 512"/>
              <a:gd name="T59" fmla="*/ 394 h 512"/>
              <a:gd name="T60" fmla="*/ 394 w 512"/>
              <a:gd name="T61" fmla="*/ 234 h 512"/>
              <a:gd name="T62" fmla="*/ 373 w 512"/>
              <a:gd name="T63" fmla="*/ 266 h 512"/>
              <a:gd name="T64" fmla="*/ 335 w 512"/>
              <a:gd name="T65" fmla="*/ 245 h 512"/>
              <a:gd name="T66" fmla="*/ 138 w 512"/>
              <a:gd name="T67" fmla="*/ 373 h 512"/>
              <a:gd name="T68" fmla="*/ 373 w 512"/>
              <a:gd name="T69" fmla="*/ 288 h 512"/>
              <a:gd name="T70" fmla="*/ 138 w 512"/>
              <a:gd name="T7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55" y="245"/>
                </a:moveTo>
                <a:cubicBezTo>
                  <a:pt x="177" y="266"/>
                  <a:pt x="177" y="266"/>
                  <a:pt x="177" y="266"/>
                </a:cubicBezTo>
                <a:cubicBezTo>
                  <a:pt x="138" y="266"/>
                  <a:pt x="138" y="266"/>
                  <a:pt x="138" y="266"/>
                </a:cubicBezTo>
                <a:cubicBezTo>
                  <a:pt x="138" y="245"/>
                  <a:pt x="138" y="245"/>
                  <a:pt x="138" y="245"/>
                </a:cubicBezTo>
                <a:lnTo>
                  <a:pt x="155" y="245"/>
                </a:lnTo>
                <a:close/>
                <a:moveTo>
                  <a:pt x="312" y="160"/>
                </a:moveTo>
                <a:cubicBezTo>
                  <a:pt x="285" y="147"/>
                  <a:pt x="285" y="147"/>
                  <a:pt x="285" y="147"/>
                </a:cubicBezTo>
                <a:cubicBezTo>
                  <a:pt x="242" y="161"/>
                  <a:pt x="242" y="161"/>
                  <a:pt x="242" y="161"/>
                </a:cubicBezTo>
                <a:cubicBezTo>
                  <a:pt x="270" y="174"/>
                  <a:pt x="270" y="174"/>
                  <a:pt x="270" y="174"/>
                </a:cubicBezTo>
                <a:lnTo>
                  <a:pt x="312" y="160"/>
                </a:lnTo>
                <a:close/>
                <a:moveTo>
                  <a:pt x="241" y="184"/>
                </a:moveTo>
                <a:cubicBezTo>
                  <a:pt x="214" y="171"/>
                  <a:pt x="214" y="171"/>
                  <a:pt x="214" y="171"/>
                </a:cubicBezTo>
                <a:cubicBezTo>
                  <a:pt x="172" y="185"/>
                  <a:pt x="172" y="185"/>
                  <a:pt x="172" y="185"/>
                </a:cubicBezTo>
                <a:cubicBezTo>
                  <a:pt x="199" y="199"/>
                  <a:pt x="199" y="199"/>
                  <a:pt x="199" y="199"/>
                </a:cubicBezTo>
                <a:lnTo>
                  <a:pt x="241" y="184"/>
                </a:lnTo>
                <a:close/>
                <a:moveTo>
                  <a:pt x="350" y="147"/>
                </a:moveTo>
                <a:cubicBezTo>
                  <a:pt x="343" y="127"/>
                  <a:pt x="343" y="127"/>
                  <a:pt x="343" y="127"/>
                </a:cubicBezTo>
                <a:cubicBezTo>
                  <a:pt x="313" y="137"/>
                  <a:pt x="313" y="137"/>
                  <a:pt x="313" y="137"/>
                </a:cubicBezTo>
                <a:cubicBezTo>
                  <a:pt x="340" y="150"/>
                  <a:pt x="340" y="150"/>
                  <a:pt x="340" y="150"/>
                </a:cubicBezTo>
                <a:lnTo>
                  <a:pt x="350" y="147"/>
                </a:lnTo>
                <a:close/>
                <a:moveTo>
                  <a:pt x="326" y="266"/>
                </a:moveTo>
                <a:cubicBezTo>
                  <a:pt x="305" y="245"/>
                  <a:pt x="305" y="245"/>
                  <a:pt x="305" y="245"/>
                </a:cubicBezTo>
                <a:cubicBezTo>
                  <a:pt x="260" y="245"/>
                  <a:pt x="260" y="245"/>
                  <a:pt x="260" y="245"/>
                </a:cubicBezTo>
                <a:cubicBezTo>
                  <a:pt x="281" y="266"/>
                  <a:pt x="281" y="266"/>
                  <a:pt x="281" y="266"/>
                </a:cubicBezTo>
                <a:lnTo>
                  <a:pt x="326" y="266"/>
                </a:lnTo>
                <a:close/>
                <a:moveTo>
                  <a:pt x="207" y="266"/>
                </a:moveTo>
                <a:cubicBezTo>
                  <a:pt x="251" y="266"/>
                  <a:pt x="251" y="266"/>
                  <a:pt x="251" y="266"/>
                </a:cubicBezTo>
                <a:cubicBezTo>
                  <a:pt x="230" y="245"/>
                  <a:pt x="230" y="245"/>
                  <a:pt x="230" y="245"/>
                </a:cubicBezTo>
                <a:cubicBezTo>
                  <a:pt x="185" y="245"/>
                  <a:pt x="185" y="245"/>
                  <a:pt x="185" y="245"/>
                </a:cubicBezTo>
                <a:lnTo>
                  <a:pt x="207" y="266"/>
                </a:lnTo>
                <a:close/>
                <a:moveTo>
                  <a:pt x="143" y="195"/>
                </a:moveTo>
                <a:cubicBezTo>
                  <a:pt x="127" y="201"/>
                  <a:pt x="127" y="201"/>
                  <a:pt x="127" y="201"/>
                </a:cubicBezTo>
                <a:cubicBezTo>
                  <a:pt x="134" y="221"/>
                  <a:pt x="134" y="221"/>
                  <a:pt x="134" y="221"/>
                </a:cubicBezTo>
                <a:cubicBezTo>
                  <a:pt x="170" y="208"/>
                  <a:pt x="170" y="208"/>
                  <a:pt x="170" y="208"/>
                </a:cubicBezTo>
                <a:lnTo>
                  <a:pt x="143" y="1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192" y="224"/>
                  <a:pt x="192" y="224"/>
                  <a:pt x="192" y="224"/>
                </a:cubicBezTo>
                <a:cubicBezTo>
                  <a:pt x="201" y="220"/>
                  <a:pt x="201" y="220"/>
                  <a:pt x="201" y="220"/>
                </a:cubicBezTo>
                <a:cubicBezTo>
                  <a:pt x="201" y="220"/>
                  <a:pt x="201" y="220"/>
                  <a:pt x="202" y="220"/>
                </a:cubicBezTo>
                <a:cubicBezTo>
                  <a:pt x="271" y="196"/>
                  <a:pt x="271" y="196"/>
                  <a:pt x="271" y="196"/>
                </a:cubicBezTo>
                <a:cubicBezTo>
                  <a:pt x="272" y="196"/>
                  <a:pt x="273" y="196"/>
                  <a:pt x="273" y="196"/>
                </a:cubicBezTo>
                <a:cubicBezTo>
                  <a:pt x="342" y="172"/>
                  <a:pt x="342" y="172"/>
                  <a:pt x="342" y="172"/>
                </a:cubicBezTo>
                <a:cubicBezTo>
                  <a:pt x="343" y="172"/>
                  <a:pt x="344" y="172"/>
                  <a:pt x="344" y="171"/>
                </a:cubicBezTo>
                <a:cubicBezTo>
                  <a:pt x="367" y="164"/>
                  <a:pt x="367" y="164"/>
                  <a:pt x="367" y="164"/>
                </a:cubicBezTo>
                <a:cubicBezTo>
                  <a:pt x="370" y="163"/>
                  <a:pt x="372" y="161"/>
                  <a:pt x="373" y="158"/>
                </a:cubicBezTo>
                <a:cubicBezTo>
                  <a:pt x="374" y="156"/>
                  <a:pt x="374" y="153"/>
                  <a:pt x="374" y="150"/>
                </a:cubicBezTo>
                <a:cubicBezTo>
                  <a:pt x="360" y="110"/>
                  <a:pt x="360" y="110"/>
                  <a:pt x="360" y="110"/>
                </a:cubicBezTo>
                <a:cubicBezTo>
                  <a:pt x="358" y="104"/>
                  <a:pt x="352" y="101"/>
                  <a:pt x="346" y="103"/>
                </a:cubicBezTo>
                <a:cubicBezTo>
                  <a:pt x="110" y="184"/>
                  <a:pt x="110" y="184"/>
                  <a:pt x="110" y="184"/>
                </a:cubicBezTo>
                <a:cubicBezTo>
                  <a:pt x="105" y="186"/>
                  <a:pt x="102" y="192"/>
                  <a:pt x="104" y="197"/>
                </a:cubicBezTo>
                <a:cubicBezTo>
                  <a:pt x="117" y="236"/>
                  <a:pt x="117" y="236"/>
                  <a:pt x="117" y="236"/>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234"/>
                </a:lnTo>
                <a:close/>
                <a:moveTo>
                  <a:pt x="356" y="266"/>
                </a:moveTo>
                <a:cubicBezTo>
                  <a:pt x="373" y="266"/>
                  <a:pt x="373" y="266"/>
                  <a:pt x="373" y="266"/>
                </a:cubicBezTo>
                <a:cubicBezTo>
                  <a:pt x="373" y="245"/>
                  <a:pt x="373" y="245"/>
                  <a:pt x="373" y="245"/>
                </a:cubicBezTo>
                <a:cubicBezTo>
                  <a:pt x="335" y="245"/>
                  <a:pt x="335" y="245"/>
                  <a:pt x="335" y="245"/>
                </a:cubicBezTo>
                <a:lnTo>
                  <a:pt x="356" y="266"/>
                </a:lnTo>
                <a:close/>
                <a:moveTo>
                  <a:pt x="138" y="373"/>
                </a:moveTo>
                <a:cubicBezTo>
                  <a:pt x="373" y="373"/>
                  <a:pt x="373" y="373"/>
                  <a:pt x="373" y="373"/>
                </a:cubicBezTo>
                <a:cubicBezTo>
                  <a:pt x="373" y="288"/>
                  <a:pt x="373" y="288"/>
                  <a:pt x="373" y="288"/>
                </a:cubicBezTo>
                <a:cubicBezTo>
                  <a:pt x="138" y="288"/>
                  <a:pt x="138" y="288"/>
                  <a:pt x="138" y="288"/>
                </a:cubicBezTo>
                <a:lnTo>
                  <a:pt x="138" y="3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0" name="Freeform 214">
            <a:extLst>
              <a:ext uri="{FF2B5EF4-FFF2-40B4-BE49-F238E27FC236}">
                <a16:creationId xmlns:a16="http://schemas.microsoft.com/office/drawing/2014/main" id="{5221FF39-F50F-4604-952B-D4E4C07D2208}"/>
              </a:ext>
            </a:extLst>
          </p:cNvPr>
          <p:cNvSpPr>
            <a:spLocks noChangeAspect="1" noEditPoints="1"/>
          </p:cNvSpPr>
          <p:nvPr/>
        </p:nvSpPr>
        <p:spPr bwMode="auto">
          <a:xfrm>
            <a:off x="6726127" y="5016705"/>
            <a:ext cx="731520" cy="731520"/>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 name="Freeform 441">
            <a:extLst>
              <a:ext uri="{FF2B5EF4-FFF2-40B4-BE49-F238E27FC236}">
                <a16:creationId xmlns:a16="http://schemas.microsoft.com/office/drawing/2014/main" id="{AFF05A23-31D3-4288-A050-B2B027D21034}"/>
              </a:ext>
            </a:extLst>
          </p:cNvPr>
          <p:cNvSpPr>
            <a:spLocks noChangeAspect="1" noEditPoints="1"/>
          </p:cNvSpPr>
          <p:nvPr/>
        </p:nvSpPr>
        <p:spPr bwMode="auto">
          <a:xfrm>
            <a:off x="5741913" y="2326553"/>
            <a:ext cx="733195" cy="731046"/>
          </a:xfrm>
          <a:custGeom>
            <a:avLst/>
            <a:gdLst>
              <a:gd name="T0" fmla="*/ 277 w 512"/>
              <a:gd name="T1" fmla="*/ 277 h 512"/>
              <a:gd name="T2" fmla="*/ 277 w 512"/>
              <a:gd name="T3" fmla="*/ 309 h 512"/>
              <a:gd name="T4" fmla="*/ 260 w 512"/>
              <a:gd name="T5" fmla="*/ 384 h 512"/>
              <a:gd name="T6" fmla="*/ 251 w 512"/>
              <a:gd name="T7" fmla="*/ 384 h 512"/>
              <a:gd name="T8" fmla="*/ 234 w 512"/>
              <a:gd name="T9" fmla="*/ 309 h 512"/>
              <a:gd name="T10" fmla="*/ 234 w 512"/>
              <a:gd name="T11" fmla="*/ 278 h 512"/>
              <a:gd name="T12" fmla="*/ 234 w 512"/>
              <a:gd name="T13" fmla="*/ 277 h 512"/>
              <a:gd name="T14" fmla="*/ 276 w 512"/>
              <a:gd name="T15" fmla="*/ 277 h 512"/>
              <a:gd name="T16" fmla="*/ 277 w 512"/>
              <a:gd name="T17" fmla="*/ 277 h 512"/>
              <a:gd name="T18" fmla="*/ 266 w 512"/>
              <a:gd name="T19" fmla="*/ 213 h 512"/>
              <a:gd name="T20" fmla="*/ 256 w 512"/>
              <a:gd name="T21" fmla="*/ 202 h 512"/>
              <a:gd name="T22" fmla="*/ 245 w 512"/>
              <a:gd name="T23" fmla="*/ 213 h 512"/>
              <a:gd name="T24" fmla="*/ 256 w 512"/>
              <a:gd name="T25" fmla="*/ 224 h 512"/>
              <a:gd name="T26" fmla="*/ 266 w 512"/>
              <a:gd name="T27" fmla="*/ 21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98 w 512"/>
              <a:gd name="T39" fmla="*/ 277 h 512"/>
              <a:gd name="T40" fmla="*/ 277 w 512"/>
              <a:gd name="T41" fmla="*/ 256 h 512"/>
              <a:gd name="T42" fmla="*/ 234 w 512"/>
              <a:gd name="T43" fmla="*/ 256 h 512"/>
              <a:gd name="T44" fmla="*/ 213 w 512"/>
              <a:gd name="T45" fmla="*/ 277 h 512"/>
              <a:gd name="T46" fmla="*/ 213 w 512"/>
              <a:gd name="T47" fmla="*/ 309 h 512"/>
              <a:gd name="T48" fmla="*/ 222 w 512"/>
              <a:gd name="T49" fmla="*/ 356 h 512"/>
              <a:gd name="T50" fmla="*/ 245 w 512"/>
              <a:gd name="T51" fmla="*/ 405 h 512"/>
              <a:gd name="T52" fmla="*/ 266 w 512"/>
              <a:gd name="T53" fmla="*/ 405 h 512"/>
              <a:gd name="T54" fmla="*/ 289 w 512"/>
              <a:gd name="T55" fmla="*/ 356 h 512"/>
              <a:gd name="T56" fmla="*/ 298 w 512"/>
              <a:gd name="T57" fmla="*/ 309 h 512"/>
              <a:gd name="T58" fmla="*/ 298 w 512"/>
              <a:gd name="T59" fmla="*/ 277 h 512"/>
              <a:gd name="T60" fmla="*/ 256 w 512"/>
              <a:gd name="T61" fmla="*/ 245 h 512"/>
              <a:gd name="T62" fmla="*/ 288 w 512"/>
              <a:gd name="T63" fmla="*/ 213 h 512"/>
              <a:gd name="T64" fmla="*/ 256 w 512"/>
              <a:gd name="T65" fmla="*/ 181 h 512"/>
              <a:gd name="T66" fmla="*/ 224 w 512"/>
              <a:gd name="T67" fmla="*/ 213 h 512"/>
              <a:gd name="T68" fmla="*/ 256 w 512"/>
              <a:gd name="T69" fmla="*/ 245 h 512"/>
              <a:gd name="T70" fmla="*/ 338 w 512"/>
              <a:gd name="T71" fmla="*/ 339 h 512"/>
              <a:gd name="T72" fmla="*/ 373 w 512"/>
              <a:gd name="T73" fmla="*/ 256 h 512"/>
              <a:gd name="T74" fmla="*/ 256 w 512"/>
              <a:gd name="T75" fmla="*/ 138 h 512"/>
              <a:gd name="T76" fmla="*/ 138 w 512"/>
              <a:gd name="T77" fmla="*/ 256 h 512"/>
              <a:gd name="T78" fmla="*/ 172 w 512"/>
              <a:gd name="T79" fmla="*/ 338 h 512"/>
              <a:gd name="T80" fmla="*/ 187 w 512"/>
              <a:gd name="T81" fmla="*/ 338 h 512"/>
              <a:gd name="T82" fmla="*/ 187 w 512"/>
              <a:gd name="T83" fmla="*/ 323 h 512"/>
              <a:gd name="T84" fmla="*/ 160 w 512"/>
              <a:gd name="T85" fmla="*/ 256 h 512"/>
              <a:gd name="T86" fmla="*/ 256 w 512"/>
              <a:gd name="T87" fmla="*/ 160 h 512"/>
              <a:gd name="T88" fmla="*/ 352 w 512"/>
              <a:gd name="T89" fmla="*/ 256 h 512"/>
              <a:gd name="T90" fmla="*/ 323 w 512"/>
              <a:gd name="T91" fmla="*/ 324 h 512"/>
              <a:gd name="T92" fmla="*/ 323 w 512"/>
              <a:gd name="T93" fmla="*/ 339 h 512"/>
              <a:gd name="T94" fmla="*/ 330 w 512"/>
              <a:gd name="T95" fmla="*/ 343 h 512"/>
              <a:gd name="T96" fmla="*/ 338 w 512"/>
              <a:gd name="T97" fmla="*/ 339 h 512"/>
              <a:gd name="T98" fmla="*/ 416 w 512"/>
              <a:gd name="T99" fmla="*/ 256 h 512"/>
              <a:gd name="T100" fmla="*/ 256 w 512"/>
              <a:gd name="T101" fmla="*/ 96 h 512"/>
              <a:gd name="T102" fmla="*/ 96 w 512"/>
              <a:gd name="T103" fmla="*/ 256 h 512"/>
              <a:gd name="T104" fmla="*/ 141 w 512"/>
              <a:gd name="T105" fmla="*/ 368 h 512"/>
              <a:gd name="T106" fmla="*/ 156 w 512"/>
              <a:gd name="T107" fmla="*/ 368 h 512"/>
              <a:gd name="T108" fmla="*/ 157 w 512"/>
              <a:gd name="T109" fmla="*/ 353 h 512"/>
              <a:gd name="T110" fmla="*/ 117 w 512"/>
              <a:gd name="T111" fmla="*/ 256 h 512"/>
              <a:gd name="T112" fmla="*/ 256 w 512"/>
              <a:gd name="T113" fmla="*/ 117 h 512"/>
              <a:gd name="T114" fmla="*/ 394 w 512"/>
              <a:gd name="T115" fmla="*/ 256 h 512"/>
              <a:gd name="T116" fmla="*/ 353 w 512"/>
              <a:gd name="T117" fmla="*/ 355 h 512"/>
              <a:gd name="T118" fmla="*/ 353 w 512"/>
              <a:gd name="T119" fmla="*/ 370 h 512"/>
              <a:gd name="T120" fmla="*/ 360 w 512"/>
              <a:gd name="T121" fmla="*/ 373 h 512"/>
              <a:gd name="T122" fmla="*/ 368 w 512"/>
              <a:gd name="T123" fmla="*/ 370 h 512"/>
              <a:gd name="T124" fmla="*/ 416 w 512"/>
              <a:gd name="T125"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77" y="277"/>
                </a:moveTo>
                <a:cubicBezTo>
                  <a:pt x="277" y="309"/>
                  <a:pt x="277" y="309"/>
                  <a:pt x="277" y="309"/>
                </a:cubicBezTo>
                <a:cubicBezTo>
                  <a:pt x="276" y="316"/>
                  <a:pt x="265" y="368"/>
                  <a:pt x="260" y="384"/>
                </a:cubicBezTo>
                <a:cubicBezTo>
                  <a:pt x="251" y="384"/>
                  <a:pt x="251" y="384"/>
                  <a:pt x="251" y="384"/>
                </a:cubicBezTo>
                <a:cubicBezTo>
                  <a:pt x="246" y="368"/>
                  <a:pt x="235" y="316"/>
                  <a:pt x="234" y="309"/>
                </a:cubicBezTo>
                <a:cubicBezTo>
                  <a:pt x="234" y="278"/>
                  <a:pt x="234" y="278"/>
                  <a:pt x="234" y="278"/>
                </a:cubicBezTo>
                <a:cubicBezTo>
                  <a:pt x="234" y="278"/>
                  <a:pt x="235" y="277"/>
                  <a:pt x="234" y="277"/>
                </a:cubicBezTo>
                <a:cubicBezTo>
                  <a:pt x="276" y="277"/>
                  <a:pt x="276" y="277"/>
                  <a:pt x="276" y="277"/>
                </a:cubicBezTo>
                <a:cubicBezTo>
                  <a:pt x="276" y="277"/>
                  <a:pt x="277" y="278"/>
                  <a:pt x="277" y="277"/>
                </a:cubicBezTo>
                <a:close/>
                <a:moveTo>
                  <a:pt x="266" y="213"/>
                </a:moveTo>
                <a:cubicBezTo>
                  <a:pt x="266" y="207"/>
                  <a:pt x="262" y="202"/>
                  <a:pt x="256" y="202"/>
                </a:cubicBezTo>
                <a:cubicBezTo>
                  <a:pt x="250" y="202"/>
                  <a:pt x="245" y="207"/>
                  <a:pt x="245" y="213"/>
                </a:cubicBezTo>
                <a:cubicBezTo>
                  <a:pt x="245" y="219"/>
                  <a:pt x="250" y="224"/>
                  <a:pt x="256" y="224"/>
                </a:cubicBezTo>
                <a:cubicBezTo>
                  <a:pt x="262" y="224"/>
                  <a:pt x="266" y="219"/>
                  <a:pt x="266"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277"/>
                </a:moveTo>
                <a:cubicBezTo>
                  <a:pt x="298" y="266"/>
                  <a:pt x="288" y="256"/>
                  <a:pt x="277" y="256"/>
                </a:cubicBezTo>
                <a:cubicBezTo>
                  <a:pt x="234" y="256"/>
                  <a:pt x="234" y="256"/>
                  <a:pt x="234" y="256"/>
                </a:cubicBezTo>
                <a:cubicBezTo>
                  <a:pt x="223" y="256"/>
                  <a:pt x="213" y="266"/>
                  <a:pt x="213" y="277"/>
                </a:cubicBezTo>
                <a:cubicBezTo>
                  <a:pt x="213" y="309"/>
                  <a:pt x="213" y="309"/>
                  <a:pt x="213" y="309"/>
                </a:cubicBezTo>
                <a:cubicBezTo>
                  <a:pt x="213" y="314"/>
                  <a:pt x="219" y="343"/>
                  <a:pt x="222" y="356"/>
                </a:cubicBezTo>
                <a:cubicBezTo>
                  <a:pt x="232" y="400"/>
                  <a:pt x="236" y="405"/>
                  <a:pt x="245" y="405"/>
                </a:cubicBezTo>
                <a:cubicBezTo>
                  <a:pt x="266" y="405"/>
                  <a:pt x="266" y="405"/>
                  <a:pt x="266" y="405"/>
                </a:cubicBezTo>
                <a:cubicBezTo>
                  <a:pt x="276" y="405"/>
                  <a:pt x="279" y="400"/>
                  <a:pt x="289" y="356"/>
                </a:cubicBezTo>
                <a:cubicBezTo>
                  <a:pt x="292" y="343"/>
                  <a:pt x="298" y="314"/>
                  <a:pt x="298" y="309"/>
                </a:cubicBezTo>
                <a:lnTo>
                  <a:pt x="298" y="277"/>
                </a:lnTo>
                <a:close/>
                <a:moveTo>
                  <a:pt x="256" y="245"/>
                </a:moveTo>
                <a:cubicBezTo>
                  <a:pt x="273" y="245"/>
                  <a:pt x="288" y="231"/>
                  <a:pt x="288" y="213"/>
                </a:cubicBezTo>
                <a:cubicBezTo>
                  <a:pt x="288" y="195"/>
                  <a:pt x="273" y="181"/>
                  <a:pt x="256" y="181"/>
                </a:cubicBezTo>
                <a:cubicBezTo>
                  <a:pt x="238" y="181"/>
                  <a:pt x="224" y="195"/>
                  <a:pt x="224" y="213"/>
                </a:cubicBezTo>
                <a:cubicBezTo>
                  <a:pt x="224" y="231"/>
                  <a:pt x="238" y="245"/>
                  <a:pt x="256" y="245"/>
                </a:cubicBezTo>
                <a:close/>
                <a:moveTo>
                  <a:pt x="338" y="339"/>
                </a:moveTo>
                <a:cubicBezTo>
                  <a:pt x="361" y="317"/>
                  <a:pt x="373" y="287"/>
                  <a:pt x="373" y="256"/>
                </a:cubicBezTo>
                <a:cubicBezTo>
                  <a:pt x="373" y="191"/>
                  <a:pt x="320" y="138"/>
                  <a:pt x="256" y="138"/>
                </a:cubicBezTo>
                <a:cubicBezTo>
                  <a:pt x="191" y="138"/>
                  <a:pt x="138" y="191"/>
                  <a:pt x="138" y="256"/>
                </a:cubicBezTo>
                <a:cubicBezTo>
                  <a:pt x="138" y="287"/>
                  <a:pt x="150" y="316"/>
                  <a:pt x="172" y="338"/>
                </a:cubicBezTo>
                <a:cubicBezTo>
                  <a:pt x="176" y="342"/>
                  <a:pt x="183" y="342"/>
                  <a:pt x="187" y="338"/>
                </a:cubicBezTo>
                <a:cubicBezTo>
                  <a:pt x="191" y="334"/>
                  <a:pt x="191" y="327"/>
                  <a:pt x="187" y="323"/>
                </a:cubicBezTo>
                <a:cubicBezTo>
                  <a:pt x="169" y="305"/>
                  <a:pt x="160" y="281"/>
                  <a:pt x="160" y="256"/>
                </a:cubicBezTo>
                <a:cubicBezTo>
                  <a:pt x="160" y="203"/>
                  <a:pt x="203" y="160"/>
                  <a:pt x="256" y="160"/>
                </a:cubicBezTo>
                <a:cubicBezTo>
                  <a:pt x="309" y="160"/>
                  <a:pt x="352" y="203"/>
                  <a:pt x="352" y="256"/>
                </a:cubicBezTo>
                <a:cubicBezTo>
                  <a:pt x="352" y="282"/>
                  <a:pt x="341" y="306"/>
                  <a:pt x="323" y="324"/>
                </a:cubicBezTo>
                <a:cubicBezTo>
                  <a:pt x="319" y="328"/>
                  <a:pt x="319" y="335"/>
                  <a:pt x="323" y="339"/>
                </a:cubicBezTo>
                <a:cubicBezTo>
                  <a:pt x="325" y="341"/>
                  <a:pt x="328" y="343"/>
                  <a:pt x="330" y="343"/>
                </a:cubicBezTo>
                <a:cubicBezTo>
                  <a:pt x="333" y="343"/>
                  <a:pt x="336" y="341"/>
                  <a:pt x="338" y="339"/>
                </a:cubicBezTo>
                <a:close/>
                <a:moveTo>
                  <a:pt x="416" y="256"/>
                </a:moveTo>
                <a:cubicBezTo>
                  <a:pt x="416" y="167"/>
                  <a:pt x="344" y="96"/>
                  <a:pt x="256" y="96"/>
                </a:cubicBezTo>
                <a:cubicBezTo>
                  <a:pt x="167" y="96"/>
                  <a:pt x="96" y="167"/>
                  <a:pt x="96" y="256"/>
                </a:cubicBezTo>
                <a:cubicBezTo>
                  <a:pt x="96" y="298"/>
                  <a:pt x="112" y="338"/>
                  <a:pt x="141" y="368"/>
                </a:cubicBezTo>
                <a:cubicBezTo>
                  <a:pt x="145" y="372"/>
                  <a:pt x="152" y="372"/>
                  <a:pt x="156" y="368"/>
                </a:cubicBezTo>
                <a:cubicBezTo>
                  <a:pt x="161" y="364"/>
                  <a:pt x="161" y="357"/>
                  <a:pt x="157" y="353"/>
                </a:cubicBezTo>
                <a:cubicBezTo>
                  <a:pt x="131" y="327"/>
                  <a:pt x="117" y="292"/>
                  <a:pt x="117" y="256"/>
                </a:cubicBezTo>
                <a:cubicBezTo>
                  <a:pt x="117" y="179"/>
                  <a:pt x="179" y="117"/>
                  <a:pt x="256" y="117"/>
                </a:cubicBezTo>
                <a:cubicBezTo>
                  <a:pt x="332" y="117"/>
                  <a:pt x="394" y="179"/>
                  <a:pt x="394" y="256"/>
                </a:cubicBezTo>
                <a:cubicBezTo>
                  <a:pt x="394" y="293"/>
                  <a:pt x="380" y="328"/>
                  <a:pt x="353" y="355"/>
                </a:cubicBezTo>
                <a:cubicBezTo>
                  <a:pt x="349" y="359"/>
                  <a:pt x="348" y="366"/>
                  <a:pt x="353" y="370"/>
                </a:cubicBezTo>
                <a:cubicBezTo>
                  <a:pt x="355" y="372"/>
                  <a:pt x="357" y="373"/>
                  <a:pt x="360" y="373"/>
                </a:cubicBezTo>
                <a:cubicBezTo>
                  <a:pt x="363" y="373"/>
                  <a:pt x="366" y="372"/>
                  <a:pt x="368" y="370"/>
                </a:cubicBezTo>
                <a:cubicBezTo>
                  <a:pt x="399" y="340"/>
                  <a:pt x="416" y="299"/>
                  <a:pt x="416" y="2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 name="Freeform 680">
            <a:extLst>
              <a:ext uri="{FF2B5EF4-FFF2-40B4-BE49-F238E27FC236}">
                <a16:creationId xmlns:a16="http://schemas.microsoft.com/office/drawing/2014/main" id="{C5306193-988B-43BB-9FC1-F19058EF3E10}"/>
              </a:ext>
            </a:extLst>
          </p:cNvPr>
          <p:cNvSpPr>
            <a:spLocks noChangeAspect="1" noEditPoints="1"/>
          </p:cNvSpPr>
          <p:nvPr/>
        </p:nvSpPr>
        <p:spPr bwMode="auto">
          <a:xfrm>
            <a:off x="7141085" y="3281065"/>
            <a:ext cx="731521" cy="731520"/>
          </a:xfrm>
          <a:custGeom>
            <a:avLst/>
            <a:gdLst>
              <a:gd name="T0" fmla="*/ 337 w 512"/>
              <a:gd name="T1" fmla="*/ 202 h 512"/>
              <a:gd name="T2" fmla="*/ 309 w 512"/>
              <a:gd name="T3" fmla="*/ 175 h 512"/>
              <a:gd name="T4" fmla="*/ 215 w 512"/>
              <a:gd name="T5" fmla="*/ 312 h 512"/>
              <a:gd name="T6" fmla="*/ 226 w 512"/>
              <a:gd name="T7" fmla="*/ 300 h 512"/>
              <a:gd name="T8" fmla="*/ 138 w 512"/>
              <a:gd name="T9" fmla="*/ 207 h 512"/>
              <a:gd name="T10" fmla="*/ 197 w 512"/>
              <a:gd name="T11" fmla="*/ 299 h 512"/>
              <a:gd name="T12" fmla="*/ 512 w 512"/>
              <a:gd name="T13" fmla="*/ 256 h 512"/>
              <a:gd name="T14" fmla="*/ 0 w 512"/>
              <a:gd name="T15" fmla="*/ 256 h 512"/>
              <a:gd name="T16" fmla="*/ 512 w 512"/>
              <a:gd name="T17" fmla="*/ 256 h 512"/>
              <a:gd name="T18" fmla="*/ 195 w 512"/>
              <a:gd name="T19" fmla="*/ 327 h 512"/>
              <a:gd name="T20" fmla="*/ 242 w 512"/>
              <a:gd name="T21" fmla="*/ 341 h 512"/>
              <a:gd name="T22" fmla="*/ 253 w 512"/>
              <a:gd name="T23" fmla="*/ 338 h 512"/>
              <a:gd name="T24" fmla="*/ 245 w 512"/>
              <a:gd name="T25" fmla="*/ 285 h 512"/>
              <a:gd name="T26" fmla="*/ 146 w 512"/>
              <a:gd name="T27" fmla="*/ 184 h 512"/>
              <a:gd name="T28" fmla="*/ 99 w 512"/>
              <a:gd name="T29" fmla="*/ 216 h 512"/>
              <a:gd name="T30" fmla="*/ 373 w 512"/>
              <a:gd name="T31" fmla="*/ 213 h 512"/>
              <a:gd name="T32" fmla="*/ 372 w 512"/>
              <a:gd name="T33" fmla="*/ 209 h 512"/>
              <a:gd name="T34" fmla="*/ 306 w 512"/>
              <a:gd name="T35" fmla="*/ 141 h 512"/>
              <a:gd name="T36" fmla="*/ 298 w 512"/>
              <a:gd name="T37" fmla="*/ 138 h 512"/>
              <a:gd name="T38" fmla="*/ 170 w 512"/>
              <a:gd name="T39" fmla="*/ 149 h 512"/>
              <a:gd name="T40" fmla="*/ 181 w 512"/>
              <a:gd name="T41" fmla="*/ 192 h 512"/>
              <a:gd name="T42" fmla="*/ 192 w 512"/>
              <a:gd name="T43" fmla="*/ 160 h 512"/>
              <a:gd name="T44" fmla="*/ 288 w 512"/>
              <a:gd name="T45" fmla="*/ 213 h 512"/>
              <a:gd name="T46" fmla="*/ 352 w 512"/>
              <a:gd name="T47" fmla="*/ 224 h 512"/>
              <a:gd name="T48" fmla="*/ 192 w 512"/>
              <a:gd name="T49" fmla="*/ 394 h 512"/>
              <a:gd name="T50" fmla="*/ 181 w 512"/>
              <a:gd name="T51" fmla="*/ 341 h 512"/>
              <a:gd name="T52" fmla="*/ 170 w 512"/>
              <a:gd name="T53" fmla="*/ 405 h 512"/>
              <a:gd name="T54" fmla="*/ 362 w 512"/>
              <a:gd name="T55" fmla="*/ 416 h 512"/>
              <a:gd name="T56" fmla="*/ 373 w 512"/>
              <a:gd name="T57" fmla="*/ 213 h 512"/>
              <a:gd name="T58" fmla="*/ 320 w 512"/>
              <a:gd name="T59" fmla="*/ 277 h 512"/>
              <a:gd name="T60" fmla="*/ 266 w 512"/>
              <a:gd name="T61" fmla="*/ 288 h 512"/>
              <a:gd name="T62" fmla="*/ 320 w 512"/>
              <a:gd name="T63" fmla="*/ 298 h 512"/>
              <a:gd name="T64" fmla="*/ 320 w 512"/>
              <a:gd name="T65" fmla="*/ 320 h 512"/>
              <a:gd name="T66" fmla="*/ 277 w 512"/>
              <a:gd name="T67" fmla="*/ 330 h 512"/>
              <a:gd name="T68" fmla="*/ 320 w 512"/>
              <a:gd name="T69" fmla="*/ 341 h 512"/>
              <a:gd name="T70" fmla="*/ 320 w 512"/>
              <a:gd name="T71"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09" y="175"/>
                </a:moveTo>
                <a:cubicBezTo>
                  <a:pt x="337" y="202"/>
                  <a:pt x="337" y="202"/>
                  <a:pt x="337" y="202"/>
                </a:cubicBezTo>
                <a:cubicBezTo>
                  <a:pt x="309" y="202"/>
                  <a:pt x="309" y="202"/>
                  <a:pt x="309" y="202"/>
                </a:cubicBezTo>
                <a:lnTo>
                  <a:pt x="309" y="175"/>
                </a:lnTo>
                <a:close/>
                <a:moveTo>
                  <a:pt x="226" y="300"/>
                </a:moveTo>
                <a:cubicBezTo>
                  <a:pt x="215" y="312"/>
                  <a:pt x="215" y="312"/>
                  <a:pt x="215" y="312"/>
                </a:cubicBezTo>
                <a:cubicBezTo>
                  <a:pt x="230" y="316"/>
                  <a:pt x="230" y="316"/>
                  <a:pt x="230" y="316"/>
                </a:cubicBezTo>
                <a:lnTo>
                  <a:pt x="226" y="300"/>
                </a:lnTo>
                <a:close/>
                <a:moveTo>
                  <a:pt x="214" y="282"/>
                </a:moveTo>
                <a:cubicBezTo>
                  <a:pt x="138" y="207"/>
                  <a:pt x="138" y="207"/>
                  <a:pt x="138" y="207"/>
                </a:cubicBezTo>
                <a:cubicBezTo>
                  <a:pt x="121" y="224"/>
                  <a:pt x="121" y="224"/>
                  <a:pt x="121" y="224"/>
                </a:cubicBezTo>
                <a:cubicBezTo>
                  <a:pt x="197" y="299"/>
                  <a:pt x="197" y="299"/>
                  <a:pt x="197" y="299"/>
                </a:cubicBezTo>
                <a:lnTo>
                  <a:pt x="214" y="2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99" y="231"/>
                </a:moveTo>
                <a:cubicBezTo>
                  <a:pt x="195" y="327"/>
                  <a:pt x="195" y="327"/>
                  <a:pt x="195" y="327"/>
                </a:cubicBezTo>
                <a:cubicBezTo>
                  <a:pt x="196" y="329"/>
                  <a:pt x="198" y="330"/>
                  <a:pt x="200" y="330"/>
                </a:cubicBezTo>
                <a:cubicBezTo>
                  <a:pt x="242" y="341"/>
                  <a:pt x="242" y="341"/>
                  <a:pt x="242" y="341"/>
                </a:cubicBezTo>
                <a:cubicBezTo>
                  <a:pt x="243" y="341"/>
                  <a:pt x="244" y="341"/>
                  <a:pt x="245" y="341"/>
                </a:cubicBezTo>
                <a:cubicBezTo>
                  <a:pt x="248" y="341"/>
                  <a:pt x="251" y="340"/>
                  <a:pt x="253" y="338"/>
                </a:cubicBezTo>
                <a:cubicBezTo>
                  <a:pt x="255" y="335"/>
                  <a:pt x="256" y="331"/>
                  <a:pt x="255" y="328"/>
                </a:cubicBezTo>
                <a:cubicBezTo>
                  <a:pt x="245" y="285"/>
                  <a:pt x="245" y="285"/>
                  <a:pt x="245" y="285"/>
                </a:cubicBezTo>
                <a:cubicBezTo>
                  <a:pt x="244" y="283"/>
                  <a:pt x="243" y="281"/>
                  <a:pt x="242" y="280"/>
                </a:cubicBezTo>
                <a:cubicBezTo>
                  <a:pt x="146" y="184"/>
                  <a:pt x="146" y="184"/>
                  <a:pt x="146" y="184"/>
                </a:cubicBezTo>
                <a:cubicBezTo>
                  <a:pt x="142" y="180"/>
                  <a:pt x="135" y="180"/>
                  <a:pt x="131" y="184"/>
                </a:cubicBezTo>
                <a:cubicBezTo>
                  <a:pt x="99" y="216"/>
                  <a:pt x="99" y="216"/>
                  <a:pt x="99" y="216"/>
                </a:cubicBezTo>
                <a:cubicBezTo>
                  <a:pt x="95" y="220"/>
                  <a:pt x="95" y="227"/>
                  <a:pt x="99" y="231"/>
                </a:cubicBezTo>
                <a:close/>
                <a:moveTo>
                  <a:pt x="373" y="213"/>
                </a:moveTo>
                <a:cubicBezTo>
                  <a:pt x="373" y="213"/>
                  <a:pt x="373" y="213"/>
                  <a:pt x="373" y="213"/>
                </a:cubicBezTo>
                <a:cubicBezTo>
                  <a:pt x="373" y="211"/>
                  <a:pt x="373" y="210"/>
                  <a:pt x="372" y="209"/>
                </a:cubicBezTo>
                <a:cubicBezTo>
                  <a:pt x="372" y="208"/>
                  <a:pt x="371" y="206"/>
                  <a:pt x="370" y="205"/>
                </a:cubicBezTo>
                <a:cubicBezTo>
                  <a:pt x="306" y="141"/>
                  <a:pt x="306" y="141"/>
                  <a:pt x="306" y="141"/>
                </a:cubicBezTo>
                <a:cubicBezTo>
                  <a:pt x="305" y="140"/>
                  <a:pt x="304" y="140"/>
                  <a:pt x="302" y="139"/>
                </a:cubicBezTo>
                <a:cubicBezTo>
                  <a:pt x="301" y="139"/>
                  <a:pt x="300" y="138"/>
                  <a:pt x="298" y="138"/>
                </a:cubicBezTo>
                <a:cubicBezTo>
                  <a:pt x="181" y="138"/>
                  <a:pt x="181" y="138"/>
                  <a:pt x="181" y="138"/>
                </a:cubicBezTo>
                <a:cubicBezTo>
                  <a:pt x="175" y="138"/>
                  <a:pt x="170" y="143"/>
                  <a:pt x="170" y="149"/>
                </a:cubicBezTo>
                <a:cubicBezTo>
                  <a:pt x="170" y="181"/>
                  <a:pt x="170" y="181"/>
                  <a:pt x="170" y="181"/>
                </a:cubicBezTo>
                <a:cubicBezTo>
                  <a:pt x="170" y="187"/>
                  <a:pt x="175" y="192"/>
                  <a:pt x="181" y="192"/>
                </a:cubicBezTo>
                <a:cubicBezTo>
                  <a:pt x="187" y="192"/>
                  <a:pt x="192" y="187"/>
                  <a:pt x="192" y="181"/>
                </a:cubicBezTo>
                <a:cubicBezTo>
                  <a:pt x="192" y="160"/>
                  <a:pt x="192" y="160"/>
                  <a:pt x="192" y="160"/>
                </a:cubicBezTo>
                <a:cubicBezTo>
                  <a:pt x="288" y="160"/>
                  <a:pt x="288" y="160"/>
                  <a:pt x="288" y="160"/>
                </a:cubicBezTo>
                <a:cubicBezTo>
                  <a:pt x="288" y="213"/>
                  <a:pt x="288" y="213"/>
                  <a:pt x="288" y="213"/>
                </a:cubicBezTo>
                <a:cubicBezTo>
                  <a:pt x="288" y="219"/>
                  <a:pt x="292" y="224"/>
                  <a:pt x="298" y="224"/>
                </a:cubicBezTo>
                <a:cubicBezTo>
                  <a:pt x="352" y="224"/>
                  <a:pt x="352" y="224"/>
                  <a:pt x="352" y="224"/>
                </a:cubicBezTo>
                <a:cubicBezTo>
                  <a:pt x="352" y="394"/>
                  <a:pt x="352" y="394"/>
                  <a:pt x="352" y="394"/>
                </a:cubicBezTo>
                <a:cubicBezTo>
                  <a:pt x="192" y="394"/>
                  <a:pt x="192" y="394"/>
                  <a:pt x="192" y="394"/>
                </a:cubicBezTo>
                <a:cubicBezTo>
                  <a:pt x="192" y="352"/>
                  <a:pt x="192" y="352"/>
                  <a:pt x="192" y="352"/>
                </a:cubicBezTo>
                <a:cubicBezTo>
                  <a:pt x="192" y="346"/>
                  <a:pt x="187" y="341"/>
                  <a:pt x="181" y="341"/>
                </a:cubicBezTo>
                <a:cubicBezTo>
                  <a:pt x="175" y="341"/>
                  <a:pt x="170" y="346"/>
                  <a:pt x="170" y="352"/>
                </a:cubicBezTo>
                <a:cubicBezTo>
                  <a:pt x="170" y="405"/>
                  <a:pt x="170" y="405"/>
                  <a:pt x="170" y="405"/>
                </a:cubicBezTo>
                <a:cubicBezTo>
                  <a:pt x="170" y="411"/>
                  <a:pt x="175" y="416"/>
                  <a:pt x="181" y="416"/>
                </a:cubicBezTo>
                <a:cubicBezTo>
                  <a:pt x="362" y="416"/>
                  <a:pt x="362" y="416"/>
                  <a:pt x="362" y="416"/>
                </a:cubicBezTo>
                <a:cubicBezTo>
                  <a:pt x="368" y="416"/>
                  <a:pt x="373" y="411"/>
                  <a:pt x="373" y="405"/>
                </a:cubicBezTo>
                <a:lnTo>
                  <a:pt x="373" y="213"/>
                </a:lnTo>
                <a:close/>
                <a:moveTo>
                  <a:pt x="330" y="288"/>
                </a:moveTo>
                <a:cubicBezTo>
                  <a:pt x="330" y="282"/>
                  <a:pt x="326" y="277"/>
                  <a:pt x="320" y="277"/>
                </a:cubicBezTo>
                <a:cubicBezTo>
                  <a:pt x="277" y="277"/>
                  <a:pt x="277" y="277"/>
                  <a:pt x="277" y="277"/>
                </a:cubicBezTo>
                <a:cubicBezTo>
                  <a:pt x="271" y="277"/>
                  <a:pt x="266" y="282"/>
                  <a:pt x="266" y="288"/>
                </a:cubicBezTo>
                <a:cubicBezTo>
                  <a:pt x="266" y="294"/>
                  <a:pt x="271" y="298"/>
                  <a:pt x="277" y="298"/>
                </a:cubicBezTo>
                <a:cubicBezTo>
                  <a:pt x="320" y="298"/>
                  <a:pt x="320" y="298"/>
                  <a:pt x="320" y="298"/>
                </a:cubicBezTo>
                <a:cubicBezTo>
                  <a:pt x="326" y="298"/>
                  <a:pt x="330" y="294"/>
                  <a:pt x="330" y="288"/>
                </a:cubicBezTo>
                <a:close/>
                <a:moveTo>
                  <a:pt x="320" y="320"/>
                </a:moveTo>
                <a:cubicBezTo>
                  <a:pt x="288" y="320"/>
                  <a:pt x="288" y="320"/>
                  <a:pt x="288" y="320"/>
                </a:cubicBezTo>
                <a:cubicBezTo>
                  <a:pt x="282" y="320"/>
                  <a:pt x="277" y="324"/>
                  <a:pt x="277" y="330"/>
                </a:cubicBezTo>
                <a:cubicBezTo>
                  <a:pt x="277" y="336"/>
                  <a:pt x="282" y="341"/>
                  <a:pt x="288" y="341"/>
                </a:cubicBezTo>
                <a:cubicBezTo>
                  <a:pt x="320" y="341"/>
                  <a:pt x="320" y="341"/>
                  <a:pt x="320" y="341"/>
                </a:cubicBezTo>
                <a:cubicBezTo>
                  <a:pt x="326" y="341"/>
                  <a:pt x="330" y="336"/>
                  <a:pt x="330" y="330"/>
                </a:cubicBezTo>
                <a:cubicBezTo>
                  <a:pt x="330" y="324"/>
                  <a:pt x="326" y="320"/>
                  <a:pt x="320" y="3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3" name="Freeform 914">
            <a:extLst>
              <a:ext uri="{FF2B5EF4-FFF2-40B4-BE49-F238E27FC236}">
                <a16:creationId xmlns:a16="http://schemas.microsoft.com/office/drawing/2014/main" id="{73F2D41F-EB9D-48D8-9C57-A644681F396C}"/>
              </a:ext>
            </a:extLst>
          </p:cNvPr>
          <p:cNvSpPr>
            <a:spLocks noChangeAspect="1" noEditPoints="1"/>
          </p:cNvSpPr>
          <p:nvPr/>
        </p:nvSpPr>
        <p:spPr bwMode="auto">
          <a:xfrm>
            <a:off x="5836465" y="3688323"/>
            <a:ext cx="733671" cy="731520"/>
          </a:xfrm>
          <a:custGeom>
            <a:avLst/>
            <a:gdLst>
              <a:gd name="T0" fmla="*/ 192 w 512"/>
              <a:gd name="T1" fmla="*/ 224 h 512"/>
              <a:gd name="T2" fmla="*/ 352 w 512"/>
              <a:gd name="T3" fmla="*/ 224 h 512"/>
              <a:gd name="T4" fmla="*/ 352 w 512"/>
              <a:gd name="T5" fmla="*/ 352 h 512"/>
              <a:gd name="T6" fmla="*/ 117 w 512"/>
              <a:gd name="T7" fmla="*/ 352 h 512"/>
              <a:gd name="T8" fmla="*/ 117 w 512"/>
              <a:gd name="T9" fmla="*/ 202 h 512"/>
              <a:gd name="T10" fmla="*/ 174 w 512"/>
              <a:gd name="T11" fmla="*/ 202 h 512"/>
              <a:gd name="T12" fmla="*/ 182 w 512"/>
              <a:gd name="T13" fmla="*/ 218 h 512"/>
              <a:gd name="T14" fmla="*/ 192 w 512"/>
              <a:gd name="T15" fmla="*/ 224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213 h 512"/>
              <a:gd name="T28" fmla="*/ 362 w 512"/>
              <a:gd name="T29" fmla="*/ 202 h 512"/>
              <a:gd name="T30" fmla="*/ 198 w 512"/>
              <a:gd name="T31" fmla="*/ 202 h 512"/>
              <a:gd name="T32" fmla="*/ 191 w 512"/>
              <a:gd name="T33" fmla="*/ 187 h 512"/>
              <a:gd name="T34" fmla="*/ 181 w 512"/>
              <a:gd name="T35" fmla="*/ 181 h 512"/>
              <a:gd name="T36" fmla="*/ 106 w 512"/>
              <a:gd name="T37" fmla="*/ 181 h 512"/>
              <a:gd name="T38" fmla="*/ 96 w 512"/>
              <a:gd name="T39" fmla="*/ 192 h 512"/>
              <a:gd name="T40" fmla="*/ 96 w 512"/>
              <a:gd name="T41" fmla="*/ 362 h 512"/>
              <a:gd name="T42" fmla="*/ 106 w 512"/>
              <a:gd name="T43" fmla="*/ 373 h 512"/>
              <a:gd name="T44" fmla="*/ 362 w 512"/>
              <a:gd name="T45" fmla="*/ 373 h 512"/>
              <a:gd name="T46" fmla="*/ 373 w 512"/>
              <a:gd name="T47" fmla="*/ 362 h 512"/>
              <a:gd name="T48" fmla="*/ 373 w 512"/>
              <a:gd name="T49" fmla="*/ 213 h 512"/>
              <a:gd name="T50" fmla="*/ 416 w 512"/>
              <a:gd name="T51" fmla="*/ 170 h 512"/>
              <a:gd name="T52" fmla="*/ 405 w 512"/>
              <a:gd name="T53" fmla="*/ 160 h 512"/>
              <a:gd name="T54" fmla="*/ 241 w 512"/>
              <a:gd name="T55" fmla="*/ 160 h 512"/>
              <a:gd name="T56" fmla="*/ 233 w 512"/>
              <a:gd name="T57" fmla="*/ 144 h 512"/>
              <a:gd name="T58" fmla="*/ 224 w 512"/>
              <a:gd name="T59" fmla="*/ 138 h 512"/>
              <a:gd name="T60" fmla="*/ 149 w 512"/>
              <a:gd name="T61" fmla="*/ 138 h 512"/>
              <a:gd name="T62" fmla="*/ 138 w 512"/>
              <a:gd name="T63" fmla="*/ 149 h 512"/>
              <a:gd name="T64" fmla="*/ 149 w 512"/>
              <a:gd name="T65" fmla="*/ 160 h 512"/>
              <a:gd name="T66" fmla="*/ 217 w 512"/>
              <a:gd name="T67" fmla="*/ 160 h 512"/>
              <a:gd name="T68" fmla="*/ 225 w 512"/>
              <a:gd name="T69" fmla="*/ 175 h 512"/>
              <a:gd name="T70" fmla="*/ 234 w 512"/>
              <a:gd name="T71" fmla="*/ 181 h 512"/>
              <a:gd name="T72" fmla="*/ 394 w 512"/>
              <a:gd name="T73" fmla="*/ 181 h 512"/>
              <a:gd name="T74" fmla="*/ 394 w 512"/>
              <a:gd name="T75" fmla="*/ 320 h 512"/>
              <a:gd name="T76" fmla="*/ 405 w 512"/>
              <a:gd name="T77" fmla="*/ 330 h 512"/>
              <a:gd name="T78" fmla="*/ 416 w 512"/>
              <a:gd name="T79" fmla="*/ 320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92" y="224"/>
                </a:moveTo>
                <a:cubicBezTo>
                  <a:pt x="352" y="224"/>
                  <a:pt x="352" y="224"/>
                  <a:pt x="352" y="224"/>
                </a:cubicBezTo>
                <a:cubicBezTo>
                  <a:pt x="352" y="352"/>
                  <a:pt x="352" y="352"/>
                  <a:pt x="352" y="352"/>
                </a:cubicBezTo>
                <a:cubicBezTo>
                  <a:pt x="117" y="352"/>
                  <a:pt x="117" y="352"/>
                  <a:pt x="117" y="352"/>
                </a:cubicBezTo>
                <a:cubicBezTo>
                  <a:pt x="117" y="202"/>
                  <a:pt x="117" y="202"/>
                  <a:pt x="117" y="202"/>
                </a:cubicBezTo>
                <a:cubicBezTo>
                  <a:pt x="174" y="202"/>
                  <a:pt x="174" y="202"/>
                  <a:pt x="174" y="202"/>
                </a:cubicBezTo>
                <a:cubicBezTo>
                  <a:pt x="182" y="218"/>
                  <a:pt x="182" y="218"/>
                  <a:pt x="182" y="218"/>
                </a:cubicBezTo>
                <a:cubicBezTo>
                  <a:pt x="184" y="221"/>
                  <a:pt x="188" y="224"/>
                  <a:pt x="192"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198" y="202"/>
                  <a:pt x="198" y="202"/>
                  <a:pt x="198" y="202"/>
                </a:cubicBezTo>
                <a:cubicBezTo>
                  <a:pt x="191" y="187"/>
                  <a:pt x="191" y="187"/>
                  <a:pt x="191" y="187"/>
                </a:cubicBezTo>
                <a:cubicBezTo>
                  <a:pt x="189" y="183"/>
                  <a:pt x="185" y="181"/>
                  <a:pt x="181"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362" y="373"/>
                  <a:pt x="362" y="373"/>
                  <a:pt x="362" y="373"/>
                </a:cubicBezTo>
                <a:cubicBezTo>
                  <a:pt x="368" y="373"/>
                  <a:pt x="373" y="368"/>
                  <a:pt x="373" y="362"/>
                </a:cubicBezTo>
                <a:lnTo>
                  <a:pt x="373" y="213"/>
                </a:lnTo>
                <a:close/>
                <a:moveTo>
                  <a:pt x="416" y="170"/>
                </a:moveTo>
                <a:cubicBezTo>
                  <a:pt x="416" y="164"/>
                  <a:pt x="411" y="160"/>
                  <a:pt x="405" y="160"/>
                </a:cubicBezTo>
                <a:cubicBezTo>
                  <a:pt x="241" y="160"/>
                  <a:pt x="241" y="160"/>
                  <a:pt x="241" y="160"/>
                </a:cubicBezTo>
                <a:cubicBezTo>
                  <a:pt x="233" y="144"/>
                  <a:pt x="233" y="144"/>
                  <a:pt x="233" y="144"/>
                </a:cubicBezTo>
                <a:cubicBezTo>
                  <a:pt x="231" y="141"/>
                  <a:pt x="228" y="138"/>
                  <a:pt x="224" y="138"/>
                </a:cubicBezTo>
                <a:cubicBezTo>
                  <a:pt x="149" y="138"/>
                  <a:pt x="149" y="138"/>
                  <a:pt x="149" y="138"/>
                </a:cubicBezTo>
                <a:cubicBezTo>
                  <a:pt x="143" y="138"/>
                  <a:pt x="138" y="143"/>
                  <a:pt x="138" y="149"/>
                </a:cubicBezTo>
                <a:cubicBezTo>
                  <a:pt x="138" y="155"/>
                  <a:pt x="143" y="160"/>
                  <a:pt x="149" y="160"/>
                </a:cubicBezTo>
                <a:cubicBezTo>
                  <a:pt x="217" y="160"/>
                  <a:pt x="217" y="160"/>
                  <a:pt x="217" y="160"/>
                </a:cubicBezTo>
                <a:cubicBezTo>
                  <a:pt x="225" y="175"/>
                  <a:pt x="225" y="175"/>
                  <a:pt x="225" y="175"/>
                </a:cubicBezTo>
                <a:cubicBezTo>
                  <a:pt x="227" y="179"/>
                  <a:pt x="230" y="181"/>
                  <a:pt x="234" y="181"/>
                </a:cubicBezTo>
                <a:cubicBezTo>
                  <a:pt x="394" y="181"/>
                  <a:pt x="394" y="181"/>
                  <a:pt x="394" y="181"/>
                </a:cubicBezTo>
                <a:cubicBezTo>
                  <a:pt x="394" y="320"/>
                  <a:pt x="394" y="320"/>
                  <a:pt x="394" y="320"/>
                </a:cubicBezTo>
                <a:cubicBezTo>
                  <a:pt x="394" y="326"/>
                  <a:pt x="399" y="330"/>
                  <a:pt x="405" y="330"/>
                </a:cubicBezTo>
                <a:cubicBezTo>
                  <a:pt x="411" y="330"/>
                  <a:pt x="416" y="326"/>
                  <a:pt x="416" y="320"/>
                </a:cubicBezTo>
                <a:lnTo>
                  <a:pt x="416" y="1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 Box 10">
            <a:extLst>
              <a:ext uri="{FF2B5EF4-FFF2-40B4-BE49-F238E27FC236}">
                <a16:creationId xmlns:a16="http://schemas.microsoft.com/office/drawing/2014/main" id="{452A9E06-1AF5-414E-A2AF-A18F5D22E97D}"/>
              </a:ext>
            </a:extLst>
          </p:cNvPr>
          <p:cNvSpPr txBox="1">
            <a:spLocks noChangeArrowheads="1"/>
          </p:cNvSpPr>
          <p:nvPr/>
        </p:nvSpPr>
        <p:spPr bwMode="auto">
          <a:xfrm>
            <a:off x="9563100" y="1684382"/>
            <a:ext cx="2159000" cy="1000274"/>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65" name="Text Box 10">
            <a:extLst>
              <a:ext uri="{FF2B5EF4-FFF2-40B4-BE49-F238E27FC236}">
                <a16:creationId xmlns:a16="http://schemas.microsoft.com/office/drawing/2014/main" id="{61FFDB5C-231A-4D95-9EFE-B152B952735C}"/>
              </a:ext>
            </a:extLst>
          </p:cNvPr>
          <p:cNvSpPr txBox="1">
            <a:spLocks noChangeArrowheads="1"/>
          </p:cNvSpPr>
          <p:nvPr/>
        </p:nvSpPr>
        <p:spPr bwMode="auto">
          <a:xfrm>
            <a:off x="9563100" y="3126460"/>
            <a:ext cx="2158999" cy="1000274"/>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66" name="Text Box 10">
            <a:extLst>
              <a:ext uri="{FF2B5EF4-FFF2-40B4-BE49-F238E27FC236}">
                <a16:creationId xmlns:a16="http://schemas.microsoft.com/office/drawing/2014/main" id="{360513C3-0819-4A37-9322-A7430BC36D45}"/>
              </a:ext>
            </a:extLst>
          </p:cNvPr>
          <p:cNvSpPr txBox="1">
            <a:spLocks noChangeArrowheads="1"/>
          </p:cNvSpPr>
          <p:nvPr/>
        </p:nvSpPr>
        <p:spPr bwMode="auto">
          <a:xfrm>
            <a:off x="9600422" y="4905022"/>
            <a:ext cx="2121677" cy="1000274"/>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67" name="Text Box 10">
            <a:extLst>
              <a:ext uri="{FF2B5EF4-FFF2-40B4-BE49-F238E27FC236}">
                <a16:creationId xmlns:a16="http://schemas.microsoft.com/office/drawing/2014/main" id="{4749E03B-4FC3-4A97-AEC2-82AF18575C6B}"/>
              </a:ext>
            </a:extLst>
          </p:cNvPr>
          <p:cNvSpPr txBox="1">
            <a:spLocks noChangeArrowheads="1"/>
          </p:cNvSpPr>
          <p:nvPr/>
        </p:nvSpPr>
        <p:spPr bwMode="auto">
          <a:xfrm>
            <a:off x="579956" y="3210879"/>
            <a:ext cx="2170876" cy="1000274"/>
          </a:xfrm>
          <a:prstGeom prst="rect">
            <a:avLst/>
          </a:prstGeom>
          <a:noFill/>
          <a:ln w="9525">
            <a:noFill/>
            <a:miter lim="800000"/>
            <a:headEnd/>
            <a:tailEnd/>
          </a:ln>
        </p:spPr>
        <p:txBody>
          <a:bodyPr wrap="square" lIns="0" tIns="0" rIns="0" bIns="0" anchor="ctr">
            <a:spAutoFit/>
          </a:bodyPr>
          <a:lstStyle/>
          <a:p>
            <a:pPr algn="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algn="r" defTabSz="1088232"/>
            <a:endParaRPr lang="en-US" altLang="zh-CN" sz="1300" dirty="0">
              <a:solidFill>
                <a:srgbClr val="000000"/>
              </a:solidFill>
              <a:ea typeface="Open Sans" pitchFamily="34" charset="0"/>
              <a:cs typeface="Open Sans" pitchFamily="34" charset="0"/>
            </a:endParaRPr>
          </a:p>
          <a:p>
            <a:pPr algn="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68" name="Text Box 10">
            <a:extLst>
              <a:ext uri="{FF2B5EF4-FFF2-40B4-BE49-F238E27FC236}">
                <a16:creationId xmlns:a16="http://schemas.microsoft.com/office/drawing/2014/main" id="{B62D8F89-B1AF-424F-A9FA-E63FF74E2DA2}"/>
              </a:ext>
            </a:extLst>
          </p:cNvPr>
          <p:cNvSpPr txBox="1">
            <a:spLocks noChangeArrowheads="1"/>
          </p:cNvSpPr>
          <p:nvPr/>
        </p:nvSpPr>
        <p:spPr bwMode="auto">
          <a:xfrm>
            <a:off x="579956" y="4967356"/>
            <a:ext cx="2170876" cy="1000274"/>
          </a:xfrm>
          <a:prstGeom prst="rect">
            <a:avLst/>
          </a:prstGeom>
          <a:noFill/>
          <a:ln w="9525">
            <a:noFill/>
            <a:miter lim="800000"/>
            <a:headEnd/>
            <a:tailEnd/>
          </a:ln>
        </p:spPr>
        <p:txBody>
          <a:bodyPr wrap="square" lIns="0" tIns="0" rIns="0" bIns="0" anchor="ctr">
            <a:spAutoFit/>
          </a:bodyPr>
          <a:lstStyle/>
          <a:p>
            <a:pPr algn="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algn="r" defTabSz="1088232"/>
            <a:endParaRPr lang="en-US" altLang="zh-CN" sz="1300" dirty="0">
              <a:solidFill>
                <a:srgbClr val="000000"/>
              </a:solidFill>
              <a:ea typeface="Open Sans" pitchFamily="34" charset="0"/>
              <a:cs typeface="Open Sans" pitchFamily="34" charset="0"/>
            </a:endParaRPr>
          </a:p>
          <a:p>
            <a:pPr algn="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Tree>
    <p:custDataLst>
      <p:tags r:id="rId1"/>
    </p:custDataLst>
    <p:extLst>
      <p:ext uri="{BB962C8B-B14F-4D97-AF65-F5344CB8AC3E}">
        <p14:creationId xmlns:p14="http://schemas.microsoft.com/office/powerpoint/2010/main" val="1696482919"/>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31">
            <a:extLst>
              <a:ext uri="{FF2B5EF4-FFF2-40B4-BE49-F238E27FC236}">
                <a16:creationId xmlns:a16="http://schemas.microsoft.com/office/drawing/2014/main" id="{B8643714-E73E-44D8-84D3-F7DF932F1F23}"/>
              </a:ext>
            </a:extLst>
          </p:cNvPr>
          <p:cNvCxnSpPr/>
          <p:nvPr/>
        </p:nvCxnSpPr>
        <p:spPr>
          <a:xfrm flipV="1">
            <a:off x="3285140" y="2651615"/>
            <a:ext cx="1924419" cy="1996"/>
          </a:xfrm>
          <a:prstGeom prst="line">
            <a:avLst/>
          </a:prstGeom>
          <a:ln w="1905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34">
            <a:extLst>
              <a:ext uri="{FF2B5EF4-FFF2-40B4-BE49-F238E27FC236}">
                <a16:creationId xmlns:a16="http://schemas.microsoft.com/office/drawing/2014/main" id="{41EEE8D9-1248-4BD5-B389-55EA809F9A42}"/>
              </a:ext>
            </a:extLst>
          </p:cNvPr>
          <p:cNvCxnSpPr/>
          <p:nvPr/>
        </p:nvCxnSpPr>
        <p:spPr>
          <a:xfrm flipV="1">
            <a:off x="3381725" y="4479961"/>
            <a:ext cx="1151736" cy="1996"/>
          </a:xfrm>
          <a:prstGeom prst="line">
            <a:avLst/>
          </a:prstGeom>
          <a:ln w="1905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Arrow Connector 10">
            <a:extLst>
              <a:ext uri="{FF2B5EF4-FFF2-40B4-BE49-F238E27FC236}">
                <a16:creationId xmlns:a16="http://schemas.microsoft.com/office/drawing/2014/main" id="{45278F41-E7B6-4200-92E3-FB8FADD85E49}"/>
              </a:ext>
            </a:extLst>
          </p:cNvPr>
          <p:cNvCxnSpPr/>
          <p:nvPr/>
        </p:nvCxnSpPr>
        <p:spPr>
          <a:xfrm>
            <a:off x="7478608" y="2287617"/>
            <a:ext cx="1448781" cy="0"/>
          </a:xfrm>
          <a:prstGeom prst="straightConnector1">
            <a:avLst/>
          </a:prstGeom>
          <a:ln w="19050">
            <a:solidFill>
              <a:srgbClr val="00000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11">
            <a:extLst>
              <a:ext uri="{FF2B5EF4-FFF2-40B4-BE49-F238E27FC236}">
                <a16:creationId xmlns:a16="http://schemas.microsoft.com/office/drawing/2014/main" id="{1F4855D7-4C4E-4095-A39E-3F48F7DF730D}"/>
              </a:ext>
            </a:extLst>
          </p:cNvPr>
          <p:cNvCxnSpPr/>
          <p:nvPr/>
        </p:nvCxnSpPr>
        <p:spPr>
          <a:xfrm>
            <a:off x="7763428" y="3854638"/>
            <a:ext cx="772683" cy="0"/>
          </a:xfrm>
          <a:prstGeom prst="straightConnector1">
            <a:avLst/>
          </a:prstGeom>
          <a:ln w="19050">
            <a:solidFill>
              <a:srgbClr val="00000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13">
            <a:extLst>
              <a:ext uri="{FF2B5EF4-FFF2-40B4-BE49-F238E27FC236}">
                <a16:creationId xmlns:a16="http://schemas.microsoft.com/office/drawing/2014/main" id="{11168C03-6C63-4862-9F6C-FE9B056C7017}"/>
              </a:ext>
            </a:extLst>
          </p:cNvPr>
          <p:cNvCxnSpPr/>
          <p:nvPr/>
        </p:nvCxnSpPr>
        <p:spPr>
          <a:xfrm>
            <a:off x="7183915" y="5585587"/>
            <a:ext cx="1835122" cy="0"/>
          </a:xfrm>
          <a:prstGeom prst="straightConnector1">
            <a:avLst/>
          </a:prstGeom>
          <a:ln w="19050">
            <a:solidFill>
              <a:srgbClr val="000000"/>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0" name="Freeform 2">
            <a:extLst>
              <a:ext uri="{FF2B5EF4-FFF2-40B4-BE49-F238E27FC236}">
                <a16:creationId xmlns:a16="http://schemas.microsoft.com/office/drawing/2014/main" id="{4CAC5D46-70F1-497B-86E1-401941DACD8A}"/>
              </a:ext>
            </a:extLst>
          </p:cNvPr>
          <p:cNvSpPr>
            <a:spLocks noEditPoints="1"/>
          </p:cNvSpPr>
          <p:nvPr/>
        </p:nvSpPr>
        <p:spPr bwMode="auto">
          <a:xfrm>
            <a:off x="4240348" y="3528748"/>
            <a:ext cx="1906418" cy="1906418"/>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Freeform 3">
            <a:extLst>
              <a:ext uri="{FF2B5EF4-FFF2-40B4-BE49-F238E27FC236}">
                <a16:creationId xmlns:a16="http://schemas.microsoft.com/office/drawing/2014/main" id="{25F60590-6742-4767-8EEF-F871CE823C60}"/>
              </a:ext>
            </a:extLst>
          </p:cNvPr>
          <p:cNvSpPr>
            <a:spLocks noEditPoints="1"/>
          </p:cNvSpPr>
          <p:nvPr/>
        </p:nvSpPr>
        <p:spPr bwMode="auto">
          <a:xfrm>
            <a:off x="6146766" y="2906486"/>
            <a:ext cx="1906418" cy="1906418"/>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Freeform 4">
            <a:extLst>
              <a:ext uri="{FF2B5EF4-FFF2-40B4-BE49-F238E27FC236}">
                <a16:creationId xmlns:a16="http://schemas.microsoft.com/office/drawing/2014/main" id="{B5A5108E-0194-43D4-BEEF-18E42FEF49D9}"/>
              </a:ext>
            </a:extLst>
          </p:cNvPr>
          <p:cNvSpPr>
            <a:spLocks noEditPoints="1"/>
          </p:cNvSpPr>
          <p:nvPr/>
        </p:nvSpPr>
        <p:spPr bwMode="auto">
          <a:xfrm>
            <a:off x="5805348" y="4812904"/>
            <a:ext cx="1545366" cy="1545366"/>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Freeform 5">
            <a:extLst>
              <a:ext uri="{FF2B5EF4-FFF2-40B4-BE49-F238E27FC236}">
                <a16:creationId xmlns:a16="http://schemas.microsoft.com/office/drawing/2014/main" id="{B63E5650-B19C-487A-80D4-680CCB0F9ED0}"/>
              </a:ext>
            </a:extLst>
          </p:cNvPr>
          <p:cNvSpPr>
            <a:spLocks noEditPoints="1"/>
          </p:cNvSpPr>
          <p:nvPr/>
        </p:nvSpPr>
        <p:spPr bwMode="auto">
          <a:xfrm>
            <a:off x="4990800" y="1983382"/>
            <a:ext cx="1545366" cy="1545366"/>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Freeform 6">
            <a:extLst>
              <a:ext uri="{FF2B5EF4-FFF2-40B4-BE49-F238E27FC236}">
                <a16:creationId xmlns:a16="http://schemas.microsoft.com/office/drawing/2014/main" id="{48511D4B-6DD2-4849-B767-64CFF9108E0E}"/>
              </a:ext>
            </a:extLst>
          </p:cNvPr>
          <p:cNvSpPr>
            <a:spLocks noEditPoints="1"/>
          </p:cNvSpPr>
          <p:nvPr/>
        </p:nvSpPr>
        <p:spPr bwMode="auto">
          <a:xfrm>
            <a:off x="6536166" y="1781985"/>
            <a:ext cx="1062439" cy="1062439"/>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Text Box 10">
            <a:extLst>
              <a:ext uri="{FF2B5EF4-FFF2-40B4-BE49-F238E27FC236}">
                <a16:creationId xmlns:a16="http://schemas.microsoft.com/office/drawing/2014/main" id="{452A9E06-1AF5-414E-A2AF-A18F5D22E97D}"/>
              </a:ext>
            </a:extLst>
          </p:cNvPr>
          <p:cNvSpPr txBox="1">
            <a:spLocks noChangeArrowheads="1"/>
          </p:cNvSpPr>
          <p:nvPr/>
        </p:nvSpPr>
        <p:spPr bwMode="auto">
          <a:xfrm>
            <a:off x="9256544" y="1850388"/>
            <a:ext cx="2465556" cy="800219"/>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16" name="Oval 16">
            <a:extLst>
              <a:ext uri="{FF2B5EF4-FFF2-40B4-BE49-F238E27FC236}">
                <a16:creationId xmlns:a16="http://schemas.microsoft.com/office/drawing/2014/main" id="{B57CA454-F36D-4B5F-B7F2-F8DDD5CB196E}"/>
              </a:ext>
            </a:extLst>
          </p:cNvPr>
          <p:cNvSpPr>
            <a:spLocks noChangeArrowheads="1"/>
          </p:cNvSpPr>
          <p:nvPr/>
        </p:nvSpPr>
        <p:spPr bwMode="auto">
          <a:xfrm>
            <a:off x="8439525" y="1897543"/>
            <a:ext cx="683386" cy="693897"/>
          </a:xfrm>
          <a:prstGeom prst="ellipse">
            <a:avLst/>
          </a:prstGeom>
          <a:solidFill>
            <a:srgbClr val="43B02A"/>
          </a:solidFill>
          <a:ln>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10%</a:t>
            </a:r>
          </a:p>
        </p:txBody>
      </p:sp>
      <p:sp>
        <p:nvSpPr>
          <p:cNvPr id="18" name="Text Box 10">
            <a:extLst>
              <a:ext uri="{FF2B5EF4-FFF2-40B4-BE49-F238E27FC236}">
                <a16:creationId xmlns:a16="http://schemas.microsoft.com/office/drawing/2014/main" id="{61FFDB5C-231A-4D95-9EFE-B152B952735C}"/>
              </a:ext>
            </a:extLst>
          </p:cNvPr>
          <p:cNvSpPr txBox="1">
            <a:spLocks noChangeArrowheads="1"/>
          </p:cNvSpPr>
          <p:nvPr/>
        </p:nvSpPr>
        <p:spPr bwMode="auto">
          <a:xfrm>
            <a:off x="9256544" y="3460533"/>
            <a:ext cx="2465555" cy="800219"/>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19" name="Oval 23">
            <a:extLst>
              <a:ext uri="{FF2B5EF4-FFF2-40B4-BE49-F238E27FC236}">
                <a16:creationId xmlns:a16="http://schemas.microsoft.com/office/drawing/2014/main" id="{D2F7E6DB-9BC4-4FA2-B6DC-7BC9162DD5E4}"/>
              </a:ext>
            </a:extLst>
          </p:cNvPr>
          <p:cNvSpPr>
            <a:spLocks noChangeArrowheads="1"/>
          </p:cNvSpPr>
          <p:nvPr/>
        </p:nvSpPr>
        <p:spPr bwMode="auto">
          <a:xfrm>
            <a:off x="8439525" y="3507688"/>
            <a:ext cx="683386" cy="693897"/>
          </a:xfrm>
          <a:prstGeom prst="ellipse">
            <a:avLst/>
          </a:prstGeom>
          <a:solidFill>
            <a:srgbClr val="86BC25"/>
          </a:solidFill>
          <a:ln>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5%</a:t>
            </a:r>
          </a:p>
        </p:txBody>
      </p:sp>
      <p:sp>
        <p:nvSpPr>
          <p:cNvPr id="21" name="Text Box 10">
            <a:extLst>
              <a:ext uri="{FF2B5EF4-FFF2-40B4-BE49-F238E27FC236}">
                <a16:creationId xmlns:a16="http://schemas.microsoft.com/office/drawing/2014/main" id="{360513C3-0819-4A37-9322-A7430BC36D45}"/>
              </a:ext>
            </a:extLst>
          </p:cNvPr>
          <p:cNvSpPr txBox="1">
            <a:spLocks noChangeArrowheads="1"/>
          </p:cNvSpPr>
          <p:nvPr/>
        </p:nvSpPr>
        <p:spPr bwMode="auto">
          <a:xfrm>
            <a:off x="9299166" y="5276120"/>
            <a:ext cx="2422934" cy="800219"/>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22" name="Oval 26">
            <a:extLst>
              <a:ext uri="{FF2B5EF4-FFF2-40B4-BE49-F238E27FC236}">
                <a16:creationId xmlns:a16="http://schemas.microsoft.com/office/drawing/2014/main" id="{3A4D7C42-57AC-45DA-B9A3-E3D6D477F3CD}"/>
              </a:ext>
            </a:extLst>
          </p:cNvPr>
          <p:cNvSpPr>
            <a:spLocks noChangeArrowheads="1"/>
          </p:cNvSpPr>
          <p:nvPr/>
        </p:nvSpPr>
        <p:spPr bwMode="auto">
          <a:xfrm>
            <a:off x="8482146" y="5238638"/>
            <a:ext cx="683386" cy="693897"/>
          </a:xfrm>
          <a:prstGeom prst="ellipse">
            <a:avLst/>
          </a:prstGeom>
          <a:solidFill>
            <a:srgbClr val="53565A"/>
          </a:solidFill>
          <a:ln>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0%</a:t>
            </a:r>
            <a:endParaRPr lang="en-US" sz="1300" b="1" dirty="0">
              <a:solidFill>
                <a:schemeClr val="bg1"/>
              </a:solidFill>
              <a:ea typeface="Open Sans" pitchFamily="34" charset="0"/>
              <a:cs typeface="Open Sans" pitchFamily="34" charset="0"/>
            </a:endParaRPr>
          </a:p>
        </p:txBody>
      </p:sp>
      <p:sp>
        <p:nvSpPr>
          <p:cNvPr id="24" name="Oval 28">
            <a:extLst>
              <a:ext uri="{FF2B5EF4-FFF2-40B4-BE49-F238E27FC236}">
                <a16:creationId xmlns:a16="http://schemas.microsoft.com/office/drawing/2014/main" id="{45F42A42-113A-4560-9ED9-98869320AD64}"/>
              </a:ext>
            </a:extLst>
          </p:cNvPr>
          <p:cNvSpPr>
            <a:spLocks noChangeArrowheads="1"/>
          </p:cNvSpPr>
          <p:nvPr/>
        </p:nvSpPr>
        <p:spPr bwMode="auto">
          <a:xfrm>
            <a:off x="2988095" y="2306662"/>
            <a:ext cx="683386" cy="693897"/>
          </a:xfrm>
          <a:prstGeom prst="ellipse">
            <a:avLst/>
          </a:prstGeom>
          <a:solidFill>
            <a:srgbClr val="000000"/>
          </a:solidFill>
          <a:ln>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0%</a:t>
            </a:r>
            <a:endParaRPr lang="en-US" sz="1300" b="1" dirty="0">
              <a:solidFill>
                <a:schemeClr val="bg1"/>
              </a:solidFill>
              <a:ea typeface="Open Sans" pitchFamily="34" charset="0"/>
              <a:cs typeface="Open Sans" pitchFamily="34" charset="0"/>
            </a:endParaRPr>
          </a:p>
        </p:txBody>
      </p:sp>
      <p:sp>
        <p:nvSpPr>
          <p:cNvPr id="26" name="Oval 32">
            <a:extLst>
              <a:ext uri="{FF2B5EF4-FFF2-40B4-BE49-F238E27FC236}">
                <a16:creationId xmlns:a16="http://schemas.microsoft.com/office/drawing/2014/main" id="{918F81CE-303C-4966-B7BB-3B3803A446F4}"/>
              </a:ext>
            </a:extLst>
          </p:cNvPr>
          <p:cNvSpPr>
            <a:spLocks noChangeArrowheads="1"/>
          </p:cNvSpPr>
          <p:nvPr/>
        </p:nvSpPr>
        <p:spPr bwMode="auto">
          <a:xfrm>
            <a:off x="2988095" y="4135008"/>
            <a:ext cx="683386" cy="693897"/>
          </a:xfrm>
          <a:prstGeom prst="ellipse">
            <a:avLst/>
          </a:prstGeom>
          <a:solidFill>
            <a:schemeClr val="accent3"/>
          </a:solidFill>
          <a:ln>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5%</a:t>
            </a:r>
          </a:p>
        </p:txBody>
      </p:sp>
      <p:sp>
        <p:nvSpPr>
          <p:cNvPr id="28" name="Text Box 10">
            <a:extLst>
              <a:ext uri="{FF2B5EF4-FFF2-40B4-BE49-F238E27FC236}">
                <a16:creationId xmlns:a16="http://schemas.microsoft.com/office/drawing/2014/main" id="{4749E03B-4FC3-4A97-AEC2-82AF18575C6B}"/>
              </a:ext>
            </a:extLst>
          </p:cNvPr>
          <p:cNvSpPr txBox="1">
            <a:spLocks noChangeArrowheads="1"/>
          </p:cNvSpPr>
          <p:nvPr/>
        </p:nvSpPr>
        <p:spPr bwMode="auto">
          <a:xfrm>
            <a:off x="469900" y="2321366"/>
            <a:ext cx="2384562" cy="800219"/>
          </a:xfrm>
          <a:prstGeom prst="rect">
            <a:avLst/>
          </a:prstGeom>
          <a:noFill/>
          <a:ln w="9525">
            <a:noFill/>
            <a:miter lim="800000"/>
            <a:headEnd/>
            <a:tailEnd/>
          </a:ln>
        </p:spPr>
        <p:txBody>
          <a:bodyPr wrap="square" lIns="0" tIns="0" rIns="0" bIns="0" anchor="ctr">
            <a:spAutoFit/>
          </a:bodyPr>
          <a:lstStyle/>
          <a:p>
            <a:pPr algn="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algn="r" defTabSz="1088232"/>
            <a:endParaRPr lang="en-US" altLang="zh-CN" sz="1300" dirty="0">
              <a:solidFill>
                <a:srgbClr val="000000"/>
              </a:solidFill>
              <a:ea typeface="Open Sans" pitchFamily="34" charset="0"/>
              <a:cs typeface="Open Sans" pitchFamily="34" charset="0"/>
            </a:endParaRPr>
          </a:p>
          <a:p>
            <a:pPr algn="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29" name="Text Box 10">
            <a:extLst>
              <a:ext uri="{FF2B5EF4-FFF2-40B4-BE49-F238E27FC236}">
                <a16:creationId xmlns:a16="http://schemas.microsoft.com/office/drawing/2014/main" id="{B62D8F89-B1AF-424F-A9FA-E63FF74E2DA2}"/>
              </a:ext>
            </a:extLst>
          </p:cNvPr>
          <p:cNvSpPr txBox="1">
            <a:spLocks noChangeArrowheads="1"/>
          </p:cNvSpPr>
          <p:nvPr/>
        </p:nvSpPr>
        <p:spPr bwMode="auto">
          <a:xfrm>
            <a:off x="469900" y="4077844"/>
            <a:ext cx="2384562" cy="800219"/>
          </a:xfrm>
          <a:prstGeom prst="rect">
            <a:avLst/>
          </a:prstGeom>
          <a:noFill/>
          <a:ln w="9525">
            <a:noFill/>
            <a:miter lim="800000"/>
            <a:headEnd/>
            <a:tailEnd/>
          </a:ln>
        </p:spPr>
        <p:txBody>
          <a:bodyPr wrap="square" lIns="0" tIns="0" rIns="0" bIns="0" anchor="ctr">
            <a:spAutoFit/>
          </a:bodyPr>
          <a:lstStyle/>
          <a:p>
            <a:pPr algn="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algn="r" defTabSz="1088232"/>
            <a:endParaRPr lang="en-US" altLang="zh-CN" sz="1300" dirty="0">
              <a:solidFill>
                <a:srgbClr val="000000"/>
              </a:solidFill>
              <a:ea typeface="Open Sans" pitchFamily="34" charset="0"/>
              <a:cs typeface="Open Sans" pitchFamily="34" charset="0"/>
            </a:endParaRPr>
          </a:p>
          <a:p>
            <a:pPr algn="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43" name="Freeform 792">
            <a:extLst>
              <a:ext uri="{FF2B5EF4-FFF2-40B4-BE49-F238E27FC236}">
                <a16:creationId xmlns:a16="http://schemas.microsoft.com/office/drawing/2014/main" id="{7CEF771F-ACEC-47E9-B4F2-8D44F629D050}"/>
              </a:ext>
            </a:extLst>
          </p:cNvPr>
          <p:cNvSpPr>
            <a:spLocks noChangeAspect="1" noEditPoints="1"/>
          </p:cNvSpPr>
          <p:nvPr/>
        </p:nvSpPr>
        <p:spPr bwMode="auto">
          <a:xfrm>
            <a:off x="5390478" y="2386118"/>
            <a:ext cx="739894" cy="73989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184 h 512"/>
              <a:gd name="T12" fmla="*/ 248 w 512"/>
              <a:gd name="T13" fmla="*/ 99 h 512"/>
              <a:gd name="T14" fmla="*/ 252 w 512"/>
              <a:gd name="T15" fmla="*/ 96 h 512"/>
              <a:gd name="T16" fmla="*/ 260 w 512"/>
              <a:gd name="T17" fmla="*/ 96 h 512"/>
              <a:gd name="T18" fmla="*/ 263 w 512"/>
              <a:gd name="T19" fmla="*/ 99 h 512"/>
              <a:gd name="T20" fmla="*/ 349 w 512"/>
              <a:gd name="T21" fmla="*/ 184 h 512"/>
              <a:gd name="T22" fmla="*/ 349 w 512"/>
              <a:gd name="T23" fmla="*/ 199 h 512"/>
              <a:gd name="T24" fmla="*/ 341 w 512"/>
              <a:gd name="T25" fmla="*/ 202 h 512"/>
              <a:gd name="T26" fmla="*/ 333 w 512"/>
              <a:gd name="T27" fmla="*/ 199 h 512"/>
              <a:gd name="T28" fmla="*/ 266 w 512"/>
              <a:gd name="T29" fmla="*/ 132 h 512"/>
              <a:gd name="T30" fmla="*/ 266 w 512"/>
              <a:gd name="T31" fmla="*/ 362 h 512"/>
              <a:gd name="T32" fmla="*/ 256 w 512"/>
              <a:gd name="T33" fmla="*/ 373 h 512"/>
              <a:gd name="T34" fmla="*/ 245 w 512"/>
              <a:gd name="T35" fmla="*/ 362 h 512"/>
              <a:gd name="T36" fmla="*/ 245 w 512"/>
              <a:gd name="T37" fmla="*/ 132 h 512"/>
              <a:gd name="T38" fmla="*/ 178 w 512"/>
              <a:gd name="T39" fmla="*/ 199 h 512"/>
              <a:gd name="T40" fmla="*/ 170 w 512"/>
              <a:gd name="T41" fmla="*/ 202 h 512"/>
              <a:gd name="T42" fmla="*/ 163 w 512"/>
              <a:gd name="T43" fmla="*/ 199 h 512"/>
              <a:gd name="T44" fmla="*/ 163 w 512"/>
              <a:gd name="T45" fmla="*/ 184 h 512"/>
              <a:gd name="T46" fmla="*/ 373 w 512"/>
              <a:gd name="T47" fmla="*/ 405 h 512"/>
              <a:gd name="T48" fmla="*/ 362 w 512"/>
              <a:gd name="T49" fmla="*/ 416 h 512"/>
              <a:gd name="T50" fmla="*/ 149 w 512"/>
              <a:gd name="T51" fmla="*/ 416 h 512"/>
              <a:gd name="T52" fmla="*/ 138 w 512"/>
              <a:gd name="T53" fmla="*/ 405 h 512"/>
              <a:gd name="T54" fmla="*/ 138 w 512"/>
              <a:gd name="T55" fmla="*/ 362 h 512"/>
              <a:gd name="T56" fmla="*/ 149 w 512"/>
              <a:gd name="T57" fmla="*/ 352 h 512"/>
              <a:gd name="T58" fmla="*/ 160 w 512"/>
              <a:gd name="T59" fmla="*/ 362 h 512"/>
              <a:gd name="T60" fmla="*/ 160 w 512"/>
              <a:gd name="T61" fmla="*/ 394 h 512"/>
              <a:gd name="T62" fmla="*/ 352 w 512"/>
              <a:gd name="T63" fmla="*/ 394 h 512"/>
              <a:gd name="T64" fmla="*/ 352 w 512"/>
              <a:gd name="T65" fmla="*/ 362 h 512"/>
              <a:gd name="T66" fmla="*/ 362 w 512"/>
              <a:gd name="T67" fmla="*/ 352 h 512"/>
              <a:gd name="T68" fmla="*/ 373 w 512"/>
              <a:gd name="T69" fmla="*/ 362 h 512"/>
              <a:gd name="T70" fmla="*/ 373 w 512"/>
              <a:gd name="T7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184"/>
                </a:move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ubicBezTo>
                  <a:pt x="346" y="201"/>
                  <a:pt x="344" y="202"/>
                  <a:pt x="341" y="202"/>
                </a:cubicBezTo>
                <a:cubicBezTo>
                  <a:pt x="338" y="202"/>
                  <a:pt x="336" y="201"/>
                  <a:pt x="333" y="199"/>
                </a:cubicBezTo>
                <a:cubicBezTo>
                  <a:pt x="266" y="132"/>
                  <a:pt x="266" y="132"/>
                  <a:pt x="266" y="132"/>
                </a:cubicBezTo>
                <a:cubicBezTo>
                  <a:pt x="266" y="362"/>
                  <a:pt x="266" y="362"/>
                  <a:pt x="266" y="362"/>
                </a:cubicBezTo>
                <a:cubicBezTo>
                  <a:pt x="266" y="368"/>
                  <a:pt x="262" y="373"/>
                  <a:pt x="256" y="373"/>
                </a:cubicBezTo>
                <a:cubicBezTo>
                  <a:pt x="250" y="373"/>
                  <a:pt x="245" y="368"/>
                  <a:pt x="245" y="362"/>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4" name="Freeform 210">
            <a:extLst>
              <a:ext uri="{FF2B5EF4-FFF2-40B4-BE49-F238E27FC236}">
                <a16:creationId xmlns:a16="http://schemas.microsoft.com/office/drawing/2014/main" id="{1CC29008-CCE9-4511-9E94-4796425DB892}"/>
              </a:ext>
            </a:extLst>
          </p:cNvPr>
          <p:cNvSpPr>
            <a:spLocks noChangeAspect="1" noEditPoints="1"/>
          </p:cNvSpPr>
          <p:nvPr/>
        </p:nvSpPr>
        <p:spPr bwMode="auto">
          <a:xfrm>
            <a:off x="4732184" y="4020584"/>
            <a:ext cx="922746" cy="922746"/>
          </a:xfrm>
          <a:custGeom>
            <a:avLst/>
            <a:gdLst>
              <a:gd name="T0" fmla="*/ 352 w 512"/>
              <a:gd name="T1" fmla="*/ 394 h 512"/>
              <a:gd name="T2" fmla="*/ 224 w 512"/>
              <a:gd name="T3" fmla="*/ 224 h 512"/>
              <a:gd name="T4" fmla="*/ 256 w 512"/>
              <a:gd name="T5" fmla="*/ 256 h 512"/>
              <a:gd name="T6" fmla="*/ 330 w 512"/>
              <a:gd name="T7" fmla="*/ 266 h 512"/>
              <a:gd name="T8" fmla="*/ 256 w 512"/>
              <a:gd name="T9" fmla="*/ 277 h 512"/>
              <a:gd name="T10" fmla="*/ 256 w 512"/>
              <a:gd name="T11" fmla="*/ 256 h 512"/>
              <a:gd name="T12" fmla="*/ 320 w 512"/>
              <a:gd name="T13" fmla="*/ 298 h 512"/>
              <a:gd name="T14" fmla="*/ 320 w 512"/>
              <a:gd name="T15" fmla="*/ 320 h 512"/>
              <a:gd name="T16" fmla="*/ 245 w 512"/>
              <a:gd name="T17" fmla="*/ 309 h 512"/>
              <a:gd name="T18" fmla="*/ 256 w 512"/>
              <a:gd name="T19" fmla="*/ 341 h 512"/>
              <a:gd name="T20" fmla="*/ 330 w 512"/>
              <a:gd name="T21" fmla="*/ 352 h 512"/>
              <a:gd name="T22" fmla="*/ 256 w 512"/>
              <a:gd name="T23" fmla="*/ 362 h 512"/>
              <a:gd name="T24" fmla="*/ 256 w 512"/>
              <a:gd name="T25" fmla="*/ 341 h 512"/>
              <a:gd name="T26" fmla="*/ 213 w 512"/>
              <a:gd name="T27" fmla="*/ 202 h 512"/>
              <a:gd name="T28" fmla="*/ 202 w 512"/>
              <a:gd name="T29" fmla="*/ 394 h 512"/>
              <a:gd name="T30" fmla="*/ 160 w 512"/>
              <a:gd name="T31" fmla="*/ 138 h 512"/>
              <a:gd name="T32" fmla="*/ 181 w 512"/>
              <a:gd name="T33" fmla="*/ 149 h 512"/>
              <a:gd name="T34" fmla="*/ 298 w 512"/>
              <a:gd name="T35" fmla="*/ 160 h 512"/>
              <a:gd name="T36" fmla="*/ 309 w 512"/>
              <a:gd name="T37" fmla="*/ 138 h 512"/>
              <a:gd name="T38" fmla="*/ 330 w 512"/>
              <a:gd name="T39" fmla="*/ 202 h 512"/>
              <a:gd name="T40" fmla="*/ 202 w 512"/>
              <a:gd name="T41" fmla="*/ 138 h 512"/>
              <a:gd name="T42" fmla="*/ 202 w 512"/>
              <a:gd name="T43" fmla="*/ 128 h 512"/>
              <a:gd name="T44" fmla="*/ 202 w 512"/>
              <a:gd name="T45" fmla="*/ 117 h 512"/>
              <a:gd name="T46" fmla="*/ 288 w 512"/>
              <a:gd name="T47" fmla="*/ 138 h 512"/>
              <a:gd name="T48" fmla="*/ 0 w 512"/>
              <a:gd name="T49" fmla="*/ 256 h 512"/>
              <a:gd name="T50" fmla="*/ 512 w 512"/>
              <a:gd name="T51" fmla="*/ 256 h 512"/>
              <a:gd name="T52" fmla="*/ 373 w 512"/>
              <a:gd name="T53" fmla="*/ 405 h 512"/>
              <a:gd name="T54" fmla="*/ 149 w 512"/>
              <a:gd name="T55" fmla="*/ 416 h 512"/>
              <a:gd name="T56" fmla="*/ 138 w 512"/>
              <a:gd name="T57" fmla="*/ 128 h 512"/>
              <a:gd name="T58" fmla="*/ 181 w 512"/>
              <a:gd name="T59" fmla="*/ 117 h 512"/>
              <a:gd name="T60" fmla="*/ 192 w 512"/>
              <a:gd name="T61" fmla="*/ 96 h 512"/>
              <a:gd name="T62" fmla="*/ 309 w 512"/>
              <a:gd name="T63" fmla="*/ 106 h 512"/>
              <a:gd name="T64" fmla="*/ 341 w 512"/>
              <a:gd name="T65" fmla="*/ 117 h 512"/>
              <a:gd name="T66" fmla="*/ 352 w 512"/>
              <a:gd name="T67" fmla="*/ 202 h 512"/>
              <a:gd name="T68" fmla="*/ 373 w 512"/>
              <a:gd name="T69"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24" y="394"/>
                </a:moveTo>
                <a:cubicBezTo>
                  <a:pt x="352" y="394"/>
                  <a:pt x="352" y="394"/>
                  <a:pt x="352" y="394"/>
                </a:cubicBezTo>
                <a:cubicBezTo>
                  <a:pt x="352" y="224"/>
                  <a:pt x="352" y="224"/>
                  <a:pt x="352" y="224"/>
                </a:cubicBezTo>
                <a:cubicBezTo>
                  <a:pt x="224" y="224"/>
                  <a:pt x="224" y="224"/>
                  <a:pt x="224" y="224"/>
                </a:cubicBezTo>
                <a:lnTo>
                  <a:pt x="224" y="394"/>
                </a:lnTo>
                <a:close/>
                <a:moveTo>
                  <a:pt x="256" y="256"/>
                </a:moveTo>
                <a:cubicBezTo>
                  <a:pt x="320" y="256"/>
                  <a:pt x="320" y="256"/>
                  <a:pt x="320" y="256"/>
                </a:cubicBezTo>
                <a:cubicBezTo>
                  <a:pt x="326" y="256"/>
                  <a:pt x="330" y="260"/>
                  <a:pt x="330" y="266"/>
                </a:cubicBezTo>
                <a:cubicBezTo>
                  <a:pt x="330" y="272"/>
                  <a:pt x="326" y="277"/>
                  <a:pt x="320" y="277"/>
                </a:cubicBezTo>
                <a:cubicBezTo>
                  <a:pt x="256" y="277"/>
                  <a:pt x="256" y="277"/>
                  <a:pt x="256" y="277"/>
                </a:cubicBezTo>
                <a:cubicBezTo>
                  <a:pt x="250" y="277"/>
                  <a:pt x="245" y="272"/>
                  <a:pt x="245" y="266"/>
                </a:cubicBezTo>
                <a:cubicBezTo>
                  <a:pt x="245" y="260"/>
                  <a:pt x="250" y="256"/>
                  <a:pt x="256" y="256"/>
                </a:cubicBezTo>
                <a:close/>
                <a:moveTo>
                  <a:pt x="256" y="298"/>
                </a:moveTo>
                <a:cubicBezTo>
                  <a:pt x="320" y="298"/>
                  <a:pt x="320" y="298"/>
                  <a:pt x="320" y="298"/>
                </a:cubicBezTo>
                <a:cubicBezTo>
                  <a:pt x="326" y="298"/>
                  <a:pt x="330" y="303"/>
                  <a:pt x="330" y="309"/>
                </a:cubicBezTo>
                <a:cubicBezTo>
                  <a:pt x="330" y="315"/>
                  <a:pt x="326" y="320"/>
                  <a:pt x="320" y="320"/>
                </a:cubicBezTo>
                <a:cubicBezTo>
                  <a:pt x="256" y="320"/>
                  <a:pt x="256" y="320"/>
                  <a:pt x="256" y="320"/>
                </a:cubicBezTo>
                <a:cubicBezTo>
                  <a:pt x="250" y="320"/>
                  <a:pt x="245" y="315"/>
                  <a:pt x="245" y="309"/>
                </a:cubicBezTo>
                <a:cubicBezTo>
                  <a:pt x="245" y="303"/>
                  <a:pt x="250" y="298"/>
                  <a:pt x="256" y="298"/>
                </a:cubicBezTo>
                <a:close/>
                <a:moveTo>
                  <a:pt x="256" y="341"/>
                </a:moveTo>
                <a:cubicBezTo>
                  <a:pt x="320" y="341"/>
                  <a:pt x="320" y="341"/>
                  <a:pt x="320" y="341"/>
                </a:cubicBezTo>
                <a:cubicBezTo>
                  <a:pt x="326" y="341"/>
                  <a:pt x="330" y="346"/>
                  <a:pt x="330" y="352"/>
                </a:cubicBezTo>
                <a:cubicBezTo>
                  <a:pt x="330" y="358"/>
                  <a:pt x="326" y="362"/>
                  <a:pt x="320" y="362"/>
                </a:cubicBezTo>
                <a:cubicBezTo>
                  <a:pt x="256" y="362"/>
                  <a:pt x="256" y="362"/>
                  <a:pt x="256" y="362"/>
                </a:cubicBezTo>
                <a:cubicBezTo>
                  <a:pt x="250" y="362"/>
                  <a:pt x="245" y="358"/>
                  <a:pt x="245" y="352"/>
                </a:cubicBezTo>
                <a:cubicBezTo>
                  <a:pt x="245" y="346"/>
                  <a:pt x="250" y="341"/>
                  <a:pt x="256" y="341"/>
                </a:cubicBezTo>
                <a:close/>
                <a:moveTo>
                  <a:pt x="330" y="202"/>
                </a:moveTo>
                <a:cubicBezTo>
                  <a:pt x="213" y="202"/>
                  <a:pt x="213" y="202"/>
                  <a:pt x="213" y="202"/>
                </a:cubicBezTo>
                <a:cubicBezTo>
                  <a:pt x="207" y="202"/>
                  <a:pt x="202" y="207"/>
                  <a:pt x="202" y="213"/>
                </a:cubicBezTo>
                <a:cubicBezTo>
                  <a:pt x="202" y="394"/>
                  <a:pt x="202" y="394"/>
                  <a:pt x="202" y="394"/>
                </a:cubicBezTo>
                <a:cubicBezTo>
                  <a:pt x="160" y="394"/>
                  <a:pt x="160" y="394"/>
                  <a:pt x="160" y="394"/>
                </a:cubicBezTo>
                <a:cubicBezTo>
                  <a:pt x="160" y="138"/>
                  <a:pt x="160" y="138"/>
                  <a:pt x="160" y="138"/>
                </a:cubicBezTo>
                <a:cubicBezTo>
                  <a:pt x="181" y="138"/>
                  <a:pt x="181" y="138"/>
                  <a:pt x="181" y="138"/>
                </a:cubicBezTo>
                <a:cubicBezTo>
                  <a:pt x="181" y="149"/>
                  <a:pt x="181" y="149"/>
                  <a:pt x="181" y="149"/>
                </a:cubicBezTo>
                <a:cubicBezTo>
                  <a:pt x="181" y="155"/>
                  <a:pt x="186" y="160"/>
                  <a:pt x="192" y="160"/>
                </a:cubicBezTo>
                <a:cubicBezTo>
                  <a:pt x="298" y="160"/>
                  <a:pt x="298" y="160"/>
                  <a:pt x="298" y="160"/>
                </a:cubicBezTo>
                <a:cubicBezTo>
                  <a:pt x="304" y="160"/>
                  <a:pt x="309" y="155"/>
                  <a:pt x="309" y="149"/>
                </a:cubicBezTo>
                <a:cubicBezTo>
                  <a:pt x="309" y="138"/>
                  <a:pt x="309" y="138"/>
                  <a:pt x="309" y="138"/>
                </a:cubicBezTo>
                <a:cubicBezTo>
                  <a:pt x="330" y="138"/>
                  <a:pt x="330" y="138"/>
                  <a:pt x="330" y="138"/>
                </a:cubicBezTo>
                <a:lnTo>
                  <a:pt x="330" y="202"/>
                </a:lnTo>
                <a:close/>
                <a:moveTo>
                  <a:pt x="288" y="138"/>
                </a:moveTo>
                <a:cubicBezTo>
                  <a:pt x="202" y="138"/>
                  <a:pt x="202" y="138"/>
                  <a:pt x="202" y="138"/>
                </a:cubicBezTo>
                <a:cubicBezTo>
                  <a:pt x="202" y="128"/>
                  <a:pt x="202" y="128"/>
                  <a:pt x="202" y="128"/>
                </a:cubicBezTo>
                <a:cubicBezTo>
                  <a:pt x="202" y="128"/>
                  <a:pt x="202" y="128"/>
                  <a:pt x="202" y="128"/>
                </a:cubicBezTo>
                <a:cubicBezTo>
                  <a:pt x="202" y="128"/>
                  <a:pt x="202" y="128"/>
                  <a:pt x="202" y="128"/>
                </a:cubicBezTo>
                <a:cubicBezTo>
                  <a:pt x="202" y="117"/>
                  <a:pt x="202" y="117"/>
                  <a:pt x="202"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28"/>
                  <a:pt x="138" y="128"/>
                  <a:pt x="138" y="128"/>
                </a:cubicBezTo>
                <a:cubicBezTo>
                  <a:pt x="138" y="122"/>
                  <a:pt x="143" y="117"/>
                  <a:pt x="149" y="117"/>
                </a:cubicBezTo>
                <a:cubicBezTo>
                  <a:pt x="181" y="117"/>
                  <a:pt x="181" y="117"/>
                  <a:pt x="181" y="117"/>
                </a:cubicBezTo>
                <a:cubicBezTo>
                  <a:pt x="181" y="106"/>
                  <a:pt x="181" y="106"/>
                  <a:pt x="181" y="106"/>
                </a:cubicBezTo>
                <a:cubicBezTo>
                  <a:pt x="181" y="100"/>
                  <a:pt x="186" y="96"/>
                  <a:pt x="192" y="96"/>
                </a:cubicBezTo>
                <a:cubicBezTo>
                  <a:pt x="298" y="96"/>
                  <a:pt x="298" y="96"/>
                  <a:pt x="298" y="96"/>
                </a:cubicBezTo>
                <a:cubicBezTo>
                  <a:pt x="304" y="96"/>
                  <a:pt x="309" y="100"/>
                  <a:pt x="309" y="106"/>
                </a:cubicBezTo>
                <a:cubicBezTo>
                  <a:pt x="309" y="117"/>
                  <a:pt x="309" y="117"/>
                  <a:pt x="309" y="117"/>
                </a:cubicBezTo>
                <a:cubicBezTo>
                  <a:pt x="341" y="117"/>
                  <a:pt x="341" y="117"/>
                  <a:pt x="341" y="117"/>
                </a:cubicBezTo>
                <a:cubicBezTo>
                  <a:pt x="347" y="117"/>
                  <a:pt x="352" y="122"/>
                  <a:pt x="352" y="128"/>
                </a:cubicBezTo>
                <a:cubicBezTo>
                  <a:pt x="352" y="202"/>
                  <a:pt x="352" y="202"/>
                  <a:pt x="352" y="202"/>
                </a:cubicBezTo>
                <a:cubicBezTo>
                  <a:pt x="362" y="202"/>
                  <a:pt x="362" y="202"/>
                  <a:pt x="362" y="202"/>
                </a:cubicBezTo>
                <a:cubicBezTo>
                  <a:pt x="368" y="202"/>
                  <a:pt x="373" y="207"/>
                  <a:pt x="373" y="213"/>
                </a:cubicBezTo>
                <a:lnTo>
                  <a:pt x="373" y="40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 name="Freeform 682">
            <a:extLst>
              <a:ext uri="{FF2B5EF4-FFF2-40B4-BE49-F238E27FC236}">
                <a16:creationId xmlns:a16="http://schemas.microsoft.com/office/drawing/2014/main" id="{D4D6A6C4-6B99-4623-B8C3-6568EEB3A8AC}"/>
              </a:ext>
            </a:extLst>
          </p:cNvPr>
          <p:cNvSpPr>
            <a:spLocks noChangeAspect="1" noEditPoints="1"/>
          </p:cNvSpPr>
          <p:nvPr/>
        </p:nvSpPr>
        <p:spPr bwMode="auto">
          <a:xfrm>
            <a:off x="6156365" y="5163920"/>
            <a:ext cx="843331" cy="843331"/>
          </a:xfrm>
          <a:custGeom>
            <a:avLst/>
            <a:gdLst>
              <a:gd name="T0" fmla="*/ 362 w 512"/>
              <a:gd name="T1" fmla="*/ 192 h 512"/>
              <a:gd name="T2" fmla="*/ 362 w 512"/>
              <a:gd name="T3" fmla="*/ 266 h 512"/>
              <a:gd name="T4" fmla="*/ 149 w 512"/>
              <a:gd name="T5" fmla="*/ 266 h 512"/>
              <a:gd name="T6" fmla="*/ 149 w 512"/>
              <a:gd name="T7" fmla="*/ 192 h 512"/>
              <a:gd name="T8" fmla="*/ 170 w 512"/>
              <a:gd name="T9" fmla="*/ 170 h 512"/>
              <a:gd name="T10" fmla="*/ 224 w 512"/>
              <a:gd name="T11" fmla="*/ 170 h 512"/>
              <a:gd name="T12" fmla="*/ 224 w 512"/>
              <a:gd name="T13" fmla="*/ 192 h 512"/>
              <a:gd name="T14" fmla="*/ 234 w 512"/>
              <a:gd name="T15" fmla="*/ 202 h 512"/>
              <a:gd name="T16" fmla="*/ 245 w 512"/>
              <a:gd name="T17" fmla="*/ 192 h 512"/>
              <a:gd name="T18" fmla="*/ 245 w 512"/>
              <a:gd name="T19" fmla="*/ 170 h 512"/>
              <a:gd name="T20" fmla="*/ 341 w 512"/>
              <a:gd name="T21" fmla="*/ 170 h 512"/>
              <a:gd name="T22" fmla="*/ 362 w 512"/>
              <a:gd name="T23" fmla="*/ 192 h 512"/>
              <a:gd name="T24" fmla="*/ 245 w 512"/>
              <a:gd name="T25" fmla="*/ 394 h 512"/>
              <a:gd name="T26" fmla="*/ 266 w 512"/>
              <a:gd name="T27" fmla="*/ 394 h 512"/>
              <a:gd name="T28" fmla="*/ 266 w 512"/>
              <a:gd name="T29" fmla="*/ 288 h 512"/>
              <a:gd name="T30" fmla="*/ 245 w 512"/>
              <a:gd name="T31" fmla="*/ 288 h 512"/>
              <a:gd name="T32" fmla="*/ 245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84 w 512"/>
              <a:gd name="T45" fmla="*/ 192 h 512"/>
              <a:gd name="T46" fmla="*/ 341 w 512"/>
              <a:gd name="T47" fmla="*/ 149 h 512"/>
              <a:gd name="T48" fmla="*/ 245 w 512"/>
              <a:gd name="T49" fmla="*/ 149 h 512"/>
              <a:gd name="T50" fmla="*/ 245 w 512"/>
              <a:gd name="T51" fmla="*/ 117 h 512"/>
              <a:gd name="T52" fmla="*/ 256 w 512"/>
              <a:gd name="T53" fmla="*/ 117 h 512"/>
              <a:gd name="T54" fmla="*/ 266 w 512"/>
              <a:gd name="T55" fmla="*/ 106 h 512"/>
              <a:gd name="T56" fmla="*/ 256 w 512"/>
              <a:gd name="T57" fmla="*/ 96 h 512"/>
              <a:gd name="T58" fmla="*/ 234 w 512"/>
              <a:gd name="T59" fmla="*/ 96 h 512"/>
              <a:gd name="T60" fmla="*/ 224 w 512"/>
              <a:gd name="T61" fmla="*/ 106 h 512"/>
              <a:gd name="T62" fmla="*/ 224 w 512"/>
              <a:gd name="T63" fmla="*/ 149 h 512"/>
              <a:gd name="T64" fmla="*/ 170 w 512"/>
              <a:gd name="T65" fmla="*/ 149 h 512"/>
              <a:gd name="T66" fmla="*/ 128 w 512"/>
              <a:gd name="T67" fmla="*/ 192 h 512"/>
              <a:gd name="T68" fmla="*/ 128 w 512"/>
              <a:gd name="T69" fmla="*/ 277 h 512"/>
              <a:gd name="T70" fmla="*/ 138 w 512"/>
              <a:gd name="T71" fmla="*/ 288 h 512"/>
              <a:gd name="T72" fmla="*/ 224 w 512"/>
              <a:gd name="T73" fmla="*/ 288 h 512"/>
              <a:gd name="T74" fmla="*/ 224 w 512"/>
              <a:gd name="T75" fmla="*/ 405 h 512"/>
              <a:gd name="T76" fmla="*/ 234 w 512"/>
              <a:gd name="T77" fmla="*/ 416 h 512"/>
              <a:gd name="T78" fmla="*/ 277 w 512"/>
              <a:gd name="T79" fmla="*/ 416 h 512"/>
              <a:gd name="T80" fmla="*/ 288 w 512"/>
              <a:gd name="T81" fmla="*/ 405 h 512"/>
              <a:gd name="T82" fmla="*/ 288 w 512"/>
              <a:gd name="T83" fmla="*/ 288 h 512"/>
              <a:gd name="T84" fmla="*/ 373 w 512"/>
              <a:gd name="T85" fmla="*/ 288 h 512"/>
              <a:gd name="T86" fmla="*/ 384 w 512"/>
              <a:gd name="T87" fmla="*/ 277 h 512"/>
              <a:gd name="T88" fmla="*/ 384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62" y="192"/>
                </a:moveTo>
                <a:cubicBezTo>
                  <a:pt x="362" y="266"/>
                  <a:pt x="362" y="266"/>
                  <a:pt x="362" y="266"/>
                </a:cubicBezTo>
                <a:cubicBezTo>
                  <a:pt x="149" y="266"/>
                  <a:pt x="149" y="266"/>
                  <a:pt x="149" y="266"/>
                </a:cubicBezTo>
                <a:cubicBezTo>
                  <a:pt x="149" y="192"/>
                  <a:pt x="149" y="192"/>
                  <a:pt x="149" y="192"/>
                </a:cubicBezTo>
                <a:cubicBezTo>
                  <a:pt x="149" y="180"/>
                  <a:pt x="159" y="170"/>
                  <a:pt x="170" y="170"/>
                </a:cubicBezTo>
                <a:cubicBezTo>
                  <a:pt x="224" y="170"/>
                  <a:pt x="224" y="170"/>
                  <a:pt x="224" y="170"/>
                </a:cubicBezTo>
                <a:cubicBezTo>
                  <a:pt x="224" y="192"/>
                  <a:pt x="224" y="192"/>
                  <a:pt x="224" y="192"/>
                </a:cubicBezTo>
                <a:cubicBezTo>
                  <a:pt x="224" y="198"/>
                  <a:pt x="228" y="202"/>
                  <a:pt x="234" y="202"/>
                </a:cubicBezTo>
                <a:cubicBezTo>
                  <a:pt x="240" y="202"/>
                  <a:pt x="245" y="198"/>
                  <a:pt x="245" y="192"/>
                </a:cubicBezTo>
                <a:cubicBezTo>
                  <a:pt x="245" y="170"/>
                  <a:pt x="245" y="170"/>
                  <a:pt x="245" y="170"/>
                </a:cubicBezTo>
                <a:cubicBezTo>
                  <a:pt x="341" y="170"/>
                  <a:pt x="341" y="170"/>
                  <a:pt x="341" y="170"/>
                </a:cubicBezTo>
                <a:cubicBezTo>
                  <a:pt x="353" y="170"/>
                  <a:pt x="362" y="180"/>
                  <a:pt x="362" y="192"/>
                </a:cubicBezTo>
                <a:close/>
                <a:moveTo>
                  <a:pt x="245" y="394"/>
                </a:moveTo>
                <a:cubicBezTo>
                  <a:pt x="266" y="394"/>
                  <a:pt x="266" y="394"/>
                  <a:pt x="266" y="394"/>
                </a:cubicBezTo>
                <a:cubicBezTo>
                  <a:pt x="266" y="288"/>
                  <a:pt x="266" y="288"/>
                  <a:pt x="266" y="288"/>
                </a:cubicBezTo>
                <a:cubicBezTo>
                  <a:pt x="245" y="288"/>
                  <a:pt x="245" y="288"/>
                  <a:pt x="245" y="288"/>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92"/>
                </a:moveTo>
                <a:cubicBezTo>
                  <a:pt x="384" y="168"/>
                  <a:pt x="365" y="149"/>
                  <a:pt x="341" y="149"/>
                </a:cubicBezTo>
                <a:cubicBezTo>
                  <a:pt x="245" y="149"/>
                  <a:pt x="245" y="149"/>
                  <a:pt x="245" y="149"/>
                </a:cubicBezTo>
                <a:cubicBezTo>
                  <a:pt x="245" y="117"/>
                  <a:pt x="245" y="117"/>
                  <a:pt x="245" y="117"/>
                </a:cubicBezTo>
                <a:cubicBezTo>
                  <a:pt x="256" y="117"/>
                  <a:pt x="256" y="117"/>
                  <a:pt x="256" y="117"/>
                </a:cubicBezTo>
                <a:cubicBezTo>
                  <a:pt x="262" y="117"/>
                  <a:pt x="266" y="112"/>
                  <a:pt x="266" y="106"/>
                </a:cubicBezTo>
                <a:cubicBezTo>
                  <a:pt x="266" y="100"/>
                  <a:pt x="262" y="96"/>
                  <a:pt x="256" y="96"/>
                </a:cubicBezTo>
                <a:cubicBezTo>
                  <a:pt x="234" y="96"/>
                  <a:pt x="234" y="96"/>
                  <a:pt x="234" y="96"/>
                </a:cubicBezTo>
                <a:cubicBezTo>
                  <a:pt x="228" y="96"/>
                  <a:pt x="224" y="100"/>
                  <a:pt x="224" y="106"/>
                </a:cubicBezTo>
                <a:cubicBezTo>
                  <a:pt x="224" y="149"/>
                  <a:pt x="224" y="149"/>
                  <a:pt x="224" y="149"/>
                </a:cubicBezTo>
                <a:cubicBezTo>
                  <a:pt x="170" y="149"/>
                  <a:pt x="170" y="149"/>
                  <a:pt x="170" y="149"/>
                </a:cubicBezTo>
                <a:cubicBezTo>
                  <a:pt x="147" y="149"/>
                  <a:pt x="128" y="168"/>
                  <a:pt x="128" y="192"/>
                </a:cubicBezTo>
                <a:cubicBezTo>
                  <a:pt x="128" y="277"/>
                  <a:pt x="128" y="277"/>
                  <a:pt x="128" y="277"/>
                </a:cubicBezTo>
                <a:cubicBezTo>
                  <a:pt x="128" y="283"/>
                  <a:pt x="132" y="288"/>
                  <a:pt x="138" y="288"/>
                </a:cubicBezTo>
                <a:cubicBezTo>
                  <a:pt x="224" y="288"/>
                  <a:pt x="224" y="288"/>
                  <a:pt x="224" y="288"/>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288"/>
                  <a:pt x="288" y="288"/>
                  <a:pt x="288" y="288"/>
                </a:cubicBezTo>
                <a:cubicBezTo>
                  <a:pt x="373" y="288"/>
                  <a:pt x="373" y="288"/>
                  <a:pt x="373" y="288"/>
                </a:cubicBezTo>
                <a:cubicBezTo>
                  <a:pt x="379" y="288"/>
                  <a:pt x="384" y="283"/>
                  <a:pt x="384" y="277"/>
                </a:cubicBezTo>
                <a:lnTo>
                  <a:pt x="384" y="192"/>
                </a:ln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 name="Freeform 198">
            <a:extLst>
              <a:ext uri="{FF2B5EF4-FFF2-40B4-BE49-F238E27FC236}">
                <a16:creationId xmlns:a16="http://schemas.microsoft.com/office/drawing/2014/main" id="{3256C7E3-BD90-4F27-B1D1-698CDBA76B05}"/>
              </a:ext>
            </a:extLst>
          </p:cNvPr>
          <p:cNvSpPr>
            <a:spLocks noChangeAspect="1" noEditPoints="1"/>
          </p:cNvSpPr>
          <p:nvPr/>
        </p:nvSpPr>
        <p:spPr bwMode="auto">
          <a:xfrm>
            <a:off x="6590799" y="3349021"/>
            <a:ext cx="1018352" cy="1021348"/>
          </a:xfrm>
          <a:custGeom>
            <a:avLst/>
            <a:gdLst>
              <a:gd name="T0" fmla="*/ 213 w 512"/>
              <a:gd name="T1" fmla="*/ 206 h 512"/>
              <a:gd name="T2" fmla="*/ 312 w 512"/>
              <a:gd name="T3" fmla="*/ 206 h 512"/>
              <a:gd name="T4" fmla="*/ 299 w 512"/>
              <a:gd name="T5" fmla="*/ 305 h 512"/>
              <a:gd name="T6" fmla="*/ 199 w 512"/>
              <a:gd name="T7" fmla="*/ 305 h 512"/>
              <a:gd name="T8" fmla="*/ 213 w 512"/>
              <a:gd name="T9" fmla="*/ 20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0 w 512"/>
              <a:gd name="T21" fmla="*/ 195 h 512"/>
              <a:gd name="T22" fmla="*/ 400 w 512"/>
              <a:gd name="T23" fmla="*/ 185 h 512"/>
              <a:gd name="T24" fmla="*/ 336 w 512"/>
              <a:gd name="T25" fmla="*/ 185 h 512"/>
              <a:gd name="T26" fmla="*/ 345 w 512"/>
              <a:gd name="T27" fmla="*/ 121 h 512"/>
              <a:gd name="T28" fmla="*/ 335 w 512"/>
              <a:gd name="T29" fmla="*/ 109 h 512"/>
              <a:gd name="T30" fmla="*/ 323 w 512"/>
              <a:gd name="T31" fmla="*/ 118 h 512"/>
              <a:gd name="T32" fmla="*/ 315 w 512"/>
              <a:gd name="T33" fmla="*/ 185 h 512"/>
              <a:gd name="T34" fmla="*/ 215 w 512"/>
              <a:gd name="T35" fmla="*/ 185 h 512"/>
              <a:gd name="T36" fmla="*/ 224 w 512"/>
              <a:gd name="T37" fmla="*/ 121 h 512"/>
              <a:gd name="T38" fmla="*/ 215 w 512"/>
              <a:gd name="T39" fmla="*/ 109 h 512"/>
              <a:gd name="T40" fmla="*/ 203 w 512"/>
              <a:gd name="T41" fmla="*/ 118 h 512"/>
              <a:gd name="T42" fmla="*/ 194 w 512"/>
              <a:gd name="T43" fmla="*/ 185 h 512"/>
              <a:gd name="T44" fmla="*/ 128 w 512"/>
              <a:gd name="T45" fmla="*/ 185 h 512"/>
              <a:gd name="T46" fmla="*/ 117 w 512"/>
              <a:gd name="T47" fmla="*/ 195 h 512"/>
              <a:gd name="T48" fmla="*/ 128 w 512"/>
              <a:gd name="T49" fmla="*/ 206 h 512"/>
              <a:gd name="T50" fmla="*/ 191 w 512"/>
              <a:gd name="T51" fmla="*/ 206 h 512"/>
              <a:gd name="T52" fmla="*/ 178 w 512"/>
              <a:gd name="T53" fmla="*/ 305 h 512"/>
              <a:gd name="T54" fmla="*/ 112 w 512"/>
              <a:gd name="T55" fmla="*/ 305 h 512"/>
              <a:gd name="T56" fmla="*/ 101 w 512"/>
              <a:gd name="T57" fmla="*/ 316 h 512"/>
              <a:gd name="T58" fmla="*/ 112 w 512"/>
              <a:gd name="T59" fmla="*/ 327 h 512"/>
              <a:gd name="T60" fmla="*/ 175 w 512"/>
              <a:gd name="T61" fmla="*/ 327 h 512"/>
              <a:gd name="T62" fmla="*/ 167 w 512"/>
              <a:gd name="T63" fmla="*/ 390 h 512"/>
              <a:gd name="T64" fmla="*/ 176 w 512"/>
              <a:gd name="T65" fmla="*/ 402 h 512"/>
              <a:gd name="T66" fmla="*/ 177 w 512"/>
              <a:gd name="T67" fmla="*/ 402 h 512"/>
              <a:gd name="T68" fmla="*/ 188 w 512"/>
              <a:gd name="T69" fmla="*/ 393 h 512"/>
              <a:gd name="T70" fmla="*/ 197 w 512"/>
              <a:gd name="T71" fmla="*/ 327 h 512"/>
              <a:gd name="T72" fmla="*/ 296 w 512"/>
              <a:gd name="T73" fmla="*/ 327 h 512"/>
              <a:gd name="T74" fmla="*/ 288 w 512"/>
              <a:gd name="T75" fmla="*/ 390 h 512"/>
              <a:gd name="T76" fmla="*/ 297 w 512"/>
              <a:gd name="T77" fmla="*/ 402 h 512"/>
              <a:gd name="T78" fmla="*/ 298 w 512"/>
              <a:gd name="T79" fmla="*/ 402 h 512"/>
              <a:gd name="T80" fmla="*/ 309 w 512"/>
              <a:gd name="T81" fmla="*/ 393 h 512"/>
              <a:gd name="T82" fmla="*/ 318 w 512"/>
              <a:gd name="T83" fmla="*/ 327 h 512"/>
              <a:gd name="T84" fmla="*/ 384 w 512"/>
              <a:gd name="T85" fmla="*/ 327 h 512"/>
              <a:gd name="T86" fmla="*/ 394 w 512"/>
              <a:gd name="T87" fmla="*/ 316 h 512"/>
              <a:gd name="T88" fmla="*/ 384 w 512"/>
              <a:gd name="T89" fmla="*/ 305 h 512"/>
              <a:gd name="T90" fmla="*/ 320 w 512"/>
              <a:gd name="T91" fmla="*/ 305 h 512"/>
              <a:gd name="T92" fmla="*/ 333 w 512"/>
              <a:gd name="T93" fmla="*/ 206 h 512"/>
              <a:gd name="T94" fmla="*/ 400 w 512"/>
              <a:gd name="T95" fmla="*/ 206 h 512"/>
              <a:gd name="T96" fmla="*/ 410 w 512"/>
              <a:gd name="T97" fmla="*/ 1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13" y="206"/>
                </a:moveTo>
                <a:cubicBezTo>
                  <a:pt x="312" y="206"/>
                  <a:pt x="312" y="206"/>
                  <a:pt x="312" y="206"/>
                </a:cubicBezTo>
                <a:cubicBezTo>
                  <a:pt x="299" y="305"/>
                  <a:pt x="299" y="305"/>
                  <a:pt x="299" y="305"/>
                </a:cubicBezTo>
                <a:cubicBezTo>
                  <a:pt x="199" y="305"/>
                  <a:pt x="199" y="305"/>
                  <a:pt x="199" y="305"/>
                </a:cubicBezTo>
                <a:lnTo>
                  <a:pt x="213" y="20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195"/>
                </a:moveTo>
                <a:cubicBezTo>
                  <a:pt x="410" y="189"/>
                  <a:pt x="406" y="185"/>
                  <a:pt x="400" y="185"/>
                </a:cubicBezTo>
                <a:cubicBezTo>
                  <a:pt x="336" y="185"/>
                  <a:pt x="336" y="185"/>
                  <a:pt x="336" y="185"/>
                </a:cubicBezTo>
                <a:cubicBezTo>
                  <a:pt x="345" y="121"/>
                  <a:pt x="345" y="121"/>
                  <a:pt x="345" y="121"/>
                </a:cubicBezTo>
                <a:cubicBezTo>
                  <a:pt x="345" y="115"/>
                  <a:pt x="341" y="110"/>
                  <a:pt x="335" y="109"/>
                </a:cubicBezTo>
                <a:cubicBezTo>
                  <a:pt x="330" y="108"/>
                  <a:pt x="324" y="112"/>
                  <a:pt x="323" y="118"/>
                </a:cubicBezTo>
                <a:cubicBezTo>
                  <a:pt x="315" y="185"/>
                  <a:pt x="315" y="185"/>
                  <a:pt x="315" y="185"/>
                </a:cubicBezTo>
                <a:cubicBezTo>
                  <a:pt x="215" y="185"/>
                  <a:pt x="215" y="185"/>
                  <a:pt x="215" y="185"/>
                </a:cubicBezTo>
                <a:cubicBezTo>
                  <a:pt x="224" y="121"/>
                  <a:pt x="224" y="121"/>
                  <a:pt x="224" y="121"/>
                </a:cubicBezTo>
                <a:cubicBezTo>
                  <a:pt x="224" y="115"/>
                  <a:pt x="220" y="110"/>
                  <a:pt x="215" y="109"/>
                </a:cubicBezTo>
                <a:cubicBezTo>
                  <a:pt x="209" y="108"/>
                  <a:pt x="203" y="112"/>
                  <a:pt x="203" y="118"/>
                </a:cubicBezTo>
                <a:cubicBezTo>
                  <a:pt x="194" y="185"/>
                  <a:pt x="194" y="185"/>
                  <a:pt x="194" y="185"/>
                </a:cubicBezTo>
                <a:cubicBezTo>
                  <a:pt x="128" y="185"/>
                  <a:pt x="128" y="185"/>
                  <a:pt x="128" y="185"/>
                </a:cubicBezTo>
                <a:cubicBezTo>
                  <a:pt x="122" y="185"/>
                  <a:pt x="117" y="189"/>
                  <a:pt x="117" y="195"/>
                </a:cubicBezTo>
                <a:cubicBezTo>
                  <a:pt x="117" y="201"/>
                  <a:pt x="122" y="206"/>
                  <a:pt x="128" y="206"/>
                </a:cubicBezTo>
                <a:cubicBezTo>
                  <a:pt x="191" y="206"/>
                  <a:pt x="191" y="206"/>
                  <a:pt x="191" y="206"/>
                </a:cubicBezTo>
                <a:cubicBezTo>
                  <a:pt x="178" y="305"/>
                  <a:pt x="178" y="305"/>
                  <a:pt x="178" y="305"/>
                </a:cubicBezTo>
                <a:cubicBezTo>
                  <a:pt x="112" y="305"/>
                  <a:pt x="112" y="305"/>
                  <a:pt x="112" y="305"/>
                </a:cubicBezTo>
                <a:cubicBezTo>
                  <a:pt x="106" y="305"/>
                  <a:pt x="101" y="310"/>
                  <a:pt x="101" y="316"/>
                </a:cubicBezTo>
                <a:cubicBezTo>
                  <a:pt x="101" y="322"/>
                  <a:pt x="106" y="327"/>
                  <a:pt x="112" y="327"/>
                </a:cubicBezTo>
                <a:cubicBezTo>
                  <a:pt x="175" y="327"/>
                  <a:pt x="175" y="327"/>
                  <a:pt x="175" y="327"/>
                </a:cubicBezTo>
                <a:cubicBezTo>
                  <a:pt x="167" y="390"/>
                  <a:pt x="167" y="390"/>
                  <a:pt x="167" y="390"/>
                </a:cubicBezTo>
                <a:cubicBezTo>
                  <a:pt x="166" y="396"/>
                  <a:pt x="170" y="402"/>
                  <a:pt x="176" y="402"/>
                </a:cubicBezTo>
                <a:cubicBezTo>
                  <a:pt x="177" y="402"/>
                  <a:pt x="177" y="402"/>
                  <a:pt x="177" y="402"/>
                </a:cubicBezTo>
                <a:cubicBezTo>
                  <a:pt x="183" y="402"/>
                  <a:pt x="187" y="398"/>
                  <a:pt x="188" y="393"/>
                </a:cubicBezTo>
                <a:cubicBezTo>
                  <a:pt x="197" y="327"/>
                  <a:pt x="197" y="327"/>
                  <a:pt x="197" y="327"/>
                </a:cubicBezTo>
                <a:cubicBezTo>
                  <a:pt x="296" y="327"/>
                  <a:pt x="296" y="327"/>
                  <a:pt x="296" y="327"/>
                </a:cubicBezTo>
                <a:cubicBezTo>
                  <a:pt x="288" y="390"/>
                  <a:pt x="288" y="390"/>
                  <a:pt x="288" y="390"/>
                </a:cubicBezTo>
                <a:cubicBezTo>
                  <a:pt x="287" y="396"/>
                  <a:pt x="291" y="402"/>
                  <a:pt x="297" y="402"/>
                </a:cubicBezTo>
                <a:cubicBezTo>
                  <a:pt x="298" y="402"/>
                  <a:pt x="298" y="402"/>
                  <a:pt x="298" y="402"/>
                </a:cubicBezTo>
                <a:cubicBezTo>
                  <a:pt x="304" y="402"/>
                  <a:pt x="308" y="398"/>
                  <a:pt x="309" y="393"/>
                </a:cubicBezTo>
                <a:cubicBezTo>
                  <a:pt x="318" y="327"/>
                  <a:pt x="318" y="327"/>
                  <a:pt x="318" y="327"/>
                </a:cubicBezTo>
                <a:cubicBezTo>
                  <a:pt x="384" y="327"/>
                  <a:pt x="384" y="327"/>
                  <a:pt x="384" y="327"/>
                </a:cubicBezTo>
                <a:cubicBezTo>
                  <a:pt x="390" y="327"/>
                  <a:pt x="394" y="322"/>
                  <a:pt x="394" y="316"/>
                </a:cubicBezTo>
                <a:cubicBezTo>
                  <a:pt x="394" y="310"/>
                  <a:pt x="390" y="305"/>
                  <a:pt x="384" y="305"/>
                </a:cubicBezTo>
                <a:cubicBezTo>
                  <a:pt x="320" y="305"/>
                  <a:pt x="320" y="305"/>
                  <a:pt x="320" y="305"/>
                </a:cubicBezTo>
                <a:cubicBezTo>
                  <a:pt x="333" y="206"/>
                  <a:pt x="333" y="206"/>
                  <a:pt x="333" y="206"/>
                </a:cubicBezTo>
                <a:cubicBezTo>
                  <a:pt x="400" y="206"/>
                  <a:pt x="400" y="206"/>
                  <a:pt x="400" y="206"/>
                </a:cubicBezTo>
                <a:cubicBezTo>
                  <a:pt x="406" y="206"/>
                  <a:pt x="410" y="201"/>
                  <a:pt x="410" y="195"/>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7" name="Freeform 340">
            <a:extLst>
              <a:ext uri="{FF2B5EF4-FFF2-40B4-BE49-F238E27FC236}">
                <a16:creationId xmlns:a16="http://schemas.microsoft.com/office/drawing/2014/main" id="{3E07104D-BB1C-401F-AFAA-81E257D1042B}"/>
              </a:ext>
            </a:extLst>
          </p:cNvPr>
          <p:cNvSpPr>
            <a:spLocks noChangeAspect="1" noEditPoints="1"/>
          </p:cNvSpPr>
          <p:nvPr/>
        </p:nvSpPr>
        <p:spPr bwMode="auto">
          <a:xfrm>
            <a:off x="6806849" y="2042446"/>
            <a:ext cx="526883" cy="528432"/>
          </a:xfrm>
          <a:custGeom>
            <a:avLst/>
            <a:gdLst>
              <a:gd name="T0" fmla="*/ 138 w 512"/>
              <a:gd name="T1" fmla="*/ 138 h 512"/>
              <a:gd name="T2" fmla="*/ 373 w 512"/>
              <a:gd name="T3" fmla="*/ 138 h 512"/>
              <a:gd name="T4" fmla="*/ 373 w 512"/>
              <a:gd name="T5" fmla="*/ 373 h 512"/>
              <a:gd name="T6" fmla="*/ 138 w 512"/>
              <a:gd name="T7" fmla="*/ 373 h 512"/>
              <a:gd name="T8" fmla="*/ 138 w 512"/>
              <a:gd name="T9" fmla="*/ 138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4 w 512"/>
              <a:gd name="T21" fmla="*/ 128 h 512"/>
              <a:gd name="T22" fmla="*/ 384 w 512"/>
              <a:gd name="T23" fmla="*/ 117 h 512"/>
              <a:gd name="T24" fmla="*/ 128 w 512"/>
              <a:gd name="T25" fmla="*/ 117 h 512"/>
              <a:gd name="T26" fmla="*/ 117 w 512"/>
              <a:gd name="T27" fmla="*/ 128 h 512"/>
              <a:gd name="T28" fmla="*/ 117 w 512"/>
              <a:gd name="T29" fmla="*/ 384 h 512"/>
              <a:gd name="T30" fmla="*/ 128 w 512"/>
              <a:gd name="T31" fmla="*/ 394 h 512"/>
              <a:gd name="T32" fmla="*/ 384 w 512"/>
              <a:gd name="T33" fmla="*/ 394 h 512"/>
              <a:gd name="T34" fmla="*/ 394 w 512"/>
              <a:gd name="T35" fmla="*/ 384 h 512"/>
              <a:gd name="T36" fmla="*/ 394 w 512"/>
              <a:gd name="T3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138" y="138"/>
                </a:moveTo>
                <a:cubicBezTo>
                  <a:pt x="373" y="138"/>
                  <a:pt x="373" y="138"/>
                  <a:pt x="373" y="138"/>
                </a:cubicBezTo>
                <a:cubicBezTo>
                  <a:pt x="373" y="373"/>
                  <a:pt x="373" y="373"/>
                  <a:pt x="373" y="373"/>
                </a:cubicBezTo>
                <a:cubicBezTo>
                  <a:pt x="138" y="373"/>
                  <a:pt x="138" y="373"/>
                  <a:pt x="138" y="373"/>
                </a:cubicBezTo>
                <a:lnTo>
                  <a:pt x="138"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128" y="117"/>
                  <a:pt x="128" y="117"/>
                  <a:pt x="128" y="117"/>
                </a:cubicBezTo>
                <a:cubicBezTo>
                  <a:pt x="122" y="117"/>
                  <a:pt x="117" y="122"/>
                  <a:pt x="117" y="128"/>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128"/>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2022568999"/>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D1317A17-1DD6-224C-A760-91D39DC8B9D1}"/>
              </a:ext>
            </a:extLst>
          </p:cNvPr>
          <p:cNvGrpSpPr/>
          <p:nvPr/>
        </p:nvGrpSpPr>
        <p:grpSpPr>
          <a:xfrm>
            <a:off x="4403204" y="1524534"/>
            <a:ext cx="3379595" cy="3404135"/>
            <a:chOff x="2777975" y="1971242"/>
            <a:chExt cx="4591050" cy="4624386"/>
          </a:xfrm>
        </p:grpSpPr>
        <p:grpSp>
          <p:nvGrpSpPr>
            <p:cNvPr id="30" name="Group 4">
              <a:extLst>
                <a:ext uri="{FF2B5EF4-FFF2-40B4-BE49-F238E27FC236}">
                  <a16:creationId xmlns:a16="http://schemas.microsoft.com/office/drawing/2014/main" id="{661ECA40-C782-A540-8A32-424C143B09FD}"/>
                </a:ext>
              </a:extLst>
            </p:cNvPr>
            <p:cNvGrpSpPr>
              <a:grpSpLocks noChangeAspect="1"/>
            </p:cNvGrpSpPr>
            <p:nvPr/>
          </p:nvGrpSpPr>
          <p:grpSpPr bwMode="auto">
            <a:xfrm>
              <a:off x="2777975" y="1971242"/>
              <a:ext cx="4591050" cy="4624386"/>
              <a:chOff x="1441" y="858"/>
              <a:chExt cx="2892" cy="2913"/>
            </a:xfrm>
            <a:solidFill>
              <a:schemeClr val="accent6">
                <a:lumMod val="50000"/>
              </a:schemeClr>
            </a:solidFill>
          </p:grpSpPr>
          <p:sp>
            <p:nvSpPr>
              <p:cNvPr id="37" name="Freeform 36">
                <a:extLst>
                  <a:ext uri="{FF2B5EF4-FFF2-40B4-BE49-F238E27FC236}">
                    <a16:creationId xmlns:a16="http://schemas.microsoft.com/office/drawing/2014/main" id="{D6656F96-4D34-324F-8CFB-8F912B259BF2}"/>
                  </a:ext>
                </a:extLst>
              </p:cNvPr>
              <p:cNvSpPr>
                <a:spLocks/>
              </p:cNvSpPr>
              <p:nvPr/>
            </p:nvSpPr>
            <p:spPr bwMode="auto">
              <a:xfrm>
                <a:off x="2568" y="1996"/>
                <a:ext cx="648" cy="649"/>
              </a:xfrm>
              <a:custGeom>
                <a:avLst/>
                <a:gdLst>
                  <a:gd name="T0" fmla="*/ 537 w 537"/>
                  <a:gd name="T1" fmla="*/ 269 h 538"/>
                  <a:gd name="T2" fmla="*/ 537 w 537"/>
                  <a:gd name="T3" fmla="*/ 269 h 538"/>
                  <a:gd name="T4" fmla="*/ 268 w 537"/>
                  <a:gd name="T5" fmla="*/ 538 h 538"/>
                  <a:gd name="T6" fmla="*/ 0 w 537"/>
                  <a:gd name="T7" fmla="*/ 269 h 538"/>
                  <a:gd name="T8" fmla="*/ 268 w 537"/>
                  <a:gd name="T9" fmla="*/ 0 h 538"/>
                  <a:gd name="T10" fmla="*/ 537 w 537"/>
                  <a:gd name="T11" fmla="*/ 269 h 538"/>
                </a:gdLst>
                <a:ahLst/>
                <a:cxnLst>
                  <a:cxn ang="0">
                    <a:pos x="T0" y="T1"/>
                  </a:cxn>
                  <a:cxn ang="0">
                    <a:pos x="T2" y="T3"/>
                  </a:cxn>
                  <a:cxn ang="0">
                    <a:pos x="T4" y="T5"/>
                  </a:cxn>
                  <a:cxn ang="0">
                    <a:pos x="T6" y="T7"/>
                  </a:cxn>
                  <a:cxn ang="0">
                    <a:pos x="T8" y="T9"/>
                  </a:cxn>
                  <a:cxn ang="0">
                    <a:pos x="T10" y="T11"/>
                  </a:cxn>
                </a:cxnLst>
                <a:rect l="0" t="0" r="r" b="b"/>
                <a:pathLst>
                  <a:path w="537" h="538">
                    <a:moveTo>
                      <a:pt x="537" y="269"/>
                    </a:moveTo>
                    <a:lnTo>
                      <a:pt x="537" y="269"/>
                    </a:lnTo>
                    <a:cubicBezTo>
                      <a:pt x="537" y="418"/>
                      <a:pt x="417" y="538"/>
                      <a:pt x="268" y="538"/>
                    </a:cubicBezTo>
                    <a:cubicBezTo>
                      <a:pt x="120" y="538"/>
                      <a:pt x="0" y="418"/>
                      <a:pt x="0" y="269"/>
                    </a:cubicBezTo>
                    <a:cubicBezTo>
                      <a:pt x="0" y="121"/>
                      <a:pt x="120" y="0"/>
                      <a:pt x="268" y="0"/>
                    </a:cubicBezTo>
                    <a:cubicBezTo>
                      <a:pt x="417" y="0"/>
                      <a:pt x="537" y="121"/>
                      <a:pt x="537" y="269"/>
                    </a:cubicBezTo>
                    <a:close/>
                  </a:path>
                </a:pathLst>
              </a:custGeom>
              <a:grp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8" name="Freeform 37">
                <a:extLst>
                  <a:ext uri="{FF2B5EF4-FFF2-40B4-BE49-F238E27FC236}">
                    <a16:creationId xmlns:a16="http://schemas.microsoft.com/office/drawing/2014/main" id="{939A0AB8-B1BD-7940-84E4-F8BE39B8F077}"/>
                  </a:ext>
                </a:extLst>
              </p:cNvPr>
              <p:cNvSpPr>
                <a:spLocks/>
              </p:cNvSpPr>
              <p:nvPr/>
            </p:nvSpPr>
            <p:spPr bwMode="auto">
              <a:xfrm>
                <a:off x="2568" y="1987"/>
                <a:ext cx="648" cy="649"/>
              </a:xfrm>
              <a:custGeom>
                <a:avLst/>
                <a:gdLst>
                  <a:gd name="T0" fmla="*/ 537 w 537"/>
                  <a:gd name="T1" fmla="*/ 269 h 538"/>
                  <a:gd name="T2" fmla="*/ 537 w 537"/>
                  <a:gd name="T3" fmla="*/ 269 h 538"/>
                  <a:gd name="T4" fmla="*/ 268 w 537"/>
                  <a:gd name="T5" fmla="*/ 538 h 538"/>
                  <a:gd name="T6" fmla="*/ 0 w 537"/>
                  <a:gd name="T7" fmla="*/ 269 h 538"/>
                  <a:gd name="T8" fmla="*/ 268 w 537"/>
                  <a:gd name="T9" fmla="*/ 0 h 538"/>
                  <a:gd name="T10" fmla="*/ 537 w 537"/>
                  <a:gd name="T11" fmla="*/ 269 h 538"/>
                  <a:gd name="T12" fmla="*/ 537 w 537"/>
                  <a:gd name="T13" fmla="*/ 269 h 538"/>
                </a:gdLst>
                <a:ahLst/>
                <a:cxnLst>
                  <a:cxn ang="0">
                    <a:pos x="T0" y="T1"/>
                  </a:cxn>
                  <a:cxn ang="0">
                    <a:pos x="T2" y="T3"/>
                  </a:cxn>
                  <a:cxn ang="0">
                    <a:pos x="T4" y="T5"/>
                  </a:cxn>
                  <a:cxn ang="0">
                    <a:pos x="T6" y="T7"/>
                  </a:cxn>
                  <a:cxn ang="0">
                    <a:pos x="T8" y="T9"/>
                  </a:cxn>
                  <a:cxn ang="0">
                    <a:pos x="T10" y="T11"/>
                  </a:cxn>
                  <a:cxn ang="0">
                    <a:pos x="T12" y="T13"/>
                  </a:cxn>
                </a:cxnLst>
                <a:rect l="0" t="0" r="r" b="b"/>
                <a:pathLst>
                  <a:path w="537" h="538">
                    <a:moveTo>
                      <a:pt x="537" y="269"/>
                    </a:moveTo>
                    <a:lnTo>
                      <a:pt x="537" y="269"/>
                    </a:lnTo>
                    <a:cubicBezTo>
                      <a:pt x="537" y="418"/>
                      <a:pt x="417" y="538"/>
                      <a:pt x="268" y="538"/>
                    </a:cubicBezTo>
                    <a:cubicBezTo>
                      <a:pt x="120" y="538"/>
                      <a:pt x="0" y="418"/>
                      <a:pt x="0" y="269"/>
                    </a:cubicBezTo>
                    <a:cubicBezTo>
                      <a:pt x="0" y="121"/>
                      <a:pt x="120" y="0"/>
                      <a:pt x="268" y="0"/>
                    </a:cubicBezTo>
                    <a:cubicBezTo>
                      <a:pt x="417" y="0"/>
                      <a:pt x="537" y="121"/>
                      <a:pt x="537" y="269"/>
                    </a:cubicBezTo>
                    <a:lnTo>
                      <a:pt x="537" y="269"/>
                    </a:lnTo>
                    <a:close/>
                  </a:path>
                </a:pathLst>
              </a:custGeom>
              <a:grpFill/>
              <a:ln w="4" cap="flat">
                <a:noFill/>
                <a:prstDash val="solid"/>
                <a:miter lim="800000"/>
                <a:headEnd/>
                <a:tailEnd/>
              </a:ln>
              <a:extLst>
                <a:ext uri="{909E8E84-426E-40dd-AFC4-6F175D3DCCD1}">
                  <a14:hiddenFill xmlns:a14="http://schemas.microsoft.com/office/drawing/2010/main" xmlns:p14="http://schemas.microsoft.com/office/powerpoint/2010/main" xmlns:a16="http://schemas.microsoft.com/office/drawing/2014/main" xmlns="">
                    <a:solidFill>
                      <a:srgbClr val="FFFFFF"/>
                    </a:solidFill>
                  </a14:hiddenFill>
                </a:ext>
              </a:extLst>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9" name="Freeform 38">
                <a:extLst>
                  <a:ext uri="{FF2B5EF4-FFF2-40B4-BE49-F238E27FC236}">
                    <a16:creationId xmlns:a16="http://schemas.microsoft.com/office/drawing/2014/main" id="{807D8425-2A2F-314E-A8E9-D9F7BDEA32DF}"/>
                  </a:ext>
                </a:extLst>
              </p:cNvPr>
              <p:cNvSpPr>
                <a:spLocks/>
              </p:cNvSpPr>
              <p:nvPr/>
            </p:nvSpPr>
            <p:spPr bwMode="auto">
              <a:xfrm>
                <a:off x="2887" y="867"/>
                <a:ext cx="1446" cy="1441"/>
              </a:xfrm>
              <a:custGeom>
                <a:avLst/>
                <a:gdLst>
                  <a:gd name="T0" fmla="*/ 0 w 1197"/>
                  <a:gd name="T1" fmla="*/ 0 h 1196"/>
                  <a:gd name="T2" fmla="*/ 0 w 1197"/>
                  <a:gd name="T3" fmla="*/ 0 h 1196"/>
                  <a:gd name="T4" fmla="*/ 1 w 1197"/>
                  <a:gd name="T5" fmla="*/ 935 h 1196"/>
                  <a:gd name="T6" fmla="*/ 50 w 1197"/>
                  <a:gd name="T7" fmla="*/ 939 h 1196"/>
                  <a:gd name="T8" fmla="*/ 80 w 1197"/>
                  <a:gd name="T9" fmla="*/ 947 h 1196"/>
                  <a:gd name="T10" fmla="*/ 107 w 1197"/>
                  <a:gd name="T11" fmla="*/ 957 h 1196"/>
                  <a:gd name="T12" fmla="*/ 130 w 1197"/>
                  <a:gd name="T13" fmla="*/ 969 h 1196"/>
                  <a:gd name="T14" fmla="*/ 145 w 1197"/>
                  <a:gd name="T15" fmla="*/ 977 h 1196"/>
                  <a:gd name="T16" fmla="*/ 164 w 1197"/>
                  <a:gd name="T17" fmla="*/ 988 h 1196"/>
                  <a:gd name="T18" fmla="*/ 185 w 1197"/>
                  <a:gd name="T19" fmla="*/ 1007 h 1196"/>
                  <a:gd name="T20" fmla="*/ 205 w 1197"/>
                  <a:gd name="T21" fmla="*/ 1028 h 1196"/>
                  <a:gd name="T22" fmla="*/ 222 w 1197"/>
                  <a:gd name="T23" fmla="*/ 1048 h 1196"/>
                  <a:gd name="T24" fmla="*/ 236 w 1197"/>
                  <a:gd name="T25" fmla="*/ 1069 h 1196"/>
                  <a:gd name="T26" fmla="*/ 250 w 1197"/>
                  <a:gd name="T27" fmla="*/ 1097 h 1196"/>
                  <a:gd name="T28" fmla="*/ 262 w 1197"/>
                  <a:gd name="T29" fmla="*/ 1126 h 1196"/>
                  <a:gd name="T30" fmla="*/ 264 w 1197"/>
                  <a:gd name="T31" fmla="*/ 1141 h 1196"/>
                  <a:gd name="T32" fmla="*/ 267 w 1197"/>
                  <a:gd name="T33" fmla="*/ 1158 h 1196"/>
                  <a:gd name="T34" fmla="*/ 271 w 1197"/>
                  <a:gd name="T35" fmla="*/ 1178 h 1196"/>
                  <a:gd name="T36" fmla="*/ 272 w 1197"/>
                  <a:gd name="T37" fmla="*/ 1196 h 1196"/>
                  <a:gd name="T38" fmla="*/ 1197 w 1197"/>
                  <a:gd name="T39" fmla="*/ 1196 h 1196"/>
                  <a:gd name="T40" fmla="*/ 1197 w 1197"/>
                  <a:gd name="T41" fmla="*/ 1058 h 1196"/>
                  <a:gd name="T42" fmla="*/ 1100 w 1197"/>
                  <a:gd name="T43" fmla="*/ 1036 h 1196"/>
                  <a:gd name="T44" fmla="*/ 1040 w 1197"/>
                  <a:gd name="T45" fmla="*/ 1023 h 1196"/>
                  <a:gd name="T46" fmla="*/ 986 w 1197"/>
                  <a:gd name="T47" fmla="*/ 976 h 1196"/>
                  <a:gd name="T48" fmla="*/ 973 w 1197"/>
                  <a:gd name="T49" fmla="*/ 903 h 1196"/>
                  <a:gd name="T50" fmla="*/ 966 w 1197"/>
                  <a:gd name="T51" fmla="*/ 869 h 1196"/>
                  <a:gd name="T52" fmla="*/ 1040 w 1197"/>
                  <a:gd name="T53" fmla="*/ 803 h 1196"/>
                  <a:gd name="T54" fmla="*/ 1093 w 1197"/>
                  <a:gd name="T55" fmla="*/ 723 h 1196"/>
                  <a:gd name="T56" fmla="*/ 1066 w 1197"/>
                  <a:gd name="T57" fmla="*/ 636 h 1196"/>
                  <a:gd name="T58" fmla="*/ 1000 w 1197"/>
                  <a:gd name="T59" fmla="*/ 536 h 1196"/>
                  <a:gd name="T60" fmla="*/ 953 w 1197"/>
                  <a:gd name="T61" fmla="*/ 469 h 1196"/>
                  <a:gd name="T62" fmla="*/ 866 w 1197"/>
                  <a:gd name="T63" fmla="*/ 489 h 1196"/>
                  <a:gd name="T64" fmla="*/ 746 w 1197"/>
                  <a:gd name="T65" fmla="*/ 516 h 1196"/>
                  <a:gd name="T66" fmla="*/ 680 w 1197"/>
                  <a:gd name="T67" fmla="*/ 449 h 1196"/>
                  <a:gd name="T68" fmla="*/ 700 w 1197"/>
                  <a:gd name="T69" fmla="*/ 323 h 1196"/>
                  <a:gd name="T70" fmla="*/ 713 w 1197"/>
                  <a:gd name="T71" fmla="*/ 223 h 1196"/>
                  <a:gd name="T72" fmla="*/ 600 w 1197"/>
                  <a:gd name="T73" fmla="*/ 163 h 1196"/>
                  <a:gd name="T74" fmla="*/ 520 w 1197"/>
                  <a:gd name="T75" fmla="*/ 116 h 1196"/>
                  <a:gd name="T76" fmla="*/ 466 w 1197"/>
                  <a:gd name="T77" fmla="*/ 89 h 1196"/>
                  <a:gd name="T78" fmla="*/ 406 w 1197"/>
                  <a:gd name="T79" fmla="*/ 143 h 1196"/>
                  <a:gd name="T80" fmla="*/ 360 w 1197"/>
                  <a:gd name="T81" fmla="*/ 203 h 1196"/>
                  <a:gd name="T82" fmla="*/ 320 w 1197"/>
                  <a:gd name="T83" fmla="*/ 223 h 1196"/>
                  <a:gd name="T84" fmla="*/ 210 w 1197"/>
                  <a:gd name="T85" fmla="*/ 208 h 1196"/>
                  <a:gd name="T86" fmla="*/ 200 w 1197"/>
                  <a:gd name="T87" fmla="*/ 176 h 1196"/>
                  <a:gd name="T88" fmla="*/ 180 w 1197"/>
                  <a:gd name="T89" fmla="*/ 116 h 1196"/>
                  <a:gd name="T90" fmla="*/ 145 w 1197"/>
                  <a:gd name="T91" fmla="*/ 5 h 1196"/>
                  <a:gd name="T92" fmla="*/ 0 w 1197"/>
                  <a:gd name="T93" fmla="*/ 0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97" h="1196">
                    <a:moveTo>
                      <a:pt x="0" y="0"/>
                    </a:moveTo>
                    <a:lnTo>
                      <a:pt x="0" y="0"/>
                    </a:lnTo>
                    <a:lnTo>
                      <a:pt x="1" y="935"/>
                    </a:lnTo>
                    <a:lnTo>
                      <a:pt x="50" y="939"/>
                    </a:lnTo>
                    <a:lnTo>
                      <a:pt x="80" y="947"/>
                    </a:lnTo>
                    <a:lnTo>
                      <a:pt x="107" y="957"/>
                    </a:lnTo>
                    <a:lnTo>
                      <a:pt x="130" y="969"/>
                    </a:lnTo>
                    <a:lnTo>
                      <a:pt x="145" y="977"/>
                    </a:lnTo>
                    <a:lnTo>
                      <a:pt x="164" y="988"/>
                    </a:lnTo>
                    <a:lnTo>
                      <a:pt x="185" y="1007"/>
                    </a:lnTo>
                    <a:lnTo>
                      <a:pt x="205" y="1028"/>
                    </a:lnTo>
                    <a:lnTo>
                      <a:pt x="222" y="1048"/>
                    </a:lnTo>
                    <a:lnTo>
                      <a:pt x="236" y="1069"/>
                    </a:lnTo>
                    <a:lnTo>
                      <a:pt x="250" y="1097"/>
                    </a:lnTo>
                    <a:lnTo>
                      <a:pt x="262" y="1126"/>
                    </a:lnTo>
                    <a:lnTo>
                      <a:pt x="264" y="1141"/>
                    </a:lnTo>
                    <a:lnTo>
                      <a:pt x="267" y="1158"/>
                    </a:lnTo>
                    <a:lnTo>
                      <a:pt x="271" y="1178"/>
                    </a:lnTo>
                    <a:lnTo>
                      <a:pt x="272" y="1196"/>
                    </a:lnTo>
                    <a:lnTo>
                      <a:pt x="1197" y="1196"/>
                    </a:lnTo>
                    <a:lnTo>
                      <a:pt x="1197" y="1058"/>
                    </a:lnTo>
                    <a:lnTo>
                      <a:pt x="1100" y="1036"/>
                    </a:lnTo>
                    <a:lnTo>
                      <a:pt x="1040" y="1023"/>
                    </a:lnTo>
                    <a:lnTo>
                      <a:pt x="986" y="976"/>
                    </a:lnTo>
                    <a:lnTo>
                      <a:pt x="973" y="903"/>
                    </a:lnTo>
                    <a:lnTo>
                      <a:pt x="966" y="869"/>
                    </a:lnTo>
                    <a:lnTo>
                      <a:pt x="1040" y="803"/>
                    </a:lnTo>
                    <a:lnTo>
                      <a:pt x="1093" y="723"/>
                    </a:lnTo>
                    <a:lnTo>
                      <a:pt x="1066" y="636"/>
                    </a:lnTo>
                    <a:lnTo>
                      <a:pt x="1000" y="536"/>
                    </a:lnTo>
                    <a:lnTo>
                      <a:pt x="953" y="469"/>
                    </a:lnTo>
                    <a:lnTo>
                      <a:pt x="866" y="489"/>
                    </a:lnTo>
                    <a:lnTo>
                      <a:pt x="746" y="516"/>
                    </a:lnTo>
                    <a:lnTo>
                      <a:pt x="680" y="449"/>
                    </a:lnTo>
                    <a:lnTo>
                      <a:pt x="700" y="323"/>
                    </a:lnTo>
                    <a:lnTo>
                      <a:pt x="713" y="223"/>
                    </a:lnTo>
                    <a:lnTo>
                      <a:pt x="600" y="163"/>
                    </a:lnTo>
                    <a:lnTo>
                      <a:pt x="520" y="116"/>
                    </a:lnTo>
                    <a:lnTo>
                      <a:pt x="466" y="89"/>
                    </a:lnTo>
                    <a:lnTo>
                      <a:pt x="406" y="143"/>
                    </a:lnTo>
                    <a:lnTo>
                      <a:pt x="360" y="203"/>
                    </a:lnTo>
                    <a:lnTo>
                      <a:pt x="320" y="223"/>
                    </a:lnTo>
                    <a:lnTo>
                      <a:pt x="210" y="208"/>
                    </a:lnTo>
                    <a:lnTo>
                      <a:pt x="200" y="176"/>
                    </a:lnTo>
                    <a:lnTo>
                      <a:pt x="180" y="116"/>
                    </a:lnTo>
                    <a:lnTo>
                      <a:pt x="145" y="5"/>
                    </a:lnTo>
                    <a:lnTo>
                      <a:pt x="0" y="0"/>
                    </a:lnTo>
                    <a:close/>
                  </a:path>
                </a:pathLst>
              </a:custGeom>
              <a:grp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0" name="Freeform 39">
                <a:extLst>
                  <a:ext uri="{FF2B5EF4-FFF2-40B4-BE49-F238E27FC236}">
                    <a16:creationId xmlns:a16="http://schemas.microsoft.com/office/drawing/2014/main" id="{B1F5B58C-3FE2-8242-BD0A-F362E22248FC}"/>
                  </a:ext>
                </a:extLst>
              </p:cNvPr>
              <p:cNvSpPr>
                <a:spLocks/>
              </p:cNvSpPr>
              <p:nvPr/>
            </p:nvSpPr>
            <p:spPr bwMode="auto">
              <a:xfrm>
                <a:off x="2878" y="858"/>
                <a:ext cx="1446" cy="1441"/>
              </a:xfrm>
              <a:custGeom>
                <a:avLst/>
                <a:gdLst>
                  <a:gd name="T0" fmla="*/ 0 w 1197"/>
                  <a:gd name="T1" fmla="*/ 0 h 1196"/>
                  <a:gd name="T2" fmla="*/ 0 w 1197"/>
                  <a:gd name="T3" fmla="*/ 0 h 1196"/>
                  <a:gd name="T4" fmla="*/ 1 w 1197"/>
                  <a:gd name="T5" fmla="*/ 935 h 1196"/>
                  <a:gd name="T6" fmla="*/ 50 w 1197"/>
                  <a:gd name="T7" fmla="*/ 939 h 1196"/>
                  <a:gd name="T8" fmla="*/ 80 w 1197"/>
                  <a:gd name="T9" fmla="*/ 947 h 1196"/>
                  <a:gd name="T10" fmla="*/ 107 w 1197"/>
                  <a:gd name="T11" fmla="*/ 957 h 1196"/>
                  <a:gd name="T12" fmla="*/ 130 w 1197"/>
                  <a:gd name="T13" fmla="*/ 969 h 1196"/>
                  <a:gd name="T14" fmla="*/ 145 w 1197"/>
                  <a:gd name="T15" fmla="*/ 977 h 1196"/>
                  <a:gd name="T16" fmla="*/ 164 w 1197"/>
                  <a:gd name="T17" fmla="*/ 988 h 1196"/>
                  <a:gd name="T18" fmla="*/ 185 w 1197"/>
                  <a:gd name="T19" fmla="*/ 1007 h 1196"/>
                  <a:gd name="T20" fmla="*/ 205 w 1197"/>
                  <a:gd name="T21" fmla="*/ 1028 h 1196"/>
                  <a:gd name="T22" fmla="*/ 222 w 1197"/>
                  <a:gd name="T23" fmla="*/ 1048 h 1196"/>
                  <a:gd name="T24" fmla="*/ 236 w 1197"/>
                  <a:gd name="T25" fmla="*/ 1069 h 1196"/>
                  <a:gd name="T26" fmla="*/ 250 w 1197"/>
                  <a:gd name="T27" fmla="*/ 1097 h 1196"/>
                  <a:gd name="T28" fmla="*/ 262 w 1197"/>
                  <a:gd name="T29" fmla="*/ 1126 h 1196"/>
                  <a:gd name="T30" fmla="*/ 264 w 1197"/>
                  <a:gd name="T31" fmla="*/ 1141 h 1196"/>
                  <a:gd name="T32" fmla="*/ 267 w 1197"/>
                  <a:gd name="T33" fmla="*/ 1158 h 1196"/>
                  <a:gd name="T34" fmla="*/ 271 w 1197"/>
                  <a:gd name="T35" fmla="*/ 1178 h 1196"/>
                  <a:gd name="T36" fmla="*/ 272 w 1197"/>
                  <a:gd name="T37" fmla="*/ 1196 h 1196"/>
                  <a:gd name="T38" fmla="*/ 1197 w 1197"/>
                  <a:gd name="T39" fmla="*/ 1196 h 1196"/>
                  <a:gd name="T40" fmla="*/ 1197 w 1197"/>
                  <a:gd name="T41" fmla="*/ 1058 h 1196"/>
                  <a:gd name="T42" fmla="*/ 1100 w 1197"/>
                  <a:gd name="T43" fmla="*/ 1036 h 1196"/>
                  <a:gd name="T44" fmla="*/ 1040 w 1197"/>
                  <a:gd name="T45" fmla="*/ 1023 h 1196"/>
                  <a:gd name="T46" fmla="*/ 986 w 1197"/>
                  <a:gd name="T47" fmla="*/ 976 h 1196"/>
                  <a:gd name="T48" fmla="*/ 973 w 1197"/>
                  <a:gd name="T49" fmla="*/ 903 h 1196"/>
                  <a:gd name="T50" fmla="*/ 966 w 1197"/>
                  <a:gd name="T51" fmla="*/ 869 h 1196"/>
                  <a:gd name="T52" fmla="*/ 1040 w 1197"/>
                  <a:gd name="T53" fmla="*/ 803 h 1196"/>
                  <a:gd name="T54" fmla="*/ 1093 w 1197"/>
                  <a:gd name="T55" fmla="*/ 723 h 1196"/>
                  <a:gd name="T56" fmla="*/ 1066 w 1197"/>
                  <a:gd name="T57" fmla="*/ 636 h 1196"/>
                  <a:gd name="T58" fmla="*/ 1000 w 1197"/>
                  <a:gd name="T59" fmla="*/ 536 h 1196"/>
                  <a:gd name="T60" fmla="*/ 953 w 1197"/>
                  <a:gd name="T61" fmla="*/ 469 h 1196"/>
                  <a:gd name="T62" fmla="*/ 866 w 1197"/>
                  <a:gd name="T63" fmla="*/ 489 h 1196"/>
                  <a:gd name="T64" fmla="*/ 746 w 1197"/>
                  <a:gd name="T65" fmla="*/ 516 h 1196"/>
                  <a:gd name="T66" fmla="*/ 680 w 1197"/>
                  <a:gd name="T67" fmla="*/ 449 h 1196"/>
                  <a:gd name="T68" fmla="*/ 700 w 1197"/>
                  <a:gd name="T69" fmla="*/ 323 h 1196"/>
                  <a:gd name="T70" fmla="*/ 713 w 1197"/>
                  <a:gd name="T71" fmla="*/ 223 h 1196"/>
                  <a:gd name="T72" fmla="*/ 600 w 1197"/>
                  <a:gd name="T73" fmla="*/ 163 h 1196"/>
                  <a:gd name="T74" fmla="*/ 520 w 1197"/>
                  <a:gd name="T75" fmla="*/ 116 h 1196"/>
                  <a:gd name="T76" fmla="*/ 466 w 1197"/>
                  <a:gd name="T77" fmla="*/ 89 h 1196"/>
                  <a:gd name="T78" fmla="*/ 406 w 1197"/>
                  <a:gd name="T79" fmla="*/ 143 h 1196"/>
                  <a:gd name="T80" fmla="*/ 360 w 1197"/>
                  <a:gd name="T81" fmla="*/ 203 h 1196"/>
                  <a:gd name="T82" fmla="*/ 320 w 1197"/>
                  <a:gd name="T83" fmla="*/ 223 h 1196"/>
                  <a:gd name="T84" fmla="*/ 210 w 1197"/>
                  <a:gd name="T85" fmla="*/ 208 h 1196"/>
                  <a:gd name="T86" fmla="*/ 200 w 1197"/>
                  <a:gd name="T87" fmla="*/ 176 h 1196"/>
                  <a:gd name="T88" fmla="*/ 180 w 1197"/>
                  <a:gd name="T89" fmla="*/ 116 h 1196"/>
                  <a:gd name="T90" fmla="*/ 145 w 1197"/>
                  <a:gd name="T91" fmla="*/ 5 h 1196"/>
                  <a:gd name="T92" fmla="*/ 0 w 1197"/>
                  <a:gd name="T93" fmla="*/ 0 h 1196"/>
                  <a:gd name="T94" fmla="*/ 0 w 1197"/>
                  <a:gd name="T95" fmla="*/ 0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97" h="1196">
                    <a:moveTo>
                      <a:pt x="0" y="0"/>
                    </a:moveTo>
                    <a:lnTo>
                      <a:pt x="0" y="0"/>
                    </a:lnTo>
                    <a:lnTo>
                      <a:pt x="1" y="935"/>
                    </a:lnTo>
                    <a:lnTo>
                      <a:pt x="50" y="939"/>
                    </a:lnTo>
                    <a:lnTo>
                      <a:pt x="80" y="947"/>
                    </a:lnTo>
                    <a:lnTo>
                      <a:pt x="107" y="957"/>
                    </a:lnTo>
                    <a:lnTo>
                      <a:pt x="130" y="969"/>
                    </a:lnTo>
                    <a:lnTo>
                      <a:pt x="145" y="977"/>
                    </a:lnTo>
                    <a:lnTo>
                      <a:pt x="164" y="988"/>
                    </a:lnTo>
                    <a:lnTo>
                      <a:pt x="185" y="1007"/>
                    </a:lnTo>
                    <a:lnTo>
                      <a:pt x="205" y="1028"/>
                    </a:lnTo>
                    <a:lnTo>
                      <a:pt x="222" y="1048"/>
                    </a:lnTo>
                    <a:lnTo>
                      <a:pt x="236" y="1069"/>
                    </a:lnTo>
                    <a:lnTo>
                      <a:pt x="250" y="1097"/>
                    </a:lnTo>
                    <a:lnTo>
                      <a:pt x="262" y="1126"/>
                    </a:lnTo>
                    <a:lnTo>
                      <a:pt x="264" y="1141"/>
                    </a:lnTo>
                    <a:lnTo>
                      <a:pt x="267" y="1158"/>
                    </a:lnTo>
                    <a:lnTo>
                      <a:pt x="271" y="1178"/>
                    </a:lnTo>
                    <a:lnTo>
                      <a:pt x="272" y="1196"/>
                    </a:lnTo>
                    <a:lnTo>
                      <a:pt x="1197" y="1196"/>
                    </a:lnTo>
                    <a:lnTo>
                      <a:pt x="1197" y="1058"/>
                    </a:lnTo>
                    <a:lnTo>
                      <a:pt x="1100" y="1036"/>
                    </a:lnTo>
                    <a:lnTo>
                      <a:pt x="1040" y="1023"/>
                    </a:lnTo>
                    <a:lnTo>
                      <a:pt x="986" y="976"/>
                    </a:lnTo>
                    <a:lnTo>
                      <a:pt x="973" y="903"/>
                    </a:lnTo>
                    <a:lnTo>
                      <a:pt x="966" y="869"/>
                    </a:lnTo>
                    <a:lnTo>
                      <a:pt x="1040" y="803"/>
                    </a:lnTo>
                    <a:lnTo>
                      <a:pt x="1093" y="723"/>
                    </a:lnTo>
                    <a:lnTo>
                      <a:pt x="1066" y="636"/>
                    </a:lnTo>
                    <a:lnTo>
                      <a:pt x="1000" y="536"/>
                    </a:lnTo>
                    <a:lnTo>
                      <a:pt x="953" y="469"/>
                    </a:lnTo>
                    <a:lnTo>
                      <a:pt x="866" y="489"/>
                    </a:lnTo>
                    <a:lnTo>
                      <a:pt x="746" y="516"/>
                    </a:lnTo>
                    <a:lnTo>
                      <a:pt x="680" y="449"/>
                    </a:lnTo>
                    <a:lnTo>
                      <a:pt x="700" y="323"/>
                    </a:lnTo>
                    <a:lnTo>
                      <a:pt x="713" y="223"/>
                    </a:lnTo>
                    <a:lnTo>
                      <a:pt x="600" y="163"/>
                    </a:lnTo>
                    <a:lnTo>
                      <a:pt x="520" y="116"/>
                    </a:lnTo>
                    <a:lnTo>
                      <a:pt x="466" y="89"/>
                    </a:lnTo>
                    <a:lnTo>
                      <a:pt x="406" y="143"/>
                    </a:lnTo>
                    <a:lnTo>
                      <a:pt x="360" y="203"/>
                    </a:lnTo>
                    <a:lnTo>
                      <a:pt x="320" y="223"/>
                    </a:lnTo>
                    <a:lnTo>
                      <a:pt x="210" y="208"/>
                    </a:lnTo>
                    <a:lnTo>
                      <a:pt x="200" y="176"/>
                    </a:lnTo>
                    <a:lnTo>
                      <a:pt x="180" y="116"/>
                    </a:lnTo>
                    <a:lnTo>
                      <a:pt x="145" y="5"/>
                    </a:lnTo>
                    <a:lnTo>
                      <a:pt x="0" y="0"/>
                    </a:lnTo>
                    <a:lnTo>
                      <a:pt x="0" y="0"/>
                    </a:lnTo>
                    <a:close/>
                  </a:path>
                </a:pathLst>
              </a:custGeom>
              <a:solidFill>
                <a:schemeClr val="tx1"/>
              </a:solidFill>
              <a:ln w="7" cap="flat">
                <a:noFill/>
                <a:prstDash val="solid"/>
                <a:miter lim="800000"/>
                <a:headEnd/>
                <a:tailEnd/>
              </a:ln>
              <a:extLst>
                <a:ext uri="{909E8E84-426E-40dd-AFC4-6F175D3DCCD1}">
                  <a14:hiddenFill xmlns:a14="http://schemas.microsoft.com/office/drawing/2010/main" xmlns:p14="http://schemas.microsoft.com/office/powerpoint/2010/main" xmlns:a16="http://schemas.microsoft.com/office/drawing/2014/main" xmlns="">
                    <a:solidFill>
                      <a:srgbClr val="FFFFFF"/>
                    </a:solidFill>
                  </a14:hiddenFill>
                </a:ext>
              </a:extLst>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1" name="Freeform 40">
                <a:extLst>
                  <a:ext uri="{FF2B5EF4-FFF2-40B4-BE49-F238E27FC236}">
                    <a16:creationId xmlns:a16="http://schemas.microsoft.com/office/drawing/2014/main" id="{DBB80D5E-C67C-4448-A5C7-EAC5E075B245}"/>
                  </a:ext>
                </a:extLst>
              </p:cNvPr>
              <p:cNvSpPr>
                <a:spLocks/>
              </p:cNvSpPr>
              <p:nvPr/>
            </p:nvSpPr>
            <p:spPr bwMode="auto">
              <a:xfrm>
                <a:off x="1442" y="867"/>
                <a:ext cx="1446" cy="1443"/>
              </a:xfrm>
              <a:custGeom>
                <a:avLst/>
                <a:gdLst>
                  <a:gd name="T0" fmla="*/ 0 w 1197"/>
                  <a:gd name="T1" fmla="*/ 1197 h 1197"/>
                  <a:gd name="T2" fmla="*/ 0 w 1197"/>
                  <a:gd name="T3" fmla="*/ 1197 h 1197"/>
                  <a:gd name="T4" fmla="*/ 931 w 1197"/>
                  <a:gd name="T5" fmla="*/ 1194 h 1197"/>
                  <a:gd name="T6" fmla="*/ 940 w 1197"/>
                  <a:gd name="T7" fmla="*/ 1147 h 1197"/>
                  <a:gd name="T8" fmla="*/ 948 w 1197"/>
                  <a:gd name="T9" fmla="*/ 1117 h 1197"/>
                  <a:gd name="T10" fmla="*/ 958 w 1197"/>
                  <a:gd name="T11" fmla="*/ 1089 h 1197"/>
                  <a:gd name="T12" fmla="*/ 970 w 1197"/>
                  <a:gd name="T13" fmla="*/ 1067 h 1197"/>
                  <a:gd name="T14" fmla="*/ 978 w 1197"/>
                  <a:gd name="T15" fmla="*/ 1052 h 1197"/>
                  <a:gd name="T16" fmla="*/ 991 w 1197"/>
                  <a:gd name="T17" fmla="*/ 1038 h 1197"/>
                  <a:gd name="T18" fmla="*/ 1009 w 1197"/>
                  <a:gd name="T19" fmla="*/ 1016 h 1197"/>
                  <a:gd name="T20" fmla="*/ 1031 w 1197"/>
                  <a:gd name="T21" fmla="*/ 998 h 1197"/>
                  <a:gd name="T22" fmla="*/ 1051 w 1197"/>
                  <a:gd name="T23" fmla="*/ 982 h 1197"/>
                  <a:gd name="T24" fmla="*/ 1064 w 1197"/>
                  <a:gd name="T25" fmla="*/ 974 h 1197"/>
                  <a:gd name="T26" fmla="*/ 1095 w 1197"/>
                  <a:gd name="T27" fmla="*/ 958 h 1197"/>
                  <a:gd name="T28" fmla="*/ 1126 w 1197"/>
                  <a:gd name="T29" fmla="*/ 945 h 1197"/>
                  <a:gd name="T30" fmla="*/ 1139 w 1197"/>
                  <a:gd name="T31" fmla="*/ 944 h 1197"/>
                  <a:gd name="T32" fmla="*/ 1157 w 1197"/>
                  <a:gd name="T33" fmla="*/ 938 h 1197"/>
                  <a:gd name="T34" fmla="*/ 1180 w 1197"/>
                  <a:gd name="T35" fmla="*/ 936 h 1197"/>
                  <a:gd name="T36" fmla="*/ 1197 w 1197"/>
                  <a:gd name="T37" fmla="*/ 938 h 1197"/>
                  <a:gd name="T38" fmla="*/ 1197 w 1197"/>
                  <a:gd name="T39" fmla="*/ 0 h 1197"/>
                  <a:gd name="T40" fmla="*/ 1059 w 1197"/>
                  <a:gd name="T41" fmla="*/ 0 h 1197"/>
                  <a:gd name="T42" fmla="*/ 1037 w 1197"/>
                  <a:gd name="T43" fmla="*/ 97 h 1197"/>
                  <a:gd name="T44" fmla="*/ 1024 w 1197"/>
                  <a:gd name="T45" fmla="*/ 157 h 1197"/>
                  <a:gd name="T46" fmla="*/ 977 w 1197"/>
                  <a:gd name="T47" fmla="*/ 210 h 1197"/>
                  <a:gd name="T48" fmla="*/ 904 w 1197"/>
                  <a:gd name="T49" fmla="*/ 224 h 1197"/>
                  <a:gd name="T50" fmla="*/ 870 w 1197"/>
                  <a:gd name="T51" fmla="*/ 230 h 1197"/>
                  <a:gd name="T52" fmla="*/ 804 w 1197"/>
                  <a:gd name="T53" fmla="*/ 157 h 1197"/>
                  <a:gd name="T54" fmla="*/ 724 w 1197"/>
                  <a:gd name="T55" fmla="*/ 104 h 1197"/>
                  <a:gd name="T56" fmla="*/ 637 w 1197"/>
                  <a:gd name="T57" fmla="*/ 130 h 1197"/>
                  <a:gd name="T58" fmla="*/ 537 w 1197"/>
                  <a:gd name="T59" fmla="*/ 197 h 1197"/>
                  <a:gd name="T60" fmla="*/ 470 w 1197"/>
                  <a:gd name="T61" fmla="*/ 244 h 1197"/>
                  <a:gd name="T62" fmla="*/ 490 w 1197"/>
                  <a:gd name="T63" fmla="*/ 330 h 1197"/>
                  <a:gd name="T64" fmla="*/ 517 w 1197"/>
                  <a:gd name="T65" fmla="*/ 450 h 1197"/>
                  <a:gd name="T66" fmla="*/ 450 w 1197"/>
                  <a:gd name="T67" fmla="*/ 517 h 1197"/>
                  <a:gd name="T68" fmla="*/ 324 w 1197"/>
                  <a:gd name="T69" fmla="*/ 497 h 1197"/>
                  <a:gd name="T70" fmla="*/ 224 w 1197"/>
                  <a:gd name="T71" fmla="*/ 484 h 1197"/>
                  <a:gd name="T72" fmla="*/ 164 w 1197"/>
                  <a:gd name="T73" fmla="*/ 597 h 1197"/>
                  <a:gd name="T74" fmla="*/ 117 w 1197"/>
                  <a:gd name="T75" fmla="*/ 677 h 1197"/>
                  <a:gd name="T76" fmla="*/ 90 w 1197"/>
                  <a:gd name="T77" fmla="*/ 730 h 1197"/>
                  <a:gd name="T78" fmla="*/ 144 w 1197"/>
                  <a:gd name="T79" fmla="*/ 790 h 1197"/>
                  <a:gd name="T80" fmla="*/ 204 w 1197"/>
                  <a:gd name="T81" fmla="*/ 837 h 1197"/>
                  <a:gd name="T82" fmla="*/ 224 w 1197"/>
                  <a:gd name="T83" fmla="*/ 877 h 1197"/>
                  <a:gd name="T84" fmla="*/ 209 w 1197"/>
                  <a:gd name="T85" fmla="*/ 987 h 1197"/>
                  <a:gd name="T86" fmla="*/ 177 w 1197"/>
                  <a:gd name="T87" fmla="*/ 997 h 1197"/>
                  <a:gd name="T88" fmla="*/ 117 w 1197"/>
                  <a:gd name="T89" fmla="*/ 1017 h 1197"/>
                  <a:gd name="T90" fmla="*/ 5 w 1197"/>
                  <a:gd name="T91" fmla="*/ 1052 h 1197"/>
                  <a:gd name="T92" fmla="*/ 0 w 1197"/>
                  <a:gd name="T93"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97" h="1197">
                    <a:moveTo>
                      <a:pt x="0" y="1197"/>
                    </a:moveTo>
                    <a:lnTo>
                      <a:pt x="0" y="1197"/>
                    </a:lnTo>
                    <a:lnTo>
                      <a:pt x="931" y="1194"/>
                    </a:lnTo>
                    <a:lnTo>
                      <a:pt x="940" y="1147"/>
                    </a:lnTo>
                    <a:lnTo>
                      <a:pt x="948" y="1117"/>
                    </a:lnTo>
                    <a:lnTo>
                      <a:pt x="958" y="1089"/>
                    </a:lnTo>
                    <a:lnTo>
                      <a:pt x="970" y="1067"/>
                    </a:lnTo>
                    <a:lnTo>
                      <a:pt x="978" y="1052"/>
                    </a:lnTo>
                    <a:lnTo>
                      <a:pt x="991" y="1038"/>
                    </a:lnTo>
                    <a:lnTo>
                      <a:pt x="1009" y="1016"/>
                    </a:lnTo>
                    <a:lnTo>
                      <a:pt x="1031" y="998"/>
                    </a:lnTo>
                    <a:lnTo>
                      <a:pt x="1051" y="982"/>
                    </a:lnTo>
                    <a:lnTo>
                      <a:pt x="1064" y="974"/>
                    </a:lnTo>
                    <a:lnTo>
                      <a:pt x="1095" y="958"/>
                    </a:lnTo>
                    <a:lnTo>
                      <a:pt x="1126" y="945"/>
                    </a:lnTo>
                    <a:lnTo>
                      <a:pt x="1139" y="944"/>
                    </a:lnTo>
                    <a:lnTo>
                      <a:pt x="1157" y="938"/>
                    </a:lnTo>
                    <a:lnTo>
                      <a:pt x="1180" y="936"/>
                    </a:lnTo>
                    <a:lnTo>
                      <a:pt x="1197" y="938"/>
                    </a:lnTo>
                    <a:lnTo>
                      <a:pt x="1197" y="0"/>
                    </a:lnTo>
                    <a:lnTo>
                      <a:pt x="1059" y="0"/>
                    </a:lnTo>
                    <a:lnTo>
                      <a:pt x="1037" y="97"/>
                    </a:lnTo>
                    <a:lnTo>
                      <a:pt x="1024" y="157"/>
                    </a:lnTo>
                    <a:lnTo>
                      <a:pt x="977" y="210"/>
                    </a:lnTo>
                    <a:lnTo>
                      <a:pt x="904" y="224"/>
                    </a:lnTo>
                    <a:lnTo>
                      <a:pt x="870" y="230"/>
                    </a:lnTo>
                    <a:lnTo>
                      <a:pt x="804" y="157"/>
                    </a:lnTo>
                    <a:lnTo>
                      <a:pt x="724" y="104"/>
                    </a:lnTo>
                    <a:lnTo>
                      <a:pt x="637" y="130"/>
                    </a:lnTo>
                    <a:lnTo>
                      <a:pt x="537" y="197"/>
                    </a:lnTo>
                    <a:lnTo>
                      <a:pt x="470" y="244"/>
                    </a:lnTo>
                    <a:lnTo>
                      <a:pt x="490" y="330"/>
                    </a:lnTo>
                    <a:lnTo>
                      <a:pt x="517" y="450"/>
                    </a:lnTo>
                    <a:lnTo>
                      <a:pt x="450" y="517"/>
                    </a:lnTo>
                    <a:lnTo>
                      <a:pt x="324" y="497"/>
                    </a:lnTo>
                    <a:lnTo>
                      <a:pt x="224" y="484"/>
                    </a:lnTo>
                    <a:lnTo>
                      <a:pt x="164" y="597"/>
                    </a:lnTo>
                    <a:lnTo>
                      <a:pt x="117" y="677"/>
                    </a:lnTo>
                    <a:lnTo>
                      <a:pt x="90" y="730"/>
                    </a:lnTo>
                    <a:lnTo>
                      <a:pt x="144" y="790"/>
                    </a:lnTo>
                    <a:lnTo>
                      <a:pt x="204" y="837"/>
                    </a:lnTo>
                    <a:lnTo>
                      <a:pt x="224" y="877"/>
                    </a:lnTo>
                    <a:lnTo>
                      <a:pt x="209" y="987"/>
                    </a:lnTo>
                    <a:lnTo>
                      <a:pt x="177" y="997"/>
                    </a:lnTo>
                    <a:lnTo>
                      <a:pt x="117" y="1017"/>
                    </a:lnTo>
                    <a:lnTo>
                      <a:pt x="5" y="1052"/>
                    </a:lnTo>
                    <a:lnTo>
                      <a:pt x="0" y="1197"/>
                    </a:lnTo>
                    <a:close/>
                  </a:path>
                </a:pathLst>
              </a:custGeom>
              <a:grp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2" name="Freeform 41">
                <a:extLst>
                  <a:ext uri="{FF2B5EF4-FFF2-40B4-BE49-F238E27FC236}">
                    <a16:creationId xmlns:a16="http://schemas.microsoft.com/office/drawing/2014/main" id="{E4FADBF8-EF02-D941-B892-468278964875}"/>
                  </a:ext>
                </a:extLst>
              </p:cNvPr>
              <p:cNvSpPr>
                <a:spLocks/>
              </p:cNvSpPr>
              <p:nvPr/>
            </p:nvSpPr>
            <p:spPr bwMode="auto">
              <a:xfrm>
                <a:off x="1451" y="858"/>
                <a:ext cx="1446" cy="1443"/>
              </a:xfrm>
              <a:custGeom>
                <a:avLst/>
                <a:gdLst>
                  <a:gd name="T0" fmla="*/ 0 w 1197"/>
                  <a:gd name="T1" fmla="*/ 1197 h 1197"/>
                  <a:gd name="T2" fmla="*/ 0 w 1197"/>
                  <a:gd name="T3" fmla="*/ 1197 h 1197"/>
                  <a:gd name="T4" fmla="*/ 931 w 1197"/>
                  <a:gd name="T5" fmla="*/ 1194 h 1197"/>
                  <a:gd name="T6" fmla="*/ 940 w 1197"/>
                  <a:gd name="T7" fmla="*/ 1147 h 1197"/>
                  <a:gd name="T8" fmla="*/ 948 w 1197"/>
                  <a:gd name="T9" fmla="*/ 1117 h 1197"/>
                  <a:gd name="T10" fmla="*/ 958 w 1197"/>
                  <a:gd name="T11" fmla="*/ 1089 h 1197"/>
                  <a:gd name="T12" fmla="*/ 970 w 1197"/>
                  <a:gd name="T13" fmla="*/ 1067 h 1197"/>
                  <a:gd name="T14" fmla="*/ 978 w 1197"/>
                  <a:gd name="T15" fmla="*/ 1052 h 1197"/>
                  <a:gd name="T16" fmla="*/ 991 w 1197"/>
                  <a:gd name="T17" fmla="*/ 1038 h 1197"/>
                  <a:gd name="T18" fmla="*/ 1009 w 1197"/>
                  <a:gd name="T19" fmla="*/ 1016 h 1197"/>
                  <a:gd name="T20" fmla="*/ 1031 w 1197"/>
                  <a:gd name="T21" fmla="*/ 998 h 1197"/>
                  <a:gd name="T22" fmla="*/ 1051 w 1197"/>
                  <a:gd name="T23" fmla="*/ 982 h 1197"/>
                  <a:gd name="T24" fmla="*/ 1064 w 1197"/>
                  <a:gd name="T25" fmla="*/ 974 h 1197"/>
                  <a:gd name="T26" fmla="*/ 1095 w 1197"/>
                  <a:gd name="T27" fmla="*/ 958 h 1197"/>
                  <a:gd name="T28" fmla="*/ 1126 w 1197"/>
                  <a:gd name="T29" fmla="*/ 945 h 1197"/>
                  <a:gd name="T30" fmla="*/ 1139 w 1197"/>
                  <a:gd name="T31" fmla="*/ 944 h 1197"/>
                  <a:gd name="T32" fmla="*/ 1157 w 1197"/>
                  <a:gd name="T33" fmla="*/ 938 h 1197"/>
                  <a:gd name="T34" fmla="*/ 1180 w 1197"/>
                  <a:gd name="T35" fmla="*/ 936 h 1197"/>
                  <a:gd name="T36" fmla="*/ 1197 w 1197"/>
                  <a:gd name="T37" fmla="*/ 938 h 1197"/>
                  <a:gd name="T38" fmla="*/ 1197 w 1197"/>
                  <a:gd name="T39" fmla="*/ 0 h 1197"/>
                  <a:gd name="T40" fmla="*/ 1059 w 1197"/>
                  <a:gd name="T41" fmla="*/ 0 h 1197"/>
                  <a:gd name="T42" fmla="*/ 1037 w 1197"/>
                  <a:gd name="T43" fmla="*/ 97 h 1197"/>
                  <a:gd name="T44" fmla="*/ 1024 w 1197"/>
                  <a:gd name="T45" fmla="*/ 157 h 1197"/>
                  <a:gd name="T46" fmla="*/ 977 w 1197"/>
                  <a:gd name="T47" fmla="*/ 210 h 1197"/>
                  <a:gd name="T48" fmla="*/ 904 w 1197"/>
                  <a:gd name="T49" fmla="*/ 224 h 1197"/>
                  <a:gd name="T50" fmla="*/ 870 w 1197"/>
                  <a:gd name="T51" fmla="*/ 230 h 1197"/>
                  <a:gd name="T52" fmla="*/ 804 w 1197"/>
                  <a:gd name="T53" fmla="*/ 157 h 1197"/>
                  <a:gd name="T54" fmla="*/ 724 w 1197"/>
                  <a:gd name="T55" fmla="*/ 104 h 1197"/>
                  <a:gd name="T56" fmla="*/ 637 w 1197"/>
                  <a:gd name="T57" fmla="*/ 130 h 1197"/>
                  <a:gd name="T58" fmla="*/ 537 w 1197"/>
                  <a:gd name="T59" fmla="*/ 197 h 1197"/>
                  <a:gd name="T60" fmla="*/ 470 w 1197"/>
                  <a:gd name="T61" fmla="*/ 244 h 1197"/>
                  <a:gd name="T62" fmla="*/ 490 w 1197"/>
                  <a:gd name="T63" fmla="*/ 330 h 1197"/>
                  <a:gd name="T64" fmla="*/ 517 w 1197"/>
                  <a:gd name="T65" fmla="*/ 450 h 1197"/>
                  <a:gd name="T66" fmla="*/ 450 w 1197"/>
                  <a:gd name="T67" fmla="*/ 517 h 1197"/>
                  <a:gd name="T68" fmla="*/ 324 w 1197"/>
                  <a:gd name="T69" fmla="*/ 497 h 1197"/>
                  <a:gd name="T70" fmla="*/ 224 w 1197"/>
                  <a:gd name="T71" fmla="*/ 484 h 1197"/>
                  <a:gd name="T72" fmla="*/ 164 w 1197"/>
                  <a:gd name="T73" fmla="*/ 597 h 1197"/>
                  <a:gd name="T74" fmla="*/ 117 w 1197"/>
                  <a:gd name="T75" fmla="*/ 677 h 1197"/>
                  <a:gd name="T76" fmla="*/ 90 w 1197"/>
                  <a:gd name="T77" fmla="*/ 730 h 1197"/>
                  <a:gd name="T78" fmla="*/ 144 w 1197"/>
                  <a:gd name="T79" fmla="*/ 790 h 1197"/>
                  <a:gd name="T80" fmla="*/ 204 w 1197"/>
                  <a:gd name="T81" fmla="*/ 837 h 1197"/>
                  <a:gd name="T82" fmla="*/ 224 w 1197"/>
                  <a:gd name="T83" fmla="*/ 877 h 1197"/>
                  <a:gd name="T84" fmla="*/ 209 w 1197"/>
                  <a:gd name="T85" fmla="*/ 987 h 1197"/>
                  <a:gd name="T86" fmla="*/ 177 w 1197"/>
                  <a:gd name="T87" fmla="*/ 997 h 1197"/>
                  <a:gd name="T88" fmla="*/ 117 w 1197"/>
                  <a:gd name="T89" fmla="*/ 1017 h 1197"/>
                  <a:gd name="T90" fmla="*/ 5 w 1197"/>
                  <a:gd name="T91" fmla="*/ 1052 h 1197"/>
                  <a:gd name="T92" fmla="*/ 0 w 1197"/>
                  <a:gd name="T93" fmla="*/ 1197 h 1197"/>
                  <a:gd name="T94" fmla="*/ 0 w 1197"/>
                  <a:gd name="T95"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97" h="1197">
                    <a:moveTo>
                      <a:pt x="0" y="1197"/>
                    </a:moveTo>
                    <a:lnTo>
                      <a:pt x="0" y="1197"/>
                    </a:lnTo>
                    <a:lnTo>
                      <a:pt x="931" y="1194"/>
                    </a:lnTo>
                    <a:lnTo>
                      <a:pt x="940" y="1147"/>
                    </a:lnTo>
                    <a:lnTo>
                      <a:pt x="948" y="1117"/>
                    </a:lnTo>
                    <a:lnTo>
                      <a:pt x="958" y="1089"/>
                    </a:lnTo>
                    <a:lnTo>
                      <a:pt x="970" y="1067"/>
                    </a:lnTo>
                    <a:lnTo>
                      <a:pt x="978" y="1052"/>
                    </a:lnTo>
                    <a:lnTo>
                      <a:pt x="991" y="1038"/>
                    </a:lnTo>
                    <a:lnTo>
                      <a:pt x="1009" y="1016"/>
                    </a:lnTo>
                    <a:lnTo>
                      <a:pt x="1031" y="998"/>
                    </a:lnTo>
                    <a:lnTo>
                      <a:pt x="1051" y="982"/>
                    </a:lnTo>
                    <a:lnTo>
                      <a:pt x="1064" y="974"/>
                    </a:lnTo>
                    <a:lnTo>
                      <a:pt x="1095" y="958"/>
                    </a:lnTo>
                    <a:lnTo>
                      <a:pt x="1126" y="945"/>
                    </a:lnTo>
                    <a:lnTo>
                      <a:pt x="1139" y="944"/>
                    </a:lnTo>
                    <a:lnTo>
                      <a:pt x="1157" y="938"/>
                    </a:lnTo>
                    <a:lnTo>
                      <a:pt x="1180" y="936"/>
                    </a:lnTo>
                    <a:lnTo>
                      <a:pt x="1197" y="938"/>
                    </a:lnTo>
                    <a:lnTo>
                      <a:pt x="1197" y="0"/>
                    </a:lnTo>
                    <a:lnTo>
                      <a:pt x="1059" y="0"/>
                    </a:lnTo>
                    <a:lnTo>
                      <a:pt x="1037" y="97"/>
                    </a:lnTo>
                    <a:lnTo>
                      <a:pt x="1024" y="157"/>
                    </a:lnTo>
                    <a:lnTo>
                      <a:pt x="977" y="210"/>
                    </a:lnTo>
                    <a:lnTo>
                      <a:pt x="904" y="224"/>
                    </a:lnTo>
                    <a:lnTo>
                      <a:pt x="870" y="230"/>
                    </a:lnTo>
                    <a:lnTo>
                      <a:pt x="804" y="157"/>
                    </a:lnTo>
                    <a:lnTo>
                      <a:pt x="724" y="104"/>
                    </a:lnTo>
                    <a:lnTo>
                      <a:pt x="637" y="130"/>
                    </a:lnTo>
                    <a:lnTo>
                      <a:pt x="537" y="197"/>
                    </a:lnTo>
                    <a:lnTo>
                      <a:pt x="470" y="244"/>
                    </a:lnTo>
                    <a:lnTo>
                      <a:pt x="490" y="330"/>
                    </a:lnTo>
                    <a:lnTo>
                      <a:pt x="517" y="450"/>
                    </a:lnTo>
                    <a:lnTo>
                      <a:pt x="450" y="517"/>
                    </a:lnTo>
                    <a:lnTo>
                      <a:pt x="324" y="497"/>
                    </a:lnTo>
                    <a:lnTo>
                      <a:pt x="224" y="484"/>
                    </a:lnTo>
                    <a:lnTo>
                      <a:pt x="164" y="597"/>
                    </a:lnTo>
                    <a:lnTo>
                      <a:pt x="117" y="677"/>
                    </a:lnTo>
                    <a:lnTo>
                      <a:pt x="90" y="730"/>
                    </a:lnTo>
                    <a:lnTo>
                      <a:pt x="144" y="790"/>
                    </a:lnTo>
                    <a:lnTo>
                      <a:pt x="204" y="837"/>
                    </a:lnTo>
                    <a:lnTo>
                      <a:pt x="224" y="877"/>
                    </a:lnTo>
                    <a:lnTo>
                      <a:pt x="209" y="987"/>
                    </a:lnTo>
                    <a:lnTo>
                      <a:pt x="177" y="997"/>
                    </a:lnTo>
                    <a:lnTo>
                      <a:pt x="117" y="1017"/>
                    </a:lnTo>
                    <a:lnTo>
                      <a:pt x="5" y="1052"/>
                    </a:lnTo>
                    <a:lnTo>
                      <a:pt x="0" y="1197"/>
                    </a:lnTo>
                    <a:lnTo>
                      <a:pt x="0" y="1197"/>
                    </a:lnTo>
                    <a:close/>
                  </a:path>
                </a:pathLst>
              </a:custGeom>
              <a:solidFill>
                <a:schemeClr val="tx1"/>
              </a:solidFill>
              <a:ln w="7" cap="flat">
                <a:noFill/>
                <a:prstDash val="solid"/>
                <a:miter lim="800000"/>
                <a:headEnd/>
                <a:tailEnd/>
              </a:ln>
              <a:extLst>
                <a:ext uri="{909E8E84-426E-40dd-AFC4-6F175D3DCCD1}">
                  <a14:hiddenFill xmlns:a14="http://schemas.microsoft.com/office/drawing/2010/main" xmlns:p14="http://schemas.microsoft.com/office/powerpoint/2010/main" xmlns:a16="http://schemas.microsoft.com/office/drawing/2014/main" xmlns="">
                    <a:solidFill>
                      <a:srgbClr val="FFFFFF"/>
                    </a:solidFill>
                  </a14:hiddenFill>
                </a:ext>
              </a:extLst>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3" name="Freeform 42">
                <a:extLst>
                  <a:ext uri="{FF2B5EF4-FFF2-40B4-BE49-F238E27FC236}">
                    <a16:creationId xmlns:a16="http://schemas.microsoft.com/office/drawing/2014/main" id="{65C19922-AF18-5C48-9719-EE20E52AF4B6}"/>
                  </a:ext>
                </a:extLst>
              </p:cNvPr>
              <p:cNvSpPr>
                <a:spLocks/>
              </p:cNvSpPr>
              <p:nvPr/>
            </p:nvSpPr>
            <p:spPr bwMode="auto">
              <a:xfrm>
                <a:off x="1441" y="2308"/>
                <a:ext cx="1450" cy="1463"/>
              </a:xfrm>
              <a:custGeom>
                <a:avLst/>
                <a:gdLst>
                  <a:gd name="T0" fmla="*/ 1201 w 1201"/>
                  <a:gd name="T1" fmla="*/ 1214 h 1214"/>
                  <a:gd name="T2" fmla="*/ 1201 w 1201"/>
                  <a:gd name="T3" fmla="*/ 1214 h 1214"/>
                  <a:gd name="T4" fmla="*/ 1198 w 1201"/>
                  <a:gd name="T5" fmla="*/ 282 h 1214"/>
                  <a:gd name="T6" fmla="*/ 1148 w 1201"/>
                  <a:gd name="T7" fmla="*/ 275 h 1214"/>
                  <a:gd name="T8" fmla="*/ 1115 w 1201"/>
                  <a:gd name="T9" fmla="*/ 267 h 1214"/>
                  <a:gd name="T10" fmla="*/ 1082 w 1201"/>
                  <a:gd name="T11" fmla="*/ 253 h 1214"/>
                  <a:gd name="T12" fmla="*/ 1058 w 1201"/>
                  <a:gd name="T13" fmla="*/ 238 h 1214"/>
                  <a:gd name="T14" fmla="*/ 1043 w 1201"/>
                  <a:gd name="T15" fmla="*/ 228 h 1214"/>
                  <a:gd name="T16" fmla="*/ 1028 w 1201"/>
                  <a:gd name="T17" fmla="*/ 215 h 1214"/>
                  <a:gd name="T18" fmla="*/ 1008 w 1201"/>
                  <a:gd name="T19" fmla="*/ 198 h 1214"/>
                  <a:gd name="T20" fmla="*/ 990 w 1201"/>
                  <a:gd name="T21" fmla="*/ 178 h 1214"/>
                  <a:gd name="T22" fmla="*/ 975 w 1201"/>
                  <a:gd name="T23" fmla="*/ 153 h 1214"/>
                  <a:gd name="T24" fmla="*/ 965 w 1201"/>
                  <a:gd name="T25" fmla="*/ 137 h 1214"/>
                  <a:gd name="T26" fmla="*/ 950 w 1201"/>
                  <a:gd name="T27" fmla="*/ 107 h 1214"/>
                  <a:gd name="T28" fmla="*/ 942 w 1201"/>
                  <a:gd name="T29" fmla="*/ 80 h 1214"/>
                  <a:gd name="T30" fmla="*/ 940 w 1201"/>
                  <a:gd name="T31" fmla="*/ 63 h 1214"/>
                  <a:gd name="T32" fmla="*/ 933 w 1201"/>
                  <a:gd name="T33" fmla="*/ 43 h 1214"/>
                  <a:gd name="T34" fmla="*/ 933 w 1201"/>
                  <a:gd name="T35" fmla="*/ 20 h 1214"/>
                  <a:gd name="T36" fmla="*/ 930 w 1201"/>
                  <a:gd name="T37" fmla="*/ 0 h 1214"/>
                  <a:gd name="T38" fmla="*/ 0 w 1201"/>
                  <a:gd name="T39" fmla="*/ 2 h 1214"/>
                  <a:gd name="T40" fmla="*/ 1 w 1201"/>
                  <a:gd name="T41" fmla="*/ 143 h 1214"/>
                  <a:gd name="T42" fmla="*/ 99 w 1201"/>
                  <a:gd name="T43" fmla="*/ 166 h 1214"/>
                  <a:gd name="T44" fmla="*/ 159 w 1201"/>
                  <a:gd name="T45" fmla="*/ 179 h 1214"/>
                  <a:gd name="T46" fmla="*/ 213 w 1201"/>
                  <a:gd name="T47" fmla="*/ 227 h 1214"/>
                  <a:gd name="T48" fmla="*/ 226 w 1201"/>
                  <a:gd name="T49" fmla="*/ 301 h 1214"/>
                  <a:gd name="T50" fmla="*/ 233 w 1201"/>
                  <a:gd name="T51" fmla="*/ 334 h 1214"/>
                  <a:gd name="T52" fmla="*/ 159 w 1201"/>
                  <a:gd name="T53" fmla="*/ 402 h 1214"/>
                  <a:gd name="T54" fmla="*/ 106 w 1201"/>
                  <a:gd name="T55" fmla="*/ 483 h 1214"/>
                  <a:gd name="T56" fmla="*/ 133 w 1201"/>
                  <a:gd name="T57" fmla="*/ 570 h 1214"/>
                  <a:gd name="T58" fmla="*/ 199 w 1201"/>
                  <a:gd name="T59" fmla="*/ 672 h 1214"/>
                  <a:gd name="T60" fmla="*/ 247 w 1201"/>
                  <a:gd name="T61" fmla="*/ 725 h 1214"/>
                  <a:gd name="T62" fmla="*/ 333 w 1201"/>
                  <a:gd name="T63" fmla="*/ 719 h 1214"/>
                  <a:gd name="T64" fmla="*/ 453 w 1201"/>
                  <a:gd name="T65" fmla="*/ 692 h 1214"/>
                  <a:gd name="T66" fmla="*/ 520 w 1201"/>
                  <a:gd name="T67" fmla="*/ 759 h 1214"/>
                  <a:gd name="T68" fmla="*/ 500 w 1201"/>
                  <a:gd name="T69" fmla="*/ 887 h 1214"/>
                  <a:gd name="T70" fmla="*/ 486 w 1201"/>
                  <a:gd name="T71" fmla="*/ 988 h 1214"/>
                  <a:gd name="T72" fmla="*/ 600 w 1201"/>
                  <a:gd name="T73" fmla="*/ 1049 h 1214"/>
                  <a:gd name="T74" fmla="*/ 680 w 1201"/>
                  <a:gd name="T75" fmla="*/ 1096 h 1214"/>
                  <a:gd name="T76" fmla="*/ 734 w 1201"/>
                  <a:gd name="T77" fmla="*/ 1123 h 1214"/>
                  <a:gd name="T78" fmla="*/ 794 w 1201"/>
                  <a:gd name="T79" fmla="*/ 1069 h 1214"/>
                  <a:gd name="T80" fmla="*/ 840 w 1201"/>
                  <a:gd name="T81" fmla="*/ 1008 h 1214"/>
                  <a:gd name="T82" fmla="*/ 880 w 1201"/>
                  <a:gd name="T83" fmla="*/ 988 h 1214"/>
                  <a:gd name="T84" fmla="*/ 991 w 1201"/>
                  <a:gd name="T85" fmla="*/ 1003 h 1214"/>
                  <a:gd name="T86" fmla="*/ 1001 w 1201"/>
                  <a:gd name="T87" fmla="*/ 1035 h 1214"/>
                  <a:gd name="T88" fmla="*/ 1021 w 1201"/>
                  <a:gd name="T89" fmla="*/ 1096 h 1214"/>
                  <a:gd name="T90" fmla="*/ 1056 w 1201"/>
                  <a:gd name="T91" fmla="*/ 1209 h 1214"/>
                  <a:gd name="T92" fmla="*/ 1201 w 1201"/>
                  <a:gd name="T93" fmla="*/ 1214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1" h="1214">
                    <a:moveTo>
                      <a:pt x="1201" y="1214"/>
                    </a:moveTo>
                    <a:lnTo>
                      <a:pt x="1201" y="1214"/>
                    </a:lnTo>
                    <a:lnTo>
                      <a:pt x="1198" y="282"/>
                    </a:lnTo>
                    <a:lnTo>
                      <a:pt x="1148" y="275"/>
                    </a:lnTo>
                    <a:lnTo>
                      <a:pt x="1115" y="267"/>
                    </a:lnTo>
                    <a:lnTo>
                      <a:pt x="1082" y="253"/>
                    </a:lnTo>
                    <a:lnTo>
                      <a:pt x="1058" y="238"/>
                    </a:lnTo>
                    <a:lnTo>
                      <a:pt x="1043" y="228"/>
                    </a:lnTo>
                    <a:lnTo>
                      <a:pt x="1028" y="215"/>
                    </a:lnTo>
                    <a:lnTo>
                      <a:pt x="1008" y="198"/>
                    </a:lnTo>
                    <a:lnTo>
                      <a:pt x="990" y="178"/>
                    </a:lnTo>
                    <a:lnTo>
                      <a:pt x="975" y="153"/>
                    </a:lnTo>
                    <a:lnTo>
                      <a:pt x="965" y="137"/>
                    </a:lnTo>
                    <a:lnTo>
                      <a:pt x="950" y="107"/>
                    </a:lnTo>
                    <a:lnTo>
                      <a:pt x="942" y="80"/>
                    </a:lnTo>
                    <a:lnTo>
                      <a:pt x="940" y="63"/>
                    </a:lnTo>
                    <a:lnTo>
                      <a:pt x="933" y="43"/>
                    </a:lnTo>
                    <a:lnTo>
                      <a:pt x="933" y="20"/>
                    </a:lnTo>
                    <a:lnTo>
                      <a:pt x="930" y="0"/>
                    </a:lnTo>
                    <a:lnTo>
                      <a:pt x="0" y="2"/>
                    </a:lnTo>
                    <a:lnTo>
                      <a:pt x="1" y="143"/>
                    </a:lnTo>
                    <a:lnTo>
                      <a:pt x="99" y="166"/>
                    </a:lnTo>
                    <a:lnTo>
                      <a:pt x="159" y="179"/>
                    </a:lnTo>
                    <a:lnTo>
                      <a:pt x="213" y="227"/>
                    </a:lnTo>
                    <a:lnTo>
                      <a:pt x="226" y="301"/>
                    </a:lnTo>
                    <a:lnTo>
                      <a:pt x="233" y="334"/>
                    </a:lnTo>
                    <a:lnTo>
                      <a:pt x="159" y="402"/>
                    </a:lnTo>
                    <a:lnTo>
                      <a:pt x="106" y="483"/>
                    </a:lnTo>
                    <a:lnTo>
                      <a:pt x="133" y="570"/>
                    </a:lnTo>
                    <a:lnTo>
                      <a:pt x="199" y="672"/>
                    </a:lnTo>
                    <a:lnTo>
                      <a:pt x="247" y="725"/>
                    </a:lnTo>
                    <a:lnTo>
                      <a:pt x="333" y="719"/>
                    </a:lnTo>
                    <a:lnTo>
                      <a:pt x="453" y="692"/>
                    </a:lnTo>
                    <a:lnTo>
                      <a:pt x="520" y="759"/>
                    </a:lnTo>
                    <a:lnTo>
                      <a:pt x="500" y="887"/>
                    </a:lnTo>
                    <a:lnTo>
                      <a:pt x="486" y="988"/>
                    </a:lnTo>
                    <a:lnTo>
                      <a:pt x="600" y="1049"/>
                    </a:lnTo>
                    <a:lnTo>
                      <a:pt x="680" y="1096"/>
                    </a:lnTo>
                    <a:lnTo>
                      <a:pt x="734" y="1123"/>
                    </a:lnTo>
                    <a:lnTo>
                      <a:pt x="794" y="1069"/>
                    </a:lnTo>
                    <a:lnTo>
                      <a:pt x="840" y="1008"/>
                    </a:lnTo>
                    <a:lnTo>
                      <a:pt x="880" y="988"/>
                    </a:lnTo>
                    <a:lnTo>
                      <a:pt x="991" y="1003"/>
                    </a:lnTo>
                    <a:lnTo>
                      <a:pt x="1001" y="1035"/>
                    </a:lnTo>
                    <a:lnTo>
                      <a:pt x="1021" y="1096"/>
                    </a:lnTo>
                    <a:lnTo>
                      <a:pt x="1056" y="1209"/>
                    </a:lnTo>
                    <a:lnTo>
                      <a:pt x="1201" y="1214"/>
                    </a:lnTo>
                    <a:close/>
                  </a:path>
                </a:pathLst>
              </a:custGeom>
              <a:grp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4" name="Freeform 43">
                <a:extLst>
                  <a:ext uri="{FF2B5EF4-FFF2-40B4-BE49-F238E27FC236}">
                    <a16:creationId xmlns:a16="http://schemas.microsoft.com/office/drawing/2014/main" id="{5E41050A-B156-4846-B992-2F23DBEE5CC5}"/>
                  </a:ext>
                </a:extLst>
              </p:cNvPr>
              <p:cNvSpPr>
                <a:spLocks/>
              </p:cNvSpPr>
              <p:nvPr/>
            </p:nvSpPr>
            <p:spPr bwMode="auto">
              <a:xfrm>
                <a:off x="1450" y="2299"/>
                <a:ext cx="1450" cy="1463"/>
              </a:xfrm>
              <a:custGeom>
                <a:avLst/>
                <a:gdLst>
                  <a:gd name="T0" fmla="*/ 1201 w 1201"/>
                  <a:gd name="T1" fmla="*/ 1214 h 1214"/>
                  <a:gd name="T2" fmla="*/ 1201 w 1201"/>
                  <a:gd name="T3" fmla="*/ 1214 h 1214"/>
                  <a:gd name="T4" fmla="*/ 1198 w 1201"/>
                  <a:gd name="T5" fmla="*/ 282 h 1214"/>
                  <a:gd name="T6" fmla="*/ 1148 w 1201"/>
                  <a:gd name="T7" fmla="*/ 275 h 1214"/>
                  <a:gd name="T8" fmla="*/ 1115 w 1201"/>
                  <a:gd name="T9" fmla="*/ 267 h 1214"/>
                  <a:gd name="T10" fmla="*/ 1082 w 1201"/>
                  <a:gd name="T11" fmla="*/ 253 h 1214"/>
                  <a:gd name="T12" fmla="*/ 1058 w 1201"/>
                  <a:gd name="T13" fmla="*/ 238 h 1214"/>
                  <a:gd name="T14" fmla="*/ 1043 w 1201"/>
                  <a:gd name="T15" fmla="*/ 228 h 1214"/>
                  <a:gd name="T16" fmla="*/ 1028 w 1201"/>
                  <a:gd name="T17" fmla="*/ 215 h 1214"/>
                  <a:gd name="T18" fmla="*/ 1008 w 1201"/>
                  <a:gd name="T19" fmla="*/ 198 h 1214"/>
                  <a:gd name="T20" fmla="*/ 990 w 1201"/>
                  <a:gd name="T21" fmla="*/ 178 h 1214"/>
                  <a:gd name="T22" fmla="*/ 975 w 1201"/>
                  <a:gd name="T23" fmla="*/ 153 h 1214"/>
                  <a:gd name="T24" fmla="*/ 965 w 1201"/>
                  <a:gd name="T25" fmla="*/ 137 h 1214"/>
                  <a:gd name="T26" fmla="*/ 950 w 1201"/>
                  <a:gd name="T27" fmla="*/ 107 h 1214"/>
                  <a:gd name="T28" fmla="*/ 942 w 1201"/>
                  <a:gd name="T29" fmla="*/ 80 h 1214"/>
                  <a:gd name="T30" fmla="*/ 940 w 1201"/>
                  <a:gd name="T31" fmla="*/ 63 h 1214"/>
                  <a:gd name="T32" fmla="*/ 933 w 1201"/>
                  <a:gd name="T33" fmla="*/ 43 h 1214"/>
                  <a:gd name="T34" fmla="*/ 933 w 1201"/>
                  <a:gd name="T35" fmla="*/ 20 h 1214"/>
                  <a:gd name="T36" fmla="*/ 930 w 1201"/>
                  <a:gd name="T37" fmla="*/ 0 h 1214"/>
                  <a:gd name="T38" fmla="*/ 0 w 1201"/>
                  <a:gd name="T39" fmla="*/ 2 h 1214"/>
                  <a:gd name="T40" fmla="*/ 1 w 1201"/>
                  <a:gd name="T41" fmla="*/ 143 h 1214"/>
                  <a:gd name="T42" fmla="*/ 99 w 1201"/>
                  <a:gd name="T43" fmla="*/ 166 h 1214"/>
                  <a:gd name="T44" fmla="*/ 159 w 1201"/>
                  <a:gd name="T45" fmla="*/ 179 h 1214"/>
                  <a:gd name="T46" fmla="*/ 213 w 1201"/>
                  <a:gd name="T47" fmla="*/ 227 h 1214"/>
                  <a:gd name="T48" fmla="*/ 226 w 1201"/>
                  <a:gd name="T49" fmla="*/ 301 h 1214"/>
                  <a:gd name="T50" fmla="*/ 233 w 1201"/>
                  <a:gd name="T51" fmla="*/ 334 h 1214"/>
                  <a:gd name="T52" fmla="*/ 159 w 1201"/>
                  <a:gd name="T53" fmla="*/ 402 h 1214"/>
                  <a:gd name="T54" fmla="*/ 106 w 1201"/>
                  <a:gd name="T55" fmla="*/ 483 h 1214"/>
                  <a:gd name="T56" fmla="*/ 133 w 1201"/>
                  <a:gd name="T57" fmla="*/ 570 h 1214"/>
                  <a:gd name="T58" fmla="*/ 199 w 1201"/>
                  <a:gd name="T59" fmla="*/ 672 h 1214"/>
                  <a:gd name="T60" fmla="*/ 247 w 1201"/>
                  <a:gd name="T61" fmla="*/ 725 h 1214"/>
                  <a:gd name="T62" fmla="*/ 333 w 1201"/>
                  <a:gd name="T63" fmla="*/ 719 h 1214"/>
                  <a:gd name="T64" fmla="*/ 453 w 1201"/>
                  <a:gd name="T65" fmla="*/ 692 h 1214"/>
                  <a:gd name="T66" fmla="*/ 520 w 1201"/>
                  <a:gd name="T67" fmla="*/ 759 h 1214"/>
                  <a:gd name="T68" fmla="*/ 500 w 1201"/>
                  <a:gd name="T69" fmla="*/ 887 h 1214"/>
                  <a:gd name="T70" fmla="*/ 486 w 1201"/>
                  <a:gd name="T71" fmla="*/ 988 h 1214"/>
                  <a:gd name="T72" fmla="*/ 600 w 1201"/>
                  <a:gd name="T73" fmla="*/ 1049 h 1214"/>
                  <a:gd name="T74" fmla="*/ 680 w 1201"/>
                  <a:gd name="T75" fmla="*/ 1096 h 1214"/>
                  <a:gd name="T76" fmla="*/ 734 w 1201"/>
                  <a:gd name="T77" fmla="*/ 1123 h 1214"/>
                  <a:gd name="T78" fmla="*/ 794 w 1201"/>
                  <a:gd name="T79" fmla="*/ 1069 h 1214"/>
                  <a:gd name="T80" fmla="*/ 840 w 1201"/>
                  <a:gd name="T81" fmla="*/ 1008 h 1214"/>
                  <a:gd name="T82" fmla="*/ 880 w 1201"/>
                  <a:gd name="T83" fmla="*/ 988 h 1214"/>
                  <a:gd name="T84" fmla="*/ 991 w 1201"/>
                  <a:gd name="T85" fmla="*/ 1003 h 1214"/>
                  <a:gd name="T86" fmla="*/ 1001 w 1201"/>
                  <a:gd name="T87" fmla="*/ 1035 h 1214"/>
                  <a:gd name="T88" fmla="*/ 1021 w 1201"/>
                  <a:gd name="T89" fmla="*/ 1096 h 1214"/>
                  <a:gd name="T90" fmla="*/ 1056 w 1201"/>
                  <a:gd name="T91" fmla="*/ 1209 h 1214"/>
                  <a:gd name="T92" fmla="*/ 1201 w 1201"/>
                  <a:gd name="T93" fmla="*/ 1214 h 1214"/>
                  <a:gd name="T94" fmla="*/ 1201 w 1201"/>
                  <a:gd name="T95" fmla="*/ 1214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1" h="1214">
                    <a:moveTo>
                      <a:pt x="1201" y="1214"/>
                    </a:moveTo>
                    <a:lnTo>
                      <a:pt x="1201" y="1214"/>
                    </a:lnTo>
                    <a:lnTo>
                      <a:pt x="1198" y="282"/>
                    </a:lnTo>
                    <a:lnTo>
                      <a:pt x="1148" y="275"/>
                    </a:lnTo>
                    <a:lnTo>
                      <a:pt x="1115" y="267"/>
                    </a:lnTo>
                    <a:lnTo>
                      <a:pt x="1082" y="253"/>
                    </a:lnTo>
                    <a:lnTo>
                      <a:pt x="1058" y="238"/>
                    </a:lnTo>
                    <a:lnTo>
                      <a:pt x="1043" y="228"/>
                    </a:lnTo>
                    <a:lnTo>
                      <a:pt x="1028" y="215"/>
                    </a:lnTo>
                    <a:lnTo>
                      <a:pt x="1008" y="198"/>
                    </a:lnTo>
                    <a:lnTo>
                      <a:pt x="990" y="178"/>
                    </a:lnTo>
                    <a:lnTo>
                      <a:pt x="975" y="153"/>
                    </a:lnTo>
                    <a:lnTo>
                      <a:pt x="965" y="137"/>
                    </a:lnTo>
                    <a:lnTo>
                      <a:pt x="950" y="107"/>
                    </a:lnTo>
                    <a:lnTo>
                      <a:pt x="942" y="80"/>
                    </a:lnTo>
                    <a:lnTo>
                      <a:pt x="940" y="63"/>
                    </a:lnTo>
                    <a:lnTo>
                      <a:pt x="933" y="43"/>
                    </a:lnTo>
                    <a:lnTo>
                      <a:pt x="933" y="20"/>
                    </a:lnTo>
                    <a:lnTo>
                      <a:pt x="930" y="0"/>
                    </a:lnTo>
                    <a:lnTo>
                      <a:pt x="0" y="2"/>
                    </a:lnTo>
                    <a:lnTo>
                      <a:pt x="1" y="143"/>
                    </a:lnTo>
                    <a:lnTo>
                      <a:pt x="99" y="166"/>
                    </a:lnTo>
                    <a:lnTo>
                      <a:pt x="159" y="179"/>
                    </a:lnTo>
                    <a:lnTo>
                      <a:pt x="213" y="227"/>
                    </a:lnTo>
                    <a:lnTo>
                      <a:pt x="226" y="301"/>
                    </a:lnTo>
                    <a:lnTo>
                      <a:pt x="233" y="334"/>
                    </a:lnTo>
                    <a:lnTo>
                      <a:pt x="159" y="402"/>
                    </a:lnTo>
                    <a:lnTo>
                      <a:pt x="106" y="483"/>
                    </a:lnTo>
                    <a:lnTo>
                      <a:pt x="133" y="570"/>
                    </a:lnTo>
                    <a:lnTo>
                      <a:pt x="199" y="672"/>
                    </a:lnTo>
                    <a:lnTo>
                      <a:pt x="247" y="725"/>
                    </a:lnTo>
                    <a:lnTo>
                      <a:pt x="333" y="719"/>
                    </a:lnTo>
                    <a:lnTo>
                      <a:pt x="453" y="692"/>
                    </a:lnTo>
                    <a:lnTo>
                      <a:pt x="520" y="759"/>
                    </a:lnTo>
                    <a:lnTo>
                      <a:pt x="500" y="887"/>
                    </a:lnTo>
                    <a:lnTo>
                      <a:pt x="486" y="988"/>
                    </a:lnTo>
                    <a:lnTo>
                      <a:pt x="600" y="1049"/>
                    </a:lnTo>
                    <a:lnTo>
                      <a:pt x="680" y="1096"/>
                    </a:lnTo>
                    <a:lnTo>
                      <a:pt x="734" y="1123"/>
                    </a:lnTo>
                    <a:lnTo>
                      <a:pt x="794" y="1069"/>
                    </a:lnTo>
                    <a:lnTo>
                      <a:pt x="840" y="1008"/>
                    </a:lnTo>
                    <a:lnTo>
                      <a:pt x="880" y="988"/>
                    </a:lnTo>
                    <a:lnTo>
                      <a:pt x="991" y="1003"/>
                    </a:lnTo>
                    <a:lnTo>
                      <a:pt x="1001" y="1035"/>
                    </a:lnTo>
                    <a:lnTo>
                      <a:pt x="1021" y="1096"/>
                    </a:lnTo>
                    <a:lnTo>
                      <a:pt x="1056" y="1209"/>
                    </a:lnTo>
                    <a:lnTo>
                      <a:pt x="1201" y="1214"/>
                    </a:lnTo>
                    <a:lnTo>
                      <a:pt x="1201" y="1214"/>
                    </a:lnTo>
                    <a:close/>
                  </a:path>
                </a:pathLst>
              </a:custGeom>
              <a:solidFill>
                <a:schemeClr val="tx1"/>
              </a:solidFill>
              <a:ln w="7" cap="flat">
                <a:noFill/>
                <a:prstDash val="solid"/>
                <a:miter lim="800000"/>
                <a:headEnd/>
                <a:tailEnd/>
              </a:ln>
              <a:extLst>
                <a:ext uri="{909E8E84-426E-40dd-AFC4-6F175D3DCCD1}">
                  <a14:hiddenFill xmlns:a14="http://schemas.microsoft.com/office/drawing/2010/main" xmlns:p14="http://schemas.microsoft.com/office/powerpoint/2010/main" xmlns:a16="http://schemas.microsoft.com/office/drawing/2014/main" xmlns="">
                    <a:solidFill>
                      <a:srgbClr val="FFFFFF"/>
                    </a:solidFill>
                  </a14:hiddenFill>
                </a:ext>
              </a:extLst>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5" name="Freeform 44">
                <a:extLst>
                  <a:ext uri="{FF2B5EF4-FFF2-40B4-BE49-F238E27FC236}">
                    <a16:creationId xmlns:a16="http://schemas.microsoft.com/office/drawing/2014/main" id="{F6492B0B-AF42-0947-8250-8495E2B63315}"/>
                  </a:ext>
                </a:extLst>
              </p:cNvPr>
              <p:cNvSpPr>
                <a:spLocks/>
              </p:cNvSpPr>
              <p:nvPr/>
            </p:nvSpPr>
            <p:spPr bwMode="auto">
              <a:xfrm>
                <a:off x="2893" y="2308"/>
                <a:ext cx="1440" cy="1462"/>
              </a:xfrm>
              <a:custGeom>
                <a:avLst/>
                <a:gdLst>
                  <a:gd name="T0" fmla="*/ 1192 w 1192"/>
                  <a:gd name="T1" fmla="*/ 1 h 1213"/>
                  <a:gd name="T2" fmla="*/ 1192 w 1192"/>
                  <a:gd name="T3" fmla="*/ 1 h 1213"/>
                  <a:gd name="T4" fmla="*/ 266 w 1192"/>
                  <a:gd name="T5" fmla="*/ 0 h 1213"/>
                  <a:gd name="T6" fmla="*/ 268 w 1192"/>
                  <a:gd name="T7" fmla="*/ 48 h 1213"/>
                  <a:gd name="T8" fmla="*/ 260 w 1192"/>
                  <a:gd name="T9" fmla="*/ 80 h 1213"/>
                  <a:gd name="T10" fmla="*/ 250 w 1192"/>
                  <a:gd name="T11" fmla="*/ 112 h 1213"/>
                  <a:gd name="T12" fmla="*/ 238 w 1192"/>
                  <a:gd name="T13" fmla="*/ 135 h 1213"/>
                  <a:gd name="T14" fmla="*/ 226 w 1192"/>
                  <a:gd name="T15" fmla="*/ 155 h 1213"/>
                  <a:gd name="T16" fmla="*/ 216 w 1192"/>
                  <a:gd name="T17" fmla="*/ 168 h 1213"/>
                  <a:gd name="T18" fmla="*/ 201 w 1192"/>
                  <a:gd name="T19" fmla="*/ 192 h 1213"/>
                  <a:gd name="T20" fmla="*/ 180 w 1192"/>
                  <a:gd name="T21" fmla="*/ 212 h 1213"/>
                  <a:gd name="T22" fmla="*/ 155 w 1192"/>
                  <a:gd name="T23" fmla="*/ 228 h 1213"/>
                  <a:gd name="T24" fmla="*/ 136 w 1192"/>
                  <a:gd name="T25" fmla="*/ 243 h 1213"/>
                  <a:gd name="T26" fmla="*/ 111 w 1192"/>
                  <a:gd name="T27" fmla="*/ 255 h 1213"/>
                  <a:gd name="T28" fmla="*/ 80 w 1192"/>
                  <a:gd name="T29" fmla="*/ 268 h 1213"/>
                  <a:gd name="T30" fmla="*/ 66 w 1192"/>
                  <a:gd name="T31" fmla="*/ 270 h 1213"/>
                  <a:gd name="T32" fmla="*/ 45 w 1192"/>
                  <a:gd name="T33" fmla="*/ 277 h 1213"/>
                  <a:gd name="T34" fmla="*/ 18 w 1192"/>
                  <a:gd name="T35" fmla="*/ 282 h 1213"/>
                  <a:gd name="T36" fmla="*/ 0 w 1192"/>
                  <a:gd name="T37" fmla="*/ 282 h 1213"/>
                  <a:gd name="T38" fmla="*/ 0 w 1192"/>
                  <a:gd name="T39" fmla="*/ 1213 h 1213"/>
                  <a:gd name="T40" fmla="*/ 140 w 1192"/>
                  <a:gd name="T41" fmla="*/ 1212 h 1213"/>
                  <a:gd name="T42" fmla="*/ 162 w 1192"/>
                  <a:gd name="T43" fmla="*/ 1105 h 1213"/>
                  <a:gd name="T44" fmla="*/ 175 w 1192"/>
                  <a:gd name="T45" fmla="*/ 1045 h 1213"/>
                  <a:gd name="T46" fmla="*/ 203 w 1192"/>
                  <a:gd name="T47" fmla="*/ 997 h 1213"/>
                  <a:gd name="T48" fmla="*/ 294 w 1192"/>
                  <a:gd name="T49" fmla="*/ 978 h 1213"/>
                  <a:gd name="T50" fmla="*/ 328 w 1192"/>
                  <a:gd name="T51" fmla="*/ 971 h 1213"/>
                  <a:gd name="T52" fmla="*/ 394 w 1192"/>
                  <a:gd name="T53" fmla="*/ 1045 h 1213"/>
                  <a:gd name="T54" fmla="*/ 474 w 1192"/>
                  <a:gd name="T55" fmla="*/ 1098 h 1213"/>
                  <a:gd name="T56" fmla="*/ 561 w 1192"/>
                  <a:gd name="T57" fmla="*/ 1071 h 1213"/>
                  <a:gd name="T58" fmla="*/ 660 w 1192"/>
                  <a:gd name="T59" fmla="*/ 1004 h 1213"/>
                  <a:gd name="T60" fmla="*/ 726 w 1192"/>
                  <a:gd name="T61" fmla="*/ 957 h 1213"/>
                  <a:gd name="T62" fmla="*/ 706 w 1192"/>
                  <a:gd name="T63" fmla="*/ 870 h 1213"/>
                  <a:gd name="T64" fmla="*/ 679 w 1192"/>
                  <a:gd name="T65" fmla="*/ 750 h 1213"/>
                  <a:gd name="T66" fmla="*/ 746 w 1192"/>
                  <a:gd name="T67" fmla="*/ 683 h 1213"/>
                  <a:gd name="T68" fmla="*/ 872 w 1192"/>
                  <a:gd name="T69" fmla="*/ 703 h 1213"/>
                  <a:gd name="T70" fmla="*/ 972 w 1192"/>
                  <a:gd name="T71" fmla="*/ 716 h 1213"/>
                  <a:gd name="T72" fmla="*/ 1031 w 1192"/>
                  <a:gd name="T73" fmla="*/ 602 h 1213"/>
                  <a:gd name="T74" fmla="*/ 1078 w 1192"/>
                  <a:gd name="T75" fmla="*/ 522 h 1213"/>
                  <a:gd name="T76" fmla="*/ 1104 w 1192"/>
                  <a:gd name="T77" fmla="*/ 468 h 1213"/>
                  <a:gd name="T78" fmla="*/ 1051 w 1192"/>
                  <a:gd name="T79" fmla="*/ 408 h 1213"/>
                  <a:gd name="T80" fmla="*/ 991 w 1192"/>
                  <a:gd name="T81" fmla="*/ 362 h 1213"/>
                  <a:gd name="T82" fmla="*/ 971 w 1192"/>
                  <a:gd name="T83" fmla="*/ 322 h 1213"/>
                  <a:gd name="T84" fmla="*/ 985 w 1192"/>
                  <a:gd name="T85" fmla="*/ 212 h 1213"/>
                  <a:gd name="T86" fmla="*/ 1017 w 1192"/>
                  <a:gd name="T87" fmla="*/ 201 h 1213"/>
                  <a:gd name="T88" fmla="*/ 1076 w 1192"/>
                  <a:gd name="T89" fmla="*/ 181 h 1213"/>
                  <a:gd name="T90" fmla="*/ 1188 w 1192"/>
                  <a:gd name="T91" fmla="*/ 146 h 1213"/>
                  <a:gd name="T92" fmla="*/ 1192 w 1192"/>
                  <a:gd name="T93" fmla="*/ 1 h 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92" h="1213">
                    <a:moveTo>
                      <a:pt x="1192" y="1"/>
                    </a:moveTo>
                    <a:lnTo>
                      <a:pt x="1192" y="1"/>
                    </a:lnTo>
                    <a:lnTo>
                      <a:pt x="266" y="0"/>
                    </a:lnTo>
                    <a:lnTo>
                      <a:pt x="268" y="48"/>
                    </a:lnTo>
                    <a:lnTo>
                      <a:pt x="260" y="80"/>
                    </a:lnTo>
                    <a:lnTo>
                      <a:pt x="250" y="112"/>
                    </a:lnTo>
                    <a:lnTo>
                      <a:pt x="238" y="135"/>
                    </a:lnTo>
                    <a:lnTo>
                      <a:pt x="226" y="155"/>
                    </a:lnTo>
                    <a:lnTo>
                      <a:pt x="216" y="168"/>
                    </a:lnTo>
                    <a:lnTo>
                      <a:pt x="201" y="192"/>
                    </a:lnTo>
                    <a:lnTo>
                      <a:pt x="180" y="212"/>
                    </a:lnTo>
                    <a:lnTo>
                      <a:pt x="155" y="228"/>
                    </a:lnTo>
                    <a:lnTo>
                      <a:pt x="136" y="243"/>
                    </a:lnTo>
                    <a:lnTo>
                      <a:pt x="111" y="255"/>
                    </a:lnTo>
                    <a:lnTo>
                      <a:pt x="80" y="268"/>
                    </a:lnTo>
                    <a:lnTo>
                      <a:pt x="66" y="270"/>
                    </a:lnTo>
                    <a:lnTo>
                      <a:pt x="45" y="277"/>
                    </a:lnTo>
                    <a:lnTo>
                      <a:pt x="18" y="282"/>
                    </a:lnTo>
                    <a:lnTo>
                      <a:pt x="0" y="282"/>
                    </a:lnTo>
                    <a:lnTo>
                      <a:pt x="0" y="1213"/>
                    </a:lnTo>
                    <a:lnTo>
                      <a:pt x="140" y="1212"/>
                    </a:lnTo>
                    <a:lnTo>
                      <a:pt x="162" y="1105"/>
                    </a:lnTo>
                    <a:lnTo>
                      <a:pt x="175" y="1045"/>
                    </a:lnTo>
                    <a:lnTo>
                      <a:pt x="203" y="997"/>
                    </a:lnTo>
                    <a:lnTo>
                      <a:pt x="294" y="978"/>
                    </a:lnTo>
                    <a:lnTo>
                      <a:pt x="328" y="971"/>
                    </a:lnTo>
                    <a:lnTo>
                      <a:pt x="394" y="1045"/>
                    </a:lnTo>
                    <a:lnTo>
                      <a:pt x="474" y="1098"/>
                    </a:lnTo>
                    <a:lnTo>
                      <a:pt x="561" y="1071"/>
                    </a:lnTo>
                    <a:lnTo>
                      <a:pt x="660" y="1004"/>
                    </a:lnTo>
                    <a:lnTo>
                      <a:pt x="726" y="957"/>
                    </a:lnTo>
                    <a:lnTo>
                      <a:pt x="706" y="870"/>
                    </a:lnTo>
                    <a:lnTo>
                      <a:pt x="679" y="750"/>
                    </a:lnTo>
                    <a:lnTo>
                      <a:pt x="746" y="683"/>
                    </a:lnTo>
                    <a:lnTo>
                      <a:pt x="872" y="703"/>
                    </a:lnTo>
                    <a:lnTo>
                      <a:pt x="972" y="716"/>
                    </a:lnTo>
                    <a:lnTo>
                      <a:pt x="1031" y="602"/>
                    </a:lnTo>
                    <a:lnTo>
                      <a:pt x="1078" y="522"/>
                    </a:lnTo>
                    <a:lnTo>
                      <a:pt x="1104" y="468"/>
                    </a:lnTo>
                    <a:lnTo>
                      <a:pt x="1051" y="408"/>
                    </a:lnTo>
                    <a:lnTo>
                      <a:pt x="991" y="362"/>
                    </a:lnTo>
                    <a:lnTo>
                      <a:pt x="971" y="322"/>
                    </a:lnTo>
                    <a:lnTo>
                      <a:pt x="985" y="212"/>
                    </a:lnTo>
                    <a:lnTo>
                      <a:pt x="1017" y="201"/>
                    </a:lnTo>
                    <a:lnTo>
                      <a:pt x="1076" y="181"/>
                    </a:lnTo>
                    <a:lnTo>
                      <a:pt x="1188" y="146"/>
                    </a:lnTo>
                    <a:lnTo>
                      <a:pt x="1192" y="1"/>
                    </a:lnTo>
                    <a:close/>
                  </a:path>
                </a:pathLst>
              </a:custGeom>
              <a:grp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6" name="Freeform 45">
                <a:extLst>
                  <a:ext uri="{FF2B5EF4-FFF2-40B4-BE49-F238E27FC236}">
                    <a16:creationId xmlns:a16="http://schemas.microsoft.com/office/drawing/2014/main" id="{A9997A38-9555-CB47-873A-C33FC2C86221}"/>
                  </a:ext>
                </a:extLst>
              </p:cNvPr>
              <p:cNvSpPr>
                <a:spLocks/>
              </p:cNvSpPr>
              <p:nvPr/>
            </p:nvSpPr>
            <p:spPr bwMode="auto">
              <a:xfrm>
                <a:off x="2884" y="2299"/>
                <a:ext cx="1440" cy="1462"/>
              </a:xfrm>
              <a:custGeom>
                <a:avLst/>
                <a:gdLst>
                  <a:gd name="T0" fmla="*/ 1192 w 1192"/>
                  <a:gd name="T1" fmla="*/ 1 h 1213"/>
                  <a:gd name="T2" fmla="*/ 1192 w 1192"/>
                  <a:gd name="T3" fmla="*/ 1 h 1213"/>
                  <a:gd name="T4" fmla="*/ 266 w 1192"/>
                  <a:gd name="T5" fmla="*/ 0 h 1213"/>
                  <a:gd name="T6" fmla="*/ 268 w 1192"/>
                  <a:gd name="T7" fmla="*/ 48 h 1213"/>
                  <a:gd name="T8" fmla="*/ 260 w 1192"/>
                  <a:gd name="T9" fmla="*/ 80 h 1213"/>
                  <a:gd name="T10" fmla="*/ 250 w 1192"/>
                  <a:gd name="T11" fmla="*/ 112 h 1213"/>
                  <a:gd name="T12" fmla="*/ 238 w 1192"/>
                  <a:gd name="T13" fmla="*/ 135 h 1213"/>
                  <a:gd name="T14" fmla="*/ 226 w 1192"/>
                  <a:gd name="T15" fmla="*/ 155 h 1213"/>
                  <a:gd name="T16" fmla="*/ 216 w 1192"/>
                  <a:gd name="T17" fmla="*/ 168 h 1213"/>
                  <a:gd name="T18" fmla="*/ 201 w 1192"/>
                  <a:gd name="T19" fmla="*/ 192 h 1213"/>
                  <a:gd name="T20" fmla="*/ 180 w 1192"/>
                  <a:gd name="T21" fmla="*/ 212 h 1213"/>
                  <a:gd name="T22" fmla="*/ 155 w 1192"/>
                  <a:gd name="T23" fmla="*/ 228 h 1213"/>
                  <a:gd name="T24" fmla="*/ 136 w 1192"/>
                  <a:gd name="T25" fmla="*/ 243 h 1213"/>
                  <a:gd name="T26" fmla="*/ 111 w 1192"/>
                  <a:gd name="T27" fmla="*/ 255 h 1213"/>
                  <a:gd name="T28" fmla="*/ 80 w 1192"/>
                  <a:gd name="T29" fmla="*/ 268 h 1213"/>
                  <a:gd name="T30" fmla="*/ 66 w 1192"/>
                  <a:gd name="T31" fmla="*/ 270 h 1213"/>
                  <a:gd name="T32" fmla="*/ 45 w 1192"/>
                  <a:gd name="T33" fmla="*/ 277 h 1213"/>
                  <a:gd name="T34" fmla="*/ 18 w 1192"/>
                  <a:gd name="T35" fmla="*/ 282 h 1213"/>
                  <a:gd name="T36" fmla="*/ 0 w 1192"/>
                  <a:gd name="T37" fmla="*/ 282 h 1213"/>
                  <a:gd name="T38" fmla="*/ 0 w 1192"/>
                  <a:gd name="T39" fmla="*/ 1213 h 1213"/>
                  <a:gd name="T40" fmla="*/ 140 w 1192"/>
                  <a:gd name="T41" fmla="*/ 1212 h 1213"/>
                  <a:gd name="T42" fmla="*/ 162 w 1192"/>
                  <a:gd name="T43" fmla="*/ 1105 h 1213"/>
                  <a:gd name="T44" fmla="*/ 175 w 1192"/>
                  <a:gd name="T45" fmla="*/ 1045 h 1213"/>
                  <a:gd name="T46" fmla="*/ 203 w 1192"/>
                  <a:gd name="T47" fmla="*/ 997 h 1213"/>
                  <a:gd name="T48" fmla="*/ 294 w 1192"/>
                  <a:gd name="T49" fmla="*/ 978 h 1213"/>
                  <a:gd name="T50" fmla="*/ 328 w 1192"/>
                  <a:gd name="T51" fmla="*/ 971 h 1213"/>
                  <a:gd name="T52" fmla="*/ 394 w 1192"/>
                  <a:gd name="T53" fmla="*/ 1045 h 1213"/>
                  <a:gd name="T54" fmla="*/ 474 w 1192"/>
                  <a:gd name="T55" fmla="*/ 1098 h 1213"/>
                  <a:gd name="T56" fmla="*/ 561 w 1192"/>
                  <a:gd name="T57" fmla="*/ 1071 h 1213"/>
                  <a:gd name="T58" fmla="*/ 660 w 1192"/>
                  <a:gd name="T59" fmla="*/ 1004 h 1213"/>
                  <a:gd name="T60" fmla="*/ 726 w 1192"/>
                  <a:gd name="T61" fmla="*/ 957 h 1213"/>
                  <a:gd name="T62" fmla="*/ 706 w 1192"/>
                  <a:gd name="T63" fmla="*/ 870 h 1213"/>
                  <a:gd name="T64" fmla="*/ 679 w 1192"/>
                  <a:gd name="T65" fmla="*/ 750 h 1213"/>
                  <a:gd name="T66" fmla="*/ 746 w 1192"/>
                  <a:gd name="T67" fmla="*/ 683 h 1213"/>
                  <a:gd name="T68" fmla="*/ 872 w 1192"/>
                  <a:gd name="T69" fmla="*/ 703 h 1213"/>
                  <a:gd name="T70" fmla="*/ 972 w 1192"/>
                  <a:gd name="T71" fmla="*/ 716 h 1213"/>
                  <a:gd name="T72" fmla="*/ 1031 w 1192"/>
                  <a:gd name="T73" fmla="*/ 602 h 1213"/>
                  <a:gd name="T74" fmla="*/ 1078 w 1192"/>
                  <a:gd name="T75" fmla="*/ 522 h 1213"/>
                  <a:gd name="T76" fmla="*/ 1104 w 1192"/>
                  <a:gd name="T77" fmla="*/ 468 h 1213"/>
                  <a:gd name="T78" fmla="*/ 1051 w 1192"/>
                  <a:gd name="T79" fmla="*/ 408 h 1213"/>
                  <a:gd name="T80" fmla="*/ 991 w 1192"/>
                  <a:gd name="T81" fmla="*/ 362 h 1213"/>
                  <a:gd name="T82" fmla="*/ 971 w 1192"/>
                  <a:gd name="T83" fmla="*/ 322 h 1213"/>
                  <a:gd name="T84" fmla="*/ 985 w 1192"/>
                  <a:gd name="T85" fmla="*/ 212 h 1213"/>
                  <a:gd name="T86" fmla="*/ 1017 w 1192"/>
                  <a:gd name="T87" fmla="*/ 201 h 1213"/>
                  <a:gd name="T88" fmla="*/ 1076 w 1192"/>
                  <a:gd name="T89" fmla="*/ 181 h 1213"/>
                  <a:gd name="T90" fmla="*/ 1188 w 1192"/>
                  <a:gd name="T91" fmla="*/ 146 h 1213"/>
                  <a:gd name="T92" fmla="*/ 1192 w 1192"/>
                  <a:gd name="T93" fmla="*/ 1 h 1213"/>
                  <a:gd name="T94" fmla="*/ 1192 w 1192"/>
                  <a:gd name="T95" fmla="*/ 1 h 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92" h="1213">
                    <a:moveTo>
                      <a:pt x="1192" y="1"/>
                    </a:moveTo>
                    <a:lnTo>
                      <a:pt x="1192" y="1"/>
                    </a:lnTo>
                    <a:lnTo>
                      <a:pt x="266" y="0"/>
                    </a:lnTo>
                    <a:lnTo>
                      <a:pt x="268" y="48"/>
                    </a:lnTo>
                    <a:lnTo>
                      <a:pt x="260" y="80"/>
                    </a:lnTo>
                    <a:lnTo>
                      <a:pt x="250" y="112"/>
                    </a:lnTo>
                    <a:lnTo>
                      <a:pt x="238" y="135"/>
                    </a:lnTo>
                    <a:lnTo>
                      <a:pt x="226" y="155"/>
                    </a:lnTo>
                    <a:lnTo>
                      <a:pt x="216" y="168"/>
                    </a:lnTo>
                    <a:lnTo>
                      <a:pt x="201" y="192"/>
                    </a:lnTo>
                    <a:lnTo>
                      <a:pt x="180" y="212"/>
                    </a:lnTo>
                    <a:lnTo>
                      <a:pt x="155" y="228"/>
                    </a:lnTo>
                    <a:lnTo>
                      <a:pt x="136" y="243"/>
                    </a:lnTo>
                    <a:lnTo>
                      <a:pt x="111" y="255"/>
                    </a:lnTo>
                    <a:lnTo>
                      <a:pt x="80" y="268"/>
                    </a:lnTo>
                    <a:lnTo>
                      <a:pt x="66" y="270"/>
                    </a:lnTo>
                    <a:lnTo>
                      <a:pt x="45" y="277"/>
                    </a:lnTo>
                    <a:lnTo>
                      <a:pt x="18" y="282"/>
                    </a:lnTo>
                    <a:lnTo>
                      <a:pt x="0" y="282"/>
                    </a:lnTo>
                    <a:lnTo>
                      <a:pt x="0" y="1213"/>
                    </a:lnTo>
                    <a:lnTo>
                      <a:pt x="140" y="1212"/>
                    </a:lnTo>
                    <a:lnTo>
                      <a:pt x="162" y="1105"/>
                    </a:lnTo>
                    <a:lnTo>
                      <a:pt x="175" y="1045"/>
                    </a:lnTo>
                    <a:lnTo>
                      <a:pt x="203" y="997"/>
                    </a:lnTo>
                    <a:lnTo>
                      <a:pt x="294" y="978"/>
                    </a:lnTo>
                    <a:lnTo>
                      <a:pt x="328" y="971"/>
                    </a:lnTo>
                    <a:lnTo>
                      <a:pt x="394" y="1045"/>
                    </a:lnTo>
                    <a:lnTo>
                      <a:pt x="474" y="1098"/>
                    </a:lnTo>
                    <a:lnTo>
                      <a:pt x="561" y="1071"/>
                    </a:lnTo>
                    <a:lnTo>
                      <a:pt x="660" y="1004"/>
                    </a:lnTo>
                    <a:lnTo>
                      <a:pt x="726" y="957"/>
                    </a:lnTo>
                    <a:lnTo>
                      <a:pt x="706" y="870"/>
                    </a:lnTo>
                    <a:lnTo>
                      <a:pt x="679" y="750"/>
                    </a:lnTo>
                    <a:lnTo>
                      <a:pt x="746" y="683"/>
                    </a:lnTo>
                    <a:lnTo>
                      <a:pt x="872" y="703"/>
                    </a:lnTo>
                    <a:lnTo>
                      <a:pt x="972" y="716"/>
                    </a:lnTo>
                    <a:lnTo>
                      <a:pt x="1031" y="602"/>
                    </a:lnTo>
                    <a:lnTo>
                      <a:pt x="1078" y="522"/>
                    </a:lnTo>
                    <a:lnTo>
                      <a:pt x="1104" y="468"/>
                    </a:lnTo>
                    <a:lnTo>
                      <a:pt x="1051" y="408"/>
                    </a:lnTo>
                    <a:lnTo>
                      <a:pt x="991" y="362"/>
                    </a:lnTo>
                    <a:lnTo>
                      <a:pt x="971" y="322"/>
                    </a:lnTo>
                    <a:lnTo>
                      <a:pt x="985" y="212"/>
                    </a:lnTo>
                    <a:lnTo>
                      <a:pt x="1017" y="201"/>
                    </a:lnTo>
                    <a:lnTo>
                      <a:pt x="1076" y="181"/>
                    </a:lnTo>
                    <a:lnTo>
                      <a:pt x="1188" y="146"/>
                    </a:lnTo>
                    <a:lnTo>
                      <a:pt x="1192" y="1"/>
                    </a:lnTo>
                    <a:lnTo>
                      <a:pt x="1192" y="1"/>
                    </a:lnTo>
                    <a:close/>
                  </a:path>
                </a:pathLst>
              </a:custGeom>
              <a:solidFill>
                <a:schemeClr val="tx1"/>
              </a:solidFill>
              <a:ln w="7" cap="flat">
                <a:noFill/>
                <a:prstDash val="solid"/>
                <a:miter lim="800000"/>
                <a:headEnd/>
                <a:tailEnd/>
              </a:ln>
              <a:extLst>
                <a:ext uri="{909E8E84-426E-40dd-AFC4-6F175D3DCCD1}">
                  <a14:hiddenFill xmlns:a14="http://schemas.microsoft.com/office/drawing/2010/main" xmlns:p14="http://schemas.microsoft.com/office/powerpoint/2010/main" xmlns:a16="http://schemas.microsoft.com/office/drawing/2014/main" xmlns="">
                    <a:solidFill>
                      <a:srgbClr val="FFFFFF"/>
                    </a:solidFill>
                  </a14:hiddenFill>
                </a:ext>
              </a:extLst>
            </p:spPr>
            <p:txBody>
              <a:bodyPr vert="horz" wrap="square" lIns="78203" tIns="39101" rIns="78203" bIns="39101" numCol="1" anchor="t" anchorCtr="0" compatLnSpc="1">
                <a:prstTxWarp prst="textNoShape">
                  <a:avLst/>
                </a:prstTxWarp>
              </a:bodyPr>
              <a:lstStyle/>
              <a:p>
                <a:endParaRPr lang="en-US" sz="1539" dirty="0">
                  <a:latin typeface="+mj-lt"/>
                </a:endParaRPr>
              </a:p>
            </p:txBody>
          </p:sp>
        </p:grpSp>
        <p:grpSp>
          <p:nvGrpSpPr>
            <p:cNvPr id="31" name="Group 30">
              <a:extLst>
                <a:ext uri="{FF2B5EF4-FFF2-40B4-BE49-F238E27FC236}">
                  <a16:creationId xmlns:a16="http://schemas.microsoft.com/office/drawing/2014/main" id="{DB784BA3-5E1E-2C43-948E-62101A6516F3}"/>
                </a:ext>
              </a:extLst>
            </p:cNvPr>
            <p:cNvGrpSpPr/>
            <p:nvPr/>
          </p:nvGrpSpPr>
          <p:grpSpPr>
            <a:xfrm>
              <a:off x="2903530" y="2224127"/>
              <a:ext cx="4339940" cy="4118616"/>
              <a:chOff x="3060700" y="7893050"/>
              <a:chExt cx="4856163" cy="4608513"/>
            </a:xfrm>
          </p:grpSpPr>
          <p:sp>
            <p:nvSpPr>
              <p:cNvPr id="32" name="Freeform 5">
                <a:extLst>
                  <a:ext uri="{FF2B5EF4-FFF2-40B4-BE49-F238E27FC236}">
                    <a16:creationId xmlns:a16="http://schemas.microsoft.com/office/drawing/2014/main" id="{8682DCBB-620D-9040-86C2-AE78FC7A306C}"/>
                  </a:ext>
                </a:extLst>
              </p:cNvPr>
              <p:cNvSpPr>
                <a:spLocks/>
              </p:cNvSpPr>
              <p:nvPr/>
            </p:nvSpPr>
            <p:spPr bwMode="auto">
              <a:xfrm>
                <a:off x="5487988" y="7893050"/>
                <a:ext cx="2128837" cy="2233613"/>
              </a:xfrm>
              <a:custGeom>
                <a:avLst/>
                <a:gdLst>
                  <a:gd name="T0" fmla="*/ 0 w 11164"/>
                  <a:gd name="T1" fmla="*/ 11739 h 11739"/>
                  <a:gd name="T2" fmla="*/ 11164 w 11164"/>
                  <a:gd name="T3" fmla="*/ 8112 h 11739"/>
                  <a:gd name="T4" fmla="*/ 0 w 11164"/>
                  <a:gd name="T5" fmla="*/ 0 h 11739"/>
                  <a:gd name="T6" fmla="*/ 0 w 11164"/>
                  <a:gd name="T7" fmla="*/ 11739 h 11739"/>
                </a:gdLst>
                <a:ahLst/>
                <a:cxnLst>
                  <a:cxn ang="0">
                    <a:pos x="T0" y="T1"/>
                  </a:cxn>
                  <a:cxn ang="0">
                    <a:pos x="T2" y="T3"/>
                  </a:cxn>
                  <a:cxn ang="0">
                    <a:pos x="T4" y="T5"/>
                  </a:cxn>
                  <a:cxn ang="0">
                    <a:pos x="T6" y="T7"/>
                  </a:cxn>
                </a:cxnLst>
                <a:rect l="0" t="0" r="r" b="b"/>
                <a:pathLst>
                  <a:path w="11164" h="11739">
                    <a:moveTo>
                      <a:pt x="0" y="11739"/>
                    </a:moveTo>
                    <a:lnTo>
                      <a:pt x="11164" y="8112"/>
                    </a:lnTo>
                    <a:cubicBezTo>
                      <a:pt x="9593" y="3275"/>
                      <a:pt x="5086" y="0"/>
                      <a:pt x="0" y="0"/>
                    </a:cubicBezTo>
                    <a:lnTo>
                      <a:pt x="0" y="11739"/>
                    </a:lnTo>
                    <a:close/>
                  </a:path>
                </a:pathLst>
              </a:custGeom>
              <a:solidFill>
                <a:schemeClr val="accent1">
                  <a:lumMod val="75000"/>
                </a:schemeClr>
              </a:solidFill>
              <a:ln w="0">
                <a:solidFill>
                  <a:schemeClr val="tx1"/>
                </a:solid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3" name="Freeform 7">
                <a:extLst>
                  <a:ext uri="{FF2B5EF4-FFF2-40B4-BE49-F238E27FC236}">
                    <a16:creationId xmlns:a16="http://schemas.microsoft.com/office/drawing/2014/main" id="{232DFAE7-8958-A042-835C-F67C75F20EC1}"/>
                  </a:ext>
                </a:extLst>
              </p:cNvPr>
              <p:cNvSpPr>
                <a:spLocks/>
              </p:cNvSpPr>
              <p:nvPr/>
            </p:nvSpPr>
            <p:spPr bwMode="auto">
              <a:xfrm>
                <a:off x="5487988" y="9436100"/>
                <a:ext cx="2428875" cy="2497138"/>
              </a:xfrm>
              <a:custGeom>
                <a:avLst/>
                <a:gdLst>
                  <a:gd name="T0" fmla="*/ 0 w 12736"/>
                  <a:gd name="T1" fmla="*/ 3627 h 13124"/>
                  <a:gd name="T2" fmla="*/ 6900 w 12736"/>
                  <a:gd name="T3" fmla="*/ 13124 h 13124"/>
                  <a:gd name="T4" fmla="*/ 11164 w 12736"/>
                  <a:gd name="T5" fmla="*/ 0 h 13124"/>
                  <a:gd name="T6" fmla="*/ 0 w 12736"/>
                  <a:gd name="T7" fmla="*/ 3627 h 13124"/>
                </a:gdLst>
                <a:ahLst/>
                <a:cxnLst>
                  <a:cxn ang="0">
                    <a:pos x="T0" y="T1"/>
                  </a:cxn>
                  <a:cxn ang="0">
                    <a:pos x="T2" y="T3"/>
                  </a:cxn>
                  <a:cxn ang="0">
                    <a:pos x="T4" y="T5"/>
                  </a:cxn>
                  <a:cxn ang="0">
                    <a:pos x="T6" y="T7"/>
                  </a:cxn>
                </a:cxnLst>
                <a:rect l="0" t="0" r="r" b="b"/>
                <a:pathLst>
                  <a:path w="12736" h="13124">
                    <a:moveTo>
                      <a:pt x="0" y="3627"/>
                    </a:moveTo>
                    <a:lnTo>
                      <a:pt x="6900" y="13124"/>
                    </a:lnTo>
                    <a:cubicBezTo>
                      <a:pt x="11014" y="10135"/>
                      <a:pt x="12736" y="4836"/>
                      <a:pt x="11164" y="0"/>
                    </a:cubicBezTo>
                    <a:lnTo>
                      <a:pt x="0" y="3627"/>
                    </a:lnTo>
                    <a:close/>
                  </a:path>
                </a:pathLst>
              </a:custGeom>
              <a:solidFill>
                <a:schemeClr val="accent3">
                  <a:lumMod val="75000"/>
                </a:schemeClr>
              </a:solidFill>
              <a:ln w="0">
                <a:solidFill>
                  <a:schemeClr val="tx1"/>
                </a:solid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4" name="Freeform 9">
                <a:extLst>
                  <a:ext uri="{FF2B5EF4-FFF2-40B4-BE49-F238E27FC236}">
                    <a16:creationId xmlns:a16="http://schemas.microsoft.com/office/drawing/2014/main" id="{9DCCEA67-AC08-3545-9973-3E58DF086872}"/>
                  </a:ext>
                </a:extLst>
              </p:cNvPr>
              <p:cNvSpPr>
                <a:spLocks/>
              </p:cNvSpPr>
              <p:nvPr/>
            </p:nvSpPr>
            <p:spPr bwMode="auto">
              <a:xfrm>
                <a:off x="4173538" y="10126663"/>
                <a:ext cx="2630487" cy="2374900"/>
              </a:xfrm>
              <a:custGeom>
                <a:avLst/>
                <a:gdLst>
                  <a:gd name="T0" fmla="*/ 6900 w 13800"/>
                  <a:gd name="T1" fmla="*/ 0 h 12486"/>
                  <a:gd name="T2" fmla="*/ 0 w 13800"/>
                  <a:gd name="T3" fmla="*/ 9497 h 12486"/>
                  <a:gd name="T4" fmla="*/ 13800 w 13800"/>
                  <a:gd name="T5" fmla="*/ 9497 h 12486"/>
                  <a:gd name="T6" fmla="*/ 6900 w 13800"/>
                  <a:gd name="T7" fmla="*/ 0 h 12486"/>
                </a:gdLst>
                <a:ahLst/>
                <a:cxnLst>
                  <a:cxn ang="0">
                    <a:pos x="T0" y="T1"/>
                  </a:cxn>
                  <a:cxn ang="0">
                    <a:pos x="T2" y="T3"/>
                  </a:cxn>
                  <a:cxn ang="0">
                    <a:pos x="T4" y="T5"/>
                  </a:cxn>
                  <a:cxn ang="0">
                    <a:pos x="T6" y="T7"/>
                  </a:cxn>
                </a:cxnLst>
                <a:rect l="0" t="0" r="r" b="b"/>
                <a:pathLst>
                  <a:path w="13800" h="12486">
                    <a:moveTo>
                      <a:pt x="6900" y="0"/>
                    </a:moveTo>
                    <a:lnTo>
                      <a:pt x="0" y="9497"/>
                    </a:lnTo>
                    <a:cubicBezTo>
                      <a:pt x="4114" y="12486"/>
                      <a:pt x="9686" y="12486"/>
                      <a:pt x="13800" y="9497"/>
                    </a:cubicBezTo>
                    <a:lnTo>
                      <a:pt x="6900" y="0"/>
                    </a:lnTo>
                    <a:close/>
                  </a:path>
                </a:pathLst>
              </a:custGeom>
              <a:solidFill>
                <a:schemeClr val="accent2">
                  <a:lumMod val="75000"/>
                </a:schemeClr>
              </a:solidFill>
              <a:ln w="0">
                <a:solidFill>
                  <a:schemeClr val="tx1"/>
                </a:solid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5" name="Freeform 11">
                <a:extLst>
                  <a:ext uri="{FF2B5EF4-FFF2-40B4-BE49-F238E27FC236}">
                    <a16:creationId xmlns:a16="http://schemas.microsoft.com/office/drawing/2014/main" id="{3681911D-CC81-B447-80EA-0087F7265FCB}"/>
                  </a:ext>
                </a:extLst>
              </p:cNvPr>
              <p:cNvSpPr>
                <a:spLocks/>
              </p:cNvSpPr>
              <p:nvPr/>
            </p:nvSpPr>
            <p:spPr bwMode="auto">
              <a:xfrm>
                <a:off x="3060700" y="9436100"/>
                <a:ext cx="2427287" cy="2497138"/>
              </a:xfrm>
              <a:custGeom>
                <a:avLst/>
                <a:gdLst>
                  <a:gd name="T0" fmla="*/ 12736 w 12736"/>
                  <a:gd name="T1" fmla="*/ 3627 h 13124"/>
                  <a:gd name="T2" fmla="*/ 1572 w 12736"/>
                  <a:gd name="T3" fmla="*/ 0 h 13124"/>
                  <a:gd name="T4" fmla="*/ 5836 w 12736"/>
                  <a:gd name="T5" fmla="*/ 13124 h 13124"/>
                  <a:gd name="T6" fmla="*/ 12736 w 12736"/>
                  <a:gd name="T7" fmla="*/ 3627 h 13124"/>
                </a:gdLst>
                <a:ahLst/>
                <a:cxnLst>
                  <a:cxn ang="0">
                    <a:pos x="T0" y="T1"/>
                  </a:cxn>
                  <a:cxn ang="0">
                    <a:pos x="T2" y="T3"/>
                  </a:cxn>
                  <a:cxn ang="0">
                    <a:pos x="T4" y="T5"/>
                  </a:cxn>
                  <a:cxn ang="0">
                    <a:pos x="T6" y="T7"/>
                  </a:cxn>
                </a:cxnLst>
                <a:rect l="0" t="0" r="r" b="b"/>
                <a:pathLst>
                  <a:path w="12736" h="13124">
                    <a:moveTo>
                      <a:pt x="12736" y="3627"/>
                    </a:moveTo>
                    <a:lnTo>
                      <a:pt x="1572" y="0"/>
                    </a:lnTo>
                    <a:cubicBezTo>
                      <a:pt x="0" y="4836"/>
                      <a:pt x="1722" y="10135"/>
                      <a:pt x="5836" y="13124"/>
                    </a:cubicBezTo>
                    <a:lnTo>
                      <a:pt x="12736" y="3627"/>
                    </a:lnTo>
                    <a:close/>
                  </a:path>
                </a:pathLst>
              </a:custGeom>
              <a:solidFill>
                <a:schemeClr val="accent3">
                  <a:lumMod val="50000"/>
                </a:schemeClr>
              </a:solidFill>
              <a:ln w="0">
                <a:solidFill>
                  <a:schemeClr val="tx1"/>
                </a:solid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6" name="Freeform 13">
                <a:extLst>
                  <a:ext uri="{FF2B5EF4-FFF2-40B4-BE49-F238E27FC236}">
                    <a16:creationId xmlns:a16="http://schemas.microsoft.com/office/drawing/2014/main" id="{1093549E-34FC-B84A-BB8A-69B7B411D29B}"/>
                  </a:ext>
                </a:extLst>
              </p:cNvPr>
              <p:cNvSpPr>
                <a:spLocks/>
              </p:cNvSpPr>
              <p:nvPr/>
            </p:nvSpPr>
            <p:spPr bwMode="auto">
              <a:xfrm>
                <a:off x="3360738" y="7893050"/>
                <a:ext cx="2127250" cy="2233613"/>
              </a:xfrm>
              <a:custGeom>
                <a:avLst/>
                <a:gdLst>
                  <a:gd name="T0" fmla="*/ 11164 w 11164"/>
                  <a:gd name="T1" fmla="*/ 11739 h 11739"/>
                  <a:gd name="T2" fmla="*/ 11164 w 11164"/>
                  <a:gd name="T3" fmla="*/ 0 h 11739"/>
                  <a:gd name="T4" fmla="*/ 0 w 11164"/>
                  <a:gd name="T5" fmla="*/ 8112 h 11739"/>
                  <a:gd name="T6" fmla="*/ 11164 w 11164"/>
                  <a:gd name="T7" fmla="*/ 11739 h 11739"/>
                </a:gdLst>
                <a:ahLst/>
                <a:cxnLst>
                  <a:cxn ang="0">
                    <a:pos x="T0" y="T1"/>
                  </a:cxn>
                  <a:cxn ang="0">
                    <a:pos x="T2" y="T3"/>
                  </a:cxn>
                  <a:cxn ang="0">
                    <a:pos x="T4" y="T5"/>
                  </a:cxn>
                  <a:cxn ang="0">
                    <a:pos x="T6" y="T7"/>
                  </a:cxn>
                </a:cxnLst>
                <a:rect l="0" t="0" r="r" b="b"/>
                <a:pathLst>
                  <a:path w="11164" h="11739">
                    <a:moveTo>
                      <a:pt x="11164" y="11739"/>
                    </a:moveTo>
                    <a:lnTo>
                      <a:pt x="11164" y="0"/>
                    </a:lnTo>
                    <a:cubicBezTo>
                      <a:pt x="6078" y="0"/>
                      <a:pt x="1571" y="3275"/>
                      <a:pt x="0" y="8112"/>
                    </a:cubicBezTo>
                    <a:lnTo>
                      <a:pt x="11164" y="11739"/>
                    </a:lnTo>
                    <a:close/>
                  </a:path>
                </a:pathLst>
              </a:custGeom>
              <a:solidFill>
                <a:schemeClr val="accent4">
                  <a:lumMod val="75000"/>
                </a:schemeClr>
              </a:solidFill>
              <a:ln w="0">
                <a:solidFill>
                  <a:schemeClr val="tx1"/>
                </a:solid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grpSp>
      </p:grpSp>
      <p:sp>
        <p:nvSpPr>
          <p:cNvPr id="47" name="TextBox 46">
            <a:extLst>
              <a:ext uri="{FF2B5EF4-FFF2-40B4-BE49-F238E27FC236}">
                <a16:creationId xmlns:a16="http://schemas.microsoft.com/office/drawing/2014/main" id="{8EDB4FA6-6006-8447-B7EF-315143083677}"/>
              </a:ext>
            </a:extLst>
          </p:cNvPr>
          <p:cNvSpPr txBox="1"/>
          <p:nvPr/>
        </p:nvSpPr>
        <p:spPr>
          <a:xfrm>
            <a:off x="7600484" y="1068902"/>
            <a:ext cx="2864349" cy="1205159"/>
          </a:xfrm>
          <a:prstGeom prst="rect">
            <a:avLst/>
          </a:prstGeom>
          <a:noFill/>
        </p:spPr>
        <p:txBody>
          <a:bodyPr wrap="square" lIns="78203" tIns="156405" rIns="78203" bIns="78203" rtlCol="0">
            <a:noAutofit/>
          </a:bodyPr>
          <a:lstStyle>
            <a:defPPr>
              <a:defRPr lang="en-US"/>
            </a:defPPr>
            <a:lvl1pPr>
              <a:buSzPct val="100000"/>
              <a:defRPr sz="1200">
                <a:solidFill>
                  <a:srgbClr val="313131"/>
                </a:solidFill>
              </a:defRPr>
            </a:lvl1pPr>
          </a:lstStyle>
          <a:p>
            <a:r>
              <a:rPr lang="en-GB" sz="770" dirty="0">
                <a:solidFill>
                  <a:schemeClr val="tx1"/>
                </a:solidFill>
                <a:latin typeface="+mj-lt"/>
              </a:rPr>
              <a:t>Lorem ipsum </a:t>
            </a:r>
            <a:r>
              <a:rPr lang="en-GB" sz="770" dirty="0" err="1">
                <a:solidFill>
                  <a:schemeClr val="tx1"/>
                </a:solidFill>
                <a:latin typeface="+mj-lt"/>
              </a:rPr>
              <a:t>dolor</a:t>
            </a:r>
            <a:r>
              <a:rPr lang="en-GB" sz="770" dirty="0">
                <a:solidFill>
                  <a:schemeClr val="tx1"/>
                </a:solidFill>
                <a:latin typeface="+mj-lt"/>
              </a:rPr>
              <a:t> sit </a:t>
            </a:r>
            <a:r>
              <a:rPr lang="en-GB" sz="770" dirty="0" err="1">
                <a:solidFill>
                  <a:schemeClr val="tx1"/>
                </a:solidFill>
                <a:latin typeface="+mj-lt"/>
              </a:rPr>
              <a:t>amet</a:t>
            </a:r>
            <a:r>
              <a:rPr lang="en-GB" sz="770" dirty="0">
                <a:solidFill>
                  <a:schemeClr val="tx1"/>
                </a:solidFill>
                <a:latin typeface="+mj-lt"/>
              </a:rPr>
              <a:t>, </a:t>
            </a:r>
            <a:r>
              <a:rPr lang="en-GB" sz="770" dirty="0" err="1">
                <a:solidFill>
                  <a:schemeClr val="tx1"/>
                </a:solidFill>
                <a:latin typeface="+mj-lt"/>
              </a:rPr>
              <a:t>consectetur</a:t>
            </a:r>
            <a:r>
              <a:rPr lang="en-GB" sz="770" dirty="0">
                <a:solidFill>
                  <a:schemeClr val="tx1"/>
                </a:solidFill>
                <a:latin typeface="+mj-lt"/>
              </a:rPr>
              <a:t> </a:t>
            </a:r>
            <a:r>
              <a:rPr lang="en-GB" sz="770" dirty="0" err="1">
                <a:solidFill>
                  <a:schemeClr val="tx1"/>
                </a:solidFill>
                <a:latin typeface="+mj-lt"/>
              </a:rPr>
              <a:t>adipiscing</a:t>
            </a:r>
            <a:r>
              <a:rPr lang="en-GB" sz="770" dirty="0">
                <a:solidFill>
                  <a:schemeClr val="tx1"/>
                </a:solidFill>
                <a:latin typeface="+mj-lt"/>
              </a:rPr>
              <a:t> </a:t>
            </a:r>
            <a:r>
              <a:rPr lang="en-GB" sz="770" dirty="0" err="1">
                <a:solidFill>
                  <a:schemeClr val="tx1"/>
                </a:solidFill>
                <a:latin typeface="+mj-lt"/>
              </a:rPr>
              <a:t>elit</a:t>
            </a:r>
            <a:r>
              <a:rPr lang="en-GB" sz="770" dirty="0">
                <a:solidFill>
                  <a:schemeClr val="tx1"/>
                </a:solidFill>
                <a:latin typeface="+mj-lt"/>
              </a:rPr>
              <a:t>, </a:t>
            </a:r>
            <a:r>
              <a:rPr lang="en-GB" sz="770" dirty="0" err="1">
                <a:solidFill>
                  <a:schemeClr val="tx1"/>
                </a:solidFill>
                <a:latin typeface="+mj-lt"/>
              </a:rPr>
              <a:t>sed</a:t>
            </a:r>
            <a:r>
              <a:rPr lang="en-GB" sz="770" dirty="0">
                <a:solidFill>
                  <a:schemeClr val="tx1"/>
                </a:solidFill>
                <a:latin typeface="+mj-lt"/>
              </a:rPr>
              <a:t> do </a:t>
            </a:r>
            <a:r>
              <a:rPr lang="en-GB" sz="770" dirty="0" err="1">
                <a:solidFill>
                  <a:schemeClr val="tx1"/>
                </a:solidFill>
                <a:latin typeface="+mj-lt"/>
              </a:rPr>
              <a:t>eiusmod</a:t>
            </a:r>
            <a:r>
              <a:rPr lang="en-GB" sz="770" dirty="0">
                <a:solidFill>
                  <a:schemeClr val="tx1"/>
                </a:solidFill>
                <a:latin typeface="+mj-lt"/>
              </a:rPr>
              <a:t> </a:t>
            </a:r>
            <a:r>
              <a:rPr lang="en-GB" sz="770" dirty="0" err="1">
                <a:solidFill>
                  <a:schemeClr val="tx1"/>
                </a:solidFill>
                <a:latin typeface="+mj-lt"/>
              </a:rPr>
              <a:t>tempor</a:t>
            </a:r>
            <a:r>
              <a:rPr lang="en-GB" sz="770" dirty="0">
                <a:solidFill>
                  <a:schemeClr val="tx1"/>
                </a:solidFill>
                <a:latin typeface="+mj-lt"/>
              </a:rPr>
              <a:t> </a:t>
            </a:r>
            <a:r>
              <a:rPr lang="en-GB" sz="770" dirty="0" err="1">
                <a:solidFill>
                  <a:schemeClr val="tx1"/>
                </a:solidFill>
                <a:latin typeface="+mj-lt"/>
              </a:rPr>
              <a:t>incididunt</a:t>
            </a:r>
            <a:r>
              <a:rPr lang="en-GB" sz="770" dirty="0">
                <a:solidFill>
                  <a:schemeClr val="tx1"/>
                </a:solidFill>
                <a:latin typeface="+mj-lt"/>
              </a:rPr>
              <a:t> </a:t>
            </a:r>
            <a:r>
              <a:rPr lang="en-GB" sz="770" dirty="0" err="1">
                <a:solidFill>
                  <a:schemeClr val="tx1"/>
                </a:solidFill>
                <a:latin typeface="+mj-lt"/>
              </a:rPr>
              <a:t>ut</a:t>
            </a:r>
            <a:r>
              <a:rPr lang="en-GB" sz="770" dirty="0">
                <a:solidFill>
                  <a:schemeClr val="tx1"/>
                </a:solidFill>
                <a:latin typeface="+mj-lt"/>
              </a:rPr>
              <a:t> </a:t>
            </a:r>
            <a:r>
              <a:rPr lang="en-GB" sz="770" dirty="0" err="1">
                <a:solidFill>
                  <a:schemeClr val="tx1"/>
                </a:solidFill>
                <a:latin typeface="+mj-lt"/>
              </a:rPr>
              <a:t>labore</a:t>
            </a:r>
            <a:r>
              <a:rPr lang="en-GB" sz="770" dirty="0">
                <a:solidFill>
                  <a:schemeClr val="tx1"/>
                </a:solidFill>
                <a:latin typeface="+mj-lt"/>
              </a:rPr>
              <a:t> et </a:t>
            </a:r>
            <a:r>
              <a:rPr lang="en-GB" sz="770" dirty="0" err="1">
                <a:solidFill>
                  <a:schemeClr val="tx1"/>
                </a:solidFill>
                <a:latin typeface="+mj-lt"/>
              </a:rPr>
              <a:t>dolore</a:t>
            </a:r>
            <a:r>
              <a:rPr lang="en-GB" sz="770" dirty="0">
                <a:solidFill>
                  <a:schemeClr val="tx1"/>
                </a:solidFill>
                <a:latin typeface="+mj-lt"/>
              </a:rPr>
              <a:t> magna </a:t>
            </a:r>
            <a:r>
              <a:rPr lang="en-GB" sz="770" dirty="0" err="1">
                <a:solidFill>
                  <a:schemeClr val="tx1"/>
                </a:solidFill>
                <a:latin typeface="+mj-lt"/>
              </a:rPr>
              <a:t>aliqua</a:t>
            </a:r>
            <a:r>
              <a:rPr lang="en-GB" sz="770" dirty="0">
                <a:solidFill>
                  <a:schemeClr val="tx1"/>
                </a:solidFill>
                <a:latin typeface="+mj-lt"/>
              </a:rPr>
              <a:t>. </a:t>
            </a:r>
            <a:r>
              <a:rPr lang="en-GB" sz="770" dirty="0" err="1">
                <a:solidFill>
                  <a:schemeClr val="tx1"/>
                </a:solidFill>
                <a:latin typeface="+mj-lt"/>
              </a:rPr>
              <a:t>Ut</a:t>
            </a:r>
            <a:r>
              <a:rPr lang="en-GB" sz="770" dirty="0">
                <a:solidFill>
                  <a:schemeClr val="tx1"/>
                </a:solidFill>
                <a:latin typeface="+mj-lt"/>
              </a:rPr>
              <a:t> </a:t>
            </a:r>
            <a:r>
              <a:rPr lang="en-GB" sz="770" dirty="0" err="1">
                <a:solidFill>
                  <a:schemeClr val="tx1"/>
                </a:solidFill>
                <a:latin typeface="+mj-lt"/>
              </a:rPr>
              <a:t>enim</a:t>
            </a:r>
            <a:r>
              <a:rPr lang="en-GB" sz="770" dirty="0">
                <a:solidFill>
                  <a:schemeClr val="tx1"/>
                </a:solidFill>
                <a:latin typeface="+mj-lt"/>
              </a:rPr>
              <a:t> ad minim </a:t>
            </a:r>
            <a:r>
              <a:rPr lang="en-GB" sz="770" dirty="0" err="1">
                <a:solidFill>
                  <a:schemeClr val="tx1"/>
                </a:solidFill>
                <a:latin typeface="+mj-lt"/>
              </a:rPr>
              <a:t>veniam</a:t>
            </a:r>
            <a:r>
              <a:rPr lang="en-GB" sz="770" dirty="0">
                <a:solidFill>
                  <a:schemeClr val="tx1"/>
                </a:solidFill>
                <a:latin typeface="+mj-lt"/>
              </a:rPr>
              <a:t>, </a:t>
            </a:r>
            <a:r>
              <a:rPr lang="en-GB" sz="770" dirty="0" err="1">
                <a:solidFill>
                  <a:schemeClr val="tx1"/>
                </a:solidFill>
                <a:latin typeface="+mj-lt"/>
              </a:rPr>
              <a:t>quis</a:t>
            </a:r>
            <a:r>
              <a:rPr lang="en-GB" sz="770" dirty="0">
                <a:solidFill>
                  <a:schemeClr val="tx1"/>
                </a:solidFill>
                <a:latin typeface="+mj-lt"/>
              </a:rPr>
              <a:t> </a:t>
            </a:r>
            <a:r>
              <a:rPr lang="en-GB" sz="770" dirty="0" err="1">
                <a:solidFill>
                  <a:schemeClr val="tx1"/>
                </a:solidFill>
                <a:latin typeface="+mj-lt"/>
              </a:rPr>
              <a:t>nostrud</a:t>
            </a:r>
            <a:r>
              <a:rPr lang="en-GB" sz="770" dirty="0">
                <a:solidFill>
                  <a:schemeClr val="tx1"/>
                </a:solidFill>
                <a:latin typeface="+mj-lt"/>
              </a:rPr>
              <a:t> exercitation </a:t>
            </a:r>
            <a:r>
              <a:rPr lang="en-GB" sz="770" dirty="0" err="1">
                <a:solidFill>
                  <a:schemeClr val="tx1"/>
                </a:solidFill>
                <a:latin typeface="+mj-lt"/>
              </a:rPr>
              <a:t>ullamco</a:t>
            </a:r>
            <a:r>
              <a:rPr lang="en-GB" sz="770" dirty="0">
                <a:solidFill>
                  <a:schemeClr val="tx1"/>
                </a:solidFill>
                <a:latin typeface="+mj-lt"/>
              </a:rPr>
              <a:t> </a:t>
            </a:r>
            <a:r>
              <a:rPr lang="en-GB" sz="770" dirty="0" err="1">
                <a:solidFill>
                  <a:schemeClr val="tx1"/>
                </a:solidFill>
                <a:latin typeface="+mj-lt"/>
              </a:rPr>
              <a:t>laboris</a:t>
            </a:r>
            <a:r>
              <a:rPr lang="en-GB" sz="770" dirty="0">
                <a:solidFill>
                  <a:schemeClr val="tx1"/>
                </a:solidFill>
                <a:latin typeface="+mj-lt"/>
              </a:rPr>
              <a:t> nisi </a:t>
            </a:r>
            <a:r>
              <a:rPr lang="en-GB" sz="770" dirty="0" err="1">
                <a:solidFill>
                  <a:schemeClr val="tx1"/>
                </a:solidFill>
                <a:latin typeface="+mj-lt"/>
              </a:rPr>
              <a:t>ut</a:t>
            </a:r>
            <a:r>
              <a:rPr lang="en-GB" sz="770" dirty="0">
                <a:solidFill>
                  <a:schemeClr val="tx1"/>
                </a:solidFill>
                <a:latin typeface="+mj-lt"/>
              </a:rPr>
              <a:t> </a:t>
            </a:r>
            <a:r>
              <a:rPr lang="en-GB" sz="770" dirty="0" err="1">
                <a:solidFill>
                  <a:schemeClr val="tx1"/>
                </a:solidFill>
                <a:latin typeface="+mj-lt"/>
              </a:rPr>
              <a:t>aliquip</a:t>
            </a:r>
            <a:r>
              <a:rPr lang="en-GB" sz="770" dirty="0">
                <a:solidFill>
                  <a:schemeClr val="tx1"/>
                </a:solidFill>
                <a:latin typeface="+mj-lt"/>
              </a:rPr>
              <a:t> ex </a:t>
            </a:r>
            <a:r>
              <a:rPr lang="en-GB" sz="770" dirty="0" err="1">
                <a:solidFill>
                  <a:schemeClr val="tx1"/>
                </a:solidFill>
                <a:latin typeface="+mj-lt"/>
              </a:rPr>
              <a:t>ea</a:t>
            </a:r>
            <a:r>
              <a:rPr lang="en-GB" sz="770" dirty="0">
                <a:solidFill>
                  <a:schemeClr val="tx1"/>
                </a:solidFill>
                <a:latin typeface="+mj-lt"/>
              </a:rPr>
              <a:t> </a:t>
            </a:r>
            <a:r>
              <a:rPr lang="en-GB" sz="770" dirty="0" err="1">
                <a:solidFill>
                  <a:schemeClr val="tx1"/>
                </a:solidFill>
                <a:latin typeface="+mj-lt"/>
              </a:rPr>
              <a:t>commodo</a:t>
            </a:r>
            <a:r>
              <a:rPr lang="en-GB" sz="770" dirty="0">
                <a:solidFill>
                  <a:schemeClr val="tx1"/>
                </a:solidFill>
                <a:latin typeface="+mj-lt"/>
              </a:rPr>
              <a:t> </a:t>
            </a:r>
            <a:r>
              <a:rPr lang="en-GB" sz="770" dirty="0" err="1">
                <a:solidFill>
                  <a:schemeClr val="tx1"/>
                </a:solidFill>
                <a:latin typeface="+mj-lt"/>
              </a:rPr>
              <a:t>consequat</a:t>
            </a:r>
            <a:r>
              <a:rPr lang="en-GB" sz="770" dirty="0">
                <a:solidFill>
                  <a:schemeClr val="tx1"/>
                </a:solidFill>
                <a:latin typeface="+mj-lt"/>
              </a:rPr>
              <a:t>. </a:t>
            </a:r>
            <a:r>
              <a:rPr lang="en-GB" sz="770" dirty="0" err="1">
                <a:solidFill>
                  <a:schemeClr val="tx1"/>
                </a:solidFill>
                <a:latin typeface="+mj-lt"/>
              </a:rPr>
              <a:t>Duis</a:t>
            </a:r>
            <a:r>
              <a:rPr lang="en-GB" sz="770" dirty="0">
                <a:solidFill>
                  <a:schemeClr val="tx1"/>
                </a:solidFill>
                <a:latin typeface="+mj-lt"/>
              </a:rPr>
              <a:t> </a:t>
            </a:r>
            <a:r>
              <a:rPr lang="en-GB" sz="770" dirty="0" err="1">
                <a:solidFill>
                  <a:schemeClr val="tx1"/>
                </a:solidFill>
                <a:latin typeface="+mj-lt"/>
              </a:rPr>
              <a:t>aute</a:t>
            </a:r>
            <a:r>
              <a:rPr lang="en-GB" sz="770" dirty="0">
                <a:solidFill>
                  <a:schemeClr val="tx1"/>
                </a:solidFill>
                <a:latin typeface="+mj-lt"/>
              </a:rPr>
              <a:t> </a:t>
            </a:r>
            <a:r>
              <a:rPr lang="en-GB" sz="770" dirty="0" err="1">
                <a:solidFill>
                  <a:schemeClr val="tx1"/>
                </a:solidFill>
                <a:latin typeface="+mj-lt"/>
              </a:rPr>
              <a:t>irure</a:t>
            </a:r>
            <a:r>
              <a:rPr lang="en-GB" sz="770" dirty="0">
                <a:solidFill>
                  <a:schemeClr val="tx1"/>
                </a:solidFill>
                <a:latin typeface="+mj-lt"/>
              </a:rPr>
              <a:t> </a:t>
            </a:r>
            <a:r>
              <a:rPr lang="en-GB" sz="770" dirty="0" err="1">
                <a:solidFill>
                  <a:schemeClr val="tx1"/>
                </a:solidFill>
                <a:latin typeface="+mj-lt"/>
              </a:rPr>
              <a:t>dolor</a:t>
            </a:r>
            <a:r>
              <a:rPr lang="en-GB" sz="770" dirty="0">
                <a:solidFill>
                  <a:schemeClr val="tx1"/>
                </a:solidFill>
                <a:latin typeface="+mj-lt"/>
              </a:rPr>
              <a:t> in </a:t>
            </a:r>
            <a:r>
              <a:rPr lang="en-GB" sz="770" dirty="0" err="1">
                <a:solidFill>
                  <a:schemeClr val="tx1"/>
                </a:solidFill>
                <a:latin typeface="+mj-lt"/>
              </a:rPr>
              <a:t>reprehenderit</a:t>
            </a:r>
            <a:r>
              <a:rPr lang="en-GB" sz="770" dirty="0">
                <a:solidFill>
                  <a:schemeClr val="tx1"/>
                </a:solidFill>
                <a:latin typeface="+mj-lt"/>
              </a:rPr>
              <a:t> in </a:t>
            </a:r>
            <a:r>
              <a:rPr lang="en-GB" sz="770" dirty="0" err="1">
                <a:solidFill>
                  <a:schemeClr val="tx1"/>
                </a:solidFill>
                <a:latin typeface="+mj-lt"/>
              </a:rPr>
              <a:t>voluptate</a:t>
            </a:r>
            <a:r>
              <a:rPr lang="en-GB" sz="770" dirty="0">
                <a:solidFill>
                  <a:schemeClr val="tx1"/>
                </a:solidFill>
                <a:latin typeface="+mj-lt"/>
              </a:rPr>
              <a:t> </a:t>
            </a:r>
            <a:r>
              <a:rPr lang="en-GB" sz="770" dirty="0" err="1">
                <a:solidFill>
                  <a:schemeClr val="tx1"/>
                </a:solidFill>
                <a:latin typeface="+mj-lt"/>
              </a:rPr>
              <a:t>velit</a:t>
            </a:r>
            <a:r>
              <a:rPr lang="en-GB" sz="770" dirty="0">
                <a:solidFill>
                  <a:schemeClr val="tx1"/>
                </a:solidFill>
                <a:latin typeface="+mj-lt"/>
              </a:rPr>
              <a:t> </a:t>
            </a:r>
            <a:r>
              <a:rPr lang="en-GB" sz="770" dirty="0" err="1">
                <a:solidFill>
                  <a:schemeClr val="tx1"/>
                </a:solidFill>
                <a:latin typeface="+mj-lt"/>
              </a:rPr>
              <a:t>esse</a:t>
            </a:r>
            <a:r>
              <a:rPr lang="en-GB" sz="770" dirty="0">
                <a:solidFill>
                  <a:schemeClr val="tx1"/>
                </a:solidFill>
                <a:latin typeface="+mj-lt"/>
              </a:rPr>
              <a:t> </a:t>
            </a:r>
            <a:r>
              <a:rPr lang="en-GB" sz="770" dirty="0" err="1">
                <a:solidFill>
                  <a:schemeClr val="tx1"/>
                </a:solidFill>
                <a:latin typeface="+mj-lt"/>
              </a:rPr>
              <a:t>cillum</a:t>
            </a:r>
            <a:r>
              <a:rPr lang="en-GB" sz="770" dirty="0">
                <a:solidFill>
                  <a:schemeClr val="tx1"/>
                </a:solidFill>
                <a:latin typeface="+mj-lt"/>
              </a:rPr>
              <a:t> </a:t>
            </a:r>
            <a:r>
              <a:rPr lang="en-GB" sz="770" dirty="0" err="1">
                <a:solidFill>
                  <a:schemeClr val="tx1"/>
                </a:solidFill>
                <a:latin typeface="+mj-lt"/>
              </a:rPr>
              <a:t>dolore</a:t>
            </a:r>
            <a:r>
              <a:rPr lang="en-GB" sz="770" dirty="0">
                <a:solidFill>
                  <a:schemeClr val="tx1"/>
                </a:solidFill>
                <a:latin typeface="+mj-lt"/>
              </a:rPr>
              <a:t> </a:t>
            </a:r>
            <a:r>
              <a:rPr lang="en-GB" sz="770" dirty="0" err="1">
                <a:solidFill>
                  <a:schemeClr val="tx1"/>
                </a:solidFill>
                <a:latin typeface="+mj-lt"/>
              </a:rPr>
              <a:t>eu</a:t>
            </a:r>
            <a:r>
              <a:rPr lang="en-GB" sz="770" dirty="0">
                <a:solidFill>
                  <a:schemeClr val="tx1"/>
                </a:solidFill>
                <a:latin typeface="+mj-lt"/>
              </a:rPr>
              <a:t> </a:t>
            </a:r>
            <a:r>
              <a:rPr lang="en-GB" sz="770" dirty="0" err="1">
                <a:solidFill>
                  <a:schemeClr val="tx1"/>
                </a:solidFill>
                <a:latin typeface="+mj-lt"/>
              </a:rPr>
              <a:t>fugiat</a:t>
            </a:r>
            <a:r>
              <a:rPr lang="en-GB" sz="770" dirty="0">
                <a:solidFill>
                  <a:schemeClr val="tx1"/>
                </a:solidFill>
                <a:latin typeface="+mj-lt"/>
              </a:rPr>
              <a:t> </a:t>
            </a:r>
            <a:r>
              <a:rPr lang="en-GB" sz="770" dirty="0" err="1">
                <a:solidFill>
                  <a:schemeClr val="tx1"/>
                </a:solidFill>
                <a:latin typeface="+mj-lt"/>
              </a:rPr>
              <a:t>nulla</a:t>
            </a:r>
            <a:r>
              <a:rPr lang="en-GB" sz="770" dirty="0">
                <a:solidFill>
                  <a:schemeClr val="tx1"/>
                </a:solidFill>
                <a:latin typeface="+mj-lt"/>
              </a:rPr>
              <a:t> </a:t>
            </a:r>
            <a:r>
              <a:rPr lang="en-GB" sz="770" dirty="0" err="1">
                <a:solidFill>
                  <a:schemeClr val="tx1"/>
                </a:solidFill>
                <a:latin typeface="+mj-lt"/>
              </a:rPr>
              <a:t>pariatur</a:t>
            </a:r>
            <a:r>
              <a:rPr lang="en-GB" sz="770" dirty="0">
                <a:solidFill>
                  <a:schemeClr val="tx1"/>
                </a:solidFill>
                <a:latin typeface="+mj-lt"/>
              </a:rPr>
              <a:t>. </a:t>
            </a:r>
            <a:r>
              <a:rPr lang="en-GB" sz="770" dirty="0" err="1">
                <a:solidFill>
                  <a:schemeClr val="tx1"/>
                </a:solidFill>
                <a:latin typeface="+mj-lt"/>
              </a:rPr>
              <a:t>Excepteur</a:t>
            </a:r>
            <a:r>
              <a:rPr lang="en-GB" sz="770" dirty="0">
                <a:solidFill>
                  <a:schemeClr val="tx1"/>
                </a:solidFill>
                <a:latin typeface="+mj-lt"/>
              </a:rPr>
              <a:t> </a:t>
            </a:r>
            <a:r>
              <a:rPr lang="en-GB" sz="770" dirty="0" err="1">
                <a:solidFill>
                  <a:schemeClr val="tx1"/>
                </a:solidFill>
                <a:latin typeface="+mj-lt"/>
              </a:rPr>
              <a:t>sint</a:t>
            </a:r>
            <a:r>
              <a:rPr lang="en-GB" sz="770" dirty="0">
                <a:solidFill>
                  <a:schemeClr val="tx1"/>
                </a:solidFill>
                <a:latin typeface="+mj-lt"/>
              </a:rPr>
              <a:t> </a:t>
            </a:r>
            <a:r>
              <a:rPr lang="en-GB" sz="770" dirty="0" err="1">
                <a:solidFill>
                  <a:schemeClr val="tx1"/>
                </a:solidFill>
                <a:latin typeface="+mj-lt"/>
              </a:rPr>
              <a:t>occaecat</a:t>
            </a:r>
            <a:r>
              <a:rPr lang="en-GB" sz="770" dirty="0">
                <a:solidFill>
                  <a:schemeClr val="tx1"/>
                </a:solidFill>
                <a:latin typeface="+mj-lt"/>
              </a:rPr>
              <a:t> </a:t>
            </a:r>
            <a:r>
              <a:rPr lang="en-GB" sz="770" dirty="0" err="1">
                <a:solidFill>
                  <a:schemeClr val="tx1"/>
                </a:solidFill>
                <a:latin typeface="+mj-lt"/>
              </a:rPr>
              <a:t>cupidatat</a:t>
            </a:r>
            <a:r>
              <a:rPr lang="en-GB" sz="770" dirty="0">
                <a:solidFill>
                  <a:schemeClr val="tx1"/>
                </a:solidFill>
                <a:latin typeface="+mj-lt"/>
              </a:rPr>
              <a:t> non </a:t>
            </a:r>
            <a:r>
              <a:rPr lang="en-GB" sz="770" dirty="0" err="1">
                <a:solidFill>
                  <a:schemeClr val="tx1"/>
                </a:solidFill>
                <a:latin typeface="+mj-lt"/>
              </a:rPr>
              <a:t>proident</a:t>
            </a:r>
            <a:r>
              <a:rPr lang="en-GB" sz="770" dirty="0">
                <a:solidFill>
                  <a:schemeClr val="tx1"/>
                </a:solidFill>
                <a:latin typeface="+mj-lt"/>
              </a:rPr>
              <a:t>, </a:t>
            </a:r>
            <a:r>
              <a:rPr lang="en-GB" sz="770" dirty="0" err="1">
                <a:solidFill>
                  <a:schemeClr val="tx1"/>
                </a:solidFill>
                <a:latin typeface="+mj-lt"/>
              </a:rPr>
              <a:t>sunt</a:t>
            </a:r>
            <a:r>
              <a:rPr lang="en-GB" sz="770" dirty="0">
                <a:solidFill>
                  <a:schemeClr val="tx1"/>
                </a:solidFill>
                <a:latin typeface="+mj-lt"/>
              </a:rPr>
              <a:t> in culpa qui </a:t>
            </a:r>
            <a:r>
              <a:rPr lang="en-GB" sz="770" dirty="0" err="1">
                <a:solidFill>
                  <a:schemeClr val="tx1"/>
                </a:solidFill>
                <a:latin typeface="+mj-lt"/>
              </a:rPr>
              <a:t>officia</a:t>
            </a:r>
            <a:r>
              <a:rPr lang="en-GB" sz="770" dirty="0">
                <a:solidFill>
                  <a:schemeClr val="tx1"/>
                </a:solidFill>
                <a:latin typeface="+mj-lt"/>
              </a:rPr>
              <a:t> </a:t>
            </a:r>
            <a:r>
              <a:rPr lang="en-GB" sz="770" dirty="0" err="1">
                <a:solidFill>
                  <a:schemeClr val="tx1"/>
                </a:solidFill>
                <a:latin typeface="+mj-lt"/>
              </a:rPr>
              <a:t>deserunt</a:t>
            </a:r>
            <a:r>
              <a:rPr lang="en-GB" sz="770" dirty="0">
                <a:solidFill>
                  <a:schemeClr val="tx1"/>
                </a:solidFill>
                <a:latin typeface="+mj-lt"/>
              </a:rPr>
              <a:t> </a:t>
            </a:r>
            <a:r>
              <a:rPr lang="en-GB" sz="770" dirty="0" err="1">
                <a:solidFill>
                  <a:schemeClr val="tx1"/>
                </a:solidFill>
                <a:latin typeface="+mj-lt"/>
              </a:rPr>
              <a:t>mollit</a:t>
            </a:r>
            <a:r>
              <a:rPr lang="en-GB" sz="770" dirty="0">
                <a:solidFill>
                  <a:schemeClr val="tx1"/>
                </a:solidFill>
                <a:latin typeface="+mj-lt"/>
              </a:rPr>
              <a:t> </a:t>
            </a:r>
            <a:r>
              <a:rPr lang="en-GB" sz="770" dirty="0" err="1">
                <a:solidFill>
                  <a:schemeClr val="tx1"/>
                </a:solidFill>
                <a:latin typeface="+mj-lt"/>
              </a:rPr>
              <a:t>anim</a:t>
            </a:r>
            <a:r>
              <a:rPr lang="en-GB" sz="770" dirty="0">
                <a:solidFill>
                  <a:schemeClr val="tx1"/>
                </a:solidFill>
                <a:latin typeface="+mj-lt"/>
              </a:rPr>
              <a:t> id </a:t>
            </a:r>
            <a:r>
              <a:rPr lang="en-GB" sz="770" dirty="0" err="1">
                <a:solidFill>
                  <a:schemeClr val="tx1"/>
                </a:solidFill>
                <a:latin typeface="+mj-lt"/>
              </a:rPr>
              <a:t>est</a:t>
            </a:r>
            <a:r>
              <a:rPr lang="en-GB" sz="770" dirty="0">
                <a:solidFill>
                  <a:schemeClr val="tx1"/>
                </a:solidFill>
                <a:latin typeface="+mj-lt"/>
              </a:rPr>
              <a:t> </a:t>
            </a:r>
            <a:r>
              <a:rPr lang="en-GB" sz="770" dirty="0" err="1">
                <a:solidFill>
                  <a:schemeClr val="tx1"/>
                </a:solidFill>
                <a:latin typeface="+mj-lt"/>
              </a:rPr>
              <a:t>laborum</a:t>
            </a:r>
            <a:endParaRPr lang="en-GB" sz="770" dirty="0">
              <a:solidFill>
                <a:schemeClr val="tx1"/>
              </a:solidFill>
              <a:latin typeface="+mj-lt"/>
            </a:endParaRPr>
          </a:p>
        </p:txBody>
      </p:sp>
      <p:sp>
        <p:nvSpPr>
          <p:cNvPr id="48" name="Freeform 756">
            <a:extLst>
              <a:ext uri="{FF2B5EF4-FFF2-40B4-BE49-F238E27FC236}">
                <a16:creationId xmlns:a16="http://schemas.microsoft.com/office/drawing/2014/main" id="{C68D953D-30B4-C844-9F9B-E60029F59406}"/>
              </a:ext>
            </a:extLst>
          </p:cNvPr>
          <p:cNvSpPr>
            <a:spLocks noChangeAspect="1" noEditPoints="1"/>
          </p:cNvSpPr>
          <p:nvPr/>
        </p:nvSpPr>
        <p:spPr bwMode="auto">
          <a:xfrm>
            <a:off x="6470250" y="2064322"/>
            <a:ext cx="470830" cy="47083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bg1"/>
          </a:solidFill>
          <a:ln>
            <a:noFill/>
          </a:ln>
        </p:spPr>
        <p:txBody>
          <a:bodyPr vert="horz" wrap="square" lIns="73725" tIns="36862" rIns="73725" bIns="36862" numCol="1" anchor="t" anchorCtr="0" compatLnSpc="1">
            <a:prstTxWarp prst="textNoShape">
              <a:avLst/>
            </a:prstTxWarp>
          </a:bodyPr>
          <a:lstStyle/>
          <a:p>
            <a:endParaRPr lang="en-GB" sz="1450" dirty="0">
              <a:latin typeface="+mj-lt"/>
            </a:endParaRPr>
          </a:p>
        </p:txBody>
      </p:sp>
      <p:sp>
        <p:nvSpPr>
          <p:cNvPr id="49" name="Freeform 48">
            <a:extLst>
              <a:ext uri="{FF2B5EF4-FFF2-40B4-BE49-F238E27FC236}">
                <a16:creationId xmlns:a16="http://schemas.microsoft.com/office/drawing/2014/main" id="{0C965220-DA1C-3140-B60A-784B49B3D61A}"/>
              </a:ext>
            </a:extLst>
          </p:cNvPr>
          <p:cNvSpPr>
            <a:spLocks noChangeAspect="1" noEditPoints="1"/>
          </p:cNvSpPr>
          <p:nvPr/>
        </p:nvSpPr>
        <p:spPr bwMode="auto">
          <a:xfrm>
            <a:off x="6773401" y="2977098"/>
            <a:ext cx="470830" cy="470830"/>
          </a:xfrm>
          <a:custGeom>
            <a:avLst/>
            <a:gdLst>
              <a:gd name="T0" fmla="*/ 310 w 512"/>
              <a:gd name="T1" fmla="*/ 388 h 512"/>
              <a:gd name="T2" fmla="*/ 313 w 512"/>
              <a:gd name="T3" fmla="*/ 394 h 512"/>
              <a:gd name="T4" fmla="*/ 198 w 512"/>
              <a:gd name="T5" fmla="*/ 394 h 512"/>
              <a:gd name="T6" fmla="*/ 201 w 512"/>
              <a:gd name="T7" fmla="*/ 388 h 512"/>
              <a:gd name="T8" fmla="*/ 202 w 512"/>
              <a:gd name="T9" fmla="*/ 384 h 512"/>
              <a:gd name="T10" fmla="*/ 202 w 512"/>
              <a:gd name="T11" fmla="*/ 256 h 512"/>
              <a:gd name="T12" fmla="*/ 309 w 512"/>
              <a:gd name="T13" fmla="*/ 256 h 512"/>
              <a:gd name="T14" fmla="*/ 309 w 512"/>
              <a:gd name="T15" fmla="*/ 384 h 512"/>
              <a:gd name="T16" fmla="*/ 310 w 512"/>
              <a:gd name="T17" fmla="*/ 388 h 512"/>
              <a:gd name="T18" fmla="*/ 288 w 512"/>
              <a:gd name="T19" fmla="*/ 202 h 512"/>
              <a:gd name="T20" fmla="*/ 224 w 512"/>
              <a:gd name="T21" fmla="*/ 202 h 512"/>
              <a:gd name="T22" fmla="*/ 224 w 512"/>
              <a:gd name="T23" fmla="*/ 234 h 512"/>
              <a:gd name="T24" fmla="*/ 288 w 512"/>
              <a:gd name="T25" fmla="*/ 234 h 512"/>
              <a:gd name="T26" fmla="*/ 288 w 512"/>
              <a:gd name="T27" fmla="*/ 202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24 w 512"/>
              <a:gd name="T39" fmla="*/ 128 h 512"/>
              <a:gd name="T40" fmla="*/ 256 w 512"/>
              <a:gd name="T41" fmla="*/ 160 h 512"/>
              <a:gd name="T42" fmla="*/ 288 w 512"/>
              <a:gd name="T43" fmla="*/ 128 h 512"/>
              <a:gd name="T44" fmla="*/ 256 w 512"/>
              <a:gd name="T45" fmla="*/ 96 h 512"/>
              <a:gd name="T46" fmla="*/ 224 w 512"/>
              <a:gd name="T47" fmla="*/ 128 h 512"/>
              <a:gd name="T48" fmla="*/ 330 w 512"/>
              <a:gd name="T49" fmla="*/ 381 h 512"/>
              <a:gd name="T50" fmla="*/ 330 w 512"/>
              <a:gd name="T51" fmla="*/ 256 h 512"/>
              <a:gd name="T52" fmla="*/ 341 w 512"/>
              <a:gd name="T53" fmla="*/ 245 h 512"/>
              <a:gd name="T54" fmla="*/ 330 w 512"/>
              <a:gd name="T55" fmla="*/ 234 h 512"/>
              <a:gd name="T56" fmla="*/ 309 w 512"/>
              <a:gd name="T57" fmla="*/ 234 h 512"/>
              <a:gd name="T58" fmla="*/ 309 w 512"/>
              <a:gd name="T59" fmla="*/ 192 h 512"/>
              <a:gd name="T60" fmla="*/ 298 w 512"/>
              <a:gd name="T61" fmla="*/ 181 h 512"/>
              <a:gd name="T62" fmla="*/ 213 w 512"/>
              <a:gd name="T63" fmla="*/ 181 h 512"/>
              <a:gd name="T64" fmla="*/ 202 w 512"/>
              <a:gd name="T65" fmla="*/ 192 h 512"/>
              <a:gd name="T66" fmla="*/ 202 w 512"/>
              <a:gd name="T67" fmla="*/ 234 h 512"/>
              <a:gd name="T68" fmla="*/ 181 w 512"/>
              <a:gd name="T69" fmla="*/ 234 h 512"/>
              <a:gd name="T70" fmla="*/ 170 w 512"/>
              <a:gd name="T71" fmla="*/ 245 h 512"/>
              <a:gd name="T72" fmla="*/ 181 w 512"/>
              <a:gd name="T73" fmla="*/ 256 h 512"/>
              <a:gd name="T74" fmla="*/ 181 w 512"/>
              <a:gd name="T75" fmla="*/ 381 h 512"/>
              <a:gd name="T76" fmla="*/ 171 w 512"/>
              <a:gd name="T77" fmla="*/ 400 h 512"/>
              <a:gd name="T78" fmla="*/ 176 w 512"/>
              <a:gd name="T79" fmla="*/ 415 h 512"/>
              <a:gd name="T80" fmla="*/ 181 w 512"/>
              <a:gd name="T81" fmla="*/ 416 h 512"/>
              <a:gd name="T82" fmla="*/ 181 w 512"/>
              <a:gd name="T83" fmla="*/ 416 h 512"/>
              <a:gd name="T84" fmla="*/ 330 w 512"/>
              <a:gd name="T85" fmla="*/ 416 h 512"/>
              <a:gd name="T86" fmla="*/ 330 w 512"/>
              <a:gd name="T87" fmla="*/ 416 h 512"/>
              <a:gd name="T88" fmla="*/ 330 w 512"/>
              <a:gd name="T89" fmla="*/ 416 h 512"/>
              <a:gd name="T90" fmla="*/ 335 w 512"/>
              <a:gd name="T91" fmla="*/ 415 h 512"/>
              <a:gd name="T92" fmla="*/ 340 w 512"/>
              <a:gd name="T93" fmla="*/ 400 h 512"/>
              <a:gd name="T94" fmla="*/ 330 w 512"/>
              <a:gd name="T95" fmla="*/ 381 h 512"/>
              <a:gd name="T96" fmla="*/ 256 w 512"/>
              <a:gd name="T97" fmla="*/ 138 h 512"/>
              <a:gd name="T98" fmla="*/ 266 w 512"/>
              <a:gd name="T99" fmla="*/ 128 h 512"/>
              <a:gd name="T100" fmla="*/ 256 w 512"/>
              <a:gd name="T101" fmla="*/ 117 h 512"/>
              <a:gd name="T102" fmla="*/ 245 w 512"/>
              <a:gd name="T103" fmla="*/ 128 h 512"/>
              <a:gd name="T104" fmla="*/ 256 w 512"/>
              <a:gd name="T105"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10" y="388"/>
                </a:moveTo>
                <a:cubicBezTo>
                  <a:pt x="313" y="394"/>
                  <a:pt x="313" y="394"/>
                  <a:pt x="313" y="394"/>
                </a:cubicBezTo>
                <a:cubicBezTo>
                  <a:pt x="198" y="394"/>
                  <a:pt x="198" y="394"/>
                  <a:pt x="198" y="394"/>
                </a:cubicBezTo>
                <a:cubicBezTo>
                  <a:pt x="201" y="388"/>
                  <a:pt x="201" y="388"/>
                  <a:pt x="201" y="388"/>
                </a:cubicBezTo>
                <a:cubicBezTo>
                  <a:pt x="202" y="387"/>
                  <a:pt x="202" y="385"/>
                  <a:pt x="202" y="384"/>
                </a:cubicBezTo>
                <a:cubicBezTo>
                  <a:pt x="202" y="256"/>
                  <a:pt x="202" y="256"/>
                  <a:pt x="202" y="256"/>
                </a:cubicBezTo>
                <a:cubicBezTo>
                  <a:pt x="309" y="256"/>
                  <a:pt x="309" y="256"/>
                  <a:pt x="309" y="256"/>
                </a:cubicBezTo>
                <a:cubicBezTo>
                  <a:pt x="309" y="384"/>
                  <a:pt x="309" y="384"/>
                  <a:pt x="309" y="384"/>
                </a:cubicBezTo>
                <a:cubicBezTo>
                  <a:pt x="309" y="385"/>
                  <a:pt x="309" y="387"/>
                  <a:pt x="310" y="388"/>
                </a:cubicBezTo>
                <a:close/>
                <a:moveTo>
                  <a:pt x="288" y="202"/>
                </a:moveTo>
                <a:cubicBezTo>
                  <a:pt x="224" y="202"/>
                  <a:pt x="224" y="202"/>
                  <a:pt x="224" y="202"/>
                </a:cubicBezTo>
                <a:cubicBezTo>
                  <a:pt x="224" y="234"/>
                  <a:pt x="224" y="234"/>
                  <a:pt x="224" y="234"/>
                </a:cubicBezTo>
                <a:cubicBezTo>
                  <a:pt x="288" y="234"/>
                  <a:pt x="288" y="234"/>
                  <a:pt x="288" y="234"/>
                </a:cubicBezTo>
                <a:lnTo>
                  <a:pt x="288"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330" y="381"/>
                </a:moveTo>
                <a:cubicBezTo>
                  <a:pt x="330" y="256"/>
                  <a:pt x="330" y="256"/>
                  <a:pt x="330" y="256"/>
                </a:cubicBezTo>
                <a:cubicBezTo>
                  <a:pt x="336" y="256"/>
                  <a:pt x="341" y="251"/>
                  <a:pt x="341" y="245"/>
                </a:cubicBezTo>
                <a:cubicBezTo>
                  <a:pt x="341" y="239"/>
                  <a:pt x="336" y="234"/>
                  <a:pt x="330" y="234"/>
                </a:cubicBezTo>
                <a:cubicBezTo>
                  <a:pt x="309" y="234"/>
                  <a:pt x="309" y="234"/>
                  <a:pt x="309" y="234"/>
                </a:cubicBezTo>
                <a:cubicBezTo>
                  <a:pt x="309" y="192"/>
                  <a:pt x="309" y="192"/>
                  <a:pt x="309" y="192"/>
                </a:cubicBezTo>
                <a:cubicBezTo>
                  <a:pt x="309" y="186"/>
                  <a:pt x="304" y="181"/>
                  <a:pt x="298" y="181"/>
                </a:cubicBezTo>
                <a:cubicBezTo>
                  <a:pt x="213" y="181"/>
                  <a:pt x="213" y="181"/>
                  <a:pt x="213" y="181"/>
                </a:cubicBezTo>
                <a:cubicBezTo>
                  <a:pt x="207" y="181"/>
                  <a:pt x="202" y="186"/>
                  <a:pt x="202" y="192"/>
                </a:cubicBezTo>
                <a:cubicBezTo>
                  <a:pt x="202" y="234"/>
                  <a:pt x="202" y="234"/>
                  <a:pt x="202" y="234"/>
                </a:cubicBezTo>
                <a:cubicBezTo>
                  <a:pt x="181" y="234"/>
                  <a:pt x="181" y="234"/>
                  <a:pt x="181" y="234"/>
                </a:cubicBezTo>
                <a:cubicBezTo>
                  <a:pt x="175" y="234"/>
                  <a:pt x="170" y="239"/>
                  <a:pt x="170" y="245"/>
                </a:cubicBezTo>
                <a:cubicBezTo>
                  <a:pt x="170" y="251"/>
                  <a:pt x="175" y="256"/>
                  <a:pt x="181" y="256"/>
                </a:cubicBezTo>
                <a:cubicBezTo>
                  <a:pt x="181" y="381"/>
                  <a:pt x="181" y="381"/>
                  <a:pt x="181" y="381"/>
                </a:cubicBezTo>
                <a:cubicBezTo>
                  <a:pt x="171" y="400"/>
                  <a:pt x="171" y="400"/>
                  <a:pt x="171" y="400"/>
                </a:cubicBezTo>
                <a:cubicBezTo>
                  <a:pt x="169" y="406"/>
                  <a:pt x="171" y="412"/>
                  <a:pt x="176" y="415"/>
                </a:cubicBezTo>
                <a:cubicBezTo>
                  <a:pt x="178" y="415"/>
                  <a:pt x="179" y="416"/>
                  <a:pt x="181" y="416"/>
                </a:cubicBezTo>
                <a:cubicBezTo>
                  <a:pt x="181" y="416"/>
                  <a:pt x="181" y="416"/>
                  <a:pt x="181" y="416"/>
                </a:cubicBezTo>
                <a:cubicBezTo>
                  <a:pt x="330" y="416"/>
                  <a:pt x="330" y="416"/>
                  <a:pt x="330" y="416"/>
                </a:cubicBezTo>
                <a:cubicBezTo>
                  <a:pt x="330" y="416"/>
                  <a:pt x="330" y="416"/>
                  <a:pt x="330" y="416"/>
                </a:cubicBezTo>
                <a:cubicBezTo>
                  <a:pt x="330" y="416"/>
                  <a:pt x="330" y="416"/>
                  <a:pt x="330" y="416"/>
                </a:cubicBezTo>
                <a:cubicBezTo>
                  <a:pt x="332" y="416"/>
                  <a:pt x="334" y="415"/>
                  <a:pt x="335" y="415"/>
                </a:cubicBezTo>
                <a:cubicBezTo>
                  <a:pt x="340" y="412"/>
                  <a:pt x="343" y="406"/>
                  <a:pt x="340" y="400"/>
                </a:cubicBezTo>
                <a:lnTo>
                  <a:pt x="330" y="381"/>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path>
            </a:pathLst>
          </a:custGeom>
          <a:solidFill>
            <a:schemeClr val="bg1"/>
          </a:solidFill>
          <a:ln>
            <a:noFill/>
          </a:ln>
        </p:spPr>
        <p:txBody>
          <a:bodyPr vert="horz" wrap="square" lIns="73725" tIns="36862" rIns="73725" bIns="36862" numCol="1" anchor="t" anchorCtr="0" compatLnSpc="1">
            <a:prstTxWarp prst="textNoShape">
              <a:avLst/>
            </a:prstTxWarp>
          </a:bodyPr>
          <a:lstStyle/>
          <a:p>
            <a:endParaRPr lang="en-GB" sz="1450" dirty="0">
              <a:latin typeface="+mj-lt"/>
            </a:endParaRPr>
          </a:p>
        </p:txBody>
      </p:sp>
      <p:sp>
        <p:nvSpPr>
          <p:cNvPr id="50" name="Freeform 760">
            <a:extLst>
              <a:ext uri="{FF2B5EF4-FFF2-40B4-BE49-F238E27FC236}">
                <a16:creationId xmlns:a16="http://schemas.microsoft.com/office/drawing/2014/main" id="{D1C6E5B8-D999-2247-9CA6-55488ADD8445}"/>
              </a:ext>
            </a:extLst>
          </p:cNvPr>
          <p:cNvSpPr>
            <a:spLocks noChangeAspect="1" noEditPoints="1"/>
          </p:cNvSpPr>
          <p:nvPr/>
        </p:nvSpPr>
        <p:spPr bwMode="auto">
          <a:xfrm>
            <a:off x="5850289" y="3539115"/>
            <a:ext cx="470830" cy="470830"/>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bg1"/>
          </a:solidFill>
          <a:ln>
            <a:noFill/>
          </a:ln>
        </p:spPr>
        <p:txBody>
          <a:bodyPr vert="horz" wrap="square" lIns="73725" tIns="36862" rIns="73725" bIns="36862" numCol="1" anchor="t" anchorCtr="0" compatLnSpc="1">
            <a:prstTxWarp prst="textNoShape">
              <a:avLst/>
            </a:prstTxWarp>
          </a:bodyPr>
          <a:lstStyle/>
          <a:p>
            <a:endParaRPr lang="en-GB" sz="1450" dirty="0">
              <a:latin typeface="+mj-lt"/>
            </a:endParaRPr>
          </a:p>
        </p:txBody>
      </p:sp>
      <p:sp>
        <p:nvSpPr>
          <p:cNvPr id="51" name="Freeform 189">
            <a:extLst>
              <a:ext uri="{FF2B5EF4-FFF2-40B4-BE49-F238E27FC236}">
                <a16:creationId xmlns:a16="http://schemas.microsoft.com/office/drawing/2014/main" id="{DE8AE699-75D5-7046-80A8-AD20A622D40A}"/>
              </a:ext>
            </a:extLst>
          </p:cNvPr>
          <p:cNvSpPr>
            <a:spLocks noChangeAspect="1" noEditPoints="1"/>
          </p:cNvSpPr>
          <p:nvPr/>
        </p:nvSpPr>
        <p:spPr bwMode="auto">
          <a:xfrm>
            <a:off x="4996995" y="3017172"/>
            <a:ext cx="470830" cy="47083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bg1"/>
          </a:solidFill>
          <a:ln>
            <a:noFill/>
          </a:ln>
        </p:spPr>
        <p:txBody>
          <a:bodyPr vert="horz" wrap="square" lIns="73725" tIns="36862" rIns="73725" bIns="36862" numCol="1" anchor="t" anchorCtr="0" compatLnSpc="1">
            <a:prstTxWarp prst="textNoShape">
              <a:avLst/>
            </a:prstTxWarp>
          </a:bodyPr>
          <a:lstStyle/>
          <a:p>
            <a:endParaRPr lang="en-GB" sz="1450" dirty="0">
              <a:latin typeface="+mj-lt"/>
            </a:endParaRPr>
          </a:p>
        </p:txBody>
      </p:sp>
      <p:sp>
        <p:nvSpPr>
          <p:cNvPr id="52" name="Freeform 141">
            <a:extLst>
              <a:ext uri="{FF2B5EF4-FFF2-40B4-BE49-F238E27FC236}">
                <a16:creationId xmlns:a16="http://schemas.microsoft.com/office/drawing/2014/main" id="{4E21D548-F925-4E4E-8291-C2446AAB0863}"/>
              </a:ext>
            </a:extLst>
          </p:cNvPr>
          <p:cNvSpPr>
            <a:spLocks noChangeAspect="1" noEditPoints="1"/>
          </p:cNvSpPr>
          <p:nvPr/>
        </p:nvSpPr>
        <p:spPr bwMode="auto">
          <a:xfrm>
            <a:off x="5297960" y="2012963"/>
            <a:ext cx="470830" cy="47083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bg1"/>
          </a:solidFill>
          <a:ln>
            <a:noFill/>
          </a:ln>
        </p:spPr>
        <p:txBody>
          <a:bodyPr vert="horz" wrap="square" lIns="73725" tIns="36862" rIns="73725" bIns="36862" numCol="1" anchor="t" anchorCtr="0" compatLnSpc="1">
            <a:prstTxWarp prst="textNoShape">
              <a:avLst/>
            </a:prstTxWarp>
          </a:bodyPr>
          <a:lstStyle/>
          <a:p>
            <a:endParaRPr lang="en-GB" sz="1450" dirty="0">
              <a:latin typeface="+mj-lt"/>
            </a:endParaRPr>
          </a:p>
        </p:txBody>
      </p:sp>
      <p:sp>
        <p:nvSpPr>
          <p:cNvPr id="53" name="Text Placeholder 8">
            <a:extLst>
              <a:ext uri="{FF2B5EF4-FFF2-40B4-BE49-F238E27FC236}">
                <a16:creationId xmlns:a16="http://schemas.microsoft.com/office/drawing/2014/main" id="{B66E1022-BA31-014D-BF19-41AD6F2D4D36}"/>
              </a:ext>
            </a:extLst>
          </p:cNvPr>
          <p:cNvSpPr txBox="1">
            <a:spLocks/>
          </p:cNvSpPr>
          <p:nvPr/>
        </p:nvSpPr>
        <p:spPr>
          <a:xfrm>
            <a:off x="1894649" y="810645"/>
            <a:ext cx="8401347" cy="713889"/>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endParaRPr lang="en-GB" sz="1710" dirty="0">
              <a:latin typeface="+mj-lt"/>
            </a:endParaRPr>
          </a:p>
        </p:txBody>
      </p:sp>
      <p:sp>
        <p:nvSpPr>
          <p:cNvPr id="54" name="Rectangle 53">
            <a:extLst>
              <a:ext uri="{FF2B5EF4-FFF2-40B4-BE49-F238E27FC236}">
                <a16:creationId xmlns:a16="http://schemas.microsoft.com/office/drawing/2014/main" id="{F529915F-A32D-CB4A-9351-30FF6567E00B}"/>
              </a:ext>
            </a:extLst>
          </p:cNvPr>
          <p:cNvSpPr/>
          <p:nvPr/>
        </p:nvSpPr>
        <p:spPr>
          <a:xfrm>
            <a:off x="6185424" y="2540413"/>
            <a:ext cx="1037320" cy="381899"/>
          </a:xfrm>
          <a:prstGeom prst="rect">
            <a:avLst/>
          </a:prstGeom>
        </p:spPr>
        <p:txBody>
          <a:bodyPr wrap="square">
            <a:spAutoFit/>
          </a:bodyPr>
          <a:lstStyle/>
          <a:p>
            <a:pPr algn="ctr" defTabSz="771732"/>
            <a:r>
              <a:rPr lang="da-DK" sz="941" b="1" dirty="0">
                <a:solidFill>
                  <a:prstClr val="white"/>
                </a:solidFill>
                <a:latin typeface="+mj-lt"/>
                <a:cs typeface="Arial" pitchFamily="34" charset="0"/>
              </a:rPr>
              <a:t>Lorem ipsum dolor sit amet</a:t>
            </a:r>
            <a:endParaRPr lang="en-GB" sz="941" b="1" dirty="0">
              <a:solidFill>
                <a:prstClr val="white"/>
              </a:solidFill>
              <a:latin typeface="+mj-lt"/>
              <a:cs typeface="Arial" pitchFamily="34" charset="0"/>
            </a:endParaRPr>
          </a:p>
        </p:txBody>
      </p:sp>
      <p:sp>
        <p:nvSpPr>
          <p:cNvPr id="55" name="Rectangle 54">
            <a:extLst>
              <a:ext uri="{FF2B5EF4-FFF2-40B4-BE49-F238E27FC236}">
                <a16:creationId xmlns:a16="http://schemas.microsoft.com/office/drawing/2014/main" id="{B497C768-021B-7E4E-84EB-20B2C8C42407}"/>
              </a:ext>
            </a:extLst>
          </p:cNvPr>
          <p:cNvSpPr/>
          <p:nvPr/>
        </p:nvSpPr>
        <p:spPr>
          <a:xfrm>
            <a:off x="6430875" y="3420358"/>
            <a:ext cx="1169608" cy="329321"/>
          </a:xfrm>
          <a:prstGeom prst="rect">
            <a:avLst/>
          </a:prstGeom>
        </p:spPr>
        <p:txBody>
          <a:bodyPr wrap="square">
            <a:spAutoFit/>
          </a:bodyPr>
          <a:lstStyle/>
          <a:p>
            <a:pPr algn="ctr" defTabSz="771732"/>
            <a:r>
              <a:rPr lang="da-DK" sz="770" b="1" dirty="0">
                <a:solidFill>
                  <a:prstClr val="white"/>
                </a:solidFill>
                <a:latin typeface="+mj-lt"/>
                <a:cs typeface="Arial" pitchFamily="34" charset="0"/>
              </a:rPr>
              <a:t>Lorem ipsum dolor sit amet</a:t>
            </a:r>
            <a:endParaRPr lang="en-GB" sz="770" b="1" dirty="0">
              <a:solidFill>
                <a:prstClr val="white"/>
              </a:solidFill>
              <a:latin typeface="+mj-lt"/>
              <a:cs typeface="Arial" pitchFamily="34" charset="0"/>
            </a:endParaRPr>
          </a:p>
        </p:txBody>
      </p:sp>
      <p:sp>
        <p:nvSpPr>
          <p:cNvPr id="56" name="Rectangle 55">
            <a:extLst>
              <a:ext uri="{FF2B5EF4-FFF2-40B4-BE49-F238E27FC236}">
                <a16:creationId xmlns:a16="http://schemas.microsoft.com/office/drawing/2014/main" id="{62E8352A-56E6-D84D-8517-3BC35B83F98B}"/>
              </a:ext>
            </a:extLst>
          </p:cNvPr>
          <p:cNvSpPr/>
          <p:nvPr/>
        </p:nvSpPr>
        <p:spPr>
          <a:xfrm>
            <a:off x="5533376" y="4053530"/>
            <a:ext cx="1169608" cy="329321"/>
          </a:xfrm>
          <a:prstGeom prst="rect">
            <a:avLst/>
          </a:prstGeom>
        </p:spPr>
        <p:txBody>
          <a:bodyPr wrap="square">
            <a:spAutoFit/>
          </a:bodyPr>
          <a:lstStyle/>
          <a:p>
            <a:pPr algn="ctr" defTabSz="771732"/>
            <a:r>
              <a:rPr lang="da-DK" sz="770" b="1" dirty="0">
                <a:solidFill>
                  <a:prstClr val="white"/>
                </a:solidFill>
                <a:latin typeface="+mj-lt"/>
                <a:cs typeface="Arial" pitchFamily="34" charset="0"/>
              </a:rPr>
              <a:t>Lorem ipsum dolor sit amet</a:t>
            </a:r>
            <a:endParaRPr lang="en-US" sz="770" b="1" dirty="0">
              <a:solidFill>
                <a:prstClr val="white"/>
              </a:solidFill>
              <a:latin typeface="+mj-lt"/>
              <a:cs typeface="Arial" pitchFamily="34" charset="0"/>
            </a:endParaRPr>
          </a:p>
        </p:txBody>
      </p:sp>
      <p:sp>
        <p:nvSpPr>
          <p:cNvPr id="57" name="Rectangle 56">
            <a:extLst>
              <a:ext uri="{FF2B5EF4-FFF2-40B4-BE49-F238E27FC236}">
                <a16:creationId xmlns:a16="http://schemas.microsoft.com/office/drawing/2014/main" id="{287D2542-318F-944A-B512-1FE430D8E406}"/>
              </a:ext>
            </a:extLst>
          </p:cNvPr>
          <p:cNvSpPr/>
          <p:nvPr/>
        </p:nvSpPr>
        <p:spPr>
          <a:xfrm>
            <a:off x="4621812" y="3482903"/>
            <a:ext cx="1169608" cy="329321"/>
          </a:xfrm>
          <a:prstGeom prst="rect">
            <a:avLst/>
          </a:prstGeom>
        </p:spPr>
        <p:txBody>
          <a:bodyPr wrap="square">
            <a:spAutoFit/>
          </a:bodyPr>
          <a:lstStyle/>
          <a:p>
            <a:pPr algn="ctr" defTabSz="771732"/>
            <a:r>
              <a:rPr lang="da-DK" sz="770" b="1" dirty="0">
                <a:solidFill>
                  <a:prstClr val="white"/>
                </a:solidFill>
                <a:latin typeface="+mj-lt"/>
                <a:cs typeface="Arial" pitchFamily="34" charset="0"/>
              </a:rPr>
              <a:t>Lorem ipsum dolor sit amet</a:t>
            </a:r>
            <a:endParaRPr lang="en-US" sz="770" b="1" dirty="0">
              <a:solidFill>
                <a:prstClr val="white"/>
              </a:solidFill>
              <a:latin typeface="+mj-lt"/>
              <a:cs typeface="Arial" pitchFamily="34" charset="0"/>
            </a:endParaRPr>
          </a:p>
        </p:txBody>
      </p:sp>
      <p:sp>
        <p:nvSpPr>
          <p:cNvPr id="58" name="Rectangle 57">
            <a:extLst>
              <a:ext uri="{FF2B5EF4-FFF2-40B4-BE49-F238E27FC236}">
                <a16:creationId xmlns:a16="http://schemas.microsoft.com/office/drawing/2014/main" id="{1ED9E5D3-AD41-2541-9E29-EB06993CBBD8}"/>
              </a:ext>
            </a:extLst>
          </p:cNvPr>
          <p:cNvSpPr/>
          <p:nvPr/>
        </p:nvSpPr>
        <p:spPr>
          <a:xfrm>
            <a:off x="4834083" y="2464895"/>
            <a:ext cx="1201728" cy="329321"/>
          </a:xfrm>
          <a:prstGeom prst="rect">
            <a:avLst/>
          </a:prstGeom>
        </p:spPr>
        <p:txBody>
          <a:bodyPr wrap="square">
            <a:spAutoFit/>
          </a:bodyPr>
          <a:lstStyle/>
          <a:p>
            <a:pPr algn="ctr" defTabSz="771732"/>
            <a:r>
              <a:rPr lang="da-DK" sz="770" b="1" dirty="0">
                <a:solidFill>
                  <a:prstClr val="white"/>
                </a:solidFill>
                <a:latin typeface="+mj-lt"/>
                <a:cs typeface="Arial" pitchFamily="34" charset="0"/>
              </a:rPr>
              <a:t>Lorem ipsum dolor sit amet</a:t>
            </a:r>
            <a:endParaRPr lang="en-US" sz="770" b="1" dirty="0">
              <a:solidFill>
                <a:prstClr val="white"/>
              </a:solidFill>
              <a:latin typeface="+mj-lt"/>
              <a:cs typeface="Arial" pitchFamily="34" charset="0"/>
            </a:endParaRPr>
          </a:p>
        </p:txBody>
      </p:sp>
      <p:sp>
        <p:nvSpPr>
          <p:cNvPr id="59" name="TextBox 58">
            <a:extLst>
              <a:ext uri="{FF2B5EF4-FFF2-40B4-BE49-F238E27FC236}">
                <a16:creationId xmlns:a16="http://schemas.microsoft.com/office/drawing/2014/main" id="{1BB5D987-B785-FC4D-BCDB-85EF11D5694C}"/>
              </a:ext>
            </a:extLst>
          </p:cNvPr>
          <p:cNvSpPr txBox="1"/>
          <p:nvPr/>
        </p:nvSpPr>
        <p:spPr>
          <a:xfrm>
            <a:off x="1894649" y="1154088"/>
            <a:ext cx="2690869" cy="1205159"/>
          </a:xfrm>
          <a:prstGeom prst="rect">
            <a:avLst/>
          </a:prstGeom>
          <a:noFill/>
        </p:spPr>
        <p:txBody>
          <a:bodyPr wrap="square" lIns="78203" tIns="156405" rIns="78203" bIns="78203" rtlCol="0">
            <a:noAutofit/>
          </a:bodyPr>
          <a:lstStyle>
            <a:defPPr>
              <a:defRPr lang="en-US"/>
            </a:defPPr>
            <a:lvl1pPr>
              <a:buSzPct val="100000"/>
              <a:defRPr sz="1200">
                <a:solidFill>
                  <a:srgbClr val="313131"/>
                </a:solidFill>
              </a:defRPr>
            </a:lvl1pPr>
          </a:lstStyle>
          <a:p>
            <a:r>
              <a:rPr lang="en-US" sz="770" dirty="0">
                <a:solidFill>
                  <a:schemeClr val="tx1"/>
                </a:solidFill>
                <a:latin typeface="+mj-lt"/>
              </a:rPr>
              <a:t>Lorem ipsum dolor sit </a:t>
            </a:r>
            <a:r>
              <a:rPr lang="en-US" sz="770" dirty="0" err="1">
                <a:solidFill>
                  <a:schemeClr val="tx1"/>
                </a:solidFill>
                <a:latin typeface="+mj-lt"/>
              </a:rPr>
              <a:t>amet</a:t>
            </a:r>
            <a:r>
              <a:rPr lang="en-US" sz="770" dirty="0">
                <a:solidFill>
                  <a:schemeClr val="tx1"/>
                </a:solidFill>
                <a:latin typeface="+mj-lt"/>
              </a:rPr>
              <a:t>, </a:t>
            </a:r>
            <a:r>
              <a:rPr lang="en-US" sz="770" dirty="0" err="1">
                <a:solidFill>
                  <a:schemeClr val="tx1"/>
                </a:solidFill>
                <a:latin typeface="+mj-lt"/>
              </a:rPr>
              <a:t>consectetur</a:t>
            </a:r>
            <a:r>
              <a:rPr lang="en-US" sz="770" dirty="0">
                <a:solidFill>
                  <a:schemeClr val="tx1"/>
                </a:solidFill>
                <a:latin typeface="+mj-lt"/>
              </a:rPr>
              <a:t> </a:t>
            </a:r>
            <a:r>
              <a:rPr lang="en-US" sz="770" dirty="0" err="1">
                <a:solidFill>
                  <a:schemeClr val="tx1"/>
                </a:solidFill>
                <a:latin typeface="+mj-lt"/>
              </a:rPr>
              <a:t>adipiscing</a:t>
            </a:r>
            <a:r>
              <a:rPr lang="en-US" sz="770" dirty="0">
                <a:solidFill>
                  <a:schemeClr val="tx1"/>
                </a:solidFill>
                <a:latin typeface="+mj-lt"/>
              </a:rPr>
              <a:t> </a:t>
            </a:r>
            <a:r>
              <a:rPr lang="en-US" sz="770" dirty="0" err="1">
                <a:solidFill>
                  <a:schemeClr val="tx1"/>
                </a:solidFill>
                <a:latin typeface="+mj-lt"/>
              </a:rPr>
              <a:t>elit</a:t>
            </a:r>
            <a:r>
              <a:rPr lang="en-US" sz="770" dirty="0">
                <a:solidFill>
                  <a:schemeClr val="tx1"/>
                </a:solidFill>
                <a:latin typeface="+mj-lt"/>
              </a:rPr>
              <a:t>, </a:t>
            </a:r>
            <a:r>
              <a:rPr lang="en-US" sz="770" dirty="0" err="1">
                <a:solidFill>
                  <a:schemeClr val="tx1"/>
                </a:solidFill>
                <a:latin typeface="+mj-lt"/>
              </a:rPr>
              <a:t>sed</a:t>
            </a:r>
            <a:r>
              <a:rPr lang="en-US" sz="770" dirty="0">
                <a:solidFill>
                  <a:schemeClr val="tx1"/>
                </a:solidFill>
                <a:latin typeface="+mj-lt"/>
              </a:rPr>
              <a:t> do </a:t>
            </a:r>
            <a:r>
              <a:rPr lang="en-US" sz="770" dirty="0" err="1">
                <a:solidFill>
                  <a:schemeClr val="tx1"/>
                </a:solidFill>
                <a:latin typeface="+mj-lt"/>
              </a:rPr>
              <a:t>eiusmod</a:t>
            </a:r>
            <a:r>
              <a:rPr lang="en-US" sz="770" dirty="0">
                <a:solidFill>
                  <a:schemeClr val="tx1"/>
                </a:solidFill>
                <a:latin typeface="+mj-lt"/>
              </a:rPr>
              <a:t> </a:t>
            </a:r>
            <a:r>
              <a:rPr lang="en-US" sz="770" dirty="0" err="1">
                <a:solidFill>
                  <a:schemeClr val="tx1"/>
                </a:solidFill>
                <a:latin typeface="+mj-lt"/>
              </a:rPr>
              <a:t>tempor</a:t>
            </a:r>
            <a:r>
              <a:rPr lang="en-US" sz="770" dirty="0">
                <a:solidFill>
                  <a:schemeClr val="tx1"/>
                </a:solidFill>
                <a:latin typeface="+mj-lt"/>
              </a:rPr>
              <a:t> </a:t>
            </a:r>
            <a:r>
              <a:rPr lang="en-US" sz="770" dirty="0" err="1">
                <a:solidFill>
                  <a:schemeClr val="tx1"/>
                </a:solidFill>
                <a:latin typeface="+mj-lt"/>
              </a:rPr>
              <a:t>incididunt</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labore</a:t>
            </a:r>
            <a:r>
              <a:rPr lang="en-US" sz="770" dirty="0">
                <a:solidFill>
                  <a:schemeClr val="tx1"/>
                </a:solidFill>
                <a:latin typeface="+mj-lt"/>
              </a:rPr>
              <a:t> et </a:t>
            </a:r>
            <a:r>
              <a:rPr lang="en-US" sz="770" dirty="0" err="1">
                <a:solidFill>
                  <a:schemeClr val="tx1"/>
                </a:solidFill>
                <a:latin typeface="+mj-lt"/>
              </a:rPr>
              <a:t>dolore</a:t>
            </a:r>
            <a:r>
              <a:rPr lang="en-US" sz="770" dirty="0">
                <a:solidFill>
                  <a:schemeClr val="tx1"/>
                </a:solidFill>
                <a:latin typeface="+mj-lt"/>
              </a:rPr>
              <a:t> magna </a:t>
            </a:r>
            <a:r>
              <a:rPr lang="en-US" sz="770" dirty="0" err="1">
                <a:solidFill>
                  <a:schemeClr val="tx1"/>
                </a:solidFill>
                <a:latin typeface="+mj-lt"/>
              </a:rPr>
              <a:t>aliqua</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enim</a:t>
            </a:r>
            <a:r>
              <a:rPr lang="en-US" sz="770" dirty="0">
                <a:solidFill>
                  <a:schemeClr val="tx1"/>
                </a:solidFill>
                <a:latin typeface="+mj-lt"/>
              </a:rPr>
              <a:t> ad minim </a:t>
            </a:r>
            <a:r>
              <a:rPr lang="en-US" sz="770" dirty="0" err="1">
                <a:solidFill>
                  <a:schemeClr val="tx1"/>
                </a:solidFill>
                <a:latin typeface="+mj-lt"/>
              </a:rPr>
              <a:t>veniam</a:t>
            </a:r>
            <a:r>
              <a:rPr lang="en-US" sz="770" dirty="0">
                <a:solidFill>
                  <a:schemeClr val="tx1"/>
                </a:solidFill>
                <a:latin typeface="+mj-lt"/>
              </a:rPr>
              <a:t>, </a:t>
            </a:r>
            <a:r>
              <a:rPr lang="en-US" sz="770" dirty="0" err="1">
                <a:solidFill>
                  <a:schemeClr val="tx1"/>
                </a:solidFill>
                <a:latin typeface="+mj-lt"/>
              </a:rPr>
              <a:t>quis</a:t>
            </a:r>
            <a:r>
              <a:rPr lang="en-US" sz="770" dirty="0">
                <a:solidFill>
                  <a:schemeClr val="tx1"/>
                </a:solidFill>
                <a:latin typeface="+mj-lt"/>
              </a:rPr>
              <a:t> </a:t>
            </a:r>
            <a:r>
              <a:rPr lang="en-US" sz="770" dirty="0" err="1">
                <a:solidFill>
                  <a:schemeClr val="tx1"/>
                </a:solidFill>
                <a:latin typeface="+mj-lt"/>
              </a:rPr>
              <a:t>nostrud</a:t>
            </a:r>
            <a:r>
              <a:rPr lang="en-US" sz="770" dirty="0">
                <a:solidFill>
                  <a:schemeClr val="tx1"/>
                </a:solidFill>
                <a:latin typeface="+mj-lt"/>
              </a:rPr>
              <a:t> exercitation </a:t>
            </a:r>
            <a:r>
              <a:rPr lang="en-US" sz="770" dirty="0" err="1">
                <a:solidFill>
                  <a:schemeClr val="tx1"/>
                </a:solidFill>
                <a:latin typeface="+mj-lt"/>
              </a:rPr>
              <a:t>ullamco</a:t>
            </a:r>
            <a:r>
              <a:rPr lang="en-US" sz="770" dirty="0">
                <a:solidFill>
                  <a:schemeClr val="tx1"/>
                </a:solidFill>
                <a:latin typeface="+mj-lt"/>
              </a:rPr>
              <a:t> </a:t>
            </a:r>
            <a:r>
              <a:rPr lang="en-US" sz="770" dirty="0" err="1">
                <a:solidFill>
                  <a:schemeClr val="tx1"/>
                </a:solidFill>
                <a:latin typeface="+mj-lt"/>
              </a:rPr>
              <a:t>laboris</a:t>
            </a:r>
            <a:r>
              <a:rPr lang="en-US" sz="770" dirty="0">
                <a:solidFill>
                  <a:schemeClr val="tx1"/>
                </a:solidFill>
                <a:latin typeface="+mj-lt"/>
              </a:rPr>
              <a:t> nisi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aliquip</a:t>
            </a:r>
            <a:r>
              <a:rPr lang="en-US" sz="770" dirty="0">
                <a:solidFill>
                  <a:schemeClr val="tx1"/>
                </a:solidFill>
                <a:latin typeface="+mj-lt"/>
              </a:rPr>
              <a:t> ex </a:t>
            </a:r>
            <a:r>
              <a:rPr lang="en-US" sz="770" dirty="0" err="1">
                <a:solidFill>
                  <a:schemeClr val="tx1"/>
                </a:solidFill>
                <a:latin typeface="+mj-lt"/>
              </a:rPr>
              <a:t>ea</a:t>
            </a:r>
            <a:r>
              <a:rPr lang="en-US" sz="770" dirty="0">
                <a:solidFill>
                  <a:schemeClr val="tx1"/>
                </a:solidFill>
                <a:latin typeface="+mj-lt"/>
              </a:rPr>
              <a:t> </a:t>
            </a:r>
            <a:r>
              <a:rPr lang="en-US" sz="770" dirty="0" err="1">
                <a:solidFill>
                  <a:schemeClr val="tx1"/>
                </a:solidFill>
                <a:latin typeface="+mj-lt"/>
              </a:rPr>
              <a:t>commodo</a:t>
            </a:r>
            <a:r>
              <a:rPr lang="en-US" sz="770" dirty="0">
                <a:solidFill>
                  <a:schemeClr val="tx1"/>
                </a:solidFill>
                <a:latin typeface="+mj-lt"/>
              </a:rPr>
              <a:t> </a:t>
            </a:r>
            <a:r>
              <a:rPr lang="en-US" sz="770" dirty="0" err="1">
                <a:solidFill>
                  <a:schemeClr val="tx1"/>
                </a:solidFill>
                <a:latin typeface="+mj-lt"/>
              </a:rPr>
              <a:t>consequat</a:t>
            </a:r>
            <a:r>
              <a:rPr lang="en-US" sz="770" dirty="0">
                <a:solidFill>
                  <a:schemeClr val="tx1"/>
                </a:solidFill>
                <a:latin typeface="+mj-lt"/>
              </a:rPr>
              <a:t>. </a:t>
            </a:r>
            <a:r>
              <a:rPr lang="en-US" sz="770" dirty="0" err="1">
                <a:solidFill>
                  <a:schemeClr val="tx1"/>
                </a:solidFill>
                <a:latin typeface="+mj-lt"/>
              </a:rPr>
              <a:t>Duis</a:t>
            </a:r>
            <a:r>
              <a:rPr lang="en-US" sz="770" dirty="0">
                <a:solidFill>
                  <a:schemeClr val="tx1"/>
                </a:solidFill>
                <a:latin typeface="+mj-lt"/>
              </a:rPr>
              <a:t> </a:t>
            </a:r>
            <a:r>
              <a:rPr lang="en-US" sz="770" dirty="0" err="1">
                <a:solidFill>
                  <a:schemeClr val="tx1"/>
                </a:solidFill>
                <a:latin typeface="+mj-lt"/>
              </a:rPr>
              <a:t>aute</a:t>
            </a:r>
            <a:r>
              <a:rPr lang="en-US" sz="770" dirty="0">
                <a:solidFill>
                  <a:schemeClr val="tx1"/>
                </a:solidFill>
                <a:latin typeface="+mj-lt"/>
              </a:rPr>
              <a:t> </a:t>
            </a:r>
            <a:r>
              <a:rPr lang="en-US" sz="770" dirty="0" err="1">
                <a:solidFill>
                  <a:schemeClr val="tx1"/>
                </a:solidFill>
                <a:latin typeface="+mj-lt"/>
              </a:rPr>
              <a:t>irure</a:t>
            </a:r>
            <a:r>
              <a:rPr lang="en-US" sz="770" dirty="0">
                <a:solidFill>
                  <a:schemeClr val="tx1"/>
                </a:solidFill>
                <a:latin typeface="+mj-lt"/>
              </a:rPr>
              <a:t> dolor in </a:t>
            </a:r>
            <a:r>
              <a:rPr lang="en-US" sz="770" dirty="0" err="1">
                <a:solidFill>
                  <a:schemeClr val="tx1"/>
                </a:solidFill>
                <a:latin typeface="+mj-lt"/>
              </a:rPr>
              <a:t>reprehenderit</a:t>
            </a:r>
            <a:r>
              <a:rPr lang="en-US" sz="770" dirty="0">
                <a:solidFill>
                  <a:schemeClr val="tx1"/>
                </a:solidFill>
                <a:latin typeface="+mj-lt"/>
              </a:rPr>
              <a:t> in </a:t>
            </a:r>
            <a:r>
              <a:rPr lang="en-US" sz="770" dirty="0" err="1">
                <a:solidFill>
                  <a:schemeClr val="tx1"/>
                </a:solidFill>
                <a:latin typeface="+mj-lt"/>
              </a:rPr>
              <a:t>voluptate</a:t>
            </a:r>
            <a:r>
              <a:rPr lang="en-US" sz="770" dirty="0">
                <a:solidFill>
                  <a:schemeClr val="tx1"/>
                </a:solidFill>
                <a:latin typeface="+mj-lt"/>
              </a:rPr>
              <a:t> </a:t>
            </a:r>
            <a:r>
              <a:rPr lang="en-US" sz="770" dirty="0" err="1">
                <a:solidFill>
                  <a:schemeClr val="tx1"/>
                </a:solidFill>
                <a:latin typeface="+mj-lt"/>
              </a:rPr>
              <a:t>velit</a:t>
            </a:r>
            <a:r>
              <a:rPr lang="en-US" sz="770" dirty="0">
                <a:solidFill>
                  <a:schemeClr val="tx1"/>
                </a:solidFill>
                <a:latin typeface="+mj-lt"/>
              </a:rPr>
              <a:t> </a:t>
            </a:r>
            <a:r>
              <a:rPr lang="en-US" sz="770" dirty="0" err="1">
                <a:solidFill>
                  <a:schemeClr val="tx1"/>
                </a:solidFill>
                <a:latin typeface="+mj-lt"/>
              </a:rPr>
              <a:t>esse</a:t>
            </a:r>
            <a:r>
              <a:rPr lang="en-US" sz="770" dirty="0">
                <a:solidFill>
                  <a:schemeClr val="tx1"/>
                </a:solidFill>
                <a:latin typeface="+mj-lt"/>
              </a:rPr>
              <a:t> </a:t>
            </a:r>
            <a:r>
              <a:rPr lang="en-US" sz="770" dirty="0" err="1">
                <a:solidFill>
                  <a:schemeClr val="tx1"/>
                </a:solidFill>
                <a:latin typeface="+mj-lt"/>
              </a:rPr>
              <a:t>cillum</a:t>
            </a:r>
            <a:r>
              <a:rPr lang="en-US" sz="770" dirty="0">
                <a:solidFill>
                  <a:schemeClr val="tx1"/>
                </a:solidFill>
                <a:latin typeface="+mj-lt"/>
              </a:rPr>
              <a:t> </a:t>
            </a:r>
            <a:r>
              <a:rPr lang="en-US" sz="770" dirty="0" err="1">
                <a:solidFill>
                  <a:schemeClr val="tx1"/>
                </a:solidFill>
                <a:latin typeface="+mj-lt"/>
              </a:rPr>
              <a:t>dolore</a:t>
            </a:r>
            <a:r>
              <a:rPr lang="en-US" sz="770" dirty="0">
                <a:solidFill>
                  <a:schemeClr val="tx1"/>
                </a:solidFill>
                <a:latin typeface="+mj-lt"/>
              </a:rPr>
              <a:t> </a:t>
            </a:r>
            <a:r>
              <a:rPr lang="en-US" sz="770" dirty="0" err="1">
                <a:solidFill>
                  <a:schemeClr val="tx1"/>
                </a:solidFill>
                <a:latin typeface="+mj-lt"/>
              </a:rPr>
              <a:t>eu</a:t>
            </a:r>
            <a:r>
              <a:rPr lang="en-US" sz="770" dirty="0">
                <a:solidFill>
                  <a:schemeClr val="tx1"/>
                </a:solidFill>
                <a:latin typeface="+mj-lt"/>
              </a:rPr>
              <a:t> </a:t>
            </a:r>
            <a:r>
              <a:rPr lang="en-US" sz="770" dirty="0" err="1">
                <a:solidFill>
                  <a:schemeClr val="tx1"/>
                </a:solidFill>
                <a:latin typeface="+mj-lt"/>
              </a:rPr>
              <a:t>fugiat</a:t>
            </a:r>
            <a:r>
              <a:rPr lang="en-US" sz="770" dirty="0">
                <a:solidFill>
                  <a:schemeClr val="tx1"/>
                </a:solidFill>
                <a:latin typeface="+mj-lt"/>
              </a:rPr>
              <a:t> </a:t>
            </a:r>
            <a:r>
              <a:rPr lang="en-US" sz="770" dirty="0" err="1">
                <a:solidFill>
                  <a:schemeClr val="tx1"/>
                </a:solidFill>
                <a:latin typeface="+mj-lt"/>
              </a:rPr>
              <a:t>nulla</a:t>
            </a:r>
            <a:r>
              <a:rPr lang="en-US" sz="770" dirty="0">
                <a:solidFill>
                  <a:schemeClr val="tx1"/>
                </a:solidFill>
                <a:latin typeface="+mj-lt"/>
              </a:rPr>
              <a:t> </a:t>
            </a:r>
            <a:r>
              <a:rPr lang="en-US" sz="770" dirty="0" err="1">
                <a:solidFill>
                  <a:schemeClr val="tx1"/>
                </a:solidFill>
                <a:latin typeface="+mj-lt"/>
              </a:rPr>
              <a:t>pariatur</a:t>
            </a:r>
            <a:r>
              <a:rPr lang="en-US" sz="770" dirty="0">
                <a:solidFill>
                  <a:schemeClr val="tx1"/>
                </a:solidFill>
                <a:latin typeface="+mj-lt"/>
              </a:rPr>
              <a:t>. </a:t>
            </a:r>
            <a:r>
              <a:rPr lang="en-US" sz="770" dirty="0" err="1">
                <a:solidFill>
                  <a:schemeClr val="tx1"/>
                </a:solidFill>
                <a:latin typeface="+mj-lt"/>
              </a:rPr>
              <a:t>Excepteur</a:t>
            </a:r>
            <a:r>
              <a:rPr lang="en-US" sz="770" dirty="0">
                <a:solidFill>
                  <a:schemeClr val="tx1"/>
                </a:solidFill>
                <a:latin typeface="+mj-lt"/>
              </a:rPr>
              <a:t> </a:t>
            </a:r>
            <a:r>
              <a:rPr lang="en-US" sz="770" dirty="0" err="1">
                <a:solidFill>
                  <a:schemeClr val="tx1"/>
                </a:solidFill>
                <a:latin typeface="+mj-lt"/>
              </a:rPr>
              <a:t>sint</a:t>
            </a:r>
            <a:r>
              <a:rPr lang="en-US" sz="770" dirty="0">
                <a:solidFill>
                  <a:schemeClr val="tx1"/>
                </a:solidFill>
                <a:latin typeface="+mj-lt"/>
              </a:rPr>
              <a:t> </a:t>
            </a:r>
            <a:r>
              <a:rPr lang="en-US" sz="770" dirty="0" err="1">
                <a:solidFill>
                  <a:schemeClr val="tx1"/>
                </a:solidFill>
                <a:latin typeface="+mj-lt"/>
              </a:rPr>
              <a:t>occaecat</a:t>
            </a:r>
            <a:r>
              <a:rPr lang="en-US" sz="770" dirty="0">
                <a:solidFill>
                  <a:schemeClr val="tx1"/>
                </a:solidFill>
                <a:latin typeface="+mj-lt"/>
              </a:rPr>
              <a:t> </a:t>
            </a:r>
            <a:r>
              <a:rPr lang="en-US" sz="770" dirty="0" err="1">
                <a:solidFill>
                  <a:schemeClr val="tx1"/>
                </a:solidFill>
                <a:latin typeface="+mj-lt"/>
              </a:rPr>
              <a:t>cupidatat</a:t>
            </a:r>
            <a:r>
              <a:rPr lang="en-US" sz="770" dirty="0">
                <a:solidFill>
                  <a:schemeClr val="tx1"/>
                </a:solidFill>
                <a:latin typeface="+mj-lt"/>
              </a:rPr>
              <a:t> non </a:t>
            </a:r>
            <a:r>
              <a:rPr lang="en-US" sz="770" dirty="0" err="1">
                <a:solidFill>
                  <a:schemeClr val="tx1"/>
                </a:solidFill>
                <a:latin typeface="+mj-lt"/>
              </a:rPr>
              <a:t>proident</a:t>
            </a:r>
            <a:r>
              <a:rPr lang="en-US" sz="770" dirty="0">
                <a:solidFill>
                  <a:schemeClr val="tx1"/>
                </a:solidFill>
                <a:latin typeface="+mj-lt"/>
              </a:rPr>
              <a:t>, </a:t>
            </a:r>
            <a:r>
              <a:rPr lang="en-US" sz="770" dirty="0" err="1">
                <a:solidFill>
                  <a:schemeClr val="tx1"/>
                </a:solidFill>
                <a:latin typeface="+mj-lt"/>
              </a:rPr>
              <a:t>sunt</a:t>
            </a:r>
            <a:r>
              <a:rPr lang="en-US" sz="770" dirty="0">
                <a:solidFill>
                  <a:schemeClr val="tx1"/>
                </a:solidFill>
                <a:latin typeface="+mj-lt"/>
              </a:rPr>
              <a:t> in culpa qui </a:t>
            </a:r>
            <a:r>
              <a:rPr lang="en-US" sz="770" dirty="0" err="1">
                <a:solidFill>
                  <a:schemeClr val="tx1"/>
                </a:solidFill>
                <a:latin typeface="+mj-lt"/>
              </a:rPr>
              <a:t>officia</a:t>
            </a:r>
            <a:r>
              <a:rPr lang="en-US" sz="770" dirty="0">
                <a:solidFill>
                  <a:schemeClr val="tx1"/>
                </a:solidFill>
                <a:latin typeface="+mj-lt"/>
              </a:rPr>
              <a:t> </a:t>
            </a:r>
            <a:r>
              <a:rPr lang="en-US" sz="770" dirty="0" err="1">
                <a:solidFill>
                  <a:schemeClr val="tx1"/>
                </a:solidFill>
                <a:latin typeface="+mj-lt"/>
              </a:rPr>
              <a:t>deserunt</a:t>
            </a:r>
            <a:r>
              <a:rPr lang="en-US" sz="770" dirty="0">
                <a:solidFill>
                  <a:schemeClr val="tx1"/>
                </a:solidFill>
                <a:latin typeface="+mj-lt"/>
              </a:rPr>
              <a:t> </a:t>
            </a:r>
            <a:r>
              <a:rPr lang="en-US" sz="770" dirty="0" err="1">
                <a:solidFill>
                  <a:schemeClr val="tx1"/>
                </a:solidFill>
                <a:latin typeface="+mj-lt"/>
              </a:rPr>
              <a:t>mollit</a:t>
            </a:r>
            <a:r>
              <a:rPr lang="en-US" sz="770" dirty="0">
                <a:solidFill>
                  <a:schemeClr val="tx1"/>
                </a:solidFill>
                <a:latin typeface="+mj-lt"/>
              </a:rPr>
              <a:t> </a:t>
            </a:r>
            <a:r>
              <a:rPr lang="en-US" sz="770" dirty="0" err="1">
                <a:solidFill>
                  <a:schemeClr val="tx1"/>
                </a:solidFill>
                <a:latin typeface="+mj-lt"/>
              </a:rPr>
              <a:t>anim</a:t>
            </a:r>
            <a:r>
              <a:rPr lang="en-US" sz="770" dirty="0">
                <a:solidFill>
                  <a:schemeClr val="tx1"/>
                </a:solidFill>
                <a:latin typeface="+mj-lt"/>
              </a:rPr>
              <a:t> id </a:t>
            </a:r>
            <a:r>
              <a:rPr lang="en-US" sz="770" dirty="0" err="1">
                <a:solidFill>
                  <a:schemeClr val="tx1"/>
                </a:solidFill>
                <a:latin typeface="+mj-lt"/>
              </a:rPr>
              <a:t>est</a:t>
            </a:r>
            <a:r>
              <a:rPr lang="en-US" sz="770" dirty="0">
                <a:solidFill>
                  <a:schemeClr val="tx1"/>
                </a:solidFill>
                <a:latin typeface="+mj-lt"/>
              </a:rPr>
              <a:t> </a:t>
            </a:r>
            <a:r>
              <a:rPr lang="en-US" sz="770" dirty="0" err="1">
                <a:solidFill>
                  <a:schemeClr val="tx1"/>
                </a:solidFill>
                <a:latin typeface="+mj-lt"/>
              </a:rPr>
              <a:t>laborum</a:t>
            </a:r>
            <a:endParaRPr lang="en-US" sz="770" dirty="0">
              <a:solidFill>
                <a:schemeClr val="tx1"/>
              </a:solidFill>
              <a:latin typeface="+mj-lt"/>
            </a:endParaRPr>
          </a:p>
        </p:txBody>
      </p:sp>
      <p:sp>
        <p:nvSpPr>
          <p:cNvPr id="60" name="TextBox 59">
            <a:extLst>
              <a:ext uri="{FF2B5EF4-FFF2-40B4-BE49-F238E27FC236}">
                <a16:creationId xmlns:a16="http://schemas.microsoft.com/office/drawing/2014/main" id="{B32A8857-DA86-B34B-A8DD-9013398F11A2}"/>
              </a:ext>
            </a:extLst>
          </p:cNvPr>
          <p:cNvSpPr txBox="1"/>
          <p:nvPr/>
        </p:nvSpPr>
        <p:spPr>
          <a:xfrm>
            <a:off x="8127377" y="3325220"/>
            <a:ext cx="1966861" cy="969516"/>
          </a:xfrm>
          <a:prstGeom prst="rect">
            <a:avLst/>
          </a:prstGeom>
          <a:noFill/>
        </p:spPr>
        <p:txBody>
          <a:bodyPr wrap="square" lIns="78203" tIns="156405" rIns="78203" bIns="78203" rtlCol="0">
            <a:noAutofit/>
          </a:bodyPr>
          <a:lstStyle>
            <a:defPPr>
              <a:defRPr lang="en-US"/>
            </a:defPPr>
            <a:lvl1pPr>
              <a:buSzPct val="100000"/>
              <a:defRPr sz="1200">
                <a:solidFill>
                  <a:srgbClr val="313131"/>
                </a:solidFill>
              </a:defRPr>
            </a:lvl1pPr>
          </a:lstStyle>
          <a:p>
            <a:r>
              <a:rPr lang="en-US" sz="770" dirty="0">
                <a:solidFill>
                  <a:schemeClr val="tx1"/>
                </a:solidFill>
                <a:latin typeface="+mj-lt"/>
              </a:rPr>
              <a:t>Lorem ipsum dolor sit </a:t>
            </a:r>
            <a:r>
              <a:rPr lang="en-US" sz="770" dirty="0" err="1">
                <a:solidFill>
                  <a:schemeClr val="tx1"/>
                </a:solidFill>
                <a:latin typeface="+mj-lt"/>
              </a:rPr>
              <a:t>amet</a:t>
            </a:r>
            <a:r>
              <a:rPr lang="en-US" sz="770" dirty="0">
                <a:solidFill>
                  <a:schemeClr val="tx1"/>
                </a:solidFill>
                <a:latin typeface="+mj-lt"/>
              </a:rPr>
              <a:t>, </a:t>
            </a:r>
            <a:r>
              <a:rPr lang="en-US" sz="770" dirty="0" err="1">
                <a:solidFill>
                  <a:schemeClr val="tx1"/>
                </a:solidFill>
                <a:latin typeface="+mj-lt"/>
              </a:rPr>
              <a:t>consectetur</a:t>
            </a:r>
            <a:r>
              <a:rPr lang="en-US" sz="770" dirty="0">
                <a:solidFill>
                  <a:schemeClr val="tx1"/>
                </a:solidFill>
                <a:latin typeface="+mj-lt"/>
              </a:rPr>
              <a:t> </a:t>
            </a:r>
            <a:r>
              <a:rPr lang="en-US" sz="770" dirty="0" err="1">
                <a:solidFill>
                  <a:schemeClr val="tx1"/>
                </a:solidFill>
                <a:latin typeface="+mj-lt"/>
              </a:rPr>
              <a:t>adipiscing</a:t>
            </a:r>
            <a:r>
              <a:rPr lang="en-US" sz="770" dirty="0">
                <a:solidFill>
                  <a:schemeClr val="tx1"/>
                </a:solidFill>
                <a:latin typeface="+mj-lt"/>
              </a:rPr>
              <a:t> </a:t>
            </a:r>
            <a:r>
              <a:rPr lang="en-US" sz="770" dirty="0" err="1">
                <a:solidFill>
                  <a:schemeClr val="tx1"/>
                </a:solidFill>
                <a:latin typeface="+mj-lt"/>
              </a:rPr>
              <a:t>elit</a:t>
            </a:r>
            <a:r>
              <a:rPr lang="en-US" sz="770" dirty="0">
                <a:solidFill>
                  <a:schemeClr val="tx1"/>
                </a:solidFill>
                <a:latin typeface="+mj-lt"/>
              </a:rPr>
              <a:t>, </a:t>
            </a:r>
            <a:r>
              <a:rPr lang="en-US" sz="770" dirty="0" err="1">
                <a:solidFill>
                  <a:schemeClr val="tx1"/>
                </a:solidFill>
                <a:latin typeface="+mj-lt"/>
              </a:rPr>
              <a:t>sed</a:t>
            </a:r>
            <a:r>
              <a:rPr lang="en-US" sz="770" dirty="0">
                <a:solidFill>
                  <a:schemeClr val="tx1"/>
                </a:solidFill>
                <a:latin typeface="+mj-lt"/>
              </a:rPr>
              <a:t> do </a:t>
            </a:r>
            <a:r>
              <a:rPr lang="en-US" sz="770" dirty="0" err="1">
                <a:solidFill>
                  <a:schemeClr val="tx1"/>
                </a:solidFill>
                <a:latin typeface="+mj-lt"/>
              </a:rPr>
              <a:t>eiusmod</a:t>
            </a:r>
            <a:r>
              <a:rPr lang="en-US" sz="770" dirty="0">
                <a:solidFill>
                  <a:schemeClr val="tx1"/>
                </a:solidFill>
                <a:latin typeface="+mj-lt"/>
              </a:rPr>
              <a:t> </a:t>
            </a:r>
            <a:r>
              <a:rPr lang="en-US" sz="770" dirty="0" err="1">
                <a:solidFill>
                  <a:schemeClr val="tx1"/>
                </a:solidFill>
                <a:latin typeface="+mj-lt"/>
              </a:rPr>
              <a:t>tempor</a:t>
            </a:r>
            <a:r>
              <a:rPr lang="en-US" sz="770" dirty="0">
                <a:solidFill>
                  <a:schemeClr val="tx1"/>
                </a:solidFill>
                <a:latin typeface="+mj-lt"/>
              </a:rPr>
              <a:t> </a:t>
            </a:r>
            <a:r>
              <a:rPr lang="en-US" sz="770" dirty="0" err="1">
                <a:solidFill>
                  <a:schemeClr val="tx1"/>
                </a:solidFill>
                <a:latin typeface="+mj-lt"/>
              </a:rPr>
              <a:t>incididunt</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labore</a:t>
            </a:r>
            <a:r>
              <a:rPr lang="en-US" sz="770" dirty="0">
                <a:solidFill>
                  <a:schemeClr val="tx1"/>
                </a:solidFill>
                <a:latin typeface="+mj-lt"/>
              </a:rPr>
              <a:t> et </a:t>
            </a:r>
            <a:r>
              <a:rPr lang="en-US" sz="770" dirty="0" err="1">
                <a:solidFill>
                  <a:schemeClr val="tx1"/>
                </a:solidFill>
                <a:latin typeface="+mj-lt"/>
              </a:rPr>
              <a:t>dolore</a:t>
            </a:r>
            <a:r>
              <a:rPr lang="en-US" sz="770" dirty="0">
                <a:solidFill>
                  <a:schemeClr val="tx1"/>
                </a:solidFill>
                <a:latin typeface="+mj-lt"/>
              </a:rPr>
              <a:t> magna </a:t>
            </a:r>
            <a:r>
              <a:rPr lang="en-US" sz="770" dirty="0" err="1">
                <a:solidFill>
                  <a:schemeClr val="tx1"/>
                </a:solidFill>
                <a:latin typeface="+mj-lt"/>
              </a:rPr>
              <a:t>aliqua</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enim</a:t>
            </a:r>
            <a:r>
              <a:rPr lang="en-US" sz="770" dirty="0">
                <a:solidFill>
                  <a:schemeClr val="tx1"/>
                </a:solidFill>
                <a:latin typeface="+mj-lt"/>
              </a:rPr>
              <a:t> ad minim </a:t>
            </a:r>
            <a:r>
              <a:rPr lang="en-US" sz="770" dirty="0" err="1">
                <a:solidFill>
                  <a:schemeClr val="tx1"/>
                </a:solidFill>
                <a:latin typeface="+mj-lt"/>
              </a:rPr>
              <a:t>veniam</a:t>
            </a:r>
            <a:r>
              <a:rPr lang="en-US" sz="770" dirty="0">
                <a:solidFill>
                  <a:schemeClr val="tx1"/>
                </a:solidFill>
                <a:latin typeface="+mj-lt"/>
              </a:rPr>
              <a:t>, </a:t>
            </a:r>
            <a:r>
              <a:rPr lang="en-US" sz="770" dirty="0" err="1">
                <a:solidFill>
                  <a:schemeClr val="tx1"/>
                </a:solidFill>
                <a:latin typeface="+mj-lt"/>
              </a:rPr>
              <a:t>quis</a:t>
            </a:r>
            <a:r>
              <a:rPr lang="en-US" sz="770" dirty="0">
                <a:solidFill>
                  <a:schemeClr val="tx1"/>
                </a:solidFill>
                <a:latin typeface="+mj-lt"/>
              </a:rPr>
              <a:t> </a:t>
            </a:r>
            <a:r>
              <a:rPr lang="en-US" sz="770" dirty="0" err="1">
                <a:solidFill>
                  <a:schemeClr val="tx1"/>
                </a:solidFill>
                <a:latin typeface="+mj-lt"/>
              </a:rPr>
              <a:t>nostrud</a:t>
            </a:r>
            <a:r>
              <a:rPr lang="en-US" sz="770" dirty="0">
                <a:solidFill>
                  <a:schemeClr val="tx1"/>
                </a:solidFill>
                <a:latin typeface="+mj-lt"/>
              </a:rPr>
              <a:t> exercitation </a:t>
            </a:r>
            <a:r>
              <a:rPr lang="en-US" sz="770" dirty="0" err="1">
                <a:solidFill>
                  <a:schemeClr val="tx1"/>
                </a:solidFill>
                <a:latin typeface="+mj-lt"/>
              </a:rPr>
              <a:t>ullamco</a:t>
            </a:r>
            <a:r>
              <a:rPr lang="en-US" sz="770" dirty="0">
                <a:solidFill>
                  <a:schemeClr val="tx1"/>
                </a:solidFill>
                <a:latin typeface="+mj-lt"/>
              </a:rPr>
              <a:t> </a:t>
            </a:r>
            <a:r>
              <a:rPr lang="en-US" sz="770" dirty="0" err="1">
                <a:solidFill>
                  <a:schemeClr val="tx1"/>
                </a:solidFill>
                <a:latin typeface="+mj-lt"/>
              </a:rPr>
              <a:t>laboris</a:t>
            </a:r>
            <a:r>
              <a:rPr lang="en-US" sz="770" dirty="0">
                <a:solidFill>
                  <a:schemeClr val="tx1"/>
                </a:solidFill>
                <a:latin typeface="+mj-lt"/>
              </a:rPr>
              <a:t> nisi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aliquip</a:t>
            </a:r>
            <a:r>
              <a:rPr lang="en-US" sz="770" dirty="0">
                <a:solidFill>
                  <a:schemeClr val="tx1"/>
                </a:solidFill>
                <a:latin typeface="+mj-lt"/>
              </a:rPr>
              <a:t> ex </a:t>
            </a:r>
            <a:r>
              <a:rPr lang="en-US" sz="770" dirty="0" err="1">
                <a:solidFill>
                  <a:schemeClr val="tx1"/>
                </a:solidFill>
                <a:latin typeface="+mj-lt"/>
              </a:rPr>
              <a:t>ea</a:t>
            </a:r>
            <a:r>
              <a:rPr lang="en-US" sz="770" dirty="0">
                <a:solidFill>
                  <a:schemeClr val="tx1"/>
                </a:solidFill>
                <a:latin typeface="+mj-lt"/>
              </a:rPr>
              <a:t> </a:t>
            </a:r>
            <a:r>
              <a:rPr lang="en-US" sz="770" dirty="0" err="1">
                <a:solidFill>
                  <a:schemeClr val="tx1"/>
                </a:solidFill>
                <a:latin typeface="+mj-lt"/>
              </a:rPr>
              <a:t>commodo</a:t>
            </a:r>
            <a:r>
              <a:rPr lang="en-US" sz="770" dirty="0">
                <a:solidFill>
                  <a:schemeClr val="tx1"/>
                </a:solidFill>
                <a:latin typeface="+mj-lt"/>
              </a:rPr>
              <a:t> </a:t>
            </a:r>
            <a:r>
              <a:rPr lang="en-US" sz="770" dirty="0" err="1">
                <a:solidFill>
                  <a:schemeClr val="tx1"/>
                </a:solidFill>
                <a:latin typeface="+mj-lt"/>
              </a:rPr>
              <a:t>consequat</a:t>
            </a:r>
            <a:r>
              <a:rPr lang="en-US" sz="770" dirty="0">
                <a:solidFill>
                  <a:schemeClr val="tx1"/>
                </a:solidFill>
                <a:latin typeface="+mj-lt"/>
              </a:rPr>
              <a:t>. </a:t>
            </a:r>
            <a:r>
              <a:rPr lang="en-US" sz="770" dirty="0" err="1">
                <a:solidFill>
                  <a:schemeClr val="tx1"/>
                </a:solidFill>
                <a:latin typeface="+mj-lt"/>
              </a:rPr>
              <a:t>Duis</a:t>
            </a:r>
            <a:r>
              <a:rPr lang="en-US" sz="770" dirty="0">
                <a:solidFill>
                  <a:schemeClr val="tx1"/>
                </a:solidFill>
                <a:latin typeface="+mj-lt"/>
              </a:rPr>
              <a:t> </a:t>
            </a:r>
            <a:r>
              <a:rPr lang="en-US" sz="770" dirty="0" err="1">
                <a:solidFill>
                  <a:schemeClr val="tx1"/>
                </a:solidFill>
                <a:latin typeface="+mj-lt"/>
              </a:rPr>
              <a:t>aute</a:t>
            </a:r>
            <a:r>
              <a:rPr lang="en-US" sz="770" dirty="0">
                <a:solidFill>
                  <a:schemeClr val="tx1"/>
                </a:solidFill>
                <a:latin typeface="+mj-lt"/>
              </a:rPr>
              <a:t> </a:t>
            </a:r>
            <a:r>
              <a:rPr lang="en-US" sz="770" dirty="0" err="1">
                <a:solidFill>
                  <a:schemeClr val="tx1"/>
                </a:solidFill>
                <a:latin typeface="+mj-lt"/>
              </a:rPr>
              <a:t>irure</a:t>
            </a:r>
            <a:r>
              <a:rPr lang="en-US" sz="770" dirty="0">
                <a:solidFill>
                  <a:schemeClr val="tx1"/>
                </a:solidFill>
                <a:latin typeface="+mj-lt"/>
              </a:rPr>
              <a:t> dolor in </a:t>
            </a:r>
            <a:r>
              <a:rPr lang="en-US" sz="770" dirty="0" err="1">
                <a:solidFill>
                  <a:schemeClr val="tx1"/>
                </a:solidFill>
                <a:latin typeface="+mj-lt"/>
              </a:rPr>
              <a:t>reprehenderit</a:t>
            </a:r>
            <a:r>
              <a:rPr lang="en-US" sz="770" dirty="0">
                <a:solidFill>
                  <a:schemeClr val="tx1"/>
                </a:solidFill>
                <a:latin typeface="+mj-lt"/>
              </a:rPr>
              <a:t> in </a:t>
            </a:r>
            <a:r>
              <a:rPr lang="en-US" sz="770" dirty="0" err="1">
                <a:solidFill>
                  <a:schemeClr val="tx1"/>
                </a:solidFill>
                <a:latin typeface="+mj-lt"/>
              </a:rPr>
              <a:t>voluptate</a:t>
            </a:r>
            <a:r>
              <a:rPr lang="en-US" sz="770" dirty="0">
                <a:solidFill>
                  <a:schemeClr val="tx1"/>
                </a:solidFill>
                <a:latin typeface="+mj-lt"/>
              </a:rPr>
              <a:t> </a:t>
            </a:r>
            <a:r>
              <a:rPr lang="en-US" sz="770" dirty="0" err="1">
                <a:solidFill>
                  <a:schemeClr val="tx1"/>
                </a:solidFill>
                <a:latin typeface="+mj-lt"/>
              </a:rPr>
              <a:t>velit</a:t>
            </a:r>
            <a:r>
              <a:rPr lang="en-US" sz="770" dirty="0">
                <a:solidFill>
                  <a:schemeClr val="tx1"/>
                </a:solidFill>
                <a:latin typeface="+mj-lt"/>
              </a:rPr>
              <a:t> </a:t>
            </a:r>
            <a:r>
              <a:rPr lang="en-US" sz="770" dirty="0" err="1">
                <a:solidFill>
                  <a:schemeClr val="tx1"/>
                </a:solidFill>
                <a:latin typeface="+mj-lt"/>
              </a:rPr>
              <a:t>esse</a:t>
            </a:r>
            <a:r>
              <a:rPr lang="en-US" sz="770" dirty="0">
                <a:solidFill>
                  <a:schemeClr val="tx1"/>
                </a:solidFill>
                <a:latin typeface="+mj-lt"/>
              </a:rPr>
              <a:t> </a:t>
            </a:r>
            <a:r>
              <a:rPr lang="en-US" sz="770" dirty="0" err="1">
                <a:solidFill>
                  <a:schemeClr val="tx1"/>
                </a:solidFill>
                <a:latin typeface="+mj-lt"/>
              </a:rPr>
              <a:t>cillum</a:t>
            </a:r>
            <a:r>
              <a:rPr lang="en-US" sz="770" dirty="0">
                <a:solidFill>
                  <a:schemeClr val="tx1"/>
                </a:solidFill>
                <a:latin typeface="+mj-lt"/>
              </a:rPr>
              <a:t> </a:t>
            </a:r>
            <a:r>
              <a:rPr lang="en-US" sz="770" dirty="0" err="1">
                <a:solidFill>
                  <a:schemeClr val="tx1"/>
                </a:solidFill>
                <a:latin typeface="+mj-lt"/>
              </a:rPr>
              <a:t>dolore</a:t>
            </a:r>
            <a:r>
              <a:rPr lang="en-US" sz="770" dirty="0">
                <a:solidFill>
                  <a:schemeClr val="tx1"/>
                </a:solidFill>
                <a:latin typeface="+mj-lt"/>
              </a:rPr>
              <a:t> </a:t>
            </a:r>
            <a:r>
              <a:rPr lang="en-US" sz="770" dirty="0" err="1">
                <a:solidFill>
                  <a:schemeClr val="tx1"/>
                </a:solidFill>
                <a:latin typeface="+mj-lt"/>
              </a:rPr>
              <a:t>eu</a:t>
            </a:r>
            <a:r>
              <a:rPr lang="en-US" sz="770" dirty="0">
                <a:solidFill>
                  <a:schemeClr val="tx1"/>
                </a:solidFill>
                <a:latin typeface="+mj-lt"/>
              </a:rPr>
              <a:t> </a:t>
            </a:r>
            <a:r>
              <a:rPr lang="en-US" sz="770" dirty="0" err="1">
                <a:solidFill>
                  <a:schemeClr val="tx1"/>
                </a:solidFill>
                <a:latin typeface="+mj-lt"/>
              </a:rPr>
              <a:t>fugiat</a:t>
            </a:r>
            <a:r>
              <a:rPr lang="en-US" sz="770" dirty="0">
                <a:solidFill>
                  <a:schemeClr val="tx1"/>
                </a:solidFill>
                <a:latin typeface="+mj-lt"/>
              </a:rPr>
              <a:t> </a:t>
            </a:r>
            <a:r>
              <a:rPr lang="en-US" sz="770" dirty="0" err="1">
                <a:solidFill>
                  <a:schemeClr val="tx1"/>
                </a:solidFill>
                <a:latin typeface="+mj-lt"/>
              </a:rPr>
              <a:t>nulla</a:t>
            </a:r>
            <a:r>
              <a:rPr lang="en-US" sz="770" dirty="0">
                <a:solidFill>
                  <a:schemeClr val="tx1"/>
                </a:solidFill>
                <a:latin typeface="+mj-lt"/>
              </a:rPr>
              <a:t> </a:t>
            </a:r>
            <a:r>
              <a:rPr lang="en-US" sz="770" dirty="0" err="1">
                <a:solidFill>
                  <a:schemeClr val="tx1"/>
                </a:solidFill>
                <a:latin typeface="+mj-lt"/>
              </a:rPr>
              <a:t>pariatur</a:t>
            </a:r>
            <a:r>
              <a:rPr lang="en-US" sz="770" dirty="0">
                <a:solidFill>
                  <a:schemeClr val="tx1"/>
                </a:solidFill>
                <a:latin typeface="+mj-lt"/>
              </a:rPr>
              <a:t>. </a:t>
            </a:r>
            <a:r>
              <a:rPr lang="en-US" sz="770" dirty="0" err="1">
                <a:solidFill>
                  <a:schemeClr val="tx1"/>
                </a:solidFill>
                <a:latin typeface="+mj-lt"/>
              </a:rPr>
              <a:t>Excepteur</a:t>
            </a:r>
            <a:r>
              <a:rPr lang="en-US" sz="770" dirty="0">
                <a:solidFill>
                  <a:schemeClr val="tx1"/>
                </a:solidFill>
                <a:latin typeface="+mj-lt"/>
              </a:rPr>
              <a:t> </a:t>
            </a:r>
            <a:r>
              <a:rPr lang="en-US" sz="770" dirty="0" err="1">
                <a:solidFill>
                  <a:schemeClr val="tx1"/>
                </a:solidFill>
                <a:latin typeface="+mj-lt"/>
              </a:rPr>
              <a:t>sint</a:t>
            </a:r>
            <a:r>
              <a:rPr lang="en-US" sz="770" dirty="0">
                <a:solidFill>
                  <a:schemeClr val="tx1"/>
                </a:solidFill>
                <a:latin typeface="+mj-lt"/>
              </a:rPr>
              <a:t> </a:t>
            </a:r>
            <a:r>
              <a:rPr lang="en-US" sz="770" dirty="0" err="1">
                <a:solidFill>
                  <a:schemeClr val="tx1"/>
                </a:solidFill>
                <a:latin typeface="+mj-lt"/>
              </a:rPr>
              <a:t>occaecat</a:t>
            </a:r>
            <a:r>
              <a:rPr lang="en-US" sz="770" dirty="0">
                <a:solidFill>
                  <a:schemeClr val="tx1"/>
                </a:solidFill>
                <a:latin typeface="+mj-lt"/>
              </a:rPr>
              <a:t> </a:t>
            </a:r>
            <a:r>
              <a:rPr lang="en-US" sz="770" dirty="0" err="1">
                <a:solidFill>
                  <a:schemeClr val="tx1"/>
                </a:solidFill>
                <a:latin typeface="+mj-lt"/>
              </a:rPr>
              <a:t>cupidatat</a:t>
            </a:r>
            <a:r>
              <a:rPr lang="en-US" sz="770" dirty="0">
                <a:solidFill>
                  <a:schemeClr val="tx1"/>
                </a:solidFill>
                <a:latin typeface="+mj-lt"/>
              </a:rPr>
              <a:t> non </a:t>
            </a:r>
            <a:r>
              <a:rPr lang="en-US" sz="770" dirty="0" err="1">
                <a:solidFill>
                  <a:schemeClr val="tx1"/>
                </a:solidFill>
                <a:latin typeface="+mj-lt"/>
              </a:rPr>
              <a:t>proident</a:t>
            </a:r>
            <a:r>
              <a:rPr lang="en-US" sz="770" dirty="0">
                <a:solidFill>
                  <a:schemeClr val="tx1"/>
                </a:solidFill>
                <a:latin typeface="+mj-lt"/>
              </a:rPr>
              <a:t>, </a:t>
            </a:r>
            <a:r>
              <a:rPr lang="en-US" sz="770" dirty="0" err="1">
                <a:solidFill>
                  <a:schemeClr val="tx1"/>
                </a:solidFill>
                <a:latin typeface="+mj-lt"/>
              </a:rPr>
              <a:t>sunt</a:t>
            </a:r>
            <a:r>
              <a:rPr lang="en-US" sz="770" dirty="0">
                <a:solidFill>
                  <a:schemeClr val="tx1"/>
                </a:solidFill>
                <a:latin typeface="+mj-lt"/>
              </a:rPr>
              <a:t> in culpa qui </a:t>
            </a:r>
            <a:r>
              <a:rPr lang="en-US" sz="770" dirty="0" err="1">
                <a:solidFill>
                  <a:schemeClr val="tx1"/>
                </a:solidFill>
                <a:latin typeface="+mj-lt"/>
              </a:rPr>
              <a:t>officia</a:t>
            </a:r>
            <a:r>
              <a:rPr lang="en-US" sz="770" dirty="0">
                <a:solidFill>
                  <a:schemeClr val="tx1"/>
                </a:solidFill>
                <a:latin typeface="+mj-lt"/>
              </a:rPr>
              <a:t> </a:t>
            </a:r>
            <a:r>
              <a:rPr lang="en-US" sz="770" dirty="0" err="1">
                <a:solidFill>
                  <a:schemeClr val="tx1"/>
                </a:solidFill>
                <a:latin typeface="+mj-lt"/>
              </a:rPr>
              <a:t>deserunt</a:t>
            </a:r>
            <a:r>
              <a:rPr lang="en-US" sz="770" dirty="0">
                <a:solidFill>
                  <a:schemeClr val="tx1"/>
                </a:solidFill>
                <a:latin typeface="+mj-lt"/>
              </a:rPr>
              <a:t> </a:t>
            </a:r>
            <a:r>
              <a:rPr lang="en-US" sz="770" dirty="0" err="1">
                <a:solidFill>
                  <a:schemeClr val="tx1"/>
                </a:solidFill>
                <a:latin typeface="+mj-lt"/>
              </a:rPr>
              <a:t>mollit</a:t>
            </a:r>
            <a:r>
              <a:rPr lang="en-US" sz="770" dirty="0">
                <a:solidFill>
                  <a:schemeClr val="tx1"/>
                </a:solidFill>
                <a:latin typeface="+mj-lt"/>
              </a:rPr>
              <a:t> </a:t>
            </a:r>
            <a:r>
              <a:rPr lang="en-US" sz="770" dirty="0" err="1">
                <a:solidFill>
                  <a:schemeClr val="tx1"/>
                </a:solidFill>
                <a:latin typeface="+mj-lt"/>
              </a:rPr>
              <a:t>anim</a:t>
            </a:r>
            <a:r>
              <a:rPr lang="en-US" sz="770" dirty="0">
                <a:solidFill>
                  <a:schemeClr val="tx1"/>
                </a:solidFill>
                <a:latin typeface="+mj-lt"/>
              </a:rPr>
              <a:t> id </a:t>
            </a:r>
            <a:r>
              <a:rPr lang="en-US" sz="770" dirty="0" err="1">
                <a:solidFill>
                  <a:schemeClr val="tx1"/>
                </a:solidFill>
                <a:latin typeface="+mj-lt"/>
              </a:rPr>
              <a:t>est</a:t>
            </a:r>
            <a:r>
              <a:rPr lang="en-US" sz="770" dirty="0">
                <a:solidFill>
                  <a:schemeClr val="tx1"/>
                </a:solidFill>
                <a:latin typeface="+mj-lt"/>
              </a:rPr>
              <a:t> </a:t>
            </a:r>
            <a:r>
              <a:rPr lang="en-US" sz="770" dirty="0" err="1">
                <a:solidFill>
                  <a:schemeClr val="tx1"/>
                </a:solidFill>
                <a:latin typeface="+mj-lt"/>
              </a:rPr>
              <a:t>laborum</a:t>
            </a:r>
            <a:endParaRPr lang="en-US" sz="770" dirty="0">
              <a:solidFill>
                <a:schemeClr val="tx1"/>
              </a:solidFill>
              <a:latin typeface="+mj-lt"/>
            </a:endParaRPr>
          </a:p>
        </p:txBody>
      </p:sp>
      <p:sp>
        <p:nvSpPr>
          <p:cNvPr id="61" name="TextBox 60">
            <a:extLst>
              <a:ext uri="{FF2B5EF4-FFF2-40B4-BE49-F238E27FC236}">
                <a16:creationId xmlns:a16="http://schemas.microsoft.com/office/drawing/2014/main" id="{804CFBFC-0B79-DD4B-A67B-DEBBCA2C8826}"/>
              </a:ext>
            </a:extLst>
          </p:cNvPr>
          <p:cNvSpPr txBox="1"/>
          <p:nvPr/>
        </p:nvSpPr>
        <p:spPr>
          <a:xfrm>
            <a:off x="1909540" y="3337478"/>
            <a:ext cx="2345698" cy="982203"/>
          </a:xfrm>
          <a:prstGeom prst="rect">
            <a:avLst/>
          </a:prstGeom>
          <a:noFill/>
        </p:spPr>
        <p:txBody>
          <a:bodyPr wrap="square" lIns="78203" tIns="156405" rIns="78203" bIns="78203" rtlCol="0">
            <a:noAutofit/>
          </a:bodyPr>
          <a:lstStyle>
            <a:defPPr>
              <a:defRPr lang="en-US"/>
            </a:defPPr>
            <a:lvl1pPr>
              <a:buSzPct val="100000"/>
              <a:defRPr sz="1200">
                <a:solidFill>
                  <a:srgbClr val="313131"/>
                </a:solidFill>
              </a:defRPr>
            </a:lvl1pPr>
          </a:lstStyle>
          <a:p>
            <a:r>
              <a:rPr lang="en-US" sz="770" dirty="0">
                <a:solidFill>
                  <a:schemeClr val="tx1"/>
                </a:solidFill>
                <a:latin typeface="+mj-lt"/>
              </a:rPr>
              <a:t>Lorem ipsum dolor sit </a:t>
            </a:r>
            <a:r>
              <a:rPr lang="en-US" sz="770" dirty="0" err="1">
                <a:solidFill>
                  <a:schemeClr val="tx1"/>
                </a:solidFill>
                <a:latin typeface="+mj-lt"/>
              </a:rPr>
              <a:t>amet</a:t>
            </a:r>
            <a:r>
              <a:rPr lang="en-US" sz="770" dirty="0">
                <a:solidFill>
                  <a:schemeClr val="tx1"/>
                </a:solidFill>
                <a:latin typeface="+mj-lt"/>
              </a:rPr>
              <a:t>, </a:t>
            </a:r>
            <a:r>
              <a:rPr lang="en-US" sz="770" dirty="0" err="1">
                <a:solidFill>
                  <a:schemeClr val="tx1"/>
                </a:solidFill>
                <a:latin typeface="+mj-lt"/>
              </a:rPr>
              <a:t>consectetur</a:t>
            </a:r>
            <a:r>
              <a:rPr lang="en-US" sz="770" dirty="0">
                <a:solidFill>
                  <a:schemeClr val="tx1"/>
                </a:solidFill>
                <a:latin typeface="+mj-lt"/>
              </a:rPr>
              <a:t> </a:t>
            </a:r>
            <a:r>
              <a:rPr lang="en-US" sz="770" dirty="0" err="1">
                <a:solidFill>
                  <a:schemeClr val="tx1"/>
                </a:solidFill>
                <a:latin typeface="+mj-lt"/>
              </a:rPr>
              <a:t>adipiscing</a:t>
            </a:r>
            <a:r>
              <a:rPr lang="en-US" sz="770" dirty="0">
                <a:solidFill>
                  <a:schemeClr val="tx1"/>
                </a:solidFill>
                <a:latin typeface="+mj-lt"/>
              </a:rPr>
              <a:t> </a:t>
            </a:r>
            <a:r>
              <a:rPr lang="en-US" sz="770" dirty="0" err="1">
                <a:solidFill>
                  <a:schemeClr val="tx1"/>
                </a:solidFill>
                <a:latin typeface="+mj-lt"/>
              </a:rPr>
              <a:t>elit</a:t>
            </a:r>
            <a:r>
              <a:rPr lang="en-US" sz="770" dirty="0">
                <a:solidFill>
                  <a:schemeClr val="tx1"/>
                </a:solidFill>
                <a:latin typeface="+mj-lt"/>
              </a:rPr>
              <a:t>, </a:t>
            </a:r>
            <a:r>
              <a:rPr lang="en-US" sz="770" dirty="0" err="1">
                <a:solidFill>
                  <a:schemeClr val="tx1"/>
                </a:solidFill>
                <a:latin typeface="+mj-lt"/>
              </a:rPr>
              <a:t>sed</a:t>
            </a:r>
            <a:r>
              <a:rPr lang="en-US" sz="770" dirty="0">
                <a:solidFill>
                  <a:schemeClr val="tx1"/>
                </a:solidFill>
                <a:latin typeface="+mj-lt"/>
              </a:rPr>
              <a:t> do </a:t>
            </a:r>
            <a:r>
              <a:rPr lang="en-US" sz="770" dirty="0" err="1">
                <a:solidFill>
                  <a:schemeClr val="tx1"/>
                </a:solidFill>
                <a:latin typeface="+mj-lt"/>
              </a:rPr>
              <a:t>eiusmod</a:t>
            </a:r>
            <a:r>
              <a:rPr lang="en-US" sz="770" dirty="0">
                <a:solidFill>
                  <a:schemeClr val="tx1"/>
                </a:solidFill>
                <a:latin typeface="+mj-lt"/>
              </a:rPr>
              <a:t> </a:t>
            </a:r>
            <a:r>
              <a:rPr lang="en-US" sz="770" dirty="0" err="1">
                <a:solidFill>
                  <a:schemeClr val="tx1"/>
                </a:solidFill>
                <a:latin typeface="+mj-lt"/>
              </a:rPr>
              <a:t>tempor</a:t>
            </a:r>
            <a:r>
              <a:rPr lang="en-US" sz="770" dirty="0">
                <a:solidFill>
                  <a:schemeClr val="tx1"/>
                </a:solidFill>
                <a:latin typeface="+mj-lt"/>
              </a:rPr>
              <a:t> </a:t>
            </a:r>
            <a:r>
              <a:rPr lang="en-US" sz="770" dirty="0" err="1">
                <a:solidFill>
                  <a:schemeClr val="tx1"/>
                </a:solidFill>
                <a:latin typeface="+mj-lt"/>
              </a:rPr>
              <a:t>incididunt</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labore</a:t>
            </a:r>
            <a:r>
              <a:rPr lang="en-US" sz="770" dirty="0">
                <a:solidFill>
                  <a:schemeClr val="tx1"/>
                </a:solidFill>
                <a:latin typeface="+mj-lt"/>
              </a:rPr>
              <a:t> et </a:t>
            </a:r>
            <a:r>
              <a:rPr lang="en-US" sz="770" dirty="0" err="1">
                <a:solidFill>
                  <a:schemeClr val="tx1"/>
                </a:solidFill>
                <a:latin typeface="+mj-lt"/>
              </a:rPr>
              <a:t>dolore</a:t>
            </a:r>
            <a:r>
              <a:rPr lang="en-US" sz="770" dirty="0">
                <a:solidFill>
                  <a:schemeClr val="tx1"/>
                </a:solidFill>
                <a:latin typeface="+mj-lt"/>
              </a:rPr>
              <a:t> magna </a:t>
            </a:r>
            <a:r>
              <a:rPr lang="en-US" sz="770" dirty="0" err="1">
                <a:solidFill>
                  <a:schemeClr val="tx1"/>
                </a:solidFill>
                <a:latin typeface="+mj-lt"/>
              </a:rPr>
              <a:t>aliqua</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enim</a:t>
            </a:r>
            <a:r>
              <a:rPr lang="en-US" sz="770" dirty="0">
                <a:solidFill>
                  <a:schemeClr val="tx1"/>
                </a:solidFill>
                <a:latin typeface="+mj-lt"/>
              </a:rPr>
              <a:t> ad minim </a:t>
            </a:r>
            <a:r>
              <a:rPr lang="en-US" sz="770" dirty="0" err="1">
                <a:solidFill>
                  <a:schemeClr val="tx1"/>
                </a:solidFill>
                <a:latin typeface="+mj-lt"/>
              </a:rPr>
              <a:t>veniam</a:t>
            </a:r>
            <a:r>
              <a:rPr lang="en-US" sz="770" dirty="0">
                <a:solidFill>
                  <a:schemeClr val="tx1"/>
                </a:solidFill>
                <a:latin typeface="+mj-lt"/>
              </a:rPr>
              <a:t>, </a:t>
            </a:r>
            <a:r>
              <a:rPr lang="en-US" sz="770" dirty="0" err="1">
                <a:solidFill>
                  <a:schemeClr val="tx1"/>
                </a:solidFill>
                <a:latin typeface="+mj-lt"/>
              </a:rPr>
              <a:t>quis</a:t>
            </a:r>
            <a:r>
              <a:rPr lang="en-US" sz="770" dirty="0">
                <a:solidFill>
                  <a:schemeClr val="tx1"/>
                </a:solidFill>
                <a:latin typeface="+mj-lt"/>
              </a:rPr>
              <a:t> </a:t>
            </a:r>
            <a:r>
              <a:rPr lang="en-US" sz="770" dirty="0" err="1">
                <a:solidFill>
                  <a:schemeClr val="tx1"/>
                </a:solidFill>
                <a:latin typeface="+mj-lt"/>
              </a:rPr>
              <a:t>nostrud</a:t>
            </a:r>
            <a:r>
              <a:rPr lang="en-US" sz="770" dirty="0">
                <a:solidFill>
                  <a:schemeClr val="tx1"/>
                </a:solidFill>
                <a:latin typeface="+mj-lt"/>
              </a:rPr>
              <a:t> exercitation </a:t>
            </a:r>
            <a:r>
              <a:rPr lang="en-US" sz="770" dirty="0" err="1">
                <a:solidFill>
                  <a:schemeClr val="tx1"/>
                </a:solidFill>
                <a:latin typeface="+mj-lt"/>
              </a:rPr>
              <a:t>ullamco</a:t>
            </a:r>
            <a:r>
              <a:rPr lang="en-US" sz="770" dirty="0">
                <a:solidFill>
                  <a:schemeClr val="tx1"/>
                </a:solidFill>
                <a:latin typeface="+mj-lt"/>
              </a:rPr>
              <a:t> </a:t>
            </a:r>
            <a:r>
              <a:rPr lang="en-US" sz="770" dirty="0" err="1">
                <a:solidFill>
                  <a:schemeClr val="tx1"/>
                </a:solidFill>
                <a:latin typeface="+mj-lt"/>
              </a:rPr>
              <a:t>laboris</a:t>
            </a:r>
            <a:r>
              <a:rPr lang="en-US" sz="770" dirty="0">
                <a:solidFill>
                  <a:schemeClr val="tx1"/>
                </a:solidFill>
                <a:latin typeface="+mj-lt"/>
              </a:rPr>
              <a:t> nisi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aliquip</a:t>
            </a:r>
            <a:r>
              <a:rPr lang="en-US" sz="770" dirty="0">
                <a:solidFill>
                  <a:schemeClr val="tx1"/>
                </a:solidFill>
                <a:latin typeface="+mj-lt"/>
              </a:rPr>
              <a:t> ex </a:t>
            </a:r>
            <a:r>
              <a:rPr lang="en-US" sz="770" dirty="0" err="1">
                <a:solidFill>
                  <a:schemeClr val="tx1"/>
                </a:solidFill>
                <a:latin typeface="+mj-lt"/>
              </a:rPr>
              <a:t>ea</a:t>
            </a:r>
            <a:r>
              <a:rPr lang="en-US" sz="770" dirty="0">
                <a:solidFill>
                  <a:schemeClr val="tx1"/>
                </a:solidFill>
                <a:latin typeface="+mj-lt"/>
              </a:rPr>
              <a:t> </a:t>
            </a:r>
            <a:r>
              <a:rPr lang="en-US" sz="770" dirty="0" err="1">
                <a:solidFill>
                  <a:schemeClr val="tx1"/>
                </a:solidFill>
                <a:latin typeface="+mj-lt"/>
              </a:rPr>
              <a:t>commodo</a:t>
            </a:r>
            <a:r>
              <a:rPr lang="en-US" sz="770" dirty="0">
                <a:solidFill>
                  <a:schemeClr val="tx1"/>
                </a:solidFill>
                <a:latin typeface="+mj-lt"/>
              </a:rPr>
              <a:t> </a:t>
            </a:r>
            <a:r>
              <a:rPr lang="en-US" sz="770" dirty="0" err="1">
                <a:solidFill>
                  <a:schemeClr val="tx1"/>
                </a:solidFill>
                <a:latin typeface="+mj-lt"/>
              </a:rPr>
              <a:t>consequat</a:t>
            </a:r>
            <a:r>
              <a:rPr lang="en-US" sz="770" dirty="0">
                <a:solidFill>
                  <a:schemeClr val="tx1"/>
                </a:solidFill>
                <a:latin typeface="+mj-lt"/>
              </a:rPr>
              <a:t>. </a:t>
            </a:r>
            <a:r>
              <a:rPr lang="en-US" sz="770" dirty="0" err="1">
                <a:solidFill>
                  <a:schemeClr val="tx1"/>
                </a:solidFill>
                <a:latin typeface="+mj-lt"/>
              </a:rPr>
              <a:t>Duis</a:t>
            </a:r>
            <a:r>
              <a:rPr lang="en-US" sz="770" dirty="0">
                <a:solidFill>
                  <a:schemeClr val="tx1"/>
                </a:solidFill>
                <a:latin typeface="+mj-lt"/>
              </a:rPr>
              <a:t> </a:t>
            </a:r>
            <a:r>
              <a:rPr lang="en-US" sz="770" dirty="0" err="1">
                <a:solidFill>
                  <a:schemeClr val="tx1"/>
                </a:solidFill>
                <a:latin typeface="+mj-lt"/>
              </a:rPr>
              <a:t>aute</a:t>
            </a:r>
            <a:r>
              <a:rPr lang="en-US" sz="770" dirty="0">
                <a:solidFill>
                  <a:schemeClr val="tx1"/>
                </a:solidFill>
                <a:latin typeface="+mj-lt"/>
              </a:rPr>
              <a:t> </a:t>
            </a:r>
            <a:r>
              <a:rPr lang="en-US" sz="770" dirty="0" err="1">
                <a:solidFill>
                  <a:schemeClr val="tx1"/>
                </a:solidFill>
                <a:latin typeface="+mj-lt"/>
              </a:rPr>
              <a:t>irure</a:t>
            </a:r>
            <a:r>
              <a:rPr lang="en-US" sz="770" dirty="0">
                <a:solidFill>
                  <a:schemeClr val="tx1"/>
                </a:solidFill>
                <a:latin typeface="+mj-lt"/>
              </a:rPr>
              <a:t> dolor in </a:t>
            </a:r>
            <a:r>
              <a:rPr lang="en-US" sz="770" dirty="0" err="1">
                <a:solidFill>
                  <a:schemeClr val="tx1"/>
                </a:solidFill>
                <a:latin typeface="+mj-lt"/>
              </a:rPr>
              <a:t>reprehenderit</a:t>
            </a:r>
            <a:r>
              <a:rPr lang="en-US" sz="770" dirty="0">
                <a:solidFill>
                  <a:schemeClr val="tx1"/>
                </a:solidFill>
                <a:latin typeface="+mj-lt"/>
              </a:rPr>
              <a:t> in </a:t>
            </a:r>
            <a:r>
              <a:rPr lang="en-US" sz="770" dirty="0" err="1">
                <a:solidFill>
                  <a:schemeClr val="tx1"/>
                </a:solidFill>
                <a:latin typeface="+mj-lt"/>
              </a:rPr>
              <a:t>voluptate</a:t>
            </a:r>
            <a:r>
              <a:rPr lang="en-US" sz="770" dirty="0">
                <a:solidFill>
                  <a:schemeClr val="tx1"/>
                </a:solidFill>
                <a:latin typeface="+mj-lt"/>
              </a:rPr>
              <a:t> </a:t>
            </a:r>
            <a:r>
              <a:rPr lang="en-US" sz="770" dirty="0" err="1">
                <a:solidFill>
                  <a:schemeClr val="tx1"/>
                </a:solidFill>
                <a:latin typeface="+mj-lt"/>
              </a:rPr>
              <a:t>velit</a:t>
            </a:r>
            <a:r>
              <a:rPr lang="en-US" sz="770" dirty="0">
                <a:solidFill>
                  <a:schemeClr val="tx1"/>
                </a:solidFill>
                <a:latin typeface="+mj-lt"/>
              </a:rPr>
              <a:t> </a:t>
            </a:r>
            <a:r>
              <a:rPr lang="en-US" sz="770" dirty="0" err="1">
                <a:solidFill>
                  <a:schemeClr val="tx1"/>
                </a:solidFill>
                <a:latin typeface="+mj-lt"/>
              </a:rPr>
              <a:t>esse</a:t>
            </a:r>
            <a:r>
              <a:rPr lang="en-US" sz="770" dirty="0">
                <a:solidFill>
                  <a:schemeClr val="tx1"/>
                </a:solidFill>
                <a:latin typeface="+mj-lt"/>
              </a:rPr>
              <a:t> </a:t>
            </a:r>
            <a:r>
              <a:rPr lang="en-US" sz="770" dirty="0" err="1">
                <a:solidFill>
                  <a:schemeClr val="tx1"/>
                </a:solidFill>
                <a:latin typeface="+mj-lt"/>
              </a:rPr>
              <a:t>cillum</a:t>
            </a:r>
            <a:r>
              <a:rPr lang="en-US" sz="770" dirty="0">
                <a:solidFill>
                  <a:schemeClr val="tx1"/>
                </a:solidFill>
                <a:latin typeface="+mj-lt"/>
              </a:rPr>
              <a:t> </a:t>
            </a:r>
            <a:r>
              <a:rPr lang="en-US" sz="770" dirty="0" err="1">
                <a:solidFill>
                  <a:schemeClr val="tx1"/>
                </a:solidFill>
                <a:latin typeface="+mj-lt"/>
              </a:rPr>
              <a:t>dolore</a:t>
            </a:r>
            <a:r>
              <a:rPr lang="en-US" sz="770" dirty="0">
                <a:solidFill>
                  <a:schemeClr val="tx1"/>
                </a:solidFill>
                <a:latin typeface="+mj-lt"/>
              </a:rPr>
              <a:t> </a:t>
            </a:r>
            <a:r>
              <a:rPr lang="en-US" sz="770" dirty="0" err="1">
                <a:solidFill>
                  <a:schemeClr val="tx1"/>
                </a:solidFill>
                <a:latin typeface="+mj-lt"/>
              </a:rPr>
              <a:t>eu</a:t>
            </a:r>
            <a:r>
              <a:rPr lang="en-US" sz="770" dirty="0">
                <a:solidFill>
                  <a:schemeClr val="tx1"/>
                </a:solidFill>
                <a:latin typeface="+mj-lt"/>
              </a:rPr>
              <a:t> </a:t>
            </a:r>
            <a:r>
              <a:rPr lang="en-US" sz="770" dirty="0" err="1">
                <a:solidFill>
                  <a:schemeClr val="tx1"/>
                </a:solidFill>
                <a:latin typeface="+mj-lt"/>
              </a:rPr>
              <a:t>fugiat</a:t>
            </a:r>
            <a:r>
              <a:rPr lang="en-US" sz="770" dirty="0">
                <a:solidFill>
                  <a:schemeClr val="tx1"/>
                </a:solidFill>
                <a:latin typeface="+mj-lt"/>
              </a:rPr>
              <a:t> </a:t>
            </a:r>
            <a:r>
              <a:rPr lang="en-US" sz="770" dirty="0" err="1">
                <a:solidFill>
                  <a:schemeClr val="tx1"/>
                </a:solidFill>
                <a:latin typeface="+mj-lt"/>
              </a:rPr>
              <a:t>nulla</a:t>
            </a:r>
            <a:r>
              <a:rPr lang="en-US" sz="770" dirty="0">
                <a:solidFill>
                  <a:schemeClr val="tx1"/>
                </a:solidFill>
                <a:latin typeface="+mj-lt"/>
              </a:rPr>
              <a:t> </a:t>
            </a:r>
            <a:r>
              <a:rPr lang="en-US" sz="770" dirty="0" err="1">
                <a:solidFill>
                  <a:schemeClr val="tx1"/>
                </a:solidFill>
                <a:latin typeface="+mj-lt"/>
              </a:rPr>
              <a:t>pariatur</a:t>
            </a:r>
            <a:r>
              <a:rPr lang="en-US" sz="770" dirty="0">
                <a:solidFill>
                  <a:schemeClr val="tx1"/>
                </a:solidFill>
                <a:latin typeface="+mj-lt"/>
              </a:rPr>
              <a:t>. </a:t>
            </a:r>
            <a:r>
              <a:rPr lang="en-US" sz="770" dirty="0" err="1">
                <a:solidFill>
                  <a:schemeClr val="tx1"/>
                </a:solidFill>
                <a:latin typeface="+mj-lt"/>
              </a:rPr>
              <a:t>Excepteur</a:t>
            </a:r>
            <a:r>
              <a:rPr lang="en-US" sz="770" dirty="0">
                <a:solidFill>
                  <a:schemeClr val="tx1"/>
                </a:solidFill>
                <a:latin typeface="+mj-lt"/>
              </a:rPr>
              <a:t> </a:t>
            </a:r>
            <a:r>
              <a:rPr lang="en-US" sz="770" dirty="0" err="1">
                <a:solidFill>
                  <a:schemeClr val="tx1"/>
                </a:solidFill>
                <a:latin typeface="+mj-lt"/>
              </a:rPr>
              <a:t>sint</a:t>
            </a:r>
            <a:r>
              <a:rPr lang="en-US" sz="770" dirty="0">
                <a:solidFill>
                  <a:schemeClr val="tx1"/>
                </a:solidFill>
                <a:latin typeface="+mj-lt"/>
              </a:rPr>
              <a:t> </a:t>
            </a:r>
            <a:r>
              <a:rPr lang="en-US" sz="770" dirty="0" err="1">
                <a:solidFill>
                  <a:schemeClr val="tx1"/>
                </a:solidFill>
                <a:latin typeface="+mj-lt"/>
              </a:rPr>
              <a:t>occaecat</a:t>
            </a:r>
            <a:r>
              <a:rPr lang="en-US" sz="770" dirty="0">
                <a:solidFill>
                  <a:schemeClr val="tx1"/>
                </a:solidFill>
                <a:latin typeface="+mj-lt"/>
              </a:rPr>
              <a:t> </a:t>
            </a:r>
            <a:r>
              <a:rPr lang="en-US" sz="770" dirty="0" err="1">
                <a:solidFill>
                  <a:schemeClr val="tx1"/>
                </a:solidFill>
                <a:latin typeface="+mj-lt"/>
              </a:rPr>
              <a:t>cupidatat</a:t>
            </a:r>
            <a:r>
              <a:rPr lang="en-US" sz="770" dirty="0">
                <a:solidFill>
                  <a:schemeClr val="tx1"/>
                </a:solidFill>
                <a:latin typeface="+mj-lt"/>
              </a:rPr>
              <a:t> non </a:t>
            </a:r>
            <a:r>
              <a:rPr lang="en-US" sz="770" dirty="0" err="1">
                <a:solidFill>
                  <a:schemeClr val="tx1"/>
                </a:solidFill>
                <a:latin typeface="+mj-lt"/>
              </a:rPr>
              <a:t>proident</a:t>
            </a:r>
            <a:r>
              <a:rPr lang="en-US" sz="770" dirty="0">
                <a:solidFill>
                  <a:schemeClr val="tx1"/>
                </a:solidFill>
                <a:latin typeface="+mj-lt"/>
              </a:rPr>
              <a:t>, </a:t>
            </a:r>
            <a:r>
              <a:rPr lang="en-US" sz="770" dirty="0" err="1">
                <a:solidFill>
                  <a:schemeClr val="tx1"/>
                </a:solidFill>
                <a:latin typeface="+mj-lt"/>
              </a:rPr>
              <a:t>sunt</a:t>
            </a:r>
            <a:r>
              <a:rPr lang="en-US" sz="770" dirty="0">
                <a:solidFill>
                  <a:schemeClr val="tx1"/>
                </a:solidFill>
                <a:latin typeface="+mj-lt"/>
              </a:rPr>
              <a:t> in culpa qui </a:t>
            </a:r>
            <a:r>
              <a:rPr lang="en-US" sz="770" dirty="0" err="1">
                <a:solidFill>
                  <a:schemeClr val="tx1"/>
                </a:solidFill>
                <a:latin typeface="+mj-lt"/>
              </a:rPr>
              <a:t>officia</a:t>
            </a:r>
            <a:r>
              <a:rPr lang="en-US" sz="770" dirty="0">
                <a:solidFill>
                  <a:schemeClr val="tx1"/>
                </a:solidFill>
                <a:latin typeface="+mj-lt"/>
              </a:rPr>
              <a:t> </a:t>
            </a:r>
            <a:r>
              <a:rPr lang="en-US" sz="770" dirty="0" err="1">
                <a:solidFill>
                  <a:schemeClr val="tx1"/>
                </a:solidFill>
                <a:latin typeface="+mj-lt"/>
              </a:rPr>
              <a:t>deserunt</a:t>
            </a:r>
            <a:r>
              <a:rPr lang="en-US" sz="770" dirty="0">
                <a:solidFill>
                  <a:schemeClr val="tx1"/>
                </a:solidFill>
                <a:latin typeface="+mj-lt"/>
              </a:rPr>
              <a:t> </a:t>
            </a:r>
            <a:r>
              <a:rPr lang="en-US" sz="770" dirty="0" err="1">
                <a:solidFill>
                  <a:schemeClr val="tx1"/>
                </a:solidFill>
                <a:latin typeface="+mj-lt"/>
              </a:rPr>
              <a:t>mollit</a:t>
            </a:r>
            <a:r>
              <a:rPr lang="en-US" sz="770" dirty="0">
                <a:solidFill>
                  <a:schemeClr val="tx1"/>
                </a:solidFill>
                <a:latin typeface="+mj-lt"/>
              </a:rPr>
              <a:t> </a:t>
            </a:r>
            <a:r>
              <a:rPr lang="en-US" sz="770" dirty="0" err="1">
                <a:solidFill>
                  <a:schemeClr val="tx1"/>
                </a:solidFill>
                <a:latin typeface="+mj-lt"/>
              </a:rPr>
              <a:t>anim</a:t>
            </a:r>
            <a:r>
              <a:rPr lang="en-US" sz="770" dirty="0">
                <a:solidFill>
                  <a:schemeClr val="tx1"/>
                </a:solidFill>
                <a:latin typeface="+mj-lt"/>
              </a:rPr>
              <a:t> id </a:t>
            </a:r>
            <a:r>
              <a:rPr lang="en-US" sz="770" dirty="0" err="1">
                <a:solidFill>
                  <a:schemeClr val="tx1"/>
                </a:solidFill>
                <a:latin typeface="+mj-lt"/>
              </a:rPr>
              <a:t>est</a:t>
            </a:r>
            <a:r>
              <a:rPr lang="en-US" sz="770" dirty="0">
                <a:solidFill>
                  <a:schemeClr val="tx1"/>
                </a:solidFill>
                <a:latin typeface="+mj-lt"/>
              </a:rPr>
              <a:t> </a:t>
            </a:r>
            <a:r>
              <a:rPr lang="en-US" sz="770" dirty="0" err="1">
                <a:solidFill>
                  <a:schemeClr val="tx1"/>
                </a:solidFill>
                <a:latin typeface="+mj-lt"/>
              </a:rPr>
              <a:t>laborum</a:t>
            </a:r>
            <a:endParaRPr lang="en-US" sz="770" dirty="0">
              <a:solidFill>
                <a:schemeClr val="tx1"/>
              </a:solidFill>
              <a:latin typeface="+mj-lt"/>
            </a:endParaRPr>
          </a:p>
        </p:txBody>
      </p:sp>
      <p:sp>
        <p:nvSpPr>
          <p:cNvPr id="62" name="TextBox 61">
            <a:extLst>
              <a:ext uri="{FF2B5EF4-FFF2-40B4-BE49-F238E27FC236}">
                <a16:creationId xmlns:a16="http://schemas.microsoft.com/office/drawing/2014/main" id="{833DA981-7377-C54B-A458-60110DA6A3E9}"/>
              </a:ext>
            </a:extLst>
          </p:cNvPr>
          <p:cNvSpPr txBox="1"/>
          <p:nvPr/>
        </p:nvSpPr>
        <p:spPr>
          <a:xfrm>
            <a:off x="4905946" y="5314910"/>
            <a:ext cx="2784428" cy="681010"/>
          </a:xfrm>
          <a:prstGeom prst="rect">
            <a:avLst/>
          </a:prstGeom>
          <a:noFill/>
        </p:spPr>
        <p:txBody>
          <a:bodyPr wrap="square" lIns="78203" tIns="156405" rIns="78203" bIns="78203" rtlCol="0" anchor="ctr">
            <a:noAutofit/>
          </a:bodyPr>
          <a:lstStyle>
            <a:defPPr>
              <a:defRPr lang="en-US"/>
            </a:defPPr>
            <a:lvl1pPr>
              <a:buSzPct val="100000"/>
              <a:defRPr sz="1200">
                <a:solidFill>
                  <a:srgbClr val="313131"/>
                </a:solidFill>
              </a:defRPr>
            </a:lvl1pPr>
          </a:lstStyle>
          <a:p>
            <a:r>
              <a:rPr lang="en-US" sz="770" dirty="0">
                <a:solidFill>
                  <a:schemeClr val="tx1"/>
                </a:solidFill>
                <a:latin typeface="+mj-lt"/>
              </a:rPr>
              <a:t>Lorem ipsum dolor sit </a:t>
            </a:r>
            <a:r>
              <a:rPr lang="en-US" sz="770" dirty="0" err="1">
                <a:solidFill>
                  <a:schemeClr val="tx1"/>
                </a:solidFill>
                <a:latin typeface="+mj-lt"/>
              </a:rPr>
              <a:t>amet</a:t>
            </a:r>
            <a:r>
              <a:rPr lang="en-US" sz="770" dirty="0">
                <a:solidFill>
                  <a:schemeClr val="tx1"/>
                </a:solidFill>
                <a:latin typeface="+mj-lt"/>
              </a:rPr>
              <a:t>, </a:t>
            </a:r>
            <a:r>
              <a:rPr lang="en-US" sz="770" dirty="0" err="1">
                <a:solidFill>
                  <a:schemeClr val="tx1"/>
                </a:solidFill>
                <a:latin typeface="+mj-lt"/>
              </a:rPr>
              <a:t>consectetur</a:t>
            </a:r>
            <a:r>
              <a:rPr lang="en-US" sz="770" dirty="0">
                <a:solidFill>
                  <a:schemeClr val="tx1"/>
                </a:solidFill>
                <a:latin typeface="+mj-lt"/>
              </a:rPr>
              <a:t> </a:t>
            </a:r>
            <a:r>
              <a:rPr lang="en-US" sz="770" dirty="0" err="1">
                <a:solidFill>
                  <a:schemeClr val="tx1"/>
                </a:solidFill>
                <a:latin typeface="+mj-lt"/>
              </a:rPr>
              <a:t>adipiscing</a:t>
            </a:r>
            <a:r>
              <a:rPr lang="en-US" sz="770" dirty="0">
                <a:solidFill>
                  <a:schemeClr val="tx1"/>
                </a:solidFill>
                <a:latin typeface="+mj-lt"/>
              </a:rPr>
              <a:t> </a:t>
            </a:r>
            <a:r>
              <a:rPr lang="en-US" sz="770" dirty="0" err="1">
                <a:solidFill>
                  <a:schemeClr val="tx1"/>
                </a:solidFill>
                <a:latin typeface="+mj-lt"/>
              </a:rPr>
              <a:t>elit</a:t>
            </a:r>
            <a:r>
              <a:rPr lang="en-US" sz="770" dirty="0">
                <a:solidFill>
                  <a:schemeClr val="tx1"/>
                </a:solidFill>
                <a:latin typeface="+mj-lt"/>
              </a:rPr>
              <a:t>, </a:t>
            </a:r>
            <a:r>
              <a:rPr lang="en-US" sz="770" dirty="0" err="1">
                <a:solidFill>
                  <a:schemeClr val="tx1"/>
                </a:solidFill>
                <a:latin typeface="+mj-lt"/>
              </a:rPr>
              <a:t>sed</a:t>
            </a:r>
            <a:r>
              <a:rPr lang="en-US" sz="770" dirty="0">
                <a:solidFill>
                  <a:schemeClr val="tx1"/>
                </a:solidFill>
                <a:latin typeface="+mj-lt"/>
              </a:rPr>
              <a:t> do </a:t>
            </a:r>
            <a:r>
              <a:rPr lang="en-US" sz="770" dirty="0" err="1">
                <a:solidFill>
                  <a:schemeClr val="tx1"/>
                </a:solidFill>
                <a:latin typeface="+mj-lt"/>
              </a:rPr>
              <a:t>eiusmod</a:t>
            </a:r>
            <a:r>
              <a:rPr lang="en-US" sz="770" dirty="0">
                <a:solidFill>
                  <a:schemeClr val="tx1"/>
                </a:solidFill>
                <a:latin typeface="+mj-lt"/>
              </a:rPr>
              <a:t> </a:t>
            </a:r>
            <a:r>
              <a:rPr lang="en-US" sz="770" dirty="0" err="1">
                <a:solidFill>
                  <a:schemeClr val="tx1"/>
                </a:solidFill>
                <a:latin typeface="+mj-lt"/>
              </a:rPr>
              <a:t>tempor</a:t>
            </a:r>
            <a:r>
              <a:rPr lang="en-US" sz="770" dirty="0">
                <a:solidFill>
                  <a:schemeClr val="tx1"/>
                </a:solidFill>
                <a:latin typeface="+mj-lt"/>
              </a:rPr>
              <a:t> </a:t>
            </a:r>
            <a:r>
              <a:rPr lang="en-US" sz="770" dirty="0" err="1">
                <a:solidFill>
                  <a:schemeClr val="tx1"/>
                </a:solidFill>
                <a:latin typeface="+mj-lt"/>
              </a:rPr>
              <a:t>incididunt</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labore</a:t>
            </a:r>
            <a:r>
              <a:rPr lang="en-US" sz="770" dirty="0">
                <a:solidFill>
                  <a:schemeClr val="tx1"/>
                </a:solidFill>
                <a:latin typeface="+mj-lt"/>
              </a:rPr>
              <a:t> et </a:t>
            </a:r>
            <a:r>
              <a:rPr lang="en-US" sz="770" dirty="0" err="1">
                <a:solidFill>
                  <a:schemeClr val="tx1"/>
                </a:solidFill>
                <a:latin typeface="+mj-lt"/>
              </a:rPr>
              <a:t>dolore</a:t>
            </a:r>
            <a:r>
              <a:rPr lang="en-US" sz="770" dirty="0">
                <a:solidFill>
                  <a:schemeClr val="tx1"/>
                </a:solidFill>
                <a:latin typeface="+mj-lt"/>
              </a:rPr>
              <a:t> magna </a:t>
            </a:r>
            <a:r>
              <a:rPr lang="en-US" sz="770" dirty="0" err="1">
                <a:solidFill>
                  <a:schemeClr val="tx1"/>
                </a:solidFill>
                <a:latin typeface="+mj-lt"/>
              </a:rPr>
              <a:t>aliqua</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enim</a:t>
            </a:r>
            <a:r>
              <a:rPr lang="en-US" sz="770" dirty="0">
                <a:solidFill>
                  <a:schemeClr val="tx1"/>
                </a:solidFill>
                <a:latin typeface="+mj-lt"/>
              </a:rPr>
              <a:t> ad minim </a:t>
            </a:r>
            <a:r>
              <a:rPr lang="en-US" sz="770" dirty="0" err="1">
                <a:solidFill>
                  <a:schemeClr val="tx1"/>
                </a:solidFill>
                <a:latin typeface="+mj-lt"/>
              </a:rPr>
              <a:t>veniam</a:t>
            </a:r>
            <a:r>
              <a:rPr lang="en-US" sz="770" dirty="0">
                <a:solidFill>
                  <a:schemeClr val="tx1"/>
                </a:solidFill>
                <a:latin typeface="+mj-lt"/>
              </a:rPr>
              <a:t>, </a:t>
            </a:r>
            <a:r>
              <a:rPr lang="en-US" sz="770" dirty="0" err="1">
                <a:solidFill>
                  <a:schemeClr val="tx1"/>
                </a:solidFill>
                <a:latin typeface="+mj-lt"/>
              </a:rPr>
              <a:t>quis</a:t>
            </a:r>
            <a:r>
              <a:rPr lang="en-US" sz="770" dirty="0">
                <a:solidFill>
                  <a:schemeClr val="tx1"/>
                </a:solidFill>
                <a:latin typeface="+mj-lt"/>
              </a:rPr>
              <a:t> </a:t>
            </a:r>
            <a:r>
              <a:rPr lang="en-US" sz="770" dirty="0" err="1">
                <a:solidFill>
                  <a:schemeClr val="tx1"/>
                </a:solidFill>
                <a:latin typeface="+mj-lt"/>
              </a:rPr>
              <a:t>nostrud</a:t>
            </a:r>
            <a:r>
              <a:rPr lang="en-US" sz="770" dirty="0">
                <a:solidFill>
                  <a:schemeClr val="tx1"/>
                </a:solidFill>
                <a:latin typeface="+mj-lt"/>
              </a:rPr>
              <a:t> exercitation </a:t>
            </a:r>
            <a:r>
              <a:rPr lang="en-US" sz="770" dirty="0" err="1">
                <a:solidFill>
                  <a:schemeClr val="tx1"/>
                </a:solidFill>
                <a:latin typeface="+mj-lt"/>
              </a:rPr>
              <a:t>ullamco</a:t>
            </a:r>
            <a:r>
              <a:rPr lang="en-US" sz="770" dirty="0">
                <a:solidFill>
                  <a:schemeClr val="tx1"/>
                </a:solidFill>
                <a:latin typeface="+mj-lt"/>
              </a:rPr>
              <a:t> </a:t>
            </a:r>
            <a:r>
              <a:rPr lang="en-US" sz="770" dirty="0" err="1">
                <a:solidFill>
                  <a:schemeClr val="tx1"/>
                </a:solidFill>
                <a:latin typeface="+mj-lt"/>
              </a:rPr>
              <a:t>laboris</a:t>
            </a:r>
            <a:r>
              <a:rPr lang="en-US" sz="770" dirty="0">
                <a:solidFill>
                  <a:schemeClr val="tx1"/>
                </a:solidFill>
                <a:latin typeface="+mj-lt"/>
              </a:rPr>
              <a:t> nisi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aliquip</a:t>
            </a:r>
            <a:r>
              <a:rPr lang="en-US" sz="770" dirty="0">
                <a:solidFill>
                  <a:schemeClr val="tx1"/>
                </a:solidFill>
                <a:latin typeface="+mj-lt"/>
              </a:rPr>
              <a:t> ex </a:t>
            </a:r>
            <a:r>
              <a:rPr lang="en-US" sz="770" dirty="0" err="1">
                <a:solidFill>
                  <a:schemeClr val="tx1"/>
                </a:solidFill>
                <a:latin typeface="+mj-lt"/>
              </a:rPr>
              <a:t>ea</a:t>
            </a:r>
            <a:r>
              <a:rPr lang="en-US" sz="770" dirty="0">
                <a:solidFill>
                  <a:schemeClr val="tx1"/>
                </a:solidFill>
                <a:latin typeface="+mj-lt"/>
              </a:rPr>
              <a:t> </a:t>
            </a:r>
            <a:r>
              <a:rPr lang="en-US" sz="770" dirty="0" err="1">
                <a:solidFill>
                  <a:schemeClr val="tx1"/>
                </a:solidFill>
                <a:latin typeface="+mj-lt"/>
              </a:rPr>
              <a:t>commodo</a:t>
            </a:r>
            <a:r>
              <a:rPr lang="en-US" sz="770" dirty="0">
                <a:solidFill>
                  <a:schemeClr val="tx1"/>
                </a:solidFill>
                <a:latin typeface="+mj-lt"/>
              </a:rPr>
              <a:t> </a:t>
            </a:r>
            <a:r>
              <a:rPr lang="en-US" sz="770" dirty="0" err="1">
                <a:solidFill>
                  <a:schemeClr val="tx1"/>
                </a:solidFill>
                <a:latin typeface="+mj-lt"/>
              </a:rPr>
              <a:t>consequat</a:t>
            </a:r>
            <a:r>
              <a:rPr lang="en-US" sz="770" dirty="0">
                <a:solidFill>
                  <a:schemeClr val="tx1"/>
                </a:solidFill>
                <a:latin typeface="+mj-lt"/>
              </a:rPr>
              <a:t>. </a:t>
            </a:r>
            <a:r>
              <a:rPr lang="en-US" sz="770" dirty="0" err="1">
                <a:solidFill>
                  <a:schemeClr val="tx1"/>
                </a:solidFill>
                <a:latin typeface="+mj-lt"/>
              </a:rPr>
              <a:t>Duis</a:t>
            </a:r>
            <a:r>
              <a:rPr lang="en-US" sz="770" dirty="0">
                <a:solidFill>
                  <a:schemeClr val="tx1"/>
                </a:solidFill>
                <a:latin typeface="+mj-lt"/>
              </a:rPr>
              <a:t> </a:t>
            </a:r>
            <a:r>
              <a:rPr lang="en-US" sz="770" dirty="0" err="1">
                <a:solidFill>
                  <a:schemeClr val="tx1"/>
                </a:solidFill>
                <a:latin typeface="+mj-lt"/>
              </a:rPr>
              <a:t>aute</a:t>
            </a:r>
            <a:r>
              <a:rPr lang="en-US" sz="770" dirty="0">
                <a:solidFill>
                  <a:schemeClr val="tx1"/>
                </a:solidFill>
                <a:latin typeface="+mj-lt"/>
              </a:rPr>
              <a:t> </a:t>
            </a:r>
            <a:r>
              <a:rPr lang="en-US" sz="770" dirty="0" err="1">
                <a:solidFill>
                  <a:schemeClr val="tx1"/>
                </a:solidFill>
                <a:latin typeface="+mj-lt"/>
              </a:rPr>
              <a:t>irure</a:t>
            </a:r>
            <a:r>
              <a:rPr lang="en-US" sz="770" dirty="0">
                <a:solidFill>
                  <a:schemeClr val="tx1"/>
                </a:solidFill>
                <a:latin typeface="+mj-lt"/>
              </a:rPr>
              <a:t> dolor in </a:t>
            </a:r>
            <a:r>
              <a:rPr lang="en-US" sz="770" dirty="0" err="1">
                <a:solidFill>
                  <a:schemeClr val="tx1"/>
                </a:solidFill>
                <a:latin typeface="+mj-lt"/>
              </a:rPr>
              <a:t>reprehenderit</a:t>
            </a:r>
            <a:r>
              <a:rPr lang="en-US" sz="770" dirty="0">
                <a:solidFill>
                  <a:schemeClr val="tx1"/>
                </a:solidFill>
                <a:latin typeface="+mj-lt"/>
              </a:rPr>
              <a:t> in </a:t>
            </a:r>
            <a:r>
              <a:rPr lang="en-US" sz="770" dirty="0" err="1">
                <a:solidFill>
                  <a:schemeClr val="tx1"/>
                </a:solidFill>
                <a:latin typeface="+mj-lt"/>
              </a:rPr>
              <a:t>voluptate</a:t>
            </a:r>
            <a:r>
              <a:rPr lang="en-US" sz="770" dirty="0">
                <a:solidFill>
                  <a:schemeClr val="tx1"/>
                </a:solidFill>
                <a:latin typeface="+mj-lt"/>
              </a:rPr>
              <a:t> </a:t>
            </a:r>
            <a:r>
              <a:rPr lang="en-US" sz="770" dirty="0" err="1">
                <a:solidFill>
                  <a:schemeClr val="tx1"/>
                </a:solidFill>
                <a:latin typeface="+mj-lt"/>
              </a:rPr>
              <a:t>velit</a:t>
            </a:r>
            <a:r>
              <a:rPr lang="en-US" sz="770" dirty="0">
                <a:solidFill>
                  <a:schemeClr val="tx1"/>
                </a:solidFill>
                <a:latin typeface="+mj-lt"/>
              </a:rPr>
              <a:t> </a:t>
            </a:r>
            <a:r>
              <a:rPr lang="en-US" sz="770" dirty="0" err="1">
                <a:solidFill>
                  <a:schemeClr val="tx1"/>
                </a:solidFill>
                <a:latin typeface="+mj-lt"/>
              </a:rPr>
              <a:t>esse</a:t>
            </a:r>
            <a:r>
              <a:rPr lang="en-US" sz="770" dirty="0">
                <a:solidFill>
                  <a:schemeClr val="tx1"/>
                </a:solidFill>
                <a:latin typeface="+mj-lt"/>
              </a:rPr>
              <a:t> </a:t>
            </a:r>
            <a:r>
              <a:rPr lang="en-US" sz="770" dirty="0" err="1">
                <a:solidFill>
                  <a:schemeClr val="tx1"/>
                </a:solidFill>
                <a:latin typeface="+mj-lt"/>
              </a:rPr>
              <a:t>cillum</a:t>
            </a:r>
            <a:r>
              <a:rPr lang="en-US" sz="770" dirty="0">
                <a:solidFill>
                  <a:schemeClr val="tx1"/>
                </a:solidFill>
                <a:latin typeface="+mj-lt"/>
              </a:rPr>
              <a:t> </a:t>
            </a:r>
            <a:r>
              <a:rPr lang="en-US" sz="770" dirty="0" err="1">
                <a:solidFill>
                  <a:schemeClr val="tx1"/>
                </a:solidFill>
                <a:latin typeface="+mj-lt"/>
              </a:rPr>
              <a:t>dolore</a:t>
            </a:r>
            <a:r>
              <a:rPr lang="en-US" sz="770" dirty="0">
                <a:solidFill>
                  <a:schemeClr val="tx1"/>
                </a:solidFill>
                <a:latin typeface="+mj-lt"/>
              </a:rPr>
              <a:t> </a:t>
            </a:r>
            <a:r>
              <a:rPr lang="en-US" sz="770" dirty="0" err="1">
                <a:solidFill>
                  <a:schemeClr val="tx1"/>
                </a:solidFill>
                <a:latin typeface="+mj-lt"/>
              </a:rPr>
              <a:t>eu</a:t>
            </a:r>
            <a:r>
              <a:rPr lang="en-US" sz="770" dirty="0">
                <a:solidFill>
                  <a:schemeClr val="tx1"/>
                </a:solidFill>
                <a:latin typeface="+mj-lt"/>
              </a:rPr>
              <a:t> </a:t>
            </a:r>
            <a:r>
              <a:rPr lang="en-US" sz="770" dirty="0" err="1">
                <a:solidFill>
                  <a:schemeClr val="tx1"/>
                </a:solidFill>
                <a:latin typeface="+mj-lt"/>
              </a:rPr>
              <a:t>fugiat</a:t>
            </a:r>
            <a:r>
              <a:rPr lang="en-US" sz="770" dirty="0">
                <a:solidFill>
                  <a:schemeClr val="tx1"/>
                </a:solidFill>
                <a:latin typeface="+mj-lt"/>
              </a:rPr>
              <a:t> </a:t>
            </a:r>
            <a:r>
              <a:rPr lang="en-US" sz="770" dirty="0" err="1">
                <a:solidFill>
                  <a:schemeClr val="tx1"/>
                </a:solidFill>
                <a:latin typeface="+mj-lt"/>
              </a:rPr>
              <a:t>nulla</a:t>
            </a:r>
            <a:r>
              <a:rPr lang="en-US" sz="770" dirty="0">
                <a:solidFill>
                  <a:schemeClr val="tx1"/>
                </a:solidFill>
                <a:latin typeface="+mj-lt"/>
              </a:rPr>
              <a:t> </a:t>
            </a:r>
            <a:r>
              <a:rPr lang="en-US" sz="770" dirty="0" err="1">
                <a:solidFill>
                  <a:schemeClr val="tx1"/>
                </a:solidFill>
                <a:latin typeface="+mj-lt"/>
              </a:rPr>
              <a:t>pariatur</a:t>
            </a:r>
            <a:r>
              <a:rPr lang="en-US" sz="770" dirty="0">
                <a:solidFill>
                  <a:schemeClr val="tx1"/>
                </a:solidFill>
                <a:latin typeface="+mj-lt"/>
              </a:rPr>
              <a:t>. </a:t>
            </a:r>
            <a:r>
              <a:rPr lang="en-US" sz="770" dirty="0" err="1">
                <a:solidFill>
                  <a:schemeClr val="tx1"/>
                </a:solidFill>
                <a:latin typeface="+mj-lt"/>
              </a:rPr>
              <a:t>Excepteur</a:t>
            </a:r>
            <a:r>
              <a:rPr lang="en-US" sz="770" dirty="0">
                <a:solidFill>
                  <a:schemeClr val="tx1"/>
                </a:solidFill>
                <a:latin typeface="+mj-lt"/>
              </a:rPr>
              <a:t> </a:t>
            </a:r>
            <a:r>
              <a:rPr lang="en-US" sz="770" dirty="0" err="1">
                <a:solidFill>
                  <a:schemeClr val="tx1"/>
                </a:solidFill>
                <a:latin typeface="+mj-lt"/>
              </a:rPr>
              <a:t>sint</a:t>
            </a:r>
            <a:r>
              <a:rPr lang="en-US" sz="770" dirty="0">
                <a:solidFill>
                  <a:schemeClr val="tx1"/>
                </a:solidFill>
                <a:latin typeface="+mj-lt"/>
              </a:rPr>
              <a:t> </a:t>
            </a:r>
            <a:r>
              <a:rPr lang="en-US" sz="770" dirty="0" err="1">
                <a:solidFill>
                  <a:schemeClr val="tx1"/>
                </a:solidFill>
                <a:latin typeface="+mj-lt"/>
              </a:rPr>
              <a:t>occaecat</a:t>
            </a:r>
            <a:r>
              <a:rPr lang="en-US" sz="770" dirty="0">
                <a:solidFill>
                  <a:schemeClr val="tx1"/>
                </a:solidFill>
                <a:latin typeface="+mj-lt"/>
              </a:rPr>
              <a:t> </a:t>
            </a:r>
            <a:r>
              <a:rPr lang="en-US" sz="770" dirty="0" err="1">
                <a:solidFill>
                  <a:schemeClr val="tx1"/>
                </a:solidFill>
                <a:latin typeface="+mj-lt"/>
              </a:rPr>
              <a:t>cupidatat</a:t>
            </a:r>
            <a:r>
              <a:rPr lang="en-US" sz="770" dirty="0">
                <a:solidFill>
                  <a:schemeClr val="tx1"/>
                </a:solidFill>
                <a:latin typeface="+mj-lt"/>
              </a:rPr>
              <a:t> non </a:t>
            </a:r>
            <a:r>
              <a:rPr lang="en-US" sz="770" dirty="0" err="1">
                <a:solidFill>
                  <a:schemeClr val="tx1"/>
                </a:solidFill>
                <a:latin typeface="+mj-lt"/>
              </a:rPr>
              <a:t>proident</a:t>
            </a:r>
            <a:r>
              <a:rPr lang="en-US" sz="770" dirty="0">
                <a:solidFill>
                  <a:schemeClr val="tx1"/>
                </a:solidFill>
                <a:latin typeface="+mj-lt"/>
              </a:rPr>
              <a:t>, </a:t>
            </a:r>
            <a:r>
              <a:rPr lang="en-US" sz="770" dirty="0" err="1">
                <a:solidFill>
                  <a:schemeClr val="tx1"/>
                </a:solidFill>
                <a:latin typeface="+mj-lt"/>
              </a:rPr>
              <a:t>sunt</a:t>
            </a:r>
            <a:r>
              <a:rPr lang="en-US" sz="770" dirty="0">
                <a:solidFill>
                  <a:schemeClr val="tx1"/>
                </a:solidFill>
                <a:latin typeface="+mj-lt"/>
              </a:rPr>
              <a:t> in culpa qui </a:t>
            </a:r>
            <a:r>
              <a:rPr lang="en-US" sz="770" dirty="0" err="1">
                <a:solidFill>
                  <a:schemeClr val="tx1"/>
                </a:solidFill>
                <a:latin typeface="+mj-lt"/>
              </a:rPr>
              <a:t>officia</a:t>
            </a:r>
            <a:r>
              <a:rPr lang="en-US" sz="770" dirty="0">
                <a:solidFill>
                  <a:schemeClr val="tx1"/>
                </a:solidFill>
                <a:latin typeface="+mj-lt"/>
              </a:rPr>
              <a:t> </a:t>
            </a:r>
            <a:r>
              <a:rPr lang="en-US" sz="770" dirty="0" err="1">
                <a:solidFill>
                  <a:schemeClr val="tx1"/>
                </a:solidFill>
                <a:latin typeface="+mj-lt"/>
              </a:rPr>
              <a:t>deserunt</a:t>
            </a:r>
            <a:r>
              <a:rPr lang="en-US" sz="770" dirty="0">
                <a:solidFill>
                  <a:schemeClr val="tx1"/>
                </a:solidFill>
                <a:latin typeface="+mj-lt"/>
              </a:rPr>
              <a:t> </a:t>
            </a:r>
            <a:r>
              <a:rPr lang="en-US" sz="770" dirty="0" err="1">
                <a:solidFill>
                  <a:schemeClr val="tx1"/>
                </a:solidFill>
                <a:latin typeface="+mj-lt"/>
              </a:rPr>
              <a:t>mollit</a:t>
            </a:r>
            <a:r>
              <a:rPr lang="en-US" sz="770" dirty="0">
                <a:solidFill>
                  <a:schemeClr val="tx1"/>
                </a:solidFill>
                <a:latin typeface="+mj-lt"/>
              </a:rPr>
              <a:t> </a:t>
            </a:r>
            <a:r>
              <a:rPr lang="en-US" sz="770" dirty="0" err="1">
                <a:solidFill>
                  <a:schemeClr val="tx1"/>
                </a:solidFill>
                <a:latin typeface="+mj-lt"/>
              </a:rPr>
              <a:t>anim</a:t>
            </a:r>
            <a:r>
              <a:rPr lang="en-US" sz="770" dirty="0">
                <a:solidFill>
                  <a:schemeClr val="tx1"/>
                </a:solidFill>
                <a:latin typeface="+mj-lt"/>
              </a:rPr>
              <a:t> id </a:t>
            </a:r>
            <a:r>
              <a:rPr lang="en-US" sz="770" dirty="0" err="1">
                <a:solidFill>
                  <a:schemeClr val="tx1"/>
                </a:solidFill>
                <a:latin typeface="+mj-lt"/>
              </a:rPr>
              <a:t>est</a:t>
            </a:r>
            <a:r>
              <a:rPr lang="en-US" sz="770" dirty="0">
                <a:solidFill>
                  <a:schemeClr val="tx1"/>
                </a:solidFill>
                <a:latin typeface="+mj-lt"/>
              </a:rPr>
              <a:t> </a:t>
            </a:r>
            <a:r>
              <a:rPr lang="en-US" sz="770" dirty="0" err="1">
                <a:solidFill>
                  <a:schemeClr val="tx1"/>
                </a:solidFill>
                <a:latin typeface="+mj-lt"/>
              </a:rPr>
              <a:t>laborum</a:t>
            </a:r>
            <a:endParaRPr lang="en-US" sz="770" dirty="0">
              <a:solidFill>
                <a:schemeClr val="tx1"/>
              </a:solidFill>
              <a:latin typeface="+mj-lt"/>
            </a:endParaRPr>
          </a:p>
        </p:txBody>
      </p:sp>
      <p:cxnSp>
        <p:nvCxnSpPr>
          <p:cNvPr id="63" name="Elbow Connector 62">
            <a:extLst>
              <a:ext uri="{FF2B5EF4-FFF2-40B4-BE49-F238E27FC236}">
                <a16:creationId xmlns:a16="http://schemas.microsoft.com/office/drawing/2014/main" id="{8F826997-9211-AE4B-8A1A-FFCD43A3E57A}"/>
              </a:ext>
            </a:extLst>
          </p:cNvPr>
          <p:cNvCxnSpPr/>
          <p:nvPr/>
        </p:nvCxnSpPr>
        <p:spPr>
          <a:xfrm flipV="1">
            <a:off x="6998228" y="1512951"/>
            <a:ext cx="578920" cy="333026"/>
          </a:xfrm>
          <a:prstGeom prst="bentConnector3">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64" name="Elbow Connector 63">
            <a:extLst>
              <a:ext uri="{FF2B5EF4-FFF2-40B4-BE49-F238E27FC236}">
                <a16:creationId xmlns:a16="http://schemas.microsoft.com/office/drawing/2014/main" id="{6B1A35EB-5D3A-EE4F-A20C-320EB7434631}"/>
              </a:ext>
            </a:extLst>
          </p:cNvPr>
          <p:cNvCxnSpPr/>
          <p:nvPr/>
        </p:nvCxnSpPr>
        <p:spPr>
          <a:xfrm flipH="1" flipV="1">
            <a:off x="4576061" y="1610865"/>
            <a:ext cx="578920" cy="333026"/>
          </a:xfrm>
          <a:prstGeom prst="bentConnector3">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65" name="Elbow Connector 64">
            <a:extLst>
              <a:ext uri="{FF2B5EF4-FFF2-40B4-BE49-F238E27FC236}">
                <a16:creationId xmlns:a16="http://schemas.microsoft.com/office/drawing/2014/main" id="{C64E648A-3BE9-E94E-AB5E-F0AF99D0E4E7}"/>
              </a:ext>
            </a:extLst>
          </p:cNvPr>
          <p:cNvCxnSpPr/>
          <p:nvPr/>
        </p:nvCxnSpPr>
        <p:spPr>
          <a:xfrm flipV="1">
            <a:off x="7485157" y="3734967"/>
            <a:ext cx="578920" cy="333026"/>
          </a:xfrm>
          <a:prstGeom prst="bentConnector3">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66" name="Elbow Connector 65">
            <a:extLst>
              <a:ext uri="{FF2B5EF4-FFF2-40B4-BE49-F238E27FC236}">
                <a16:creationId xmlns:a16="http://schemas.microsoft.com/office/drawing/2014/main" id="{21C2568E-28CD-6248-AB31-38997C8B52C3}"/>
              </a:ext>
            </a:extLst>
          </p:cNvPr>
          <p:cNvCxnSpPr/>
          <p:nvPr/>
        </p:nvCxnSpPr>
        <p:spPr>
          <a:xfrm flipH="1" flipV="1">
            <a:off x="4165798" y="3771132"/>
            <a:ext cx="578920" cy="333026"/>
          </a:xfrm>
          <a:prstGeom prst="bentConnector3">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3E92C1B-55A8-BF44-8FC9-AE75BE52DA2F}"/>
              </a:ext>
            </a:extLst>
          </p:cNvPr>
          <p:cNvCxnSpPr>
            <a:stCxn id="43" idx="0"/>
          </p:cNvCxnSpPr>
          <p:nvPr/>
        </p:nvCxnSpPr>
        <p:spPr>
          <a:xfrm>
            <a:off x="6097675" y="4928669"/>
            <a:ext cx="0" cy="169908"/>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276122320"/>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6">
            <a:extLst>
              <a:ext uri="{FF2B5EF4-FFF2-40B4-BE49-F238E27FC236}">
                <a16:creationId xmlns:a16="http://schemas.microsoft.com/office/drawing/2014/main" id="{DC570526-F238-6D43-B5AE-741023149EA0}"/>
              </a:ext>
            </a:extLst>
          </p:cNvPr>
          <p:cNvSpPr>
            <a:spLocks/>
          </p:cNvSpPr>
          <p:nvPr/>
        </p:nvSpPr>
        <p:spPr bwMode="auto">
          <a:xfrm>
            <a:off x="4545479" y="1474862"/>
            <a:ext cx="1649270" cy="1961501"/>
          </a:xfrm>
          <a:custGeom>
            <a:avLst/>
            <a:gdLst>
              <a:gd name="T0" fmla="*/ 0 w 1722"/>
              <a:gd name="T1" fmla="*/ 1269 h 2048"/>
              <a:gd name="T2" fmla="*/ 1722 w 1722"/>
              <a:gd name="T3" fmla="*/ 0 h 2048"/>
              <a:gd name="T4" fmla="*/ 1070 w 1722"/>
              <a:gd name="T5" fmla="*/ 2048 h 2048"/>
              <a:gd name="T6" fmla="*/ 0 w 1722"/>
              <a:gd name="T7" fmla="*/ 1269 h 2048"/>
            </a:gdLst>
            <a:ahLst/>
            <a:cxnLst>
              <a:cxn ang="0">
                <a:pos x="T0" y="T1"/>
              </a:cxn>
              <a:cxn ang="0">
                <a:pos x="T2" y="T3"/>
              </a:cxn>
              <a:cxn ang="0">
                <a:pos x="T4" y="T5"/>
              </a:cxn>
              <a:cxn ang="0">
                <a:pos x="T6" y="T7"/>
              </a:cxn>
            </a:cxnLst>
            <a:rect l="0" t="0" r="r" b="b"/>
            <a:pathLst>
              <a:path w="1722" h="2048">
                <a:moveTo>
                  <a:pt x="0" y="1269"/>
                </a:moveTo>
                <a:lnTo>
                  <a:pt x="1722" y="0"/>
                </a:lnTo>
                <a:lnTo>
                  <a:pt x="1070" y="2048"/>
                </a:lnTo>
                <a:lnTo>
                  <a:pt x="0" y="1269"/>
                </a:lnTo>
                <a:close/>
              </a:path>
            </a:pathLst>
          </a:custGeom>
          <a:solidFill>
            <a:schemeClr val="accent5"/>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9" name="Freeform 7">
            <a:extLst>
              <a:ext uri="{FF2B5EF4-FFF2-40B4-BE49-F238E27FC236}">
                <a16:creationId xmlns:a16="http://schemas.microsoft.com/office/drawing/2014/main" id="{76712F1D-63F7-7F48-9350-85F208A04A91}"/>
              </a:ext>
            </a:extLst>
          </p:cNvPr>
          <p:cNvSpPr>
            <a:spLocks/>
          </p:cNvSpPr>
          <p:nvPr/>
        </p:nvSpPr>
        <p:spPr bwMode="auto">
          <a:xfrm>
            <a:off x="5855702" y="1516046"/>
            <a:ext cx="2042911" cy="1180924"/>
          </a:xfrm>
          <a:custGeom>
            <a:avLst/>
            <a:gdLst>
              <a:gd name="T0" fmla="*/ 0 w 2133"/>
              <a:gd name="T1" fmla="*/ 1233 h 1233"/>
              <a:gd name="T2" fmla="*/ 404 w 2133"/>
              <a:gd name="T3" fmla="*/ 0 h 1233"/>
              <a:gd name="T4" fmla="*/ 2133 w 2133"/>
              <a:gd name="T5" fmla="*/ 1233 h 1233"/>
              <a:gd name="T6" fmla="*/ 0 w 2133"/>
              <a:gd name="T7" fmla="*/ 1233 h 1233"/>
            </a:gdLst>
            <a:ahLst/>
            <a:cxnLst>
              <a:cxn ang="0">
                <a:pos x="T0" y="T1"/>
              </a:cxn>
              <a:cxn ang="0">
                <a:pos x="T2" y="T3"/>
              </a:cxn>
              <a:cxn ang="0">
                <a:pos x="T4" y="T5"/>
              </a:cxn>
              <a:cxn ang="0">
                <a:pos x="T6" y="T7"/>
              </a:cxn>
            </a:cxnLst>
            <a:rect l="0" t="0" r="r" b="b"/>
            <a:pathLst>
              <a:path w="2133" h="1233">
                <a:moveTo>
                  <a:pt x="0" y="1233"/>
                </a:moveTo>
                <a:lnTo>
                  <a:pt x="404" y="0"/>
                </a:lnTo>
                <a:lnTo>
                  <a:pt x="2133" y="1233"/>
                </a:lnTo>
                <a:lnTo>
                  <a:pt x="0" y="1233"/>
                </a:lnTo>
                <a:close/>
              </a:path>
            </a:pathLst>
          </a:custGeom>
          <a:solidFill>
            <a:schemeClr val="accent1"/>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6" name="Freeform 8">
            <a:extLst>
              <a:ext uri="{FF2B5EF4-FFF2-40B4-BE49-F238E27FC236}">
                <a16:creationId xmlns:a16="http://schemas.microsoft.com/office/drawing/2014/main" id="{184D0A6C-18C5-5942-A619-6FBDD2CB4A75}"/>
              </a:ext>
            </a:extLst>
          </p:cNvPr>
          <p:cNvSpPr>
            <a:spLocks/>
          </p:cNvSpPr>
          <p:nvPr/>
        </p:nvSpPr>
        <p:spPr bwMode="auto">
          <a:xfrm>
            <a:off x="6636280" y="2771674"/>
            <a:ext cx="1262333" cy="1940430"/>
          </a:xfrm>
          <a:custGeom>
            <a:avLst/>
            <a:gdLst>
              <a:gd name="T0" fmla="*/ 0 w 1318"/>
              <a:gd name="T1" fmla="*/ 0 h 2026"/>
              <a:gd name="T2" fmla="*/ 1318 w 1318"/>
              <a:gd name="T3" fmla="*/ 0 h 2026"/>
              <a:gd name="T4" fmla="*/ 659 w 1318"/>
              <a:gd name="T5" fmla="*/ 2026 h 2026"/>
              <a:gd name="T6" fmla="*/ 0 w 1318"/>
              <a:gd name="T7" fmla="*/ 0 h 2026"/>
            </a:gdLst>
            <a:ahLst/>
            <a:cxnLst>
              <a:cxn ang="0">
                <a:pos x="T0" y="T1"/>
              </a:cxn>
              <a:cxn ang="0">
                <a:pos x="T2" y="T3"/>
              </a:cxn>
              <a:cxn ang="0">
                <a:pos x="T4" y="T5"/>
              </a:cxn>
              <a:cxn ang="0">
                <a:pos x="T6" y="T7"/>
              </a:cxn>
            </a:cxnLst>
            <a:rect l="0" t="0" r="r" b="b"/>
            <a:pathLst>
              <a:path w="1318" h="2026">
                <a:moveTo>
                  <a:pt x="0" y="0"/>
                </a:moveTo>
                <a:lnTo>
                  <a:pt x="1318" y="0"/>
                </a:lnTo>
                <a:lnTo>
                  <a:pt x="659" y="2026"/>
                </a:lnTo>
                <a:lnTo>
                  <a:pt x="0" y="0"/>
                </a:lnTo>
                <a:close/>
              </a:path>
            </a:pathLst>
          </a:custGeom>
          <a:solidFill>
            <a:schemeClr val="accent3"/>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7" name="Freeform 9">
            <a:extLst>
              <a:ext uri="{FF2B5EF4-FFF2-40B4-BE49-F238E27FC236}">
                <a16:creationId xmlns:a16="http://schemas.microsoft.com/office/drawing/2014/main" id="{95E0D2EC-878E-6442-BF13-EE428EFC9A33}"/>
              </a:ext>
            </a:extLst>
          </p:cNvPr>
          <p:cNvSpPr>
            <a:spLocks/>
          </p:cNvSpPr>
          <p:nvPr/>
        </p:nvSpPr>
        <p:spPr bwMode="auto">
          <a:xfrm>
            <a:off x="5156534" y="3531183"/>
            <a:ext cx="2056319" cy="1215403"/>
          </a:xfrm>
          <a:custGeom>
            <a:avLst/>
            <a:gdLst>
              <a:gd name="T0" fmla="*/ 1736 w 2147"/>
              <a:gd name="T1" fmla="*/ 0 h 1269"/>
              <a:gd name="T2" fmla="*/ 2147 w 2147"/>
              <a:gd name="T3" fmla="*/ 1269 h 1269"/>
              <a:gd name="T4" fmla="*/ 0 w 2147"/>
              <a:gd name="T5" fmla="*/ 1269 h 1269"/>
              <a:gd name="T6" fmla="*/ 1736 w 2147"/>
              <a:gd name="T7" fmla="*/ 0 h 1269"/>
            </a:gdLst>
            <a:ahLst/>
            <a:cxnLst>
              <a:cxn ang="0">
                <a:pos x="T0" y="T1"/>
              </a:cxn>
              <a:cxn ang="0">
                <a:pos x="T2" y="T3"/>
              </a:cxn>
              <a:cxn ang="0">
                <a:pos x="T4" y="T5"/>
              </a:cxn>
              <a:cxn ang="0">
                <a:pos x="T6" y="T7"/>
              </a:cxn>
            </a:cxnLst>
            <a:rect l="0" t="0" r="r" b="b"/>
            <a:pathLst>
              <a:path w="2147" h="1269">
                <a:moveTo>
                  <a:pt x="1736" y="0"/>
                </a:moveTo>
                <a:lnTo>
                  <a:pt x="2147" y="1269"/>
                </a:lnTo>
                <a:lnTo>
                  <a:pt x="0" y="1269"/>
                </a:lnTo>
                <a:lnTo>
                  <a:pt x="1736" y="0"/>
                </a:lnTo>
                <a:close/>
              </a:path>
            </a:pathLst>
          </a:custGeom>
          <a:solidFill>
            <a:schemeClr val="accent2"/>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8" name="Freeform 10">
            <a:extLst>
              <a:ext uri="{FF2B5EF4-FFF2-40B4-BE49-F238E27FC236}">
                <a16:creationId xmlns:a16="http://schemas.microsoft.com/office/drawing/2014/main" id="{39DF096B-78CB-3B4A-8E50-6EF7E5011D7E}"/>
              </a:ext>
            </a:extLst>
          </p:cNvPr>
          <p:cNvSpPr>
            <a:spLocks/>
          </p:cNvSpPr>
          <p:nvPr/>
        </p:nvSpPr>
        <p:spPr bwMode="auto">
          <a:xfrm>
            <a:off x="4490887" y="2730491"/>
            <a:ext cx="1649270" cy="1948092"/>
          </a:xfrm>
          <a:custGeom>
            <a:avLst/>
            <a:gdLst>
              <a:gd name="T0" fmla="*/ 659 w 1722"/>
              <a:gd name="T1" fmla="*/ 2034 h 2034"/>
              <a:gd name="T2" fmla="*/ 1722 w 1722"/>
              <a:gd name="T3" fmla="*/ 1269 h 2034"/>
              <a:gd name="T4" fmla="*/ 0 w 1722"/>
              <a:gd name="T5" fmla="*/ 0 h 2034"/>
              <a:gd name="T6" fmla="*/ 659 w 1722"/>
              <a:gd name="T7" fmla="*/ 2034 h 2034"/>
            </a:gdLst>
            <a:ahLst/>
            <a:cxnLst>
              <a:cxn ang="0">
                <a:pos x="T0" y="T1"/>
              </a:cxn>
              <a:cxn ang="0">
                <a:pos x="T2" y="T3"/>
              </a:cxn>
              <a:cxn ang="0">
                <a:pos x="T4" y="T5"/>
              </a:cxn>
              <a:cxn ang="0">
                <a:pos x="T6" y="T7"/>
              </a:cxn>
            </a:cxnLst>
            <a:rect l="0" t="0" r="r" b="b"/>
            <a:pathLst>
              <a:path w="1722" h="2034">
                <a:moveTo>
                  <a:pt x="659" y="2034"/>
                </a:moveTo>
                <a:lnTo>
                  <a:pt x="1722" y="1269"/>
                </a:lnTo>
                <a:lnTo>
                  <a:pt x="0" y="0"/>
                </a:lnTo>
                <a:lnTo>
                  <a:pt x="659" y="2034"/>
                </a:lnTo>
                <a:close/>
              </a:path>
            </a:pathLst>
          </a:custGeom>
          <a:solidFill>
            <a:schemeClr val="accent4"/>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9" name="Rectangle 58">
            <a:extLst>
              <a:ext uri="{FF2B5EF4-FFF2-40B4-BE49-F238E27FC236}">
                <a16:creationId xmlns:a16="http://schemas.microsoft.com/office/drawing/2014/main" id="{6374D1C0-F487-804E-91D8-CAC4333DD37E}"/>
              </a:ext>
            </a:extLst>
          </p:cNvPr>
          <p:cNvSpPr/>
          <p:nvPr/>
        </p:nvSpPr>
        <p:spPr>
          <a:xfrm>
            <a:off x="6110261" y="2262630"/>
            <a:ext cx="1050089" cy="323165"/>
          </a:xfrm>
          <a:prstGeom prst="rect">
            <a:avLst/>
          </a:prstGeom>
        </p:spPr>
        <p:txBody>
          <a:bodyPr wrap="square" lIns="0" tIns="0" rIns="0" bIns="0">
            <a:spAutoFit/>
          </a:bodyPr>
          <a:lstStyle/>
          <a:p>
            <a:pPr algn="ctr"/>
            <a:r>
              <a:rPr lang="en-US" sz="1050" b="1" dirty="0">
                <a:solidFill>
                  <a:schemeClr val="bg1"/>
                </a:solidFill>
              </a:rPr>
              <a:t>Lorem ipsum dolor sit</a:t>
            </a:r>
          </a:p>
        </p:txBody>
      </p:sp>
      <p:sp>
        <p:nvSpPr>
          <p:cNvPr id="60" name="Rectangle 59">
            <a:extLst>
              <a:ext uri="{FF2B5EF4-FFF2-40B4-BE49-F238E27FC236}">
                <a16:creationId xmlns:a16="http://schemas.microsoft.com/office/drawing/2014/main" id="{D44448B2-10A5-DF41-8D97-6BA34053CF0D}"/>
              </a:ext>
            </a:extLst>
          </p:cNvPr>
          <p:cNvSpPr/>
          <p:nvPr/>
        </p:nvSpPr>
        <p:spPr>
          <a:xfrm>
            <a:off x="6775844" y="2802949"/>
            <a:ext cx="954627" cy="323165"/>
          </a:xfrm>
          <a:prstGeom prst="rect">
            <a:avLst/>
          </a:prstGeom>
        </p:spPr>
        <p:txBody>
          <a:bodyPr wrap="square" lIns="0" tIns="0" rIns="0" bIns="0">
            <a:spAutoFit/>
          </a:bodyPr>
          <a:lstStyle/>
          <a:p>
            <a:pPr algn="ctr"/>
            <a:r>
              <a:rPr lang="en-US" sz="1050" b="1" dirty="0">
                <a:solidFill>
                  <a:schemeClr val="bg1"/>
                </a:solidFill>
              </a:rPr>
              <a:t>Lorem ipsum dolor sit</a:t>
            </a:r>
          </a:p>
        </p:txBody>
      </p:sp>
      <p:sp>
        <p:nvSpPr>
          <p:cNvPr id="61" name="Rectangle 60">
            <a:extLst>
              <a:ext uri="{FF2B5EF4-FFF2-40B4-BE49-F238E27FC236}">
                <a16:creationId xmlns:a16="http://schemas.microsoft.com/office/drawing/2014/main" id="{3BE33765-4572-364C-96F2-75BA2ACD46A7}"/>
              </a:ext>
            </a:extLst>
          </p:cNvPr>
          <p:cNvSpPr/>
          <p:nvPr/>
        </p:nvSpPr>
        <p:spPr>
          <a:xfrm>
            <a:off x="5860871" y="4453450"/>
            <a:ext cx="1219886" cy="161583"/>
          </a:xfrm>
          <a:prstGeom prst="rect">
            <a:avLst/>
          </a:prstGeom>
        </p:spPr>
        <p:txBody>
          <a:bodyPr wrap="square" lIns="0" tIns="0" rIns="0" bIns="0">
            <a:spAutoFit/>
          </a:bodyPr>
          <a:lstStyle/>
          <a:p>
            <a:pPr algn="ctr"/>
            <a:r>
              <a:rPr lang="en-US" sz="1050" b="1" dirty="0">
                <a:solidFill>
                  <a:schemeClr val="bg1"/>
                </a:solidFill>
              </a:rPr>
              <a:t>Lorem ipsum dolor sit</a:t>
            </a:r>
          </a:p>
        </p:txBody>
      </p:sp>
      <p:sp>
        <p:nvSpPr>
          <p:cNvPr id="62" name="Rectangle 61">
            <a:extLst>
              <a:ext uri="{FF2B5EF4-FFF2-40B4-BE49-F238E27FC236}">
                <a16:creationId xmlns:a16="http://schemas.microsoft.com/office/drawing/2014/main" id="{1224DD05-4A7A-4C45-B368-CBA432673006}"/>
              </a:ext>
            </a:extLst>
          </p:cNvPr>
          <p:cNvSpPr/>
          <p:nvPr/>
        </p:nvSpPr>
        <p:spPr>
          <a:xfrm>
            <a:off x="4852080" y="3801456"/>
            <a:ext cx="1155098" cy="323165"/>
          </a:xfrm>
          <a:prstGeom prst="rect">
            <a:avLst/>
          </a:prstGeom>
        </p:spPr>
        <p:txBody>
          <a:bodyPr wrap="square" lIns="0" tIns="0" rIns="0" bIns="0">
            <a:spAutoFit/>
          </a:bodyPr>
          <a:lstStyle/>
          <a:p>
            <a:pPr algn="ctr"/>
            <a:r>
              <a:rPr lang="en-US" sz="1050" b="1" dirty="0">
                <a:solidFill>
                  <a:schemeClr val="bg1"/>
                </a:solidFill>
              </a:rPr>
              <a:t>Lorem ipsum dolor sit</a:t>
            </a:r>
          </a:p>
        </p:txBody>
      </p:sp>
      <p:sp>
        <p:nvSpPr>
          <p:cNvPr id="63" name="Rectangle 62">
            <a:extLst>
              <a:ext uri="{FF2B5EF4-FFF2-40B4-BE49-F238E27FC236}">
                <a16:creationId xmlns:a16="http://schemas.microsoft.com/office/drawing/2014/main" id="{27AC23DA-428D-2849-8AE6-6CDF40732086}"/>
              </a:ext>
            </a:extLst>
          </p:cNvPr>
          <p:cNvSpPr/>
          <p:nvPr/>
        </p:nvSpPr>
        <p:spPr>
          <a:xfrm>
            <a:off x="4852056" y="2489376"/>
            <a:ext cx="960188" cy="323165"/>
          </a:xfrm>
          <a:prstGeom prst="rect">
            <a:avLst/>
          </a:prstGeom>
        </p:spPr>
        <p:txBody>
          <a:bodyPr wrap="square" lIns="0" tIns="0" rIns="0" bIns="0">
            <a:spAutoFit/>
          </a:bodyPr>
          <a:lstStyle/>
          <a:p>
            <a:pPr algn="ctr"/>
            <a:r>
              <a:rPr lang="en-US" sz="1050" b="1" dirty="0">
                <a:solidFill>
                  <a:schemeClr val="bg1"/>
                </a:solidFill>
              </a:rPr>
              <a:t>Lorem ipsum dolor sit</a:t>
            </a:r>
          </a:p>
        </p:txBody>
      </p:sp>
      <p:sp>
        <p:nvSpPr>
          <p:cNvPr id="64" name="Rectangle 63">
            <a:extLst>
              <a:ext uri="{FF2B5EF4-FFF2-40B4-BE49-F238E27FC236}">
                <a16:creationId xmlns:a16="http://schemas.microsoft.com/office/drawing/2014/main" id="{3A6E09F4-8745-0A4B-A806-0365B7BEE283}"/>
              </a:ext>
            </a:extLst>
          </p:cNvPr>
          <p:cNvSpPr/>
          <p:nvPr/>
        </p:nvSpPr>
        <p:spPr bwMode="gray">
          <a:xfrm rot="2180232">
            <a:off x="7147615" y="2231911"/>
            <a:ext cx="146060" cy="82172"/>
          </a:xfrm>
          <a:prstGeom prst="rect">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65" name="TextBox 180">
            <a:extLst>
              <a:ext uri="{FF2B5EF4-FFF2-40B4-BE49-F238E27FC236}">
                <a16:creationId xmlns:a16="http://schemas.microsoft.com/office/drawing/2014/main" id="{B56798DE-6420-A84D-AE12-17FB28ED5AA6}"/>
              </a:ext>
            </a:extLst>
          </p:cNvPr>
          <p:cNvSpPr txBox="1"/>
          <p:nvPr/>
        </p:nvSpPr>
        <p:spPr>
          <a:xfrm flipH="1">
            <a:off x="7730471" y="3571875"/>
            <a:ext cx="2150355" cy="48474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050" dirty="0">
                <a:solidFill>
                  <a:sysClr val="windowText" lastClr="000000"/>
                </a:solidFill>
                <a:latin typeface="Verdana"/>
              </a:rPr>
              <a:t>Lorem ipsum dolor sit </a:t>
            </a:r>
            <a:r>
              <a:rPr lang="en-US" sz="1050" dirty="0" err="1">
                <a:solidFill>
                  <a:sysClr val="windowText" lastClr="000000"/>
                </a:solidFill>
                <a:latin typeface="Verdana"/>
              </a:rPr>
              <a:t>amet</a:t>
            </a:r>
            <a:r>
              <a:rPr lang="en-US" sz="1050" dirty="0">
                <a:solidFill>
                  <a:sysClr val="windowText" lastClr="000000"/>
                </a:solidFill>
                <a:latin typeface="Verdana"/>
              </a:rPr>
              <a:t>, </a:t>
            </a:r>
            <a:r>
              <a:rPr lang="en-US" sz="1050" dirty="0" err="1">
                <a:solidFill>
                  <a:sysClr val="windowText" lastClr="000000"/>
                </a:solidFill>
                <a:latin typeface="Verdana"/>
              </a:rPr>
              <a:t>consectetur</a:t>
            </a:r>
            <a:r>
              <a:rPr lang="en-US" sz="1050" dirty="0">
                <a:solidFill>
                  <a:sysClr val="windowText" lastClr="000000"/>
                </a:solidFill>
                <a:latin typeface="Verdana"/>
              </a:rPr>
              <a:t> </a:t>
            </a:r>
            <a:r>
              <a:rPr lang="en-US" sz="1050" dirty="0" err="1">
                <a:solidFill>
                  <a:sysClr val="windowText" lastClr="000000"/>
                </a:solidFill>
                <a:latin typeface="Verdana"/>
              </a:rPr>
              <a:t>adipiscing</a:t>
            </a:r>
            <a:r>
              <a:rPr lang="en-US" sz="1050" dirty="0">
                <a:solidFill>
                  <a:sysClr val="windowText" lastClr="000000"/>
                </a:solidFill>
                <a:latin typeface="Verdana"/>
              </a:rPr>
              <a:t> </a:t>
            </a:r>
            <a:r>
              <a:rPr lang="en-US" sz="1050" dirty="0" err="1">
                <a:solidFill>
                  <a:sysClr val="windowText" lastClr="000000"/>
                </a:solidFill>
                <a:latin typeface="Verdana"/>
              </a:rPr>
              <a:t>elit</a:t>
            </a:r>
            <a:r>
              <a:rPr lang="en-US" sz="1050" dirty="0">
                <a:solidFill>
                  <a:sysClr val="windowText" lastClr="000000"/>
                </a:solidFill>
                <a:latin typeface="Verdana"/>
              </a:rPr>
              <a:t>, </a:t>
            </a:r>
            <a:r>
              <a:rPr lang="en-US" sz="1050" dirty="0" err="1">
                <a:solidFill>
                  <a:sysClr val="windowText" lastClr="000000"/>
                </a:solidFill>
                <a:latin typeface="Verdana"/>
              </a:rPr>
              <a:t>sed</a:t>
            </a:r>
            <a:r>
              <a:rPr lang="en-US" sz="1050" dirty="0">
                <a:solidFill>
                  <a:sysClr val="windowText" lastClr="000000"/>
                </a:solidFill>
                <a:latin typeface="Verdana"/>
              </a:rPr>
              <a:t> do </a:t>
            </a:r>
            <a:r>
              <a:rPr lang="en-US" sz="1050" dirty="0" err="1">
                <a:solidFill>
                  <a:sysClr val="windowText" lastClr="000000"/>
                </a:solidFill>
                <a:latin typeface="Verdana"/>
              </a:rPr>
              <a:t>ei</a:t>
            </a:r>
            <a:endParaRPr lang="en-US" sz="1050" dirty="0">
              <a:solidFill>
                <a:sysClr val="windowText" lastClr="000000"/>
              </a:solidFill>
              <a:latin typeface="Verdana"/>
            </a:endParaRPr>
          </a:p>
        </p:txBody>
      </p:sp>
      <p:sp>
        <p:nvSpPr>
          <p:cNvPr id="66" name="TextBox 185">
            <a:extLst>
              <a:ext uri="{FF2B5EF4-FFF2-40B4-BE49-F238E27FC236}">
                <a16:creationId xmlns:a16="http://schemas.microsoft.com/office/drawing/2014/main" id="{A1872B44-4CC1-8946-BA6F-9250A4A20EF2}"/>
              </a:ext>
            </a:extLst>
          </p:cNvPr>
          <p:cNvSpPr txBox="1"/>
          <p:nvPr/>
        </p:nvSpPr>
        <p:spPr>
          <a:xfrm flipH="1">
            <a:off x="5287145" y="4786808"/>
            <a:ext cx="2172413" cy="48474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050" dirty="0">
                <a:solidFill>
                  <a:sysClr val="windowText" lastClr="000000"/>
                </a:solidFill>
                <a:latin typeface="Verdana"/>
              </a:rPr>
              <a:t>Lorem ipsum dolor sit </a:t>
            </a:r>
            <a:r>
              <a:rPr lang="en-US" sz="1050" dirty="0" err="1">
                <a:solidFill>
                  <a:sysClr val="windowText" lastClr="000000"/>
                </a:solidFill>
                <a:latin typeface="Verdana"/>
              </a:rPr>
              <a:t>amet</a:t>
            </a:r>
            <a:r>
              <a:rPr lang="en-US" sz="1050" dirty="0">
                <a:solidFill>
                  <a:sysClr val="windowText" lastClr="000000"/>
                </a:solidFill>
                <a:latin typeface="Verdana"/>
              </a:rPr>
              <a:t>, </a:t>
            </a:r>
            <a:r>
              <a:rPr lang="en-US" sz="1050" dirty="0" err="1">
                <a:solidFill>
                  <a:sysClr val="windowText" lastClr="000000"/>
                </a:solidFill>
                <a:latin typeface="Verdana"/>
              </a:rPr>
              <a:t>consectetur</a:t>
            </a:r>
            <a:r>
              <a:rPr lang="en-US" sz="1050" dirty="0">
                <a:solidFill>
                  <a:sysClr val="windowText" lastClr="000000"/>
                </a:solidFill>
                <a:latin typeface="Verdana"/>
              </a:rPr>
              <a:t> </a:t>
            </a:r>
            <a:r>
              <a:rPr lang="en-US" sz="1050" dirty="0" err="1">
                <a:solidFill>
                  <a:sysClr val="windowText" lastClr="000000"/>
                </a:solidFill>
                <a:latin typeface="Verdana"/>
              </a:rPr>
              <a:t>adipiscing</a:t>
            </a:r>
            <a:r>
              <a:rPr lang="en-US" sz="1050" dirty="0">
                <a:solidFill>
                  <a:sysClr val="windowText" lastClr="000000"/>
                </a:solidFill>
                <a:latin typeface="Verdana"/>
              </a:rPr>
              <a:t> </a:t>
            </a:r>
            <a:r>
              <a:rPr lang="en-US" sz="1050" dirty="0" err="1">
                <a:solidFill>
                  <a:sysClr val="windowText" lastClr="000000"/>
                </a:solidFill>
                <a:latin typeface="Verdana"/>
              </a:rPr>
              <a:t>elit</a:t>
            </a:r>
            <a:r>
              <a:rPr lang="en-US" sz="1050" dirty="0">
                <a:solidFill>
                  <a:sysClr val="windowText" lastClr="000000"/>
                </a:solidFill>
                <a:latin typeface="Verdana"/>
              </a:rPr>
              <a:t>, </a:t>
            </a:r>
            <a:r>
              <a:rPr lang="en-US" sz="1050" dirty="0" err="1">
                <a:solidFill>
                  <a:sysClr val="windowText" lastClr="000000"/>
                </a:solidFill>
                <a:latin typeface="Verdana"/>
              </a:rPr>
              <a:t>sed</a:t>
            </a:r>
            <a:r>
              <a:rPr lang="en-US" sz="1050" dirty="0">
                <a:solidFill>
                  <a:sysClr val="windowText" lastClr="000000"/>
                </a:solidFill>
                <a:latin typeface="Verdana"/>
              </a:rPr>
              <a:t> do </a:t>
            </a:r>
            <a:r>
              <a:rPr lang="en-US" sz="1050" dirty="0" err="1">
                <a:solidFill>
                  <a:sysClr val="windowText" lastClr="000000"/>
                </a:solidFill>
                <a:latin typeface="Verdana"/>
              </a:rPr>
              <a:t>ei</a:t>
            </a:r>
            <a:endParaRPr lang="en-US" sz="1050" dirty="0">
              <a:solidFill>
                <a:sysClr val="windowText" lastClr="000000"/>
              </a:solidFill>
              <a:latin typeface="Verdana"/>
            </a:endParaRPr>
          </a:p>
        </p:txBody>
      </p:sp>
      <p:sp>
        <p:nvSpPr>
          <p:cNvPr id="67" name="TextBox 190">
            <a:extLst>
              <a:ext uri="{FF2B5EF4-FFF2-40B4-BE49-F238E27FC236}">
                <a16:creationId xmlns:a16="http://schemas.microsoft.com/office/drawing/2014/main" id="{5FFFCFB9-B6C0-F245-9B40-FB3779ACA307}"/>
              </a:ext>
            </a:extLst>
          </p:cNvPr>
          <p:cNvSpPr txBox="1"/>
          <p:nvPr/>
        </p:nvSpPr>
        <p:spPr>
          <a:xfrm flipH="1">
            <a:off x="2303012" y="3654134"/>
            <a:ext cx="2396842" cy="48474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050" dirty="0">
                <a:solidFill>
                  <a:sysClr val="windowText" lastClr="000000"/>
                </a:solidFill>
                <a:latin typeface="Verdana"/>
              </a:rPr>
              <a:t>Lorem ipsum dolor sit </a:t>
            </a:r>
            <a:r>
              <a:rPr lang="en-US" sz="1050" dirty="0" err="1">
                <a:solidFill>
                  <a:sysClr val="windowText" lastClr="000000"/>
                </a:solidFill>
                <a:latin typeface="Verdana"/>
              </a:rPr>
              <a:t>amet</a:t>
            </a:r>
            <a:r>
              <a:rPr lang="en-US" sz="1050" dirty="0">
                <a:solidFill>
                  <a:sysClr val="windowText" lastClr="000000"/>
                </a:solidFill>
                <a:latin typeface="Verdana"/>
              </a:rPr>
              <a:t>, </a:t>
            </a:r>
            <a:r>
              <a:rPr lang="en-US" sz="1050" dirty="0" err="1">
                <a:solidFill>
                  <a:sysClr val="windowText" lastClr="000000"/>
                </a:solidFill>
                <a:latin typeface="Verdana"/>
              </a:rPr>
              <a:t>consectetur</a:t>
            </a:r>
            <a:r>
              <a:rPr lang="en-US" sz="1050" dirty="0">
                <a:solidFill>
                  <a:sysClr val="windowText" lastClr="000000"/>
                </a:solidFill>
                <a:latin typeface="Verdana"/>
              </a:rPr>
              <a:t> </a:t>
            </a:r>
            <a:r>
              <a:rPr lang="en-US" sz="1050" dirty="0" err="1">
                <a:solidFill>
                  <a:sysClr val="windowText" lastClr="000000"/>
                </a:solidFill>
                <a:latin typeface="Verdana"/>
              </a:rPr>
              <a:t>adipiscing</a:t>
            </a:r>
            <a:r>
              <a:rPr lang="en-US" sz="1050" dirty="0">
                <a:solidFill>
                  <a:sysClr val="windowText" lastClr="000000"/>
                </a:solidFill>
                <a:latin typeface="Verdana"/>
              </a:rPr>
              <a:t> </a:t>
            </a:r>
            <a:r>
              <a:rPr lang="en-US" sz="1050" dirty="0" err="1">
                <a:solidFill>
                  <a:sysClr val="windowText" lastClr="000000"/>
                </a:solidFill>
                <a:latin typeface="Verdana"/>
              </a:rPr>
              <a:t>elit</a:t>
            </a:r>
            <a:r>
              <a:rPr lang="en-US" sz="1050" dirty="0">
                <a:solidFill>
                  <a:sysClr val="windowText" lastClr="000000"/>
                </a:solidFill>
                <a:latin typeface="Verdana"/>
              </a:rPr>
              <a:t>, </a:t>
            </a:r>
            <a:r>
              <a:rPr lang="en-US" sz="1050" dirty="0" err="1">
                <a:solidFill>
                  <a:sysClr val="windowText" lastClr="000000"/>
                </a:solidFill>
                <a:latin typeface="Verdana"/>
              </a:rPr>
              <a:t>sed</a:t>
            </a:r>
            <a:r>
              <a:rPr lang="en-US" sz="1050" dirty="0">
                <a:solidFill>
                  <a:sysClr val="windowText" lastClr="000000"/>
                </a:solidFill>
                <a:latin typeface="Verdana"/>
              </a:rPr>
              <a:t> do </a:t>
            </a:r>
            <a:r>
              <a:rPr lang="en-US" sz="1050" dirty="0" err="1">
                <a:solidFill>
                  <a:sysClr val="windowText" lastClr="000000"/>
                </a:solidFill>
                <a:latin typeface="Verdana"/>
              </a:rPr>
              <a:t>ei</a:t>
            </a:r>
            <a:endParaRPr lang="en-US" sz="1050" dirty="0">
              <a:solidFill>
                <a:sysClr val="windowText" lastClr="000000"/>
              </a:solidFill>
              <a:latin typeface="Verdana"/>
            </a:endParaRPr>
          </a:p>
        </p:txBody>
      </p:sp>
      <p:sp>
        <p:nvSpPr>
          <p:cNvPr id="68" name="TextBox 193">
            <a:extLst>
              <a:ext uri="{FF2B5EF4-FFF2-40B4-BE49-F238E27FC236}">
                <a16:creationId xmlns:a16="http://schemas.microsoft.com/office/drawing/2014/main" id="{49DB3763-F8E6-EF42-AF31-8B54E43ABC21}"/>
              </a:ext>
            </a:extLst>
          </p:cNvPr>
          <p:cNvSpPr txBox="1"/>
          <p:nvPr/>
        </p:nvSpPr>
        <p:spPr>
          <a:xfrm flipH="1">
            <a:off x="3295382" y="1708720"/>
            <a:ext cx="2020141" cy="48474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da-DK" sz="1050" dirty="0">
                <a:solidFill>
                  <a:sysClr val="windowText" lastClr="000000"/>
                </a:solidFill>
                <a:latin typeface="Verdana"/>
              </a:rPr>
              <a:t>Lorem ipsum dolor sit amet, consectetur adipiscing elit, sed do ei</a:t>
            </a:r>
            <a:endParaRPr lang="en-US" sz="1050" dirty="0">
              <a:solidFill>
                <a:sysClr val="windowText" lastClr="000000"/>
              </a:solidFill>
              <a:latin typeface="Verdana"/>
            </a:endParaRPr>
          </a:p>
        </p:txBody>
      </p:sp>
      <p:sp>
        <p:nvSpPr>
          <p:cNvPr id="69" name="TextBox 201">
            <a:extLst>
              <a:ext uri="{FF2B5EF4-FFF2-40B4-BE49-F238E27FC236}">
                <a16:creationId xmlns:a16="http://schemas.microsoft.com/office/drawing/2014/main" id="{E019869C-5DCC-B04F-A979-3EAFDD7C18A4}"/>
              </a:ext>
            </a:extLst>
          </p:cNvPr>
          <p:cNvSpPr txBox="1"/>
          <p:nvPr/>
        </p:nvSpPr>
        <p:spPr>
          <a:xfrm flipH="1">
            <a:off x="7277748" y="1857825"/>
            <a:ext cx="2521436" cy="323165"/>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050" dirty="0">
                <a:solidFill>
                  <a:sysClr val="windowText" lastClr="000000"/>
                </a:solidFill>
                <a:latin typeface="Verdana"/>
              </a:rPr>
              <a:t>Lorem ipsum dolor sit </a:t>
            </a:r>
            <a:r>
              <a:rPr lang="en-US" sz="1050" dirty="0" err="1">
                <a:solidFill>
                  <a:sysClr val="windowText" lastClr="000000"/>
                </a:solidFill>
                <a:latin typeface="Verdana"/>
              </a:rPr>
              <a:t>amet</a:t>
            </a:r>
            <a:r>
              <a:rPr lang="en-US" sz="1050" dirty="0">
                <a:solidFill>
                  <a:sysClr val="windowText" lastClr="000000"/>
                </a:solidFill>
                <a:latin typeface="Verdana"/>
              </a:rPr>
              <a:t>, </a:t>
            </a:r>
            <a:r>
              <a:rPr lang="en-US" sz="1050" dirty="0" err="1">
                <a:solidFill>
                  <a:sysClr val="windowText" lastClr="000000"/>
                </a:solidFill>
                <a:latin typeface="Verdana"/>
              </a:rPr>
              <a:t>consectetur</a:t>
            </a:r>
            <a:r>
              <a:rPr lang="en-US" sz="1050" dirty="0">
                <a:solidFill>
                  <a:sysClr val="windowText" lastClr="000000"/>
                </a:solidFill>
                <a:latin typeface="Verdana"/>
              </a:rPr>
              <a:t> </a:t>
            </a:r>
            <a:r>
              <a:rPr lang="en-US" sz="1050" dirty="0" err="1">
                <a:solidFill>
                  <a:sysClr val="windowText" lastClr="000000"/>
                </a:solidFill>
                <a:latin typeface="Verdana"/>
              </a:rPr>
              <a:t>adipiscing</a:t>
            </a:r>
            <a:r>
              <a:rPr lang="en-US" sz="1050" dirty="0">
                <a:solidFill>
                  <a:sysClr val="windowText" lastClr="000000"/>
                </a:solidFill>
                <a:latin typeface="Verdana"/>
              </a:rPr>
              <a:t> </a:t>
            </a:r>
            <a:r>
              <a:rPr lang="en-US" sz="1050" dirty="0" err="1">
                <a:solidFill>
                  <a:sysClr val="windowText" lastClr="000000"/>
                </a:solidFill>
                <a:latin typeface="Verdana"/>
              </a:rPr>
              <a:t>elit</a:t>
            </a:r>
            <a:r>
              <a:rPr lang="en-US" sz="1050" dirty="0">
                <a:solidFill>
                  <a:sysClr val="windowText" lastClr="000000"/>
                </a:solidFill>
                <a:latin typeface="Verdana"/>
              </a:rPr>
              <a:t>, </a:t>
            </a:r>
            <a:r>
              <a:rPr lang="en-US" sz="1050" dirty="0" err="1">
                <a:solidFill>
                  <a:sysClr val="windowText" lastClr="000000"/>
                </a:solidFill>
                <a:latin typeface="Verdana"/>
              </a:rPr>
              <a:t>sed</a:t>
            </a:r>
            <a:r>
              <a:rPr lang="en-US" sz="1050" dirty="0">
                <a:solidFill>
                  <a:sysClr val="windowText" lastClr="000000"/>
                </a:solidFill>
                <a:latin typeface="Verdana"/>
              </a:rPr>
              <a:t> do </a:t>
            </a:r>
            <a:r>
              <a:rPr lang="en-US" sz="1050" dirty="0" err="1">
                <a:solidFill>
                  <a:sysClr val="windowText" lastClr="000000"/>
                </a:solidFill>
                <a:latin typeface="Verdana"/>
              </a:rPr>
              <a:t>ei</a:t>
            </a:r>
            <a:endParaRPr lang="en-US" sz="1050" dirty="0">
              <a:solidFill>
                <a:sysClr val="windowText" lastClr="000000"/>
              </a:solidFill>
              <a:latin typeface="Verdana"/>
            </a:endParaRPr>
          </a:p>
        </p:txBody>
      </p:sp>
      <p:grpSp>
        <p:nvGrpSpPr>
          <p:cNvPr id="70" name="Group 669">
            <a:extLst>
              <a:ext uri="{FF2B5EF4-FFF2-40B4-BE49-F238E27FC236}">
                <a16:creationId xmlns:a16="http://schemas.microsoft.com/office/drawing/2014/main" id="{FCC02C3A-2954-8B4B-81B8-C75FC743DE33}"/>
              </a:ext>
            </a:extLst>
          </p:cNvPr>
          <p:cNvGrpSpPr>
            <a:grpSpLocks noChangeAspect="1"/>
          </p:cNvGrpSpPr>
          <p:nvPr/>
        </p:nvGrpSpPr>
        <p:grpSpPr bwMode="auto">
          <a:xfrm>
            <a:off x="6222720" y="1874742"/>
            <a:ext cx="342900" cy="342900"/>
            <a:chOff x="1910" y="2326"/>
            <a:chExt cx="340" cy="340"/>
          </a:xfrm>
          <a:solidFill>
            <a:schemeClr val="bg1"/>
          </a:solidFill>
        </p:grpSpPr>
        <p:sp>
          <p:nvSpPr>
            <p:cNvPr id="71" name="Freeform 670">
              <a:extLst>
                <a:ext uri="{FF2B5EF4-FFF2-40B4-BE49-F238E27FC236}">
                  <a16:creationId xmlns:a16="http://schemas.microsoft.com/office/drawing/2014/main" id="{5E8257F8-C403-834C-90E2-8A53EF33C7CC}"/>
                </a:ext>
              </a:extLst>
            </p:cNvPr>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72" name="Freeform 671">
              <a:extLst>
                <a:ext uri="{FF2B5EF4-FFF2-40B4-BE49-F238E27FC236}">
                  <a16:creationId xmlns:a16="http://schemas.microsoft.com/office/drawing/2014/main" id="{88BA6378-DD7F-4847-822E-4BDC5F55084B}"/>
                </a:ext>
              </a:extLst>
            </p:cNvPr>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grpSp>
        <p:nvGrpSpPr>
          <p:cNvPr id="73" name="Group 934">
            <a:extLst>
              <a:ext uri="{FF2B5EF4-FFF2-40B4-BE49-F238E27FC236}">
                <a16:creationId xmlns:a16="http://schemas.microsoft.com/office/drawing/2014/main" id="{EECA4615-A337-594A-A958-D0C3248A5C76}"/>
              </a:ext>
            </a:extLst>
          </p:cNvPr>
          <p:cNvGrpSpPr>
            <a:grpSpLocks noChangeAspect="1"/>
          </p:cNvGrpSpPr>
          <p:nvPr/>
        </p:nvGrpSpPr>
        <p:grpSpPr bwMode="auto">
          <a:xfrm>
            <a:off x="7102126" y="3482684"/>
            <a:ext cx="342900" cy="342900"/>
            <a:chOff x="1155" y="3472"/>
            <a:chExt cx="340" cy="340"/>
          </a:xfrm>
          <a:solidFill>
            <a:schemeClr val="bg1"/>
          </a:solidFill>
        </p:grpSpPr>
        <p:sp>
          <p:nvSpPr>
            <p:cNvPr id="74" name="Freeform 935">
              <a:extLst>
                <a:ext uri="{FF2B5EF4-FFF2-40B4-BE49-F238E27FC236}">
                  <a16:creationId xmlns:a16="http://schemas.microsoft.com/office/drawing/2014/main" id="{4925707A-3065-8E4E-B26D-DEA42D5C8346}"/>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75" name="Freeform 936">
              <a:extLst>
                <a:ext uri="{FF2B5EF4-FFF2-40B4-BE49-F238E27FC236}">
                  <a16:creationId xmlns:a16="http://schemas.microsoft.com/office/drawing/2014/main" id="{060700CB-4A97-E947-B245-64618469D27A}"/>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grpSp>
        <p:nvGrpSpPr>
          <p:cNvPr id="76" name="Group 902">
            <a:extLst>
              <a:ext uri="{FF2B5EF4-FFF2-40B4-BE49-F238E27FC236}">
                <a16:creationId xmlns:a16="http://schemas.microsoft.com/office/drawing/2014/main" id="{4A4A4C41-A5C5-9949-BCDA-A6D500D0CB75}"/>
              </a:ext>
            </a:extLst>
          </p:cNvPr>
          <p:cNvGrpSpPr>
            <a:grpSpLocks noChangeAspect="1"/>
          </p:cNvGrpSpPr>
          <p:nvPr/>
        </p:nvGrpSpPr>
        <p:grpSpPr bwMode="auto">
          <a:xfrm>
            <a:off x="6352841" y="3988806"/>
            <a:ext cx="343908" cy="342900"/>
            <a:chOff x="3456" y="3471"/>
            <a:chExt cx="341" cy="340"/>
          </a:xfrm>
          <a:solidFill>
            <a:schemeClr val="bg1"/>
          </a:solidFill>
        </p:grpSpPr>
        <p:sp>
          <p:nvSpPr>
            <p:cNvPr id="77" name="Freeform 903">
              <a:extLst>
                <a:ext uri="{FF2B5EF4-FFF2-40B4-BE49-F238E27FC236}">
                  <a16:creationId xmlns:a16="http://schemas.microsoft.com/office/drawing/2014/main" id="{6533D1DD-72F8-D147-84CC-D73601D527C6}"/>
                </a:ext>
              </a:extLst>
            </p:cNvPr>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78" name="Freeform 904">
              <a:extLst>
                <a:ext uri="{FF2B5EF4-FFF2-40B4-BE49-F238E27FC236}">
                  <a16:creationId xmlns:a16="http://schemas.microsoft.com/office/drawing/2014/main" id="{6E3AB098-BE9B-2E41-A2C0-5A4B74EDAB8C}"/>
                </a:ext>
              </a:extLst>
            </p:cNvPr>
            <p:cNvSpPr>
              <a:spLocks noEditPoints="1"/>
            </p:cNvSpPr>
            <p:nvPr/>
          </p:nvSpPr>
          <p:spPr bwMode="auto">
            <a:xfrm>
              <a:off x="3520" y="3546"/>
              <a:ext cx="214" cy="173"/>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grpSp>
        <p:nvGrpSpPr>
          <p:cNvPr id="79" name="Group 808">
            <a:extLst>
              <a:ext uri="{FF2B5EF4-FFF2-40B4-BE49-F238E27FC236}">
                <a16:creationId xmlns:a16="http://schemas.microsoft.com/office/drawing/2014/main" id="{6E03D1C4-4F8D-3B41-9968-9EC7712CBD04}"/>
              </a:ext>
            </a:extLst>
          </p:cNvPr>
          <p:cNvGrpSpPr>
            <a:grpSpLocks noChangeAspect="1"/>
          </p:cNvGrpSpPr>
          <p:nvPr/>
        </p:nvGrpSpPr>
        <p:grpSpPr bwMode="auto">
          <a:xfrm>
            <a:off x="4833360" y="3247492"/>
            <a:ext cx="341895" cy="342900"/>
            <a:chOff x="5376" y="3657"/>
            <a:chExt cx="340" cy="341"/>
          </a:xfrm>
          <a:solidFill>
            <a:schemeClr val="bg1"/>
          </a:solidFill>
        </p:grpSpPr>
        <p:sp>
          <p:nvSpPr>
            <p:cNvPr id="80" name="Freeform 809">
              <a:extLst>
                <a:ext uri="{FF2B5EF4-FFF2-40B4-BE49-F238E27FC236}">
                  <a16:creationId xmlns:a16="http://schemas.microsoft.com/office/drawing/2014/main" id="{0F77C00A-D6CF-5B47-AE98-CA1D844E38EC}"/>
                </a:ext>
              </a:extLst>
            </p:cNvPr>
            <p:cNvSpPr>
              <a:spLocks noEditPoints="1"/>
            </p:cNvSpPr>
            <p:nvPr/>
          </p:nvSpPr>
          <p:spPr bwMode="auto">
            <a:xfrm>
              <a:off x="5454" y="3721"/>
              <a:ext cx="184" cy="198"/>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81" name="Freeform 810">
              <a:extLst>
                <a:ext uri="{FF2B5EF4-FFF2-40B4-BE49-F238E27FC236}">
                  <a16:creationId xmlns:a16="http://schemas.microsoft.com/office/drawing/2014/main" id="{9CC85D81-CF77-0846-A8DE-DCA7F449BAE8}"/>
                </a:ext>
              </a:extLst>
            </p:cNvPr>
            <p:cNvSpPr>
              <a:spLocks noEditPoints="1"/>
            </p:cNvSpPr>
            <p:nvPr/>
          </p:nvSpPr>
          <p:spPr bwMode="auto">
            <a:xfrm>
              <a:off x="5376" y="36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grpSp>
        <p:nvGrpSpPr>
          <p:cNvPr id="82" name="Group 380">
            <a:extLst>
              <a:ext uri="{FF2B5EF4-FFF2-40B4-BE49-F238E27FC236}">
                <a16:creationId xmlns:a16="http://schemas.microsoft.com/office/drawing/2014/main" id="{1ED21E90-DEBE-D647-AAA7-1FA8256E7CD8}"/>
              </a:ext>
            </a:extLst>
          </p:cNvPr>
          <p:cNvGrpSpPr>
            <a:grpSpLocks noChangeAspect="1"/>
          </p:cNvGrpSpPr>
          <p:nvPr/>
        </p:nvGrpSpPr>
        <p:grpSpPr bwMode="auto">
          <a:xfrm>
            <a:off x="5461793" y="2046192"/>
            <a:ext cx="342900" cy="342900"/>
            <a:chOff x="7362" y="1207"/>
            <a:chExt cx="340" cy="340"/>
          </a:xfrm>
          <a:solidFill>
            <a:schemeClr val="bg1"/>
          </a:solidFill>
        </p:grpSpPr>
        <p:sp>
          <p:nvSpPr>
            <p:cNvPr id="83" name="Freeform 381">
              <a:extLst>
                <a:ext uri="{FF2B5EF4-FFF2-40B4-BE49-F238E27FC236}">
                  <a16:creationId xmlns:a16="http://schemas.microsoft.com/office/drawing/2014/main" id="{55B90F20-7449-854F-A2A3-759A2DE9B05C}"/>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84" name="Freeform 382">
              <a:extLst>
                <a:ext uri="{FF2B5EF4-FFF2-40B4-BE49-F238E27FC236}">
                  <a16:creationId xmlns:a16="http://schemas.microsoft.com/office/drawing/2014/main" id="{C962D2D3-8812-8242-9410-B8436CFB1A86}"/>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spTree>
    <p:custDataLst>
      <p:tags r:id="rId1"/>
    </p:custDataLst>
    <p:extLst>
      <p:ext uri="{BB962C8B-B14F-4D97-AF65-F5344CB8AC3E}">
        <p14:creationId xmlns:p14="http://schemas.microsoft.com/office/powerpoint/2010/main" val="65562749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Flowchart: Extract 125">
            <a:extLst>
              <a:ext uri="{FF2B5EF4-FFF2-40B4-BE49-F238E27FC236}">
                <a16:creationId xmlns:a16="http://schemas.microsoft.com/office/drawing/2014/main" id="{9B4085E3-2D7F-D848-A482-82949068B6BA}"/>
              </a:ext>
            </a:extLst>
          </p:cNvPr>
          <p:cNvSpPr/>
          <p:nvPr/>
        </p:nvSpPr>
        <p:spPr bwMode="auto">
          <a:xfrm>
            <a:off x="1550669" y="1017590"/>
            <a:ext cx="8595360" cy="647700"/>
          </a:xfrm>
          <a:prstGeom prst="flowChartExtract">
            <a:avLst/>
          </a:prstGeom>
          <a:solidFill>
            <a:sysClr val="windowText" lastClr="000000"/>
          </a:solidFill>
          <a:ln w="9525" cap="flat" cmpd="sng" algn="ctr">
            <a:noFill/>
            <a:prstDash val="solid"/>
            <a:round/>
            <a:headEnd type="none" w="med" len="med"/>
            <a:tailEnd type="none" w="med" len="med"/>
          </a:ln>
          <a:effectLst/>
        </p:spPr>
        <p:txBody>
          <a:bodyPr vert="horz" wrap="square" lIns="0" tIns="0" rIns="0" bIns="457200" numCol="1" rtlCol="0" anchor="t" anchorCtr="0" compatLnSpc="1">
            <a:prstTxWarp prst="textNoShape">
              <a:avLst/>
            </a:prstTxWarp>
          </a:bodyPr>
          <a:lstStyle/>
          <a:p>
            <a:pPr marL="231775" indent="-231775" algn="ctr" fontAlgn="base">
              <a:defRPr/>
            </a:pPr>
            <a:r>
              <a:rPr lang="en-US" sz="1100" b="1" kern="0" dirty="0">
                <a:solidFill>
                  <a:srgbClr val="C4D600"/>
                </a:solidFill>
              </a:rPr>
              <a:t>Lorem</a:t>
            </a:r>
          </a:p>
        </p:txBody>
      </p:sp>
      <p:sp>
        <p:nvSpPr>
          <p:cNvPr id="49" name="Rectangle 48">
            <a:extLst>
              <a:ext uri="{FF2B5EF4-FFF2-40B4-BE49-F238E27FC236}">
                <a16:creationId xmlns:a16="http://schemas.microsoft.com/office/drawing/2014/main" id="{28F21DCC-4FB6-394D-9411-69BB6C1D0B28}"/>
              </a:ext>
            </a:extLst>
          </p:cNvPr>
          <p:cNvSpPr/>
          <p:nvPr/>
        </p:nvSpPr>
        <p:spPr bwMode="auto">
          <a:xfrm>
            <a:off x="1550669" y="1717275"/>
            <a:ext cx="411480" cy="4109088"/>
          </a:xfrm>
          <a:prstGeom prst="rect">
            <a:avLst/>
          </a:prstGeom>
          <a:solidFill>
            <a:srgbClr val="75787B"/>
          </a:solidFill>
          <a:ln w="9525" cap="flat" cmpd="sng" algn="ctr">
            <a:noFill/>
            <a:prstDash val="solid"/>
            <a:round/>
            <a:headEnd type="none" w="med" len="med"/>
            <a:tailEnd type="none" w="med" len="med"/>
          </a:ln>
          <a:effectLst/>
        </p:spPr>
        <p:txBody>
          <a:bodyPr vert="vert270" wrap="square" lIns="0" tIns="0" rIns="0" bIns="0" numCol="1" rtlCol="0" anchor="ctr" anchorCtr="0" compatLnSpc="1">
            <a:prstTxWarp prst="textNoShape">
              <a:avLst/>
            </a:prstTxWarp>
          </a:bodyPr>
          <a:lstStyle/>
          <a:p>
            <a:pPr algn="ctr" fontAlgn="base">
              <a:defRPr/>
            </a:pPr>
            <a:r>
              <a:rPr lang="en-US" sz="1100" b="1" kern="0" dirty="0">
                <a:solidFill>
                  <a:prstClr val="white"/>
                </a:solidFill>
              </a:rPr>
              <a:t>Opportunity drivers</a:t>
            </a:r>
          </a:p>
        </p:txBody>
      </p:sp>
      <p:sp>
        <p:nvSpPr>
          <p:cNvPr id="50" name="Rectangle 49">
            <a:extLst>
              <a:ext uri="{FF2B5EF4-FFF2-40B4-BE49-F238E27FC236}">
                <a16:creationId xmlns:a16="http://schemas.microsoft.com/office/drawing/2014/main" id="{DAA3EE0E-F8BF-9C45-9A85-27EC2BF26BD5}"/>
              </a:ext>
            </a:extLst>
          </p:cNvPr>
          <p:cNvSpPr/>
          <p:nvPr/>
        </p:nvSpPr>
        <p:spPr bwMode="auto">
          <a:xfrm>
            <a:off x="9734549" y="1717273"/>
            <a:ext cx="411480" cy="4109089"/>
          </a:xfrm>
          <a:prstGeom prst="rect">
            <a:avLst/>
          </a:prstGeom>
          <a:solidFill>
            <a:srgbClr val="75787B"/>
          </a:solidFill>
          <a:ln w="9525" cap="flat" cmpd="sng" algn="ctr">
            <a:noFill/>
            <a:prstDash val="solid"/>
            <a:round/>
            <a:headEnd type="none" w="med" len="med"/>
            <a:tailEnd type="none" w="med" len="med"/>
          </a:ln>
          <a:effectLst/>
        </p:spPr>
        <p:txBody>
          <a:bodyPr vert="vert" wrap="square" lIns="0" tIns="0" rIns="0" bIns="0" numCol="1" rtlCol="0" anchor="ctr" anchorCtr="0" compatLnSpc="1">
            <a:prstTxWarp prst="textNoShape">
              <a:avLst/>
            </a:prstTxWarp>
          </a:bodyPr>
          <a:lstStyle/>
          <a:p>
            <a:pPr algn="ctr" fontAlgn="base">
              <a:defRPr/>
            </a:pPr>
            <a:r>
              <a:rPr lang="en-US" sz="1100" b="1" kern="0" dirty="0">
                <a:solidFill>
                  <a:prstClr val="white"/>
                </a:solidFill>
              </a:rPr>
              <a:t>Benefits</a:t>
            </a:r>
          </a:p>
        </p:txBody>
      </p:sp>
      <p:grpSp>
        <p:nvGrpSpPr>
          <p:cNvPr id="51" name="Group 50">
            <a:extLst>
              <a:ext uri="{FF2B5EF4-FFF2-40B4-BE49-F238E27FC236}">
                <a16:creationId xmlns:a16="http://schemas.microsoft.com/office/drawing/2014/main" id="{88FCF1EC-6D8E-BA44-A15E-D7F0722924B7}"/>
              </a:ext>
            </a:extLst>
          </p:cNvPr>
          <p:cNvGrpSpPr/>
          <p:nvPr/>
        </p:nvGrpSpPr>
        <p:grpSpPr>
          <a:xfrm>
            <a:off x="2053589" y="2579181"/>
            <a:ext cx="3666744" cy="1035019"/>
            <a:chOff x="2301240" y="2579180"/>
            <a:chExt cx="3666744" cy="1035019"/>
          </a:xfrm>
        </p:grpSpPr>
        <p:sp>
          <p:nvSpPr>
            <p:cNvPr id="198" name="Flowchart: Process 129">
              <a:extLst>
                <a:ext uri="{FF2B5EF4-FFF2-40B4-BE49-F238E27FC236}">
                  <a16:creationId xmlns:a16="http://schemas.microsoft.com/office/drawing/2014/main" id="{A60E602E-BDD9-9C45-BC29-3E09399AEECC}"/>
                </a:ext>
              </a:extLst>
            </p:cNvPr>
            <p:cNvSpPr/>
            <p:nvPr/>
          </p:nvSpPr>
          <p:spPr bwMode="auto">
            <a:xfrm>
              <a:off x="2301240" y="2990660"/>
              <a:ext cx="3666744" cy="623539"/>
            </a:xfrm>
            <a:prstGeom prst="flowChartProcess">
              <a:avLst/>
            </a:prstGeom>
            <a:solidFill>
              <a:srgbClr val="FFFFFF"/>
            </a:solidFill>
            <a:ln w="9525" cap="flat" cmpd="sng" algn="ctr">
              <a:noFill/>
              <a:prstDash val="solid"/>
              <a:round/>
              <a:headEnd type="none" w="med" len="med"/>
              <a:tailEnd type="none" w="med" len="med"/>
            </a:ln>
            <a:effectLst/>
          </p:spPr>
          <p:txBody>
            <a:bodyPr vert="horz" wrap="square" lIns="91440" tIns="91440" rIns="91440" bIns="91440" numCol="2" spcCol="182880" rtlCol="0" anchor="t" anchorCtr="0" compatLnSpc="1">
              <a:prstTxWarp prst="textNoShape">
                <a:avLst/>
              </a:prstTxWarp>
            </a:bodyPr>
            <a:lstStyle/>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p:txBody>
        </p:sp>
        <p:sp>
          <p:nvSpPr>
            <p:cNvPr id="199" name="Flowchart: Process 130">
              <a:extLst>
                <a:ext uri="{FF2B5EF4-FFF2-40B4-BE49-F238E27FC236}">
                  <a16:creationId xmlns:a16="http://schemas.microsoft.com/office/drawing/2014/main" id="{2AFB4368-D2FB-434B-B155-9E98B04CAE30}"/>
                </a:ext>
              </a:extLst>
            </p:cNvPr>
            <p:cNvSpPr/>
            <p:nvPr/>
          </p:nvSpPr>
          <p:spPr bwMode="auto">
            <a:xfrm>
              <a:off x="2301240" y="2579180"/>
              <a:ext cx="3666744" cy="411480"/>
            </a:xfrm>
            <a:prstGeom prst="flowChartProcess">
              <a:avLst/>
            </a:prstGeom>
            <a:solidFill>
              <a:srgbClr val="009A44"/>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white"/>
                  </a:solidFill>
                </a:rPr>
                <a:t>Lorem</a:t>
              </a:r>
            </a:p>
          </p:txBody>
        </p:sp>
      </p:grpSp>
      <p:sp>
        <p:nvSpPr>
          <p:cNvPr id="52" name="Rectangle 51">
            <a:extLst>
              <a:ext uri="{FF2B5EF4-FFF2-40B4-BE49-F238E27FC236}">
                <a16:creationId xmlns:a16="http://schemas.microsoft.com/office/drawing/2014/main" id="{65F68639-773D-1D44-A0DB-189A7E8394F7}"/>
              </a:ext>
            </a:extLst>
          </p:cNvPr>
          <p:cNvSpPr/>
          <p:nvPr/>
        </p:nvSpPr>
        <p:spPr>
          <a:xfrm>
            <a:off x="2053589" y="5378248"/>
            <a:ext cx="7589520" cy="323818"/>
          </a:xfrm>
          <a:prstGeom prst="rect">
            <a:avLst/>
          </a:prstGeom>
          <a:solidFill>
            <a:srgbClr val="D0D0CE"/>
          </a:solidFill>
          <a:ln w="9525" cap="flat" cmpd="sng" algn="ctr">
            <a:noFill/>
            <a:prstDash val="solid"/>
          </a:ln>
          <a:effectLst/>
        </p:spPr>
        <p:txBody>
          <a:bodyPr lIns="88900" tIns="88900" rIns="88900" bIns="88900" rtlCol="0" anchor="ctr">
            <a:noAutofit/>
          </a:bodyPr>
          <a:lstStyle/>
          <a:p>
            <a:pPr algn="ctr" defTabSz="1219170">
              <a:defRPr/>
            </a:pPr>
            <a:r>
              <a:rPr lang="da-DK" sz="1100" b="1" kern="0" dirty="0">
                <a:solidFill>
                  <a:prstClr val="black"/>
                </a:solidFill>
              </a:rPr>
              <a:t>Lorem ipsum dolor sit amet</a:t>
            </a:r>
            <a:endParaRPr lang="en-US" sz="1100" b="1" kern="0" dirty="0">
              <a:solidFill>
                <a:prstClr val="black"/>
              </a:solidFill>
            </a:endParaRPr>
          </a:p>
        </p:txBody>
      </p:sp>
      <p:sp>
        <p:nvSpPr>
          <p:cNvPr id="53" name="Snip and Round Single Corner Rectangle 52">
            <a:extLst>
              <a:ext uri="{FF2B5EF4-FFF2-40B4-BE49-F238E27FC236}">
                <a16:creationId xmlns:a16="http://schemas.microsoft.com/office/drawing/2014/main" id="{B0D975A7-05E0-4442-AEEA-C9BE62CE7BB7}"/>
              </a:ext>
            </a:extLst>
          </p:cNvPr>
          <p:cNvSpPr/>
          <p:nvPr/>
        </p:nvSpPr>
        <p:spPr bwMode="auto">
          <a:xfrm>
            <a:off x="2053589" y="2180289"/>
            <a:ext cx="3666744" cy="411480"/>
          </a:xfrm>
          <a:prstGeom prst="snipRoundRect">
            <a:avLst/>
          </a:prstGeom>
          <a:solidFill>
            <a:srgbClr val="43B02A"/>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231775" indent="-231775" algn="ctr" defTabSz="1219170" fontAlgn="base"/>
            <a:r>
              <a:rPr lang="en-US" sz="1100" b="1" dirty="0">
                <a:solidFill>
                  <a:prstClr val="white"/>
                </a:solidFill>
              </a:rPr>
              <a:t>Lorem</a:t>
            </a:r>
          </a:p>
        </p:txBody>
      </p:sp>
      <p:sp>
        <p:nvSpPr>
          <p:cNvPr id="54" name="Rectangle 53">
            <a:extLst>
              <a:ext uri="{FF2B5EF4-FFF2-40B4-BE49-F238E27FC236}">
                <a16:creationId xmlns:a16="http://schemas.microsoft.com/office/drawing/2014/main" id="{0FD274FB-37CE-8F41-9BB0-F21823BB2CB4}"/>
              </a:ext>
            </a:extLst>
          </p:cNvPr>
          <p:cNvSpPr/>
          <p:nvPr/>
        </p:nvSpPr>
        <p:spPr bwMode="auto">
          <a:xfrm flipH="1">
            <a:off x="5787951" y="2581534"/>
            <a:ext cx="1737360" cy="585216"/>
          </a:xfrm>
          <a:prstGeom prst="rect">
            <a:avLst/>
          </a:prstGeom>
          <a:solidFill>
            <a:sysClr val="window" lastClr="FFFFFF"/>
          </a:solidFill>
          <a:ln w="25400" cap="flat" cmpd="sng" algn="ctr">
            <a:solidFill>
              <a:srgbClr val="43B02A"/>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black"/>
                </a:solidFill>
              </a:rPr>
              <a:t>Lorem</a:t>
            </a:r>
          </a:p>
        </p:txBody>
      </p:sp>
      <p:sp>
        <p:nvSpPr>
          <p:cNvPr id="83" name="Pentagon 82">
            <a:extLst>
              <a:ext uri="{FF2B5EF4-FFF2-40B4-BE49-F238E27FC236}">
                <a16:creationId xmlns:a16="http://schemas.microsoft.com/office/drawing/2014/main" id="{CBCD7D25-AFE9-254E-9F8D-7E722757AE9F}"/>
              </a:ext>
            </a:extLst>
          </p:cNvPr>
          <p:cNvSpPr/>
          <p:nvPr/>
        </p:nvSpPr>
        <p:spPr bwMode="gray">
          <a:xfrm>
            <a:off x="2053589" y="1717276"/>
            <a:ext cx="3879266" cy="411480"/>
          </a:xfrm>
          <a:prstGeom prst="homePlate">
            <a:avLst/>
          </a:prstGeom>
          <a:solidFill>
            <a:srgbClr val="86BC25"/>
          </a:solidFill>
          <a:ln w="19050" algn="ctr">
            <a:noFill/>
            <a:miter lim="800000"/>
            <a:headEnd/>
            <a:tailEnd/>
          </a:ln>
        </p:spPr>
        <p:txBody>
          <a:bodyPr wrap="square" lIns="88900" tIns="88900" rIns="88900" bIns="88900" rtlCol="0" anchor="ctr"/>
          <a:lstStyle/>
          <a:p>
            <a:pPr algn="ctr" defTabSz="1219170">
              <a:defRPr/>
            </a:pPr>
            <a:r>
              <a:rPr lang="en-GB" sz="1100" b="1" kern="0" dirty="0">
                <a:solidFill>
                  <a:prstClr val="white"/>
                </a:solidFill>
              </a:rPr>
              <a:t>Lorem</a:t>
            </a:r>
          </a:p>
        </p:txBody>
      </p:sp>
      <p:sp>
        <p:nvSpPr>
          <p:cNvPr id="84" name="Chevron 83">
            <a:extLst>
              <a:ext uri="{FF2B5EF4-FFF2-40B4-BE49-F238E27FC236}">
                <a16:creationId xmlns:a16="http://schemas.microsoft.com/office/drawing/2014/main" id="{AF899FDC-C02D-2D4F-8A74-F19056E21380}"/>
              </a:ext>
            </a:extLst>
          </p:cNvPr>
          <p:cNvSpPr/>
          <p:nvPr/>
        </p:nvSpPr>
        <p:spPr bwMode="gray">
          <a:xfrm>
            <a:off x="5763843" y="1717276"/>
            <a:ext cx="3879266" cy="411480"/>
          </a:xfrm>
          <a:prstGeom prst="chevron">
            <a:avLst/>
          </a:prstGeom>
          <a:solidFill>
            <a:srgbClr val="C4D600"/>
          </a:solidFill>
          <a:ln w="19050" algn="ctr">
            <a:noFill/>
            <a:miter lim="800000"/>
            <a:headEnd/>
            <a:tailEnd/>
          </a:ln>
        </p:spPr>
        <p:txBody>
          <a:bodyPr wrap="square" lIns="88900" tIns="88900" rIns="88900" bIns="88900" rtlCol="0" anchor="ctr"/>
          <a:lstStyle/>
          <a:p>
            <a:pPr algn="ctr" defTabSz="1219170">
              <a:defRPr/>
            </a:pPr>
            <a:r>
              <a:rPr lang="en-GB" sz="1100" b="1" kern="0" dirty="0">
                <a:solidFill>
                  <a:prstClr val="white"/>
                </a:solidFill>
              </a:rPr>
              <a:t>Lorem</a:t>
            </a:r>
          </a:p>
        </p:txBody>
      </p:sp>
      <p:sp>
        <p:nvSpPr>
          <p:cNvPr id="85" name="Rectangle 84">
            <a:extLst>
              <a:ext uri="{FF2B5EF4-FFF2-40B4-BE49-F238E27FC236}">
                <a16:creationId xmlns:a16="http://schemas.microsoft.com/office/drawing/2014/main" id="{2D325538-EFC4-0E4E-8663-C065F1F4E5B6}"/>
              </a:ext>
            </a:extLst>
          </p:cNvPr>
          <p:cNvSpPr/>
          <p:nvPr/>
        </p:nvSpPr>
        <p:spPr bwMode="auto">
          <a:xfrm flipH="1">
            <a:off x="5787951" y="3641157"/>
            <a:ext cx="1737360" cy="585216"/>
          </a:xfrm>
          <a:prstGeom prst="rect">
            <a:avLst/>
          </a:prstGeom>
          <a:solidFill>
            <a:sysClr val="window" lastClr="FFFFFF"/>
          </a:solidFill>
          <a:ln w="25400" cap="flat" cmpd="sng" algn="ctr">
            <a:solidFill>
              <a:srgbClr val="43B02A"/>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black"/>
                </a:solidFill>
              </a:rPr>
              <a:t>Lorem</a:t>
            </a:r>
          </a:p>
        </p:txBody>
      </p:sp>
      <p:sp>
        <p:nvSpPr>
          <p:cNvPr id="86" name="Rectangle 85">
            <a:extLst>
              <a:ext uri="{FF2B5EF4-FFF2-40B4-BE49-F238E27FC236}">
                <a16:creationId xmlns:a16="http://schemas.microsoft.com/office/drawing/2014/main" id="{4A9D35AF-BC4E-994B-A0B4-5CA3D3C50963}"/>
              </a:ext>
            </a:extLst>
          </p:cNvPr>
          <p:cNvSpPr/>
          <p:nvPr/>
        </p:nvSpPr>
        <p:spPr bwMode="auto">
          <a:xfrm flipH="1">
            <a:off x="5787951" y="4700779"/>
            <a:ext cx="1737360" cy="585216"/>
          </a:xfrm>
          <a:prstGeom prst="rect">
            <a:avLst/>
          </a:prstGeom>
          <a:solidFill>
            <a:sysClr val="window" lastClr="FFFFFF"/>
          </a:solidFill>
          <a:ln w="25400" cap="flat" cmpd="sng" algn="ctr">
            <a:solidFill>
              <a:srgbClr val="43B02A"/>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black"/>
                </a:solidFill>
              </a:rPr>
              <a:t>Lorem</a:t>
            </a:r>
          </a:p>
        </p:txBody>
      </p:sp>
      <p:sp>
        <p:nvSpPr>
          <p:cNvPr id="87" name="Rectangle 86">
            <a:extLst>
              <a:ext uri="{FF2B5EF4-FFF2-40B4-BE49-F238E27FC236}">
                <a16:creationId xmlns:a16="http://schemas.microsoft.com/office/drawing/2014/main" id="{EF731CA9-94CB-4247-AE97-9AD0ED9DEFA6}"/>
              </a:ext>
            </a:extLst>
          </p:cNvPr>
          <p:cNvSpPr/>
          <p:nvPr/>
        </p:nvSpPr>
        <p:spPr bwMode="auto">
          <a:xfrm flipH="1">
            <a:off x="7693227" y="2581534"/>
            <a:ext cx="1737360" cy="585216"/>
          </a:xfrm>
          <a:prstGeom prst="rect">
            <a:avLst/>
          </a:prstGeom>
          <a:solidFill>
            <a:sysClr val="window" lastClr="FFFFFF"/>
          </a:solidFill>
          <a:ln w="25400" cap="flat" cmpd="sng" algn="ctr">
            <a:solidFill>
              <a:srgbClr val="43B02A"/>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black"/>
                </a:solidFill>
              </a:rPr>
              <a:t>Lorem</a:t>
            </a:r>
          </a:p>
        </p:txBody>
      </p:sp>
      <p:sp>
        <p:nvSpPr>
          <p:cNvPr id="88" name="Rectangle 87">
            <a:extLst>
              <a:ext uri="{FF2B5EF4-FFF2-40B4-BE49-F238E27FC236}">
                <a16:creationId xmlns:a16="http://schemas.microsoft.com/office/drawing/2014/main" id="{D1166302-1247-9C49-B44B-6BD07D76F174}"/>
              </a:ext>
            </a:extLst>
          </p:cNvPr>
          <p:cNvSpPr/>
          <p:nvPr/>
        </p:nvSpPr>
        <p:spPr bwMode="auto">
          <a:xfrm flipH="1">
            <a:off x="7693227" y="3641157"/>
            <a:ext cx="1737360" cy="585216"/>
          </a:xfrm>
          <a:prstGeom prst="rect">
            <a:avLst/>
          </a:prstGeom>
          <a:solidFill>
            <a:sysClr val="window" lastClr="FFFFFF"/>
          </a:solidFill>
          <a:ln w="25400" cap="flat" cmpd="sng" algn="ctr">
            <a:solidFill>
              <a:srgbClr val="43B02A"/>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black"/>
                </a:solidFill>
              </a:rPr>
              <a:t>Lorem</a:t>
            </a:r>
          </a:p>
        </p:txBody>
      </p:sp>
      <p:sp>
        <p:nvSpPr>
          <p:cNvPr id="89" name="Flowchart: Process 140">
            <a:extLst>
              <a:ext uri="{FF2B5EF4-FFF2-40B4-BE49-F238E27FC236}">
                <a16:creationId xmlns:a16="http://schemas.microsoft.com/office/drawing/2014/main" id="{24B82CDC-1BF2-0D4D-9FA3-CC0A73C9D32A}"/>
              </a:ext>
            </a:extLst>
          </p:cNvPr>
          <p:cNvSpPr/>
          <p:nvPr/>
        </p:nvSpPr>
        <p:spPr bwMode="auto">
          <a:xfrm>
            <a:off x="2053589" y="4024123"/>
            <a:ext cx="1828800" cy="1261872"/>
          </a:xfrm>
          <a:prstGeom prst="flowChartProcess">
            <a:avLst/>
          </a:prstGeom>
          <a:solidFill>
            <a:srgbClr val="FFFFFF"/>
          </a:solidFill>
          <a:ln w="9525" cap="flat" cmpd="sng" algn="ctr">
            <a:noFill/>
            <a:prstDash val="solid"/>
            <a:round/>
            <a:headEnd type="none" w="med" len="med"/>
            <a:tailEnd type="none" w="med" len="med"/>
          </a:ln>
          <a:effectLst/>
        </p:spPr>
        <p:txBody>
          <a:bodyPr vert="horz" wrap="square" lIns="91440" tIns="91440" rIns="91440" bIns="91440" numCol="1" spcCol="182880" rtlCol="0" anchor="t" anchorCtr="0" compatLnSpc="1">
            <a:prstTxWarp prst="textNoShape">
              <a:avLst/>
            </a:prstTxWarp>
            <a:noAutofit/>
          </a:bodyPr>
          <a:lstStyle/>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p:txBody>
      </p:sp>
      <p:sp>
        <p:nvSpPr>
          <p:cNvPr id="90" name="Flowchart: Process 141">
            <a:extLst>
              <a:ext uri="{FF2B5EF4-FFF2-40B4-BE49-F238E27FC236}">
                <a16:creationId xmlns:a16="http://schemas.microsoft.com/office/drawing/2014/main" id="{B4ABF518-CD37-E349-891A-8E059F882FFB}"/>
              </a:ext>
            </a:extLst>
          </p:cNvPr>
          <p:cNvSpPr/>
          <p:nvPr/>
        </p:nvSpPr>
        <p:spPr bwMode="auto">
          <a:xfrm>
            <a:off x="2053589" y="3612643"/>
            <a:ext cx="3666744" cy="411480"/>
          </a:xfrm>
          <a:prstGeom prst="flowChartProcess">
            <a:avLst/>
          </a:prstGeom>
          <a:solidFill>
            <a:srgbClr val="009A44"/>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r>
              <a:rPr lang="en-US" sz="1100" b="1" dirty="0">
                <a:solidFill>
                  <a:prstClr val="white"/>
                </a:solidFill>
              </a:rPr>
              <a:t>Lorem</a:t>
            </a:r>
          </a:p>
        </p:txBody>
      </p:sp>
      <p:sp>
        <p:nvSpPr>
          <p:cNvPr id="91" name="Flowchart: Process 142">
            <a:extLst>
              <a:ext uri="{FF2B5EF4-FFF2-40B4-BE49-F238E27FC236}">
                <a16:creationId xmlns:a16="http://schemas.microsoft.com/office/drawing/2014/main" id="{23627DBF-05A6-2147-8E65-77D2CCC1B266}"/>
              </a:ext>
            </a:extLst>
          </p:cNvPr>
          <p:cNvSpPr/>
          <p:nvPr/>
        </p:nvSpPr>
        <p:spPr bwMode="auto">
          <a:xfrm>
            <a:off x="3891533" y="4024123"/>
            <a:ext cx="1828800" cy="1261872"/>
          </a:xfrm>
          <a:prstGeom prst="flowChartProcess">
            <a:avLst/>
          </a:prstGeom>
          <a:solidFill>
            <a:srgbClr val="FFFFFF"/>
          </a:solidFill>
          <a:ln w="9525" cap="flat" cmpd="sng" algn="ctr">
            <a:noFill/>
            <a:prstDash val="solid"/>
            <a:round/>
            <a:headEnd type="none" w="med" len="med"/>
            <a:tailEnd type="none" w="med" len="med"/>
          </a:ln>
          <a:effectLst/>
        </p:spPr>
        <p:txBody>
          <a:bodyPr vert="horz" wrap="square" lIns="91440" tIns="91440" rIns="91440" bIns="91440" numCol="1" spcCol="182880" rtlCol="0" anchor="t" anchorCtr="0" compatLnSpc="1">
            <a:prstTxWarp prst="textNoShape">
              <a:avLst/>
            </a:prstTxWarp>
            <a:noAutofit/>
          </a:bodyPr>
          <a:lstStyle/>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p:txBody>
      </p:sp>
      <p:sp>
        <p:nvSpPr>
          <p:cNvPr id="92" name="Trapezoid 91">
            <a:extLst>
              <a:ext uri="{FF2B5EF4-FFF2-40B4-BE49-F238E27FC236}">
                <a16:creationId xmlns:a16="http://schemas.microsoft.com/office/drawing/2014/main" id="{27F0AA96-4B5A-C343-B3FE-BB975F5EFAA1}"/>
              </a:ext>
            </a:extLst>
          </p:cNvPr>
          <p:cNvSpPr/>
          <p:nvPr/>
        </p:nvSpPr>
        <p:spPr bwMode="gray">
          <a:xfrm>
            <a:off x="1436369" y="5826363"/>
            <a:ext cx="640080" cy="472838"/>
          </a:xfrm>
          <a:prstGeom prst="trapezoid">
            <a:avLst>
              <a:gd name="adj" fmla="val 24245"/>
            </a:avLst>
          </a:prstGeom>
          <a:solidFill>
            <a:sysClr val="windowText" lastClr="000000"/>
          </a:solidFill>
          <a:ln w="19050" algn="ctr">
            <a:noFill/>
            <a:miter lim="800000"/>
            <a:headEnd/>
            <a:tailEnd/>
          </a:ln>
        </p:spPr>
        <p:txBody>
          <a:bodyPr wrap="square" lIns="88900" tIns="88900" rIns="88900" bIns="88900" rtlCol="0" anchor="ctr"/>
          <a:lstStyle/>
          <a:p>
            <a:pPr algn="ctr" defTabSz="1219170">
              <a:defRPr/>
            </a:pPr>
            <a:endParaRPr lang="en-GB" sz="1100" b="1" kern="0" dirty="0">
              <a:solidFill>
                <a:prstClr val="white"/>
              </a:solidFill>
            </a:endParaRPr>
          </a:p>
        </p:txBody>
      </p:sp>
      <p:sp>
        <p:nvSpPr>
          <p:cNvPr id="93" name="Trapezoid 92">
            <a:extLst>
              <a:ext uri="{FF2B5EF4-FFF2-40B4-BE49-F238E27FC236}">
                <a16:creationId xmlns:a16="http://schemas.microsoft.com/office/drawing/2014/main" id="{FF787395-3B38-3143-8F04-4356C71E5C28}"/>
              </a:ext>
            </a:extLst>
          </p:cNvPr>
          <p:cNvSpPr/>
          <p:nvPr/>
        </p:nvSpPr>
        <p:spPr bwMode="gray">
          <a:xfrm>
            <a:off x="9620249" y="5826363"/>
            <a:ext cx="640080" cy="472838"/>
          </a:xfrm>
          <a:prstGeom prst="trapezoid">
            <a:avLst>
              <a:gd name="adj" fmla="val 24245"/>
            </a:avLst>
          </a:prstGeom>
          <a:solidFill>
            <a:sysClr val="windowText" lastClr="000000"/>
          </a:solidFill>
          <a:ln w="19050" algn="ctr">
            <a:noFill/>
            <a:miter lim="800000"/>
            <a:headEnd/>
            <a:tailEnd/>
          </a:ln>
        </p:spPr>
        <p:txBody>
          <a:bodyPr wrap="square" lIns="88900" tIns="88900" rIns="88900" bIns="88900" rtlCol="0" anchor="ctr"/>
          <a:lstStyle/>
          <a:p>
            <a:pPr algn="ctr" defTabSz="1219170">
              <a:defRPr/>
            </a:pPr>
            <a:endParaRPr lang="en-GB" sz="1100" b="1" kern="0" dirty="0">
              <a:solidFill>
                <a:prstClr val="white"/>
              </a:solidFill>
            </a:endParaRPr>
          </a:p>
        </p:txBody>
      </p:sp>
      <p:grpSp>
        <p:nvGrpSpPr>
          <p:cNvPr id="99" name="Group 627">
            <a:extLst>
              <a:ext uri="{FF2B5EF4-FFF2-40B4-BE49-F238E27FC236}">
                <a16:creationId xmlns:a16="http://schemas.microsoft.com/office/drawing/2014/main" id="{CB2CE61C-D70E-0947-9D3A-950219D9DAC5}"/>
              </a:ext>
            </a:extLst>
          </p:cNvPr>
          <p:cNvGrpSpPr>
            <a:grpSpLocks noChangeAspect="1"/>
          </p:cNvGrpSpPr>
          <p:nvPr/>
        </p:nvGrpSpPr>
        <p:grpSpPr bwMode="auto">
          <a:xfrm>
            <a:off x="8158298" y="4476403"/>
            <a:ext cx="807218" cy="809592"/>
            <a:chOff x="5295" y="2587"/>
            <a:chExt cx="340" cy="341"/>
          </a:xfrm>
          <a:solidFill>
            <a:srgbClr val="009A44"/>
          </a:solidFill>
        </p:grpSpPr>
        <p:sp>
          <p:nvSpPr>
            <p:cNvPr id="128" name="Freeform 628">
              <a:extLst>
                <a:ext uri="{FF2B5EF4-FFF2-40B4-BE49-F238E27FC236}">
                  <a16:creationId xmlns:a16="http://schemas.microsoft.com/office/drawing/2014/main" id="{16EAE9AB-6E19-0944-AA8D-5B175D56731E}"/>
                </a:ext>
              </a:extLst>
            </p:cNvPr>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100" dirty="0">
                <a:solidFill>
                  <a:prstClr val="black"/>
                </a:solidFill>
              </a:endParaRPr>
            </a:p>
          </p:txBody>
        </p:sp>
        <p:sp>
          <p:nvSpPr>
            <p:cNvPr id="129" name="Freeform 629">
              <a:extLst>
                <a:ext uri="{FF2B5EF4-FFF2-40B4-BE49-F238E27FC236}">
                  <a16:creationId xmlns:a16="http://schemas.microsoft.com/office/drawing/2014/main" id="{D0B561CB-70CF-D64E-9445-9735A412341D}"/>
                </a:ext>
              </a:extLst>
            </p:cNvPr>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100" dirty="0">
                <a:solidFill>
                  <a:prstClr val="black"/>
                </a:solidFill>
              </a:endParaRPr>
            </a:p>
          </p:txBody>
        </p:sp>
      </p:grpSp>
      <p:cxnSp>
        <p:nvCxnSpPr>
          <p:cNvPr id="100" name="Straight Connector 99">
            <a:extLst>
              <a:ext uri="{FF2B5EF4-FFF2-40B4-BE49-F238E27FC236}">
                <a16:creationId xmlns:a16="http://schemas.microsoft.com/office/drawing/2014/main" id="{7C856768-A2DF-E84F-AFA4-FBBDF74BF3B6}"/>
              </a:ext>
            </a:extLst>
          </p:cNvPr>
          <p:cNvCxnSpPr/>
          <p:nvPr/>
        </p:nvCxnSpPr>
        <p:spPr>
          <a:xfrm flipH="1">
            <a:off x="423747" y="2341164"/>
            <a:ext cx="1126922" cy="0"/>
          </a:xfrm>
          <a:prstGeom prst="line">
            <a:avLst/>
          </a:prstGeom>
          <a:noFill/>
          <a:ln w="9525" cap="flat" cmpd="sng" algn="ctr">
            <a:solidFill>
              <a:srgbClr val="75787B"/>
            </a:solidFill>
            <a:prstDash val="solid"/>
          </a:ln>
          <a:effectLst/>
        </p:spPr>
      </p:cxnSp>
      <p:cxnSp>
        <p:nvCxnSpPr>
          <p:cNvPr id="101" name="Straight Connector 100">
            <a:extLst>
              <a:ext uri="{FF2B5EF4-FFF2-40B4-BE49-F238E27FC236}">
                <a16:creationId xmlns:a16="http://schemas.microsoft.com/office/drawing/2014/main" id="{B3818EA4-BE4D-1948-B6AB-E3E6F63E6F29}"/>
              </a:ext>
            </a:extLst>
          </p:cNvPr>
          <p:cNvCxnSpPr/>
          <p:nvPr/>
        </p:nvCxnSpPr>
        <p:spPr>
          <a:xfrm flipH="1">
            <a:off x="423747" y="3294934"/>
            <a:ext cx="1126922" cy="0"/>
          </a:xfrm>
          <a:prstGeom prst="line">
            <a:avLst/>
          </a:prstGeom>
          <a:noFill/>
          <a:ln w="9525" cap="flat" cmpd="sng" algn="ctr">
            <a:solidFill>
              <a:srgbClr val="75787B"/>
            </a:solidFill>
            <a:prstDash val="solid"/>
          </a:ln>
          <a:effectLst/>
        </p:spPr>
      </p:cxnSp>
      <p:cxnSp>
        <p:nvCxnSpPr>
          <p:cNvPr id="102" name="Straight Connector 101">
            <a:extLst>
              <a:ext uri="{FF2B5EF4-FFF2-40B4-BE49-F238E27FC236}">
                <a16:creationId xmlns:a16="http://schemas.microsoft.com/office/drawing/2014/main" id="{131CEFB1-15B2-CF49-A68F-336A2B12B3E7}"/>
              </a:ext>
            </a:extLst>
          </p:cNvPr>
          <p:cNvCxnSpPr/>
          <p:nvPr/>
        </p:nvCxnSpPr>
        <p:spPr>
          <a:xfrm flipH="1">
            <a:off x="423747" y="4248704"/>
            <a:ext cx="1126922" cy="0"/>
          </a:xfrm>
          <a:prstGeom prst="line">
            <a:avLst/>
          </a:prstGeom>
          <a:noFill/>
          <a:ln w="9525" cap="flat" cmpd="sng" algn="ctr">
            <a:solidFill>
              <a:srgbClr val="75787B"/>
            </a:solidFill>
            <a:prstDash val="solid"/>
          </a:ln>
          <a:effectLst/>
        </p:spPr>
      </p:cxnSp>
      <p:cxnSp>
        <p:nvCxnSpPr>
          <p:cNvPr id="103" name="Straight Connector 102">
            <a:extLst>
              <a:ext uri="{FF2B5EF4-FFF2-40B4-BE49-F238E27FC236}">
                <a16:creationId xmlns:a16="http://schemas.microsoft.com/office/drawing/2014/main" id="{B7C084FC-5B56-EE47-8C64-DBB96F337839}"/>
              </a:ext>
            </a:extLst>
          </p:cNvPr>
          <p:cNvCxnSpPr/>
          <p:nvPr/>
        </p:nvCxnSpPr>
        <p:spPr>
          <a:xfrm flipH="1">
            <a:off x="423747" y="5202474"/>
            <a:ext cx="1126922" cy="0"/>
          </a:xfrm>
          <a:prstGeom prst="line">
            <a:avLst/>
          </a:prstGeom>
          <a:noFill/>
          <a:ln w="9525" cap="flat" cmpd="sng" algn="ctr">
            <a:solidFill>
              <a:srgbClr val="75787B"/>
            </a:solidFill>
            <a:prstDash val="solid"/>
          </a:ln>
          <a:effectLst/>
        </p:spPr>
      </p:cxnSp>
      <p:sp>
        <p:nvSpPr>
          <p:cNvPr id="104" name="Bent Arrow 103">
            <a:extLst>
              <a:ext uri="{FF2B5EF4-FFF2-40B4-BE49-F238E27FC236}">
                <a16:creationId xmlns:a16="http://schemas.microsoft.com/office/drawing/2014/main" id="{784062FA-3F89-AD40-8530-B5764D0642EA}"/>
              </a:ext>
            </a:extLst>
          </p:cNvPr>
          <p:cNvSpPr/>
          <p:nvPr/>
        </p:nvSpPr>
        <p:spPr bwMode="gray">
          <a:xfrm>
            <a:off x="10537689" y="1717274"/>
            <a:ext cx="1230567" cy="3963308"/>
          </a:xfrm>
          <a:prstGeom prst="bentArrow">
            <a:avLst>
              <a:gd name="adj1" fmla="val 8358"/>
              <a:gd name="adj2" fmla="val 12809"/>
              <a:gd name="adj3" fmla="val 25000"/>
              <a:gd name="adj4" fmla="val 43750"/>
            </a:avLst>
          </a:prstGeom>
          <a:solidFill>
            <a:srgbClr val="86BC25"/>
          </a:solidFill>
          <a:ln w="19050" algn="ctr">
            <a:noFill/>
            <a:miter lim="800000"/>
            <a:headEnd/>
            <a:tailEnd/>
          </a:ln>
        </p:spPr>
        <p:txBody>
          <a:bodyPr wrap="square" lIns="88830" tIns="88830" rIns="88830" bIns="88830" rtlCol="0" anchor="ctr"/>
          <a:lstStyle/>
          <a:p>
            <a:pPr algn="ctr" defTabSz="1219170"/>
            <a:endParaRPr lang="en-US" sz="1100" b="1" dirty="0">
              <a:solidFill>
                <a:prstClr val="white"/>
              </a:solidFill>
            </a:endParaRPr>
          </a:p>
        </p:txBody>
      </p:sp>
      <p:sp>
        <p:nvSpPr>
          <p:cNvPr id="105" name="Hexagon 104">
            <a:extLst>
              <a:ext uri="{FF2B5EF4-FFF2-40B4-BE49-F238E27FC236}">
                <a16:creationId xmlns:a16="http://schemas.microsoft.com/office/drawing/2014/main" id="{A50A7CE1-53F3-254F-98E8-BFEDC3273E04}"/>
              </a:ext>
            </a:extLst>
          </p:cNvPr>
          <p:cNvSpPr/>
          <p:nvPr/>
        </p:nvSpPr>
        <p:spPr bwMode="gray">
          <a:xfrm>
            <a:off x="10274235" y="5680581"/>
            <a:ext cx="640080" cy="618620"/>
          </a:xfrm>
          <a:prstGeom prst="hexagon">
            <a:avLst>
              <a:gd name="adj" fmla="val 28272"/>
              <a:gd name="vf" fmla="val 115470"/>
            </a:avLst>
          </a:prstGeom>
          <a:solidFill>
            <a:srgbClr val="86BC25"/>
          </a:solidFill>
          <a:ln w="19050" algn="ctr">
            <a:noFill/>
            <a:miter lim="800000"/>
            <a:headEnd/>
            <a:tailEnd/>
          </a:ln>
        </p:spPr>
        <p:txBody>
          <a:bodyPr wrap="none" lIns="88830" tIns="88830" rIns="88830" bIns="88830" rtlCol="0" anchor="ctr"/>
          <a:lstStyle/>
          <a:p>
            <a:pPr algn="ctr" defTabSz="1219170">
              <a:defRPr/>
            </a:pPr>
            <a:endParaRPr lang="en-US" sz="1100" b="1" kern="0" dirty="0">
              <a:solidFill>
                <a:prstClr val="white"/>
              </a:solidFill>
            </a:endParaRPr>
          </a:p>
        </p:txBody>
      </p:sp>
      <p:sp>
        <p:nvSpPr>
          <p:cNvPr id="106" name="Oval 105">
            <a:extLst>
              <a:ext uri="{FF2B5EF4-FFF2-40B4-BE49-F238E27FC236}">
                <a16:creationId xmlns:a16="http://schemas.microsoft.com/office/drawing/2014/main" id="{C30A298B-D3FA-3248-9415-6B2C2F7383E7}"/>
              </a:ext>
            </a:extLst>
          </p:cNvPr>
          <p:cNvSpPr/>
          <p:nvPr/>
        </p:nvSpPr>
        <p:spPr bwMode="gray">
          <a:xfrm>
            <a:off x="10457115" y="2452944"/>
            <a:ext cx="274320" cy="274320"/>
          </a:xfrm>
          <a:prstGeom prst="ellipse">
            <a:avLst/>
          </a:prstGeom>
          <a:solidFill>
            <a:srgbClr val="000000"/>
          </a:solidFill>
          <a:ln w="19050" algn="ctr">
            <a:noFill/>
            <a:miter lim="800000"/>
            <a:headEnd/>
            <a:tailEnd/>
          </a:ln>
        </p:spPr>
        <p:txBody>
          <a:bodyPr wrap="none" lIns="88830" tIns="88830" rIns="88830" bIns="88830" rtlCol="0" anchor="ctr"/>
          <a:lstStyle/>
          <a:p>
            <a:pPr algn="ctr" defTabSz="1219170">
              <a:defRPr/>
            </a:pPr>
            <a:r>
              <a:rPr lang="en-US" sz="1100" b="1" kern="0" dirty="0">
                <a:solidFill>
                  <a:prstClr val="white"/>
                </a:solidFill>
              </a:rPr>
              <a:t>1</a:t>
            </a:r>
          </a:p>
        </p:txBody>
      </p:sp>
      <p:grpSp>
        <p:nvGrpSpPr>
          <p:cNvPr id="107" name="Group 578">
            <a:extLst>
              <a:ext uri="{FF2B5EF4-FFF2-40B4-BE49-F238E27FC236}">
                <a16:creationId xmlns:a16="http://schemas.microsoft.com/office/drawing/2014/main" id="{DFC19603-6216-A64E-A3AF-ABE1D404AE91}"/>
              </a:ext>
            </a:extLst>
          </p:cNvPr>
          <p:cNvGrpSpPr>
            <a:grpSpLocks noChangeAspect="1"/>
          </p:cNvGrpSpPr>
          <p:nvPr/>
        </p:nvGrpSpPr>
        <p:grpSpPr bwMode="auto">
          <a:xfrm>
            <a:off x="10410755" y="5806371"/>
            <a:ext cx="367041" cy="367041"/>
            <a:chOff x="1932" y="2478"/>
            <a:chExt cx="340" cy="340"/>
          </a:xfrm>
          <a:solidFill>
            <a:sysClr val="window" lastClr="FFFFFF"/>
          </a:solidFill>
        </p:grpSpPr>
        <p:sp>
          <p:nvSpPr>
            <p:cNvPr id="126" name="Freeform 579">
              <a:extLst>
                <a:ext uri="{FF2B5EF4-FFF2-40B4-BE49-F238E27FC236}">
                  <a16:creationId xmlns:a16="http://schemas.microsoft.com/office/drawing/2014/main" id="{A6CFA748-4F69-3644-9123-2E5605EE6BCC}"/>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sp>
          <p:nvSpPr>
            <p:cNvPr id="127" name="Freeform 580">
              <a:extLst>
                <a:ext uri="{FF2B5EF4-FFF2-40B4-BE49-F238E27FC236}">
                  <a16:creationId xmlns:a16="http://schemas.microsoft.com/office/drawing/2014/main" id="{4A13DB09-F5DC-5C45-BDDA-06E349A6DFFD}"/>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grpSp>
      <p:sp>
        <p:nvSpPr>
          <p:cNvPr id="108" name="Snip Single Corner Rectangle 107">
            <a:extLst>
              <a:ext uri="{FF2B5EF4-FFF2-40B4-BE49-F238E27FC236}">
                <a16:creationId xmlns:a16="http://schemas.microsoft.com/office/drawing/2014/main" id="{A7BF0594-53A3-5345-8312-13CD6CC3F70E}"/>
              </a:ext>
            </a:extLst>
          </p:cNvPr>
          <p:cNvSpPr/>
          <p:nvPr/>
        </p:nvSpPr>
        <p:spPr bwMode="gray">
          <a:xfrm>
            <a:off x="425005" y="2172675"/>
            <a:ext cx="957595" cy="336978"/>
          </a:xfrm>
          <a:prstGeom prst="snip1Rect">
            <a:avLst/>
          </a:prstGeom>
          <a:solidFill>
            <a:sysClr val="window" lastClr="FFFFFF"/>
          </a:solidFill>
          <a:ln w="9525" cap="flat" cmpd="sng" algn="ctr">
            <a:solidFill>
              <a:srgbClr val="75787B"/>
            </a:solidFill>
            <a:prstDash val="solid"/>
          </a:ln>
          <a:effectLst/>
        </p:spPr>
        <p:txBody>
          <a:bodyPr wrap="none" lIns="88900" tIns="88900" rIns="88900" bIns="88900" rtlCol="0" anchor="ctr"/>
          <a:lstStyle/>
          <a:p>
            <a:pPr algn="ctr" defTabSz="1219170">
              <a:defRPr/>
            </a:pPr>
            <a:r>
              <a:rPr lang="en-GB" sz="1100" kern="0" dirty="0">
                <a:solidFill>
                  <a:prstClr val="black"/>
                </a:solidFill>
              </a:rPr>
              <a:t>Lorem</a:t>
            </a:r>
          </a:p>
        </p:txBody>
      </p:sp>
      <p:sp>
        <p:nvSpPr>
          <p:cNvPr id="109" name="Snip Single Corner Rectangle 108">
            <a:extLst>
              <a:ext uri="{FF2B5EF4-FFF2-40B4-BE49-F238E27FC236}">
                <a16:creationId xmlns:a16="http://schemas.microsoft.com/office/drawing/2014/main" id="{D921544F-7E09-5C4E-A700-18E3FD603F12}"/>
              </a:ext>
            </a:extLst>
          </p:cNvPr>
          <p:cNvSpPr/>
          <p:nvPr/>
        </p:nvSpPr>
        <p:spPr bwMode="gray">
          <a:xfrm>
            <a:off x="425005" y="3126445"/>
            <a:ext cx="957595" cy="336978"/>
          </a:xfrm>
          <a:prstGeom prst="snip1Rect">
            <a:avLst/>
          </a:prstGeom>
          <a:solidFill>
            <a:sysClr val="window" lastClr="FFFFFF"/>
          </a:solidFill>
          <a:ln w="9525" cap="flat" cmpd="sng" algn="ctr">
            <a:solidFill>
              <a:srgbClr val="75787B"/>
            </a:solidFill>
            <a:prstDash val="solid"/>
          </a:ln>
          <a:effectLst/>
        </p:spPr>
        <p:txBody>
          <a:bodyPr wrap="none" lIns="88900" tIns="88900" rIns="88900" bIns="88900" rtlCol="0" anchor="ctr"/>
          <a:lstStyle/>
          <a:p>
            <a:pPr algn="ctr" defTabSz="1219170">
              <a:defRPr/>
            </a:pPr>
            <a:r>
              <a:rPr lang="en-GB" sz="1100" kern="0" dirty="0">
                <a:solidFill>
                  <a:prstClr val="black"/>
                </a:solidFill>
              </a:rPr>
              <a:t>Lorem</a:t>
            </a:r>
          </a:p>
        </p:txBody>
      </p:sp>
      <p:sp>
        <p:nvSpPr>
          <p:cNvPr id="110" name="Snip Single Corner Rectangle 109">
            <a:extLst>
              <a:ext uri="{FF2B5EF4-FFF2-40B4-BE49-F238E27FC236}">
                <a16:creationId xmlns:a16="http://schemas.microsoft.com/office/drawing/2014/main" id="{87CE439B-D45D-3745-AE66-663A13AF7ADE}"/>
              </a:ext>
            </a:extLst>
          </p:cNvPr>
          <p:cNvSpPr/>
          <p:nvPr/>
        </p:nvSpPr>
        <p:spPr bwMode="gray">
          <a:xfrm>
            <a:off x="425005" y="4080215"/>
            <a:ext cx="957595" cy="336978"/>
          </a:xfrm>
          <a:prstGeom prst="snip1Rect">
            <a:avLst/>
          </a:prstGeom>
          <a:solidFill>
            <a:sysClr val="window" lastClr="FFFFFF"/>
          </a:solidFill>
          <a:ln w="9525" cap="flat" cmpd="sng" algn="ctr">
            <a:solidFill>
              <a:srgbClr val="75787B"/>
            </a:solidFill>
            <a:prstDash val="solid"/>
          </a:ln>
          <a:effectLst/>
        </p:spPr>
        <p:txBody>
          <a:bodyPr wrap="none" lIns="88900" tIns="88900" rIns="88900" bIns="88900" rtlCol="0" anchor="ctr"/>
          <a:lstStyle/>
          <a:p>
            <a:pPr algn="ctr" defTabSz="1219170">
              <a:defRPr/>
            </a:pPr>
            <a:r>
              <a:rPr lang="en-GB" sz="1100" kern="0" dirty="0">
                <a:solidFill>
                  <a:prstClr val="black"/>
                </a:solidFill>
              </a:rPr>
              <a:t>Lorem</a:t>
            </a:r>
          </a:p>
        </p:txBody>
      </p:sp>
      <p:sp>
        <p:nvSpPr>
          <p:cNvPr id="111" name="Snip Single Corner Rectangle 110">
            <a:extLst>
              <a:ext uri="{FF2B5EF4-FFF2-40B4-BE49-F238E27FC236}">
                <a16:creationId xmlns:a16="http://schemas.microsoft.com/office/drawing/2014/main" id="{70FDE579-7ED8-6849-9AC6-627802811B30}"/>
              </a:ext>
            </a:extLst>
          </p:cNvPr>
          <p:cNvSpPr/>
          <p:nvPr/>
        </p:nvSpPr>
        <p:spPr bwMode="gray">
          <a:xfrm>
            <a:off x="425005" y="5033985"/>
            <a:ext cx="957595" cy="336978"/>
          </a:xfrm>
          <a:prstGeom prst="snip1Rect">
            <a:avLst/>
          </a:prstGeom>
          <a:solidFill>
            <a:sysClr val="window" lastClr="FFFFFF"/>
          </a:solidFill>
          <a:ln w="9525" cap="flat" cmpd="sng" algn="ctr">
            <a:solidFill>
              <a:srgbClr val="75787B"/>
            </a:solidFill>
            <a:prstDash val="solid"/>
          </a:ln>
          <a:effectLst/>
        </p:spPr>
        <p:txBody>
          <a:bodyPr wrap="none" lIns="88900" tIns="88900" rIns="88900" bIns="88900" rtlCol="0" anchor="ctr"/>
          <a:lstStyle/>
          <a:p>
            <a:pPr algn="ctr" defTabSz="1219170">
              <a:defRPr/>
            </a:pPr>
            <a:r>
              <a:rPr lang="en-GB" sz="1100" kern="0" dirty="0">
                <a:solidFill>
                  <a:prstClr val="black"/>
                </a:solidFill>
              </a:rPr>
              <a:t>Lorem</a:t>
            </a:r>
          </a:p>
        </p:txBody>
      </p:sp>
      <p:sp>
        <p:nvSpPr>
          <p:cNvPr id="112" name="Rectangle 111">
            <a:extLst>
              <a:ext uri="{FF2B5EF4-FFF2-40B4-BE49-F238E27FC236}">
                <a16:creationId xmlns:a16="http://schemas.microsoft.com/office/drawing/2014/main" id="{CE090B95-EFF8-984C-9427-CDB93FBEEEF6}"/>
              </a:ext>
            </a:extLst>
          </p:cNvPr>
          <p:cNvSpPr/>
          <p:nvPr/>
        </p:nvSpPr>
        <p:spPr>
          <a:xfrm>
            <a:off x="10779128" y="2402094"/>
            <a:ext cx="896819" cy="338554"/>
          </a:xfrm>
          <a:prstGeom prst="rect">
            <a:avLst/>
          </a:prstGeom>
        </p:spPr>
        <p:txBody>
          <a:bodyPr wrap="square" lIns="0" tIns="0" rIns="0" bIns="0">
            <a:spAutoFit/>
          </a:bodyPr>
          <a:lstStyle/>
          <a:p>
            <a:pPr defTabSz="1219170"/>
            <a:r>
              <a:rPr lang="da-DK" sz="1100" dirty="0">
                <a:solidFill>
                  <a:prstClr val="black"/>
                </a:solidFill>
              </a:rPr>
              <a:t>Lorem ipsum dolor sit amet</a:t>
            </a:r>
            <a:endParaRPr lang="en-GB" sz="1100" dirty="0">
              <a:solidFill>
                <a:prstClr val="black"/>
              </a:solidFill>
            </a:endParaRPr>
          </a:p>
        </p:txBody>
      </p:sp>
      <p:sp>
        <p:nvSpPr>
          <p:cNvPr id="113" name="Oval 112">
            <a:extLst>
              <a:ext uri="{FF2B5EF4-FFF2-40B4-BE49-F238E27FC236}">
                <a16:creationId xmlns:a16="http://schemas.microsoft.com/office/drawing/2014/main" id="{C9647E4F-96C0-0F40-86A9-13271DAE99D7}"/>
              </a:ext>
            </a:extLst>
          </p:cNvPr>
          <p:cNvSpPr/>
          <p:nvPr/>
        </p:nvSpPr>
        <p:spPr bwMode="gray">
          <a:xfrm>
            <a:off x="10457115" y="3259853"/>
            <a:ext cx="274320" cy="274320"/>
          </a:xfrm>
          <a:prstGeom prst="ellipse">
            <a:avLst/>
          </a:prstGeom>
          <a:solidFill>
            <a:srgbClr val="000000"/>
          </a:solidFill>
          <a:ln w="19050" algn="ctr">
            <a:noFill/>
            <a:miter lim="800000"/>
            <a:headEnd/>
            <a:tailEnd/>
          </a:ln>
        </p:spPr>
        <p:txBody>
          <a:bodyPr wrap="none" lIns="88830" tIns="88830" rIns="88830" bIns="88830" rtlCol="0" anchor="ctr"/>
          <a:lstStyle/>
          <a:p>
            <a:pPr algn="ctr" defTabSz="1219170">
              <a:defRPr/>
            </a:pPr>
            <a:r>
              <a:rPr lang="en-US" sz="1100" b="1" kern="0" dirty="0">
                <a:solidFill>
                  <a:prstClr val="white"/>
                </a:solidFill>
              </a:rPr>
              <a:t>2</a:t>
            </a:r>
          </a:p>
        </p:txBody>
      </p:sp>
      <p:sp>
        <p:nvSpPr>
          <p:cNvPr id="114" name="Oval 113">
            <a:extLst>
              <a:ext uri="{FF2B5EF4-FFF2-40B4-BE49-F238E27FC236}">
                <a16:creationId xmlns:a16="http://schemas.microsoft.com/office/drawing/2014/main" id="{3BA0EFFE-79C1-2141-A6BA-A6900F9436C0}"/>
              </a:ext>
            </a:extLst>
          </p:cNvPr>
          <p:cNvSpPr/>
          <p:nvPr/>
        </p:nvSpPr>
        <p:spPr bwMode="gray">
          <a:xfrm>
            <a:off x="10457115" y="4066762"/>
            <a:ext cx="274320" cy="274320"/>
          </a:xfrm>
          <a:prstGeom prst="ellipse">
            <a:avLst/>
          </a:prstGeom>
          <a:solidFill>
            <a:srgbClr val="000000"/>
          </a:solidFill>
          <a:ln w="19050" algn="ctr">
            <a:noFill/>
            <a:miter lim="800000"/>
            <a:headEnd/>
            <a:tailEnd/>
          </a:ln>
        </p:spPr>
        <p:txBody>
          <a:bodyPr wrap="none" lIns="88830" tIns="88830" rIns="88830" bIns="88830" rtlCol="0" anchor="ctr"/>
          <a:lstStyle/>
          <a:p>
            <a:pPr algn="ctr" defTabSz="1219170">
              <a:defRPr/>
            </a:pPr>
            <a:r>
              <a:rPr lang="en-US" sz="1100" b="1" kern="0" dirty="0">
                <a:solidFill>
                  <a:prstClr val="white"/>
                </a:solidFill>
              </a:rPr>
              <a:t>3</a:t>
            </a:r>
          </a:p>
        </p:txBody>
      </p:sp>
      <p:sp>
        <p:nvSpPr>
          <p:cNvPr id="115" name="Oval 114">
            <a:extLst>
              <a:ext uri="{FF2B5EF4-FFF2-40B4-BE49-F238E27FC236}">
                <a16:creationId xmlns:a16="http://schemas.microsoft.com/office/drawing/2014/main" id="{864EB418-29F6-B243-B846-BFD868E547FB}"/>
              </a:ext>
            </a:extLst>
          </p:cNvPr>
          <p:cNvSpPr/>
          <p:nvPr/>
        </p:nvSpPr>
        <p:spPr bwMode="gray">
          <a:xfrm>
            <a:off x="10457115" y="4873671"/>
            <a:ext cx="274320" cy="274320"/>
          </a:xfrm>
          <a:prstGeom prst="ellipse">
            <a:avLst/>
          </a:prstGeom>
          <a:solidFill>
            <a:srgbClr val="000000"/>
          </a:solidFill>
          <a:ln w="19050" algn="ctr">
            <a:noFill/>
            <a:miter lim="800000"/>
            <a:headEnd/>
            <a:tailEnd/>
          </a:ln>
        </p:spPr>
        <p:txBody>
          <a:bodyPr wrap="none" lIns="88830" tIns="88830" rIns="88830" bIns="88830" rtlCol="0" anchor="ctr"/>
          <a:lstStyle/>
          <a:p>
            <a:pPr algn="ctr" defTabSz="1219170">
              <a:defRPr/>
            </a:pPr>
            <a:r>
              <a:rPr lang="en-US" sz="1100" b="1" kern="0" dirty="0">
                <a:solidFill>
                  <a:prstClr val="white"/>
                </a:solidFill>
              </a:rPr>
              <a:t>4</a:t>
            </a:r>
          </a:p>
        </p:txBody>
      </p:sp>
      <p:sp>
        <p:nvSpPr>
          <p:cNvPr id="116" name="Rectangle 115">
            <a:extLst>
              <a:ext uri="{FF2B5EF4-FFF2-40B4-BE49-F238E27FC236}">
                <a16:creationId xmlns:a16="http://schemas.microsoft.com/office/drawing/2014/main" id="{4DE82942-82C9-674C-B66B-304A523014F6}"/>
              </a:ext>
            </a:extLst>
          </p:cNvPr>
          <p:cNvSpPr/>
          <p:nvPr/>
        </p:nvSpPr>
        <p:spPr>
          <a:xfrm>
            <a:off x="10779128" y="3241120"/>
            <a:ext cx="896819" cy="338554"/>
          </a:xfrm>
          <a:prstGeom prst="rect">
            <a:avLst/>
          </a:prstGeom>
        </p:spPr>
        <p:txBody>
          <a:bodyPr wrap="square" lIns="0" tIns="0" rIns="0" bIns="0">
            <a:spAutoFit/>
          </a:bodyPr>
          <a:lstStyle/>
          <a:p>
            <a:pPr defTabSz="1219170"/>
            <a:r>
              <a:rPr lang="da-DK" sz="1100" dirty="0">
                <a:solidFill>
                  <a:prstClr val="black"/>
                </a:solidFill>
              </a:rPr>
              <a:t>Lorem ipsum dolor sit amet</a:t>
            </a:r>
            <a:endParaRPr lang="en-GB" sz="1100" dirty="0">
              <a:solidFill>
                <a:prstClr val="black"/>
              </a:solidFill>
            </a:endParaRPr>
          </a:p>
        </p:txBody>
      </p:sp>
      <p:sp>
        <p:nvSpPr>
          <p:cNvPr id="117" name="Rectangle 116">
            <a:extLst>
              <a:ext uri="{FF2B5EF4-FFF2-40B4-BE49-F238E27FC236}">
                <a16:creationId xmlns:a16="http://schemas.microsoft.com/office/drawing/2014/main" id="{E17B3BCF-2472-694C-BB3A-E05B45D6C545}"/>
              </a:ext>
            </a:extLst>
          </p:cNvPr>
          <p:cNvSpPr/>
          <p:nvPr/>
        </p:nvSpPr>
        <p:spPr>
          <a:xfrm>
            <a:off x="10779128" y="4048053"/>
            <a:ext cx="896819" cy="338554"/>
          </a:xfrm>
          <a:prstGeom prst="rect">
            <a:avLst/>
          </a:prstGeom>
        </p:spPr>
        <p:txBody>
          <a:bodyPr wrap="square" lIns="0" tIns="0" rIns="0" bIns="0">
            <a:spAutoFit/>
          </a:bodyPr>
          <a:lstStyle/>
          <a:p>
            <a:pPr defTabSz="1219170"/>
            <a:r>
              <a:rPr lang="da-DK" sz="1100" dirty="0">
                <a:solidFill>
                  <a:prstClr val="black"/>
                </a:solidFill>
              </a:rPr>
              <a:t>Lorem ipsum dolor sit amet</a:t>
            </a:r>
            <a:endParaRPr lang="en-GB" sz="1100" dirty="0">
              <a:solidFill>
                <a:prstClr val="black"/>
              </a:solidFill>
            </a:endParaRPr>
          </a:p>
        </p:txBody>
      </p:sp>
      <p:sp>
        <p:nvSpPr>
          <p:cNvPr id="118" name="Rectangle 117">
            <a:extLst>
              <a:ext uri="{FF2B5EF4-FFF2-40B4-BE49-F238E27FC236}">
                <a16:creationId xmlns:a16="http://schemas.microsoft.com/office/drawing/2014/main" id="{85855209-FFB0-6B4B-84F5-5875F070C833}"/>
              </a:ext>
            </a:extLst>
          </p:cNvPr>
          <p:cNvSpPr/>
          <p:nvPr/>
        </p:nvSpPr>
        <p:spPr>
          <a:xfrm>
            <a:off x="10779128" y="4856943"/>
            <a:ext cx="896819" cy="338554"/>
          </a:xfrm>
          <a:prstGeom prst="rect">
            <a:avLst/>
          </a:prstGeom>
        </p:spPr>
        <p:txBody>
          <a:bodyPr wrap="square" lIns="0" tIns="0" rIns="0" bIns="0">
            <a:spAutoFit/>
          </a:bodyPr>
          <a:lstStyle/>
          <a:p>
            <a:pPr defTabSz="1219170"/>
            <a:r>
              <a:rPr lang="da-DK" sz="1100" dirty="0">
                <a:solidFill>
                  <a:prstClr val="black"/>
                </a:solidFill>
              </a:rPr>
              <a:t>Lorem ipsum dolor sit amet</a:t>
            </a:r>
            <a:endParaRPr lang="en-GB" sz="1100" dirty="0">
              <a:solidFill>
                <a:prstClr val="black"/>
              </a:solidFill>
            </a:endParaRPr>
          </a:p>
        </p:txBody>
      </p:sp>
      <p:sp>
        <p:nvSpPr>
          <p:cNvPr id="119" name="Notched Right Arrow 118">
            <a:extLst>
              <a:ext uri="{FF2B5EF4-FFF2-40B4-BE49-F238E27FC236}">
                <a16:creationId xmlns:a16="http://schemas.microsoft.com/office/drawing/2014/main" id="{11DD2562-DDEE-E645-829F-E25050460EE4}"/>
              </a:ext>
            </a:extLst>
          </p:cNvPr>
          <p:cNvSpPr/>
          <p:nvPr/>
        </p:nvSpPr>
        <p:spPr>
          <a:xfrm>
            <a:off x="2122169" y="5756219"/>
            <a:ext cx="7452360" cy="540246"/>
          </a:xfrm>
          <a:prstGeom prst="notchedRightArrow">
            <a:avLst/>
          </a:prstGeom>
          <a:solidFill>
            <a:sysClr val="windowText" lastClr="000000"/>
          </a:solidFill>
          <a:ln w="9525" cap="flat" cmpd="sng" algn="ctr">
            <a:noFill/>
            <a:prstDash val="solid"/>
            <a:round/>
            <a:headEnd type="none" w="med" len="med"/>
            <a:tailEnd type="none" w="med" len="med"/>
          </a:ln>
          <a:effectLst/>
        </p:spPr>
        <p:txBody>
          <a:bodyPr vert="horz" wrap="square" lIns="0" tIns="45720" rIns="0" bIns="0" numCol="1" rtlCol="0" anchor="t" anchorCtr="0" compatLnSpc="1">
            <a:prstTxWarp prst="textNoShape">
              <a:avLst/>
            </a:prstTxWarp>
          </a:bodyPr>
          <a:lstStyle/>
          <a:p>
            <a:pPr marL="231775" indent="-231775" algn="ctr" fontAlgn="base">
              <a:defRPr/>
            </a:pPr>
            <a:r>
              <a:rPr lang="da-DK" sz="1100" b="1" kern="0" dirty="0">
                <a:solidFill>
                  <a:srgbClr val="C4D600"/>
                </a:solidFill>
              </a:rPr>
              <a:t>Lorem ipsum dolor sit amet</a:t>
            </a:r>
            <a:endParaRPr lang="en-US" sz="1100" b="1" kern="0" dirty="0">
              <a:solidFill>
                <a:srgbClr val="C4D600"/>
              </a:solidFill>
            </a:endParaRPr>
          </a:p>
        </p:txBody>
      </p:sp>
      <p:grpSp>
        <p:nvGrpSpPr>
          <p:cNvPr id="120" name="Group 498">
            <a:extLst>
              <a:ext uri="{FF2B5EF4-FFF2-40B4-BE49-F238E27FC236}">
                <a16:creationId xmlns:a16="http://schemas.microsoft.com/office/drawing/2014/main" id="{31545D9E-4A24-224F-BD4A-98BE9D4752CF}"/>
              </a:ext>
            </a:extLst>
          </p:cNvPr>
          <p:cNvGrpSpPr>
            <a:grpSpLocks noChangeAspect="1"/>
          </p:cNvGrpSpPr>
          <p:nvPr/>
        </p:nvGrpSpPr>
        <p:grpSpPr bwMode="auto">
          <a:xfrm>
            <a:off x="719987" y="1750267"/>
            <a:ext cx="367631" cy="367631"/>
            <a:chOff x="1543" y="2005"/>
            <a:chExt cx="340" cy="340"/>
          </a:xfrm>
          <a:solidFill>
            <a:sysClr val="windowText" lastClr="000000"/>
          </a:solidFill>
        </p:grpSpPr>
        <p:sp>
          <p:nvSpPr>
            <p:cNvPr id="124" name="Freeform 499">
              <a:extLst>
                <a:ext uri="{FF2B5EF4-FFF2-40B4-BE49-F238E27FC236}">
                  <a16:creationId xmlns:a16="http://schemas.microsoft.com/office/drawing/2014/main" id="{88697AF0-0370-784B-843B-A9C742588EE8}"/>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sp>
          <p:nvSpPr>
            <p:cNvPr id="125" name="Freeform 500">
              <a:extLst>
                <a:ext uri="{FF2B5EF4-FFF2-40B4-BE49-F238E27FC236}">
                  <a16:creationId xmlns:a16="http://schemas.microsoft.com/office/drawing/2014/main" id="{3C2AFBFD-BD0E-DE45-A351-990097D218EE}"/>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grpSp>
      <p:sp>
        <p:nvSpPr>
          <p:cNvPr id="121" name="Freeform 940">
            <a:extLst>
              <a:ext uri="{FF2B5EF4-FFF2-40B4-BE49-F238E27FC236}">
                <a16:creationId xmlns:a16="http://schemas.microsoft.com/office/drawing/2014/main" id="{EAA39C31-54C9-0A4A-9350-FBEF01D41B48}"/>
              </a:ext>
            </a:extLst>
          </p:cNvPr>
          <p:cNvSpPr>
            <a:spLocks noChangeAspect="1" noEditPoints="1"/>
          </p:cNvSpPr>
          <p:nvPr/>
        </p:nvSpPr>
        <p:spPr bwMode="auto">
          <a:xfrm>
            <a:off x="718597" y="2709967"/>
            <a:ext cx="369021" cy="369021"/>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sp>
        <p:nvSpPr>
          <p:cNvPr id="122" name="Freeform 189">
            <a:extLst>
              <a:ext uri="{FF2B5EF4-FFF2-40B4-BE49-F238E27FC236}">
                <a16:creationId xmlns:a16="http://schemas.microsoft.com/office/drawing/2014/main" id="{D1DF5189-6519-5A46-B11A-932E23B9E7EA}"/>
              </a:ext>
            </a:extLst>
          </p:cNvPr>
          <p:cNvSpPr>
            <a:spLocks noChangeAspect="1" noEditPoints="1"/>
          </p:cNvSpPr>
          <p:nvPr/>
        </p:nvSpPr>
        <p:spPr bwMode="auto">
          <a:xfrm>
            <a:off x="718465" y="3665716"/>
            <a:ext cx="367042" cy="367041"/>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sp>
        <p:nvSpPr>
          <p:cNvPr id="123" name="Freeform 831">
            <a:extLst>
              <a:ext uri="{FF2B5EF4-FFF2-40B4-BE49-F238E27FC236}">
                <a16:creationId xmlns:a16="http://schemas.microsoft.com/office/drawing/2014/main" id="{8BF43605-8443-D64B-8551-3579064746C2}"/>
              </a:ext>
            </a:extLst>
          </p:cNvPr>
          <p:cNvSpPr>
            <a:spLocks noChangeAspect="1" noEditPoints="1"/>
          </p:cNvSpPr>
          <p:nvPr/>
        </p:nvSpPr>
        <p:spPr bwMode="auto">
          <a:xfrm>
            <a:off x="718465" y="4626346"/>
            <a:ext cx="367041" cy="367041"/>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cxnSp>
        <p:nvCxnSpPr>
          <p:cNvPr id="3" name="Straight Connector 2"/>
          <p:cNvCxnSpPr/>
          <p:nvPr/>
        </p:nvCxnSpPr>
        <p:spPr>
          <a:xfrm>
            <a:off x="6662993" y="2126569"/>
            <a:ext cx="0" cy="442644"/>
          </a:xfrm>
          <a:prstGeom prst="line">
            <a:avLst/>
          </a:prstGeom>
          <a:ln>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a:off x="8551050" y="2126569"/>
            <a:ext cx="0" cy="442644"/>
          </a:xfrm>
          <a:prstGeom prst="line">
            <a:avLst/>
          </a:prstGeom>
          <a:ln>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6662993" y="3179450"/>
            <a:ext cx="0" cy="442644"/>
          </a:xfrm>
          <a:prstGeom prst="line">
            <a:avLst/>
          </a:prstGeom>
          <a:ln>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8551050" y="3179450"/>
            <a:ext cx="0" cy="442644"/>
          </a:xfrm>
          <a:prstGeom prst="line">
            <a:avLst/>
          </a:prstGeom>
          <a:ln>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6662993" y="4231143"/>
            <a:ext cx="0" cy="442644"/>
          </a:xfrm>
          <a:prstGeom prst="line">
            <a:avLst/>
          </a:prstGeom>
          <a:ln>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370200955"/>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4031157" y="1047071"/>
            <a:ext cx="4325630" cy="4078287"/>
            <a:chOff x="2128" y="1451"/>
            <a:chExt cx="1504" cy="1418"/>
          </a:xfrm>
        </p:grpSpPr>
        <p:sp>
          <p:nvSpPr>
            <p:cNvPr id="6" name="AutoShape 3"/>
            <p:cNvSpPr>
              <a:spLocks noChangeAspect="1" noChangeArrowheads="1" noTextEdit="1"/>
            </p:cNvSpPr>
            <p:nvPr/>
          </p:nvSpPr>
          <p:spPr bwMode="auto">
            <a:xfrm>
              <a:off x="2128" y="1451"/>
              <a:ext cx="1504" cy="1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 name="Freeform 5"/>
            <p:cNvSpPr>
              <a:spLocks/>
            </p:cNvSpPr>
            <p:nvPr/>
          </p:nvSpPr>
          <p:spPr bwMode="auto">
            <a:xfrm>
              <a:off x="2646" y="1450"/>
              <a:ext cx="465" cy="774"/>
            </a:xfrm>
            <a:custGeom>
              <a:avLst/>
              <a:gdLst>
                <a:gd name="T0" fmla="*/ 191 w 381"/>
                <a:gd name="T1" fmla="*/ 0 h 634"/>
                <a:gd name="T2" fmla="*/ 0 w 381"/>
                <a:gd name="T3" fmla="*/ 317 h 634"/>
                <a:gd name="T4" fmla="*/ 9 w 381"/>
                <a:gd name="T5" fmla="*/ 385 h 634"/>
                <a:gd name="T6" fmla="*/ 190 w 381"/>
                <a:gd name="T7" fmla="*/ 634 h 634"/>
                <a:gd name="T8" fmla="*/ 191 w 381"/>
                <a:gd name="T9" fmla="*/ 634 h 634"/>
                <a:gd name="T10" fmla="*/ 381 w 381"/>
                <a:gd name="T11" fmla="*/ 317 h 634"/>
                <a:gd name="T12" fmla="*/ 191 w 381"/>
                <a:gd name="T13" fmla="*/ 0 h 634"/>
              </a:gdLst>
              <a:ahLst/>
              <a:cxnLst>
                <a:cxn ang="0">
                  <a:pos x="T0" y="T1"/>
                </a:cxn>
                <a:cxn ang="0">
                  <a:pos x="T2" y="T3"/>
                </a:cxn>
                <a:cxn ang="0">
                  <a:pos x="T4" y="T5"/>
                </a:cxn>
                <a:cxn ang="0">
                  <a:pos x="T6" y="T7"/>
                </a:cxn>
                <a:cxn ang="0">
                  <a:pos x="T8" y="T9"/>
                </a:cxn>
                <a:cxn ang="0">
                  <a:pos x="T10" y="T11"/>
                </a:cxn>
                <a:cxn ang="0">
                  <a:pos x="T12" y="T13"/>
                </a:cxn>
              </a:cxnLst>
              <a:rect l="0" t="0" r="r" b="b"/>
              <a:pathLst>
                <a:path w="381" h="634">
                  <a:moveTo>
                    <a:pt x="191" y="0"/>
                  </a:moveTo>
                  <a:cubicBezTo>
                    <a:pt x="191" y="0"/>
                    <a:pt x="0" y="142"/>
                    <a:pt x="0" y="317"/>
                  </a:cubicBezTo>
                  <a:cubicBezTo>
                    <a:pt x="0" y="340"/>
                    <a:pt x="3" y="363"/>
                    <a:pt x="9" y="385"/>
                  </a:cubicBezTo>
                  <a:cubicBezTo>
                    <a:pt x="129" y="462"/>
                    <a:pt x="186" y="622"/>
                    <a:pt x="190" y="634"/>
                  </a:cubicBezTo>
                  <a:cubicBezTo>
                    <a:pt x="191" y="634"/>
                    <a:pt x="191" y="634"/>
                    <a:pt x="191" y="634"/>
                  </a:cubicBezTo>
                  <a:cubicBezTo>
                    <a:pt x="191" y="634"/>
                    <a:pt x="381" y="492"/>
                    <a:pt x="381" y="317"/>
                  </a:cubicBezTo>
                  <a:cubicBezTo>
                    <a:pt x="381" y="142"/>
                    <a:pt x="191" y="0"/>
                    <a:pt x="19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Freeform 6"/>
            <p:cNvSpPr>
              <a:spLocks/>
            </p:cNvSpPr>
            <p:nvPr/>
          </p:nvSpPr>
          <p:spPr bwMode="auto">
            <a:xfrm>
              <a:off x="2127" y="1822"/>
              <a:ext cx="737" cy="524"/>
            </a:xfrm>
            <a:custGeom>
              <a:avLst/>
              <a:gdLst>
                <a:gd name="T0" fmla="*/ 0 w 604"/>
                <a:gd name="T1" fmla="*/ 138 h 429"/>
                <a:gd name="T2" fmla="*/ 243 w 604"/>
                <a:gd name="T3" fmla="*/ 417 h 429"/>
                <a:gd name="T4" fmla="*/ 311 w 604"/>
                <a:gd name="T5" fmla="*/ 429 h 429"/>
                <a:gd name="T6" fmla="*/ 604 w 604"/>
                <a:gd name="T7" fmla="*/ 334 h 429"/>
                <a:gd name="T8" fmla="*/ 604 w 604"/>
                <a:gd name="T9" fmla="*/ 334 h 429"/>
                <a:gd name="T10" fmla="*/ 361 w 604"/>
                <a:gd name="T11" fmla="*/ 54 h 429"/>
                <a:gd name="T12" fmla="*/ 0 w 604"/>
                <a:gd name="T13" fmla="*/ 138 h 429"/>
              </a:gdLst>
              <a:ahLst/>
              <a:cxnLst>
                <a:cxn ang="0">
                  <a:pos x="T0" y="T1"/>
                </a:cxn>
                <a:cxn ang="0">
                  <a:pos x="T2" y="T3"/>
                </a:cxn>
                <a:cxn ang="0">
                  <a:pos x="T4" y="T5"/>
                </a:cxn>
                <a:cxn ang="0">
                  <a:pos x="T6" y="T7"/>
                </a:cxn>
                <a:cxn ang="0">
                  <a:pos x="T8" y="T9"/>
                </a:cxn>
                <a:cxn ang="0">
                  <a:pos x="T10" y="T11"/>
                </a:cxn>
                <a:cxn ang="0">
                  <a:pos x="T12" y="T13"/>
                </a:cxn>
              </a:cxnLst>
              <a:rect l="0" t="0" r="r" b="b"/>
              <a:pathLst>
                <a:path w="604" h="429">
                  <a:moveTo>
                    <a:pt x="0" y="138"/>
                  </a:moveTo>
                  <a:cubicBezTo>
                    <a:pt x="0" y="138"/>
                    <a:pt x="76" y="363"/>
                    <a:pt x="243" y="417"/>
                  </a:cubicBezTo>
                  <a:cubicBezTo>
                    <a:pt x="265" y="424"/>
                    <a:pt x="288" y="428"/>
                    <a:pt x="311" y="429"/>
                  </a:cubicBezTo>
                  <a:cubicBezTo>
                    <a:pt x="421" y="340"/>
                    <a:pt x="591" y="334"/>
                    <a:pt x="604" y="334"/>
                  </a:cubicBezTo>
                  <a:cubicBezTo>
                    <a:pt x="604" y="334"/>
                    <a:pt x="604" y="334"/>
                    <a:pt x="604" y="334"/>
                  </a:cubicBezTo>
                  <a:cubicBezTo>
                    <a:pt x="604" y="334"/>
                    <a:pt x="528" y="108"/>
                    <a:pt x="361" y="54"/>
                  </a:cubicBezTo>
                  <a:cubicBezTo>
                    <a:pt x="194" y="0"/>
                    <a:pt x="0" y="138"/>
                    <a:pt x="0" y="138"/>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 name="Freeform 7"/>
            <p:cNvSpPr>
              <a:spLocks/>
            </p:cNvSpPr>
            <p:nvPr/>
          </p:nvSpPr>
          <p:spPr bwMode="auto">
            <a:xfrm>
              <a:off x="2332" y="2240"/>
              <a:ext cx="541" cy="628"/>
            </a:xfrm>
            <a:custGeom>
              <a:avLst/>
              <a:gdLst>
                <a:gd name="T0" fmla="*/ 71 w 444"/>
                <a:gd name="T1" fmla="*/ 514 h 514"/>
                <a:gd name="T2" fmla="*/ 412 w 444"/>
                <a:gd name="T3" fmla="*/ 369 h 514"/>
                <a:gd name="T4" fmla="*/ 444 w 444"/>
                <a:gd name="T5" fmla="*/ 309 h 514"/>
                <a:gd name="T6" fmla="*/ 444 w 444"/>
                <a:gd name="T7" fmla="*/ 0 h 514"/>
                <a:gd name="T8" fmla="*/ 444 w 444"/>
                <a:gd name="T9" fmla="*/ 0 h 514"/>
                <a:gd name="T10" fmla="*/ 103 w 444"/>
                <a:gd name="T11" fmla="*/ 145 h 514"/>
                <a:gd name="T12" fmla="*/ 71 w 444"/>
                <a:gd name="T13" fmla="*/ 514 h 514"/>
              </a:gdLst>
              <a:ahLst/>
              <a:cxnLst>
                <a:cxn ang="0">
                  <a:pos x="T0" y="T1"/>
                </a:cxn>
                <a:cxn ang="0">
                  <a:pos x="T2" y="T3"/>
                </a:cxn>
                <a:cxn ang="0">
                  <a:pos x="T4" y="T5"/>
                </a:cxn>
                <a:cxn ang="0">
                  <a:pos x="T6" y="T7"/>
                </a:cxn>
                <a:cxn ang="0">
                  <a:pos x="T8" y="T9"/>
                </a:cxn>
                <a:cxn ang="0">
                  <a:pos x="T10" y="T11"/>
                </a:cxn>
                <a:cxn ang="0">
                  <a:pos x="T12" y="T13"/>
                </a:cxn>
              </a:cxnLst>
              <a:rect l="0" t="0" r="r" b="b"/>
              <a:pathLst>
                <a:path w="444" h="514">
                  <a:moveTo>
                    <a:pt x="71" y="514"/>
                  </a:moveTo>
                  <a:cubicBezTo>
                    <a:pt x="71" y="514"/>
                    <a:pt x="309" y="511"/>
                    <a:pt x="412" y="369"/>
                  </a:cubicBezTo>
                  <a:cubicBezTo>
                    <a:pt x="425" y="350"/>
                    <a:pt x="436" y="330"/>
                    <a:pt x="444" y="309"/>
                  </a:cubicBezTo>
                  <a:cubicBezTo>
                    <a:pt x="393" y="176"/>
                    <a:pt x="440" y="13"/>
                    <a:pt x="444" y="0"/>
                  </a:cubicBezTo>
                  <a:cubicBezTo>
                    <a:pt x="444" y="0"/>
                    <a:pt x="444" y="0"/>
                    <a:pt x="444" y="0"/>
                  </a:cubicBezTo>
                  <a:cubicBezTo>
                    <a:pt x="444" y="0"/>
                    <a:pt x="206" y="3"/>
                    <a:pt x="103" y="145"/>
                  </a:cubicBezTo>
                  <a:cubicBezTo>
                    <a:pt x="0" y="287"/>
                    <a:pt x="71" y="514"/>
                    <a:pt x="71" y="514"/>
                  </a:cubicBezTo>
                  <a:close/>
                </a:path>
              </a:pathLst>
            </a:custGeom>
            <a:solidFill>
              <a:srgbClr val="0055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 name="Freeform 8"/>
            <p:cNvSpPr>
              <a:spLocks/>
            </p:cNvSpPr>
            <p:nvPr/>
          </p:nvSpPr>
          <p:spPr bwMode="auto">
            <a:xfrm>
              <a:off x="2801" y="2240"/>
              <a:ext cx="629" cy="628"/>
            </a:xfrm>
            <a:custGeom>
              <a:avLst/>
              <a:gdLst>
                <a:gd name="T0" fmla="*/ 444 w 515"/>
                <a:gd name="T1" fmla="*/ 514 h 514"/>
                <a:gd name="T2" fmla="*/ 412 w 515"/>
                <a:gd name="T3" fmla="*/ 145 h 514"/>
                <a:gd name="T4" fmla="*/ 364 w 515"/>
                <a:gd name="T5" fmla="*/ 95 h 514"/>
                <a:gd name="T6" fmla="*/ 71 w 515"/>
                <a:gd name="T7" fmla="*/ 0 h 514"/>
                <a:gd name="T8" fmla="*/ 71 w 515"/>
                <a:gd name="T9" fmla="*/ 0 h 514"/>
                <a:gd name="T10" fmla="*/ 103 w 515"/>
                <a:gd name="T11" fmla="*/ 369 h 514"/>
                <a:gd name="T12" fmla="*/ 444 w 515"/>
                <a:gd name="T13" fmla="*/ 514 h 514"/>
              </a:gdLst>
              <a:ahLst/>
              <a:cxnLst>
                <a:cxn ang="0">
                  <a:pos x="T0" y="T1"/>
                </a:cxn>
                <a:cxn ang="0">
                  <a:pos x="T2" y="T3"/>
                </a:cxn>
                <a:cxn ang="0">
                  <a:pos x="T4" y="T5"/>
                </a:cxn>
                <a:cxn ang="0">
                  <a:pos x="T6" y="T7"/>
                </a:cxn>
                <a:cxn ang="0">
                  <a:pos x="T8" y="T9"/>
                </a:cxn>
                <a:cxn ang="0">
                  <a:pos x="T10" y="T11"/>
                </a:cxn>
                <a:cxn ang="0">
                  <a:pos x="T12" y="T13"/>
                </a:cxn>
              </a:cxnLst>
              <a:rect l="0" t="0" r="r" b="b"/>
              <a:pathLst>
                <a:path w="515" h="514">
                  <a:moveTo>
                    <a:pt x="444" y="514"/>
                  </a:moveTo>
                  <a:cubicBezTo>
                    <a:pt x="444" y="514"/>
                    <a:pt x="515" y="287"/>
                    <a:pt x="412" y="145"/>
                  </a:cubicBezTo>
                  <a:cubicBezTo>
                    <a:pt x="398" y="126"/>
                    <a:pt x="382" y="109"/>
                    <a:pt x="364" y="95"/>
                  </a:cubicBezTo>
                  <a:cubicBezTo>
                    <a:pt x="222" y="103"/>
                    <a:pt x="82" y="7"/>
                    <a:pt x="71" y="0"/>
                  </a:cubicBezTo>
                  <a:cubicBezTo>
                    <a:pt x="71" y="0"/>
                    <a:pt x="71" y="0"/>
                    <a:pt x="71" y="0"/>
                  </a:cubicBezTo>
                  <a:cubicBezTo>
                    <a:pt x="71" y="0"/>
                    <a:pt x="0" y="227"/>
                    <a:pt x="103" y="369"/>
                  </a:cubicBezTo>
                  <a:cubicBezTo>
                    <a:pt x="206" y="511"/>
                    <a:pt x="444" y="514"/>
                    <a:pt x="444" y="514"/>
                  </a:cubicBezTo>
                  <a:close/>
                </a:path>
              </a:pathLst>
            </a:custGeom>
            <a:solidFill>
              <a:srgbClr val="9799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 name="Freeform 9"/>
            <p:cNvSpPr>
              <a:spLocks/>
            </p:cNvSpPr>
            <p:nvPr/>
          </p:nvSpPr>
          <p:spPr bwMode="auto">
            <a:xfrm>
              <a:off x="2894" y="1822"/>
              <a:ext cx="737" cy="575"/>
            </a:xfrm>
            <a:custGeom>
              <a:avLst/>
              <a:gdLst>
                <a:gd name="T0" fmla="*/ 604 w 604"/>
                <a:gd name="T1" fmla="*/ 137 h 471"/>
                <a:gd name="T2" fmla="*/ 243 w 604"/>
                <a:gd name="T3" fmla="*/ 54 h 471"/>
                <a:gd name="T4" fmla="*/ 182 w 604"/>
                <a:gd name="T5" fmla="*/ 84 h 471"/>
                <a:gd name="T6" fmla="*/ 1 w 604"/>
                <a:gd name="T7" fmla="*/ 333 h 471"/>
                <a:gd name="T8" fmla="*/ 0 w 604"/>
                <a:gd name="T9" fmla="*/ 333 h 471"/>
                <a:gd name="T10" fmla="*/ 361 w 604"/>
                <a:gd name="T11" fmla="*/ 417 h 471"/>
                <a:gd name="T12" fmla="*/ 604 w 604"/>
                <a:gd name="T13" fmla="*/ 137 h 471"/>
              </a:gdLst>
              <a:ahLst/>
              <a:cxnLst>
                <a:cxn ang="0">
                  <a:pos x="T0" y="T1"/>
                </a:cxn>
                <a:cxn ang="0">
                  <a:pos x="T2" y="T3"/>
                </a:cxn>
                <a:cxn ang="0">
                  <a:pos x="T4" y="T5"/>
                </a:cxn>
                <a:cxn ang="0">
                  <a:pos x="T6" y="T7"/>
                </a:cxn>
                <a:cxn ang="0">
                  <a:pos x="T8" y="T9"/>
                </a:cxn>
                <a:cxn ang="0">
                  <a:pos x="T10" y="T11"/>
                </a:cxn>
                <a:cxn ang="0">
                  <a:pos x="T12" y="T13"/>
                </a:cxn>
              </a:cxnLst>
              <a:rect l="0" t="0" r="r" b="b"/>
              <a:pathLst>
                <a:path w="604" h="471">
                  <a:moveTo>
                    <a:pt x="604" y="137"/>
                  </a:moveTo>
                  <a:cubicBezTo>
                    <a:pt x="604" y="137"/>
                    <a:pt x="410" y="0"/>
                    <a:pt x="243" y="54"/>
                  </a:cubicBezTo>
                  <a:cubicBezTo>
                    <a:pt x="221" y="61"/>
                    <a:pt x="201" y="71"/>
                    <a:pt x="182" y="84"/>
                  </a:cubicBezTo>
                  <a:cubicBezTo>
                    <a:pt x="145" y="221"/>
                    <a:pt x="11" y="325"/>
                    <a:pt x="1" y="333"/>
                  </a:cubicBezTo>
                  <a:cubicBezTo>
                    <a:pt x="1" y="333"/>
                    <a:pt x="0" y="333"/>
                    <a:pt x="0" y="333"/>
                  </a:cubicBezTo>
                  <a:cubicBezTo>
                    <a:pt x="0" y="333"/>
                    <a:pt x="195" y="471"/>
                    <a:pt x="361" y="417"/>
                  </a:cubicBezTo>
                  <a:cubicBezTo>
                    <a:pt x="528" y="362"/>
                    <a:pt x="604" y="137"/>
                    <a:pt x="604" y="137"/>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21" name="组合 20"/>
          <p:cNvGrpSpPr/>
          <p:nvPr/>
        </p:nvGrpSpPr>
        <p:grpSpPr>
          <a:xfrm>
            <a:off x="7775818" y="2170311"/>
            <a:ext cx="2612922" cy="798470"/>
            <a:chOff x="6307241" y="1802048"/>
            <a:chExt cx="2612922" cy="798470"/>
          </a:xfrm>
        </p:grpSpPr>
        <p:sp>
          <p:nvSpPr>
            <p:cNvPr id="17" name="Rectangle 42"/>
            <p:cNvSpPr/>
            <p:nvPr/>
          </p:nvSpPr>
          <p:spPr>
            <a:xfrm>
              <a:off x="7267693" y="2138853"/>
              <a:ext cx="1554190" cy="461665"/>
            </a:xfrm>
            <a:prstGeom prst="rect">
              <a:avLst/>
            </a:prstGeom>
          </p:spPr>
          <p:txBody>
            <a:bodyPr wrap="square" lIns="0" tIns="0" rIns="0" bIns="0">
              <a:spAutoFit/>
            </a:bodyPr>
            <a:lstStyle/>
            <a:p>
              <a:r>
                <a:rPr lang="pt-BR" altLang="zh-CN" sz="1000" dirty="0"/>
                <a:t>Lorem ipsum Lorem ipsum Lorem ipsum Lorem ipsum Lorem</a:t>
              </a:r>
            </a:p>
          </p:txBody>
        </p:sp>
        <p:sp>
          <p:nvSpPr>
            <p:cNvPr id="18" name="Rectangle 44"/>
            <p:cNvSpPr/>
            <p:nvPr/>
          </p:nvSpPr>
          <p:spPr>
            <a:xfrm>
              <a:off x="7267693" y="1802048"/>
              <a:ext cx="1123706" cy="184666"/>
            </a:xfrm>
            <a:prstGeom prst="rect">
              <a:avLst/>
            </a:prstGeom>
          </p:spPr>
          <p:txBody>
            <a:bodyPr wrap="none" lIns="0" tIns="0" rIns="0" bIns="0">
              <a:spAutoFit/>
            </a:bodyPr>
            <a:lstStyle/>
            <a:p>
              <a:r>
                <a:rPr lang="en-GB" sz="1200" b="1" dirty="0">
                  <a:solidFill>
                    <a:srgbClr val="43B02A"/>
                  </a:solidFill>
                </a:rPr>
                <a:t>Lorem ipsum</a:t>
              </a:r>
            </a:p>
          </p:txBody>
        </p:sp>
        <p:sp>
          <p:nvSpPr>
            <p:cNvPr id="19" name="Rectangle 45"/>
            <p:cNvSpPr/>
            <p:nvPr/>
          </p:nvSpPr>
          <p:spPr bwMode="gray">
            <a:xfrm>
              <a:off x="8667168" y="2022135"/>
              <a:ext cx="252000" cy="53707"/>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0" name="Freeform 48"/>
            <p:cNvSpPr/>
            <p:nvPr/>
          </p:nvSpPr>
          <p:spPr bwMode="gray">
            <a:xfrm>
              <a:off x="6307241" y="2059306"/>
              <a:ext cx="2612922" cy="45719"/>
            </a:xfrm>
            <a:custGeom>
              <a:avLst/>
              <a:gdLst>
                <a:gd name="connsiteX0" fmla="*/ 2491740 w 2491740"/>
                <a:gd name="connsiteY0" fmla="*/ 0 h 510540"/>
                <a:gd name="connsiteX1" fmla="*/ 0 w 2491740"/>
                <a:gd name="connsiteY1" fmla="*/ 0 h 510540"/>
                <a:gd name="connsiteX2" fmla="*/ 0 w 2491740"/>
                <a:gd name="connsiteY2" fmla="*/ 510540 h 510540"/>
                <a:gd name="connsiteX0" fmla="*/ 2491740 w 2491740"/>
                <a:gd name="connsiteY0" fmla="*/ 0 h 0"/>
                <a:gd name="connsiteX1" fmla="*/ 0 w 2491740"/>
                <a:gd name="connsiteY1" fmla="*/ 0 h 0"/>
              </a:gdLst>
              <a:ahLst/>
              <a:cxnLst>
                <a:cxn ang="0">
                  <a:pos x="connsiteX0" y="connsiteY0"/>
                </a:cxn>
                <a:cxn ang="0">
                  <a:pos x="connsiteX1" y="connsiteY1"/>
                </a:cxn>
              </a:cxnLst>
              <a:rect l="l" t="t" r="r" b="b"/>
              <a:pathLst>
                <a:path w="2491740">
                  <a:moveTo>
                    <a:pt x="2491740" y="0"/>
                  </a:moveTo>
                  <a:lnTo>
                    <a:pt x="0" y="0"/>
                  </a:lnTo>
                </a:path>
              </a:pathLst>
            </a:custGeom>
            <a:noFill/>
            <a:ln w="19050" algn="ctr">
              <a:solidFill>
                <a:srgbClr val="43B02A"/>
              </a:solidFill>
              <a:prstDash val="sysDash"/>
              <a:miter lim="800000"/>
              <a:headEnd type="none"/>
              <a:tailEnd/>
            </a:ln>
          </p:spPr>
          <p:txBody>
            <a:bodyPr rtlCol="0" anchor="ctr"/>
            <a:lstStyle/>
            <a:p>
              <a:pPr algn="ctr"/>
              <a:endParaRPr lang="en-US" dirty="0"/>
            </a:p>
          </p:txBody>
        </p:sp>
      </p:grpSp>
      <p:grpSp>
        <p:nvGrpSpPr>
          <p:cNvPr id="22" name="组合 21"/>
          <p:cNvGrpSpPr/>
          <p:nvPr/>
        </p:nvGrpSpPr>
        <p:grpSpPr>
          <a:xfrm>
            <a:off x="7205650" y="3820887"/>
            <a:ext cx="3133863" cy="798470"/>
            <a:chOff x="5786300" y="1802048"/>
            <a:chExt cx="3133863" cy="798470"/>
          </a:xfrm>
        </p:grpSpPr>
        <p:sp>
          <p:nvSpPr>
            <p:cNvPr id="23" name="Rectangle 42"/>
            <p:cNvSpPr/>
            <p:nvPr/>
          </p:nvSpPr>
          <p:spPr>
            <a:xfrm>
              <a:off x="7267693" y="2138853"/>
              <a:ext cx="1554190" cy="461665"/>
            </a:xfrm>
            <a:prstGeom prst="rect">
              <a:avLst/>
            </a:prstGeom>
          </p:spPr>
          <p:txBody>
            <a:bodyPr wrap="square" lIns="0" tIns="0" rIns="0" bIns="0">
              <a:spAutoFit/>
            </a:bodyPr>
            <a:lstStyle/>
            <a:p>
              <a:r>
                <a:rPr lang="pt-BR" altLang="zh-CN" sz="1000" dirty="0"/>
                <a:t>Lorem ipsum Lorem ipsum Lorem ipsum Lorem ipsum Lorem</a:t>
              </a:r>
            </a:p>
          </p:txBody>
        </p:sp>
        <p:sp>
          <p:nvSpPr>
            <p:cNvPr id="24" name="Rectangle 44"/>
            <p:cNvSpPr/>
            <p:nvPr/>
          </p:nvSpPr>
          <p:spPr>
            <a:xfrm>
              <a:off x="7267693" y="1802048"/>
              <a:ext cx="1123706" cy="184666"/>
            </a:xfrm>
            <a:prstGeom prst="rect">
              <a:avLst/>
            </a:prstGeom>
          </p:spPr>
          <p:txBody>
            <a:bodyPr wrap="none" lIns="0" tIns="0" rIns="0" bIns="0">
              <a:spAutoFit/>
            </a:bodyPr>
            <a:lstStyle/>
            <a:p>
              <a:r>
                <a:rPr lang="en-GB" sz="1200" b="1" dirty="0">
                  <a:solidFill>
                    <a:srgbClr val="97999B"/>
                  </a:solidFill>
                </a:rPr>
                <a:t>Lorem ipsum</a:t>
              </a:r>
            </a:p>
          </p:txBody>
        </p:sp>
        <p:sp>
          <p:nvSpPr>
            <p:cNvPr id="25" name="Rectangle 45"/>
            <p:cNvSpPr/>
            <p:nvPr/>
          </p:nvSpPr>
          <p:spPr bwMode="gray">
            <a:xfrm>
              <a:off x="8667168" y="2012407"/>
              <a:ext cx="252000" cy="53707"/>
            </a:xfrm>
            <a:prstGeom prst="rect">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6" name="Freeform 48"/>
            <p:cNvSpPr/>
            <p:nvPr/>
          </p:nvSpPr>
          <p:spPr bwMode="gray">
            <a:xfrm>
              <a:off x="5786300" y="2059306"/>
              <a:ext cx="3133863" cy="45719"/>
            </a:xfrm>
            <a:custGeom>
              <a:avLst/>
              <a:gdLst>
                <a:gd name="connsiteX0" fmla="*/ 2491740 w 2491740"/>
                <a:gd name="connsiteY0" fmla="*/ 0 h 510540"/>
                <a:gd name="connsiteX1" fmla="*/ 0 w 2491740"/>
                <a:gd name="connsiteY1" fmla="*/ 0 h 510540"/>
                <a:gd name="connsiteX2" fmla="*/ 0 w 2491740"/>
                <a:gd name="connsiteY2" fmla="*/ 510540 h 510540"/>
                <a:gd name="connsiteX0" fmla="*/ 2491740 w 2491740"/>
                <a:gd name="connsiteY0" fmla="*/ 0 h 0"/>
                <a:gd name="connsiteX1" fmla="*/ 0 w 2491740"/>
                <a:gd name="connsiteY1" fmla="*/ 0 h 0"/>
              </a:gdLst>
              <a:ahLst/>
              <a:cxnLst>
                <a:cxn ang="0">
                  <a:pos x="connsiteX0" y="connsiteY0"/>
                </a:cxn>
                <a:cxn ang="0">
                  <a:pos x="connsiteX1" y="connsiteY1"/>
                </a:cxn>
              </a:cxnLst>
              <a:rect l="l" t="t" r="r" b="b"/>
              <a:pathLst>
                <a:path w="2491740">
                  <a:moveTo>
                    <a:pt x="2491740" y="0"/>
                  </a:moveTo>
                  <a:lnTo>
                    <a:pt x="0" y="0"/>
                  </a:lnTo>
                </a:path>
              </a:pathLst>
            </a:custGeom>
            <a:noFill/>
            <a:ln w="19050" algn="ctr">
              <a:solidFill>
                <a:srgbClr val="97999B"/>
              </a:solidFill>
              <a:prstDash val="sysDash"/>
              <a:miter lim="800000"/>
              <a:headEnd type="none"/>
              <a:tailEnd/>
            </a:ln>
          </p:spPr>
          <p:txBody>
            <a:bodyPr rtlCol="0" anchor="ctr"/>
            <a:lstStyle/>
            <a:p>
              <a:pPr algn="ctr"/>
              <a:endParaRPr lang="en-US" dirty="0"/>
            </a:p>
          </p:txBody>
        </p:sp>
      </p:grpSp>
      <p:sp>
        <p:nvSpPr>
          <p:cNvPr id="28" name="Rectangle 42"/>
          <p:cNvSpPr/>
          <p:nvPr/>
        </p:nvSpPr>
        <p:spPr>
          <a:xfrm>
            <a:off x="2448152" y="3224687"/>
            <a:ext cx="1554190" cy="461665"/>
          </a:xfrm>
          <a:prstGeom prst="rect">
            <a:avLst/>
          </a:prstGeom>
        </p:spPr>
        <p:txBody>
          <a:bodyPr wrap="square" lIns="0" tIns="0" rIns="0" bIns="0">
            <a:spAutoFit/>
          </a:bodyPr>
          <a:lstStyle/>
          <a:p>
            <a:r>
              <a:rPr lang="pt-BR" altLang="zh-CN" sz="1000" dirty="0"/>
              <a:t>Lorem ipsum Lorem ipsum Lorem ipsum Lorem ipsum Lorem</a:t>
            </a:r>
          </a:p>
        </p:txBody>
      </p:sp>
      <p:sp>
        <p:nvSpPr>
          <p:cNvPr id="29" name="Rectangle 44"/>
          <p:cNvSpPr/>
          <p:nvPr/>
        </p:nvSpPr>
        <p:spPr>
          <a:xfrm>
            <a:off x="2448152" y="2887881"/>
            <a:ext cx="1123706" cy="184666"/>
          </a:xfrm>
          <a:prstGeom prst="rect">
            <a:avLst/>
          </a:prstGeom>
        </p:spPr>
        <p:txBody>
          <a:bodyPr wrap="none" lIns="0" tIns="0" rIns="0" bIns="0">
            <a:spAutoFit/>
          </a:bodyPr>
          <a:lstStyle/>
          <a:p>
            <a:r>
              <a:rPr lang="en-GB" sz="1200" b="1" dirty="0">
                <a:solidFill>
                  <a:srgbClr val="00A3E0"/>
                </a:solidFill>
              </a:rPr>
              <a:t>Lorem ipsum</a:t>
            </a:r>
          </a:p>
        </p:txBody>
      </p:sp>
      <p:sp>
        <p:nvSpPr>
          <p:cNvPr id="30" name="Rectangle 45"/>
          <p:cNvSpPr/>
          <p:nvPr/>
        </p:nvSpPr>
        <p:spPr bwMode="gray">
          <a:xfrm>
            <a:off x="2013586" y="3107969"/>
            <a:ext cx="252000" cy="53707"/>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1" name="Freeform 48"/>
          <p:cNvSpPr/>
          <p:nvPr/>
        </p:nvSpPr>
        <p:spPr bwMode="gray">
          <a:xfrm>
            <a:off x="2013586" y="3145140"/>
            <a:ext cx="2612922" cy="45719"/>
          </a:xfrm>
          <a:custGeom>
            <a:avLst/>
            <a:gdLst>
              <a:gd name="connsiteX0" fmla="*/ 2491740 w 2491740"/>
              <a:gd name="connsiteY0" fmla="*/ 0 h 510540"/>
              <a:gd name="connsiteX1" fmla="*/ 0 w 2491740"/>
              <a:gd name="connsiteY1" fmla="*/ 0 h 510540"/>
              <a:gd name="connsiteX2" fmla="*/ 0 w 2491740"/>
              <a:gd name="connsiteY2" fmla="*/ 510540 h 510540"/>
              <a:gd name="connsiteX0" fmla="*/ 2491740 w 2491740"/>
              <a:gd name="connsiteY0" fmla="*/ 0 h 0"/>
              <a:gd name="connsiteX1" fmla="*/ 0 w 2491740"/>
              <a:gd name="connsiteY1" fmla="*/ 0 h 0"/>
            </a:gdLst>
            <a:ahLst/>
            <a:cxnLst>
              <a:cxn ang="0">
                <a:pos x="connsiteX0" y="connsiteY0"/>
              </a:cxn>
              <a:cxn ang="0">
                <a:pos x="connsiteX1" y="connsiteY1"/>
              </a:cxn>
            </a:cxnLst>
            <a:rect l="l" t="t" r="r" b="b"/>
            <a:pathLst>
              <a:path w="2491740">
                <a:moveTo>
                  <a:pt x="2491740" y="0"/>
                </a:moveTo>
                <a:lnTo>
                  <a:pt x="0" y="0"/>
                </a:lnTo>
              </a:path>
            </a:pathLst>
          </a:custGeom>
          <a:noFill/>
          <a:ln w="19050" algn="ctr">
            <a:solidFill>
              <a:srgbClr val="00A3E0"/>
            </a:solidFill>
            <a:prstDash val="sysDash"/>
            <a:miter lim="800000"/>
            <a:headEnd type="none"/>
            <a:tailEnd/>
          </a:ln>
        </p:spPr>
        <p:txBody>
          <a:bodyPr rtlCol="0" anchor="ctr"/>
          <a:lstStyle/>
          <a:p>
            <a:pPr algn="ctr"/>
            <a:endParaRPr lang="en-US" dirty="0"/>
          </a:p>
        </p:txBody>
      </p:sp>
      <p:sp>
        <p:nvSpPr>
          <p:cNvPr id="33" name="Rectangle 42"/>
          <p:cNvSpPr/>
          <p:nvPr/>
        </p:nvSpPr>
        <p:spPr>
          <a:xfrm>
            <a:off x="2448152" y="4875263"/>
            <a:ext cx="1554190" cy="461665"/>
          </a:xfrm>
          <a:prstGeom prst="rect">
            <a:avLst/>
          </a:prstGeom>
        </p:spPr>
        <p:txBody>
          <a:bodyPr wrap="square" lIns="0" tIns="0" rIns="0" bIns="0">
            <a:spAutoFit/>
          </a:bodyPr>
          <a:lstStyle/>
          <a:p>
            <a:r>
              <a:rPr lang="pt-BR" altLang="zh-CN" sz="1000" dirty="0"/>
              <a:t>Lorem ipsum Lorem ipsum Lorem ipsum Lorem ipsum Lorem</a:t>
            </a:r>
          </a:p>
        </p:txBody>
      </p:sp>
      <p:sp>
        <p:nvSpPr>
          <p:cNvPr id="34" name="Rectangle 44"/>
          <p:cNvSpPr/>
          <p:nvPr/>
        </p:nvSpPr>
        <p:spPr>
          <a:xfrm>
            <a:off x="2448152" y="4538457"/>
            <a:ext cx="1123706" cy="184666"/>
          </a:xfrm>
          <a:prstGeom prst="rect">
            <a:avLst/>
          </a:prstGeom>
        </p:spPr>
        <p:txBody>
          <a:bodyPr wrap="none" lIns="0" tIns="0" rIns="0" bIns="0">
            <a:spAutoFit/>
          </a:bodyPr>
          <a:lstStyle/>
          <a:p>
            <a:r>
              <a:rPr lang="en-GB" sz="1200" b="1" dirty="0">
                <a:solidFill>
                  <a:srgbClr val="005587"/>
                </a:solidFill>
              </a:rPr>
              <a:t>Lorem ipsum</a:t>
            </a:r>
          </a:p>
        </p:txBody>
      </p:sp>
      <p:sp>
        <p:nvSpPr>
          <p:cNvPr id="35" name="Rectangle 45"/>
          <p:cNvSpPr/>
          <p:nvPr/>
        </p:nvSpPr>
        <p:spPr bwMode="gray">
          <a:xfrm>
            <a:off x="2007622" y="4748817"/>
            <a:ext cx="252000" cy="53707"/>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Freeform 48"/>
          <p:cNvSpPr/>
          <p:nvPr/>
        </p:nvSpPr>
        <p:spPr bwMode="gray">
          <a:xfrm>
            <a:off x="2007623" y="4795716"/>
            <a:ext cx="3133863" cy="45719"/>
          </a:xfrm>
          <a:custGeom>
            <a:avLst/>
            <a:gdLst>
              <a:gd name="connsiteX0" fmla="*/ 2491740 w 2491740"/>
              <a:gd name="connsiteY0" fmla="*/ 0 h 510540"/>
              <a:gd name="connsiteX1" fmla="*/ 0 w 2491740"/>
              <a:gd name="connsiteY1" fmla="*/ 0 h 510540"/>
              <a:gd name="connsiteX2" fmla="*/ 0 w 2491740"/>
              <a:gd name="connsiteY2" fmla="*/ 510540 h 510540"/>
              <a:gd name="connsiteX0" fmla="*/ 2491740 w 2491740"/>
              <a:gd name="connsiteY0" fmla="*/ 0 h 0"/>
              <a:gd name="connsiteX1" fmla="*/ 0 w 2491740"/>
              <a:gd name="connsiteY1" fmla="*/ 0 h 0"/>
            </a:gdLst>
            <a:ahLst/>
            <a:cxnLst>
              <a:cxn ang="0">
                <a:pos x="connsiteX0" y="connsiteY0"/>
              </a:cxn>
              <a:cxn ang="0">
                <a:pos x="connsiteX1" y="connsiteY1"/>
              </a:cxn>
            </a:cxnLst>
            <a:rect l="l" t="t" r="r" b="b"/>
            <a:pathLst>
              <a:path w="2491740">
                <a:moveTo>
                  <a:pt x="2491740" y="0"/>
                </a:moveTo>
                <a:lnTo>
                  <a:pt x="0" y="0"/>
                </a:lnTo>
              </a:path>
            </a:pathLst>
          </a:custGeom>
          <a:noFill/>
          <a:ln w="19050" algn="ctr">
            <a:solidFill>
              <a:srgbClr val="005587"/>
            </a:solidFill>
            <a:prstDash val="sysDash"/>
            <a:miter lim="800000"/>
            <a:headEnd type="none"/>
            <a:tailEnd/>
          </a:ln>
        </p:spPr>
        <p:txBody>
          <a:bodyPr rtlCol="0" anchor="ctr"/>
          <a:lstStyle/>
          <a:p>
            <a:pPr algn="ctr"/>
            <a:endParaRPr lang="en-US" dirty="0"/>
          </a:p>
        </p:txBody>
      </p:sp>
      <p:sp>
        <p:nvSpPr>
          <p:cNvPr id="37" name="Rectangle 42"/>
          <p:cNvSpPr/>
          <p:nvPr/>
        </p:nvSpPr>
        <p:spPr>
          <a:xfrm>
            <a:off x="2425176" y="1659843"/>
            <a:ext cx="1554190" cy="461665"/>
          </a:xfrm>
          <a:prstGeom prst="rect">
            <a:avLst/>
          </a:prstGeom>
        </p:spPr>
        <p:txBody>
          <a:bodyPr wrap="square" lIns="0" tIns="0" rIns="0" bIns="0">
            <a:spAutoFit/>
          </a:bodyPr>
          <a:lstStyle/>
          <a:p>
            <a:r>
              <a:rPr lang="pt-BR" altLang="zh-CN" sz="1000" dirty="0"/>
              <a:t>Lorem ipsum Lorem ipsum Lorem ipsum Lorem ipsum Lorem</a:t>
            </a:r>
          </a:p>
        </p:txBody>
      </p:sp>
      <p:sp>
        <p:nvSpPr>
          <p:cNvPr id="38" name="Rectangle 44"/>
          <p:cNvSpPr/>
          <p:nvPr/>
        </p:nvSpPr>
        <p:spPr>
          <a:xfrm>
            <a:off x="2425176" y="1323037"/>
            <a:ext cx="1123706" cy="184666"/>
          </a:xfrm>
          <a:prstGeom prst="rect">
            <a:avLst/>
          </a:prstGeom>
        </p:spPr>
        <p:txBody>
          <a:bodyPr wrap="none" lIns="0" tIns="0" rIns="0" bIns="0">
            <a:spAutoFit/>
          </a:bodyPr>
          <a:lstStyle/>
          <a:p>
            <a:r>
              <a:rPr lang="en-GB" sz="1200" b="1" dirty="0">
                <a:solidFill>
                  <a:schemeClr val="accent1"/>
                </a:solidFill>
              </a:rPr>
              <a:t>Lorem ipsum</a:t>
            </a:r>
          </a:p>
        </p:txBody>
      </p:sp>
      <p:sp>
        <p:nvSpPr>
          <p:cNvPr id="39" name="Rectangle 45"/>
          <p:cNvSpPr/>
          <p:nvPr/>
        </p:nvSpPr>
        <p:spPr bwMode="gray">
          <a:xfrm>
            <a:off x="1990610" y="1543125"/>
            <a:ext cx="252000" cy="53707"/>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0" name="Freeform 48"/>
          <p:cNvSpPr/>
          <p:nvPr/>
        </p:nvSpPr>
        <p:spPr bwMode="gray">
          <a:xfrm flipV="1">
            <a:off x="1990610" y="1512876"/>
            <a:ext cx="3853166" cy="67420"/>
          </a:xfrm>
          <a:custGeom>
            <a:avLst/>
            <a:gdLst>
              <a:gd name="connsiteX0" fmla="*/ 2491740 w 2491740"/>
              <a:gd name="connsiteY0" fmla="*/ 0 h 510540"/>
              <a:gd name="connsiteX1" fmla="*/ 0 w 2491740"/>
              <a:gd name="connsiteY1" fmla="*/ 0 h 510540"/>
              <a:gd name="connsiteX2" fmla="*/ 0 w 2491740"/>
              <a:gd name="connsiteY2" fmla="*/ 510540 h 510540"/>
              <a:gd name="connsiteX0" fmla="*/ 2491740 w 2491740"/>
              <a:gd name="connsiteY0" fmla="*/ 0 h 0"/>
              <a:gd name="connsiteX1" fmla="*/ 0 w 2491740"/>
              <a:gd name="connsiteY1" fmla="*/ 0 h 0"/>
            </a:gdLst>
            <a:ahLst/>
            <a:cxnLst>
              <a:cxn ang="0">
                <a:pos x="connsiteX0" y="connsiteY0"/>
              </a:cxn>
              <a:cxn ang="0">
                <a:pos x="connsiteX1" y="connsiteY1"/>
              </a:cxn>
            </a:cxnLst>
            <a:rect l="l" t="t" r="r" b="b"/>
            <a:pathLst>
              <a:path w="2491740">
                <a:moveTo>
                  <a:pt x="2491740" y="0"/>
                </a:moveTo>
                <a:lnTo>
                  <a:pt x="0" y="0"/>
                </a:lnTo>
              </a:path>
            </a:pathLst>
          </a:custGeom>
          <a:noFill/>
          <a:ln w="19050" algn="ctr">
            <a:solidFill>
              <a:schemeClr val="accent1"/>
            </a:solidFill>
            <a:prstDash val="sysDash"/>
            <a:miter lim="800000"/>
            <a:headEnd type="none"/>
            <a:tailEnd/>
          </a:ln>
        </p:spPr>
        <p:txBody>
          <a:bodyPr rtlCol="0" anchor="ctr"/>
          <a:lstStyle/>
          <a:p>
            <a:pPr algn="ctr"/>
            <a:endParaRPr lang="en-US" dirty="0"/>
          </a:p>
        </p:txBody>
      </p:sp>
      <p:sp>
        <p:nvSpPr>
          <p:cNvPr id="41" name="Freeform 106"/>
          <p:cNvSpPr>
            <a:spLocks noChangeAspect="1" noEditPoints="1"/>
          </p:cNvSpPr>
          <p:nvPr/>
        </p:nvSpPr>
        <p:spPr bwMode="auto">
          <a:xfrm>
            <a:off x="7311154" y="2546474"/>
            <a:ext cx="574311" cy="576000"/>
          </a:xfrm>
          <a:custGeom>
            <a:avLst/>
            <a:gdLst>
              <a:gd name="T0" fmla="*/ 373 w 512"/>
              <a:gd name="T1" fmla="*/ 362 h 512"/>
              <a:gd name="T2" fmla="*/ 352 w 512"/>
              <a:gd name="T3" fmla="*/ 298 h 512"/>
              <a:gd name="T4" fmla="*/ 330 w 512"/>
              <a:gd name="T5" fmla="*/ 298 h 512"/>
              <a:gd name="T6" fmla="*/ 298 w 512"/>
              <a:gd name="T7" fmla="*/ 323 h 512"/>
              <a:gd name="T8" fmla="*/ 288 w 512"/>
              <a:gd name="T9" fmla="*/ 288 h 512"/>
              <a:gd name="T10" fmla="*/ 277 w 512"/>
              <a:gd name="T11" fmla="*/ 330 h 512"/>
              <a:gd name="T12" fmla="*/ 277 w 512"/>
              <a:gd name="T13" fmla="*/ 333 h 512"/>
              <a:gd name="T14" fmla="*/ 216 w 512"/>
              <a:gd name="T15" fmla="*/ 394 h 512"/>
              <a:gd name="T16" fmla="*/ 234 w 512"/>
              <a:gd name="T17" fmla="*/ 331 h 512"/>
              <a:gd name="T18" fmla="*/ 234 w 512"/>
              <a:gd name="T19" fmla="*/ 298 h 512"/>
              <a:gd name="T20" fmla="*/ 213 w 512"/>
              <a:gd name="T21" fmla="*/ 298 h 512"/>
              <a:gd name="T22" fmla="*/ 181 w 512"/>
              <a:gd name="T23" fmla="*/ 336 h 512"/>
              <a:gd name="T24" fmla="*/ 170 w 512"/>
              <a:gd name="T25" fmla="*/ 288 h 512"/>
              <a:gd name="T26" fmla="*/ 160 w 512"/>
              <a:gd name="T27" fmla="*/ 346 h 512"/>
              <a:gd name="T28" fmla="*/ 138 w 512"/>
              <a:gd name="T29" fmla="*/ 197 h 512"/>
              <a:gd name="T30" fmla="*/ 167 w 512"/>
              <a:gd name="T31" fmla="*/ 187 h 512"/>
              <a:gd name="T32" fmla="*/ 208 w 512"/>
              <a:gd name="T33" fmla="*/ 213 h 512"/>
              <a:gd name="T34" fmla="*/ 218 w 512"/>
              <a:gd name="T35" fmla="*/ 143 h 512"/>
              <a:gd name="T36" fmla="*/ 226 w 512"/>
              <a:gd name="T37" fmla="*/ 135 h 512"/>
              <a:gd name="T38" fmla="*/ 251 w 512"/>
              <a:gd name="T39" fmla="*/ 117 h 512"/>
              <a:gd name="T40" fmla="*/ 283 w 512"/>
              <a:gd name="T41" fmla="*/ 146 h 512"/>
              <a:gd name="T42" fmla="*/ 269 w 512"/>
              <a:gd name="T43" fmla="*/ 163 h 512"/>
              <a:gd name="T44" fmla="*/ 304 w 512"/>
              <a:gd name="T45" fmla="*/ 213 h 512"/>
              <a:gd name="T46" fmla="*/ 344 w 512"/>
              <a:gd name="T47" fmla="*/ 187 h 512"/>
              <a:gd name="T48" fmla="*/ 373 w 512"/>
              <a:gd name="T49" fmla="*/ 197 h 512"/>
              <a:gd name="T50" fmla="*/ 256 w 512"/>
              <a:gd name="T51" fmla="*/ 512 h 512"/>
              <a:gd name="T52" fmla="*/ 256 w 512"/>
              <a:gd name="T53" fmla="*/ 0 h 512"/>
              <a:gd name="T54" fmla="*/ 394 w 512"/>
              <a:gd name="T55" fmla="*/ 197 h 512"/>
              <a:gd name="T56" fmla="*/ 327 w 512"/>
              <a:gd name="T57" fmla="*/ 174 h 512"/>
              <a:gd name="T58" fmla="*/ 304 w 512"/>
              <a:gd name="T59" fmla="*/ 192 h 512"/>
              <a:gd name="T60" fmla="*/ 303 w 512"/>
              <a:gd name="T61" fmla="*/ 152 h 512"/>
              <a:gd name="T62" fmla="*/ 250 w 512"/>
              <a:gd name="T63" fmla="*/ 96 h 512"/>
              <a:gd name="T64" fmla="*/ 211 w 512"/>
              <a:gd name="T65" fmla="*/ 120 h 512"/>
              <a:gd name="T66" fmla="*/ 189 w 512"/>
              <a:gd name="T67" fmla="*/ 141 h 512"/>
              <a:gd name="T68" fmla="*/ 195 w 512"/>
              <a:gd name="T69" fmla="*/ 160 h 512"/>
              <a:gd name="T70" fmla="*/ 208 w 512"/>
              <a:gd name="T71" fmla="*/ 192 h 512"/>
              <a:gd name="T72" fmla="*/ 184 w 512"/>
              <a:gd name="T73" fmla="*/ 175 h 512"/>
              <a:gd name="T74" fmla="*/ 117 w 512"/>
              <a:gd name="T75" fmla="*/ 197 h 512"/>
              <a:gd name="T76" fmla="*/ 123 w 512"/>
              <a:gd name="T77" fmla="*/ 393 h 512"/>
              <a:gd name="T78" fmla="*/ 176 w 512"/>
              <a:gd name="T79" fmla="*/ 361 h 512"/>
              <a:gd name="T80" fmla="*/ 192 w 512"/>
              <a:gd name="T81" fmla="*/ 402 h 512"/>
              <a:gd name="T82" fmla="*/ 202 w 512"/>
              <a:gd name="T83" fmla="*/ 416 h 512"/>
              <a:gd name="T84" fmla="*/ 309 w 512"/>
              <a:gd name="T85" fmla="*/ 416 h 512"/>
              <a:gd name="T86" fmla="*/ 312 w 512"/>
              <a:gd name="T87" fmla="*/ 415 h 512"/>
              <a:gd name="T88" fmla="*/ 304 w 512"/>
              <a:gd name="T89" fmla="*/ 348 h 512"/>
              <a:gd name="T90" fmla="*/ 377 w 512"/>
              <a:gd name="T91" fmla="*/ 392 h 512"/>
              <a:gd name="T92" fmla="*/ 388 w 512"/>
              <a:gd name="T93" fmla="*/ 393 h 512"/>
              <a:gd name="T94" fmla="*/ 394 w 512"/>
              <a:gd name="T95"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73" y="197"/>
                </a:moveTo>
                <a:cubicBezTo>
                  <a:pt x="373" y="362"/>
                  <a:pt x="373" y="362"/>
                  <a:pt x="373" y="362"/>
                </a:cubicBezTo>
                <a:cubicBezTo>
                  <a:pt x="352" y="346"/>
                  <a:pt x="352" y="346"/>
                  <a:pt x="352" y="346"/>
                </a:cubicBezTo>
                <a:cubicBezTo>
                  <a:pt x="352" y="298"/>
                  <a:pt x="352" y="298"/>
                  <a:pt x="352" y="298"/>
                </a:cubicBezTo>
                <a:cubicBezTo>
                  <a:pt x="352" y="292"/>
                  <a:pt x="347" y="288"/>
                  <a:pt x="341" y="288"/>
                </a:cubicBezTo>
                <a:cubicBezTo>
                  <a:pt x="335" y="288"/>
                  <a:pt x="330" y="292"/>
                  <a:pt x="330" y="298"/>
                </a:cubicBezTo>
                <a:cubicBezTo>
                  <a:pt x="330" y="336"/>
                  <a:pt x="330" y="336"/>
                  <a:pt x="330" y="336"/>
                </a:cubicBezTo>
                <a:cubicBezTo>
                  <a:pt x="298" y="323"/>
                  <a:pt x="298" y="323"/>
                  <a:pt x="298" y="323"/>
                </a:cubicBezTo>
                <a:cubicBezTo>
                  <a:pt x="298" y="298"/>
                  <a:pt x="298" y="298"/>
                  <a:pt x="298" y="298"/>
                </a:cubicBezTo>
                <a:cubicBezTo>
                  <a:pt x="298" y="292"/>
                  <a:pt x="294" y="288"/>
                  <a:pt x="288" y="288"/>
                </a:cubicBezTo>
                <a:cubicBezTo>
                  <a:pt x="282" y="288"/>
                  <a:pt x="277" y="292"/>
                  <a:pt x="277" y="298"/>
                </a:cubicBezTo>
                <a:cubicBezTo>
                  <a:pt x="277" y="330"/>
                  <a:pt x="277" y="330"/>
                  <a:pt x="277" y="330"/>
                </a:cubicBezTo>
                <a:cubicBezTo>
                  <a:pt x="277" y="331"/>
                  <a:pt x="277" y="331"/>
                  <a:pt x="277" y="331"/>
                </a:cubicBezTo>
                <a:cubicBezTo>
                  <a:pt x="277" y="332"/>
                  <a:pt x="277" y="332"/>
                  <a:pt x="277" y="333"/>
                </a:cubicBezTo>
                <a:cubicBezTo>
                  <a:pt x="295" y="394"/>
                  <a:pt x="295" y="394"/>
                  <a:pt x="295" y="394"/>
                </a:cubicBezTo>
                <a:cubicBezTo>
                  <a:pt x="216" y="394"/>
                  <a:pt x="216" y="394"/>
                  <a:pt x="216" y="394"/>
                </a:cubicBezTo>
                <a:cubicBezTo>
                  <a:pt x="234" y="333"/>
                  <a:pt x="234" y="333"/>
                  <a:pt x="234" y="333"/>
                </a:cubicBezTo>
                <a:cubicBezTo>
                  <a:pt x="234" y="332"/>
                  <a:pt x="234" y="332"/>
                  <a:pt x="234" y="331"/>
                </a:cubicBezTo>
                <a:cubicBezTo>
                  <a:pt x="234" y="331"/>
                  <a:pt x="234" y="331"/>
                  <a:pt x="234" y="330"/>
                </a:cubicBezTo>
                <a:cubicBezTo>
                  <a:pt x="234" y="298"/>
                  <a:pt x="234" y="298"/>
                  <a:pt x="234" y="298"/>
                </a:cubicBezTo>
                <a:cubicBezTo>
                  <a:pt x="234" y="292"/>
                  <a:pt x="230" y="288"/>
                  <a:pt x="224" y="288"/>
                </a:cubicBezTo>
                <a:cubicBezTo>
                  <a:pt x="218" y="288"/>
                  <a:pt x="213" y="292"/>
                  <a:pt x="213" y="298"/>
                </a:cubicBezTo>
                <a:cubicBezTo>
                  <a:pt x="213" y="323"/>
                  <a:pt x="213" y="323"/>
                  <a:pt x="213" y="323"/>
                </a:cubicBezTo>
                <a:cubicBezTo>
                  <a:pt x="181" y="336"/>
                  <a:pt x="181" y="336"/>
                  <a:pt x="181" y="336"/>
                </a:cubicBezTo>
                <a:cubicBezTo>
                  <a:pt x="181" y="298"/>
                  <a:pt x="181" y="298"/>
                  <a:pt x="181" y="298"/>
                </a:cubicBezTo>
                <a:cubicBezTo>
                  <a:pt x="181" y="292"/>
                  <a:pt x="176" y="288"/>
                  <a:pt x="170" y="288"/>
                </a:cubicBezTo>
                <a:cubicBezTo>
                  <a:pt x="164" y="288"/>
                  <a:pt x="160" y="292"/>
                  <a:pt x="160" y="298"/>
                </a:cubicBezTo>
                <a:cubicBezTo>
                  <a:pt x="160" y="346"/>
                  <a:pt x="160" y="346"/>
                  <a:pt x="160" y="346"/>
                </a:cubicBezTo>
                <a:cubicBezTo>
                  <a:pt x="138" y="362"/>
                  <a:pt x="138" y="362"/>
                  <a:pt x="138" y="362"/>
                </a:cubicBezTo>
                <a:cubicBezTo>
                  <a:pt x="138" y="197"/>
                  <a:pt x="138" y="197"/>
                  <a:pt x="138" y="197"/>
                </a:cubicBezTo>
                <a:cubicBezTo>
                  <a:pt x="138" y="188"/>
                  <a:pt x="146" y="181"/>
                  <a:pt x="154" y="181"/>
                </a:cubicBezTo>
                <a:cubicBezTo>
                  <a:pt x="159" y="181"/>
                  <a:pt x="164" y="183"/>
                  <a:pt x="167" y="187"/>
                </a:cubicBezTo>
                <a:cubicBezTo>
                  <a:pt x="167" y="187"/>
                  <a:pt x="172" y="194"/>
                  <a:pt x="176" y="199"/>
                </a:cubicBezTo>
                <a:cubicBezTo>
                  <a:pt x="187" y="211"/>
                  <a:pt x="198" y="213"/>
                  <a:pt x="208" y="213"/>
                </a:cubicBezTo>
                <a:cubicBezTo>
                  <a:pt x="232" y="213"/>
                  <a:pt x="245" y="198"/>
                  <a:pt x="245" y="170"/>
                </a:cubicBezTo>
                <a:cubicBezTo>
                  <a:pt x="245" y="156"/>
                  <a:pt x="231" y="148"/>
                  <a:pt x="218" y="143"/>
                </a:cubicBezTo>
                <a:cubicBezTo>
                  <a:pt x="221" y="140"/>
                  <a:pt x="221" y="140"/>
                  <a:pt x="221" y="140"/>
                </a:cubicBezTo>
                <a:cubicBezTo>
                  <a:pt x="222" y="139"/>
                  <a:pt x="223" y="138"/>
                  <a:pt x="226" y="135"/>
                </a:cubicBezTo>
                <a:cubicBezTo>
                  <a:pt x="228" y="133"/>
                  <a:pt x="230" y="131"/>
                  <a:pt x="232" y="128"/>
                </a:cubicBezTo>
                <a:cubicBezTo>
                  <a:pt x="239" y="121"/>
                  <a:pt x="242" y="117"/>
                  <a:pt x="251" y="117"/>
                </a:cubicBezTo>
                <a:cubicBezTo>
                  <a:pt x="264" y="117"/>
                  <a:pt x="273" y="120"/>
                  <a:pt x="279" y="127"/>
                </a:cubicBezTo>
                <a:cubicBezTo>
                  <a:pt x="284" y="133"/>
                  <a:pt x="284" y="141"/>
                  <a:pt x="283" y="146"/>
                </a:cubicBezTo>
                <a:cubicBezTo>
                  <a:pt x="281" y="152"/>
                  <a:pt x="274" y="158"/>
                  <a:pt x="271" y="161"/>
                </a:cubicBezTo>
                <a:cubicBezTo>
                  <a:pt x="271" y="162"/>
                  <a:pt x="270" y="162"/>
                  <a:pt x="269" y="163"/>
                </a:cubicBezTo>
                <a:cubicBezTo>
                  <a:pt x="267" y="165"/>
                  <a:pt x="266" y="167"/>
                  <a:pt x="266" y="170"/>
                </a:cubicBezTo>
                <a:cubicBezTo>
                  <a:pt x="266" y="197"/>
                  <a:pt x="286" y="213"/>
                  <a:pt x="304" y="213"/>
                </a:cubicBezTo>
                <a:cubicBezTo>
                  <a:pt x="322" y="213"/>
                  <a:pt x="332" y="204"/>
                  <a:pt x="336" y="198"/>
                </a:cubicBezTo>
                <a:cubicBezTo>
                  <a:pt x="339" y="193"/>
                  <a:pt x="344" y="188"/>
                  <a:pt x="344" y="187"/>
                </a:cubicBezTo>
                <a:cubicBezTo>
                  <a:pt x="347" y="183"/>
                  <a:pt x="352" y="181"/>
                  <a:pt x="357" y="181"/>
                </a:cubicBezTo>
                <a:cubicBezTo>
                  <a:pt x="366" y="181"/>
                  <a:pt x="373" y="188"/>
                  <a:pt x="373" y="1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7"/>
                </a:moveTo>
                <a:cubicBezTo>
                  <a:pt x="394" y="176"/>
                  <a:pt x="378" y="160"/>
                  <a:pt x="357" y="160"/>
                </a:cubicBezTo>
                <a:cubicBezTo>
                  <a:pt x="345" y="160"/>
                  <a:pt x="334" y="165"/>
                  <a:pt x="327" y="174"/>
                </a:cubicBezTo>
                <a:cubicBezTo>
                  <a:pt x="327" y="174"/>
                  <a:pt x="322" y="180"/>
                  <a:pt x="319" y="185"/>
                </a:cubicBezTo>
                <a:cubicBezTo>
                  <a:pt x="316" y="189"/>
                  <a:pt x="311" y="192"/>
                  <a:pt x="304" y="192"/>
                </a:cubicBezTo>
                <a:cubicBezTo>
                  <a:pt x="298" y="192"/>
                  <a:pt x="290" y="186"/>
                  <a:pt x="288" y="175"/>
                </a:cubicBezTo>
                <a:cubicBezTo>
                  <a:pt x="293" y="170"/>
                  <a:pt x="301" y="162"/>
                  <a:pt x="303" y="152"/>
                </a:cubicBezTo>
                <a:cubicBezTo>
                  <a:pt x="306" y="141"/>
                  <a:pt x="305" y="126"/>
                  <a:pt x="295" y="114"/>
                </a:cubicBezTo>
                <a:cubicBezTo>
                  <a:pt x="289" y="105"/>
                  <a:pt x="275" y="95"/>
                  <a:pt x="250" y="96"/>
                </a:cubicBezTo>
                <a:cubicBezTo>
                  <a:pt x="232" y="96"/>
                  <a:pt x="223" y="107"/>
                  <a:pt x="216" y="114"/>
                </a:cubicBezTo>
                <a:cubicBezTo>
                  <a:pt x="214" y="116"/>
                  <a:pt x="213" y="118"/>
                  <a:pt x="211" y="120"/>
                </a:cubicBezTo>
                <a:cubicBezTo>
                  <a:pt x="208" y="123"/>
                  <a:pt x="207" y="124"/>
                  <a:pt x="205" y="125"/>
                </a:cubicBezTo>
                <a:cubicBezTo>
                  <a:pt x="189" y="141"/>
                  <a:pt x="189" y="141"/>
                  <a:pt x="189" y="141"/>
                </a:cubicBezTo>
                <a:cubicBezTo>
                  <a:pt x="187" y="144"/>
                  <a:pt x="186" y="148"/>
                  <a:pt x="187" y="152"/>
                </a:cubicBezTo>
                <a:cubicBezTo>
                  <a:pt x="188" y="156"/>
                  <a:pt x="191" y="159"/>
                  <a:pt x="195" y="160"/>
                </a:cubicBezTo>
                <a:cubicBezTo>
                  <a:pt x="208" y="162"/>
                  <a:pt x="222" y="167"/>
                  <a:pt x="224" y="170"/>
                </a:cubicBezTo>
                <a:cubicBezTo>
                  <a:pt x="224" y="192"/>
                  <a:pt x="214" y="192"/>
                  <a:pt x="208" y="192"/>
                </a:cubicBezTo>
                <a:cubicBezTo>
                  <a:pt x="202" y="192"/>
                  <a:pt x="198" y="191"/>
                  <a:pt x="192" y="185"/>
                </a:cubicBezTo>
                <a:cubicBezTo>
                  <a:pt x="188" y="181"/>
                  <a:pt x="184" y="175"/>
                  <a:pt x="184" y="175"/>
                </a:cubicBezTo>
                <a:cubicBezTo>
                  <a:pt x="177" y="165"/>
                  <a:pt x="166" y="160"/>
                  <a:pt x="154" y="160"/>
                </a:cubicBezTo>
                <a:cubicBezTo>
                  <a:pt x="134" y="160"/>
                  <a:pt x="117" y="176"/>
                  <a:pt x="117" y="197"/>
                </a:cubicBezTo>
                <a:cubicBezTo>
                  <a:pt x="117" y="384"/>
                  <a:pt x="117" y="384"/>
                  <a:pt x="117" y="384"/>
                </a:cubicBezTo>
                <a:cubicBezTo>
                  <a:pt x="117" y="388"/>
                  <a:pt x="119" y="391"/>
                  <a:pt x="123" y="393"/>
                </a:cubicBezTo>
                <a:cubicBezTo>
                  <a:pt x="127" y="395"/>
                  <a:pt x="131" y="395"/>
                  <a:pt x="134" y="392"/>
                </a:cubicBezTo>
                <a:cubicBezTo>
                  <a:pt x="176" y="361"/>
                  <a:pt x="176" y="361"/>
                  <a:pt x="176" y="361"/>
                </a:cubicBezTo>
                <a:cubicBezTo>
                  <a:pt x="207" y="348"/>
                  <a:pt x="207" y="348"/>
                  <a:pt x="207" y="348"/>
                </a:cubicBezTo>
                <a:cubicBezTo>
                  <a:pt x="192" y="402"/>
                  <a:pt x="192" y="402"/>
                  <a:pt x="192" y="402"/>
                </a:cubicBezTo>
                <a:cubicBezTo>
                  <a:pt x="190" y="408"/>
                  <a:pt x="194" y="414"/>
                  <a:pt x="199" y="415"/>
                </a:cubicBezTo>
                <a:cubicBezTo>
                  <a:pt x="200" y="416"/>
                  <a:pt x="201" y="416"/>
                  <a:pt x="202" y="416"/>
                </a:cubicBezTo>
                <a:cubicBezTo>
                  <a:pt x="202" y="416"/>
                  <a:pt x="202" y="416"/>
                  <a:pt x="202" y="416"/>
                </a:cubicBezTo>
                <a:cubicBezTo>
                  <a:pt x="309" y="416"/>
                  <a:pt x="309" y="416"/>
                  <a:pt x="309" y="416"/>
                </a:cubicBezTo>
                <a:cubicBezTo>
                  <a:pt x="309" y="416"/>
                  <a:pt x="309" y="416"/>
                  <a:pt x="309" y="416"/>
                </a:cubicBezTo>
                <a:cubicBezTo>
                  <a:pt x="310" y="416"/>
                  <a:pt x="311" y="416"/>
                  <a:pt x="312" y="415"/>
                </a:cubicBezTo>
                <a:cubicBezTo>
                  <a:pt x="318" y="414"/>
                  <a:pt x="321" y="408"/>
                  <a:pt x="319" y="402"/>
                </a:cubicBezTo>
                <a:cubicBezTo>
                  <a:pt x="304" y="348"/>
                  <a:pt x="304" y="348"/>
                  <a:pt x="304" y="348"/>
                </a:cubicBezTo>
                <a:cubicBezTo>
                  <a:pt x="336" y="361"/>
                  <a:pt x="336" y="361"/>
                  <a:pt x="336" y="361"/>
                </a:cubicBezTo>
                <a:cubicBezTo>
                  <a:pt x="377" y="392"/>
                  <a:pt x="377" y="392"/>
                  <a:pt x="377" y="392"/>
                </a:cubicBezTo>
                <a:cubicBezTo>
                  <a:pt x="379" y="394"/>
                  <a:pt x="381" y="394"/>
                  <a:pt x="384" y="394"/>
                </a:cubicBezTo>
                <a:cubicBezTo>
                  <a:pt x="385" y="394"/>
                  <a:pt x="387" y="394"/>
                  <a:pt x="388" y="393"/>
                </a:cubicBezTo>
                <a:cubicBezTo>
                  <a:pt x="392" y="391"/>
                  <a:pt x="394" y="388"/>
                  <a:pt x="394" y="384"/>
                </a:cubicBezTo>
                <a:lnTo>
                  <a:pt x="394" y="1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2" name="Freeform 189"/>
          <p:cNvSpPr>
            <a:spLocks noChangeAspect="1" noEditPoints="1"/>
          </p:cNvSpPr>
          <p:nvPr/>
        </p:nvSpPr>
        <p:spPr bwMode="auto">
          <a:xfrm>
            <a:off x="6696821" y="4138251"/>
            <a:ext cx="576001" cy="576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 name="Group 1025"/>
          <p:cNvGrpSpPr>
            <a:grpSpLocks noChangeAspect="1"/>
          </p:cNvGrpSpPr>
          <p:nvPr/>
        </p:nvGrpSpPr>
        <p:grpSpPr bwMode="auto">
          <a:xfrm>
            <a:off x="5078904" y="4138251"/>
            <a:ext cx="576000" cy="576000"/>
            <a:chOff x="787" y="3994"/>
            <a:chExt cx="340" cy="340"/>
          </a:xfrm>
          <a:solidFill>
            <a:schemeClr val="bg1"/>
          </a:solidFill>
        </p:grpSpPr>
        <p:sp>
          <p:nvSpPr>
            <p:cNvPr id="44" name="Freeform 1026"/>
            <p:cNvSpPr>
              <a:spLocks/>
            </p:cNvSpPr>
            <p:nvPr/>
          </p:nvSpPr>
          <p:spPr bwMode="auto">
            <a:xfrm>
              <a:off x="893" y="4171"/>
              <a:ext cx="45" cy="33"/>
            </a:xfrm>
            <a:custGeom>
              <a:avLst/>
              <a:gdLst>
                <a:gd name="T0" fmla="*/ 67 w 67"/>
                <a:gd name="T1" fmla="*/ 4 h 50"/>
                <a:gd name="T2" fmla="*/ 66 w 67"/>
                <a:gd name="T3" fmla="*/ 0 h 50"/>
                <a:gd name="T4" fmla="*/ 64 w 67"/>
                <a:gd name="T5" fmla="*/ 0 h 50"/>
                <a:gd name="T6" fmla="*/ 0 w 67"/>
                <a:gd name="T7" fmla="*/ 0 h 50"/>
                <a:gd name="T8" fmla="*/ 21 w 67"/>
                <a:gd name="T9" fmla="*/ 50 h 50"/>
                <a:gd name="T10" fmla="*/ 66 w 67"/>
                <a:gd name="T11" fmla="*/ 5 h 50"/>
                <a:gd name="T12" fmla="*/ 67 w 67"/>
                <a:gd name="T13" fmla="*/ 4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67" y="4"/>
                  </a:moveTo>
                  <a:cubicBezTo>
                    <a:pt x="66" y="3"/>
                    <a:pt x="66" y="1"/>
                    <a:pt x="66" y="0"/>
                  </a:cubicBezTo>
                  <a:cubicBezTo>
                    <a:pt x="65" y="0"/>
                    <a:pt x="64" y="0"/>
                    <a:pt x="64" y="0"/>
                  </a:cubicBezTo>
                  <a:cubicBezTo>
                    <a:pt x="0" y="0"/>
                    <a:pt x="0" y="0"/>
                    <a:pt x="0" y="0"/>
                  </a:cubicBezTo>
                  <a:cubicBezTo>
                    <a:pt x="2" y="19"/>
                    <a:pt x="10" y="36"/>
                    <a:pt x="21" y="50"/>
                  </a:cubicBezTo>
                  <a:cubicBezTo>
                    <a:pt x="66" y="5"/>
                    <a:pt x="66" y="5"/>
                    <a:pt x="66" y="5"/>
                  </a:cubicBezTo>
                  <a:cubicBezTo>
                    <a:pt x="66" y="4"/>
                    <a:pt x="67" y="4"/>
                    <a:pt x="67"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1027"/>
            <p:cNvSpPr>
              <a:spLocks/>
            </p:cNvSpPr>
            <p:nvPr/>
          </p:nvSpPr>
          <p:spPr bwMode="auto">
            <a:xfrm>
              <a:off x="893" y="4124"/>
              <a:ext cx="45" cy="33"/>
            </a:xfrm>
            <a:custGeom>
              <a:avLst/>
              <a:gdLst>
                <a:gd name="T0" fmla="*/ 66 w 67"/>
                <a:gd name="T1" fmla="*/ 49 h 49"/>
                <a:gd name="T2" fmla="*/ 67 w 67"/>
                <a:gd name="T3" fmla="*/ 46 h 49"/>
                <a:gd name="T4" fmla="*/ 66 w 67"/>
                <a:gd name="T5" fmla="*/ 45 h 49"/>
                <a:gd name="T6" fmla="*/ 21 w 67"/>
                <a:gd name="T7" fmla="*/ 0 h 49"/>
                <a:gd name="T8" fmla="*/ 0 w 67"/>
                <a:gd name="T9" fmla="*/ 49 h 49"/>
                <a:gd name="T10" fmla="*/ 64 w 67"/>
                <a:gd name="T11" fmla="*/ 49 h 49"/>
                <a:gd name="T12" fmla="*/ 66 w 67"/>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66" y="49"/>
                  </a:moveTo>
                  <a:cubicBezTo>
                    <a:pt x="66" y="48"/>
                    <a:pt x="66" y="47"/>
                    <a:pt x="67" y="46"/>
                  </a:cubicBezTo>
                  <a:cubicBezTo>
                    <a:pt x="67" y="45"/>
                    <a:pt x="66" y="45"/>
                    <a:pt x="66" y="45"/>
                  </a:cubicBezTo>
                  <a:cubicBezTo>
                    <a:pt x="21" y="0"/>
                    <a:pt x="21" y="0"/>
                    <a:pt x="21" y="0"/>
                  </a:cubicBezTo>
                  <a:cubicBezTo>
                    <a:pt x="10" y="14"/>
                    <a:pt x="2" y="31"/>
                    <a:pt x="0" y="49"/>
                  </a:cubicBezTo>
                  <a:cubicBezTo>
                    <a:pt x="64" y="49"/>
                    <a:pt x="64" y="49"/>
                    <a:pt x="64" y="49"/>
                  </a:cubicBezTo>
                  <a:cubicBezTo>
                    <a:pt x="64" y="49"/>
                    <a:pt x="65" y="49"/>
                    <a:pt x="66" y="49"/>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1028"/>
            <p:cNvSpPr>
              <a:spLocks/>
            </p:cNvSpPr>
            <p:nvPr/>
          </p:nvSpPr>
          <p:spPr bwMode="auto">
            <a:xfrm>
              <a:off x="917" y="4100"/>
              <a:ext cx="33" cy="45"/>
            </a:xfrm>
            <a:custGeom>
              <a:avLst/>
              <a:gdLst>
                <a:gd name="T0" fmla="*/ 46 w 49"/>
                <a:gd name="T1" fmla="*/ 67 h 67"/>
                <a:gd name="T2" fmla="*/ 49 w 49"/>
                <a:gd name="T3" fmla="*/ 66 h 67"/>
                <a:gd name="T4" fmla="*/ 49 w 49"/>
                <a:gd name="T5" fmla="*/ 64 h 67"/>
                <a:gd name="T6" fmla="*/ 49 w 49"/>
                <a:gd name="T7" fmla="*/ 0 h 67"/>
                <a:gd name="T8" fmla="*/ 0 w 49"/>
                <a:gd name="T9" fmla="*/ 21 h 67"/>
                <a:gd name="T10" fmla="*/ 45 w 49"/>
                <a:gd name="T11" fmla="*/ 66 h 67"/>
                <a:gd name="T12" fmla="*/ 46 w 49"/>
                <a:gd name="T13" fmla="*/ 67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6" y="67"/>
                  </a:moveTo>
                  <a:cubicBezTo>
                    <a:pt x="47" y="66"/>
                    <a:pt x="48" y="66"/>
                    <a:pt x="49" y="66"/>
                  </a:cubicBezTo>
                  <a:cubicBezTo>
                    <a:pt x="49" y="65"/>
                    <a:pt x="49" y="64"/>
                    <a:pt x="49" y="64"/>
                  </a:cubicBezTo>
                  <a:cubicBezTo>
                    <a:pt x="49" y="0"/>
                    <a:pt x="49" y="0"/>
                    <a:pt x="49" y="0"/>
                  </a:cubicBezTo>
                  <a:cubicBezTo>
                    <a:pt x="31" y="2"/>
                    <a:pt x="14" y="10"/>
                    <a:pt x="0" y="21"/>
                  </a:cubicBezTo>
                  <a:cubicBezTo>
                    <a:pt x="45" y="66"/>
                    <a:pt x="45" y="66"/>
                    <a:pt x="45" y="66"/>
                  </a:cubicBezTo>
                  <a:cubicBezTo>
                    <a:pt x="45" y="66"/>
                    <a:pt x="45" y="67"/>
                    <a:pt x="46" y="67"/>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1029"/>
            <p:cNvSpPr>
              <a:spLocks/>
            </p:cNvSpPr>
            <p:nvPr/>
          </p:nvSpPr>
          <p:spPr bwMode="auto">
            <a:xfrm>
              <a:off x="964" y="4100"/>
              <a:ext cx="33" cy="45"/>
            </a:xfrm>
            <a:custGeom>
              <a:avLst/>
              <a:gdLst>
                <a:gd name="T0" fmla="*/ 5 w 50"/>
                <a:gd name="T1" fmla="*/ 66 h 67"/>
                <a:gd name="T2" fmla="*/ 50 w 50"/>
                <a:gd name="T3" fmla="*/ 21 h 67"/>
                <a:gd name="T4" fmla="*/ 0 w 50"/>
                <a:gd name="T5" fmla="*/ 0 h 67"/>
                <a:gd name="T6" fmla="*/ 0 w 50"/>
                <a:gd name="T7" fmla="*/ 64 h 67"/>
                <a:gd name="T8" fmla="*/ 0 w 50"/>
                <a:gd name="T9" fmla="*/ 66 h 67"/>
                <a:gd name="T10" fmla="*/ 4 w 50"/>
                <a:gd name="T11" fmla="*/ 67 h 67"/>
                <a:gd name="T12" fmla="*/ 5 w 50"/>
                <a:gd name="T13" fmla="*/ 66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5" y="66"/>
                  </a:moveTo>
                  <a:cubicBezTo>
                    <a:pt x="50" y="21"/>
                    <a:pt x="50" y="21"/>
                    <a:pt x="50" y="21"/>
                  </a:cubicBezTo>
                  <a:cubicBezTo>
                    <a:pt x="36" y="10"/>
                    <a:pt x="19" y="2"/>
                    <a:pt x="0" y="0"/>
                  </a:cubicBezTo>
                  <a:cubicBezTo>
                    <a:pt x="0" y="64"/>
                    <a:pt x="0" y="64"/>
                    <a:pt x="0" y="64"/>
                  </a:cubicBezTo>
                  <a:cubicBezTo>
                    <a:pt x="0" y="64"/>
                    <a:pt x="0" y="65"/>
                    <a:pt x="0" y="66"/>
                  </a:cubicBezTo>
                  <a:cubicBezTo>
                    <a:pt x="1" y="66"/>
                    <a:pt x="3" y="66"/>
                    <a:pt x="4" y="67"/>
                  </a:cubicBezTo>
                  <a:cubicBezTo>
                    <a:pt x="4" y="67"/>
                    <a:pt x="4" y="66"/>
                    <a:pt x="5" y="66"/>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1030"/>
            <p:cNvSpPr>
              <a:spLocks/>
            </p:cNvSpPr>
            <p:nvPr/>
          </p:nvSpPr>
          <p:spPr bwMode="auto">
            <a:xfrm>
              <a:off x="917" y="4183"/>
              <a:ext cx="33" cy="44"/>
            </a:xfrm>
            <a:custGeom>
              <a:avLst/>
              <a:gdLst>
                <a:gd name="T0" fmla="*/ 45 w 49"/>
                <a:gd name="T1" fmla="*/ 2 h 67"/>
                <a:gd name="T2" fmla="*/ 0 w 49"/>
                <a:gd name="T3" fmla="*/ 47 h 67"/>
                <a:gd name="T4" fmla="*/ 49 w 49"/>
                <a:gd name="T5" fmla="*/ 67 h 67"/>
                <a:gd name="T6" fmla="*/ 49 w 49"/>
                <a:gd name="T7" fmla="*/ 4 h 67"/>
                <a:gd name="T8" fmla="*/ 49 w 49"/>
                <a:gd name="T9" fmla="*/ 2 h 67"/>
                <a:gd name="T10" fmla="*/ 46 w 49"/>
                <a:gd name="T11" fmla="*/ 0 h 67"/>
                <a:gd name="T12" fmla="*/ 45 w 49"/>
                <a:gd name="T13" fmla="*/ 2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5" y="2"/>
                  </a:moveTo>
                  <a:cubicBezTo>
                    <a:pt x="0" y="47"/>
                    <a:pt x="0" y="47"/>
                    <a:pt x="0" y="47"/>
                  </a:cubicBezTo>
                  <a:cubicBezTo>
                    <a:pt x="14" y="58"/>
                    <a:pt x="31" y="65"/>
                    <a:pt x="49" y="67"/>
                  </a:cubicBezTo>
                  <a:cubicBezTo>
                    <a:pt x="49" y="4"/>
                    <a:pt x="49" y="4"/>
                    <a:pt x="49" y="4"/>
                  </a:cubicBezTo>
                  <a:cubicBezTo>
                    <a:pt x="49" y="3"/>
                    <a:pt x="49" y="2"/>
                    <a:pt x="49" y="2"/>
                  </a:cubicBezTo>
                  <a:cubicBezTo>
                    <a:pt x="48" y="1"/>
                    <a:pt x="47" y="1"/>
                    <a:pt x="46" y="0"/>
                  </a:cubicBezTo>
                  <a:cubicBezTo>
                    <a:pt x="45" y="1"/>
                    <a:pt x="45" y="1"/>
                    <a:pt x="45" y="2"/>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1031"/>
            <p:cNvSpPr>
              <a:spLocks/>
            </p:cNvSpPr>
            <p:nvPr/>
          </p:nvSpPr>
          <p:spPr bwMode="auto">
            <a:xfrm>
              <a:off x="976" y="4171"/>
              <a:ext cx="44" cy="33"/>
            </a:xfrm>
            <a:custGeom>
              <a:avLst/>
              <a:gdLst>
                <a:gd name="T0" fmla="*/ 2 w 67"/>
                <a:gd name="T1" fmla="*/ 0 h 50"/>
                <a:gd name="T2" fmla="*/ 0 w 67"/>
                <a:gd name="T3" fmla="*/ 4 h 50"/>
                <a:gd name="T4" fmla="*/ 2 w 67"/>
                <a:gd name="T5" fmla="*/ 5 h 50"/>
                <a:gd name="T6" fmla="*/ 47 w 67"/>
                <a:gd name="T7" fmla="*/ 50 h 50"/>
                <a:gd name="T8" fmla="*/ 67 w 67"/>
                <a:gd name="T9" fmla="*/ 0 h 50"/>
                <a:gd name="T10" fmla="*/ 4 w 67"/>
                <a:gd name="T11" fmla="*/ 0 h 50"/>
                <a:gd name="T12" fmla="*/ 2 w 67"/>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2" y="0"/>
                  </a:moveTo>
                  <a:cubicBezTo>
                    <a:pt x="1" y="1"/>
                    <a:pt x="1" y="2"/>
                    <a:pt x="0" y="4"/>
                  </a:cubicBezTo>
                  <a:cubicBezTo>
                    <a:pt x="1" y="4"/>
                    <a:pt x="1" y="4"/>
                    <a:pt x="2" y="5"/>
                  </a:cubicBezTo>
                  <a:cubicBezTo>
                    <a:pt x="47" y="50"/>
                    <a:pt x="47" y="50"/>
                    <a:pt x="47" y="50"/>
                  </a:cubicBezTo>
                  <a:cubicBezTo>
                    <a:pt x="58" y="36"/>
                    <a:pt x="65" y="19"/>
                    <a:pt x="67" y="0"/>
                  </a:cubicBezTo>
                  <a:cubicBezTo>
                    <a:pt x="4" y="0"/>
                    <a:pt x="4" y="0"/>
                    <a:pt x="4" y="0"/>
                  </a:cubicBezTo>
                  <a:cubicBezTo>
                    <a:pt x="3" y="0"/>
                    <a:pt x="2" y="0"/>
                    <a:pt x="2"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Oval 1032"/>
            <p:cNvSpPr>
              <a:spLocks noChangeArrowheads="1"/>
            </p:cNvSpPr>
            <p:nvPr/>
          </p:nvSpPr>
          <p:spPr bwMode="auto">
            <a:xfrm>
              <a:off x="950" y="4157"/>
              <a:ext cx="14" cy="14"/>
            </a:xfrm>
            <a:prstGeom prst="ellipse">
              <a:avLst/>
            </a:pr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1033"/>
            <p:cNvSpPr>
              <a:spLocks noEditPoints="1"/>
            </p:cNvSpPr>
            <p:nvPr/>
          </p:nvSpPr>
          <p:spPr bwMode="auto">
            <a:xfrm>
              <a:off x="787" y="399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2 w 512"/>
                <a:gd name="T13" fmla="*/ 266 h 512"/>
                <a:gd name="T14" fmla="*/ 346 w 512"/>
                <a:gd name="T15" fmla="*/ 331 h 512"/>
                <a:gd name="T16" fmla="*/ 370 w 512"/>
                <a:gd name="T17" fmla="*/ 355 h 512"/>
                <a:gd name="T18" fmla="*/ 370 w 512"/>
                <a:gd name="T19" fmla="*/ 370 h 512"/>
                <a:gd name="T20" fmla="*/ 362 w 512"/>
                <a:gd name="T21" fmla="*/ 373 h 512"/>
                <a:gd name="T22" fmla="*/ 355 w 512"/>
                <a:gd name="T23" fmla="*/ 370 h 512"/>
                <a:gd name="T24" fmla="*/ 331 w 512"/>
                <a:gd name="T25" fmla="*/ 346 h 512"/>
                <a:gd name="T26" fmla="*/ 266 w 512"/>
                <a:gd name="T27" fmla="*/ 372 h 512"/>
                <a:gd name="T28" fmla="*/ 266 w 512"/>
                <a:gd name="T29" fmla="*/ 405 h 512"/>
                <a:gd name="T30" fmla="*/ 256 w 512"/>
                <a:gd name="T31" fmla="*/ 416 h 512"/>
                <a:gd name="T32" fmla="*/ 245 w 512"/>
                <a:gd name="T33" fmla="*/ 405 h 512"/>
                <a:gd name="T34" fmla="*/ 245 w 512"/>
                <a:gd name="T35" fmla="*/ 372 h 512"/>
                <a:gd name="T36" fmla="*/ 181 w 512"/>
                <a:gd name="T37" fmla="*/ 346 h 512"/>
                <a:gd name="T38" fmla="*/ 157 w 512"/>
                <a:gd name="T39" fmla="*/ 370 h 512"/>
                <a:gd name="T40" fmla="*/ 149 w 512"/>
                <a:gd name="T41" fmla="*/ 373 h 512"/>
                <a:gd name="T42" fmla="*/ 141 w 512"/>
                <a:gd name="T43" fmla="*/ 370 h 512"/>
                <a:gd name="T44" fmla="*/ 141 w 512"/>
                <a:gd name="T45" fmla="*/ 355 h 512"/>
                <a:gd name="T46" fmla="*/ 166 w 512"/>
                <a:gd name="T47" fmla="*/ 331 h 512"/>
                <a:gd name="T48" fmla="*/ 139 w 512"/>
                <a:gd name="T49" fmla="*/ 266 h 512"/>
                <a:gd name="T50" fmla="*/ 106 w 512"/>
                <a:gd name="T51" fmla="*/ 266 h 512"/>
                <a:gd name="T52" fmla="*/ 96 w 512"/>
                <a:gd name="T53" fmla="*/ 256 h 512"/>
                <a:gd name="T54" fmla="*/ 106 w 512"/>
                <a:gd name="T55" fmla="*/ 245 h 512"/>
                <a:gd name="T56" fmla="*/ 139 w 512"/>
                <a:gd name="T57" fmla="*/ 245 h 512"/>
                <a:gd name="T58" fmla="*/ 166 w 512"/>
                <a:gd name="T59" fmla="*/ 181 h 512"/>
                <a:gd name="T60" fmla="*/ 141 w 512"/>
                <a:gd name="T61" fmla="*/ 157 h 512"/>
                <a:gd name="T62" fmla="*/ 141 w 512"/>
                <a:gd name="T63" fmla="*/ 141 h 512"/>
                <a:gd name="T64" fmla="*/ 157 w 512"/>
                <a:gd name="T65" fmla="*/ 141 h 512"/>
                <a:gd name="T66" fmla="*/ 181 w 512"/>
                <a:gd name="T67" fmla="*/ 166 h 512"/>
                <a:gd name="T68" fmla="*/ 245 w 512"/>
                <a:gd name="T69" fmla="*/ 139 h 512"/>
                <a:gd name="T70" fmla="*/ 245 w 512"/>
                <a:gd name="T71" fmla="*/ 106 h 512"/>
                <a:gd name="T72" fmla="*/ 256 w 512"/>
                <a:gd name="T73" fmla="*/ 96 h 512"/>
                <a:gd name="T74" fmla="*/ 266 w 512"/>
                <a:gd name="T75" fmla="*/ 106 h 512"/>
                <a:gd name="T76" fmla="*/ 266 w 512"/>
                <a:gd name="T77" fmla="*/ 139 h 512"/>
                <a:gd name="T78" fmla="*/ 331 w 512"/>
                <a:gd name="T79" fmla="*/ 166 h 512"/>
                <a:gd name="T80" fmla="*/ 355 w 512"/>
                <a:gd name="T81" fmla="*/ 141 h 512"/>
                <a:gd name="T82" fmla="*/ 370 w 512"/>
                <a:gd name="T83" fmla="*/ 141 h 512"/>
                <a:gd name="T84" fmla="*/ 370 w 512"/>
                <a:gd name="T85" fmla="*/ 157 h 512"/>
                <a:gd name="T86" fmla="*/ 346 w 512"/>
                <a:gd name="T87" fmla="*/ 181 h 512"/>
                <a:gd name="T88" fmla="*/ 372 w 512"/>
                <a:gd name="T89" fmla="*/ 245 h 512"/>
                <a:gd name="T90" fmla="*/ 405 w 512"/>
                <a:gd name="T91" fmla="*/ 245 h 512"/>
                <a:gd name="T92" fmla="*/ 416 w 512"/>
                <a:gd name="T93" fmla="*/ 256 h 512"/>
                <a:gd name="T94" fmla="*/ 405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2" y="266"/>
                    <a:pt x="372" y="266"/>
                    <a:pt x="372" y="266"/>
                  </a:cubicBezTo>
                  <a:cubicBezTo>
                    <a:pt x="370" y="291"/>
                    <a:pt x="361" y="313"/>
                    <a:pt x="346" y="331"/>
                  </a:cubicBezTo>
                  <a:cubicBezTo>
                    <a:pt x="370" y="355"/>
                    <a:pt x="370" y="355"/>
                    <a:pt x="370" y="355"/>
                  </a:cubicBezTo>
                  <a:cubicBezTo>
                    <a:pt x="374" y="359"/>
                    <a:pt x="374" y="366"/>
                    <a:pt x="370" y="370"/>
                  </a:cubicBezTo>
                  <a:cubicBezTo>
                    <a:pt x="368" y="372"/>
                    <a:pt x="365" y="373"/>
                    <a:pt x="362" y="373"/>
                  </a:cubicBezTo>
                  <a:cubicBezTo>
                    <a:pt x="360" y="373"/>
                    <a:pt x="357" y="372"/>
                    <a:pt x="355" y="370"/>
                  </a:cubicBezTo>
                  <a:cubicBezTo>
                    <a:pt x="331" y="346"/>
                    <a:pt x="331" y="346"/>
                    <a:pt x="331" y="346"/>
                  </a:cubicBezTo>
                  <a:cubicBezTo>
                    <a:pt x="313" y="361"/>
                    <a:pt x="291" y="370"/>
                    <a:pt x="266" y="372"/>
                  </a:cubicBezTo>
                  <a:cubicBezTo>
                    <a:pt x="266" y="405"/>
                    <a:pt x="266" y="405"/>
                    <a:pt x="266" y="405"/>
                  </a:cubicBezTo>
                  <a:cubicBezTo>
                    <a:pt x="266" y="411"/>
                    <a:pt x="262" y="416"/>
                    <a:pt x="256" y="416"/>
                  </a:cubicBezTo>
                  <a:cubicBezTo>
                    <a:pt x="250" y="416"/>
                    <a:pt x="245" y="411"/>
                    <a:pt x="245" y="405"/>
                  </a:cubicBezTo>
                  <a:cubicBezTo>
                    <a:pt x="245" y="372"/>
                    <a:pt x="245" y="372"/>
                    <a:pt x="245" y="372"/>
                  </a:cubicBezTo>
                  <a:cubicBezTo>
                    <a:pt x="221" y="370"/>
                    <a:pt x="198" y="361"/>
                    <a:pt x="181" y="346"/>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66" y="331"/>
                    <a:pt x="166" y="331"/>
                    <a:pt x="166" y="331"/>
                  </a:cubicBezTo>
                  <a:cubicBezTo>
                    <a:pt x="151" y="313"/>
                    <a:pt x="141" y="291"/>
                    <a:pt x="139" y="266"/>
                  </a:cubicBezTo>
                  <a:cubicBezTo>
                    <a:pt x="106" y="266"/>
                    <a:pt x="106" y="266"/>
                    <a:pt x="106" y="266"/>
                  </a:cubicBezTo>
                  <a:cubicBezTo>
                    <a:pt x="100" y="266"/>
                    <a:pt x="96" y="262"/>
                    <a:pt x="96" y="256"/>
                  </a:cubicBezTo>
                  <a:cubicBezTo>
                    <a:pt x="96" y="250"/>
                    <a:pt x="100" y="245"/>
                    <a:pt x="106" y="245"/>
                  </a:cubicBezTo>
                  <a:cubicBezTo>
                    <a:pt x="139" y="245"/>
                    <a:pt x="139" y="245"/>
                    <a:pt x="139" y="245"/>
                  </a:cubicBezTo>
                  <a:cubicBezTo>
                    <a:pt x="141" y="221"/>
                    <a:pt x="151" y="198"/>
                    <a:pt x="166" y="181"/>
                  </a:cubicBezTo>
                  <a:cubicBezTo>
                    <a:pt x="141" y="157"/>
                    <a:pt x="141" y="157"/>
                    <a:pt x="141" y="157"/>
                  </a:cubicBezTo>
                  <a:cubicBezTo>
                    <a:pt x="137" y="152"/>
                    <a:pt x="137" y="146"/>
                    <a:pt x="141" y="141"/>
                  </a:cubicBezTo>
                  <a:cubicBezTo>
                    <a:pt x="146" y="137"/>
                    <a:pt x="152" y="137"/>
                    <a:pt x="157" y="141"/>
                  </a:cubicBezTo>
                  <a:cubicBezTo>
                    <a:pt x="181" y="166"/>
                    <a:pt x="181" y="166"/>
                    <a:pt x="181" y="166"/>
                  </a:cubicBezTo>
                  <a:cubicBezTo>
                    <a:pt x="198" y="151"/>
                    <a:pt x="221" y="141"/>
                    <a:pt x="245" y="139"/>
                  </a:cubicBezTo>
                  <a:cubicBezTo>
                    <a:pt x="245" y="106"/>
                    <a:pt x="245" y="106"/>
                    <a:pt x="245" y="106"/>
                  </a:cubicBezTo>
                  <a:cubicBezTo>
                    <a:pt x="245" y="100"/>
                    <a:pt x="250" y="96"/>
                    <a:pt x="256" y="96"/>
                  </a:cubicBezTo>
                  <a:cubicBezTo>
                    <a:pt x="262" y="96"/>
                    <a:pt x="266" y="100"/>
                    <a:pt x="266" y="106"/>
                  </a:cubicBezTo>
                  <a:cubicBezTo>
                    <a:pt x="266" y="139"/>
                    <a:pt x="266" y="139"/>
                    <a:pt x="266" y="139"/>
                  </a:cubicBezTo>
                  <a:cubicBezTo>
                    <a:pt x="291" y="141"/>
                    <a:pt x="313" y="151"/>
                    <a:pt x="331" y="166"/>
                  </a:cubicBezTo>
                  <a:cubicBezTo>
                    <a:pt x="355" y="141"/>
                    <a:pt x="355" y="141"/>
                    <a:pt x="355" y="141"/>
                  </a:cubicBezTo>
                  <a:cubicBezTo>
                    <a:pt x="359" y="137"/>
                    <a:pt x="366" y="137"/>
                    <a:pt x="370" y="141"/>
                  </a:cubicBezTo>
                  <a:cubicBezTo>
                    <a:pt x="374" y="146"/>
                    <a:pt x="374" y="152"/>
                    <a:pt x="370" y="157"/>
                  </a:cubicBezTo>
                  <a:cubicBezTo>
                    <a:pt x="346" y="181"/>
                    <a:pt x="346" y="181"/>
                    <a:pt x="346" y="181"/>
                  </a:cubicBezTo>
                  <a:cubicBezTo>
                    <a:pt x="361" y="198"/>
                    <a:pt x="370" y="221"/>
                    <a:pt x="372"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1034"/>
            <p:cNvSpPr>
              <a:spLocks/>
            </p:cNvSpPr>
            <p:nvPr/>
          </p:nvSpPr>
          <p:spPr bwMode="auto">
            <a:xfrm>
              <a:off x="976" y="4124"/>
              <a:ext cx="44" cy="33"/>
            </a:xfrm>
            <a:custGeom>
              <a:avLst/>
              <a:gdLst>
                <a:gd name="T0" fmla="*/ 2 w 67"/>
                <a:gd name="T1" fmla="*/ 45 h 49"/>
                <a:gd name="T2" fmla="*/ 0 w 67"/>
                <a:gd name="T3" fmla="*/ 46 h 49"/>
                <a:gd name="T4" fmla="*/ 2 w 67"/>
                <a:gd name="T5" fmla="*/ 49 h 49"/>
                <a:gd name="T6" fmla="*/ 4 w 67"/>
                <a:gd name="T7" fmla="*/ 49 h 49"/>
                <a:gd name="T8" fmla="*/ 67 w 67"/>
                <a:gd name="T9" fmla="*/ 49 h 49"/>
                <a:gd name="T10" fmla="*/ 47 w 67"/>
                <a:gd name="T11" fmla="*/ 0 h 49"/>
                <a:gd name="T12" fmla="*/ 2 w 67"/>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2" y="45"/>
                  </a:moveTo>
                  <a:cubicBezTo>
                    <a:pt x="1" y="45"/>
                    <a:pt x="1" y="45"/>
                    <a:pt x="0" y="46"/>
                  </a:cubicBezTo>
                  <a:cubicBezTo>
                    <a:pt x="1" y="47"/>
                    <a:pt x="1" y="48"/>
                    <a:pt x="2" y="49"/>
                  </a:cubicBezTo>
                  <a:cubicBezTo>
                    <a:pt x="2" y="49"/>
                    <a:pt x="3" y="49"/>
                    <a:pt x="4" y="49"/>
                  </a:cubicBezTo>
                  <a:cubicBezTo>
                    <a:pt x="67" y="49"/>
                    <a:pt x="67" y="49"/>
                    <a:pt x="67" y="49"/>
                  </a:cubicBezTo>
                  <a:cubicBezTo>
                    <a:pt x="65" y="31"/>
                    <a:pt x="58" y="14"/>
                    <a:pt x="47" y="0"/>
                  </a:cubicBezTo>
                  <a:lnTo>
                    <a:pt x="2" y="45"/>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1035"/>
            <p:cNvSpPr>
              <a:spLocks/>
            </p:cNvSpPr>
            <p:nvPr/>
          </p:nvSpPr>
          <p:spPr bwMode="auto">
            <a:xfrm>
              <a:off x="964" y="4183"/>
              <a:ext cx="33" cy="44"/>
            </a:xfrm>
            <a:custGeom>
              <a:avLst/>
              <a:gdLst>
                <a:gd name="T0" fmla="*/ 4 w 50"/>
                <a:gd name="T1" fmla="*/ 0 h 67"/>
                <a:gd name="T2" fmla="*/ 0 w 50"/>
                <a:gd name="T3" fmla="*/ 2 h 67"/>
                <a:gd name="T4" fmla="*/ 0 w 50"/>
                <a:gd name="T5" fmla="*/ 4 h 67"/>
                <a:gd name="T6" fmla="*/ 0 w 50"/>
                <a:gd name="T7" fmla="*/ 67 h 67"/>
                <a:gd name="T8" fmla="*/ 50 w 50"/>
                <a:gd name="T9" fmla="*/ 47 h 67"/>
                <a:gd name="T10" fmla="*/ 5 w 50"/>
                <a:gd name="T11" fmla="*/ 2 h 67"/>
                <a:gd name="T12" fmla="*/ 4 w 50"/>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4" y="0"/>
                  </a:moveTo>
                  <a:cubicBezTo>
                    <a:pt x="3" y="1"/>
                    <a:pt x="1" y="1"/>
                    <a:pt x="0" y="2"/>
                  </a:cubicBezTo>
                  <a:cubicBezTo>
                    <a:pt x="0" y="2"/>
                    <a:pt x="0" y="3"/>
                    <a:pt x="0" y="4"/>
                  </a:cubicBezTo>
                  <a:cubicBezTo>
                    <a:pt x="0" y="67"/>
                    <a:pt x="0" y="67"/>
                    <a:pt x="0" y="67"/>
                  </a:cubicBezTo>
                  <a:cubicBezTo>
                    <a:pt x="19" y="65"/>
                    <a:pt x="36" y="58"/>
                    <a:pt x="50" y="47"/>
                  </a:cubicBezTo>
                  <a:cubicBezTo>
                    <a:pt x="5" y="2"/>
                    <a:pt x="5" y="2"/>
                    <a:pt x="5" y="2"/>
                  </a:cubicBezTo>
                  <a:cubicBezTo>
                    <a:pt x="4" y="1"/>
                    <a:pt x="4" y="1"/>
                    <a:pt x="4"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4" name="Group 374"/>
          <p:cNvGrpSpPr>
            <a:grpSpLocks noChangeAspect="1"/>
          </p:cNvGrpSpPr>
          <p:nvPr/>
        </p:nvGrpSpPr>
        <p:grpSpPr bwMode="auto">
          <a:xfrm>
            <a:off x="4464573" y="2546474"/>
            <a:ext cx="576000" cy="576000"/>
            <a:chOff x="6996" y="1195"/>
            <a:chExt cx="340" cy="340"/>
          </a:xfrm>
          <a:solidFill>
            <a:schemeClr val="bg1"/>
          </a:solidFill>
        </p:grpSpPr>
        <p:sp>
          <p:nvSpPr>
            <p:cNvPr id="55" name="Freeform 375"/>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376"/>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377"/>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 name="Freeform 113"/>
          <p:cNvSpPr>
            <a:spLocks noChangeAspect="1" noEditPoints="1"/>
          </p:cNvSpPr>
          <p:nvPr/>
        </p:nvSpPr>
        <p:spPr bwMode="auto">
          <a:xfrm>
            <a:off x="5887795" y="1577635"/>
            <a:ext cx="576134" cy="576000"/>
          </a:xfrm>
          <a:custGeom>
            <a:avLst/>
            <a:gdLst>
              <a:gd name="T0" fmla="*/ 0 w 512"/>
              <a:gd name="T1" fmla="*/ 256 h 512"/>
              <a:gd name="T2" fmla="*/ 512 w 512"/>
              <a:gd name="T3" fmla="*/ 256 h 512"/>
              <a:gd name="T4" fmla="*/ 192 w 512"/>
              <a:gd name="T5" fmla="*/ 160 h 512"/>
              <a:gd name="T6" fmla="*/ 216 w 512"/>
              <a:gd name="T7" fmla="*/ 170 h 512"/>
              <a:gd name="T8" fmla="*/ 253 w 512"/>
              <a:gd name="T9" fmla="*/ 170 h 512"/>
              <a:gd name="T10" fmla="*/ 320 w 512"/>
              <a:gd name="T11" fmla="*/ 160 h 512"/>
              <a:gd name="T12" fmla="*/ 320 w 512"/>
              <a:gd name="T13" fmla="*/ 202 h 512"/>
              <a:gd name="T14" fmla="*/ 253 w 512"/>
              <a:gd name="T15" fmla="*/ 192 h 512"/>
              <a:gd name="T16" fmla="*/ 216 w 512"/>
              <a:gd name="T17" fmla="*/ 192 h 512"/>
              <a:gd name="T18" fmla="*/ 192 w 512"/>
              <a:gd name="T19" fmla="*/ 202 h 512"/>
              <a:gd name="T20" fmla="*/ 192 w 512"/>
              <a:gd name="T21" fmla="*/ 160 h 512"/>
              <a:gd name="T22" fmla="*/ 210 w 512"/>
              <a:gd name="T23" fmla="*/ 245 h 512"/>
              <a:gd name="T24" fmla="*/ 277 w 512"/>
              <a:gd name="T25" fmla="*/ 234 h 512"/>
              <a:gd name="T26" fmla="*/ 301 w 512"/>
              <a:gd name="T27" fmla="*/ 245 h 512"/>
              <a:gd name="T28" fmla="*/ 341 w 512"/>
              <a:gd name="T29" fmla="*/ 256 h 512"/>
              <a:gd name="T30" fmla="*/ 301 w 512"/>
              <a:gd name="T31" fmla="*/ 266 h 512"/>
              <a:gd name="T32" fmla="*/ 277 w 512"/>
              <a:gd name="T33" fmla="*/ 277 h 512"/>
              <a:gd name="T34" fmla="*/ 210 w 512"/>
              <a:gd name="T35" fmla="*/ 266 h 512"/>
              <a:gd name="T36" fmla="*/ 170 w 512"/>
              <a:gd name="T37" fmla="*/ 256 h 512"/>
              <a:gd name="T38" fmla="*/ 192 w 512"/>
              <a:gd name="T39" fmla="*/ 309 h 512"/>
              <a:gd name="T40" fmla="*/ 237 w 512"/>
              <a:gd name="T41" fmla="*/ 320 h 512"/>
              <a:gd name="T42" fmla="*/ 274 w 512"/>
              <a:gd name="T43" fmla="*/ 320 h 512"/>
              <a:gd name="T44" fmla="*/ 320 w 512"/>
              <a:gd name="T45" fmla="*/ 309 h 512"/>
              <a:gd name="T46" fmla="*/ 320 w 512"/>
              <a:gd name="T47" fmla="*/ 352 h 512"/>
              <a:gd name="T48" fmla="*/ 274 w 512"/>
              <a:gd name="T49" fmla="*/ 341 h 512"/>
              <a:gd name="T50" fmla="*/ 237 w 512"/>
              <a:gd name="T51" fmla="*/ 341 h 512"/>
              <a:gd name="T52" fmla="*/ 192 w 512"/>
              <a:gd name="T53" fmla="*/ 352 h 512"/>
              <a:gd name="T54" fmla="*/ 192 w 512"/>
              <a:gd name="T55" fmla="*/ 309 h 512"/>
              <a:gd name="T56" fmla="*/ 128 w 512"/>
              <a:gd name="T57" fmla="*/ 394 h 512"/>
              <a:gd name="T58" fmla="*/ 128 w 512"/>
              <a:gd name="T59" fmla="*/ 373 h 512"/>
              <a:gd name="T60" fmla="*/ 138 w 512"/>
              <a:gd name="T61" fmla="*/ 117 h 512"/>
              <a:gd name="T62" fmla="*/ 149 w 512"/>
              <a:gd name="T63" fmla="*/ 373 h 512"/>
              <a:gd name="T64" fmla="*/ 362 w 512"/>
              <a:gd name="T65" fmla="*/ 128 h 512"/>
              <a:gd name="T66" fmla="*/ 384 w 512"/>
              <a:gd name="T67" fmla="*/ 128 h 512"/>
              <a:gd name="T68" fmla="*/ 394 w 512"/>
              <a:gd name="T6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160"/>
                </a:moveTo>
                <a:cubicBezTo>
                  <a:pt x="200" y="160"/>
                  <a:pt x="206" y="164"/>
                  <a:pt x="210" y="170"/>
                </a:cubicBezTo>
                <a:cubicBezTo>
                  <a:pt x="216" y="170"/>
                  <a:pt x="216" y="170"/>
                  <a:pt x="216" y="170"/>
                </a:cubicBezTo>
                <a:cubicBezTo>
                  <a:pt x="220" y="164"/>
                  <a:pt x="226" y="160"/>
                  <a:pt x="234" y="160"/>
                </a:cubicBezTo>
                <a:cubicBezTo>
                  <a:pt x="242" y="160"/>
                  <a:pt x="249" y="164"/>
                  <a:pt x="253" y="170"/>
                </a:cubicBezTo>
                <a:cubicBezTo>
                  <a:pt x="301" y="170"/>
                  <a:pt x="301" y="170"/>
                  <a:pt x="301" y="170"/>
                </a:cubicBezTo>
                <a:cubicBezTo>
                  <a:pt x="305" y="164"/>
                  <a:pt x="312" y="160"/>
                  <a:pt x="320" y="160"/>
                </a:cubicBezTo>
                <a:cubicBezTo>
                  <a:pt x="331" y="160"/>
                  <a:pt x="341" y="169"/>
                  <a:pt x="341" y="181"/>
                </a:cubicBezTo>
                <a:cubicBezTo>
                  <a:pt x="341" y="193"/>
                  <a:pt x="331" y="202"/>
                  <a:pt x="320" y="202"/>
                </a:cubicBezTo>
                <a:cubicBezTo>
                  <a:pt x="312" y="202"/>
                  <a:pt x="305" y="198"/>
                  <a:pt x="301" y="192"/>
                </a:cubicBezTo>
                <a:cubicBezTo>
                  <a:pt x="253" y="192"/>
                  <a:pt x="253" y="192"/>
                  <a:pt x="253" y="192"/>
                </a:cubicBezTo>
                <a:cubicBezTo>
                  <a:pt x="249" y="198"/>
                  <a:pt x="242" y="202"/>
                  <a:pt x="234" y="202"/>
                </a:cubicBezTo>
                <a:cubicBezTo>
                  <a:pt x="226" y="202"/>
                  <a:pt x="220" y="198"/>
                  <a:pt x="216" y="192"/>
                </a:cubicBezTo>
                <a:cubicBezTo>
                  <a:pt x="210" y="192"/>
                  <a:pt x="210" y="192"/>
                  <a:pt x="210" y="192"/>
                </a:cubicBezTo>
                <a:cubicBezTo>
                  <a:pt x="206" y="198"/>
                  <a:pt x="200" y="202"/>
                  <a:pt x="192" y="202"/>
                </a:cubicBezTo>
                <a:cubicBezTo>
                  <a:pt x="180" y="202"/>
                  <a:pt x="170" y="193"/>
                  <a:pt x="170" y="181"/>
                </a:cubicBezTo>
                <a:cubicBezTo>
                  <a:pt x="170" y="169"/>
                  <a:pt x="180" y="160"/>
                  <a:pt x="192" y="160"/>
                </a:cubicBezTo>
                <a:close/>
                <a:moveTo>
                  <a:pt x="192" y="234"/>
                </a:moveTo>
                <a:cubicBezTo>
                  <a:pt x="200" y="234"/>
                  <a:pt x="206" y="239"/>
                  <a:pt x="210" y="245"/>
                </a:cubicBezTo>
                <a:cubicBezTo>
                  <a:pt x="259" y="245"/>
                  <a:pt x="259" y="245"/>
                  <a:pt x="259" y="245"/>
                </a:cubicBezTo>
                <a:cubicBezTo>
                  <a:pt x="262" y="239"/>
                  <a:pt x="269" y="234"/>
                  <a:pt x="277" y="234"/>
                </a:cubicBezTo>
                <a:cubicBezTo>
                  <a:pt x="285" y="234"/>
                  <a:pt x="292" y="239"/>
                  <a:pt x="295" y="245"/>
                </a:cubicBezTo>
                <a:cubicBezTo>
                  <a:pt x="301" y="245"/>
                  <a:pt x="301" y="245"/>
                  <a:pt x="301" y="245"/>
                </a:cubicBezTo>
                <a:cubicBezTo>
                  <a:pt x="305" y="239"/>
                  <a:pt x="312" y="234"/>
                  <a:pt x="320" y="234"/>
                </a:cubicBezTo>
                <a:cubicBezTo>
                  <a:pt x="331" y="234"/>
                  <a:pt x="341" y="244"/>
                  <a:pt x="341" y="256"/>
                </a:cubicBezTo>
                <a:cubicBezTo>
                  <a:pt x="341" y="267"/>
                  <a:pt x="331" y="277"/>
                  <a:pt x="320" y="277"/>
                </a:cubicBezTo>
                <a:cubicBezTo>
                  <a:pt x="312" y="277"/>
                  <a:pt x="305" y="273"/>
                  <a:pt x="301" y="266"/>
                </a:cubicBezTo>
                <a:cubicBezTo>
                  <a:pt x="295" y="266"/>
                  <a:pt x="295" y="266"/>
                  <a:pt x="295" y="266"/>
                </a:cubicBezTo>
                <a:cubicBezTo>
                  <a:pt x="292" y="273"/>
                  <a:pt x="285" y="277"/>
                  <a:pt x="277" y="277"/>
                </a:cubicBezTo>
                <a:cubicBezTo>
                  <a:pt x="269" y="277"/>
                  <a:pt x="262" y="273"/>
                  <a:pt x="259" y="266"/>
                </a:cubicBezTo>
                <a:cubicBezTo>
                  <a:pt x="210" y="266"/>
                  <a:pt x="210" y="266"/>
                  <a:pt x="210" y="266"/>
                </a:cubicBezTo>
                <a:cubicBezTo>
                  <a:pt x="206" y="273"/>
                  <a:pt x="200" y="277"/>
                  <a:pt x="192" y="277"/>
                </a:cubicBezTo>
                <a:cubicBezTo>
                  <a:pt x="180" y="277"/>
                  <a:pt x="170" y="267"/>
                  <a:pt x="170" y="256"/>
                </a:cubicBezTo>
                <a:cubicBezTo>
                  <a:pt x="170" y="244"/>
                  <a:pt x="180" y="234"/>
                  <a:pt x="192" y="234"/>
                </a:cubicBezTo>
                <a:close/>
                <a:moveTo>
                  <a:pt x="192" y="309"/>
                </a:moveTo>
                <a:cubicBezTo>
                  <a:pt x="200" y="309"/>
                  <a:pt x="206" y="313"/>
                  <a:pt x="210" y="320"/>
                </a:cubicBezTo>
                <a:cubicBezTo>
                  <a:pt x="237" y="320"/>
                  <a:pt x="237" y="320"/>
                  <a:pt x="237" y="320"/>
                </a:cubicBezTo>
                <a:cubicBezTo>
                  <a:pt x="241" y="313"/>
                  <a:pt x="248" y="309"/>
                  <a:pt x="256" y="309"/>
                </a:cubicBezTo>
                <a:cubicBezTo>
                  <a:pt x="264" y="309"/>
                  <a:pt x="270" y="313"/>
                  <a:pt x="274" y="320"/>
                </a:cubicBezTo>
                <a:cubicBezTo>
                  <a:pt x="301" y="320"/>
                  <a:pt x="301" y="320"/>
                  <a:pt x="301" y="320"/>
                </a:cubicBezTo>
                <a:cubicBezTo>
                  <a:pt x="305" y="313"/>
                  <a:pt x="312" y="309"/>
                  <a:pt x="320" y="309"/>
                </a:cubicBezTo>
                <a:cubicBezTo>
                  <a:pt x="331" y="309"/>
                  <a:pt x="341" y="319"/>
                  <a:pt x="341" y="330"/>
                </a:cubicBezTo>
                <a:cubicBezTo>
                  <a:pt x="341" y="342"/>
                  <a:pt x="331" y="352"/>
                  <a:pt x="320" y="352"/>
                </a:cubicBezTo>
                <a:cubicBezTo>
                  <a:pt x="312" y="352"/>
                  <a:pt x="305" y="347"/>
                  <a:pt x="301" y="341"/>
                </a:cubicBezTo>
                <a:cubicBezTo>
                  <a:pt x="274" y="341"/>
                  <a:pt x="274" y="341"/>
                  <a:pt x="274" y="341"/>
                </a:cubicBezTo>
                <a:cubicBezTo>
                  <a:pt x="270" y="347"/>
                  <a:pt x="264" y="352"/>
                  <a:pt x="256" y="352"/>
                </a:cubicBezTo>
                <a:cubicBezTo>
                  <a:pt x="248" y="352"/>
                  <a:pt x="241" y="347"/>
                  <a:pt x="237" y="341"/>
                </a:cubicBezTo>
                <a:cubicBezTo>
                  <a:pt x="210" y="341"/>
                  <a:pt x="210" y="341"/>
                  <a:pt x="210" y="341"/>
                </a:cubicBezTo>
                <a:cubicBezTo>
                  <a:pt x="206" y="347"/>
                  <a:pt x="200" y="352"/>
                  <a:pt x="192" y="352"/>
                </a:cubicBezTo>
                <a:cubicBezTo>
                  <a:pt x="180" y="352"/>
                  <a:pt x="170" y="342"/>
                  <a:pt x="170" y="330"/>
                </a:cubicBezTo>
                <a:cubicBezTo>
                  <a:pt x="170" y="319"/>
                  <a:pt x="180" y="309"/>
                  <a:pt x="192" y="309"/>
                </a:cubicBezTo>
                <a:close/>
                <a:moveTo>
                  <a:pt x="384" y="394"/>
                </a:moveTo>
                <a:cubicBezTo>
                  <a:pt x="128" y="394"/>
                  <a:pt x="128" y="394"/>
                  <a:pt x="128" y="394"/>
                </a:cubicBezTo>
                <a:cubicBezTo>
                  <a:pt x="122" y="394"/>
                  <a:pt x="117" y="390"/>
                  <a:pt x="117" y="384"/>
                </a:cubicBezTo>
                <a:cubicBezTo>
                  <a:pt x="117" y="378"/>
                  <a:pt x="122" y="373"/>
                  <a:pt x="128" y="373"/>
                </a:cubicBezTo>
                <a:cubicBezTo>
                  <a:pt x="128" y="128"/>
                  <a:pt x="128" y="128"/>
                  <a:pt x="128" y="128"/>
                </a:cubicBezTo>
                <a:cubicBezTo>
                  <a:pt x="128" y="122"/>
                  <a:pt x="132" y="117"/>
                  <a:pt x="138" y="117"/>
                </a:cubicBezTo>
                <a:cubicBezTo>
                  <a:pt x="144" y="117"/>
                  <a:pt x="149" y="122"/>
                  <a:pt x="149" y="128"/>
                </a:cubicBezTo>
                <a:cubicBezTo>
                  <a:pt x="149" y="373"/>
                  <a:pt x="149" y="373"/>
                  <a:pt x="149" y="373"/>
                </a:cubicBezTo>
                <a:cubicBezTo>
                  <a:pt x="362" y="373"/>
                  <a:pt x="362" y="373"/>
                  <a:pt x="362" y="373"/>
                </a:cubicBezTo>
                <a:cubicBezTo>
                  <a:pt x="362" y="128"/>
                  <a:pt x="362" y="128"/>
                  <a:pt x="362" y="128"/>
                </a:cubicBezTo>
                <a:cubicBezTo>
                  <a:pt x="362" y="122"/>
                  <a:pt x="367" y="117"/>
                  <a:pt x="373" y="117"/>
                </a:cubicBezTo>
                <a:cubicBezTo>
                  <a:pt x="379" y="117"/>
                  <a:pt x="384" y="122"/>
                  <a:pt x="384" y="128"/>
                </a:cubicBezTo>
                <a:cubicBezTo>
                  <a:pt x="384" y="373"/>
                  <a:pt x="384" y="373"/>
                  <a:pt x="384" y="373"/>
                </a:cubicBezTo>
                <a:cubicBezTo>
                  <a:pt x="390" y="373"/>
                  <a:pt x="394" y="378"/>
                  <a:pt x="394" y="384"/>
                </a:cubicBezTo>
                <a:cubicBezTo>
                  <a:pt x="394" y="390"/>
                  <a:pt x="390" y="394"/>
                  <a:pt x="384" y="3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323913622"/>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bwMode="gray">
          <a:xfrm>
            <a:off x="469900" y="5220590"/>
            <a:ext cx="11252200" cy="897304"/>
          </a:xfrm>
          <a:prstGeom prst="rect">
            <a:avLst/>
          </a:prstGeom>
          <a:solidFill>
            <a:srgbClr val="D0D0CE">
              <a:alpha val="50000"/>
            </a:srgbClr>
          </a:solidFill>
          <a:ln w="25400" cap="rnd" algn="ctr">
            <a:no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4" name="Rectangle 13"/>
          <p:cNvSpPr/>
          <p:nvPr/>
        </p:nvSpPr>
        <p:spPr>
          <a:xfrm>
            <a:off x="9158052" y="5335004"/>
            <a:ext cx="2368467" cy="661568"/>
          </a:xfrm>
          <a:prstGeom prst="round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nchorCtr="0"/>
          <a:lstStyle/>
          <a:p>
            <a:r>
              <a:rPr lang="en-US" sz="1400" dirty="0">
                <a:solidFill>
                  <a:schemeClr val="bg1"/>
                </a:solidFill>
              </a:rPr>
              <a:t>XXXXX</a:t>
            </a:r>
          </a:p>
        </p:txBody>
      </p:sp>
      <p:sp>
        <p:nvSpPr>
          <p:cNvPr id="87" name="Rectangle 16"/>
          <p:cNvSpPr/>
          <p:nvPr/>
        </p:nvSpPr>
        <p:spPr>
          <a:xfrm>
            <a:off x="693419" y="5335004"/>
            <a:ext cx="2368467" cy="661568"/>
          </a:xfrm>
          <a:prstGeom prst="round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nchorCtr="0"/>
          <a:lstStyle/>
          <a:p>
            <a:r>
              <a:rPr lang="en-US" sz="1400" dirty="0">
                <a:solidFill>
                  <a:schemeClr val="bg1"/>
                </a:solidFill>
              </a:rPr>
              <a:t>XXXXX</a:t>
            </a:r>
          </a:p>
        </p:txBody>
      </p:sp>
      <p:grpSp>
        <p:nvGrpSpPr>
          <p:cNvPr id="249" name="Group 541"/>
          <p:cNvGrpSpPr>
            <a:grpSpLocks noChangeAspect="1"/>
          </p:cNvGrpSpPr>
          <p:nvPr/>
        </p:nvGrpSpPr>
        <p:grpSpPr bwMode="auto">
          <a:xfrm>
            <a:off x="945235" y="5471232"/>
            <a:ext cx="367041" cy="367041"/>
            <a:chOff x="5326" y="2494"/>
            <a:chExt cx="340" cy="340"/>
          </a:xfrm>
          <a:solidFill>
            <a:schemeClr val="bg1"/>
          </a:solidFill>
        </p:grpSpPr>
        <p:sp>
          <p:nvSpPr>
            <p:cNvPr id="250"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1"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5" name="Group 627"/>
          <p:cNvGrpSpPr>
            <a:grpSpLocks noChangeAspect="1"/>
          </p:cNvGrpSpPr>
          <p:nvPr/>
        </p:nvGrpSpPr>
        <p:grpSpPr bwMode="auto">
          <a:xfrm>
            <a:off x="9440546" y="5471232"/>
            <a:ext cx="367982" cy="369064"/>
            <a:chOff x="5295" y="2587"/>
            <a:chExt cx="340" cy="341"/>
          </a:xfrm>
          <a:solidFill>
            <a:schemeClr val="bg1"/>
          </a:solidFill>
        </p:grpSpPr>
        <p:sp>
          <p:nvSpPr>
            <p:cNvPr id="256" name="Freeform 628"/>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7" name="Freeform 629"/>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组合 95"/>
          <p:cNvGrpSpPr/>
          <p:nvPr/>
        </p:nvGrpSpPr>
        <p:grpSpPr>
          <a:xfrm rot="18900373">
            <a:off x="4101993" y="1294471"/>
            <a:ext cx="4049704" cy="4059614"/>
            <a:chOff x="11458575" y="2236788"/>
            <a:chExt cx="649287" cy="650876"/>
          </a:xfrm>
        </p:grpSpPr>
        <p:sp>
          <p:nvSpPr>
            <p:cNvPr id="104" name="Freeform 53"/>
            <p:cNvSpPr>
              <a:spLocks/>
            </p:cNvSpPr>
            <p:nvPr/>
          </p:nvSpPr>
          <p:spPr bwMode="auto">
            <a:xfrm>
              <a:off x="11458575" y="2492376"/>
              <a:ext cx="219075" cy="147638"/>
            </a:xfrm>
            <a:custGeom>
              <a:avLst/>
              <a:gdLst>
                <a:gd name="T0" fmla="*/ 107 w 113"/>
                <a:gd name="T1" fmla="*/ 0 h 76"/>
                <a:gd name="T2" fmla="*/ 54 w 113"/>
                <a:gd name="T3" fmla="*/ 0 h 76"/>
                <a:gd name="T4" fmla="*/ 51 w 113"/>
                <a:gd name="T5" fmla="*/ 2 h 76"/>
                <a:gd name="T6" fmla="*/ 4 w 113"/>
                <a:gd name="T7" fmla="*/ 36 h 76"/>
                <a:gd name="T8" fmla="*/ 3 w 113"/>
                <a:gd name="T9" fmla="*/ 46 h 76"/>
                <a:gd name="T10" fmla="*/ 61 w 113"/>
                <a:gd name="T11" fmla="*/ 75 h 76"/>
                <a:gd name="T12" fmla="*/ 69 w 113"/>
                <a:gd name="T13" fmla="*/ 72 h 76"/>
                <a:gd name="T14" fmla="*/ 111 w 113"/>
                <a:gd name="T15" fmla="*/ 8 h 76"/>
                <a:gd name="T16" fmla="*/ 107 w 113"/>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76">
                  <a:moveTo>
                    <a:pt x="107" y="0"/>
                  </a:moveTo>
                  <a:cubicBezTo>
                    <a:pt x="54" y="0"/>
                    <a:pt x="54" y="0"/>
                    <a:pt x="54" y="0"/>
                  </a:cubicBezTo>
                  <a:cubicBezTo>
                    <a:pt x="53" y="0"/>
                    <a:pt x="52" y="1"/>
                    <a:pt x="51" y="2"/>
                  </a:cubicBezTo>
                  <a:cubicBezTo>
                    <a:pt x="4" y="36"/>
                    <a:pt x="4" y="36"/>
                    <a:pt x="4" y="36"/>
                  </a:cubicBezTo>
                  <a:cubicBezTo>
                    <a:pt x="0" y="39"/>
                    <a:pt x="0" y="44"/>
                    <a:pt x="3" y="46"/>
                  </a:cubicBezTo>
                  <a:cubicBezTo>
                    <a:pt x="61" y="75"/>
                    <a:pt x="61" y="75"/>
                    <a:pt x="61" y="75"/>
                  </a:cubicBezTo>
                  <a:cubicBezTo>
                    <a:pt x="64" y="76"/>
                    <a:pt x="67" y="75"/>
                    <a:pt x="69" y="72"/>
                  </a:cubicBezTo>
                  <a:cubicBezTo>
                    <a:pt x="111" y="8"/>
                    <a:pt x="111" y="8"/>
                    <a:pt x="111" y="8"/>
                  </a:cubicBezTo>
                  <a:cubicBezTo>
                    <a:pt x="113" y="4"/>
                    <a:pt x="111" y="0"/>
                    <a:pt x="107" y="0"/>
                  </a:cubicBezTo>
                  <a:close/>
                </a:path>
              </a:pathLst>
            </a:custGeom>
            <a:solidFill>
              <a:schemeClr val="accent1"/>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54"/>
            <p:cNvSpPr>
              <a:spLocks/>
            </p:cNvSpPr>
            <p:nvPr/>
          </p:nvSpPr>
          <p:spPr bwMode="auto">
            <a:xfrm>
              <a:off x="11706225" y="2667001"/>
              <a:ext cx="147638" cy="220663"/>
            </a:xfrm>
            <a:custGeom>
              <a:avLst/>
              <a:gdLst>
                <a:gd name="T0" fmla="*/ 76 w 76"/>
                <a:gd name="T1" fmla="*/ 7 h 114"/>
                <a:gd name="T2" fmla="*/ 75 w 76"/>
                <a:gd name="T3" fmla="*/ 59 h 114"/>
                <a:gd name="T4" fmla="*/ 74 w 76"/>
                <a:gd name="T5" fmla="*/ 63 h 114"/>
                <a:gd name="T6" fmla="*/ 39 w 76"/>
                <a:gd name="T7" fmla="*/ 110 h 114"/>
                <a:gd name="T8" fmla="*/ 29 w 76"/>
                <a:gd name="T9" fmla="*/ 110 h 114"/>
                <a:gd name="T10" fmla="*/ 1 w 76"/>
                <a:gd name="T11" fmla="*/ 52 h 114"/>
                <a:gd name="T12" fmla="*/ 4 w 76"/>
                <a:gd name="T13" fmla="*/ 44 h 114"/>
                <a:gd name="T14" fmla="*/ 67 w 76"/>
                <a:gd name="T15" fmla="*/ 3 h 114"/>
                <a:gd name="T16" fmla="*/ 76 w 76"/>
                <a:gd name="T17"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14">
                  <a:moveTo>
                    <a:pt x="76" y="7"/>
                  </a:moveTo>
                  <a:cubicBezTo>
                    <a:pt x="75" y="59"/>
                    <a:pt x="75" y="59"/>
                    <a:pt x="75" y="59"/>
                  </a:cubicBezTo>
                  <a:cubicBezTo>
                    <a:pt x="75" y="60"/>
                    <a:pt x="75" y="62"/>
                    <a:pt x="74" y="63"/>
                  </a:cubicBezTo>
                  <a:cubicBezTo>
                    <a:pt x="39" y="110"/>
                    <a:pt x="39" y="110"/>
                    <a:pt x="39" y="110"/>
                  </a:cubicBezTo>
                  <a:cubicBezTo>
                    <a:pt x="36" y="113"/>
                    <a:pt x="31" y="114"/>
                    <a:pt x="29" y="110"/>
                  </a:cubicBezTo>
                  <a:cubicBezTo>
                    <a:pt x="1" y="52"/>
                    <a:pt x="1" y="52"/>
                    <a:pt x="1" y="52"/>
                  </a:cubicBezTo>
                  <a:cubicBezTo>
                    <a:pt x="0" y="50"/>
                    <a:pt x="1" y="46"/>
                    <a:pt x="4" y="44"/>
                  </a:cubicBezTo>
                  <a:cubicBezTo>
                    <a:pt x="67" y="3"/>
                    <a:pt x="67" y="3"/>
                    <a:pt x="67" y="3"/>
                  </a:cubicBezTo>
                  <a:cubicBezTo>
                    <a:pt x="71" y="0"/>
                    <a:pt x="76" y="2"/>
                    <a:pt x="76" y="7"/>
                  </a:cubicBezTo>
                  <a:close/>
                </a:path>
              </a:pathLst>
            </a:custGeom>
            <a:solidFill>
              <a:schemeClr val="accent1"/>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55"/>
            <p:cNvSpPr>
              <a:spLocks/>
            </p:cNvSpPr>
            <p:nvPr/>
          </p:nvSpPr>
          <p:spPr bwMode="auto">
            <a:xfrm>
              <a:off x="11553825" y="2649538"/>
              <a:ext cx="141288" cy="141288"/>
            </a:xfrm>
            <a:custGeom>
              <a:avLst/>
              <a:gdLst>
                <a:gd name="T0" fmla="*/ 54 w 73"/>
                <a:gd name="T1" fmla="*/ 69 h 73"/>
                <a:gd name="T2" fmla="*/ 4 w 73"/>
                <a:gd name="T3" fmla="*/ 19 h 73"/>
                <a:gd name="T4" fmla="*/ 4 w 73"/>
                <a:gd name="T5" fmla="*/ 4 h 73"/>
                <a:gd name="T6" fmla="*/ 4 w 73"/>
                <a:gd name="T7" fmla="*/ 4 h 73"/>
                <a:gd name="T8" fmla="*/ 19 w 73"/>
                <a:gd name="T9" fmla="*/ 4 h 73"/>
                <a:gd name="T10" fmla="*/ 69 w 73"/>
                <a:gd name="T11" fmla="*/ 54 h 73"/>
                <a:gd name="T12" fmla="*/ 69 w 73"/>
                <a:gd name="T13" fmla="*/ 69 h 73"/>
                <a:gd name="T14" fmla="*/ 69 w 73"/>
                <a:gd name="T15" fmla="*/ 69 h 73"/>
                <a:gd name="T16" fmla="*/ 54 w 73"/>
                <a:gd name="T17" fmla="*/ 6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3">
                  <a:moveTo>
                    <a:pt x="54" y="69"/>
                  </a:moveTo>
                  <a:cubicBezTo>
                    <a:pt x="4" y="19"/>
                    <a:pt x="4" y="19"/>
                    <a:pt x="4" y="19"/>
                  </a:cubicBezTo>
                  <a:cubicBezTo>
                    <a:pt x="0" y="15"/>
                    <a:pt x="0" y="9"/>
                    <a:pt x="4" y="4"/>
                  </a:cubicBezTo>
                  <a:cubicBezTo>
                    <a:pt x="4" y="4"/>
                    <a:pt x="4" y="4"/>
                    <a:pt x="4" y="4"/>
                  </a:cubicBezTo>
                  <a:cubicBezTo>
                    <a:pt x="8" y="0"/>
                    <a:pt x="15" y="0"/>
                    <a:pt x="19" y="4"/>
                  </a:cubicBezTo>
                  <a:cubicBezTo>
                    <a:pt x="69" y="54"/>
                    <a:pt x="69" y="54"/>
                    <a:pt x="69" y="54"/>
                  </a:cubicBezTo>
                  <a:cubicBezTo>
                    <a:pt x="73" y="58"/>
                    <a:pt x="73" y="65"/>
                    <a:pt x="69" y="69"/>
                  </a:cubicBezTo>
                  <a:cubicBezTo>
                    <a:pt x="69" y="69"/>
                    <a:pt x="69" y="69"/>
                    <a:pt x="69" y="69"/>
                  </a:cubicBezTo>
                  <a:cubicBezTo>
                    <a:pt x="65" y="73"/>
                    <a:pt x="58" y="73"/>
                    <a:pt x="54" y="69"/>
                  </a:cubicBezTo>
                  <a:close/>
                </a:path>
              </a:pathLst>
            </a:custGeom>
            <a:solidFill>
              <a:schemeClr val="accent1"/>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56"/>
            <p:cNvSpPr>
              <a:spLocks/>
            </p:cNvSpPr>
            <p:nvPr/>
          </p:nvSpPr>
          <p:spPr bwMode="auto">
            <a:xfrm>
              <a:off x="11576049" y="2236788"/>
              <a:ext cx="531813" cy="530225"/>
            </a:xfrm>
            <a:custGeom>
              <a:avLst/>
              <a:gdLst>
                <a:gd name="T0" fmla="*/ 253 w 273"/>
                <a:gd name="T1" fmla="*/ 98 h 274"/>
                <a:gd name="T2" fmla="*/ 273 w 273"/>
                <a:gd name="T3" fmla="*/ 8 h 274"/>
                <a:gd name="T4" fmla="*/ 265 w 273"/>
                <a:gd name="T5" fmla="*/ 1 h 274"/>
                <a:gd name="T6" fmla="*/ 176 w 273"/>
                <a:gd name="T7" fmla="*/ 21 h 274"/>
                <a:gd name="T8" fmla="*/ 83 w 273"/>
                <a:gd name="T9" fmla="*/ 78 h 274"/>
                <a:gd name="T10" fmla="*/ 6 w 273"/>
                <a:gd name="T11" fmla="*/ 191 h 274"/>
                <a:gd name="T12" fmla="*/ 1 w 273"/>
                <a:gd name="T13" fmla="*/ 207 h 274"/>
                <a:gd name="T14" fmla="*/ 3 w 273"/>
                <a:gd name="T15" fmla="*/ 213 h 274"/>
                <a:gd name="T16" fmla="*/ 62 w 273"/>
                <a:gd name="T17" fmla="*/ 272 h 274"/>
                <a:gd name="T18" fmla="*/ 68 w 273"/>
                <a:gd name="T19" fmla="*/ 274 h 274"/>
                <a:gd name="T20" fmla="*/ 84 w 273"/>
                <a:gd name="T21" fmla="*/ 269 h 274"/>
                <a:gd name="T22" fmla="*/ 195 w 273"/>
                <a:gd name="T23" fmla="*/ 190 h 274"/>
                <a:gd name="T24" fmla="*/ 253 w 273"/>
                <a:gd name="T25" fmla="*/ 98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274">
                  <a:moveTo>
                    <a:pt x="253" y="98"/>
                  </a:moveTo>
                  <a:cubicBezTo>
                    <a:pt x="267" y="59"/>
                    <a:pt x="272" y="24"/>
                    <a:pt x="273" y="8"/>
                  </a:cubicBezTo>
                  <a:cubicBezTo>
                    <a:pt x="273" y="4"/>
                    <a:pt x="270" y="0"/>
                    <a:pt x="265" y="1"/>
                  </a:cubicBezTo>
                  <a:cubicBezTo>
                    <a:pt x="250" y="2"/>
                    <a:pt x="215" y="7"/>
                    <a:pt x="176" y="21"/>
                  </a:cubicBezTo>
                  <a:cubicBezTo>
                    <a:pt x="145" y="33"/>
                    <a:pt x="111" y="50"/>
                    <a:pt x="83" y="78"/>
                  </a:cubicBezTo>
                  <a:cubicBezTo>
                    <a:pt x="46" y="116"/>
                    <a:pt x="19" y="156"/>
                    <a:pt x="6" y="191"/>
                  </a:cubicBezTo>
                  <a:cubicBezTo>
                    <a:pt x="4" y="196"/>
                    <a:pt x="2" y="201"/>
                    <a:pt x="1" y="207"/>
                  </a:cubicBezTo>
                  <a:cubicBezTo>
                    <a:pt x="0" y="209"/>
                    <a:pt x="1" y="211"/>
                    <a:pt x="3" y="213"/>
                  </a:cubicBezTo>
                  <a:cubicBezTo>
                    <a:pt x="62" y="272"/>
                    <a:pt x="62" y="272"/>
                    <a:pt x="62" y="272"/>
                  </a:cubicBezTo>
                  <a:cubicBezTo>
                    <a:pt x="63" y="274"/>
                    <a:pt x="66" y="274"/>
                    <a:pt x="68" y="274"/>
                  </a:cubicBezTo>
                  <a:cubicBezTo>
                    <a:pt x="73" y="272"/>
                    <a:pt x="78" y="271"/>
                    <a:pt x="84" y="269"/>
                  </a:cubicBezTo>
                  <a:cubicBezTo>
                    <a:pt x="118" y="255"/>
                    <a:pt x="158" y="228"/>
                    <a:pt x="195" y="190"/>
                  </a:cubicBezTo>
                  <a:cubicBezTo>
                    <a:pt x="223" y="162"/>
                    <a:pt x="241" y="129"/>
                    <a:pt x="253" y="98"/>
                  </a:cubicBezTo>
                  <a:close/>
                </a:path>
              </a:pathLst>
            </a:custGeom>
            <a:solidFill>
              <a:schemeClr val="bg2"/>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58"/>
            <p:cNvSpPr>
              <a:spLocks/>
            </p:cNvSpPr>
            <p:nvPr/>
          </p:nvSpPr>
          <p:spPr bwMode="auto">
            <a:xfrm>
              <a:off x="12011481" y="2249730"/>
              <a:ext cx="83928" cy="88233"/>
            </a:xfrm>
            <a:custGeom>
              <a:avLst/>
              <a:gdLst>
                <a:gd name="T0" fmla="*/ 32 w 32"/>
                <a:gd name="T1" fmla="*/ 33 h 33"/>
                <a:gd name="T2" fmla="*/ 12 w 32"/>
                <a:gd name="T3" fmla="*/ 21 h 33"/>
                <a:gd name="T4" fmla="*/ 0 w 32"/>
                <a:gd name="T5" fmla="*/ 0 h 33"/>
              </a:gdLst>
              <a:ahLst/>
              <a:cxnLst>
                <a:cxn ang="0">
                  <a:pos x="T0" y="T1"/>
                </a:cxn>
                <a:cxn ang="0">
                  <a:pos x="T2" y="T3"/>
                </a:cxn>
                <a:cxn ang="0">
                  <a:pos x="T4" y="T5"/>
                </a:cxn>
              </a:cxnLst>
              <a:rect l="0" t="0" r="r" b="b"/>
              <a:pathLst>
                <a:path w="32" h="33">
                  <a:moveTo>
                    <a:pt x="32" y="33"/>
                  </a:moveTo>
                  <a:cubicBezTo>
                    <a:pt x="26" y="31"/>
                    <a:pt x="18" y="27"/>
                    <a:pt x="12" y="21"/>
                  </a:cubicBezTo>
                  <a:cubicBezTo>
                    <a:pt x="5" y="14"/>
                    <a:pt x="1" y="7"/>
                    <a:pt x="0" y="0"/>
                  </a:cubicBezTo>
                </a:path>
              </a:pathLst>
            </a:custGeom>
            <a:noFill/>
            <a:ln w="2540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60"/>
            <p:cNvSpPr>
              <a:spLocks/>
            </p:cNvSpPr>
            <p:nvPr/>
          </p:nvSpPr>
          <p:spPr bwMode="auto">
            <a:xfrm>
              <a:off x="11583988" y="2674938"/>
              <a:ext cx="85725" cy="84138"/>
            </a:xfrm>
            <a:custGeom>
              <a:avLst/>
              <a:gdLst>
                <a:gd name="T0" fmla="*/ 42 w 44"/>
                <a:gd name="T1" fmla="*/ 2 h 44"/>
                <a:gd name="T2" fmla="*/ 42 w 44"/>
                <a:gd name="T3" fmla="*/ 2 h 44"/>
                <a:gd name="T4" fmla="*/ 42 w 44"/>
                <a:gd name="T5" fmla="*/ 10 h 44"/>
                <a:gd name="T6" fmla="*/ 10 w 44"/>
                <a:gd name="T7" fmla="*/ 41 h 44"/>
                <a:gd name="T8" fmla="*/ 2 w 44"/>
                <a:gd name="T9" fmla="*/ 41 h 44"/>
                <a:gd name="T10" fmla="*/ 2 w 44"/>
                <a:gd name="T11" fmla="*/ 41 h 44"/>
                <a:gd name="T12" fmla="*/ 2 w 44"/>
                <a:gd name="T13" fmla="*/ 33 h 44"/>
                <a:gd name="T14" fmla="*/ 34 w 44"/>
                <a:gd name="T15" fmla="*/ 2 h 44"/>
                <a:gd name="T16" fmla="*/ 42 w 44"/>
                <a:gd name="T17"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2" y="2"/>
                  </a:moveTo>
                  <a:cubicBezTo>
                    <a:pt x="42" y="2"/>
                    <a:pt x="42" y="2"/>
                    <a:pt x="42" y="2"/>
                  </a:cubicBezTo>
                  <a:cubicBezTo>
                    <a:pt x="44" y="4"/>
                    <a:pt x="44" y="8"/>
                    <a:pt x="42" y="10"/>
                  </a:cubicBezTo>
                  <a:cubicBezTo>
                    <a:pt x="10" y="41"/>
                    <a:pt x="10" y="41"/>
                    <a:pt x="10" y="41"/>
                  </a:cubicBezTo>
                  <a:cubicBezTo>
                    <a:pt x="8" y="44"/>
                    <a:pt x="4" y="44"/>
                    <a:pt x="2" y="41"/>
                  </a:cubicBezTo>
                  <a:cubicBezTo>
                    <a:pt x="2" y="41"/>
                    <a:pt x="2" y="41"/>
                    <a:pt x="2" y="41"/>
                  </a:cubicBezTo>
                  <a:cubicBezTo>
                    <a:pt x="0" y="39"/>
                    <a:pt x="0" y="36"/>
                    <a:pt x="2" y="33"/>
                  </a:cubicBezTo>
                  <a:cubicBezTo>
                    <a:pt x="34" y="2"/>
                    <a:pt x="34" y="2"/>
                    <a:pt x="34" y="2"/>
                  </a:cubicBezTo>
                  <a:cubicBezTo>
                    <a:pt x="36" y="0"/>
                    <a:pt x="39" y="0"/>
                    <a:pt x="42" y="2"/>
                  </a:cubicBezTo>
                  <a:close/>
                </a:path>
              </a:pathLst>
            </a:custGeom>
            <a:solidFill>
              <a:schemeClr val="tx1"/>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137" name="Rounded Rectangle 136"/>
          <p:cNvSpPr/>
          <p:nvPr/>
        </p:nvSpPr>
        <p:spPr>
          <a:xfrm>
            <a:off x="7252446" y="1291905"/>
            <a:ext cx="2701532" cy="364119"/>
          </a:xfrm>
          <a:prstGeom prst="roundRect">
            <a:avLst>
              <a:gd name="adj" fmla="val 50000"/>
            </a:avLst>
          </a:prstGeom>
          <a:solidFill>
            <a:schemeClr val="accent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8" name="Oval 137"/>
          <p:cNvSpPr/>
          <p:nvPr/>
        </p:nvSpPr>
        <p:spPr>
          <a:xfrm>
            <a:off x="7306839" y="1347333"/>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9" name="Oval 138"/>
          <p:cNvSpPr/>
          <p:nvPr/>
        </p:nvSpPr>
        <p:spPr>
          <a:xfrm>
            <a:off x="7346396" y="1386890"/>
            <a:ext cx="174150" cy="174150"/>
          </a:xfrm>
          <a:prstGeom prst="ellipse">
            <a:avLst/>
          </a:prstGeom>
          <a:solidFill>
            <a:schemeClr val="accent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40" name="Rounded Rectangle 139"/>
          <p:cNvSpPr/>
          <p:nvPr/>
        </p:nvSpPr>
        <p:spPr>
          <a:xfrm>
            <a:off x="7841030" y="2423309"/>
            <a:ext cx="2701532" cy="364119"/>
          </a:xfrm>
          <a:prstGeom prst="roundRect">
            <a:avLst>
              <a:gd name="adj" fmla="val 50000"/>
            </a:avLst>
          </a:prstGeom>
          <a:solidFill>
            <a:srgbClr val="00A1DE"/>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41" name="Oval 140"/>
          <p:cNvSpPr/>
          <p:nvPr/>
        </p:nvSpPr>
        <p:spPr>
          <a:xfrm>
            <a:off x="7895422" y="2478737"/>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42" name="Oval 141"/>
          <p:cNvSpPr/>
          <p:nvPr/>
        </p:nvSpPr>
        <p:spPr>
          <a:xfrm>
            <a:off x="7934980" y="2518294"/>
            <a:ext cx="174150" cy="174150"/>
          </a:xfrm>
          <a:prstGeom prst="ellipse">
            <a:avLst/>
          </a:prstGeom>
          <a:solidFill>
            <a:srgbClr val="00A1DE"/>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43" name="Rounded Rectangle 142"/>
          <p:cNvSpPr/>
          <p:nvPr/>
        </p:nvSpPr>
        <p:spPr>
          <a:xfrm>
            <a:off x="7720816" y="3483630"/>
            <a:ext cx="2701532" cy="364119"/>
          </a:xfrm>
          <a:prstGeom prst="roundRect">
            <a:avLst>
              <a:gd name="adj" fmla="val 50000"/>
            </a:avLst>
          </a:prstGeom>
          <a:solidFill>
            <a:srgbClr val="009A4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spcBef>
                <a:spcPts val="1200"/>
              </a:spcBef>
            </a:pPr>
            <a:r>
              <a:rPr lang="en-US" sz="1600" b="1" dirty="0">
                <a:solidFill>
                  <a:schemeClr val="bg1"/>
                </a:solidFill>
              </a:rPr>
              <a:t>XXXXX</a:t>
            </a:r>
          </a:p>
        </p:txBody>
      </p:sp>
      <p:sp>
        <p:nvSpPr>
          <p:cNvPr id="149" name="Rounded Rectangle 148"/>
          <p:cNvSpPr/>
          <p:nvPr/>
        </p:nvSpPr>
        <p:spPr>
          <a:xfrm flipH="1">
            <a:off x="1687642" y="3493290"/>
            <a:ext cx="2701532" cy="364119"/>
          </a:xfrm>
          <a:prstGeom prst="roundRect">
            <a:avLst>
              <a:gd name="adj" fmla="val 50000"/>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52" name="Rounded Rectangle 151"/>
          <p:cNvSpPr/>
          <p:nvPr/>
        </p:nvSpPr>
        <p:spPr>
          <a:xfrm flipH="1">
            <a:off x="1683260" y="1737236"/>
            <a:ext cx="2701532" cy="364119"/>
          </a:xfrm>
          <a:prstGeom prst="roundRect">
            <a:avLst>
              <a:gd name="adj" fmla="val 50000"/>
            </a:avLst>
          </a:prstGeom>
          <a:solidFill>
            <a:srgbClr val="C4D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68" name="Rectangle 167"/>
          <p:cNvSpPr/>
          <p:nvPr/>
        </p:nvSpPr>
        <p:spPr>
          <a:xfrm>
            <a:off x="8786092" y="1336990"/>
            <a:ext cx="1393188" cy="246221"/>
          </a:xfrm>
          <a:prstGeom prst="rect">
            <a:avLst/>
          </a:prstGeom>
        </p:spPr>
        <p:txBody>
          <a:bodyPr wrap="square" lIns="0" tIns="0" rIns="0" bIns="0">
            <a:spAutoFit/>
          </a:bodyPr>
          <a:lstStyle/>
          <a:p>
            <a:pPr algn="ctr"/>
            <a:r>
              <a:rPr lang="en-GB" sz="1600" b="1" dirty="0">
                <a:solidFill>
                  <a:schemeClr val="bg1"/>
                </a:solidFill>
              </a:rPr>
              <a:t>XXXXX</a:t>
            </a:r>
          </a:p>
        </p:txBody>
      </p:sp>
      <p:sp>
        <p:nvSpPr>
          <p:cNvPr id="169" name="Rectangle 168"/>
          <p:cNvSpPr/>
          <p:nvPr/>
        </p:nvSpPr>
        <p:spPr>
          <a:xfrm>
            <a:off x="9371435" y="2477737"/>
            <a:ext cx="1393188" cy="246221"/>
          </a:xfrm>
          <a:prstGeom prst="rect">
            <a:avLst/>
          </a:prstGeom>
        </p:spPr>
        <p:txBody>
          <a:bodyPr wrap="square" lIns="0" tIns="0" rIns="0" bIns="0">
            <a:spAutoFit/>
          </a:bodyPr>
          <a:lstStyle/>
          <a:p>
            <a:pPr algn="ctr"/>
            <a:r>
              <a:rPr lang="en-GB" sz="1600" b="1" dirty="0">
                <a:solidFill>
                  <a:schemeClr val="bg1"/>
                </a:solidFill>
              </a:rPr>
              <a:t>XXXXX</a:t>
            </a:r>
          </a:p>
        </p:txBody>
      </p:sp>
      <p:sp>
        <p:nvSpPr>
          <p:cNvPr id="172" name="Rectangle 171"/>
          <p:cNvSpPr/>
          <p:nvPr/>
        </p:nvSpPr>
        <p:spPr>
          <a:xfrm>
            <a:off x="1503117" y="3532478"/>
            <a:ext cx="1393188" cy="246221"/>
          </a:xfrm>
          <a:prstGeom prst="rect">
            <a:avLst/>
          </a:prstGeom>
        </p:spPr>
        <p:txBody>
          <a:bodyPr wrap="square" lIns="0" tIns="0" rIns="0" bIns="0">
            <a:spAutoFit/>
          </a:bodyPr>
          <a:lstStyle/>
          <a:p>
            <a:pPr algn="ctr"/>
            <a:r>
              <a:rPr lang="en-GB" sz="1600" b="1" dirty="0">
                <a:solidFill>
                  <a:schemeClr val="bg1"/>
                </a:solidFill>
              </a:rPr>
              <a:t>XXXXX</a:t>
            </a:r>
          </a:p>
        </p:txBody>
      </p:sp>
      <p:sp>
        <p:nvSpPr>
          <p:cNvPr id="173" name="Rectangle 172"/>
          <p:cNvSpPr/>
          <p:nvPr/>
        </p:nvSpPr>
        <p:spPr>
          <a:xfrm>
            <a:off x="1482135" y="1786584"/>
            <a:ext cx="1393188" cy="246221"/>
          </a:xfrm>
          <a:prstGeom prst="rect">
            <a:avLst/>
          </a:prstGeom>
        </p:spPr>
        <p:txBody>
          <a:bodyPr wrap="square" lIns="0" tIns="0" rIns="0" bIns="0">
            <a:spAutoFit/>
          </a:bodyPr>
          <a:lstStyle/>
          <a:p>
            <a:pPr algn="ctr"/>
            <a:r>
              <a:rPr lang="en-GB" sz="1600" b="1" dirty="0">
                <a:solidFill>
                  <a:schemeClr val="bg1"/>
                </a:solidFill>
              </a:rPr>
              <a:t>XXXXX</a:t>
            </a:r>
          </a:p>
        </p:txBody>
      </p:sp>
      <p:sp>
        <p:nvSpPr>
          <p:cNvPr id="68" name="Rectangle 8"/>
          <p:cNvSpPr/>
          <p:nvPr/>
        </p:nvSpPr>
        <p:spPr>
          <a:xfrm>
            <a:off x="1668435" y="2117601"/>
            <a:ext cx="2000749" cy="354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r>
              <a:rPr lang="en-US" sz="1400" dirty="0">
                <a:solidFill>
                  <a:schemeClr val="tx1"/>
                </a:solidFill>
              </a:rPr>
              <a:t>XXXXX</a:t>
            </a:r>
          </a:p>
        </p:txBody>
      </p:sp>
      <p:sp>
        <p:nvSpPr>
          <p:cNvPr id="69" name="Rectangle 9"/>
          <p:cNvSpPr/>
          <p:nvPr/>
        </p:nvSpPr>
        <p:spPr>
          <a:xfrm>
            <a:off x="1670703" y="3870668"/>
            <a:ext cx="1992366" cy="3366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r>
              <a:rPr lang="en-US" sz="1400" dirty="0">
                <a:solidFill>
                  <a:schemeClr val="tx1"/>
                </a:solidFill>
              </a:rPr>
              <a:t>XXXXX</a:t>
            </a:r>
          </a:p>
        </p:txBody>
      </p:sp>
      <p:sp>
        <p:nvSpPr>
          <p:cNvPr id="70" name="Rectangle 10"/>
          <p:cNvSpPr/>
          <p:nvPr/>
        </p:nvSpPr>
        <p:spPr>
          <a:xfrm>
            <a:off x="8046843" y="1680233"/>
            <a:ext cx="1905217" cy="354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r"/>
            <a:r>
              <a:rPr lang="en-US" sz="1400" dirty="0">
                <a:solidFill>
                  <a:schemeClr val="tx1"/>
                </a:solidFill>
              </a:rPr>
              <a:t>XXXXX</a:t>
            </a:r>
          </a:p>
        </p:txBody>
      </p:sp>
      <p:sp>
        <p:nvSpPr>
          <p:cNvPr id="82" name="Rectangle 11"/>
          <p:cNvSpPr/>
          <p:nvPr/>
        </p:nvSpPr>
        <p:spPr>
          <a:xfrm>
            <a:off x="8637476" y="2792994"/>
            <a:ext cx="1910929" cy="2577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r"/>
            <a:r>
              <a:rPr lang="en-US" sz="1400" dirty="0">
                <a:solidFill>
                  <a:schemeClr val="tx1"/>
                </a:solidFill>
              </a:rPr>
              <a:t>XXXXX</a:t>
            </a:r>
          </a:p>
        </p:txBody>
      </p:sp>
      <p:sp>
        <p:nvSpPr>
          <p:cNvPr id="83" name="Rectangle 12"/>
          <p:cNvSpPr/>
          <p:nvPr/>
        </p:nvSpPr>
        <p:spPr>
          <a:xfrm>
            <a:off x="8143875" y="3849401"/>
            <a:ext cx="2331239" cy="3366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r"/>
            <a:r>
              <a:rPr lang="en-US" sz="1400" dirty="0">
                <a:solidFill>
                  <a:schemeClr val="tx1"/>
                </a:solidFill>
              </a:rPr>
              <a:t>XXXXX</a:t>
            </a:r>
          </a:p>
        </p:txBody>
      </p:sp>
      <p:sp>
        <p:nvSpPr>
          <p:cNvPr id="89" name="Oval 140"/>
          <p:cNvSpPr/>
          <p:nvPr/>
        </p:nvSpPr>
        <p:spPr>
          <a:xfrm>
            <a:off x="7788643" y="3534665"/>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90" name="Oval 141"/>
          <p:cNvSpPr/>
          <p:nvPr/>
        </p:nvSpPr>
        <p:spPr>
          <a:xfrm>
            <a:off x="7828201" y="3574222"/>
            <a:ext cx="174150" cy="174150"/>
          </a:xfrm>
          <a:prstGeom prst="ellipse">
            <a:avLst/>
          </a:prstGeom>
          <a:solidFill>
            <a:srgbClr val="009A4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grpSp>
        <p:nvGrpSpPr>
          <p:cNvPr id="2" name="组合 1"/>
          <p:cNvGrpSpPr/>
          <p:nvPr/>
        </p:nvGrpSpPr>
        <p:grpSpPr>
          <a:xfrm>
            <a:off x="5269154" y="2166346"/>
            <a:ext cx="1713926" cy="1713926"/>
            <a:chOff x="5462194" y="2883255"/>
            <a:chExt cx="1326103" cy="1326103"/>
          </a:xfrm>
          <a:solidFill>
            <a:srgbClr val="A0DCFF"/>
          </a:solidFill>
        </p:grpSpPr>
        <p:sp>
          <p:nvSpPr>
            <p:cNvPr id="135" name="Oval 134"/>
            <p:cNvSpPr/>
            <p:nvPr/>
          </p:nvSpPr>
          <p:spPr>
            <a:xfrm>
              <a:off x="5462194" y="2883255"/>
              <a:ext cx="1326103" cy="1326103"/>
            </a:xfrm>
            <a:prstGeom prst="ellipse">
              <a:avLst/>
            </a:prstGeom>
            <a:solidFill>
              <a:srgbClr val="D0D0CE">
                <a:alpha val="50000"/>
              </a:srgbClr>
            </a:solidFill>
            <a:ln w="25400" cap="rnd">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6" name="Oval 135"/>
            <p:cNvSpPr/>
            <p:nvPr/>
          </p:nvSpPr>
          <p:spPr>
            <a:xfrm>
              <a:off x="5593224" y="3014285"/>
              <a:ext cx="1064044" cy="1064043"/>
            </a:xfrm>
            <a:prstGeom prst="ellipse">
              <a:avLst/>
            </a:prstGeom>
            <a:solidFill>
              <a:srgbClr val="75787B"/>
            </a:solidFill>
            <a:ln w="25400" cap="rnd">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grpSp>
      <p:sp>
        <p:nvSpPr>
          <p:cNvPr id="150" name="Oval 149"/>
          <p:cNvSpPr/>
          <p:nvPr/>
        </p:nvSpPr>
        <p:spPr>
          <a:xfrm flipH="1">
            <a:off x="4081517" y="3548718"/>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51" name="Oval 150"/>
          <p:cNvSpPr/>
          <p:nvPr/>
        </p:nvSpPr>
        <p:spPr>
          <a:xfrm flipH="1">
            <a:off x="4121074" y="3588275"/>
            <a:ext cx="174150" cy="174150"/>
          </a:xfrm>
          <a:prstGeom prst="ellipse">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53" name="Oval 152"/>
          <p:cNvSpPr/>
          <p:nvPr/>
        </p:nvSpPr>
        <p:spPr>
          <a:xfrm flipH="1">
            <a:off x="4077135" y="1792664"/>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54" name="Oval 153"/>
          <p:cNvSpPr/>
          <p:nvPr/>
        </p:nvSpPr>
        <p:spPr>
          <a:xfrm flipH="1">
            <a:off x="4116692" y="1832221"/>
            <a:ext cx="174150" cy="174150"/>
          </a:xfrm>
          <a:prstGeom prst="ellipse">
            <a:avLst/>
          </a:prstGeom>
          <a:solidFill>
            <a:srgbClr val="C4D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66" name="Rectangle 164"/>
          <p:cNvSpPr/>
          <p:nvPr/>
        </p:nvSpPr>
        <p:spPr>
          <a:xfrm>
            <a:off x="5773591" y="3160873"/>
            <a:ext cx="822618" cy="307777"/>
          </a:xfrm>
          <a:prstGeom prst="rect">
            <a:avLst/>
          </a:prstGeom>
        </p:spPr>
        <p:txBody>
          <a:bodyPr wrap="square" lIns="18288" tIns="0" rIns="18288" bIns="0">
            <a:spAutoFit/>
          </a:bodyPr>
          <a:lstStyle/>
          <a:p>
            <a:r>
              <a:rPr lang="en-US" sz="2000" b="1" dirty="0" err="1">
                <a:solidFill>
                  <a:schemeClr val="bg1"/>
                </a:solidFill>
                <a:latin typeface="Verdana" panose="020B0604030504040204" pitchFamily="34" charset="0"/>
                <a:ea typeface="Verdana" panose="020B0604030504040204" pitchFamily="34" charset="0"/>
                <a:cs typeface="Verdana" panose="020B0604030504040204" pitchFamily="34" charset="0"/>
              </a:rPr>
              <a:t>xxxx</a:t>
            </a:r>
            <a:endParaRPr lang="en-US" sz="2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7" name="组合 6"/>
          <p:cNvGrpSpPr/>
          <p:nvPr/>
        </p:nvGrpSpPr>
        <p:grpSpPr>
          <a:xfrm>
            <a:off x="4422170" y="1916413"/>
            <a:ext cx="957070" cy="540000"/>
            <a:chOff x="4422170" y="2366708"/>
            <a:chExt cx="957070" cy="540000"/>
          </a:xfrm>
        </p:grpSpPr>
        <p:cxnSp>
          <p:nvCxnSpPr>
            <p:cNvPr id="160" name="Straight Connector 159"/>
            <p:cNvCxnSpPr/>
            <p:nvPr/>
          </p:nvCxnSpPr>
          <p:spPr>
            <a:xfrm flipH="1" flipV="1">
              <a:off x="5379239" y="2366708"/>
              <a:ext cx="1" cy="540000"/>
            </a:xfrm>
            <a:prstGeom prst="line">
              <a:avLst/>
            </a:prstGeom>
            <a:ln w="25400" cap="rnd">
              <a:solidFill>
                <a:srgbClr val="C4D600"/>
              </a:solidFill>
              <a:prstDash val="sysDot"/>
            </a:ln>
          </p:spPr>
          <p:style>
            <a:lnRef idx="1">
              <a:schemeClr val="accent1"/>
            </a:lnRef>
            <a:fillRef idx="0">
              <a:schemeClr val="accent1"/>
            </a:fillRef>
            <a:effectRef idx="0">
              <a:schemeClr val="accent1"/>
            </a:effectRef>
            <a:fontRef idx="minor">
              <a:schemeClr val="tx1"/>
            </a:fontRef>
          </p:style>
        </p:cxnSp>
        <p:cxnSp>
          <p:nvCxnSpPr>
            <p:cNvPr id="91" name="Straight Connector 158"/>
            <p:cNvCxnSpPr/>
            <p:nvPr/>
          </p:nvCxnSpPr>
          <p:spPr>
            <a:xfrm flipV="1">
              <a:off x="4422170" y="2392045"/>
              <a:ext cx="936000" cy="1034"/>
            </a:xfrm>
            <a:prstGeom prst="line">
              <a:avLst/>
            </a:prstGeom>
            <a:ln w="25400" cap="rnd">
              <a:solidFill>
                <a:srgbClr val="C4D600"/>
              </a:solidFill>
              <a:prstDash val="sysDot"/>
            </a:ln>
          </p:spPr>
          <p:style>
            <a:lnRef idx="1">
              <a:schemeClr val="accent1"/>
            </a:lnRef>
            <a:fillRef idx="0">
              <a:schemeClr val="accent1"/>
            </a:fillRef>
            <a:effectRef idx="0">
              <a:schemeClr val="accent1"/>
            </a:effectRef>
            <a:fontRef idx="minor">
              <a:schemeClr val="tx1"/>
            </a:fontRef>
          </p:style>
        </p:cxnSp>
      </p:grpSp>
      <p:grpSp>
        <p:nvGrpSpPr>
          <p:cNvPr id="264" name="Group 531"/>
          <p:cNvGrpSpPr>
            <a:grpSpLocks noChangeAspect="1"/>
          </p:cNvGrpSpPr>
          <p:nvPr/>
        </p:nvGrpSpPr>
        <p:grpSpPr bwMode="auto">
          <a:xfrm>
            <a:off x="5847990" y="2511273"/>
            <a:ext cx="593720" cy="593720"/>
            <a:chOff x="3061" y="1953"/>
            <a:chExt cx="340" cy="340"/>
          </a:xfrm>
          <a:solidFill>
            <a:schemeClr val="bg1"/>
          </a:solidFill>
        </p:grpSpPr>
        <p:sp>
          <p:nvSpPr>
            <p:cNvPr id="265" name="Freeform 532"/>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533"/>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2" name="Oval 71"/>
          <p:cNvSpPr/>
          <p:nvPr/>
        </p:nvSpPr>
        <p:spPr>
          <a:xfrm>
            <a:off x="5944219" y="1931114"/>
            <a:ext cx="362050" cy="362050"/>
          </a:xfrm>
          <a:prstGeom prst="ellipse">
            <a:avLst/>
          </a:prstGeom>
          <a:solidFill>
            <a:schemeClr val="accent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78" name="Oval 77"/>
          <p:cNvSpPr/>
          <p:nvPr/>
        </p:nvSpPr>
        <p:spPr>
          <a:xfrm>
            <a:off x="5998612" y="1985507"/>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79" name="Oval 78"/>
          <p:cNvSpPr/>
          <p:nvPr/>
        </p:nvSpPr>
        <p:spPr>
          <a:xfrm>
            <a:off x="6038169" y="2025064"/>
            <a:ext cx="174150" cy="174150"/>
          </a:xfrm>
          <a:prstGeom prst="ellipse">
            <a:avLst/>
          </a:prstGeom>
          <a:solidFill>
            <a:schemeClr val="accent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grpSp>
        <p:nvGrpSpPr>
          <p:cNvPr id="8" name="组合 7"/>
          <p:cNvGrpSpPr/>
          <p:nvPr/>
        </p:nvGrpSpPr>
        <p:grpSpPr>
          <a:xfrm>
            <a:off x="6125245" y="1472064"/>
            <a:ext cx="1134998" cy="477890"/>
            <a:chOff x="6125245" y="1853992"/>
            <a:chExt cx="1134998" cy="477890"/>
          </a:xfrm>
        </p:grpSpPr>
        <p:cxnSp>
          <p:nvCxnSpPr>
            <p:cNvPr id="155" name="Straight Connector 154"/>
            <p:cNvCxnSpPr/>
            <p:nvPr/>
          </p:nvCxnSpPr>
          <p:spPr>
            <a:xfrm flipV="1">
              <a:off x="6125245" y="1863882"/>
              <a:ext cx="0" cy="46800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92" name="Straight Connector 158"/>
            <p:cNvCxnSpPr/>
            <p:nvPr/>
          </p:nvCxnSpPr>
          <p:spPr>
            <a:xfrm flipV="1">
              <a:off x="6144243" y="1853992"/>
              <a:ext cx="1116000" cy="1034"/>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cxnSp>
        <p:nvCxnSpPr>
          <p:cNvPr id="88" name="Straight Connector 155"/>
          <p:cNvCxnSpPr/>
          <p:nvPr/>
        </p:nvCxnSpPr>
        <p:spPr>
          <a:xfrm flipV="1">
            <a:off x="6884461" y="3681618"/>
            <a:ext cx="828000" cy="4062"/>
          </a:xfrm>
          <a:prstGeom prst="line">
            <a:avLst/>
          </a:prstGeom>
          <a:ln w="25400" cap="rnd">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75" name="Oval 74"/>
          <p:cNvSpPr/>
          <p:nvPr/>
        </p:nvSpPr>
        <p:spPr>
          <a:xfrm>
            <a:off x="6552322" y="3493290"/>
            <a:ext cx="362050" cy="362050"/>
          </a:xfrm>
          <a:prstGeom prst="ellipse">
            <a:avLst/>
          </a:prstGeom>
          <a:solidFill>
            <a:srgbClr val="009A4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27" name="Oval 126"/>
          <p:cNvSpPr/>
          <p:nvPr/>
        </p:nvSpPr>
        <p:spPr>
          <a:xfrm>
            <a:off x="6606715" y="3547682"/>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28" name="Oval 127"/>
          <p:cNvSpPr/>
          <p:nvPr/>
        </p:nvSpPr>
        <p:spPr>
          <a:xfrm>
            <a:off x="6646272" y="3587240"/>
            <a:ext cx="174150" cy="174150"/>
          </a:xfrm>
          <a:prstGeom prst="ellipse">
            <a:avLst/>
          </a:prstGeom>
          <a:solidFill>
            <a:srgbClr val="009A4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cxnSp>
        <p:nvCxnSpPr>
          <p:cNvPr id="156" name="Straight Connector 155"/>
          <p:cNvCxnSpPr>
            <a:stCxn id="74" idx="6"/>
          </p:cNvCxnSpPr>
          <p:nvPr/>
        </p:nvCxnSpPr>
        <p:spPr>
          <a:xfrm flipV="1">
            <a:off x="7080064" y="2605370"/>
            <a:ext cx="792000" cy="4062"/>
          </a:xfrm>
          <a:prstGeom prst="line">
            <a:avLst/>
          </a:prstGeom>
          <a:ln w="25400" cap="rnd">
            <a:solidFill>
              <a:srgbClr val="00A1DE"/>
            </a:solidFill>
            <a:prstDash val="sysDot"/>
          </a:ln>
        </p:spPr>
        <p:style>
          <a:lnRef idx="1">
            <a:schemeClr val="accent1"/>
          </a:lnRef>
          <a:fillRef idx="0">
            <a:schemeClr val="accent1"/>
          </a:fillRef>
          <a:effectRef idx="0">
            <a:schemeClr val="accent1"/>
          </a:effectRef>
          <a:fontRef idx="minor">
            <a:schemeClr val="tx1"/>
          </a:fontRef>
        </p:style>
      </p:cxnSp>
      <p:grpSp>
        <p:nvGrpSpPr>
          <p:cNvPr id="6" name="组合 5"/>
          <p:cNvGrpSpPr/>
          <p:nvPr/>
        </p:nvGrpSpPr>
        <p:grpSpPr>
          <a:xfrm>
            <a:off x="5151213" y="2431207"/>
            <a:ext cx="362050" cy="362050"/>
            <a:chOff x="5198215" y="2761861"/>
            <a:chExt cx="362050" cy="362050"/>
          </a:xfrm>
        </p:grpSpPr>
        <p:sp>
          <p:nvSpPr>
            <p:cNvPr id="76" name="Oval 75"/>
            <p:cNvSpPr/>
            <p:nvPr/>
          </p:nvSpPr>
          <p:spPr>
            <a:xfrm>
              <a:off x="5198215" y="2761861"/>
              <a:ext cx="362050" cy="362050"/>
            </a:xfrm>
            <a:prstGeom prst="ellipse">
              <a:avLst/>
            </a:prstGeom>
            <a:solidFill>
              <a:srgbClr val="C4D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3" name="Oval 132"/>
            <p:cNvSpPr/>
            <p:nvPr/>
          </p:nvSpPr>
          <p:spPr>
            <a:xfrm>
              <a:off x="5252608" y="2816254"/>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4" name="Oval 133"/>
            <p:cNvSpPr/>
            <p:nvPr/>
          </p:nvSpPr>
          <p:spPr>
            <a:xfrm>
              <a:off x="5292165" y="2855811"/>
              <a:ext cx="174150" cy="174150"/>
            </a:xfrm>
            <a:prstGeom prst="ellipse">
              <a:avLst/>
            </a:prstGeom>
            <a:solidFill>
              <a:srgbClr val="C4D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grpSp>
      <p:sp>
        <p:nvSpPr>
          <p:cNvPr id="74" name="Oval 73"/>
          <p:cNvSpPr/>
          <p:nvPr/>
        </p:nvSpPr>
        <p:spPr>
          <a:xfrm>
            <a:off x="6718015" y="2428406"/>
            <a:ext cx="362050" cy="362050"/>
          </a:xfrm>
          <a:prstGeom prst="ellipse">
            <a:avLst/>
          </a:prstGeom>
          <a:solidFill>
            <a:srgbClr val="00A1DE"/>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80" name="Oval 79"/>
          <p:cNvSpPr/>
          <p:nvPr/>
        </p:nvSpPr>
        <p:spPr>
          <a:xfrm>
            <a:off x="6772408" y="2482799"/>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81" name="Oval 80"/>
          <p:cNvSpPr/>
          <p:nvPr/>
        </p:nvSpPr>
        <p:spPr>
          <a:xfrm>
            <a:off x="6811965" y="2522356"/>
            <a:ext cx="174150" cy="174150"/>
          </a:xfrm>
          <a:prstGeom prst="ellipse">
            <a:avLst/>
          </a:prstGeom>
          <a:solidFill>
            <a:srgbClr val="00A1DE"/>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77" name="Oval 76"/>
          <p:cNvSpPr/>
          <p:nvPr/>
        </p:nvSpPr>
        <p:spPr>
          <a:xfrm>
            <a:off x="5300766" y="3493290"/>
            <a:ext cx="362050" cy="362050"/>
          </a:xfrm>
          <a:prstGeom prst="ellipse">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1" name="Oval 130"/>
          <p:cNvSpPr/>
          <p:nvPr/>
        </p:nvSpPr>
        <p:spPr>
          <a:xfrm>
            <a:off x="5355159" y="3547682"/>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2" name="Oval 131"/>
          <p:cNvSpPr/>
          <p:nvPr/>
        </p:nvSpPr>
        <p:spPr>
          <a:xfrm>
            <a:off x="5394716" y="3587240"/>
            <a:ext cx="174150" cy="174150"/>
          </a:xfrm>
          <a:prstGeom prst="ellipse">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cxnSp>
        <p:nvCxnSpPr>
          <p:cNvPr id="159" name="Straight Connector 158"/>
          <p:cNvCxnSpPr/>
          <p:nvPr/>
        </p:nvCxnSpPr>
        <p:spPr>
          <a:xfrm flipV="1">
            <a:off x="4406266" y="3674315"/>
            <a:ext cx="900000" cy="1034"/>
          </a:xfrm>
          <a:prstGeom prst="line">
            <a:avLst/>
          </a:prstGeom>
          <a:ln w="2540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86" name="Rectangle 15"/>
          <p:cNvSpPr/>
          <p:nvPr/>
        </p:nvSpPr>
        <p:spPr>
          <a:xfrm>
            <a:off x="3487870" y="5335004"/>
            <a:ext cx="2368467" cy="661568"/>
          </a:xfrm>
          <a:prstGeom prst="round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nchorCtr="0"/>
          <a:lstStyle/>
          <a:p>
            <a:r>
              <a:rPr lang="en-US" sz="1400" dirty="0">
                <a:solidFill>
                  <a:schemeClr val="bg1"/>
                </a:solidFill>
              </a:rPr>
              <a:t>XXXXX</a:t>
            </a:r>
          </a:p>
        </p:txBody>
      </p:sp>
      <p:grpSp>
        <p:nvGrpSpPr>
          <p:cNvPr id="258" name="Group 327"/>
          <p:cNvGrpSpPr>
            <a:grpSpLocks noChangeAspect="1"/>
          </p:cNvGrpSpPr>
          <p:nvPr/>
        </p:nvGrpSpPr>
        <p:grpSpPr bwMode="auto">
          <a:xfrm>
            <a:off x="3728317" y="5471232"/>
            <a:ext cx="369021" cy="369021"/>
            <a:chOff x="5029" y="1186"/>
            <a:chExt cx="340" cy="340"/>
          </a:xfrm>
          <a:solidFill>
            <a:schemeClr val="bg1"/>
          </a:solidFill>
        </p:grpSpPr>
        <p:sp>
          <p:nvSpPr>
            <p:cNvPr id="259" name="Freeform 328"/>
            <p:cNvSpPr>
              <a:spLocks noEditPoints="1"/>
            </p:cNvSpPr>
            <p:nvPr/>
          </p:nvSpPr>
          <p:spPr bwMode="auto">
            <a:xfrm>
              <a:off x="5109" y="1266"/>
              <a:ext cx="180" cy="180"/>
            </a:xfrm>
            <a:custGeom>
              <a:avLst/>
              <a:gdLst>
                <a:gd name="T0" fmla="*/ 248 w 270"/>
                <a:gd name="T1" fmla="*/ 142 h 270"/>
                <a:gd name="T2" fmla="*/ 187 w 270"/>
                <a:gd name="T3" fmla="*/ 82 h 270"/>
                <a:gd name="T4" fmla="*/ 127 w 270"/>
                <a:gd name="T5" fmla="*/ 22 h 270"/>
                <a:gd name="T6" fmla="*/ 74 w 270"/>
                <a:gd name="T7" fmla="*/ 0 h 270"/>
                <a:gd name="T8" fmla="*/ 22 w 270"/>
                <a:gd name="T9" fmla="*/ 22 h 270"/>
                <a:gd name="T10" fmla="*/ 0 w 270"/>
                <a:gd name="T11" fmla="*/ 74 h 270"/>
                <a:gd name="T12" fmla="*/ 22 w 270"/>
                <a:gd name="T13" fmla="*/ 127 h 270"/>
                <a:gd name="T14" fmla="*/ 82 w 270"/>
                <a:gd name="T15" fmla="*/ 187 h 270"/>
                <a:gd name="T16" fmla="*/ 142 w 270"/>
                <a:gd name="T17" fmla="*/ 248 h 270"/>
                <a:gd name="T18" fmla="*/ 195 w 270"/>
                <a:gd name="T19" fmla="*/ 270 h 270"/>
                <a:gd name="T20" fmla="*/ 248 w 270"/>
                <a:gd name="T21" fmla="*/ 248 h 270"/>
                <a:gd name="T22" fmla="*/ 270 w 270"/>
                <a:gd name="T23" fmla="*/ 195 h 270"/>
                <a:gd name="T24" fmla="*/ 248 w 270"/>
                <a:gd name="T25" fmla="*/ 142 h 270"/>
                <a:gd name="T26" fmla="*/ 240 w 270"/>
                <a:gd name="T27" fmla="*/ 167 h 270"/>
                <a:gd name="T28" fmla="*/ 118 w 270"/>
                <a:gd name="T29" fmla="*/ 167 h 270"/>
                <a:gd name="T30" fmla="*/ 139 w 270"/>
                <a:gd name="T31" fmla="*/ 145 h 270"/>
                <a:gd name="T32" fmla="*/ 220 w 270"/>
                <a:gd name="T33" fmla="*/ 145 h 270"/>
                <a:gd name="T34" fmla="*/ 220 w 270"/>
                <a:gd name="T35" fmla="*/ 145 h 270"/>
                <a:gd name="T36" fmla="*/ 233 w 270"/>
                <a:gd name="T37" fmla="*/ 157 h 270"/>
                <a:gd name="T38" fmla="*/ 240 w 270"/>
                <a:gd name="T39" fmla="*/ 167 h 270"/>
                <a:gd name="T40" fmla="*/ 248 w 270"/>
                <a:gd name="T41" fmla="*/ 195 h 270"/>
                <a:gd name="T42" fmla="*/ 246 w 270"/>
                <a:gd name="T43" fmla="*/ 209 h 270"/>
                <a:gd name="T44" fmla="*/ 135 w 270"/>
                <a:gd name="T45" fmla="*/ 209 h 270"/>
                <a:gd name="T46" fmla="*/ 135 w 270"/>
                <a:gd name="T47" fmla="*/ 210 h 270"/>
                <a:gd name="T48" fmla="*/ 113 w 270"/>
                <a:gd name="T49" fmla="*/ 188 h 270"/>
                <a:gd name="T50" fmla="*/ 248 w 270"/>
                <a:gd name="T51" fmla="*/ 188 h 270"/>
                <a:gd name="T52" fmla="*/ 248 w 270"/>
                <a:gd name="T53" fmla="*/ 195 h 270"/>
                <a:gd name="T54" fmla="*/ 180 w 270"/>
                <a:gd name="T55" fmla="*/ 105 h 270"/>
                <a:gd name="T56" fmla="*/ 199 w 270"/>
                <a:gd name="T57" fmla="*/ 124 h 270"/>
                <a:gd name="T58" fmla="*/ 160 w 270"/>
                <a:gd name="T59" fmla="*/ 124 h 270"/>
                <a:gd name="T60" fmla="*/ 180 w 270"/>
                <a:gd name="T61" fmla="*/ 105 h 270"/>
                <a:gd name="T62" fmla="*/ 21 w 270"/>
                <a:gd name="T63" fmla="*/ 74 h 270"/>
                <a:gd name="T64" fmla="*/ 37 w 270"/>
                <a:gd name="T65" fmla="*/ 37 h 270"/>
                <a:gd name="T66" fmla="*/ 74 w 270"/>
                <a:gd name="T67" fmla="*/ 21 h 270"/>
                <a:gd name="T68" fmla="*/ 112 w 270"/>
                <a:gd name="T69" fmla="*/ 37 h 270"/>
                <a:gd name="T70" fmla="*/ 165 w 270"/>
                <a:gd name="T71" fmla="*/ 89 h 270"/>
                <a:gd name="T72" fmla="*/ 89 w 270"/>
                <a:gd name="T73" fmla="*/ 165 h 270"/>
                <a:gd name="T74" fmla="*/ 37 w 270"/>
                <a:gd name="T75" fmla="*/ 112 h 270"/>
                <a:gd name="T76" fmla="*/ 21 w 270"/>
                <a:gd name="T77" fmla="*/ 74 h 270"/>
                <a:gd name="T78" fmla="*/ 195 w 270"/>
                <a:gd name="T79" fmla="*/ 248 h 270"/>
                <a:gd name="T80" fmla="*/ 157 w 270"/>
                <a:gd name="T81" fmla="*/ 233 h 270"/>
                <a:gd name="T82" fmla="*/ 155 w 270"/>
                <a:gd name="T83" fmla="*/ 231 h 270"/>
                <a:gd name="T84" fmla="*/ 234 w 270"/>
                <a:gd name="T85" fmla="*/ 231 h 270"/>
                <a:gd name="T86" fmla="*/ 233 w 270"/>
                <a:gd name="T87" fmla="*/ 233 h 270"/>
                <a:gd name="T88" fmla="*/ 195 w 270"/>
                <a:gd name="T89" fmla="*/ 24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0" h="270">
                  <a:moveTo>
                    <a:pt x="248" y="142"/>
                  </a:moveTo>
                  <a:cubicBezTo>
                    <a:pt x="187" y="82"/>
                    <a:pt x="187" y="82"/>
                    <a:pt x="187" y="82"/>
                  </a:cubicBezTo>
                  <a:cubicBezTo>
                    <a:pt x="127" y="22"/>
                    <a:pt x="127" y="22"/>
                    <a:pt x="127" y="22"/>
                  </a:cubicBezTo>
                  <a:cubicBezTo>
                    <a:pt x="113" y="7"/>
                    <a:pt x="94" y="0"/>
                    <a:pt x="74" y="0"/>
                  </a:cubicBezTo>
                  <a:cubicBezTo>
                    <a:pt x="54" y="0"/>
                    <a:pt x="36" y="7"/>
                    <a:pt x="22" y="22"/>
                  </a:cubicBezTo>
                  <a:cubicBezTo>
                    <a:pt x="7" y="36"/>
                    <a:pt x="0" y="54"/>
                    <a:pt x="0" y="74"/>
                  </a:cubicBezTo>
                  <a:cubicBezTo>
                    <a:pt x="0" y="94"/>
                    <a:pt x="7" y="113"/>
                    <a:pt x="22" y="127"/>
                  </a:cubicBezTo>
                  <a:cubicBezTo>
                    <a:pt x="82" y="187"/>
                    <a:pt x="82" y="187"/>
                    <a:pt x="82" y="187"/>
                  </a:cubicBezTo>
                  <a:cubicBezTo>
                    <a:pt x="142" y="248"/>
                    <a:pt x="142" y="248"/>
                    <a:pt x="142" y="248"/>
                  </a:cubicBezTo>
                  <a:cubicBezTo>
                    <a:pt x="156" y="262"/>
                    <a:pt x="175" y="270"/>
                    <a:pt x="195" y="270"/>
                  </a:cubicBezTo>
                  <a:cubicBezTo>
                    <a:pt x="215" y="270"/>
                    <a:pt x="234" y="262"/>
                    <a:pt x="248" y="248"/>
                  </a:cubicBezTo>
                  <a:cubicBezTo>
                    <a:pt x="262" y="234"/>
                    <a:pt x="270" y="215"/>
                    <a:pt x="270" y="195"/>
                  </a:cubicBezTo>
                  <a:cubicBezTo>
                    <a:pt x="270" y="175"/>
                    <a:pt x="262" y="156"/>
                    <a:pt x="248" y="142"/>
                  </a:cubicBezTo>
                  <a:close/>
                  <a:moveTo>
                    <a:pt x="240" y="167"/>
                  </a:moveTo>
                  <a:cubicBezTo>
                    <a:pt x="118" y="167"/>
                    <a:pt x="118" y="167"/>
                    <a:pt x="118" y="167"/>
                  </a:cubicBezTo>
                  <a:cubicBezTo>
                    <a:pt x="139" y="145"/>
                    <a:pt x="139" y="145"/>
                    <a:pt x="139" y="145"/>
                  </a:cubicBezTo>
                  <a:cubicBezTo>
                    <a:pt x="220" y="145"/>
                    <a:pt x="220" y="145"/>
                    <a:pt x="220" y="145"/>
                  </a:cubicBezTo>
                  <a:cubicBezTo>
                    <a:pt x="220" y="145"/>
                    <a:pt x="220" y="145"/>
                    <a:pt x="220" y="145"/>
                  </a:cubicBezTo>
                  <a:cubicBezTo>
                    <a:pt x="233" y="157"/>
                    <a:pt x="233" y="157"/>
                    <a:pt x="233" y="157"/>
                  </a:cubicBezTo>
                  <a:cubicBezTo>
                    <a:pt x="236" y="160"/>
                    <a:pt x="238" y="163"/>
                    <a:pt x="240" y="167"/>
                  </a:cubicBezTo>
                  <a:close/>
                  <a:moveTo>
                    <a:pt x="248" y="195"/>
                  </a:moveTo>
                  <a:cubicBezTo>
                    <a:pt x="248" y="200"/>
                    <a:pt x="247" y="205"/>
                    <a:pt x="246" y="209"/>
                  </a:cubicBezTo>
                  <a:cubicBezTo>
                    <a:pt x="135" y="209"/>
                    <a:pt x="135" y="209"/>
                    <a:pt x="135" y="209"/>
                  </a:cubicBezTo>
                  <a:cubicBezTo>
                    <a:pt x="135" y="210"/>
                    <a:pt x="135" y="210"/>
                    <a:pt x="135" y="210"/>
                  </a:cubicBezTo>
                  <a:cubicBezTo>
                    <a:pt x="113" y="188"/>
                    <a:pt x="113" y="188"/>
                    <a:pt x="113" y="188"/>
                  </a:cubicBezTo>
                  <a:cubicBezTo>
                    <a:pt x="248" y="188"/>
                    <a:pt x="248" y="188"/>
                    <a:pt x="248" y="188"/>
                  </a:cubicBezTo>
                  <a:cubicBezTo>
                    <a:pt x="248" y="190"/>
                    <a:pt x="248" y="193"/>
                    <a:pt x="248" y="195"/>
                  </a:cubicBezTo>
                  <a:close/>
                  <a:moveTo>
                    <a:pt x="180" y="105"/>
                  </a:moveTo>
                  <a:cubicBezTo>
                    <a:pt x="199" y="124"/>
                    <a:pt x="199" y="124"/>
                    <a:pt x="199" y="124"/>
                  </a:cubicBezTo>
                  <a:cubicBezTo>
                    <a:pt x="160" y="124"/>
                    <a:pt x="160" y="124"/>
                    <a:pt x="160" y="124"/>
                  </a:cubicBezTo>
                  <a:lnTo>
                    <a:pt x="180" y="105"/>
                  </a:lnTo>
                  <a:close/>
                  <a:moveTo>
                    <a:pt x="21" y="74"/>
                  </a:moveTo>
                  <a:cubicBezTo>
                    <a:pt x="21" y="60"/>
                    <a:pt x="27" y="47"/>
                    <a:pt x="37" y="37"/>
                  </a:cubicBezTo>
                  <a:cubicBezTo>
                    <a:pt x="47" y="27"/>
                    <a:pt x="60" y="21"/>
                    <a:pt x="74" y="21"/>
                  </a:cubicBezTo>
                  <a:cubicBezTo>
                    <a:pt x="89" y="21"/>
                    <a:pt x="102" y="27"/>
                    <a:pt x="112" y="37"/>
                  </a:cubicBezTo>
                  <a:cubicBezTo>
                    <a:pt x="165" y="89"/>
                    <a:pt x="165" y="89"/>
                    <a:pt x="165" y="89"/>
                  </a:cubicBezTo>
                  <a:cubicBezTo>
                    <a:pt x="89" y="165"/>
                    <a:pt x="89" y="165"/>
                    <a:pt x="89" y="165"/>
                  </a:cubicBezTo>
                  <a:cubicBezTo>
                    <a:pt x="37" y="112"/>
                    <a:pt x="37" y="112"/>
                    <a:pt x="37" y="112"/>
                  </a:cubicBezTo>
                  <a:cubicBezTo>
                    <a:pt x="27" y="102"/>
                    <a:pt x="21" y="89"/>
                    <a:pt x="21" y="74"/>
                  </a:cubicBezTo>
                  <a:close/>
                  <a:moveTo>
                    <a:pt x="195" y="248"/>
                  </a:moveTo>
                  <a:cubicBezTo>
                    <a:pt x="181" y="248"/>
                    <a:pt x="167" y="243"/>
                    <a:pt x="157" y="233"/>
                  </a:cubicBezTo>
                  <a:cubicBezTo>
                    <a:pt x="155" y="231"/>
                    <a:pt x="155" y="231"/>
                    <a:pt x="155" y="231"/>
                  </a:cubicBezTo>
                  <a:cubicBezTo>
                    <a:pt x="234" y="231"/>
                    <a:pt x="234" y="231"/>
                    <a:pt x="234" y="231"/>
                  </a:cubicBezTo>
                  <a:cubicBezTo>
                    <a:pt x="234" y="231"/>
                    <a:pt x="233" y="232"/>
                    <a:pt x="233" y="233"/>
                  </a:cubicBezTo>
                  <a:cubicBezTo>
                    <a:pt x="223" y="243"/>
                    <a:pt x="209" y="248"/>
                    <a:pt x="195" y="248"/>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0" name="Freeform 329"/>
            <p:cNvSpPr>
              <a:spLocks noEditPoints="1"/>
            </p:cNvSpPr>
            <p:nvPr/>
          </p:nvSpPr>
          <p:spPr bwMode="auto">
            <a:xfrm>
              <a:off x="5029" y="11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5" name="Rectangle 14"/>
          <p:cNvSpPr/>
          <p:nvPr/>
        </p:nvSpPr>
        <p:spPr>
          <a:xfrm>
            <a:off x="6358521" y="5335004"/>
            <a:ext cx="2368467" cy="661568"/>
          </a:xfrm>
          <a:prstGeom prst="round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nchorCtr="0"/>
          <a:lstStyle/>
          <a:p>
            <a:r>
              <a:rPr lang="en-US" sz="1400" dirty="0">
                <a:solidFill>
                  <a:schemeClr val="bg1"/>
                </a:solidFill>
              </a:rPr>
              <a:t>XXXXX</a:t>
            </a:r>
          </a:p>
        </p:txBody>
      </p:sp>
      <p:grpSp>
        <p:nvGrpSpPr>
          <p:cNvPr id="252" name="Group 475"/>
          <p:cNvGrpSpPr>
            <a:grpSpLocks noChangeAspect="1"/>
          </p:cNvGrpSpPr>
          <p:nvPr/>
        </p:nvGrpSpPr>
        <p:grpSpPr bwMode="auto">
          <a:xfrm>
            <a:off x="6623119" y="5471232"/>
            <a:ext cx="367631" cy="368713"/>
            <a:chOff x="5414" y="3704"/>
            <a:chExt cx="340" cy="341"/>
          </a:xfrm>
          <a:solidFill>
            <a:schemeClr val="bg1"/>
          </a:solidFill>
        </p:grpSpPr>
        <p:sp>
          <p:nvSpPr>
            <p:cNvPr id="253" name="Freeform 476"/>
            <p:cNvSpPr>
              <a:spLocks noEditPoints="1"/>
            </p:cNvSpPr>
            <p:nvPr/>
          </p:nvSpPr>
          <p:spPr bwMode="auto">
            <a:xfrm>
              <a:off x="5506" y="3768"/>
              <a:ext cx="184" cy="213"/>
            </a:xfrm>
            <a:custGeom>
              <a:avLst/>
              <a:gdLst>
                <a:gd name="T0" fmla="*/ 182 w 278"/>
                <a:gd name="T1" fmla="*/ 213 h 320"/>
                <a:gd name="T2" fmla="*/ 182 w 278"/>
                <a:gd name="T3" fmla="*/ 309 h 320"/>
                <a:gd name="T4" fmla="*/ 171 w 278"/>
                <a:gd name="T5" fmla="*/ 320 h 320"/>
                <a:gd name="T6" fmla="*/ 11 w 278"/>
                <a:gd name="T7" fmla="*/ 320 h 320"/>
                <a:gd name="T8" fmla="*/ 0 w 278"/>
                <a:gd name="T9" fmla="*/ 309 h 320"/>
                <a:gd name="T10" fmla="*/ 0 w 278"/>
                <a:gd name="T11" fmla="*/ 10 h 320"/>
                <a:gd name="T12" fmla="*/ 11 w 278"/>
                <a:gd name="T13" fmla="*/ 0 h 320"/>
                <a:gd name="T14" fmla="*/ 171 w 278"/>
                <a:gd name="T15" fmla="*/ 0 h 320"/>
                <a:gd name="T16" fmla="*/ 182 w 278"/>
                <a:gd name="T17" fmla="*/ 10 h 320"/>
                <a:gd name="T18" fmla="*/ 182 w 278"/>
                <a:gd name="T19" fmla="*/ 106 h 320"/>
                <a:gd name="T20" fmla="*/ 171 w 278"/>
                <a:gd name="T21" fmla="*/ 117 h 320"/>
                <a:gd name="T22" fmla="*/ 160 w 278"/>
                <a:gd name="T23" fmla="*/ 106 h 320"/>
                <a:gd name="T24" fmla="*/ 160 w 278"/>
                <a:gd name="T25" fmla="*/ 21 h 320"/>
                <a:gd name="T26" fmla="*/ 22 w 278"/>
                <a:gd name="T27" fmla="*/ 21 h 320"/>
                <a:gd name="T28" fmla="*/ 22 w 278"/>
                <a:gd name="T29" fmla="*/ 298 h 320"/>
                <a:gd name="T30" fmla="*/ 160 w 278"/>
                <a:gd name="T31" fmla="*/ 298 h 320"/>
                <a:gd name="T32" fmla="*/ 160 w 278"/>
                <a:gd name="T33" fmla="*/ 213 h 320"/>
                <a:gd name="T34" fmla="*/ 171 w 278"/>
                <a:gd name="T35" fmla="*/ 202 h 320"/>
                <a:gd name="T36" fmla="*/ 182 w 278"/>
                <a:gd name="T37" fmla="*/ 213 h 320"/>
                <a:gd name="T38" fmla="*/ 277 w 278"/>
                <a:gd name="T39" fmla="*/ 156 h 320"/>
                <a:gd name="T40" fmla="*/ 275 w 278"/>
                <a:gd name="T41" fmla="*/ 152 h 320"/>
                <a:gd name="T42" fmla="*/ 232 w 278"/>
                <a:gd name="T43" fmla="*/ 109 h 320"/>
                <a:gd name="T44" fmla="*/ 217 w 278"/>
                <a:gd name="T45" fmla="*/ 109 h 320"/>
                <a:gd name="T46" fmla="*/ 217 w 278"/>
                <a:gd name="T47" fmla="*/ 125 h 320"/>
                <a:gd name="T48" fmla="*/ 241 w 278"/>
                <a:gd name="T49" fmla="*/ 149 h 320"/>
                <a:gd name="T50" fmla="*/ 86 w 278"/>
                <a:gd name="T51" fmla="*/ 149 h 320"/>
                <a:gd name="T52" fmla="*/ 75 w 278"/>
                <a:gd name="T53" fmla="*/ 160 h 320"/>
                <a:gd name="T54" fmla="*/ 86 w 278"/>
                <a:gd name="T55" fmla="*/ 170 h 320"/>
                <a:gd name="T56" fmla="*/ 241 w 278"/>
                <a:gd name="T57" fmla="*/ 170 h 320"/>
                <a:gd name="T58" fmla="*/ 217 w 278"/>
                <a:gd name="T59" fmla="*/ 195 h 320"/>
                <a:gd name="T60" fmla="*/ 217 w 278"/>
                <a:gd name="T61" fmla="*/ 210 h 320"/>
                <a:gd name="T62" fmla="*/ 224 w 278"/>
                <a:gd name="T63" fmla="*/ 213 h 320"/>
                <a:gd name="T64" fmla="*/ 232 w 278"/>
                <a:gd name="T65" fmla="*/ 210 h 320"/>
                <a:gd name="T66" fmla="*/ 275 w 278"/>
                <a:gd name="T67" fmla="*/ 167 h 320"/>
                <a:gd name="T68" fmla="*/ 277 w 278"/>
                <a:gd name="T69" fmla="*/ 164 h 320"/>
                <a:gd name="T70" fmla="*/ 277 w 278"/>
                <a:gd name="T71" fmla="*/ 1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8" h="320">
                  <a:moveTo>
                    <a:pt x="182" y="213"/>
                  </a:moveTo>
                  <a:cubicBezTo>
                    <a:pt x="182" y="309"/>
                    <a:pt x="182" y="309"/>
                    <a:pt x="182" y="309"/>
                  </a:cubicBezTo>
                  <a:cubicBezTo>
                    <a:pt x="182" y="315"/>
                    <a:pt x="177" y="320"/>
                    <a:pt x="171" y="320"/>
                  </a:cubicBezTo>
                  <a:cubicBezTo>
                    <a:pt x="11" y="320"/>
                    <a:pt x="11" y="320"/>
                    <a:pt x="11" y="320"/>
                  </a:cubicBezTo>
                  <a:cubicBezTo>
                    <a:pt x="5" y="320"/>
                    <a:pt x="0" y="315"/>
                    <a:pt x="0" y="309"/>
                  </a:cubicBezTo>
                  <a:cubicBezTo>
                    <a:pt x="0" y="10"/>
                    <a:pt x="0" y="10"/>
                    <a:pt x="0" y="10"/>
                  </a:cubicBezTo>
                  <a:cubicBezTo>
                    <a:pt x="0" y="4"/>
                    <a:pt x="5" y="0"/>
                    <a:pt x="11" y="0"/>
                  </a:cubicBezTo>
                  <a:cubicBezTo>
                    <a:pt x="171" y="0"/>
                    <a:pt x="171" y="0"/>
                    <a:pt x="171" y="0"/>
                  </a:cubicBezTo>
                  <a:cubicBezTo>
                    <a:pt x="177" y="0"/>
                    <a:pt x="182" y="4"/>
                    <a:pt x="182" y="10"/>
                  </a:cubicBezTo>
                  <a:cubicBezTo>
                    <a:pt x="182" y="106"/>
                    <a:pt x="182" y="106"/>
                    <a:pt x="182" y="106"/>
                  </a:cubicBezTo>
                  <a:cubicBezTo>
                    <a:pt x="182" y="112"/>
                    <a:pt x="177" y="117"/>
                    <a:pt x="171" y="117"/>
                  </a:cubicBezTo>
                  <a:cubicBezTo>
                    <a:pt x="165" y="117"/>
                    <a:pt x="160" y="112"/>
                    <a:pt x="160" y="106"/>
                  </a:cubicBezTo>
                  <a:cubicBezTo>
                    <a:pt x="160" y="21"/>
                    <a:pt x="160" y="21"/>
                    <a:pt x="160" y="21"/>
                  </a:cubicBezTo>
                  <a:cubicBezTo>
                    <a:pt x="22" y="21"/>
                    <a:pt x="22" y="21"/>
                    <a:pt x="22" y="21"/>
                  </a:cubicBezTo>
                  <a:cubicBezTo>
                    <a:pt x="22" y="298"/>
                    <a:pt x="22" y="298"/>
                    <a:pt x="22" y="298"/>
                  </a:cubicBezTo>
                  <a:cubicBezTo>
                    <a:pt x="160" y="298"/>
                    <a:pt x="160" y="298"/>
                    <a:pt x="160" y="298"/>
                  </a:cubicBezTo>
                  <a:cubicBezTo>
                    <a:pt x="160" y="213"/>
                    <a:pt x="160" y="213"/>
                    <a:pt x="160" y="213"/>
                  </a:cubicBezTo>
                  <a:cubicBezTo>
                    <a:pt x="160" y="207"/>
                    <a:pt x="165" y="202"/>
                    <a:pt x="171" y="202"/>
                  </a:cubicBezTo>
                  <a:cubicBezTo>
                    <a:pt x="177" y="202"/>
                    <a:pt x="182" y="207"/>
                    <a:pt x="182" y="213"/>
                  </a:cubicBezTo>
                  <a:close/>
                  <a:moveTo>
                    <a:pt x="277" y="156"/>
                  </a:moveTo>
                  <a:cubicBezTo>
                    <a:pt x="276" y="154"/>
                    <a:pt x="276" y="153"/>
                    <a:pt x="275" y="152"/>
                  </a:cubicBezTo>
                  <a:cubicBezTo>
                    <a:pt x="232" y="109"/>
                    <a:pt x="232" y="109"/>
                    <a:pt x="232" y="109"/>
                  </a:cubicBezTo>
                  <a:cubicBezTo>
                    <a:pt x="228" y="105"/>
                    <a:pt x="221" y="105"/>
                    <a:pt x="217" y="109"/>
                  </a:cubicBezTo>
                  <a:cubicBezTo>
                    <a:pt x="213" y="114"/>
                    <a:pt x="213" y="120"/>
                    <a:pt x="217" y="125"/>
                  </a:cubicBezTo>
                  <a:cubicBezTo>
                    <a:pt x="241" y="149"/>
                    <a:pt x="241" y="149"/>
                    <a:pt x="241" y="149"/>
                  </a:cubicBezTo>
                  <a:cubicBezTo>
                    <a:pt x="86" y="149"/>
                    <a:pt x="86" y="149"/>
                    <a:pt x="86" y="149"/>
                  </a:cubicBezTo>
                  <a:cubicBezTo>
                    <a:pt x="80" y="149"/>
                    <a:pt x="75" y="154"/>
                    <a:pt x="75" y="160"/>
                  </a:cubicBezTo>
                  <a:cubicBezTo>
                    <a:pt x="75" y="166"/>
                    <a:pt x="80" y="170"/>
                    <a:pt x="86" y="170"/>
                  </a:cubicBezTo>
                  <a:cubicBezTo>
                    <a:pt x="241" y="170"/>
                    <a:pt x="241" y="170"/>
                    <a:pt x="241" y="170"/>
                  </a:cubicBezTo>
                  <a:cubicBezTo>
                    <a:pt x="217" y="195"/>
                    <a:pt x="217" y="195"/>
                    <a:pt x="217" y="195"/>
                  </a:cubicBezTo>
                  <a:cubicBezTo>
                    <a:pt x="213" y="199"/>
                    <a:pt x="213" y="206"/>
                    <a:pt x="217" y="210"/>
                  </a:cubicBezTo>
                  <a:cubicBezTo>
                    <a:pt x="219" y="212"/>
                    <a:pt x="222" y="213"/>
                    <a:pt x="224" y="213"/>
                  </a:cubicBezTo>
                  <a:cubicBezTo>
                    <a:pt x="227" y="213"/>
                    <a:pt x="230" y="212"/>
                    <a:pt x="232" y="210"/>
                  </a:cubicBezTo>
                  <a:cubicBezTo>
                    <a:pt x="275" y="167"/>
                    <a:pt x="275" y="167"/>
                    <a:pt x="275" y="167"/>
                  </a:cubicBezTo>
                  <a:cubicBezTo>
                    <a:pt x="276" y="166"/>
                    <a:pt x="276" y="165"/>
                    <a:pt x="277" y="164"/>
                  </a:cubicBezTo>
                  <a:cubicBezTo>
                    <a:pt x="278" y="161"/>
                    <a:pt x="278" y="158"/>
                    <a:pt x="277" y="156"/>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4" name="Freeform 477"/>
            <p:cNvSpPr>
              <a:spLocks noEditPoints="1"/>
            </p:cNvSpPr>
            <p:nvPr/>
          </p:nvSpPr>
          <p:spPr bwMode="auto">
            <a:xfrm>
              <a:off x="5414" y="370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ustDataLst>
      <p:tags r:id="rId1"/>
    </p:custDataLst>
    <p:extLst>
      <p:ext uri="{BB962C8B-B14F-4D97-AF65-F5344CB8AC3E}">
        <p14:creationId xmlns:p14="http://schemas.microsoft.com/office/powerpoint/2010/main" val="1734114661"/>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494A717-4294-43EB-A529-EC152A21B335}"/>
              </a:ext>
            </a:extLst>
          </p:cNvPr>
          <p:cNvGrpSpPr/>
          <p:nvPr/>
        </p:nvGrpSpPr>
        <p:grpSpPr>
          <a:xfrm>
            <a:off x="4076223" y="761445"/>
            <a:ext cx="4039554" cy="6096555"/>
            <a:chOff x="4557685" y="1976488"/>
            <a:chExt cx="3234472" cy="4881513"/>
          </a:xfrm>
        </p:grpSpPr>
        <p:sp>
          <p:nvSpPr>
            <p:cNvPr id="19" name="Rounded Rectangle 32">
              <a:extLst>
                <a:ext uri="{FF2B5EF4-FFF2-40B4-BE49-F238E27FC236}">
                  <a16:creationId xmlns:a16="http://schemas.microsoft.com/office/drawing/2014/main" id="{AE4BA075-7A11-7548-9215-196875F4962F}"/>
                </a:ext>
              </a:extLst>
            </p:cNvPr>
            <p:cNvSpPr/>
            <p:nvPr/>
          </p:nvSpPr>
          <p:spPr>
            <a:xfrm>
              <a:off x="6432783" y="2896692"/>
              <a:ext cx="719071" cy="2076904"/>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ounded Rectangle 32">
              <a:extLst>
                <a:ext uri="{FF2B5EF4-FFF2-40B4-BE49-F238E27FC236}">
                  <a16:creationId xmlns:a16="http://schemas.microsoft.com/office/drawing/2014/main" id="{FC72037E-8A0E-BB40-9D10-F81FE33F7D2F}"/>
                </a:ext>
              </a:extLst>
            </p:cNvPr>
            <p:cNvSpPr/>
            <p:nvPr/>
          </p:nvSpPr>
          <p:spPr>
            <a:xfrm>
              <a:off x="6682196" y="4063575"/>
              <a:ext cx="469658" cy="915548"/>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ounded Rectangle 32">
              <a:extLst>
                <a:ext uri="{FF2B5EF4-FFF2-40B4-BE49-F238E27FC236}">
                  <a16:creationId xmlns:a16="http://schemas.microsoft.com/office/drawing/2014/main" id="{89707C9C-DB91-D744-A10F-DD097588C778}"/>
                </a:ext>
              </a:extLst>
            </p:cNvPr>
            <p:cNvSpPr/>
            <p:nvPr/>
          </p:nvSpPr>
          <p:spPr>
            <a:xfrm flipH="1">
              <a:off x="5252073" y="2291367"/>
              <a:ext cx="927536" cy="2682228"/>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ounded Rectangle 32">
              <a:extLst>
                <a:ext uri="{FF2B5EF4-FFF2-40B4-BE49-F238E27FC236}">
                  <a16:creationId xmlns:a16="http://schemas.microsoft.com/office/drawing/2014/main" id="{BB606005-07BE-D741-8E36-128B86187CFE}"/>
                </a:ext>
              </a:extLst>
            </p:cNvPr>
            <p:cNvSpPr/>
            <p:nvPr/>
          </p:nvSpPr>
          <p:spPr>
            <a:xfrm flipH="1">
              <a:off x="5232583" y="3349704"/>
              <a:ext cx="694939" cy="1623893"/>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ounded Rectangle 32">
              <a:extLst>
                <a:ext uri="{FF2B5EF4-FFF2-40B4-BE49-F238E27FC236}">
                  <a16:creationId xmlns:a16="http://schemas.microsoft.com/office/drawing/2014/main" id="{2A6B88DE-C83B-354C-9472-6345075B763C}"/>
                </a:ext>
              </a:extLst>
            </p:cNvPr>
            <p:cNvSpPr/>
            <p:nvPr/>
          </p:nvSpPr>
          <p:spPr>
            <a:xfrm flipH="1">
              <a:off x="5225985" y="4465764"/>
              <a:ext cx="449651" cy="507832"/>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84C87A49-57C9-B944-A198-E8AF08F4F3FD}"/>
                </a:ext>
              </a:extLst>
            </p:cNvPr>
            <p:cNvSpPr/>
            <p:nvPr/>
          </p:nvSpPr>
          <p:spPr>
            <a:xfrm>
              <a:off x="5190358" y="5271952"/>
              <a:ext cx="633463" cy="158604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25" name="Rectangle 24">
              <a:extLst>
                <a:ext uri="{FF2B5EF4-FFF2-40B4-BE49-F238E27FC236}">
                  <a16:creationId xmlns:a16="http://schemas.microsoft.com/office/drawing/2014/main" id="{7E4707D1-6617-CA45-9721-5DBF6450746C}"/>
                </a:ext>
              </a:extLst>
            </p:cNvPr>
            <p:cNvSpPr/>
            <p:nvPr/>
          </p:nvSpPr>
          <p:spPr>
            <a:xfrm>
              <a:off x="5820740" y="5271952"/>
              <a:ext cx="698243" cy="158604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26" name="Rectangle 25">
              <a:extLst>
                <a:ext uri="{FF2B5EF4-FFF2-40B4-BE49-F238E27FC236}">
                  <a16:creationId xmlns:a16="http://schemas.microsoft.com/office/drawing/2014/main" id="{FB051745-1047-FB43-B636-9CA65C022CAA}"/>
                </a:ext>
              </a:extLst>
            </p:cNvPr>
            <p:cNvSpPr/>
            <p:nvPr/>
          </p:nvSpPr>
          <p:spPr>
            <a:xfrm>
              <a:off x="6515887" y="5267264"/>
              <a:ext cx="633463" cy="159073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27" name="Rectangle 26">
              <a:extLst>
                <a:ext uri="{FF2B5EF4-FFF2-40B4-BE49-F238E27FC236}">
                  <a16:creationId xmlns:a16="http://schemas.microsoft.com/office/drawing/2014/main" id="{A6486728-3C94-F347-9BC0-AF1DE5D303BA}"/>
                </a:ext>
              </a:extLst>
            </p:cNvPr>
            <p:cNvSpPr/>
            <p:nvPr/>
          </p:nvSpPr>
          <p:spPr>
            <a:xfrm>
              <a:off x="4557685" y="5271952"/>
              <a:ext cx="633463" cy="15860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28" name="Rectangle 27">
              <a:extLst>
                <a:ext uri="{FF2B5EF4-FFF2-40B4-BE49-F238E27FC236}">
                  <a16:creationId xmlns:a16="http://schemas.microsoft.com/office/drawing/2014/main" id="{4D3101C6-3F82-684A-8DAB-962A5D8C5DB6}"/>
                </a:ext>
              </a:extLst>
            </p:cNvPr>
            <p:cNvSpPr/>
            <p:nvPr/>
          </p:nvSpPr>
          <p:spPr>
            <a:xfrm>
              <a:off x="7147150" y="5267263"/>
              <a:ext cx="633463" cy="159073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29" name="Freeform 28">
              <a:extLst>
                <a:ext uri="{FF2B5EF4-FFF2-40B4-BE49-F238E27FC236}">
                  <a16:creationId xmlns:a16="http://schemas.microsoft.com/office/drawing/2014/main" id="{CBA05504-56F5-C347-89D3-2C72D1D88D5D}"/>
                </a:ext>
              </a:extLst>
            </p:cNvPr>
            <p:cNvSpPr/>
            <p:nvPr/>
          </p:nvSpPr>
          <p:spPr>
            <a:xfrm>
              <a:off x="4559275" y="4951428"/>
              <a:ext cx="1254369" cy="323084"/>
            </a:xfrm>
            <a:custGeom>
              <a:avLst/>
              <a:gdLst>
                <a:gd name="connsiteX0" fmla="*/ 983443 w 1254369"/>
                <a:gd name="connsiteY0" fmla="*/ 0 h 323084"/>
                <a:gd name="connsiteX1" fmla="*/ 986644 w 1254369"/>
                <a:gd name="connsiteY1" fmla="*/ 0 h 323084"/>
                <a:gd name="connsiteX2" fmla="*/ 1058224 w 1254369"/>
                <a:gd name="connsiteY2" fmla="*/ 0 h 323084"/>
                <a:gd name="connsiteX3" fmla="*/ 1063213 w 1254369"/>
                <a:gd name="connsiteY3" fmla="*/ 0 h 323084"/>
                <a:gd name="connsiteX4" fmla="*/ 1174598 w 1254369"/>
                <a:gd name="connsiteY4" fmla="*/ 0 h 323084"/>
                <a:gd name="connsiteX5" fmla="*/ 1226451 w 1254369"/>
                <a:gd name="connsiteY5" fmla="*/ 0 h 323084"/>
                <a:gd name="connsiteX6" fmla="*/ 1254368 w 1254369"/>
                <a:gd name="connsiteY6" fmla="*/ 0 h 323084"/>
                <a:gd name="connsiteX7" fmla="*/ 1254369 w 1254369"/>
                <a:gd name="connsiteY7" fmla="*/ 0 h 323084"/>
                <a:gd name="connsiteX8" fmla="*/ 632881 w 1254369"/>
                <a:gd name="connsiteY8" fmla="*/ 323084 h 323084"/>
                <a:gd name="connsiteX9" fmla="*/ 488294 w 1254369"/>
                <a:gd name="connsiteY9" fmla="*/ 323084 h 323084"/>
                <a:gd name="connsiteX10" fmla="*/ 436736 w 1254369"/>
                <a:gd name="connsiteY10" fmla="*/ 323084 h 323084"/>
                <a:gd name="connsiteX11" fmla="*/ 408524 w 1254369"/>
                <a:gd name="connsiteY11" fmla="*/ 323084 h 323084"/>
                <a:gd name="connsiteX12" fmla="*/ 297139 w 1254369"/>
                <a:gd name="connsiteY12" fmla="*/ 323084 h 323084"/>
                <a:gd name="connsiteX13" fmla="*/ 239807 w 1254369"/>
                <a:gd name="connsiteY13" fmla="*/ 323084 h 323084"/>
                <a:gd name="connsiteX14" fmla="*/ 217369 w 1254369"/>
                <a:gd name="connsiteY14" fmla="*/ 323084 h 323084"/>
                <a:gd name="connsiteX15" fmla="*/ 0 w 1254369"/>
                <a:gd name="connsiteY15" fmla="*/ 323084 h 323084"/>
                <a:gd name="connsiteX16" fmla="*/ 972326 w 1254369"/>
                <a:gd name="connsiteY16" fmla="*/ 4689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4369" h="323084">
                  <a:moveTo>
                    <a:pt x="983443" y="0"/>
                  </a:moveTo>
                  <a:lnTo>
                    <a:pt x="986644" y="0"/>
                  </a:lnTo>
                  <a:lnTo>
                    <a:pt x="1058224" y="0"/>
                  </a:lnTo>
                  <a:lnTo>
                    <a:pt x="1063213" y="0"/>
                  </a:lnTo>
                  <a:lnTo>
                    <a:pt x="1174598" y="0"/>
                  </a:lnTo>
                  <a:lnTo>
                    <a:pt x="1226451" y="0"/>
                  </a:lnTo>
                  <a:lnTo>
                    <a:pt x="1254368" y="0"/>
                  </a:lnTo>
                  <a:lnTo>
                    <a:pt x="1254369" y="0"/>
                  </a:lnTo>
                  <a:lnTo>
                    <a:pt x="632881" y="323084"/>
                  </a:lnTo>
                  <a:lnTo>
                    <a:pt x="488294" y="323084"/>
                  </a:lnTo>
                  <a:lnTo>
                    <a:pt x="436736" y="323084"/>
                  </a:lnTo>
                  <a:lnTo>
                    <a:pt x="408524" y="323084"/>
                  </a:lnTo>
                  <a:lnTo>
                    <a:pt x="297139" y="323084"/>
                  </a:lnTo>
                  <a:lnTo>
                    <a:pt x="239807" y="323084"/>
                  </a:lnTo>
                  <a:lnTo>
                    <a:pt x="217369" y="323084"/>
                  </a:lnTo>
                  <a:lnTo>
                    <a:pt x="0" y="323084"/>
                  </a:lnTo>
                  <a:lnTo>
                    <a:pt x="972326" y="4689"/>
                  </a:lnTo>
                  <a:close/>
                </a:path>
              </a:pathLst>
            </a:cu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30" name="Freeform 29">
              <a:extLst>
                <a:ext uri="{FF2B5EF4-FFF2-40B4-BE49-F238E27FC236}">
                  <a16:creationId xmlns:a16="http://schemas.microsoft.com/office/drawing/2014/main" id="{6BF14B81-9635-7443-A888-FECE4EFFA4E3}"/>
                </a:ext>
              </a:extLst>
            </p:cNvPr>
            <p:cNvSpPr/>
            <p:nvPr/>
          </p:nvSpPr>
          <p:spPr>
            <a:xfrm>
              <a:off x="5172782" y="4951428"/>
              <a:ext cx="885826" cy="323084"/>
            </a:xfrm>
            <a:custGeom>
              <a:avLst/>
              <a:gdLst>
                <a:gd name="connsiteX0" fmla="*/ 629306 w 885826"/>
                <a:gd name="connsiteY0" fmla="*/ 0 h 323084"/>
                <a:gd name="connsiteX1" fmla="*/ 629925 w 885826"/>
                <a:gd name="connsiteY1" fmla="*/ 0 h 323084"/>
                <a:gd name="connsiteX2" fmla="*/ 652708 w 885826"/>
                <a:gd name="connsiteY2" fmla="*/ 0 h 323084"/>
                <a:gd name="connsiteX3" fmla="*/ 668782 w 885826"/>
                <a:gd name="connsiteY3" fmla="*/ 0 h 323084"/>
                <a:gd name="connsiteX4" fmla="*/ 827277 w 885826"/>
                <a:gd name="connsiteY4" fmla="*/ 0 h 323084"/>
                <a:gd name="connsiteX5" fmla="*/ 859249 w 885826"/>
                <a:gd name="connsiteY5" fmla="*/ 0 h 323084"/>
                <a:gd name="connsiteX6" fmla="*/ 879231 w 885826"/>
                <a:gd name="connsiteY6" fmla="*/ 0 h 323084"/>
                <a:gd name="connsiteX7" fmla="*/ 885826 w 885826"/>
                <a:gd name="connsiteY7" fmla="*/ 0 h 323084"/>
                <a:gd name="connsiteX8" fmla="*/ 662921 w 885826"/>
                <a:gd name="connsiteY8" fmla="*/ 323084 h 323084"/>
                <a:gd name="connsiteX9" fmla="*/ 472220 w 885826"/>
                <a:gd name="connsiteY9" fmla="*/ 323084 h 323084"/>
                <a:gd name="connsiteX10" fmla="*/ 429803 w 885826"/>
                <a:gd name="connsiteY10" fmla="*/ 323084 h 323084"/>
                <a:gd name="connsiteX11" fmla="*/ 401174 w 885826"/>
                <a:gd name="connsiteY11" fmla="*/ 323084 h 323084"/>
                <a:gd name="connsiteX12" fmla="*/ 281753 w 885826"/>
                <a:gd name="connsiteY12" fmla="*/ 323084 h 323084"/>
                <a:gd name="connsiteX13" fmla="*/ 249925 w 885826"/>
                <a:gd name="connsiteY13" fmla="*/ 323084 h 323084"/>
                <a:gd name="connsiteX14" fmla="*/ 203822 w 885826"/>
                <a:gd name="connsiteY14" fmla="*/ 323084 h 323084"/>
                <a:gd name="connsiteX15" fmla="*/ 0 w 885826"/>
                <a:gd name="connsiteY15" fmla="*/ 323084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85826" h="323084">
                  <a:moveTo>
                    <a:pt x="629306" y="0"/>
                  </a:moveTo>
                  <a:lnTo>
                    <a:pt x="629925" y="0"/>
                  </a:lnTo>
                  <a:lnTo>
                    <a:pt x="652708" y="0"/>
                  </a:lnTo>
                  <a:lnTo>
                    <a:pt x="668782" y="0"/>
                  </a:lnTo>
                  <a:lnTo>
                    <a:pt x="827277" y="0"/>
                  </a:lnTo>
                  <a:lnTo>
                    <a:pt x="859249" y="0"/>
                  </a:lnTo>
                  <a:lnTo>
                    <a:pt x="879231" y="0"/>
                  </a:lnTo>
                  <a:lnTo>
                    <a:pt x="885826" y="0"/>
                  </a:lnTo>
                  <a:lnTo>
                    <a:pt x="662921" y="323084"/>
                  </a:lnTo>
                  <a:lnTo>
                    <a:pt x="472220" y="323084"/>
                  </a:lnTo>
                  <a:lnTo>
                    <a:pt x="429803" y="323084"/>
                  </a:lnTo>
                  <a:lnTo>
                    <a:pt x="401174" y="323084"/>
                  </a:lnTo>
                  <a:lnTo>
                    <a:pt x="281753" y="323084"/>
                  </a:lnTo>
                  <a:lnTo>
                    <a:pt x="249925" y="323084"/>
                  </a:lnTo>
                  <a:lnTo>
                    <a:pt x="203822" y="323084"/>
                  </a:lnTo>
                  <a:lnTo>
                    <a:pt x="0" y="323084"/>
                  </a:ln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47" name="Freeform 46">
              <a:extLst>
                <a:ext uri="{FF2B5EF4-FFF2-40B4-BE49-F238E27FC236}">
                  <a16:creationId xmlns:a16="http://schemas.microsoft.com/office/drawing/2014/main" id="{21F9C010-5C24-6245-8DAE-6637CE603A81}"/>
                </a:ext>
              </a:extLst>
            </p:cNvPr>
            <p:cNvSpPr/>
            <p:nvPr/>
          </p:nvSpPr>
          <p:spPr>
            <a:xfrm flipH="1">
              <a:off x="6537788" y="4951428"/>
              <a:ext cx="1254369" cy="323084"/>
            </a:xfrm>
            <a:custGeom>
              <a:avLst/>
              <a:gdLst>
                <a:gd name="connsiteX0" fmla="*/ 1254369 w 1254369"/>
                <a:gd name="connsiteY0" fmla="*/ 0 h 323084"/>
                <a:gd name="connsiteX1" fmla="*/ 1254368 w 1254369"/>
                <a:gd name="connsiteY1" fmla="*/ 0 h 323084"/>
                <a:gd name="connsiteX2" fmla="*/ 1226451 w 1254369"/>
                <a:gd name="connsiteY2" fmla="*/ 0 h 323084"/>
                <a:gd name="connsiteX3" fmla="*/ 1174598 w 1254369"/>
                <a:gd name="connsiteY3" fmla="*/ 0 h 323084"/>
                <a:gd name="connsiteX4" fmla="*/ 1063213 w 1254369"/>
                <a:gd name="connsiteY4" fmla="*/ 0 h 323084"/>
                <a:gd name="connsiteX5" fmla="*/ 1058224 w 1254369"/>
                <a:gd name="connsiteY5" fmla="*/ 0 h 323084"/>
                <a:gd name="connsiteX6" fmla="*/ 986644 w 1254369"/>
                <a:gd name="connsiteY6" fmla="*/ 0 h 323084"/>
                <a:gd name="connsiteX7" fmla="*/ 983443 w 1254369"/>
                <a:gd name="connsiteY7" fmla="*/ 0 h 323084"/>
                <a:gd name="connsiteX8" fmla="*/ 972326 w 1254369"/>
                <a:gd name="connsiteY8" fmla="*/ 4689 h 323084"/>
                <a:gd name="connsiteX9" fmla="*/ 0 w 1254369"/>
                <a:gd name="connsiteY9" fmla="*/ 323084 h 323084"/>
                <a:gd name="connsiteX10" fmla="*/ 217369 w 1254369"/>
                <a:gd name="connsiteY10" fmla="*/ 323084 h 323084"/>
                <a:gd name="connsiteX11" fmla="*/ 239807 w 1254369"/>
                <a:gd name="connsiteY11" fmla="*/ 323084 h 323084"/>
                <a:gd name="connsiteX12" fmla="*/ 297139 w 1254369"/>
                <a:gd name="connsiteY12" fmla="*/ 323084 h 323084"/>
                <a:gd name="connsiteX13" fmla="*/ 408524 w 1254369"/>
                <a:gd name="connsiteY13" fmla="*/ 323084 h 323084"/>
                <a:gd name="connsiteX14" fmla="*/ 436736 w 1254369"/>
                <a:gd name="connsiteY14" fmla="*/ 323084 h 323084"/>
                <a:gd name="connsiteX15" fmla="*/ 488294 w 1254369"/>
                <a:gd name="connsiteY15" fmla="*/ 323084 h 323084"/>
                <a:gd name="connsiteX16" fmla="*/ 632881 w 1254369"/>
                <a:gd name="connsiteY16" fmla="*/ 323084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4369" h="323084">
                  <a:moveTo>
                    <a:pt x="1254369" y="0"/>
                  </a:moveTo>
                  <a:lnTo>
                    <a:pt x="1254368" y="0"/>
                  </a:lnTo>
                  <a:lnTo>
                    <a:pt x="1226451" y="0"/>
                  </a:lnTo>
                  <a:lnTo>
                    <a:pt x="1174598" y="0"/>
                  </a:lnTo>
                  <a:lnTo>
                    <a:pt x="1063213" y="0"/>
                  </a:lnTo>
                  <a:lnTo>
                    <a:pt x="1058224" y="0"/>
                  </a:lnTo>
                  <a:lnTo>
                    <a:pt x="986644" y="0"/>
                  </a:lnTo>
                  <a:lnTo>
                    <a:pt x="983443" y="0"/>
                  </a:lnTo>
                  <a:lnTo>
                    <a:pt x="972326" y="4689"/>
                  </a:lnTo>
                  <a:lnTo>
                    <a:pt x="0" y="323084"/>
                  </a:lnTo>
                  <a:lnTo>
                    <a:pt x="217369" y="323084"/>
                  </a:lnTo>
                  <a:lnTo>
                    <a:pt x="239807" y="323084"/>
                  </a:lnTo>
                  <a:lnTo>
                    <a:pt x="297139" y="323084"/>
                  </a:lnTo>
                  <a:lnTo>
                    <a:pt x="408524" y="323084"/>
                  </a:lnTo>
                  <a:lnTo>
                    <a:pt x="436736" y="323084"/>
                  </a:lnTo>
                  <a:lnTo>
                    <a:pt x="488294" y="323084"/>
                  </a:lnTo>
                  <a:lnTo>
                    <a:pt x="632881" y="323084"/>
                  </a:lnTo>
                  <a:close/>
                </a:path>
              </a:pathLst>
            </a:cu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48" name="Freeform 47">
              <a:extLst>
                <a:ext uri="{FF2B5EF4-FFF2-40B4-BE49-F238E27FC236}">
                  <a16:creationId xmlns:a16="http://schemas.microsoft.com/office/drawing/2014/main" id="{AE838916-0BC4-034D-8578-0CC14F1F88D1}"/>
                </a:ext>
              </a:extLst>
            </p:cNvPr>
            <p:cNvSpPr/>
            <p:nvPr/>
          </p:nvSpPr>
          <p:spPr>
            <a:xfrm flipH="1">
              <a:off x="6298693" y="4951428"/>
              <a:ext cx="879231" cy="323084"/>
            </a:xfrm>
            <a:custGeom>
              <a:avLst/>
              <a:gdLst>
                <a:gd name="connsiteX0" fmla="*/ 879231 w 879231"/>
                <a:gd name="connsiteY0" fmla="*/ 0 h 323084"/>
                <a:gd name="connsiteX1" fmla="*/ 871415 w 879231"/>
                <a:gd name="connsiteY1" fmla="*/ 0 h 323084"/>
                <a:gd name="connsiteX2" fmla="*/ 859249 w 879231"/>
                <a:gd name="connsiteY2" fmla="*/ 0 h 323084"/>
                <a:gd name="connsiteX3" fmla="*/ 827276 w 879231"/>
                <a:gd name="connsiteY3" fmla="*/ 0 h 323084"/>
                <a:gd name="connsiteX4" fmla="*/ 668782 w 879231"/>
                <a:gd name="connsiteY4" fmla="*/ 0 h 323084"/>
                <a:gd name="connsiteX5" fmla="*/ 652708 w 879231"/>
                <a:gd name="connsiteY5" fmla="*/ 0 h 323084"/>
                <a:gd name="connsiteX6" fmla="*/ 629924 w 879231"/>
                <a:gd name="connsiteY6" fmla="*/ 0 h 323084"/>
                <a:gd name="connsiteX7" fmla="*/ 629306 w 879231"/>
                <a:gd name="connsiteY7" fmla="*/ 0 h 323084"/>
                <a:gd name="connsiteX8" fmla="*/ 0 w 879231"/>
                <a:gd name="connsiteY8" fmla="*/ 323084 h 323084"/>
                <a:gd name="connsiteX9" fmla="*/ 203821 w 879231"/>
                <a:gd name="connsiteY9" fmla="*/ 323084 h 323084"/>
                <a:gd name="connsiteX10" fmla="*/ 249925 w 879231"/>
                <a:gd name="connsiteY10" fmla="*/ 323084 h 323084"/>
                <a:gd name="connsiteX11" fmla="*/ 281753 w 879231"/>
                <a:gd name="connsiteY11" fmla="*/ 323084 h 323084"/>
                <a:gd name="connsiteX12" fmla="*/ 401173 w 879231"/>
                <a:gd name="connsiteY12" fmla="*/ 323084 h 323084"/>
                <a:gd name="connsiteX13" fmla="*/ 429803 w 879231"/>
                <a:gd name="connsiteY13" fmla="*/ 323084 h 323084"/>
                <a:gd name="connsiteX14" fmla="*/ 472220 w 879231"/>
                <a:gd name="connsiteY14" fmla="*/ 323084 h 323084"/>
                <a:gd name="connsiteX15" fmla="*/ 648510 w 879231"/>
                <a:gd name="connsiteY15" fmla="*/ 323084 h 323084"/>
                <a:gd name="connsiteX16" fmla="*/ 867128 w 879231"/>
                <a:gd name="connsiteY16" fmla="*/ 6214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9231" h="323084">
                  <a:moveTo>
                    <a:pt x="879231" y="0"/>
                  </a:moveTo>
                  <a:lnTo>
                    <a:pt x="871415" y="0"/>
                  </a:lnTo>
                  <a:lnTo>
                    <a:pt x="859249" y="0"/>
                  </a:lnTo>
                  <a:lnTo>
                    <a:pt x="827276" y="0"/>
                  </a:lnTo>
                  <a:lnTo>
                    <a:pt x="668782" y="0"/>
                  </a:lnTo>
                  <a:lnTo>
                    <a:pt x="652708" y="0"/>
                  </a:lnTo>
                  <a:lnTo>
                    <a:pt x="629924" y="0"/>
                  </a:lnTo>
                  <a:lnTo>
                    <a:pt x="629306" y="0"/>
                  </a:lnTo>
                  <a:lnTo>
                    <a:pt x="0" y="323084"/>
                  </a:lnTo>
                  <a:lnTo>
                    <a:pt x="203821" y="323084"/>
                  </a:lnTo>
                  <a:lnTo>
                    <a:pt x="249925" y="323084"/>
                  </a:lnTo>
                  <a:lnTo>
                    <a:pt x="281753" y="323084"/>
                  </a:lnTo>
                  <a:lnTo>
                    <a:pt x="401173" y="323084"/>
                  </a:lnTo>
                  <a:lnTo>
                    <a:pt x="429803" y="323084"/>
                  </a:lnTo>
                  <a:lnTo>
                    <a:pt x="472220" y="323084"/>
                  </a:lnTo>
                  <a:lnTo>
                    <a:pt x="648510" y="323084"/>
                  </a:lnTo>
                  <a:lnTo>
                    <a:pt x="867128" y="6214"/>
                  </a:lnTo>
                  <a:close/>
                </a:path>
              </a:pathLst>
            </a:cu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49" name="Freeform 48">
              <a:extLst>
                <a:ext uri="{FF2B5EF4-FFF2-40B4-BE49-F238E27FC236}">
                  <a16:creationId xmlns:a16="http://schemas.microsoft.com/office/drawing/2014/main" id="{23110F33-205F-274A-8422-27A31A635453}"/>
                </a:ext>
              </a:extLst>
            </p:cNvPr>
            <p:cNvSpPr/>
            <p:nvPr/>
          </p:nvSpPr>
          <p:spPr>
            <a:xfrm>
              <a:off x="5808331" y="4951428"/>
              <a:ext cx="726522" cy="323084"/>
            </a:xfrm>
            <a:custGeom>
              <a:avLst/>
              <a:gdLst>
                <a:gd name="connsiteX0" fmla="*/ 225425 w 726522"/>
                <a:gd name="connsiteY0" fmla="*/ 0 h 323084"/>
                <a:gd name="connsiteX1" fmla="*/ 247330 w 726522"/>
                <a:gd name="connsiteY1" fmla="*/ 0 h 323084"/>
                <a:gd name="connsiteX2" fmla="*/ 304861 w 726522"/>
                <a:gd name="connsiteY2" fmla="*/ 0 h 323084"/>
                <a:gd name="connsiteX3" fmla="*/ 448435 w 726522"/>
                <a:gd name="connsiteY3" fmla="*/ 0 h 323084"/>
                <a:gd name="connsiteX4" fmla="*/ 501097 w 726522"/>
                <a:gd name="connsiteY4" fmla="*/ 0 h 323084"/>
                <a:gd name="connsiteX5" fmla="*/ 504592 w 726522"/>
                <a:gd name="connsiteY5" fmla="*/ 0 h 323084"/>
                <a:gd name="connsiteX6" fmla="*/ 726522 w 726522"/>
                <a:gd name="connsiteY6" fmla="*/ 323084 h 323084"/>
                <a:gd name="connsiteX7" fmla="*/ 548998 w 726522"/>
                <a:gd name="connsiteY7" fmla="*/ 323084 h 323084"/>
                <a:gd name="connsiteX8" fmla="*/ 447355 w 726522"/>
                <a:gd name="connsiteY8" fmla="*/ 323084 h 323084"/>
                <a:gd name="connsiteX9" fmla="*/ 253767 w 726522"/>
                <a:gd name="connsiteY9" fmla="*/ 323084 h 323084"/>
                <a:gd name="connsiteX10" fmla="*/ 204298 w 726522"/>
                <a:gd name="connsiteY10" fmla="*/ 323084 h 323084"/>
                <a:gd name="connsiteX11" fmla="*/ 0 w 726522"/>
                <a:gd name="connsiteY11" fmla="*/ 323084 h 323084"/>
                <a:gd name="connsiteX12" fmla="*/ 235785 w 726522"/>
                <a:gd name="connsiteY12" fmla="*/ 15082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6522" h="323084">
                  <a:moveTo>
                    <a:pt x="225425" y="0"/>
                  </a:moveTo>
                  <a:lnTo>
                    <a:pt x="247330" y="0"/>
                  </a:lnTo>
                  <a:lnTo>
                    <a:pt x="304861" y="0"/>
                  </a:lnTo>
                  <a:lnTo>
                    <a:pt x="448435" y="0"/>
                  </a:lnTo>
                  <a:lnTo>
                    <a:pt x="501097" y="0"/>
                  </a:lnTo>
                  <a:lnTo>
                    <a:pt x="504592" y="0"/>
                  </a:lnTo>
                  <a:lnTo>
                    <a:pt x="726522" y="323084"/>
                  </a:lnTo>
                  <a:lnTo>
                    <a:pt x="548998" y="323084"/>
                  </a:lnTo>
                  <a:lnTo>
                    <a:pt x="447355" y="323084"/>
                  </a:lnTo>
                  <a:lnTo>
                    <a:pt x="253767" y="323084"/>
                  </a:lnTo>
                  <a:lnTo>
                    <a:pt x="204298" y="323084"/>
                  </a:lnTo>
                  <a:lnTo>
                    <a:pt x="0" y="323084"/>
                  </a:lnTo>
                  <a:lnTo>
                    <a:pt x="235785" y="15082"/>
                  </a:lnTo>
                  <a:close/>
                </a:path>
              </a:pathLst>
            </a:cu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50" name="Oval 49">
              <a:extLst>
                <a:ext uri="{FF2B5EF4-FFF2-40B4-BE49-F238E27FC236}">
                  <a16:creationId xmlns:a16="http://schemas.microsoft.com/office/drawing/2014/main" id="{0C714612-814F-A440-B977-5C79AFA7575D}"/>
                </a:ext>
              </a:extLst>
            </p:cNvPr>
            <p:cNvSpPr/>
            <p:nvPr/>
          </p:nvSpPr>
          <p:spPr>
            <a:xfrm>
              <a:off x="4668206" y="1976488"/>
              <a:ext cx="635000" cy="635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dirty="0">
                <a:solidFill>
                  <a:schemeClr val="tx1"/>
                </a:solidFill>
              </a:endParaRPr>
            </a:p>
          </p:txBody>
        </p:sp>
        <p:sp>
          <p:nvSpPr>
            <p:cNvPr id="51" name="Oval 50">
              <a:extLst>
                <a:ext uri="{FF2B5EF4-FFF2-40B4-BE49-F238E27FC236}">
                  <a16:creationId xmlns:a16="http://schemas.microsoft.com/office/drawing/2014/main" id="{2F6B12A7-993C-8A4A-BBD6-6140785E6A7D}"/>
                </a:ext>
              </a:extLst>
            </p:cNvPr>
            <p:cNvSpPr/>
            <p:nvPr/>
          </p:nvSpPr>
          <p:spPr>
            <a:xfrm>
              <a:off x="4668206" y="3008362"/>
              <a:ext cx="635000" cy="63500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dirty="0">
                <a:solidFill>
                  <a:srgbClr val="434343"/>
                </a:solidFill>
              </a:endParaRPr>
            </a:p>
          </p:txBody>
        </p:sp>
        <p:sp>
          <p:nvSpPr>
            <p:cNvPr id="52" name="Oval 51">
              <a:extLst>
                <a:ext uri="{FF2B5EF4-FFF2-40B4-BE49-F238E27FC236}">
                  <a16:creationId xmlns:a16="http://schemas.microsoft.com/office/drawing/2014/main" id="{22D97BEC-ED1A-B44F-9456-6A4EB311EF5D}"/>
                </a:ext>
              </a:extLst>
            </p:cNvPr>
            <p:cNvSpPr/>
            <p:nvPr/>
          </p:nvSpPr>
          <p:spPr>
            <a:xfrm>
              <a:off x="4668206" y="4135488"/>
              <a:ext cx="635000" cy="635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dirty="0">
                <a:solidFill>
                  <a:srgbClr val="434343"/>
                </a:solidFill>
              </a:endParaRPr>
            </a:p>
          </p:txBody>
        </p:sp>
        <p:sp>
          <p:nvSpPr>
            <p:cNvPr id="53" name="Oval 52">
              <a:extLst>
                <a:ext uri="{FF2B5EF4-FFF2-40B4-BE49-F238E27FC236}">
                  <a16:creationId xmlns:a16="http://schemas.microsoft.com/office/drawing/2014/main" id="{8FB0125D-1134-8F42-93A5-38796A52EF29}"/>
                </a:ext>
              </a:extLst>
            </p:cNvPr>
            <p:cNvSpPr/>
            <p:nvPr/>
          </p:nvSpPr>
          <p:spPr>
            <a:xfrm>
              <a:off x="7084864" y="2595613"/>
              <a:ext cx="635000" cy="635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dirty="0">
                <a:solidFill>
                  <a:srgbClr val="434343"/>
                </a:solidFill>
              </a:endParaRPr>
            </a:p>
          </p:txBody>
        </p:sp>
        <p:sp>
          <p:nvSpPr>
            <p:cNvPr id="54" name="Oval 53">
              <a:extLst>
                <a:ext uri="{FF2B5EF4-FFF2-40B4-BE49-F238E27FC236}">
                  <a16:creationId xmlns:a16="http://schemas.microsoft.com/office/drawing/2014/main" id="{A2EC9E35-59DF-074C-8C85-564C836035D2}"/>
                </a:ext>
              </a:extLst>
            </p:cNvPr>
            <p:cNvSpPr/>
            <p:nvPr/>
          </p:nvSpPr>
          <p:spPr>
            <a:xfrm>
              <a:off x="7084864" y="3748828"/>
              <a:ext cx="635000" cy="63500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dirty="0">
                <a:solidFill>
                  <a:srgbClr val="434343"/>
                </a:solidFill>
              </a:endParaRPr>
            </a:p>
          </p:txBody>
        </p:sp>
        <p:grpSp>
          <p:nvGrpSpPr>
            <p:cNvPr id="55" name="Group 360">
              <a:extLst>
                <a:ext uri="{FF2B5EF4-FFF2-40B4-BE49-F238E27FC236}">
                  <a16:creationId xmlns:a16="http://schemas.microsoft.com/office/drawing/2014/main" id="{0B00855B-17A0-C746-BD9E-8FB0F438E71B}"/>
                </a:ext>
              </a:extLst>
            </p:cNvPr>
            <p:cNvGrpSpPr>
              <a:grpSpLocks noChangeAspect="1"/>
            </p:cNvGrpSpPr>
            <p:nvPr/>
          </p:nvGrpSpPr>
          <p:grpSpPr bwMode="auto">
            <a:xfrm>
              <a:off x="4800326" y="2109150"/>
              <a:ext cx="370763" cy="369676"/>
              <a:chOff x="1935" y="1199"/>
              <a:chExt cx="341" cy="340"/>
            </a:xfrm>
            <a:solidFill>
              <a:schemeClr val="bg1"/>
            </a:solidFill>
          </p:grpSpPr>
          <p:sp>
            <p:nvSpPr>
              <p:cNvPr id="56" name="Freeform 361">
                <a:extLst>
                  <a:ext uri="{FF2B5EF4-FFF2-40B4-BE49-F238E27FC236}">
                    <a16:creationId xmlns:a16="http://schemas.microsoft.com/office/drawing/2014/main" id="{1BCD1F9D-9BF5-6C4C-A365-AE51A076F7D1}"/>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362">
                <a:extLst>
                  <a:ext uri="{FF2B5EF4-FFF2-40B4-BE49-F238E27FC236}">
                    <a16:creationId xmlns:a16="http://schemas.microsoft.com/office/drawing/2014/main" id="{66700F18-E7E2-174D-9D62-44A8FF27C7CA}"/>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8" name="Group 432">
              <a:extLst>
                <a:ext uri="{FF2B5EF4-FFF2-40B4-BE49-F238E27FC236}">
                  <a16:creationId xmlns:a16="http://schemas.microsoft.com/office/drawing/2014/main" id="{1A5B57F0-87F1-014A-AB9D-1A7FF5EBBB6C}"/>
                </a:ext>
              </a:extLst>
            </p:cNvPr>
            <p:cNvGrpSpPr>
              <a:grpSpLocks noChangeAspect="1"/>
            </p:cNvGrpSpPr>
            <p:nvPr/>
          </p:nvGrpSpPr>
          <p:grpSpPr bwMode="auto">
            <a:xfrm>
              <a:off x="4800868" y="3140482"/>
              <a:ext cx="369676" cy="370763"/>
              <a:chOff x="3505" y="1546"/>
              <a:chExt cx="340" cy="341"/>
            </a:xfrm>
            <a:solidFill>
              <a:srgbClr val="FFFFFF"/>
            </a:solidFill>
          </p:grpSpPr>
          <p:sp>
            <p:nvSpPr>
              <p:cNvPr id="59" name="Freeform 433">
                <a:extLst>
                  <a:ext uri="{FF2B5EF4-FFF2-40B4-BE49-F238E27FC236}">
                    <a16:creationId xmlns:a16="http://schemas.microsoft.com/office/drawing/2014/main" id="{7BDC31C3-E81A-AC49-8C50-0F8AC2339D81}"/>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434">
                <a:extLst>
                  <a:ext uri="{FF2B5EF4-FFF2-40B4-BE49-F238E27FC236}">
                    <a16:creationId xmlns:a16="http://schemas.microsoft.com/office/drawing/2014/main" id="{795C9DE9-3C00-7E41-954D-19F1540DE7A3}"/>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1" name="Group 862">
              <a:extLst>
                <a:ext uri="{FF2B5EF4-FFF2-40B4-BE49-F238E27FC236}">
                  <a16:creationId xmlns:a16="http://schemas.microsoft.com/office/drawing/2014/main" id="{3C898384-8364-4E43-8934-04035FF35BCC}"/>
                </a:ext>
              </a:extLst>
            </p:cNvPr>
            <p:cNvGrpSpPr>
              <a:grpSpLocks noChangeAspect="1"/>
            </p:cNvGrpSpPr>
            <p:nvPr/>
          </p:nvGrpSpPr>
          <p:grpSpPr bwMode="auto">
            <a:xfrm>
              <a:off x="4801197" y="4267935"/>
              <a:ext cx="369021" cy="370106"/>
              <a:chOff x="6607" y="3441"/>
              <a:chExt cx="340" cy="341"/>
            </a:xfrm>
            <a:solidFill>
              <a:srgbClr val="FFFFFF"/>
            </a:solidFill>
          </p:grpSpPr>
          <p:sp>
            <p:nvSpPr>
              <p:cNvPr id="62" name="Freeform 863">
                <a:extLst>
                  <a:ext uri="{FF2B5EF4-FFF2-40B4-BE49-F238E27FC236}">
                    <a16:creationId xmlns:a16="http://schemas.microsoft.com/office/drawing/2014/main" id="{601B4CA1-5F61-8643-93A2-1E56AF8BA9DF}"/>
                  </a:ext>
                </a:extLst>
              </p:cNvPr>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864">
                <a:extLst>
                  <a:ext uri="{FF2B5EF4-FFF2-40B4-BE49-F238E27FC236}">
                    <a16:creationId xmlns:a16="http://schemas.microsoft.com/office/drawing/2014/main" id="{C6F49EC2-972E-994D-B56A-3FCA1DB23F78}"/>
                  </a:ext>
                </a:extLst>
              </p:cNvPr>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4" name="Group 192">
              <a:extLst>
                <a:ext uri="{FF2B5EF4-FFF2-40B4-BE49-F238E27FC236}">
                  <a16:creationId xmlns:a16="http://schemas.microsoft.com/office/drawing/2014/main" id="{5DC0AAF7-F37C-5144-B943-2BC9C499E23E}"/>
                </a:ext>
              </a:extLst>
            </p:cNvPr>
            <p:cNvGrpSpPr>
              <a:grpSpLocks noChangeAspect="1"/>
            </p:cNvGrpSpPr>
            <p:nvPr/>
          </p:nvGrpSpPr>
          <p:grpSpPr bwMode="auto">
            <a:xfrm>
              <a:off x="7218845" y="2729594"/>
              <a:ext cx="367041" cy="367041"/>
              <a:chOff x="378" y="713"/>
              <a:chExt cx="340" cy="340"/>
            </a:xfrm>
            <a:solidFill>
              <a:srgbClr val="FFFFFF"/>
            </a:solidFill>
          </p:grpSpPr>
          <p:sp>
            <p:nvSpPr>
              <p:cNvPr id="65" name="Freeform 193">
                <a:extLst>
                  <a:ext uri="{FF2B5EF4-FFF2-40B4-BE49-F238E27FC236}">
                    <a16:creationId xmlns:a16="http://schemas.microsoft.com/office/drawing/2014/main" id="{37BAFBB8-3E69-7A47-B4E1-7EE657E2E6D3}"/>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194">
                <a:extLst>
                  <a:ext uri="{FF2B5EF4-FFF2-40B4-BE49-F238E27FC236}">
                    <a16:creationId xmlns:a16="http://schemas.microsoft.com/office/drawing/2014/main" id="{3FC24693-84B9-774D-8784-8AF5104EE3D6}"/>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7" name="Group 118">
              <a:extLst>
                <a:ext uri="{FF2B5EF4-FFF2-40B4-BE49-F238E27FC236}">
                  <a16:creationId xmlns:a16="http://schemas.microsoft.com/office/drawing/2014/main" id="{A4672549-851A-314A-BB6B-7C9164402FC6}"/>
                </a:ext>
              </a:extLst>
            </p:cNvPr>
            <p:cNvGrpSpPr>
              <a:grpSpLocks noChangeAspect="1"/>
            </p:cNvGrpSpPr>
            <p:nvPr/>
          </p:nvGrpSpPr>
          <p:grpSpPr bwMode="auto">
            <a:xfrm>
              <a:off x="7218305" y="3882268"/>
              <a:ext cx="368121" cy="368120"/>
              <a:chOff x="1926" y="383"/>
              <a:chExt cx="341" cy="341"/>
            </a:xfrm>
            <a:solidFill>
              <a:srgbClr val="FFFFFF"/>
            </a:solidFill>
          </p:grpSpPr>
          <p:sp>
            <p:nvSpPr>
              <p:cNvPr id="68" name="Freeform 119">
                <a:extLst>
                  <a:ext uri="{FF2B5EF4-FFF2-40B4-BE49-F238E27FC236}">
                    <a16:creationId xmlns:a16="http://schemas.microsoft.com/office/drawing/2014/main" id="{1AD08E0F-671D-6A42-AE19-A69EEC193844}"/>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120">
                <a:extLst>
                  <a:ext uri="{FF2B5EF4-FFF2-40B4-BE49-F238E27FC236}">
                    <a16:creationId xmlns:a16="http://schemas.microsoft.com/office/drawing/2014/main" id="{3DAC691F-0389-0A42-89C0-6E6F38470FF1}"/>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custDataLst>
      <p:tags r:id="rId1"/>
    </p:custDataLst>
    <p:extLst>
      <p:ext uri="{BB962C8B-B14F-4D97-AF65-F5344CB8AC3E}">
        <p14:creationId xmlns:p14="http://schemas.microsoft.com/office/powerpoint/2010/main" val="524013063"/>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1176CE6-F8FE-904F-AA83-FB3B3CA0299E}"/>
              </a:ext>
            </a:extLst>
          </p:cNvPr>
          <p:cNvGrpSpPr/>
          <p:nvPr/>
        </p:nvGrpSpPr>
        <p:grpSpPr>
          <a:xfrm>
            <a:off x="354497" y="2536931"/>
            <a:ext cx="11595414" cy="1082570"/>
            <a:chOff x="469900" y="1766455"/>
            <a:chExt cx="11264900" cy="1051714"/>
          </a:xfrm>
        </p:grpSpPr>
        <p:sp>
          <p:nvSpPr>
            <p:cNvPr id="10" name="Isosceles Triangle 39">
              <a:extLst>
                <a:ext uri="{FF2B5EF4-FFF2-40B4-BE49-F238E27FC236}">
                  <a16:creationId xmlns:a16="http://schemas.microsoft.com/office/drawing/2014/main" id="{2C818CED-3E05-7044-8DBF-6C1F911C355E}"/>
                </a:ext>
              </a:extLst>
            </p:cNvPr>
            <p:cNvSpPr>
              <a:spLocks noChangeAspect="1"/>
            </p:cNvSpPr>
            <p:nvPr/>
          </p:nvSpPr>
          <p:spPr>
            <a:xfrm rot="10800000">
              <a:off x="848336" y="1766455"/>
              <a:ext cx="681900" cy="477879"/>
            </a:xfrm>
            <a:prstGeom prst="triangle">
              <a:avLst/>
            </a:prstGeom>
            <a:solidFill>
              <a:schemeClr val="bg2">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1" name="Isosceles Triangle 38">
              <a:extLst>
                <a:ext uri="{FF2B5EF4-FFF2-40B4-BE49-F238E27FC236}">
                  <a16:creationId xmlns:a16="http://schemas.microsoft.com/office/drawing/2014/main" id="{69635290-7BF3-1045-A4FE-19C5B4E407B1}"/>
                </a:ext>
              </a:extLst>
            </p:cNvPr>
            <p:cNvSpPr>
              <a:spLocks noChangeAspect="1"/>
            </p:cNvSpPr>
            <p:nvPr/>
          </p:nvSpPr>
          <p:spPr>
            <a:xfrm>
              <a:off x="469900" y="1766456"/>
              <a:ext cx="2106386" cy="1051713"/>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2" name="Isosceles Triangle 98">
              <a:extLst>
                <a:ext uri="{FF2B5EF4-FFF2-40B4-BE49-F238E27FC236}">
                  <a16:creationId xmlns:a16="http://schemas.microsoft.com/office/drawing/2014/main" id="{E2467B15-4380-BD4F-8265-AB589E470068}"/>
                </a:ext>
              </a:extLst>
            </p:cNvPr>
            <p:cNvSpPr>
              <a:spLocks noChangeAspect="1"/>
            </p:cNvSpPr>
            <p:nvPr/>
          </p:nvSpPr>
          <p:spPr>
            <a:xfrm rot="10800000">
              <a:off x="3137964" y="1766455"/>
              <a:ext cx="681900" cy="477879"/>
            </a:xfrm>
            <a:prstGeom prst="triangle">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3" name="Isosceles Triangle 99">
              <a:extLst>
                <a:ext uri="{FF2B5EF4-FFF2-40B4-BE49-F238E27FC236}">
                  <a16:creationId xmlns:a16="http://schemas.microsoft.com/office/drawing/2014/main" id="{C8011C1A-327A-8A4A-AF84-CBCD3CAAF96E}"/>
                </a:ext>
              </a:extLst>
            </p:cNvPr>
            <p:cNvSpPr>
              <a:spLocks noChangeAspect="1"/>
            </p:cNvSpPr>
            <p:nvPr/>
          </p:nvSpPr>
          <p:spPr>
            <a:xfrm>
              <a:off x="2759528" y="1766456"/>
              <a:ext cx="2106386" cy="1051713"/>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4" name="Isosceles Triangle 101">
              <a:extLst>
                <a:ext uri="{FF2B5EF4-FFF2-40B4-BE49-F238E27FC236}">
                  <a16:creationId xmlns:a16="http://schemas.microsoft.com/office/drawing/2014/main" id="{CC142FC4-E933-0D41-8F8C-76E6420EE08E}"/>
                </a:ext>
              </a:extLst>
            </p:cNvPr>
            <p:cNvSpPr>
              <a:spLocks noChangeAspect="1"/>
            </p:cNvSpPr>
            <p:nvPr/>
          </p:nvSpPr>
          <p:spPr>
            <a:xfrm rot="10800000">
              <a:off x="5427592" y="1766455"/>
              <a:ext cx="681900" cy="477879"/>
            </a:xfrm>
            <a:prstGeom prst="triangl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5" name="Isosceles Triangle 102">
              <a:extLst>
                <a:ext uri="{FF2B5EF4-FFF2-40B4-BE49-F238E27FC236}">
                  <a16:creationId xmlns:a16="http://schemas.microsoft.com/office/drawing/2014/main" id="{3D35F1BA-FE88-344D-922E-DC73719E36E1}"/>
                </a:ext>
              </a:extLst>
            </p:cNvPr>
            <p:cNvSpPr>
              <a:spLocks noChangeAspect="1"/>
            </p:cNvSpPr>
            <p:nvPr/>
          </p:nvSpPr>
          <p:spPr>
            <a:xfrm>
              <a:off x="5049156" y="1766456"/>
              <a:ext cx="2106386" cy="1051713"/>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6" name="Isosceles Triangle 104">
              <a:extLst>
                <a:ext uri="{FF2B5EF4-FFF2-40B4-BE49-F238E27FC236}">
                  <a16:creationId xmlns:a16="http://schemas.microsoft.com/office/drawing/2014/main" id="{6C004457-52FB-F84B-93F0-3076B1382435}"/>
                </a:ext>
              </a:extLst>
            </p:cNvPr>
            <p:cNvSpPr>
              <a:spLocks noChangeAspect="1"/>
            </p:cNvSpPr>
            <p:nvPr/>
          </p:nvSpPr>
          <p:spPr>
            <a:xfrm rot="10800000">
              <a:off x="7717220" y="1766455"/>
              <a:ext cx="681900" cy="477879"/>
            </a:xfrm>
            <a:prstGeom prst="triangl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7" name="Isosceles Triangle 105">
              <a:extLst>
                <a:ext uri="{FF2B5EF4-FFF2-40B4-BE49-F238E27FC236}">
                  <a16:creationId xmlns:a16="http://schemas.microsoft.com/office/drawing/2014/main" id="{B376E9B1-1DE6-0447-9135-B35D124D540C}"/>
                </a:ext>
              </a:extLst>
            </p:cNvPr>
            <p:cNvSpPr>
              <a:spLocks noChangeAspect="1"/>
            </p:cNvSpPr>
            <p:nvPr/>
          </p:nvSpPr>
          <p:spPr>
            <a:xfrm>
              <a:off x="7338784" y="1766456"/>
              <a:ext cx="2106386" cy="1051713"/>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8" name="Isosceles Triangle 107">
              <a:extLst>
                <a:ext uri="{FF2B5EF4-FFF2-40B4-BE49-F238E27FC236}">
                  <a16:creationId xmlns:a16="http://schemas.microsoft.com/office/drawing/2014/main" id="{70615625-475A-0641-95F7-D184E4A33AE5}"/>
                </a:ext>
              </a:extLst>
            </p:cNvPr>
            <p:cNvSpPr>
              <a:spLocks noChangeAspect="1"/>
            </p:cNvSpPr>
            <p:nvPr/>
          </p:nvSpPr>
          <p:spPr>
            <a:xfrm rot="10800000">
              <a:off x="10006850" y="1766455"/>
              <a:ext cx="681900" cy="477879"/>
            </a:xfrm>
            <a:prstGeom prst="triangle">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9" name="Isosceles Triangle 108">
              <a:extLst>
                <a:ext uri="{FF2B5EF4-FFF2-40B4-BE49-F238E27FC236}">
                  <a16:creationId xmlns:a16="http://schemas.microsoft.com/office/drawing/2014/main" id="{59E6FA96-E14D-F34F-9960-0F55BF4D9CBF}"/>
                </a:ext>
              </a:extLst>
            </p:cNvPr>
            <p:cNvSpPr>
              <a:spLocks noChangeAspect="1"/>
            </p:cNvSpPr>
            <p:nvPr/>
          </p:nvSpPr>
          <p:spPr>
            <a:xfrm>
              <a:off x="9628414" y="1766456"/>
              <a:ext cx="2106386" cy="1051713"/>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20" name="Rectangle 19">
              <a:extLst>
                <a:ext uri="{FF2B5EF4-FFF2-40B4-BE49-F238E27FC236}">
                  <a16:creationId xmlns:a16="http://schemas.microsoft.com/office/drawing/2014/main" id="{1EE698C6-070E-6E49-ACE7-114B912F4878}"/>
                </a:ext>
              </a:extLst>
            </p:cNvPr>
            <p:cNvSpPr/>
            <p:nvPr/>
          </p:nvSpPr>
          <p:spPr>
            <a:xfrm>
              <a:off x="1058503" y="2355814"/>
              <a:ext cx="929178" cy="325376"/>
            </a:xfrm>
            <a:prstGeom prst="rect">
              <a:avLst/>
            </a:prstGeom>
          </p:spPr>
          <p:txBody>
            <a:bodyPr wrap="square" lIns="0" tIns="0" rIns="0" bIns="0">
              <a:spAutoFit/>
            </a:bodyPr>
            <a:lstStyle/>
            <a:p>
              <a:pPr algn="ctr"/>
              <a:r>
                <a:rPr lang="en-US" sz="800" b="1" dirty="0">
                  <a:solidFill>
                    <a:schemeClr val="bg1"/>
                  </a:solidFill>
                </a:rPr>
                <a:t>Lorem ipsum dolor sit</a:t>
              </a:r>
            </a:p>
          </p:txBody>
        </p:sp>
        <p:sp>
          <p:nvSpPr>
            <p:cNvPr id="21" name="Rectangle 20">
              <a:extLst>
                <a:ext uri="{FF2B5EF4-FFF2-40B4-BE49-F238E27FC236}">
                  <a16:creationId xmlns:a16="http://schemas.microsoft.com/office/drawing/2014/main" id="{FF89D9F3-DC10-164F-A538-A12089E86811}"/>
                </a:ext>
              </a:extLst>
            </p:cNvPr>
            <p:cNvSpPr/>
            <p:nvPr/>
          </p:nvSpPr>
          <p:spPr>
            <a:xfrm>
              <a:off x="3293315" y="2355814"/>
              <a:ext cx="1038811" cy="325376"/>
            </a:xfrm>
            <a:prstGeom prst="rect">
              <a:avLst/>
            </a:prstGeom>
          </p:spPr>
          <p:txBody>
            <a:bodyPr wrap="square" lIns="0" tIns="0" rIns="0" bIns="0">
              <a:spAutoFit/>
            </a:bodyPr>
            <a:lstStyle/>
            <a:p>
              <a:pPr algn="ctr"/>
              <a:r>
                <a:rPr lang="en-US" sz="800" b="1" dirty="0">
                  <a:solidFill>
                    <a:schemeClr val="bg1"/>
                  </a:solidFill>
                </a:rPr>
                <a:t>Lorem ipsum dolor sit</a:t>
              </a:r>
            </a:p>
          </p:txBody>
        </p:sp>
        <p:sp>
          <p:nvSpPr>
            <p:cNvPr id="22" name="Rectangle 21">
              <a:extLst>
                <a:ext uri="{FF2B5EF4-FFF2-40B4-BE49-F238E27FC236}">
                  <a16:creationId xmlns:a16="http://schemas.microsoft.com/office/drawing/2014/main" id="{4DFAD037-A061-C64F-A0C8-CCB8CCD64C3A}"/>
                </a:ext>
              </a:extLst>
            </p:cNvPr>
            <p:cNvSpPr/>
            <p:nvPr/>
          </p:nvSpPr>
          <p:spPr>
            <a:xfrm>
              <a:off x="5586572" y="2355812"/>
              <a:ext cx="1038811" cy="325376"/>
            </a:xfrm>
            <a:prstGeom prst="rect">
              <a:avLst/>
            </a:prstGeom>
          </p:spPr>
          <p:txBody>
            <a:bodyPr wrap="square" lIns="0" tIns="0" rIns="0" bIns="0">
              <a:spAutoFit/>
            </a:bodyPr>
            <a:lstStyle/>
            <a:p>
              <a:pPr algn="ctr"/>
              <a:r>
                <a:rPr lang="en-US" sz="800" b="1" dirty="0">
                  <a:solidFill>
                    <a:schemeClr val="bg1"/>
                  </a:solidFill>
                </a:rPr>
                <a:t>Lorem ipsum dolor sit</a:t>
              </a:r>
            </a:p>
          </p:txBody>
        </p:sp>
        <p:sp>
          <p:nvSpPr>
            <p:cNvPr id="23" name="Rectangle 22">
              <a:extLst>
                <a:ext uri="{FF2B5EF4-FFF2-40B4-BE49-F238E27FC236}">
                  <a16:creationId xmlns:a16="http://schemas.microsoft.com/office/drawing/2014/main" id="{44D79585-F3E3-7840-A7EC-17F087EEEA6B}"/>
                </a:ext>
              </a:extLst>
            </p:cNvPr>
            <p:cNvSpPr/>
            <p:nvPr/>
          </p:nvSpPr>
          <p:spPr>
            <a:xfrm>
              <a:off x="7850606" y="2355814"/>
              <a:ext cx="1082741" cy="325376"/>
            </a:xfrm>
            <a:prstGeom prst="rect">
              <a:avLst/>
            </a:prstGeom>
          </p:spPr>
          <p:txBody>
            <a:bodyPr wrap="square" lIns="0" tIns="0" rIns="0" bIns="0">
              <a:spAutoFit/>
            </a:bodyPr>
            <a:lstStyle/>
            <a:p>
              <a:pPr algn="ctr"/>
              <a:r>
                <a:rPr lang="en-US" sz="800" b="1" dirty="0">
                  <a:solidFill>
                    <a:schemeClr val="bg1"/>
                  </a:solidFill>
                </a:rPr>
                <a:t>Lorem ipsum dolor sit</a:t>
              </a:r>
            </a:p>
          </p:txBody>
        </p:sp>
        <p:sp>
          <p:nvSpPr>
            <p:cNvPr id="24" name="Rectangle 23">
              <a:extLst>
                <a:ext uri="{FF2B5EF4-FFF2-40B4-BE49-F238E27FC236}">
                  <a16:creationId xmlns:a16="http://schemas.microsoft.com/office/drawing/2014/main" id="{CB8D6E50-F2B2-B549-BFB9-2B662918C240}"/>
                </a:ext>
              </a:extLst>
            </p:cNvPr>
            <p:cNvSpPr/>
            <p:nvPr/>
          </p:nvSpPr>
          <p:spPr>
            <a:xfrm>
              <a:off x="10158378" y="2355814"/>
              <a:ext cx="1082741" cy="325376"/>
            </a:xfrm>
            <a:prstGeom prst="rect">
              <a:avLst/>
            </a:prstGeom>
          </p:spPr>
          <p:txBody>
            <a:bodyPr wrap="square" lIns="0" tIns="0" rIns="0" bIns="0">
              <a:spAutoFit/>
            </a:bodyPr>
            <a:lstStyle/>
            <a:p>
              <a:pPr algn="ctr"/>
              <a:r>
                <a:rPr lang="en-US" sz="800" b="1" dirty="0">
                  <a:solidFill>
                    <a:schemeClr val="bg1"/>
                  </a:solidFill>
                </a:rPr>
                <a:t>Lorem ipsum dolor sit</a:t>
              </a:r>
            </a:p>
          </p:txBody>
        </p:sp>
        <p:sp>
          <p:nvSpPr>
            <p:cNvPr id="25" name="TextBox 24">
              <a:extLst>
                <a:ext uri="{FF2B5EF4-FFF2-40B4-BE49-F238E27FC236}">
                  <a16:creationId xmlns:a16="http://schemas.microsoft.com/office/drawing/2014/main" id="{BB5AA4C1-07BE-EE48-BDDB-68EDFA82C4A6}"/>
                </a:ext>
              </a:extLst>
            </p:cNvPr>
            <p:cNvSpPr txBox="1"/>
            <p:nvPr/>
          </p:nvSpPr>
          <p:spPr bwMode="gray">
            <a:xfrm>
              <a:off x="1007165" y="1826008"/>
              <a:ext cx="289265" cy="156510"/>
            </a:xfrm>
            <a:prstGeom prst="rect">
              <a:avLst/>
            </a:prstGeom>
          </p:spPr>
          <p:txBody>
            <a:bodyPr wrap="square" lIns="0" tIns="0" rIns="0" bIns="0" rtlCol="0" anchor="b" anchorCtr="0">
              <a:noAutofit/>
            </a:bodyPr>
            <a:lstStyle/>
            <a:p>
              <a:pPr algn="ctr">
                <a:lnSpc>
                  <a:spcPts val="900"/>
                </a:lnSpc>
              </a:pPr>
              <a:r>
                <a:rPr lang="en-US" sz="900" b="1" dirty="0">
                  <a:solidFill>
                    <a:schemeClr val="bg1"/>
                  </a:solidFill>
                </a:rPr>
                <a:t>01</a:t>
              </a:r>
            </a:p>
          </p:txBody>
        </p:sp>
        <p:sp>
          <p:nvSpPr>
            <p:cNvPr id="26" name="TextBox 25">
              <a:extLst>
                <a:ext uri="{FF2B5EF4-FFF2-40B4-BE49-F238E27FC236}">
                  <a16:creationId xmlns:a16="http://schemas.microsoft.com/office/drawing/2014/main" id="{55C1D90B-B327-A84E-BE9F-C64FEDA02A4A}"/>
                </a:ext>
              </a:extLst>
            </p:cNvPr>
            <p:cNvSpPr txBox="1"/>
            <p:nvPr/>
          </p:nvSpPr>
          <p:spPr bwMode="gray">
            <a:xfrm>
              <a:off x="3296793" y="1826008"/>
              <a:ext cx="289265" cy="156510"/>
            </a:xfrm>
            <a:prstGeom prst="rect">
              <a:avLst/>
            </a:prstGeom>
          </p:spPr>
          <p:txBody>
            <a:bodyPr wrap="square" lIns="0" tIns="0" rIns="0" bIns="0" rtlCol="0" anchor="b" anchorCtr="0">
              <a:noAutofit/>
            </a:bodyPr>
            <a:lstStyle/>
            <a:p>
              <a:pPr algn="ctr">
                <a:lnSpc>
                  <a:spcPts val="900"/>
                </a:lnSpc>
              </a:pPr>
              <a:r>
                <a:rPr lang="en-US" sz="900" b="1" dirty="0">
                  <a:solidFill>
                    <a:schemeClr val="bg1"/>
                  </a:solidFill>
                </a:rPr>
                <a:t>02</a:t>
              </a:r>
            </a:p>
          </p:txBody>
        </p:sp>
        <p:sp>
          <p:nvSpPr>
            <p:cNvPr id="27" name="TextBox 26">
              <a:extLst>
                <a:ext uri="{FF2B5EF4-FFF2-40B4-BE49-F238E27FC236}">
                  <a16:creationId xmlns:a16="http://schemas.microsoft.com/office/drawing/2014/main" id="{2EA98D15-F749-F74A-B8AD-E83F1DF962D6}"/>
                </a:ext>
              </a:extLst>
            </p:cNvPr>
            <p:cNvSpPr txBox="1"/>
            <p:nvPr/>
          </p:nvSpPr>
          <p:spPr bwMode="gray">
            <a:xfrm>
              <a:off x="5606524" y="1826008"/>
              <a:ext cx="289265" cy="156510"/>
            </a:xfrm>
            <a:prstGeom prst="rect">
              <a:avLst/>
            </a:prstGeom>
          </p:spPr>
          <p:txBody>
            <a:bodyPr wrap="square" lIns="0" tIns="0" rIns="0" bIns="0" rtlCol="0" anchor="b" anchorCtr="0">
              <a:noAutofit/>
            </a:bodyPr>
            <a:lstStyle/>
            <a:p>
              <a:pPr algn="ctr">
                <a:lnSpc>
                  <a:spcPts val="900"/>
                </a:lnSpc>
              </a:pPr>
              <a:r>
                <a:rPr lang="en-US" sz="900" b="1" dirty="0">
                  <a:solidFill>
                    <a:schemeClr val="bg1"/>
                  </a:solidFill>
                </a:rPr>
                <a:t>03</a:t>
              </a:r>
            </a:p>
          </p:txBody>
        </p:sp>
        <p:sp>
          <p:nvSpPr>
            <p:cNvPr id="28" name="TextBox 27">
              <a:extLst>
                <a:ext uri="{FF2B5EF4-FFF2-40B4-BE49-F238E27FC236}">
                  <a16:creationId xmlns:a16="http://schemas.microsoft.com/office/drawing/2014/main" id="{81C15EC4-D39A-C041-8A48-1B502ECC54EA}"/>
                </a:ext>
              </a:extLst>
            </p:cNvPr>
            <p:cNvSpPr txBox="1"/>
            <p:nvPr/>
          </p:nvSpPr>
          <p:spPr bwMode="gray">
            <a:xfrm>
              <a:off x="7922582" y="1826008"/>
              <a:ext cx="289265" cy="156510"/>
            </a:xfrm>
            <a:prstGeom prst="rect">
              <a:avLst/>
            </a:prstGeom>
          </p:spPr>
          <p:txBody>
            <a:bodyPr wrap="square" lIns="0" tIns="0" rIns="0" bIns="0" rtlCol="0" anchor="b" anchorCtr="0">
              <a:noAutofit/>
            </a:bodyPr>
            <a:lstStyle/>
            <a:p>
              <a:pPr algn="ctr">
                <a:lnSpc>
                  <a:spcPts val="900"/>
                </a:lnSpc>
              </a:pPr>
              <a:r>
                <a:rPr lang="en-US" sz="900" b="1" dirty="0">
                  <a:solidFill>
                    <a:schemeClr val="bg1"/>
                  </a:solidFill>
                </a:rPr>
                <a:t>04</a:t>
              </a:r>
            </a:p>
          </p:txBody>
        </p:sp>
        <p:sp>
          <p:nvSpPr>
            <p:cNvPr id="29" name="TextBox 28">
              <a:extLst>
                <a:ext uri="{FF2B5EF4-FFF2-40B4-BE49-F238E27FC236}">
                  <a16:creationId xmlns:a16="http://schemas.microsoft.com/office/drawing/2014/main" id="{66A8D73F-82F5-AA4B-80AD-F1A900656224}"/>
                </a:ext>
              </a:extLst>
            </p:cNvPr>
            <p:cNvSpPr txBox="1"/>
            <p:nvPr/>
          </p:nvSpPr>
          <p:spPr bwMode="gray">
            <a:xfrm>
              <a:off x="10207000" y="1826008"/>
              <a:ext cx="289265" cy="156510"/>
            </a:xfrm>
            <a:prstGeom prst="rect">
              <a:avLst/>
            </a:prstGeom>
          </p:spPr>
          <p:txBody>
            <a:bodyPr wrap="square" lIns="0" tIns="0" rIns="0" bIns="0" rtlCol="0" anchor="b" anchorCtr="0">
              <a:noAutofit/>
            </a:bodyPr>
            <a:lstStyle/>
            <a:p>
              <a:pPr algn="ctr">
                <a:lnSpc>
                  <a:spcPts val="900"/>
                </a:lnSpc>
              </a:pPr>
              <a:r>
                <a:rPr lang="en-US" sz="900" b="1" dirty="0">
                  <a:solidFill>
                    <a:schemeClr val="bg1"/>
                  </a:solidFill>
                </a:rPr>
                <a:t>05</a:t>
              </a:r>
            </a:p>
          </p:txBody>
        </p:sp>
      </p:grpSp>
    </p:spTree>
    <p:custDataLst>
      <p:tags r:id="rId1"/>
    </p:custDataLst>
    <p:extLst>
      <p:ext uri="{BB962C8B-B14F-4D97-AF65-F5344CB8AC3E}">
        <p14:creationId xmlns:p14="http://schemas.microsoft.com/office/powerpoint/2010/main" val="3424085315"/>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Oval 100">
            <a:extLst>
              <a:ext uri="{FF2B5EF4-FFF2-40B4-BE49-F238E27FC236}">
                <a16:creationId xmlns:a16="http://schemas.microsoft.com/office/drawing/2014/main" id="{85CCB345-AEC6-FF40-AE5F-164129943AB4}"/>
              </a:ext>
            </a:extLst>
          </p:cNvPr>
          <p:cNvSpPr/>
          <p:nvPr/>
        </p:nvSpPr>
        <p:spPr bwMode="gray">
          <a:xfrm>
            <a:off x="9171954" y="1926520"/>
            <a:ext cx="378120" cy="378120"/>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Oval 101">
            <a:extLst>
              <a:ext uri="{FF2B5EF4-FFF2-40B4-BE49-F238E27FC236}">
                <a16:creationId xmlns:a16="http://schemas.microsoft.com/office/drawing/2014/main" id="{ADB1E8DE-0842-184C-AB9E-EB2572746386}"/>
              </a:ext>
            </a:extLst>
          </p:cNvPr>
          <p:cNvSpPr/>
          <p:nvPr/>
        </p:nvSpPr>
        <p:spPr bwMode="gray">
          <a:xfrm>
            <a:off x="7521052" y="1926520"/>
            <a:ext cx="378120" cy="378120"/>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3" name="Oval 102">
            <a:extLst>
              <a:ext uri="{FF2B5EF4-FFF2-40B4-BE49-F238E27FC236}">
                <a16:creationId xmlns:a16="http://schemas.microsoft.com/office/drawing/2014/main" id="{C75C6A7D-E70E-2C41-B205-73A8352E99D0}"/>
              </a:ext>
            </a:extLst>
          </p:cNvPr>
          <p:cNvSpPr/>
          <p:nvPr/>
        </p:nvSpPr>
        <p:spPr bwMode="gray">
          <a:xfrm>
            <a:off x="2577244" y="1926520"/>
            <a:ext cx="378120" cy="378120"/>
          </a:xfrm>
          <a:prstGeom prst="ellipse">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4" name="Oval 103">
            <a:extLst>
              <a:ext uri="{FF2B5EF4-FFF2-40B4-BE49-F238E27FC236}">
                <a16:creationId xmlns:a16="http://schemas.microsoft.com/office/drawing/2014/main" id="{13BFE8E3-1F1E-6C4D-9823-754ED38D4B32}"/>
              </a:ext>
            </a:extLst>
          </p:cNvPr>
          <p:cNvSpPr/>
          <p:nvPr/>
        </p:nvSpPr>
        <p:spPr bwMode="gray">
          <a:xfrm>
            <a:off x="4228145" y="1926520"/>
            <a:ext cx="378120" cy="37812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5" name="Rectangle 10">
            <a:extLst>
              <a:ext uri="{FF2B5EF4-FFF2-40B4-BE49-F238E27FC236}">
                <a16:creationId xmlns:a16="http://schemas.microsoft.com/office/drawing/2014/main" id="{BC91BB31-7F91-3540-87A8-DD552D12346C}"/>
              </a:ext>
            </a:extLst>
          </p:cNvPr>
          <p:cNvSpPr>
            <a:spLocks noChangeArrowheads="1"/>
          </p:cNvSpPr>
          <p:nvPr/>
        </p:nvSpPr>
        <p:spPr bwMode="auto">
          <a:xfrm>
            <a:off x="1900238" y="2364082"/>
            <a:ext cx="8391525" cy="61912"/>
          </a:xfrm>
          <a:prstGeom prst="rect">
            <a:avLst/>
          </a:prstGeom>
          <a:solidFill>
            <a:schemeClr val="tx2"/>
          </a:solidFill>
          <a:ln w="0">
            <a:solidFill>
              <a:srgbClr val="00348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7">
            <a:extLst>
              <a:ext uri="{FF2B5EF4-FFF2-40B4-BE49-F238E27FC236}">
                <a16:creationId xmlns:a16="http://schemas.microsoft.com/office/drawing/2014/main" id="{1CEDFB5B-66BF-6E42-BEE7-14C85A371AC8}"/>
              </a:ext>
            </a:extLst>
          </p:cNvPr>
          <p:cNvSpPr>
            <a:spLocks/>
          </p:cNvSpPr>
          <p:nvPr/>
        </p:nvSpPr>
        <p:spPr bwMode="auto">
          <a:xfrm>
            <a:off x="1900238" y="2141936"/>
            <a:ext cx="384995" cy="226871"/>
          </a:xfrm>
          <a:custGeom>
            <a:avLst/>
            <a:gdLst>
              <a:gd name="T0" fmla="*/ 176 w 337"/>
              <a:gd name="T1" fmla="*/ 0 h 198"/>
              <a:gd name="T2" fmla="*/ 337 w 337"/>
              <a:gd name="T3" fmla="*/ 0 h 198"/>
              <a:gd name="T4" fmla="*/ 337 w 337"/>
              <a:gd name="T5" fmla="*/ 198 h 198"/>
              <a:gd name="T6" fmla="*/ 0 w 337"/>
              <a:gd name="T7" fmla="*/ 198 h 198"/>
              <a:gd name="T8" fmla="*/ 176 w 337"/>
              <a:gd name="T9" fmla="*/ 0 h 198"/>
            </a:gdLst>
            <a:ahLst/>
            <a:cxnLst>
              <a:cxn ang="0">
                <a:pos x="T0" y="T1"/>
              </a:cxn>
              <a:cxn ang="0">
                <a:pos x="T2" y="T3"/>
              </a:cxn>
              <a:cxn ang="0">
                <a:pos x="T4" y="T5"/>
              </a:cxn>
              <a:cxn ang="0">
                <a:pos x="T6" y="T7"/>
              </a:cxn>
              <a:cxn ang="0">
                <a:pos x="T8" y="T9"/>
              </a:cxn>
            </a:cxnLst>
            <a:rect l="0" t="0" r="r" b="b"/>
            <a:pathLst>
              <a:path w="337" h="198">
                <a:moveTo>
                  <a:pt x="176" y="0"/>
                </a:moveTo>
                <a:lnTo>
                  <a:pt x="337" y="0"/>
                </a:lnTo>
                <a:lnTo>
                  <a:pt x="337" y="198"/>
                </a:lnTo>
                <a:lnTo>
                  <a:pt x="0" y="198"/>
                </a:lnTo>
                <a:lnTo>
                  <a:pt x="176" y="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11">
            <a:extLst>
              <a:ext uri="{FF2B5EF4-FFF2-40B4-BE49-F238E27FC236}">
                <a16:creationId xmlns:a16="http://schemas.microsoft.com/office/drawing/2014/main" id="{CA6E2A29-DE58-664A-8CC6-92CD6693E984}"/>
              </a:ext>
            </a:extLst>
          </p:cNvPr>
          <p:cNvSpPr>
            <a:spLocks/>
          </p:cNvSpPr>
          <p:nvPr/>
        </p:nvSpPr>
        <p:spPr bwMode="auto">
          <a:xfrm>
            <a:off x="2101901" y="2687344"/>
            <a:ext cx="1604144" cy="93956"/>
          </a:xfrm>
          <a:custGeom>
            <a:avLst/>
            <a:gdLst>
              <a:gd name="T0" fmla="*/ 0 w 1400"/>
              <a:gd name="T1" fmla="*/ 0 h 81"/>
              <a:gd name="T2" fmla="*/ 1133 w 1400"/>
              <a:gd name="T3" fmla="*/ 0 h 81"/>
              <a:gd name="T4" fmla="*/ 1400 w 1400"/>
              <a:gd name="T5" fmla="*/ 81 h 81"/>
              <a:gd name="T6" fmla="*/ 267 w 1400"/>
              <a:gd name="T7" fmla="*/ 81 h 81"/>
              <a:gd name="T8" fmla="*/ 0 w 1400"/>
              <a:gd name="T9" fmla="*/ 0 h 81"/>
            </a:gdLst>
            <a:ahLst/>
            <a:cxnLst>
              <a:cxn ang="0">
                <a:pos x="T0" y="T1"/>
              </a:cxn>
              <a:cxn ang="0">
                <a:pos x="T2" y="T3"/>
              </a:cxn>
              <a:cxn ang="0">
                <a:pos x="T4" y="T5"/>
              </a:cxn>
              <a:cxn ang="0">
                <a:pos x="T6" y="T7"/>
              </a:cxn>
              <a:cxn ang="0">
                <a:pos x="T8" y="T9"/>
              </a:cxn>
            </a:cxnLst>
            <a:rect l="0" t="0" r="r" b="b"/>
            <a:pathLst>
              <a:path w="1400" h="81">
                <a:moveTo>
                  <a:pt x="0" y="0"/>
                </a:moveTo>
                <a:lnTo>
                  <a:pt x="1133" y="0"/>
                </a:lnTo>
                <a:lnTo>
                  <a:pt x="1400" y="81"/>
                </a:lnTo>
                <a:lnTo>
                  <a:pt x="267" y="81"/>
                </a:lnTo>
                <a:lnTo>
                  <a:pt x="0" y="0"/>
                </a:lnTo>
                <a:close/>
              </a:path>
            </a:pathLst>
          </a:custGeom>
          <a:solidFill>
            <a:schemeClr val="tx2">
              <a:lumMod val="20000"/>
              <a:lumOff val="80000"/>
            </a:schemeClr>
          </a:solidFill>
          <a:ln w="0">
            <a:solidFill>
              <a:srgbClr val="C9D6D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13">
            <a:extLst>
              <a:ext uri="{FF2B5EF4-FFF2-40B4-BE49-F238E27FC236}">
                <a16:creationId xmlns:a16="http://schemas.microsoft.com/office/drawing/2014/main" id="{1AD16012-BA20-3E4D-9F6F-DBDB678740CB}"/>
              </a:ext>
            </a:extLst>
          </p:cNvPr>
          <p:cNvSpPr>
            <a:spLocks/>
          </p:cNvSpPr>
          <p:nvPr/>
        </p:nvSpPr>
        <p:spPr bwMode="auto">
          <a:xfrm>
            <a:off x="2101901" y="2141936"/>
            <a:ext cx="1604144" cy="639365"/>
          </a:xfrm>
          <a:custGeom>
            <a:avLst/>
            <a:gdLst>
              <a:gd name="T0" fmla="*/ 0 w 1400"/>
              <a:gd name="T1" fmla="*/ 0 h 558"/>
              <a:gd name="T2" fmla="*/ 384 w 1400"/>
              <a:gd name="T3" fmla="*/ 0 h 558"/>
              <a:gd name="T4" fmla="*/ 393 w 1400"/>
              <a:gd name="T5" fmla="*/ 41 h 558"/>
              <a:gd name="T6" fmla="*/ 411 w 1400"/>
              <a:gd name="T7" fmla="*/ 79 h 558"/>
              <a:gd name="T8" fmla="*/ 434 w 1400"/>
              <a:gd name="T9" fmla="*/ 113 h 558"/>
              <a:gd name="T10" fmla="*/ 465 w 1400"/>
              <a:gd name="T11" fmla="*/ 140 h 558"/>
              <a:gd name="T12" fmla="*/ 501 w 1400"/>
              <a:gd name="T13" fmla="*/ 160 h 558"/>
              <a:gd name="T14" fmla="*/ 541 w 1400"/>
              <a:gd name="T15" fmla="*/ 174 h 558"/>
              <a:gd name="T16" fmla="*/ 584 w 1400"/>
              <a:gd name="T17" fmla="*/ 178 h 558"/>
              <a:gd name="T18" fmla="*/ 627 w 1400"/>
              <a:gd name="T19" fmla="*/ 174 h 558"/>
              <a:gd name="T20" fmla="*/ 667 w 1400"/>
              <a:gd name="T21" fmla="*/ 160 h 558"/>
              <a:gd name="T22" fmla="*/ 701 w 1400"/>
              <a:gd name="T23" fmla="*/ 140 h 558"/>
              <a:gd name="T24" fmla="*/ 732 w 1400"/>
              <a:gd name="T25" fmla="*/ 113 h 558"/>
              <a:gd name="T26" fmla="*/ 757 w 1400"/>
              <a:gd name="T27" fmla="*/ 79 h 558"/>
              <a:gd name="T28" fmla="*/ 773 w 1400"/>
              <a:gd name="T29" fmla="*/ 41 h 558"/>
              <a:gd name="T30" fmla="*/ 782 w 1400"/>
              <a:gd name="T31" fmla="*/ 0 h 558"/>
              <a:gd name="T32" fmla="*/ 1133 w 1400"/>
              <a:gd name="T33" fmla="*/ 0 h 558"/>
              <a:gd name="T34" fmla="*/ 1400 w 1400"/>
              <a:gd name="T35" fmla="*/ 558 h 558"/>
              <a:gd name="T36" fmla="*/ 267 w 1400"/>
              <a:gd name="T37" fmla="*/ 558 h 558"/>
              <a:gd name="T38" fmla="*/ 0 w 1400"/>
              <a:gd name="T39"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558">
                <a:moveTo>
                  <a:pt x="0" y="0"/>
                </a:moveTo>
                <a:lnTo>
                  <a:pt x="384" y="0"/>
                </a:lnTo>
                <a:lnTo>
                  <a:pt x="393" y="41"/>
                </a:lnTo>
                <a:lnTo>
                  <a:pt x="411" y="79"/>
                </a:lnTo>
                <a:lnTo>
                  <a:pt x="434" y="113"/>
                </a:lnTo>
                <a:lnTo>
                  <a:pt x="465" y="140"/>
                </a:lnTo>
                <a:lnTo>
                  <a:pt x="501" y="160"/>
                </a:lnTo>
                <a:lnTo>
                  <a:pt x="541" y="174"/>
                </a:lnTo>
                <a:lnTo>
                  <a:pt x="584" y="178"/>
                </a:lnTo>
                <a:lnTo>
                  <a:pt x="627" y="174"/>
                </a:lnTo>
                <a:lnTo>
                  <a:pt x="667" y="160"/>
                </a:lnTo>
                <a:lnTo>
                  <a:pt x="701" y="140"/>
                </a:lnTo>
                <a:lnTo>
                  <a:pt x="732" y="113"/>
                </a:lnTo>
                <a:lnTo>
                  <a:pt x="757" y="79"/>
                </a:lnTo>
                <a:lnTo>
                  <a:pt x="773" y="41"/>
                </a:lnTo>
                <a:lnTo>
                  <a:pt x="782" y="0"/>
                </a:lnTo>
                <a:lnTo>
                  <a:pt x="1133" y="0"/>
                </a:lnTo>
                <a:lnTo>
                  <a:pt x="1400" y="558"/>
                </a:lnTo>
                <a:lnTo>
                  <a:pt x="267" y="558"/>
                </a:lnTo>
                <a:lnTo>
                  <a:pt x="0"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7">
            <a:extLst>
              <a:ext uri="{FF2B5EF4-FFF2-40B4-BE49-F238E27FC236}">
                <a16:creationId xmlns:a16="http://schemas.microsoft.com/office/drawing/2014/main" id="{0E43985F-2582-BF48-9A31-F6F59D8E3B89}"/>
              </a:ext>
            </a:extLst>
          </p:cNvPr>
          <p:cNvSpPr>
            <a:spLocks/>
          </p:cNvSpPr>
          <p:nvPr/>
        </p:nvSpPr>
        <p:spPr bwMode="auto">
          <a:xfrm>
            <a:off x="3546667" y="2141936"/>
            <a:ext cx="384995" cy="226871"/>
          </a:xfrm>
          <a:custGeom>
            <a:avLst/>
            <a:gdLst>
              <a:gd name="T0" fmla="*/ 176 w 337"/>
              <a:gd name="T1" fmla="*/ 0 h 198"/>
              <a:gd name="T2" fmla="*/ 337 w 337"/>
              <a:gd name="T3" fmla="*/ 0 h 198"/>
              <a:gd name="T4" fmla="*/ 337 w 337"/>
              <a:gd name="T5" fmla="*/ 198 h 198"/>
              <a:gd name="T6" fmla="*/ 0 w 337"/>
              <a:gd name="T7" fmla="*/ 198 h 198"/>
              <a:gd name="T8" fmla="*/ 176 w 337"/>
              <a:gd name="T9" fmla="*/ 0 h 198"/>
            </a:gdLst>
            <a:ahLst/>
            <a:cxnLst>
              <a:cxn ang="0">
                <a:pos x="T0" y="T1"/>
              </a:cxn>
              <a:cxn ang="0">
                <a:pos x="T2" y="T3"/>
              </a:cxn>
              <a:cxn ang="0">
                <a:pos x="T4" y="T5"/>
              </a:cxn>
              <a:cxn ang="0">
                <a:pos x="T6" y="T7"/>
              </a:cxn>
              <a:cxn ang="0">
                <a:pos x="T8" y="T9"/>
              </a:cxn>
            </a:cxnLst>
            <a:rect l="0" t="0" r="r" b="b"/>
            <a:pathLst>
              <a:path w="337" h="198">
                <a:moveTo>
                  <a:pt x="176" y="0"/>
                </a:moveTo>
                <a:lnTo>
                  <a:pt x="337" y="0"/>
                </a:lnTo>
                <a:lnTo>
                  <a:pt x="337" y="198"/>
                </a:lnTo>
                <a:lnTo>
                  <a:pt x="0" y="198"/>
                </a:lnTo>
                <a:lnTo>
                  <a:pt x="176" y="0"/>
                </a:lnTo>
                <a:close/>
              </a:path>
            </a:pathLst>
          </a:custGeom>
          <a:solidFill>
            <a:schemeClr val="accent2">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11">
            <a:extLst>
              <a:ext uri="{FF2B5EF4-FFF2-40B4-BE49-F238E27FC236}">
                <a16:creationId xmlns:a16="http://schemas.microsoft.com/office/drawing/2014/main" id="{7F09E38D-95A2-8B4A-B6BD-E421E3DF310C}"/>
              </a:ext>
            </a:extLst>
          </p:cNvPr>
          <p:cNvSpPr>
            <a:spLocks/>
          </p:cNvSpPr>
          <p:nvPr/>
        </p:nvSpPr>
        <p:spPr bwMode="auto">
          <a:xfrm>
            <a:off x="3748330" y="2687344"/>
            <a:ext cx="1604144" cy="93956"/>
          </a:xfrm>
          <a:custGeom>
            <a:avLst/>
            <a:gdLst>
              <a:gd name="T0" fmla="*/ 0 w 1400"/>
              <a:gd name="T1" fmla="*/ 0 h 81"/>
              <a:gd name="T2" fmla="*/ 1133 w 1400"/>
              <a:gd name="T3" fmla="*/ 0 h 81"/>
              <a:gd name="T4" fmla="*/ 1400 w 1400"/>
              <a:gd name="T5" fmla="*/ 81 h 81"/>
              <a:gd name="T6" fmla="*/ 267 w 1400"/>
              <a:gd name="T7" fmla="*/ 81 h 81"/>
              <a:gd name="T8" fmla="*/ 0 w 1400"/>
              <a:gd name="T9" fmla="*/ 0 h 81"/>
            </a:gdLst>
            <a:ahLst/>
            <a:cxnLst>
              <a:cxn ang="0">
                <a:pos x="T0" y="T1"/>
              </a:cxn>
              <a:cxn ang="0">
                <a:pos x="T2" y="T3"/>
              </a:cxn>
              <a:cxn ang="0">
                <a:pos x="T4" y="T5"/>
              </a:cxn>
              <a:cxn ang="0">
                <a:pos x="T6" y="T7"/>
              </a:cxn>
              <a:cxn ang="0">
                <a:pos x="T8" y="T9"/>
              </a:cxn>
            </a:cxnLst>
            <a:rect l="0" t="0" r="r" b="b"/>
            <a:pathLst>
              <a:path w="1400" h="81">
                <a:moveTo>
                  <a:pt x="0" y="0"/>
                </a:moveTo>
                <a:lnTo>
                  <a:pt x="1133" y="0"/>
                </a:lnTo>
                <a:lnTo>
                  <a:pt x="1400" y="81"/>
                </a:lnTo>
                <a:lnTo>
                  <a:pt x="267" y="81"/>
                </a:lnTo>
                <a:lnTo>
                  <a:pt x="0" y="0"/>
                </a:lnTo>
                <a:close/>
              </a:path>
            </a:pathLst>
          </a:custGeom>
          <a:solidFill>
            <a:schemeClr val="tx2">
              <a:lumMod val="20000"/>
              <a:lumOff val="80000"/>
            </a:schemeClr>
          </a:solidFill>
          <a:ln w="0">
            <a:solidFill>
              <a:srgbClr val="C9D6D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13">
            <a:extLst>
              <a:ext uri="{FF2B5EF4-FFF2-40B4-BE49-F238E27FC236}">
                <a16:creationId xmlns:a16="http://schemas.microsoft.com/office/drawing/2014/main" id="{10C45BEB-E523-C145-AACF-6D5CE34948BF}"/>
              </a:ext>
            </a:extLst>
          </p:cNvPr>
          <p:cNvSpPr>
            <a:spLocks/>
          </p:cNvSpPr>
          <p:nvPr/>
        </p:nvSpPr>
        <p:spPr bwMode="auto">
          <a:xfrm>
            <a:off x="3748330" y="2141936"/>
            <a:ext cx="1604144" cy="639365"/>
          </a:xfrm>
          <a:custGeom>
            <a:avLst/>
            <a:gdLst>
              <a:gd name="T0" fmla="*/ 0 w 1400"/>
              <a:gd name="T1" fmla="*/ 0 h 558"/>
              <a:gd name="T2" fmla="*/ 384 w 1400"/>
              <a:gd name="T3" fmla="*/ 0 h 558"/>
              <a:gd name="T4" fmla="*/ 393 w 1400"/>
              <a:gd name="T5" fmla="*/ 41 h 558"/>
              <a:gd name="T6" fmla="*/ 411 w 1400"/>
              <a:gd name="T7" fmla="*/ 79 h 558"/>
              <a:gd name="T8" fmla="*/ 434 w 1400"/>
              <a:gd name="T9" fmla="*/ 113 h 558"/>
              <a:gd name="T10" fmla="*/ 465 w 1400"/>
              <a:gd name="T11" fmla="*/ 140 h 558"/>
              <a:gd name="T12" fmla="*/ 501 w 1400"/>
              <a:gd name="T13" fmla="*/ 160 h 558"/>
              <a:gd name="T14" fmla="*/ 541 w 1400"/>
              <a:gd name="T15" fmla="*/ 174 h 558"/>
              <a:gd name="T16" fmla="*/ 584 w 1400"/>
              <a:gd name="T17" fmla="*/ 178 h 558"/>
              <a:gd name="T18" fmla="*/ 627 w 1400"/>
              <a:gd name="T19" fmla="*/ 174 h 558"/>
              <a:gd name="T20" fmla="*/ 667 w 1400"/>
              <a:gd name="T21" fmla="*/ 160 h 558"/>
              <a:gd name="T22" fmla="*/ 701 w 1400"/>
              <a:gd name="T23" fmla="*/ 140 h 558"/>
              <a:gd name="T24" fmla="*/ 732 w 1400"/>
              <a:gd name="T25" fmla="*/ 113 h 558"/>
              <a:gd name="T26" fmla="*/ 757 w 1400"/>
              <a:gd name="T27" fmla="*/ 79 h 558"/>
              <a:gd name="T28" fmla="*/ 773 w 1400"/>
              <a:gd name="T29" fmla="*/ 41 h 558"/>
              <a:gd name="T30" fmla="*/ 782 w 1400"/>
              <a:gd name="T31" fmla="*/ 0 h 558"/>
              <a:gd name="T32" fmla="*/ 1133 w 1400"/>
              <a:gd name="T33" fmla="*/ 0 h 558"/>
              <a:gd name="T34" fmla="*/ 1400 w 1400"/>
              <a:gd name="T35" fmla="*/ 558 h 558"/>
              <a:gd name="T36" fmla="*/ 267 w 1400"/>
              <a:gd name="T37" fmla="*/ 558 h 558"/>
              <a:gd name="T38" fmla="*/ 0 w 1400"/>
              <a:gd name="T39"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558">
                <a:moveTo>
                  <a:pt x="0" y="0"/>
                </a:moveTo>
                <a:lnTo>
                  <a:pt x="384" y="0"/>
                </a:lnTo>
                <a:lnTo>
                  <a:pt x="393" y="41"/>
                </a:lnTo>
                <a:lnTo>
                  <a:pt x="411" y="79"/>
                </a:lnTo>
                <a:lnTo>
                  <a:pt x="434" y="113"/>
                </a:lnTo>
                <a:lnTo>
                  <a:pt x="465" y="140"/>
                </a:lnTo>
                <a:lnTo>
                  <a:pt x="501" y="160"/>
                </a:lnTo>
                <a:lnTo>
                  <a:pt x="541" y="174"/>
                </a:lnTo>
                <a:lnTo>
                  <a:pt x="584" y="178"/>
                </a:lnTo>
                <a:lnTo>
                  <a:pt x="627" y="174"/>
                </a:lnTo>
                <a:lnTo>
                  <a:pt x="667" y="160"/>
                </a:lnTo>
                <a:lnTo>
                  <a:pt x="701" y="140"/>
                </a:lnTo>
                <a:lnTo>
                  <a:pt x="732" y="113"/>
                </a:lnTo>
                <a:lnTo>
                  <a:pt x="757" y="79"/>
                </a:lnTo>
                <a:lnTo>
                  <a:pt x="773" y="41"/>
                </a:lnTo>
                <a:lnTo>
                  <a:pt x="782" y="0"/>
                </a:lnTo>
                <a:lnTo>
                  <a:pt x="1133" y="0"/>
                </a:lnTo>
                <a:lnTo>
                  <a:pt x="1400" y="558"/>
                </a:lnTo>
                <a:lnTo>
                  <a:pt x="267" y="558"/>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7">
            <a:extLst>
              <a:ext uri="{FF2B5EF4-FFF2-40B4-BE49-F238E27FC236}">
                <a16:creationId xmlns:a16="http://schemas.microsoft.com/office/drawing/2014/main" id="{4CEBBCBE-D3C1-3F45-94CC-755329C8A9DE}"/>
              </a:ext>
            </a:extLst>
          </p:cNvPr>
          <p:cNvSpPr>
            <a:spLocks/>
          </p:cNvSpPr>
          <p:nvPr/>
        </p:nvSpPr>
        <p:spPr bwMode="auto">
          <a:xfrm>
            <a:off x="5193096" y="2141936"/>
            <a:ext cx="384995" cy="226871"/>
          </a:xfrm>
          <a:custGeom>
            <a:avLst/>
            <a:gdLst>
              <a:gd name="T0" fmla="*/ 176 w 337"/>
              <a:gd name="T1" fmla="*/ 0 h 198"/>
              <a:gd name="T2" fmla="*/ 337 w 337"/>
              <a:gd name="T3" fmla="*/ 0 h 198"/>
              <a:gd name="T4" fmla="*/ 337 w 337"/>
              <a:gd name="T5" fmla="*/ 198 h 198"/>
              <a:gd name="T6" fmla="*/ 0 w 337"/>
              <a:gd name="T7" fmla="*/ 198 h 198"/>
              <a:gd name="T8" fmla="*/ 176 w 337"/>
              <a:gd name="T9" fmla="*/ 0 h 198"/>
            </a:gdLst>
            <a:ahLst/>
            <a:cxnLst>
              <a:cxn ang="0">
                <a:pos x="T0" y="T1"/>
              </a:cxn>
              <a:cxn ang="0">
                <a:pos x="T2" y="T3"/>
              </a:cxn>
              <a:cxn ang="0">
                <a:pos x="T4" y="T5"/>
              </a:cxn>
              <a:cxn ang="0">
                <a:pos x="T6" y="T7"/>
              </a:cxn>
              <a:cxn ang="0">
                <a:pos x="T8" y="T9"/>
              </a:cxn>
            </a:cxnLst>
            <a:rect l="0" t="0" r="r" b="b"/>
            <a:pathLst>
              <a:path w="337" h="198">
                <a:moveTo>
                  <a:pt x="176" y="0"/>
                </a:moveTo>
                <a:lnTo>
                  <a:pt x="337" y="0"/>
                </a:lnTo>
                <a:lnTo>
                  <a:pt x="337" y="198"/>
                </a:lnTo>
                <a:lnTo>
                  <a:pt x="0" y="198"/>
                </a:lnTo>
                <a:lnTo>
                  <a:pt x="176" y="0"/>
                </a:lnTo>
                <a:close/>
              </a:path>
            </a:pathLst>
          </a:custGeom>
          <a:solidFill>
            <a:schemeClr val="accent3">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11">
            <a:extLst>
              <a:ext uri="{FF2B5EF4-FFF2-40B4-BE49-F238E27FC236}">
                <a16:creationId xmlns:a16="http://schemas.microsoft.com/office/drawing/2014/main" id="{D8DD518D-7706-2A41-9660-691C4CCB3857}"/>
              </a:ext>
            </a:extLst>
          </p:cNvPr>
          <p:cNvSpPr>
            <a:spLocks/>
          </p:cNvSpPr>
          <p:nvPr/>
        </p:nvSpPr>
        <p:spPr bwMode="auto">
          <a:xfrm>
            <a:off x="5394759" y="2687344"/>
            <a:ext cx="1604144" cy="93956"/>
          </a:xfrm>
          <a:custGeom>
            <a:avLst/>
            <a:gdLst>
              <a:gd name="T0" fmla="*/ 0 w 1400"/>
              <a:gd name="T1" fmla="*/ 0 h 81"/>
              <a:gd name="T2" fmla="*/ 1133 w 1400"/>
              <a:gd name="T3" fmla="*/ 0 h 81"/>
              <a:gd name="T4" fmla="*/ 1400 w 1400"/>
              <a:gd name="T5" fmla="*/ 81 h 81"/>
              <a:gd name="T6" fmla="*/ 267 w 1400"/>
              <a:gd name="T7" fmla="*/ 81 h 81"/>
              <a:gd name="T8" fmla="*/ 0 w 1400"/>
              <a:gd name="T9" fmla="*/ 0 h 81"/>
            </a:gdLst>
            <a:ahLst/>
            <a:cxnLst>
              <a:cxn ang="0">
                <a:pos x="T0" y="T1"/>
              </a:cxn>
              <a:cxn ang="0">
                <a:pos x="T2" y="T3"/>
              </a:cxn>
              <a:cxn ang="0">
                <a:pos x="T4" y="T5"/>
              </a:cxn>
              <a:cxn ang="0">
                <a:pos x="T6" y="T7"/>
              </a:cxn>
              <a:cxn ang="0">
                <a:pos x="T8" y="T9"/>
              </a:cxn>
            </a:cxnLst>
            <a:rect l="0" t="0" r="r" b="b"/>
            <a:pathLst>
              <a:path w="1400" h="81">
                <a:moveTo>
                  <a:pt x="0" y="0"/>
                </a:moveTo>
                <a:lnTo>
                  <a:pt x="1133" y="0"/>
                </a:lnTo>
                <a:lnTo>
                  <a:pt x="1400" y="81"/>
                </a:lnTo>
                <a:lnTo>
                  <a:pt x="267" y="81"/>
                </a:lnTo>
                <a:lnTo>
                  <a:pt x="0" y="0"/>
                </a:lnTo>
                <a:close/>
              </a:path>
            </a:pathLst>
          </a:custGeom>
          <a:solidFill>
            <a:schemeClr val="tx2">
              <a:lumMod val="20000"/>
              <a:lumOff val="80000"/>
            </a:schemeClr>
          </a:solidFill>
          <a:ln w="0">
            <a:solidFill>
              <a:srgbClr val="C9D6D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13">
            <a:extLst>
              <a:ext uri="{FF2B5EF4-FFF2-40B4-BE49-F238E27FC236}">
                <a16:creationId xmlns:a16="http://schemas.microsoft.com/office/drawing/2014/main" id="{C03EA87F-A528-7D4D-BD34-EE68F58AB02D}"/>
              </a:ext>
            </a:extLst>
          </p:cNvPr>
          <p:cNvSpPr>
            <a:spLocks/>
          </p:cNvSpPr>
          <p:nvPr/>
        </p:nvSpPr>
        <p:spPr bwMode="auto">
          <a:xfrm>
            <a:off x="5394759" y="2141936"/>
            <a:ext cx="1604144" cy="639365"/>
          </a:xfrm>
          <a:custGeom>
            <a:avLst/>
            <a:gdLst>
              <a:gd name="T0" fmla="*/ 0 w 1400"/>
              <a:gd name="T1" fmla="*/ 0 h 558"/>
              <a:gd name="T2" fmla="*/ 384 w 1400"/>
              <a:gd name="T3" fmla="*/ 0 h 558"/>
              <a:gd name="T4" fmla="*/ 393 w 1400"/>
              <a:gd name="T5" fmla="*/ 41 h 558"/>
              <a:gd name="T6" fmla="*/ 411 w 1400"/>
              <a:gd name="T7" fmla="*/ 79 h 558"/>
              <a:gd name="T8" fmla="*/ 434 w 1400"/>
              <a:gd name="T9" fmla="*/ 113 h 558"/>
              <a:gd name="T10" fmla="*/ 465 w 1400"/>
              <a:gd name="T11" fmla="*/ 140 h 558"/>
              <a:gd name="T12" fmla="*/ 501 w 1400"/>
              <a:gd name="T13" fmla="*/ 160 h 558"/>
              <a:gd name="T14" fmla="*/ 541 w 1400"/>
              <a:gd name="T15" fmla="*/ 174 h 558"/>
              <a:gd name="T16" fmla="*/ 584 w 1400"/>
              <a:gd name="T17" fmla="*/ 178 h 558"/>
              <a:gd name="T18" fmla="*/ 627 w 1400"/>
              <a:gd name="T19" fmla="*/ 174 h 558"/>
              <a:gd name="T20" fmla="*/ 667 w 1400"/>
              <a:gd name="T21" fmla="*/ 160 h 558"/>
              <a:gd name="T22" fmla="*/ 701 w 1400"/>
              <a:gd name="T23" fmla="*/ 140 h 558"/>
              <a:gd name="T24" fmla="*/ 732 w 1400"/>
              <a:gd name="T25" fmla="*/ 113 h 558"/>
              <a:gd name="T26" fmla="*/ 757 w 1400"/>
              <a:gd name="T27" fmla="*/ 79 h 558"/>
              <a:gd name="T28" fmla="*/ 773 w 1400"/>
              <a:gd name="T29" fmla="*/ 41 h 558"/>
              <a:gd name="T30" fmla="*/ 782 w 1400"/>
              <a:gd name="T31" fmla="*/ 0 h 558"/>
              <a:gd name="T32" fmla="*/ 1133 w 1400"/>
              <a:gd name="T33" fmla="*/ 0 h 558"/>
              <a:gd name="T34" fmla="*/ 1400 w 1400"/>
              <a:gd name="T35" fmla="*/ 558 h 558"/>
              <a:gd name="T36" fmla="*/ 267 w 1400"/>
              <a:gd name="T37" fmla="*/ 558 h 558"/>
              <a:gd name="T38" fmla="*/ 0 w 1400"/>
              <a:gd name="T39"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558">
                <a:moveTo>
                  <a:pt x="0" y="0"/>
                </a:moveTo>
                <a:lnTo>
                  <a:pt x="384" y="0"/>
                </a:lnTo>
                <a:lnTo>
                  <a:pt x="393" y="41"/>
                </a:lnTo>
                <a:lnTo>
                  <a:pt x="411" y="79"/>
                </a:lnTo>
                <a:lnTo>
                  <a:pt x="434" y="113"/>
                </a:lnTo>
                <a:lnTo>
                  <a:pt x="465" y="140"/>
                </a:lnTo>
                <a:lnTo>
                  <a:pt x="501" y="160"/>
                </a:lnTo>
                <a:lnTo>
                  <a:pt x="541" y="174"/>
                </a:lnTo>
                <a:lnTo>
                  <a:pt x="584" y="178"/>
                </a:lnTo>
                <a:lnTo>
                  <a:pt x="627" y="174"/>
                </a:lnTo>
                <a:lnTo>
                  <a:pt x="667" y="160"/>
                </a:lnTo>
                <a:lnTo>
                  <a:pt x="701" y="140"/>
                </a:lnTo>
                <a:lnTo>
                  <a:pt x="732" y="113"/>
                </a:lnTo>
                <a:lnTo>
                  <a:pt x="757" y="79"/>
                </a:lnTo>
                <a:lnTo>
                  <a:pt x="773" y="41"/>
                </a:lnTo>
                <a:lnTo>
                  <a:pt x="782" y="0"/>
                </a:lnTo>
                <a:lnTo>
                  <a:pt x="1133" y="0"/>
                </a:lnTo>
                <a:lnTo>
                  <a:pt x="1400" y="558"/>
                </a:lnTo>
                <a:lnTo>
                  <a:pt x="267" y="558"/>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7">
            <a:extLst>
              <a:ext uri="{FF2B5EF4-FFF2-40B4-BE49-F238E27FC236}">
                <a16:creationId xmlns:a16="http://schemas.microsoft.com/office/drawing/2014/main" id="{F9F8B06A-ECF7-2747-A22D-83B07CD0C5D1}"/>
              </a:ext>
            </a:extLst>
          </p:cNvPr>
          <p:cNvSpPr>
            <a:spLocks/>
          </p:cNvSpPr>
          <p:nvPr/>
        </p:nvSpPr>
        <p:spPr bwMode="auto">
          <a:xfrm>
            <a:off x="6839525" y="2141936"/>
            <a:ext cx="384995" cy="226871"/>
          </a:xfrm>
          <a:custGeom>
            <a:avLst/>
            <a:gdLst>
              <a:gd name="T0" fmla="*/ 176 w 337"/>
              <a:gd name="T1" fmla="*/ 0 h 198"/>
              <a:gd name="T2" fmla="*/ 337 w 337"/>
              <a:gd name="T3" fmla="*/ 0 h 198"/>
              <a:gd name="T4" fmla="*/ 337 w 337"/>
              <a:gd name="T5" fmla="*/ 198 h 198"/>
              <a:gd name="T6" fmla="*/ 0 w 337"/>
              <a:gd name="T7" fmla="*/ 198 h 198"/>
              <a:gd name="T8" fmla="*/ 176 w 337"/>
              <a:gd name="T9" fmla="*/ 0 h 198"/>
            </a:gdLst>
            <a:ahLst/>
            <a:cxnLst>
              <a:cxn ang="0">
                <a:pos x="T0" y="T1"/>
              </a:cxn>
              <a:cxn ang="0">
                <a:pos x="T2" y="T3"/>
              </a:cxn>
              <a:cxn ang="0">
                <a:pos x="T4" y="T5"/>
              </a:cxn>
              <a:cxn ang="0">
                <a:pos x="T6" y="T7"/>
              </a:cxn>
              <a:cxn ang="0">
                <a:pos x="T8" y="T9"/>
              </a:cxn>
            </a:cxnLst>
            <a:rect l="0" t="0" r="r" b="b"/>
            <a:pathLst>
              <a:path w="337" h="198">
                <a:moveTo>
                  <a:pt x="176" y="0"/>
                </a:moveTo>
                <a:lnTo>
                  <a:pt x="337" y="0"/>
                </a:lnTo>
                <a:lnTo>
                  <a:pt x="337" y="198"/>
                </a:lnTo>
                <a:lnTo>
                  <a:pt x="0" y="198"/>
                </a:lnTo>
                <a:lnTo>
                  <a:pt x="176" y="0"/>
                </a:lnTo>
                <a:close/>
              </a:path>
            </a:pathLst>
          </a:custGeom>
          <a:solidFill>
            <a:schemeClr val="accent4">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11">
            <a:extLst>
              <a:ext uri="{FF2B5EF4-FFF2-40B4-BE49-F238E27FC236}">
                <a16:creationId xmlns:a16="http://schemas.microsoft.com/office/drawing/2014/main" id="{1B5B347A-62EE-2D48-854A-9A2BF8AA14EE}"/>
              </a:ext>
            </a:extLst>
          </p:cNvPr>
          <p:cNvSpPr>
            <a:spLocks/>
          </p:cNvSpPr>
          <p:nvPr/>
        </p:nvSpPr>
        <p:spPr bwMode="auto">
          <a:xfrm>
            <a:off x="7041188" y="2687344"/>
            <a:ext cx="1604144" cy="93956"/>
          </a:xfrm>
          <a:custGeom>
            <a:avLst/>
            <a:gdLst>
              <a:gd name="T0" fmla="*/ 0 w 1400"/>
              <a:gd name="T1" fmla="*/ 0 h 81"/>
              <a:gd name="T2" fmla="*/ 1133 w 1400"/>
              <a:gd name="T3" fmla="*/ 0 h 81"/>
              <a:gd name="T4" fmla="*/ 1400 w 1400"/>
              <a:gd name="T5" fmla="*/ 81 h 81"/>
              <a:gd name="T6" fmla="*/ 267 w 1400"/>
              <a:gd name="T7" fmla="*/ 81 h 81"/>
              <a:gd name="T8" fmla="*/ 0 w 1400"/>
              <a:gd name="T9" fmla="*/ 0 h 81"/>
            </a:gdLst>
            <a:ahLst/>
            <a:cxnLst>
              <a:cxn ang="0">
                <a:pos x="T0" y="T1"/>
              </a:cxn>
              <a:cxn ang="0">
                <a:pos x="T2" y="T3"/>
              </a:cxn>
              <a:cxn ang="0">
                <a:pos x="T4" y="T5"/>
              </a:cxn>
              <a:cxn ang="0">
                <a:pos x="T6" y="T7"/>
              </a:cxn>
              <a:cxn ang="0">
                <a:pos x="T8" y="T9"/>
              </a:cxn>
            </a:cxnLst>
            <a:rect l="0" t="0" r="r" b="b"/>
            <a:pathLst>
              <a:path w="1400" h="81">
                <a:moveTo>
                  <a:pt x="0" y="0"/>
                </a:moveTo>
                <a:lnTo>
                  <a:pt x="1133" y="0"/>
                </a:lnTo>
                <a:lnTo>
                  <a:pt x="1400" y="81"/>
                </a:lnTo>
                <a:lnTo>
                  <a:pt x="267" y="81"/>
                </a:lnTo>
                <a:lnTo>
                  <a:pt x="0" y="0"/>
                </a:lnTo>
                <a:close/>
              </a:path>
            </a:pathLst>
          </a:custGeom>
          <a:solidFill>
            <a:schemeClr val="tx2">
              <a:lumMod val="20000"/>
              <a:lumOff val="80000"/>
            </a:schemeClr>
          </a:solidFill>
          <a:ln w="0">
            <a:solidFill>
              <a:srgbClr val="C9D6D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13">
            <a:extLst>
              <a:ext uri="{FF2B5EF4-FFF2-40B4-BE49-F238E27FC236}">
                <a16:creationId xmlns:a16="http://schemas.microsoft.com/office/drawing/2014/main" id="{A5BADFFB-1C71-B84E-8F22-1AFD08EE0FA0}"/>
              </a:ext>
            </a:extLst>
          </p:cNvPr>
          <p:cNvSpPr>
            <a:spLocks/>
          </p:cNvSpPr>
          <p:nvPr/>
        </p:nvSpPr>
        <p:spPr bwMode="auto">
          <a:xfrm>
            <a:off x="7041188" y="2141936"/>
            <a:ext cx="1604144" cy="639365"/>
          </a:xfrm>
          <a:custGeom>
            <a:avLst/>
            <a:gdLst>
              <a:gd name="T0" fmla="*/ 0 w 1400"/>
              <a:gd name="T1" fmla="*/ 0 h 558"/>
              <a:gd name="T2" fmla="*/ 384 w 1400"/>
              <a:gd name="T3" fmla="*/ 0 h 558"/>
              <a:gd name="T4" fmla="*/ 393 w 1400"/>
              <a:gd name="T5" fmla="*/ 41 h 558"/>
              <a:gd name="T6" fmla="*/ 411 w 1400"/>
              <a:gd name="T7" fmla="*/ 79 h 558"/>
              <a:gd name="T8" fmla="*/ 434 w 1400"/>
              <a:gd name="T9" fmla="*/ 113 h 558"/>
              <a:gd name="T10" fmla="*/ 465 w 1400"/>
              <a:gd name="T11" fmla="*/ 140 h 558"/>
              <a:gd name="T12" fmla="*/ 501 w 1400"/>
              <a:gd name="T13" fmla="*/ 160 h 558"/>
              <a:gd name="T14" fmla="*/ 541 w 1400"/>
              <a:gd name="T15" fmla="*/ 174 h 558"/>
              <a:gd name="T16" fmla="*/ 584 w 1400"/>
              <a:gd name="T17" fmla="*/ 178 h 558"/>
              <a:gd name="T18" fmla="*/ 627 w 1400"/>
              <a:gd name="T19" fmla="*/ 174 h 558"/>
              <a:gd name="T20" fmla="*/ 667 w 1400"/>
              <a:gd name="T21" fmla="*/ 160 h 558"/>
              <a:gd name="T22" fmla="*/ 701 w 1400"/>
              <a:gd name="T23" fmla="*/ 140 h 558"/>
              <a:gd name="T24" fmla="*/ 732 w 1400"/>
              <a:gd name="T25" fmla="*/ 113 h 558"/>
              <a:gd name="T26" fmla="*/ 757 w 1400"/>
              <a:gd name="T27" fmla="*/ 79 h 558"/>
              <a:gd name="T28" fmla="*/ 773 w 1400"/>
              <a:gd name="T29" fmla="*/ 41 h 558"/>
              <a:gd name="T30" fmla="*/ 782 w 1400"/>
              <a:gd name="T31" fmla="*/ 0 h 558"/>
              <a:gd name="T32" fmla="*/ 1133 w 1400"/>
              <a:gd name="T33" fmla="*/ 0 h 558"/>
              <a:gd name="T34" fmla="*/ 1400 w 1400"/>
              <a:gd name="T35" fmla="*/ 558 h 558"/>
              <a:gd name="T36" fmla="*/ 267 w 1400"/>
              <a:gd name="T37" fmla="*/ 558 h 558"/>
              <a:gd name="T38" fmla="*/ 0 w 1400"/>
              <a:gd name="T39"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558">
                <a:moveTo>
                  <a:pt x="0" y="0"/>
                </a:moveTo>
                <a:lnTo>
                  <a:pt x="384" y="0"/>
                </a:lnTo>
                <a:lnTo>
                  <a:pt x="393" y="41"/>
                </a:lnTo>
                <a:lnTo>
                  <a:pt x="411" y="79"/>
                </a:lnTo>
                <a:lnTo>
                  <a:pt x="434" y="113"/>
                </a:lnTo>
                <a:lnTo>
                  <a:pt x="465" y="140"/>
                </a:lnTo>
                <a:lnTo>
                  <a:pt x="501" y="160"/>
                </a:lnTo>
                <a:lnTo>
                  <a:pt x="541" y="174"/>
                </a:lnTo>
                <a:lnTo>
                  <a:pt x="584" y="178"/>
                </a:lnTo>
                <a:lnTo>
                  <a:pt x="627" y="174"/>
                </a:lnTo>
                <a:lnTo>
                  <a:pt x="667" y="160"/>
                </a:lnTo>
                <a:lnTo>
                  <a:pt x="701" y="140"/>
                </a:lnTo>
                <a:lnTo>
                  <a:pt x="732" y="113"/>
                </a:lnTo>
                <a:lnTo>
                  <a:pt x="757" y="79"/>
                </a:lnTo>
                <a:lnTo>
                  <a:pt x="773" y="41"/>
                </a:lnTo>
                <a:lnTo>
                  <a:pt x="782" y="0"/>
                </a:lnTo>
                <a:lnTo>
                  <a:pt x="1133" y="0"/>
                </a:lnTo>
                <a:lnTo>
                  <a:pt x="1400" y="558"/>
                </a:lnTo>
                <a:lnTo>
                  <a:pt x="267" y="558"/>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7">
            <a:extLst>
              <a:ext uri="{FF2B5EF4-FFF2-40B4-BE49-F238E27FC236}">
                <a16:creationId xmlns:a16="http://schemas.microsoft.com/office/drawing/2014/main" id="{1916DF9A-ED0A-0F42-9061-DBEF5D38F21E}"/>
              </a:ext>
            </a:extLst>
          </p:cNvPr>
          <p:cNvSpPr>
            <a:spLocks/>
          </p:cNvSpPr>
          <p:nvPr/>
        </p:nvSpPr>
        <p:spPr bwMode="auto">
          <a:xfrm>
            <a:off x="8485955" y="2141936"/>
            <a:ext cx="384995" cy="226871"/>
          </a:xfrm>
          <a:custGeom>
            <a:avLst/>
            <a:gdLst>
              <a:gd name="T0" fmla="*/ 176 w 337"/>
              <a:gd name="T1" fmla="*/ 0 h 198"/>
              <a:gd name="T2" fmla="*/ 337 w 337"/>
              <a:gd name="T3" fmla="*/ 0 h 198"/>
              <a:gd name="T4" fmla="*/ 337 w 337"/>
              <a:gd name="T5" fmla="*/ 198 h 198"/>
              <a:gd name="T6" fmla="*/ 0 w 337"/>
              <a:gd name="T7" fmla="*/ 198 h 198"/>
              <a:gd name="T8" fmla="*/ 176 w 337"/>
              <a:gd name="T9" fmla="*/ 0 h 198"/>
            </a:gdLst>
            <a:ahLst/>
            <a:cxnLst>
              <a:cxn ang="0">
                <a:pos x="T0" y="T1"/>
              </a:cxn>
              <a:cxn ang="0">
                <a:pos x="T2" y="T3"/>
              </a:cxn>
              <a:cxn ang="0">
                <a:pos x="T4" y="T5"/>
              </a:cxn>
              <a:cxn ang="0">
                <a:pos x="T6" y="T7"/>
              </a:cxn>
              <a:cxn ang="0">
                <a:pos x="T8" y="T9"/>
              </a:cxn>
            </a:cxnLst>
            <a:rect l="0" t="0" r="r" b="b"/>
            <a:pathLst>
              <a:path w="337" h="198">
                <a:moveTo>
                  <a:pt x="176" y="0"/>
                </a:moveTo>
                <a:lnTo>
                  <a:pt x="337" y="0"/>
                </a:lnTo>
                <a:lnTo>
                  <a:pt x="337" y="198"/>
                </a:lnTo>
                <a:lnTo>
                  <a:pt x="0" y="198"/>
                </a:lnTo>
                <a:lnTo>
                  <a:pt x="176" y="0"/>
                </a:lnTo>
                <a:close/>
              </a:path>
            </a:pathLst>
          </a:custGeom>
          <a:solidFill>
            <a:schemeClr val="accent5">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11">
            <a:extLst>
              <a:ext uri="{FF2B5EF4-FFF2-40B4-BE49-F238E27FC236}">
                <a16:creationId xmlns:a16="http://schemas.microsoft.com/office/drawing/2014/main" id="{4654A46F-278E-C04A-BB23-8BA22F2FD38C}"/>
              </a:ext>
            </a:extLst>
          </p:cNvPr>
          <p:cNvSpPr>
            <a:spLocks/>
          </p:cNvSpPr>
          <p:nvPr/>
        </p:nvSpPr>
        <p:spPr bwMode="auto">
          <a:xfrm>
            <a:off x="8687618" y="2687344"/>
            <a:ext cx="1604144" cy="93956"/>
          </a:xfrm>
          <a:custGeom>
            <a:avLst/>
            <a:gdLst>
              <a:gd name="T0" fmla="*/ 0 w 1400"/>
              <a:gd name="T1" fmla="*/ 0 h 81"/>
              <a:gd name="T2" fmla="*/ 1133 w 1400"/>
              <a:gd name="T3" fmla="*/ 0 h 81"/>
              <a:gd name="T4" fmla="*/ 1400 w 1400"/>
              <a:gd name="T5" fmla="*/ 81 h 81"/>
              <a:gd name="T6" fmla="*/ 267 w 1400"/>
              <a:gd name="T7" fmla="*/ 81 h 81"/>
              <a:gd name="T8" fmla="*/ 0 w 1400"/>
              <a:gd name="T9" fmla="*/ 0 h 81"/>
            </a:gdLst>
            <a:ahLst/>
            <a:cxnLst>
              <a:cxn ang="0">
                <a:pos x="T0" y="T1"/>
              </a:cxn>
              <a:cxn ang="0">
                <a:pos x="T2" y="T3"/>
              </a:cxn>
              <a:cxn ang="0">
                <a:pos x="T4" y="T5"/>
              </a:cxn>
              <a:cxn ang="0">
                <a:pos x="T6" y="T7"/>
              </a:cxn>
              <a:cxn ang="0">
                <a:pos x="T8" y="T9"/>
              </a:cxn>
            </a:cxnLst>
            <a:rect l="0" t="0" r="r" b="b"/>
            <a:pathLst>
              <a:path w="1400" h="81">
                <a:moveTo>
                  <a:pt x="0" y="0"/>
                </a:moveTo>
                <a:lnTo>
                  <a:pt x="1133" y="0"/>
                </a:lnTo>
                <a:lnTo>
                  <a:pt x="1400" y="81"/>
                </a:lnTo>
                <a:lnTo>
                  <a:pt x="267" y="81"/>
                </a:lnTo>
                <a:lnTo>
                  <a:pt x="0" y="0"/>
                </a:lnTo>
                <a:close/>
              </a:path>
            </a:pathLst>
          </a:custGeom>
          <a:solidFill>
            <a:schemeClr val="tx2">
              <a:lumMod val="20000"/>
              <a:lumOff val="80000"/>
            </a:schemeClr>
          </a:solidFill>
          <a:ln w="0">
            <a:solidFill>
              <a:srgbClr val="C9D6D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13">
            <a:extLst>
              <a:ext uri="{FF2B5EF4-FFF2-40B4-BE49-F238E27FC236}">
                <a16:creationId xmlns:a16="http://schemas.microsoft.com/office/drawing/2014/main" id="{7F004A08-D2BF-774B-8EFB-6741FFF20EC5}"/>
              </a:ext>
            </a:extLst>
          </p:cNvPr>
          <p:cNvSpPr>
            <a:spLocks/>
          </p:cNvSpPr>
          <p:nvPr/>
        </p:nvSpPr>
        <p:spPr bwMode="auto">
          <a:xfrm>
            <a:off x="8687618" y="2141936"/>
            <a:ext cx="1604144" cy="639365"/>
          </a:xfrm>
          <a:custGeom>
            <a:avLst/>
            <a:gdLst>
              <a:gd name="T0" fmla="*/ 0 w 1400"/>
              <a:gd name="T1" fmla="*/ 0 h 558"/>
              <a:gd name="T2" fmla="*/ 384 w 1400"/>
              <a:gd name="T3" fmla="*/ 0 h 558"/>
              <a:gd name="T4" fmla="*/ 393 w 1400"/>
              <a:gd name="T5" fmla="*/ 41 h 558"/>
              <a:gd name="T6" fmla="*/ 411 w 1400"/>
              <a:gd name="T7" fmla="*/ 79 h 558"/>
              <a:gd name="T8" fmla="*/ 434 w 1400"/>
              <a:gd name="T9" fmla="*/ 113 h 558"/>
              <a:gd name="T10" fmla="*/ 465 w 1400"/>
              <a:gd name="T11" fmla="*/ 140 h 558"/>
              <a:gd name="T12" fmla="*/ 501 w 1400"/>
              <a:gd name="T13" fmla="*/ 160 h 558"/>
              <a:gd name="T14" fmla="*/ 541 w 1400"/>
              <a:gd name="T15" fmla="*/ 174 h 558"/>
              <a:gd name="T16" fmla="*/ 584 w 1400"/>
              <a:gd name="T17" fmla="*/ 178 h 558"/>
              <a:gd name="T18" fmla="*/ 627 w 1400"/>
              <a:gd name="T19" fmla="*/ 174 h 558"/>
              <a:gd name="T20" fmla="*/ 667 w 1400"/>
              <a:gd name="T21" fmla="*/ 160 h 558"/>
              <a:gd name="T22" fmla="*/ 701 w 1400"/>
              <a:gd name="T23" fmla="*/ 140 h 558"/>
              <a:gd name="T24" fmla="*/ 732 w 1400"/>
              <a:gd name="T25" fmla="*/ 113 h 558"/>
              <a:gd name="T26" fmla="*/ 757 w 1400"/>
              <a:gd name="T27" fmla="*/ 79 h 558"/>
              <a:gd name="T28" fmla="*/ 773 w 1400"/>
              <a:gd name="T29" fmla="*/ 41 h 558"/>
              <a:gd name="T30" fmla="*/ 782 w 1400"/>
              <a:gd name="T31" fmla="*/ 0 h 558"/>
              <a:gd name="T32" fmla="*/ 1133 w 1400"/>
              <a:gd name="T33" fmla="*/ 0 h 558"/>
              <a:gd name="T34" fmla="*/ 1400 w 1400"/>
              <a:gd name="T35" fmla="*/ 558 h 558"/>
              <a:gd name="T36" fmla="*/ 267 w 1400"/>
              <a:gd name="T37" fmla="*/ 558 h 558"/>
              <a:gd name="T38" fmla="*/ 0 w 1400"/>
              <a:gd name="T39"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558">
                <a:moveTo>
                  <a:pt x="0" y="0"/>
                </a:moveTo>
                <a:lnTo>
                  <a:pt x="384" y="0"/>
                </a:lnTo>
                <a:lnTo>
                  <a:pt x="393" y="41"/>
                </a:lnTo>
                <a:lnTo>
                  <a:pt x="411" y="79"/>
                </a:lnTo>
                <a:lnTo>
                  <a:pt x="434" y="113"/>
                </a:lnTo>
                <a:lnTo>
                  <a:pt x="465" y="140"/>
                </a:lnTo>
                <a:lnTo>
                  <a:pt x="501" y="160"/>
                </a:lnTo>
                <a:lnTo>
                  <a:pt x="541" y="174"/>
                </a:lnTo>
                <a:lnTo>
                  <a:pt x="584" y="178"/>
                </a:lnTo>
                <a:lnTo>
                  <a:pt x="627" y="174"/>
                </a:lnTo>
                <a:lnTo>
                  <a:pt x="667" y="160"/>
                </a:lnTo>
                <a:lnTo>
                  <a:pt x="701" y="140"/>
                </a:lnTo>
                <a:lnTo>
                  <a:pt x="732" y="113"/>
                </a:lnTo>
                <a:lnTo>
                  <a:pt x="757" y="79"/>
                </a:lnTo>
                <a:lnTo>
                  <a:pt x="773" y="41"/>
                </a:lnTo>
                <a:lnTo>
                  <a:pt x="782" y="0"/>
                </a:lnTo>
                <a:lnTo>
                  <a:pt x="1133" y="0"/>
                </a:lnTo>
                <a:lnTo>
                  <a:pt x="1400" y="558"/>
                </a:lnTo>
                <a:lnTo>
                  <a:pt x="267" y="558"/>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Left Brace 120">
            <a:extLst>
              <a:ext uri="{FF2B5EF4-FFF2-40B4-BE49-F238E27FC236}">
                <a16:creationId xmlns:a16="http://schemas.microsoft.com/office/drawing/2014/main" id="{DBC80BAB-D92D-6A47-B52A-1C39C7DE65C5}"/>
              </a:ext>
            </a:extLst>
          </p:cNvPr>
          <p:cNvSpPr/>
          <p:nvPr/>
        </p:nvSpPr>
        <p:spPr>
          <a:xfrm rot="16200000">
            <a:off x="5794157" y="-850625"/>
            <a:ext cx="622094" cy="8373123"/>
          </a:xfrm>
          <a:prstGeom prst="leftBrace">
            <a:avLst>
              <a:gd name="adj1" fmla="val 83032"/>
              <a:gd name="adj2" fmla="val 50000"/>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2" name="Oval 121">
            <a:extLst>
              <a:ext uri="{FF2B5EF4-FFF2-40B4-BE49-F238E27FC236}">
                <a16:creationId xmlns:a16="http://schemas.microsoft.com/office/drawing/2014/main" id="{B12E2C46-FB8F-524A-A081-FABC4EC0BD24}"/>
              </a:ext>
            </a:extLst>
          </p:cNvPr>
          <p:cNvSpPr/>
          <p:nvPr/>
        </p:nvSpPr>
        <p:spPr bwMode="gray">
          <a:xfrm>
            <a:off x="5522611" y="3657318"/>
            <a:ext cx="1165186" cy="1165186"/>
          </a:xfrm>
          <a:prstGeom prst="ellipse">
            <a:avLst/>
          </a:prstGeom>
          <a:solidFill>
            <a:schemeClr val="accent1"/>
          </a:solidFill>
          <a:ln w="19050" algn="ctr">
            <a:noFill/>
            <a:miter lim="800000"/>
            <a:headEnd/>
            <a:tailEnd/>
          </a:ln>
        </p:spPr>
        <p:txBody>
          <a:bodyPr wrap="none" lIns="0" tIns="0" rIns="0" bIns="0" rtlCol="0" anchor="ctr"/>
          <a:lstStyle/>
          <a:p>
            <a:pPr algn="ctr">
              <a:lnSpc>
                <a:spcPct val="106000"/>
              </a:lnSpc>
              <a:buFont typeface="Wingdings 2" pitchFamily="18" charset="2"/>
              <a:buNone/>
            </a:pPr>
            <a:r>
              <a:rPr lang="en-US" sz="1600" b="1" dirty="0">
                <a:solidFill>
                  <a:schemeClr val="bg1"/>
                </a:solidFill>
              </a:rPr>
              <a:t>Lorem ipsum</a:t>
            </a:r>
          </a:p>
          <a:p>
            <a:pPr algn="ctr">
              <a:lnSpc>
                <a:spcPct val="106000"/>
              </a:lnSpc>
              <a:buFont typeface="Wingdings 2" pitchFamily="18" charset="2"/>
              <a:buNone/>
            </a:pPr>
            <a:r>
              <a:rPr lang="en-US" sz="1600" b="1" dirty="0">
                <a:solidFill>
                  <a:schemeClr val="bg1"/>
                </a:solidFill>
              </a:rPr>
              <a:t> dolor sit</a:t>
            </a:r>
          </a:p>
        </p:txBody>
      </p:sp>
      <p:sp>
        <p:nvSpPr>
          <p:cNvPr id="123" name="Freeform 122">
            <a:extLst>
              <a:ext uri="{FF2B5EF4-FFF2-40B4-BE49-F238E27FC236}">
                <a16:creationId xmlns:a16="http://schemas.microsoft.com/office/drawing/2014/main" id="{820B6A06-8498-BA43-AC00-CF9586CA7885}"/>
              </a:ext>
            </a:extLst>
          </p:cNvPr>
          <p:cNvSpPr/>
          <p:nvPr/>
        </p:nvSpPr>
        <p:spPr bwMode="gray">
          <a:xfrm rot="10800000">
            <a:off x="5675396" y="4634891"/>
            <a:ext cx="717388" cy="595523"/>
          </a:xfrm>
          <a:custGeom>
            <a:avLst/>
            <a:gdLst>
              <a:gd name="connsiteX0" fmla="*/ 697448 w 717388"/>
              <a:gd name="connsiteY0" fmla="*/ 567080 h 595523"/>
              <a:gd name="connsiteX1" fmla="*/ 717388 w 717388"/>
              <a:gd name="connsiteY1" fmla="*/ 595523 h 595523"/>
              <a:gd name="connsiteX2" fmla="*/ 712887 w 717388"/>
              <a:gd name="connsiteY2" fmla="*/ 595523 h 595523"/>
              <a:gd name="connsiteX3" fmla="*/ 0 w 717388"/>
              <a:gd name="connsiteY3" fmla="*/ 427795 h 595523"/>
              <a:gd name="connsiteX4" fmla="*/ 299902 w 717388"/>
              <a:gd name="connsiteY4" fmla="*/ 0 h 595523"/>
              <a:gd name="connsiteX5" fmla="*/ 623031 w 717388"/>
              <a:gd name="connsiteY5" fmla="*/ 460928 h 595523"/>
              <a:gd name="connsiteX6" fmla="*/ 616304 w 717388"/>
              <a:gd name="connsiteY6" fmla="*/ 452774 h 595523"/>
              <a:gd name="connsiteX7" fmla="*/ 293015 w 717388"/>
              <a:gd name="connsiteY7" fmla="*/ 318864 h 595523"/>
              <a:gd name="connsiteX8" fmla="*/ 37390 w 717388"/>
              <a:gd name="connsiteY8" fmla="*/ 396946 h 59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388" h="595523">
                <a:moveTo>
                  <a:pt x="697448" y="567080"/>
                </a:moveTo>
                <a:lnTo>
                  <a:pt x="717388" y="595523"/>
                </a:lnTo>
                <a:lnTo>
                  <a:pt x="712887" y="595523"/>
                </a:lnTo>
                <a:close/>
                <a:moveTo>
                  <a:pt x="0" y="427795"/>
                </a:moveTo>
                <a:lnTo>
                  <a:pt x="299902" y="0"/>
                </a:lnTo>
                <a:lnTo>
                  <a:pt x="623031" y="460928"/>
                </a:lnTo>
                <a:lnTo>
                  <a:pt x="616304" y="452774"/>
                </a:lnTo>
                <a:cubicBezTo>
                  <a:pt x="533567" y="370037"/>
                  <a:pt x="419267" y="318864"/>
                  <a:pt x="293015" y="318864"/>
                </a:cubicBezTo>
                <a:cubicBezTo>
                  <a:pt x="198325" y="318864"/>
                  <a:pt x="110359" y="347649"/>
                  <a:pt x="37390" y="396946"/>
                </a:cubicBez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4" name="Rectangle 123">
            <a:extLst>
              <a:ext uri="{FF2B5EF4-FFF2-40B4-BE49-F238E27FC236}">
                <a16:creationId xmlns:a16="http://schemas.microsoft.com/office/drawing/2014/main" id="{CC05E0AE-410E-6244-9484-6864B557D141}"/>
              </a:ext>
            </a:extLst>
          </p:cNvPr>
          <p:cNvSpPr/>
          <p:nvPr/>
        </p:nvSpPr>
        <p:spPr>
          <a:xfrm>
            <a:off x="4199884" y="5253222"/>
            <a:ext cx="3810642" cy="369332"/>
          </a:xfrm>
          <a:prstGeom prst="rect">
            <a:avLst/>
          </a:prstGeom>
        </p:spPr>
        <p:txBody>
          <a:bodyPr wrap="square">
            <a:spAutoFit/>
          </a:bodyPr>
          <a:lstStyle/>
          <a:p>
            <a:pPr algn="ctr">
              <a:spcBef>
                <a:spcPts val="600"/>
              </a:spcBef>
              <a:buSzPct val="100000"/>
            </a:pPr>
            <a:r>
              <a:rPr lang="en-GB" b="1" dirty="0">
                <a:solidFill>
                  <a:schemeClr val="accent2"/>
                </a:solidFill>
              </a:rPr>
              <a:t>Lorem ipsum </a:t>
            </a:r>
            <a:r>
              <a:rPr lang="en-GB" b="1" dirty="0" err="1">
                <a:solidFill>
                  <a:schemeClr val="accent2"/>
                </a:solidFill>
              </a:rPr>
              <a:t>dolor</a:t>
            </a:r>
            <a:r>
              <a:rPr lang="en-GB" b="1" dirty="0">
                <a:solidFill>
                  <a:schemeClr val="accent2"/>
                </a:solidFill>
              </a:rPr>
              <a:t> sit</a:t>
            </a:r>
          </a:p>
        </p:txBody>
      </p:sp>
      <p:sp>
        <p:nvSpPr>
          <p:cNvPr id="125" name="Rectangle 124">
            <a:extLst>
              <a:ext uri="{FF2B5EF4-FFF2-40B4-BE49-F238E27FC236}">
                <a16:creationId xmlns:a16="http://schemas.microsoft.com/office/drawing/2014/main" id="{977491E8-5029-494C-9915-B9D7E2EFE3A5}"/>
              </a:ext>
            </a:extLst>
          </p:cNvPr>
          <p:cNvSpPr/>
          <p:nvPr/>
        </p:nvSpPr>
        <p:spPr>
          <a:xfrm>
            <a:off x="2367464" y="2415384"/>
            <a:ext cx="1133324" cy="153888"/>
          </a:xfrm>
          <a:prstGeom prst="rect">
            <a:avLst/>
          </a:prstGeom>
        </p:spPr>
        <p:txBody>
          <a:bodyPr wrap="none" lIns="0" tIns="0" rIns="0" bIns="0">
            <a:spAutoFit/>
          </a:bodyPr>
          <a:lstStyle/>
          <a:p>
            <a:pPr algn="ctr"/>
            <a:r>
              <a:rPr lang="en-US" sz="1000" dirty="0">
                <a:solidFill>
                  <a:schemeClr val="bg1"/>
                </a:solidFill>
              </a:rPr>
              <a:t>Lorem ipsum dolor sit</a:t>
            </a:r>
          </a:p>
        </p:txBody>
      </p:sp>
      <p:sp>
        <p:nvSpPr>
          <p:cNvPr id="126" name="Rectangle 125">
            <a:extLst>
              <a:ext uri="{FF2B5EF4-FFF2-40B4-BE49-F238E27FC236}">
                <a16:creationId xmlns:a16="http://schemas.microsoft.com/office/drawing/2014/main" id="{58D646C1-E78F-894A-99D5-B30D2A327D3A}"/>
              </a:ext>
            </a:extLst>
          </p:cNvPr>
          <p:cNvSpPr/>
          <p:nvPr/>
        </p:nvSpPr>
        <p:spPr>
          <a:xfrm>
            <a:off x="3799117" y="2391568"/>
            <a:ext cx="1534304" cy="153888"/>
          </a:xfrm>
          <a:prstGeom prst="rect">
            <a:avLst/>
          </a:prstGeom>
        </p:spPr>
        <p:txBody>
          <a:bodyPr wrap="square" lIns="0" tIns="0" rIns="0" bIns="0">
            <a:spAutoFit/>
          </a:bodyPr>
          <a:lstStyle/>
          <a:p>
            <a:pPr algn="ctr"/>
            <a:r>
              <a:rPr lang="en-US" sz="1000" dirty="0">
                <a:solidFill>
                  <a:schemeClr val="bg1"/>
                </a:solidFill>
              </a:rPr>
              <a:t>Lorem ipsum dolor sit</a:t>
            </a:r>
          </a:p>
        </p:txBody>
      </p:sp>
      <p:sp>
        <p:nvSpPr>
          <p:cNvPr id="127" name="Rectangle 126">
            <a:extLst>
              <a:ext uri="{FF2B5EF4-FFF2-40B4-BE49-F238E27FC236}">
                <a16:creationId xmlns:a16="http://schemas.microsoft.com/office/drawing/2014/main" id="{6E05AF64-5FD5-C042-AB38-7E9E4A466ED8}"/>
              </a:ext>
            </a:extLst>
          </p:cNvPr>
          <p:cNvSpPr/>
          <p:nvPr/>
        </p:nvSpPr>
        <p:spPr>
          <a:xfrm>
            <a:off x="5465992" y="2391568"/>
            <a:ext cx="1534304" cy="153888"/>
          </a:xfrm>
          <a:prstGeom prst="rect">
            <a:avLst/>
          </a:prstGeom>
        </p:spPr>
        <p:txBody>
          <a:bodyPr wrap="square" lIns="0" tIns="0" rIns="0" bIns="0">
            <a:spAutoFit/>
          </a:bodyPr>
          <a:lstStyle/>
          <a:p>
            <a:pPr algn="ctr"/>
            <a:r>
              <a:rPr lang="en-US" sz="1000" dirty="0">
                <a:solidFill>
                  <a:schemeClr val="bg1"/>
                </a:solidFill>
              </a:rPr>
              <a:t>Lorem ipsum dolor sit</a:t>
            </a:r>
          </a:p>
        </p:txBody>
      </p:sp>
      <p:sp>
        <p:nvSpPr>
          <p:cNvPr id="128" name="Rectangle 127">
            <a:extLst>
              <a:ext uri="{FF2B5EF4-FFF2-40B4-BE49-F238E27FC236}">
                <a16:creationId xmlns:a16="http://schemas.microsoft.com/office/drawing/2014/main" id="{1B14FEB3-B7F8-664A-BB8E-FA3C9D7A8AA0}"/>
              </a:ext>
            </a:extLst>
          </p:cNvPr>
          <p:cNvSpPr/>
          <p:nvPr/>
        </p:nvSpPr>
        <p:spPr>
          <a:xfrm>
            <a:off x="7180824" y="2391569"/>
            <a:ext cx="1434871" cy="153888"/>
          </a:xfrm>
          <a:prstGeom prst="rect">
            <a:avLst/>
          </a:prstGeom>
        </p:spPr>
        <p:txBody>
          <a:bodyPr wrap="square" lIns="0" tIns="0" rIns="0" bIns="0">
            <a:spAutoFit/>
          </a:bodyPr>
          <a:lstStyle/>
          <a:p>
            <a:pPr algn="ctr"/>
            <a:r>
              <a:rPr lang="en-US" sz="1000" dirty="0">
                <a:solidFill>
                  <a:schemeClr val="bg1"/>
                </a:solidFill>
              </a:rPr>
              <a:t>Lorem ipsum dolor sit</a:t>
            </a:r>
          </a:p>
        </p:txBody>
      </p:sp>
      <p:sp>
        <p:nvSpPr>
          <p:cNvPr id="129" name="Rectangle 128">
            <a:extLst>
              <a:ext uri="{FF2B5EF4-FFF2-40B4-BE49-F238E27FC236}">
                <a16:creationId xmlns:a16="http://schemas.microsoft.com/office/drawing/2014/main" id="{39006D27-5D5A-2F48-835C-18B7D4EBEFB3}"/>
              </a:ext>
            </a:extLst>
          </p:cNvPr>
          <p:cNvSpPr/>
          <p:nvPr/>
        </p:nvSpPr>
        <p:spPr>
          <a:xfrm>
            <a:off x="8809599" y="2391568"/>
            <a:ext cx="1434871" cy="153888"/>
          </a:xfrm>
          <a:prstGeom prst="rect">
            <a:avLst/>
          </a:prstGeom>
        </p:spPr>
        <p:txBody>
          <a:bodyPr wrap="square" lIns="0" tIns="0" rIns="0" bIns="0">
            <a:spAutoFit/>
          </a:bodyPr>
          <a:lstStyle/>
          <a:p>
            <a:pPr algn="ctr"/>
            <a:r>
              <a:rPr lang="en-US" sz="1000" dirty="0">
                <a:solidFill>
                  <a:schemeClr val="bg1"/>
                </a:solidFill>
              </a:rPr>
              <a:t>Lorem ipsum dolor sit</a:t>
            </a:r>
          </a:p>
        </p:txBody>
      </p:sp>
      <p:grpSp>
        <p:nvGrpSpPr>
          <p:cNvPr id="130" name="Group 521">
            <a:extLst>
              <a:ext uri="{FF2B5EF4-FFF2-40B4-BE49-F238E27FC236}">
                <a16:creationId xmlns:a16="http://schemas.microsoft.com/office/drawing/2014/main" id="{164CB053-4D9A-DB42-8C3C-49DB74E13EA5}"/>
              </a:ext>
            </a:extLst>
          </p:cNvPr>
          <p:cNvGrpSpPr>
            <a:grpSpLocks noChangeAspect="1"/>
          </p:cNvGrpSpPr>
          <p:nvPr/>
        </p:nvGrpSpPr>
        <p:grpSpPr bwMode="auto">
          <a:xfrm>
            <a:off x="2631902" y="1981178"/>
            <a:ext cx="268804" cy="268804"/>
            <a:chOff x="3476" y="2032"/>
            <a:chExt cx="340" cy="340"/>
          </a:xfrm>
          <a:solidFill>
            <a:schemeClr val="bg1"/>
          </a:solidFill>
        </p:grpSpPr>
        <p:sp>
          <p:nvSpPr>
            <p:cNvPr id="131" name="Freeform 522">
              <a:extLst>
                <a:ext uri="{FF2B5EF4-FFF2-40B4-BE49-F238E27FC236}">
                  <a16:creationId xmlns:a16="http://schemas.microsoft.com/office/drawing/2014/main" id="{E3F86BD1-CA79-CC47-AFB8-254BD921DDE7}"/>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523">
              <a:extLst>
                <a:ext uri="{FF2B5EF4-FFF2-40B4-BE49-F238E27FC236}">
                  <a16:creationId xmlns:a16="http://schemas.microsoft.com/office/drawing/2014/main" id="{43BAF5E5-F7B6-F34A-A115-3E9B62406891}"/>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3" name="Freeform 524">
              <a:extLst>
                <a:ext uri="{FF2B5EF4-FFF2-40B4-BE49-F238E27FC236}">
                  <a16:creationId xmlns:a16="http://schemas.microsoft.com/office/drawing/2014/main" id="{A01354D0-738F-8043-B439-1037BDB5B69F}"/>
                </a:ext>
              </a:extLst>
            </p:cNvPr>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4" name="Group 675">
            <a:extLst>
              <a:ext uri="{FF2B5EF4-FFF2-40B4-BE49-F238E27FC236}">
                <a16:creationId xmlns:a16="http://schemas.microsoft.com/office/drawing/2014/main" id="{FB327014-784B-744F-A603-3A62333F38A5}"/>
              </a:ext>
            </a:extLst>
          </p:cNvPr>
          <p:cNvGrpSpPr>
            <a:grpSpLocks noChangeAspect="1"/>
          </p:cNvGrpSpPr>
          <p:nvPr/>
        </p:nvGrpSpPr>
        <p:grpSpPr bwMode="auto">
          <a:xfrm>
            <a:off x="4284617" y="1982992"/>
            <a:ext cx="265176" cy="265176"/>
            <a:chOff x="6583" y="2681"/>
            <a:chExt cx="340" cy="340"/>
          </a:xfrm>
          <a:solidFill>
            <a:schemeClr val="bg1"/>
          </a:solidFill>
        </p:grpSpPr>
        <p:sp>
          <p:nvSpPr>
            <p:cNvPr id="135" name="Freeform 676">
              <a:extLst>
                <a:ext uri="{FF2B5EF4-FFF2-40B4-BE49-F238E27FC236}">
                  <a16:creationId xmlns:a16="http://schemas.microsoft.com/office/drawing/2014/main" id="{BBE0CD37-E6BA-B145-9B68-FBB5190CDBEA}"/>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6" name="Freeform 677">
              <a:extLst>
                <a:ext uri="{FF2B5EF4-FFF2-40B4-BE49-F238E27FC236}">
                  <a16:creationId xmlns:a16="http://schemas.microsoft.com/office/drawing/2014/main" id="{91AC9EDC-870B-1648-9EB7-F5073ABF9CCC}"/>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7" name="Freeform 678">
              <a:extLst>
                <a:ext uri="{FF2B5EF4-FFF2-40B4-BE49-F238E27FC236}">
                  <a16:creationId xmlns:a16="http://schemas.microsoft.com/office/drawing/2014/main" id="{7CF7B319-E200-D84F-A34F-0AA7E696EEFB}"/>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8" name="Group 405">
            <a:extLst>
              <a:ext uri="{FF2B5EF4-FFF2-40B4-BE49-F238E27FC236}">
                <a16:creationId xmlns:a16="http://schemas.microsoft.com/office/drawing/2014/main" id="{75D53A10-0E93-9E42-9EF7-6273054C3E64}"/>
              </a:ext>
            </a:extLst>
          </p:cNvPr>
          <p:cNvGrpSpPr>
            <a:grpSpLocks noChangeAspect="1"/>
          </p:cNvGrpSpPr>
          <p:nvPr/>
        </p:nvGrpSpPr>
        <p:grpSpPr bwMode="auto">
          <a:xfrm>
            <a:off x="9228036" y="1982992"/>
            <a:ext cx="265956" cy="265176"/>
            <a:chOff x="1918" y="1516"/>
            <a:chExt cx="341" cy="340"/>
          </a:xfrm>
          <a:solidFill>
            <a:schemeClr val="bg1"/>
          </a:solidFill>
        </p:grpSpPr>
        <p:sp>
          <p:nvSpPr>
            <p:cNvPr id="139" name="Freeform 406">
              <a:extLst>
                <a:ext uri="{FF2B5EF4-FFF2-40B4-BE49-F238E27FC236}">
                  <a16:creationId xmlns:a16="http://schemas.microsoft.com/office/drawing/2014/main" id="{AA7B9C07-8AC1-E140-8877-B5D5AF321248}"/>
                </a:ext>
              </a:extLst>
            </p:cNvPr>
            <p:cNvSpPr>
              <a:spLocks noEditPoints="1"/>
            </p:cNvSpPr>
            <p:nvPr/>
          </p:nvSpPr>
          <p:spPr bwMode="auto">
            <a:xfrm>
              <a:off x="1918" y="151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0" name="Freeform 407">
              <a:extLst>
                <a:ext uri="{FF2B5EF4-FFF2-40B4-BE49-F238E27FC236}">
                  <a16:creationId xmlns:a16="http://schemas.microsoft.com/office/drawing/2014/main" id="{414BD9FA-85B4-A040-84FB-E76995AA499D}"/>
                </a:ext>
              </a:extLst>
            </p:cNvPr>
            <p:cNvSpPr>
              <a:spLocks/>
            </p:cNvSpPr>
            <p:nvPr/>
          </p:nvSpPr>
          <p:spPr bwMode="auto">
            <a:xfrm>
              <a:off x="2102" y="1608"/>
              <a:ext cx="64" cy="63"/>
            </a:xfrm>
            <a:custGeom>
              <a:avLst/>
              <a:gdLst>
                <a:gd name="T0" fmla="*/ 90 w 97"/>
                <a:gd name="T1" fmla="*/ 1 h 96"/>
                <a:gd name="T2" fmla="*/ 86 w 97"/>
                <a:gd name="T3" fmla="*/ 0 h 96"/>
                <a:gd name="T4" fmla="*/ 22 w 97"/>
                <a:gd name="T5" fmla="*/ 0 h 96"/>
                <a:gd name="T6" fmla="*/ 12 w 97"/>
                <a:gd name="T7" fmla="*/ 11 h 96"/>
                <a:gd name="T8" fmla="*/ 22 w 97"/>
                <a:gd name="T9" fmla="*/ 22 h 96"/>
                <a:gd name="T10" fmla="*/ 61 w 97"/>
                <a:gd name="T11" fmla="*/ 22 h 96"/>
                <a:gd name="T12" fmla="*/ 4 w 97"/>
                <a:gd name="T13" fmla="*/ 78 h 96"/>
                <a:gd name="T14" fmla="*/ 4 w 97"/>
                <a:gd name="T15" fmla="*/ 93 h 96"/>
                <a:gd name="T16" fmla="*/ 12 w 97"/>
                <a:gd name="T17" fmla="*/ 96 h 96"/>
                <a:gd name="T18" fmla="*/ 19 w 97"/>
                <a:gd name="T19" fmla="*/ 93 h 96"/>
                <a:gd name="T20" fmla="*/ 76 w 97"/>
                <a:gd name="T21" fmla="*/ 37 h 96"/>
                <a:gd name="T22" fmla="*/ 76 w 97"/>
                <a:gd name="T23" fmla="*/ 75 h 96"/>
                <a:gd name="T24" fmla="*/ 86 w 97"/>
                <a:gd name="T25" fmla="*/ 86 h 96"/>
                <a:gd name="T26" fmla="*/ 97 w 97"/>
                <a:gd name="T27" fmla="*/ 75 h 96"/>
                <a:gd name="T28" fmla="*/ 97 w 97"/>
                <a:gd name="T29" fmla="*/ 11 h 96"/>
                <a:gd name="T30" fmla="*/ 90 w 97"/>
                <a:gd name="T31"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96">
                  <a:moveTo>
                    <a:pt x="90" y="1"/>
                  </a:moveTo>
                  <a:cubicBezTo>
                    <a:pt x="89" y="1"/>
                    <a:pt x="88" y="0"/>
                    <a:pt x="86" y="0"/>
                  </a:cubicBezTo>
                  <a:cubicBezTo>
                    <a:pt x="22" y="0"/>
                    <a:pt x="22" y="0"/>
                    <a:pt x="22" y="0"/>
                  </a:cubicBezTo>
                  <a:cubicBezTo>
                    <a:pt x="16" y="0"/>
                    <a:pt x="12" y="5"/>
                    <a:pt x="12" y="11"/>
                  </a:cubicBezTo>
                  <a:cubicBezTo>
                    <a:pt x="12" y="17"/>
                    <a:pt x="16" y="22"/>
                    <a:pt x="22" y="22"/>
                  </a:cubicBezTo>
                  <a:cubicBezTo>
                    <a:pt x="61" y="22"/>
                    <a:pt x="61" y="22"/>
                    <a:pt x="61" y="22"/>
                  </a:cubicBezTo>
                  <a:cubicBezTo>
                    <a:pt x="4" y="78"/>
                    <a:pt x="4" y="78"/>
                    <a:pt x="4" y="78"/>
                  </a:cubicBezTo>
                  <a:cubicBezTo>
                    <a:pt x="0" y="82"/>
                    <a:pt x="0" y="89"/>
                    <a:pt x="4" y="93"/>
                  </a:cubicBezTo>
                  <a:cubicBezTo>
                    <a:pt x="6" y="95"/>
                    <a:pt x="9" y="96"/>
                    <a:pt x="12" y="96"/>
                  </a:cubicBezTo>
                  <a:cubicBezTo>
                    <a:pt x="14" y="96"/>
                    <a:pt x="17" y="95"/>
                    <a:pt x="19" y="93"/>
                  </a:cubicBezTo>
                  <a:cubicBezTo>
                    <a:pt x="76" y="37"/>
                    <a:pt x="76" y="37"/>
                    <a:pt x="76" y="37"/>
                  </a:cubicBezTo>
                  <a:cubicBezTo>
                    <a:pt x="76" y="75"/>
                    <a:pt x="76" y="75"/>
                    <a:pt x="76" y="75"/>
                  </a:cubicBezTo>
                  <a:cubicBezTo>
                    <a:pt x="76" y="81"/>
                    <a:pt x="80" y="86"/>
                    <a:pt x="86" y="86"/>
                  </a:cubicBezTo>
                  <a:cubicBezTo>
                    <a:pt x="92" y="86"/>
                    <a:pt x="97" y="81"/>
                    <a:pt x="97" y="75"/>
                  </a:cubicBezTo>
                  <a:cubicBezTo>
                    <a:pt x="97" y="11"/>
                    <a:pt x="97" y="11"/>
                    <a:pt x="97" y="11"/>
                  </a:cubicBezTo>
                  <a:cubicBezTo>
                    <a:pt x="97" y="7"/>
                    <a:pt x="94" y="3"/>
                    <a:pt x="90" y="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1" name="Freeform 408">
              <a:extLst>
                <a:ext uri="{FF2B5EF4-FFF2-40B4-BE49-F238E27FC236}">
                  <a16:creationId xmlns:a16="http://schemas.microsoft.com/office/drawing/2014/main" id="{FBFE0683-B32B-0541-843F-F86FB83D0E12}"/>
                </a:ext>
              </a:extLst>
            </p:cNvPr>
            <p:cNvSpPr>
              <a:spLocks/>
            </p:cNvSpPr>
            <p:nvPr/>
          </p:nvSpPr>
          <p:spPr bwMode="auto">
            <a:xfrm>
              <a:off x="2010" y="1699"/>
              <a:ext cx="65" cy="65"/>
            </a:xfrm>
            <a:custGeom>
              <a:avLst/>
              <a:gdLst>
                <a:gd name="T0" fmla="*/ 78 w 97"/>
                <a:gd name="T1" fmla="*/ 4 h 97"/>
                <a:gd name="T2" fmla="*/ 22 w 97"/>
                <a:gd name="T3" fmla="*/ 61 h 97"/>
                <a:gd name="T4" fmla="*/ 22 w 97"/>
                <a:gd name="T5" fmla="*/ 22 h 97"/>
                <a:gd name="T6" fmla="*/ 11 w 97"/>
                <a:gd name="T7" fmla="*/ 12 h 97"/>
                <a:gd name="T8" fmla="*/ 0 w 97"/>
                <a:gd name="T9" fmla="*/ 22 h 97"/>
                <a:gd name="T10" fmla="*/ 0 w 97"/>
                <a:gd name="T11" fmla="*/ 86 h 97"/>
                <a:gd name="T12" fmla="*/ 11 w 97"/>
                <a:gd name="T13" fmla="*/ 97 h 97"/>
                <a:gd name="T14" fmla="*/ 75 w 97"/>
                <a:gd name="T15" fmla="*/ 97 h 97"/>
                <a:gd name="T16" fmla="*/ 86 w 97"/>
                <a:gd name="T17" fmla="*/ 86 h 97"/>
                <a:gd name="T18" fmla="*/ 75 w 97"/>
                <a:gd name="T19" fmla="*/ 76 h 97"/>
                <a:gd name="T20" fmla="*/ 37 w 97"/>
                <a:gd name="T21" fmla="*/ 76 h 97"/>
                <a:gd name="T22" fmla="*/ 93 w 97"/>
                <a:gd name="T23" fmla="*/ 19 h 97"/>
                <a:gd name="T24" fmla="*/ 93 w 97"/>
                <a:gd name="T25" fmla="*/ 4 h 97"/>
                <a:gd name="T26" fmla="*/ 78 w 97"/>
                <a:gd name="T2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97">
                  <a:moveTo>
                    <a:pt x="78" y="4"/>
                  </a:moveTo>
                  <a:cubicBezTo>
                    <a:pt x="22" y="61"/>
                    <a:pt x="22" y="61"/>
                    <a:pt x="22" y="61"/>
                  </a:cubicBezTo>
                  <a:cubicBezTo>
                    <a:pt x="22" y="22"/>
                    <a:pt x="22" y="22"/>
                    <a:pt x="22" y="22"/>
                  </a:cubicBezTo>
                  <a:cubicBezTo>
                    <a:pt x="22" y="16"/>
                    <a:pt x="17" y="12"/>
                    <a:pt x="11" y="12"/>
                  </a:cubicBezTo>
                  <a:cubicBezTo>
                    <a:pt x="5" y="12"/>
                    <a:pt x="0" y="16"/>
                    <a:pt x="0" y="22"/>
                  </a:cubicBezTo>
                  <a:cubicBezTo>
                    <a:pt x="0" y="86"/>
                    <a:pt x="0" y="86"/>
                    <a:pt x="0" y="86"/>
                  </a:cubicBezTo>
                  <a:cubicBezTo>
                    <a:pt x="0" y="92"/>
                    <a:pt x="5" y="97"/>
                    <a:pt x="11" y="97"/>
                  </a:cubicBezTo>
                  <a:cubicBezTo>
                    <a:pt x="75" y="97"/>
                    <a:pt x="75" y="97"/>
                    <a:pt x="75" y="97"/>
                  </a:cubicBezTo>
                  <a:cubicBezTo>
                    <a:pt x="81" y="97"/>
                    <a:pt x="86" y="92"/>
                    <a:pt x="86" y="86"/>
                  </a:cubicBezTo>
                  <a:cubicBezTo>
                    <a:pt x="86" y="80"/>
                    <a:pt x="81" y="76"/>
                    <a:pt x="75" y="76"/>
                  </a:cubicBezTo>
                  <a:cubicBezTo>
                    <a:pt x="37" y="76"/>
                    <a:pt x="37" y="76"/>
                    <a:pt x="37" y="76"/>
                  </a:cubicBezTo>
                  <a:cubicBezTo>
                    <a:pt x="93" y="19"/>
                    <a:pt x="93" y="19"/>
                    <a:pt x="93" y="19"/>
                  </a:cubicBezTo>
                  <a:cubicBezTo>
                    <a:pt x="97" y="15"/>
                    <a:pt x="97" y="8"/>
                    <a:pt x="93" y="4"/>
                  </a:cubicBezTo>
                  <a:cubicBezTo>
                    <a:pt x="89" y="0"/>
                    <a:pt x="82" y="0"/>
                    <a:pt x="78"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2" name="Group 262">
            <a:extLst>
              <a:ext uri="{FF2B5EF4-FFF2-40B4-BE49-F238E27FC236}">
                <a16:creationId xmlns:a16="http://schemas.microsoft.com/office/drawing/2014/main" id="{E643C1CC-117F-E443-9730-0DC9F93213D2}"/>
              </a:ext>
            </a:extLst>
          </p:cNvPr>
          <p:cNvGrpSpPr>
            <a:grpSpLocks noChangeAspect="1"/>
          </p:cNvGrpSpPr>
          <p:nvPr/>
        </p:nvGrpSpPr>
        <p:grpSpPr bwMode="auto">
          <a:xfrm>
            <a:off x="7577524" y="1982992"/>
            <a:ext cx="265176" cy="265176"/>
            <a:chOff x="5792" y="779"/>
            <a:chExt cx="340" cy="340"/>
          </a:xfrm>
          <a:solidFill>
            <a:schemeClr val="bg1"/>
          </a:solidFill>
        </p:grpSpPr>
        <p:sp>
          <p:nvSpPr>
            <p:cNvPr id="143" name="Freeform 263">
              <a:extLst>
                <a:ext uri="{FF2B5EF4-FFF2-40B4-BE49-F238E27FC236}">
                  <a16:creationId xmlns:a16="http://schemas.microsoft.com/office/drawing/2014/main" id="{B3A6D416-4A0E-DA49-9EC9-9F6350F5BD08}"/>
                </a:ext>
              </a:extLst>
            </p:cNvPr>
            <p:cNvSpPr>
              <a:spLocks noEditPoints="1"/>
            </p:cNvSpPr>
            <p:nvPr/>
          </p:nvSpPr>
          <p:spPr bwMode="auto">
            <a:xfrm>
              <a:off x="5870" y="843"/>
              <a:ext cx="184" cy="212"/>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4" name="Freeform 264">
              <a:extLst>
                <a:ext uri="{FF2B5EF4-FFF2-40B4-BE49-F238E27FC236}">
                  <a16:creationId xmlns:a16="http://schemas.microsoft.com/office/drawing/2014/main" id="{1906A89B-F75E-D64B-BC78-D73BF64CB041}"/>
                </a:ext>
              </a:extLst>
            </p:cNvPr>
            <p:cNvSpPr>
              <a:spLocks noEditPoints="1"/>
            </p:cNvSpPr>
            <p:nvPr/>
          </p:nvSpPr>
          <p:spPr bwMode="auto">
            <a:xfrm>
              <a:off x="5792" y="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5" name="Oval 144">
            <a:extLst>
              <a:ext uri="{FF2B5EF4-FFF2-40B4-BE49-F238E27FC236}">
                <a16:creationId xmlns:a16="http://schemas.microsoft.com/office/drawing/2014/main" id="{CC585710-2926-2947-8DC6-8C55797A4B18}"/>
              </a:ext>
            </a:extLst>
          </p:cNvPr>
          <p:cNvSpPr/>
          <p:nvPr/>
        </p:nvSpPr>
        <p:spPr bwMode="gray">
          <a:xfrm>
            <a:off x="5873709" y="1926520"/>
            <a:ext cx="378120" cy="37812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46" name="Group 271">
            <a:extLst>
              <a:ext uri="{FF2B5EF4-FFF2-40B4-BE49-F238E27FC236}">
                <a16:creationId xmlns:a16="http://schemas.microsoft.com/office/drawing/2014/main" id="{FFE2866E-983A-064A-8153-407BA7284DA5}"/>
              </a:ext>
            </a:extLst>
          </p:cNvPr>
          <p:cNvGrpSpPr>
            <a:grpSpLocks noChangeAspect="1"/>
          </p:cNvGrpSpPr>
          <p:nvPr/>
        </p:nvGrpSpPr>
        <p:grpSpPr bwMode="auto">
          <a:xfrm>
            <a:off x="5931328" y="1984138"/>
            <a:ext cx="265176" cy="265176"/>
            <a:chOff x="6585" y="783"/>
            <a:chExt cx="340" cy="340"/>
          </a:xfrm>
          <a:solidFill>
            <a:schemeClr val="bg1"/>
          </a:solidFill>
        </p:grpSpPr>
        <p:sp>
          <p:nvSpPr>
            <p:cNvPr id="147" name="Freeform 272">
              <a:extLst>
                <a:ext uri="{FF2B5EF4-FFF2-40B4-BE49-F238E27FC236}">
                  <a16:creationId xmlns:a16="http://schemas.microsoft.com/office/drawing/2014/main" id="{61A790F5-D30B-494D-8F5E-2E98D175EF28}"/>
                </a:ext>
              </a:extLst>
            </p:cNvPr>
            <p:cNvSpPr>
              <a:spLocks noEditPoints="1"/>
            </p:cNvSpPr>
            <p:nvPr/>
          </p:nvSpPr>
          <p:spPr bwMode="auto">
            <a:xfrm>
              <a:off x="6648" y="874"/>
              <a:ext cx="213" cy="157"/>
            </a:xfrm>
            <a:custGeom>
              <a:avLst/>
              <a:gdLst>
                <a:gd name="T0" fmla="*/ 1 w 321"/>
                <a:gd name="T1" fmla="*/ 51 h 236"/>
                <a:gd name="T2" fmla="*/ 4 w 321"/>
                <a:gd name="T3" fmla="*/ 47 h 236"/>
                <a:gd name="T4" fmla="*/ 46 w 321"/>
                <a:gd name="T5" fmla="*/ 4 h 236"/>
                <a:gd name="T6" fmla="*/ 62 w 321"/>
                <a:gd name="T7" fmla="*/ 4 h 236"/>
                <a:gd name="T8" fmla="*/ 62 w 321"/>
                <a:gd name="T9" fmla="*/ 20 h 236"/>
                <a:gd name="T10" fmla="*/ 37 w 321"/>
                <a:gd name="T11" fmla="*/ 44 h 236"/>
                <a:gd name="T12" fmla="*/ 310 w 321"/>
                <a:gd name="T13" fmla="*/ 44 h 236"/>
                <a:gd name="T14" fmla="*/ 321 w 321"/>
                <a:gd name="T15" fmla="*/ 55 h 236"/>
                <a:gd name="T16" fmla="*/ 310 w 321"/>
                <a:gd name="T17" fmla="*/ 65 h 236"/>
                <a:gd name="T18" fmla="*/ 37 w 321"/>
                <a:gd name="T19" fmla="*/ 65 h 236"/>
                <a:gd name="T20" fmla="*/ 62 w 321"/>
                <a:gd name="T21" fmla="*/ 90 h 236"/>
                <a:gd name="T22" fmla="*/ 62 w 321"/>
                <a:gd name="T23" fmla="*/ 105 h 236"/>
                <a:gd name="T24" fmla="*/ 54 w 321"/>
                <a:gd name="T25" fmla="*/ 108 h 236"/>
                <a:gd name="T26" fmla="*/ 46 w 321"/>
                <a:gd name="T27" fmla="*/ 105 h 236"/>
                <a:gd name="T28" fmla="*/ 4 w 321"/>
                <a:gd name="T29" fmla="*/ 62 h 236"/>
                <a:gd name="T30" fmla="*/ 1 w 321"/>
                <a:gd name="T31" fmla="*/ 59 h 236"/>
                <a:gd name="T32" fmla="*/ 1 w 321"/>
                <a:gd name="T33" fmla="*/ 51 h 236"/>
                <a:gd name="T34" fmla="*/ 320 w 321"/>
                <a:gd name="T35" fmla="*/ 179 h 236"/>
                <a:gd name="T36" fmla="*/ 318 w 321"/>
                <a:gd name="T37" fmla="*/ 175 h 236"/>
                <a:gd name="T38" fmla="*/ 275 w 321"/>
                <a:gd name="T39" fmla="*/ 132 h 236"/>
                <a:gd name="T40" fmla="*/ 260 w 321"/>
                <a:gd name="T41" fmla="*/ 132 h 236"/>
                <a:gd name="T42" fmla="*/ 260 w 321"/>
                <a:gd name="T43" fmla="*/ 148 h 236"/>
                <a:gd name="T44" fmla="*/ 284 w 321"/>
                <a:gd name="T45" fmla="*/ 172 h 236"/>
                <a:gd name="T46" fmla="*/ 11 w 321"/>
                <a:gd name="T47" fmla="*/ 172 h 236"/>
                <a:gd name="T48" fmla="*/ 1 w 321"/>
                <a:gd name="T49" fmla="*/ 183 h 236"/>
                <a:gd name="T50" fmla="*/ 11 w 321"/>
                <a:gd name="T51" fmla="*/ 193 h 236"/>
                <a:gd name="T52" fmla="*/ 284 w 321"/>
                <a:gd name="T53" fmla="*/ 193 h 236"/>
                <a:gd name="T54" fmla="*/ 260 w 321"/>
                <a:gd name="T55" fmla="*/ 218 h 236"/>
                <a:gd name="T56" fmla="*/ 260 w 321"/>
                <a:gd name="T57" fmla="*/ 233 h 236"/>
                <a:gd name="T58" fmla="*/ 267 w 321"/>
                <a:gd name="T59" fmla="*/ 236 h 236"/>
                <a:gd name="T60" fmla="*/ 275 w 321"/>
                <a:gd name="T61" fmla="*/ 233 h 236"/>
                <a:gd name="T62" fmla="*/ 318 w 321"/>
                <a:gd name="T63" fmla="*/ 190 h 236"/>
                <a:gd name="T64" fmla="*/ 320 w 321"/>
                <a:gd name="T65" fmla="*/ 187 h 236"/>
                <a:gd name="T66" fmla="*/ 320 w 321"/>
                <a:gd name="T67" fmla="*/ 17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1"/>
                  </a:moveTo>
                  <a:cubicBezTo>
                    <a:pt x="2" y="49"/>
                    <a:pt x="3" y="48"/>
                    <a:pt x="4" y="47"/>
                  </a:cubicBezTo>
                  <a:cubicBezTo>
                    <a:pt x="46" y="4"/>
                    <a:pt x="46" y="4"/>
                    <a:pt x="46" y="4"/>
                  </a:cubicBezTo>
                  <a:cubicBezTo>
                    <a:pt x="51" y="0"/>
                    <a:pt x="57" y="0"/>
                    <a:pt x="62" y="4"/>
                  </a:cubicBezTo>
                  <a:cubicBezTo>
                    <a:pt x="66" y="9"/>
                    <a:pt x="66" y="15"/>
                    <a:pt x="62" y="20"/>
                  </a:cubicBezTo>
                  <a:cubicBezTo>
                    <a:pt x="37" y="44"/>
                    <a:pt x="37" y="44"/>
                    <a:pt x="37" y="44"/>
                  </a:cubicBezTo>
                  <a:cubicBezTo>
                    <a:pt x="310" y="44"/>
                    <a:pt x="310" y="44"/>
                    <a:pt x="310" y="44"/>
                  </a:cubicBezTo>
                  <a:cubicBezTo>
                    <a:pt x="316" y="44"/>
                    <a:pt x="321" y="49"/>
                    <a:pt x="321" y="55"/>
                  </a:cubicBezTo>
                  <a:cubicBezTo>
                    <a:pt x="321" y="61"/>
                    <a:pt x="316" y="65"/>
                    <a:pt x="310" y="65"/>
                  </a:cubicBezTo>
                  <a:cubicBezTo>
                    <a:pt x="37" y="65"/>
                    <a:pt x="37" y="65"/>
                    <a:pt x="37" y="65"/>
                  </a:cubicBezTo>
                  <a:cubicBezTo>
                    <a:pt x="62" y="90"/>
                    <a:pt x="62" y="90"/>
                    <a:pt x="62" y="90"/>
                  </a:cubicBezTo>
                  <a:cubicBezTo>
                    <a:pt x="66" y="94"/>
                    <a:pt x="66" y="101"/>
                    <a:pt x="62" y="105"/>
                  </a:cubicBezTo>
                  <a:cubicBezTo>
                    <a:pt x="59" y="107"/>
                    <a:pt x="57" y="108"/>
                    <a:pt x="54" y="108"/>
                  </a:cubicBezTo>
                  <a:cubicBezTo>
                    <a:pt x="51" y="108"/>
                    <a:pt x="49" y="107"/>
                    <a:pt x="46" y="105"/>
                  </a:cubicBezTo>
                  <a:cubicBezTo>
                    <a:pt x="4" y="62"/>
                    <a:pt x="4" y="62"/>
                    <a:pt x="4" y="62"/>
                  </a:cubicBezTo>
                  <a:cubicBezTo>
                    <a:pt x="3" y="61"/>
                    <a:pt x="2" y="60"/>
                    <a:pt x="1" y="59"/>
                  </a:cubicBezTo>
                  <a:cubicBezTo>
                    <a:pt x="0" y="56"/>
                    <a:pt x="0" y="53"/>
                    <a:pt x="1" y="51"/>
                  </a:cubicBezTo>
                  <a:close/>
                  <a:moveTo>
                    <a:pt x="320" y="179"/>
                  </a:moveTo>
                  <a:cubicBezTo>
                    <a:pt x="319" y="177"/>
                    <a:pt x="319" y="176"/>
                    <a:pt x="318" y="175"/>
                  </a:cubicBezTo>
                  <a:cubicBezTo>
                    <a:pt x="275" y="132"/>
                    <a:pt x="275" y="132"/>
                    <a:pt x="275" y="132"/>
                  </a:cubicBezTo>
                  <a:cubicBezTo>
                    <a:pt x="271" y="128"/>
                    <a:pt x="264" y="128"/>
                    <a:pt x="260" y="132"/>
                  </a:cubicBezTo>
                  <a:cubicBezTo>
                    <a:pt x="256" y="137"/>
                    <a:pt x="256" y="143"/>
                    <a:pt x="260" y="148"/>
                  </a:cubicBezTo>
                  <a:cubicBezTo>
                    <a:pt x="284" y="172"/>
                    <a:pt x="284" y="172"/>
                    <a:pt x="284" y="172"/>
                  </a:cubicBezTo>
                  <a:cubicBezTo>
                    <a:pt x="11" y="172"/>
                    <a:pt x="11" y="172"/>
                    <a:pt x="11" y="172"/>
                  </a:cubicBezTo>
                  <a:cubicBezTo>
                    <a:pt x="5" y="172"/>
                    <a:pt x="1" y="177"/>
                    <a:pt x="1" y="183"/>
                  </a:cubicBezTo>
                  <a:cubicBezTo>
                    <a:pt x="1" y="189"/>
                    <a:pt x="5" y="193"/>
                    <a:pt x="11" y="193"/>
                  </a:cubicBezTo>
                  <a:cubicBezTo>
                    <a:pt x="284" y="193"/>
                    <a:pt x="284" y="193"/>
                    <a:pt x="284" y="193"/>
                  </a:cubicBezTo>
                  <a:cubicBezTo>
                    <a:pt x="260" y="218"/>
                    <a:pt x="260" y="218"/>
                    <a:pt x="260" y="218"/>
                  </a:cubicBezTo>
                  <a:cubicBezTo>
                    <a:pt x="256" y="222"/>
                    <a:pt x="256" y="229"/>
                    <a:pt x="260" y="233"/>
                  </a:cubicBezTo>
                  <a:cubicBezTo>
                    <a:pt x="262" y="235"/>
                    <a:pt x="265" y="236"/>
                    <a:pt x="267" y="236"/>
                  </a:cubicBezTo>
                  <a:cubicBezTo>
                    <a:pt x="270" y="236"/>
                    <a:pt x="273" y="235"/>
                    <a:pt x="275" y="233"/>
                  </a:cubicBezTo>
                  <a:cubicBezTo>
                    <a:pt x="318" y="190"/>
                    <a:pt x="318" y="190"/>
                    <a:pt x="318" y="190"/>
                  </a:cubicBezTo>
                  <a:cubicBezTo>
                    <a:pt x="319" y="189"/>
                    <a:pt x="319" y="188"/>
                    <a:pt x="320" y="187"/>
                  </a:cubicBezTo>
                  <a:cubicBezTo>
                    <a:pt x="321" y="184"/>
                    <a:pt x="321" y="181"/>
                    <a:pt x="320" y="17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8" name="Freeform 273">
              <a:extLst>
                <a:ext uri="{FF2B5EF4-FFF2-40B4-BE49-F238E27FC236}">
                  <a16:creationId xmlns:a16="http://schemas.microsoft.com/office/drawing/2014/main" id="{57806E9C-13FD-134E-B66F-D15877358FE1}"/>
                </a:ext>
              </a:extLst>
            </p:cNvPr>
            <p:cNvSpPr>
              <a:spLocks noEditPoints="1"/>
            </p:cNvSpPr>
            <p:nvPr/>
          </p:nvSpPr>
          <p:spPr bwMode="auto">
            <a:xfrm>
              <a:off x="6585"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ustDataLst>
      <p:tags r:id="rId1"/>
    </p:custDataLst>
    <p:extLst>
      <p:ext uri="{BB962C8B-B14F-4D97-AF65-F5344CB8AC3E}">
        <p14:creationId xmlns:p14="http://schemas.microsoft.com/office/powerpoint/2010/main" val="913814186"/>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Yarım Çerçeve 10"/>
          <p:cNvSpPr/>
          <p:nvPr/>
        </p:nvSpPr>
        <p:spPr>
          <a:xfrm>
            <a:off x="7021156" y="1700213"/>
            <a:ext cx="2520422" cy="2430540"/>
          </a:xfrm>
          <a:custGeom>
            <a:avLst/>
            <a:gdLst>
              <a:gd name="connsiteX0" fmla="*/ 0 w 2016224"/>
              <a:gd name="connsiteY0" fmla="*/ 0 h 1944216"/>
              <a:gd name="connsiteX1" fmla="*/ 2016224 w 2016224"/>
              <a:gd name="connsiteY1" fmla="*/ 0 h 1944216"/>
              <a:gd name="connsiteX2" fmla="*/ 1344156 w 2016224"/>
              <a:gd name="connsiteY2" fmla="*/ 648066 h 1944216"/>
              <a:gd name="connsiteX3" fmla="*/ 648066 w 2016224"/>
              <a:gd name="connsiteY3" fmla="*/ 648066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984858 w 2016224"/>
              <a:gd name="connsiteY2" fmla="*/ 18775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0973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40841"/>
              <a:gd name="connsiteY0" fmla="*/ 0 h 1944216"/>
              <a:gd name="connsiteX1" fmla="*/ 2016224 w 2040841"/>
              <a:gd name="connsiteY1" fmla="*/ 0 h 1944216"/>
              <a:gd name="connsiteX2" fmla="*/ 2040841 w 2040841"/>
              <a:gd name="connsiteY2" fmla="*/ 200196 h 1944216"/>
              <a:gd name="connsiteX3" fmla="*/ 305943 w 2040841"/>
              <a:gd name="connsiteY3" fmla="*/ 212637 h 1944216"/>
              <a:gd name="connsiteX4" fmla="*/ 324604 w 2040841"/>
              <a:gd name="connsiteY4" fmla="*/ 1928896 h 1944216"/>
              <a:gd name="connsiteX5" fmla="*/ 0 w 2040841"/>
              <a:gd name="connsiteY5" fmla="*/ 1944216 h 1944216"/>
              <a:gd name="connsiteX6" fmla="*/ 0 w 2040841"/>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281061 w 2016224"/>
              <a:gd name="connsiteY4" fmla="*/ 194133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12163 w 2016224"/>
              <a:gd name="connsiteY4" fmla="*/ 1922676 h 1944216"/>
              <a:gd name="connsiteX5" fmla="*/ 0 w 2016224"/>
              <a:gd name="connsiteY5" fmla="*/ 1944216 h 1944216"/>
              <a:gd name="connsiteX6" fmla="*/ 0 w 2016224"/>
              <a:gd name="connsiteY6" fmla="*/ 0 h 1944216"/>
              <a:gd name="connsiteX0" fmla="*/ 0 w 2016224"/>
              <a:gd name="connsiteY0" fmla="*/ 0 h 1953778"/>
              <a:gd name="connsiteX1" fmla="*/ 2016224 w 2016224"/>
              <a:gd name="connsiteY1" fmla="*/ 0 h 1953778"/>
              <a:gd name="connsiteX2" fmla="*/ 2015959 w 2016224"/>
              <a:gd name="connsiteY2" fmla="*/ 212637 h 1953778"/>
              <a:gd name="connsiteX3" fmla="*/ 305943 w 2016224"/>
              <a:gd name="connsiteY3" fmla="*/ 212637 h 1953778"/>
              <a:gd name="connsiteX4" fmla="*/ 312163 w 2016224"/>
              <a:gd name="connsiteY4" fmla="*/ 1953778 h 1953778"/>
              <a:gd name="connsiteX5" fmla="*/ 0 w 2016224"/>
              <a:gd name="connsiteY5" fmla="*/ 1944216 h 1953778"/>
              <a:gd name="connsiteX6" fmla="*/ 0 w 2016224"/>
              <a:gd name="connsiteY6" fmla="*/ 0 h 1953778"/>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225076 w 2016224"/>
              <a:gd name="connsiteY4" fmla="*/ 1941338 h 1944216"/>
              <a:gd name="connsiteX5" fmla="*/ 0 w 2016224"/>
              <a:gd name="connsiteY5" fmla="*/ 1944216 h 1944216"/>
              <a:gd name="connsiteX6" fmla="*/ 0 w 2016224"/>
              <a:gd name="connsiteY6" fmla="*/ 0 h 19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224" h="1944216">
                <a:moveTo>
                  <a:pt x="0" y="0"/>
                </a:moveTo>
                <a:lnTo>
                  <a:pt x="2016224" y="0"/>
                </a:lnTo>
                <a:cubicBezTo>
                  <a:pt x="2016136" y="70879"/>
                  <a:pt x="2016047" y="141758"/>
                  <a:pt x="2015959" y="212637"/>
                </a:cubicBezTo>
                <a:lnTo>
                  <a:pt x="225078" y="212637"/>
                </a:lnTo>
                <a:cubicBezTo>
                  <a:pt x="227151" y="782650"/>
                  <a:pt x="223003" y="1371325"/>
                  <a:pt x="225076" y="1941338"/>
                </a:cubicBezTo>
                <a:lnTo>
                  <a:pt x="0" y="1944216"/>
                </a:lnTo>
                <a:lnTo>
                  <a:pt x="0" y="0"/>
                </a:lnTo>
                <a:close/>
              </a:path>
            </a:pathLst>
          </a:cu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tr-TR" sz="1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 name="Yarım Çerçeve 10"/>
          <p:cNvSpPr/>
          <p:nvPr/>
        </p:nvSpPr>
        <p:spPr>
          <a:xfrm>
            <a:off x="2610418" y="1700213"/>
            <a:ext cx="2520422" cy="2430540"/>
          </a:xfrm>
          <a:custGeom>
            <a:avLst/>
            <a:gdLst>
              <a:gd name="connsiteX0" fmla="*/ 0 w 2016224"/>
              <a:gd name="connsiteY0" fmla="*/ 0 h 1944216"/>
              <a:gd name="connsiteX1" fmla="*/ 2016224 w 2016224"/>
              <a:gd name="connsiteY1" fmla="*/ 0 h 1944216"/>
              <a:gd name="connsiteX2" fmla="*/ 1344156 w 2016224"/>
              <a:gd name="connsiteY2" fmla="*/ 648066 h 1944216"/>
              <a:gd name="connsiteX3" fmla="*/ 648066 w 2016224"/>
              <a:gd name="connsiteY3" fmla="*/ 648066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984858 w 2016224"/>
              <a:gd name="connsiteY2" fmla="*/ 18775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0973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40841"/>
              <a:gd name="connsiteY0" fmla="*/ 0 h 1944216"/>
              <a:gd name="connsiteX1" fmla="*/ 2016224 w 2040841"/>
              <a:gd name="connsiteY1" fmla="*/ 0 h 1944216"/>
              <a:gd name="connsiteX2" fmla="*/ 2040841 w 2040841"/>
              <a:gd name="connsiteY2" fmla="*/ 200196 h 1944216"/>
              <a:gd name="connsiteX3" fmla="*/ 305943 w 2040841"/>
              <a:gd name="connsiteY3" fmla="*/ 212637 h 1944216"/>
              <a:gd name="connsiteX4" fmla="*/ 324604 w 2040841"/>
              <a:gd name="connsiteY4" fmla="*/ 1928896 h 1944216"/>
              <a:gd name="connsiteX5" fmla="*/ 0 w 2040841"/>
              <a:gd name="connsiteY5" fmla="*/ 1944216 h 1944216"/>
              <a:gd name="connsiteX6" fmla="*/ 0 w 2040841"/>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281061 w 2016224"/>
              <a:gd name="connsiteY4" fmla="*/ 194133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12163 w 2016224"/>
              <a:gd name="connsiteY4" fmla="*/ 1922676 h 1944216"/>
              <a:gd name="connsiteX5" fmla="*/ 0 w 2016224"/>
              <a:gd name="connsiteY5" fmla="*/ 1944216 h 1944216"/>
              <a:gd name="connsiteX6" fmla="*/ 0 w 2016224"/>
              <a:gd name="connsiteY6" fmla="*/ 0 h 1944216"/>
              <a:gd name="connsiteX0" fmla="*/ 0 w 2016224"/>
              <a:gd name="connsiteY0" fmla="*/ 0 h 1953778"/>
              <a:gd name="connsiteX1" fmla="*/ 2016224 w 2016224"/>
              <a:gd name="connsiteY1" fmla="*/ 0 h 1953778"/>
              <a:gd name="connsiteX2" fmla="*/ 2015959 w 2016224"/>
              <a:gd name="connsiteY2" fmla="*/ 212637 h 1953778"/>
              <a:gd name="connsiteX3" fmla="*/ 305943 w 2016224"/>
              <a:gd name="connsiteY3" fmla="*/ 212637 h 1953778"/>
              <a:gd name="connsiteX4" fmla="*/ 312163 w 2016224"/>
              <a:gd name="connsiteY4" fmla="*/ 1953778 h 1953778"/>
              <a:gd name="connsiteX5" fmla="*/ 0 w 2016224"/>
              <a:gd name="connsiteY5" fmla="*/ 1944216 h 1953778"/>
              <a:gd name="connsiteX6" fmla="*/ 0 w 2016224"/>
              <a:gd name="connsiteY6" fmla="*/ 0 h 1953778"/>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225076 w 2016224"/>
              <a:gd name="connsiteY4" fmla="*/ 1941338 h 1944216"/>
              <a:gd name="connsiteX5" fmla="*/ 0 w 2016224"/>
              <a:gd name="connsiteY5" fmla="*/ 1944216 h 1944216"/>
              <a:gd name="connsiteX6" fmla="*/ 0 w 2016224"/>
              <a:gd name="connsiteY6" fmla="*/ 0 h 19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224" h="1944216">
                <a:moveTo>
                  <a:pt x="0" y="0"/>
                </a:moveTo>
                <a:lnTo>
                  <a:pt x="2016224" y="0"/>
                </a:lnTo>
                <a:cubicBezTo>
                  <a:pt x="2016136" y="70879"/>
                  <a:pt x="2016047" y="141758"/>
                  <a:pt x="2015959" y="212637"/>
                </a:cubicBezTo>
                <a:lnTo>
                  <a:pt x="225078" y="212637"/>
                </a:lnTo>
                <a:cubicBezTo>
                  <a:pt x="227151" y="782650"/>
                  <a:pt x="223003" y="1371325"/>
                  <a:pt x="225076" y="1941338"/>
                </a:cubicBezTo>
                <a:lnTo>
                  <a:pt x="0" y="1944216"/>
                </a:lnTo>
                <a:lnTo>
                  <a:pt x="0" y="0"/>
                </a:lnTo>
                <a:close/>
              </a:path>
            </a:pathLst>
          </a:cu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tr-TR" sz="1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 name="Yarım Çerçeve 10"/>
          <p:cNvSpPr/>
          <p:nvPr/>
        </p:nvSpPr>
        <p:spPr>
          <a:xfrm rot="16200000">
            <a:off x="4827980" y="1745291"/>
            <a:ext cx="2520560" cy="2430407"/>
          </a:xfrm>
          <a:custGeom>
            <a:avLst/>
            <a:gdLst>
              <a:gd name="connsiteX0" fmla="*/ 0 w 2016224"/>
              <a:gd name="connsiteY0" fmla="*/ 0 h 1944216"/>
              <a:gd name="connsiteX1" fmla="*/ 2016224 w 2016224"/>
              <a:gd name="connsiteY1" fmla="*/ 0 h 1944216"/>
              <a:gd name="connsiteX2" fmla="*/ 1344156 w 2016224"/>
              <a:gd name="connsiteY2" fmla="*/ 648066 h 1944216"/>
              <a:gd name="connsiteX3" fmla="*/ 648066 w 2016224"/>
              <a:gd name="connsiteY3" fmla="*/ 648066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984858 w 2016224"/>
              <a:gd name="connsiteY2" fmla="*/ 18775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0973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40841"/>
              <a:gd name="connsiteY0" fmla="*/ 0 h 1944216"/>
              <a:gd name="connsiteX1" fmla="*/ 2016224 w 2040841"/>
              <a:gd name="connsiteY1" fmla="*/ 0 h 1944216"/>
              <a:gd name="connsiteX2" fmla="*/ 2040841 w 2040841"/>
              <a:gd name="connsiteY2" fmla="*/ 200196 h 1944216"/>
              <a:gd name="connsiteX3" fmla="*/ 305943 w 2040841"/>
              <a:gd name="connsiteY3" fmla="*/ 212637 h 1944216"/>
              <a:gd name="connsiteX4" fmla="*/ 324604 w 2040841"/>
              <a:gd name="connsiteY4" fmla="*/ 1928896 h 1944216"/>
              <a:gd name="connsiteX5" fmla="*/ 0 w 2040841"/>
              <a:gd name="connsiteY5" fmla="*/ 1944216 h 1944216"/>
              <a:gd name="connsiteX6" fmla="*/ 0 w 2040841"/>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281061 w 2016224"/>
              <a:gd name="connsiteY4" fmla="*/ 194133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12163 w 2016224"/>
              <a:gd name="connsiteY4" fmla="*/ 1922676 h 1944216"/>
              <a:gd name="connsiteX5" fmla="*/ 0 w 2016224"/>
              <a:gd name="connsiteY5" fmla="*/ 1944216 h 1944216"/>
              <a:gd name="connsiteX6" fmla="*/ 0 w 2016224"/>
              <a:gd name="connsiteY6" fmla="*/ 0 h 1944216"/>
              <a:gd name="connsiteX0" fmla="*/ 0 w 2016224"/>
              <a:gd name="connsiteY0" fmla="*/ 0 h 1953778"/>
              <a:gd name="connsiteX1" fmla="*/ 2016224 w 2016224"/>
              <a:gd name="connsiteY1" fmla="*/ 0 h 1953778"/>
              <a:gd name="connsiteX2" fmla="*/ 2015959 w 2016224"/>
              <a:gd name="connsiteY2" fmla="*/ 212637 h 1953778"/>
              <a:gd name="connsiteX3" fmla="*/ 305943 w 2016224"/>
              <a:gd name="connsiteY3" fmla="*/ 212637 h 1953778"/>
              <a:gd name="connsiteX4" fmla="*/ 312163 w 2016224"/>
              <a:gd name="connsiteY4" fmla="*/ 1953778 h 1953778"/>
              <a:gd name="connsiteX5" fmla="*/ 0 w 2016224"/>
              <a:gd name="connsiteY5" fmla="*/ 1944216 h 1953778"/>
              <a:gd name="connsiteX6" fmla="*/ 0 w 2016224"/>
              <a:gd name="connsiteY6" fmla="*/ 0 h 1953778"/>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225076 w 2016224"/>
              <a:gd name="connsiteY4" fmla="*/ 1941338 h 1944216"/>
              <a:gd name="connsiteX5" fmla="*/ 0 w 2016224"/>
              <a:gd name="connsiteY5" fmla="*/ 1944216 h 1944216"/>
              <a:gd name="connsiteX6" fmla="*/ 0 w 2016224"/>
              <a:gd name="connsiteY6" fmla="*/ 0 h 19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224" h="1944216">
                <a:moveTo>
                  <a:pt x="0" y="0"/>
                </a:moveTo>
                <a:lnTo>
                  <a:pt x="2016224" y="0"/>
                </a:lnTo>
                <a:cubicBezTo>
                  <a:pt x="2016136" y="70879"/>
                  <a:pt x="2016047" y="141758"/>
                  <a:pt x="2015959" y="212637"/>
                </a:cubicBezTo>
                <a:lnTo>
                  <a:pt x="225078" y="212637"/>
                </a:lnTo>
                <a:cubicBezTo>
                  <a:pt x="227151" y="782650"/>
                  <a:pt x="223003" y="1371325"/>
                  <a:pt x="225076" y="1941338"/>
                </a:cubicBezTo>
                <a:lnTo>
                  <a:pt x="0" y="1944216"/>
                </a:lnTo>
                <a:lnTo>
                  <a:pt x="0" y="0"/>
                </a:lnTo>
                <a:close/>
              </a:path>
            </a:pathLst>
          </a:cu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tr-TR" sz="1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 name="Yarım Çerçeve 10"/>
          <p:cNvSpPr/>
          <p:nvPr/>
        </p:nvSpPr>
        <p:spPr>
          <a:xfrm rot="16200000">
            <a:off x="424822" y="1745291"/>
            <a:ext cx="2520560" cy="2430407"/>
          </a:xfrm>
          <a:custGeom>
            <a:avLst/>
            <a:gdLst>
              <a:gd name="connsiteX0" fmla="*/ 0 w 2016224"/>
              <a:gd name="connsiteY0" fmla="*/ 0 h 1944216"/>
              <a:gd name="connsiteX1" fmla="*/ 2016224 w 2016224"/>
              <a:gd name="connsiteY1" fmla="*/ 0 h 1944216"/>
              <a:gd name="connsiteX2" fmla="*/ 1344156 w 2016224"/>
              <a:gd name="connsiteY2" fmla="*/ 648066 h 1944216"/>
              <a:gd name="connsiteX3" fmla="*/ 648066 w 2016224"/>
              <a:gd name="connsiteY3" fmla="*/ 648066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984858 w 2016224"/>
              <a:gd name="connsiteY2" fmla="*/ 18775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0973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40841"/>
              <a:gd name="connsiteY0" fmla="*/ 0 h 1944216"/>
              <a:gd name="connsiteX1" fmla="*/ 2016224 w 2040841"/>
              <a:gd name="connsiteY1" fmla="*/ 0 h 1944216"/>
              <a:gd name="connsiteX2" fmla="*/ 2040841 w 2040841"/>
              <a:gd name="connsiteY2" fmla="*/ 200196 h 1944216"/>
              <a:gd name="connsiteX3" fmla="*/ 305943 w 2040841"/>
              <a:gd name="connsiteY3" fmla="*/ 212637 h 1944216"/>
              <a:gd name="connsiteX4" fmla="*/ 324604 w 2040841"/>
              <a:gd name="connsiteY4" fmla="*/ 1928896 h 1944216"/>
              <a:gd name="connsiteX5" fmla="*/ 0 w 2040841"/>
              <a:gd name="connsiteY5" fmla="*/ 1944216 h 1944216"/>
              <a:gd name="connsiteX6" fmla="*/ 0 w 2040841"/>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281061 w 2016224"/>
              <a:gd name="connsiteY4" fmla="*/ 194133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12163 w 2016224"/>
              <a:gd name="connsiteY4" fmla="*/ 1922676 h 1944216"/>
              <a:gd name="connsiteX5" fmla="*/ 0 w 2016224"/>
              <a:gd name="connsiteY5" fmla="*/ 1944216 h 1944216"/>
              <a:gd name="connsiteX6" fmla="*/ 0 w 2016224"/>
              <a:gd name="connsiteY6" fmla="*/ 0 h 1944216"/>
              <a:gd name="connsiteX0" fmla="*/ 0 w 2016224"/>
              <a:gd name="connsiteY0" fmla="*/ 0 h 1953778"/>
              <a:gd name="connsiteX1" fmla="*/ 2016224 w 2016224"/>
              <a:gd name="connsiteY1" fmla="*/ 0 h 1953778"/>
              <a:gd name="connsiteX2" fmla="*/ 2015959 w 2016224"/>
              <a:gd name="connsiteY2" fmla="*/ 212637 h 1953778"/>
              <a:gd name="connsiteX3" fmla="*/ 305943 w 2016224"/>
              <a:gd name="connsiteY3" fmla="*/ 212637 h 1953778"/>
              <a:gd name="connsiteX4" fmla="*/ 312163 w 2016224"/>
              <a:gd name="connsiteY4" fmla="*/ 1953778 h 1953778"/>
              <a:gd name="connsiteX5" fmla="*/ 0 w 2016224"/>
              <a:gd name="connsiteY5" fmla="*/ 1944216 h 1953778"/>
              <a:gd name="connsiteX6" fmla="*/ 0 w 2016224"/>
              <a:gd name="connsiteY6" fmla="*/ 0 h 1953778"/>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225076 w 2016224"/>
              <a:gd name="connsiteY4" fmla="*/ 1941338 h 1944216"/>
              <a:gd name="connsiteX5" fmla="*/ 0 w 2016224"/>
              <a:gd name="connsiteY5" fmla="*/ 1944216 h 1944216"/>
              <a:gd name="connsiteX6" fmla="*/ 0 w 2016224"/>
              <a:gd name="connsiteY6" fmla="*/ 0 h 19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224" h="1944216">
                <a:moveTo>
                  <a:pt x="0" y="0"/>
                </a:moveTo>
                <a:lnTo>
                  <a:pt x="2016224" y="0"/>
                </a:lnTo>
                <a:cubicBezTo>
                  <a:pt x="2016136" y="70879"/>
                  <a:pt x="2016047" y="141758"/>
                  <a:pt x="2015959" y="212637"/>
                </a:cubicBezTo>
                <a:lnTo>
                  <a:pt x="225078" y="212637"/>
                </a:lnTo>
                <a:cubicBezTo>
                  <a:pt x="227151" y="782650"/>
                  <a:pt x="223003" y="1371325"/>
                  <a:pt x="225076" y="1941338"/>
                </a:cubicBezTo>
                <a:lnTo>
                  <a:pt x="0" y="1944216"/>
                </a:lnTo>
                <a:lnTo>
                  <a:pt x="0" y="0"/>
                </a:lnTo>
                <a:close/>
              </a:path>
            </a:pathLst>
          </a:cu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tr-TR" sz="1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 name="Yarım Çerçeve 10"/>
          <p:cNvSpPr/>
          <p:nvPr/>
        </p:nvSpPr>
        <p:spPr>
          <a:xfrm rot="16200000">
            <a:off x="9231136" y="1745292"/>
            <a:ext cx="2520560" cy="2430407"/>
          </a:xfrm>
          <a:custGeom>
            <a:avLst/>
            <a:gdLst>
              <a:gd name="connsiteX0" fmla="*/ 0 w 2016224"/>
              <a:gd name="connsiteY0" fmla="*/ 0 h 1944216"/>
              <a:gd name="connsiteX1" fmla="*/ 2016224 w 2016224"/>
              <a:gd name="connsiteY1" fmla="*/ 0 h 1944216"/>
              <a:gd name="connsiteX2" fmla="*/ 1344156 w 2016224"/>
              <a:gd name="connsiteY2" fmla="*/ 648066 h 1944216"/>
              <a:gd name="connsiteX3" fmla="*/ 648066 w 2016224"/>
              <a:gd name="connsiteY3" fmla="*/ 648066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984858 w 2016224"/>
              <a:gd name="connsiteY2" fmla="*/ 18775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0973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40841"/>
              <a:gd name="connsiteY0" fmla="*/ 0 h 1944216"/>
              <a:gd name="connsiteX1" fmla="*/ 2016224 w 2040841"/>
              <a:gd name="connsiteY1" fmla="*/ 0 h 1944216"/>
              <a:gd name="connsiteX2" fmla="*/ 2040841 w 2040841"/>
              <a:gd name="connsiteY2" fmla="*/ 200196 h 1944216"/>
              <a:gd name="connsiteX3" fmla="*/ 305943 w 2040841"/>
              <a:gd name="connsiteY3" fmla="*/ 212637 h 1944216"/>
              <a:gd name="connsiteX4" fmla="*/ 324604 w 2040841"/>
              <a:gd name="connsiteY4" fmla="*/ 1928896 h 1944216"/>
              <a:gd name="connsiteX5" fmla="*/ 0 w 2040841"/>
              <a:gd name="connsiteY5" fmla="*/ 1944216 h 1944216"/>
              <a:gd name="connsiteX6" fmla="*/ 0 w 2040841"/>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281061 w 2016224"/>
              <a:gd name="connsiteY4" fmla="*/ 194133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12163 w 2016224"/>
              <a:gd name="connsiteY4" fmla="*/ 1922676 h 1944216"/>
              <a:gd name="connsiteX5" fmla="*/ 0 w 2016224"/>
              <a:gd name="connsiteY5" fmla="*/ 1944216 h 1944216"/>
              <a:gd name="connsiteX6" fmla="*/ 0 w 2016224"/>
              <a:gd name="connsiteY6" fmla="*/ 0 h 1944216"/>
              <a:gd name="connsiteX0" fmla="*/ 0 w 2016224"/>
              <a:gd name="connsiteY0" fmla="*/ 0 h 1953778"/>
              <a:gd name="connsiteX1" fmla="*/ 2016224 w 2016224"/>
              <a:gd name="connsiteY1" fmla="*/ 0 h 1953778"/>
              <a:gd name="connsiteX2" fmla="*/ 2015959 w 2016224"/>
              <a:gd name="connsiteY2" fmla="*/ 212637 h 1953778"/>
              <a:gd name="connsiteX3" fmla="*/ 305943 w 2016224"/>
              <a:gd name="connsiteY3" fmla="*/ 212637 h 1953778"/>
              <a:gd name="connsiteX4" fmla="*/ 312163 w 2016224"/>
              <a:gd name="connsiteY4" fmla="*/ 1953778 h 1953778"/>
              <a:gd name="connsiteX5" fmla="*/ 0 w 2016224"/>
              <a:gd name="connsiteY5" fmla="*/ 1944216 h 1953778"/>
              <a:gd name="connsiteX6" fmla="*/ 0 w 2016224"/>
              <a:gd name="connsiteY6" fmla="*/ 0 h 1953778"/>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225076 w 2016224"/>
              <a:gd name="connsiteY4" fmla="*/ 1941338 h 1944216"/>
              <a:gd name="connsiteX5" fmla="*/ 0 w 2016224"/>
              <a:gd name="connsiteY5" fmla="*/ 1944216 h 1944216"/>
              <a:gd name="connsiteX6" fmla="*/ 0 w 2016224"/>
              <a:gd name="connsiteY6" fmla="*/ 0 h 19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224" h="1944216">
                <a:moveTo>
                  <a:pt x="0" y="0"/>
                </a:moveTo>
                <a:lnTo>
                  <a:pt x="2016224" y="0"/>
                </a:lnTo>
                <a:cubicBezTo>
                  <a:pt x="2016136" y="70879"/>
                  <a:pt x="2016047" y="141758"/>
                  <a:pt x="2015959" y="212637"/>
                </a:cubicBezTo>
                <a:lnTo>
                  <a:pt x="225078" y="212637"/>
                </a:lnTo>
                <a:cubicBezTo>
                  <a:pt x="227151" y="782650"/>
                  <a:pt x="223003" y="1371325"/>
                  <a:pt x="225076" y="1941338"/>
                </a:cubicBezTo>
                <a:lnTo>
                  <a:pt x="0" y="1944216"/>
                </a:lnTo>
                <a:lnTo>
                  <a:pt x="0" y="0"/>
                </a:lnTo>
                <a:close/>
              </a:path>
            </a:pathLst>
          </a:cu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tr-TR" sz="1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1" name="Gözyaşı Damlası 15"/>
          <p:cNvSpPr/>
          <p:nvPr/>
        </p:nvSpPr>
        <p:spPr>
          <a:xfrm>
            <a:off x="1237303" y="2171589"/>
            <a:ext cx="703350" cy="72016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just">
              <a:lnSpc>
                <a:spcPct val="120000"/>
              </a:lnSpc>
            </a:pPr>
            <a:endParaRPr lang="tr-TR"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 name="Gözyaşı Damlası 36"/>
          <p:cNvSpPr/>
          <p:nvPr/>
        </p:nvSpPr>
        <p:spPr>
          <a:xfrm>
            <a:off x="3518955" y="2128478"/>
            <a:ext cx="703350" cy="720160"/>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just">
              <a:lnSpc>
                <a:spcPct val="120000"/>
              </a:lnSpc>
            </a:pPr>
            <a:endParaRPr lang="tr-TR"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 name="Gözyaşı Damlası 40"/>
          <p:cNvSpPr/>
          <p:nvPr/>
        </p:nvSpPr>
        <p:spPr>
          <a:xfrm>
            <a:off x="5765540" y="2110546"/>
            <a:ext cx="703350" cy="720160"/>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just">
              <a:lnSpc>
                <a:spcPct val="120000"/>
              </a:lnSpc>
            </a:pPr>
            <a:endParaRPr lang="tr-TR"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7" name="Gözyaşı Damlası 42"/>
          <p:cNvSpPr/>
          <p:nvPr/>
        </p:nvSpPr>
        <p:spPr>
          <a:xfrm>
            <a:off x="8007930" y="2128478"/>
            <a:ext cx="703350" cy="720160"/>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just">
              <a:lnSpc>
                <a:spcPct val="120000"/>
              </a:lnSpc>
            </a:pPr>
            <a:endParaRPr lang="tr-TR"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8" name="Gözyaşı Damlası 44"/>
          <p:cNvSpPr/>
          <p:nvPr/>
        </p:nvSpPr>
        <p:spPr>
          <a:xfrm>
            <a:off x="10246535" y="2128478"/>
            <a:ext cx="703350" cy="720160"/>
          </a:xfrm>
          <a:prstGeom prst="teardrop">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just">
              <a:lnSpc>
                <a:spcPct val="120000"/>
              </a:lnSpc>
            </a:pPr>
            <a:endParaRPr lang="tr-TR"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Metin kutusu 17"/>
          <p:cNvSpPr txBox="1"/>
          <p:nvPr/>
        </p:nvSpPr>
        <p:spPr>
          <a:xfrm>
            <a:off x="861255" y="3044759"/>
            <a:ext cx="1668346" cy="804321"/>
          </a:xfrm>
          <a:prstGeom prst="rect">
            <a:avLst/>
          </a:prstGeom>
          <a:noFill/>
        </p:spPr>
        <p:txBody>
          <a:bodyPr wrap="square" lIns="65023" tIns="32511" rIns="65023" bIns="32511" rtlCol="0">
            <a:spAutoFit/>
          </a:bodyPr>
          <a:lstStyle/>
          <a:p>
            <a:pPr>
              <a:lnSpc>
                <a:spcPct val="120000"/>
              </a:lnSpc>
            </a:pPr>
            <a:r>
              <a:rPr lang="en-US" altLang="zh-CN" sz="1000" dirty="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US" altLang="zh-CN" sz="1000" b="1" dirty="0">
              <a:ea typeface="微软雅黑" panose="020B0503020204020204" pitchFamily="34" charset="-122"/>
              <a:cs typeface="+mn-ea"/>
              <a:sym typeface="Arial" panose="020B0604020202020204" pitchFamily="34" charset="0"/>
            </a:endParaRPr>
          </a:p>
        </p:txBody>
      </p:sp>
      <p:sp>
        <p:nvSpPr>
          <p:cNvPr id="33" name="Metin kutusu 60"/>
          <p:cNvSpPr txBox="1"/>
          <p:nvPr/>
        </p:nvSpPr>
        <p:spPr>
          <a:xfrm>
            <a:off x="3007254" y="3044759"/>
            <a:ext cx="1668346" cy="804321"/>
          </a:xfrm>
          <a:prstGeom prst="rect">
            <a:avLst/>
          </a:prstGeom>
          <a:noFill/>
        </p:spPr>
        <p:txBody>
          <a:bodyPr wrap="square" lIns="65023" tIns="32511" rIns="65023" bIns="32511" rtlCol="0">
            <a:spAutoFit/>
          </a:bodyPr>
          <a:lstStyle/>
          <a:p>
            <a:pPr>
              <a:lnSpc>
                <a:spcPct val="120000"/>
              </a:lnSpc>
            </a:pPr>
            <a:r>
              <a:rPr lang="en-US" altLang="zh-CN" sz="1000" dirty="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US" altLang="zh-CN" sz="1000" b="1" dirty="0">
              <a:ea typeface="微软雅黑" panose="020B0503020204020204" pitchFamily="34" charset="-122"/>
              <a:cs typeface="+mn-ea"/>
              <a:sym typeface="Arial" panose="020B0604020202020204" pitchFamily="34" charset="0"/>
            </a:endParaRPr>
          </a:p>
        </p:txBody>
      </p:sp>
      <p:sp>
        <p:nvSpPr>
          <p:cNvPr id="34" name="Metin kutusu 61"/>
          <p:cNvSpPr txBox="1"/>
          <p:nvPr/>
        </p:nvSpPr>
        <p:spPr>
          <a:xfrm>
            <a:off x="5311512" y="3044759"/>
            <a:ext cx="1668346" cy="804321"/>
          </a:xfrm>
          <a:prstGeom prst="rect">
            <a:avLst/>
          </a:prstGeom>
          <a:noFill/>
        </p:spPr>
        <p:txBody>
          <a:bodyPr wrap="square" lIns="65023" tIns="32511" rIns="65023" bIns="32511" rtlCol="0">
            <a:spAutoFit/>
          </a:bodyPr>
          <a:lstStyle/>
          <a:p>
            <a:pPr>
              <a:lnSpc>
                <a:spcPct val="120000"/>
              </a:lnSpc>
            </a:pPr>
            <a:r>
              <a:rPr lang="en-US" altLang="zh-CN" sz="1000" dirty="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US" altLang="zh-CN" sz="1000" b="1" dirty="0">
              <a:ea typeface="微软雅黑" panose="020B0503020204020204" pitchFamily="34" charset="-122"/>
              <a:cs typeface="+mn-ea"/>
              <a:sym typeface="Arial" panose="020B0604020202020204" pitchFamily="34" charset="0"/>
            </a:endParaRPr>
          </a:p>
        </p:txBody>
      </p:sp>
      <p:sp>
        <p:nvSpPr>
          <p:cNvPr id="35" name="Metin kutusu 62"/>
          <p:cNvSpPr txBox="1"/>
          <p:nvPr/>
        </p:nvSpPr>
        <p:spPr>
          <a:xfrm>
            <a:off x="7525434" y="3044759"/>
            <a:ext cx="1668346" cy="804321"/>
          </a:xfrm>
          <a:prstGeom prst="rect">
            <a:avLst/>
          </a:prstGeom>
          <a:noFill/>
        </p:spPr>
        <p:txBody>
          <a:bodyPr wrap="square" lIns="65023" tIns="32511" rIns="65023" bIns="32511" rtlCol="0">
            <a:spAutoFit/>
          </a:bodyPr>
          <a:lstStyle/>
          <a:p>
            <a:pPr>
              <a:lnSpc>
                <a:spcPct val="120000"/>
              </a:lnSpc>
            </a:pPr>
            <a:r>
              <a:rPr lang="en-US" altLang="zh-CN" sz="1000" dirty="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US" altLang="zh-CN" sz="1000" b="1" dirty="0">
              <a:ea typeface="微软雅黑" panose="020B0503020204020204" pitchFamily="34" charset="-122"/>
              <a:cs typeface="+mn-ea"/>
              <a:sym typeface="Arial" panose="020B0604020202020204" pitchFamily="34" charset="0"/>
            </a:endParaRPr>
          </a:p>
        </p:txBody>
      </p:sp>
      <p:sp>
        <p:nvSpPr>
          <p:cNvPr id="36" name="Metin kutusu 63"/>
          <p:cNvSpPr txBox="1"/>
          <p:nvPr/>
        </p:nvSpPr>
        <p:spPr>
          <a:xfrm>
            <a:off x="9796480" y="3044759"/>
            <a:ext cx="1781157" cy="804321"/>
          </a:xfrm>
          <a:prstGeom prst="rect">
            <a:avLst/>
          </a:prstGeom>
          <a:noFill/>
        </p:spPr>
        <p:txBody>
          <a:bodyPr wrap="square" lIns="65023" tIns="32511" rIns="65023" bIns="32511" rtlCol="0">
            <a:spAutoFit/>
          </a:bodyPr>
          <a:lstStyle/>
          <a:p>
            <a:pPr>
              <a:lnSpc>
                <a:spcPct val="120000"/>
              </a:lnSpc>
            </a:pPr>
            <a:r>
              <a:rPr lang="en-US" altLang="zh-CN" sz="1000" dirty="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US" altLang="zh-CN" sz="1000" b="1" dirty="0">
              <a:ea typeface="微软雅黑" panose="020B0503020204020204" pitchFamily="34" charset="-122"/>
              <a:cs typeface="+mn-ea"/>
              <a:sym typeface="Arial" panose="020B0604020202020204" pitchFamily="34" charset="0"/>
            </a:endParaRPr>
          </a:p>
        </p:txBody>
      </p:sp>
      <p:grpSp>
        <p:nvGrpSpPr>
          <p:cNvPr id="37" name="Group 531"/>
          <p:cNvGrpSpPr>
            <a:grpSpLocks noChangeAspect="1"/>
          </p:cNvGrpSpPr>
          <p:nvPr/>
        </p:nvGrpSpPr>
        <p:grpSpPr bwMode="auto">
          <a:xfrm>
            <a:off x="1405162" y="2347853"/>
            <a:ext cx="367631" cy="367631"/>
            <a:chOff x="4216" y="2000"/>
            <a:chExt cx="340" cy="340"/>
          </a:xfrm>
          <a:solidFill>
            <a:srgbClr val="FFFFFF"/>
          </a:solidFill>
        </p:grpSpPr>
        <p:sp>
          <p:nvSpPr>
            <p:cNvPr id="38" name="Freeform 532"/>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39" name="Freeform 533"/>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grpSp>
      <p:grpSp>
        <p:nvGrpSpPr>
          <p:cNvPr id="40" name="Group 987"/>
          <p:cNvGrpSpPr>
            <a:grpSpLocks noChangeAspect="1"/>
          </p:cNvGrpSpPr>
          <p:nvPr/>
        </p:nvGrpSpPr>
        <p:grpSpPr bwMode="auto">
          <a:xfrm>
            <a:off x="3696747" y="2305037"/>
            <a:ext cx="367041" cy="367041"/>
            <a:chOff x="2699" y="3996"/>
            <a:chExt cx="340" cy="340"/>
          </a:xfrm>
          <a:solidFill>
            <a:srgbClr val="FFFFFF"/>
          </a:solidFill>
        </p:grpSpPr>
        <p:sp>
          <p:nvSpPr>
            <p:cNvPr id="41" name="Freeform 988"/>
            <p:cNvSpPr>
              <a:spLocks noEditPoints="1"/>
            </p:cNvSpPr>
            <p:nvPr/>
          </p:nvSpPr>
          <p:spPr bwMode="auto">
            <a:xfrm>
              <a:off x="2762" y="4073"/>
              <a:ext cx="199" cy="199"/>
            </a:xfrm>
            <a:custGeom>
              <a:avLst/>
              <a:gdLst>
                <a:gd name="T0" fmla="*/ 150 w 300"/>
                <a:gd name="T1" fmla="*/ 300 h 300"/>
                <a:gd name="T2" fmla="*/ 149 w 300"/>
                <a:gd name="T3" fmla="*/ 300 h 300"/>
                <a:gd name="T4" fmla="*/ 140 w 300"/>
                <a:gd name="T5" fmla="*/ 293 h 300"/>
                <a:gd name="T6" fmla="*/ 105 w 300"/>
                <a:gd name="T7" fmla="*/ 196 h 300"/>
                <a:gd name="T8" fmla="*/ 8 w 300"/>
                <a:gd name="T9" fmla="*/ 160 h 300"/>
                <a:gd name="T10" fmla="*/ 1 w 300"/>
                <a:gd name="T11" fmla="*/ 151 h 300"/>
                <a:gd name="T12" fmla="*/ 7 w 300"/>
                <a:gd name="T13" fmla="*/ 141 h 300"/>
                <a:gd name="T14" fmla="*/ 284 w 300"/>
                <a:gd name="T15" fmla="*/ 2 h 300"/>
                <a:gd name="T16" fmla="*/ 296 w 300"/>
                <a:gd name="T17" fmla="*/ 4 h 300"/>
                <a:gd name="T18" fmla="*/ 298 w 300"/>
                <a:gd name="T19" fmla="*/ 16 h 300"/>
                <a:gd name="T20" fmla="*/ 160 w 300"/>
                <a:gd name="T21" fmla="*/ 294 h 300"/>
                <a:gd name="T22" fmla="*/ 150 w 300"/>
                <a:gd name="T23" fmla="*/ 300 h 300"/>
                <a:gd name="T24" fmla="*/ 38 w 300"/>
                <a:gd name="T25" fmla="*/ 149 h 300"/>
                <a:gd name="T26" fmla="*/ 117 w 300"/>
                <a:gd name="T27" fmla="*/ 178 h 300"/>
                <a:gd name="T28" fmla="*/ 123 w 300"/>
                <a:gd name="T29" fmla="*/ 184 h 300"/>
                <a:gd name="T30" fmla="*/ 152 w 300"/>
                <a:gd name="T31" fmla="*/ 262 h 300"/>
                <a:gd name="T32" fmla="*/ 265 w 300"/>
                <a:gd name="T33" fmla="*/ 36 h 300"/>
                <a:gd name="T34" fmla="*/ 38 w 300"/>
                <a:gd name="T35"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300">
                  <a:moveTo>
                    <a:pt x="150" y="300"/>
                  </a:moveTo>
                  <a:cubicBezTo>
                    <a:pt x="150" y="300"/>
                    <a:pt x="150" y="300"/>
                    <a:pt x="149" y="300"/>
                  </a:cubicBezTo>
                  <a:cubicBezTo>
                    <a:pt x="145" y="299"/>
                    <a:pt x="141" y="297"/>
                    <a:pt x="140" y="293"/>
                  </a:cubicBezTo>
                  <a:cubicBezTo>
                    <a:pt x="105" y="196"/>
                    <a:pt x="105" y="196"/>
                    <a:pt x="105" y="196"/>
                  </a:cubicBezTo>
                  <a:cubicBezTo>
                    <a:pt x="8" y="160"/>
                    <a:pt x="8" y="160"/>
                    <a:pt x="8" y="160"/>
                  </a:cubicBezTo>
                  <a:cubicBezTo>
                    <a:pt x="4" y="159"/>
                    <a:pt x="1" y="155"/>
                    <a:pt x="1" y="151"/>
                  </a:cubicBezTo>
                  <a:cubicBezTo>
                    <a:pt x="0" y="147"/>
                    <a:pt x="3" y="143"/>
                    <a:pt x="7" y="141"/>
                  </a:cubicBezTo>
                  <a:cubicBezTo>
                    <a:pt x="284" y="2"/>
                    <a:pt x="284" y="2"/>
                    <a:pt x="284" y="2"/>
                  </a:cubicBezTo>
                  <a:cubicBezTo>
                    <a:pt x="288" y="0"/>
                    <a:pt x="293" y="1"/>
                    <a:pt x="296" y="4"/>
                  </a:cubicBezTo>
                  <a:cubicBezTo>
                    <a:pt x="299" y="7"/>
                    <a:pt x="300" y="12"/>
                    <a:pt x="298" y="16"/>
                  </a:cubicBezTo>
                  <a:cubicBezTo>
                    <a:pt x="160" y="294"/>
                    <a:pt x="160" y="294"/>
                    <a:pt x="160" y="294"/>
                  </a:cubicBezTo>
                  <a:cubicBezTo>
                    <a:pt x="158" y="297"/>
                    <a:pt x="154" y="300"/>
                    <a:pt x="150" y="300"/>
                  </a:cubicBezTo>
                  <a:close/>
                  <a:moveTo>
                    <a:pt x="38" y="149"/>
                  </a:moveTo>
                  <a:cubicBezTo>
                    <a:pt x="117" y="178"/>
                    <a:pt x="117" y="178"/>
                    <a:pt x="117" y="178"/>
                  </a:cubicBezTo>
                  <a:cubicBezTo>
                    <a:pt x="120" y="179"/>
                    <a:pt x="122" y="181"/>
                    <a:pt x="123" y="184"/>
                  </a:cubicBezTo>
                  <a:cubicBezTo>
                    <a:pt x="152" y="262"/>
                    <a:pt x="152" y="262"/>
                    <a:pt x="152" y="262"/>
                  </a:cubicBezTo>
                  <a:cubicBezTo>
                    <a:pt x="265" y="36"/>
                    <a:pt x="265" y="36"/>
                    <a:pt x="265" y="36"/>
                  </a:cubicBezTo>
                  <a:lnTo>
                    <a:pt x="38" y="149"/>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42" name="Freeform 989"/>
            <p:cNvSpPr>
              <a:spLocks noEditPoints="1"/>
            </p:cNvSpPr>
            <p:nvPr/>
          </p:nvSpPr>
          <p:spPr bwMode="auto">
            <a:xfrm>
              <a:off x="2699" y="39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grpSp>
      <p:grpSp>
        <p:nvGrpSpPr>
          <p:cNvPr id="43" name="Group 862"/>
          <p:cNvGrpSpPr>
            <a:grpSpLocks noChangeAspect="1"/>
          </p:cNvGrpSpPr>
          <p:nvPr/>
        </p:nvGrpSpPr>
        <p:grpSpPr bwMode="auto">
          <a:xfrm>
            <a:off x="5940108" y="2305037"/>
            <a:ext cx="369021" cy="370106"/>
            <a:chOff x="6607" y="3441"/>
            <a:chExt cx="340" cy="341"/>
          </a:xfrm>
          <a:solidFill>
            <a:srgbClr val="FFFFFF"/>
          </a:solidFill>
        </p:grpSpPr>
        <p:sp>
          <p:nvSpPr>
            <p:cNvPr id="44" name="Freeform 863"/>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45" name="Freeform 864"/>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grpSp>
      <p:grpSp>
        <p:nvGrpSpPr>
          <p:cNvPr id="46" name="Group 245"/>
          <p:cNvGrpSpPr>
            <a:grpSpLocks noChangeAspect="1"/>
          </p:cNvGrpSpPr>
          <p:nvPr/>
        </p:nvGrpSpPr>
        <p:grpSpPr bwMode="auto">
          <a:xfrm>
            <a:off x="10419154" y="2305037"/>
            <a:ext cx="369676" cy="369676"/>
            <a:chOff x="3480" y="792"/>
            <a:chExt cx="340" cy="340"/>
          </a:xfrm>
          <a:solidFill>
            <a:srgbClr val="FFFFFF"/>
          </a:solidFill>
        </p:grpSpPr>
        <p:sp>
          <p:nvSpPr>
            <p:cNvPr id="47"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48"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49"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50"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51"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grpSp>
      <p:sp>
        <p:nvSpPr>
          <p:cNvPr id="52" name="Freeform 478"/>
          <p:cNvSpPr>
            <a:spLocks noChangeAspect="1" noEditPoints="1"/>
          </p:cNvSpPr>
          <p:nvPr/>
        </p:nvSpPr>
        <p:spPr bwMode="auto">
          <a:xfrm>
            <a:off x="8192542" y="2304046"/>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77 w 512"/>
              <a:gd name="T21" fmla="*/ 352 h 512"/>
              <a:gd name="T22" fmla="*/ 362 w 512"/>
              <a:gd name="T23" fmla="*/ 352 h 512"/>
              <a:gd name="T24" fmla="*/ 373 w 512"/>
              <a:gd name="T25" fmla="*/ 341 h 512"/>
              <a:gd name="T26" fmla="*/ 373 w 512"/>
              <a:gd name="T27" fmla="*/ 256 h 512"/>
              <a:gd name="T28" fmla="*/ 362 w 512"/>
              <a:gd name="T29" fmla="*/ 245 h 512"/>
              <a:gd name="T30" fmla="*/ 288 w 512"/>
              <a:gd name="T31" fmla="*/ 245 h 512"/>
              <a:gd name="T32" fmla="*/ 362 w 512"/>
              <a:gd name="T33" fmla="*/ 181 h 512"/>
              <a:gd name="T34" fmla="*/ 373 w 512"/>
              <a:gd name="T35" fmla="*/ 170 h 512"/>
              <a:gd name="T36" fmla="*/ 362 w 512"/>
              <a:gd name="T37" fmla="*/ 160 h 512"/>
              <a:gd name="T38" fmla="*/ 266 w 512"/>
              <a:gd name="T39" fmla="*/ 256 h 512"/>
              <a:gd name="T40" fmla="*/ 266 w 512"/>
              <a:gd name="T41" fmla="*/ 341 h 512"/>
              <a:gd name="T42" fmla="*/ 277 w 512"/>
              <a:gd name="T43" fmla="*/ 352 h 512"/>
              <a:gd name="T44" fmla="*/ 352 w 512"/>
              <a:gd name="T45" fmla="*/ 330 h 512"/>
              <a:gd name="T46" fmla="*/ 288 w 512"/>
              <a:gd name="T47" fmla="*/ 330 h 512"/>
              <a:gd name="T48" fmla="*/ 288 w 512"/>
              <a:gd name="T49" fmla="*/ 266 h 512"/>
              <a:gd name="T50" fmla="*/ 352 w 512"/>
              <a:gd name="T51" fmla="*/ 266 h 512"/>
              <a:gd name="T52" fmla="*/ 352 w 512"/>
              <a:gd name="T53" fmla="*/ 330 h 512"/>
              <a:gd name="T54" fmla="*/ 149 w 512"/>
              <a:gd name="T55" fmla="*/ 352 h 512"/>
              <a:gd name="T56" fmla="*/ 234 w 512"/>
              <a:gd name="T57" fmla="*/ 352 h 512"/>
              <a:gd name="T58" fmla="*/ 245 w 512"/>
              <a:gd name="T59" fmla="*/ 341 h 512"/>
              <a:gd name="T60" fmla="*/ 245 w 512"/>
              <a:gd name="T61" fmla="*/ 256 h 512"/>
              <a:gd name="T62" fmla="*/ 234 w 512"/>
              <a:gd name="T63" fmla="*/ 245 h 512"/>
              <a:gd name="T64" fmla="*/ 160 w 512"/>
              <a:gd name="T65" fmla="*/ 245 h 512"/>
              <a:gd name="T66" fmla="*/ 234 w 512"/>
              <a:gd name="T67" fmla="*/ 181 h 512"/>
              <a:gd name="T68" fmla="*/ 245 w 512"/>
              <a:gd name="T69" fmla="*/ 170 h 512"/>
              <a:gd name="T70" fmla="*/ 234 w 512"/>
              <a:gd name="T71" fmla="*/ 160 h 512"/>
              <a:gd name="T72" fmla="*/ 138 w 512"/>
              <a:gd name="T73" fmla="*/ 256 h 512"/>
              <a:gd name="T74" fmla="*/ 138 w 512"/>
              <a:gd name="T75" fmla="*/ 341 h 512"/>
              <a:gd name="T76" fmla="*/ 149 w 512"/>
              <a:gd name="T77" fmla="*/ 352 h 512"/>
              <a:gd name="T78" fmla="*/ 224 w 512"/>
              <a:gd name="T79" fmla="*/ 330 h 512"/>
              <a:gd name="T80" fmla="*/ 160 w 512"/>
              <a:gd name="T81" fmla="*/ 330 h 512"/>
              <a:gd name="T82" fmla="*/ 160 w 512"/>
              <a:gd name="T83" fmla="*/ 266 h 512"/>
              <a:gd name="T84" fmla="*/ 224 w 512"/>
              <a:gd name="T85" fmla="*/ 266 h 512"/>
              <a:gd name="T86" fmla="*/ 224 w 512"/>
              <a:gd name="T8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352"/>
                </a:moveTo>
                <a:cubicBezTo>
                  <a:pt x="362" y="352"/>
                  <a:pt x="362" y="352"/>
                  <a:pt x="362" y="352"/>
                </a:cubicBezTo>
                <a:cubicBezTo>
                  <a:pt x="368" y="352"/>
                  <a:pt x="373" y="347"/>
                  <a:pt x="373" y="341"/>
                </a:cubicBezTo>
                <a:cubicBezTo>
                  <a:pt x="373" y="256"/>
                  <a:pt x="373" y="256"/>
                  <a:pt x="373" y="256"/>
                </a:cubicBezTo>
                <a:cubicBezTo>
                  <a:pt x="373" y="250"/>
                  <a:pt x="368" y="245"/>
                  <a:pt x="362" y="245"/>
                </a:cubicBezTo>
                <a:cubicBezTo>
                  <a:pt x="288" y="245"/>
                  <a:pt x="288" y="245"/>
                  <a:pt x="288" y="245"/>
                </a:cubicBezTo>
                <a:cubicBezTo>
                  <a:pt x="293" y="213"/>
                  <a:pt x="323" y="181"/>
                  <a:pt x="362" y="181"/>
                </a:cubicBezTo>
                <a:cubicBezTo>
                  <a:pt x="368" y="181"/>
                  <a:pt x="373" y="176"/>
                  <a:pt x="373" y="170"/>
                </a:cubicBezTo>
                <a:cubicBezTo>
                  <a:pt x="373" y="164"/>
                  <a:pt x="368" y="160"/>
                  <a:pt x="362" y="160"/>
                </a:cubicBezTo>
                <a:cubicBezTo>
                  <a:pt x="308" y="160"/>
                  <a:pt x="266" y="201"/>
                  <a:pt x="266" y="256"/>
                </a:cubicBezTo>
                <a:cubicBezTo>
                  <a:pt x="266" y="341"/>
                  <a:pt x="266" y="341"/>
                  <a:pt x="266" y="341"/>
                </a:cubicBezTo>
                <a:cubicBezTo>
                  <a:pt x="266" y="347"/>
                  <a:pt x="271" y="352"/>
                  <a:pt x="277" y="352"/>
                </a:cubicBezTo>
                <a:close/>
                <a:moveTo>
                  <a:pt x="352" y="330"/>
                </a:moveTo>
                <a:cubicBezTo>
                  <a:pt x="288" y="330"/>
                  <a:pt x="288" y="330"/>
                  <a:pt x="288" y="330"/>
                </a:cubicBezTo>
                <a:cubicBezTo>
                  <a:pt x="288" y="266"/>
                  <a:pt x="288" y="266"/>
                  <a:pt x="288" y="266"/>
                </a:cubicBezTo>
                <a:cubicBezTo>
                  <a:pt x="352" y="266"/>
                  <a:pt x="352" y="266"/>
                  <a:pt x="352" y="266"/>
                </a:cubicBezTo>
                <a:lnTo>
                  <a:pt x="352" y="330"/>
                </a:lnTo>
                <a:close/>
                <a:moveTo>
                  <a:pt x="149" y="352"/>
                </a:moveTo>
                <a:cubicBezTo>
                  <a:pt x="234" y="352"/>
                  <a:pt x="234" y="352"/>
                  <a:pt x="234" y="352"/>
                </a:cubicBezTo>
                <a:cubicBezTo>
                  <a:pt x="240" y="352"/>
                  <a:pt x="245" y="347"/>
                  <a:pt x="245" y="341"/>
                </a:cubicBezTo>
                <a:cubicBezTo>
                  <a:pt x="245" y="256"/>
                  <a:pt x="245" y="256"/>
                  <a:pt x="245" y="256"/>
                </a:cubicBezTo>
                <a:cubicBezTo>
                  <a:pt x="245" y="250"/>
                  <a:pt x="240" y="245"/>
                  <a:pt x="234" y="245"/>
                </a:cubicBezTo>
                <a:cubicBezTo>
                  <a:pt x="160" y="245"/>
                  <a:pt x="160" y="245"/>
                  <a:pt x="160" y="245"/>
                </a:cubicBezTo>
                <a:cubicBezTo>
                  <a:pt x="165" y="208"/>
                  <a:pt x="195" y="181"/>
                  <a:pt x="234" y="181"/>
                </a:cubicBezTo>
                <a:cubicBezTo>
                  <a:pt x="240" y="181"/>
                  <a:pt x="245" y="176"/>
                  <a:pt x="245" y="170"/>
                </a:cubicBezTo>
                <a:cubicBezTo>
                  <a:pt x="245" y="164"/>
                  <a:pt x="240" y="160"/>
                  <a:pt x="234" y="160"/>
                </a:cubicBezTo>
                <a:cubicBezTo>
                  <a:pt x="180" y="160"/>
                  <a:pt x="138" y="201"/>
                  <a:pt x="138" y="256"/>
                </a:cubicBezTo>
                <a:cubicBezTo>
                  <a:pt x="138" y="341"/>
                  <a:pt x="138" y="341"/>
                  <a:pt x="138" y="341"/>
                </a:cubicBezTo>
                <a:cubicBezTo>
                  <a:pt x="138" y="347"/>
                  <a:pt x="143" y="352"/>
                  <a:pt x="149" y="352"/>
                </a:cubicBezTo>
                <a:close/>
                <a:moveTo>
                  <a:pt x="224" y="330"/>
                </a:moveTo>
                <a:cubicBezTo>
                  <a:pt x="160" y="330"/>
                  <a:pt x="160" y="330"/>
                  <a:pt x="160" y="330"/>
                </a:cubicBezTo>
                <a:cubicBezTo>
                  <a:pt x="160" y="266"/>
                  <a:pt x="160" y="266"/>
                  <a:pt x="160" y="266"/>
                </a:cubicBezTo>
                <a:cubicBezTo>
                  <a:pt x="224" y="266"/>
                  <a:pt x="224" y="266"/>
                  <a:pt x="224" y="266"/>
                </a:cubicBezTo>
                <a:lnTo>
                  <a:pt x="224" y="33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sz="3200">
              <a:latin typeface="华文细黑" panose="02010600040101010101" pitchFamily="2" charset="-122"/>
              <a:ea typeface="华文细黑" panose="02010600040101010101" pitchFamily="2" charset="-122"/>
            </a:endParaRPr>
          </a:p>
        </p:txBody>
      </p:sp>
    </p:spTree>
    <p:custDataLst>
      <p:tags r:id="rId1"/>
    </p:custDataLst>
    <p:extLst>
      <p:ext uri="{BB962C8B-B14F-4D97-AF65-F5344CB8AC3E}">
        <p14:creationId xmlns:p14="http://schemas.microsoft.com/office/powerpoint/2010/main" val="1635861172"/>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63">
            <a:extLst>
              <a:ext uri="{FF2B5EF4-FFF2-40B4-BE49-F238E27FC236}">
                <a16:creationId xmlns:a16="http://schemas.microsoft.com/office/drawing/2014/main" id="{A24C3119-D47D-0E4D-9741-494852D17E18}"/>
              </a:ext>
            </a:extLst>
          </p:cNvPr>
          <p:cNvSpPr/>
          <p:nvPr/>
        </p:nvSpPr>
        <p:spPr bwMode="gray">
          <a:xfrm>
            <a:off x="1900240" y="2401055"/>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65" name="Oval 64">
            <a:extLst>
              <a:ext uri="{FF2B5EF4-FFF2-40B4-BE49-F238E27FC236}">
                <a16:creationId xmlns:a16="http://schemas.microsoft.com/office/drawing/2014/main" id="{AAFDDF1B-AFD2-6F43-BA1B-188654E713E4}"/>
              </a:ext>
            </a:extLst>
          </p:cNvPr>
          <p:cNvSpPr/>
          <p:nvPr/>
        </p:nvSpPr>
        <p:spPr bwMode="gray">
          <a:xfrm>
            <a:off x="2058113" y="1700213"/>
            <a:ext cx="1520856" cy="1520856"/>
          </a:xfrm>
          <a:prstGeom prst="ellipse">
            <a:avLst/>
          </a:prstGeom>
          <a:solidFill>
            <a:schemeClr val="accent1">
              <a:lumMod val="20000"/>
              <a:lumOff val="80000"/>
            </a:schemeClr>
          </a:solidFill>
          <a:ln w="19050" algn="ctr">
            <a:noFill/>
            <a:miter lim="800000"/>
            <a:headEnd/>
            <a:tailEnd/>
          </a:ln>
        </p:spPr>
        <p:txBody>
          <a:bodyPr wrap="square" lIns="0" tIns="274320" rIns="0" bIns="91440" rtlCol="0" anchor="ctr"/>
          <a:lstStyle/>
          <a:p>
            <a:pPr algn="ctr">
              <a:lnSpc>
                <a:spcPct val="106000"/>
              </a:lnSpc>
              <a:buFont typeface="Wingdings 2" pitchFamily="18" charset="2"/>
              <a:buNone/>
            </a:pPr>
            <a:r>
              <a:rPr lang="en-US" sz="1100" b="1" dirty="0"/>
              <a:t>Lorem ipsum dolor sit</a:t>
            </a:r>
          </a:p>
        </p:txBody>
      </p:sp>
      <p:cxnSp>
        <p:nvCxnSpPr>
          <p:cNvPr id="66" name="Straight Connector 65">
            <a:extLst>
              <a:ext uri="{FF2B5EF4-FFF2-40B4-BE49-F238E27FC236}">
                <a16:creationId xmlns:a16="http://schemas.microsoft.com/office/drawing/2014/main" id="{F7BDEE5F-D83E-D04C-B3DA-3BEA54847769}"/>
              </a:ext>
            </a:extLst>
          </p:cNvPr>
          <p:cNvCxnSpPr>
            <a:stCxn id="64" idx="3"/>
          </p:cNvCxnSpPr>
          <p:nvPr/>
        </p:nvCxnSpPr>
        <p:spPr>
          <a:xfrm flipH="1">
            <a:off x="2818541" y="3391314"/>
            <a:ext cx="1" cy="43980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7" name="Freeform 66">
            <a:extLst>
              <a:ext uri="{FF2B5EF4-FFF2-40B4-BE49-F238E27FC236}">
                <a16:creationId xmlns:a16="http://schemas.microsoft.com/office/drawing/2014/main" id="{A65992D7-EEC9-ED45-9F14-E614BD747CEE}"/>
              </a:ext>
            </a:extLst>
          </p:cNvPr>
          <p:cNvSpPr/>
          <p:nvPr/>
        </p:nvSpPr>
        <p:spPr bwMode="gray">
          <a:xfrm>
            <a:off x="5177700" y="2401055"/>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68" name="Oval 67">
            <a:extLst>
              <a:ext uri="{FF2B5EF4-FFF2-40B4-BE49-F238E27FC236}">
                <a16:creationId xmlns:a16="http://schemas.microsoft.com/office/drawing/2014/main" id="{E924C739-6086-1043-AF61-535455D08EB1}"/>
              </a:ext>
            </a:extLst>
          </p:cNvPr>
          <p:cNvSpPr/>
          <p:nvPr/>
        </p:nvSpPr>
        <p:spPr bwMode="gray">
          <a:xfrm>
            <a:off x="5335573" y="1700213"/>
            <a:ext cx="1520856" cy="1520856"/>
          </a:xfrm>
          <a:prstGeom prst="ellipse">
            <a:avLst/>
          </a:prstGeom>
          <a:solidFill>
            <a:schemeClr val="tx2">
              <a:lumMod val="20000"/>
              <a:lumOff val="80000"/>
            </a:schemeClr>
          </a:solidFill>
          <a:ln w="19050" algn="ctr">
            <a:noFill/>
            <a:miter lim="800000"/>
            <a:headEnd/>
            <a:tailEnd/>
          </a:ln>
        </p:spPr>
        <p:txBody>
          <a:bodyPr wrap="square" lIns="0" tIns="0" rIns="0" bIns="91440" rtlCol="0" anchor="b"/>
          <a:lstStyle/>
          <a:p>
            <a:pPr algn="ctr">
              <a:lnSpc>
                <a:spcPct val="106000"/>
              </a:lnSpc>
              <a:buFont typeface="Wingdings 2" pitchFamily="18" charset="2"/>
              <a:buNone/>
            </a:pPr>
            <a:r>
              <a:rPr lang="en-US" sz="1100" b="1" dirty="0"/>
              <a:t>Lorem ipsum dolor sit</a:t>
            </a:r>
          </a:p>
        </p:txBody>
      </p:sp>
      <p:cxnSp>
        <p:nvCxnSpPr>
          <p:cNvPr id="69" name="Straight Connector 68">
            <a:extLst>
              <a:ext uri="{FF2B5EF4-FFF2-40B4-BE49-F238E27FC236}">
                <a16:creationId xmlns:a16="http://schemas.microsoft.com/office/drawing/2014/main" id="{E1F625A6-8107-044B-AD37-458E0A6B5CF3}"/>
              </a:ext>
            </a:extLst>
          </p:cNvPr>
          <p:cNvCxnSpPr>
            <a:stCxn id="67" idx="3"/>
          </p:cNvCxnSpPr>
          <p:nvPr/>
        </p:nvCxnSpPr>
        <p:spPr>
          <a:xfrm flipH="1">
            <a:off x="6096001" y="3391314"/>
            <a:ext cx="1" cy="4398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70" name="Freeform 69">
            <a:extLst>
              <a:ext uri="{FF2B5EF4-FFF2-40B4-BE49-F238E27FC236}">
                <a16:creationId xmlns:a16="http://schemas.microsoft.com/office/drawing/2014/main" id="{C120322B-AB6E-154B-BF56-DEC40B550994}"/>
              </a:ext>
            </a:extLst>
          </p:cNvPr>
          <p:cNvSpPr/>
          <p:nvPr/>
        </p:nvSpPr>
        <p:spPr bwMode="gray">
          <a:xfrm>
            <a:off x="3538970" y="4439405"/>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71" name="Oval 70">
            <a:extLst>
              <a:ext uri="{FF2B5EF4-FFF2-40B4-BE49-F238E27FC236}">
                <a16:creationId xmlns:a16="http://schemas.microsoft.com/office/drawing/2014/main" id="{7FFAFDE7-34A3-9244-8752-5D3B214AB974}"/>
              </a:ext>
            </a:extLst>
          </p:cNvPr>
          <p:cNvSpPr/>
          <p:nvPr/>
        </p:nvSpPr>
        <p:spPr bwMode="gray">
          <a:xfrm>
            <a:off x="3696843" y="3738563"/>
            <a:ext cx="1520856" cy="1520856"/>
          </a:xfrm>
          <a:prstGeom prst="ellipse">
            <a:avLst/>
          </a:prstGeom>
          <a:solidFill>
            <a:schemeClr val="accent2">
              <a:lumMod val="20000"/>
              <a:lumOff val="80000"/>
            </a:schemeClr>
          </a:solidFill>
          <a:ln w="19050" algn="ctr">
            <a:noFill/>
            <a:miter lim="800000"/>
            <a:headEnd/>
            <a:tailEnd/>
          </a:ln>
        </p:spPr>
        <p:txBody>
          <a:bodyPr wrap="square" lIns="0" tIns="0" rIns="0" bIns="91440" rtlCol="0" anchor="b"/>
          <a:lstStyle/>
          <a:p>
            <a:pPr algn="ctr">
              <a:lnSpc>
                <a:spcPct val="106000"/>
              </a:lnSpc>
              <a:buFont typeface="Wingdings 2" pitchFamily="18" charset="2"/>
              <a:buNone/>
            </a:pPr>
            <a:r>
              <a:rPr lang="en-US" sz="1100" b="1" dirty="0"/>
              <a:t>Lorem ipsum dolor sit</a:t>
            </a:r>
          </a:p>
        </p:txBody>
      </p:sp>
      <p:cxnSp>
        <p:nvCxnSpPr>
          <p:cNvPr id="72" name="Straight Connector 71">
            <a:extLst>
              <a:ext uri="{FF2B5EF4-FFF2-40B4-BE49-F238E27FC236}">
                <a16:creationId xmlns:a16="http://schemas.microsoft.com/office/drawing/2014/main" id="{242C9191-A42C-4E45-8D9D-C38DAA386A72}"/>
              </a:ext>
            </a:extLst>
          </p:cNvPr>
          <p:cNvCxnSpPr>
            <a:stCxn id="70" idx="3"/>
          </p:cNvCxnSpPr>
          <p:nvPr/>
        </p:nvCxnSpPr>
        <p:spPr>
          <a:xfrm flipH="1">
            <a:off x="4457271" y="5429664"/>
            <a:ext cx="1" cy="43980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3" name="Freeform 72">
            <a:extLst>
              <a:ext uri="{FF2B5EF4-FFF2-40B4-BE49-F238E27FC236}">
                <a16:creationId xmlns:a16="http://schemas.microsoft.com/office/drawing/2014/main" id="{912A139C-DE9F-EE4F-A673-D817C965856A}"/>
              </a:ext>
            </a:extLst>
          </p:cNvPr>
          <p:cNvSpPr/>
          <p:nvPr/>
        </p:nvSpPr>
        <p:spPr bwMode="gray">
          <a:xfrm>
            <a:off x="8455161" y="2401055"/>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74" name="Oval 73">
            <a:extLst>
              <a:ext uri="{FF2B5EF4-FFF2-40B4-BE49-F238E27FC236}">
                <a16:creationId xmlns:a16="http://schemas.microsoft.com/office/drawing/2014/main" id="{3F2C6DBC-1325-D24E-A8B3-3DFB3C4683DD}"/>
              </a:ext>
            </a:extLst>
          </p:cNvPr>
          <p:cNvSpPr/>
          <p:nvPr/>
        </p:nvSpPr>
        <p:spPr bwMode="gray">
          <a:xfrm>
            <a:off x="8613034" y="1700213"/>
            <a:ext cx="1520856" cy="1520856"/>
          </a:xfrm>
          <a:prstGeom prst="ellipse">
            <a:avLst/>
          </a:prstGeom>
          <a:solidFill>
            <a:schemeClr val="accent5">
              <a:lumMod val="20000"/>
              <a:lumOff val="80000"/>
            </a:schemeClr>
          </a:solidFill>
          <a:ln w="19050" algn="ctr">
            <a:noFill/>
            <a:miter lim="800000"/>
            <a:headEnd/>
            <a:tailEnd/>
          </a:ln>
        </p:spPr>
        <p:txBody>
          <a:bodyPr wrap="square" lIns="0" tIns="0" rIns="0" bIns="91440" rtlCol="0" anchor="b"/>
          <a:lstStyle/>
          <a:p>
            <a:pPr algn="ctr">
              <a:lnSpc>
                <a:spcPct val="106000"/>
              </a:lnSpc>
              <a:buFont typeface="Wingdings 2" pitchFamily="18" charset="2"/>
              <a:buNone/>
            </a:pPr>
            <a:r>
              <a:rPr lang="en-US" sz="1100" b="1" dirty="0"/>
              <a:t>Lorem ipsum dolor sit</a:t>
            </a:r>
          </a:p>
        </p:txBody>
      </p:sp>
      <p:cxnSp>
        <p:nvCxnSpPr>
          <p:cNvPr id="75" name="Straight Connector 74">
            <a:extLst>
              <a:ext uri="{FF2B5EF4-FFF2-40B4-BE49-F238E27FC236}">
                <a16:creationId xmlns:a16="http://schemas.microsoft.com/office/drawing/2014/main" id="{F1D71881-8744-5840-959D-FC4A6D29AC34}"/>
              </a:ext>
            </a:extLst>
          </p:cNvPr>
          <p:cNvCxnSpPr>
            <a:stCxn id="73" idx="3"/>
          </p:cNvCxnSpPr>
          <p:nvPr/>
        </p:nvCxnSpPr>
        <p:spPr>
          <a:xfrm flipH="1">
            <a:off x="9373462" y="3391314"/>
            <a:ext cx="1" cy="43980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6" name="Freeform 75">
            <a:extLst>
              <a:ext uri="{FF2B5EF4-FFF2-40B4-BE49-F238E27FC236}">
                <a16:creationId xmlns:a16="http://schemas.microsoft.com/office/drawing/2014/main" id="{35ADFA7B-6F8D-7B44-A8E8-0C3DEAF279C5}"/>
              </a:ext>
            </a:extLst>
          </p:cNvPr>
          <p:cNvSpPr/>
          <p:nvPr/>
        </p:nvSpPr>
        <p:spPr bwMode="gray">
          <a:xfrm>
            <a:off x="6816430" y="4439405"/>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77" name="Oval 76">
            <a:extLst>
              <a:ext uri="{FF2B5EF4-FFF2-40B4-BE49-F238E27FC236}">
                <a16:creationId xmlns:a16="http://schemas.microsoft.com/office/drawing/2014/main" id="{D2ADB181-A714-EA43-BFCA-9E960C45F586}"/>
              </a:ext>
            </a:extLst>
          </p:cNvPr>
          <p:cNvSpPr/>
          <p:nvPr/>
        </p:nvSpPr>
        <p:spPr bwMode="gray">
          <a:xfrm>
            <a:off x="6974303" y="3738563"/>
            <a:ext cx="1520856" cy="1520856"/>
          </a:xfrm>
          <a:prstGeom prst="ellipse">
            <a:avLst/>
          </a:prstGeom>
          <a:solidFill>
            <a:schemeClr val="accent3">
              <a:lumMod val="20000"/>
              <a:lumOff val="80000"/>
            </a:schemeClr>
          </a:solidFill>
          <a:ln w="19050" algn="ctr">
            <a:noFill/>
            <a:miter lim="800000"/>
            <a:headEnd/>
            <a:tailEnd/>
          </a:ln>
        </p:spPr>
        <p:txBody>
          <a:bodyPr wrap="square" lIns="0" tIns="0" rIns="0" bIns="91440" rtlCol="0" anchor="b"/>
          <a:lstStyle/>
          <a:p>
            <a:pPr algn="ctr">
              <a:lnSpc>
                <a:spcPct val="106000"/>
              </a:lnSpc>
              <a:buFont typeface="Wingdings 2" pitchFamily="18" charset="2"/>
              <a:buNone/>
            </a:pPr>
            <a:r>
              <a:rPr lang="en-US" sz="1100" b="1" dirty="0"/>
              <a:t>Lorem ipsum dolor sit</a:t>
            </a:r>
          </a:p>
        </p:txBody>
      </p:sp>
      <p:cxnSp>
        <p:nvCxnSpPr>
          <p:cNvPr id="78" name="Straight Connector 77">
            <a:extLst>
              <a:ext uri="{FF2B5EF4-FFF2-40B4-BE49-F238E27FC236}">
                <a16:creationId xmlns:a16="http://schemas.microsoft.com/office/drawing/2014/main" id="{110E0989-9BCB-C844-AEF7-951992B63AF9}"/>
              </a:ext>
            </a:extLst>
          </p:cNvPr>
          <p:cNvCxnSpPr>
            <a:stCxn id="76" idx="3"/>
          </p:cNvCxnSpPr>
          <p:nvPr/>
        </p:nvCxnSpPr>
        <p:spPr>
          <a:xfrm flipH="1">
            <a:off x="7734731" y="5429664"/>
            <a:ext cx="1" cy="43980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A63F7822-1AAE-A243-AD7D-63826131DA84}"/>
              </a:ext>
            </a:extLst>
          </p:cNvPr>
          <p:cNvSpPr txBox="1"/>
          <p:nvPr/>
        </p:nvSpPr>
        <p:spPr>
          <a:xfrm>
            <a:off x="2447179" y="1927670"/>
            <a:ext cx="742727" cy="369332"/>
          </a:xfrm>
          <a:prstGeom prst="rect">
            <a:avLst/>
          </a:prstGeom>
          <a:noFill/>
        </p:spPr>
        <p:txBody>
          <a:bodyPr vert="horz" wrap="square" lIns="0" tIns="0" rIns="0" bIns="0" rtlCol="0">
            <a:spAutoFit/>
          </a:bodyPr>
          <a:lstStyle/>
          <a:p>
            <a:pPr algn="ctr">
              <a:spcBef>
                <a:spcPts val="200"/>
              </a:spcBef>
              <a:buSzPct val="100000"/>
            </a:pPr>
            <a:r>
              <a:rPr lang="en-US" sz="2400" b="1" dirty="0">
                <a:solidFill>
                  <a:schemeClr val="accent1"/>
                </a:solidFill>
              </a:rPr>
              <a:t>140</a:t>
            </a:r>
          </a:p>
        </p:txBody>
      </p:sp>
      <p:sp>
        <p:nvSpPr>
          <p:cNvPr id="80" name="TextBox 79">
            <a:extLst>
              <a:ext uri="{FF2B5EF4-FFF2-40B4-BE49-F238E27FC236}">
                <a16:creationId xmlns:a16="http://schemas.microsoft.com/office/drawing/2014/main" id="{C57ED479-D034-4044-9806-4B0FA539A406}"/>
              </a:ext>
            </a:extLst>
          </p:cNvPr>
          <p:cNvSpPr txBox="1"/>
          <p:nvPr/>
        </p:nvSpPr>
        <p:spPr>
          <a:xfrm>
            <a:off x="5780730" y="1927670"/>
            <a:ext cx="630545" cy="369332"/>
          </a:xfrm>
          <a:prstGeom prst="rect">
            <a:avLst/>
          </a:prstGeom>
          <a:noFill/>
        </p:spPr>
        <p:txBody>
          <a:bodyPr vert="horz" wrap="square" lIns="0" tIns="0" rIns="0" bIns="0" rtlCol="0">
            <a:spAutoFit/>
          </a:bodyPr>
          <a:lstStyle/>
          <a:p>
            <a:pPr algn="ctr">
              <a:spcBef>
                <a:spcPts val="200"/>
              </a:spcBef>
              <a:buSzPct val="100000"/>
            </a:pPr>
            <a:r>
              <a:rPr lang="en-US" sz="2400" b="1" dirty="0">
                <a:solidFill>
                  <a:schemeClr val="tx2"/>
                </a:solidFill>
              </a:rPr>
              <a:t>95</a:t>
            </a:r>
          </a:p>
        </p:txBody>
      </p:sp>
      <p:sp>
        <p:nvSpPr>
          <p:cNvPr id="81" name="TextBox 80">
            <a:extLst>
              <a:ext uri="{FF2B5EF4-FFF2-40B4-BE49-F238E27FC236}">
                <a16:creationId xmlns:a16="http://schemas.microsoft.com/office/drawing/2014/main" id="{A91CE959-76ED-264E-82F2-713EB0D4666B}"/>
              </a:ext>
            </a:extLst>
          </p:cNvPr>
          <p:cNvSpPr txBox="1"/>
          <p:nvPr/>
        </p:nvSpPr>
        <p:spPr>
          <a:xfrm>
            <a:off x="9058191" y="1927670"/>
            <a:ext cx="630545" cy="369332"/>
          </a:xfrm>
          <a:prstGeom prst="rect">
            <a:avLst/>
          </a:prstGeom>
          <a:noFill/>
        </p:spPr>
        <p:txBody>
          <a:bodyPr vert="horz" wrap="square" lIns="0" tIns="0" rIns="0" bIns="0" rtlCol="0">
            <a:spAutoFit/>
          </a:bodyPr>
          <a:lstStyle/>
          <a:p>
            <a:pPr algn="ctr">
              <a:spcBef>
                <a:spcPts val="200"/>
              </a:spcBef>
              <a:buSzPct val="100000"/>
            </a:pPr>
            <a:r>
              <a:rPr lang="en-US" sz="2400" b="1" dirty="0">
                <a:solidFill>
                  <a:schemeClr val="accent5"/>
                </a:solidFill>
              </a:rPr>
              <a:t>90</a:t>
            </a:r>
          </a:p>
        </p:txBody>
      </p:sp>
      <p:sp>
        <p:nvSpPr>
          <p:cNvPr id="82" name="TextBox 81">
            <a:extLst>
              <a:ext uri="{FF2B5EF4-FFF2-40B4-BE49-F238E27FC236}">
                <a16:creationId xmlns:a16="http://schemas.microsoft.com/office/drawing/2014/main" id="{1593F558-F307-7148-94C0-B5D2BA370416}"/>
              </a:ext>
            </a:extLst>
          </p:cNvPr>
          <p:cNvSpPr txBox="1"/>
          <p:nvPr/>
        </p:nvSpPr>
        <p:spPr>
          <a:xfrm>
            <a:off x="4142000" y="3972976"/>
            <a:ext cx="630545" cy="369332"/>
          </a:xfrm>
          <a:prstGeom prst="rect">
            <a:avLst/>
          </a:prstGeom>
          <a:noFill/>
        </p:spPr>
        <p:txBody>
          <a:bodyPr vert="horz" wrap="square" lIns="0" tIns="0" rIns="0" bIns="0" rtlCol="0">
            <a:spAutoFit/>
          </a:bodyPr>
          <a:lstStyle/>
          <a:p>
            <a:pPr algn="ctr">
              <a:spcBef>
                <a:spcPts val="200"/>
              </a:spcBef>
              <a:buSzPct val="100000"/>
            </a:pPr>
            <a:r>
              <a:rPr lang="en-US" sz="2400" b="1" dirty="0">
                <a:solidFill>
                  <a:schemeClr val="accent2"/>
                </a:solidFill>
              </a:rPr>
              <a:t>35</a:t>
            </a:r>
          </a:p>
        </p:txBody>
      </p:sp>
      <p:sp>
        <p:nvSpPr>
          <p:cNvPr id="83" name="TextBox 82">
            <a:extLst>
              <a:ext uri="{FF2B5EF4-FFF2-40B4-BE49-F238E27FC236}">
                <a16:creationId xmlns:a16="http://schemas.microsoft.com/office/drawing/2014/main" id="{9623C968-06F2-DC42-B5EF-8F56FBFA72D0}"/>
              </a:ext>
            </a:extLst>
          </p:cNvPr>
          <p:cNvSpPr txBox="1"/>
          <p:nvPr/>
        </p:nvSpPr>
        <p:spPr>
          <a:xfrm>
            <a:off x="7419460" y="3972976"/>
            <a:ext cx="630545" cy="369332"/>
          </a:xfrm>
          <a:prstGeom prst="rect">
            <a:avLst/>
          </a:prstGeom>
          <a:noFill/>
        </p:spPr>
        <p:txBody>
          <a:bodyPr vert="horz" wrap="square" lIns="0" tIns="0" rIns="0" bIns="0" rtlCol="0">
            <a:spAutoFit/>
          </a:bodyPr>
          <a:lstStyle/>
          <a:p>
            <a:pPr algn="ctr">
              <a:spcBef>
                <a:spcPts val="200"/>
              </a:spcBef>
              <a:buSzPct val="100000"/>
            </a:pPr>
            <a:r>
              <a:rPr lang="en-US" sz="2400" b="1" dirty="0">
                <a:solidFill>
                  <a:schemeClr val="accent3"/>
                </a:solidFill>
              </a:rPr>
              <a:t>9</a:t>
            </a:r>
          </a:p>
        </p:txBody>
      </p:sp>
      <p:grpSp>
        <p:nvGrpSpPr>
          <p:cNvPr id="84" name="Group 463">
            <a:extLst>
              <a:ext uri="{FF2B5EF4-FFF2-40B4-BE49-F238E27FC236}">
                <a16:creationId xmlns:a16="http://schemas.microsoft.com/office/drawing/2014/main" id="{9A64B22E-28BB-4A4B-A549-F1E90975987B}"/>
              </a:ext>
            </a:extLst>
          </p:cNvPr>
          <p:cNvGrpSpPr>
            <a:grpSpLocks noChangeAspect="1"/>
          </p:cNvGrpSpPr>
          <p:nvPr/>
        </p:nvGrpSpPr>
        <p:grpSpPr bwMode="auto">
          <a:xfrm>
            <a:off x="2634030" y="3831115"/>
            <a:ext cx="369021" cy="369021"/>
            <a:chOff x="1110" y="1564"/>
            <a:chExt cx="340" cy="340"/>
          </a:xfrm>
          <a:solidFill>
            <a:schemeClr val="accent1"/>
          </a:solidFill>
        </p:grpSpPr>
        <p:sp>
          <p:nvSpPr>
            <p:cNvPr id="85" name="Freeform 464">
              <a:extLst>
                <a:ext uri="{FF2B5EF4-FFF2-40B4-BE49-F238E27FC236}">
                  <a16:creationId xmlns:a16="http://schemas.microsoft.com/office/drawing/2014/main" id="{9635E60E-D122-0241-983F-22858867FBE8}"/>
                </a:ext>
              </a:extLst>
            </p:cNvPr>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6" name="Freeform 465">
              <a:extLst>
                <a:ext uri="{FF2B5EF4-FFF2-40B4-BE49-F238E27FC236}">
                  <a16:creationId xmlns:a16="http://schemas.microsoft.com/office/drawing/2014/main" id="{C9044851-8956-EE45-AB79-C93DDEBC4369}"/>
                </a:ext>
              </a:extLst>
            </p:cNvPr>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7" name="Group 834">
            <a:extLst>
              <a:ext uri="{FF2B5EF4-FFF2-40B4-BE49-F238E27FC236}">
                <a16:creationId xmlns:a16="http://schemas.microsoft.com/office/drawing/2014/main" id="{11C9D228-B11E-5D45-99D5-B7E1DA7F8620}"/>
              </a:ext>
            </a:extLst>
          </p:cNvPr>
          <p:cNvGrpSpPr>
            <a:grpSpLocks noChangeAspect="1"/>
          </p:cNvGrpSpPr>
          <p:nvPr/>
        </p:nvGrpSpPr>
        <p:grpSpPr bwMode="auto">
          <a:xfrm>
            <a:off x="5907483" y="3827763"/>
            <a:ext cx="367041" cy="367041"/>
            <a:chOff x="5977" y="3324"/>
            <a:chExt cx="340" cy="340"/>
          </a:xfrm>
          <a:solidFill>
            <a:schemeClr val="tx2"/>
          </a:solidFill>
        </p:grpSpPr>
        <p:sp>
          <p:nvSpPr>
            <p:cNvPr id="88" name="Freeform 835">
              <a:extLst>
                <a:ext uri="{FF2B5EF4-FFF2-40B4-BE49-F238E27FC236}">
                  <a16:creationId xmlns:a16="http://schemas.microsoft.com/office/drawing/2014/main" id="{B0DF188A-F337-5949-8889-739248EB311D}"/>
                </a:ext>
              </a:extLst>
            </p:cNvPr>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836">
              <a:extLst>
                <a:ext uri="{FF2B5EF4-FFF2-40B4-BE49-F238E27FC236}">
                  <a16:creationId xmlns:a16="http://schemas.microsoft.com/office/drawing/2014/main" id="{6C25E90C-18E8-1D4D-BDFA-C90CE70907CF}"/>
                </a:ext>
              </a:extLst>
            </p:cNvPr>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 name="Freeform 837">
              <a:extLst>
                <a:ext uri="{FF2B5EF4-FFF2-40B4-BE49-F238E27FC236}">
                  <a16:creationId xmlns:a16="http://schemas.microsoft.com/office/drawing/2014/main" id="{3495B7D5-DB2D-A446-B610-8193D7A24B53}"/>
                </a:ext>
              </a:extLst>
            </p:cNvPr>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1" name="Group 904">
            <a:extLst>
              <a:ext uri="{FF2B5EF4-FFF2-40B4-BE49-F238E27FC236}">
                <a16:creationId xmlns:a16="http://schemas.microsoft.com/office/drawing/2014/main" id="{35BB2759-D9BC-224A-84B0-8DF7773A282C}"/>
              </a:ext>
            </a:extLst>
          </p:cNvPr>
          <p:cNvGrpSpPr>
            <a:grpSpLocks noChangeAspect="1"/>
          </p:cNvGrpSpPr>
          <p:nvPr/>
        </p:nvGrpSpPr>
        <p:grpSpPr bwMode="auto">
          <a:xfrm>
            <a:off x="9183862" y="3827763"/>
            <a:ext cx="368121" cy="367041"/>
            <a:chOff x="3518" y="3551"/>
            <a:chExt cx="341" cy="340"/>
          </a:xfrm>
          <a:solidFill>
            <a:schemeClr val="accent5"/>
          </a:solidFill>
        </p:grpSpPr>
        <p:sp>
          <p:nvSpPr>
            <p:cNvPr id="92" name="Freeform 905">
              <a:extLst>
                <a:ext uri="{FF2B5EF4-FFF2-40B4-BE49-F238E27FC236}">
                  <a16:creationId xmlns:a16="http://schemas.microsoft.com/office/drawing/2014/main" id="{8AA3F0AE-4DB6-5843-B35E-C664275B0A9B}"/>
                </a:ext>
              </a:extLst>
            </p:cNvPr>
            <p:cNvSpPr>
              <a:spLocks noEditPoints="1"/>
            </p:cNvSpPr>
            <p:nvPr/>
          </p:nvSpPr>
          <p:spPr bwMode="auto">
            <a:xfrm>
              <a:off x="3518" y="3551"/>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 name="Freeform 906">
              <a:extLst>
                <a:ext uri="{FF2B5EF4-FFF2-40B4-BE49-F238E27FC236}">
                  <a16:creationId xmlns:a16="http://schemas.microsoft.com/office/drawing/2014/main" id="{DD5088AA-20CA-974F-BEE2-8862FBEA3F97}"/>
                </a:ext>
              </a:extLst>
            </p:cNvPr>
            <p:cNvSpPr>
              <a:spLocks noEditPoints="1"/>
            </p:cNvSpPr>
            <p:nvPr/>
          </p:nvSpPr>
          <p:spPr bwMode="auto">
            <a:xfrm>
              <a:off x="3625" y="3615"/>
              <a:ext cx="127" cy="212"/>
            </a:xfrm>
            <a:custGeom>
              <a:avLst/>
              <a:gdLst>
                <a:gd name="T0" fmla="*/ 107 w 192"/>
                <a:gd name="T1" fmla="*/ 267 h 320"/>
                <a:gd name="T2" fmla="*/ 96 w 192"/>
                <a:gd name="T3" fmla="*/ 278 h 320"/>
                <a:gd name="T4" fmla="*/ 85 w 192"/>
                <a:gd name="T5" fmla="*/ 267 h 320"/>
                <a:gd name="T6" fmla="*/ 96 w 192"/>
                <a:gd name="T7" fmla="*/ 256 h 320"/>
                <a:gd name="T8" fmla="*/ 107 w 192"/>
                <a:gd name="T9" fmla="*/ 267 h 320"/>
                <a:gd name="T10" fmla="*/ 192 w 192"/>
                <a:gd name="T11" fmla="*/ 22 h 320"/>
                <a:gd name="T12" fmla="*/ 192 w 192"/>
                <a:gd name="T13" fmla="*/ 299 h 320"/>
                <a:gd name="T14" fmla="*/ 169 w 192"/>
                <a:gd name="T15" fmla="*/ 320 h 320"/>
                <a:gd name="T16" fmla="*/ 23 w 192"/>
                <a:gd name="T17" fmla="*/ 320 h 320"/>
                <a:gd name="T18" fmla="*/ 0 w 192"/>
                <a:gd name="T19" fmla="*/ 299 h 320"/>
                <a:gd name="T20" fmla="*/ 0 w 192"/>
                <a:gd name="T21" fmla="*/ 22 h 320"/>
                <a:gd name="T22" fmla="*/ 23 w 192"/>
                <a:gd name="T23" fmla="*/ 0 h 320"/>
                <a:gd name="T24" fmla="*/ 169 w 192"/>
                <a:gd name="T25" fmla="*/ 0 h 320"/>
                <a:gd name="T26" fmla="*/ 192 w 192"/>
                <a:gd name="T27" fmla="*/ 22 h 320"/>
                <a:gd name="T28" fmla="*/ 171 w 192"/>
                <a:gd name="T29" fmla="*/ 298 h 320"/>
                <a:gd name="T30" fmla="*/ 171 w 192"/>
                <a:gd name="T31" fmla="*/ 22 h 320"/>
                <a:gd name="T32" fmla="*/ 169 w 192"/>
                <a:gd name="T33" fmla="*/ 22 h 320"/>
                <a:gd name="T34" fmla="*/ 23 w 192"/>
                <a:gd name="T35" fmla="*/ 22 h 320"/>
                <a:gd name="T36" fmla="*/ 21 w 192"/>
                <a:gd name="T37" fmla="*/ 22 h 320"/>
                <a:gd name="T38" fmla="*/ 21 w 192"/>
                <a:gd name="T39" fmla="*/ 299 h 320"/>
                <a:gd name="T40" fmla="*/ 21 w 192"/>
                <a:gd name="T41" fmla="*/ 299 h 320"/>
                <a:gd name="T42" fmla="*/ 23 w 192"/>
                <a:gd name="T43" fmla="*/ 299 h 320"/>
                <a:gd name="T44" fmla="*/ 169 w 192"/>
                <a:gd name="T45" fmla="*/ 299 h 320"/>
                <a:gd name="T46" fmla="*/ 171 w 192"/>
                <a:gd name="T47" fmla="*/ 298 h 320"/>
                <a:gd name="T48" fmla="*/ 160 w 192"/>
                <a:gd name="T49" fmla="*/ 43 h 320"/>
                <a:gd name="T50" fmla="*/ 160 w 192"/>
                <a:gd name="T51" fmla="*/ 224 h 320"/>
                <a:gd name="T52" fmla="*/ 149 w 192"/>
                <a:gd name="T53" fmla="*/ 235 h 320"/>
                <a:gd name="T54" fmla="*/ 43 w 192"/>
                <a:gd name="T55" fmla="*/ 235 h 320"/>
                <a:gd name="T56" fmla="*/ 32 w 192"/>
                <a:gd name="T57" fmla="*/ 224 h 320"/>
                <a:gd name="T58" fmla="*/ 32 w 192"/>
                <a:gd name="T59" fmla="*/ 43 h 320"/>
                <a:gd name="T60" fmla="*/ 43 w 192"/>
                <a:gd name="T61" fmla="*/ 32 h 320"/>
                <a:gd name="T62" fmla="*/ 149 w 192"/>
                <a:gd name="T63" fmla="*/ 32 h 320"/>
                <a:gd name="T64" fmla="*/ 160 w 192"/>
                <a:gd name="T65" fmla="*/ 43 h 320"/>
                <a:gd name="T66" fmla="*/ 139 w 192"/>
                <a:gd name="T67" fmla="*/ 54 h 320"/>
                <a:gd name="T68" fmla="*/ 53 w 192"/>
                <a:gd name="T69" fmla="*/ 54 h 320"/>
                <a:gd name="T70" fmla="*/ 53 w 192"/>
                <a:gd name="T71" fmla="*/ 214 h 320"/>
                <a:gd name="T72" fmla="*/ 139 w 192"/>
                <a:gd name="T73" fmla="*/ 214 h 320"/>
                <a:gd name="T74" fmla="*/ 139 w 192"/>
                <a:gd name="T75"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320">
                  <a:moveTo>
                    <a:pt x="107" y="267"/>
                  </a:moveTo>
                  <a:cubicBezTo>
                    <a:pt x="107" y="273"/>
                    <a:pt x="102" y="278"/>
                    <a:pt x="96" y="278"/>
                  </a:cubicBezTo>
                  <a:cubicBezTo>
                    <a:pt x="90" y="278"/>
                    <a:pt x="85" y="273"/>
                    <a:pt x="85" y="267"/>
                  </a:cubicBezTo>
                  <a:cubicBezTo>
                    <a:pt x="85" y="261"/>
                    <a:pt x="90" y="256"/>
                    <a:pt x="96" y="256"/>
                  </a:cubicBezTo>
                  <a:cubicBezTo>
                    <a:pt x="102" y="256"/>
                    <a:pt x="107" y="261"/>
                    <a:pt x="107" y="267"/>
                  </a:cubicBezTo>
                  <a:close/>
                  <a:moveTo>
                    <a:pt x="192" y="22"/>
                  </a:moveTo>
                  <a:cubicBezTo>
                    <a:pt x="192" y="299"/>
                    <a:pt x="192" y="299"/>
                    <a:pt x="192" y="299"/>
                  </a:cubicBezTo>
                  <a:cubicBezTo>
                    <a:pt x="192" y="311"/>
                    <a:pt x="182" y="320"/>
                    <a:pt x="169" y="320"/>
                  </a:cubicBezTo>
                  <a:cubicBezTo>
                    <a:pt x="23" y="320"/>
                    <a:pt x="23" y="320"/>
                    <a:pt x="23" y="320"/>
                  </a:cubicBezTo>
                  <a:cubicBezTo>
                    <a:pt x="10" y="320"/>
                    <a:pt x="0" y="311"/>
                    <a:pt x="0" y="299"/>
                  </a:cubicBezTo>
                  <a:cubicBezTo>
                    <a:pt x="0" y="22"/>
                    <a:pt x="0" y="22"/>
                    <a:pt x="0" y="22"/>
                  </a:cubicBezTo>
                  <a:cubicBezTo>
                    <a:pt x="0" y="10"/>
                    <a:pt x="10" y="0"/>
                    <a:pt x="23" y="0"/>
                  </a:cubicBezTo>
                  <a:cubicBezTo>
                    <a:pt x="169" y="0"/>
                    <a:pt x="169" y="0"/>
                    <a:pt x="169" y="0"/>
                  </a:cubicBezTo>
                  <a:cubicBezTo>
                    <a:pt x="182" y="0"/>
                    <a:pt x="192" y="10"/>
                    <a:pt x="192" y="22"/>
                  </a:cubicBezTo>
                  <a:close/>
                  <a:moveTo>
                    <a:pt x="171" y="298"/>
                  </a:moveTo>
                  <a:cubicBezTo>
                    <a:pt x="171" y="22"/>
                    <a:pt x="171" y="22"/>
                    <a:pt x="171" y="22"/>
                  </a:cubicBezTo>
                  <a:cubicBezTo>
                    <a:pt x="171" y="22"/>
                    <a:pt x="170" y="22"/>
                    <a:pt x="169" y="22"/>
                  </a:cubicBezTo>
                  <a:cubicBezTo>
                    <a:pt x="23" y="22"/>
                    <a:pt x="23" y="22"/>
                    <a:pt x="23" y="22"/>
                  </a:cubicBezTo>
                  <a:cubicBezTo>
                    <a:pt x="22" y="22"/>
                    <a:pt x="21" y="22"/>
                    <a:pt x="21" y="22"/>
                  </a:cubicBezTo>
                  <a:cubicBezTo>
                    <a:pt x="21" y="299"/>
                    <a:pt x="21" y="299"/>
                    <a:pt x="21" y="299"/>
                  </a:cubicBezTo>
                  <a:cubicBezTo>
                    <a:pt x="21" y="299"/>
                    <a:pt x="21" y="299"/>
                    <a:pt x="21" y="299"/>
                  </a:cubicBezTo>
                  <a:cubicBezTo>
                    <a:pt x="22" y="299"/>
                    <a:pt x="22" y="299"/>
                    <a:pt x="23" y="299"/>
                  </a:cubicBezTo>
                  <a:cubicBezTo>
                    <a:pt x="169" y="299"/>
                    <a:pt x="169" y="299"/>
                    <a:pt x="169" y="299"/>
                  </a:cubicBezTo>
                  <a:cubicBezTo>
                    <a:pt x="170" y="299"/>
                    <a:pt x="171" y="299"/>
                    <a:pt x="171" y="298"/>
                  </a:cubicBezTo>
                  <a:close/>
                  <a:moveTo>
                    <a:pt x="160" y="43"/>
                  </a:moveTo>
                  <a:cubicBezTo>
                    <a:pt x="160" y="224"/>
                    <a:pt x="160" y="224"/>
                    <a:pt x="160" y="224"/>
                  </a:cubicBezTo>
                  <a:cubicBezTo>
                    <a:pt x="160" y="230"/>
                    <a:pt x="155" y="235"/>
                    <a:pt x="149" y="235"/>
                  </a:cubicBezTo>
                  <a:cubicBezTo>
                    <a:pt x="43" y="235"/>
                    <a:pt x="43" y="235"/>
                    <a:pt x="43" y="235"/>
                  </a:cubicBezTo>
                  <a:cubicBezTo>
                    <a:pt x="37" y="235"/>
                    <a:pt x="32" y="230"/>
                    <a:pt x="32" y="224"/>
                  </a:cubicBezTo>
                  <a:cubicBezTo>
                    <a:pt x="32" y="43"/>
                    <a:pt x="32" y="43"/>
                    <a:pt x="32" y="43"/>
                  </a:cubicBezTo>
                  <a:cubicBezTo>
                    <a:pt x="32" y="37"/>
                    <a:pt x="37" y="32"/>
                    <a:pt x="43" y="32"/>
                  </a:cubicBezTo>
                  <a:cubicBezTo>
                    <a:pt x="149" y="32"/>
                    <a:pt x="149" y="32"/>
                    <a:pt x="149" y="32"/>
                  </a:cubicBezTo>
                  <a:cubicBezTo>
                    <a:pt x="155" y="32"/>
                    <a:pt x="160" y="37"/>
                    <a:pt x="160" y="43"/>
                  </a:cubicBezTo>
                  <a:close/>
                  <a:moveTo>
                    <a:pt x="139" y="54"/>
                  </a:moveTo>
                  <a:cubicBezTo>
                    <a:pt x="53" y="54"/>
                    <a:pt x="53" y="54"/>
                    <a:pt x="53" y="54"/>
                  </a:cubicBezTo>
                  <a:cubicBezTo>
                    <a:pt x="53" y="214"/>
                    <a:pt x="53" y="214"/>
                    <a:pt x="53" y="214"/>
                  </a:cubicBezTo>
                  <a:cubicBezTo>
                    <a:pt x="139" y="214"/>
                    <a:pt x="139" y="214"/>
                    <a:pt x="139" y="214"/>
                  </a:cubicBezTo>
                  <a:lnTo>
                    <a:pt x="139" y="54"/>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4" name="Group 93">
            <a:extLst>
              <a:ext uri="{FF2B5EF4-FFF2-40B4-BE49-F238E27FC236}">
                <a16:creationId xmlns:a16="http://schemas.microsoft.com/office/drawing/2014/main" id="{F8FCA0FE-ADCE-9E41-9E5C-37552C3C61DB}"/>
              </a:ext>
            </a:extLst>
          </p:cNvPr>
          <p:cNvGrpSpPr>
            <a:grpSpLocks noChangeAspect="1"/>
          </p:cNvGrpSpPr>
          <p:nvPr/>
        </p:nvGrpSpPr>
        <p:grpSpPr bwMode="auto">
          <a:xfrm>
            <a:off x="4273279" y="5869464"/>
            <a:ext cx="367982" cy="367982"/>
            <a:chOff x="2962" y="2267"/>
            <a:chExt cx="340" cy="340"/>
          </a:xfrm>
          <a:solidFill>
            <a:schemeClr val="accent2"/>
          </a:solidFill>
        </p:grpSpPr>
        <p:sp>
          <p:nvSpPr>
            <p:cNvPr id="95" name="Freeform 94">
              <a:extLst>
                <a:ext uri="{FF2B5EF4-FFF2-40B4-BE49-F238E27FC236}">
                  <a16:creationId xmlns:a16="http://schemas.microsoft.com/office/drawing/2014/main" id="{6E6FFB7C-91A6-0646-A1B0-9676ADB38769}"/>
                </a:ext>
              </a:extLst>
            </p:cNvPr>
            <p:cNvSpPr>
              <a:spLocks noEditPoints="1"/>
            </p:cNvSpPr>
            <p:nvPr/>
          </p:nvSpPr>
          <p:spPr bwMode="auto">
            <a:xfrm>
              <a:off x="3032" y="2331"/>
              <a:ext cx="199" cy="184"/>
            </a:xfrm>
            <a:custGeom>
              <a:avLst/>
              <a:gdLst>
                <a:gd name="T0" fmla="*/ 11 w 299"/>
                <a:gd name="T1" fmla="*/ 149 h 277"/>
                <a:gd name="T2" fmla="*/ 32 w 299"/>
                <a:gd name="T3" fmla="*/ 128 h 277"/>
                <a:gd name="T4" fmla="*/ 11 w 299"/>
                <a:gd name="T5" fmla="*/ 170 h 277"/>
                <a:gd name="T6" fmla="*/ 32 w 299"/>
                <a:gd name="T7" fmla="*/ 192 h 277"/>
                <a:gd name="T8" fmla="*/ 32 w 299"/>
                <a:gd name="T9" fmla="*/ 213 h 277"/>
                <a:gd name="T10" fmla="*/ 11 w 299"/>
                <a:gd name="T11" fmla="*/ 234 h 277"/>
                <a:gd name="T12" fmla="*/ 32 w 299"/>
                <a:gd name="T13" fmla="*/ 213 h 277"/>
                <a:gd name="T14" fmla="*/ 0 w 299"/>
                <a:gd name="T15" fmla="*/ 266 h 277"/>
                <a:gd name="T16" fmla="*/ 43 w 299"/>
                <a:gd name="T17" fmla="*/ 266 h 277"/>
                <a:gd name="T18" fmla="*/ 96 w 299"/>
                <a:gd name="T19" fmla="*/ 170 h 277"/>
                <a:gd name="T20" fmla="*/ 118 w 299"/>
                <a:gd name="T21" fmla="*/ 192 h 277"/>
                <a:gd name="T22" fmla="*/ 118 w 299"/>
                <a:gd name="T23" fmla="*/ 213 h 277"/>
                <a:gd name="T24" fmla="*/ 96 w 299"/>
                <a:gd name="T25" fmla="*/ 234 h 277"/>
                <a:gd name="T26" fmla="*/ 118 w 299"/>
                <a:gd name="T27" fmla="*/ 213 h 277"/>
                <a:gd name="T28" fmla="*/ 86 w 299"/>
                <a:gd name="T29" fmla="*/ 266 h 277"/>
                <a:gd name="T30" fmla="*/ 128 w 299"/>
                <a:gd name="T31" fmla="*/ 266 h 277"/>
                <a:gd name="T32" fmla="*/ 182 w 299"/>
                <a:gd name="T33" fmla="*/ 170 h 277"/>
                <a:gd name="T34" fmla="*/ 203 w 299"/>
                <a:gd name="T35" fmla="*/ 192 h 277"/>
                <a:gd name="T36" fmla="*/ 203 w 299"/>
                <a:gd name="T37" fmla="*/ 213 h 277"/>
                <a:gd name="T38" fmla="*/ 182 w 299"/>
                <a:gd name="T39" fmla="*/ 234 h 277"/>
                <a:gd name="T40" fmla="*/ 203 w 299"/>
                <a:gd name="T41" fmla="*/ 213 h 277"/>
                <a:gd name="T42" fmla="*/ 171 w 299"/>
                <a:gd name="T43" fmla="*/ 266 h 277"/>
                <a:gd name="T44" fmla="*/ 214 w 299"/>
                <a:gd name="T45" fmla="*/ 266 h 277"/>
                <a:gd name="T46" fmla="*/ 182 w 299"/>
                <a:gd name="T47" fmla="*/ 42 h 277"/>
                <a:gd name="T48" fmla="*/ 203 w 299"/>
                <a:gd name="T49" fmla="*/ 64 h 277"/>
                <a:gd name="T50" fmla="*/ 203 w 299"/>
                <a:gd name="T51" fmla="*/ 85 h 277"/>
                <a:gd name="T52" fmla="*/ 182 w 299"/>
                <a:gd name="T53" fmla="*/ 106 h 277"/>
                <a:gd name="T54" fmla="*/ 203 w 299"/>
                <a:gd name="T55" fmla="*/ 85 h 277"/>
                <a:gd name="T56" fmla="*/ 171 w 299"/>
                <a:gd name="T57" fmla="*/ 138 h 277"/>
                <a:gd name="T58" fmla="*/ 214 w 299"/>
                <a:gd name="T59" fmla="*/ 138 h 277"/>
                <a:gd name="T60" fmla="*/ 182 w 299"/>
                <a:gd name="T61" fmla="*/ 0 h 277"/>
                <a:gd name="T62" fmla="*/ 203 w 299"/>
                <a:gd name="T63" fmla="*/ 21 h 277"/>
                <a:gd name="T64" fmla="*/ 288 w 299"/>
                <a:gd name="T65" fmla="*/ 170 h 277"/>
                <a:gd name="T66" fmla="*/ 267 w 299"/>
                <a:gd name="T67" fmla="*/ 192 h 277"/>
                <a:gd name="T68" fmla="*/ 288 w 299"/>
                <a:gd name="T69" fmla="*/ 170 h 277"/>
                <a:gd name="T70" fmla="*/ 256 w 299"/>
                <a:gd name="T71" fmla="*/ 224 h 277"/>
                <a:gd name="T72" fmla="*/ 299 w 299"/>
                <a:gd name="T73" fmla="*/ 224 h 277"/>
                <a:gd name="T74" fmla="*/ 267 w 299"/>
                <a:gd name="T75" fmla="*/ 256 h 277"/>
                <a:gd name="T76" fmla="*/ 288 w 299"/>
                <a:gd name="T77" fmla="*/ 277 h 277"/>
                <a:gd name="T78" fmla="*/ 267 w 299"/>
                <a:gd name="T79" fmla="*/ 106 h 277"/>
                <a:gd name="T80" fmla="*/ 288 w 299"/>
                <a:gd name="T81" fmla="*/ 85 h 277"/>
                <a:gd name="T82" fmla="*/ 267 w 299"/>
                <a:gd name="T83" fmla="*/ 106 h 277"/>
                <a:gd name="T84" fmla="*/ 256 w 299"/>
                <a:gd name="T85" fmla="*/ 138 h 277"/>
                <a:gd name="T86" fmla="*/ 299 w 299"/>
                <a:gd name="T87"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9" h="277">
                  <a:moveTo>
                    <a:pt x="43" y="138"/>
                  </a:moveTo>
                  <a:cubicBezTo>
                    <a:pt x="43" y="144"/>
                    <a:pt x="38" y="149"/>
                    <a:pt x="32" y="149"/>
                  </a:cubicBezTo>
                  <a:cubicBezTo>
                    <a:pt x="11" y="149"/>
                    <a:pt x="11" y="149"/>
                    <a:pt x="11" y="149"/>
                  </a:cubicBezTo>
                  <a:cubicBezTo>
                    <a:pt x="5" y="149"/>
                    <a:pt x="0" y="144"/>
                    <a:pt x="0" y="138"/>
                  </a:cubicBezTo>
                  <a:cubicBezTo>
                    <a:pt x="0" y="132"/>
                    <a:pt x="5" y="128"/>
                    <a:pt x="11" y="128"/>
                  </a:cubicBezTo>
                  <a:cubicBezTo>
                    <a:pt x="32" y="128"/>
                    <a:pt x="32" y="128"/>
                    <a:pt x="32" y="128"/>
                  </a:cubicBezTo>
                  <a:cubicBezTo>
                    <a:pt x="38" y="128"/>
                    <a:pt x="43" y="132"/>
                    <a:pt x="43" y="138"/>
                  </a:cubicBezTo>
                  <a:close/>
                  <a:moveTo>
                    <a:pt x="32" y="170"/>
                  </a:moveTo>
                  <a:cubicBezTo>
                    <a:pt x="11" y="170"/>
                    <a:pt x="11" y="170"/>
                    <a:pt x="11" y="170"/>
                  </a:cubicBezTo>
                  <a:cubicBezTo>
                    <a:pt x="5" y="170"/>
                    <a:pt x="0" y="175"/>
                    <a:pt x="0" y="181"/>
                  </a:cubicBezTo>
                  <a:cubicBezTo>
                    <a:pt x="0" y="187"/>
                    <a:pt x="5" y="192"/>
                    <a:pt x="11" y="192"/>
                  </a:cubicBezTo>
                  <a:cubicBezTo>
                    <a:pt x="32" y="192"/>
                    <a:pt x="32" y="192"/>
                    <a:pt x="32" y="192"/>
                  </a:cubicBezTo>
                  <a:cubicBezTo>
                    <a:pt x="38" y="192"/>
                    <a:pt x="43" y="187"/>
                    <a:pt x="43" y="181"/>
                  </a:cubicBezTo>
                  <a:cubicBezTo>
                    <a:pt x="43" y="175"/>
                    <a:pt x="38" y="170"/>
                    <a:pt x="32" y="170"/>
                  </a:cubicBezTo>
                  <a:close/>
                  <a:moveTo>
                    <a:pt x="32" y="213"/>
                  </a:moveTo>
                  <a:cubicBezTo>
                    <a:pt x="11" y="213"/>
                    <a:pt x="11" y="213"/>
                    <a:pt x="11" y="213"/>
                  </a:cubicBezTo>
                  <a:cubicBezTo>
                    <a:pt x="5" y="213"/>
                    <a:pt x="0" y="218"/>
                    <a:pt x="0" y="224"/>
                  </a:cubicBezTo>
                  <a:cubicBezTo>
                    <a:pt x="0" y="230"/>
                    <a:pt x="5" y="234"/>
                    <a:pt x="11" y="234"/>
                  </a:cubicBezTo>
                  <a:cubicBezTo>
                    <a:pt x="32" y="234"/>
                    <a:pt x="32" y="234"/>
                    <a:pt x="32" y="234"/>
                  </a:cubicBezTo>
                  <a:cubicBezTo>
                    <a:pt x="38" y="234"/>
                    <a:pt x="43" y="230"/>
                    <a:pt x="43" y="224"/>
                  </a:cubicBezTo>
                  <a:cubicBezTo>
                    <a:pt x="43" y="218"/>
                    <a:pt x="38" y="213"/>
                    <a:pt x="32" y="213"/>
                  </a:cubicBezTo>
                  <a:close/>
                  <a:moveTo>
                    <a:pt x="32" y="256"/>
                  </a:moveTo>
                  <a:cubicBezTo>
                    <a:pt x="11" y="256"/>
                    <a:pt x="11" y="256"/>
                    <a:pt x="11" y="256"/>
                  </a:cubicBezTo>
                  <a:cubicBezTo>
                    <a:pt x="5" y="256"/>
                    <a:pt x="0" y="260"/>
                    <a:pt x="0" y="266"/>
                  </a:cubicBezTo>
                  <a:cubicBezTo>
                    <a:pt x="0" y="272"/>
                    <a:pt x="5" y="277"/>
                    <a:pt x="11" y="277"/>
                  </a:cubicBezTo>
                  <a:cubicBezTo>
                    <a:pt x="32" y="277"/>
                    <a:pt x="32" y="277"/>
                    <a:pt x="32" y="277"/>
                  </a:cubicBezTo>
                  <a:cubicBezTo>
                    <a:pt x="38" y="277"/>
                    <a:pt x="43" y="272"/>
                    <a:pt x="43" y="266"/>
                  </a:cubicBezTo>
                  <a:cubicBezTo>
                    <a:pt x="43" y="260"/>
                    <a:pt x="38" y="256"/>
                    <a:pt x="32" y="256"/>
                  </a:cubicBezTo>
                  <a:close/>
                  <a:moveTo>
                    <a:pt x="118" y="170"/>
                  </a:moveTo>
                  <a:cubicBezTo>
                    <a:pt x="96" y="170"/>
                    <a:pt x="96" y="170"/>
                    <a:pt x="96" y="170"/>
                  </a:cubicBezTo>
                  <a:cubicBezTo>
                    <a:pt x="90" y="170"/>
                    <a:pt x="86" y="175"/>
                    <a:pt x="86" y="181"/>
                  </a:cubicBezTo>
                  <a:cubicBezTo>
                    <a:pt x="86" y="187"/>
                    <a:pt x="90" y="192"/>
                    <a:pt x="96" y="192"/>
                  </a:cubicBezTo>
                  <a:cubicBezTo>
                    <a:pt x="118" y="192"/>
                    <a:pt x="118" y="192"/>
                    <a:pt x="118" y="192"/>
                  </a:cubicBezTo>
                  <a:cubicBezTo>
                    <a:pt x="124" y="192"/>
                    <a:pt x="128" y="187"/>
                    <a:pt x="128" y="181"/>
                  </a:cubicBezTo>
                  <a:cubicBezTo>
                    <a:pt x="128" y="175"/>
                    <a:pt x="124" y="170"/>
                    <a:pt x="118" y="170"/>
                  </a:cubicBezTo>
                  <a:close/>
                  <a:moveTo>
                    <a:pt x="118" y="213"/>
                  </a:moveTo>
                  <a:cubicBezTo>
                    <a:pt x="96" y="213"/>
                    <a:pt x="96" y="213"/>
                    <a:pt x="96" y="213"/>
                  </a:cubicBezTo>
                  <a:cubicBezTo>
                    <a:pt x="90" y="213"/>
                    <a:pt x="86" y="218"/>
                    <a:pt x="86" y="224"/>
                  </a:cubicBezTo>
                  <a:cubicBezTo>
                    <a:pt x="86" y="230"/>
                    <a:pt x="90" y="234"/>
                    <a:pt x="96" y="234"/>
                  </a:cubicBezTo>
                  <a:cubicBezTo>
                    <a:pt x="118" y="234"/>
                    <a:pt x="118" y="234"/>
                    <a:pt x="118" y="234"/>
                  </a:cubicBezTo>
                  <a:cubicBezTo>
                    <a:pt x="124" y="234"/>
                    <a:pt x="128" y="230"/>
                    <a:pt x="128" y="224"/>
                  </a:cubicBezTo>
                  <a:cubicBezTo>
                    <a:pt x="128" y="218"/>
                    <a:pt x="124" y="213"/>
                    <a:pt x="118" y="213"/>
                  </a:cubicBezTo>
                  <a:close/>
                  <a:moveTo>
                    <a:pt x="118" y="256"/>
                  </a:moveTo>
                  <a:cubicBezTo>
                    <a:pt x="96" y="256"/>
                    <a:pt x="96" y="256"/>
                    <a:pt x="96" y="256"/>
                  </a:cubicBezTo>
                  <a:cubicBezTo>
                    <a:pt x="90" y="256"/>
                    <a:pt x="86" y="260"/>
                    <a:pt x="86" y="266"/>
                  </a:cubicBezTo>
                  <a:cubicBezTo>
                    <a:pt x="86" y="272"/>
                    <a:pt x="90" y="277"/>
                    <a:pt x="96" y="277"/>
                  </a:cubicBezTo>
                  <a:cubicBezTo>
                    <a:pt x="118" y="277"/>
                    <a:pt x="118" y="277"/>
                    <a:pt x="118" y="277"/>
                  </a:cubicBezTo>
                  <a:cubicBezTo>
                    <a:pt x="124" y="277"/>
                    <a:pt x="128" y="272"/>
                    <a:pt x="128" y="266"/>
                  </a:cubicBezTo>
                  <a:cubicBezTo>
                    <a:pt x="128" y="260"/>
                    <a:pt x="124" y="256"/>
                    <a:pt x="118" y="256"/>
                  </a:cubicBezTo>
                  <a:close/>
                  <a:moveTo>
                    <a:pt x="203" y="170"/>
                  </a:moveTo>
                  <a:cubicBezTo>
                    <a:pt x="182" y="170"/>
                    <a:pt x="182" y="170"/>
                    <a:pt x="182" y="170"/>
                  </a:cubicBezTo>
                  <a:cubicBezTo>
                    <a:pt x="176" y="170"/>
                    <a:pt x="171" y="175"/>
                    <a:pt x="171" y="181"/>
                  </a:cubicBezTo>
                  <a:cubicBezTo>
                    <a:pt x="171" y="187"/>
                    <a:pt x="176" y="192"/>
                    <a:pt x="182" y="192"/>
                  </a:cubicBezTo>
                  <a:cubicBezTo>
                    <a:pt x="203" y="192"/>
                    <a:pt x="203" y="192"/>
                    <a:pt x="203" y="192"/>
                  </a:cubicBezTo>
                  <a:cubicBezTo>
                    <a:pt x="209" y="192"/>
                    <a:pt x="214" y="187"/>
                    <a:pt x="214" y="181"/>
                  </a:cubicBezTo>
                  <a:cubicBezTo>
                    <a:pt x="214" y="175"/>
                    <a:pt x="209" y="170"/>
                    <a:pt x="203" y="170"/>
                  </a:cubicBezTo>
                  <a:close/>
                  <a:moveTo>
                    <a:pt x="203" y="213"/>
                  </a:moveTo>
                  <a:cubicBezTo>
                    <a:pt x="182" y="213"/>
                    <a:pt x="182" y="213"/>
                    <a:pt x="182" y="213"/>
                  </a:cubicBezTo>
                  <a:cubicBezTo>
                    <a:pt x="176" y="213"/>
                    <a:pt x="171" y="218"/>
                    <a:pt x="171" y="224"/>
                  </a:cubicBezTo>
                  <a:cubicBezTo>
                    <a:pt x="171" y="230"/>
                    <a:pt x="176" y="234"/>
                    <a:pt x="182" y="234"/>
                  </a:cubicBezTo>
                  <a:cubicBezTo>
                    <a:pt x="203" y="234"/>
                    <a:pt x="203" y="234"/>
                    <a:pt x="203" y="234"/>
                  </a:cubicBezTo>
                  <a:cubicBezTo>
                    <a:pt x="209" y="234"/>
                    <a:pt x="214" y="230"/>
                    <a:pt x="214" y="224"/>
                  </a:cubicBezTo>
                  <a:cubicBezTo>
                    <a:pt x="214" y="218"/>
                    <a:pt x="209" y="213"/>
                    <a:pt x="203" y="213"/>
                  </a:cubicBezTo>
                  <a:close/>
                  <a:moveTo>
                    <a:pt x="203" y="256"/>
                  </a:moveTo>
                  <a:cubicBezTo>
                    <a:pt x="182" y="256"/>
                    <a:pt x="182" y="256"/>
                    <a:pt x="182" y="256"/>
                  </a:cubicBezTo>
                  <a:cubicBezTo>
                    <a:pt x="176" y="256"/>
                    <a:pt x="171" y="260"/>
                    <a:pt x="171" y="266"/>
                  </a:cubicBezTo>
                  <a:cubicBezTo>
                    <a:pt x="171" y="272"/>
                    <a:pt x="176" y="277"/>
                    <a:pt x="182" y="277"/>
                  </a:cubicBezTo>
                  <a:cubicBezTo>
                    <a:pt x="203" y="277"/>
                    <a:pt x="203" y="277"/>
                    <a:pt x="203" y="277"/>
                  </a:cubicBezTo>
                  <a:cubicBezTo>
                    <a:pt x="209" y="277"/>
                    <a:pt x="214" y="272"/>
                    <a:pt x="214" y="266"/>
                  </a:cubicBezTo>
                  <a:cubicBezTo>
                    <a:pt x="214" y="260"/>
                    <a:pt x="209" y="256"/>
                    <a:pt x="203" y="256"/>
                  </a:cubicBezTo>
                  <a:close/>
                  <a:moveTo>
                    <a:pt x="203" y="42"/>
                  </a:moveTo>
                  <a:cubicBezTo>
                    <a:pt x="182" y="42"/>
                    <a:pt x="182" y="42"/>
                    <a:pt x="182" y="42"/>
                  </a:cubicBezTo>
                  <a:cubicBezTo>
                    <a:pt x="176" y="42"/>
                    <a:pt x="171" y="47"/>
                    <a:pt x="171" y="53"/>
                  </a:cubicBezTo>
                  <a:cubicBezTo>
                    <a:pt x="171" y="59"/>
                    <a:pt x="176" y="64"/>
                    <a:pt x="182" y="64"/>
                  </a:cubicBezTo>
                  <a:cubicBezTo>
                    <a:pt x="203" y="64"/>
                    <a:pt x="203" y="64"/>
                    <a:pt x="203" y="64"/>
                  </a:cubicBezTo>
                  <a:cubicBezTo>
                    <a:pt x="209" y="64"/>
                    <a:pt x="214" y="59"/>
                    <a:pt x="214" y="53"/>
                  </a:cubicBezTo>
                  <a:cubicBezTo>
                    <a:pt x="214" y="47"/>
                    <a:pt x="209" y="42"/>
                    <a:pt x="203" y="42"/>
                  </a:cubicBezTo>
                  <a:close/>
                  <a:moveTo>
                    <a:pt x="203" y="85"/>
                  </a:moveTo>
                  <a:cubicBezTo>
                    <a:pt x="182" y="85"/>
                    <a:pt x="182" y="85"/>
                    <a:pt x="182" y="85"/>
                  </a:cubicBezTo>
                  <a:cubicBezTo>
                    <a:pt x="176" y="85"/>
                    <a:pt x="171" y="90"/>
                    <a:pt x="171" y="96"/>
                  </a:cubicBezTo>
                  <a:cubicBezTo>
                    <a:pt x="171" y="102"/>
                    <a:pt x="176" y="106"/>
                    <a:pt x="182" y="106"/>
                  </a:cubicBezTo>
                  <a:cubicBezTo>
                    <a:pt x="203" y="106"/>
                    <a:pt x="203" y="106"/>
                    <a:pt x="203" y="106"/>
                  </a:cubicBezTo>
                  <a:cubicBezTo>
                    <a:pt x="209" y="106"/>
                    <a:pt x="214" y="102"/>
                    <a:pt x="214" y="96"/>
                  </a:cubicBezTo>
                  <a:cubicBezTo>
                    <a:pt x="214" y="90"/>
                    <a:pt x="209" y="85"/>
                    <a:pt x="203" y="85"/>
                  </a:cubicBezTo>
                  <a:close/>
                  <a:moveTo>
                    <a:pt x="203" y="128"/>
                  </a:moveTo>
                  <a:cubicBezTo>
                    <a:pt x="182" y="128"/>
                    <a:pt x="182" y="128"/>
                    <a:pt x="182" y="128"/>
                  </a:cubicBezTo>
                  <a:cubicBezTo>
                    <a:pt x="176" y="128"/>
                    <a:pt x="171" y="132"/>
                    <a:pt x="171" y="138"/>
                  </a:cubicBezTo>
                  <a:cubicBezTo>
                    <a:pt x="171" y="144"/>
                    <a:pt x="176" y="149"/>
                    <a:pt x="182" y="149"/>
                  </a:cubicBezTo>
                  <a:cubicBezTo>
                    <a:pt x="203" y="149"/>
                    <a:pt x="203" y="149"/>
                    <a:pt x="203" y="149"/>
                  </a:cubicBezTo>
                  <a:cubicBezTo>
                    <a:pt x="209" y="149"/>
                    <a:pt x="214" y="144"/>
                    <a:pt x="214" y="138"/>
                  </a:cubicBezTo>
                  <a:cubicBezTo>
                    <a:pt x="214" y="132"/>
                    <a:pt x="209" y="128"/>
                    <a:pt x="203" y="128"/>
                  </a:cubicBezTo>
                  <a:close/>
                  <a:moveTo>
                    <a:pt x="203" y="0"/>
                  </a:moveTo>
                  <a:cubicBezTo>
                    <a:pt x="182" y="0"/>
                    <a:pt x="182" y="0"/>
                    <a:pt x="182" y="0"/>
                  </a:cubicBezTo>
                  <a:cubicBezTo>
                    <a:pt x="176" y="0"/>
                    <a:pt x="171" y="4"/>
                    <a:pt x="171" y="10"/>
                  </a:cubicBezTo>
                  <a:cubicBezTo>
                    <a:pt x="171" y="16"/>
                    <a:pt x="176" y="21"/>
                    <a:pt x="182" y="21"/>
                  </a:cubicBezTo>
                  <a:cubicBezTo>
                    <a:pt x="203" y="21"/>
                    <a:pt x="203" y="21"/>
                    <a:pt x="203" y="21"/>
                  </a:cubicBezTo>
                  <a:cubicBezTo>
                    <a:pt x="209" y="21"/>
                    <a:pt x="214" y="16"/>
                    <a:pt x="214" y="10"/>
                  </a:cubicBezTo>
                  <a:cubicBezTo>
                    <a:pt x="214" y="4"/>
                    <a:pt x="209" y="0"/>
                    <a:pt x="203" y="0"/>
                  </a:cubicBezTo>
                  <a:close/>
                  <a:moveTo>
                    <a:pt x="288" y="170"/>
                  </a:moveTo>
                  <a:cubicBezTo>
                    <a:pt x="267" y="170"/>
                    <a:pt x="267" y="170"/>
                    <a:pt x="267" y="170"/>
                  </a:cubicBezTo>
                  <a:cubicBezTo>
                    <a:pt x="261" y="170"/>
                    <a:pt x="256" y="175"/>
                    <a:pt x="256" y="181"/>
                  </a:cubicBezTo>
                  <a:cubicBezTo>
                    <a:pt x="256" y="187"/>
                    <a:pt x="261" y="192"/>
                    <a:pt x="267" y="192"/>
                  </a:cubicBezTo>
                  <a:cubicBezTo>
                    <a:pt x="288" y="192"/>
                    <a:pt x="288" y="192"/>
                    <a:pt x="288" y="192"/>
                  </a:cubicBezTo>
                  <a:cubicBezTo>
                    <a:pt x="294" y="192"/>
                    <a:pt x="299" y="187"/>
                    <a:pt x="299" y="181"/>
                  </a:cubicBezTo>
                  <a:cubicBezTo>
                    <a:pt x="299" y="175"/>
                    <a:pt x="294" y="170"/>
                    <a:pt x="288" y="170"/>
                  </a:cubicBezTo>
                  <a:close/>
                  <a:moveTo>
                    <a:pt x="288" y="213"/>
                  </a:moveTo>
                  <a:cubicBezTo>
                    <a:pt x="267" y="213"/>
                    <a:pt x="267" y="213"/>
                    <a:pt x="267" y="213"/>
                  </a:cubicBezTo>
                  <a:cubicBezTo>
                    <a:pt x="261" y="213"/>
                    <a:pt x="256" y="218"/>
                    <a:pt x="256" y="224"/>
                  </a:cubicBezTo>
                  <a:cubicBezTo>
                    <a:pt x="256" y="230"/>
                    <a:pt x="261" y="234"/>
                    <a:pt x="267" y="234"/>
                  </a:cubicBezTo>
                  <a:cubicBezTo>
                    <a:pt x="288" y="234"/>
                    <a:pt x="288" y="234"/>
                    <a:pt x="288" y="234"/>
                  </a:cubicBezTo>
                  <a:cubicBezTo>
                    <a:pt x="294" y="234"/>
                    <a:pt x="299" y="230"/>
                    <a:pt x="299" y="224"/>
                  </a:cubicBezTo>
                  <a:cubicBezTo>
                    <a:pt x="299" y="218"/>
                    <a:pt x="294" y="213"/>
                    <a:pt x="288" y="213"/>
                  </a:cubicBezTo>
                  <a:close/>
                  <a:moveTo>
                    <a:pt x="288" y="256"/>
                  </a:moveTo>
                  <a:cubicBezTo>
                    <a:pt x="267" y="256"/>
                    <a:pt x="267" y="256"/>
                    <a:pt x="267" y="256"/>
                  </a:cubicBezTo>
                  <a:cubicBezTo>
                    <a:pt x="261" y="256"/>
                    <a:pt x="256" y="260"/>
                    <a:pt x="256" y="266"/>
                  </a:cubicBezTo>
                  <a:cubicBezTo>
                    <a:pt x="256" y="272"/>
                    <a:pt x="261" y="277"/>
                    <a:pt x="267" y="277"/>
                  </a:cubicBezTo>
                  <a:cubicBezTo>
                    <a:pt x="288" y="277"/>
                    <a:pt x="288" y="277"/>
                    <a:pt x="288" y="277"/>
                  </a:cubicBezTo>
                  <a:cubicBezTo>
                    <a:pt x="294" y="277"/>
                    <a:pt x="299" y="272"/>
                    <a:pt x="299" y="266"/>
                  </a:cubicBezTo>
                  <a:cubicBezTo>
                    <a:pt x="299" y="260"/>
                    <a:pt x="294" y="256"/>
                    <a:pt x="288" y="256"/>
                  </a:cubicBezTo>
                  <a:close/>
                  <a:moveTo>
                    <a:pt x="267" y="106"/>
                  </a:moveTo>
                  <a:cubicBezTo>
                    <a:pt x="288" y="106"/>
                    <a:pt x="288" y="106"/>
                    <a:pt x="288" y="106"/>
                  </a:cubicBezTo>
                  <a:cubicBezTo>
                    <a:pt x="294" y="106"/>
                    <a:pt x="299" y="102"/>
                    <a:pt x="299" y="96"/>
                  </a:cubicBezTo>
                  <a:cubicBezTo>
                    <a:pt x="299" y="90"/>
                    <a:pt x="294" y="85"/>
                    <a:pt x="288" y="85"/>
                  </a:cubicBezTo>
                  <a:cubicBezTo>
                    <a:pt x="267" y="85"/>
                    <a:pt x="267" y="85"/>
                    <a:pt x="267" y="85"/>
                  </a:cubicBezTo>
                  <a:cubicBezTo>
                    <a:pt x="261" y="85"/>
                    <a:pt x="256" y="90"/>
                    <a:pt x="256" y="96"/>
                  </a:cubicBezTo>
                  <a:cubicBezTo>
                    <a:pt x="256" y="102"/>
                    <a:pt x="261" y="106"/>
                    <a:pt x="267" y="106"/>
                  </a:cubicBezTo>
                  <a:close/>
                  <a:moveTo>
                    <a:pt x="288" y="128"/>
                  </a:moveTo>
                  <a:cubicBezTo>
                    <a:pt x="267" y="128"/>
                    <a:pt x="267" y="128"/>
                    <a:pt x="267" y="128"/>
                  </a:cubicBezTo>
                  <a:cubicBezTo>
                    <a:pt x="261" y="128"/>
                    <a:pt x="256" y="132"/>
                    <a:pt x="256" y="138"/>
                  </a:cubicBezTo>
                  <a:cubicBezTo>
                    <a:pt x="256" y="144"/>
                    <a:pt x="261" y="149"/>
                    <a:pt x="267" y="149"/>
                  </a:cubicBezTo>
                  <a:cubicBezTo>
                    <a:pt x="288" y="149"/>
                    <a:pt x="288" y="149"/>
                    <a:pt x="288" y="149"/>
                  </a:cubicBezTo>
                  <a:cubicBezTo>
                    <a:pt x="294" y="149"/>
                    <a:pt x="299" y="144"/>
                    <a:pt x="299" y="138"/>
                  </a:cubicBezTo>
                  <a:cubicBezTo>
                    <a:pt x="299" y="132"/>
                    <a:pt x="294" y="128"/>
                    <a:pt x="288" y="12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 name="Freeform 95">
              <a:extLst>
                <a:ext uri="{FF2B5EF4-FFF2-40B4-BE49-F238E27FC236}">
                  <a16:creationId xmlns:a16="http://schemas.microsoft.com/office/drawing/2014/main" id="{C490456F-9A06-5643-B011-F1516BEDFD11}"/>
                </a:ext>
              </a:extLst>
            </p:cNvPr>
            <p:cNvSpPr>
              <a:spLocks noEditPoints="1"/>
            </p:cNvSpPr>
            <p:nvPr/>
          </p:nvSpPr>
          <p:spPr bwMode="auto">
            <a:xfrm>
              <a:off x="2962" y="22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7" name="Group 882">
            <a:extLst>
              <a:ext uri="{FF2B5EF4-FFF2-40B4-BE49-F238E27FC236}">
                <a16:creationId xmlns:a16="http://schemas.microsoft.com/office/drawing/2014/main" id="{4AFD8E56-A48B-0249-8879-6964899AD9AA}"/>
              </a:ext>
            </a:extLst>
          </p:cNvPr>
          <p:cNvGrpSpPr>
            <a:grpSpLocks noChangeAspect="1"/>
          </p:cNvGrpSpPr>
          <p:nvPr/>
        </p:nvGrpSpPr>
        <p:grpSpPr bwMode="auto">
          <a:xfrm>
            <a:off x="7549909" y="5869464"/>
            <a:ext cx="367982" cy="367982"/>
            <a:chOff x="4643" y="3798"/>
            <a:chExt cx="340" cy="340"/>
          </a:xfrm>
          <a:solidFill>
            <a:schemeClr val="accent3"/>
          </a:solidFill>
        </p:grpSpPr>
        <p:sp>
          <p:nvSpPr>
            <p:cNvPr id="98" name="Freeform 97">
              <a:extLst>
                <a:ext uri="{FF2B5EF4-FFF2-40B4-BE49-F238E27FC236}">
                  <a16:creationId xmlns:a16="http://schemas.microsoft.com/office/drawing/2014/main" id="{73CC5B30-9780-7C47-B157-F45943EE09A1}"/>
                </a:ext>
              </a:extLst>
            </p:cNvPr>
            <p:cNvSpPr>
              <a:spLocks/>
            </p:cNvSpPr>
            <p:nvPr/>
          </p:nvSpPr>
          <p:spPr bwMode="auto">
            <a:xfrm>
              <a:off x="4724" y="3916"/>
              <a:ext cx="52" cy="38"/>
            </a:xfrm>
            <a:custGeom>
              <a:avLst/>
              <a:gdLst>
                <a:gd name="T0" fmla="*/ 45 w 52"/>
                <a:gd name="T1" fmla="*/ 38 h 38"/>
                <a:gd name="T2" fmla="*/ 0 w 52"/>
                <a:gd name="T3" fmla="*/ 13 h 38"/>
                <a:gd name="T4" fmla="*/ 7 w 52"/>
                <a:gd name="T5" fmla="*/ 0 h 38"/>
                <a:gd name="T6" fmla="*/ 52 w 52"/>
                <a:gd name="T7" fmla="*/ 25 h 38"/>
                <a:gd name="T8" fmla="*/ 45 w 52"/>
                <a:gd name="T9" fmla="*/ 38 h 38"/>
              </a:gdLst>
              <a:ahLst/>
              <a:cxnLst>
                <a:cxn ang="0">
                  <a:pos x="T0" y="T1"/>
                </a:cxn>
                <a:cxn ang="0">
                  <a:pos x="T2" y="T3"/>
                </a:cxn>
                <a:cxn ang="0">
                  <a:pos x="T4" y="T5"/>
                </a:cxn>
                <a:cxn ang="0">
                  <a:pos x="T6" y="T7"/>
                </a:cxn>
                <a:cxn ang="0">
                  <a:pos x="T8" y="T9"/>
                </a:cxn>
              </a:cxnLst>
              <a:rect l="0" t="0" r="r" b="b"/>
              <a:pathLst>
                <a:path w="52" h="38">
                  <a:moveTo>
                    <a:pt x="45" y="38"/>
                  </a:moveTo>
                  <a:lnTo>
                    <a:pt x="0" y="13"/>
                  </a:lnTo>
                  <a:lnTo>
                    <a:pt x="7" y="0"/>
                  </a:lnTo>
                  <a:lnTo>
                    <a:pt x="52" y="25"/>
                  </a:lnTo>
                  <a:lnTo>
                    <a:pt x="45" y="3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98">
              <a:extLst>
                <a:ext uri="{FF2B5EF4-FFF2-40B4-BE49-F238E27FC236}">
                  <a16:creationId xmlns:a16="http://schemas.microsoft.com/office/drawing/2014/main" id="{27B45894-9C34-0840-A8B4-B1905FE4163A}"/>
                </a:ext>
              </a:extLst>
            </p:cNvPr>
            <p:cNvSpPr>
              <a:spLocks/>
            </p:cNvSpPr>
            <p:nvPr/>
          </p:nvSpPr>
          <p:spPr bwMode="auto">
            <a:xfrm>
              <a:off x="4761" y="3879"/>
              <a:ext cx="38" cy="52"/>
            </a:xfrm>
            <a:custGeom>
              <a:avLst/>
              <a:gdLst>
                <a:gd name="T0" fmla="*/ 25 w 38"/>
                <a:gd name="T1" fmla="*/ 52 h 52"/>
                <a:gd name="T2" fmla="*/ 0 w 38"/>
                <a:gd name="T3" fmla="*/ 7 h 52"/>
                <a:gd name="T4" fmla="*/ 13 w 38"/>
                <a:gd name="T5" fmla="*/ 0 h 52"/>
                <a:gd name="T6" fmla="*/ 38 w 38"/>
                <a:gd name="T7" fmla="*/ 45 h 52"/>
                <a:gd name="T8" fmla="*/ 25 w 38"/>
                <a:gd name="T9" fmla="*/ 52 h 52"/>
              </a:gdLst>
              <a:ahLst/>
              <a:cxnLst>
                <a:cxn ang="0">
                  <a:pos x="T0" y="T1"/>
                </a:cxn>
                <a:cxn ang="0">
                  <a:pos x="T2" y="T3"/>
                </a:cxn>
                <a:cxn ang="0">
                  <a:pos x="T4" y="T5"/>
                </a:cxn>
                <a:cxn ang="0">
                  <a:pos x="T6" y="T7"/>
                </a:cxn>
                <a:cxn ang="0">
                  <a:pos x="T8" y="T9"/>
                </a:cxn>
              </a:cxnLst>
              <a:rect l="0" t="0" r="r" b="b"/>
              <a:pathLst>
                <a:path w="38" h="52">
                  <a:moveTo>
                    <a:pt x="25" y="52"/>
                  </a:moveTo>
                  <a:lnTo>
                    <a:pt x="0" y="7"/>
                  </a:lnTo>
                  <a:lnTo>
                    <a:pt x="13" y="0"/>
                  </a:lnTo>
                  <a:lnTo>
                    <a:pt x="38" y="45"/>
                  </a:lnTo>
                  <a:lnTo>
                    <a:pt x="25" y="5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 name="Freeform 99">
              <a:extLst>
                <a:ext uri="{FF2B5EF4-FFF2-40B4-BE49-F238E27FC236}">
                  <a16:creationId xmlns:a16="http://schemas.microsoft.com/office/drawing/2014/main" id="{C68D27FA-EA44-464E-93CE-E977DD8F6BB3}"/>
                </a:ext>
              </a:extLst>
            </p:cNvPr>
            <p:cNvSpPr>
              <a:spLocks noEditPoints="1"/>
            </p:cNvSpPr>
            <p:nvPr/>
          </p:nvSpPr>
          <p:spPr bwMode="auto">
            <a:xfrm>
              <a:off x="4643" y="37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100">
              <a:extLst>
                <a:ext uri="{FF2B5EF4-FFF2-40B4-BE49-F238E27FC236}">
                  <a16:creationId xmlns:a16="http://schemas.microsoft.com/office/drawing/2014/main" id="{CB89CB5B-CAFA-484F-90F5-751F16BFBBA1}"/>
                </a:ext>
              </a:extLst>
            </p:cNvPr>
            <p:cNvSpPr>
              <a:spLocks noEditPoints="1"/>
            </p:cNvSpPr>
            <p:nvPr/>
          </p:nvSpPr>
          <p:spPr bwMode="auto">
            <a:xfrm>
              <a:off x="4707" y="3862"/>
              <a:ext cx="212" cy="212"/>
            </a:xfrm>
            <a:custGeom>
              <a:avLst/>
              <a:gdLst>
                <a:gd name="T0" fmla="*/ 160 w 320"/>
                <a:gd name="T1" fmla="*/ 0 h 320"/>
                <a:gd name="T2" fmla="*/ 0 w 320"/>
                <a:gd name="T3" fmla="*/ 160 h 320"/>
                <a:gd name="T4" fmla="*/ 160 w 320"/>
                <a:gd name="T5" fmla="*/ 320 h 320"/>
                <a:gd name="T6" fmla="*/ 320 w 320"/>
                <a:gd name="T7" fmla="*/ 160 h 320"/>
                <a:gd name="T8" fmla="*/ 258 w 320"/>
                <a:gd name="T9" fmla="*/ 62 h 320"/>
                <a:gd name="T10" fmla="*/ 287 w 320"/>
                <a:gd name="T11" fmla="*/ 215 h 320"/>
                <a:gd name="T12" fmla="*/ 234 w 320"/>
                <a:gd name="T13" fmla="*/ 160 h 320"/>
                <a:gd name="T14" fmla="*/ 160 w 320"/>
                <a:gd name="T15" fmla="*/ 85 h 320"/>
                <a:gd name="T16" fmla="*/ 105 w 320"/>
                <a:gd name="T17" fmla="*/ 32 h 320"/>
                <a:gd name="T18" fmla="*/ 258 w 320"/>
                <a:gd name="T19" fmla="*/ 62 h 320"/>
                <a:gd name="T20" fmla="*/ 160 w 320"/>
                <a:gd name="T21" fmla="*/ 213 h 320"/>
                <a:gd name="T22" fmla="*/ 106 w 320"/>
                <a:gd name="T23" fmla="*/ 160 h 320"/>
                <a:gd name="T24" fmla="*/ 160 w 320"/>
                <a:gd name="T25" fmla="*/ 106 h 320"/>
                <a:gd name="T26" fmla="*/ 213 w 320"/>
                <a:gd name="T27" fmla="*/ 160 h 320"/>
                <a:gd name="T28" fmla="*/ 62 w 320"/>
                <a:gd name="T29" fmla="*/ 62 h 320"/>
                <a:gd name="T30" fmla="*/ 117 w 320"/>
                <a:gd name="T31" fmla="*/ 99 h 320"/>
                <a:gd name="T32" fmla="*/ 99 w 320"/>
                <a:gd name="T33" fmla="*/ 117 h 320"/>
                <a:gd name="T34" fmla="*/ 62 w 320"/>
                <a:gd name="T35" fmla="*/ 62 h 320"/>
                <a:gd name="T36" fmla="*/ 21 w 320"/>
                <a:gd name="T37" fmla="*/ 160 h 320"/>
                <a:gd name="T38" fmla="*/ 89 w 320"/>
                <a:gd name="T39" fmla="*/ 136 h 320"/>
                <a:gd name="T40" fmla="*/ 107 w 320"/>
                <a:gd name="T41" fmla="*/ 212 h 320"/>
                <a:gd name="T42" fmla="*/ 183 w 320"/>
                <a:gd name="T43" fmla="*/ 230 h 320"/>
                <a:gd name="T44" fmla="*/ 160 w 320"/>
                <a:gd name="T45" fmla="*/ 298 h 320"/>
                <a:gd name="T46" fmla="*/ 258 w 320"/>
                <a:gd name="T47" fmla="*/ 258 h 320"/>
                <a:gd name="T48" fmla="*/ 202 w 320"/>
                <a:gd name="T49" fmla="*/ 221 h 320"/>
                <a:gd name="T50" fmla="*/ 221 w 320"/>
                <a:gd name="T51" fmla="*/ 202 h 320"/>
                <a:gd name="T52" fmla="*/ 258 w 320"/>
                <a:gd name="T53" fmla="*/ 258 h 320"/>
                <a:gd name="T54" fmla="*/ 137 w 320"/>
                <a:gd name="T55" fmla="*/ 137 h 320"/>
                <a:gd name="T56" fmla="*/ 160 w 320"/>
                <a:gd name="T57" fmla="*/ 192 h 320"/>
                <a:gd name="T58" fmla="*/ 182 w 320"/>
                <a:gd name="T59" fmla="*/ 137 h 320"/>
                <a:gd name="T60" fmla="*/ 152 w 320"/>
                <a:gd name="T61" fmla="*/ 167 h 320"/>
                <a:gd name="T62" fmla="*/ 160 w 320"/>
                <a:gd name="T63" fmla="*/ 149 h 320"/>
                <a:gd name="T64" fmla="*/ 167 w 320"/>
                <a:gd name="T65" fmla="*/ 15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0">
                  <a:moveTo>
                    <a:pt x="273" y="47"/>
                  </a:moveTo>
                  <a:cubicBezTo>
                    <a:pt x="243" y="16"/>
                    <a:pt x="202" y="0"/>
                    <a:pt x="160" y="0"/>
                  </a:cubicBezTo>
                  <a:cubicBezTo>
                    <a:pt x="117" y="0"/>
                    <a:pt x="77" y="16"/>
                    <a:pt x="47" y="47"/>
                  </a:cubicBezTo>
                  <a:cubicBezTo>
                    <a:pt x="16" y="77"/>
                    <a:pt x="0" y="117"/>
                    <a:pt x="0" y="160"/>
                  </a:cubicBezTo>
                  <a:cubicBezTo>
                    <a:pt x="0" y="202"/>
                    <a:pt x="16" y="243"/>
                    <a:pt x="47" y="273"/>
                  </a:cubicBezTo>
                  <a:cubicBezTo>
                    <a:pt x="77" y="303"/>
                    <a:pt x="117" y="320"/>
                    <a:pt x="160" y="320"/>
                  </a:cubicBezTo>
                  <a:cubicBezTo>
                    <a:pt x="202" y="320"/>
                    <a:pt x="243" y="303"/>
                    <a:pt x="273" y="273"/>
                  </a:cubicBezTo>
                  <a:cubicBezTo>
                    <a:pt x="303" y="243"/>
                    <a:pt x="320" y="202"/>
                    <a:pt x="320" y="160"/>
                  </a:cubicBezTo>
                  <a:cubicBezTo>
                    <a:pt x="320" y="117"/>
                    <a:pt x="303" y="77"/>
                    <a:pt x="273" y="47"/>
                  </a:cubicBezTo>
                  <a:close/>
                  <a:moveTo>
                    <a:pt x="258" y="62"/>
                  </a:moveTo>
                  <a:cubicBezTo>
                    <a:pt x="284" y="88"/>
                    <a:pt x="298" y="123"/>
                    <a:pt x="298" y="160"/>
                  </a:cubicBezTo>
                  <a:cubicBezTo>
                    <a:pt x="298" y="179"/>
                    <a:pt x="294" y="198"/>
                    <a:pt x="287" y="215"/>
                  </a:cubicBezTo>
                  <a:cubicBezTo>
                    <a:pt x="230" y="183"/>
                    <a:pt x="230" y="183"/>
                    <a:pt x="230" y="183"/>
                  </a:cubicBezTo>
                  <a:cubicBezTo>
                    <a:pt x="233" y="176"/>
                    <a:pt x="234" y="168"/>
                    <a:pt x="234" y="160"/>
                  </a:cubicBezTo>
                  <a:cubicBezTo>
                    <a:pt x="234" y="140"/>
                    <a:pt x="227" y="121"/>
                    <a:pt x="212" y="107"/>
                  </a:cubicBezTo>
                  <a:cubicBezTo>
                    <a:pt x="198" y="93"/>
                    <a:pt x="180" y="85"/>
                    <a:pt x="160" y="85"/>
                  </a:cubicBezTo>
                  <a:cubicBezTo>
                    <a:pt x="151" y="85"/>
                    <a:pt x="143" y="86"/>
                    <a:pt x="136" y="89"/>
                  </a:cubicBezTo>
                  <a:cubicBezTo>
                    <a:pt x="105" y="32"/>
                    <a:pt x="105" y="32"/>
                    <a:pt x="105" y="32"/>
                  </a:cubicBezTo>
                  <a:cubicBezTo>
                    <a:pt x="122" y="25"/>
                    <a:pt x="140" y="21"/>
                    <a:pt x="160" y="21"/>
                  </a:cubicBezTo>
                  <a:cubicBezTo>
                    <a:pt x="197" y="21"/>
                    <a:pt x="232" y="35"/>
                    <a:pt x="258" y="62"/>
                  </a:cubicBezTo>
                  <a:close/>
                  <a:moveTo>
                    <a:pt x="197" y="197"/>
                  </a:moveTo>
                  <a:cubicBezTo>
                    <a:pt x="187" y="207"/>
                    <a:pt x="174" y="213"/>
                    <a:pt x="160" y="213"/>
                  </a:cubicBezTo>
                  <a:cubicBezTo>
                    <a:pt x="145" y="213"/>
                    <a:pt x="132" y="207"/>
                    <a:pt x="122" y="197"/>
                  </a:cubicBezTo>
                  <a:cubicBezTo>
                    <a:pt x="112" y="187"/>
                    <a:pt x="106" y="174"/>
                    <a:pt x="106" y="160"/>
                  </a:cubicBezTo>
                  <a:cubicBezTo>
                    <a:pt x="106" y="145"/>
                    <a:pt x="112" y="132"/>
                    <a:pt x="122" y="122"/>
                  </a:cubicBezTo>
                  <a:cubicBezTo>
                    <a:pt x="132" y="112"/>
                    <a:pt x="145" y="106"/>
                    <a:pt x="160" y="106"/>
                  </a:cubicBezTo>
                  <a:cubicBezTo>
                    <a:pt x="174" y="106"/>
                    <a:pt x="187" y="112"/>
                    <a:pt x="197" y="122"/>
                  </a:cubicBezTo>
                  <a:cubicBezTo>
                    <a:pt x="207" y="132"/>
                    <a:pt x="213" y="145"/>
                    <a:pt x="213" y="160"/>
                  </a:cubicBezTo>
                  <a:cubicBezTo>
                    <a:pt x="213" y="174"/>
                    <a:pt x="207" y="187"/>
                    <a:pt x="197" y="197"/>
                  </a:cubicBezTo>
                  <a:close/>
                  <a:moveTo>
                    <a:pt x="62" y="62"/>
                  </a:moveTo>
                  <a:cubicBezTo>
                    <a:pt x="69" y="54"/>
                    <a:pt x="77" y="48"/>
                    <a:pt x="86" y="42"/>
                  </a:cubicBezTo>
                  <a:cubicBezTo>
                    <a:pt x="117" y="99"/>
                    <a:pt x="117" y="99"/>
                    <a:pt x="117" y="99"/>
                  </a:cubicBezTo>
                  <a:cubicBezTo>
                    <a:pt x="113" y="101"/>
                    <a:pt x="110" y="104"/>
                    <a:pt x="107" y="107"/>
                  </a:cubicBezTo>
                  <a:cubicBezTo>
                    <a:pt x="104" y="110"/>
                    <a:pt x="101" y="113"/>
                    <a:pt x="99" y="117"/>
                  </a:cubicBezTo>
                  <a:cubicBezTo>
                    <a:pt x="42" y="86"/>
                    <a:pt x="42" y="86"/>
                    <a:pt x="42" y="86"/>
                  </a:cubicBezTo>
                  <a:cubicBezTo>
                    <a:pt x="48" y="77"/>
                    <a:pt x="54" y="69"/>
                    <a:pt x="62" y="62"/>
                  </a:cubicBezTo>
                  <a:close/>
                  <a:moveTo>
                    <a:pt x="62" y="258"/>
                  </a:moveTo>
                  <a:cubicBezTo>
                    <a:pt x="35" y="232"/>
                    <a:pt x="21" y="197"/>
                    <a:pt x="21" y="160"/>
                  </a:cubicBezTo>
                  <a:cubicBezTo>
                    <a:pt x="21" y="140"/>
                    <a:pt x="25" y="122"/>
                    <a:pt x="32" y="105"/>
                  </a:cubicBezTo>
                  <a:cubicBezTo>
                    <a:pt x="89" y="136"/>
                    <a:pt x="89" y="136"/>
                    <a:pt x="89" y="136"/>
                  </a:cubicBezTo>
                  <a:cubicBezTo>
                    <a:pt x="86" y="143"/>
                    <a:pt x="85" y="151"/>
                    <a:pt x="85" y="160"/>
                  </a:cubicBezTo>
                  <a:cubicBezTo>
                    <a:pt x="85" y="180"/>
                    <a:pt x="93" y="198"/>
                    <a:pt x="107" y="212"/>
                  </a:cubicBezTo>
                  <a:cubicBezTo>
                    <a:pt x="121" y="227"/>
                    <a:pt x="140" y="234"/>
                    <a:pt x="160" y="234"/>
                  </a:cubicBezTo>
                  <a:cubicBezTo>
                    <a:pt x="168" y="234"/>
                    <a:pt x="176" y="233"/>
                    <a:pt x="183" y="230"/>
                  </a:cubicBezTo>
                  <a:cubicBezTo>
                    <a:pt x="215" y="287"/>
                    <a:pt x="215" y="287"/>
                    <a:pt x="215" y="287"/>
                  </a:cubicBezTo>
                  <a:cubicBezTo>
                    <a:pt x="198" y="294"/>
                    <a:pt x="179" y="298"/>
                    <a:pt x="160" y="298"/>
                  </a:cubicBezTo>
                  <a:cubicBezTo>
                    <a:pt x="123" y="298"/>
                    <a:pt x="88" y="284"/>
                    <a:pt x="62" y="258"/>
                  </a:cubicBezTo>
                  <a:close/>
                  <a:moveTo>
                    <a:pt x="258" y="258"/>
                  </a:moveTo>
                  <a:cubicBezTo>
                    <a:pt x="250" y="265"/>
                    <a:pt x="242" y="271"/>
                    <a:pt x="234" y="277"/>
                  </a:cubicBezTo>
                  <a:cubicBezTo>
                    <a:pt x="202" y="221"/>
                    <a:pt x="202" y="221"/>
                    <a:pt x="202" y="221"/>
                  </a:cubicBezTo>
                  <a:cubicBezTo>
                    <a:pt x="206" y="218"/>
                    <a:pt x="209" y="216"/>
                    <a:pt x="212" y="212"/>
                  </a:cubicBezTo>
                  <a:cubicBezTo>
                    <a:pt x="216" y="209"/>
                    <a:pt x="218" y="206"/>
                    <a:pt x="221" y="202"/>
                  </a:cubicBezTo>
                  <a:cubicBezTo>
                    <a:pt x="277" y="234"/>
                    <a:pt x="277" y="234"/>
                    <a:pt x="277" y="234"/>
                  </a:cubicBezTo>
                  <a:cubicBezTo>
                    <a:pt x="271" y="242"/>
                    <a:pt x="265" y="250"/>
                    <a:pt x="258" y="258"/>
                  </a:cubicBezTo>
                  <a:close/>
                  <a:moveTo>
                    <a:pt x="182" y="137"/>
                  </a:moveTo>
                  <a:cubicBezTo>
                    <a:pt x="170" y="125"/>
                    <a:pt x="149" y="125"/>
                    <a:pt x="137" y="137"/>
                  </a:cubicBezTo>
                  <a:cubicBezTo>
                    <a:pt x="125" y="150"/>
                    <a:pt x="125" y="170"/>
                    <a:pt x="137" y="182"/>
                  </a:cubicBezTo>
                  <a:cubicBezTo>
                    <a:pt x="143" y="188"/>
                    <a:pt x="151" y="192"/>
                    <a:pt x="160" y="192"/>
                  </a:cubicBezTo>
                  <a:cubicBezTo>
                    <a:pt x="168" y="192"/>
                    <a:pt x="176" y="188"/>
                    <a:pt x="182" y="182"/>
                  </a:cubicBezTo>
                  <a:cubicBezTo>
                    <a:pt x="195" y="170"/>
                    <a:pt x="195" y="149"/>
                    <a:pt x="182" y="137"/>
                  </a:cubicBezTo>
                  <a:close/>
                  <a:moveTo>
                    <a:pt x="167" y="167"/>
                  </a:moveTo>
                  <a:cubicBezTo>
                    <a:pt x="163" y="171"/>
                    <a:pt x="156" y="171"/>
                    <a:pt x="152" y="167"/>
                  </a:cubicBezTo>
                  <a:cubicBezTo>
                    <a:pt x="148" y="163"/>
                    <a:pt x="148" y="156"/>
                    <a:pt x="152" y="152"/>
                  </a:cubicBezTo>
                  <a:cubicBezTo>
                    <a:pt x="154" y="150"/>
                    <a:pt x="157" y="149"/>
                    <a:pt x="160" y="149"/>
                  </a:cubicBezTo>
                  <a:cubicBezTo>
                    <a:pt x="163" y="149"/>
                    <a:pt x="165" y="150"/>
                    <a:pt x="167" y="152"/>
                  </a:cubicBezTo>
                  <a:cubicBezTo>
                    <a:pt x="167" y="152"/>
                    <a:pt x="167" y="152"/>
                    <a:pt x="167" y="152"/>
                  </a:cubicBezTo>
                  <a:cubicBezTo>
                    <a:pt x="171" y="156"/>
                    <a:pt x="171" y="163"/>
                    <a:pt x="167" y="16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ustDataLst>
      <p:tags r:id="rId1"/>
    </p:custDataLst>
    <p:extLst>
      <p:ext uri="{BB962C8B-B14F-4D97-AF65-F5344CB8AC3E}">
        <p14:creationId xmlns:p14="http://schemas.microsoft.com/office/powerpoint/2010/main" val="3064691804"/>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90537" y="1048853"/>
            <a:ext cx="11210927" cy="4486784"/>
            <a:chOff x="1900237" y="1620838"/>
            <a:chExt cx="8391526" cy="3358417"/>
          </a:xfrm>
        </p:grpSpPr>
        <p:sp>
          <p:nvSpPr>
            <p:cNvPr id="184" name="Rounded Rectangle 183">
              <a:extLst>
                <a:ext uri="{FF2B5EF4-FFF2-40B4-BE49-F238E27FC236}">
                  <a16:creationId xmlns:a16="http://schemas.microsoft.com/office/drawing/2014/main" id="{CD3F05A7-04BB-E449-BD89-70B781E6058B}"/>
                </a:ext>
              </a:extLst>
            </p:cNvPr>
            <p:cNvSpPr/>
            <p:nvPr/>
          </p:nvSpPr>
          <p:spPr bwMode="gray">
            <a:xfrm>
              <a:off x="2128838" y="1620838"/>
              <a:ext cx="1188720" cy="1549400"/>
            </a:xfrm>
            <a:prstGeom prst="roundRect">
              <a:avLst>
                <a:gd name="adj" fmla="val 50000"/>
              </a:avLst>
            </a:prstGeom>
            <a:noFill/>
            <a:ln w="254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7" name="TextBox 186">
              <a:extLst>
                <a:ext uri="{FF2B5EF4-FFF2-40B4-BE49-F238E27FC236}">
                  <a16:creationId xmlns:a16="http://schemas.microsoft.com/office/drawing/2014/main" id="{B81D270A-4FFB-394A-AF1D-E90F1698B982}"/>
                </a:ext>
              </a:extLst>
            </p:cNvPr>
            <p:cNvSpPr txBox="1"/>
            <p:nvPr/>
          </p:nvSpPr>
          <p:spPr>
            <a:xfrm>
              <a:off x="1900238" y="2842069"/>
              <a:ext cx="1645920" cy="1283993"/>
            </a:xfrm>
            <a:prstGeom prst="rect">
              <a:avLst/>
            </a:prstGeom>
            <a:solidFill>
              <a:schemeClr val="bg1"/>
            </a:solidFill>
            <a:ln w="25400">
              <a:solidFill>
                <a:schemeClr val="tx1"/>
              </a:solidFill>
            </a:ln>
          </p:spPr>
          <p:txBody>
            <a:bodyPr wrap="square" lIns="45720" tIns="91440" rIns="45720" bIns="91440" rtlCol="0" anchor="t">
              <a:noAutofit/>
            </a:bodyPr>
            <a:lstStyle>
              <a:defPPr>
                <a:defRPr lang="en-US"/>
              </a:defPPr>
              <a:lvl1pPr>
                <a:buSzPct val="100000"/>
                <a:defRPr sz="1200">
                  <a:solidFill>
                    <a:srgbClr val="313131"/>
                  </a:solidFill>
                </a:defRPr>
              </a:lvl1pPr>
            </a:lstStyle>
            <a:p>
              <a:r>
                <a:rPr lang="en-US" dirty="0" err="1">
                  <a:solidFill>
                    <a:schemeClr val="tx1"/>
                  </a:solidFill>
                </a:rPr>
                <a:t>Duis</a:t>
              </a:r>
              <a:r>
                <a:rPr lang="en-US" dirty="0">
                  <a:solidFill>
                    <a:schemeClr val="tx1"/>
                  </a:solidFill>
                </a:rPr>
                <a:t> </a:t>
              </a:r>
              <a:r>
                <a:rPr lang="en-US" dirty="0" err="1">
                  <a:solidFill>
                    <a:schemeClr val="tx1"/>
                  </a:solidFill>
                </a:rPr>
                <a:t>aute</a:t>
              </a:r>
              <a:r>
                <a:rPr lang="en-US" dirty="0">
                  <a:solidFill>
                    <a:schemeClr val="tx1"/>
                  </a:solidFill>
                </a:rPr>
                <a:t> </a:t>
              </a:r>
              <a:r>
                <a:rPr lang="en-US" dirty="0" err="1">
                  <a:solidFill>
                    <a:schemeClr val="tx1"/>
                  </a:solidFill>
                </a:rPr>
                <a:t>irure</a:t>
              </a:r>
              <a:r>
                <a:rPr lang="en-US" dirty="0">
                  <a:solidFill>
                    <a:schemeClr val="tx1"/>
                  </a:solidFill>
                </a:rPr>
                <a:t> dolor in </a:t>
              </a:r>
              <a:r>
                <a:rPr lang="en-US" dirty="0" err="1">
                  <a:solidFill>
                    <a:schemeClr val="tx1"/>
                  </a:solidFill>
                </a:rPr>
                <a:t>reprehenderit</a:t>
              </a:r>
              <a:r>
                <a:rPr lang="en-US" dirty="0">
                  <a:solidFill>
                    <a:schemeClr val="tx1"/>
                  </a:solidFill>
                </a:rPr>
                <a:t> in </a:t>
              </a:r>
              <a:r>
                <a:rPr lang="en-US" dirty="0" err="1">
                  <a:solidFill>
                    <a:schemeClr val="tx1"/>
                  </a:solidFill>
                </a:rPr>
                <a:t>voluptate</a:t>
              </a:r>
              <a:r>
                <a:rPr lang="en-US" dirty="0">
                  <a:solidFill>
                    <a:schemeClr val="tx1"/>
                  </a:solidFill>
                </a:rPr>
                <a:t> </a:t>
              </a:r>
              <a:r>
                <a:rPr lang="en-US" dirty="0" err="1">
                  <a:solidFill>
                    <a:schemeClr val="tx1"/>
                  </a:solidFill>
                </a:rPr>
                <a:t>velit</a:t>
              </a:r>
              <a:r>
                <a:rPr lang="en-US" dirty="0">
                  <a:solidFill>
                    <a:schemeClr val="tx1"/>
                  </a:solidFill>
                </a:rPr>
                <a:t> </a:t>
              </a:r>
              <a:r>
                <a:rPr lang="en-US" dirty="0" err="1">
                  <a:solidFill>
                    <a:schemeClr val="tx1"/>
                  </a:solidFill>
                </a:rPr>
                <a:t>esse</a:t>
              </a:r>
              <a:r>
                <a:rPr lang="en-US" dirty="0">
                  <a:solidFill>
                    <a:schemeClr val="tx1"/>
                  </a:solidFill>
                </a:rPr>
                <a:t> </a:t>
              </a:r>
              <a:r>
                <a:rPr lang="en-US" dirty="0" err="1">
                  <a:solidFill>
                    <a:schemeClr val="tx1"/>
                  </a:solidFill>
                </a:rPr>
                <a:t>cillum</a:t>
              </a:r>
              <a:r>
                <a:rPr lang="en-US" dirty="0">
                  <a:solidFill>
                    <a:schemeClr val="tx1"/>
                  </a:solidFill>
                </a:rPr>
                <a:t> </a:t>
              </a:r>
              <a:r>
                <a:rPr lang="en-US" dirty="0" err="1">
                  <a:solidFill>
                    <a:schemeClr val="tx1"/>
                  </a:solidFill>
                </a:rPr>
                <a:t>dolore</a:t>
              </a:r>
              <a:r>
                <a:rPr lang="en-US" dirty="0">
                  <a:solidFill>
                    <a:schemeClr val="tx1"/>
                  </a:solidFill>
                </a:rPr>
                <a:t> </a:t>
              </a:r>
              <a:r>
                <a:rPr lang="en-US" dirty="0" err="1">
                  <a:solidFill>
                    <a:schemeClr val="tx1"/>
                  </a:solidFill>
                </a:rPr>
                <a:t>eu</a:t>
              </a:r>
              <a:r>
                <a:rPr lang="en-US" dirty="0">
                  <a:solidFill>
                    <a:schemeClr val="tx1"/>
                  </a:solidFill>
                </a:rPr>
                <a:t> </a:t>
              </a:r>
              <a:r>
                <a:rPr lang="en-US" dirty="0" err="1">
                  <a:solidFill>
                    <a:schemeClr val="tx1"/>
                  </a:solidFill>
                </a:rPr>
                <a:t>fugiat</a:t>
              </a:r>
              <a:r>
                <a:rPr lang="en-US" dirty="0">
                  <a:solidFill>
                    <a:schemeClr val="tx1"/>
                  </a:solidFill>
                </a:rPr>
                <a:t> </a:t>
              </a:r>
              <a:r>
                <a:rPr lang="en-US" dirty="0" err="1">
                  <a:solidFill>
                    <a:schemeClr val="tx1"/>
                  </a:solidFill>
                </a:rPr>
                <a:t>nulla</a:t>
              </a:r>
              <a:r>
                <a:rPr lang="en-US" dirty="0">
                  <a:solidFill>
                    <a:schemeClr val="tx1"/>
                  </a:solidFill>
                </a:rPr>
                <a:t> </a:t>
              </a:r>
              <a:r>
                <a:rPr lang="en-US" dirty="0" err="1">
                  <a:solidFill>
                    <a:schemeClr val="tx1"/>
                  </a:solidFill>
                </a:rPr>
                <a:t>pariatur</a:t>
              </a:r>
              <a:r>
                <a:rPr lang="en-US" dirty="0">
                  <a:solidFill>
                    <a:schemeClr val="tx1"/>
                  </a:solidFill>
                </a:rPr>
                <a:t>. </a:t>
              </a:r>
              <a:r>
                <a:rPr lang="en-US" dirty="0" err="1">
                  <a:solidFill>
                    <a:schemeClr val="tx1"/>
                  </a:solidFill>
                </a:rPr>
                <a:t>Excepteur</a:t>
              </a:r>
              <a:r>
                <a:rPr lang="en-US" dirty="0">
                  <a:solidFill>
                    <a:schemeClr val="tx1"/>
                  </a:solidFill>
                </a:rPr>
                <a:t> </a:t>
              </a:r>
              <a:r>
                <a:rPr lang="en-US" dirty="0" err="1">
                  <a:solidFill>
                    <a:schemeClr val="tx1"/>
                  </a:solidFill>
                </a:rPr>
                <a:t>sint</a:t>
              </a:r>
              <a:r>
                <a:rPr lang="en-US" dirty="0">
                  <a:solidFill>
                    <a:schemeClr val="tx1"/>
                  </a:solidFill>
                </a:rPr>
                <a:t> </a:t>
              </a:r>
              <a:r>
                <a:rPr lang="en-US" dirty="0" err="1">
                  <a:solidFill>
                    <a:schemeClr val="tx1"/>
                  </a:solidFill>
                </a:rPr>
                <a:t>occaecat</a:t>
              </a:r>
              <a:r>
                <a:rPr lang="en-US" dirty="0">
                  <a:solidFill>
                    <a:schemeClr val="tx1"/>
                  </a:solidFill>
                </a:rPr>
                <a:t> </a:t>
              </a:r>
              <a:r>
                <a:rPr lang="en-US" dirty="0" err="1">
                  <a:solidFill>
                    <a:schemeClr val="tx1"/>
                  </a:solidFill>
                </a:rPr>
                <a:t>cupidatat</a:t>
              </a:r>
              <a:r>
                <a:rPr lang="en-US" dirty="0">
                  <a:solidFill>
                    <a:schemeClr val="tx1"/>
                  </a:solidFill>
                </a:rPr>
                <a:t> non </a:t>
              </a:r>
              <a:r>
                <a:rPr lang="en-US" dirty="0" err="1">
                  <a:solidFill>
                    <a:schemeClr val="tx1"/>
                  </a:solidFill>
                </a:rPr>
                <a:t>proident</a:t>
              </a:r>
              <a:r>
                <a:rPr lang="en-US" dirty="0">
                  <a:solidFill>
                    <a:schemeClr val="tx1"/>
                  </a:solidFill>
                </a:rPr>
                <a:t>, </a:t>
              </a:r>
              <a:r>
                <a:rPr lang="en-US" dirty="0" err="1">
                  <a:solidFill>
                    <a:schemeClr val="tx1"/>
                  </a:solidFill>
                </a:rPr>
                <a:t>sunt</a:t>
              </a:r>
              <a:r>
                <a:rPr lang="en-US" dirty="0">
                  <a:solidFill>
                    <a:schemeClr val="tx1"/>
                  </a:solidFill>
                </a:rPr>
                <a:t> in culpa qui </a:t>
              </a:r>
              <a:r>
                <a:rPr lang="en-US" dirty="0" err="1">
                  <a:solidFill>
                    <a:schemeClr val="tx1"/>
                  </a:solidFill>
                </a:rPr>
                <a:t>officia</a:t>
              </a:r>
              <a:r>
                <a:rPr lang="en-US" dirty="0">
                  <a:solidFill>
                    <a:schemeClr val="tx1"/>
                  </a:solidFill>
                </a:rPr>
                <a:t> </a:t>
              </a:r>
              <a:r>
                <a:rPr lang="en-US" dirty="0" err="1">
                  <a:solidFill>
                    <a:schemeClr val="tx1"/>
                  </a:solidFill>
                </a:rPr>
                <a:t>deserunt</a:t>
              </a:r>
              <a:r>
                <a:rPr lang="en-US" dirty="0">
                  <a:solidFill>
                    <a:schemeClr val="tx1"/>
                  </a:solidFill>
                </a:rPr>
                <a:t> </a:t>
              </a:r>
              <a:r>
                <a:rPr lang="en-US" dirty="0" err="1">
                  <a:solidFill>
                    <a:schemeClr val="tx1"/>
                  </a:solidFill>
                </a:rPr>
                <a:t>mollit</a:t>
              </a:r>
              <a:r>
                <a:rPr lang="en-US" dirty="0">
                  <a:solidFill>
                    <a:schemeClr val="tx1"/>
                  </a:solidFill>
                </a:rPr>
                <a:t> </a:t>
              </a:r>
              <a:r>
                <a:rPr lang="en-US" dirty="0" err="1">
                  <a:solidFill>
                    <a:schemeClr val="tx1"/>
                  </a:solidFill>
                </a:rPr>
                <a:t>anim</a:t>
              </a:r>
              <a:r>
                <a:rPr lang="en-US" dirty="0">
                  <a:solidFill>
                    <a:schemeClr val="tx1"/>
                  </a:solidFill>
                </a:rPr>
                <a:t> id </a:t>
              </a:r>
              <a:r>
                <a:rPr lang="en-US" dirty="0" err="1">
                  <a:solidFill>
                    <a:schemeClr val="tx1"/>
                  </a:solidFill>
                </a:rPr>
                <a:t>est</a:t>
              </a:r>
              <a:r>
                <a:rPr lang="en-US" dirty="0">
                  <a:solidFill>
                    <a:schemeClr val="tx1"/>
                  </a:solidFill>
                </a:rPr>
                <a:t> </a:t>
              </a:r>
              <a:r>
                <a:rPr lang="en-US" dirty="0" err="1">
                  <a:solidFill>
                    <a:schemeClr val="tx1"/>
                  </a:solidFill>
                </a:rPr>
                <a:t>laborum</a:t>
              </a:r>
              <a:r>
                <a:rPr lang="en-US" dirty="0">
                  <a:solidFill>
                    <a:schemeClr val="tx1"/>
                  </a:solidFill>
                </a:rPr>
                <a:t>.</a:t>
              </a:r>
            </a:p>
          </p:txBody>
        </p:sp>
        <p:sp>
          <p:nvSpPr>
            <p:cNvPr id="192" name="Text Box 10">
              <a:extLst>
                <a:ext uri="{FF2B5EF4-FFF2-40B4-BE49-F238E27FC236}">
                  <a16:creationId xmlns:a16="http://schemas.microsoft.com/office/drawing/2014/main" id="{303667FF-12C5-E44B-9AD4-6013A2C1C25E}"/>
                </a:ext>
              </a:extLst>
            </p:cNvPr>
            <p:cNvSpPr txBox="1">
              <a:spLocks noChangeArrowheads="1"/>
            </p:cNvSpPr>
            <p:nvPr/>
          </p:nvSpPr>
          <p:spPr bwMode="auto">
            <a:xfrm>
              <a:off x="1900237" y="2384870"/>
              <a:ext cx="1645920" cy="457200"/>
            </a:xfrm>
            <a:prstGeom prst="round2SameRect">
              <a:avLst>
                <a:gd name="adj1" fmla="val 0"/>
                <a:gd name="adj2" fmla="val 0"/>
              </a:avLst>
            </a:prstGeom>
            <a:solidFill>
              <a:schemeClr val="accent1"/>
            </a:solidFill>
            <a:ln w="25400" algn="ctr">
              <a:solidFill>
                <a:schemeClr val="tx1"/>
              </a:solidFill>
              <a:miter lim="800000"/>
              <a:headEnd/>
              <a:tailEnd type="none" w="sm" len="med"/>
            </a:ln>
          </p:spPr>
          <p:txBody>
            <a:bodyPr lIns="45720" tIns="45720" rIns="45720" bIns="45720" anchor="ctr" anchorCtr="0"/>
            <a:lstStyle/>
            <a:p>
              <a:pPr algn="ctr" defTabSz="957263"/>
              <a:r>
                <a:rPr lang="en-US" sz="1200" b="1" cap="all" dirty="0" err="1">
                  <a:cs typeface="Arial" pitchFamily="34" charset="0"/>
                </a:rPr>
                <a:t>Duis</a:t>
              </a:r>
              <a:r>
                <a:rPr lang="en-US" sz="1200" b="1" cap="all" dirty="0">
                  <a:cs typeface="Arial" pitchFamily="34" charset="0"/>
                </a:rPr>
                <a:t> </a:t>
              </a:r>
              <a:r>
                <a:rPr lang="en-US" sz="1200" b="1" cap="all" dirty="0" err="1">
                  <a:cs typeface="Arial" pitchFamily="34" charset="0"/>
                </a:rPr>
                <a:t>aute</a:t>
              </a:r>
              <a:r>
                <a:rPr lang="en-US" sz="1200" b="1" cap="all" dirty="0">
                  <a:cs typeface="Arial" pitchFamily="34" charset="0"/>
                </a:rPr>
                <a:t> </a:t>
              </a:r>
              <a:r>
                <a:rPr lang="en-US" sz="1200" b="1" cap="all" dirty="0" err="1">
                  <a:cs typeface="Arial" pitchFamily="34" charset="0"/>
                </a:rPr>
                <a:t>irure</a:t>
              </a:r>
              <a:endParaRPr lang="en-US" sz="1200" b="1" cap="all" dirty="0">
                <a:cs typeface="Arial" pitchFamily="34" charset="0"/>
              </a:endParaRPr>
            </a:p>
          </p:txBody>
        </p:sp>
        <p:sp>
          <p:nvSpPr>
            <p:cNvPr id="180" name="Rectangle 179">
              <a:extLst>
                <a:ext uri="{FF2B5EF4-FFF2-40B4-BE49-F238E27FC236}">
                  <a16:creationId xmlns:a16="http://schemas.microsoft.com/office/drawing/2014/main" id="{84F3BA89-C3DB-E74A-9836-7C61312E22A4}"/>
                </a:ext>
              </a:extLst>
            </p:cNvPr>
            <p:cNvSpPr/>
            <p:nvPr/>
          </p:nvSpPr>
          <p:spPr>
            <a:xfrm>
              <a:off x="4095182" y="4841030"/>
              <a:ext cx="631083" cy="138225"/>
            </a:xfrm>
            <a:prstGeom prst="rect">
              <a:avLst/>
            </a:prstGeom>
            <a:noFill/>
          </p:spPr>
          <p:txBody>
            <a:bodyPr wrap="none" lIns="0" tIns="0" rIns="0" bIns="0" rtlCol="0">
              <a:spAutoFit/>
            </a:bodyPr>
            <a:lstStyle/>
            <a:p>
              <a:pPr algn="ctr">
                <a:buSzPct val="100000"/>
              </a:pPr>
              <a:r>
                <a:rPr lang="en-US" sz="1200" dirty="0" err="1"/>
                <a:t>Duis</a:t>
              </a:r>
              <a:r>
                <a:rPr lang="en-US" sz="1200" dirty="0"/>
                <a:t> </a:t>
              </a:r>
              <a:r>
                <a:rPr lang="en-US" sz="1200" dirty="0" err="1"/>
                <a:t>aute</a:t>
              </a:r>
              <a:r>
                <a:rPr lang="en-US" sz="1200" dirty="0"/>
                <a:t> </a:t>
              </a:r>
              <a:r>
                <a:rPr lang="en-US" sz="1200" dirty="0" err="1"/>
                <a:t>irur</a:t>
              </a:r>
              <a:endParaRPr lang="en-US" sz="1200" dirty="0"/>
            </a:p>
          </p:txBody>
        </p:sp>
        <p:sp>
          <p:nvSpPr>
            <p:cNvPr id="181" name="Rectangle 180">
              <a:extLst>
                <a:ext uri="{FF2B5EF4-FFF2-40B4-BE49-F238E27FC236}">
                  <a16:creationId xmlns:a16="http://schemas.microsoft.com/office/drawing/2014/main" id="{4EEB7D3F-13BD-2646-A557-3F7CA12C79BE}"/>
                </a:ext>
              </a:extLst>
            </p:cNvPr>
            <p:cNvSpPr/>
            <p:nvPr/>
          </p:nvSpPr>
          <p:spPr>
            <a:xfrm>
              <a:off x="8312574" y="4841030"/>
              <a:ext cx="631083" cy="138225"/>
            </a:xfrm>
            <a:prstGeom prst="rect">
              <a:avLst/>
            </a:prstGeom>
            <a:noFill/>
          </p:spPr>
          <p:txBody>
            <a:bodyPr wrap="none" lIns="0" tIns="0" rIns="0" bIns="0" rtlCol="0">
              <a:spAutoFit/>
            </a:bodyPr>
            <a:lstStyle/>
            <a:p>
              <a:pPr algn="ctr">
                <a:buSzPct val="100000"/>
              </a:pPr>
              <a:r>
                <a:rPr lang="en-US" sz="1200" dirty="0" err="1">
                  <a:solidFill>
                    <a:schemeClr val="tx2"/>
                  </a:solidFill>
                </a:rPr>
                <a:t>Duis</a:t>
              </a:r>
              <a:r>
                <a:rPr lang="en-US" sz="1200" dirty="0">
                  <a:solidFill>
                    <a:schemeClr val="tx2"/>
                  </a:solidFill>
                </a:rPr>
                <a:t> </a:t>
              </a:r>
              <a:r>
                <a:rPr lang="en-US" sz="1200" dirty="0" err="1">
                  <a:solidFill>
                    <a:schemeClr val="tx2"/>
                  </a:solidFill>
                </a:rPr>
                <a:t>aute</a:t>
              </a:r>
              <a:r>
                <a:rPr lang="en-US" sz="1200" dirty="0">
                  <a:solidFill>
                    <a:schemeClr val="tx2"/>
                  </a:solidFill>
                </a:rPr>
                <a:t> </a:t>
              </a:r>
              <a:r>
                <a:rPr lang="en-US" sz="1200" dirty="0" err="1">
                  <a:solidFill>
                    <a:schemeClr val="tx2"/>
                  </a:solidFill>
                </a:rPr>
                <a:t>irur</a:t>
              </a:r>
              <a:endParaRPr lang="en-US" sz="1200" dirty="0">
                <a:solidFill>
                  <a:schemeClr val="tx2"/>
                </a:solidFill>
              </a:endParaRPr>
            </a:p>
          </p:txBody>
        </p:sp>
        <p:sp>
          <p:nvSpPr>
            <p:cNvPr id="182" name="Rounded Rectangle 181">
              <a:extLst>
                <a:ext uri="{FF2B5EF4-FFF2-40B4-BE49-F238E27FC236}">
                  <a16:creationId xmlns:a16="http://schemas.microsoft.com/office/drawing/2014/main" id="{B4E0FE5E-F306-8942-9A76-834452B13047}"/>
                </a:ext>
              </a:extLst>
            </p:cNvPr>
            <p:cNvSpPr/>
            <p:nvPr/>
          </p:nvSpPr>
          <p:spPr bwMode="gray">
            <a:xfrm>
              <a:off x="3815239" y="1620838"/>
              <a:ext cx="1188720" cy="1549400"/>
            </a:xfrm>
            <a:prstGeom prst="roundRect">
              <a:avLst>
                <a:gd name="adj" fmla="val 50000"/>
              </a:avLst>
            </a:prstGeom>
            <a:noFill/>
            <a:ln w="254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3" name="Rounded Rectangle 182">
              <a:extLst>
                <a:ext uri="{FF2B5EF4-FFF2-40B4-BE49-F238E27FC236}">
                  <a16:creationId xmlns:a16="http://schemas.microsoft.com/office/drawing/2014/main" id="{F3E5DDAC-9D56-9141-A4D8-946F139E2E35}"/>
                </a:ext>
              </a:extLst>
            </p:cNvPr>
            <p:cNvSpPr/>
            <p:nvPr/>
          </p:nvSpPr>
          <p:spPr bwMode="gray">
            <a:xfrm>
              <a:off x="5501640" y="1620838"/>
              <a:ext cx="1188720" cy="1549400"/>
            </a:xfrm>
            <a:prstGeom prst="roundRect">
              <a:avLst>
                <a:gd name="adj" fmla="val 50000"/>
              </a:avLst>
            </a:prstGeom>
            <a:noFill/>
            <a:ln w="254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5" name="Rounded Rectangle 184">
              <a:extLst>
                <a:ext uri="{FF2B5EF4-FFF2-40B4-BE49-F238E27FC236}">
                  <a16:creationId xmlns:a16="http://schemas.microsoft.com/office/drawing/2014/main" id="{76E64978-F3EF-7441-B740-920D5C471D9B}"/>
                </a:ext>
              </a:extLst>
            </p:cNvPr>
            <p:cNvSpPr/>
            <p:nvPr/>
          </p:nvSpPr>
          <p:spPr bwMode="gray">
            <a:xfrm>
              <a:off x="7188041" y="1620838"/>
              <a:ext cx="1188720" cy="1549400"/>
            </a:xfrm>
            <a:prstGeom prst="roundRect">
              <a:avLst>
                <a:gd name="adj" fmla="val 50000"/>
              </a:avLst>
            </a:prstGeom>
            <a:noFill/>
            <a:ln w="254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6" name="Rounded Rectangle 185">
              <a:extLst>
                <a:ext uri="{FF2B5EF4-FFF2-40B4-BE49-F238E27FC236}">
                  <a16:creationId xmlns:a16="http://schemas.microsoft.com/office/drawing/2014/main" id="{1320A5C8-AFB1-FB4C-8AAB-ACE618B24651}"/>
                </a:ext>
              </a:extLst>
            </p:cNvPr>
            <p:cNvSpPr/>
            <p:nvPr/>
          </p:nvSpPr>
          <p:spPr bwMode="gray">
            <a:xfrm>
              <a:off x="8874443" y="1644728"/>
              <a:ext cx="1188720" cy="1549400"/>
            </a:xfrm>
            <a:prstGeom prst="roundRect">
              <a:avLst>
                <a:gd name="adj" fmla="val 50000"/>
              </a:avLst>
            </a:prstGeom>
            <a:noFill/>
            <a:ln w="254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8" name="TextBox 187">
              <a:extLst>
                <a:ext uri="{FF2B5EF4-FFF2-40B4-BE49-F238E27FC236}">
                  <a16:creationId xmlns:a16="http://schemas.microsoft.com/office/drawing/2014/main" id="{B0C3BA56-9198-1C4D-8FA7-30210149F3D5}"/>
                </a:ext>
              </a:extLst>
            </p:cNvPr>
            <p:cNvSpPr txBox="1"/>
            <p:nvPr/>
          </p:nvSpPr>
          <p:spPr>
            <a:xfrm>
              <a:off x="3586639" y="2842066"/>
              <a:ext cx="1645920" cy="1283993"/>
            </a:xfrm>
            <a:prstGeom prst="rect">
              <a:avLst/>
            </a:prstGeom>
            <a:solidFill>
              <a:schemeClr val="bg1"/>
            </a:solidFill>
            <a:ln w="25400">
              <a:solidFill>
                <a:schemeClr val="tx1"/>
              </a:solidFill>
            </a:ln>
          </p:spPr>
          <p:txBody>
            <a:bodyPr wrap="square" lIns="45720" tIns="91440" rIns="45720" bIns="91440" rtlCol="0">
              <a:noAutofit/>
            </a:bodyPr>
            <a:lstStyle>
              <a:defPPr>
                <a:defRPr lang="en-US"/>
              </a:defPPr>
              <a:lvl1pPr>
                <a:buSzPct val="100000"/>
                <a:defRPr sz="1200">
                  <a:solidFill>
                    <a:srgbClr val="313131"/>
                  </a:solidFill>
                </a:defRPr>
              </a:lvl1pPr>
            </a:lstStyle>
            <a:p>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89" name="TextBox 188">
              <a:extLst>
                <a:ext uri="{FF2B5EF4-FFF2-40B4-BE49-F238E27FC236}">
                  <a16:creationId xmlns:a16="http://schemas.microsoft.com/office/drawing/2014/main" id="{0BEEA65A-5462-0647-BE0E-AFA4F4CC065C}"/>
                </a:ext>
              </a:extLst>
            </p:cNvPr>
            <p:cNvSpPr txBox="1"/>
            <p:nvPr/>
          </p:nvSpPr>
          <p:spPr>
            <a:xfrm>
              <a:off x="5273040" y="2842066"/>
              <a:ext cx="1645920" cy="1283994"/>
            </a:xfrm>
            <a:prstGeom prst="rect">
              <a:avLst/>
            </a:prstGeom>
            <a:solidFill>
              <a:schemeClr val="bg1"/>
            </a:solidFill>
            <a:ln w="25400">
              <a:solidFill>
                <a:schemeClr val="tx1"/>
              </a:solidFill>
            </a:ln>
          </p:spPr>
          <p:txBody>
            <a:bodyPr wrap="square" lIns="45720" tIns="91440" rIns="45720" bIns="91440" rtlCol="0">
              <a:noAutofit/>
            </a:bodyPr>
            <a:lstStyle>
              <a:defPPr>
                <a:defRPr lang="en-US"/>
              </a:defPPr>
              <a:lvl1pPr>
                <a:buSzPct val="100000"/>
                <a:defRPr sz="1200">
                  <a:solidFill>
                    <a:srgbClr val="313131"/>
                  </a:solidFill>
                </a:defRPr>
              </a:lvl1pPr>
            </a:lstStyle>
            <a:p>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90" name="TextBox 189">
              <a:extLst>
                <a:ext uri="{FF2B5EF4-FFF2-40B4-BE49-F238E27FC236}">
                  <a16:creationId xmlns:a16="http://schemas.microsoft.com/office/drawing/2014/main" id="{1CA10FE1-1A20-3B44-9ECA-011D822FB83C}"/>
                </a:ext>
              </a:extLst>
            </p:cNvPr>
            <p:cNvSpPr txBox="1"/>
            <p:nvPr/>
          </p:nvSpPr>
          <p:spPr>
            <a:xfrm>
              <a:off x="6959441" y="2842065"/>
              <a:ext cx="1645920" cy="1283997"/>
            </a:xfrm>
            <a:prstGeom prst="rect">
              <a:avLst/>
            </a:prstGeom>
            <a:solidFill>
              <a:schemeClr val="bg1"/>
            </a:solidFill>
            <a:ln w="25400">
              <a:solidFill>
                <a:schemeClr val="tx1"/>
              </a:solidFill>
            </a:ln>
          </p:spPr>
          <p:txBody>
            <a:bodyPr wrap="square" lIns="45720" tIns="91440" rIns="45720" bIns="91440" rtlCol="0">
              <a:noAutofit/>
            </a:bodyPr>
            <a:lstStyle>
              <a:defPPr>
                <a:defRPr lang="en-US"/>
              </a:defPPr>
              <a:lvl1pPr>
                <a:buSzPct val="100000"/>
                <a:defRPr sz="1200">
                  <a:solidFill>
                    <a:srgbClr val="313131"/>
                  </a:solidFill>
                </a:defRPr>
              </a:lvl1pPr>
            </a:lstStyle>
            <a:p>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91" name="TextBox 190">
              <a:extLst>
                <a:ext uri="{FF2B5EF4-FFF2-40B4-BE49-F238E27FC236}">
                  <a16:creationId xmlns:a16="http://schemas.microsoft.com/office/drawing/2014/main" id="{C55D757A-01A9-BF4A-A444-89CBC895D34D}"/>
                </a:ext>
              </a:extLst>
            </p:cNvPr>
            <p:cNvSpPr txBox="1"/>
            <p:nvPr/>
          </p:nvSpPr>
          <p:spPr>
            <a:xfrm>
              <a:off x="8645843" y="2842065"/>
              <a:ext cx="1645920" cy="1283997"/>
            </a:xfrm>
            <a:prstGeom prst="rect">
              <a:avLst/>
            </a:prstGeom>
            <a:solidFill>
              <a:schemeClr val="bg1"/>
            </a:solidFill>
            <a:ln w="25400">
              <a:solidFill>
                <a:schemeClr val="tx1"/>
              </a:solidFill>
            </a:ln>
          </p:spPr>
          <p:txBody>
            <a:bodyPr wrap="square" lIns="45720" tIns="91440" rIns="45720" bIns="91440" rtlCol="0">
              <a:noAutofit/>
            </a:bodyPr>
            <a:lstStyle>
              <a:defPPr>
                <a:defRPr lang="en-US"/>
              </a:defPPr>
              <a:lvl1pPr>
                <a:buSzPct val="100000"/>
                <a:defRPr sz="1200">
                  <a:solidFill>
                    <a:srgbClr val="313131"/>
                  </a:solidFill>
                </a:defRPr>
              </a:lvl1pPr>
            </a:lstStyle>
            <a:p>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93" name="Text Box 10">
              <a:extLst>
                <a:ext uri="{FF2B5EF4-FFF2-40B4-BE49-F238E27FC236}">
                  <a16:creationId xmlns:a16="http://schemas.microsoft.com/office/drawing/2014/main" id="{3B5A5C07-7C19-634F-9632-B1819599BA9F}"/>
                </a:ext>
              </a:extLst>
            </p:cNvPr>
            <p:cNvSpPr txBox="1">
              <a:spLocks noChangeArrowheads="1"/>
            </p:cNvSpPr>
            <p:nvPr/>
          </p:nvSpPr>
          <p:spPr bwMode="auto">
            <a:xfrm>
              <a:off x="3586639" y="2384870"/>
              <a:ext cx="1645920" cy="457200"/>
            </a:xfrm>
            <a:prstGeom prst="round2SameRect">
              <a:avLst>
                <a:gd name="adj1" fmla="val 0"/>
                <a:gd name="adj2" fmla="val 0"/>
              </a:avLst>
            </a:prstGeom>
            <a:solidFill>
              <a:schemeClr val="accent3"/>
            </a:solidFill>
            <a:ln w="25400" algn="ctr">
              <a:solidFill>
                <a:schemeClr val="tx1"/>
              </a:solidFill>
              <a:miter lim="800000"/>
              <a:headEnd/>
              <a:tailEnd type="none" w="sm" len="med"/>
            </a:ln>
          </p:spPr>
          <p:txBody>
            <a:bodyPr lIns="45720" tIns="45720" rIns="45720" bIns="45720" anchor="ctr" anchorCtr="0"/>
            <a:lstStyle/>
            <a:p>
              <a:pPr algn="ctr" defTabSz="957263"/>
              <a:r>
                <a:rPr lang="en-US" sz="1200" b="1" cap="all" dirty="0" err="1">
                  <a:cs typeface="Arial" pitchFamily="34" charset="0"/>
                </a:rPr>
                <a:t>Duis</a:t>
              </a:r>
              <a:r>
                <a:rPr lang="en-US" sz="1200" b="1" cap="all" dirty="0">
                  <a:cs typeface="Arial" pitchFamily="34" charset="0"/>
                </a:rPr>
                <a:t> </a:t>
              </a:r>
              <a:r>
                <a:rPr lang="en-US" sz="1200" b="1" cap="all" dirty="0" err="1">
                  <a:cs typeface="Arial" pitchFamily="34" charset="0"/>
                </a:rPr>
                <a:t>aute</a:t>
              </a:r>
              <a:r>
                <a:rPr lang="en-US" sz="1200" b="1" cap="all" dirty="0">
                  <a:cs typeface="Arial" pitchFamily="34" charset="0"/>
                </a:rPr>
                <a:t> </a:t>
              </a:r>
              <a:r>
                <a:rPr lang="en-US" sz="1200" b="1" cap="all" dirty="0" err="1">
                  <a:cs typeface="Arial" pitchFamily="34" charset="0"/>
                </a:rPr>
                <a:t>irure</a:t>
              </a:r>
              <a:endParaRPr lang="en-US" sz="1200" b="1" cap="all" dirty="0">
                <a:cs typeface="Arial" pitchFamily="34" charset="0"/>
              </a:endParaRPr>
            </a:p>
          </p:txBody>
        </p:sp>
        <p:sp>
          <p:nvSpPr>
            <p:cNvPr id="194" name="Text Box 10">
              <a:extLst>
                <a:ext uri="{FF2B5EF4-FFF2-40B4-BE49-F238E27FC236}">
                  <a16:creationId xmlns:a16="http://schemas.microsoft.com/office/drawing/2014/main" id="{5DE9EAD3-EB30-314A-A057-70570B8C22C7}"/>
                </a:ext>
              </a:extLst>
            </p:cNvPr>
            <p:cNvSpPr txBox="1">
              <a:spLocks noChangeArrowheads="1"/>
            </p:cNvSpPr>
            <p:nvPr/>
          </p:nvSpPr>
          <p:spPr bwMode="auto">
            <a:xfrm>
              <a:off x="5273040" y="2384870"/>
              <a:ext cx="1645920" cy="457200"/>
            </a:xfrm>
            <a:prstGeom prst="round2SameRect">
              <a:avLst>
                <a:gd name="adj1" fmla="val 0"/>
                <a:gd name="adj2" fmla="val 0"/>
              </a:avLst>
            </a:prstGeom>
            <a:solidFill>
              <a:schemeClr val="accent2"/>
            </a:solidFill>
            <a:ln w="25400" algn="ctr">
              <a:solidFill>
                <a:schemeClr val="tx1"/>
              </a:solidFill>
              <a:miter lim="800000"/>
              <a:headEnd/>
              <a:tailEnd type="none" w="sm" len="med"/>
            </a:ln>
          </p:spPr>
          <p:txBody>
            <a:bodyPr lIns="45720" tIns="45720" rIns="45720" bIns="45720" anchor="ctr" anchorCtr="0"/>
            <a:lstStyle/>
            <a:p>
              <a:pPr algn="ctr" defTabSz="957263"/>
              <a:r>
                <a:rPr lang="en-US" sz="1200" b="1" cap="all" dirty="0" err="1">
                  <a:cs typeface="Arial" pitchFamily="34" charset="0"/>
                </a:rPr>
                <a:t>Duis</a:t>
              </a:r>
              <a:r>
                <a:rPr lang="en-US" sz="1200" b="1" cap="all" dirty="0">
                  <a:cs typeface="Arial" pitchFamily="34" charset="0"/>
                </a:rPr>
                <a:t> </a:t>
              </a:r>
              <a:r>
                <a:rPr lang="en-US" sz="1200" b="1" cap="all" dirty="0" err="1">
                  <a:cs typeface="Arial" pitchFamily="34" charset="0"/>
                </a:rPr>
                <a:t>aute</a:t>
              </a:r>
              <a:r>
                <a:rPr lang="en-US" sz="1200" b="1" cap="all" dirty="0">
                  <a:cs typeface="Arial" pitchFamily="34" charset="0"/>
                </a:rPr>
                <a:t> </a:t>
              </a:r>
              <a:r>
                <a:rPr lang="en-US" sz="1200" b="1" cap="all" dirty="0" err="1">
                  <a:cs typeface="Arial" pitchFamily="34" charset="0"/>
                </a:rPr>
                <a:t>irure</a:t>
              </a:r>
              <a:endParaRPr lang="en-US" sz="1200" b="1" cap="all" dirty="0">
                <a:cs typeface="Arial" pitchFamily="34" charset="0"/>
              </a:endParaRPr>
            </a:p>
          </p:txBody>
        </p:sp>
        <p:sp>
          <p:nvSpPr>
            <p:cNvPr id="195" name="Text Box 10">
              <a:extLst>
                <a:ext uri="{FF2B5EF4-FFF2-40B4-BE49-F238E27FC236}">
                  <a16:creationId xmlns:a16="http://schemas.microsoft.com/office/drawing/2014/main" id="{39F8CF45-313E-CB45-B560-55AA57E90035}"/>
                </a:ext>
              </a:extLst>
            </p:cNvPr>
            <p:cNvSpPr txBox="1">
              <a:spLocks noChangeArrowheads="1"/>
            </p:cNvSpPr>
            <p:nvPr/>
          </p:nvSpPr>
          <p:spPr bwMode="auto">
            <a:xfrm>
              <a:off x="6959441" y="2384870"/>
              <a:ext cx="1645920" cy="457200"/>
            </a:xfrm>
            <a:prstGeom prst="round2SameRect">
              <a:avLst>
                <a:gd name="adj1" fmla="val 0"/>
                <a:gd name="adj2" fmla="val 0"/>
              </a:avLst>
            </a:prstGeom>
            <a:solidFill>
              <a:schemeClr val="accent5"/>
            </a:solidFill>
            <a:ln w="25400" algn="ctr">
              <a:solidFill>
                <a:schemeClr val="tx1"/>
              </a:solidFill>
              <a:miter lim="800000"/>
              <a:headEnd/>
              <a:tailEnd type="none" w="sm" len="med"/>
            </a:ln>
          </p:spPr>
          <p:txBody>
            <a:bodyPr lIns="45720" tIns="45720" rIns="45720" bIns="45720" anchor="ctr" anchorCtr="0"/>
            <a:lstStyle/>
            <a:p>
              <a:pPr algn="ctr" defTabSz="957263"/>
              <a:r>
                <a:rPr lang="en-US" sz="1200" b="1" cap="all" dirty="0" err="1">
                  <a:cs typeface="Arial" pitchFamily="34" charset="0"/>
                </a:rPr>
                <a:t>Duis</a:t>
              </a:r>
              <a:r>
                <a:rPr lang="en-US" sz="1200" b="1" cap="all" dirty="0">
                  <a:cs typeface="Arial" pitchFamily="34" charset="0"/>
                </a:rPr>
                <a:t> </a:t>
              </a:r>
              <a:r>
                <a:rPr lang="en-US" sz="1200" b="1" cap="all" dirty="0" err="1">
                  <a:cs typeface="Arial" pitchFamily="34" charset="0"/>
                </a:rPr>
                <a:t>aute</a:t>
              </a:r>
              <a:r>
                <a:rPr lang="en-US" sz="1200" b="1" cap="all" dirty="0">
                  <a:cs typeface="Arial" pitchFamily="34" charset="0"/>
                </a:rPr>
                <a:t> </a:t>
              </a:r>
              <a:r>
                <a:rPr lang="en-US" sz="1200" b="1" cap="all" dirty="0" err="1">
                  <a:cs typeface="Arial" pitchFamily="34" charset="0"/>
                </a:rPr>
                <a:t>irure</a:t>
              </a:r>
              <a:endParaRPr lang="en-US" sz="1200" b="1" cap="all" dirty="0">
                <a:cs typeface="Arial" pitchFamily="34" charset="0"/>
              </a:endParaRPr>
            </a:p>
          </p:txBody>
        </p:sp>
        <p:sp>
          <p:nvSpPr>
            <p:cNvPr id="196" name="Text Box 10">
              <a:extLst>
                <a:ext uri="{FF2B5EF4-FFF2-40B4-BE49-F238E27FC236}">
                  <a16:creationId xmlns:a16="http://schemas.microsoft.com/office/drawing/2014/main" id="{2F69906B-0F0D-1548-8D3D-E890EB89DD71}"/>
                </a:ext>
              </a:extLst>
            </p:cNvPr>
            <p:cNvSpPr txBox="1">
              <a:spLocks noChangeArrowheads="1"/>
            </p:cNvSpPr>
            <p:nvPr/>
          </p:nvSpPr>
          <p:spPr bwMode="auto">
            <a:xfrm>
              <a:off x="8645843" y="2384870"/>
              <a:ext cx="1645920" cy="457200"/>
            </a:xfrm>
            <a:prstGeom prst="round2SameRect">
              <a:avLst>
                <a:gd name="adj1" fmla="val 0"/>
                <a:gd name="adj2" fmla="val 0"/>
              </a:avLst>
            </a:prstGeom>
            <a:solidFill>
              <a:schemeClr val="accent6"/>
            </a:solidFill>
            <a:ln w="25400" algn="ctr">
              <a:solidFill>
                <a:schemeClr val="tx1"/>
              </a:solidFill>
              <a:miter lim="800000"/>
              <a:headEnd/>
              <a:tailEnd type="none" w="sm" len="med"/>
            </a:ln>
          </p:spPr>
          <p:txBody>
            <a:bodyPr lIns="45720" tIns="45720" rIns="45720" bIns="45720" anchor="ctr" anchorCtr="0"/>
            <a:lstStyle/>
            <a:p>
              <a:pPr algn="ctr" defTabSz="957263"/>
              <a:r>
                <a:rPr lang="en-US" sz="1200" b="1" cap="all" dirty="0" err="1">
                  <a:cs typeface="Arial" pitchFamily="34" charset="0"/>
                </a:rPr>
                <a:t>Duis</a:t>
              </a:r>
              <a:r>
                <a:rPr lang="en-US" sz="1200" b="1" cap="all" dirty="0">
                  <a:cs typeface="Arial" pitchFamily="34" charset="0"/>
                </a:rPr>
                <a:t> </a:t>
              </a:r>
              <a:r>
                <a:rPr lang="en-US" sz="1200" b="1" cap="all" dirty="0" err="1">
                  <a:cs typeface="Arial" pitchFamily="34" charset="0"/>
                </a:rPr>
                <a:t>aute</a:t>
              </a:r>
              <a:r>
                <a:rPr lang="en-US" sz="1200" b="1" cap="all" dirty="0">
                  <a:cs typeface="Arial" pitchFamily="34" charset="0"/>
                </a:rPr>
                <a:t> </a:t>
              </a:r>
              <a:r>
                <a:rPr lang="en-US" sz="1200" b="1" cap="all" dirty="0" err="1">
                  <a:cs typeface="Arial" pitchFamily="34" charset="0"/>
                </a:rPr>
                <a:t>irure</a:t>
              </a:r>
              <a:endParaRPr lang="en-US" sz="1200" b="1" cap="all" dirty="0">
                <a:cs typeface="Arial" pitchFamily="34" charset="0"/>
              </a:endParaRPr>
            </a:p>
          </p:txBody>
        </p:sp>
        <p:sp>
          <p:nvSpPr>
            <p:cNvPr id="197" name="Freeform 922">
              <a:extLst>
                <a:ext uri="{FF2B5EF4-FFF2-40B4-BE49-F238E27FC236}">
                  <a16:creationId xmlns:a16="http://schemas.microsoft.com/office/drawing/2014/main" id="{D292754B-811F-1646-8392-714555A8BD80}"/>
                </a:ext>
              </a:extLst>
            </p:cNvPr>
            <p:cNvSpPr>
              <a:spLocks noChangeAspect="1" noEditPoints="1"/>
            </p:cNvSpPr>
            <p:nvPr/>
          </p:nvSpPr>
          <p:spPr bwMode="auto">
            <a:xfrm>
              <a:off x="2494598" y="1828102"/>
              <a:ext cx="457200" cy="457200"/>
            </a:xfrm>
            <a:custGeom>
              <a:avLst/>
              <a:gdLst>
                <a:gd name="T0" fmla="*/ 202 w 512"/>
                <a:gd name="T1" fmla="*/ 117 h 512"/>
                <a:gd name="T2" fmla="*/ 117 w 512"/>
                <a:gd name="T3" fmla="*/ 202 h 512"/>
                <a:gd name="T4" fmla="*/ 202 w 512"/>
                <a:gd name="T5" fmla="*/ 288 h 512"/>
                <a:gd name="T6" fmla="*/ 288 w 512"/>
                <a:gd name="T7" fmla="*/ 202 h 512"/>
                <a:gd name="T8" fmla="*/ 202 w 512"/>
                <a:gd name="T9" fmla="*/ 117 h 512"/>
                <a:gd name="T10" fmla="*/ 245 w 512"/>
                <a:gd name="T11" fmla="*/ 213 h 512"/>
                <a:gd name="T12" fmla="*/ 160 w 512"/>
                <a:gd name="T13" fmla="*/ 213 h 512"/>
                <a:gd name="T14" fmla="*/ 149 w 512"/>
                <a:gd name="T15" fmla="*/ 202 h 512"/>
                <a:gd name="T16" fmla="*/ 160 w 512"/>
                <a:gd name="T17" fmla="*/ 192 h 512"/>
                <a:gd name="T18" fmla="*/ 245 w 512"/>
                <a:gd name="T19" fmla="*/ 192 h 512"/>
                <a:gd name="T20" fmla="*/ 256 w 512"/>
                <a:gd name="T21" fmla="*/ 202 h 512"/>
                <a:gd name="T22" fmla="*/ 245 w 512"/>
                <a:gd name="T23" fmla="*/ 213 h 512"/>
                <a:gd name="T24" fmla="*/ 256 w 512"/>
                <a:gd name="T25" fmla="*/ 0 h 512"/>
                <a:gd name="T26" fmla="*/ 0 w 512"/>
                <a:gd name="T27" fmla="*/ 256 h 512"/>
                <a:gd name="T28" fmla="*/ 256 w 512"/>
                <a:gd name="T29" fmla="*/ 512 h 512"/>
                <a:gd name="T30" fmla="*/ 512 w 512"/>
                <a:gd name="T31" fmla="*/ 256 h 512"/>
                <a:gd name="T32" fmla="*/ 256 w 512"/>
                <a:gd name="T33" fmla="*/ 0 h 512"/>
                <a:gd name="T34" fmla="*/ 381 w 512"/>
                <a:gd name="T35" fmla="*/ 381 h 512"/>
                <a:gd name="T36" fmla="*/ 373 w 512"/>
                <a:gd name="T37" fmla="*/ 384 h 512"/>
                <a:gd name="T38" fmla="*/ 365 w 512"/>
                <a:gd name="T39" fmla="*/ 381 h 512"/>
                <a:gd name="T40" fmla="*/ 270 w 512"/>
                <a:gd name="T41" fmla="*/ 285 h 512"/>
                <a:gd name="T42" fmla="*/ 202 w 512"/>
                <a:gd name="T43" fmla="*/ 309 h 512"/>
                <a:gd name="T44" fmla="*/ 96 w 512"/>
                <a:gd name="T45" fmla="*/ 202 h 512"/>
                <a:gd name="T46" fmla="*/ 202 w 512"/>
                <a:gd name="T47" fmla="*/ 96 h 512"/>
                <a:gd name="T48" fmla="*/ 309 w 512"/>
                <a:gd name="T49" fmla="*/ 202 h 512"/>
                <a:gd name="T50" fmla="*/ 285 w 512"/>
                <a:gd name="T51" fmla="*/ 270 h 512"/>
                <a:gd name="T52" fmla="*/ 381 w 512"/>
                <a:gd name="T53" fmla="*/ 365 h 512"/>
                <a:gd name="T54" fmla="*/ 381 w 512"/>
                <a:gd name="T55"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02" y="117"/>
                  </a:moveTo>
                  <a:cubicBezTo>
                    <a:pt x="155" y="117"/>
                    <a:pt x="117" y="155"/>
                    <a:pt x="117" y="202"/>
                  </a:cubicBezTo>
                  <a:cubicBezTo>
                    <a:pt x="117" y="249"/>
                    <a:pt x="155" y="288"/>
                    <a:pt x="202" y="288"/>
                  </a:cubicBezTo>
                  <a:cubicBezTo>
                    <a:pt x="249" y="288"/>
                    <a:pt x="288" y="249"/>
                    <a:pt x="288" y="202"/>
                  </a:cubicBezTo>
                  <a:cubicBezTo>
                    <a:pt x="288" y="155"/>
                    <a:pt x="249" y="117"/>
                    <a:pt x="202" y="117"/>
                  </a:cubicBezTo>
                  <a:close/>
                  <a:moveTo>
                    <a:pt x="245" y="213"/>
                  </a:moveTo>
                  <a:cubicBezTo>
                    <a:pt x="160" y="213"/>
                    <a:pt x="160" y="213"/>
                    <a:pt x="160" y="213"/>
                  </a:cubicBezTo>
                  <a:cubicBezTo>
                    <a:pt x="154" y="213"/>
                    <a:pt x="149" y="208"/>
                    <a:pt x="149" y="202"/>
                  </a:cubicBezTo>
                  <a:cubicBezTo>
                    <a:pt x="149" y="196"/>
                    <a:pt x="154" y="192"/>
                    <a:pt x="160" y="192"/>
                  </a:cubicBezTo>
                  <a:cubicBezTo>
                    <a:pt x="245" y="192"/>
                    <a:pt x="245" y="192"/>
                    <a:pt x="245" y="192"/>
                  </a:cubicBezTo>
                  <a:cubicBezTo>
                    <a:pt x="251" y="192"/>
                    <a:pt x="256" y="196"/>
                    <a:pt x="256" y="202"/>
                  </a:cubicBezTo>
                  <a:cubicBezTo>
                    <a:pt x="256" y="208"/>
                    <a:pt x="251" y="213"/>
                    <a:pt x="245"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8" name="Freeform 286">
              <a:extLst>
                <a:ext uri="{FF2B5EF4-FFF2-40B4-BE49-F238E27FC236}">
                  <a16:creationId xmlns:a16="http://schemas.microsoft.com/office/drawing/2014/main" id="{0854B07C-4374-A540-992D-7D60264962A7}"/>
                </a:ext>
              </a:extLst>
            </p:cNvPr>
            <p:cNvSpPr>
              <a:spLocks noChangeAspect="1" noEditPoints="1"/>
            </p:cNvSpPr>
            <p:nvPr/>
          </p:nvSpPr>
          <p:spPr bwMode="auto">
            <a:xfrm>
              <a:off x="4180999" y="1828103"/>
              <a:ext cx="457200" cy="457199"/>
            </a:xfrm>
            <a:custGeom>
              <a:avLst/>
              <a:gdLst>
                <a:gd name="T0" fmla="*/ 298 w 512"/>
                <a:gd name="T1" fmla="*/ 192 h 512"/>
                <a:gd name="T2" fmla="*/ 298 w 512"/>
                <a:gd name="T3" fmla="*/ 266 h 512"/>
                <a:gd name="T4" fmla="*/ 290 w 512"/>
                <a:gd name="T5" fmla="*/ 288 h 512"/>
                <a:gd name="T6" fmla="*/ 204 w 512"/>
                <a:gd name="T7" fmla="*/ 388 h 512"/>
                <a:gd name="T8" fmla="*/ 202 w 512"/>
                <a:gd name="T9" fmla="*/ 376 h 512"/>
                <a:gd name="T10" fmla="*/ 223 w 512"/>
                <a:gd name="T11" fmla="*/ 312 h 512"/>
                <a:gd name="T12" fmla="*/ 223 w 512"/>
                <a:gd name="T13" fmla="*/ 312 h 512"/>
                <a:gd name="T14" fmla="*/ 224 w 512"/>
                <a:gd name="T15" fmla="*/ 309 h 512"/>
                <a:gd name="T16" fmla="*/ 213 w 512"/>
                <a:gd name="T17" fmla="*/ 298 h 512"/>
                <a:gd name="T18" fmla="*/ 160 w 512"/>
                <a:gd name="T19" fmla="*/ 298 h 512"/>
                <a:gd name="T20" fmla="*/ 117 w 512"/>
                <a:gd name="T21" fmla="*/ 255 h 512"/>
                <a:gd name="T22" fmla="*/ 136 w 512"/>
                <a:gd name="T23" fmla="*/ 174 h 512"/>
                <a:gd name="T24" fmla="*/ 171 w 512"/>
                <a:gd name="T25" fmla="*/ 160 h 512"/>
                <a:gd name="T26" fmla="*/ 267 w 512"/>
                <a:gd name="T27" fmla="*/ 160 h 512"/>
                <a:gd name="T28" fmla="*/ 298 w 512"/>
                <a:gd name="T29" fmla="*/ 192 h 512"/>
                <a:gd name="T30" fmla="*/ 320 w 512"/>
                <a:gd name="T31" fmla="*/ 192 h 512"/>
                <a:gd name="T32" fmla="*/ 320 w 512"/>
                <a:gd name="T33" fmla="*/ 266 h 512"/>
                <a:gd name="T34" fmla="*/ 320 w 512"/>
                <a:gd name="T35" fmla="*/ 266 h 512"/>
                <a:gd name="T36" fmla="*/ 373 w 512"/>
                <a:gd name="T37" fmla="*/ 266 h 512"/>
                <a:gd name="T38" fmla="*/ 373 w 512"/>
                <a:gd name="T39" fmla="*/ 170 h 512"/>
                <a:gd name="T40" fmla="*/ 316 w 512"/>
                <a:gd name="T41" fmla="*/ 170 h 512"/>
                <a:gd name="T42" fmla="*/ 320 w 512"/>
                <a:gd name="T43" fmla="*/ 19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94 w 512"/>
                <a:gd name="T55" fmla="*/ 160 h 512"/>
                <a:gd name="T56" fmla="*/ 384 w 512"/>
                <a:gd name="T57" fmla="*/ 149 h 512"/>
                <a:gd name="T58" fmla="*/ 299 w 512"/>
                <a:gd name="T59" fmla="*/ 149 h 512"/>
                <a:gd name="T60" fmla="*/ 267 w 512"/>
                <a:gd name="T61" fmla="*/ 138 h 512"/>
                <a:gd name="T62" fmla="*/ 171 w 512"/>
                <a:gd name="T63" fmla="*/ 138 h 512"/>
                <a:gd name="T64" fmla="*/ 121 w 512"/>
                <a:gd name="T65" fmla="*/ 160 h 512"/>
                <a:gd name="T66" fmla="*/ 96 w 512"/>
                <a:gd name="T67" fmla="*/ 256 h 512"/>
                <a:gd name="T68" fmla="*/ 160 w 512"/>
                <a:gd name="T69" fmla="*/ 320 h 512"/>
                <a:gd name="T70" fmla="*/ 198 w 512"/>
                <a:gd name="T71" fmla="*/ 320 h 512"/>
                <a:gd name="T72" fmla="*/ 182 w 512"/>
                <a:gd name="T73" fmla="*/ 370 h 512"/>
                <a:gd name="T74" fmla="*/ 195 w 512"/>
                <a:gd name="T75" fmla="*/ 413 h 512"/>
                <a:gd name="T76" fmla="*/ 203 w 512"/>
                <a:gd name="T77" fmla="*/ 416 h 512"/>
                <a:gd name="T78" fmla="*/ 203 w 512"/>
                <a:gd name="T79" fmla="*/ 416 h 512"/>
                <a:gd name="T80" fmla="*/ 211 w 512"/>
                <a:gd name="T81" fmla="*/ 412 h 512"/>
                <a:gd name="T82" fmla="*/ 306 w 512"/>
                <a:gd name="T83" fmla="*/ 302 h 512"/>
                <a:gd name="T84" fmla="*/ 306 w 512"/>
                <a:gd name="T85" fmla="*/ 302 h 512"/>
                <a:gd name="T86" fmla="*/ 306 w 512"/>
                <a:gd name="T87" fmla="*/ 302 h 512"/>
                <a:gd name="T88" fmla="*/ 315 w 512"/>
                <a:gd name="T89" fmla="*/ 288 h 512"/>
                <a:gd name="T90" fmla="*/ 384 w 512"/>
                <a:gd name="T91" fmla="*/ 288 h 512"/>
                <a:gd name="T92" fmla="*/ 394 w 512"/>
                <a:gd name="T93" fmla="*/ 277 h 512"/>
                <a:gd name="T94" fmla="*/ 394 w 512"/>
                <a:gd name="T95"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98" y="192"/>
                  </a:moveTo>
                  <a:cubicBezTo>
                    <a:pt x="298" y="266"/>
                    <a:pt x="298" y="266"/>
                    <a:pt x="298" y="266"/>
                  </a:cubicBezTo>
                  <a:cubicBezTo>
                    <a:pt x="298" y="274"/>
                    <a:pt x="295" y="282"/>
                    <a:pt x="290" y="288"/>
                  </a:cubicBezTo>
                  <a:cubicBezTo>
                    <a:pt x="204" y="388"/>
                    <a:pt x="204" y="388"/>
                    <a:pt x="204" y="388"/>
                  </a:cubicBezTo>
                  <a:cubicBezTo>
                    <a:pt x="202" y="384"/>
                    <a:pt x="201" y="380"/>
                    <a:pt x="202" y="376"/>
                  </a:cubicBezTo>
                  <a:cubicBezTo>
                    <a:pt x="223" y="312"/>
                    <a:pt x="223" y="312"/>
                    <a:pt x="223" y="312"/>
                  </a:cubicBezTo>
                  <a:cubicBezTo>
                    <a:pt x="223" y="312"/>
                    <a:pt x="223" y="312"/>
                    <a:pt x="223" y="312"/>
                  </a:cubicBezTo>
                  <a:cubicBezTo>
                    <a:pt x="223" y="311"/>
                    <a:pt x="224" y="310"/>
                    <a:pt x="224" y="309"/>
                  </a:cubicBezTo>
                  <a:cubicBezTo>
                    <a:pt x="224" y="303"/>
                    <a:pt x="219" y="298"/>
                    <a:pt x="213" y="298"/>
                  </a:cubicBezTo>
                  <a:cubicBezTo>
                    <a:pt x="160" y="298"/>
                    <a:pt x="160" y="298"/>
                    <a:pt x="160" y="298"/>
                  </a:cubicBezTo>
                  <a:cubicBezTo>
                    <a:pt x="141" y="298"/>
                    <a:pt x="118" y="275"/>
                    <a:pt x="117" y="255"/>
                  </a:cubicBezTo>
                  <a:cubicBezTo>
                    <a:pt x="117" y="254"/>
                    <a:pt x="112" y="200"/>
                    <a:pt x="136" y="174"/>
                  </a:cubicBezTo>
                  <a:cubicBezTo>
                    <a:pt x="145" y="164"/>
                    <a:pt x="156" y="160"/>
                    <a:pt x="171" y="160"/>
                  </a:cubicBezTo>
                  <a:cubicBezTo>
                    <a:pt x="267" y="160"/>
                    <a:pt x="267" y="160"/>
                    <a:pt x="267" y="160"/>
                  </a:cubicBezTo>
                  <a:cubicBezTo>
                    <a:pt x="286" y="160"/>
                    <a:pt x="298" y="172"/>
                    <a:pt x="298" y="192"/>
                  </a:cubicBezTo>
                  <a:close/>
                  <a:moveTo>
                    <a:pt x="320" y="192"/>
                  </a:moveTo>
                  <a:cubicBezTo>
                    <a:pt x="320" y="266"/>
                    <a:pt x="320" y="266"/>
                    <a:pt x="320" y="266"/>
                  </a:cubicBezTo>
                  <a:cubicBezTo>
                    <a:pt x="320" y="266"/>
                    <a:pt x="320" y="266"/>
                    <a:pt x="320" y="266"/>
                  </a:cubicBezTo>
                  <a:cubicBezTo>
                    <a:pt x="373" y="266"/>
                    <a:pt x="373" y="266"/>
                    <a:pt x="373" y="266"/>
                  </a:cubicBezTo>
                  <a:cubicBezTo>
                    <a:pt x="373" y="170"/>
                    <a:pt x="373" y="170"/>
                    <a:pt x="373" y="170"/>
                  </a:cubicBezTo>
                  <a:cubicBezTo>
                    <a:pt x="316" y="170"/>
                    <a:pt x="316" y="170"/>
                    <a:pt x="316" y="170"/>
                  </a:cubicBezTo>
                  <a:cubicBezTo>
                    <a:pt x="318" y="177"/>
                    <a:pt x="320" y="184"/>
                    <a:pt x="320" y="19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60"/>
                  </a:moveTo>
                  <a:cubicBezTo>
                    <a:pt x="394" y="154"/>
                    <a:pt x="390" y="149"/>
                    <a:pt x="384" y="149"/>
                  </a:cubicBezTo>
                  <a:cubicBezTo>
                    <a:pt x="299" y="149"/>
                    <a:pt x="299" y="149"/>
                    <a:pt x="299" y="149"/>
                  </a:cubicBezTo>
                  <a:cubicBezTo>
                    <a:pt x="291" y="142"/>
                    <a:pt x="280" y="138"/>
                    <a:pt x="267" y="138"/>
                  </a:cubicBezTo>
                  <a:cubicBezTo>
                    <a:pt x="171" y="138"/>
                    <a:pt x="171" y="138"/>
                    <a:pt x="171" y="138"/>
                  </a:cubicBezTo>
                  <a:cubicBezTo>
                    <a:pt x="150" y="138"/>
                    <a:pt x="133" y="145"/>
                    <a:pt x="121" y="160"/>
                  </a:cubicBezTo>
                  <a:cubicBezTo>
                    <a:pt x="90" y="193"/>
                    <a:pt x="96" y="254"/>
                    <a:pt x="96" y="256"/>
                  </a:cubicBezTo>
                  <a:cubicBezTo>
                    <a:pt x="96" y="287"/>
                    <a:pt x="129" y="320"/>
                    <a:pt x="160" y="320"/>
                  </a:cubicBezTo>
                  <a:cubicBezTo>
                    <a:pt x="198" y="320"/>
                    <a:pt x="198" y="320"/>
                    <a:pt x="198" y="320"/>
                  </a:cubicBezTo>
                  <a:cubicBezTo>
                    <a:pt x="182" y="370"/>
                    <a:pt x="182" y="370"/>
                    <a:pt x="182" y="370"/>
                  </a:cubicBezTo>
                  <a:cubicBezTo>
                    <a:pt x="176" y="393"/>
                    <a:pt x="195" y="412"/>
                    <a:pt x="195" y="413"/>
                  </a:cubicBezTo>
                  <a:cubicBezTo>
                    <a:pt x="197" y="415"/>
                    <a:pt x="200" y="416"/>
                    <a:pt x="203" y="416"/>
                  </a:cubicBezTo>
                  <a:cubicBezTo>
                    <a:pt x="203" y="416"/>
                    <a:pt x="203" y="416"/>
                    <a:pt x="203" y="416"/>
                  </a:cubicBezTo>
                  <a:cubicBezTo>
                    <a:pt x="206" y="416"/>
                    <a:pt x="209" y="414"/>
                    <a:pt x="211" y="412"/>
                  </a:cubicBezTo>
                  <a:cubicBezTo>
                    <a:pt x="306" y="302"/>
                    <a:pt x="306" y="302"/>
                    <a:pt x="306" y="302"/>
                  </a:cubicBezTo>
                  <a:cubicBezTo>
                    <a:pt x="306" y="302"/>
                    <a:pt x="306" y="302"/>
                    <a:pt x="306" y="302"/>
                  </a:cubicBezTo>
                  <a:cubicBezTo>
                    <a:pt x="306" y="302"/>
                    <a:pt x="306" y="302"/>
                    <a:pt x="306" y="302"/>
                  </a:cubicBezTo>
                  <a:cubicBezTo>
                    <a:pt x="310" y="298"/>
                    <a:pt x="313" y="293"/>
                    <a:pt x="315" y="288"/>
                  </a:cubicBezTo>
                  <a:cubicBezTo>
                    <a:pt x="384" y="288"/>
                    <a:pt x="384" y="288"/>
                    <a:pt x="384" y="288"/>
                  </a:cubicBezTo>
                  <a:cubicBezTo>
                    <a:pt x="390" y="288"/>
                    <a:pt x="394" y="283"/>
                    <a:pt x="394" y="277"/>
                  </a:cubicBezTo>
                  <a:lnTo>
                    <a:pt x="394" y="16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99" name="Group 412">
              <a:extLst>
                <a:ext uri="{FF2B5EF4-FFF2-40B4-BE49-F238E27FC236}">
                  <a16:creationId xmlns:a16="http://schemas.microsoft.com/office/drawing/2014/main" id="{3AEF0A96-1DA3-B849-ACBC-C9E797388EC2}"/>
                </a:ext>
              </a:extLst>
            </p:cNvPr>
            <p:cNvGrpSpPr>
              <a:grpSpLocks noChangeAspect="1"/>
            </p:cNvGrpSpPr>
            <p:nvPr/>
          </p:nvGrpSpPr>
          <p:grpSpPr bwMode="auto">
            <a:xfrm>
              <a:off x="5867400" y="1819038"/>
              <a:ext cx="457200" cy="457200"/>
              <a:chOff x="2297" y="1592"/>
              <a:chExt cx="340" cy="340"/>
            </a:xfrm>
            <a:solidFill>
              <a:schemeClr val="accent2"/>
            </a:solidFill>
          </p:grpSpPr>
          <p:sp>
            <p:nvSpPr>
              <p:cNvPr id="200" name="Freeform 199">
                <a:extLst>
                  <a:ext uri="{FF2B5EF4-FFF2-40B4-BE49-F238E27FC236}">
                    <a16:creationId xmlns:a16="http://schemas.microsoft.com/office/drawing/2014/main" id="{8DDAEC02-0763-6547-AD62-F50424191871}"/>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1" name="Freeform 200">
                <a:extLst>
                  <a:ext uri="{FF2B5EF4-FFF2-40B4-BE49-F238E27FC236}">
                    <a16:creationId xmlns:a16="http://schemas.microsoft.com/office/drawing/2014/main" id="{78606FA8-5A75-D640-80A5-96CF8EA694FA}"/>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02" name="Freeform 897">
              <a:extLst>
                <a:ext uri="{FF2B5EF4-FFF2-40B4-BE49-F238E27FC236}">
                  <a16:creationId xmlns:a16="http://schemas.microsoft.com/office/drawing/2014/main" id="{C815C77A-F6D1-0441-A899-97181B6048C4}"/>
                </a:ext>
              </a:extLst>
            </p:cNvPr>
            <p:cNvSpPr>
              <a:spLocks noChangeAspect="1" noEditPoints="1"/>
            </p:cNvSpPr>
            <p:nvPr/>
          </p:nvSpPr>
          <p:spPr bwMode="auto">
            <a:xfrm>
              <a:off x="7553801" y="1863821"/>
              <a:ext cx="457200" cy="415636"/>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8 h 512"/>
                <a:gd name="T20" fmla="*/ 281 w 562"/>
                <a:gd name="T21" fmla="*/ 298 h 512"/>
                <a:gd name="T22" fmla="*/ 291 w 562"/>
                <a:gd name="T23" fmla="*/ 288 h 512"/>
                <a:gd name="T24" fmla="*/ 296 w 562"/>
                <a:gd name="T25" fmla="*/ 234 h 512"/>
                <a:gd name="T26" fmla="*/ 462 w 562"/>
                <a:gd name="T27" fmla="*/ 437 h 512"/>
                <a:gd name="T28" fmla="*/ 281 w 562"/>
                <a:gd name="T29" fmla="*/ 512 h 512"/>
                <a:gd name="T30" fmla="*/ 100 w 562"/>
                <a:gd name="T31" fmla="*/ 437 h 512"/>
                <a:gd name="T32" fmla="*/ 100 w 562"/>
                <a:gd name="T33" fmla="*/ 75 h 512"/>
                <a:gd name="T34" fmla="*/ 281 w 562"/>
                <a:gd name="T35" fmla="*/ 0 h 512"/>
                <a:gd name="T36" fmla="*/ 462 w 562"/>
                <a:gd name="T37" fmla="*/ 75 h 512"/>
                <a:gd name="T38" fmla="*/ 462 w 562"/>
                <a:gd name="T39" fmla="*/ 437 h 512"/>
                <a:gd name="T40" fmla="*/ 419 w 562"/>
                <a:gd name="T41" fmla="*/ 224 h 512"/>
                <a:gd name="T42" fmla="*/ 409 w 562"/>
                <a:gd name="T43" fmla="*/ 213 h 512"/>
                <a:gd name="T44" fmla="*/ 302 w 562"/>
                <a:gd name="T45" fmla="*/ 213 h 512"/>
                <a:gd name="T46" fmla="*/ 386 w 562"/>
                <a:gd name="T47" fmla="*/ 150 h 512"/>
                <a:gd name="T48" fmla="*/ 367 w 562"/>
                <a:gd name="T49" fmla="*/ 174 h 512"/>
                <a:gd name="T50" fmla="*/ 369 w 562"/>
                <a:gd name="T51" fmla="*/ 189 h 512"/>
                <a:gd name="T52" fmla="*/ 376 w 562"/>
                <a:gd name="T53" fmla="*/ 191 h 512"/>
                <a:gd name="T54" fmla="*/ 384 w 562"/>
                <a:gd name="T55" fmla="*/ 187 h 512"/>
                <a:gd name="T56" fmla="*/ 417 w 562"/>
                <a:gd name="T57" fmla="*/ 145 h 512"/>
                <a:gd name="T58" fmla="*/ 415 w 562"/>
                <a:gd name="T59" fmla="*/ 130 h 512"/>
                <a:gd name="T60" fmla="*/ 373 w 562"/>
                <a:gd name="T61" fmla="*/ 97 h 512"/>
                <a:gd name="T62" fmla="*/ 358 w 562"/>
                <a:gd name="T63" fmla="*/ 99 h 512"/>
                <a:gd name="T64" fmla="*/ 360 w 562"/>
                <a:gd name="T65" fmla="*/ 114 h 512"/>
                <a:gd name="T66" fmla="*/ 380 w 562"/>
                <a:gd name="T67" fmla="*/ 129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6" y="174"/>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203" name="Group 498">
              <a:extLst>
                <a:ext uri="{FF2B5EF4-FFF2-40B4-BE49-F238E27FC236}">
                  <a16:creationId xmlns:a16="http://schemas.microsoft.com/office/drawing/2014/main" id="{349C0CF0-AE88-EB41-97BD-B30754A822C9}"/>
                </a:ext>
              </a:extLst>
            </p:cNvPr>
            <p:cNvGrpSpPr>
              <a:grpSpLocks noChangeAspect="1"/>
            </p:cNvGrpSpPr>
            <p:nvPr/>
          </p:nvGrpSpPr>
          <p:grpSpPr bwMode="auto">
            <a:xfrm>
              <a:off x="9240203" y="1838732"/>
              <a:ext cx="457200" cy="457200"/>
              <a:chOff x="1543" y="2005"/>
              <a:chExt cx="340" cy="340"/>
            </a:xfrm>
            <a:solidFill>
              <a:schemeClr val="accent6"/>
            </a:solidFill>
          </p:grpSpPr>
          <p:sp>
            <p:nvSpPr>
              <p:cNvPr id="204" name="Freeform 499">
                <a:extLst>
                  <a:ext uri="{FF2B5EF4-FFF2-40B4-BE49-F238E27FC236}">
                    <a16:creationId xmlns:a16="http://schemas.microsoft.com/office/drawing/2014/main" id="{0B8E843E-676E-7943-9BA0-A18150DCBED0}"/>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Freeform 500">
                <a:extLst>
                  <a:ext uri="{FF2B5EF4-FFF2-40B4-BE49-F238E27FC236}">
                    <a16:creationId xmlns:a16="http://schemas.microsoft.com/office/drawing/2014/main" id="{36D19D27-B805-C44E-82D8-28C942E4944B}"/>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206" name="Straight Connector 205">
              <a:extLst>
                <a:ext uri="{FF2B5EF4-FFF2-40B4-BE49-F238E27FC236}">
                  <a16:creationId xmlns:a16="http://schemas.microsoft.com/office/drawing/2014/main" id="{BB886E47-BFB7-2240-A75F-11F5E88084BA}"/>
                </a:ext>
              </a:extLst>
            </p:cNvPr>
            <p:cNvCxnSpPr/>
            <p:nvPr/>
          </p:nvCxnSpPr>
          <p:spPr>
            <a:xfrm>
              <a:off x="1900238" y="4416136"/>
              <a:ext cx="502005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F14C5098-0D5B-5A4A-8E72-BA55DD06A8CE}"/>
                </a:ext>
              </a:extLst>
            </p:cNvPr>
            <p:cNvCxnSpPr/>
            <p:nvPr/>
          </p:nvCxnSpPr>
          <p:spPr>
            <a:xfrm>
              <a:off x="6963347" y="4416136"/>
              <a:ext cx="3328416"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08" name="Isosceles Triangle 8">
              <a:extLst>
                <a:ext uri="{FF2B5EF4-FFF2-40B4-BE49-F238E27FC236}">
                  <a16:creationId xmlns:a16="http://schemas.microsoft.com/office/drawing/2014/main" id="{08F07FEF-42C5-3C44-A632-9B95AC0124D4}"/>
                </a:ext>
              </a:extLst>
            </p:cNvPr>
            <p:cNvSpPr/>
            <p:nvPr/>
          </p:nvSpPr>
          <p:spPr bwMode="gray">
            <a:xfrm rot="10800000">
              <a:off x="4094269" y="4545457"/>
              <a:ext cx="631996" cy="166255"/>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09" name="Isosceles Triangle 79">
              <a:extLst>
                <a:ext uri="{FF2B5EF4-FFF2-40B4-BE49-F238E27FC236}">
                  <a16:creationId xmlns:a16="http://schemas.microsoft.com/office/drawing/2014/main" id="{5BBBA665-D56C-744A-B359-F569C8E859D7}"/>
                </a:ext>
              </a:extLst>
            </p:cNvPr>
            <p:cNvSpPr/>
            <p:nvPr/>
          </p:nvSpPr>
          <p:spPr bwMode="gray">
            <a:xfrm rot="10800000">
              <a:off x="8311558" y="4545457"/>
              <a:ext cx="631996" cy="166255"/>
            </a:xfrm>
            <a:prstGeom prst="triangl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Tree>
    <p:custDataLst>
      <p:tags r:id="rId1"/>
    </p:custDataLst>
    <p:extLst>
      <p:ext uri="{BB962C8B-B14F-4D97-AF65-F5344CB8AC3E}">
        <p14:creationId xmlns:p14="http://schemas.microsoft.com/office/powerpoint/2010/main" val="2810468511"/>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EB71C95-9647-4A5C-8A57-7E806C6461D4}"/>
              </a:ext>
            </a:extLst>
          </p:cNvPr>
          <p:cNvGrpSpPr/>
          <p:nvPr/>
        </p:nvGrpSpPr>
        <p:grpSpPr>
          <a:xfrm>
            <a:off x="1045214" y="1914671"/>
            <a:ext cx="9661401" cy="2835459"/>
            <a:chOff x="1900237" y="1665289"/>
            <a:chExt cx="8396061" cy="2464103"/>
          </a:xfrm>
        </p:grpSpPr>
        <p:sp>
          <p:nvSpPr>
            <p:cNvPr id="35" name="Rectangle 34">
              <a:extLst>
                <a:ext uri="{FF2B5EF4-FFF2-40B4-BE49-F238E27FC236}">
                  <a16:creationId xmlns:a16="http://schemas.microsoft.com/office/drawing/2014/main" id="{64D32C96-0FA1-1E40-BE70-578A9747FD0B}"/>
                </a:ext>
              </a:extLst>
            </p:cNvPr>
            <p:cNvSpPr/>
            <p:nvPr/>
          </p:nvSpPr>
          <p:spPr>
            <a:xfrm>
              <a:off x="1900239" y="1665289"/>
              <a:ext cx="1499149" cy="2464101"/>
            </a:xfrm>
            <a:prstGeom prst="rect">
              <a:avLst/>
            </a:prstGeom>
            <a:solidFill>
              <a:srgbClr val="C4D600"/>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endParaRPr lang="en-US" sz="1100" dirty="0">
                <a:solidFill>
                  <a:schemeClr val="tx1"/>
                </a:solidFill>
              </a:endParaRPr>
            </a:p>
          </p:txBody>
        </p:sp>
        <p:sp>
          <p:nvSpPr>
            <p:cNvPr id="36" name="Diagonal Stripe 35">
              <a:extLst>
                <a:ext uri="{FF2B5EF4-FFF2-40B4-BE49-F238E27FC236}">
                  <a16:creationId xmlns:a16="http://schemas.microsoft.com/office/drawing/2014/main" id="{BEB4C6C1-4F62-F64E-8F6F-511A33BDDDF4}"/>
                </a:ext>
              </a:extLst>
            </p:cNvPr>
            <p:cNvSpPr/>
            <p:nvPr/>
          </p:nvSpPr>
          <p:spPr>
            <a:xfrm>
              <a:off x="1900237" y="1665289"/>
              <a:ext cx="844584" cy="703397"/>
            </a:xfrm>
            <a:prstGeom prst="diagStripe">
              <a:avLst>
                <a:gd name="adj"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b="1" dirty="0">
                  <a:solidFill>
                    <a:srgbClr val="FFFFFF"/>
                  </a:solidFill>
                </a:rPr>
                <a:t>1</a:t>
              </a:r>
            </a:p>
          </p:txBody>
        </p:sp>
        <p:sp>
          <p:nvSpPr>
            <p:cNvPr id="37" name="Isosceles Triangle 9">
              <a:extLst>
                <a:ext uri="{FF2B5EF4-FFF2-40B4-BE49-F238E27FC236}">
                  <a16:creationId xmlns:a16="http://schemas.microsoft.com/office/drawing/2014/main" id="{D8B13A95-FF31-BD40-8F1C-D103A77E166D}"/>
                </a:ext>
              </a:extLst>
            </p:cNvPr>
            <p:cNvSpPr/>
            <p:nvPr/>
          </p:nvSpPr>
          <p:spPr>
            <a:xfrm>
              <a:off x="2443264" y="3273358"/>
              <a:ext cx="956124" cy="856034"/>
            </a:xfrm>
            <a:prstGeom prst="triangle">
              <a:avLst>
                <a:gd name="adj" fmla="val 10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000" dirty="0">
                <a:solidFill>
                  <a:srgbClr val="FFFFFF"/>
                </a:solidFill>
              </a:endParaRPr>
            </a:p>
          </p:txBody>
        </p:sp>
        <p:sp>
          <p:nvSpPr>
            <p:cNvPr id="38" name="Rectangle 37">
              <a:extLst>
                <a:ext uri="{FF2B5EF4-FFF2-40B4-BE49-F238E27FC236}">
                  <a16:creationId xmlns:a16="http://schemas.microsoft.com/office/drawing/2014/main" id="{B5912BDA-38BB-C742-995E-62AEB90A1F01}"/>
                </a:ext>
              </a:extLst>
            </p:cNvPr>
            <p:cNvSpPr/>
            <p:nvPr/>
          </p:nvSpPr>
          <p:spPr>
            <a:xfrm>
              <a:off x="3624467" y="1665289"/>
              <a:ext cx="1499149" cy="2464101"/>
            </a:xfrm>
            <a:prstGeom prst="rect">
              <a:avLst/>
            </a:prstGeom>
            <a:solidFill>
              <a:schemeClr val="accent1"/>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endParaRPr lang="en-US" sz="1100" dirty="0">
                <a:solidFill>
                  <a:schemeClr val="tx1"/>
                </a:solidFill>
              </a:endParaRPr>
            </a:p>
          </p:txBody>
        </p:sp>
        <p:sp>
          <p:nvSpPr>
            <p:cNvPr id="39" name="Diagonal Stripe 38">
              <a:extLst>
                <a:ext uri="{FF2B5EF4-FFF2-40B4-BE49-F238E27FC236}">
                  <a16:creationId xmlns:a16="http://schemas.microsoft.com/office/drawing/2014/main" id="{5A98289C-7CB8-7445-8B9D-1DD7A3A1C37A}"/>
                </a:ext>
              </a:extLst>
            </p:cNvPr>
            <p:cNvSpPr/>
            <p:nvPr/>
          </p:nvSpPr>
          <p:spPr>
            <a:xfrm>
              <a:off x="3624465" y="1665289"/>
              <a:ext cx="844584" cy="703397"/>
            </a:xfrm>
            <a:prstGeom prst="diagStripe">
              <a:avLst>
                <a:gd name="adj"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b="1" dirty="0">
                  <a:solidFill>
                    <a:srgbClr val="FFFFFF"/>
                  </a:solidFill>
                </a:rPr>
                <a:t>2</a:t>
              </a:r>
            </a:p>
          </p:txBody>
        </p:sp>
        <p:sp>
          <p:nvSpPr>
            <p:cNvPr id="40" name="Isosceles Triangle 27">
              <a:extLst>
                <a:ext uri="{FF2B5EF4-FFF2-40B4-BE49-F238E27FC236}">
                  <a16:creationId xmlns:a16="http://schemas.microsoft.com/office/drawing/2014/main" id="{EEEB61FB-ADBF-AA4E-BF59-4C6992032FC2}"/>
                </a:ext>
              </a:extLst>
            </p:cNvPr>
            <p:cNvSpPr/>
            <p:nvPr/>
          </p:nvSpPr>
          <p:spPr>
            <a:xfrm>
              <a:off x="4167492" y="3273358"/>
              <a:ext cx="956124" cy="856034"/>
            </a:xfrm>
            <a:prstGeom prst="triangle">
              <a:avLst>
                <a:gd name="adj" fmla="val 10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000" dirty="0">
                <a:solidFill>
                  <a:srgbClr val="FFFFFF"/>
                </a:solidFill>
              </a:endParaRPr>
            </a:p>
          </p:txBody>
        </p:sp>
        <p:sp>
          <p:nvSpPr>
            <p:cNvPr id="41" name="Rectangle 40">
              <a:extLst>
                <a:ext uri="{FF2B5EF4-FFF2-40B4-BE49-F238E27FC236}">
                  <a16:creationId xmlns:a16="http://schemas.microsoft.com/office/drawing/2014/main" id="{F4369105-4641-D24A-9507-79F5D361C3FB}"/>
                </a:ext>
              </a:extLst>
            </p:cNvPr>
            <p:cNvSpPr/>
            <p:nvPr/>
          </p:nvSpPr>
          <p:spPr>
            <a:xfrm>
              <a:off x="5348695" y="1665289"/>
              <a:ext cx="1499149" cy="2464101"/>
            </a:xfrm>
            <a:prstGeom prst="rect">
              <a:avLst/>
            </a:prstGeom>
            <a:solidFill>
              <a:srgbClr val="43B02A"/>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endParaRPr lang="en-US" sz="1100" dirty="0">
                <a:solidFill>
                  <a:schemeClr val="tx1"/>
                </a:solidFill>
              </a:endParaRPr>
            </a:p>
          </p:txBody>
        </p:sp>
        <p:sp>
          <p:nvSpPr>
            <p:cNvPr id="42" name="Diagonal Stripe 41">
              <a:extLst>
                <a:ext uri="{FF2B5EF4-FFF2-40B4-BE49-F238E27FC236}">
                  <a16:creationId xmlns:a16="http://schemas.microsoft.com/office/drawing/2014/main" id="{D5425E47-1633-C941-9F91-6135B90FED40}"/>
                </a:ext>
              </a:extLst>
            </p:cNvPr>
            <p:cNvSpPr/>
            <p:nvPr/>
          </p:nvSpPr>
          <p:spPr>
            <a:xfrm>
              <a:off x="5348693" y="1665289"/>
              <a:ext cx="844584" cy="703397"/>
            </a:xfrm>
            <a:prstGeom prst="diagStripe">
              <a:avLst>
                <a:gd name="adj"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b="1" dirty="0">
                  <a:solidFill>
                    <a:srgbClr val="FFFFFF"/>
                  </a:solidFill>
                </a:rPr>
                <a:t>3</a:t>
              </a:r>
            </a:p>
          </p:txBody>
        </p:sp>
        <p:sp>
          <p:nvSpPr>
            <p:cNvPr id="43" name="Isosceles Triangle 31">
              <a:extLst>
                <a:ext uri="{FF2B5EF4-FFF2-40B4-BE49-F238E27FC236}">
                  <a16:creationId xmlns:a16="http://schemas.microsoft.com/office/drawing/2014/main" id="{0C8B5EE1-C802-6A4A-A48A-59F83D4392F3}"/>
                </a:ext>
              </a:extLst>
            </p:cNvPr>
            <p:cNvSpPr/>
            <p:nvPr/>
          </p:nvSpPr>
          <p:spPr>
            <a:xfrm>
              <a:off x="5891720" y="3273358"/>
              <a:ext cx="956124" cy="856034"/>
            </a:xfrm>
            <a:prstGeom prst="triangle">
              <a:avLst>
                <a:gd name="adj" fmla="val 10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000" dirty="0">
                <a:solidFill>
                  <a:srgbClr val="FFFFFF"/>
                </a:solidFill>
              </a:endParaRPr>
            </a:p>
          </p:txBody>
        </p:sp>
        <p:sp>
          <p:nvSpPr>
            <p:cNvPr id="44" name="Rectangle 43">
              <a:extLst>
                <a:ext uri="{FF2B5EF4-FFF2-40B4-BE49-F238E27FC236}">
                  <a16:creationId xmlns:a16="http://schemas.microsoft.com/office/drawing/2014/main" id="{FCA2E5DA-E479-C64A-8042-2E7F953BCAC8}"/>
                </a:ext>
              </a:extLst>
            </p:cNvPr>
            <p:cNvSpPr/>
            <p:nvPr/>
          </p:nvSpPr>
          <p:spPr>
            <a:xfrm>
              <a:off x="7072923" y="1665289"/>
              <a:ext cx="1499149" cy="2464101"/>
            </a:xfrm>
            <a:prstGeom prst="rect">
              <a:avLst/>
            </a:prstGeom>
            <a:solidFill>
              <a:schemeClr val="accent3"/>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endParaRPr lang="en-US" sz="1100" dirty="0">
                <a:solidFill>
                  <a:schemeClr val="tx1"/>
                </a:solidFill>
              </a:endParaRPr>
            </a:p>
          </p:txBody>
        </p:sp>
        <p:sp>
          <p:nvSpPr>
            <p:cNvPr id="45" name="Diagonal Stripe 44">
              <a:extLst>
                <a:ext uri="{FF2B5EF4-FFF2-40B4-BE49-F238E27FC236}">
                  <a16:creationId xmlns:a16="http://schemas.microsoft.com/office/drawing/2014/main" id="{AAB04214-9AE7-4148-9799-47ACB20B3607}"/>
                </a:ext>
              </a:extLst>
            </p:cNvPr>
            <p:cNvSpPr/>
            <p:nvPr/>
          </p:nvSpPr>
          <p:spPr>
            <a:xfrm>
              <a:off x="7072921" y="1665289"/>
              <a:ext cx="844584" cy="703397"/>
            </a:xfrm>
            <a:prstGeom prst="diagStripe">
              <a:avLst>
                <a:gd name="adj"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b="1" dirty="0">
                  <a:solidFill>
                    <a:srgbClr val="FFFFFF"/>
                  </a:solidFill>
                </a:rPr>
                <a:t>4</a:t>
              </a:r>
            </a:p>
          </p:txBody>
        </p:sp>
        <p:sp>
          <p:nvSpPr>
            <p:cNvPr id="46" name="Isosceles Triangle 35">
              <a:extLst>
                <a:ext uri="{FF2B5EF4-FFF2-40B4-BE49-F238E27FC236}">
                  <a16:creationId xmlns:a16="http://schemas.microsoft.com/office/drawing/2014/main" id="{7E801C32-4AAB-3447-B0BB-E77E36E3B9E1}"/>
                </a:ext>
              </a:extLst>
            </p:cNvPr>
            <p:cNvSpPr/>
            <p:nvPr/>
          </p:nvSpPr>
          <p:spPr>
            <a:xfrm>
              <a:off x="7615948" y="3273358"/>
              <a:ext cx="956124" cy="856034"/>
            </a:xfrm>
            <a:prstGeom prst="triangle">
              <a:avLst>
                <a:gd name="adj" fmla="val 10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000" dirty="0">
                <a:solidFill>
                  <a:srgbClr val="FFFFFF"/>
                </a:solidFill>
              </a:endParaRPr>
            </a:p>
          </p:txBody>
        </p:sp>
        <p:sp>
          <p:nvSpPr>
            <p:cNvPr id="47" name="Rectangle 46">
              <a:extLst>
                <a:ext uri="{FF2B5EF4-FFF2-40B4-BE49-F238E27FC236}">
                  <a16:creationId xmlns:a16="http://schemas.microsoft.com/office/drawing/2014/main" id="{041D9DA1-F6FF-3942-9015-5E316BC833D8}"/>
                </a:ext>
              </a:extLst>
            </p:cNvPr>
            <p:cNvSpPr/>
            <p:nvPr/>
          </p:nvSpPr>
          <p:spPr>
            <a:xfrm>
              <a:off x="8797149" y="1665289"/>
              <a:ext cx="1499149" cy="2464101"/>
            </a:xfrm>
            <a:prstGeom prst="rect">
              <a:avLst/>
            </a:prstGeom>
            <a:solidFill>
              <a:srgbClr val="046A38"/>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endParaRPr lang="en-US" sz="1100" dirty="0">
                <a:solidFill>
                  <a:schemeClr val="tx1"/>
                </a:solidFill>
              </a:endParaRPr>
            </a:p>
          </p:txBody>
        </p:sp>
        <p:sp>
          <p:nvSpPr>
            <p:cNvPr id="48" name="Diagonal Stripe 47">
              <a:extLst>
                <a:ext uri="{FF2B5EF4-FFF2-40B4-BE49-F238E27FC236}">
                  <a16:creationId xmlns:a16="http://schemas.microsoft.com/office/drawing/2014/main" id="{0DB7E988-9C97-B64F-B2DD-181C335C8BC9}"/>
                </a:ext>
              </a:extLst>
            </p:cNvPr>
            <p:cNvSpPr/>
            <p:nvPr/>
          </p:nvSpPr>
          <p:spPr>
            <a:xfrm>
              <a:off x="8797147" y="1665289"/>
              <a:ext cx="844584" cy="703397"/>
            </a:xfrm>
            <a:prstGeom prst="diagStripe">
              <a:avLst>
                <a:gd name="adj"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b="1" dirty="0">
                  <a:solidFill>
                    <a:srgbClr val="FFFFFF"/>
                  </a:solidFill>
                </a:rPr>
                <a:t>5</a:t>
              </a:r>
            </a:p>
          </p:txBody>
        </p:sp>
        <p:sp>
          <p:nvSpPr>
            <p:cNvPr id="49" name="Isosceles Triangle 39">
              <a:extLst>
                <a:ext uri="{FF2B5EF4-FFF2-40B4-BE49-F238E27FC236}">
                  <a16:creationId xmlns:a16="http://schemas.microsoft.com/office/drawing/2014/main" id="{EBDF3111-1B05-1A4B-A297-628142089274}"/>
                </a:ext>
              </a:extLst>
            </p:cNvPr>
            <p:cNvSpPr/>
            <p:nvPr/>
          </p:nvSpPr>
          <p:spPr>
            <a:xfrm>
              <a:off x="9340174" y="3273358"/>
              <a:ext cx="956124" cy="856034"/>
            </a:xfrm>
            <a:prstGeom prst="triangle">
              <a:avLst>
                <a:gd name="adj" fmla="val 10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000" dirty="0">
                <a:solidFill>
                  <a:srgbClr val="FFFFFF"/>
                </a:solidFill>
              </a:endParaRPr>
            </a:p>
          </p:txBody>
        </p:sp>
        <p:sp>
          <p:nvSpPr>
            <p:cNvPr id="50" name="Rectangle 49">
              <a:extLst>
                <a:ext uri="{FF2B5EF4-FFF2-40B4-BE49-F238E27FC236}">
                  <a16:creationId xmlns:a16="http://schemas.microsoft.com/office/drawing/2014/main" id="{53D5EBE5-7BC8-394A-9030-B849DC39197D}"/>
                </a:ext>
              </a:extLst>
            </p:cNvPr>
            <p:cNvSpPr/>
            <p:nvPr/>
          </p:nvSpPr>
          <p:spPr>
            <a:xfrm>
              <a:off x="5476437" y="2497857"/>
              <a:ext cx="1232405" cy="646331"/>
            </a:xfrm>
            <a:prstGeom prst="rect">
              <a:avLst/>
            </a:prstGeom>
          </p:spPr>
          <p:txBody>
            <a:bodyPr wrap="square" lIns="0" tIns="0" rIns="0" bIns="0">
              <a:spAutoFit/>
            </a:bodyPr>
            <a:lstStyle/>
            <a:p>
              <a:r>
                <a:rPr lang="en-US" sz="1400" dirty="0" err="1"/>
                <a:t>Duis</a:t>
              </a:r>
              <a:r>
                <a:rPr lang="en-US" sz="1400" dirty="0"/>
                <a:t> </a:t>
              </a:r>
              <a:r>
                <a:rPr lang="en-US" sz="1400" dirty="0" err="1"/>
                <a:t>aute</a:t>
              </a:r>
              <a:r>
                <a:rPr lang="en-US" sz="1400" dirty="0"/>
                <a:t> </a:t>
              </a:r>
              <a:r>
                <a:rPr lang="en-US" sz="1400" dirty="0" err="1"/>
                <a:t>irure</a:t>
              </a:r>
              <a:r>
                <a:rPr lang="en-US" sz="1400" dirty="0"/>
                <a:t> dolor in </a:t>
              </a:r>
              <a:r>
                <a:rPr lang="en-US" sz="1400" dirty="0" err="1"/>
                <a:t>reprehenderit</a:t>
              </a:r>
              <a:endParaRPr lang="en-US" sz="1400" dirty="0"/>
            </a:p>
          </p:txBody>
        </p:sp>
        <p:sp>
          <p:nvSpPr>
            <p:cNvPr id="51" name="Rectangle 50">
              <a:extLst>
                <a:ext uri="{FF2B5EF4-FFF2-40B4-BE49-F238E27FC236}">
                  <a16:creationId xmlns:a16="http://schemas.microsoft.com/office/drawing/2014/main" id="{0F02FF34-457F-5C4D-9654-1889D7629CA8}"/>
                </a:ext>
              </a:extLst>
            </p:cNvPr>
            <p:cNvSpPr/>
            <p:nvPr/>
          </p:nvSpPr>
          <p:spPr>
            <a:xfrm>
              <a:off x="3757838" y="2497857"/>
              <a:ext cx="1232405" cy="646331"/>
            </a:xfrm>
            <a:prstGeom prst="rect">
              <a:avLst/>
            </a:prstGeom>
          </p:spPr>
          <p:txBody>
            <a:bodyPr wrap="square" lIns="0" tIns="0" rIns="0" bIns="0">
              <a:spAutoFit/>
            </a:bodyPr>
            <a:lstStyle/>
            <a:p>
              <a:r>
                <a:rPr lang="en-US" sz="1400" dirty="0" err="1"/>
                <a:t>Duis</a:t>
              </a:r>
              <a:r>
                <a:rPr lang="en-US" sz="1400" dirty="0"/>
                <a:t> </a:t>
              </a:r>
              <a:r>
                <a:rPr lang="en-US" sz="1400" dirty="0" err="1"/>
                <a:t>aute</a:t>
              </a:r>
              <a:r>
                <a:rPr lang="en-US" sz="1400" dirty="0"/>
                <a:t> </a:t>
              </a:r>
              <a:r>
                <a:rPr lang="en-US" sz="1400" dirty="0" err="1"/>
                <a:t>irure</a:t>
              </a:r>
              <a:r>
                <a:rPr lang="en-US" sz="1400" dirty="0"/>
                <a:t> dolor in </a:t>
              </a:r>
              <a:r>
                <a:rPr lang="en-US" sz="1400" dirty="0" err="1"/>
                <a:t>reprehenderit</a:t>
              </a:r>
              <a:endParaRPr lang="en-US" sz="1400" dirty="0"/>
            </a:p>
          </p:txBody>
        </p:sp>
        <p:sp>
          <p:nvSpPr>
            <p:cNvPr id="52" name="Rectangle 51">
              <a:extLst>
                <a:ext uri="{FF2B5EF4-FFF2-40B4-BE49-F238E27FC236}">
                  <a16:creationId xmlns:a16="http://schemas.microsoft.com/office/drawing/2014/main" id="{1CE44758-1C8E-E544-806A-0CAC2E37B9DC}"/>
                </a:ext>
              </a:extLst>
            </p:cNvPr>
            <p:cNvSpPr/>
            <p:nvPr/>
          </p:nvSpPr>
          <p:spPr>
            <a:xfrm>
              <a:off x="2003664" y="2497857"/>
              <a:ext cx="1232405" cy="646331"/>
            </a:xfrm>
            <a:prstGeom prst="rect">
              <a:avLst/>
            </a:prstGeom>
          </p:spPr>
          <p:txBody>
            <a:bodyPr wrap="square" lIns="0" tIns="0" rIns="0" bIns="0">
              <a:spAutoFit/>
            </a:bodyPr>
            <a:lstStyle/>
            <a:p>
              <a:r>
                <a:rPr lang="en-US" sz="1400" dirty="0" err="1"/>
                <a:t>Duis</a:t>
              </a:r>
              <a:r>
                <a:rPr lang="en-US" sz="1400" dirty="0"/>
                <a:t> </a:t>
              </a:r>
              <a:r>
                <a:rPr lang="en-US" sz="1400" dirty="0" err="1"/>
                <a:t>aute</a:t>
              </a:r>
              <a:r>
                <a:rPr lang="en-US" sz="1400" dirty="0"/>
                <a:t> </a:t>
              </a:r>
              <a:r>
                <a:rPr lang="en-US" sz="1400" dirty="0" err="1"/>
                <a:t>irure</a:t>
              </a:r>
              <a:r>
                <a:rPr lang="en-US" sz="1400" dirty="0"/>
                <a:t> dolor in </a:t>
              </a:r>
              <a:r>
                <a:rPr lang="en-US" sz="1400" dirty="0" err="1"/>
                <a:t>reprehenderit</a:t>
              </a:r>
              <a:endParaRPr lang="en-US" sz="1400" dirty="0"/>
            </a:p>
          </p:txBody>
        </p:sp>
        <p:sp>
          <p:nvSpPr>
            <p:cNvPr id="53" name="Rectangle 52">
              <a:extLst>
                <a:ext uri="{FF2B5EF4-FFF2-40B4-BE49-F238E27FC236}">
                  <a16:creationId xmlns:a16="http://schemas.microsoft.com/office/drawing/2014/main" id="{EE535026-766C-B249-A6E9-E0015C2E082E}"/>
                </a:ext>
              </a:extLst>
            </p:cNvPr>
            <p:cNvSpPr/>
            <p:nvPr/>
          </p:nvSpPr>
          <p:spPr>
            <a:xfrm>
              <a:off x="7198233" y="2497857"/>
              <a:ext cx="1232405" cy="561682"/>
            </a:xfrm>
            <a:prstGeom prst="rect">
              <a:avLst/>
            </a:prstGeom>
          </p:spPr>
          <p:txBody>
            <a:bodyPr wrap="square" lIns="0" tIns="0" rIns="0" bIns="0">
              <a:spAutoFit/>
            </a:bodyPr>
            <a:lstStyle/>
            <a:p>
              <a:r>
                <a:rPr lang="en-US" sz="1400" dirty="0" err="1">
                  <a:solidFill>
                    <a:schemeClr val="bg1"/>
                  </a:solidFill>
                </a:rPr>
                <a:t>Duis</a:t>
              </a:r>
              <a:r>
                <a:rPr lang="en-US" sz="1400" dirty="0">
                  <a:solidFill>
                    <a:schemeClr val="bg1"/>
                  </a:solidFill>
                </a:rPr>
                <a:t> </a:t>
              </a:r>
              <a:r>
                <a:rPr lang="en-US" sz="1400" dirty="0" err="1">
                  <a:solidFill>
                    <a:schemeClr val="bg1"/>
                  </a:solidFill>
                </a:rPr>
                <a:t>aute</a:t>
              </a:r>
              <a:r>
                <a:rPr lang="en-US" sz="1400" dirty="0">
                  <a:solidFill>
                    <a:schemeClr val="bg1"/>
                  </a:solidFill>
                </a:rPr>
                <a:t> </a:t>
              </a:r>
              <a:r>
                <a:rPr lang="en-US" sz="1400" dirty="0" err="1">
                  <a:solidFill>
                    <a:schemeClr val="bg1"/>
                  </a:solidFill>
                </a:rPr>
                <a:t>irure</a:t>
              </a:r>
              <a:r>
                <a:rPr lang="en-US" sz="1400" dirty="0">
                  <a:solidFill>
                    <a:schemeClr val="bg1"/>
                  </a:solidFill>
                </a:rPr>
                <a:t> dolor in </a:t>
              </a:r>
              <a:r>
                <a:rPr lang="en-US" sz="1400" dirty="0" err="1">
                  <a:solidFill>
                    <a:schemeClr val="bg1"/>
                  </a:solidFill>
                </a:rPr>
                <a:t>reprehenderit</a:t>
              </a:r>
              <a:endParaRPr lang="en-US" sz="1400" dirty="0">
                <a:solidFill>
                  <a:schemeClr val="bg1"/>
                </a:solidFill>
              </a:endParaRPr>
            </a:p>
          </p:txBody>
        </p:sp>
        <p:sp>
          <p:nvSpPr>
            <p:cNvPr id="54" name="Rectangle 53">
              <a:extLst>
                <a:ext uri="{FF2B5EF4-FFF2-40B4-BE49-F238E27FC236}">
                  <a16:creationId xmlns:a16="http://schemas.microsoft.com/office/drawing/2014/main" id="{9879662B-ED1E-E148-8EAF-919D4F29F75C}"/>
                </a:ext>
              </a:extLst>
            </p:cNvPr>
            <p:cNvSpPr/>
            <p:nvPr/>
          </p:nvSpPr>
          <p:spPr>
            <a:xfrm>
              <a:off x="8939484" y="2497857"/>
              <a:ext cx="1232405" cy="561682"/>
            </a:xfrm>
            <a:prstGeom prst="rect">
              <a:avLst/>
            </a:prstGeom>
          </p:spPr>
          <p:txBody>
            <a:bodyPr wrap="square" lIns="0" tIns="0" rIns="0" bIns="0">
              <a:spAutoFit/>
            </a:bodyPr>
            <a:lstStyle/>
            <a:p>
              <a:r>
                <a:rPr lang="en-US" sz="1400" dirty="0" err="1">
                  <a:solidFill>
                    <a:schemeClr val="bg1"/>
                  </a:solidFill>
                </a:rPr>
                <a:t>Duis</a:t>
              </a:r>
              <a:r>
                <a:rPr lang="en-US" sz="1400" dirty="0">
                  <a:solidFill>
                    <a:schemeClr val="bg1"/>
                  </a:solidFill>
                </a:rPr>
                <a:t> </a:t>
              </a:r>
              <a:r>
                <a:rPr lang="en-US" sz="1400" dirty="0" err="1">
                  <a:solidFill>
                    <a:schemeClr val="bg1"/>
                  </a:solidFill>
                </a:rPr>
                <a:t>aute</a:t>
              </a:r>
              <a:r>
                <a:rPr lang="en-US" sz="1400" dirty="0">
                  <a:solidFill>
                    <a:schemeClr val="bg1"/>
                  </a:solidFill>
                </a:rPr>
                <a:t> </a:t>
              </a:r>
              <a:r>
                <a:rPr lang="en-US" sz="1400" dirty="0" err="1">
                  <a:solidFill>
                    <a:schemeClr val="bg1"/>
                  </a:solidFill>
                </a:rPr>
                <a:t>irure</a:t>
              </a:r>
              <a:r>
                <a:rPr lang="en-US" sz="1400" dirty="0">
                  <a:solidFill>
                    <a:schemeClr val="bg1"/>
                  </a:solidFill>
                </a:rPr>
                <a:t> dolor in </a:t>
              </a:r>
              <a:r>
                <a:rPr lang="en-US" sz="1400" dirty="0" err="1">
                  <a:solidFill>
                    <a:schemeClr val="bg1"/>
                  </a:solidFill>
                </a:rPr>
                <a:t>reprehenderit</a:t>
              </a:r>
              <a:endParaRPr lang="en-US" sz="1400" dirty="0">
                <a:solidFill>
                  <a:schemeClr val="bg1"/>
                </a:solidFill>
              </a:endParaRPr>
            </a:p>
          </p:txBody>
        </p:sp>
        <p:grpSp>
          <p:nvGrpSpPr>
            <p:cNvPr id="55" name="Group 726">
              <a:extLst>
                <a:ext uri="{FF2B5EF4-FFF2-40B4-BE49-F238E27FC236}">
                  <a16:creationId xmlns:a16="http://schemas.microsoft.com/office/drawing/2014/main" id="{6C73E0C5-44D5-B440-A849-FAA022B4F283}"/>
                </a:ext>
              </a:extLst>
            </p:cNvPr>
            <p:cNvGrpSpPr>
              <a:grpSpLocks noChangeAspect="1"/>
            </p:cNvGrpSpPr>
            <p:nvPr/>
          </p:nvGrpSpPr>
          <p:grpSpPr bwMode="auto">
            <a:xfrm>
              <a:off x="2959952" y="3682637"/>
              <a:ext cx="367982" cy="367982"/>
              <a:chOff x="5022" y="3403"/>
              <a:chExt cx="340" cy="340"/>
            </a:xfrm>
            <a:solidFill>
              <a:schemeClr val="bg1"/>
            </a:solidFill>
          </p:grpSpPr>
          <p:sp>
            <p:nvSpPr>
              <p:cNvPr id="56" name="Freeform 727">
                <a:extLst>
                  <a:ext uri="{FF2B5EF4-FFF2-40B4-BE49-F238E27FC236}">
                    <a16:creationId xmlns:a16="http://schemas.microsoft.com/office/drawing/2014/main" id="{EF53BA01-F542-F24B-9EB3-4C4D216D9D95}"/>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728">
                <a:extLst>
                  <a:ext uri="{FF2B5EF4-FFF2-40B4-BE49-F238E27FC236}">
                    <a16:creationId xmlns:a16="http://schemas.microsoft.com/office/drawing/2014/main" id="{528B8102-2894-7748-8703-D527E6AD6B95}"/>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925">
              <a:extLst>
                <a:ext uri="{FF2B5EF4-FFF2-40B4-BE49-F238E27FC236}">
                  <a16:creationId xmlns:a16="http://schemas.microsoft.com/office/drawing/2014/main" id="{29AC26DA-978B-3149-874D-15CBAFE89F29}"/>
                </a:ext>
              </a:extLst>
            </p:cNvPr>
            <p:cNvGrpSpPr>
              <a:grpSpLocks noChangeAspect="1"/>
            </p:cNvGrpSpPr>
            <p:nvPr/>
          </p:nvGrpSpPr>
          <p:grpSpPr bwMode="auto">
            <a:xfrm>
              <a:off x="4668595" y="3682637"/>
              <a:ext cx="378373" cy="356628"/>
              <a:chOff x="1152" y="3440"/>
              <a:chExt cx="348" cy="328"/>
            </a:xfrm>
            <a:solidFill>
              <a:schemeClr val="bg1"/>
            </a:solidFill>
          </p:grpSpPr>
          <p:sp>
            <p:nvSpPr>
              <p:cNvPr id="59" name="Freeform 926">
                <a:extLst>
                  <a:ext uri="{FF2B5EF4-FFF2-40B4-BE49-F238E27FC236}">
                    <a16:creationId xmlns:a16="http://schemas.microsoft.com/office/drawing/2014/main" id="{3028ED24-AF2E-A34B-99E0-43ED71211620}"/>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927">
                <a:extLst>
                  <a:ext uri="{FF2B5EF4-FFF2-40B4-BE49-F238E27FC236}">
                    <a16:creationId xmlns:a16="http://schemas.microsoft.com/office/drawing/2014/main" id="{67922A3B-48DA-1C49-97EE-434678DB9508}"/>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928">
                <a:extLst>
                  <a:ext uri="{FF2B5EF4-FFF2-40B4-BE49-F238E27FC236}">
                    <a16:creationId xmlns:a16="http://schemas.microsoft.com/office/drawing/2014/main" id="{EB9F6B3A-66F7-B741-8B94-9ABA6BAAE0A7}"/>
                  </a:ext>
                </a:extLst>
              </p:cNvPr>
              <p:cNvSpPr>
                <a:spLocks noEditPoints="1"/>
              </p:cNvSpPr>
              <p:nvPr/>
            </p:nvSpPr>
            <p:spPr bwMode="auto">
              <a:xfrm>
                <a:off x="1152" y="3440"/>
                <a:ext cx="348" cy="3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387">
              <a:extLst>
                <a:ext uri="{FF2B5EF4-FFF2-40B4-BE49-F238E27FC236}">
                  <a16:creationId xmlns:a16="http://schemas.microsoft.com/office/drawing/2014/main" id="{93C424B8-CD88-354D-87FF-062CF80F9318}"/>
                </a:ext>
              </a:extLst>
            </p:cNvPr>
            <p:cNvGrpSpPr>
              <a:grpSpLocks noChangeAspect="1"/>
            </p:cNvGrpSpPr>
            <p:nvPr/>
          </p:nvGrpSpPr>
          <p:grpSpPr bwMode="auto">
            <a:xfrm>
              <a:off x="6413082" y="3682638"/>
              <a:ext cx="369021" cy="369021"/>
              <a:chOff x="7355" y="1558"/>
              <a:chExt cx="340" cy="340"/>
            </a:xfrm>
            <a:solidFill>
              <a:schemeClr val="bg1"/>
            </a:solidFill>
          </p:grpSpPr>
          <p:sp>
            <p:nvSpPr>
              <p:cNvPr id="63" name="Freeform 388">
                <a:extLst>
                  <a:ext uri="{FF2B5EF4-FFF2-40B4-BE49-F238E27FC236}">
                    <a16:creationId xmlns:a16="http://schemas.microsoft.com/office/drawing/2014/main" id="{38D0A86F-0DDF-3446-BADF-8A3F6FAB2379}"/>
                  </a:ext>
                </a:extLst>
              </p:cNvPr>
              <p:cNvSpPr>
                <a:spLocks noEditPoints="1"/>
              </p:cNvSpPr>
              <p:nvPr/>
            </p:nvSpPr>
            <p:spPr bwMode="auto">
              <a:xfrm>
                <a:off x="7355" y="15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89">
                <a:extLst>
                  <a:ext uri="{FF2B5EF4-FFF2-40B4-BE49-F238E27FC236}">
                    <a16:creationId xmlns:a16="http://schemas.microsoft.com/office/drawing/2014/main" id="{031A5AA4-5EC2-8E43-B5F1-E4F2110B400F}"/>
                  </a:ext>
                </a:extLst>
              </p:cNvPr>
              <p:cNvSpPr>
                <a:spLocks noEditPoints="1"/>
              </p:cNvSpPr>
              <p:nvPr/>
            </p:nvSpPr>
            <p:spPr bwMode="auto">
              <a:xfrm>
                <a:off x="7418" y="1664"/>
                <a:ext cx="213" cy="149"/>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578">
              <a:extLst>
                <a:ext uri="{FF2B5EF4-FFF2-40B4-BE49-F238E27FC236}">
                  <a16:creationId xmlns:a16="http://schemas.microsoft.com/office/drawing/2014/main" id="{2781E982-C991-534F-84B8-D4DC9D2C6123}"/>
                </a:ext>
              </a:extLst>
            </p:cNvPr>
            <p:cNvGrpSpPr>
              <a:grpSpLocks noChangeAspect="1"/>
            </p:cNvGrpSpPr>
            <p:nvPr/>
          </p:nvGrpSpPr>
          <p:grpSpPr bwMode="auto">
            <a:xfrm>
              <a:off x="8129411" y="3682638"/>
              <a:ext cx="367041" cy="367041"/>
              <a:chOff x="1932" y="2478"/>
              <a:chExt cx="340" cy="340"/>
            </a:xfrm>
            <a:solidFill>
              <a:schemeClr val="bg1"/>
            </a:solidFill>
          </p:grpSpPr>
          <p:sp>
            <p:nvSpPr>
              <p:cNvPr id="66" name="Freeform 579">
                <a:extLst>
                  <a:ext uri="{FF2B5EF4-FFF2-40B4-BE49-F238E27FC236}">
                    <a16:creationId xmlns:a16="http://schemas.microsoft.com/office/drawing/2014/main" id="{F0818537-72E4-014B-9159-3D769DC9E3FF}"/>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580">
                <a:extLst>
                  <a:ext uri="{FF2B5EF4-FFF2-40B4-BE49-F238E27FC236}">
                    <a16:creationId xmlns:a16="http://schemas.microsoft.com/office/drawing/2014/main" id="{8FDE0BAE-943A-2C4E-9D56-7EDD4E0E7940}"/>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 name="Group 759">
              <a:extLst>
                <a:ext uri="{FF2B5EF4-FFF2-40B4-BE49-F238E27FC236}">
                  <a16:creationId xmlns:a16="http://schemas.microsoft.com/office/drawing/2014/main" id="{1DA932A2-35B8-DB48-95A6-E58326BDE332}"/>
                </a:ext>
              </a:extLst>
            </p:cNvPr>
            <p:cNvGrpSpPr>
              <a:grpSpLocks noChangeAspect="1"/>
            </p:cNvGrpSpPr>
            <p:nvPr/>
          </p:nvGrpSpPr>
          <p:grpSpPr bwMode="auto">
            <a:xfrm>
              <a:off x="9844823" y="3682637"/>
              <a:ext cx="369676" cy="369676"/>
              <a:chOff x="2732" y="2698"/>
              <a:chExt cx="340" cy="340"/>
            </a:xfrm>
            <a:solidFill>
              <a:schemeClr val="bg1"/>
            </a:solidFill>
          </p:grpSpPr>
          <p:sp>
            <p:nvSpPr>
              <p:cNvPr id="69" name="Freeform 760">
                <a:extLst>
                  <a:ext uri="{FF2B5EF4-FFF2-40B4-BE49-F238E27FC236}">
                    <a16:creationId xmlns:a16="http://schemas.microsoft.com/office/drawing/2014/main" id="{26785111-7907-1949-A0C7-B206F813B874}"/>
                  </a:ext>
                </a:extLst>
              </p:cNvPr>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761">
                <a:extLst>
                  <a:ext uri="{FF2B5EF4-FFF2-40B4-BE49-F238E27FC236}">
                    <a16:creationId xmlns:a16="http://schemas.microsoft.com/office/drawing/2014/main" id="{0DE1CD8A-11F2-7447-A6E7-34D0B422AFC2}"/>
                  </a:ext>
                </a:extLst>
              </p:cNvPr>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custDataLst>
      <p:tags r:id="rId1"/>
    </p:custDataLst>
    <p:extLst>
      <p:ext uri="{BB962C8B-B14F-4D97-AF65-F5344CB8AC3E}">
        <p14:creationId xmlns:p14="http://schemas.microsoft.com/office/powerpoint/2010/main" val="2130367986"/>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A679DA0-BDAA-4A27-AF5D-F56E27514746}"/>
              </a:ext>
            </a:extLst>
          </p:cNvPr>
          <p:cNvGrpSpPr/>
          <p:nvPr/>
        </p:nvGrpSpPr>
        <p:grpSpPr>
          <a:xfrm>
            <a:off x="1118939" y="1359570"/>
            <a:ext cx="9954122" cy="3767158"/>
            <a:chOff x="2089150" y="1929087"/>
            <a:chExt cx="8004176" cy="3029197"/>
          </a:xfrm>
        </p:grpSpPr>
        <p:sp>
          <p:nvSpPr>
            <p:cNvPr id="17" name="Freeform 15"/>
            <p:cNvSpPr>
              <a:spLocks/>
            </p:cNvSpPr>
            <p:nvPr/>
          </p:nvSpPr>
          <p:spPr bwMode="auto">
            <a:xfrm>
              <a:off x="8831263" y="2786064"/>
              <a:ext cx="1262063" cy="1266825"/>
            </a:xfrm>
            <a:custGeom>
              <a:avLst/>
              <a:gdLst>
                <a:gd name="T0" fmla="*/ 195 w 195"/>
                <a:gd name="T1" fmla="*/ 98 h 195"/>
                <a:gd name="T2" fmla="*/ 97 w 195"/>
                <a:gd name="T3" fmla="*/ 195 h 195"/>
                <a:gd name="T4" fmla="*/ 49 w 195"/>
                <a:gd name="T5" fmla="*/ 182 h 195"/>
                <a:gd name="T6" fmla="*/ 16 w 195"/>
                <a:gd name="T7" fmla="*/ 152 h 195"/>
                <a:gd name="T8" fmla="*/ 0 w 195"/>
                <a:gd name="T9" fmla="*/ 98 h 195"/>
                <a:gd name="T10" fmla="*/ 16 w 195"/>
                <a:gd name="T11" fmla="*/ 44 h 195"/>
                <a:gd name="T12" fmla="*/ 49 w 195"/>
                <a:gd name="T13" fmla="*/ 13 h 195"/>
                <a:gd name="T14" fmla="*/ 97 w 195"/>
                <a:gd name="T15" fmla="*/ 0 h 195"/>
                <a:gd name="T16" fmla="*/ 195 w 195"/>
                <a:gd name="T17" fmla="*/ 9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195" y="98"/>
                  </a:moveTo>
                  <a:cubicBezTo>
                    <a:pt x="195" y="152"/>
                    <a:pt x="151" y="195"/>
                    <a:pt x="97" y="195"/>
                  </a:cubicBezTo>
                  <a:cubicBezTo>
                    <a:pt x="80" y="195"/>
                    <a:pt x="63" y="191"/>
                    <a:pt x="49" y="182"/>
                  </a:cubicBezTo>
                  <a:cubicBezTo>
                    <a:pt x="36" y="175"/>
                    <a:pt x="25" y="164"/>
                    <a:pt x="16" y="152"/>
                  </a:cubicBezTo>
                  <a:cubicBezTo>
                    <a:pt x="6" y="136"/>
                    <a:pt x="0" y="118"/>
                    <a:pt x="0" y="98"/>
                  </a:cubicBezTo>
                  <a:cubicBezTo>
                    <a:pt x="0" y="78"/>
                    <a:pt x="6" y="59"/>
                    <a:pt x="16" y="44"/>
                  </a:cubicBezTo>
                  <a:cubicBezTo>
                    <a:pt x="25" y="31"/>
                    <a:pt x="36" y="21"/>
                    <a:pt x="49" y="13"/>
                  </a:cubicBezTo>
                  <a:cubicBezTo>
                    <a:pt x="63" y="5"/>
                    <a:pt x="80" y="0"/>
                    <a:pt x="97" y="0"/>
                  </a:cubicBezTo>
                  <a:cubicBezTo>
                    <a:pt x="151" y="0"/>
                    <a:pt x="195" y="44"/>
                    <a:pt x="195" y="98"/>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6"/>
            <p:cNvSpPr>
              <a:spLocks/>
            </p:cNvSpPr>
            <p:nvPr/>
          </p:nvSpPr>
          <p:spPr bwMode="auto">
            <a:xfrm>
              <a:off x="2098675" y="2786064"/>
              <a:ext cx="1260475" cy="1266825"/>
            </a:xfrm>
            <a:custGeom>
              <a:avLst/>
              <a:gdLst>
                <a:gd name="T0" fmla="*/ 195 w 195"/>
                <a:gd name="T1" fmla="*/ 98 h 195"/>
                <a:gd name="T2" fmla="*/ 178 w 195"/>
                <a:gd name="T3" fmla="*/ 153 h 195"/>
                <a:gd name="T4" fmla="*/ 147 w 195"/>
                <a:gd name="T5" fmla="*/ 182 h 195"/>
                <a:gd name="T6" fmla="*/ 97 w 195"/>
                <a:gd name="T7" fmla="*/ 195 h 195"/>
                <a:gd name="T8" fmla="*/ 0 w 195"/>
                <a:gd name="T9" fmla="*/ 98 h 195"/>
                <a:gd name="T10" fmla="*/ 97 w 195"/>
                <a:gd name="T11" fmla="*/ 0 h 195"/>
                <a:gd name="T12" fmla="*/ 147 w 195"/>
                <a:gd name="T13" fmla="*/ 14 h 195"/>
                <a:gd name="T14" fmla="*/ 178 w 195"/>
                <a:gd name="T15" fmla="*/ 43 h 195"/>
                <a:gd name="T16" fmla="*/ 195 w 195"/>
                <a:gd name="T17" fmla="*/ 9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195" y="98"/>
                  </a:moveTo>
                  <a:cubicBezTo>
                    <a:pt x="195" y="118"/>
                    <a:pt x="189" y="137"/>
                    <a:pt x="178" y="153"/>
                  </a:cubicBezTo>
                  <a:cubicBezTo>
                    <a:pt x="170" y="164"/>
                    <a:pt x="160" y="174"/>
                    <a:pt x="147" y="182"/>
                  </a:cubicBezTo>
                  <a:cubicBezTo>
                    <a:pt x="133" y="190"/>
                    <a:pt x="116" y="195"/>
                    <a:pt x="97" y="195"/>
                  </a:cubicBezTo>
                  <a:cubicBezTo>
                    <a:pt x="44" y="195"/>
                    <a:pt x="0" y="152"/>
                    <a:pt x="0" y="98"/>
                  </a:cubicBezTo>
                  <a:cubicBezTo>
                    <a:pt x="0" y="44"/>
                    <a:pt x="44" y="0"/>
                    <a:pt x="97" y="0"/>
                  </a:cubicBezTo>
                  <a:cubicBezTo>
                    <a:pt x="116" y="0"/>
                    <a:pt x="133" y="5"/>
                    <a:pt x="147" y="14"/>
                  </a:cubicBezTo>
                  <a:cubicBezTo>
                    <a:pt x="160" y="21"/>
                    <a:pt x="170" y="31"/>
                    <a:pt x="178" y="43"/>
                  </a:cubicBezTo>
                  <a:cubicBezTo>
                    <a:pt x="189" y="59"/>
                    <a:pt x="195" y="77"/>
                    <a:pt x="195" y="98"/>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7"/>
            <p:cNvSpPr>
              <a:spLocks/>
            </p:cNvSpPr>
            <p:nvPr/>
          </p:nvSpPr>
          <p:spPr bwMode="auto">
            <a:xfrm>
              <a:off x="3249613" y="3065464"/>
              <a:ext cx="633413" cy="714375"/>
            </a:xfrm>
            <a:custGeom>
              <a:avLst/>
              <a:gdLst>
                <a:gd name="T0" fmla="*/ 82 w 98"/>
                <a:gd name="T1" fmla="*/ 55 h 110"/>
                <a:gd name="T2" fmla="*/ 98 w 98"/>
                <a:gd name="T3" fmla="*/ 109 h 110"/>
                <a:gd name="T4" fmla="*/ 50 w 98"/>
                <a:gd name="T5" fmla="*/ 96 h 110"/>
                <a:gd name="T6" fmla="*/ 0 w 98"/>
                <a:gd name="T7" fmla="*/ 110 h 110"/>
                <a:gd name="T8" fmla="*/ 17 w 98"/>
                <a:gd name="T9" fmla="*/ 55 h 110"/>
                <a:gd name="T10" fmla="*/ 0 w 98"/>
                <a:gd name="T11" fmla="*/ 0 h 110"/>
                <a:gd name="T12" fmla="*/ 50 w 98"/>
                <a:gd name="T13" fmla="*/ 14 h 110"/>
                <a:gd name="T14" fmla="*/ 98 w 98"/>
                <a:gd name="T15" fmla="*/ 1 h 110"/>
                <a:gd name="T16" fmla="*/ 82 w 98"/>
                <a:gd name="T17" fmla="*/ 5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10">
                  <a:moveTo>
                    <a:pt x="82" y="55"/>
                  </a:moveTo>
                  <a:cubicBezTo>
                    <a:pt x="82" y="75"/>
                    <a:pt x="88" y="93"/>
                    <a:pt x="98" y="109"/>
                  </a:cubicBezTo>
                  <a:cubicBezTo>
                    <a:pt x="84" y="101"/>
                    <a:pt x="68" y="96"/>
                    <a:pt x="50" y="96"/>
                  </a:cubicBezTo>
                  <a:cubicBezTo>
                    <a:pt x="32" y="96"/>
                    <a:pt x="15" y="101"/>
                    <a:pt x="0" y="110"/>
                  </a:cubicBezTo>
                  <a:cubicBezTo>
                    <a:pt x="11" y="94"/>
                    <a:pt x="17" y="75"/>
                    <a:pt x="17" y="55"/>
                  </a:cubicBezTo>
                  <a:cubicBezTo>
                    <a:pt x="17" y="34"/>
                    <a:pt x="11" y="16"/>
                    <a:pt x="0" y="0"/>
                  </a:cubicBezTo>
                  <a:cubicBezTo>
                    <a:pt x="15" y="9"/>
                    <a:pt x="32" y="14"/>
                    <a:pt x="50" y="14"/>
                  </a:cubicBezTo>
                  <a:cubicBezTo>
                    <a:pt x="68" y="14"/>
                    <a:pt x="84" y="9"/>
                    <a:pt x="98" y="1"/>
                  </a:cubicBezTo>
                  <a:cubicBezTo>
                    <a:pt x="88" y="16"/>
                    <a:pt x="82" y="35"/>
                    <a:pt x="82" y="55"/>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8"/>
            <p:cNvSpPr>
              <a:spLocks/>
            </p:cNvSpPr>
            <p:nvPr/>
          </p:nvSpPr>
          <p:spPr bwMode="auto">
            <a:xfrm>
              <a:off x="2227263" y="2922589"/>
              <a:ext cx="996950" cy="1000125"/>
            </a:xfrm>
            <a:custGeom>
              <a:avLst/>
              <a:gdLst>
                <a:gd name="T0" fmla="*/ 154 w 154"/>
                <a:gd name="T1" fmla="*/ 77 h 154"/>
                <a:gd name="T2" fmla="*/ 141 w 154"/>
                <a:gd name="T3" fmla="*/ 120 h 154"/>
                <a:gd name="T4" fmla="*/ 117 w 154"/>
                <a:gd name="T5" fmla="*/ 143 h 154"/>
                <a:gd name="T6" fmla="*/ 77 w 154"/>
                <a:gd name="T7" fmla="*/ 154 h 154"/>
                <a:gd name="T8" fmla="*/ 0 w 154"/>
                <a:gd name="T9" fmla="*/ 77 h 154"/>
                <a:gd name="T10" fmla="*/ 77 w 154"/>
                <a:gd name="T11" fmla="*/ 0 h 154"/>
                <a:gd name="T12" fmla="*/ 117 w 154"/>
                <a:gd name="T13" fmla="*/ 11 h 154"/>
                <a:gd name="T14" fmla="*/ 141 w 154"/>
                <a:gd name="T15" fmla="*/ 33 h 154"/>
                <a:gd name="T16" fmla="*/ 154 w 154"/>
                <a:gd name="T17"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4">
                  <a:moveTo>
                    <a:pt x="154" y="77"/>
                  </a:moveTo>
                  <a:cubicBezTo>
                    <a:pt x="154" y="93"/>
                    <a:pt x="150" y="108"/>
                    <a:pt x="141" y="120"/>
                  </a:cubicBezTo>
                  <a:cubicBezTo>
                    <a:pt x="135" y="129"/>
                    <a:pt x="127" y="137"/>
                    <a:pt x="117" y="143"/>
                  </a:cubicBezTo>
                  <a:cubicBezTo>
                    <a:pt x="105" y="150"/>
                    <a:pt x="92" y="154"/>
                    <a:pt x="77" y="154"/>
                  </a:cubicBezTo>
                  <a:cubicBezTo>
                    <a:pt x="35" y="154"/>
                    <a:pt x="0" y="119"/>
                    <a:pt x="0" y="77"/>
                  </a:cubicBezTo>
                  <a:cubicBezTo>
                    <a:pt x="0" y="34"/>
                    <a:pt x="35" y="0"/>
                    <a:pt x="77" y="0"/>
                  </a:cubicBezTo>
                  <a:cubicBezTo>
                    <a:pt x="92" y="0"/>
                    <a:pt x="105" y="4"/>
                    <a:pt x="117" y="11"/>
                  </a:cubicBezTo>
                  <a:cubicBezTo>
                    <a:pt x="127" y="16"/>
                    <a:pt x="135" y="24"/>
                    <a:pt x="141" y="33"/>
                  </a:cubicBezTo>
                  <a:cubicBezTo>
                    <a:pt x="150" y="46"/>
                    <a:pt x="154" y="61"/>
                    <a:pt x="154"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9"/>
            <p:cNvSpPr>
              <a:spLocks/>
            </p:cNvSpPr>
            <p:nvPr/>
          </p:nvSpPr>
          <p:spPr bwMode="auto">
            <a:xfrm>
              <a:off x="8961438" y="2922589"/>
              <a:ext cx="995363" cy="1000125"/>
            </a:xfrm>
            <a:custGeom>
              <a:avLst/>
              <a:gdLst>
                <a:gd name="T0" fmla="*/ 154 w 154"/>
                <a:gd name="T1" fmla="*/ 77 h 154"/>
                <a:gd name="T2" fmla="*/ 141 w 154"/>
                <a:gd name="T3" fmla="*/ 120 h 154"/>
                <a:gd name="T4" fmla="*/ 117 w 154"/>
                <a:gd name="T5" fmla="*/ 143 h 154"/>
                <a:gd name="T6" fmla="*/ 77 w 154"/>
                <a:gd name="T7" fmla="*/ 154 h 154"/>
                <a:gd name="T8" fmla="*/ 0 w 154"/>
                <a:gd name="T9" fmla="*/ 77 h 154"/>
                <a:gd name="T10" fmla="*/ 77 w 154"/>
                <a:gd name="T11" fmla="*/ 0 h 154"/>
                <a:gd name="T12" fmla="*/ 117 w 154"/>
                <a:gd name="T13" fmla="*/ 11 h 154"/>
                <a:gd name="T14" fmla="*/ 141 w 154"/>
                <a:gd name="T15" fmla="*/ 33 h 154"/>
                <a:gd name="T16" fmla="*/ 154 w 154"/>
                <a:gd name="T17"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4">
                  <a:moveTo>
                    <a:pt x="154" y="77"/>
                  </a:moveTo>
                  <a:cubicBezTo>
                    <a:pt x="154" y="93"/>
                    <a:pt x="149" y="108"/>
                    <a:pt x="141" y="120"/>
                  </a:cubicBezTo>
                  <a:cubicBezTo>
                    <a:pt x="135" y="129"/>
                    <a:pt x="126" y="137"/>
                    <a:pt x="117" y="143"/>
                  </a:cubicBezTo>
                  <a:cubicBezTo>
                    <a:pt x="105" y="150"/>
                    <a:pt x="92" y="154"/>
                    <a:pt x="77" y="154"/>
                  </a:cubicBezTo>
                  <a:cubicBezTo>
                    <a:pt x="35" y="154"/>
                    <a:pt x="0" y="119"/>
                    <a:pt x="0" y="77"/>
                  </a:cubicBezTo>
                  <a:cubicBezTo>
                    <a:pt x="0" y="34"/>
                    <a:pt x="35" y="0"/>
                    <a:pt x="77" y="0"/>
                  </a:cubicBezTo>
                  <a:cubicBezTo>
                    <a:pt x="92" y="0"/>
                    <a:pt x="105" y="4"/>
                    <a:pt x="117" y="11"/>
                  </a:cubicBezTo>
                  <a:cubicBezTo>
                    <a:pt x="126" y="16"/>
                    <a:pt x="135" y="24"/>
                    <a:pt x="141" y="33"/>
                  </a:cubicBezTo>
                  <a:cubicBezTo>
                    <a:pt x="149" y="46"/>
                    <a:pt x="154" y="61"/>
                    <a:pt x="154"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p:cNvSpPr>
              <a:spLocks/>
            </p:cNvSpPr>
            <p:nvPr/>
          </p:nvSpPr>
          <p:spPr bwMode="auto">
            <a:xfrm>
              <a:off x="3779838" y="2786064"/>
              <a:ext cx="1262063" cy="1266825"/>
            </a:xfrm>
            <a:custGeom>
              <a:avLst/>
              <a:gdLst>
                <a:gd name="T0" fmla="*/ 195 w 195"/>
                <a:gd name="T1" fmla="*/ 98 h 195"/>
                <a:gd name="T2" fmla="*/ 178 w 195"/>
                <a:gd name="T3" fmla="*/ 153 h 195"/>
                <a:gd name="T4" fmla="*/ 178 w 195"/>
                <a:gd name="T5" fmla="*/ 153 h 195"/>
                <a:gd name="T6" fmla="*/ 148 w 195"/>
                <a:gd name="T7" fmla="*/ 181 h 195"/>
                <a:gd name="T8" fmla="*/ 148 w 195"/>
                <a:gd name="T9" fmla="*/ 181 h 195"/>
                <a:gd name="T10" fmla="*/ 98 w 195"/>
                <a:gd name="T11" fmla="*/ 195 h 195"/>
                <a:gd name="T12" fmla="*/ 49 w 195"/>
                <a:gd name="T13" fmla="*/ 182 h 195"/>
                <a:gd name="T14" fmla="*/ 16 w 195"/>
                <a:gd name="T15" fmla="*/ 152 h 195"/>
                <a:gd name="T16" fmla="*/ 0 w 195"/>
                <a:gd name="T17" fmla="*/ 98 h 195"/>
                <a:gd name="T18" fmla="*/ 16 w 195"/>
                <a:gd name="T19" fmla="*/ 44 h 195"/>
                <a:gd name="T20" fmla="*/ 49 w 195"/>
                <a:gd name="T21" fmla="*/ 13 h 195"/>
                <a:gd name="T22" fmla="*/ 98 w 195"/>
                <a:gd name="T23" fmla="*/ 0 h 195"/>
                <a:gd name="T24" fmla="*/ 148 w 195"/>
                <a:gd name="T25" fmla="*/ 14 h 195"/>
                <a:gd name="T26" fmla="*/ 148 w 195"/>
                <a:gd name="T27" fmla="*/ 14 h 195"/>
                <a:gd name="T28" fmla="*/ 178 w 195"/>
                <a:gd name="T29" fmla="*/ 43 h 195"/>
                <a:gd name="T30" fmla="*/ 178 w 195"/>
                <a:gd name="T31" fmla="*/ 43 h 195"/>
                <a:gd name="T32" fmla="*/ 195 w 195"/>
                <a:gd name="T33" fmla="*/ 9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 h="195">
                  <a:moveTo>
                    <a:pt x="195" y="98"/>
                  </a:moveTo>
                  <a:cubicBezTo>
                    <a:pt x="195" y="118"/>
                    <a:pt x="189" y="137"/>
                    <a:pt x="178" y="153"/>
                  </a:cubicBezTo>
                  <a:cubicBezTo>
                    <a:pt x="178" y="153"/>
                    <a:pt x="178" y="153"/>
                    <a:pt x="178" y="153"/>
                  </a:cubicBezTo>
                  <a:cubicBezTo>
                    <a:pt x="170" y="164"/>
                    <a:pt x="160" y="174"/>
                    <a:pt x="148" y="181"/>
                  </a:cubicBezTo>
                  <a:cubicBezTo>
                    <a:pt x="148" y="181"/>
                    <a:pt x="148" y="181"/>
                    <a:pt x="148" y="181"/>
                  </a:cubicBezTo>
                  <a:cubicBezTo>
                    <a:pt x="133" y="190"/>
                    <a:pt x="116" y="195"/>
                    <a:pt x="98" y="195"/>
                  </a:cubicBezTo>
                  <a:cubicBezTo>
                    <a:pt x="80" y="195"/>
                    <a:pt x="63" y="191"/>
                    <a:pt x="49" y="182"/>
                  </a:cubicBezTo>
                  <a:cubicBezTo>
                    <a:pt x="36" y="175"/>
                    <a:pt x="25" y="164"/>
                    <a:pt x="16" y="152"/>
                  </a:cubicBezTo>
                  <a:cubicBezTo>
                    <a:pt x="6" y="136"/>
                    <a:pt x="0" y="118"/>
                    <a:pt x="0" y="98"/>
                  </a:cubicBezTo>
                  <a:cubicBezTo>
                    <a:pt x="0" y="78"/>
                    <a:pt x="6" y="59"/>
                    <a:pt x="16" y="44"/>
                  </a:cubicBezTo>
                  <a:cubicBezTo>
                    <a:pt x="25" y="31"/>
                    <a:pt x="36" y="21"/>
                    <a:pt x="49" y="13"/>
                  </a:cubicBezTo>
                  <a:cubicBezTo>
                    <a:pt x="63" y="5"/>
                    <a:pt x="80" y="0"/>
                    <a:pt x="98" y="0"/>
                  </a:cubicBezTo>
                  <a:cubicBezTo>
                    <a:pt x="116" y="0"/>
                    <a:pt x="133" y="5"/>
                    <a:pt x="148" y="14"/>
                  </a:cubicBezTo>
                  <a:cubicBezTo>
                    <a:pt x="148" y="14"/>
                    <a:pt x="148" y="14"/>
                    <a:pt x="148" y="14"/>
                  </a:cubicBezTo>
                  <a:cubicBezTo>
                    <a:pt x="160" y="21"/>
                    <a:pt x="170" y="31"/>
                    <a:pt x="178" y="43"/>
                  </a:cubicBezTo>
                  <a:cubicBezTo>
                    <a:pt x="178" y="43"/>
                    <a:pt x="178" y="43"/>
                    <a:pt x="178" y="43"/>
                  </a:cubicBezTo>
                  <a:cubicBezTo>
                    <a:pt x="189" y="59"/>
                    <a:pt x="195" y="77"/>
                    <a:pt x="195" y="9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
            <p:cNvSpPr>
              <a:spLocks/>
            </p:cNvSpPr>
            <p:nvPr/>
          </p:nvSpPr>
          <p:spPr bwMode="auto">
            <a:xfrm>
              <a:off x="4930775" y="3065464"/>
              <a:ext cx="641350" cy="714375"/>
            </a:xfrm>
            <a:custGeom>
              <a:avLst/>
              <a:gdLst>
                <a:gd name="T0" fmla="*/ 82 w 99"/>
                <a:gd name="T1" fmla="*/ 55 h 110"/>
                <a:gd name="T2" fmla="*/ 99 w 99"/>
                <a:gd name="T3" fmla="*/ 109 h 110"/>
                <a:gd name="T4" fmla="*/ 50 w 99"/>
                <a:gd name="T5" fmla="*/ 96 h 110"/>
                <a:gd name="T6" fmla="*/ 0 w 99"/>
                <a:gd name="T7" fmla="*/ 110 h 110"/>
                <a:gd name="T8" fmla="*/ 17 w 99"/>
                <a:gd name="T9" fmla="*/ 55 h 110"/>
                <a:gd name="T10" fmla="*/ 0 w 99"/>
                <a:gd name="T11" fmla="*/ 0 h 110"/>
                <a:gd name="T12" fmla="*/ 50 w 99"/>
                <a:gd name="T13" fmla="*/ 14 h 110"/>
                <a:gd name="T14" fmla="*/ 99 w 99"/>
                <a:gd name="T15" fmla="*/ 1 h 110"/>
                <a:gd name="T16" fmla="*/ 82 w 99"/>
                <a:gd name="T17" fmla="*/ 5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10">
                  <a:moveTo>
                    <a:pt x="82" y="55"/>
                  </a:moveTo>
                  <a:cubicBezTo>
                    <a:pt x="82" y="75"/>
                    <a:pt x="88" y="93"/>
                    <a:pt x="99" y="109"/>
                  </a:cubicBezTo>
                  <a:cubicBezTo>
                    <a:pt x="84" y="101"/>
                    <a:pt x="68" y="96"/>
                    <a:pt x="50" y="96"/>
                  </a:cubicBezTo>
                  <a:cubicBezTo>
                    <a:pt x="32" y="96"/>
                    <a:pt x="15" y="101"/>
                    <a:pt x="0" y="110"/>
                  </a:cubicBezTo>
                  <a:cubicBezTo>
                    <a:pt x="11" y="94"/>
                    <a:pt x="17" y="75"/>
                    <a:pt x="17" y="55"/>
                  </a:cubicBezTo>
                  <a:cubicBezTo>
                    <a:pt x="17" y="34"/>
                    <a:pt x="11" y="16"/>
                    <a:pt x="0" y="0"/>
                  </a:cubicBezTo>
                  <a:cubicBezTo>
                    <a:pt x="15" y="9"/>
                    <a:pt x="32" y="14"/>
                    <a:pt x="50" y="14"/>
                  </a:cubicBezTo>
                  <a:cubicBezTo>
                    <a:pt x="68" y="14"/>
                    <a:pt x="84" y="9"/>
                    <a:pt x="99" y="1"/>
                  </a:cubicBezTo>
                  <a:cubicBezTo>
                    <a:pt x="88" y="16"/>
                    <a:pt x="82" y="35"/>
                    <a:pt x="82" y="55"/>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p:cNvSpPr>
              <a:spLocks/>
            </p:cNvSpPr>
            <p:nvPr/>
          </p:nvSpPr>
          <p:spPr bwMode="auto">
            <a:xfrm>
              <a:off x="5462588" y="2786064"/>
              <a:ext cx="1260475" cy="1266825"/>
            </a:xfrm>
            <a:custGeom>
              <a:avLst/>
              <a:gdLst>
                <a:gd name="T0" fmla="*/ 195 w 195"/>
                <a:gd name="T1" fmla="*/ 98 h 195"/>
                <a:gd name="T2" fmla="*/ 178 w 195"/>
                <a:gd name="T3" fmla="*/ 153 h 195"/>
                <a:gd name="T4" fmla="*/ 178 w 195"/>
                <a:gd name="T5" fmla="*/ 153 h 195"/>
                <a:gd name="T6" fmla="*/ 148 w 195"/>
                <a:gd name="T7" fmla="*/ 181 h 195"/>
                <a:gd name="T8" fmla="*/ 148 w 195"/>
                <a:gd name="T9" fmla="*/ 181 h 195"/>
                <a:gd name="T10" fmla="*/ 98 w 195"/>
                <a:gd name="T11" fmla="*/ 195 h 195"/>
                <a:gd name="T12" fmla="*/ 49 w 195"/>
                <a:gd name="T13" fmla="*/ 182 h 195"/>
                <a:gd name="T14" fmla="*/ 17 w 195"/>
                <a:gd name="T15" fmla="*/ 152 h 195"/>
                <a:gd name="T16" fmla="*/ 0 w 195"/>
                <a:gd name="T17" fmla="*/ 98 h 195"/>
                <a:gd name="T18" fmla="*/ 17 w 195"/>
                <a:gd name="T19" fmla="*/ 44 h 195"/>
                <a:gd name="T20" fmla="*/ 49 w 195"/>
                <a:gd name="T21" fmla="*/ 13 h 195"/>
                <a:gd name="T22" fmla="*/ 98 w 195"/>
                <a:gd name="T23" fmla="*/ 0 h 195"/>
                <a:gd name="T24" fmla="*/ 148 w 195"/>
                <a:gd name="T25" fmla="*/ 14 h 195"/>
                <a:gd name="T26" fmla="*/ 148 w 195"/>
                <a:gd name="T27" fmla="*/ 14 h 195"/>
                <a:gd name="T28" fmla="*/ 178 w 195"/>
                <a:gd name="T29" fmla="*/ 43 h 195"/>
                <a:gd name="T30" fmla="*/ 178 w 195"/>
                <a:gd name="T31" fmla="*/ 43 h 195"/>
                <a:gd name="T32" fmla="*/ 195 w 195"/>
                <a:gd name="T33" fmla="*/ 9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 h="195">
                  <a:moveTo>
                    <a:pt x="195" y="98"/>
                  </a:moveTo>
                  <a:cubicBezTo>
                    <a:pt x="195" y="118"/>
                    <a:pt x="189" y="137"/>
                    <a:pt x="178" y="153"/>
                  </a:cubicBezTo>
                  <a:cubicBezTo>
                    <a:pt x="178" y="153"/>
                    <a:pt x="178" y="153"/>
                    <a:pt x="178" y="153"/>
                  </a:cubicBezTo>
                  <a:cubicBezTo>
                    <a:pt x="170" y="164"/>
                    <a:pt x="160" y="174"/>
                    <a:pt x="148" y="181"/>
                  </a:cubicBezTo>
                  <a:cubicBezTo>
                    <a:pt x="148" y="181"/>
                    <a:pt x="148" y="181"/>
                    <a:pt x="148" y="181"/>
                  </a:cubicBezTo>
                  <a:cubicBezTo>
                    <a:pt x="133" y="190"/>
                    <a:pt x="116" y="195"/>
                    <a:pt x="98" y="195"/>
                  </a:cubicBezTo>
                  <a:cubicBezTo>
                    <a:pt x="80" y="195"/>
                    <a:pt x="64" y="191"/>
                    <a:pt x="49" y="182"/>
                  </a:cubicBezTo>
                  <a:cubicBezTo>
                    <a:pt x="36" y="175"/>
                    <a:pt x="25" y="164"/>
                    <a:pt x="17" y="152"/>
                  </a:cubicBezTo>
                  <a:cubicBezTo>
                    <a:pt x="6" y="136"/>
                    <a:pt x="0" y="118"/>
                    <a:pt x="0" y="98"/>
                  </a:cubicBezTo>
                  <a:cubicBezTo>
                    <a:pt x="0" y="78"/>
                    <a:pt x="6" y="59"/>
                    <a:pt x="17" y="44"/>
                  </a:cubicBezTo>
                  <a:cubicBezTo>
                    <a:pt x="25" y="31"/>
                    <a:pt x="36" y="21"/>
                    <a:pt x="49" y="13"/>
                  </a:cubicBezTo>
                  <a:cubicBezTo>
                    <a:pt x="64" y="5"/>
                    <a:pt x="80" y="0"/>
                    <a:pt x="98" y="0"/>
                  </a:cubicBezTo>
                  <a:cubicBezTo>
                    <a:pt x="116" y="0"/>
                    <a:pt x="133" y="5"/>
                    <a:pt x="148" y="14"/>
                  </a:cubicBezTo>
                  <a:cubicBezTo>
                    <a:pt x="148" y="14"/>
                    <a:pt x="148" y="14"/>
                    <a:pt x="148" y="14"/>
                  </a:cubicBezTo>
                  <a:cubicBezTo>
                    <a:pt x="160" y="21"/>
                    <a:pt x="170" y="31"/>
                    <a:pt x="178" y="43"/>
                  </a:cubicBezTo>
                  <a:cubicBezTo>
                    <a:pt x="178" y="43"/>
                    <a:pt x="178" y="43"/>
                    <a:pt x="178" y="43"/>
                  </a:cubicBezTo>
                  <a:cubicBezTo>
                    <a:pt x="189" y="59"/>
                    <a:pt x="195" y="77"/>
                    <a:pt x="195" y="98"/>
                  </a:cubicBezTo>
                  <a:close/>
                </a:path>
              </a:pathLst>
            </a:custGeom>
            <a:solidFill>
              <a:srgbClr val="C8D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p:nvSpPr>
          <p:spPr bwMode="auto">
            <a:xfrm>
              <a:off x="6613525" y="3065464"/>
              <a:ext cx="639763" cy="714375"/>
            </a:xfrm>
            <a:custGeom>
              <a:avLst/>
              <a:gdLst>
                <a:gd name="T0" fmla="*/ 83 w 99"/>
                <a:gd name="T1" fmla="*/ 55 h 110"/>
                <a:gd name="T2" fmla="*/ 99 w 99"/>
                <a:gd name="T3" fmla="*/ 109 h 110"/>
                <a:gd name="T4" fmla="*/ 50 w 99"/>
                <a:gd name="T5" fmla="*/ 96 h 110"/>
                <a:gd name="T6" fmla="*/ 0 w 99"/>
                <a:gd name="T7" fmla="*/ 110 h 110"/>
                <a:gd name="T8" fmla="*/ 17 w 99"/>
                <a:gd name="T9" fmla="*/ 55 h 110"/>
                <a:gd name="T10" fmla="*/ 0 w 99"/>
                <a:gd name="T11" fmla="*/ 0 h 110"/>
                <a:gd name="T12" fmla="*/ 50 w 99"/>
                <a:gd name="T13" fmla="*/ 14 h 110"/>
                <a:gd name="T14" fmla="*/ 99 w 99"/>
                <a:gd name="T15" fmla="*/ 1 h 110"/>
                <a:gd name="T16" fmla="*/ 83 w 99"/>
                <a:gd name="T17" fmla="*/ 5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10">
                  <a:moveTo>
                    <a:pt x="83" y="55"/>
                  </a:moveTo>
                  <a:cubicBezTo>
                    <a:pt x="83" y="75"/>
                    <a:pt x="89" y="93"/>
                    <a:pt x="99" y="109"/>
                  </a:cubicBezTo>
                  <a:cubicBezTo>
                    <a:pt x="85" y="101"/>
                    <a:pt x="68" y="96"/>
                    <a:pt x="50" y="96"/>
                  </a:cubicBezTo>
                  <a:cubicBezTo>
                    <a:pt x="32" y="96"/>
                    <a:pt x="15" y="101"/>
                    <a:pt x="0" y="110"/>
                  </a:cubicBezTo>
                  <a:cubicBezTo>
                    <a:pt x="11" y="94"/>
                    <a:pt x="17" y="75"/>
                    <a:pt x="17" y="55"/>
                  </a:cubicBezTo>
                  <a:cubicBezTo>
                    <a:pt x="17" y="34"/>
                    <a:pt x="11" y="16"/>
                    <a:pt x="0" y="0"/>
                  </a:cubicBezTo>
                  <a:cubicBezTo>
                    <a:pt x="15" y="9"/>
                    <a:pt x="32" y="14"/>
                    <a:pt x="50" y="14"/>
                  </a:cubicBezTo>
                  <a:cubicBezTo>
                    <a:pt x="68" y="14"/>
                    <a:pt x="85" y="9"/>
                    <a:pt x="99" y="1"/>
                  </a:cubicBezTo>
                  <a:cubicBezTo>
                    <a:pt x="89" y="16"/>
                    <a:pt x="83" y="35"/>
                    <a:pt x="83" y="55"/>
                  </a:cubicBezTo>
                  <a:close/>
                </a:path>
              </a:pathLst>
            </a:custGeom>
            <a:solidFill>
              <a:srgbClr val="C8D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p:cNvSpPr>
            <p:nvPr/>
          </p:nvSpPr>
          <p:spPr bwMode="auto">
            <a:xfrm>
              <a:off x="7150100" y="2786064"/>
              <a:ext cx="1260475" cy="1266825"/>
            </a:xfrm>
            <a:custGeom>
              <a:avLst/>
              <a:gdLst>
                <a:gd name="T0" fmla="*/ 195 w 195"/>
                <a:gd name="T1" fmla="*/ 98 h 195"/>
                <a:gd name="T2" fmla="*/ 178 w 195"/>
                <a:gd name="T3" fmla="*/ 153 h 195"/>
                <a:gd name="T4" fmla="*/ 178 w 195"/>
                <a:gd name="T5" fmla="*/ 153 h 195"/>
                <a:gd name="T6" fmla="*/ 147 w 195"/>
                <a:gd name="T7" fmla="*/ 181 h 195"/>
                <a:gd name="T8" fmla="*/ 97 w 195"/>
                <a:gd name="T9" fmla="*/ 195 h 195"/>
                <a:gd name="T10" fmla="*/ 49 w 195"/>
                <a:gd name="T11" fmla="*/ 182 h 195"/>
                <a:gd name="T12" fmla="*/ 16 w 195"/>
                <a:gd name="T13" fmla="*/ 152 h 195"/>
                <a:gd name="T14" fmla="*/ 0 w 195"/>
                <a:gd name="T15" fmla="*/ 98 h 195"/>
                <a:gd name="T16" fmla="*/ 16 w 195"/>
                <a:gd name="T17" fmla="*/ 44 h 195"/>
                <a:gd name="T18" fmla="*/ 49 w 195"/>
                <a:gd name="T19" fmla="*/ 13 h 195"/>
                <a:gd name="T20" fmla="*/ 97 w 195"/>
                <a:gd name="T21" fmla="*/ 0 h 195"/>
                <a:gd name="T22" fmla="*/ 147 w 195"/>
                <a:gd name="T23" fmla="*/ 14 h 195"/>
                <a:gd name="T24" fmla="*/ 178 w 195"/>
                <a:gd name="T25" fmla="*/ 43 h 195"/>
                <a:gd name="T26" fmla="*/ 178 w 195"/>
                <a:gd name="T27" fmla="*/ 43 h 195"/>
                <a:gd name="T28" fmla="*/ 195 w 195"/>
                <a:gd name="T29" fmla="*/ 9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5" h="195">
                  <a:moveTo>
                    <a:pt x="195" y="98"/>
                  </a:moveTo>
                  <a:cubicBezTo>
                    <a:pt x="195" y="118"/>
                    <a:pt x="188" y="137"/>
                    <a:pt x="178" y="153"/>
                  </a:cubicBezTo>
                  <a:cubicBezTo>
                    <a:pt x="178" y="153"/>
                    <a:pt x="178" y="153"/>
                    <a:pt x="178" y="153"/>
                  </a:cubicBezTo>
                  <a:cubicBezTo>
                    <a:pt x="170" y="164"/>
                    <a:pt x="159" y="174"/>
                    <a:pt x="147" y="181"/>
                  </a:cubicBezTo>
                  <a:cubicBezTo>
                    <a:pt x="133" y="190"/>
                    <a:pt x="115" y="195"/>
                    <a:pt x="97" y="195"/>
                  </a:cubicBezTo>
                  <a:cubicBezTo>
                    <a:pt x="79" y="195"/>
                    <a:pt x="63" y="191"/>
                    <a:pt x="49" y="182"/>
                  </a:cubicBezTo>
                  <a:cubicBezTo>
                    <a:pt x="36" y="175"/>
                    <a:pt x="24" y="164"/>
                    <a:pt x="16" y="152"/>
                  </a:cubicBezTo>
                  <a:cubicBezTo>
                    <a:pt x="6" y="136"/>
                    <a:pt x="0" y="118"/>
                    <a:pt x="0" y="98"/>
                  </a:cubicBezTo>
                  <a:cubicBezTo>
                    <a:pt x="0" y="78"/>
                    <a:pt x="6" y="59"/>
                    <a:pt x="16" y="44"/>
                  </a:cubicBezTo>
                  <a:cubicBezTo>
                    <a:pt x="24" y="31"/>
                    <a:pt x="36" y="21"/>
                    <a:pt x="49" y="13"/>
                  </a:cubicBezTo>
                  <a:cubicBezTo>
                    <a:pt x="63" y="5"/>
                    <a:pt x="79" y="0"/>
                    <a:pt x="97" y="0"/>
                  </a:cubicBezTo>
                  <a:cubicBezTo>
                    <a:pt x="115" y="0"/>
                    <a:pt x="133" y="5"/>
                    <a:pt x="147" y="14"/>
                  </a:cubicBezTo>
                  <a:cubicBezTo>
                    <a:pt x="159" y="21"/>
                    <a:pt x="170" y="31"/>
                    <a:pt x="178" y="43"/>
                  </a:cubicBezTo>
                  <a:cubicBezTo>
                    <a:pt x="178" y="43"/>
                    <a:pt x="178" y="43"/>
                    <a:pt x="178" y="43"/>
                  </a:cubicBezTo>
                  <a:cubicBezTo>
                    <a:pt x="188" y="59"/>
                    <a:pt x="195" y="77"/>
                    <a:pt x="195" y="9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p:cNvSpPr>
            <p:nvPr/>
          </p:nvSpPr>
          <p:spPr bwMode="auto">
            <a:xfrm>
              <a:off x="8301038" y="3065464"/>
              <a:ext cx="633413" cy="714375"/>
            </a:xfrm>
            <a:custGeom>
              <a:avLst/>
              <a:gdLst>
                <a:gd name="T0" fmla="*/ 82 w 98"/>
                <a:gd name="T1" fmla="*/ 55 h 110"/>
                <a:gd name="T2" fmla="*/ 98 w 98"/>
                <a:gd name="T3" fmla="*/ 109 h 110"/>
                <a:gd name="T4" fmla="*/ 50 w 98"/>
                <a:gd name="T5" fmla="*/ 96 h 110"/>
                <a:gd name="T6" fmla="*/ 0 w 98"/>
                <a:gd name="T7" fmla="*/ 110 h 110"/>
                <a:gd name="T8" fmla="*/ 17 w 98"/>
                <a:gd name="T9" fmla="*/ 55 h 110"/>
                <a:gd name="T10" fmla="*/ 0 w 98"/>
                <a:gd name="T11" fmla="*/ 0 h 110"/>
                <a:gd name="T12" fmla="*/ 50 w 98"/>
                <a:gd name="T13" fmla="*/ 14 h 110"/>
                <a:gd name="T14" fmla="*/ 98 w 98"/>
                <a:gd name="T15" fmla="*/ 1 h 110"/>
                <a:gd name="T16" fmla="*/ 82 w 98"/>
                <a:gd name="T17" fmla="*/ 5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10">
                  <a:moveTo>
                    <a:pt x="82" y="55"/>
                  </a:moveTo>
                  <a:cubicBezTo>
                    <a:pt x="82" y="75"/>
                    <a:pt x="88" y="93"/>
                    <a:pt x="98" y="109"/>
                  </a:cubicBezTo>
                  <a:cubicBezTo>
                    <a:pt x="84" y="101"/>
                    <a:pt x="67" y="96"/>
                    <a:pt x="50" y="96"/>
                  </a:cubicBezTo>
                  <a:cubicBezTo>
                    <a:pt x="31" y="96"/>
                    <a:pt x="14" y="101"/>
                    <a:pt x="0" y="110"/>
                  </a:cubicBezTo>
                  <a:cubicBezTo>
                    <a:pt x="10" y="94"/>
                    <a:pt x="17" y="75"/>
                    <a:pt x="17" y="55"/>
                  </a:cubicBezTo>
                  <a:cubicBezTo>
                    <a:pt x="17" y="34"/>
                    <a:pt x="10" y="16"/>
                    <a:pt x="0" y="0"/>
                  </a:cubicBezTo>
                  <a:cubicBezTo>
                    <a:pt x="14" y="9"/>
                    <a:pt x="31" y="14"/>
                    <a:pt x="50" y="14"/>
                  </a:cubicBezTo>
                  <a:cubicBezTo>
                    <a:pt x="67" y="14"/>
                    <a:pt x="84" y="9"/>
                    <a:pt x="98" y="1"/>
                  </a:cubicBezTo>
                  <a:cubicBezTo>
                    <a:pt x="88" y="16"/>
                    <a:pt x="82" y="35"/>
                    <a:pt x="82" y="55"/>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auto">
            <a:xfrm>
              <a:off x="3916363" y="2922589"/>
              <a:ext cx="995363" cy="1000125"/>
            </a:xfrm>
            <a:custGeom>
              <a:avLst/>
              <a:gdLst>
                <a:gd name="T0" fmla="*/ 154 w 154"/>
                <a:gd name="T1" fmla="*/ 77 h 154"/>
                <a:gd name="T2" fmla="*/ 140 w 154"/>
                <a:gd name="T3" fmla="*/ 120 h 154"/>
                <a:gd name="T4" fmla="*/ 116 w 154"/>
                <a:gd name="T5" fmla="*/ 143 h 154"/>
                <a:gd name="T6" fmla="*/ 77 w 154"/>
                <a:gd name="T7" fmla="*/ 154 h 154"/>
                <a:gd name="T8" fmla="*/ 0 w 154"/>
                <a:gd name="T9" fmla="*/ 77 h 154"/>
                <a:gd name="T10" fmla="*/ 77 w 154"/>
                <a:gd name="T11" fmla="*/ 0 h 154"/>
                <a:gd name="T12" fmla="*/ 116 w 154"/>
                <a:gd name="T13" fmla="*/ 11 h 154"/>
                <a:gd name="T14" fmla="*/ 140 w 154"/>
                <a:gd name="T15" fmla="*/ 33 h 154"/>
                <a:gd name="T16" fmla="*/ 154 w 154"/>
                <a:gd name="T17"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4">
                  <a:moveTo>
                    <a:pt x="154" y="77"/>
                  </a:moveTo>
                  <a:cubicBezTo>
                    <a:pt x="154" y="93"/>
                    <a:pt x="149" y="108"/>
                    <a:pt x="140" y="120"/>
                  </a:cubicBezTo>
                  <a:cubicBezTo>
                    <a:pt x="134" y="129"/>
                    <a:pt x="126" y="137"/>
                    <a:pt x="116" y="143"/>
                  </a:cubicBezTo>
                  <a:cubicBezTo>
                    <a:pt x="105" y="150"/>
                    <a:pt x="91" y="154"/>
                    <a:pt x="77" y="154"/>
                  </a:cubicBezTo>
                  <a:cubicBezTo>
                    <a:pt x="34" y="154"/>
                    <a:pt x="0" y="119"/>
                    <a:pt x="0" y="77"/>
                  </a:cubicBezTo>
                  <a:cubicBezTo>
                    <a:pt x="0" y="34"/>
                    <a:pt x="34" y="0"/>
                    <a:pt x="77" y="0"/>
                  </a:cubicBezTo>
                  <a:cubicBezTo>
                    <a:pt x="91" y="0"/>
                    <a:pt x="105" y="4"/>
                    <a:pt x="116" y="11"/>
                  </a:cubicBezTo>
                  <a:cubicBezTo>
                    <a:pt x="126" y="16"/>
                    <a:pt x="134" y="24"/>
                    <a:pt x="140" y="33"/>
                  </a:cubicBezTo>
                  <a:cubicBezTo>
                    <a:pt x="149" y="46"/>
                    <a:pt x="154" y="61"/>
                    <a:pt x="154"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7"/>
            <p:cNvSpPr>
              <a:spLocks/>
            </p:cNvSpPr>
            <p:nvPr/>
          </p:nvSpPr>
          <p:spPr bwMode="auto">
            <a:xfrm>
              <a:off x="5597525" y="2922589"/>
              <a:ext cx="996950" cy="1000125"/>
            </a:xfrm>
            <a:custGeom>
              <a:avLst/>
              <a:gdLst>
                <a:gd name="T0" fmla="*/ 154 w 154"/>
                <a:gd name="T1" fmla="*/ 77 h 154"/>
                <a:gd name="T2" fmla="*/ 141 w 154"/>
                <a:gd name="T3" fmla="*/ 120 h 154"/>
                <a:gd name="T4" fmla="*/ 116 w 154"/>
                <a:gd name="T5" fmla="*/ 143 h 154"/>
                <a:gd name="T6" fmla="*/ 77 w 154"/>
                <a:gd name="T7" fmla="*/ 154 h 154"/>
                <a:gd name="T8" fmla="*/ 0 w 154"/>
                <a:gd name="T9" fmla="*/ 77 h 154"/>
                <a:gd name="T10" fmla="*/ 77 w 154"/>
                <a:gd name="T11" fmla="*/ 0 h 154"/>
                <a:gd name="T12" fmla="*/ 116 w 154"/>
                <a:gd name="T13" fmla="*/ 11 h 154"/>
                <a:gd name="T14" fmla="*/ 141 w 154"/>
                <a:gd name="T15" fmla="*/ 33 h 154"/>
                <a:gd name="T16" fmla="*/ 154 w 154"/>
                <a:gd name="T17"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4">
                  <a:moveTo>
                    <a:pt x="154" y="77"/>
                  </a:moveTo>
                  <a:cubicBezTo>
                    <a:pt x="154" y="93"/>
                    <a:pt x="149" y="108"/>
                    <a:pt x="141" y="120"/>
                  </a:cubicBezTo>
                  <a:cubicBezTo>
                    <a:pt x="134" y="129"/>
                    <a:pt x="126" y="137"/>
                    <a:pt x="116" y="143"/>
                  </a:cubicBezTo>
                  <a:cubicBezTo>
                    <a:pt x="105" y="150"/>
                    <a:pt x="91" y="154"/>
                    <a:pt x="77" y="154"/>
                  </a:cubicBezTo>
                  <a:cubicBezTo>
                    <a:pt x="34" y="154"/>
                    <a:pt x="0" y="119"/>
                    <a:pt x="0" y="77"/>
                  </a:cubicBezTo>
                  <a:cubicBezTo>
                    <a:pt x="0" y="34"/>
                    <a:pt x="34" y="0"/>
                    <a:pt x="77" y="0"/>
                  </a:cubicBezTo>
                  <a:cubicBezTo>
                    <a:pt x="91" y="0"/>
                    <a:pt x="105" y="4"/>
                    <a:pt x="116" y="11"/>
                  </a:cubicBezTo>
                  <a:cubicBezTo>
                    <a:pt x="126" y="16"/>
                    <a:pt x="134" y="24"/>
                    <a:pt x="141" y="33"/>
                  </a:cubicBezTo>
                  <a:cubicBezTo>
                    <a:pt x="149" y="46"/>
                    <a:pt x="154" y="61"/>
                    <a:pt x="154"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8"/>
            <p:cNvSpPr>
              <a:spLocks/>
            </p:cNvSpPr>
            <p:nvPr/>
          </p:nvSpPr>
          <p:spPr bwMode="auto">
            <a:xfrm>
              <a:off x="7278688" y="2922589"/>
              <a:ext cx="996950" cy="1000125"/>
            </a:xfrm>
            <a:custGeom>
              <a:avLst/>
              <a:gdLst>
                <a:gd name="T0" fmla="*/ 154 w 154"/>
                <a:gd name="T1" fmla="*/ 77 h 154"/>
                <a:gd name="T2" fmla="*/ 141 w 154"/>
                <a:gd name="T3" fmla="*/ 120 h 154"/>
                <a:gd name="T4" fmla="*/ 117 w 154"/>
                <a:gd name="T5" fmla="*/ 143 h 154"/>
                <a:gd name="T6" fmla="*/ 77 w 154"/>
                <a:gd name="T7" fmla="*/ 154 h 154"/>
                <a:gd name="T8" fmla="*/ 0 w 154"/>
                <a:gd name="T9" fmla="*/ 77 h 154"/>
                <a:gd name="T10" fmla="*/ 77 w 154"/>
                <a:gd name="T11" fmla="*/ 0 h 154"/>
                <a:gd name="T12" fmla="*/ 117 w 154"/>
                <a:gd name="T13" fmla="*/ 11 h 154"/>
                <a:gd name="T14" fmla="*/ 141 w 154"/>
                <a:gd name="T15" fmla="*/ 33 h 154"/>
                <a:gd name="T16" fmla="*/ 154 w 154"/>
                <a:gd name="T17"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4">
                  <a:moveTo>
                    <a:pt x="154" y="77"/>
                  </a:moveTo>
                  <a:cubicBezTo>
                    <a:pt x="154" y="93"/>
                    <a:pt x="149" y="108"/>
                    <a:pt x="141" y="120"/>
                  </a:cubicBezTo>
                  <a:cubicBezTo>
                    <a:pt x="134" y="129"/>
                    <a:pt x="126" y="137"/>
                    <a:pt x="117" y="143"/>
                  </a:cubicBezTo>
                  <a:cubicBezTo>
                    <a:pt x="105" y="150"/>
                    <a:pt x="92" y="154"/>
                    <a:pt x="77" y="154"/>
                  </a:cubicBezTo>
                  <a:cubicBezTo>
                    <a:pt x="35" y="154"/>
                    <a:pt x="0" y="119"/>
                    <a:pt x="0" y="77"/>
                  </a:cubicBezTo>
                  <a:cubicBezTo>
                    <a:pt x="0" y="34"/>
                    <a:pt x="35" y="0"/>
                    <a:pt x="77" y="0"/>
                  </a:cubicBezTo>
                  <a:cubicBezTo>
                    <a:pt x="92" y="0"/>
                    <a:pt x="105" y="4"/>
                    <a:pt x="117" y="11"/>
                  </a:cubicBezTo>
                  <a:cubicBezTo>
                    <a:pt x="126" y="16"/>
                    <a:pt x="134" y="24"/>
                    <a:pt x="141" y="33"/>
                  </a:cubicBezTo>
                  <a:cubicBezTo>
                    <a:pt x="149" y="46"/>
                    <a:pt x="154" y="61"/>
                    <a:pt x="154"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9"/>
            <p:cNvSpPr>
              <a:spLocks noEditPoints="1"/>
            </p:cNvSpPr>
            <p:nvPr/>
          </p:nvSpPr>
          <p:spPr bwMode="auto">
            <a:xfrm>
              <a:off x="2317750" y="3013076"/>
              <a:ext cx="815975" cy="819150"/>
            </a:xfrm>
            <a:custGeom>
              <a:avLst/>
              <a:gdLst>
                <a:gd name="T0" fmla="*/ 63 w 126"/>
                <a:gd name="T1" fmla="*/ 5 h 126"/>
                <a:gd name="T2" fmla="*/ 121 w 126"/>
                <a:gd name="T3" fmla="*/ 63 h 126"/>
                <a:gd name="T4" fmla="*/ 63 w 126"/>
                <a:gd name="T5" fmla="*/ 120 h 126"/>
                <a:gd name="T6" fmla="*/ 6 w 126"/>
                <a:gd name="T7" fmla="*/ 63 h 126"/>
                <a:gd name="T8" fmla="*/ 63 w 126"/>
                <a:gd name="T9" fmla="*/ 5 h 126"/>
                <a:gd name="T10" fmla="*/ 63 w 126"/>
                <a:gd name="T11" fmla="*/ 0 h 126"/>
                <a:gd name="T12" fmla="*/ 0 w 126"/>
                <a:gd name="T13" fmla="*/ 63 h 126"/>
                <a:gd name="T14" fmla="*/ 63 w 126"/>
                <a:gd name="T15" fmla="*/ 126 h 126"/>
                <a:gd name="T16" fmla="*/ 126 w 126"/>
                <a:gd name="T17" fmla="*/ 63 h 126"/>
                <a:gd name="T18" fmla="*/ 63 w 126"/>
                <a:gd name="T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26">
                  <a:moveTo>
                    <a:pt x="63" y="5"/>
                  </a:moveTo>
                  <a:cubicBezTo>
                    <a:pt x="95" y="5"/>
                    <a:pt x="121" y="31"/>
                    <a:pt x="121" y="63"/>
                  </a:cubicBezTo>
                  <a:cubicBezTo>
                    <a:pt x="121" y="95"/>
                    <a:pt x="95" y="120"/>
                    <a:pt x="63" y="120"/>
                  </a:cubicBezTo>
                  <a:cubicBezTo>
                    <a:pt x="31" y="120"/>
                    <a:pt x="6" y="95"/>
                    <a:pt x="6" y="63"/>
                  </a:cubicBezTo>
                  <a:cubicBezTo>
                    <a:pt x="6" y="31"/>
                    <a:pt x="31" y="5"/>
                    <a:pt x="63" y="5"/>
                  </a:cubicBezTo>
                  <a:moveTo>
                    <a:pt x="63" y="0"/>
                  </a:moveTo>
                  <a:cubicBezTo>
                    <a:pt x="28" y="0"/>
                    <a:pt x="0" y="28"/>
                    <a:pt x="0" y="63"/>
                  </a:cubicBezTo>
                  <a:cubicBezTo>
                    <a:pt x="0" y="98"/>
                    <a:pt x="28" y="126"/>
                    <a:pt x="63" y="126"/>
                  </a:cubicBezTo>
                  <a:cubicBezTo>
                    <a:pt x="98" y="126"/>
                    <a:pt x="126" y="98"/>
                    <a:pt x="126" y="63"/>
                  </a:cubicBezTo>
                  <a:cubicBezTo>
                    <a:pt x="126" y="28"/>
                    <a:pt x="98" y="0"/>
                    <a:pt x="6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0"/>
            <p:cNvSpPr>
              <a:spLocks noEditPoints="1"/>
            </p:cNvSpPr>
            <p:nvPr/>
          </p:nvSpPr>
          <p:spPr bwMode="auto">
            <a:xfrm>
              <a:off x="2505075" y="3162301"/>
              <a:ext cx="414338" cy="512763"/>
            </a:xfrm>
            <a:custGeom>
              <a:avLst/>
              <a:gdLst>
                <a:gd name="T0" fmla="*/ 59 w 64"/>
                <a:gd name="T1" fmla="*/ 63 h 79"/>
                <a:gd name="T2" fmla="*/ 56 w 64"/>
                <a:gd name="T3" fmla="*/ 53 h 79"/>
                <a:gd name="T4" fmla="*/ 61 w 64"/>
                <a:gd name="T5" fmla="*/ 29 h 79"/>
                <a:gd name="T6" fmla="*/ 2 w 64"/>
                <a:gd name="T7" fmla="*/ 29 h 79"/>
                <a:gd name="T8" fmla="*/ 2 w 64"/>
                <a:gd name="T9" fmla="*/ 53 h 79"/>
                <a:gd name="T10" fmla="*/ 0 w 64"/>
                <a:gd name="T11" fmla="*/ 66 h 79"/>
                <a:gd name="T12" fmla="*/ 5 w 64"/>
                <a:gd name="T13" fmla="*/ 69 h 79"/>
                <a:gd name="T14" fmla="*/ 8 w 64"/>
                <a:gd name="T15" fmla="*/ 79 h 79"/>
                <a:gd name="T16" fmla="*/ 64 w 64"/>
                <a:gd name="T17" fmla="*/ 76 h 79"/>
                <a:gd name="T18" fmla="*/ 61 w 64"/>
                <a:gd name="T19" fmla="*/ 63 h 79"/>
                <a:gd name="T20" fmla="*/ 48 w 64"/>
                <a:gd name="T21" fmla="*/ 63 h 79"/>
                <a:gd name="T22" fmla="*/ 53 w 64"/>
                <a:gd name="T23" fmla="*/ 58 h 79"/>
                <a:gd name="T24" fmla="*/ 53 w 64"/>
                <a:gd name="T25" fmla="*/ 63 h 79"/>
                <a:gd name="T26" fmla="*/ 16 w 64"/>
                <a:gd name="T27" fmla="*/ 58 h 79"/>
                <a:gd name="T28" fmla="*/ 21 w 64"/>
                <a:gd name="T29" fmla="*/ 63 h 79"/>
                <a:gd name="T30" fmla="*/ 16 w 64"/>
                <a:gd name="T31" fmla="*/ 63 h 79"/>
                <a:gd name="T32" fmla="*/ 27 w 64"/>
                <a:gd name="T33" fmla="*/ 58 h 79"/>
                <a:gd name="T34" fmla="*/ 32 w 64"/>
                <a:gd name="T35" fmla="*/ 63 h 79"/>
                <a:gd name="T36" fmla="*/ 27 w 64"/>
                <a:gd name="T37" fmla="*/ 63 h 79"/>
                <a:gd name="T38" fmla="*/ 43 w 64"/>
                <a:gd name="T39" fmla="*/ 58 h 79"/>
                <a:gd name="T40" fmla="*/ 37 w 64"/>
                <a:gd name="T41" fmla="*/ 63 h 79"/>
                <a:gd name="T42" fmla="*/ 37 w 64"/>
                <a:gd name="T43" fmla="*/ 58 h 79"/>
                <a:gd name="T44" fmla="*/ 48 w 64"/>
                <a:gd name="T45" fmla="*/ 74 h 79"/>
                <a:gd name="T46" fmla="*/ 43 w 64"/>
                <a:gd name="T47" fmla="*/ 69 h 79"/>
                <a:gd name="T48" fmla="*/ 48 w 64"/>
                <a:gd name="T49" fmla="*/ 69 h 79"/>
                <a:gd name="T50" fmla="*/ 32 w 64"/>
                <a:gd name="T51" fmla="*/ 6 h 79"/>
                <a:gd name="T52" fmla="*/ 32 w 64"/>
                <a:gd name="T53" fmla="*/ 53 h 79"/>
                <a:gd name="T54" fmla="*/ 5 w 64"/>
                <a:gd name="T55" fmla="*/ 58 h 79"/>
                <a:gd name="T56" fmla="*/ 10 w 64"/>
                <a:gd name="T57" fmla="*/ 63 h 79"/>
                <a:gd name="T58" fmla="*/ 5 w 64"/>
                <a:gd name="T59" fmla="*/ 63 h 79"/>
                <a:gd name="T60" fmla="*/ 5 w 64"/>
                <a:gd name="T61" fmla="*/ 58 h 79"/>
                <a:gd name="T62" fmla="*/ 16 w 64"/>
                <a:gd name="T63" fmla="*/ 69 h 79"/>
                <a:gd name="T64" fmla="*/ 10 w 64"/>
                <a:gd name="T65" fmla="*/ 74 h 79"/>
                <a:gd name="T66" fmla="*/ 10 w 64"/>
                <a:gd name="T67" fmla="*/ 69 h 79"/>
                <a:gd name="T68" fmla="*/ 21 w 64"/>
                <a:gd name="T69" fmla="*/ 69 h 79"/>
                <a:gd name="T70" fmla="*/ 27 w 64"/>
                <a:gd name="T71" fmla="*/ 74 h 79"/>
                <a:gd name="T72" fmla="*/ 21 w 64"/>
                <a:gd name="T73" fmla="*/ 74 h 79"/>
                <a:gd name="T74" fmla="*/ 37 w 64"/>
                <a:gd name="T75" fmla="*/ 69 h 79"/>
                <a:gd name="T76" fmla="*/ 32 w 64"/>
                <a:gd name="T77" fmla="*/ 74 h 79"/>
                <a:gd name="T78" fmla="*/ 32 w 64"/>
                <a:gd name="T79" fmla="*/ 69 h 79"/>
                <a:gd name="T80" fmla="*/ 53 w 64"/>
                <a:gd name="T81" fmla="*/ 74 h 79"/>
                <a:gd name="T82" fmla="*/ 56 w 64"/>
                <a:gd name="T83" fmla="*/ 69 h 79"/>
                <a:gd name="T84" fmla="*/ 59 w 64"/>
                <a:gd name="T85" fmla="*/ 74 h 79"/>
                <a:gd name="T86" fmla="*/ 32 w 64"/>
                <a:gd name="T87" fmla="*/ 42 h 79"/>
                <a:gd name="T88" fmla="*/ 24 w 64"/>
                <a:gd name="T89" fmla="*/ 40 h 79"/>
                <a:gd name="T90" fmla="*/ 28 w 64"/>
                <a:gd name="T91" fmla="*/ 37 h 79"/>
                <a:gd name="T92" fmla="*/ 34 w 64"/>
                <a:gd name="T93" fmla="*/ 37 h 79"/>
                <a:gd name="T94" fmla="*/ 34 w 64"/>
                <a:gd name="T95" fmla="*/ 34 h 79"/>
                <a:gd name="T96" fmla="*/ 30 w 64"/>
                <a:gd name="T97" fmla="*/ 31 h 79"/>
                <a:gd name="T98" fmla="*/ 25 w 64"/>
                <a:gd name="T99" fmla="*/ 27 h 79"/>
                <a:gd name="T100" fmla="*/ 27 w 64"/>
                <a:gd name="T101" fmla="*/ 19 h 79"/>
                <a:gd name="T102" fmla="*/ 32 w 64"/>
                <a:gd name="T103" fmla="*/ 13 h 79"/>
                <a:gd name="T104" fmla="*/ 35 w 64"/>
                <a:gd name="T105" fmla="*/ 17 h 79"/>
                <a:gd name="T106" fmla="*/ 40 w 64"/>
                <a:gd name="T107" fmla="*/ 19 h 79"/>
                <a:gd name="T108" fmla="*/ 35 w 64"/>
                <a:gd name="T109" fmla="*/ 22 h 79"/>
                <a:gd name="T110" fmla="*/ 30 w 64"/>
                <a:gd name="T111" fmla="*/ 22 h 79"/>
                <a:gd name="T112" fmla="*/ 30 w 64"/>
                <a:gd name="T113" fmla="*/ 25 h 79"/>
                <a:gd name="T114" fmla="*/ 34 w 64"/>
                <a:gd name="T115" fmla="*/ 27 h 79"/>
                <a:gd name="T116" fmla="*/ 40 w 64"/>
                <a:gd name="T117" fmla="*/ 35 h 79"/>
                <a:gd name="T118" fmla="*/ 35 w 64"/>
                <a:gd name="T119" fmla="*/ 42 h 79"/>
                <a:gd name="T120" fmla="*/ 32 w 64"/>
                <a:gd name="T121" fmla="*/ 45 h 79"/>
                <a:gd name="T122" fmla="*/ 32 w 64"/>
                <a:gd name="T123" fmla="*/ 4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 h="79">
                  <a:moveTo>
                    <a:pt x="61" y="63"/>
                  </a:moveTo>
                  <a:cubicBezTo>
                    <a:pt x="59" y="63"/>
                    <a:pt x="59" y="63"/>
                    <a:pt x="59" y="63"/>
                  </a:cubicBezTo>
                  <a:cubicBezTo>
                    <a:pt x="59" y="56"/>
                    <a:pt x="59" y="56"/>
                    <a:pt x="59" y="56"/>
                  </a:cubicBezTo>
                  <a:cubicBezTo>
                    <a:pt x="59" y="54"/>
                    <a:pt x="57" y="53"/>
                    <a:pt x="56" y="53"/>
                  </a:cubicBezTo>
                  <a:cubicBezTo>
                    <a:pt x="49" y="53"/>
                    <a:pt x="49" y="53"/>
                    <a:pt x="49" y="53"/>
                  </a:cubicBezTo>
                  <a:cubicBezTo>
                    <a:pt x="56" y="48"/>
                    <a:pt x="61" y="39"/>
                    <a:pt x="61" y="29"/>
                  </a:cubicBezTo>
                  <a:cubicBezTo>
                    <a:pt x="61" y="13"/>
                    <a:pt x="48" y="0"/>
                    <a:pt x="32" y="0"/>
                  </a:cubicBezTo>
                  <a:cubicBezTo>
                    <a:pt x="16" y="0"/>
                    <a:pt x="2" y="13"/>
                    <a:pt x="2" y="29"/>
                  </a:cubicBezTo>
                  <a:cubicBezTo>
                    <a:pt x="2" y="39"/>
                    <a:pt x="7" y="48"/>
                    <a:pt x="15" y="53"/>
                  </a:cubicBezTo>
                  <a:cubicBezTo>
                    <a:pt x="2" y="53"/>
                    <a:pt x="2" y="53"/>
                    <a:pt x="2" y="53"/>
                  </a:cubicBezTo>
                  <a:cubicBezTo>
                    <a:pt x="1" y="53"/>
                    <a:pt x="0" y="54"/>
                    <a:pt x="0" y="56"/>
                  </a:cubicBezTo>
                  <a:cubicBezTo>
                    <a:pt x="0" y="66"/>
                    <a:pt x="0" y="66"/>
                    <a:pt x="0" y="66"/>
                  </a:cubicBezTo>
                  <a:cubicBezTo>
                    <a:pt x="0" y="67"/>
                    <a:pt x="1" y="69"/>
                    <a:pt x="2" y="69"/>
                  </a:cubicBezTo>
                  <a:cubicBezTo>
                    <a:pt x="5" y="69"/>
                    <a:pt x="5" y="69"/>
                    <a:pt x="5" y="69"/>
                  </a:cubicBezTo>
                  <a:cubicBezTo>
                    <a:pt x="5" y="76"/>
                    <a:pt x="5" y="76"/>
                    <a:pt x="5" y="76"/>
                  </a:cubicBezTo>
                  <a:cubicBezTo>
                    <a:pt x="5" y="78"/>
                    <a:pt x="6" y="79"/>
                    <a:pt x="8" y="79"/>
                  </a:cubicBezTo>
                  <a:cubicBezTo>
                    <a:pt x="61" y="79"/>
                    <a:pt x="61" y="79"/>
                    <a:pt x="61" y="79"/>
                  </a:cubicBezTo>
                  <a:cubicBezTo>
                    <a:pt x="63" y="79"/>
                    <a:pt x="64" y="78"/>
                    <a:pt x="64" y="76"/>
                  </a:cubicBezTo>
                  <a:cubicBezTo>
                    <a:pt x="64" y="66"/>
                    <a:pt x="64" y="66"/>
                    <a:pt x="64" y="66"/>
                  </a:cubicBezTo>
                  <a:cubicBezTo>
                    <a:pt x="64" y="64"/>
                    <a:pt x="63" y="63"/>
                    <a:pt x="61" y="63"/>
                  </a:cubicBezTo>
                  <a:close/>
                  <a:moveTo>
                    <a:pt x="53" y="63"/>
                  </a:moveTo>
                  <a:cubicBezTo>
                    <a:pt x="48" y="63"/>
                    <a:pt x="48" y="63"/>
                    <a:pt x="48" y="63"/>
                  </a:cubicBezTo>
                  <a:cubicBezTo>
                    <a:pt x="48" y="58"/>
                    <a:pt x="48" y="58"/>
                    <a:pt x="48" y="58"/>
                  </a:cubicBezTo>
                  <a:cubicBezTo>
                    <a:pt x="53" y="58"/>
                    <a:pt x="53" y="58"/>
                    <a:pt x="53" y="58"/>
                  </a:cubicBezTo>
                  <a:cubicBezTo>
                    <a:pt x="53" y="63"/>
                    <a:pt x="53" y="63"/>
                    <a:pt x="53" y="63"/>
                  </a:cubicBezTo>
                  <a:cubicBezTo>
                    <a:pt x="53" y="63"/>
                    <a:pt x="53" y="63"/>
                    <a:pt x="53" y="63"/>
                  </a:cubicBezTo>
                  <a:close/>
                  <a:moveTo>
                    <a:pt x="16" y="63"/>
                  </a:moveTo>
                  <a:cubicBezTo>
                    <a:pt x="16" y="58"/>
                    <a:pt x="16" y="58"/>
                    <a:pt x="16" y="58"/>
                  </a:cubicBezTo>
                  <a:cubicBezTo>
                    <a:pt x="21" y="58"/>
                    <a:pt x="21" y="58"/>
                    <a:pt x="21" y="58"/>
                  </a:cubicBezTo>
                  <a:cubicBezTo>
                    <a:pt x="21" y="63"/>
                    <a:pt x="21" y="63"/>
                    <a:pt x="21" y="63"/>
                  </a:cubicBezTo>
                  <a:cubicBezTo>
                    <a:pt x="16" y="63"/>
                    <a:pt x="16" y="63"/>
                    <a:pt x="16" y="63"/>
                  </a:cubicBezTo>
                  <a:cubicBezTo>
                    <a:pt x="16" y="63"/>
                    <a:pt x="16" y="63"/>
                    <a:pt x="16" y="63"/>
                  </a:cubicBezTo>
                  <a:close/>
                  <a:moveTo>
                    <a:pt x="27" y="63"/>
                  </a:moveTo>
                  <a:cubicBezTo>
                    <a:pt x="27" y="58"/>
                    <a:pt x="27" y="58"/>
                    <a:pt x="27" y="58"/>
                  </a:cubicBezTo>
                  <a:cubicBezTo>
                    <a:pt x="32" y="58"/>
                    <a:pt x="32" y="58"/>
                    <a:pt x="32" y="58"/>
                  </a:cubicBezTo>
                  <a:cubicBezTo>
                    <a:pt x="32" y="63"/>
                    <a:pt x="32" y="63"/>
                    <a:pt x="32" y="63"/>
                  </a:cubicBezTo>
                  <a:cubicBezTo>
                    <a:pt x="27" y="63"/>
                    <a:pt x="27" y="63"/>
                    <a:pt x="27" y="63"/>
                  </a:cubicBezTo>
                  <a:cubicBezTo>
                    <a:pt x="27" y="63"/>
                    <a:pt x="27" y="63"/>
                    <a:pt x="27" y="63"/>
                  </a:cubicBezTo>
                  <a:close/>
                  <a:moveTo>
                    <a:pt x="37" y="58"/>
                  </a:moveTo>
                  <a:cubicBezTo>
                    <a:pt x="43" y="58"/>
                    <a:pt x="43" y="58"/>
                    <a:pt x="43" y="58"/>
                  </a:cubicBezTo>
                  <a:cubicBezTo>
                    <a:pt x="43" y="63"/>
                    <a:pt x="43" y="63"/>
                    <a:pt x="43" y="63"/>
                  </a:cubicBezTo>
                  <a:cubicBezTo>
                    <a:pt x="37" y="63"/>
                    <a:pt x="37" y="63"/>
                    <a:pt x="37" y="63"/>
                  </a:cubicBezTo>
                  <a:cubicBezTo>
                    <a:pt x="37" y="58"/>
                    <a:pt x="37" y="58"/>
                    <a:pt x="37" y="58"/>
                  </a:cubicBezTo>
                  <a:cubicBezTo>
                    <a:pt x="37" y="58"/>
                    <a:pt x="37" y="58"/>
                    <a:pt x="37" y="58"/>
                  </a:cubicBezTo>
                  <a:close/>
                  <a:moveTo>
                    <a:pt x="48" y="69"/>
                  </a:moveTo>
                  <a:cubicBezTo>
                    <a:pt x="48" y="74"/>
                    <a:pt x="48" y="74"/>
                    <a:pt x="48" y="74"/>
                  </a:cubicBezTo>
                  <a:cubicBezTo>
                    <a:pt x="43" y="74"/>
                    <a:pt x="43" y="74"/>
                    <a:pt x="43" y="74"/>
                  </a:cubicBezTo>
                  <a:cubicBezTo>
                    <a:pt x="43" y="69"/>
                    <a:pt x="43" y="69"/>
                    <a:pt x="43" y="69"/>
                  </a:cubicBezTo>
                  <a:cubicBezTo>
                    <a:pt x="48" y="69"/>
                    <a:pt x="48" y="69"/>
                    <a:pt x="48" y="69"/>
                  </a:cubicBezTo>
                  <a:cubicBezTo>
                    <a:pt x="48" y="69"/>
                    <a:pt x="48" y="69"/>
                    <a:pt x="48" y="69"/>
                  </a:cubicBezTo>
                  <a:close/>
                  <a:moveTo>
                    <a:pt x="8" y="29"/>
                  </a:moveTo>
                  <a:cubicBezTo>
                    <a:pt x="8" y="16"/>
                    <a:pt x="19" y="6"/>
                    <a:pt x="32" y="6"/>
                  </a:cubicBezTo>
                  <a:cubicBezTo>
                    <a:pt x="45" y="6"/>
                    <a:pt x="56" y="16"/>
                    <a:pt x="56" y="29"/>
                  </a:cubicBezTo>
                  <a:cubicBezTo>
                    <a:pt x="56" y="42"/>
                    <a:pt x="45" y="53"/>
                    <a:pt x="32" y="53"/>
                  </a:cubicBezTo>
                  <a:cubicBezTo>
                    <a:pt x="19" y="53"/>
                    <a:pt x="8" y="42"/>
                    <a:pt x="8" y="29"/>
                  </a:cubicBezTo>
                  <a:close/>
                  <a:moveTo>
                    <a:pt x="5" y="58"/>
                  </a:moveTo>
                  <a:cubicBezTo>
                    <a:pt x="10" y="58"/>
                    <a:pt x="10" y="58"/>
                    <a:pt x="10" y="58"/>
                  </a:cubicBezTo>
                  <a:cubicBezTo>
                    <a:pt x="10" y="63"/>
                    <a:pt x="10" y="63"/>
                    <a:pt x="10" y="63"/>
                  </a:cubicBezTo>
                  <a:cubicBezTo>
                    <a:pt x="8" y="63"/>
                    <a:pt x="8" y="63"/>
                    <a:pt x="8" y="63"/>
                  </a:cubicBezTo>
                  <a:cubicBezTo>
                    <a:pt x="5" y="63"/>
                    <a:pt x="5" y="63"/>
                    <a:pt x="5" y="63"/>
                  </a:cubicBezTo>
                  <a:cubicBezTo>
                    <a:pt x="5" y="58"/>
                    <a:pt x="5" y="58"/>
                    <a:pt x="5" y="58"/>
                  </a:cubicBezTo>
                  <a:cubicBezTo>
                    <a:pt x="5" y="58"/>
                    <a:pt x="5" y="58"/>
                    <a:pt x="5" y="58"/>
                  </a:cubicBezTo>
                  <a:close/>
                  <a:moveTo>
                    <a:pt x="10" y="69"/>
                  </a:moveTo>
                  <a:cubicBezTo>
                    <a:pt x="16" y="69"/>
                    <a:pt x="16" y="69"/>
                    <a:pt x="16" y="69"/>
                  </a:cubicBezTo>
                  <a:cubicBezTo>
                    <a:pt x="16" y="74"/>
                    <a:pt x="16" y="74"/>
                    <a:pt x="16" y="74"/>
                  </a:cubicBezTo>
                  <a:cubicBezTo>
                    <a:pt x="10" y="74"/>
                    <a:pt x="10" y="74"/>
                    <a:pt x="10" y="74"/>
                  </a:cubicBezTo>
                  <a:cubicBezTo>
                    <a:pt x="10" y="69"/>
                    <a:pt x="10" y="69"/>
                    <a:pt x="10" y="69"/>
                  </a:cubicBezTo>
                  <a:cubicBezTo>
                    <a:pt x="10" y="69"/>
                    <a:pt x="10" y="69"/>
                    <a:pt x="10" y="69"/>
                  </a:cubicBezTo>
                  <a:close/>
                  <a:moveTo>
                    <a:pt x="21" y="74"/>
                  </a:moveTo>
                  <a:cubicBezTo>
                    <a:pt x="21" y="69"/>
                    <a:pt x="21" y="69"/>
                    <a:pt x="21" y="69"/>
                  </a:cubicBezTo>
                  <a:cubicBezTo>
                    <a:pt x="27" y="69"/>
                    <a:pt x="27" y="69"/>
                    <a:pt x="27" y="69"/>
                  </a:cubicBezTo>
                  <a:cubicBezTo>
                    <a:pt x="27" y="74"/>
                    <a:pt x="27" y="74"/>
                    <a:pt x="27" y="74"/>
                  </a:cubicBezTo>
                  <a:cubicBezTo>
                    <a:pt x="21" y="74"/>
                    <a:pt x="21" y="74"/>
                    <a:pt x="21" y="74"/>
                  </a:cubicBezTo>
                  <a:cubicBezTo>
                    <a:pt x="21" y="74"/>
                    <a:pt x="21" y="74"/>
                    <a:pt x="21" y="74"/>
                  </a:cubicBezTo>
                  <a:close/>
                  <a:moveTo>
                    <a:pt x="32" y="69"/>
                  </a:moveTo>
                  <a:cubicBezTo>
                    <a:pt x="37" y="69"/>
                    <a:pt x="37" y="69"/>
                    <a:pt x="37" y="69"/>
                  </a:cubicBezTo>
                  <a:cubicBezTo>
                    <a:pt x="37" y="74"/>
                    <a:pt x="37" y="74"/>
                    <a:pt x="37" y="74"/>
                  </a:cubicBezTo>
                  <a:cubicBezTo>
                    <a:pt x="32" y="74"/>
                    <a:pt x="32" y="74"/>
                    <a:pt x="32" y="74"/>
                  </a:cubicBezTo>
                  <a:cubicBezTo>
                    <a:pt x="32" y="69"/>
                    <a:pt x="32" y="69"/>
                    <a:pt x="32" y="69"/>
                  </a:cubicBezTo>
                  <a:cubicBezTo>
                    <a:pt x="32" y="69"/>
                    <a:pt x="32" y="69"/>
                    <a:pt x="32" y="69"/>
                  </a:cubicBezTo>
                  <a:close/>
                  <a:moveTo>
                    <a:pt x="59" y="74"/>
                  </a:moveTo>
                  <a:cubicBezTo>
                    <a:pt x="53" y="74"/>
                    <a:pt x="53" y="74"/>
                    <a:pt x="53" y="74"/>
                  </a:cubicBezTo>
                  <a:cubicBezTo>
                    <a:pt x="53" y="69"/>
                    <a:pt x="53" y="69"/>
                    <a:pt x="53" y="69"/>
                  </a:cubicBezTo>
                  <a:cubicBezTo>
                    <a:pt x="56" y="69"/>
                    <a:pt x="56" y="69"/>
                    <a:pt x="56" y="69"/>
                  </a:cubicBezTo>
                  <a:cubicBezTo>
                    <a:pt x="59" y="69"/>
                    <a:pt x="59" y="69"/>
                    <a:pt x="59" y="69"/>
                  </a:cubicBezTo>
                  <a:cubicBezTo>
                    <a:pt x="59" y="74"/>
                    <a:pt x="59" y="74"/>
                    <a:pt x="59" y="74"/>
                  </a:cubicBezTo>
                  <a:cubicBezTo>
                    <a:pt x="59" y="74"/>
                    <a:pt x="59" y="74"/>
                    <a:pt x="59" y="74"/>
                  </a:cubicBezTo>
                  <a:close/>
                  <a:moveTo>
                    <a:pt x="32" y="42"/>
                  </a:moveTo>
                  <a:cubicBezTo>
                    <a:pt x="31" y="42"/>
                    <a:pt x="31" y="42"/>
                    <a:pt x="31" y="42"/>
                  </a:cubicBezTo>
                  <a:cubicBezTo>
                    <a:pt x="29" y="42"/>
                    <a:pt x="27" y="41"/>
                    <a:pt x="24" y="40"/>
                  </a:cubicBezTo>
                  <a:cubicBezTo>
                    <a:pt x="24" y="36"/>
                    <a:pt x="24" y="36"/>
                    <a:pt x="24" y="36"/>
                  </a:cubicBezTo>
                  <a:cubicBezTo>
                    <a:pt x="27" y="36"/>
                    <a:pt x="27" y="37"/>
                    <a:pt x="28" y="37"/>
                  </a:cubicBezTo>
                  <a:cubicBezTo>
                    <a:pt x="29" y="37"/>
                    <a:pt x="30" y="38"/>
                    <a:pt x="31" y="38"/>
                  </a:cubicBezTo>
                  <a:cubicBezTo>
                    <a:pt x="32" y="38"/>
                    <a:pt x="33" y="37"/>
                    <a:pt x="34" y="37"/>
                  </a:cubicBezTo>
                  <a:cubicBezTo>
                    <a:pt x="34" y="37"/>
                    <a:pt x="35" y="36"/>
                    <a:pt x="35" y="35"/>
                  </a:cubicBezTo>
                  <a:cubicBezTo>
                    <a:pt x="35" y="35"/>
                    <a:pt x="35" y="34"/>
                    <a:pt x="34" y="34"/>
                  </a:cubicBezTo>
                  <a:cubicBezTo>
                    <a:pt x="34" y="33"/>
                    <a:pt x="34" y="33"/>
                    <a:pt x="33" y="33"/>
                  </a:cubicBezTo>
                  <a:cubicBezTo>
                    <a:pt x="33" y="32"/>
                    <a:pt x="32" y="32"/>
                    <a:pt x="30" y="31"/>
                  </a:cubicBezTo>
                  <a:cubicBezTo>
                    <a:pt x="29" y="30"/>
                    <a:pt x="27" y="30"/>
                    <a:pt x="27" y="29"/>
                  </a:cubicBezTo>
                  <a:cubicBezTo>
                    <a:pt x="26" y="28"/>
                    <a:pt x="25" y="28"/>
                    <a:pt x="25" y="27"/>
                  </a:cubicBezTo>
                  <a:cubicBezTo>
                    <a:pt x="24" y="26"/>
                    <a:pt x="24" y="25"/>
                    <a:pt x="24" y="24"/>
                  </a:cubicBezTo>
                  <a:cubicBezTo>
                    <a:pt x="24" y="22"/>
                    <a:pt x="25" y="20"/>
                    <a:pt x="27" y="19"/>
                  </a:cubicBezTo>
                  <a:cubicBezTo>
                    <a:pt x="28" y="18"/>
                    <a:pt x="29" y="17"/>
                    <a:pt x="32" y="17"/>
                  </a:cubicBezTo>
                  <a:cubicBezTo>
                    <a:pt x="32" y="13"/>
                    <a:pt x="32" y="13"/>
                    <a:pt x="32" y="13"/>
                  </a:cubicBezTo>
                  <a:cubicBezTo>
                    <a:pt x="35" y="13"/>
                    <a:pt x="35" y="13"/>
                    <a:pt x="35" y="13"/>
                  </a:cubicBezTo>
                  <a:cubicBezTo>
                    <a:pt x="35" y="17"/>
                    <a:pt x="35" y="17"/>
                    <a:pt x="35" y="17"/>
                  </a:cubicBezTo>
                  <a:cubicBezTo>
                    <a:pt x="35" y="17"/>
                    <a:pt x="36" y="17"/>
                    <a:pt x="37" y="17"/>
                  </a:cubicBezTo>
                  <a:cubicBezTo>
                    <a:pt x="38" y="18"/>
                    <a:pt x="38" y="18"/>
                    <a:pt x="40" y="19"/>
                  </a:cubicBezTo>
                  <a:cubicBezTo>
                    <a:pt x="38" y="23"/>
                    <a:pt x="38" y="23"/>
                    <a:pt x="38" y="23"/>
                  </a:cubicBezTo>
                  <a:cubicBezTo>
                    <a:pt x="37" y="22"/>
                    <a:pt x="36" y="22"/>
                    <a:pt x="35" y="22"/>
                  </a:cubicBezTo>
                  <a:cubicBezTo>
                    <a:pt x="34" y="21"/>
                    <a:pt x="33" y="21"/>
                    <a:pt x="32" y="21"/>
                  </a:cubicBezTo>
                  <a:cubicBezTo>
                    <a:pt x="31" y="21"/>
                    <a:pt x="31" y="21"/>
                    <a:pt x="30" y="22"/>
                  </a:cubicBezTo>
                  <a:cubicBezTo>
                    <a:pt x="30" y="22"/>
                    <a:pt x="29" y="23"/>
                    <a:pt x="29" y="24"/>
                  </a:cubicBezTo>
                  <a:cubicBezTo>
                    <a:pt x="29" y="24"/>
                    <a:pt x="29" y="25"/>
                    <a:pt x="30" y="25"/>
                  </a:cubicBezTo>
                  <a:cubicBezTo>
                    <a:pt x="30" y="25"/>
                    <a:pt x="30" y="26"/>
                    <a:pt x="31" y="26"/>
                  </a:cubicBezTo>
                  <a:cubicBezTo>
                    <a:pt x="31" y="26"/>
                    <a:pt x="32" y="27"/>
                    <a:pt x="34" y="27"/>
                  </a:cubicBezTo>
                  <a:cubicBezTo>
                    <a:pt x="36" y="28"/>
                    <a:pt x="38" y="30"/>
                    <a:pt x="39" y="31"/>
                  </a:cubicBezTo>
                  <a:cubicBezTo>
                    <a:pt x="39" y="32"/>
                    <a:pt x="40" y="33"/>
                    <a:pt x="40" y="35"/>
                  </a:cubicBezTo>
                  <a:cubicBezTo>
                    <a:pt x="40" y="37"/>
                    <a:pt x="40" y="39"/>
                    <a:pt x="38" y="40"/>
                  </a:cubicBezTo>
                  <a:cubicBezTo>
                    <a:pt x="37" y="41"/>
                    <a:pt x="35" y="41"/>
                    <a:pt x="35" y="42"/>
                  </a:cubicBezTo>
                  <a:cubicBezTo>
                    <a:pt x="35" y="45"/>
                    <a:pt x="35" y="45"/>
                    <a:pt x="35" y="45"/>
                  </a:cubicBezTo>
                  <a:cubicBezTo>
                    <a:pt x="32" y="45"/>
                    <a:pt x="32" y="45"/>
                    <a:pt x="32" y="45"/>
                  </a:cubicBezTo>
                  <a:cubicBezTo>
                    <a:pt x="32" y="42"/>
                    <a:pt x="32" y="42"/>
                    <a:pt x="32" y="42"/>
                  </a:cubicBezTo>
                  <a:cubicBezTo>
                    <a:pt x="32" y="42"/>
                    <a:pt x="32" y="42"/>
                    <a:pt x="32"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1"/>
            <p:cNvSpPr>
              <a:spLocks noEditPoints="1"/>
            </p:cNvSpPr>
            <p:nvPr/>
          </p:nvSpPr>
          <p:spPr bwMode="auto">
            <a:xfrm>
              <a:off x="4006850" y="3013076"/>
              <a:ext cx="814388" cy="819150"/>
            </a:xfrm>
            <a:custGeom>
              <a:avLst/>
              <a:gdLst>
                <a:gd name="T0" fmla="*/ 63 w 126"/>
                <a:gd name="T1" fmla="*/ 5 h 126"/>
                <a:gd name="T2" fmla="*/ 120 w 126"/>
                <a:gd name="T3" fmla="*/ 63 h 126"/>
                <a:gd name="T4" fmla="*/ 63 w 126"/>
                <a:gd name="T5" fmla="*/ 120 h 126"/>
                <a:gd name="T6" fmla="*/ 5 w 126"/>
                <a:gd name="T7" fmla="*/ 63 h 126"/>
                <a:gd name="T8" fmla="*/ 63 w 126"/>
                <a:gd name="T9" fmla="*/ 5 h 126"/>
                <a:gd name="T10" fmla="*/ 63 w 126"/>
                <a:gd name="T11" fmla="*/ 0 h 126"/>
                <a:gd name="T12" fmla="*/ 0 w 126"/>
                <a:gd name="T13" fmla="*/ 63 h 126"/>
                <a:gd name="T14" fmla="*/ 63 w 126"/>
                <a:gd name="T15" fmla="*/ 126 h 126"/>
                <a:gd name="T16" fmla="*/ 126 w 126"/>
                <a:gd name="T17" fmla="*/ 63 h 126"/>
                <a:gd name="T18" fmla="*/ 63 w 126"/>
                <a:gd name="T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26">
                  <a:moveTo>
                    <a:pt x="63" y="5"/>
                  </a:moveTo>
                  <a:cubicBezTo>
                    <a:pt x="94" y="5"/>
                    <a:pt x="120" y="31"/>
                    <a:pt x="120" y="63"/>
                  </a:cubicBezTo>
                  <a:cubicBezTo>
                    <a:pt x="120" y="95"/>
                    <a:pt x="94" y="120"/>
                    <a:pt x="63" y="120"/>
                  </a:cubicBezTo>
                  <a:cubicBezTo>
                    <a:pt x="31" y="120"/>
                    <a:pt x="5" y="95"/>
                    <a:pt x="5" y="63"/>
                  </a:cubicBezTo>
                  <a:cubicBezTo>
                    <a:pt x="5" y="31"/>
                    <a:pt x="31" y="5"/>
                    <a:pt x="63" y="5"/>
                  </a:cubicBezTo>
                  <a:moveTo>
                    <a:pt x="63" y="0"/>
                  </a:moveTo>
                  <a:cubicBezTo>
                    <a:pt x="28" y="0"/>
                    <a:pt x="0" y="28"/>
                    <a:pt x="0" y="63"/>
                  </a:cubicBezTo>
                  <a:cubicBezTo>
                    <a:pt x="0" y="98"/>
                    <a:pt x="28" y="126"/>
                    <a:pt x="63" y="126"/>
                  </a:cubicBezTo>
                  <a:cubicBezTo>
                    <a:pt x="97" y="126"/>
                    <a:pt x="126" y="98"/>
                    <a:pt x="126" y="63"/>
                  </a:cubicBezTo>
                  <a:cubicBezTo>
                    <a:pt x="126" y="28"/>
                    <a:pt x="97" y="0"/>
                    <a:pt x="6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2"/>
            <p:cNvSpPr>
              <a:spLocks noEditPoints="1"/>
            </p:cNvSpPr>
            <p:nvPr/>
          </p:nvSpPr>
          <p:spPr bwMode="auto">
            <a:xfrm>
              <a:off x="4187825" y="3162301"/>
              <a:ext cx="446088" cy="481013"/>
            </a:xfrm>
            <a:custGeom>
              <a:avLst/>
              <a:gdLst>
                <a:gd name="T0" fmla="*/ 67 w 69"/>
                <a:gd name="T1" fmla="*/ 74 h 74"/>
                <a:gd name="T2" fmla="*/ 3 w 69"/>
                <a:gd name="T3" fmla="*/ 74 h 74"/>
                <a:gd name="T4" fmla="*/ 1 w 69"/>
                <a:gd name="T5" fmla="*/ 73 h 74"/>
                <a:gd name="T6" fmla="*/ 0 w 69"/>
                <a:gd name="T7" fmla="*/ 70 h 74"/>
                <a:gd name="T8" fmla="*/ 6 w 69"/>
                <a:gd name="T9" fmla="*/ 60 h 74"/>
                <a:gd name="T10" fmla="*/ 8 w 69"/>
                <a:gd name="T11" fmla="*/ 58 h 74"/>
                <a:gd name="T12" fmla="*/ 61 w 69"/>
                <a:gd name="T13" fmla="*/ 58 h 74"/>
                <a:gd name="T14" fmla="*/ 64 w 69"/>
                <a:gd name="T15" fmla="*/ 60 h 74"/>
                <a:gd name="T16" fmla="*/ 69 w 69"/>
                <a:gd name="T17" fmla="*/ 70 h 74"/>
                <a:gd name="T18" fmla="*/ 69 w 69"/>
                <a:gd name="T19" fmla="*/ 73 h 74"/>
                <a:gd name="T20" fmla="*/ 67 w 69"/>
                <a:gd name="T21" fmla="*/ 74 h 74"/>
                <a:gd name="T22" fmla="*/ 7 w 69"/>
                <a:gd name="T23" fmla="*/ 69 h 74"/>
                <a:gd name="T24" fmla="*/ 62 w 69"/>
                <a:gd name="T25" fmla="*/ 69 h 74"/>
                <a:gd name="T26" fmla="*/ 60 w 69"/>
                <a:gd name="T27" fmla="*/ 64 h 74"/>
                <a:gd name="T28" fmla="*/ 10 w 69"/>
                <a:gd name="T29" fmla="*/ 64 h 74"/>
                <a:gd name="T30" fmla="*/ 7 w 69"/>
                <a:gd name="T31" fmla="*/ 69 h 74"/>
                <a:gd name="T32" fmla="*/ 7 w 69"/>
                <a:gd name="T33" fmla="*/ 69 h 74"/>
                <a:gd name="T34" fmla="*/ 64 w 69"/>
                <a:gd name="T35" fmla="*/ 22 h 74"/>
                <a:gd name="T36" fmla="*/ 5 w 69"/>
                <a:gd name="T37" fmla="*/ 22 h 74"/>
                <a:gd name="T38" fmla="*/ 3 w 69"/>
                <a:gd name="T39" fmla="*/ 20 h 74"/>
                <a:gd name="T40" fmla="*/ 4 w 69"/>
                <a:gd name="T41" fmla="*/ 17 h 74"/>
                <a:gd name="T42" fmla="*/ 34 w 69"/>
                <a:gd name="T43" fmla="*/ 1 h 74"/>
                <a:gd name="T44" fmla="*/ 36 w 69"/>
                <a:gd name="T45" fmla="*/ 1 h 74"/>
                <a:gd name="T46" fmla="*/ 65 w 69"/>
                <a:gd name="T47" fmla="*/ 17 h 74"/>
                <a:gd name="T48" fmla="*/ 66 w 69"/>
                <a:gd name="T49" fmla="*/ 20 h 74"/>
                <a:gd name="T50" fmla="*/ 64 w 69"/>
                <a:gd name="T51" fmla="*/ 22 h 74"/>
                <a:gd name="T52" fmla="*/ 16 w 69"/>
                <a:gd name="T53" fmla="*/ 16 h 74"/>
                <a:gd name="T54" fmla="*/ 53 w 69"/>
                <a:gd name="T55" fmla="*/ 16 h 74"/>
                <a:gd name="T56" fmla="*/ 35 w 69"/>
                <a:gd name="T57" fmla="*/ 6 h 74"/>
                <a:gd name="T58" fmla="*/ 16 w 69"/>
                <a:gd name="T59" fmla="*/ 16 h 74"/>
                <a:gd name="T60" fmla="*/ 16 w 69"/>
                <a:gd name="T61" fmla="*/ 16 h 74"/>
                <a:gd name="T62" fmla="*/ 13 w 69"/>
                <a:gd name="T63" fmla="*/ 50 h 74"/>
                <a:gd name="T64" fmla="*/ 13 w 69"/>
                <a:gd name="T65" fmla="*/ 29 h 74"/>
                <a:gd name="T66" fmla="*/ 11 w 69"/>
                <a:gd name="T67" fmla="*/ 27 h 74"/>
                <a:gd name="T68" fmla="*/ 8 w 69"/>
                <a:gd name="T69" fmla="*/ 29 h 74"/>
                <a:gd name="T70" fmla="*/ 8 w 69"/>
                <a:gd name="T71" fmla="*/ 50 h 74"/>
                <a:gd name="T72" fmla="*/ 11 w 69"/>
                <a:gd name="T73" fmla="*/ 53 h 74"/>
                <a:gd name="T74" fmla="*/ 13 w 69"/>
                <a:gd name="T75" fmla="*/ 50 h 74"/>
                <a:gd name="T76" fmla="*/ 29 w 69"/>
                <a:gd name="T77" fmla="*/ 50 h 74"/>
                <a:gd name="T78" fmla="*/ 29 w 69"/>
                <a:gd name="T79" fmla="*/ 29 h 74"/>
                <a:gd name="T80" fmla="*/ 27 w 69"/>
                <a:gd name="T81" fmla="*/ 27 h 74"/>
                <a:gd name="T82" fmla="*/ 24 w 69"/>
                <a:gd name="T83" fmla="*/ 29 h 74"/>
                <a:gd name="T84" fmla="*/ 24 w 69"/>
                <a:gd name="T85" fmla="*/ 50 h 74"/>
                <a:gd name="T86" fmla="*/ 27 w 69"/>
                <a:gd name="T87" fmla="*/ 53 h 74"/>
                <a:gd name="T88" fmla="*/ 29 w 69"/>
                <a:gd name="T89" fmla="*/ 50 h 74"/>
                <a:gd name="T90" fmla="*/ 45 w 69"/>
                <a:gd name="T91" fmla="*/ 50 h 74"/>
                <a:gd name="T92" fmla="*/ 45 w 69"/>
                <a:gd name="T93" fmla="*/ 29 h 74"/>
                <a:gd name="T94" fmla="*/ 43 w 69"/>
                <a:gd name="T95" fmla="*/ 27 h 74"/>
                <a:gd name="T96" fmla="*/ 40 w 69"/>
                <a:gd name="T97" fmla="*/ 29 h 74"/>
                <a:gd name="T98" fmla="*/ 40 w 69"/>
                <a:gd name="T99" fmla="*/ 50 h 74"/>
                <a:gd name="T100" fmla="*/ 43 w 69"/>
                <a:gd name="T101" fmla="*/ 53 h 74"/>
                <a:gd name="T102" fmla="*/ 45 w 69"/>
                <a:gd name="T103" fmla="*/ 50 h 74"/>
                <a:gd name="T104" fmla="*/ 61 w 69"/>
                <a:gd name="T105" fmla="*/ 50 h 74"/>
                <a:gd name="T106" fmla="*/ 61 w 69"/>
                <a:gd name="T107" fmla="*/ 29 h 74"/>
                <a:gd name="T108" fmla="*/ 59 w 69"/>
                <a:gd name="T109" fmla="*/ 27 h 74"/>
                <a:gd name="T110" fmla="*/ 56 w 69"/>
                <a:gd name="T111" fmla="*/ 29 h 74"/>
                <a:gd name="T112" fmla="*/ 56 w 69"/>
                <a:gd name="T113" fmla="*/ 50 h 74"/>
                <a:gd name="T114" fmla="*/ 59 w 69"/>
                <a:gd name="T115" fmla="*/ 53 h 74"/>
                <a:gd name="T116" fmla="*/ 61 w 69"/>
                <a:gd name="T117" fmla="*/ 5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 h="74">
                  <a:moveTo>
                    <a:pt x="67" y="74"/>
                  </a:moveTo>
                  <a:cubicBezTo>
                    <a:pt x="3" y="74"/>
                    <a:pt x="3" y="74"/>
                    <a:pt x="3" y="74"/>
                  </a:cubicBezTo>
                  <a:cubicBezTo>
                    <a:pt x="2" y="74"/>
                    <a:pt x="1" y="73"/>
                    <a:pt x="1" y="73"/>
                  </a:cubicBezTo>
                  <a:cubicBezTo>
                    <a:pt x="0" y="72"/>
                    <a:pt x="0" y="71"/>
                    <a:pt x="0" y="70"/>
                  </a:cubicBezTo>
                  <a:cubicBezTo>
                    <a:pt x="6" y="60"/>
                    <a:pt x="6" y="60"/>
                    <a:pt x="6" y="60"/>
                  </a:cubicBezTo>
                  <a:cubicBezTo>
                    <a:pt x="6" y="59"/>
                    <a:pt x="7" y="58"/>
                    <a:pt x="8" y="58"/>
                  </a:cubicBezTo>
                  <a:cubicBezTo>
                    <a:pt x="61" y="58"/>
                    <a:pt x="61" y="58"/>
                    <a:pt x="61" y="58"/>
                  </a:cubicBezTo>
                  <a:cubicBezTo>
                    <a:pt x="62" y="58"/>
                    <a:pt x="63" y="59"/>
                    <a:pt x="64" y="60"/>
                  </a:cubicBezTo>
                  <a:cubicBezTo>
                    <a:pt x="69" y="70"/>
                    <a:pt x="69" y="70"/>
                    <a:pt x="69" y="70"/>
                  </a:cubicBezTo>
                  <a:cubicBezTo>
                    <a:pt x="69" y="71"/>
                    <a:pt x="69" y="72"/>
                    <a:pt x="69" y="73"/>
                  </a:cubicBezTo>
                  <a:cubicBezTo>
                    <a:pt x="68" y="73"/>
                    <a:pt x="67" y="74"/>
                    <a:pt x="67" y="74"/>
                  </a:cubicBezTo>
                  <a:close/>
                  <a:moveTo>
                    <a:pt x="7" y="69"/>
                  </a:moveTo>
                  <a:cubicBezTo>
                    <a:pt x="62" y="69"/>
                    <a:pt x="62" y="69"/>
                    <a:pt x="62" y="69"/>
                  </a:cubicBezTo>
                  <a:cubicBezTo>
                    <a:pt x="60" y="64"/>
                    <a:pt x="60" y="64"/>
                    <a:pt x="60" y="64"/>
                  </a:cubicBezTo>
                  <a:cubicBezTo>
                    <a:pt x="10" y="64"/>
                    <a:pt x="10" y="64"/>
                    <a:pt x="10" y="64"/>
                  </a:cubicBezTo>
                  <a:cubicBezTo>
                    <a:pt x="7" y="69"/>
                    <a:pt x="7" y="69"/>
                    <a:pt x="7" y="69"/>
                  </a:cubicBezTo>
                  <a:cubicBezTo>
                    <a:pt x="7" y="69"/>
                    <a:pt x="7" y="69"/>
                    <a:pt x="7" y="69"/>
                  </a:cubicBezTo>
                  <a:close/>
                  <a:moveTo>
                    <a:pt x="64" y="22"/>
                  </a:moveTo>
                  <a:cubicBezTo>
                    <a:pt x="5" y="22"/>
                    <a:pt x="5" y="22"/>
                    <a:pt x="5" y="22"/>
                  </a:cubicBezTo>
                  <a:cubicBezTo>
                    <a:pt x="4" y="22"/>
                    <a:pt x="3" y="21"/>
                    <a:pt x="3" y="20"/>
                  </a:cubicBezTo>
                  <a:cubicBezTo>
                    <a:pt x="3" y="18"/>
                    <a:pt x="3" y="17"/>
                    <a:pt x="4" y="17"/>
                  </a:cubicBezTo>
                  <a:cubicBezTo>
                    <a:pt x="34" y="1"/>
                    <a:pt x="34" y="1"/>
                    <a:pt x="34" y="1"/>
                  </a:cubicBezTo>
                  <a:cubicBezTo>
                    <a:pt x="34" y="0"/>
                    <a:pt x="35" y="0"/>
                    <a:pt x="36" y="1"/>
                  </a:cubicBezTo>
                  <a:cubicBezTo>
                    <a:pt x="65" y="17"/>
                    <a:pt x="65" y="17"/>
                    <a:pt x="65" y="17"/>
                  </a:cubicBezTo>
                  <a:cubicBezTo>
                    <a:pt x="66" y="17"/>
                    <a:pt x="67" y="18"/>
                    <a:pt x="66" y="20"/>
                  </a:cubicBezTo>
                  <a:cubicBezTo>
                    <a:pt x="66" y="21"/>
                    <a:pt x="65" y="22"/>
                    <a:pt x="64" y="22"/>
                  </a:cubicBezTo>
                  <a:close/>
                  <a:moveTo>
                    <a:pt x="16" y="16"/>
                  </a:moveTo>
                  <a:cubicBezTo>
                    <a:pt x="53" y="16"/>
                    <a:pt x="53" y="16"/>
                    <a:pt x="53" y="16"/>
                  </a:cubicBezTo>
                  <a:cubicBezTo>
                    <a:pt x="35" y="6"/>
                    <a:pt x="35" y="6"/>
                    <a:pt x="35" y="6"/>
                  </a:cubicBezTo>
                  <a:cubicBezTo>
                    <a:pt x="16" y="16"/>
                    <a:pt x="16" y="16"/>
                    <a:pt x="16" y="16"/>
                  </a:cubicBezTo>
                  <a:cubicBezTo>
                    <a:pt x="16" y="16"/>
                    <a:pt x="16" y="16"/>
                    <a:pt x="16" y="16"/>
                  </a:cubicBezTo>
                  <a:close/>
                  <a:moveTo>
                    <a:pt x="13" y="50"/>
                  </a:moveTo>
                  <a:cubicBezTo>
                    <a:pt x="13" y="29"/>
                    <a:pt x="13" y="29"/>
                    <a:pt x="13" y="29"/>
                  </a:cubicBezTo>
                  <a:cubicBezTo>
                    <a:pt x="13" y="28"/>
                    <a:pt x="12" y="27"/>
                    <a:pt x="11" y="27"/>
                  </a:cubicBezTo>
                  <a:cubicBezTo>
                    <a:pt x="9" y="27"/>
                    <a:pt x="8" y="28"/>
                    <a:pt x="8" y="29"/>
                  </a:cubicBezTo>
                  <a:cubicBezTo>
                    <a:pt x="8" y="50"/>
                    <a:pt x="8" y="50"/>
                    <a:pt x="8" y="50"/>
                  </a:cubicBezTo>
                  <a:cubicBezTo>
                    <a:pt x="8" y="52"/>
                    <a:pt x="9" y="53"/>
                    <a:pt x="11" y="53"/>
                  </a:cubicBezTo>
                  <a:cubicBezTo>
                    <a:pt x="12" y="53"/>
                    <a:pt x="13" y="52"/>
                    <a:pt x="13" y="50"/>
                  </a:cubicBezTo>
                  <a:close/>
                  <a:moveTo>
                    <a:pt x="29" y="50"/>
                  </a:moveTo>
                  <a:cubicBezTo>
                    <a:pt x="29" y="29"/>
                    <a:pt x="29" y="29"/>
                    <a:pt x="29" y="29"/>
                  </a:cubicBezTo>
                  <a:cubicBezTo>
                    <a:pt x="29" y="28"/>
                    <a:pt x="28" y="27"/>
                    <a:pt x="27" y="27"/>
                  </a:cubicBezTo>
                  <a:cubicBezTo>
                    <a:pt x="25" y="27"/>
                    <a:pt x="24" y="28"/>
                    <a:pt x="24" y="29"/>
                  </a:cubicBezTo>
                  <a:cubicBezTo>
                    <a:pt x="24" y="50"/>
                    <a:pt x="24" y="50"/>
                    <a:pt x="24" y="50"/>
                  </a:cubicBezTo>
                  <a:cubicBezTo>
                    <a:pt x="24" y="52"/>
                    <a:pt x="25" y="53"/>
                    <a:pt x="27" y="53"/>
                  </a:cubicBezTo>
                  <a:cubicBezTo>
                    <a:pt x="28" y="53"/>
                    <a:pt x="29" y="52"/>
                    <a:pt x="29" y="50"/>
                  </a:cubicBezTo>
                  <a:close/>
                  <a:moveTo>
                    <a:pt x="45" y="50"/>
                  </a:moveTo>
                  <a:cubicBezTo>
                    <a:pt x="45" y="29"/>
                    <a:pt x="45" y="29"/>
                    <a:pt x="45" y="29"/>
                  </a:cubicBezTo>
                  <a:cubicBezTo>
                    <a:pt x="45" y="28"/>
                    <a:pt x="44" y="27"/>
                    <a:pt x="43" y="27"/>
                  </a:cubicBezTo>
                  <a:cubicBezTo>
                    <a:pt x="41" y="27"/>
                    <a:pt x="40" y="28"/>
                    <a:pt x="40" y="29"/>
                  </a:cubicBezTo>
                  <a:cubicBezTo>
                    <a:pt x="40" y="50"/>
                    <a:pt x="40" y="50"/>
                    <a:pt x="40" y="50"/>
                  </a:cubicBezTo>
                  <a:cubicBezTo>
                    <a:pt x="40" y="52"/>
                    <a:pt x="41" y="53"/>
                    <a:pt x="43" y="53"/>
                  </a:cubicBezTo>
                  <a:cubicBezTo>
                    <a:pt x="44" y="53"/>
                    <a:pt x="45" y="52"/>
                    <a:pt x="45" y="50"/>
                  </a:cubicBezTo>
                  <a:close/>
                  <a:moveTo>
                    <a:pt x="61" y="50"/>
                  </a:moveTo>
                  <a:cubicBezTo>
                    <a:pt x="61" y="29"/>
                    <a:pt x="61" y="29"/>
                    <a:pt x="61" y="29"/>
                  </a:cubicBezTo>
                  <a:cubicBezTo>
                    <a:pt x="61" y="28"/>
                    <a:pt x="60" y="27"/>
                    <a:pt x="59" y="27"/>
                  </a:cubicBezTo>
                  <a:cubicBezTo>
                    <a:pt x="57" y="27"/>
                    <a:pt x="56" y="28"/>
                    <a:pt x="56" y="29"/>
                  </a:cubicBezTo>
                  <a:cubicBezTo>
                    <a:pt x="56" y="50"/>
                    <a:pt x="56" y="50"/>
                    <a:pt x="56" y="50"/>
                  </a:cubicBezTo>
                  <a:cubicBezTo>
                    <a:pt x="56" y="52"/>
                    <a:pt x="57" y="53"/>
                    <a:pt x="59" y="53"/>
                  </a:cubicBezTo>
                  <a:cubicBezTo>
                    <a:pt x="60" y="53"/>
                    <a:pt x="61" y="52"/>
                    <a:pt x="61" y="5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3"/>
            <p:cNvSpPr>
              <a:spLocks noEditPoints="1"/>
            </p:cNvSpPr>
            <p:nvPr/>
          </p:nvSpPr>
          <p:spPr bwMode="auto">
            <a:xfrm>
              <a:off x="5688013" y="3013076"/>
              <a:ext cx="814388" cy="819150"/>
            </a:xfrm>
            <a:custGeom>
              <a:avLst/>
              <a:gdLst>
                <a:gd name="T0" fmla="*/ 63 w 126"/>
                <a:gd name="T1" fmla="*/ 5 h 126"/>
                <a:gd name="T2" fmla="*/ 120 w 126"/>
                <a:gd name="T3" fmla="*/ 63 h 126"/>
                <a:gd name="T4" fmla="*/ 63 w 126"/>
                <a:gd name="T5" fmla="*/ 120 h 126"/>
                <a:gd name="T6" fmla="*/ 5 w 126"/>
                <a:gd name="T7" fmla="*/ 63 h 126"/>
                <a:gd name="T8" fmla="*/ 63 w 126"/>
                <a:gd name="T9" fmla="*/ 5 h 126"/>
                <a:gd name="T10" fmla="*/ 63 w 126"/>
                <a:gd name="T11" fmla="*/ 0 h 126"/>
                <a:gd name="T12" fmla="*/ 0 w 126"/>
                <a:gd name="T13" fmla="*/ 63 h 126"/>
                <a:gd name="T14" fmla="*/ 63 w 126"/>
                <a:gd name="T15" fmla="*/ 126 h 126"/>
                <a:gd name="T16" fmla="*/ 126 w 126"/>
                <a:gd name="T17" fmla="*/ 63 h 126"/>
                <a:gd name="T18" fmla="*/ 63 w 126"/>
                <a:gd name="T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26">
                  <a:moveTo>
                    <a:pt x="63" y="5"/>
                  </a:moveTo>
                  <a:cubicBezTo>
                    <a:pt x="95" y="5"/>
                    <a:pt x="120" y="31"/>
                    <a:pt x="120" y="63"/>
                  </a:cubicBezTo>
                  <a:cubicBezTo>
                    <a:pt x="120" y="95"/>
                    <a:pt x="95" y="120"/>
                    <a:pt x="63" y="120"/>
                  </a:cubicBezTo>
                  <a:cubicBezTo>
                    <a:pt x="31" y="120"/>
                    <a:pt x="5" y="95"/>
                    <a:pt x="5" y="63"/>
                  </a:cubicBezTo>
                  <a:cubicBezTo>
                    <a:pt x="5" y="31"/>
                    <a:pt x="31" y="5"/>
                    <a:pt x="63" y="5"/>
                  </a:cubicBezTo>
                  <a:moveTo>
                    <a:pt x="63" y="0"/>
                  </a:moveTo>
                  <a:cubicBezTo>
                    <a:pt x="28" y="0"/>
                    <a:pt x="0" y="28"/>
                    <a:pt x="0" y="63"/>
                  </a:cubicBezTo>
                  <a:cubicBezTo>
                    <a:pt x="0" y="98"/>
                    <a:pt x="28" y="126"/>
                    <a:pt x="63" y="126"/>
                  </a:cubicBezTo>
                  <a:cubicBezTo>
                    <a:pt x="98" y="126"/>
                    <a:pt x="126" y="98"/>
                    <a:pt x="126" y="63"/>
                  </a:cubicBezTo>
                  <a:cubicBezTo>
                    <a:pt x="126" y="28"/>
                    <a:pt x="98" y="0"/>
                    <a:pt x="6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4"/>
            <p:cNvSpPr>
              <a:spLocks noEditPoints="1"/>
            </p:cNvSpPr>
            <p:nvPr/>
          </p:nvSpPr>
          <p:spPr bwMode="auto">
            <a:xfrm>
              <a:off x="5875338" y="3201989"/>
              <a:ext cx="439738" cy="441325"/>
            </a:xfrm>
            <a:custGeom>
              <a:avLst/>
              <a:gdLst>
                <a:gd name="T0" fmla="*/ 66 w 68"/>
                <a:gd name="T1" fmla="*/ 68 h 68"/>
                <a:gd name="T2" fmla="*/ 0 w 68"/>
                <a:gd name="T3" fmla="*/ 65 h 68"/>
                <a:gd name="T4" fmla="*/ 2 w 68"/>
                <a:gd name="T5" fmla="*/ 2 h 68"/>
                <a:gd name="T6" fmla="*/ 8 w 68"/>
                <a:gd name="T7" fmla="*/ 2 h 68"/>
                <a:gd name="T8" fmla="*/ 60 w 68"/>
                <a:gd name="T9" fmla="*/ 63 h 68"/>
                <a:gd name="T10" fmla="*/ 63 w 68"/>
                <a:gd name="T11" fmla="*/ 0 h 68"/>
                <a:gd name="T12" fmla="*/ 66 w 68"/>
                <a:gd name="T13" fmla="*/ 63 h 68"/>
                <a:gd name="T14" fmla="*/ 18 w 68"/>
                <a:gd name="T15" fmla="*/ 58 h 68"/>
                <a:gd name="T16" fmla="*/ 29 w 68"/>
                <a:gd name="T17" fmla="*/ 55 h 68"/>
                <a:gd name="T18" fmla="*/ 38 w 68"/>
                <a:gd name="T19" fmla="*/ 55 h 68"/>
                <a:gd name="T20" fmla="*/ 50 w 68"/>
                <a:gd name="T21" fmla="*/ 58 h 68"/>
                <a:gd name="T22" fmla="*/ 50 w 68"/>
                <a:gd name="T23" fmla="*/ 47 h 68"/>
                <a:gd name="T24" fmla="*/ 38 w 68"/>
                <a:gd name="T25" fmla="*/ 50 h 68"/>
                <a:gd name="T26" fmla="*/ 29 w 68"/>
                <a:gd name="T27" fmla="*/ 50 h 68"/>
                <a:gd name="T28" fmla="*/ 18 w 68"/>
                <a:gd name="T29" fmla="*/ 47 h 68"/>
                <a:gd name="T30" fmla="*/ 18 w 68"/>
                <a:gd name="T31" fmla="*/ 58 h 68"/>
                <a:gd name="T32" fmla="*/ 23 w 68"/>
                <a:gd name="T33" fmla="*/ 36 h 68"/>
                <a:gd name="T34" fmla="*/ 39 w 68"/>
                <a:gd name="T35" fmla="*/ 39 h 68"/>
                <a:gd name="T36" fmla="*/ 45 w 68"/>
                <a:gd name="T37" fmla="*/ 36 h 68"/>
                <a:gd name="T38" fmla="*/ 55 w 68"/>
                <a:gd name="T39" fmla="*/ 34 h 68"/>
                <a:gd name="T40" fmla="*/ 45 w 68"/>
                <a:gd name="T41" fmla="*/ 31 h 68"/>
                <a:gd name="T42" fmla="*/ 39 w 68"/>
                <a:gd name="T43" fmla="*/ 29 h 68"/>
                <a:gd name="T44" fmla="*/ 23 w 68"/>
                <a:gd name="T45" fmla="*/ 31 h 68"/>
                <a:gd name="T46" fmla="*/ 13 w 68"/>
                <a:gd name="T47" fmla="*/ 34 h 68"/>
                <a:gd name="T48" fmla="*/ 18 w 68"/>
                <a:gd name="T49" fmla="*/ 21 h 68"/>
                <a:gd name="T50" fmla="*/ 24 w 68"/>
                <a:gd name="T51" fmla="*/ 18 h 68"/>
                <a:gd name="T52" fmla="*/ 33 w 68"/>
                <a:gd name="T53" fmla="*/ 18 h 68"/>
                <a:gd name="T54" fmla="*/ 50 w 68"/>
                <a:gd name="T55" fmla="*/ 21 h 68"/>
                <a:gd name="T56" fmla="*/ 50 w 68"/>
                <a:gd name="T57" fmla="*/ 10 h 68"/>
                <a:gd name="T58" fmla="*/ 33 w 68"/>
                <a:gd name="T59" fmla="*/ 13 h 68"/>
                <a:gd name="T60" fmla="*/ 24 w 68"/>
                <a:gd name="T61" fmla="*/ 13 h 68"/>
                <a:gd name="T62" fmla="*/ 18 w 68"/>
                <a:gd name="T63" fmla="*/ 10 h 68"/>
                <a:gd name="T64" fmla="*/ 18 w 68"/>
                <a:gd name="T65" fmla="*/ 2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68">
                  <a:moveTo>
                    <a:pt x="68" y="65"/>
                  </a:moveTo>
                  <a:cubicBezTo>
                    <a:pt x="68" y="67"/>
                    <a:pt x="67" y="68"/>
                    <a:pt x="66" y="68"/>
                  </a:cubicBezTo>
                  <a:cubicBezTo>
                    <a:pt x="2" y="68"/>
                    <a:pt x="2" y="68"/>
                    <a:pt x="2" y="68"/>
                  </a:cubicBezTo>
                  <a:cubicBezTo>
                    <a:pt x="1" y="68"/>
                    <a:pt x="0" y="67"/>
                    <a:pt x="0" y="65"/>
                  </a:cubicBezTo>
                  <a:cubicBezTo>
                    <a:pt x="0" y="64"/>
                    <a:pt x="1" y="63"/>
                    <a:pt x="2" y="63"/>
                  </a:cubicBezTo>
                  <a:cubicBezTo>
                    <a:pt x="2" y="2"/>
                    <a:pt x="2" y="2"/>
                    <a:pt x="2" y="2"/>
                  </a:cubicBezTo>
                  <a:cubicBezTo>
                    <a:pt x="2" y="1"/>
                    <a:pt x="3" y="0"/>
                    <a:pt x="5" y="0"/>
                  </a:cubicBezTo>
                  <a:cubicBezTo>
                    <a:pt x="6" y="0"/>
                    <a:pt x="8" y="1"/>
                    <a:pt x="8" y="2"/>
                  </a:cubicBezTo>
                  <a:cubicBezTo>
                    <a:pt x="8" y="63"/>
                    <a:pt x="8" y="63"/>
                    <a:pt x="8" y="63"/>
                  </a:cubicBezTo>
                  <a:cubicBezTo>
                    <a:pt x="60" y="63"/>
                    <a:pt x="60" y="63"/>
                    <a:pt x="60" y="63"/>
                  </a:cubicBezTo>
                  <a:cubicBezTo>
                    <a:pt x="60" y="2"/>
                    <a:pt x="60" y="2"/>
                    <a:pt x="60" y="2"/>
                  </a:cubicBezTo>
                  <a:cubicBezTo>
                    <a:pt x="60" y="1"/>
                    <a:pt x="61" y="0"/>
                    <a:pt x="63" y="0"/>
                  </a:cubicBezTo>
                  <a:cubicBezTo>
                    <a:pt x="64" y="0"/>
                    <a:pt x="66" y="1"/>
                    <a:pt x="66" y="2"/>
                  </a:cubicBezTo>
                  <a:cubicBezTo>
                    <a:pt x="66" y="63"/>
                    <a:pt x="66" y="63"/>
                    <a:pt x="66" y="63"/>
                  </a:cubicBezTo>
                  <a:cubicBezTo>
                    <a:pt x="67" y="63"/>
                    <a:pt x="68" y="64"/>
                    <a:pt x="68" y="65"/>
                  </a:cubicBezTo>
                  <a:close/>
                  <a:moveTo>
                    <a:pt x="18" y="58"/>
                  </a:moveTo>
                  <a:cubicBezTo>
                    <a:pt x="20" y="58"/>
                    <a:pt x="22" y="56"/>
                    <a:pt x="23" y="55"/>
                  </a:cubicBezTo>
                  <a:cubicBezTo>
                    <a:pt x="29" y="55"/>
                    <a:pt x="29" y="55"/>
                    <a:pt x="29" y="55"/>
                  </a:cubicBezTo>
                  <a:cubicBezTo>
                    <a:pt x="30" y="56"/>
                    <a:pt x="32" y="58"/>
                    <a:pt x="34" y="58"/>
                  </a:cubicBezTo>
                  <a:cubicBezTo>
                    <a:pt x="36" y="58"/>
                    <a:pt x="37" y="56"/>
                    <a:pt x="38" y="55"/>
                  </a:cubicBezTo>
                  <a:cubicBezTo>
                    <a:pt x="45" y="55"/>
                    <a:pt x="45" y="55"/>
                    <a:pt x="45" y="55"/>
                  </a:cubicBezTo>
                  <a:cubicBezTo>
                    <a:pt x="46" y="56"/>
                    <a:pt x="48" y="58"/>
                    <a:pt x="50" y="58"/>
                  </a:cubicBezTo>
                  <a:cubicBezTo>
                    <a:pt x="52" y="58"/>
                    <a:pt x="55" y="55"/>
                    <a:pt x="55" y="52"/>
                  </a:cubicBezTo>
                  <a:cubicBezTo>
                    <a:pt x="55" y="49"/>
                    <a:pt x="52" y="47"/>
                    <a:pt x="50" y="47"/>
                  </a:cubicBezTo>
                  <a:cubicBezTo>
                    <a:pt x="48" y="47"/>
                    <a:pt x="46" y="48"/>
                    <a:pt x="45" y="50"/>
                  </a:cubicBezTo>
                  <a:cubicBezTo>
                    <a:pt x="38" y="50"/>
                    <a:pt x="38" y="50"/>
                    <a:pt x="38" y="50"/>
                  </a:cubicBezTo>
                  <a:cubicBezTo>
                    <a:pt x="37" y="48"/>
                    <a:pt x="36" y="47"/>
                    <a:pt x="34" y="47"/>
                  </a:cubicBezTo>
                  <a:cubicBezTo>
                    <a:pt x="32" y="47"/>
                    <a:pt x="30" y="48"/>
                    <a:pt x="29" y="50"/>
                  </a:cubicBezTo>
                  <a:cubicBezTo>
                    <a:pt x="23" y="50"/>
                    <a:pt x="23" y="50"/>
                    <a:pt x="23" y="50"/>
                  </a:cubicBezTo>
                  <a:cubicBezTo>
                    <a:pt x="22" y="48"/>
                    <a:pt x="20" y="47"/>
                    <a:pt x="18" y="47"/>
                  </a:cubicBezTo>
                  <a:cubicBezTo>
                    <a:pt x="15" y="47"/>
                    <a:pt x="13" y="49"/>
                    <a:pt x="13" y="52"/>
                  </a:cubicBezTo>
                  <a:cubicBezTo>
                    <a:pt x="13" y="55"/>
                    <a:pt x="15" y="58"/>
                    <a:pt x="18" y="58"/>
                  </a:cubicBezTo>
                  <a:close/>
                  <a:moveTo>
                    <a:pt x="18" y="39"/>
                  </a:moveTo>
                  <a:cubicBezTo>
                    <a:pt x="20" y="39"/>
                    <a:pt x="22" y="38"/>
                    <a:pt x="23" y="36"/>
                  </a:cubicBezTo>
                  <a:cubicBezTo>
                    <a:pt x="35" y="36"/>
                    <a:pt x="35" y="36"/>
                    <a:pt x="35" y="36"/>
                  </a:cubicBezTo>
                  <a:cubicBezTo>
                    <a:pt x="35" y="38"/>
                    <a:pt x="37" y="39"/>
                    <a:pt x="39" y="39"/>
                  </a:cubicBezTo>
                  <a:cubicBezTo>
                    <a:pt x="41" y="39"/>
                    <a:pt x="43" y="38"/>
                    <a:pt x="44" y="36"/>
                  </a:cubicBezTo>
                  <a:cubicBezTo>
                    <a:pt x="45" y="36"/>
                    <a:pt x="45" y="36"/>
                    <a:pt x="45" y="36"/>
                  </a:cubicBezTo>
                  <a:cubicBezTo>
                    <a:pt x="46" y="38"/>
                    <a:pt x="48" y="39"/>
                    <a:pt x="50" y="39"/>
                  </a:cubicBezTo>
                  <a:cubicBezTo>
                    <a:pt x="52" y="39"/>
                    <a:pt x="55" y="37"/>
                    <a:pt x="55" y="34"/>
                  </a:cubicBezTo>
                  <a:cubicBezTo>
                    <a:pt x="55" y="31"/>
                    <a:pt x="52" y="29"/>
                    <a:pt x="50" y="29"/>
                  </a:cubicBezTo>
                  <a:cubicBezTo>
                    <a:pt x="48" y="29"/>
                    <a:pt x="46" y="30"/>
                    <a:pt x="45" y="31"/>
                  </a:cubicBezTo>
                  <a:cubicBezTo>
                    <a:pt x="44" y="31"/>
                    <a:pt x="44" y="31"/>
                    <a:pt x="44" y="31"/>
                  </a:cubicBezTo>
                  <a:cubicBezTo>
                    <a:pt x="43" y="30"/>
                    <a:pt x="41" y="29"/>
                    <a:pt x="39" y="29"/>
                  </a:cubicBezTo>
                  <a:cubicBezTo>
                    <a:pt x="37" y="29"/>
                    <a:pt x="35" y="30"/>
                    <a:pt x="35" y="31"/>
                  </a:cubicBezTo>
                  <a:cubicBezTo>
                    <a:pt x="23" y="31"/>
                    <a:pt x="23" y="31"/>
                    <a:pt x="23" y="31"/>
                  </a:cubicBezTo>
                  <a:cubicBezTo>
                    <a:pt x="22" y="30"/>
                    <a:pt x="20" y="29"/>
                    <a:pt x="18" y="29"/>
                  </a:cubicBezTo>
                  <a:cubicBezTo>
                    <a:pt x="15" y="29"/>
                    <a:pt x="13" y="31"/>
                    <a:pt x="13" y="34"/>
                  </a:cubicBezTo>
                  <a:cubicBezTo>
                    <a:pt x="13" y="37"/>
                    <a:pt x="15" y="39"/>
                    <a:pt x="18" y="39"/>
                  </a:cubicBezTo>
                  <a:close/>
                  <a:moveTo>
                    <a:pt x="18" y="21"/>
                  </a:moveTo>
                  <a:cubicBezTo>
                    <a:pt x="20" y="21"/>
                    <a:pt x="22" y="20"/>
                    <a:pt x="23" y="18"/>
                  </a:cubicBezTo>
                  <a:cubicBezTo>
                    <a:pt x="24" y="18"/>
                    <a:pt x="24" y="18"/>
                    <a:pt x="24" y="18"/>
                  </a:cubicBezTo>
                  <a:cubicBezTo>
                    <a:pt x="25" y="20"/>
                    <a:pt x="27" y="21"/>
                    <a:pt x="29" y="21"/>
                  </a:cubicBezTo>
                  <a:cubicBezTo>
                    <a:pt x="31" y="21"/>
                    <a:pt x="32" y="20"/>
                    <a:pt x="33" y="18"/>
                  </a:cubicBezTo>
                  <a:cubicBezTo>
                    <a:pt x="45" y="18"/>
                    <a:pt x="45" y="18"/>
                    <a:pt x="45" y="18"/>
                  </a:cubicBezTo>
                  <a:cubicBezTo>
                    <a:pt x="46" y="20"/>
                    <a:pt x="48" y="21"/>
                    <a:pt x="50" y="21"/>
                  </a:cubicBezTo>
                  <a:cubicBezTo>
                    <a:pt x="52" y="21"/>
                    <a:pt x="55" y="18"/>
                    <a:pt x="55" y="15"/>
                  </a:cubicBezTo>
                  <a:cubicBezTo>
                    <a:pt x="55" y="12"/>
                    <a:pt x="52" y="10"/>
                    <a:pt x="50" y="10"/>
                  </a:cubicBezTo>
                  <a:cubicBezTo>
                    <a:pt x="48" y="10"/>
                    <a:pt x="46" y="11"/>
                    <a:pt x="45" y="13"/>
                  </a:cubicBezTo>
                  <a:cubicBezTo>
                    <a:pt x="33" y="13"/>
                    <a:pt x="33" y="13"/>
                    <a:pt x="33" y="13"/>
                  </a:cubicBezTo>
                  <a:cubicBezTo>
                    <a:pt x="32" y="11"/>
                    <a:pt x="31" y="10"/>
                    <a:pt x="29" y="10"/>
                  </a:cubicBezTo>
                  <a:cubicBezTo>
                    <a:pt x="27" y="10"/>
                    <a:pt x="25" y="11"/>
                    <a:pt x="24" y="13"/>
                  </a:cubicBezTo>
                  <a:cubicBezTo>
                    <a:pt x="23" y="13"/>
                    <a:pt x="23" y="13"/>
                    <a:pt x="23" y="13"/>
                  </a:cubicBezTo>
                  <a:cubicBezTo>
                    <a:pt x="22" y="11"/>
                    <a:pt x="20" y="10"/>
                    <a:pt x="18" y="10"/>
                  </a:cubicBezTo>
                  <a:cubicBezTo>
                    <a:pt x="15" y="10"/>
                    <a:pt x="13" y="12"/>
                    <a:pt x="13" y="15"/>
                  </a:cubicBezTo>
                  <a:cubicBezTo>
                    <a:pt x="13" y="18"/>
                    <a:pt x="15" y="21"/>
                    <a:pt x="18" y="2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5"/>
            <p:cNvSpPr>
              <a:spLocks noEditPoints="1"/>
            </p:cNvSpPr>
            <p:nvPr/>
          </p:nvSpPr>
          <p:spPr bwMode="auto">
            <a:xfrm>
              <a:off x="9271000" y="3162301"/>
              <a:ext cx="376238" cy="512763"/>
            </a:xfrm>
            <a:custGeom>
              <a:avLst/>
              <a:gdLst>
                <a:gd name="T0" fmla="*/ 23 w 58"/>
                <a:gd name="T1" fmla="*/ 53 h 79"/>
                <a:gd name="T2" fmla="*/ 27 w 58"/>
                <a:gd name="T3" fmla="*/ 56 h 79"/>
                <a:gd name="T4" fmla="*/ 24 w 58"/>
                <a:gd name="T5" fmla="*/ 58 h 79"/>
                <a:gd name="T6" fmla="*/ 23 w 58"/>
                <a:gd name="T7" fmla="*/ 68 h 79"/>
                <a:gd name="T8" fmla="*/ 27 w 58"/>
                <a:gd name="T9" fmla="*/ 67 h 79"/>
                <a:gd name="T10" fmla="*/ 23 w 58"/>
                <a:gd name="T11" fmla="*/ 64 h 79"/>
                <a:gd name="T12" fmla="*/ 22 w 58"/>
                <a:gd name="T13" fmla="*/ 67 h 79"/>
                <a:gd name="T14" fmla="*/ 15 w 58"/>
                <a:gd name="T15" fmla="*/ 58 h 79"/>
                <a:gd name="T16" fmla="*/ 15 w 58"/>
                <a:gd name="T17" fmla="*/ 54 h 79"/>
                <a:gd name="T18" fmla="*/ 11 w 58"/>
                <a:gd name="T19" fmla="*/ 57 h 79"/>
                <a:gd name="T20" fmla="*/ 16 w 58"/>
                <a:gd name="T21" fmla="*/ 46 h 79"/>
                <a:gd name="T22" fmla="*/ 15 w 58"/>
                <a:gd name="T23" fmla="*/ 43 h 79"/>
                <a:gd name="T24" fmla="*/ 11 w 58"/>
                <a:gd name="T25" fmla="*/ 45 h 79"/>
                <a:gd name="T26" fmla="*/ 24 w 58"/>
                <a:gd name="T27" fmla="*/ 48 h 79"/>
                <a:gd name="T28" fmla="*/ 27 w 58"/>
                <a:gd name="T29" fmla="*/ 44 h 79"/>
                <a:gd name="T30" fmla="*/ 22 w 58"/>
                <a:gd name="T31" fmla="*/ 45 h 79"/>
                <a:gd name="T32" fmla="*/ 23 w 58"/>
                <a:gd name="T33" fmla="*/ 37 h 79"/>
                <a:gd name="T34" fmla="*/ 27 w 58"/>
                <a:gd name="T35" fmla="*/ 34 h 79"/>
                <a:gd name="T36" fmla="*/ 25 w 58"/>
                <a:gd name="T37" fmla="*/ 32 h 79"/>
                <a:gd name="T38" fmla="*/ 22 w 58"/>
                <a:gd name="T39" fmla="*/ 35 h 79"/>
                <a:gd name="T40" fmla="*/ 15 w 58"/>
                <a:gd name="T41" fmla="*/ 37 h 79"/>
                <a:gd name="T42" fmla="*/ 15 w 58"/>
                <a:gd name="T43" fmla="*/ 33 h 79"/>
                <a:gd name="T44" fmla="*/ 13 w 58"/>
                <a:gd name="T45" fmla="*/ 32 h 79"/>
                <a:gd name="T46" fmla="*/ 11 w 58"/>
                <a:gd name="T47" fmla="*/ 34 h 79"/>
                <a:gd name="T48" fmla="*/ 14 w 58"/>
                <a:gd name="T49" fmla="*/ 27 h 79"/>
                <a:gd name="T50" fmla="*/ 15 w 58"/>
                <a:gd name="T51" fmla="*/ 22 h 79"/>
                <a:gd name="T52" fmla="*/ 12 w 58"/>
                <a:gd name="T53" fmla="*/ 22 h 79"/>
                <a:gd name="T54" fmla="*/ 12 w 58"/>
                <a:gd name="T55" fmla="*/ 26 h 79"/>
                <a:gd name="T56" fmla="*/ 25 w 58"/>
                <a:gd name="T57" fmla="*/ 26 h 79"/>
                <a:gd name="T58" fmla="*/ 26 w 58"/>
                <a:gd name="T59" fmla="*/ 22 h 79"/>
                <a:gd name="T60" fmla="*/ 22 w 58"/>
                <a:gd name="T61" fmla="*/ 24 h 79"/>
                <a:gd name="T62" fmla="*/ 25 w 58"/>
                <a:gd name="T63" fmla="*/ 16 h 79"/>
                <a:gd name="T64" fmla="*/ 27 w 58"/>
                <a:gd name="T65" fmla="*/ 12 h 79"/>
                <a:gd name="T66" fmla="*/ 22 w 58"/>
                <a:gd name="T67" fmla="*/ 12 h 79"/>
                <a:gd name="T68" fmla="*/ 13 w 58"/>
                <a:gd name="T69" fmla="*/ 16 h 79"/>
                <a:gd name="T70" fmla="*/ 16 w 58"/>
                <a:gd name="T71" fmla="*/ 12 h 79"/>
                <a:gd name="T72" fmla="*/ 11 w 58"/>
                <a:gd name="T73" fmla="*/ 13 h 79"/>
                <a:gd name="T74" fmla="*/ 45 w 58"/>
                <a:gd name="T75" fmla="*/ 58 h 79"/>
                <a:gd name="T76" fmla="*/ 47 w 58"/>
                <a:gd name="T77" fmla="*/ 55 h 79"/>
                <a:gd name="T78" fmla="*/ 46 w 58"/>
                <a:gd name="T79" fmla="*/ 53 h 79"/>
                <a:gd name="T80" fmla="*/ 43 w 58"/>
                <a:gd name="T81" fmla="*/ 54 h 79"/>
                <a:gd name="T82" fmla="*/ 43 w 58"/>
                <a:gd name="T83" fmla="*/ 57 h 79"/>
                <a:gd name="T84" fmla="*/ 46 w 58"/>
                <a:gd name="T85" fmla="*/ 47 h 79"/>
                <a:gd name="T86" fmla="*/ 47 w 58"/>
                <a:gd name="T87" fmla="*/ 44 h 79"/>
                <a:gd name="T88" fmla="*/ 43 w 58"/>
                <a:gd name="T89" fmla="*/ 43 h 79"/>
                <a:gd name="T90" fmla="*/ 43 w 58"/>
                <a:gd name="T91" fmla="*/ 47 h 79"/>
                <a:gd name="T92" fmla="*/ 46 w 58"/>
                <a:gd name="T93" fmla="*/ 37 h 79"/>
                <a:gd name="T94" fmla="*/ 47 w 58"/>
                <a:gd name="T95" fmla="*/ 33 h 79"/>
                <a:gd name="T96" fmla="*/ 43 w 58"/>
                <a:gd name="T97" fmla="*/ 33 h 79"/>
                <a:gd name="T98" fmla="*/ 58 w 58"/>
                <a:gd name="T99" fmla="*/ 24 h 79"/>
                <a:gd name="T100" fmla="*/ 0 w 58"/>
                <a:gd name="T101" fmla="*/ 76 h 79"/>
                <a:gd name="T102" fmla="*/ 37 w 58"/>
                <a:gd name="T103" fmla="*/ 3 h 79"/>
                <a:gd name="T104" fmla="*/ 6 w 58"/>
                <a:gd name="T105" fmla="*/ 74 h 79"/>
                <a:gd name="T106" fmla="*/ 16 w 58"/>
                <a:gd name="T107" fmla="*/ 66 h 79"/>
                <a:gd name="T108" fmla="*/ 6 w 58"/>
                <a:gd name="T109" fmla="*/ 6 h 79"/>
                <a:gd name="T110" fmla="*/ 37 w 58"/>
                <a:gd name="T111" fmla="*/ 27 h 79"/>
                <a:gd name="T112" fmla="*/ 45 w 58"/>
                <a:gd name="T113" fmla="*/ 63 h 79"/>
                <a:gd name="T114" fmla="*/ 53 w 58"/>
                <a:gd name="T115" fmla="*/ 2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8" h="79">
                  <a:moveTo>
                    <a:pt x="22" y="57"/>
                  </a:moveTo>
                  <a:cubicBezTo>
                    <a:pt x="22" y="56"/>
                    <a:pt x="22" y="56"/>
                    <a:pt x="22" y="56"/>
                  </a:cubicBezTo>
                  <a:cubicBezTo>
                    <a:pt x="22" y="55"/>
                    <a:pt x="22" y="54"/>
                    <a:pt x="22" y="54"/>
                  </a:cubicBezTo>
                  <a:cubicBezTo>
                    <a:pt x="23" y="53"/>
                    <a:pt x="23" y="53"/>
                    <a:pt x="23" y="53"/>
                  </a:cubicBezTo>
                  <a:cubicBezTo>
                    <a:pt x="23" y="53"/>
                    <a:pt x="23" y="53"/>
                    <a:pt x="23" y="53"/>
                  </a:cubicBezTo>
                  <a:cubicBezTo>
                    <a:pt x="23" y="53"/>
                    <a:pt x="24" y="53"/>
                    <a:pt x="24" y="53"/>
                  </a:cubicBezTo>
                  <a:cubicBezTo>
                    <a:pt x="25" y="53"/>
                    <a:pt x="25" y="53"/>
                    <a:pt x="26" y="54"/>
                  </a:cubicBezTo>
                  <a:cubicBezTo>
                    <a:pt x="27" y="54"/>
                    <a:pt x="27" y="55"/>
                    <a:pt x="27" y="56"/>
                  </a:cubicBezTo>
                  <a:cubicBezTo>
                    <a:pt x="27" y="56"/>
                    <a:pt x="27" y="56"/>
                    <a:pt x="27" y="57"/>
                  </a:cubicBezTo>
                  <a:cubicBezTo>
                    <a:pt x="27" y="57"/>
                    <a:pt x="26" y="57"/>
                    <a:pt x="26" y="57"/>
                  </a:cubicBezTo>
                  <a:cubicBezTo>
                    <a:pt x="26" y="58"/>
                    <a:pt x="26" y="58"/>
                    <a:pt x="25" y="58"/>
                  </a:cubicBezTo>
                  <a:cubicBezTo>
                    <a:pt x="25" y="58"/>
                    <a:pt x="25" y="58"/>
                    <a:pt x="24" y="58"/>
                  </a:cubicBezTo>
                  <a:cubicBezTo>
                    <a:pt x="23" y="58"/>
                    <a:pt x="23" y="58"/>
                    <a:pt x="22" y="57"/>
                  </a:cubicBezTo>
                  <a:cubicBezTo>
                    <a:pt x="22" y="57"/>
                    <a:pt x="22" y="57"/>
                    <a:pt x="22" y="57"/>
                  </a:cubicBezTo>
                  <a:close/>
                  <a:moveTo>
                    <a:pt x="22" y="68"/>
                  </a:moveTo>
                  <a:cubicBezTo>
                    <a:pt x="23" y="68"/>
                    <a:pt x="23" y="68"/>
                    <a:pt x="23" y="68"/>
                  </a:cubicBezTo>
                  <a:cubicBezTo>
                    <a:pt x="24" y="69"/>
                    <a:pt x="24" y="69"/>
                    <a:pt x="24" y="69"/>
                  </a:cubicBezTo>
                  <a:cubicBezTo>
                    <a:pt x="25" y="69"/>
                    <a:pt x="25" y="69"/>
                    <a:pt x="25" y="68"/>
                  </a:cubicBezTo>
                  <a:cubicBezTo>
                    <a:pt x="26" y="68"/>
                    <a:pt x="26" y="68"/>
                    <a:pt x="26" y="68"/>
                  </a:cubicBezTo>
                  <a:cubicBezTo>
                    <a:pt x="26" y="68"/>
                    <a:pt x="27" y="67"/>
                    <a:pt x="27" y="67"/>
                  </a:cubicBezTo>
                  <a:cubicBezTo>
                    <a:pt x="27" y="67"/>
                    <a:pt x="27" y="66"/>
                    <a:pt x="27" y="66"/>
                  </a:cubicBezTo>
                  <a:cubicBezTo>
                    <a:pt x="27" y="66"/>
                    <a:pt x="27" y="65"/>
                    <a:pt x="27" y="65"/>
                  </a:cubicBezTo>
                  <a:cubicBezTo>
                    <a:pt x="27" y="65"/>
                    <a:pt x="26" y="64"/>
                    <a:pt x="26" y="64"/>
                  </a:cubicBezTo>
                  <a:cubicBezTo>
                    <a:pt x="25" y="63"/>
                    <a:pt x="24" y="63"/>
                    <a:pt x="23" y="64"/>
                  </a:cubicBezTo>
                  <a:cubicBezTo>
                    <a:pt x="23" y="64"/>
                    <a:pt x="23" y="64"/>
                    <a:pt x="22" y="64"/>
                  </a:cubicBezTo>
                  <a:cubicBezTo>
                    <a:pt x="22" y="64"/>
                    <a:pt x="22" y="65"/>
                    <a:pt x="22" y="65"/>
                  </a:cubicBezTo>
                  <a:cubicBezTo>
                    <a:pt x="22" y="65"/>
                    <a:pt x="22" y="66"/>
                    <a:pt x="22" y="66"/>
                  </a:cubicBezTo>
                  <a:cubicBezTo>
                    <a:pt x="22" y="66"/>
                    <a:pt x="22" y="67"/>
                    <a:pt x="22" y="67"/>
                  </a:cubicBezTo>
                  <a:cubicBezTo>
                    <a:pt x="22" y="67"/>
                    <a:pt x="22" y="68"/>
                    <a:pt x="22" y="68"/>
                  </a:cubicBezTo>
                  <a:close/>
                  <a:moveTo>
                    <a:pt x="12" y="57"/>
                  </a:moveTo>
                  <a:cubicBezTo>
                    <a:pt x="12" y="58"/>
                    <a:pt x="13" y="58"/>
                    <a:pt x="14" y="58"/>
                  </a:cubicBezTo>
                  <a:cubicBezTo>
                    <a:pt x="14" y="58"/>
                    <a:pt x="14" y="58"/>
                    <a:pt x="15" y="58"/>
                  </a:cubicBezTo>
                  <a:cubicBezTo>
                    <a:pt x="15" y="58"/>
                    <a:pt x="15" y="58"/>
                    <a:pt x="15" y="57"/>
                  </a:cubicBezTo>
                  <a:cubicBezTo>
                    <a:pt x="16" y="57"/>
                    <a:pt x="16" y="57"/>
                    <a:pt x="16" y="57"/>
                  </a:cubicBezTo>
                  <a:cubicBezTo>
                    <a:pt x="16" y="56"/>
                    <a:pt x="16" y="56"/>
                    <a:pt x="16" y="56"/>
                  </a:cubicBezTo>
                  <a:cubicBezTo>
                    <a:pt x="16" y="55"/>
                    <a:pt x="16" y="54"/>
                    <a:pt x="15" y="54"/>
                  </a:cubicBezTo>
                  <a:cubicBezTo>
                    <a:pt x="15" y="53"/>
                    <a:pt x="15" y="53"/>
                    <a:pt x="15" y="53"/>
                  </a:cubicBezTo>
                  <a:cubicBezTo>
                    <a:pt x="14" y="53"/>
                    <a:pt x="12" y="53"/>
                    <a:pt x="12" y="54"/>
                  </a:cubicBezTo>
                  <a:cubicBezTo>
                    <a:pt x="11" y="54"/>
                    <a:pt x="11" y="55"/>
                    <a:pt x="11" y="56"/>
                  </a:cubicBezTo>
                  <a:cubicBezTo>
                    <a:pt x="11" y="56"/>
                    <a:pt x="11" y="56"/>
                    <a:pt x="11" y="57"/>
                  </a:cubicBezTo>
                  <a:cubicBezTo>
                    <a:pt x="11" y="57"/>
                    <a:pt x="12" y="57"/>
                    <a:pt x="12" y="57"/>
                  </a:cubicBezTo>
                  <a:close/>
                  <a:moveTo>
                    <a:pt x="14" y="48"/>
                  </a:moveTo>
                  <a:cubicBezTo>
                    <a:pt x="14" y="48"/>
                    <a:pt x="15" y="47"/>
                    <a:pt x="15" y="47"/>
                  </a:cubicBezTo>
                  <a:cubicBezTo>
                    <a:pt x="16" y="47"/>
                    <a:pt x="16" y="46"/>
                    <a:pt x="16" y="46"/>
                  </a:cubicBezTo>
                  <a:cubicBezTo>
                    <a:pt x="16" y="46"/>
                    <a:pt x="16" y="45"/>
                    <a:pt x="16" y="45"/>
                  </a:cubicBezTo>
                  <a:cubicBezTo>
                    <a:pt x="16" y="45"/>
                    <a:pt x="16" y="44"/>
                    <a:pt x="16" y="44"/>
                  </a:cubicBezTo>
                  <a:cubicBezTo>
                    <a:pt x="16" y="44"/>
                    <a:pt x="16" y="43"/>
                    <a:pt x="15" y="43"/>
                  </a:cubicBezTo>
                  <a:cubicBezTo>
                    <a:pt x="15" y="43"/>
                    <a:pt x="15" y="43"/>
                    <a:pt x="15" y="43"/>
                  </a:cubicBezTo>
                  <a:cubicBezTo>
                    <a:pt x="14" y="42"/>
                    <a:pt x="13" y="42"/>
                    <a:pt x="13" y="43"/>
                  </a:cubicBezTo>
                  <a:cubicBezTo>
                    <a:pt x="12" y="43"/>
                    <a:pt x="12" y="43"/>
                    <a:pt x="12" y="43"/>
                  </a:cubicBezTo>
                  <a:cubicBezTo>
                    <a:pt x="12" y="43"/>
                    <a:pt x="11" y="44"/>
                    <a:pt x="11" y="44"/>
                  </a:cubicBezTo>
                  <a:cubicBezTo>
                    <a:pt x="11" y="44"/>
                    <a:pt x="11" y="45"/>
                    <a:pt x="11" y="45"/>
                  </a:cubicBezTo>
                  <a:cubicBezTo>
                    <a:pt x="11" y="46"/>
                    <a:pt x="11" y="46"/>
                    <a:pt x="12" y="47"/>
                  </a:cubicBezTo>
                  <a:cubicBezTo>
                    <a:pt x="12" y="47"/>
                    <a:pt x="13" y="48"/>
                    <a:pt x="14" y="48"/>
                  </a:cubicBezTo>
                  <a:close/>
                  <a:moveTo>
                    <a:pt x="23" y="47"/>
                  </a:moveTo>
                  <a:cubicBezTo>
                    <a:pt x="24" y="47"/>
                    <a:pt x="24" y="48"/>
                    <a:pt x="24" y="48"/>
                  </a:cubicBezTo>
                  <a:cubicBezTo>
                    <a:pt x="25" y="48"/>
                    <a:pt x="26" y="47"/>
                    <a:pt x="26" y="47"/>
                  </a:cubicBezTo>
                  <a:cubicBezTo>
                    <a:pt x="26" y="47"/>
                    <a:pt x="27" y="46"/>
                    <a:pt x="27" y="46"/>
                  </a:cubicBezTo>
                  <a:cubicBezTo>
                    <a:pt x="27" y="46"/>
                    <a:pt x="27" y="45"/>
                    <a:pt x="27" y="45"/>
                  </a:cubicBezTo>
                  <a:cubicBezTo>
                    <a:pt x="27" y="45"/>
                    <a:pt x="27" y="44"/>
                    <a:pt x="27" y="44"/>
                  </a:cubicBezTo>
                  <a:cubicBezTo>
                    <a:pt x="27" y="44"/>
                    <a:pt x="26" y="43"/>
                    <a:pt x="26" y="43"/>
                  </a:cubicBezTo>
                  <a:cubicBezTo>
                    <a:pt x="25" y="42"/>
                    <a:pt x="23" y="42"/>
                    <a:pt x="22" y="43"/>
                  </a:cubicBezTo>
                  <a:cubicBezTo>
                    <a:pt x="22" y="43"/>
                    <a:pt x="22" y="44"/>
                    <a:pt x="22" y="44"/>
                  </a:cubicBezTo>
                  <a:cubicBezTo>
                    <a:pt x="22" y="44"/>
                    <a:pt x="22" y="45"/>
                    <a:pt x="22" y="45"/>
                  </a:cubicBezTo>
                  <a:cubicBezTo>
                    <a:pt x="22" y="46"/>
                    <a:pt x="22" y="46"/>
                    <a:pt x="22" y="47"/>
                  </a:cubicBezTo>
                  <a:cubicBezTo>
                    <a:pt x="23" y="47"/>
                    <a:pt x="23" y="47"/>
                    <a:pt x="23" y="47"/>
                  </a:cubicBezTo>
                  <a:close/>
                  <a:moveTo>
                    <a:pt x="22" y="36"/>
                  </a:moveTo>
                  <a:cubicBezTo>
                    <a:pt x="23" y="37"/>
                    <a:pt x="23" y="37"/>
                    <a:pt x="23" y="37"/>
                  </a:cubicBezTo>
                  <a:cubicBezTo>
                    <a:pt x="24" y="37"/>
                    <a:pt x="24" y="37"/>
                    <a:pt x="24" y="37"/>
                  </a:cubicBezTo>
                  <a:cubicBezTo>
                    <a:pt x="25" y="37"/>
                    <a:pt x="25" y="37"/>
                    <a:pt x="25" y="37"/>
                  </a:cubicBezTo>
                  <a:cubicBezTo>
                    <a:pt x="26" y="37"/>
                    <a:pt x="26" y="37"/>
                    <a:pt x="26" y="36"/>
                  </a:cubicBezTo>
                  <a:cubicBezTo>
                    <a:pt x="27" y="36"/>
                    <a:pt x="27" y="35"/>
                    <a:pt x="27" y="34"/>
                  </a:cubicBezTo>
                  <a:cubicBezTo>
                    <a:pt x="27" y="34"/>
                    <a:pt x="27" y="33"/>
                    <a:pt x="26" y="33"/>
                  </a:cubicBezTo>
                  <a:cubicBezTo>
                    <a:pt x="26" y="32"/>
                    <a:pt x="26" y="32"/>
                    <a:pt x="26" y="32"/>
                  </a:cubicBezTo>
                  <a:cubicBezTo>
                    <a:pt x="26" y="32"/>
                    <a:pt x="25" y="32"/>
                    <a:pt x="25" y="32"/>
                  </a:cubicBezTo>
                  <a:cubicBezTo>
                    <a:pt x="25" y="32"/>
                    <a:pt x="25" y="32"/>
                    <a:pt x="25" y="32"/>
                  </a:cubicBezTo>
                  <a:cubicBezTo>
                    <a:pt x="24" y="32"/>
                    <a:pt x="24" y="32"/>
                    <a:pt x="23" y="32"/>
                  </a:cubicBezTo>
                  <a:cubicBezTo>
                    <a:pt x="23" y="32"/>
                    <a:pt x="23" y="32"/>
                    <a:pt x="22" y="33"/>
                  </a:cubicBezTo>
                  <a:cubicBezTo>
                    <a:pt x="22" y="33"/>
                    <a:pt x="22" y="34"/>
                    <a:pt x="22" y="34"/>
                  </a:cubicBezTo>
                  <a:cubicBezTo>
                    <a:pt x="22" y="35"/>
                    <a:pt x="22" y="35"/>
                    <a:pt x="22" y="35"/>
                  </a:cubicBezTo>
                  <a:cubicBezTo>
                    <a:pt x="22" y="36"/>
                    <a:pt x="22" y="36"/>
                    <a:pt x="22" y="36"/>
                  </a:cubicBezTo>
                  <a:close/>
                  <a:moveTo>
                    <a:pt x="13" y="37"/>
                  </a:moveTo>
                  <a:cubicBezTo>
                    <a:pt x="13" y="37"/>
                    <a:pt x="13" y="37"/>
                    <a:pt x="14" y="37"/>
                  </a:cubicBezTo>
                  <a:cubicBezTo>
                    <a:pt x="14" y="37"/>
                    <a:pt x="14" y="37"/>
                    <a:pt x="15" y="37"/>
                  </a:cubicBezTo>
                  <a:cubicBezTo>
                    <a:pt x="15" y="37"/>
                    <a:pt x="15" y="37"/>
                    <a:pt x="15" y="36"/>
                  </a:cubicBezTo>
                  <a:cubicBezTo>
                    <a:pt x="16" y="36"/>
                    <a:pt x="16" y="36"/>
                    <a:pt x="16" y="35"/>
                  </a:cubicBezTo>
                  <a:cubicBezTo>
                    <a:pt x="16" y="35"/>
                    <a:pt x="16" y="35"/>
                    <a:pt x="16" y="34"/>
                  </a:cubicBezTo>
                  <a:cubicBezTo>
                    <a:pt x="16" y="34"/>
                    <a:pt x="16" y="33"/>
                    <a:pt x="15" y="33"/>
                  </a:cubicBezTo>
                  <a:cubicBezTo>
                    <a:pt x="15" y="32"/>
                    <a:pt x="15" y="32"/>
                    <a:pt x="15" y="32"/>
                  </a:cubicBezTo>
                  <a:cubicBezTo>
                    <a:pt x="15" y="32"/>
                    <a:pt x="15" y="32"/>
                    <a:pt x="15" y="32"/>
                  </a:cubicBezTo>
                  <a:cubicBezTo>
                    <a:pt x="14" y="32"/>
                    <a:pt x="14" y="32"/>
                    <a:pt x="14" y="32"/>
                  </a:cubicBezTo>
                  <a:cubicBezTo>
                    <a:pt x="14" y="32"/>
                    <a:pt x="13" y="32"/>
                    <a:pt x="13" y="32"/>
                  </a:cubicBezTo>
                  <a:cubicBezTo>
                    <a:pt x="13" y="32"/>
                    <a:pt x="13" y="32"/>
                    <a:pt x="13" y="32"/>
                  </a:cubicBezTo>
                  <a:cubicBezTo>
                    <a:pt x="12" y="32"/>
                    <a:pt x="12" y="32"/>
                    <a:pt x="12" y="32"/>
                  </a:cubicBezTo>
                  <a:cubicBezTo>
                    <a:pt x="12" y="32"/>
                    <a:pt x="12" y="32"/>
                    <a:pt x="12" y="33"/>
                  </a:cubicBezTo>
                  <a:cubicBezTo>
                    <a:pt x="11" y="33"/>
                    <a:pt x="11" y="34"/>
                    <a:pt x="11" y="34"/>
                  </a:cubicBezTo>
                  <a:cubicBezTo>
                    <a:pt x="11" y="35"/>
                    <a:pt x="11" y="36"/>
                    <a:pt x="12" y="36"/>
                  </a:cubicBezTo>
                  <a:cubicBezTo>
                    <a:pt x="12" y="37"/>
                    <a:pt x="12" y="37"/>
                    <a:pt x="13" y="37"/>
                  </a:cubicBezTo>
                  <a:close/>
                  <a:moveTo>
                    <a:pt x="13" y="26"/>
                  </a:moveTo>
                  <a:cubicBezTo>
                    <a:pt x="13" y="27"/>
                    <a:pt x="13" y="27"/>
                    <a:pt x="14" y="27"/>
                  </a:cubicBezTo>
                  <a:cubicBezTo>
                    <a:pt x="14" y="27"/>
                    <a:pt x="15" y="26"/>
                    <a:pt x="15" y="26"/>
                  </a:cubicBezTo>
                  <a:cubicBezTo>
                    <a:pt x="16" y="25"/>
                    <a:pt x="16" y="25"/>
                    <a:pt x="16" y="24"/>
                  </a:cubicBezTo>
                  <a:cubicBezTo>
                    <a:pt x="16" y="24"/>
                    <a:pt x="16" y="23"/>
                    <a:pt x="16" y="23"/>
                  </a:cubicBezTo>
                  <a:cubicBezTo>
                    <a:pt x="16" y="23"/>
                    <a:pt x="16" y="22"/>
                    <a:pt x="15" y="22"/>
                  </a:cubicBezTo>
                  <a:cubicBezTo>
                    <a:pt x="15" y="22"/>
                    <a:pt x="15" y="22"/>
                    <a:pt x="15" y="22"/>
                  </a:cubicBezTo>
                  <a:cubicBezTo>
                    <a:pt x="14" y="21"/>
                    <a:pt x="14" y="21"/>
                    <a:pt x="13" y="21"/>
                  </a:cubicBezTo>
                  <a:cubicBezTo>
                    <a:pt x="13" y="21"/>
                    <a:pt x="13" y="22"/>
                    <a:pt x="13" y="22"/>
                  </a:cubicBezTo>
                  <a:cubicBezTo>
                    <a:pt x="12" y="22"/>
                    <a:pt x="12" y="22"/>
                    <a:pt x="12" y="22"/>
                  </a:cubicBezTo>
                  <a:cubicBezTo>
                    <a:pt x="12" y="22"/>
                    <a:pt x="12" y="22"/>
                    <a:pt x="12" y="22"/>
                  </a:cubicBezTo>
                  <a:cubicBezTo>
                    <a:pt x="12" y="22"/>
                    <a:pt x="11" y="23"/>
                    <a:pt x="11" y="23"/>
                  </a:cubicBezTo>
                  <a:cubicBezTo>
                    <a:pt x="11" y="23"/>
                    <a:pt x="11" y="24"/>
                    <a:pt x="11" y="24"/>
                  </a:cubicBezTo>
                  <a:cubicBezTo>
                    <a:pt x="11" y="25"/>
                    <a:pt x="11" y="25"/>
                    <a:pt x="12" y="26"/>
                  </a:cubicBezTo>
                  <a:cubicBezTo>
                    <a:pt x="12" y="26"/>
                    <a:pt x="12" y="26"/>
                    <a:pt x="13" y="26"/>
                  </a:cubicBezTo>
                  <a:close/>
                  <a:moveTo>
                    <a:pt x="23" y="26"/>
                  </a:moveTo>
                  <a:cubicBezTo>
                    <a:pt x="24" y="27"/>
                    <a:pt x="24" y="27"/>
                    <a:pt x="24" y="27"/>
                  </a:cubicBezTo>
                  <a:cubicBezTo>
                    <a:pt x="25" y="27"/>
                    <a:pt x="25" y="27"/>
                    <a:pt x="25" y="26"/>
                  </a:cubicBezTo>
                  <a:cubicBezTo>
                    <a:pt x="26" y="26"/>
                    <a:pt x="26" y="26"/>
                    <a:pt x="26" y="26"/>
                  </a:cubicBezTo>
                  <a:cubicBezTo>
                    <a:pt x="27" y="25"/>
                    <a:pt x="27" y="25"/>
                    <a:pt x="27" y="24"/>
                  </a:cubicBezTo>
                  <a:cubicBezTo>
                    <a:pt x="27" y="24"/>
                    <a:pt x="27" y="23"/>
                    <a:pt x="27" y="23"/>
                  </a:cubicBezTo>
                  <a:cubicBezTo>
                    <a:pt x="27" y="23"/>
                    <a:pt x="26" y="22"/>
                    <a:pt x="26" y="22"/>
                  </a:cubicBezTo>
                  <a:cubicBezTo>
                    <a:pt x="25" y="21"/>
                    <a:pt x="24" y="21"/>
                    <a:pt x="23" y="22"/>
                  </a:cubicBezTo>
                  <a:cubicBezTo>
                    <a:pt x="23" y="22"/>
                    <a:pt x="23" y="22"/>
                    <a:pt x="22" y="22"/>
                  </a:cubicBezTo>
                  <a:cubicBezTo>
                    <a:pt x="22" y="22"/>
                    <a:pt x="22" y="23"/>
                    <a:pt x="22" y="23"/>
                  </a:cubicBezTo>
                  <a:cubicBezTo>
                    <a:pt x="22" y="23"/>
                    <a:pt x="22" y="24"/>
                    <a:pt x="22" y="24"/>
                  </a:cubicBezTo>
                  <a:cubicBezTo>
                    <a:pt x="22" y="25"/>
                    <a:pt x="22" y="25"/>
                    <a:pt x="22" y="26"/>
                  </a:cubicBezTo>
                  <a:cubicBezTo>
                    <a:pt x="23" y="26"/>
                    <a:pt x="23" y="26"/>
                    <a:pt x="23" y="26"/>
                  </a:cubicBezTo>
                  <a:close/>
                  <a:moveTo>
                    <a:pt x="24" y="16"/>
                  </a:moveTo>
                  <a:cubicBezTo>
                    <a:pt x="25" y="16"/>
                    <a:pt x="25" y="16"/>
                    <a:pt x="25" y="16"/>
                  </a:cubicBezTo>
                  <a:cubicBezTo>
                    <a:pt x="26" y="16"/>
                    <a:pt x="26" y="16"/>
                    <a:pt x="26" y="15"/>
                  </a:cubicBezTo>
                  <a:cubicBezTo>
                    <a:pt x="26" y="15"/>
                    <a:pt x="27" y="15"/>
                    <a:pt x="27" y="14"/>
                  </a:cubicBezTo>
                  <a:cubicBezTo>
                    <a:pt x="27" y="14"/>
                    <a:pt x="27" y="14"/>
                    <a:pt x="27" y="13"/>
                  </a:cubicBezTo>
                  <a:cubicBezTo>
                    <a:pt x="27" y="13"/>
                    <a:pt x="27" y="13"/>
                    <a:pt x="27" y="12"/>
                  </a:cubicBezTo>
                  <a:cubicBezTo>
                    <a:pt x="27" y="12"/>
                    <a:pt x="26" y="12"/>
                    <a:pt x="26" y="12"/>
                  </a:cubicBezTo>
                  <a:cubicBezTo>
                    <a:pt x="26" y="11"/>
                    <a:pt x="26" y="11"/>
                    <a:pt x="25" y="11"/>
                  </a:cubicBezTo>
                  <a:cubicBezTo>
                    <a:pt x="24" y="11"/>
                    <a:pt x="23" y="11"/>
                    <a:pt x="22" y="12"/>
                  </a:cubicBezTo>
                  <a:cubicBezTo>
                    <a:pt x="22" y="12"/>
                    <a:pt x="22" y="12"/>
                    <a:pt x="22" y="12"/>
                  </a:cubicBezTo>
                  <a:cubicBezTo>
                    <a:pt x="22" y="13"/>
                    <a:pt x="22" y="13"/>
                    <a:pt x="22" y="13"/>
                  </a:cubicBezTo>
                  <a:cubicBezTo>
                    <a:pt x="22" y="14"/>
                    <a:pt x="22" y="15"/>
                    <a:pt x="22" y="15"/>
                  </a:cubicBezTo>
                  <a:cubicBezTo>
                    <a:pt x="23" y="16"/>
                    <a:pt x="23" y="16"/>
                    <a:pt x="24" y="16"/>
                  </a:cubicBezTo>
                  <a:close/>
                  <a:moveTo>
                    <a:pt x="13" y="16"/>
                  </a:moveTo>
                  <a:cubicBezTo>
                    <a:pt x="13" y="16"/>
                    <a:pt x="13" y="16"/>
                    <a:pt x="14" y="16"/>
                  </a:cubicBezTo>
                  <a:cubicBezTo>
                    <a:pt x="14" y="16"/>
                    <a:pt x="15" y="16"/>
                    <a:pt x="15" y="15"/>
                  </a:cubicBezTo>
                  <a:cubicBezTo>
                    <a:pt x="16" y="15"/>
                    <a:pt x="16" y="14"/>
                    <a:pt x="16" y="13"/>
                  </a:cubicBezTo>
                  <a:cubicBezTo>
                    <a:pt x="16" y="13"/>
                    <a:pt x="16" y="13"/>
                    <a:pt x="16" y="12"/>
                  </a:cubicBezTo>
                  <a:cubicBezTo>
                    <a:pt x="16" y="12"/>
                    <a:pt x="16" y="12"/>
                    <a:pt x="15" y="12"/>
                  </a:cubicBezTo>
                  <a:cubicBezTo>
                    <a:pt x="14" y="11"/>
                    <a:pt x="13" y="11"/>
                    <a:pt x="12" y="12"/>
                  </a:cubicBezTo>
                  <a:cubicBezTo>
                    <a:pt x="12" y="12"/>
                    <a:pt x="11" y="12"/>
                    <a:pt x="11" y="12"/>
                  </a:cubicBezTo>
                  <a:cubicBezTo>
                    <a:pt x="11" y="13"/>
                    <a:pt x="11" y="13"/>
                    <a:pt x="11" y="13"/>
                  </a:cubicBezTo>
                  <a:cubicBezTo>
                    <a:pt x="11" y="14"/>
                    <a:pt x="11" y="15"/>
                    <a:pt x="12" y="15"/>
                  </a:cubicBezTo>
                  <a:cubicBezTo>
                    <a:pt x="12" y="16"/>
                    <a:pt x="12" y="16"/>
                    <a:pt x="13" y="16"/>
                  </a:cubicBezTo>
                  <a:close/>
                  <a:moveTo>
                    <a:pt x="43" y="57"/>
                  </a:moveTo>
                  <a:cubicBezTo>
                    <a:pt x="44" y="58"/>
                    <a:pt x="44" y="58"/>
                    <a:pt x="45" y="58"/>
                  </a:cubicBezTo>
                  <a:cubicBezTo>
                    <a:pt x="46" y="58"/>
                    <a:pt x="46" y="58"/>
                    <a:pt x="47" y="57"/>
                  </a:cubicBezTo>
                  <a:cubicBezTo>
                    <a:pt x="47" y="57"/>
                    <a:pt x="47" y="57"/>
                    <a:pt x="47" y="57"/>
                  </a:cubicBezTo>
                  <a:cubicBezTo>
                    <a:pt x="48" y="56"/>
                    <a:pt x="48" y="56"/>
                    <a:pt x="48" y="56"/>
                  </a:cubicBezTo>
                  <a:cubicBezTo>
                    <a:pt x="48" y="55"/>
                    <a:pt x="48" y="55"/>
                    <a:pt x="47" y="55"/>
                  </a:cubicBezTo>
                  <a:cubicBezTo>
                    <a:pt x="47" y="54"/>
                    <a:pt x="47" y="54"/>
                    <a:pt x="47" y="54"/>
                  </a:cubicBezTo>
                  <a:cubicBezTo>
                    <a:pt x="47" y="53"/>
                    <a:pt x="47" y="53"/>
                    <a:pt x="47" y="53"/>
                  </a:cubicBezTo>
                  <a:cubicBezTo>
                    <a:pt x="46" y="53"/>
                    <a:pt x="46" y="53"/>
                    <a:pt x="46" y="53"/>
                  </a:cubicBezTo>
                  <a:cubicBezTo>
                    <a:pt x="46" y="53"/>
                    <a:pt x="46" y="53"/>
                    <a:pt x="46" y="53"/>
                  </a:cubicBezTo>
                  <a:cubicBezTo>
                    <a:pt x="45" y="53"/>
                    <a:pt x="45" y="53"/>
                    <a:pt x="45" y="53"/>
                  </a:cubicBezTo>
                  <a:cubicBezTo>
                    <a:pt x="44" y="53"/>
                    <a:pt x="44" y="53"/>
                    <a:pt x="44" y="53"/>
                  </a:cubicBezTo>
                  <a:cubicBezTo>
                    <a:pt x="44" y="53"/>
                    <a:pt x="44" y="53"/>
                    <a:pt x="44" y="53"/>
                  </a:cubicBezTo>
                  <a:cubicBezTo>
                    <a:pt x="43" y="53"/>
                    <a:pt x="43" y="54"/>
                    <a:pt x="43" y="54"/>
                  </a:cubicBezTo>
                  <a:cubicBezTo>
                    <a:pt x="43" y="54"/>
                    <a:pt x="43" y="54"/>
                    <a:pt x="43" y="55"/>
                  </a:cubicBezTo>
                  <a:cubicBezTo>
                    <a:pt x="42" y="55"/>
                    <a:pt x="42" y="55"/>
                    <a:pt x="42" y="56"/>
                  </a:cubicBezTo>
                  <a:cubicBezTo>
                    <a:pt x="42" y="56"/>
                    <a:pt x="42" y="56"/>
                    <a:pt x="43" y="57"/>
                  </a:cubicBezTo>
                  <a:cubicBezTo>
                    <a:pt x="43" y="57"/>
                    <a:pt x="43" y="57"/>
                    <a:pt x="43" y="57"/>
                  </a:cubicBezTo>
                  <a:close/>
                  <a:moveTo>
                    <a:pt x="43" y="47"/>
                  </a:moveTo>
                  <a:cubicBezTo>
                    <a:pt x="43" y="47"/>
                    <a:pt x="44" y="47"/>
                    <a:pt x="44" y="47"/>
                  </a:cubicBezTo>
                  <a:cubicBezTo>
                    <a:pt x="44" y="47"/>
                    <a:pt x="45" y="48"/>
                    <a:pt x="45" y="48"/>
                  </a:cubicBezTo>
                  <a:cubicBezTo>
                    <a:pt x="45" y="48"/>
                    <a:pt x="46" y="47"/>
                    <a:pt x="46" y="47"/>
                  </a:cubicBezTo>
                  <a:cubicBezTo>
                    <a:pt x="46" y="47"/>
                    <a:pt x="47" y="47"/>
                    <a:pt x="47" y="47"/>
                  </a:cubicBezTo>
                  <a:cubicBezTo>
                    <a:pt x="47" y="47"/>
                    <a:pt x="47" y="46"/>
                    <a:pt x="47" y="46"/>
                  </a:cubicBezTo>
                  <a:cubicBezTo>
                    <a:pt x="48" y="46"/>
                    <a:pt x="48" y="45"/>
                    <a:pt x="48" y="45"/>
                  </a:cubicBezTo>
                  <a:cubicBezTo>
                    <a:pt x="48" y="45"/>
                    <a:pt x="48" y="44"/>
                    <a:pt x="47" y="44"/>
                  </a:cubicBezTo>
                  <a:cubicBezTo>
                    <a:pt x="47" y="44"/>
                    <a:pt x="47" y="43"/>
                    <a:pt x="47" y="43"/>
                  </a:cubicBezTo>
                  <a:cubicBezTo>
                    <a:pt x="47" y="43"/>
                    <a:pt x="46" y="43"/>
                    <a:pt x="46" y="43"/>
                  </a:cubicBezTo>
                  <a:cubicBezTo>
                    <a:pt x="45" y="42"/>
                    <a:pt x="45" y="42"/>
                    <a:pt x="44" y="43"/>
                  </a:cubicBezTo>
                  <a:cubicBezTo>
                    <a:pt x="44" y="43"/>
                    <a:pt x="43" y="43"/>
                    <a:pt x="43" y="43"/>
                  </a:cubicBezTo>
                  <a:cubicBezTo>
                    <a:pt x="43" y="43"/>
                    <a:pt x="43" y="44"/>
                    <a:pt x="43" y="44"/>
                  </a:cubicBezTo>
                  <a:cubicBezTo>
                    <a:pt x="42" y="44"/>
                    <a:pt x="42" y="45"/>
                    <a:pt x="42" y="45"/>
                  </a:cubicBezTo>
                  <a:cubicBezTo>
                    <a:pt x="42" y="45"/>
                    <a:pt x="42" y="46"/>
                    <a:pt x="43" y="46"/>
                  </a:cubicBezTo>
                  <a:cubicBezTo>
                    <a:pt x="43" y="46"/>
                    <a:pt x="43" y="47"/>
                    <a:pt x="43" y="47"/>
                  </a:cubicBezTo>
                  <a:close/>
                  <a:moveTo>
                    <a:pt x="43" y="36"/>
                  </a:moveTo>
                  <a:cubicBezTo>
                    <a:pt x="43" y="37"/>
                    <a:pt x="44" y="37"/>
                    <a:pt x="44" y="37"/>
                  </a:cubicBezTo>
                  <a:cubicBezTo>
                    <a:pt x="44" y="37"/>
                    <a:pt x="45" y="37"/>
                    <a:pt x="45" y="37"/>
                  </a:cubicBezTo>
                  <a:cubicBezTo>
                    <a:pt x="45" y="37"/>
                    <a:pt x="46" y="37"/>
                    <a:pt x="46" y="37"/>
                  </a:cubicBezTo>
                  <a:cubicBezTo>
                    <a:pt x="46" y="37"/>
                    <a:pt x="47" y="37"/>
                    <a:pt x="47" y="36"/>
                  </a:cubicBezTo>
                  <a:cubicBezTo>
                    <a:pt x="47" y="36"/>
                    <a:pt x="47" y="36"/>
                    <a:pt x="47" y="35"/>
                  </a:cubicBezTo>
                  <a:cubicBezTo>
                    <a:pt x="48" y="35"/>
                    <a:pt x="48" y="35"/>
                    <a:pt x="48" y="34"/>
                  </a:cubicBezTo>
                  <a:cubicBezTo>
                    <a:pt x="48" y="34"/>
                    <a:pt x="47" y="33"/>
                    <a:pt x="47" y="33"/>
                  </a:cubicBezTo>
                  <a:cubicBezTo>
                    <a:pt x="46" y="32"/>
                    <a:pt x="45" y="32"/>
                    <a:pt x="45" y="32"/>
                  </a:cubicBezTo>
                  <a:cubicBezTo>
                    <a:pt x="44" y="32"/>
                    <a:pt x="44" y="32"/>
                    <a:pt x="44" y="32"/>
                  </a:cubicBezTo>
                  <a:cubicBezTo>
                    <a:pt x="44" y="32"/>
                    <a:pt x="44" y="32"/>
                    <a:pt x="44" y="32"/>
                  </a:cubicBezTo>
                  <a:cubicBezTo>
                    <a:pt x="43" y="32"/>
                    <a:pt x="43" y="32"/>
                    <a:pt x="43" y="33"/>
                  </a:cubicBezTo>
                  <a:cubicBezTo>
                    <a:pt x="43" y="33"/>
                    <a:pt x="42" y="34"/>
                    <a:pt x="42" y="34"/>
                  </a:cubicBezTo>
                  <a:cubicBezTo>
                    <a:pt x="42" y="35"/>
                    <a:pt x="42" y="35"/>
                    <a:pt x="43" y="35"/>
                  </a:cubicBezTo>
                  <a:cubicBezTo>
                    <a:pt x="43" y="36"/>
                    <a:pt x="43" y="36"/>
                    <a:pt x="43" y="36"/>
                  </a:cubicBezTo>
                  <a:close/>
                  <a:moveTo>
                    <a:pt x="58" y="24"/>
                  </a:moveTo>
                  <a:cubicBezTo>
                    <a:pt x="58" y="76"/>
                    <a:pt x="58" y="76"/>
                    <a:pt x="58" y="76"/>
                  </a:cubicBezTo>
                  <a:cubicBezTo>
                    <a:pt x="58" y="78"/>
                    <a:pt x="57" y="79"/>
                    <a:pt x="56" y="79"/>
                  </a:cubicBezTo>
                  <a:cubicBezTo>
                    <a:pt x="3" y="79"/>
                    <a:pt x="3" y="79"/>
                    <a:pt x="3" y="79"/>
                  </a:cubicBezTo>
                  <a:cubicBezTo>
                    <a:pt x="2" y="79"/>
                    <a:pt x="0" y="78"/>
                    <a:pt x="0" y="76"/>
                  </a:cubicBezTo>
                  <a:cubicBezTo>
                    <a:pt x="0" y="3"/>
                    <a:pt x="0" y="3"/>
                    <a:pt x="0" y="3"/>
                  </a:cubicBezTo>
                  <a:cubicBezTo>
                    <a:pt x="0" y="1"/>
                    <a:pt x="2" y="0"/>
                    <a:pt x="3" y="0"/>
                  </a:cubicBezTo>
                  <a:cubicBezTo>
                    <a:pt x="35" y="0"/>
                    <a:pt x="35" y="0"/>
                    <a:pt x="35" y="0"/>
                  </a:cubicBezTo>
                  <a:cubicBezTo>
                    <a:pt x="36" y="0"/>
                    <a:pt x="37" y="1"/>
                    <a:pt x="37" y="3"/>
                  </a:cubicBezTo>
                  <a:cubicBezTo>
                    <a:pt x="37" y="21"/>
                    <a:pt x="37" y="21"/>
                    <a:pt x="37" y="21"/>
                  </a:cubicBezTo>
                  <a:cubicBezTo>
                    <a:pt x="56" y="21"/>
                    <a:pt x="56" y="21"/>
                    <a:pt x="56" y="21"/>
                  </a:cubicBezTo>
                  <a:cubicBezTo>
                    <a:pt x="57" y="21"/>
                    <a:pt x="58" y="23"/>
                    <a:pt x="58" y="24"/>
                  </a:cubicBezTo>
                  <a:close/>
                  <a:moveTo>
                    <a:pt x="6" y="74"/>
                  </a:moveTo>
                  <a:cubicBezTo>
                    <a:pt x="11" y="74"/>
                    <a:pt x="11" y="74"/>
                    <a:pt x="11" y="74"/>
                  </a:cubicBezTo>
                  <a:cubicBezTo>
                    <a:pt x="11" y="66"/>
                    <a:pt x="11" y="66"/>
                    <a:pt x="11" y="66"/>
                  </a:cubicBezTo>
                  <a:cubicBezTo>
                    <a:pt x="11" y="64"/>
                    <a:pt x="12" y="63"/>
                    <a:pt x="14" y="63"/>
                  </a:cubicBezTo>
                  <a:cubicBezTo>
                    <a:pt x="15" y="63"/>
                    <a:pt x="16" y="64"/>
                    <a:pt x="16" y="66"/>
                  </a:cubicBezTo>
                  <a:cubicBezTo>
                    <a:pt x="16" y="74"/>
                    <a:pt x="16" y="74"/>
                    <a:pt x="16" y="74"/>
                  </a:cubicBezTo>
                  <a:cubicBezTo>
                    <a:pt x="32" y="74"/>
                    <a:pt x="32" y="74"/>
                    <a:pt x="32" y="74"/>
                  </a:cubicBezTo>
                  <a:cubicBezTo>
                    <a:pt x="32" y="6"/>
                    <a:pt x="32" y="6"/>
                    <a:pt x="32" y="6"/>
                  </a:cubicBezTo>
                  <a:cubicBezTo>
                    <a:pt x="6" y="6"/>
                    <a:pt x="6" y="6"/>
                    <a:pt x="6" y="6"/>
                  </a:cubicBezTo>
                  <a:cubicBezTo>
                    <a:pt x="6" y="74"/>
                    <a:pt x="6" y="74"/>
                    <a:pt x="6" y="74"/>
                  </a:cubicBezTo>
                  <a:cubicBezTo>
                    <a:pt x="6" y="74"/>
                    <a:pt x="6" y="74"/>
                    <a:pt x="6" y="74"/>
                  </a:cubicBezTo>
                  <a:close/>
                  <a:moveTo>
                    <a:pt x="53" y="27"/>
                  </a:moveTo>
                  <a:cubicBezTo>
                    <a:pt x="37" y="27"/>
                    <a:pt x="37" y="27"/>
                    <a:pt x="37" y="27"/>
                  </a:cubicBezTo>
                  <a:cubicBezTo>
                    <a:pt x="37" y="74"/>
                    <a:pt x="37" y="74"/>
                    <a:pt x="37" y="74"/>
                  </a:cubicBezTo>
                  <a:cubicBezTo>
                    <a:pt x="42" y="74"/>
                    <a:pt x="42" y="74"/>
                    <a:pt x="42" y="74"/>
                  </a:cubicBezTo>
                  <a:cubicBezTo>
                    <a:pt x="42" y="66"/>
                    <a:pt x="42" y="66"/>
                    <a:pt x="42" y="66"/>
                  </a:cubicBezTo>
                  <a:cubicBezTo>
                    <a:pt x="42" y="64"/>
                    <a:pt x="44" y="63"/>
                    <a:pt x="45" y="63"/>
                  </a:cubicBezTo>
                  <a:cubicBezTo>
                    <a:pt x="47" y="63"/>
                    <a:pt x="48" y="64"/>
                    <a:pt x="48" y="66"/>
                  </a:cubicBezTo>
                  <a:cubicBezTo>
                    <a:pt x="48" y="74"/>
                    <a:pt x="48" y="74"/>
                    <a:pt x="48" y="74"/>
                  </a:cubicBezTo>
                  <a:cubicBezTo>
                    <a:pt x="53" y="74"/>
                    <a:pt x="53" y="74"/>
                    <a:pt x="53" y="74"/>
                  </a:cubicBezTo>
                  <a:cubicBezTo>
                    <a:pt x="53" y="27"/>
                    <a:pt x="53" y="27"/>
                    <a:pt x="53" y="27"/>
                  </a:cubicBezTo>
                  <a:cubicBezTo>
                    <a:pt x="53" y="27"/>
                    <a:pt x="53" y="27"/>
                    <a:pt x="53" y="2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6"/>
            <p:cNvSpPr>
              <a:spLocks noEditPoints="1"/>
            </p:cNvSpPr>
            <p:nvPr/>
          </p:nvSpPr>
          <p:spPr bwMode="auto">
            <a:xfrm>
              <a:off x="9051925" y="3013076"/>
              <a:ext cx="814388" cy="819150"/>
            </a:xfrm>
            <a:custGeom>
              <a:avLst/>
              <a:gdLst>
                <a:gd name="T0" fmla="*/ 63 w 126"/>
                <a:gd name="T1" fmla="*/ 5 h 126"/>
                <a:gd name="T2" fmla="*/ 121 w 126"/>
                <a:gd name="T3" fmla="*/ 63 h 126"/>
                <a:gd name="T4" fmla="*/ 63 w 126"/>
                <a:gd name="T5" fmla="*/ 120 h 126"/>
                <a:gd name="T6" fmla="*/ 5 w 126"/>
                <a:gd name="T7" fmla="*/ 63 h 126"/>
                <a:gd name="T8" fmla="*/ 63 w 126"/>
                <a:gd name="T9" fmla="*/ 5 h 126"/>
                <a:gd name="T10" fmla="*/ 63 w 126"/>
                <a:gd name="T11" fmla="*/ 0 h 126"/>
                <a:gd name="T12" fmla="*/ 0 w 126"/>
                <a:gd name="T13" fmla="*/ 63 h 126"/>
                <a:gd name="T14" fmla="*/ 63 w 126"/>
                <a:gd name="T15" fmla="*/ 126 h 126"/>
                <a:gd name="T16" fmla="*/ 126 w 126"/>
                <a:gd name="T17" fmla="*/ 63 h 126"/>
                <a:gd name="T18" fmla="*/ 63 w 126"/>
                <a:gd name="T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26">
                  <a:moveTo>
                    <a:pt x="63" y="5"/>
                  </a:moveTo>
                  <a:cubicBezTo>
                    <a:pt x="95" y="5"/>
                    <a:pt x="121" y="31"/>
                    <a:pt x="121" y="63"/>
                  </a:cubicBezTo>
                  <a:cubicBezTo>
                    <a:pt x="121" y="95"/>
                    <a:pt x="95" y="120"/>
                    <a:pt x="63" y="120"/>
                  </a:cubicBezTo>
                  <a:cubicBezTo>
                    <a:pt x="31" y="120"/>
                    <a:pt x="5" y="95"/>
                    <a:pt x="5" y="63"/>
                  </a:cubicBezTo>
                  <a:cubicBezTo>
                    <a:pt x="5" y="31"/>
                    <a:pt x="31" y="5"/>
                    <a:pt x="63" y="5"/>
                  </a:cubicBezTo>
                  <a:moveTo>
                    <a:pt x="63" y="0"/>
                  </a:moveTo>
                  <a:cubicBezTo>
                    <a:pt x="28" y="0"/>
                    <a:pt x="0" y="28"/>
                    <a:pt x="0" y="63"/>
                  </a:cubicBezTo>
                  <a:cubicBezTo>
                    <a:pt x="0" y="98"/>
                    <a:pt x="28" y="126"/>
                    <a:pt x="63" y="126"/>
                  </a:cubicBezTo>
                  <a:cubicBezTo>
                    <a:pt x="98" y="126"/>
                    <a:pt x="126" y="98"/>
                    <a:pt x="126" y="63"/>
                  </a:cubicBezTo>
                  <a:cubicBezTo>
                    <a:pt x="126" y="28"/>
                    <a:pt x="98" y="0"/>
                    <a:pt x="6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7"/>
            <p:cNvSpPr>
              <a:spLocks noEditPoints="1"/>
            </p:cNvSpPr>
            <p:nvPr/>
          </p:nvSpPr>
          <p:spPr bwMode="auto">
            <a:xfrm>
              <a:off x="7369175" y="3013076"/>
              <a:ext cx="815975" cy="819150"/>
            </a:xfrm>
            <a:custGeom>
              <a:avLst/>
              <a:gdLst>
                <a:gd name="T0" fmla="*/ 121 w 126"/>
                <a:gd name="T1" fmla="*/ 63 h 126"/>
                <a:gd name="T2" fmla="*/ 5 w 126"/>
                <a:gd name="T3" fmla="*/ 63 h 126"/>
                <a:gd name="T4" fmla="*/ 63 w 126"/>
                <a:gd name="T5" fmla="*/ 0 h 126"/>
                <a:gd name="T6" fmla="*/ 63 w 126"/>
                <a:gd name="T7" fmla="*/ 126 h 126"/>
                <a:gd name="T8" fmla="*/ 63 w 126"/>
                <a:gd name="T9" fmla="*/ 0 h 126"/>
                <a:gd name="T10" fmla="*/ 92 w 126"/>
                <a:gd name="T11" fmla="*/ 60 h 126"/>
                <a:gd name="T12" fmla="*/ 91 w 126"/>
                <a:gd name="T13" fmla="*/ 38 h 126"/>
                <a:gd name="T14" fmla="*/ 87 w 126"/>
                <a:gd name="T15" fmla="*/ 35 h 126"/>
                <a:gd name="T16" fmla="*/ 66 w 126"/>
                <a:gd name="T17" fmla="*/ 34 h 126"/>
                <a:gd name="T18" fmla="*/ 63 w 126"/>
                <a:gd name="T19" fmla="*/ 23 h 126"/>
                <a:gd name="T20" fmla="*/ 60 w 126"/>
                <a:gd name="T21" fmla="*/ 34 h 126"/>
                <a:gd name="T22" fmla="*/ 39 w 126"/>
                <a:gd name="T23" fmla="*/ 35 h 126"/>
                <a:gd name="T24" fmla="*/ 35 w 126"/>
                <a:gd name="T25" fmla="*/ 38 h 126"/>
                <a:gd name="T26" fmla="*/ 34 w 126"/>
                <a:gd name="T27" fmla="*/ 60 h 126"/>
                <a:gd name="T28" fmla="*/ 24 w 126"/>
                <a:gd name="T29" fmla="*/ 63 h 126"/>
                <a:gd name="T30" fmla="*/ 34 w 126"/>
                <a:gd name="T31" fmla="*/ 65 h 126"/>
                <a:gd name="T32" fmla="*/ 35 w 126"/>
                <a:gd name="T33" fmla="*/ 87 h 126"/>
                <a:gd name="T34" fmla="*/ 37 w 126"/>
                <a:gd name="T35" fmla="*/ 92 h 126"/>
                <a:gd name="T36" fmla="*/ 45 w 126"/>
                <a:gd name="T37" fmla="*/ 85 h 126"/>
                <a:gd name="T38" fmla="*/ 60 w 126"/>
                <a:gd name="T39" fmla="*/ 99 h 126"/>
                <a:gd name="T40" fmla="*/ 66 w 126"/>
                <a:gd name="T41" fmla="*/ 99 h 126"/>
                <a:gd name="T42" fmla="*/ 82 w 126"/>
                <a:gd name="T43" fmla="*/ 85 h 126"/>
                <a:gd name="T44" fmla="*/ 89 w 126"/>
                <a:gd name="T45" fmla="*/ 92 h 126"/>
                <a:gd name="T46" fmla="*/ 91 w 126"/>
                <a:gd name="T47" fmla="*/ 87 h 126"/>
                <a:gd name="T48" fmla="*/ 92 w 126"/>
                <a:gd name="T49" fmla="*/ 65 h 126"/>
                <a:gd name="T50" fmla="*/ 102 w 126"/>
                <a:gd name="T51" fmla="*/ 63 h 126"/>
                <a:gd name="T52" fmla="*/ 86 w 126"/>
                <a:gd name="T53" fmla="*/ 60 h 126"/>
                <a:gd name="T54" fmla="*/ 70 w 126"/>
                <a:gd name="T55" fmla="*/ 60 h 126"/>
                <a:gd name="T56" fmla="*/ 70 w 126"/>
                <a:gd name="T57" fmla="*/ 59 h 126"/>
                <a:gd name="T58" fmla="*/ 86 w 126"/>
                <a:gd name="T59" fmla="*/ 60 h 126"/>
                <a:gd name="T60" fmla="*/ 67 w 126"/>
                <a:gd name="T61" fmla="*/ 55 h 126"/>
                <a:gd name="T62" fmla="*/ 66 w 126"/>
                <a:gd name="T63" fmla="*/ 55 h 126"/>
                <a:gd name="T64" fmla="*/ 66 w 126"/>
                <a:gd name="T65" fmla="*/ 39 h 126"/>
                <a:gd name="T66" fmla="*/ 63 w 126"/>
                <a:gd name="T67" fmla="*/ 65 h 126"/>
                <a:gd name="T68" fmla="*/ 63 w 126"/>
                <a:gd name="T69" fmla="*/ 60 h 126"/>
                <a:gd name="T70" fmla="*/ 63 w 126"/>
                <a:gd name="T71" fmla="*/ 65 h 126"/>
                <a:gd name="T72" fmla="*/ 60 w 126"/>
                <a:gd name="T73" fmla="*/ 55 h 126"/>
                <a:gd name="T74" fmla="*/ 60 w 126"/>
                <a:gd name="T75" fmla="*/ 56 h 126"/>
                <a:gd name="T76" fmla="*/ 48 w 126"/>
                <a:gd name="T77" fmla="*/ 44 h 126"/>
                <a:gd name="T78" fmla="*/ 45 w 126"/>
                <a:gd name="T79" fmla="*/ 48 h 126"/>
                <a:gd name="T80" fmla="*/ 56 w 126"/>
                <a:gd name="T81" fmla="*/ 59 h 126"/>
                <a:gd name="T82" fmla="*/ 55 w 126"/>
                <a:gd name="T83" fmla="*/ 60 h 126"/>
                <a:gd name="T84" fmla="*/ 45 w 126"/>
                <a:gd name="T85" fmla="*/ 48 h 126"/>
                <a:gd name="T86" fmla="*/ 55 w 126"/>
                <a:gd name="T87" fmla="*/ 65 h 126"/>
                <a:gd name="T88" fmla="*/ 56 w 126"/>
                <a:gd name="T89" fmla="*/ 66 h 126"/>
                <a:gd name="T90" fmla="*/ 45 w 126"/>
                <a:gd name="T91" fmla="*/ 78 h 126"/>
                <a:gd name="T92" fmla="*/ 48 w 126"/>
                <a:gd name="T93" fmla="*/ 81 h 126"/>
                <a:gd name="T94" fmla="*/ 60 w 126"/>
                <a:gd name="T95" fmla="*/ 70 h 126"/>
                <a:gd name="T96" fmla="*/ 60 w 126"/>
                <a:gd name="T97" fmla="*/ 71 h 126"/>
                <a:gd name="T98" fmla="*/ 48 w 126"/>
                <a:gd name="T99" fmla="*/ 81 h 126"/>
                <a:gd name="T100" fmla="*/ 66 w 126"/>
                <a:gd name="T101" fmla="*/ 71 h 126"/>
                <a:gd name="T102" fmla="*/ 67 w 126"/>
                <a:gd name="T103" fmla="*/ 70 h 126"/>
                <a:gd name="T104" fmla="*/ 78 w 126"/>
                <a:gd name="T105" fmla="*/ 81 h 126"/>
                <a:gd name="T106" fmla="*/ 82 w 126"/>
                <a:gd name="T107" fmla="*/ 78 h 126"/>
                <a:gd name="T108" fmla="*/ 70 w 126"/>
                <a:gd name="T109" fmla="*/ 66 h 126"/>
                <a:gd name="T110" fmla="*/ 71 w 126"/>
                <a:gd name="T111" fmla="*/ 65 h 126"/>
                <a:gd name="T112" fmla="*/ 82 w 126"/>
                <a:gd name="T113" fmla="*/ 7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26">
                  <a:moveTo>
                    <a:pt x="63" y="5"/>
                  </a:moveTo>
                  <a:cubicBezTo>
                    <a:pt x="95" y="5"/>
                    <a:pt x="121" y="31"/>
                    <a:pt x="121" y="63"/>
                  </a:cubicBezTo>
                  <a:cubicBezTo>
                    <a:pt x="121" y="95"/>
                    <a:pt x="95" y="120"/>
                    <a:pt x="63" y="120"/>
                  </a:cubicBezTo>
                  <a:cubicBezTo>
                    <a:pt x="31" y="120"/>
                    <a:pt x="5" y="95"/>
                    <a:pt x="5" y="63"/>
                  </a:cubicBezTo>
                  <a:cubicBezTo>
                    <a:pt x="5" y="31"/>
                    <a:pt x="31" y="5"/>
                    <a:pt x="63" y="5"/>
                  </a:cubicBezTo>
                  <a:moveTo>
                    <a:pt x="63" y="0"/>
                  </a:moveTo>
                  <a:cubicBezTo>
                    <a:pt x="28" y="0"/>
                    <a:pt x="0" y="28"/>
                    <a:pt x="0" y="63"/>
                  </a:cubicBezTo>
                  <a:cubicBezTo>
                    <a:pt x="0" y="98"/>
                    <a:pt x="28" y="126"/>
                    <a:pt x="63" y="126"/>
                  </a:cubicBezTo>
                  <a:cubicBezTo>
                    <a:pt x="98" y="126"/>
                    <a:pt x="126" y="98"/>
                    <a:pt x="126" y="63"/>
                  </a:cubicBezTo>
                  <a:cubicBezTo>
                    <a:pt x="126" y="28"/>
                    <a:pt x="98" y="0"/>
                    <a:pt x="63" y="0"/>
                  </a:cubicBezTo>
                  <a:close/>
                  <a:moveTo>
                    <a:pt x="100" y="60"/>
                  </a:moveTo>
                  <a:cubicBezTo>
                    <a:pt x="92" y="60"/>
                    <a:pt x="92" y="60"/>
                    <a:pt x="92" y="60"/>
                  </a:cubicBezTo>
                  <a:cubicBezTo>
                    <a:pt x="91" y="54"/>
                    <a:pt x="89" y="49"/>
                    <a:pt x="85" y="44"/>
                  </a:cubicBezTo>
                  <a:cubicBezTo>
                    <a:pt x="91" y="38"/>
                    <a:pt x="91" y="38"/>
                    <a:pt x="91" y="38"/>
                  </a:cubicBezTo>
                  <a:cubicBezTo>
                    <a:pt x="92" y="37"/>
                    <a:pt x="92" y="36"/>
                    <a:pt x="91" y="35"/>
                  </a:cubicBezTo>
                  <a:cubicBezTo>
                    <a:pt x="90" y="34"/>
                    <a:pt x="88" y="34"/>
                    <a:pt x="87" y="35"/>
                  </a:cubicBezTo>
                  <a:cubicBezTo>
                    <a:pt x="82" y="41"/>
                    <a:pt x="82" y="41"/>
                    <a:pt x="82" y="41"/>
                  </a:cubicBezTo>
                  <a:cubicBezTo>
                    <a:pt x="77" y="37"/>
                    <a:pt x="72" y="35"/>
                    <a:pt x="66" y="34"/>
                  </a:cubicBezTo>
                  <a:cubicBezTo>
                    <a:pt x="66" y="26"/>
                    <a:pt x="66" y="26"/>
                    <a:pt x="66" y="26"/>
                  </a:cubicBezTo>
                  <a:cubicBezTo>
                    <a:pt x="66" y="24"/>
                    <a:pt x="65" y="23"/>
                    <a:pt x="63" y="23"/>
                  </a:cubicBezTo>
                  <a:cubicBezTo>
                    <a:pt x="62" y="23"/>
                    <a:pt x="60" y="24"/>
                    <a:pt x="60" y="26"/>
                  </a:cubicBezTo>
                  <a:cubicBezTo>
                    <a:pt x="60" y="34"/>
                    <a:pt x="60" y="34"/>
                    <a:pt x="60" y="34"/>
                  </a:cubicBezTo>
                  <a:cubicBezTo>
                    <a:pt x="54" y="35"/>
                    <a:pt x="49" y="37"/>
                    <a:pt x="45" y="41"/>
                  </a:cubicBezTo>
                  <a:cubicBezTo>
                    <a:pt x="39" y="35"/>
                    <a:pt x="39" y="35"/>
                    <a:pt x="39" y="35"/>
                  </a:cubicBezTo>
                  <a:cubicBezTo>
                    <a:pt x="37" y="34"/>
                    <a:pt x="36" y="34"/>
                    <a:pt x="35" y="35"/>
                  </a:cubicBezTo>
                  <a:cubicBezTo>
                    <a:pt x="34" y="36"/>
                    <a:pt x="34" y="37"/>
                    <a:pt x="35" y="38"/>
                  </a:cubicBezTo>
                  <a:cubicBezTo>
                    <a:pt x="41" y="44"/>
                    <a:pt x="41" y="44"/>
                    <a:pt x="41" y="44"/>
                  </a:cubicBezTo>
                  <a:cubicBezTo>
                    <a:pt x="37" y="49"/>
                    <a:pt x="35" y="54"/>
                    <a:pt x="34" y="60"/>
                  </a:cubicBezTo>
                  <a:cubicBezTo>
                    <a:pt x="26" y="60"/>
                    <a:pt x="26" y="60"/>
                    <a:pt x="26" y="60"/>
                  </a:cubicBezTo>
                  <a:cubicBezTo>
                    <a:pt x="25" y="60"/>
                    <a:pt x="24" y="61"/>
                    <a:pt x="24" y="63"/>
                  </a:cubicBezTo>
                  <a:cubicBezTo>
                    <a:pt x="24" y="64"/>
                    <a:pt x="25" y="65"/>
                    <a:pt x="26" y="65"/>
                  </a:cubicBezTo>
                  <a:cubicBezTo>
                    <a:pt x="34" y="65"/>
                    <a:pt x="34" y="65"/>
                    <a:pt x="34" y="65"/>
                  </a:cubicBezTo>
                  <a:cubicBezTo>
                    <a:pt x="35" y="71"/>
                    <a:pt x="37" y="77"/>
                    <a:pt x="41" y="81"/>
                  </a:cubicBezTo>
                  <a:cubicBezTo>
                    <a:pt x="35" y="87"/>
                    <a:pt x="35" y="87"/>
                    <a:pt x="35" y="87"/>
                  </a:cubicBezTo>
                  <a:cubicBezTo>
                    <a:pt x="34" y="88"/>
                    <a:pt x="34" y="90"/>
                    <a:pt x="35" y="91"/>
                  </a:cubicBezTo>
                  <a:cubicBezTo>
                    <a:pt x="36" y="91"/>
                    <a:pt x="36" y="92"/>
                    <a:pt x="37" y="92"/>
                  </a:cubicBezTo>
                  <a:cubicBezTo>
                    <a:pt x="37" y="92"/>
                    <a:pt x="38" y="91"/>
                    <a:pt x="39" y="91"/>
                  </a:cubicBezTo>
                  <a:cubicBezTo>
                    <a:pt x="45" y="85"/>
                    <a:pt x="45" y="85"/>
                    <a:pt x="45" y="85"/>
                  </a:cubicBezTo>
                  <a:cubicBezTo>
                    <a:pt x="49" y="89"/>
                    <a:pt x="54" y="91"/>
                    <a:pt x="60" y="91"/>
                  </a:cubicBezTo>
                  <a:cubicBezTo>
                    <a:pt x="60" y="99"/>
                    <a:pt x="60" y="99"/>
                    <a:pt x="60" y="99"/>
                  </a:cubicBezTo>
                  <a:cubicBezTo>
                    <a:pt x="60" y="101"/>
                    <a:pt x="62" y="102"/>
                    <a:pt x="63" y="102"/>
                  </a:cubicBezTo>
                  <a:cubicBezTo>
                    <a:pt x="65" y="102"/>
                    <a:pt x="66" y="101"/>
                    <a:pt x="66" y="99"/>
                  </a:cubicBezTo>
                  <a:cubicBezTo>
                    <a:pt x="66" y="91"/>
                    <a:pt x="66" y="91"/>
                    <a:pt x="66" y="91"/>
                  </a:cubicBezTo>
                  <a:cubicBezTo>
                    <a:pt x="72" y="91"/>
                    <a:pt x="77" y="89"/>
                    <a:pt x="82" y="85"/>
                  </a:cubicBezTo>
                  <a:cubicBezTo>
                    <a:pt x="87" y="91"/>
                    <a:pt x="87" y="91"/>
                    <a:pt x="87" y="91"/>
                  </a:cubicBezTo>
                  <a:cubicBezTo>
                    <a:pt x="88" y="91"/>
                    <a:pt x="89" y="92"/>
                    <a:pt x="89" y="92"/>
                  </a:cubicBezTo>
                  <a:cubicBezTo>
                    <a:pt x="90" y="92"/>
                    <a:pt x="91" y="91"/>
                    <a:pt x="91" y="91"/>
                  </a:cubicBezTo>
                  <a:cubicBezTo>
                    <a:pt x="92" y="90"/>
                    <a:pt x="92" y="88"/>
                    <a:pt x="91" y="87"/>
                  </a:cubicBezTo>
                  <a:cubicBezTo>
                    <a:pt x="85" y="81"/>
                    <a:pt x="85" y="81"/>
                    <a:pt x="85" y="81"/>
                  </a:cubicBezTo>
                  <a:cubicBezTo>
                    <a:pt x="89" y="77"/>
                    <a:pt x="91" y="71"/>
                    <a:pt x="92" y="65"/>
                  </a:cubicBezTo>
                  <a:cubicBezTo>
                    <a:pt x="100" y="65"/>
                    <a:pt x="100" y="65"/>
                    <a:pt x="100" y="65"/>
                  </a:cubicBezTo>
                  <a:cubicBezTo>
                    <a:pt x="101" y="65"/>
                    <a:pt x="102" y="64"/>
                    <a:pt x="102" y="63"/>
                  </a:cubicBezTo>
                  <a:cubicBezTo>
                    <a:pt x="102" y="61"/>
                    <a:pt x="101" y="60"/>
                    <a:pt x="100" y="60"/>
                  </a:cubicBezTo>
                  <a:close/>
                  <a:moveTo>
                    <a:pt x="86" y="60"/>
                  </a:moveTo>
                  <a:cubicBezTo>
                    <a:pt x="71" y="60"/>
                    <a:pt x="71" y="60"/>
                    <a:pt x="71" y="60"/>
                  </a:cubicBezTo>
                  <a:cubicBezTo>
                    <a:pt x="71" y="60"/>
                    <a:pt x="70" y="60"/>
                    <a:pt x="70" y="60"/>
                  </a:cubicBezTo>
                  <a:cubicBezTo>
                    <a:pt x="70" y="60"/>
                    <a:pt x="70" y="60"/>
                    <a:pt x="70" y="59"/>
                  </a:cubicBezTo>
                  <a:cubicBezTo>
                    <a:pt x="70" y="59"/>
                    <a:pt x="70" y="59"/>
                    <a:pt x="70" y="59"/>
                  </a:cubicBezTo>
                  <a:cubicBezTo>
                    <a:pt x="82" y="48"/>
                    <a:pt x="82" y="48"/>
                    <a:pt x="82" y="48"/>
                  </a:cubicBezTo>
                  <a:cubicBezTo>
                    <a:pt x="84" y="51"/>
                    <a:pt x="86" y="56"/>
                    <a:pt x="86" y="60"/>
                  </a:cubicBezTo>
                  <a:close/>
                  <a:moveTo>
                    <a:pt x="78" y="44"/>
                  </a:moveTo>
                  <a:cubicBezTo>
                    <a:pt x="67" y="55"/>
                    <a:pt x="67" y="55"/>
                    <a:pt x="67" y="55"/>
                  </a:cubicBezTo>
                  <a:cubicBezTo>
                    <a:pt x="67" y="55"/>
                    <a:pt x="67" y="56"/>
                    <a:pt x="67" y="56"/>
                  </a:cubicBezTo>
                  <a:cubicBezTo>
                    <a:pt x="66" y="55"/>
                    <a:pt x="66" y="55"/>
                    <a:pt x="66" y="55"/>
                  </a:cubicBezTo>
                  <a:cubicBezTo>
                    <a:pt x="66" y="55"/>
                    <a:pt x="66" y="55"/>
                    <a:pt x="66" y="55"/>
                  </a:cubicBezTo>
                  <a:cubicBezTo>
                    <a:pt x="66" y="39"/>
                    <a:pt x="66" y="39"/>
                    <a:pt x="66" y="39"/>
                  </a:cubicBezTo>
                  <a:cubicBezTo>
                    <a:pt x="70" y="40"/>
                    <a:pt x="74" y="42"/>
                    <a:pt x="78" y="44"/>
                  </a:cubicBezTo>
                  <a:close/>
                  <a:moveTo>
                    <a:pt x="63" y="65"/>
                  </a:moveTo>
                  <a:cubicBezTo>
                    <a:pt x="62" y="65"/>
                    <a:pt x="60" y="64"/>
                    <a:pt x="60" y="63"/>
                  </a:cubicBezTo>
                  <a:cubicBezTo>
                    <a:pt x="60" y="61"/>
                    <a:pt x="62" y="60"/>
                    <a:pt x="63" y="60"/>
                  </a:cubicBezTo>
                  <a:cubicBezTo>
                    <a:pt x="65" y="60"/>
                    <a:pt x="66" y="61"/>
                    <a:pt x="66" y="63"/>
                  </a:cubicBezTo>
                  <a:cubicBezTo>
                    <a:pt x="66" y="64"/>
                    <a:pt x="65" y="65"/>
                    <a:pt x="63" y="65"/>
                  </a:cubicBezTo>
                  <a:close/>
                  <a:moveTo>
                    <a:pt x="60" y="39"/>
                  </a:moveTo>
                  <a:cubicBezTo>
                    <a:pt x="60" y="55"/>
                    <a:pt x="60" y="55"/>
                    <a:pt x="60" y="55"/>
                  </a:cubicBezTo>
                  <a:cubicBezTo>
                    <a:pt x="60" y="55"/>
                    <a:pt x="60" y="55"/>
                    <a:pt x="60" y="55"/>
                  </a:cubicBezTo>
                  <a:cubicBezTo>
                    <a:pt x="60" y="55"/>
                    <a:pt x="60" y="55"/>
                    <a:pt x="60" y="56"/>
                  </a:cubicBezTo>
                  <a:cubicBezTo>
                    <a:pt x="59" y="56"/>
                    <a:pt x="59" y="55"/>
                    <a:pt x="59" y="55"/>
                  </a:cubicBezTo>
                  <a:cubicBezTo>
                    <a:pt x="48" y="44"/>
                    <a:pt x="48" y="44"/>
                    <a:pt x="48" y="44"/>
                  </a:cubicBezTo>
                  <a:cubicBezTo>
                    <a:pt x="52" y="42"/>
                    <a:pt x="56" y="40"/>
                    <a:pt x="60" y="39"/>
                  </a:cubicBezTo>
                  <a:close/>
                  <a:moveTo>
                    <a:pt x="45" y="48"/>
                  </a:moveTo>
                  <a:cubicBezTo>
                    <a:pt x="56" y="59"/>
                    <a:pt x="56" y="59"/>
                    <a:pt x="56" y="59"/>
                  </a:cubicBezTo>
                  <a:cubicBezTo>
                    <a:pt x="56" y="59"/>
                    <a:pt x="56" y="59"/>
                    <a:pt x="56" y="59"/>
                  </a:cubicBezTo>
                  <a:cubicBezTo>
                    <a:pt x="56" y="60"/>
                    <a:pt x="56" y="60"/>
                    <a:pt x="56" y="60"/>
                  </a:cubicBezTo>
                  <a:cubicBezTo>
                    <a:pt x="55" y="60"/>
                    <a:pt x="55" y="60"/>
                    <a:pt x="55" y="60"/>
                  </a:cubicBezTo>
                  <a:cubicBezTo>
                    <a:pt x="39" y="60"/>
                    <a:pt x="39" y="60"/>
                    <a:pt x="39" y="60"/>
                  </a:cubicBezTo>
                  <a:cubicBezTo>
                    <a:pt x="40" y="56"/>
                    <a:pt x="42" y="51"/>
                    <a:pt x="45" y="48"/>
                  </a:cubicBezTo>
                  <a:close/>
                  <a:moveTo>
                    <a:pt x="39" y="65"/>
                  </a:moveTo>
                  <a:cubicBezTo>
                    <a:pt x="55" y="65"/>
                    <a:pt x="55" y="65"/>
                    <a:pt x="55" y="65"/>
                  </a:cubicBezTo>
                  <a:cubicBezTo>
                    <a:pt x="55" y="65"/>
                    <a:pt x="55" y="65"/>
                    <a:pt x="56" y="65"/>
                  </a:cubicBezTo>
                  <a:cubicBezTo>
                    <a:pt x="56" y="66"/>
                    <a:pt x="56" y="66"/>
                    <a:pt x="56" y="66"/>
                  </a:cubicBezTo>
                  <a:cubicBezTo>
                    <a:pt x="56" y="66"/>
                    <a:pt x="56" y="66"/>
                    <a:pt x="56" y="66"/>
                  </a:cubicBezTo>
                  <a:cubicBezTo>
                    <a:pt x="45" y="78"/>
                    <a:pt x="45" y="78"/>
                    <a:pt x="45" y="78"/>
                  </a:cubicBezTo>
                  <a:cubicBezTo>
                    <a:pt x="42" y="74"/>
                    <a:pt x="40" y="70"/>
                    <a:pt x="39" y="65"/>
                  </a:cubicBezTo>
                  <a:close/>
                  <a:moveTo>
                    <a:pt x="48" y="81"/>
                  </a:moveTo>
                  <a:cubicBezTo>
                    <a:pt x="59" y="70"/>
                    <a:pt x="59" y="70"/>
                    <a:pt x="59" y="70"/>
                  </a:cubicBezTo>
                  <a:cubicBezTo>
                    <a:pt x="59" y="70"/>
                    <a:pt x="59" y="70"/>
                    <a:pt x="60" y="70"/>
                  </a:cubicBezTo>
                  <a:cubicBezTo>
                    <a:pt x="60" y="70"/>
                    <a:pt x="60" y="70"/>
                    <a:pt x="60" y="70"/>
                  </a:cubicBezTo>
                  <a:cubicBezTo>
                    <a:pt x="60" y="70"/>
                    <a:pt x="60" y="70"/>
                    <a:pt x="60" y="71"/>
                  </a:cubicBezTo>
                  <a:cubicBezTo>
                    <a:pt x="60" y="86"/>
                    <a:pt x="60" y="86"/>
                    <a:pt x="60" y="86"/>
                  </a:cubicBezTo>
                  <a:cubicBezTo>
                    <a:pt x="56" y="86"/>
                    <a:pt x="52" y="84"/>
                    <a:pt x="48" y="81"/>
                  </a:cubicBezTo>
                  <a:close/>
                  <a:moveTo>
                    <a:pt x="66" y="86"/>
                  </a:moveTo>
                  <a:cubicBezTo>
                    <a:pt x="66" y="71"/>
                    <a:pt x="66" y="71"/>
                    <a:pt x="66" y="71"/>
                  </a:cubicBezTo>
                  <a:cubicBezTo>
                    <a:pt x="66" y="70"/>
                    <a:pt x="66" y="70"/>
                    <a:pt x="66" y="70"/>
                  </a:cubicBezTo>
                  <a:cubicBezTo>
                    <a:pt x="66" y="70"/>
                    <a:pt x="66" y="70"/>
                    <a:pt x="67" y="70"/>
                  </a:cubicBezTo>
                  <a:cubicBezTo>
                    <a:pt x="67" y="70"/>
                    <a:pt x="67" y="70"/>
                    <a:pt x="67" y="70"/>
                  </a:cubicBezTo>
                  <a:cubicBezTo>
                    <a:pt x="78" y="81"/>
                    <a:pt x="78" y="81"/>
                    <a:pt x="78" y="81"/>
                  </a:cubicBezTo>
                  <a:cubicBezTo>
                    <a:pt x="74" y="84"/>
                    <a:pt x="70" y="86"/>
                    <a:pt x="66" y="86"/>
                  </a:cubicBezTo>
                  <a:close/>
                  <a:moveTo>
                    <a:pt x="82" y="78"/>
                  </a:moveTo>
                  <a:cubicBezTo>
                    <a:pt x="70" y="66"/>
                    <a:pt x="70" y="66"/>
                    <a:pt x="70" y="66"/>
                  </a:cubicBezTo>
                  <a:cubicBezTo>
                    <a:pt x="70" y="66"/>
                    <a:pt x="70" y="66"/>
                    <a:pt x="70" y="66"/>
                  </a:cubicBezTo>
                  <a:cubicBezTo>
                    <a:pt x="70" y="66"/>
                    <a:pt x="70" y="66"/>
                    <a:pt x="70" y="65"/>
                  </a:cubicBezTo>
                  <a:cubicBezTo>
                    <a:pt x="70" y="65"/>
                    <a:pt x="71" y="65"/>
                    <a:pt x="71" y="65"/>
                  </a:cubicBezTo>
                  <a:cubicBezTo>
                    <a:pt x="86" y="65"/>
                    <a:pt x="86" y="65"/>
                    <a:pt x="86" y="65"/>
                  </a:cubicBezTo>
                  <a:cubicBezTo>
                    <a:pt x="86" y="70"/>
                    <a:pt x="84" y="74"/>
                    <a:pt x="82" y="7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文本框 106"/>
            <p:cNvSpPr txBox="1"/>
            <p:nvPr/>
          </p:nvSpPr>
          <p:spPr>
            <a:xfrm>
              <a:off x="2089150" y="426578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1" name="文本框 106"/>
            <p:cNvSpPr txBox="1"/>
            <p:nvPr/>
          </p:nvSpPr>
          <p:spPr>
            <a:xfrm>
              <a:off x="3779838" y="192908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2" name="文本框 106"/>
            <p:cNvSpPr txBox="1"/>
            <p:nvPr/>
          </p:nvSpPr>
          <p:spPr>
            <a:xfrm>
              <a:off x="5454934" y="426578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3" name="文本框 106"/>
            <p:cNvSpPr txBox="1"/>
            <p:nvPr/>
          </p:nvSpPr>
          <p:spPr>
            <a:xfrm>
              <a:off x="7193246" y="192908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4" name="文本框 106"/>
            <p:cNvSpPr txBox="1"/>
            <p:nvPr/>
          </p:nvSpPr>
          <p:spPr>
            <a:xfrm>
              <a:off x="8856380" y="426578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grpSp>
    </p:spTree>
    <p:custDataLst>
      <p:tags r:id="rId1"/>
    </p:custDataLst>
    <p:extLst>
      <p:ext uri="{BB962C8B-B14F-4D97-AF65-F5344CB8AC3E}">
        <p14:creationId xmlns:p14="http://schemas.microsoft.com/office/powerpoint/2010/main" val="113429509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177011" y="2960829"/>
            <a:ext cx="697497" cy="2437758"/>
            <a:chOff x="799583" y="3117896"/>
            <a:chExt cx="697497" cy="2437758"/>
          </a:xfrm>
        </p:grpSpPr>
        <p:sp>
          <p:nvSpPr>
            <p:cNvPr id="277" name="Rectangle 84">
              <a:extLst>
                <a:ext uri="{FF2B5EF4-FFF2-40B4-BE49-F238E27FC236}">
                  <a16:creationId xmlns:a16="http://schemas.microsoft.com/office/drawing/2014/main" id="{3877406B-1576-DB44-BB5B-E37FC2691CD9}"/>
                </a:ext>
              </a:extLst>
            </p:cNvPr>
            <p:cNvSpPr>
              <a:spLocks noChangeArrowheads="1"/>
            </p:cNvSpPr>
            <p:nvPr/>
          </p:nvSpPr>
          <p:spPr bwMode="auto">
            <a:xfrm>
              <a:off x="799583" y="3117896"/>
              <a:ext cx="697497" cy="2437758"/>
            </a:xfrm>
            <a:prstGeom prst="rect">
              <a:avLst/>
            </a:prstGeom>
            <a:solidFill>
              <a:srgbClr val="86BC2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5" name="Group 4"/>
            <p:cNvGrpSpPr/>
            <p:nvPr/>
          </p:nvGrpSpPr>
          <p:grpSpPr>
            <a:xfrm>
              <a:off x="926274" y="3225096"/>
              <a:ext cx="444115" cy="2330557"/>
              <a:chOff x="912352" y="3225096"/>
              <a:chExt cx="444115" cy="2330557"/>
            </a:xfrm>
            <a:solidFill>
              <a:srgbClr val="FFFFFF"/>
            </a:solidFill>
          </p:grpSpPr>
          <p:sp>
            <p:nvSpPr>
              <p:cNvPr id="278" name="Rectangle 85">
                <a:extLst>
                  <a:ext uri="{FF2B5EF4-FFF2-40B4-BE49-F238E27FC236}">
                    <a16:creationId xmlns:a16="http://schemas.microsoft.com/office/drawing/2014/main" id="{10EECA66-1479-B84A-B655-AFD85D4C14B2}"/>
                  </a:ext>
                </a:extLst>
              </p:cNvPr>
              <p:cNvSpPr>
                <a:spLocks noChangeArrowheads="1"/>
              </p:cNvSpPr>
              <p:nvPr/>
            </p:nvSpPr>
            <p:spPr bwMode="auto">
              <a:xfrm>
                <a:off x="912352" y="3225096"/>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Rectangle 86">
                <a:extLst>
                  <a:ext uri="{FF2B5EF4-FFF2-40B4-BE49-F238E27FC236}">
                    <a16:creationId xmlns:a16="http://schemas.microsoft.com/office/drawing/2014/main" id="{5467A0D0-C3B5-2F4D-9310-B2593E943A46}"/>
                  </a:ext>
                </a:extLst>
              </p:cNvPr>
              <p:cNvSpPr>
                <a:spLocks noChangeArrowheads="1"/>
              </p:cNvSpPr>
              <p:nvPr/>
            </p:nvSpPr>
            <p:spPr bwMode="auto">
              <a:xfrm>
                <a:off x="1172695" y="3225096"/>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0" name="Rectangle 87">
                <a:extLst>
                  <a:ext uri="{FF2B5EF4-FFF2-40B4-BE49-F238E27FC236}">
                    <a16:creationId xmlns:a16="http://schemas.microsoft.com/office/drawing/2014/main" id="{5E378927-AA13-1243-A189-A5EE7DB71F70}"/>
                  </a:ext>
                </a:extLst>
              </p:cNvPr>
              <p:cNvSpPr>
                <a:spLocks noChangeArrowheads="1"/>
              </p:cNvSpPr>
              <p:nvPr/>
            </p:nvSpPr>
            <p:spPr bwMode="auto">
              <a:xfrm>
                <a:off x="912352" y="3524421"/>
                <a:ext cx="183772" cy="21300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Rectangle 88">
                <a:extLst>
                  <a:ext uri="{FF2B5EF4-FFF2-40B4-BE49-F238E27FC236}">
                    <a16:creationId xmlns:a16="http://schemas.microsoft.com/office/drawing/2014/main" id="{B862732D-0FF0-5247-97F4-987331E798DA}"/>
                  </a:ext>
                </a:extLst>
              </p:cNvPr>
              <p:cNvSpPr>
                <a:spLocks noChangeArrowheads="1"/>
              </p:cNvSpPr>
              <p:nvPr/>
            </p:nvSpPr>
            <p:spPr bwMode="auto">
              <a:xfrm>
                <a:off x="1172695" y="3524421"/>
                <a:ext cx="183772" cy="21300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Rectangle 89">
                <a:extLst>
                  <a:ext uri="{FF2B5EF4-FFF2-40B4-BE49-F238E27FC236}">
                    <a16:creationId xmlns:a16="http://schemas.microsoft.com/office/drawing/2014/main" id="{7097127E-DA00-A443-839E-7280432790C0}"/>
                  </a:ext>
                </a:extLst>
              </p:cNvPr>
              <p:cNvSpPr>
                <a:spLocks noChangeArrowheads="1"/>
              </p:cNvSpPr>
              <p:nvPr/>
            </p:nvSpPr>
            <p:spPr bwMode="auto">
              <a:xfrm>
                <a:off x="912352" y="3834883"/>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3" name="Rectangle 90">
                <a:extLst>
                  <a:ext uri="{FF2B5EF4-FFF2-40B4-BE49-F238E27FC236}">
                    <a16:creationId xmlns:a16="http://schemas.microsoft.com/office/drawing/2014/main" id="{96BC8891-7695-5C49-A009-A0FF07B13FE9}"/>
                  </a:ext>
                </a:extLst>
              </p:cNvPr>
              <p:cNvSpPr>
                <a:spLocks noChangeArrowheads="1"/>
              </p:cNvSpPr>
              <p:nvPr/>
            </p:nvSpPr>
            <p:spPr bwMode="auto">
              <a:xfrm>
                <a:off x="1172695" y="3834883"/>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Rectangle 91">
                <a:extLst>
                  <a:ext uri="{FF2B5EF4-FFF2-40B4-BE49-F238E27FC236}">
                    <a16:creationId xmlns:a16="http://schemas.microsoft.com/office/drawing/2014/main" id="{77D4BBB8-6652-2D4A-944E-42BC494E2771}"/>
                  </a:ext>
                </a:extLst>
              </p:cNvPr>
              <p:cNvSpPr>
                <a:spLocks noChangeArrowheads="1"/>
              </p:cNvSpPr>
              <p:nvPr/>
            </p:nvSpPr>
            <p:spPr bwMode="auto">
              <a:xfrm>
                <a:off x="912352" y="4123071"/>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5" name="Rectangle 92">
                <a:extLst>
                  <a:ext uri="{FF2B5EF4-FFF2-40B4-BE49-F238E27FC236}">
                    <a16:creationId xmlns:a16="http://schemas.microsoft.com/office/drawing/2014/main" id="{A45923BF-3E9E-3E4D-AA95-B57869A2208E}"/>
                  </a:ext>
                </a:extLst>
              </p:cNvPr>
              <p:cNvSpPr>
                <a:spLocks noChangeArrowheads="1"/>
              </p:cNvSpPr>
              <p:nvPr/>
            </p:nvSpPr>
            <p:spPr bwMode="auto">
              <a:xfrm>
                <a:off x="1172695" y="4123071"/>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6" name="Rectangle 93">
                <a:extLst>
                  <a:ext uri="{FF2B5EF4-FFF2-40B4-BE49-F238E27FC236}">
                    <a16:creationId xmlns:a16="http://schemas.microsoft.com/office/drawing/2014/main" id="{73D8DCAF-FC8B-D848-B3F9-6E82928D2934}"/>
                  </a:ext>
                </a:extLst>
              </p:cNvPr>
              <p:cNvSpPr>
                <a:spLocks noChangeArrowheads="1"/>
              </p:cNvSpPr>
              <p:nvPr/>
            </p:nvSpPr>
            <p:spPr bwMode="auto">
              <a:xfrm>
                <a:off x="912352" y="4425180"/>
                <a:ext cx="183772" cy="2102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7" name="Rectangle 94">
                <a:extLst>
                  <a:ext uri="{FF2B5EF4-FFF2-40B4-BE49-F238E27FC236}">
                    <a16:creationId xmlns:a16="http://schemas.microsoft.com/office/drawing/2014/main" id="{117DFD24-A4C5-A74D-B348-0BB6D727352D}"/>
                  </a:ext>
                </a:extLst>
              </p:cNvPr>
              <p:cNvSpPr>
                <a:spLocks noChangeArrowheads="1"/>
              </p:cNvSpPr>
              <p:nvPr/>
            </p:nvSpPr>
            <p:spPr bwMode="auto">
              <a:xfrm>
                <a:off x="1172695" y="4425180"/>
                <a:ext cx="183772" cy="2102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Rectangle 95">
                <a:extLst>
                  <a:ext uri="{FF2B5EF4-FFF2-40B4-BE49-F238E27FC236}">
                    <a16:creationId xmlns:a16="http://schemas.microsoft.com/office/drawing/2014/main" id="{55C13605-85E0-6346-9829-2DF74BF608C3}"/>
                  </a:ext>
                </a:extLst>
              </p:cNvPr>
              <p:cNvSpPr>
                <a:spLocks noChangeArrowheads="1"/>
              </p:cNvSpPr>
              <p:nvPr/>
            </p:nvSpPr>
            <p:spPr bwMode="auto">
              <a:xfrm>
                <a:off x="912352" y="4723113"/>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9" name="Rectangle 96">
                <a:extLst>
                  <a:ext uri="{FF2B5EF4-FFF2-40B4-BE49-F238E27FC236}">
                    <a16:creationId xmlns:a16="http://schemas.microsoft.com/office/drawing/2014/main" id="{2793BDB4-72E6-8641-80CA-F9FF96621F30}"/>
                  </a:ext>
                </a:extLst>
              </p:cNvPr>
              <p:cNvSpPr>
                <a:spLocks noChangeArrowheads="1"/>
              </p:cNvSpPr>
              <p:nvPr/>
            </p:nvSpPr>
            <p:spPr bwMode="auto">
              <a:xfrm>
                <a:off x="1172695" y="4723113"/>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0" name="Rectangle 97">
                <a:extLst>
                  <a:ext uri="{FF2B5EF4-FFF2-40B4-BE49-F238E27FC236}">
                    <a16:creationId xmlns:a16="http://schemas.microsoft.com/office/drawing/2014/main" id="{C366EEE4-C6F6-024B-B1B8-C9B64E4E0A51}"/>
                  </a:ext>
                </a:extLst>
              </p:cNvPr>
              <p:cNvSpPr>
                <a:spLocks noChangeArrowheads="1"/>
              </p:cNvSpPr>
              <p:nvPr/>
            </p:nvSpPr>
            <p:spPr bwMode="auto">
              <a:xfrm>
                <a:off x="912352" y="5014085"/>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1" name="Rectangle 98">
                <a:extLst>
                  <a:ext uri="{FF2B5EF4-FFF2-40B4-BE49-F238E27FC236}">
                    <a16:creationId xmlns:a16="http://schemas.microsoft.com/office/drawing/2014/main" id="{FD93B191-F461-3C49-9497-65C210BD1ACF}"/>
                  </a:ext>
                </a:extLst>
              </p:cNvPr>
              <p:cNvSpPr>
                <a:spLocks noChangeArrowheads="1"/>
              </p:cNvSpPr>
              <p:nvPr/>
            </p:nvSpPr>
            <p:spPr bwMode="auto">
              <a:xfrm>
                <a:off x="1172695" y="5014085"/>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2" name="Rectangle 99">
                <a:extLst>
                  <a:ext uri="{FF2B5EF4-FFF2-40B4-BE49-F238E27FC236}">
                    <a16:creationId xmlns:a16="http://schemas.microsoft.com/office/drawing/2014/main" id="{6518675E-E691-6249-B96C-573B55DF7DE0}"/>
                  </a:ext>
                </a:extLst>
              </p:cNvPr>
              <p:cNvSpPr>
                <a:spLocks noChangeArrowheads="1"/>
              </p:cNvSpPr>
              <p:nvPr/>
            </p:nvSpPr>
            <p:spPr bwMode="auto">
              <a:xfrm>
                <a:off x="912353" y="5289509"/>
                <a:ext cx="438832" cy="26614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0" name="Group 9"/>
          <p:cNvGrpSpPr/>
          <p:nvPr/>
        </p:nvGrpSpPr>
        <p:grpSpPr>
          <a:xfrm>
            <a:off x="5131105" y="2960829"/>
            <a:ext cx="697497" cy="2437758"/>
            <a:chOff x="6756844" y="3117896"/>
            <a:chExt cx="697497" cy="2437758"/>
          </a:xfrm>
        </p:grpSpPr>
        <p:sp>
          <p:nvSpPr>
            <p:cNvPr id="303" name="Rectangle 111">
              <a:extLst>
                <a:ext uri="{FF2B5EF4-FFF2-40B4-BE49-F238E27FC236}">
                  <a16:creationId xmlns:a16="http://schemas.microsoft.com/office/drawing/2014/main" id="{8E4CBD28-79CA-3F49-81C3-3211641B4A26}"/>
                </a:ext>
              </a:extLst>
            </p:cNvPr>
            <p:cNvSpPr>
              <a:spLocks noChangeArrowheads="1"/>
            </p:cNvSpPr>
            <p:nvPr/>
          </p:nvSpPr>
          <p:spPr bwMode="auto">
            <a:xfrm>
              <a:off x="6756844" y="3117896"/>
              <a:ext cx="697497" cy="2437758"/>
            </a:xfrm>
            <a:prstGeom prst="rect">
              <a:avLst/>
            </a:prstGeom>
            <a:solidFill>
              <a:srgbClr val="53565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p:nvGrpSpPr>
          <p:grpSpPr>
            <a:xfrm>
              <a:off x="6882142" y="3225096"/>
              <a:ext cx="449125" cy="2330556"/>
              <a:chOff x="6875181" y="3225096"/>
              <a:chExt cx="449125" cy="2330556"/>
            </a:xfrm>
            <a:solidFill>
              <a:srgbClr val="FFFFFF"/>
            </a:solidFill>
          </p:grpSpPr>
          <p:sp>
            <p:nvSpPr>
              <p:cNvPr id="304" name="Rectangle 112">
                <a:extLst>
                  <a:ext uri="{FF2B5EF4-FFF2-40B4-BE49-F238E27FC236}">
                    <a16:creationId xmlns:a16="http://schemas.microsoft.com/office/drawing/2014/main" id="{42DA3AFC-92B6-614C-88BC-EEDDA9F1C6A4}"/>
                  </a:ext>
                </a:extLst>
              </p:cNvPr>
              <p:cNvSpPr>
                <a:spLocks noChangeArrowheads="1"/>
              </p:cNvSpPr>
              <p:nvPr/>
            </p:nvSpPr>
            <p:spPr bwMode="auto">
              <a:xfrm>
                <a:off x="6875181" y="3225096"/>
                <a:ext cx="185164"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5" name="Rectangle 113">
                <a:extLst>
                  <a:ext uri="{FF2B5EF4-FFF2-40B4-BE49-F238E27FC236}">
                    <a16:creationId xmlns:a16="http://schemas.microsoft.com/office/drawing/2014/main" id="{F96A3E52-106F-D74C-AE60-C90E1749E264}"/>
                  </a:ext>
                </a:extLst>
              </p:cNvPr>
              <p:cNvSpPr>
                <a:spLocks noChangeArrowheads="1"/>
              </p:cNvSpPr>
              <p:nvPr/>
            </p:nvSpPr>
            <p:spPr bwMode="auto">
              <a:xfrm>
                <a:off x="7138309" y="3225096"/>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6" name="Rectangle 114">
                <a:extLst>
                  <a:ext uri="{FF2B5EF4-FFF2-40B4-BE49-F238E27FC236}">
                    <a16:creationId xmlns:a16="http://schemas.microsoft.com/office/drawing/2014/main" id="{638955D6-D00C-2A4D-A9EF-C24E31F77292}"/>
                  </a:ext>
                </a:extLst>
              </p:cNvPr>
              <p:cNvSpPr>
                <a:spLocks noChangeArrowheads="1"/>
              </p:cNvSpPr>
              <p:nvPr/>
            </p:nvSpPr>
            <p:spPr bwMode="auto">
              <a:xfrm>
                <a:off x="6875181" y="3524421"/>
                <a:ext cx="185164" cy="21300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7" name="Rectangle 115">
                <a:extLst>
                  <a:ext uri="{FF2B5EF4-FFF2-40B4-BE49-F238E27FC236}">
                    <a16:creationId xmlns:a16="http://schemas.microsoft.com/office/drawing/2014/main" id="{0922D54A-7522-A846-B38D-F8901E966CEC}"/>
                  </a:ext>
                </a:extLst>
              </p:cNvPr>
              <p:cNvSpPr>
                <a:spLocks noChangeArrowheads="1"/>
              </p:cNvSpPr>
              <p:nvPr/>
            </p:nvSpPr>
            <p:spPr bwMode="auto">
              <a:xfrm>
                <a:off x="7138309" y="3524421"/>
                <a:ext cx="183772" cy="21300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Rectangle 116">
                <a:extLst>
                  <a:ext uri="{FF2B5EF4-FFF2-40B4-BE49-F238E27FC236}">
                    <a16:creationId xmlns:a16="http://schemas.microsoft.com/office/drawing/2014/main" id="{CAEFBAD4-BC96-0A4E-A7CE-C23AB51F558F}"/>
                  </a:ext>
                </a:extLst>
              </p:cNvPr>
              <p:cNvSpPr>
                <a:spLocks noChangeArrowheads="1"/>
              </p:cNvSpPr>
              <p:nvPr/>
            </p:nvSpPr>
            <p:spPr bwMode="auto">
              <a:xfrm>
                <a:off x="6875181" y="3834883"/>
                <a:ext cx="185164"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Rectangle 117">
                <a:extLst>
                  <a:ext uri="{FF2B5EF4-FFF2-40B4-BE49-F238E27FC236}">
                    <a16:creationId xmlns:a16="http://schemas.microsoft.com/office/drawing/2014/main" id="{72113773-4497-5144-ACFD-AC39CE4EB7F4}"/>
                  </a:ext>
                </a:extLst>
              </p:cNvPr>
              <p:cNvSpPr>
                <a:spLocks noChangeArrowheads="1"/>
              </p:cNvSpPr>
              <p:nvPr/>
            </p:nvSpPr>
            <p:spPr bwMode="auto">
              <a:xfrm>
                <a:off x="7138309" y="3834883"/>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Rectangle 118">
                <a:extLst>
                  <a:ext uri="{FF2B5EF4-FFF2-40B4-BE49-F238E27FC236}">
                    <a16:creationId xmlns:a16="http://schemas.microsoft.com/office/drawing/2014/main" id="{F60D6331-FC2A-8844-8107-7BC4181AFD42}"/>
                  </a:ext>
                </a:extLst>
              </p:cNvPr>
              <p:cNvSpPr>
                <a:spLocks noChangeArrowheads="1"/>
              </p:cNvSpPr>
              <p:nvPr/>
            </p:nvSpPr>
            <p:spPr bwMode="auto">
              <a:xfrm>
                <a:off x="6875181" y="4123071"/>
                <a:ext cx="185164"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119">
                <a:extLst>
                  <a:ext uri="{FF2B5EF4-FFF2-40B4-BE49-F238E27FC236}">
                    <a16:creationId xmlns:a16="http://schemas.microsoft.com/office/drawing/2014/main" id="{0703AEF4-8D12-4E45-BB9D-56AB4555744B}"/>
                  </a:ext>
                </a:extLst>
              </p:cNvPr>
              <p:cNvSpPr>
                <a:spLocks noChangeArrowheads="1"/>
              </p:cNvSpPr>
              <p:nvPr/>
            </p:nvSpPr>
            <p:spPr bwMode="auto">
              <a:xfrm>
                <a:off x="7138309" y="4123071"/>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Rectangle 120">
                <a:extLst>
                  <a:ext uri="{FF2B5EF4-FFF2-40B4-BE49-F238E27FC236}">
                    <a16:creationId xmlns:a16="http://schemas.microsoft.com/office/drawing/2014/main" id="{7B07EF13-BB06-7F4C-99E7-37D2A9FA5DF2}"/>
                  </a:ext>
                </a:extLst>
              </p:cNvPr>
              <p:cNvSpPr>
                <a:spLocks noChangeArrowheads="1"/>
              </p:cNvSpPr>
              <p:nvPr/>
            </p:nvSpPr>
            <p:spPr bwMode="auto">
              <a:xfrm>
                <a:off x="6875181" y="4425180"/>
                <a:ext cx="185164" cy="2102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Rectangle 121">
                <a:extLst>
                  <a:ext uri="{FF2B5EF4-FFF2-40B4-BE49-F238E27FC236}">
                    <a16:creationId xmlns:a16="http://schemas.microsoft.com/office/drawing/2014/main" id="{0BFD458E-5401-1C49-9E19-A2F2673F7818}"/>
                  </a:ext>
                </a:extLst>
              </p:cNvPr>
              <p:cNvSpPr>
                <a:spLocks noChangeArrowheads="1"/>
              </p:cNvSpPr>
              <p:nvPr/>
            </p:nvSpPr>
            <p:spPr bwMode="auto">
              <a:xfrm>
                <a:off x="7138309" y="4425180"/>
                <a:ext cx="183772" cy="2102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Rectangle 122">
                <a:extLst>
                  <a:ext uri="{FF2B5EF4-FFF2-40B4-BE49-F238E27FC236}">
                    <a16:creationId xmlns:a16="http://schemas.microsoft.com/office/drawing/2014/main" id="{E3DBB8D2-CDD4-2044-B237-6EC7A2C13239}"/>
                  </a:ext>
                </a:extLst>
              </p:cNvPr>
              <p:cNvSpPr>
                <a:spLocks noChangeArrowheads="1"/>
              </p:cNvSpPr>
              <p:nvPr/>
            </p:nvSpPr>
            <p:spPr bwMode="auto">
              <a:xfrm>
                <a:off x="6875181" y="4723113"/>
                <a:ext cx="185164"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Rectangle 123">
                <a:extLst>
                  <a:ext uri="{FF2B5EF4-FFF2-40B4-BE49-F238E27FC236}">
                    <a16:creationId xmlns:a16="http://schemas.microsoft.com/office/drawing/2014/main" id="{CC5C2322-BC10-B243-8F09-0A9E8AF9F14A}"/>
                  </a:ext>
                </a:extLst>
              </p:cNvPr>
              <p:cNvSpPr>
                <a:spLocks noChangeArrowheads="1"/>
              </p:cNvSpPr>
              <p:nvPr/>
            </p:nvSpPr>
            <p:spPr bwMode="auto">
              <a:xfrm>
                <a:off x="7138309" y="4723113"/>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Rectangle 124">
                <a:extLst>
                  <a:ext uri="{FF2B5EF4-FFF2-40B4-BE49-F238E27FC236}">
                    <a16:creationId xmlns:a16="http://schemas.microsoft.com/office/drawing/2014/main" id="{6DC27167-348C-F443-B5D3-BE89F6F642B0}"/>
                  </a:ext>
                </a:extLst>
              </p:cNvPr>
              <p:cNvSpPr>
                <a:spLocks noChangeArrowheads="1"/>
              </p:cNvSpPr>
              <p:nvPr/>
            </p:nvSpPr>
            <p:spPr bwMode="auto">
              <a:xfrm>
                <a:off x="6875181" y="5014085"/>
                <a:ext cx="185164"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Rectangle 125">
                <a:extLst>
                  <a:ext uri="{FF2B5EF4-FFF2-40B4-BE49-F238E27FC236}">
                    <a16:creationId xmlns:a16="http://schemas.microsoft.com/office/drawing/2014/main" id="{DAA1A7BA-0462-FC4E-AF82-45E4C1D1FE39}"/>
                  </a:ext>
                </a:extLst>
              </p:cNvPr>
              <p:cNvSpPr>
                <a:spLocks noChangeArrowheads="1"/>
              </p:cNvSpPr>
              <p:nvPr/>
            </p:nvSpPr>
            <p:spPr bwMode="auto">
              <a:xfrm>
                <a:off x="7138309" y="5014085"/>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Rectangle 126">
                <a:extLst>
                  <a:ext uri="{FF2B5EF4-FFF2-40B4-BE49-F238E27FC236}">
                    <a16:creationId xmlns:a16="http://schemas.microsoft.com/office/drawing/2014/main" id="{33ADD52E-F34D-0240-B6B0-22340086D630}"/>
                  </a:ext>
                </a:extLst>
              </p:cNvPr>
              <p:cNvSpPr>
                <a:spLocks noChangeArrowheads="1"/>
              </p:cNvSpPr>
              <p:nvPr/>
            </p:nvSpPr>
            <p:spPr bwMode="auto">
              <a:xfrm>
                <a:off x="6875181" y="5300879"/>
                <a:ext cx="449125" cy="2547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0" name="Group 19"/>
          <p:cNvGrpSpPr/>
          <p:nvPr/>
        </p:nvGrpSpPr>
        <p:grpSpPr>
          <a:xfrm>
            <a:off x="1794792" y="3538595"/>
            <a:ext cx="710026" cy="1859992"/>
            <a:chOff x="1891074" y="3695662"/>
            <a:chExt cx="710026" cy="1859992"/>
          </a:xfrm>
        </p:grpSpPr>
        <p:sp>
          <p:nvSpPr>
            <p:cNvPr id="319" name="Rectangle 127">
              <a:extLst>
                <a:ext uri="{FF2B5EF4-FFF2-40B4-BE49-F238E27FC236}">
                  <a16:creationId xmlns:a16="http://schemas.microsoft.com/office/drawing/2014/main" id="{9F96A5CB-289F-3045-BC9E-89757A4C1805}"/>
                </a:ext>
              </a:extLst>
            </p:cNvPr>
            <p:cNvSpPr>
              <a:spLocks noChangeArrowheads="1"/>
            </p:cNvSpPr>
            <p:nvPr/>
          </p:nvSpPr>
          <p:spPr bwMode="auto">
            <a:xfrm>
              <a:off x="1891074" y="3695662"/>
              <a:ext cx="710026" cy="1859991"/>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7" name="Group 6"/>
            <p:cNvGrpSpPr/>
            <p:nvPr/>
          </p:nvGrpSpPr>
          <p:grpSpPr>
            <a:xfrm>
              <a:off x="1979070" y="3829315"/>
              <a:ext cx="522488" cy="1726339"/>
              <a:chOff x="1979766" y="3829315"/>
              <a:chExt cx="522488" cy="1726339"/>
            </a:xfrm>
          </p:grpSpPr>
          <p:sp>
            <p:nvSpPr>
              <p:cNvPr id="320" name="Rectangle 128">
                <a:extLst>
                  <a:ext uri="{FF2B5EF4-FFF2-40B4-BE49-F238E27FC236}">
                    <a16:creationId xmlns:a16="http://schemas.microsoft.com/office/drawing/2014/main" id="{9CCFC946-3B3F-F844-96EB-1500A8761479}"/>
                  </a:ext>
                </a:extLst>
              </p:cNvPr>
              <p:cNvSpPr>
                <a:spLocks noChangeArrowheads="1"/>
              </p:cNvSpPr>
              <p:nvPr/>
            </p:nvSpPr>
            <p:spPr bwMode="auto">
              <a:xfrm>
                <a:off x="1991313" y="3829315"/>
                <a:ext cx="189340"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Rectangle 129">
                <a:extLst>
                  <a:ext uri="{FF2B5EF4-FFF2-40B4-BE49-F238E27FC236}">
                    <a16:creationId xmlns:a16="http://schemas.microsoft.com/office/drawing/2014/main" id="{0C5BCCFB-83B6-E046-A39F-A371C25C364C}"/>
                  </a:ext>
                </a:extLst>
              </p:cNvPr>
              <p:cNvSpPr>
                <a:spLocks noChangeArrowheads="1"/>
              </p:cNvSpPr>
              <p:nvPr/>
            </p:nvSpPr>
            <p:spPr bwMode="auto">
              <a:xfrm>
                <a:off x="2311521" y="3829315"/>
                <a:ext cx="190733"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Rectangle 130">
                <a:extLst>
                  <a:ext uri="{FF2B5EF4-FFF2-40B4-BE49-F238E27FC236}">
                    <a16:creationId xmlns:a16="http://schemas.microsoft.com/office/drawing/2014/main" id="{EBD5098D-4F2E-0149-85D7-9C52DFEA5F61}"/>
                  </a:ext>
                </a:extLst>
              </p:cNvPr>
              <p:cNvSpPr>
                <a:spLocks noChangeArrowheads="1"/>
              </p:cNvSpPr>
              <p:nvPr/>
            </p:nvSpPr>
            <p:spPr bwMode="auto">
              <a:xfrm>
                <a:off x="1991313" y="4046499"/>
                <a:ext cx="189340" cy="13504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Rectangle 131">
                <a:extLst>
                  <a:ext uri="{FF2B5EF4-FFF2-40B4-BE49-F238E27FC236}">
                    <a16:creationId xmlns:a16="http://schemas.microsoft.com/office/drawing/2014/main" id="{2BBDEB00-F558-1349-A9D8-3D411E144C24}"/>
                  </a:ext>
                </a:extLst>
              </p:cNvPr>
              <p:cNvSpPr>
                <a:spLocks noChangeArrowheads="1"/>
              </p:cNvSpPr>
              <p:nvPr/>
            </p:nvSpPr>
            <p:spPr bwMode="auto">
              <a:xfrm>
                <a:off x="2311521" y="4046499"/>
                <a:ext cx="190733" cy="13504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Rectangle 132">
                <a:extLst>
                  <a:ext uri="{FF2B5EF4-FFF2-40B4-BE49-F238E27FC236}">
                    <a16:creationId xmlns:a16="http://schemas.microsoft.com/office/drawing/2014/main" id="{807FF349-5D46-0043-87F1-3E1CD8BAF59C}"/>
                  </a:ext>
                </a:extLst>
              </p:cNvPr>
              <p:cNvSpPr>
                <a:spLocks noChangeArrowheads="1"/>
              </p:cNvSpPr>
              <p:nvPr/>
            </p:nvSpPr>
            <p:spPr bwMode="auto">
              <a:xfrm>
                <a:off x="1991313" y="4265076"/>
                <a:ext cx="189340" cy="13504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5" name="Rectangle 133">
                <a:extLst>
                  <a:ext uri="{FF2B5EF4-FFF2-40B4-BE49-F238E27FC236}">
                    <a16:creationId xmlns:a16="http://schemas.microsoft.com/office/drawing/2014/main" id="{A3306835-B083-DE48-963F-6AC92F1C8A94}"/>
                  </a:ext>
                </a:extLst>
              </p:cNvPr>
              <p:cNvSpPr>
                <a:spLocks noChangeArrowheads="1"/>
              </p:cNvSpPr>
              <p:nvPr/>
            </p:nvSpPr>
            <p:spPr bwMode="auto">
              <a:xfrm>
                <a:off x="2311521" y="4265076"/>
                <a:ext cx="190733" cy="13504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6" name="Rectangle 134">
                <a:extLst>
                  <a:ext uri="{FF2B5EF4-FFF2-40B4-BE49-F238E27FC236}">
                    <a16:creationId xmlns:a16="http://schemas.microsoft.com/office/drawing/2014/main" id="{D07DC5AB-50B8-1A41-AD20-284C53880261}"/>
                  </a:ext>
                </a:extLst>
              </p:cNvPr>
              <p:cNvSpPr>
                <a:spLocks noChangeArrowheads="1"/>
              </p:cNvSpPr>
              <p:nvPr/>
            </p:nvSpPr>
            <p:spPr bwMode="auto">
              <a:xfrm>
                <a:off x="1991313" y="4482261"/>
                <a:ext cx="189340" cy="136436"/>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Rectangle 135">
                <a:extLst>
                  <a:ext uri="{FF2B5EF4-FFF2-40B4-BE49-F238E27FC236}">
                    <a16:creationId xmlns:a16="http://schemas.microsoft.com/office/drawing/2014/main" id="{9C651697-33B6-ED4C-B2D7-5CF5672624EC}"/>
                  </a:ext>
                </a:extLst>
              </p:cNvPr>
              <p:cNvSpPr>
                <a:spLocks noChangeArrowheads="1"/>
              </p:cNvSpPr>
              <p:nvPr/>
            </p:nvSpPr>
            <p:spPr bwMode="auto">
              <a:xfrm>
                <a:off x="2311521" y="4482261"/>
                <a:ext cx="190733" cy="136436"/>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8" name="Rectangle 136">
                <a:extLst>
                  <a:ext uri="{FF2B5EF4-FFF2-40B4-BE49-F238E27FC236}">
                    <a16:creationId xmlns:a16="http://schemas.microsoft.com/office/drawing/2014/main" id="{0E177750-8905-534E-9ED3-0770F41B11D4}"/>
                  </a:ext>
                </a:extLst>
              </p:cNvPr>
              <p:cNvSpPr>
                <a:spLocks noChangeArrowheads="1"/>
              </p:cNvSpPr>
              <p:nvPr/>
            </p:nvSpPr>
            <p:spPr bwMode="auto">
              <a:xfrm>
                <a:off x="1991313" y="4706406"/>
                <a:ext cx="189340"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9" name="Rectangle 137">
                <a:extLst>
                  <a:ext uri="{FF2B5EF4-FFF2-40B4-BE49-F238E27FC236}">
                    <a16:creationId xmlns:a16="http://schemas.microsoft.com/office/drawing/2014/main" id="{CF36B9ED-F68F-7646-B009-39D426127FA3}"/>
                  </a:ext>
                </a:extLst>
              </p:cNvPr>
              <p:cNvSpPr>
                <a:spLocks noChangeArrowheads="1"/>
              </p:cNvSpPr>
              <p:nvPr/>
            </p:nvSpPr>
            <p:spPr bwMode="auto">
              <a:xfrm>
                <a:off x="2311521" y="4706406"/>
                <a:ext cx="190733"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0" name="Rectangle 138">
                <a:extLst>
                  <a:ext uri="{FF2B5EF4-FFF2-40B4-BE49-F238E27FC236}">
                    <a16:creationId xmlns:a16="http://schemas.microsoft.com/office/drawing/2014/main" id="{4E37D983-FD9F-C148-8460-3B9B61E1501E}"/>
                  </a:ext>
                </a:extLst>
              </p:cNvPr>
              <p:cNvSpPr>
                <a:spLocks noChangeArrowheads="1"/>
              </p:cNvSpPr>
              <p:nvPr/>
            </p:nvSpPr>
            <p:spPr bwMode="auto">
              <a:xfrm>
                <a:off x="1991313" y="4927768"/>
                <a:ext cx="189340"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1" name="Rectangle 139">
                <a:extLst>
                  <a:ext uri="{FF2B5EF4-FFF2-40B4-BE49-F238E27FC236}">
                    <a16:creationId xmlns:a16="http://schemas.microsoft.com/office/drawing/2014/main" id="{66D762DE-8C53-844A-B8F2-4CC29CDF563E}"/>
                  </a:ext>
                </a:extLst>
              </p:cNvPr>
              <p:cNvSpPr>
                <a:spLocks noChangeArrowheads="1"/>
              </p:cNvSpPr>
              <p:nvPr/>
            </p:nvSpPr>
            <p:spPr bwMode="auto">
              <a:xfrm>
                <a:off x="2311521" y="4927768"/>
                <a:ext cx="190733"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2" name="Rectangle 140">
                <a:extLst>
                  <a:ext uri="{FF2B5EF4-FFF2-40B4-BE49-F238E27FC236}">
                    <a16:creationId xmlns:a16="http://schemas.microsoft.com/office/drawing/2014/main" id="{5EE2D8FB-B702-4D42-A333-3A9F945EFA09}"/>
                  </a:ext>
                </a:extLst>
              </p:cNvPr>
              <p:cNvSpPr>
                <a:spLocks noChangeArrowheads="1"/>
              </p:cNvSpPr>
              <p:nvPr/>
            </p:nvSpPr>
            <p:spPr bwMode="auto">
              <a:xfrm>
                <a:off x="1979766" y="5137991"/>
                <a:ext cx="515527" cy="41766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338" name="Freeform 147">
            <a:extLst>
              <a:ext uri="{FF2B5EF4-FFF2-40B4-BE49-F238E27FC236}">
                <a16:creationId xmlns:a16="http://schemas.microsoft.com/office/drawing/2014/main" id="{29E5861A-EFB3-9B42-B33F-A5C888339EF9}"/>
              </a:ext>
            </a:extLst>
          </p:cNvPr>
          <p:cNvSpPr>
            <a:spLocks/>
          </p:cNvSpPr>
          <p:nvPr/>
        </p:nvSpPr>
        <p:spPr bwMode="auto">
          <a:xfrm>
            <a:off x="939412" y="5397195"/>
            <a:ext cx="2070215" cy="1393"/>
          </a:xfrm>
          <a:custGeom>
            <a:avLst/>
            <a:gdLst>
              <a:gd name="T0" fmla="*/ 855 w 1487"/>
              <a:gd name="T1" fmla="*/ 0 h 1"/>
              <a:gd name="T2" fmla="*/ 1485 w 1487"/>
              <a:gd name="T3" fmla="*/ 0 h 1"/>
              <a:gd name="T4" fmla="*/ 1487 w 1487"/>
              <a:gd name="T5" fmla="*/ 1 h 1"/>
              <a:gd name="T6" fmla="*/ 0 w 1487"/>
              <a:gd name="T7" fmla="*/ 1 h 1"/>
              <a:gd name="T8" fmla="*/ 98 w 1487"/>
              <a:gd name="T9" fmla="*/ 1 h 1"/>
              <a:gd name="T10" fmla="*/ 345 w 1487"/>
              <a:gd name="T11" fmla="*/ 1 h 1"/>
              <a:gd name="T12" fmla="*/ 345 w 1487"/>
              <a:gd name="T13" fmla="*/ 1 h 1"/>
              <a:gd name="T14" fmla="*/ 855 w 1487"/>
              <a:gd name="T15" fmla="*/ 1 h 1"/>
              <a:gd name="T16" fmla="*/ 855 w 1487"/>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7" h="1">
                <a:moveTo>
                  <a:pt x="855" y="0"/>
                </a:moveTo>
                <a:lnTo>
                  <a:pt x="1485" y="0"/>
                </a:lnTo>
                <a:lnTo>
                  <a:pt x="1487" y="1"/>
                </a:lnTo>
                <a:lnTo>
                  <a:pt x="0" y="1"/>
                </a:lnTo>
                <a:lnTo>
                  <a:pt x="98" y="1"/>
                </a:lnTo>
                <a:lnTo>
                  <a:pt x="345" y="1"/>
                </a:lnTo>
                <a:lnTo>
                  <a:pt x="345" y="1"/>
                </a:lnTo>
                <a:lnTo>
                  <a:pt x="855" y="1"/>
                </a:lnTo>
                <a:lnTo>
                  <a:pt x="855" y="0"/>
                </a:lnTo>
                <a:close/>
              </a:path>
            </a:pathLst>
          </a:custGeom>
          <a:solidFill>
            <a:srgbClr val="E2E8E8"/>
          </a:solidFill>
          <a:ln w="0">
            <a:solidFill>
              <a:srgbClr val="E2E8E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6" name="Group 15"/>
          <p:cNvGrpSpPr/>
          <p:nvPr/>
        </p:nvGrpSpPr>
        <p:grpSpPr>
          <a:xfrm>
            <a:off x="7248414" y="3512144"/>
            <a:ext cx="1151357" cy="1891486"/>
            <a:chOff x="10652806" y="3669211"/>
            <a:chExt cx="1151357" cy="1891486"/>
          </a:xfrm>
        </p:grpSpPr>
        <p:sp>
          <p:nvSpPr>
            <p:cNvPr id="357" name="Rectangle 190">
              <a:extLst>
                <a:ext uri="{FF2B5EF4-FFF2-40B4-BE49-F238E27FC236}">
                  <a16:creationId xmlns:a16="http://schemas.microsoft.com/office/drawing/2014/main" id="{96E0DA49-492B-8849-9C17-303B9DBC2A00}"/>
                </a:ext>
              </a:extLst>
            </p:cNvPr>
            <p:cNvSpPr>
              <a:spLocks noChangeArrowheads="1"/>
            </p:cNvSpPr>
            <p:nvPr/>
          </p:nvSpPr>
          <p:spPr bwMode="auto">
            <a:xfrm>
              <a:off x="10652806" y="3674254"/>
              <a:ext cx="1151357" cy="1886443"/>
            </a:xfrm>
            <a:prstGeom prst="rect">
              <a:avLst/>
            </a:prstGeom>
            <a:solidFill>
              <a:srgbClr val="63666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8" name="Rectangle 191">
              <a:extLst>
                <a:ext uri="{FF2B5EF4-FFF2-40B4-BE49-F238E27FC236}">
                  <a16:creationId xmlns:a16="http://schemas.microsoft.com/office/drawing/2014/main" id="{1638C486-2909-8746-9185-E2B24368627F}"/>
                </a:ext>
              </a:extLst>
            </p:cNvPr>
            <p:cNvSpPr>
              <a:spLocks noChangeArrowheads="1"/>
            </p:cNvSpPr>
            <p:nvPr/>
          </p:nvSpPr>
          <p:spPr bwMode="auto">
            <a:xfrm>
              <a:off x="10652806" y="3669211"/>
              <a:ext cx="1151357" cy="215793"/>
            </a:xfrm>
            <a:prstGeom prst="rect">
              <a:avLst/>
            </a:prstGeom>
            <a:solidFill>
              <a:srgbClr val="75787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3" name="Group 12"/>
            <p:cNvGrpSpPr/>
            <p:nvPr/>
          </p:nvGrpSpPr>
          <p:grpSpPr>
            <a:xfrm>
              <a:off x="10750261" y="3969928"/>
              <a:ext cx="955055" cy="1435367"/>
              <a:chOff x="5573467" y="3969928"/>
              <a:chExt cx="955055" cy="1435367"/>
            </a:xfrm>
          </p:grpSpPr>
          <p:sp>
            <p:nvSpPr>
              <p:cNvPr id="359" name="Rectangle 192">
                <a:extLst>
                  <a:ext uri="{FF2B5EF4-FFF2-40B4-BE49-F238E27FC236}">
                    <a16:creationId xmlns:a16="http://schemas.microsoft.com/office/drawing/2014/main" id="{B374ADCD-53EC-514B-A6D9-97CEC9A60F98}"/>
                  </a:ext>
                </a:extLst>
              </p:cNvPr>
              <p:cNvSpPr>
                <a:spLocks noChangeArrowheads="1"/>
              </p:cNvSpPr>
              <p:nvPr/>
            </p:nvSpPr>
            <p:spPr bwMode="auto">
              <a:xfrm>
                <a:off x="5573467" y="3975497"/>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0" name="Rectangle 193">
                <a:extLst>
                  <a:ext uri="{FF2B5EF4-FFF2-40B4-BE49-F238E27FC236}">
                    <a16:creationId xmlns:a16="http://schemas.microsoft.com/office/drawing/2014/main" id="{157C3BFD-3034-4549-AC01-A46FABA26F06}"/>
                  </a:ext>
                </a:extLst>
              </p:cNvPr>
              <p:cNvSpPr>
                <a:spLocks noChangeArrowheads="1"/>
              </p:cNvSpPr>
              <p:nvPr/>
            </p:nvSpPr>
            <p:spPr bwMode="auto">
              <a:xfrm>
                <a:off x="5825456" y="3975497"/>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3" name="Rectangle 196">
                <a:extLst>
                  <a:ext uri="{FF2B5EF4-FFF2-40B4-BE49-F238E27FC236}">
                    <a16:creationId xmlns:a16="http://schemas.microsoft.com/office/drawing/2014/main" id="{69131E84-F170-6641-9FB0-8109FAF1799D}"/>
                  </a:ext>
                </a:extLst>
              </p:cNvPr>
              <p:cNvSpPr>
                <a:spLocks noChangeArrowheads="1"/>
              </p:cNvSpPr>
              <p:nvPr/>
            </p:nvSpPr>
            <p:spPr bwMode="auto">
              <a:xfrm>
                <a:off x="5573467" y="4223310"/>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4" name="Rectangle 197">
                <a:extLst>
                  <a:ext uri="{FF2B5EF4-FFF2-40B4-BE49-F238E27FC236}">
                    <a16:creationId xmlns:a16="http://schemas.microsoft.com/office/drawing/2014/main" id="{CFABD2B1-E8EF-A344-8292-3B0F4170E7E7}"/>
                  </a:ext>
                </a:extLst>
              </p:cNvPr>
              <p:cNvSpPr>
                <a:spLocks noChangeArrowheads="1"/>
              </p:cNvSpPr>
              <p:nvPr/>
            </p:nvSpPr>
            <p:spPr bwMode="auto">
              <a:xfrm>
                <a:off x="5825456" y="4223310"/>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5" name="Rectangle 198">
                <a:extLst>
                  <a:ext uri="{FF2B5EF4-FFF2-40B4-BE49-F238E27FC236}">
                    <a16:creationId xmlns:a16="http://schemas.microsoft.com/office/drawing/2014/main" id="{FF13B73D-4962-D841-8860-110718B8A4AC}"/>
                  </a:ext>
                </a:extLst>
              </p:cNvPr>
              <p:cNvSpPr>
                <a:spLocks noChangeArrowheads="1"/>
              </p:cNvSpPr>
              <p:nvPr/>
            </p:nvSpPr>
            <p:spPr bwMode="auto">
              <a:xfrm>
                <a:off x="6078838" y="3969928"/>
                <a:ext cx="449684" cy="449684"/>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7" name="Rectangle 200">
                <a:extLst>
                  <a:ext uri="{FF2B5EF4-FFF2-40B4-BE49-F238E27FC236}">
                    <a16:creationId xmlns:a16="http://schemas.microsoft.com/office/drawing/2014/main" id="{0B663FAA-8EDA-4340-892A-5BC57D6FB3D1}"/>
                  </a:ext>
                </a:extLst>
              </p:cNvPr>
              <p:cNvSpPr>
                <a:spLocks noChangeArrowheads="1"/>
              </p:cNvSpPr>
              <p:nvPr/>
            </p:nvSpPr>
            <p:spPr bwMode="auto">
              <a:xfrm>
                <a:off x="5573467" y="4471123"/>
                <a:ext cx="196302"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8" name="Rectangle 201">
                <a:extLst>
                  <a:ext uri="{FF2B5EF4-FFF2-40B4-BE49-F238E27FC236}">
                    <a16:creationId xmlns:a16="http://schemas.microsoft.com/office/drawing/2014/main" id="{7D1A630C-04F9-3946-B408-217C866CE261}"/>
                  </a:ext>
                </a:extLst>
              </p:cNvPr>
              <p:cNvSpPr>
                <a:spLocks noChangeArrowheads="1"/>
              </p:cNvSpPr>
              <p:nvPr/>
            </p:nvSpPr>
            <p:spPr bwMode="auto">
              <a:xfrm>
                <a:off x="5825456" y="4471123"/>
                <a:ext cx="197694"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9" name="Rectangle 202">
                <a:extLst>
                  <a:ext uri="{FF2B5EF4-FFF2-40B4-BE49-F238E27FC236}">
                    <a16:creationId xmlns:a16="http://schemas.microsoft.com/office/drawing/2014/main" id="{7AD849EF-4B33-114C-9C96-5747E7D0A6B5}"/>
                  </a:ext>
                </a:extLst>
              </p:cNvPr>
              <p:cNvSpPr>
                <a:spLocks noChangeArrowheads="1"/>
              </p:cNvSpPr>
              <p:nvPr/>
            </p:nvSpPr>
            <p:spPr bwMode="auto">
              <a:xfrm>
                <a:off x="6078838" y="4471123"/>
                <a:ext cx="196302"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0" name="Rectangle 203">
                <a:extLst>
                  <a:ext uri="{FF2B5EF4-FFF2-40B4-BE49-F238E27FC236}">
                    <a16:creationId xmlns:a16="http://schemas.microsoft.com/office/drawing/2014/main" id="{ADD8E911-D572-CC44-A189-2F1FFA5F579B}"/>
                  </a:ext>
                </a:extLst>
              </p:cNvPr>
              <p:cNvSpPr>
                <a:spLocks noChangeArrowheads="1"/>
              </p:cNvSpPr>
              <p:nvPr/>
            </p:nvSpPr>
            <p:spPr bwMode="auto">
              <a:xfrm>
                <a:off x="6330828" y="4471123"/>
                <a:ext cx="197694"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1" name="Rectangle 204">
                <a:extLst>
                  <a:ext uri="{FF2B5EF4-FFF2-40B4-BE49-F238E27FC236}">
                    <a16:creationId xmlns:a16="http://schemas.microsoft.com/office/drawing/2014/main" id="{5F000DEA-30B0-7449-A47F-8CEF6DF2257F}"/>
                  </a:ext>
                </a:extLst>
              </p:cNvPr>
              <p:cNvSpPr>
                <a:spLocks noChangeArrowheads="1"/>
              </p:cNvSpPr>
              <p:nvPr/>
            </p:nvSpPr>
            <p:spPr bwMode="auto">
              <a:xfrm>
                <a:off x="5573467" y="4716152"/>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2" name="Rectangle 206">
                <a:extLst>
                  <a:ext uri="{FF2B5EF4-FFF2-40B4-BE49-F238E27FC236}">
                    <a16:creationId xmlns:a16="http://schemas.microsoft.com/office/drawing/2014/main" id="{6DE37C1F-1939-364C-8ECC-9E8FFC5031B6}"/>
                  </a:ext>
                </a:extLst>
              </p:cNvPr>
              <p:cNvSpPr>
                <a:spLocks noChangeArrowheads="1"/>
              </p:cNvSpPr>
              <p:nvPr/>
            </p:nvSpPr>
            <p:spPr bwMode="auto">
              <a:xfrm>
                <a:off x="5825456" y="4716152"/>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3" name="Rectangle 207">
                <a:extLst>
                  <a:ext uri="{FF2B5EF4-FFF2-40B4-BE49-F238E27FC236}">
                    <a16:creationId xmlns:a16="http://schemas.microsoft.com/office/drawing/2014/main" id="{114F74E8-D7F3-7646-847A-D823DDDCEF0B}"/>
                  </a:ext>
                </a:extLst>
              </p:cNvPr>
              <p:cNvSpPr>
                <a:spLocks noChangeArrowheads="1"/>
              </p:cNvSpPr>
              <p:nvPr/>
            </p:nvSpPr>
            <p:spPr bwMode="auto">
              <a:xfrm>
                <a:off x="6078838" y="4716152"/>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4" name="Rectangle 208">
                <a:extLst>
                  <a:ext uri="{FF2B5EF4-FFF2-40B4-BE49-F238E27FC236}">
                    <a16:creationId xmlns:a16="http://schemas.microsoft.com/office/drawing/2014/main" id="{01A829A6-7225-C646-9D5D-4FCD960F86D2}"/>
                  </a:ext>
                </a:extLst>
              </p:cNvPr>
              <p:cNvSpPr>
                <a:spLocks noChangeArrowheads="1"/>
              </p:cNvSpPr>
              <p:nvPr/>
            </p:nvSpPr>
            <p:spPr bwMode="auto">
              <a:xfrm>
                <a:off x="6330828" y="4716152"/>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5" name="Rectangle 209">
                <a:extLst>
                  <a:ext uri="{FF2B5EF4-FFF2-40B4-BE49-F238E27FC236}">
                    <a16:creationId xmlns:a16="http://schemas.microsoft.com/office/drawing/2014/main" id="{46BC4546-0D10-CD46-87C3-46EE7069A5E1}"/>
                  </a:ext>
                </a:extLst>
              </p:cNvPr>
              <p:cNvSpPr>
                <a:spLocks noChangeArrowheads="1"/>
              </p:cNvSpPr>
              <p:nvPr/>
            </p:nvSpPr>
            <p:spPr bwMode="auto">
              <a:xfrm>
                <a:off x="5573467" y="4963965"/>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6" name="Rectangle 210">
                <a:extLst>
                  <a:ext uri="{FF2B5EF4-FFF2-40B4-BE49-F238E27FC236}">
                    <a16:creationId xmlns:a16="http://schemas.microsoft.com/office/drawing/2014/main" id="{6EDF0C7B-DC06-104A-8C40-D66BD7C71BFE}"/>
                  </a:ext>
                </a:extLst>
              </p:cNvPr>
              <p:cNvSpPr>
                <a:spLocks noChangeArrowheads="1"/>
              </p:cNvSpPr>
              <p:nvPr/>
            </p:nvSpPr>
            <p:spPr bwMode="auto">
              <a:xfrm>
                <a:off x="5825456" y="4963965"/>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7" name="Rectangle 211">
                <a:extLst>
                  <a:ext uri="{FF2B5EF4-FFF2-40B4-BE49-F238E27FC236}">
                    <a16:creationId xmlns:a16="http://schemas.microsoft.com/office/drawing/2014/main" id="{CA9F7F19-F34B-8E41-8CAA-3CF762C63079}"/>
                  </a:ext>
                </a:extLst>
              </p:cNvPr>
              <p:cNvSpPr>
                <a:spLocks noChangeArrowheads="1"/>
              </p:cNvSpPr>
              <p:nvPr/>
            </p:nvSpPr>
            <p:spPr bwMode="auto">
              <a:xfrm>
                <a:off x="6078838" y="4963965"/>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8" name="Rectangle 212">
                <a:extLst>
                  <a:ext uri="{FF2B5EF4-FFF2-40B4-BE49-F238E27FC236}">
                    <a16:creationId xmlns:a16="http://schemas.microsoft.com/office/drawing/2014/main" id="{5D5BEBA3-2ACC-5A4A-BEE3-B2713D591E47}"/>
                  </a:ext>
                </a:extLst>
              </p:cNvPr>
              <p:cNvSpPr>
                <a:spLocks noChangeArrowheads="1"/>
              </p:cNvSpPr>
              <p:nvPr/>
            </p:nvSpPr>
            <p:spPr bwMode="auto">
              <a:xfrm>
                <a:off x="6330828" y="4963965"/>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9" name="Rectangle 213">
                <a:extLst>
                  <a:ext uri="{FF2B5EF4-FFF2-40B4-BE49-F238E27FC236}">
                    <a16:creationId xmlns:a16="http://schemas.microsoft.com/office/drawing/2014/main" id="{FA5E3DC2-0B82-EC45-BA95-B448041389F3}"/>
                  </a:ext>
                </a:extLst>
              </p:cNvPr>
              <p:cNvSpPr>
                <a:spLocks noChangeArrowheads="1"/>
              </p:cNvSpPr>
              <p:nvPr/>
            </p:nvSpPr>
            <p:spPr bwMode="auto">
              <a:xfrm>
                <a:off x="5573467" y="5211778"/>
                <a:ext cx="196302"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0" name="Rectangle 214">
                <a:extLst>
                  <a:ext uri="{FF2B5EF4-FFF2-40B4-BE49-F238E27FC236}">
                    <a16:creationId xmlns:a16="http://schemas.microsoft.com/office/drawing/2014/main" id="{FEDAB276-3486-DE4D-AB75-50C0088999D8}"/>
                  </a:ext>
                </a:extLst>
              </p:cNvPr>
              <p:cNvSpPr>
                <a:spLocks noChangeArrowheads="1"/>
              </p:cNvSpPr>
              <p:nvPr/>
            </p:nvSpPr>
            <p:spPr bwMode="auto">
              <a:xfrm>
                <a:off x="5825456" y="5211778"/>
                <a:ext cx="197694"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1" name="Rectangle 215">
                <a:extLst>
                  <a:ext uri="{FF2B5EF4-FFF2-40B4-BE49-F238E27FC236}">
                    <a16:creationId xmlns:a16="http://schemas.microsoft.com/office/drawing/2014/main" id="{9E585FAF-6D7C-FB43-8318-85491E38C160}"/>
                  </a:ext>
                </a:extLst>
              </p:cNvPr>
              <p:cNvSpPr>
                <a:spLocks noChangeArrowheads="1"/>
              </p:cNvSpPr>
              <p:nvPr/>
            </p:nvSpPr>
            <p:spPr bwMode="auto">
              <a:xfrm>
                <a:off x="6078838" y="5211778"/>
                <a:ext cx="196302"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2" name="Rectangle 216">
                <a:extLst>
                  <a:ext uri="{FF2B5EF4-FFF2-40B4-BE49-F238E27FC236}">
                    <a16:creationId xmlns:a16="http://schemas.microsoft.com/office/drawing/2014/main" id="{3D5D7030-A9F0-3347-96D7-61198DA0FAF5}"/>
                  </a:ext>
                </a:extLst>
              </p:cNvPr>
              <p:cNvSpPr>
                <a:spLocks noChangeArrowheads="1"/>
              </p:cNvSpPr>
              <p:nvPr/>
            </p:nvSpPr>
            <p:spPr bwMode="auto">
              <a:xfrm>
                <a:off x="6330828" y="5211778"/>
                <a:ext cx="197694"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5" name="Group 14"/>
          <p:cNvGrpSpPr/>
          <p:nvPr/>
        </p:nvGrpSpPr>
        <p:grpSpPr>
          <a:xfrm>
            <a:off x="2349153" y="3102835"/>
            <a:ext cx="1154141" cy="2300795"/>
            <a:chOff x="2594140" y="3259902"/>
            <a:chExt cx="1154141" cy="2300795"/>
          </a:xfrm>
        </p:grpSpPr>
        <p:sp>
          <p:nvSpPr>
            <p:cNvPr id="342" name="Rectangle 175">
              <a:extLst>
                <a:ext uri="{FF2B5EF4-FFF2-40B4-BE49-F238E27FC236}">
                  <a16:creationId xmlns:a16="http://schemas.microsoft.com/office/drawing/2014/main" id="{F55DAEBC-6582-314C-9318-F7DDB3BF9AB8}"/>
                </a:ext>
              </a:extLst>
            </p:cNvPr>
            <p:cNvSpPr>
              <a:spLocks noChangeArrowheads="1"/>
            </p:cNvSpPr>
            <p:nvPr/>
          </p:nvSpPr>
          <p:spPr bwMode="auto">
            <a:xfrm>
              <a:off x="2594140" y="3259902"/>
              <a:ext cx="1154141" cy="230079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8" name="Group 7"/>
            <p:cNvGrpSpPr/>
            <p:nvPr/>
          </p:nvGrpSpPr>
          <p:grpSpPr>
            <a:xfrm>
              <a:off x="2693682" y="3348539"/>
              <a:ext cx="966193" cy="2186694"/>
              <a:chOff x="2692986" y="3456899"/>
              <a:chExt cx="966193" cy="2186694"/>
            </a:xfrm>
          </p:grpSpPr>
          <p:sp>
            <p:nvSpPr>
              <p:cNvPr id="383" name="Rectangle 217">
                <a:extLst>
                  <a:ext uri="{FF2B5EF4-FFF2-40B4-BE49-F238E27FC236}">
                    <a16:creationId xmlns:a16="http://schemas.microsoft.com/office/drawing/2014/main" id="{D5E8C6A3-F2D1-9342-9C26-00685013742B}"/>
                  </a:ext>
                </a:extLst>
              </p:cNvPr>
              <p:cNvSpPr>
                <a:spLocks noChangeArrowheads="1"/>
              </p:cNvSpPr>
              <p:nvPr/>
            </p:nvSpPr>
            <p:spPr bwMode="auto">
              <a:xfrm>
                <a:off x="2692986" y="3975497"/>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4" name="Rectangle 218">
                <a:extLst>
                  <a:ext uri="{FF2B5EF4-FFF2-40B4-BE49-F238E27FC236}">
                    <a16:creationId xmlns:a16="http://schemas.microsoft.com/office/drawing/2014/main" id="{BE8FC824-152E-8342-9D3C-94042CC963CA}"/>
                  </a:ext>
                </a:extLst>
              </p:cNvPr>
              <p:cNvSpPr>
                <a:spLocks noChangeArrowheads="1"/>
              </p:cNvSpPr>
              <p:nvPr/>
            </p:nvSpPr>
            <p:spPr bwMode="auto">
              <a:xfrm>
                <a:off x="2946368" y="3975497"/>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5" name="Rectangle 219">
                <a:extLst>
                  <a:ext uri="{FF2B5EF4-FFF2-40B4-BE49-F238E27FC236}">
                    <a16:creationId xmlns:a16="http://schemas.microsoft.com/office/drawing/2014/main" id="{B2C6E3D7-37C2-924D-B61B-0996AEDD40B9}"/>
                  </a:ext>
                </a:extLst>
              </p:cNvPr>
              <p:cNvSpPr>
                <a:spLocks noChangeArrowheads="1"/>
              </p:cNvSpPr>
              <p:nvPr/>
            </p:nvSpPr>
            <p:spPr bwMode="auto">
              <a:xfrm>
                <a:off x="3198359" y="3975497"/>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6" name="Rectangle 220">
                <a:extLst>
                  <a:ext uri="{FF2B5EF4-FFF2-40B4-BE49-F238E27FC236}">
                    <a16:creationId xmlns:a16="http://schemas.microsoft.com/office/drawing/2014/main" id="{4E915B2A-673F-684F-A615-8692A026D7E6}"/>
                  </a:ext>
                </a:extLst>
              </p:cNvPr>
              <p:cNvSpPr>
                <a:spLocks noChangeArrowheads="1"/>
              </p:cNvSpPr>
              <p:nvPr/>
            </p:nvSpPr>
            <p:spPr bwMode="auto">
              <a:xfrm>
                <a:off x="3451741" y="3975497"/>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7" name="Rectangle 221">
                <a:extLst>
                  <a:ext uri="{FF2B5EF4-FFF2-40B4-BE49-F238E27FC236}">
                    <a16:creationId xmlns:a16="http://schemas.microsoft.com/office/drawing/2014/main" id="{5952A6A2-B6CE-F44C-98B4-89F3510B1C20}"/>
                  </a:ext>
                </a:extLst>
              </p:cNvPr>
              <p:cNvSpPr>
                <a:spLocks noChangeArrowheads="1"/>
              </p:cNvSpPr>
              <p:nvPr/>
            </p:nvSpPr>
            <p:spPr bwMode="auto">
              <a:xfrm>
                <a:off x="2692986" y="4223310"/>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8" name="Rectangle 222">
                <a:extLst>
                  <a:ext uri="{FF2B5EF4-FFF2-40B4-BE49-F238E27FC236}">
                    <a16:creationId xmlns:a16="http://schemas.microsoft.com/office/drawing/2014/main" id="{FC23607D-E23B-3443-9E0E-00B977191D4D}"/>
                  </a:ext>
                </a:extLst>
              </p:cNvPr>
              <p:cNvSpPr>
                <a:spLocks noChangeArrowheads="1"/>
              </p:cNvSpPr>
              <p:nvPr/>
            </p:nvSpPr>
            <p:spPr bwMode="auto">
              <a:xfrm>
                <a:off x="2946368" y="4223310"/>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9" name="Rectangle 223">
                <a:extLst>
                  <a:ext uri="{FF2B5EF4-FFF2-40B4-BE49-F238E27FC236}">
                    <a16:creationId xmlns:a16="http://schemas.microsoft.com/office/drawing/2014/main" id="{D69DE56D-DB8F-CB4D-BB43-517C664BD432}"/>
                  </a:ext>
                </a:extLst>
              </p:cNvPr>
              <p:cNvSpPr>
                <a:spLocks noChangeArrowheads="1"/>
              </p:cNvSpPr>
              <p:nvPr/>
            </p:nvSpPr>
            <p:spPr bwMode="auto">
              <a:xfrm>
                <a:off x="3198359" y="4223310"/>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0" name="Rectangle 224">
                <a:extLst>
                  <a:ext uri="{FF2B5EF4-FFF2-40B4-BE49-F238E27FC236}">
                    <a16:creationId xmlns:a16="http://schemas.microsoft.com/office/drawing/2014/main" id="{603C8206-D3FD-9742-9FB4-B57212C66A86}"/>
                  </a:ext>
                </a:extLst>
              </p:cNvPr>
              <p:cNvSpPr>
                <a:spLocks noChangeArrowheads="1"/>
              </p:cNvSpPr>
              <p:nvPr/>
            </p:nvSpPr>
            <p:spPr bwMode="auto">
              <a:xfrm>
                <a:off x="3451741" y="4223310"/>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1" name="Rectangle 225">
                <a:extLst>
                  <a:ext uri="{FF2B5EF4-FFF2-40B4-BE49-F238E27FC236}">
                    <a16:creationId xmlns:a16="http://schemas.microsoft.com/office/drawing/2014/main" id="{72119BCB-92F3-4340-A1B6-48B48356D914}"/>
                  </a:ext>
                </a:extLst>
              </p:cNvPr>
              <p:cNvSpPr>
                <a:spLocks noChangeArrowheads="1"/>
              </p:cNvSpPr>
              <p:nvPr/>
            </p:nvSpPr>
            <p:spPr bwMode="auto">
              <a:xfrm>
                <a:off x="2692986" y="4471123"/>
                <a:ext cx="197694"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2" name="Rectangle 226">
                <a:extLst>
                  <a:ext uri="{FF2B5EF4-FFF2-40B4-BE49-F238E27FC236}">
                    <a16:creationId xmlns:a16="http://schemas.microsoft.com/office/drawing/2014/main" id="{5BD47DE3-9CC1-204C-8BF9-ADE00D9F9E11}"/>
                  </a:ext>
                </a:extLst>
              </p:cNvPr>
              <p:cNvSpPr>
                <a:spLocks noChangeArrowheads="1"/>
              </p:cNvSpPr>
              <p:nvPr/>
            </p:nvSpPr>
            <p:spPr bwMode="auto">
              <a:xfrm>
                <a:off x="2946368" y="4471123"/>
                <a:ext cx="196302"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3" name="Rectangle 227">
                <a:extLst>
                  <a:ext uri="{FF2B5EF4-FFF2-40B4-BE49-F238E27FC236}">
                    <a16:creationId xmlns:a16="http://schemas.microsoft.com/office/drawing/2014/main" id="{7C892FC0-1583-A14A-A947-5FC0A41F47EF}"/>
                  </a:ext>
                </a:extLst>
              </p:cNvPr>
              <p:cNvSpPr>
                <a:spLocks noChangeArrowheads="1"/>
              </p:cNvSpPr>
              <p:nvPr/>
            </p:nvSpPr>
            <p:spPr bwMode="auto">
              <a:xfrm>
                <a:off x="3198359" y="4471123"/>
                <a:ext cx="197694"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4" name="Rectangle 228">
                <a:extLst>
                  <a:ext uri="{FF2B5EF4-FFF2-40B4-BE49-F238E27FC236}">
                    <a16:creationId xmlns:a16="http://schemas.microsoft.com/office/drawing/2014/main" id="{6DA3846B-6657-1142-A90E-88AA91CCF295}"/>
                  </a:ext>
                </a:extLst>
              </p:cNvPr>
              <p:cNvSpPr>
                <a:spLocks noChangeArrowheads="1"/>
              </p:cNvSpPr>
              <p:nvPr/>
            </p:nvSpPr>
            <p:spPr bwMode="auto">
              <a:xfrm>
                <a:off x="3451741" y="4471123"/>
                <a:ext cx="196302"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5" name="Rectangle 229">
                <a:extLst>
                  <a:ext uri="{FF2B5EF4-FFF2-40B4-BE49-F238E27FC236}">
                    <a16:creationId xmlns:a16="http://schemas.microsoft.com/office/drawing/2014/main" id="{4F85AAC3-022C-B845-B859-49FF9905C74C}"/>
                  </a:ext>
                </a:extLst>
              </p:cNvPr>
              <p:cNvSpPr>
                <a:spLocks noChangeArrowheads="1"/>
              </p:cNvSpPr>
              <p:nvPr/>
            </p:nvSpPr>
            <p:spPr bwMode="auto">
              <a:xfrm>
                <a:off x="2692986" y="4716152"/>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6" name="Rectangle 230">
                <a:extLst>
                  <a:ext uri="{FF2B5EF4-FFF2-40B4-BE49-F238E27FC236}">
                    <a16:creationId xmlns:a16="http://schemas.microsoft.com/office/drawing/2014/main" id="{0EC5683B-52EF-8F4F-9B59-F71995AFF844}"/>
                  </a:ext>
                </a:extLst>
              </p:cNvPr>
              <p:cNvSpPr>
                <a:spLocks noChangeArrowheads="1"/>
              </p:cNvSpPr>
              <p:nvPr/>
            </p:nvSpPr>
            <p:spPr bwMode="auto">
              <a:xfrm>
                <a:off x="2946368" y="4716152"/>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7" name="Rectangle 231">
                <a:extLst>
                  <a:ext uri="{FF2B5EF4-FFF2-40B4-BE49-F238E27FC236}">
                    <a16:creationId xmlns:a16="http://schemas.microsoft.com/office/drawing/2014/main" id="{DACDAF5B-EC9E-9940-89CB-4783009EA8ED}"/>
                  </a:ext>
                </a:extLst>
              </p:cNvPr>
              <p:cNvSpPr>
                <a:spLocks noChangeArrowheads="1"/>
              </p:cNvSpPr>
              <p:nvPr/>
            </p:nvSpPr>
            <p:spPr bwMode="auto">
              <a:xfrm>
                <a:off x="3198359" y="4716152"/>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8" name="Rectangle 232">
                <a:extLst>
                  <a:ext uri="{FF2B5EF4-FFF2-40B4-BE49-F238E27FC236}">
                    <a16:creationId xmlns:a16="http://schemas.microsoft.com/office/drawing/2014/main" id="{EDFEC847-EFC4-1F49-8B53-1D606AD59D64}"/>
                  </a:ext>
                </a:extLst>
              </p:cNvPr>
              <p:cNvSpPr>
                <a:spLocks noChangeArrowheads="1"/>
              </p:cNvSpPr>
              <p:nvPr/>
            </p:nvSpPr>
            <p:spPr bwMode="auto">
              <a:xfrm>
                <a:off x="3451741" y="4716152"/>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9" name="Rectangle 233">
                <a:extLst>
                  <a:ext uri="{FF2B5EF4-FFF2-40B4-BE49-F238E27FC236}">
                    <a16:creationId xmlns:a16="http://schemas.microsoft.com/office/drawing/2014/main" id="{054F2D01-5599-8E43-86BD-2DF73BB0AF10}"/>
                  </a:ext>
                </a:extLst>
              </p:cNvPr>
              <p:cNvSpPr>
                <a:spLocks noChangeArrowheads="1"/>
              </p:cNvSpPr>
              <p:nvPr/>
            </p:nvSpPr>
            <p:spPr bwMode="auto">
              <a:xfrm>
                <a:off x="2692986" y="4963965"/>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0" name="Rectangle 234">
                <a:extLst>
                  <a:ext uri="{FF2B5EF4-FFF2-40B4-BE49-F238E27FC236}">
                    <a16:creationId xmlns:a16="http://schemas.microsoft.com/office/drawing/2014/main" id="{CB8B0394-4031-E34C-BB3F-002DD4E42641}"/>
                  </a:ext>
                </a:extLst>
              </p:cNvPr>
              <p:cNvSpPr>
                <a:spLocks noChangeArrowheads="1"/>
              </p:cNvSpPr>
              <p:nvPr/>
            </p:nvSpPr>
            <p:spPr bwMode="auto">
              <a:xfrm>
                <a:off x="2946368" y="4963965"/>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1" name="Rectangle 235">
                <a:extLst>
                  <a:ext uri="{FF2B5EF4-FFF2-40B4-BE49-F238E27FC236}">
                    <a16:creationId xmlns:a16="http://schemas.microsoft.com/office/drawing/2014/main" id="{2942B362-EABD-0E4B-95AC-EC82E18922E2}"/>
                  </a:ext>
                </a:extLst>
              </p:cNvPr>
              <p:cNvSpPr>
                <a:spLocks noChangeArrowheads="1"/>
              </p:cNvSpPr>
              <p:nvPr/>
            </p:nvSpPr>
            <p:spPr bwMode="auto">
              <a:xfrm>
                <a:off x="3198359" y="4963965"/>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2" name="Rectangle 236">
                <a:extLst>
                  <a:ext uri="{FF2B5EF4-FFF2-40B4-BE49-F238E27FC236}">
                    <a16:creationId xmlns:a16="http://schemas.microsoft.com/office/drawing/2014/main" id="{C9AAF638-1EBD-1C47-94F8-6A7B17E72AD3}"/>
                  </a:ext>
                </a:extLst>
              </p:cNvPr>
              <p:cNvSpPr>
                <a:spLocks noChangeArrowheads="1"/>
              </p:cNvSpPr>
              <p:nvPr/>
            </p:nvSpPr>
            <p:spPr bwMode="auto">
              <a:xfrm>
                <a:off x="3451741" y="4963965"/>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3" name="Rectangle 237">
                <a:extLst>
                  <a:ext uri="{FF2B5EF4-FFF2-40B4-BE49-F238E27FC236}">
                    <a16:creationId xmlns:a16="http://schemas.microsoft.com/office/drawing/2014/main" id="{B0813B5A-FA5F-714C-B30C-ED957C1984F5}"/>
                  </a:ext>
                </a:extLst>
              </p:cNvPr>
              <p:cNvSpPr>
                <a:spLocks noChangeArrowheads="1"/>
              </p:cNvSpPr>
              <p:nvPr/>
            </p:nvSpPr>
            <p:spPr bwMode="auto">
              <a:xfrm>
                <a:off x="2692986" y="5211778"/>
                <a:ext cx="197694"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4" name="Rectangle 238">
                <a:extLst>
                  <a:ext uri="{FF2B5EF4-FFF2-40B4-BE49-F238E27FC236}">
                    <a16:creationId xmlns:a16="http://schemas.microsoft.com/office/drawing/2014/main" id="{DC82CD98-3EAD-D144-B5C5-B8CC7C45281E}"/>
                  </a:ext>
                </a:extLst>
              </p:cNvPr>
              <p:cNvSpPr>
                <a:spLocks noChangeArrowheads="1"/>
              </p:cNvSpPr>
              <p:nvPr/>
            </p:nvSpPr>
            <p:spPr bwMode="auto">
              <a:xfrm>
                <a:off x="2946368" y="5211778"/>
                <a:ext cx="196302"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5" name="Rectangle 239">
                <a:extLst>
                  <a:ext uri="{FF2B5EF4-FFF2-40B4-BE49-F238E27FC236}">
                    <a16:creationId xmlns:a16="http://schemas.microsoft.com/office/drawing/2014/main" id="{6BD494D5-BF70-3843-95D5-217D61A13107}"/>
                  </a:ext>
                </a:extLst>
              </p:cNvPr>
              <p:cNvSpPr>
                <a:spLocks noChangeArrowheads="1"/>
              </p:cNvSpPr>
              <p:nvPr/>
            </p:nvSpPr>
            <p:spPr bwMode="auto">
              <a:xfrm>
                <a:off x="3198359" y="5211778"/>
                <a:ext cx="197694"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6" name="Rectangle 240">
                <a:extLst>
                  <a:ext uri="{FF2B5EF4-FFF2-40B4-BE49-F238E27FC236}">
                    <a16:creationId xmlns:a16="http://schemas.microsoft.com/office/drawing/2014/main" id="{BE3D4DC4-9157-B74B-8CC0-F8A0D7CC0777}"/>
                  </a:ext>
                </a:extLst>
              </p:cNvPr>
              <p:cNvSpPr>
                <a:spLocks noChangeArrowheads="1"/>
              </p:cNvSpPr>
              <p:nvPr/>
            </p:nvSpPr>
            <p:spPr bwMode="auto">
              <a:xfrm>
                <a:off x="3451741" y="5211778"/>
                <a:ext cx="196302"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1" name="Rectangle 219">
                <a:extLst>
                  <a:ext uri="{FF2B5EF4-FFF2-40B4-BE49-F238E27FC236}">
                    <a16:creationId xmlns:a16="http://schemas.microsoft.com/office/drawing/2014/main" id="{B2C6E3D7-37C2-924D-B61B-0996AEDD40B9}"/>
                  </a:ext>
                </a:extLst>
              </p:cNvPr>
              <p:cNvSpPr>
                <a:spLocks noChangeArrowheads="1"/>
              </p:cNvSpPr>
              <p:nvPr/>
            </p:nvSpPr>
            <p:spPr bwMode="auto">
              <a:xfrm>
                <a:off x="2699947" y="3718634"/>
                <a:ext cx="95923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2" name="Rectangle 219">
                <a:extLst>
                  <a:ext uri="{FF2B5EF4-FFF2-40B4-BE49-F238E27FC236}">
                    <a16:creationId xmlns:a16="http://schemas.microsoft.com/office/drawing/2014/main" id="{B2C6E3D7-37C2-924D-B61B-0996AEDD40B9}"/>
                  </a:ext>
                </a:extLst>
              </p:cNvPr>
              <p:cNvSpPr>
                <a:spLocks noChangeArrowheads="1"/>
              </p:cNvSpPr>
              <p:nvPr/>
            </p:nvSpPr>
            <p:spPr bwMode="auto">
              <a:xfrm>
                <a:off x="2699947" y="3456899"/>
                <a:ext cx="95923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3" name="Rectangle 238">
                <a:extLst>
                  <a:ext uri="{FF2B5EF4-FFF2-40B4-BE49-F238E27FC236}">
                    <a16:creationId xmlns:a16="http://schemas.microsoft.com/office/drawing/2014/main" id="{DC82CD98-3EAD-D144-B5C5-B8CC7C45281E}"/>
                  </a:ext>
                </a:extLst>
              </p:cNvPr>
              <p:cNvSpPr>
                <a:spLocks noChangeArrowheads="1"/>
              </p:cNvSpPr>
              <p:nvPr/>
            </p:nvSpPr>
            <p:spPr bwMode="auto">
              <a:xfrm>
                <a:off x="2946368" y="5450076"/>
                <a:ext cx="439936"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12" name="Rectangle 251">
            <a:extLst>
              <a:ext uri="{FF2B5EF4-FFF2-40B4-BE49-F238E27FC236}">
                <a16:creationId xmlns:a16="http://schemas.microsoft.com/office/drawing/2014/main" id="{8057B69A-5FBB-C34D-97B0-A37F78FB2BA4}"/>
              </a:ext>
            </a:extLst>
          </p:cNvPr>
          <p:cNvSpPr>
            <a:spLocks noChangeArrowheads="1"/>
          </p:cNvSpPr>
          <p:nvPr/>
        </p:nvSpPr>
        <p:spPr bwMode="auto">
          <a:xfrm>
            <a:off x="6156017" y="5398586"/>
            <a:ext cx="821403" cy="1393"/>
          </a:xfrm>
          <a:prstGeom prst="rect">
            <a:avLst/>
          </a:prstGeom>
          <a:solidFill>
            <a:srgbClr val="E2E8E8"/>
          </a:solidFill>
          <a:ln w="0">
            <a:solidFill>
              <a:srgbClr val="E2E8E8"/>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9" name="Group 18"/>
          <p:cNvGrpSpPr/>
          <p:nvPr/>
        </p:nvGrpSpPr>
        <p:grpSpPr>
          <a:xfrm>
            <a:off x="5826795" y="2538990"/>
            <a:ext cx="1069216" cy="2859597"/>
            <a:chOff x="5857477" y="2696057"/>
            <a:chExt cx="1069216" cy="2859597"/>
          </a:xfrm>
        </p:grpSpPr>
        <p:sp>
          <p:nvSpPr>
            <p:cNvPr id="206" name="Freeform 13">
              <a:extLst>
                <a:ext uri="{FF2B5EF4-FFF2-40B4-BE49-F238E27FC236}">
                  <a16:creationId xmlns:a16="http://schemas.microsoft.com/office/drawing/2014/main" id="{12C44F9C-C1FE-0E46-8EFF-DEAFC7D070C0}"/>
                </a:ext>
              </a:extLst>
            </p:cNvPr>
            <p:cNvSpPr>
              <a:spLocks/>
            </p:cNvSpPr>
            <p:nvPr/>
          </p:nvSpPr>
          <p:spPr bwMode="auto">
            <a:xfrm>
              <a:off x="5857477" y="2696057"/>
              <a:ext cx="1069216" cy="2859597"/>
            </a:xfrm>
            <a:custGeom>
              <a:avLst/>
              <a:gdLst>
                <a:gd name="T0" fmla="*/ 0 w 768"/>
                <a:gd name="T1" fmla="*/ 0 h 2054"/>
                <a:gd name="T2" fmla="*/ 246 w 768"/>
                <a:gd name="T3" fmla="*/ 0 h 2054"/>
                <a:gd name="T4" fmla="*/ 246 w 768"/>
                <a:gd name="T5" fmla="*/ 499 h 2054"/>
                <a:gd name="T6" fmla="*/ 365 w 768"/>
                <a:gd name="T7" fmla="*/ 499 h 2054"/>
                <a:gd name="T8" fmla="*/ 365 w 768"/>
                <a:gd name="T9" fmla="*/ 136 h 2054"/>
                <a:gd name="T10" fmla="*/ 768 w 768"/>
                <a:gd name="T11" fmla="*/ 136 h 2054"/>
                <a:gd name="T12" fmla="*/ 768 w 768"/>
                <a:gd name="T13" fmla="*/ 2054 h 2054"/>
                <a:gd name="T14" fmla="*/ 0 w 768"/>
                <a:gd name="T15" fmla="*/ 2054 h 2054"/>
                <a:gd name="T16" fmla="*/ 0 w 768"/>
                <a:gd name="T17" fmla="*/ 0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8" h="2054">
                  <a:moveTo>
                    <a:pt x="0" y="0"/>
                  </a:moveTo>
                  <a:lnTo>
                    <a:pt x="246" y="0"/>
                  </a:lnTo>
                  <a:lnTo>
                    <a:pt x="246" y="499"/>
                  </a:lnTo>
                  <a:lnTo>
                    <a:pt x="365" y="499"/>
                  </a:lnTo>
                  <a:lnTo>
                    <a:pt x="365" y="136"/>
                  </a:lnTo>
                  <a:lnTo>
                    <a:pt x="768" y="136"/>
                  </a:lnTo>
                  <a:lnTo>
                    <a:pt x="768" y="2054"/>
                  </a:lnTo>
                  <a:lnTo>
                    <a:pt x="0" y="2054"/>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4" name="Group 13"/>
            <p:cNvGrpSpPr/>
            <p:nvPr/>
          </p:nvGrpSpPr>
          <p:grpSpPr>
            <a:xfrm>
              <a:off x="5946709" y="2826924"/>
              <a:ext cx="924303" cy="2728730"/>
              <a:chOff x="6014796" y="2826924"/>
              <a:chExt cx="737011" cy="2728730"/>
            </a:xfrm>
            <a:solidFill>
              <a:schemeClr val="bg1"/>
            </a:solidFill>
          </p:grpSpPr>
          <p:sp>
            <p:nvSpPr>
              <p:cNvPr id="207" name="Rectangle 14">
                <a:extLst>
                  <a:ext uri="{FF2B5EF4-FFF2-40B4-BE49-F238E27FC236}">
                    <a16:creationId xmlns:a16="http://schemas.microsoft.com/office/drawing/2014/main" id="{381C749C-955D-2D42-ADE5-48EE861653BE}"/>
                  </a:ext>
                </a:extLst>
              </p:cNvPr>
              <p:cNvSpPr>
                <a:spLocks noChangeArrowheads="1"/>
              </p:cNvSpPr>
              <p:nvPr/>
            </p:nvSpPr>
            <p:spPr bwMode="auto">
              <a:xfrm>
                <a:off x="6014796" y="3472909"/>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8" name="Rectangle 15">
                <a:extLst>
                  <a:ext uri="{FF2B5EF4-FFF2-40B4-BE49-F238E27FC236}">
                    <a16:creationId xmlns:a16="http://schemas.microsoft.com/office/drawing/2014/main" id="{1E542C59-2D02-FD4E-B654-49F436391BD9}"/>
                  </a:ext>
                </a:extLst>
              </p:cNvPr>
              <p:cNvSpPr>
                <a:spLocks noChangeArrowheads="1"/>
              </p:cNvSpPr>
              <p:nvPr/>
            </p:nvSpPr>
            <p:spPr bwMode="auto">
              <a:xfrm>
                <a:off x="6014796" y="3259902"/>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9" name="Rectangle 16">
                <a:extLst>
                  <a:ext uri="{FF2B5EF4-FFF2-40B4-BE49-F238E27FC236}">
                    <a16:creationId xmlns:a16="http://schemas.microsoft.com/office/drawing/2014/main" id="{9CC329F4-4FF0-4A44-8C05-6B357595969F}"/>
                  </a:ext>
                </a:extLst>
              </p:cNvPr>
              <p:cNvSpPr>
                <a:spLocks noChangeArrowheads="1"/>
              </p:cNvSpPr>
              <p:nvPr/>
            </p:nvSpPr>
            <p:spPr bwMode="auto">
              <a:xfrm>
                <a:off x="6014796" y="3042717"/>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0" name="Rectangle 17">
                <a:extLst>
                  <a:ext uri="{FF2B5EF4-FFF2-40B4-BE49-F238E27FC236}">
                    <a16:creationId xmlns:a16="http://schemas.microsoft.com/office/drawing/2014/main" id="{0D8F661F-0E5B-6140-A842-6419CFDE44A4}"/>
                  </a:ext>
                </a:extLst>
              </p:cNvPr>
              <p:cNvSpPr>
                <a:spLocks noChangeArrowheads="1"/>
              </p:cNvSpPr>
              <p:nvPr/>
            </p:nvSpPr>
            <p:spPr bwMode="auto">
              <a:xfrm>
                <a:off x="6014796" y="2826924"/>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1" name="Rectangle 18">
                <a:extLst>
                  <a:ext uri="{FF2B5EF4-FFF2-40B4-BE49-F238E27FC236}">
                    <a16:creationId xmlns:a16="http://schemas.microsoft.com/office/drawing/2014/main" id="{49D693B6-FE66-8E4E-A33E-2BABD3D6C137}"/>
                  </a:ext>
                </a:extLst>
              </p:cNvPr>
              <p:cNvSpPr>
                <a:spLocks noChangeArrowheads="1"/>
              </p:cNvSpPr>
              <p:nvPr/>
            </p:nvSpPr>
            <p:spPr bwMode="auto">
              <a:xfrm>
                <a:off x="6226412" y="3472909"/>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2" name="Rectangle 19">
                <a:extLst>
                  <a:ext uri="{FF2B5EF4-FFF2-40B4-BE49-F238E27FC236}">
                    <a16:creationId xmlns:a16="http://schemas.microsoft.com/office/drawing/2014/main" id="{562F02E3-1C0A-A442-8847-DF643C3EA9EF}"/>
                  </a:ext>
                </a:extLst>
              </p:cNvPr>
              <p:cNvSpPr>
                <a:spLocks noChangeArrowheads="1"/>
              </p:cNvSpPr>
              <p:nvPr/>
            </p:nvSpPr>
            <p:spPr bwMode="auto">
              <a:xfrm>
                <a:off x="6425498" y="3472909"/>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3" name="Rectangle 20">
                <a:extLst>
                  <a:ext uri="{FF2B5EF4-FFF2-40B4-BE49-F238E27FC236}">
                    <a16:creationId xmlns:a16="http://schemas.microsoft.com/office/drawing/2014/main" id="{8784C50E-5305-D741-8917-09E344133A8B}"/>
                  </a:ext>
                </a:extLst>
              </p:cNvPr>
              <p:cNvSpPr>
                <a:spLocks noChangeArrowheads="1"/>
              </p:cNvSpPr>
              <p:nvPr/>
            </p:nvSpPr>
            <p:spPr bwMode="auto">
              <a:xfrm>
                <a:off x="6625976" y="3472909"/>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4" name="Rectangle 21">
                <a:extLst>
                  <a:ext uri="{FF2B5EF4-FFF2-40B4-BE49-F238E27FC236}">
                    <a16:creationId xmlns:a16="http://schemas.microsoft.com/office/drawing/2014/main" id="{A87E5648-7DBF-0549-8D4E-F09B2378BBDC}"/>
                  </a:ext>
                </a:extLst>
              </p:cNvPr>
              <p:cNvSpPr>
                <a:spLocks noChangeArrowheads="1"/>
              </p:cNvSpPr>
              <p:nvPr/>
            </p:nvSpPr>
            <p:spPr bwMode="auto">
              <a:xfrm>
                <a:off x="6425498" y="3264078"/>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5" name="Rectangle 22">
                <a:extLst>
                  <a:ext uri="{FF2B5EF4-FFF2-40B4-BE49-F238E27FC236}">
                    <a16:creationId xmlns:a16="http://schemas.microsoft.com/office/drawing/2014/main" id="{77FE96D1-E2D2-734D-A0D6-A30BBD021CA7}"/>
                  </a:ext>
                </a:extLst>
              </p:cNvPr>
              <p:cNvSpPr>
                <a:spLocks noChangeArrowheads="1"/>
              </p:cNvSpPr>
              <p:nvPr/>
            </p:nvSpPr>
            <p:spPr bwMode="auto">
              <a:xfrm>
                <a:off x="6625976" y="3264078"/>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6" name="Rectangle 23">
                <a:extLst>
                  <a:ext uri="{FF2B5EF4-FFF2-40B4-BE49-F238E27FC236}">
                    <a16:creationId xmlns:a16="http://schemas.microsoft.com/office/drawing/2014/main" id="{C64B0193-DDD6-DF46-85C8-8CC878FF8984}"/>
                  </a:ext>
                </a:extLst>
              </p:cNvPr>
              <p:cNvSpPr>
                <a:spLocks noChangeArrowheads="1"/>
              </p:cNvSpPr>
              <p:nvPr/>
            </p:nvSpPr>
            <p:spPr bwMode="auto">
              <a:xfrm>
                <a:off x="6425498" y="3074737"/>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7" name="Rectangle 24">
                <a:extLst>
                  <a:ext uri="{FF2B5EF4-FFF2-40B4-BE49-F238E27FC236}">
                    <a16:creationId xmlns:a16="http://schemas.microsoft.com/office/drawing/2014/main" id="{A8C6D312-3122-2F48-911D-ACF929AA6D51}"/>
                  </a:ext>
                </a:extLst>
              </p:cNvPr>
              <p:cNvSpPr>
                <a:spLocks noChangeArrowheads="1"/>
              </p:cNvSpPr>
              <p:nvPr/>
            </p:nvSpPr>
            <p:spPr bwMode="auto">
              <a:xfrm>
                <a:off x="6625976" y="3074737"/>
                <a:ext cx="121123"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25">
                <a:extLst>
                  <a:ext uri="{FF2B5EF4-FFF2-40B4-BE49-F238E27FC236}">
                    <a16:creationId xmlns:a16="http://schemas.microsoft.com/office/drawing/2014/main" id="{F85A2F63-9EEC-D24E-9953-1B8F7EC025EB}"/>
                  </a:ext>
                </a:extLst>
              </p:cNvPr>
              <p:cNvSpPr>
                <a:spLocks noChangeArrowheads="1"/>
              </p:cNvSpPr>
              <p:nvPr/>
            </p:nvSpPr>
            <p:spPr bwMode="auto">
              <a:xfrm>
                <a:off x="6014796" y="3727684"/>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Rectangle 26">
                <a:extLst>
                  <a:ext uri="{FF2B5EF4-FFF2-40B4-BE49-F238E27FC236}">
                    <a16:creationId xmlns:a16="http://schemas.microsoft.com/office/drawing/2014/main" id="{13C0343D-9E7A-9049-8805-995EF546F83A}"/>
                  </a:ext>
                </a:extLst>
              </p:cNvPr>
              <p:cNvSpPr>
                <a:spLocks noChangeArrowheads="1"/>
              </p:cNvSpPr>
              <p:nvPr/>
            </p:nvSpPr>
            <p:spPr bwMode="auto">
              <a:xfrm>
                <a:off x="6226412" y="3727684"/>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0" name="Rectangle 27">
                <a:extLst>
                  <a:ext uri="{FF2B5EF4-FFF2-40B4-BE49-F238E27FC236}">
                    <a16:creationId xmlns:a16="http://schemas.microsoft.com/office/drawing/2014/main" id="{1AEFDACC-7BFF-3C40-A84A-907A38407638}"/>
                  </a:ext>
                </a:extLst>
              </p:cNvPr>
              <p:cNvSpPr>
                <a:spLocks noChangeArrowheads="1"/>
              </p:cNvSpPr>
              <p:nvPr/>
            </p:nvSpPr>
            <p:spPr bwMode="auto">
              <a:xfrm>
                <a:off x="6425498" y="3727684"/>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Rectangle 28">
                <a:extLst>
                  <a:ext uri="{FF2B5EF4-FFF2-40B4-BE49-F238E27FC236}">
                    <a16:creationId xmlns:a16="http://schemas.microsoft.com/office/drawing/2014/main" id="{188A2E04-D4D0-B242-A32D-961117D8DB64}"/>
                  </a:ext>
                </a:extLst>
              </p:cNvPr>
              <p:cNvSpPr>
                <a:spLocks noChangeArrowheads="1"/>
              </p:cNvSpPr>
              <p:nvPr/>
            </p:nvSpPr>
            <p:spPr bwMode="auto">
              <a:xfrm>
                <a:off x="6625976" y="3727684"/>
                <a:ext cx="121123"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2" name="Rectangle 29">
                <a:extLst>
                  <a:ext uri="{FF2B5EF4-FFF2-40B4-BE49-F238E27FC236}">
                    <a16:creationId xmlns:a16="http://schemas.microsoft.com/office/drawing/2014/main" id="{0A667AD9-C530-3546-853B-E184830F0389}"/>
                  </a:ext>
                </a:extLst>
              </p:cNvPr>
              <p:cNvSpPr>
                <a:spLocks noChangeArrowheads="1"/>
              </p:cNvSpPr>
              <p:nvPr/>
            </p:nvSpPr>
            <p:spPr bwMode="auto">
              <a:xfrm>
                <a:off x="6014796" y="395322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3" name="Rectangle 30">
                <a:extLst>
                  <a:ext uri="{FF2B5EF4-FFF2-40B4-BE49-F238E27FC236}">
                    <a16:creationId xmlns:a16="http://schemas.microsoft.com/office/drawing/2014/main" id="{BC585081-54D8-924C-89D9-36E36E0D1CEE}"/>
                  </a:ext>
                </a:extLst>
              </p:cNvPr>
              <p:cNvSpPr>
                <a:spLocks noChangeArrowheads="1"/>
              </p:cNvSpPr>
              <p:nvPr/>
            </p:nvSpPr>
            <p:spPr bwMode="auto">
              <a:xfrm>
                <a:off x="6226412" y="395322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4" name="Rectangle 31">
                <a:extLst>
                  <a:ext uri="{FF2B5EF4-FFF2-40B4-BE49-F238E27FC236}">
                    <a16:creationId xmlns:a16="http://schemas.microsoft.com/office/drawing/2014/main" id="{71F3A2E2-5819-D04C-B6BA-F9A5E4004A03}"/>
                  </a:ext>
                </a:extLst>
              </p:cNvPr>
              <p:cNvSpPr>
                <a:spLocks noChangeArrowheads="1"/>
              </p:cNvSpPr>
              <p:nvPr/>
            </p:nvSpPr>
            <p:spPr bwMode="auto">
              <a:xfrm>
                <a:off x="6425498" y="395322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Rectangle 32">
                <a:extLst>
                  <a:ext uri="{FF2B5EF4-FFF2-40B4-BE49-F238E27FC236}">
                    <a16:creationId xmlns:a16="http://schemas.microsoft.com/office/drawing/2014/main" id="{86BF07D4-EFE3-1B4A-98B2-94AD04D100E8}"/>
                  </a:ext>
                </a:extLst>
              </p:cNvPr>
              <p:cNvSpPr>
                <a:spLocks noChangeArrowheads="1"/>
              </p:cNvSpPr>
              <p:nvPr/>
            </p:nvSpPr>
            <p:spPr bwMode="auto">
              <a:xfrm>
                <a:off x="6625976" y="3953222"/>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6" name="Rectangle 33">
                <a:extLst>
                  <a:ext uri="{FF2B5EF4-FFF2-40B4-BE49-F238E27FC236}">
                    <a16:creationId xmlns:a16="http://schemas.microsoft.com/office/drawing/2014/main" id="{1D249C96-06E6-104E-B862-F39C9727A7D5}"/>
                  </a:ext>
                </a:extLst>
              </p:cNvPr>
              <p:cNvSpPr>
                <a:spLocks noChangeArrowheads="1"/>
              </p:cNvSpPr>
              <p:nvPr/>
            </p:nvSpPr>
            <p:spPr bwMode="auto">
              <a:xfrm>
                <a:off x="6014796" y="4207995"/>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7" name="Rectangle 34">
                <a:extLst>
                  <a:ext uri="{FF2B5EF4-FFF2-40B4-BE49-F238E27FC236}">
                    <a16:creationId xmlns:a16="http://schemas.microsoft.com/office/drawing/2014/main" id="{7E8981DE-3D4D-9941-9F06-F321996E18D3}"/>
                  </a:ext>
                </a:extLst>
              </p:cNvPr>
              <p:cNvSpPr>
                <a:spLocks noChangeArrowheads="1"/>
              </p:cNvSpPr>
              <p:nvPr/>
            </p:nvSpPr>
            <p:spPr bwMode="auto">
              <a:xfrm>
                <a:off x="6226412" y="4207995"/>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8" name="Rectangle 35">
                <a:extLst>
                  <a:ext uri="{FF2B5EF4-FFF2-40B4-BE49-F238E27FC236}">
                    <a16:creationId xmlns:a16="http://schemas.microsoft.com/office/drawing/2014/main" id="{72883EC0-4857-D544-B844-12756DD3635B}"/>
                  </a:ext>
                </a:extLst>
              </p:cNvPr>
              <p:cNvSpPr>
                <a:spLocks noChangeArrowheads="1"/>
              </p:cNvSpPr>
              <p:nvPr/>
            </p:nvSpPr>
            <p:spPr bwMode="auto">
              <a:xfrm>
                <a:off x="6425498" y="4207995"/>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9" name="Rectangle 36">
                <a:extLst>
                  <a:ext uri="{FF2B5EF4-FFF2-40B4-BE49-F238E27FC236}">
                    <a16:creationId xmlns:a16="http://schemas.microsoft.com/office/drawing/2014/main" id="{90A85BC2-C170-A14A-B6ED-7F71135587B3}"/>
                  </a:ext>
                </a:extLst>
              </p:cNvPr>
              <p:cNvSpPr>
                <a:spLocks noChangeArrowheads="1"/>
              </p:cNvSpPr>
              <p:nvPr/>
            </p:nvSpPr>
            <p:spPr bwMode="auto">
              <a:xfrm>
                <a:off x="6625976" y="4207995"/>
                <a:ext cx="121123"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0" name="Rectangle 37">
                <a:extLst>
                  <a:ext uri="{FF2B5EF4-FFF2-40B4-BE49-F238E27FC236}">
                    <a16:creationId xmlns:a16="http://schemas.microsoft.com/office/drawing/2014/main" id="{2D968D7B-0E32-6240-B05B-A0252C50F920}"/>
                  </a:ext>
                </a:extLst>
              </p:cNvPr>
              <p:cNvSpPr>
                <a:spLocks noChangeArrowheads="1"/>
              </p:cNvSpPr>
              <p:nvPr/>
            </p:nvSpPr>
            <p:spPr bwMode="auto">
              <a:xfrm>
                <a:off x="6014796" y="4448848"/>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1" name="Rectangle 38">
                <a:extLst>
                  <a:ext uri="{FF2B5EF4-FFF2-40B4-BE49-F238E27FC236}">
                    <a16:creationId xmlns:a16="http://schemas.microsoft.com/office/drawing/2014/main" id="{33EAA632-7023-6A4E-BE68-C7D0307C3267}"/>
                  </a:ext>
                </a:extLst>
              </p:cNvPr>
              <p:cNvSpPr>
                <a:spLocks noChangeArrowheads="1"/>
              </p:cNvSpPr>
              <p:nvPr/>
            </p:nvSpPr>
            <p:spPr bwMode="auto">
              <a:xfrm>
                <a:off x="6226412" y="4448848"/>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2" name="Rectangle 39">
                <a:extLst>
                  <a:ext uri="{FF2B5EF4-FFF2-40B4-BE49-F238E27FC236}">
                    <a16:creationId xmlns:a16="http://schemas.microsoft.com/office/drawing/2014/main" id="{4F76838B-6C5F-864C-8621-AFDE67DB9E47}"/>
                  </a:ext>
                </a:extLst>
              </p:cNvPr>
              <p:cNvSpPr>
                <a:spLocks noChangeArrowheads="1"/>
              </p:cNvSpPr>
              <p:nvPr/>
            </p:nvSpPr>
            <p:spPr bwMode="auto">
              <a:xfrm>
                <a:off x="6425498" y="4448848"/>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3" name="Rectangle 40">
                <a:extLst>
                  <a:ext uri="{FF2B5EF4-FFF2-40B4-BE49-F238E27FC236}">
                    <a16:creationId xmlns:a16="http://schemas.microsoft.com/office/drawing/2014/main" id="{E1A7375F-E582-2140-92E9-333E46FF8AFF}"/>
                  </a:ext>
                </a:extLst>
              </p:cNvPr>
              <p:cNvSpPr>
                <a:spLocks noChangeArrowheads="1"/>
              </p:cNvSpPr>
              <p:nvPr/>
            </p:nvSpPr>
            <p:spPr bwMode="auto">
              <a:xfrm>
                <a:off x="6625976" y="4448848"/>
                <a:ext cx="121123"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 name="Rectangle 41">
                <a:extLst>
                  <a:ext uri="{FF2B5EF4-FFF2-40B4-BE49-F238E27FC236}">
                    <a16:creationId xmlns:a16="http://schemas.microsoft.com/office/drawing/2014/main" id="{49F30E1D-D8EE-F044-B49F-EAAD6C4A4DD5}"/>
                  </a:ext>
                </a:extLst>
              </p:cNvPr>
              <p:cNvSpPr>
                <a:spLocks noChangeArrowheads="1"/>
              </p:cNvSpPr>
              <p:nvPr/>
            </p:nvSpPr>
            <p:spPr bwMode="auto">
              <a:xfrm>
                <a:off x="6014796" y="4700837"/>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5" name="Rectangle 42">
                <a:extLst>
                  <a:ext uri="{FF2B5EF4-FFF2-40B4-BE49-F238E27FC236}">
                    <a16:creationId xmlns:a16="http://schemas.microsoft.com/office/drawing/2014/main" id="{18F40F36-EC39-D34E-8FDD-ED23610DD19A}"/>
                  </a:ext>
                </a:extLst>
              </p:cNvPr>
              <p:cNvSpPr>
                <a:spLocks noChangeArrowheads="1"/>
              </p:cNvSpPr>
              <p:nvPr/>
            </p:nvSpPr>
            <p:spPr bwMode="auto">
              <a:xfrm>
                <a:off x="6226412" y="4700837"/>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6" name="Rectangle 43">
                <a:extLst>
                  <a:ext uri="{FF2B5EF4-FFF2-40B4-BE49-F238E27FC236}">
                    <a16:creationId xmlns:a16="http://schemas.microsoft.com/office/drawing/2014/main" id="{AF9436F1-48E3-C44D-BACA-18685E71BD3B}"/>
                  </a:ext>
                </a:extLst>
              </p:cNvPr>
              <p:cNvSpPr>
                <a:spLocks noChangeArrowheads="1"/>
              </p:cNvSpPr>
              <p:nvPr/>
            </p:nvSpPr>
            <p:spPr bwMode="auto">
              <a:xfrm>
                <a:off x="6425498" y="4700837"/>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7" name="Rectangle 44">
                <a:extLst>
                  <a:ext uri="{FF2B5EF4-FFF2-40B4-BE49-F238E27FC236}">
                    <a16:creationId xmlns:a16="http://schemas.microsoft.com/office/drawing/2014/main" id="{6D910D35-F739-304F-B45B-DDF1462AE3CE}"/>
                  </a:ext>
                </a:extLst>
              </p:cNvPr>
              <p:cNvSpPr>
                <a:spLocks noChangeArrowheads="1"/>
              </p:cNvSpPr>
              <p:nvPr/>
            </p:nvSpPr>
            <p:spPr bwMode="auto">
              <a:xfrm>
                <a:off x="6625976" y="4700837"/>
                <a:ext cx="121123"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8" name="Rectangle 45">
                <a:extLst>
                  <a:ext uri="{FF2B5EF4-FFF2-40B4-BE49-F238E27FC236}">
                    <a16:creationId xmlns:a16="http://schemas.microsoft.com/office/drawing/2014/main" id="{929A0175-5212-0F48-8DEE-D619174147BB}"/>
                  </a:ext>
                </a:extLst>
              </p:cNvPr>
              <p:cNvSpPr>
                <a:spLocks noChangeArrowheads="1"/>
              </p:cNvSpPr>
              <p:nvPr/>
            </p:nvSpPr>
            <p:spPr bwMode="auto">
              <a:xfrm>
                <a:off x="6014796" y="4909668"/>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9" name="Rectangle 46">
                <a:extLst>
                  <a:ext uri="{FF2B5EF4-FFF2-40B4-BE49-F238E27FC236}">
                    <a16:creationId xmlns:a16="http://schemas.microsoft.com/office/drawing/2014/main" id="{0AC44D6F-3C2D-534D-B7B5-7A922407BCCA}"/>
                  </a:ext>
                </a:extLst>
              </p:cNvPr>
              <p:cNvSpPr>
                <a:spLocks noChangeArrowheads="1"/>
              </p:cNvSpPr>
              <p:nvPr/>
            </p:nvSpPr>
            <p:spPr bwMode="auto">
              <a:xfrm>
                <a:off x="6226412" y="4909668"/>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0" name="Rectangle 47">
                <a:extLst>
                  <a:ext uri="{FF2B5EF4-FFF2-40B4-BE49-F238E27FC236}">
                    <a16:creationId xmlns:a16="http://schemas.microsoft.com/office/drawing/2014/main" id="{0D784893-F0F7-D048-820C-E5396BB4F7EE}"/>
                  </a:ext>
                </a:extLst>
              </p:cNvPr>
              <p:cNvSpPr>
                <a:spLocks noChangeArrowheads="1"/>
              </p:cNvSpPr>
              <p:nvPr/>
            </p:nvSpPr>
            <p:spPr bwMode="auto">
              <a:xfrm>
                <a:off x="6425498" y="4909668"/>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1" name="Rectangle 48">
                <a:extLst>
                  <a:ext uri="{FF2B5EF4-FFF2-40B4-BE49-F238E27FC236}">
                    <a16:creationId xmlns:a16="http://schemas.microsoft.com/office/drawing/2014/main" id="{AC83C8D9-8173-E545-8236-71E668B7D8D3}"/>
                  </a:ext>
                </a:extLst>
              </p:cNvPr>
              <p:cNvSpPr>
                <a:spLocks noChangeArrowheads="1"/>
              </p:cNvSpPr>
              <p:nvPr/>
            </p:nvSpPr>
            <p:spPr bwMode="auto">
              <a:xfrm>
                <a:off x="6625976" y="4909668"/>
                <a:ext cx="121123"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2" name="Rectangle 49">
                <a:extLst>
                  <a:ext uri="{FF2B5EF4-FFF2-40B4-BE49-F238E27FC236}">
                    <a16:creationId xmlns:a16="http://schemas.microsoft.com/office/drawing/2014/main" id="{526A0271-E235-EB4A-BDD6-555CC7695A15}"/>
                  </a:ext>
                </a:extLst>
              </p:cNvPr>
              <p:cNvSpPr>
                <a:spLocks noChangeArrowheads="1"/>
              </p:cNvSpPr>
              <p:nvPr/>
            </p:nvSpPr>
            <p:spPr bwMode="auto">
              <a:xfrm>
                <a:off x="6014796" y="5163050"/>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3" name="Rectangle 50">
                <a:extLst>
                  <a:ext uri="{FF2B5EF4-FFF2-40B4-BE49-F238E27FC236}">
                    <a16:creationId xmlns:a16="http://schemas.microsoft.com/office/drawing/2014/main" id="{07537F04-B4C5-F147-8E74-4E00832B2B67}"/>
                  </a:ext>
                </a:extLst>
              </p:cNvPr>
              <p:cNvSpPr>
                <a:spLocks noChangeArrowheads="1"/>
              </p:cNvSpPr>
              <p:nvPr/>
            </p:nvSpPr>
            <p:spPr bwMode="auto">
              <a:xfrm>
                <a:off x="6226412" y="5163050"/>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4" name="Rectangle 51">
                <a:extLst>
                  <a:ext uri="{FF2B5EF4-FFF2-40B4-BE49-F238E27FC236}">
                    <a16:creationId xmlns:a16="http://schemas.microsoft.com/office/drawing/2014/main" id="{11614010-1454-EA4F-87D0-48AFE2840ED9}"/>
                  </a:ext>
                </a:extLst>
              </p:cNvPr>
              <p:cNvSpPr>
                <a:spLocks noChangeArrowheads="1"/>
              </p:cNvSpPr>
              <p:nvPr/>
            </p:nvSpPr>
            <p:spPr bwMode="auto">
              <a:xfrm>
                <a:off x="6425498" y="5163050"/>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5" name="Rectangle 52">
                <a:extLst>
                  <a:ext uri="{FF2B5EF4-FFF2-40B4-BE49-F238E27FC236}">
                    <a16:creationId xmlns:a16="http://schemas.microsoft.com/office/drawing/2014/main" id="{ACCBD8FB-C0DB-6B49-A522-609E8A32C56B}"/>
                  </a:ext>
                </a:extLst>
              </p:cNvPr>
              <p:cNvSpPr>
                <a:spLocks noChangeArrowheads="1"/>
              </p:cNvSpPr>
              <p:nvPr/>
            </p:nvSpPr>
            <p:spPr bwMode="auto">
              <a:xfrm>
                <a:off x="6625976" y="5163050"/>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6" name="Rectangle 53">
                <a:extLst>
                  <a:ext uri="{FF2B5EF4-FFF2-40B4-BE49-F238E27FC236}">
                    <a16:creationId xmlns:a16="http://schemas.microsoft.com/office/drawing/2014/main" id="{A448BE3E-1157-8744-A8D2-803055EE56C2}"/>
                  </a:ext>
                </a:extLst>
              </p:cNvPr>
              <p:cNvSpPr>
                <a:spLocks noChangeArrowheads="1"/>
              </p:cNvSpPr>
              <p:nvPr/>
            </p:nvSpPr>
            <p:spPr bwMode="auto">
              <a:xfrm>
                <a:off x="6020315" y="5371882"/>
                <a:ext cx="326309" cy="1837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144">
                <a:extLst>
                  <a:ext uri="{FF2B5EF4-FFF2-40B4-BE49-F238E27FC236}">
                    <a16:creationId xmlns:a16="http://schemas.microsoft.com/office/drawing/2014/main" id="{61A4C574-064C-0849-BA69-2AFE2F02558E}"/>
                  </a:ext>
                </a:extLst>
              </p:cNvPr>
              <p:cNvSpPr>
                <a:spLocks/>
              </p:cNvSpPr>
              <p:nvPr/>
            </p:nvSpPr>
            <p:spPr bwMode="auto">
              <a:xfrm>
                <a:off x="6014796" y="3472909"/>
                <a:ext cx="122514" cy="140614"/>
              </a:xfrm>
              <a:custGeom>
                <a:avLst/>
                <a:gdLst>
                  <a:gd name="T0" fmla="*/ 0 w 88"/>
                  <a:gd name="T1" fmla="*/ 0 h 101"/>
                  <a:gd name="T2" fmla="*/ 81 w 88"/>
                  <a:gd name="T3" fmla="*/ 0 h 101"/>
                  <a:gd name="T4" fmla="*/ 88 w 88"/>
                  <a:gd name="T5" fmla="*/ 9 h 101"/>
                  <a:gd name="T6" fmla="*/ 88 w 88"/>
                  <a:gd name="T7" fmla="*/ 101 h 101"/>
                  <a:gd name="T8" fmla="*/ 0 w 88"/>
                  <a:gd name="T9" fmla="*/ 101 h 101"/>
                  <a:gd name="T10" fmla="*/ 0 w 88"/>
                  <a:gd name="T11" fmla="*/ 0 h 101"/>
                </a:gdLst>
                <a:ahLst/>
                <a:cxnLst>
                  <a:cxn ang="0">
                    <a:pos x="T0" y="T1"/>
                  </a:cxn>
                  <a:cxn ang="0">
                    <a:pos x="T2" y="T3"/>
                  </a:cxn>
                  <a:cxn ang="0">
                    <a:pos x="T4" y="T5"/>
                  </a:cxn>
                  <a:cxn ang="0">
                    <a:pos x="T6" y="T7"/>
                  </a:cxn>
                  <a:cxn ang="0">
                    <a:pos x="T8" y="T9"/>
                  </a:cxn>
                  <a:cxn ang="0">
                    <a:pos x="T10" y="T11"/>
                  </a:cxn>
                </a:cxnLst>
                <a:rect l="0" t="0" r="r" b="b"/>
                <a:pathLst>
                  <a:path w="88" h="101">
                    <a:moveTo>
                      <a:pt x="0" y="0"/>
                    </a:moveTo>
                    <a:lnTo>
                      <a:pt x="81" y="0"/>
                    </a:lnTo>
                    <a:lnTo>
                      <a:pt x="88" y="9"/>
                    </a:lnTo>
                    <a:lnTo>
                      <a:pt x="8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145">
                <a:extLst>
                  <a:ext uri="{FF2B5EF4-FFF2-40B4-BE49-F238E27FC236}">
                    <a16:creationId xmlns:a16="http://schemas.microsoft.com/office/drawing/2014/main" id="{F2E1DD34-FDE2-6F4B-8349-8896E47689CB}"/>
                  </a:ext>
                </a:extLst>
              </p:cNvPr>
              <p:cNvSpPr>
                <a:spLocks/>
              </p:cNvSpPr>
              <p:nvPr/>
            </p:nvSpPr>
            <p:spPr bwMode="auto">
              <a:xfrm>
                <a:off x="6014796" y="3364317"/>
                <a:ext cx="34806" cy="33413"/>
              </a:xfrm>
              <a:custGeom>
                <a:avLst/>
                <a:gdLst>
                  <a:gd name="T0" fmla="*/ 0 w 25"/>
                  <a:gd name="T1" fmla="*/ 0 h 24"/>
                  <a:gd name="T2" fmla="*/ 25 w 25"/>
                  <a:gd name="T3" fmla="*/ 24 h 24"/>
                  <a:gd name="T4" fmla="*/ 0 w 25"/>
                  <a:gd name="T5" fmla="*/ 24 h 24"/>
                  <a:gd name="T6" fmla="*/ 0 w 25"/>
                  <a:gd name="T7" fmla="*/ 0 h 24"/>
                </a:gdLst>
                <a:ahLst/>
                <a:cxnLst>
                  <a:cxn ang="0">
                    <a:pos x="T0" y="T1"/>
                  </a:cxn>
                  <a:cxn ang="0">
                    <a:pos x="T2" y="T3"/>
                  </a:cxn>
                  <a:cxn ang="0">
                    <a:pos x="T4" y="T5"/>
                  </a:cxn>
                  <a:cxn ang="0">
                    <a:pos x="T6" y="T7"/>
                  </a:cxn>
                </a:cxnLst>
                <a:rect l="0" t="0" r="r" b="b"/>
                <a:pathLst>
                  <a:path w="25" h="24">
                    <a:moveTo>
                      <a:pt x="0" y="0"/>
                    </a:moveTo>
                    <a:lnTo>
                      <a:pt x="25" y="24"/>
                    </a:lnTo>
                    <a:lnTo>
                      <a:pt x="0" y="2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146">
                <a:extLst>
                  <a:ext uri="{FF2B5EF4-FFF2-40B4-BE49-F238E27FC236}">
                    <a16:creationId xmlns:a16="http://schemas.microsoft.com/office/drawing/2014/main" id="{91697006-0FD3-984E-9650-125290C95A32}"/>
                  </a:ext>
                </a:extLst>
              </p:cNvPr>
              <p:cNvSpPr>
                <a:spLocks/>
              </p:cNvSpPr>
              <p:nvPr/>
            </p:nvSpPr>
            <p:spPr bwMode="auto">
              <a:xfrm>
                <a:off x="6226412" y="3574541"/>
                <a:ext cx="38982" cy="38982"/>
              </a:xfrm>
              <a:custGeom>
                <a:avLst/>
                <a:gdLst>
                  <a:gd name="T0" fmla="*/ 0 w 28"/>
                  <a:gd name="T1" fmla="*/ 0 h 28"/>
                  <a:gd name="T2" fmla="*/ 28 w 28"/>
                  <a:gd name="T3" fmla="*/ 28 h 28"/>
                  <a:gd name="T4" fmla="*/ 0 w 28"/>
                  <a:gd name="T5" fmla="*/ 28 h 28"/>
                  <a:gd name="T6" fmla="*/ 0 w 28"/>
                  <a:gd name="T7" fmla="*/ 0 h 28"/>
                </a:gdLst>
                <a:ahLst/>
                <a:cxnLst>
                  <a:cxn ang="0">
                    <a:pos x="T0" y="T1"/>
                  </a:cxn>
                  <a:cxn ang="0">
                    <a:pos x="T2" y="T3"/>
                  </a:cxn>
                  <a:cxn ang="0">
                    <a:pos x="T4" y="T5"/>
                  </a:cxn>
                  <a:cxn ang="0">
                    <a:pos x="T6" y="T7"/>
                  </a:cxn>
                </a:cxnLst>
                <a:rect l="0" t="0" r="r" b="b"/>
                <a:pathLst>
                  <a:path w="28" h="28">
                    <a:moveTo>
                      <a:pt x="0" y="0"/>
                    </a:moveTo>
                    <a:lnTo>
                      <a:pt x="28" y="28"/>
                    </a:lnTo>
                    <a:lnTo>
                      <a:pt x="0" y="2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3" name="Freeform 254">
                <a:extLst>
                  <a:ext uri="{FF2B5EF4-FFF2-40B4-BE49-F238E27FC236}">
                    <a16:creationId xmlns:a16="http://schemas.microsoft.com/office/drawing/2014/main" id="{4D4814F5-8DFC-1A4F-B939-6219FC967365}"/>
                  </a:ext>
                </a:extLst>
              </p:cNvPr>
              <p:cNvSpPr>
                <a:spLocks/>
              </p:cNvSpPr>
              <p:nvPr/>
            </p:nvSpPr>
            <p:spPr bwMode="auto">
              <a:xfrm>
                <a:off x="6627368" y="4700837"/>
                <a:ext cx="119730" cy="139221"/>
              </a:xfrm>
              <a:custGeom>
                <a:avLst/>
                <a:gdLst>
                  <a:gd name="T0" fmla="*/ 0 w 86"/>
                  <a:gd name="T1" fmla="*/ 0 h 100"/>
                  <a:gd name="T2" fmla="*/ 72 w 86"/>
                  <a:gd name="T3" fmla="*/ 0 h 100"/>
                  <a:gd name="T4" fmla="*/ 86 w 86"/>
                  <a:gd name="T5" fmla="*/ 14 h 100"/>
                  <a:gd name="T6" fmla="*/ 86 w 86"/>
                  <a:gd name="T7" fmla="*/ 100 h 100"/>
                  <a:gd name="T8" fmla="*/ 0 w 86"/>
                  <a:gd name="T9" fmla="*/ 100 h 100"/>
                  <a:gd name="T10" fmla="*/ 0 w 86"/>
                  <a:gd name="T11" fmla="*/ 0 h 100"/>
                </a:gdLst>
                <a:ahLst/>
                <a:cxnLst>
                  <a:cxn ang="0">
                    <a:pos x="T0" y="T1"/>
                  </a:cxn>
                  <a:cxn ang="0">
                    <a:pos x="T2" y="T3"/>
                  </a:cxn>
                  <a:cxn ang="0">
                    <a:pos x="T4" y="T5"/>
                  </a:cxn>
                  <a:cxn ang="0">
                    <a:pos x="T6" y="T7"/>
                  </a:cxn>
                  <a:cxn ang="0">
                    <a:pos x="T8" y="T9"/>
                  </a:cxn>
                  <a:cxn ang="0">
                    <a:pos x="T10" y="T11"/>
                  </a:cxn>
                </a:cxnLst>
                <a:rect l="0" t="0" r="r" b="b"/>
                <a:pathLst>
                  <a:path w="86" h="100">
                    <a:moveTo>
                      <a:pt x="0" y="0"/>
                    </a:moveTo>
                    <a:lnTo>
                      <a:pt x="72" y="0"/>
                    </a:lnTo>
                    <a:lnTo>
                      <a:pt x="86" y="14"/>
                    </a:lnTo>
                    <a:lnTo>
                      <a:pt x="86" y="100"/>
                    </a:lnTo>
                    <a:lnTo>
                      <a:pt x="0" y="10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4" name="Rectangle 255">
                <a:extLst>
                  <a:ext uri="{FF2B5EF4-FFF2-40B4-BE49-F238E27FC236}">
                    <a16:creationId xmlns:a16="http://schemas.microsoft.com/office/drawing/2014/main" id="{DF9D6EC7-1539-F94D-AC10-EA512E3A796D}"/>
                  </a:ext>
                </a:extLst>
              </p:cNvPr>
              <p:cNvSpPr>
                <a:spLocks noChangeArrowheads="1"/>
              </p:cNvSpPr>
              <p:nvPr/>
            </p:nvSpPr>
            <p:spPr bwMode="auto">
              <a:xfrm>
                <a:off x="6627368" y="4909668"/>
                <a:ext cx="119730"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5" name="Rectangle 256">
                <a:extLst>
                  <a:ext uri="{FF2B5EF4-FFF2-40B4-BE49-F238E27FC236}">
                    <a16:creationId xmlns:a16="http://schemas.microsoft.com/office/drawing/2014/main" id="{DD8BC8B0-1451-DA4A-976F-9CA42286DF24}"/>
                  </a:ext>
                </a:extLst>
              </p:cNvPr>
              <p:cNvSpPr>
                <a:spLocks noChangeArrowheads="1"/>
              </p:cNvSpPr>
              <p:nvPr/>
            </p:nvSpPr>
            <p:spPr bwMode="auto">
              <a:xfrm>
                <a:off x="6627368" y="5163050"/>
                <a:ext cx="119730"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0" name="Rectangle 53">
                <a:extLst>
                  <a:ext uri="{FF2B5EF4-FFF2-40B4-BE49-F238E27FC236}">
                    <a16:creationId xmlns:a16="http://schemas.microsoft.com/office/drawing/2014/main" id="{A448BE3E-1157-8744-A8D2-803055EE56C2}"/>
                  </a:ext>
                </a:extLst>
              </p:cNvPr>
              <p:cNvSpPr>
                <a:spLocks noChangeArrowheads="1"/>
              </p:cNvSpPr>
              <p:nvPr/>
            </p:nvSpPr>
            <p:spPr bwMode="auto">
              <a:xfrm>
                <a:off x="6425498" y="5371882"/>
                <a:ext cx="326309" cy="1837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7" name="Group 16"/>
          <p:cNvGrpSpPr/>
          <p:nvPr/>
        </p:nvGrpSpPr>
        <p:grpSpPr>
          <a:xfrm>
            <a:off x="6549546" y="3388237"/>
            <a:ext cx="1072001" cy="2010350"/>
            <a:chOff x="9226645" y="3545304"/>
            <a:chExt cx="1072001" cy="2010350"/>
          </a:xfrm>
        </p:grpSpPr>
        <p:sp>
          <p:nvSpPr>
            <p:cNvPr id="247" name="Rectangle 54">
              <a:extLst>
                <a:ext uri="{FF2B5EF4-FFF2-40B4-BE49-F238E27FC236}">
                  <a16:creationId xmlns:a16="http://schemas.microsoft.com/office/drawing/2014/main" id="{30EA3E87-40C2-784F-8389-66532D0B32BD}"/>
                </a:ext>
              </a:extLst>
            </p:cNvPr>
            <p:cNvSpPr>
              <a:spLocks noChangeArrowheads="1"/>
            </p:cNvSpPr>
            <p:nvPr/>
          </p:nvSpPr>
          <p:spPr bwMode="auto">
            <a:xfrm>
              <a:off x="9226645" y="3545304"/>
              <a:ext cx="1072001" cy="2010349"/>
            </a:xfrm>
            <a:prstGeom prst="rect">
              <a:avLst/>
            </a:prstGeom>
            <a:solidFill>
              <a:srgbClr val="C4D6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3" name="Group 2"/>
            <p:cNvGrpSpPr/>
            <p:nvPr/>
          </p:nvGrpSpPr>
          <p:grpSpPr>
            <a:xfrm>
              <a:off x="9397886" y="3715153"/>
              <a:ext cx="729518" cy="1840501"/>
              <a:chOff x="7608876" y="3715153"/>
              <a:chExt cx="729518" cy="1840501"/>
            </a:xfrm>
            <a:solidFill>
              <a:srgbClr val="000000"/>
            </a:solidFill>
          </p:grpSpPr>
          <p:sp>
            <p:nvSpPr>
              <p:cNvPr id="248" name="Rectangle 55">
                <a:extLst>
                  <a:ext uri="{FF2B5EF4-FFF2-40B4-BE49-F238E27FC236}">
                    <a16:creationId xmlns:a16="http://schemas.microsoft.com/office/drawing/2014/main" id="{60CE600B-2409-6D43-875F-166B4EFE4B12}"/>
                  </a:ext>
                </a:extLst>
              </p:cNvPr>
              <p:cNvSpPr>
                <a:spLocks noChangeArrowheads="1"/>
              </p:cNvSpPr>
              <p:nvPr/>
            </p:nvSpPr>
            <p:spPr bwMode="auto">
              <a:xfrm>
                <a:off x="7608876" y="3715153"/>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9" name="Rectangle 56">
                <a:extLst>
                  <a:ext uri="{FF2B5EF4-FFF2-40B4-BE49-F238E27FC236}">
                    <a16:creationId xmlns:a16="http://schemas.microsoft.com/office/drawing/2014/main" id="{89E883C4-FA88-5847-BBC6-7BDED003840C}"/>
                  </a:ext>
                </a:extLst>
              </p:cNvPr>
              <p:cNvSpPr>
                <a:spLocks noChangeArrowheads="1"/>
              </p:cNvSpPr>
              <p:nvPr/>
            </p:nvSpPr>
            <p:spPr bwMode="auto">
              <a:xfrm>
                <a:off x="7819099" y="3715153"/>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0" name="Rectangle 57">
                <a:extLst>
                  <a:ext uri="{FF2B5EF4-FFF2-40B4-BE49-F238E27FC236}">
                    <a16:creationId xmlns:a16="http://schemas.microsoft.com/office/drawing/2014/main" id="{586F7C28-45F2-6C43-B5DB-03ACA6A6D397}"/>
                  </a:ext>
                </a:extLst>
              </p:cNvPr>
              <p:cNvSpPr>
                <a:spLocks noChangeArrowheads="1"/>
              </p:cNvSpPr>
              <p:nvPr/>
            </p:nvSpPr>
            <p:spPr bwMode="auto">
              <a:xfrm>
                <a:off x="8019577" y="3715153"/>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1" name="Rectangle 58">
                <a:extLst>
                  <a:ext uri="{FF2B5EF4-FFF2-40B4-BE49-F238E27FC236}">
                    <a16:creationId xmlns:a16="http://schemas.microsoft.com/office/drawing/2014/main" id="{D49E405F-8179-B843-B04C-6A21BEC77832}"/>
                  </a:ext>
                </a:extLst>
              </p:cNvPr>
              <p:cNvSpPr>
                <a:spLocks noChangeArrowheads="1"/>
              </p:cNvSpPr>
              <p:nvPr/>
            </p:nvSpPr>
            <p:spPr bwMode="auto">
              <a:xfrm>
                <a:off x="8217271" y="3715153"/>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2" name="Rectangle 59">
                <a:extLst>
                  <a:ext uri="{FF2B5EF4-FFF2-40B4-BE49-F238E27FC236}">
                    <a16:creationId xmlns:a16="http://schemas.microsoft.com/office/drawing/2014/main" id="{3A96AEA5-1631-7348-970A-273B0139A416}"/>
                  </a:ext>
                </a:extLst>
              </p:cNvPr>
              <p:cNvSpPr>
                <a:spLocks noChangeArrowheads="1"/>
              </p:cNvSpPr>
              <p:nvPr/>
            </p:nvSpPr>
            <p:spPr bwMode="auto">
              <a:xfrm>
                <a:off x="7608876" y="3946260"/>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3" name="Rectangle 60">
                <a:extLst>
                  <a:ext uri="{FF2B5EF4-FFF2-40B4-BE49-F238E27FC236}">
                    <a16:creationId xmlns:a16="http://schemas.microsoft.com/office/drawing/2014/main" id="{F494A770-1615-FC4D-BD91-882845F2CD06}"/>
                  </a:ext>
                </a:extLst>
              </p:cNvPr>
              <p:cNvSpPr>
                <a:spLocks noChangeArrowheads="1"/>
              </p:cNvSpPr>
              <p:nvPr/>
            </p:nvSpPr>
            <p:spPr bwMode="auto">
              <a:xfrm>
                <a:off x="7819099" y="3946260"/>
                <a:ext cx="121123"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4" name="Rectangle 61">
                <a:extLst>
                  <a:ext uri="{FF2B5EF4-FFF2-40B4-BE49-F238E27FC236}">
                    <a16:creationId xmlns:a16="http://schemas.microsoft.com/office/drawing/2014/main" id="{5C583F40-2DAF-6646-9032-CF86940D2DBB}"/>
                  </a:ext>
                </a:extLst>
              </p:cNvPr>
              <p:cNvSpPr>
                <a:spLocks noChangeArrowheads="1"/>
              </p:cNvSpPr>
              <p:nvPr/>
            </p:nvSpPr>
            <p:spPr bwMode="auto">
              <a:xfrm>
                <a:off x="8019577" y="3946260"/>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5" name="Rectangle 62">
                <a:extLst>
                  <a:ext uri="{FF2B5EF4-FFF2-40B4-BE49-F238E27FC236}">
                    <a16:creationId xmlns:a16="http://schemas.microsoft.com/office/drawing/2014/main" id="{34A15BC8-BEA4-6B4A-B34F-5CEA9DC0AFE5}"/>
                  </a:ext>
                </a:extLst>
              </p:cNvPr>
              <p:cNvSpPr>
                <a:spLocks noChangeArrowheads="1"/>
              </p:cNvSpPr>
              <p:nvPr/>
            </p:nvSpPr>
            <p:spPr bwMode="auto">
              <a:xfrm>
                <a:off x="8217271" y="3946260"/>
                <a:ext cx="121123"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6" name="Rectangle 63">
                <a:extLst>
                  <a:ext uri="{FF2B5EF4-FFF2-40B4-BE49-F238E27FC236}">
                    <a16:creationId xmlns:a16="http://schemas.microsoft.com/office/drawing/2014/main" id="{9783151E-31AE-B149-8823-10C15DE91167}"/>
                  </a:ext>
                </a:extLst>
              </p:cNvPr>
              <p:cNvSpPr>
                <a:spLocks noChangeArrowheads="1"/>
              </p:cNvSpPr>
              <p:nvPr/>
            </p:nvSpPr>
            <p:spPr bwMode="auto">
              <a:xfrm>
                <a:off x="7608876" y="4198250"/>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7" name="Rectangle 64">
                <a:extLst>
                  <a:ext uri="{FF2B5EF4-FFF2-40B4-BE49-F238E27FC236}">
                    <a16:creationId xmlns:a16="http://schemas.microsoft.com/office/drawing/2014/main" id="{F892944D-3F7A-EE4A-9B76-1E276249A96B}"/>
                  </a:ext>
                </a:extLst>
              </p:cNvPr>
              <p:cNvSpPr>
                <a:spLocks noChangeArrowheads="1"/>
              </p:cNvSpPr>
              <p:nvPr/>
            </p:nvSpPr>
            <p:spPr bwMode="auto">
              <a:xfrm>
                <a:off x="7819099" y="4198250"/>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Rectangle 65">
                <a:extLst>
                  <a:ext uri="{FF2B5EF4-FFF2-40B4-BE49-F238E27FC236}">
                    <a16:creationId xmlns:a16="http://schemas.microsoft.com/office/drawing/2014/main" id="{7B4A3B10-87A2-9E43-A4CE-E8E54E746A9C}"/>
                  </a:ext>
                </a:extLst>
              </p:cNvPr>
              <p:cNvSpPr>
                <a:spLocks noChangeArrowheads="1"/>
              </p:cNvSpPr>
              <p:nvPr/>
            </p:nvSpPr>
            <p:spPr bwMode="auto">
              <a:xfrm>
                <a:off x="8019577" y="4198250"/>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9" name="Rectangle 66">
                <a:extLst>
                  <a:ext uri="{FF2B5EF4-FFF2-40B4-BE49-F238E27FC236}">
                    <a16:creationId xmlns:a16="http://schemas.microsoft.com/office/drawing/2014/main" id="{5C700C3B-0B5F-984F-80AA-129158ABA9EE}"/>
                  </a:ext>
                </a:extLst>
              </p:cNvPr>
              <p:cNvSpPr>
                <a:spLocks noChangeArrowheads="1"/>
              </p:cNvSpPr>
              <p:nvPr/>
            </p:nvSpPr>
            <p:spPr bwMode="auto">
              <a:xfrm>
                <a:off x="8217271" y="4198250"/>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0" name="Rectangle 67">
                <a:extLst>
                  <a:ext uri="{FF2B5EF4-FFF2-40B4-BE49-F238E27FC236}">
                    <a16:creationId xmlns:a16="http://schemas.microsoft.com/office/drawing/2014/main" id="{AC1542DE-1B08-AA41-AB65-06DDB2A9CA7B}"/>
                  </a:ext>
                </a:extLst>
              </p:cNvPr>
              <p:cNvSpPr>
                <a:spLocks noChangeArrowheads="1"/>
              </p:cNvSpPr>
              <p:nvPr/>
            </p:nvSpPr>
            <p:spPr bwMode="auto">
              <a:xfrm>
                <a:off x="7608876" y="444188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Rectangle 68">
                <a:extLst>
                  <a:ext uri="{FF2B5EF4-FFF2-40B4-BE49-F238E27FC236}">
                    <a16:creationId xmlns:a16="http://schemas.microsoft.com/office/drawing/2014/main" id="{B640FAAE-4E86-5D4F-9CD7-9EC7FAB845C3}"/>
                  </a:ext>
                </a:extLst>
              </p:cNvPr>
              <p:cNvSpPr>
                <a:spLocks noChangeArrowheads="1"/>
              </p:cNvSpPr>
              <p:nvPr/>
            </p:nvSpPr>
            <p:spPr bwMode="auto">
              <a:xfrm>
                <a:off x="7819099" y="444188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Rectangle 69">
                <a:extLst>
                  <a:ext uri="{FF2B5EF4-FFF2-40B4-BE49-F238E27FC236}">
                    <a16:creationId xmlns:a16="http://schemas.microsoft.com/office/drawing/2014/main" id="{34CA2DB0-1190-2A4E-96AB-C93C0AD21DC6}"/>
                  </a:ext>
                </a:extLst>
              </p:cNvPr>
              <p:cNvSpPr>
                <a:spLocks noChangeArrowheads="1"/>
              </p:cNvSpPr>
              <p:nvPr/>
            </p:nvSpPr>
            <p:spPr bwMode="auto">
              <a:xfrm>
                <a:off x="8019577" y="444188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Rectangle 70">
                <a:extLst>
                  <a:ext uri="{FF2B5EF4-FFF2-40B4-BE49-F238E27FC236}">
                    <a16:creationId xmlns:a16="http://schemas.microsoft.com/office/drawing/2014/main" id="{2EB4A6FC-3A35-0B4F-93C4-3C3AAF45E549}"/>
                  </a:ext>
                </a:extLst>
              </p:cNvPr>
              <p:cNvSpPr>
                <a:spLocks noChangeArrowheads="1"/>
              </p:cNvSpPr>
              <p:nvPr/>
            </p:nvSpPr>
            <p:spPr bwMode="auto">
              <a:xfrm>
                <a:off x="8217271" y="444188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Rectangle 71">
                <a:extLst>
                  <a:ext uri="{FF2B5EF4-FFF2-40B4-BE49-F238E27FC236}">
                    <a16:creationId xmlns:a16="http://schemas.microsoft.com/office/drawing/2014/main" id="{7958F2F3-4917-CF4B-81A8-6115F06EA968}"/>
                  </a:ext>
                </a:extLst>
              </p:cNvPr>
              <p:cNvSpPr>
                <a:spLocks noChangeArrowheads="1"/>
              </p:cNvSpPr>
              <p:nvPr/>
            </p:nvSpPr>
            <p:spPr bwMode="auto">
              <a:xfrm>
                <a:off x="7608876" y="4696661"/>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Rectangle 72">
                <a:extLst>
                  <a:ext uri="{FF2B5EF4-FFF2-40B4-BE49-F238E27FC236}">
                    <a16:creationId xmlns:a16="http://schemas.microsoft.com/office/drawing/2014/main" id="{EED456E9-D499-5D4F-A213-C699AE2A3D1C}"/>
                  </a:ext>
                </a:extLst>
              </p:cNvPr>
              <p:cNvSpPr>
                <a:spLocks noChangeArrowheads="1"/>
              </p:cNvSpPr>
              <p:nvPr/>
            </p:nvSpPr>
            <p:spPr bwMode="auto">
              <a:xfrm>
                <a:off x="7819099" y="4696661"/>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Rectangle 73">
                <a:extLst>
                  <a:ext uri="{FF2B5EF4-FFF2-40B4-BE49-F238E27FC236}">
                    <a16:creationId xmlns:a16="http://schemas.microsoft.com/office/drawing/2014/main" id="{C065397E-AB50-DF47-BD0D-625A703B8AB7}"/>
                  </a:ext>
                </a:extLst>
              </p:cNvPr>
              <p:cNvSpPr>
                <a:spLocks noChangeArrowheads="1"/>
              </p:cNvSpPr>
              <p:nvPr/>
            </p:nvSpPr>
            <p:spPr bwMode="auto">
              <a:xfrm>
                <a:off x="8019577" y="4696661"/>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Rectangle 74">
                <a:extLst>
                  <a:ext uri="{FF2B5EF4-FFF2-40B4-BE49-F238E27FC236}">
                    <a16:creationId xmlns:a16="http://schemas.microsoft.com/office/drawing/2014/main" id="{2DA64159-6CD9-D040-8D78-66908704939A}"/>
                  </a:ext>
                </a:extLst>
              </p:cNvPr>
              <p:cNvSpPr>
                <a:spLocks noChangeArrowheads="1"/>
              </p:cNvSpPr>
              <p:nvPr/>
            </p:nvSpPr>
            <p:spPr bwMode="auto">
              <a:xfrm>
                <a:off x="8217271" y="4696661"/>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Rectangle 75">
                <a:extLst>
                  <a:ext uri="{FF2B5EF4-FFF2-40B4-BE49-F238E27FC236}">
                    <a16:creationId xmlns:a16="http://schemas.microsoft.com/office/drawing/2014/main" id="{930C62BB-A03C-CC44-AE1A-7B01EF11FCBD}"/>
                  </a:ext>
                </a:extLst>
              </p:cNvPr>
              <p:cNvSpPr>
                <a:spLocks noChangeArrowheads="1"/>
              </p:cNvSpPr>
              <p:nvPr/>
            </p:nvSpPr>
            <p:spPr bwMode="auto">
              <a:xfrm>
                <a:off x="7608876" y="490549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Rectangle 76">
                <a:extLst>
                  <a:ext uri="{FF2B5EF4-FFF2-40B4-BE49-F238E27FC236}">
                    <a16:creationId xmlns:a16="http://schemas.microsoft.com/office/drawing/2014/main" id="{33DF1E24-E952-4445-AA97-8FA476491AC0}"/>
                  </a:ext>
                </a:extLst>
              </p:cNvPr>
              <p:cNvSpPr>
                <a:spLocks noChangeArrowheads="1"/>
              </p:cNvSpPr>
              <p:nvPr/>
            </p:nvSpPr>
            <p:spPr bwMode="auto">
              <a:xfrm>
                <a:off x="7819099" y="4905492"/>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Rectangle 77">
                <a:extLst>
                  <a:ext uri="{FF2B5EF4-FFF2-40B4-BE49-F238E27FC236}">
                    <a16:creationId xmlns:a16="http://schemas.microsoft.com/office/drawing/2014/main" id="{608F2D9B-D926-4E49-BFB7-7C2C224DADC9}"/>
                  </a:ext>
                </a:extLst>
              </p:cNvPr>
              <p:cNvSpPr>
                <a:spLocks noChangeArrowheads="1"/>
              </p:cNvSpPr>
              <p:nvPr/>
            </p:nvSpPr>
            <p:spPr bwMode="auto">
              <a:xfrm>
                <a:off x="8019577" y="490549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Rectangle 78">
                <a:extLst>
                  <a:ext uri="{FF2B5EF4-FFF2-40B4-BE49-F238E27FC236}">
                    <a16:creationId xmlns:a16="http://schemas.microsoft.com/office/drawing/2014/main" id="{67FF00DC-C021-834A-A76E-396803F7AB98}"/>
                  </a:ext>
                </a:extLst>
              </p:cNvPr>
              <p:cNvSpPr>
                <a:spLocks noChangeArrowheads="1"/>
              </p:cNvSpPr>
              <p:nvPr/>
            </p:nvSpPr>
            <p:spPr bwMode="auto">
              <a:xfrm>
                <a:off x="8217271" y="4905492"/>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Rectangle 79">
                <a:extLst>
                  <a:ext uri="{FF2B5EF4-FFF2-40B4-BE49-F238E27FC236}">
                    <a16:creationId xmlns:a16="http://schemas.microsoft.com/office/drawing/2014/main" id="{DFE65ED1-7080-BC45-975F-E5C212D05E0C}"/>
                  </a:ext>
                </a:extLst>
              </p:cNvPr>
              <p:cNvSpPr>
                <a:spLocks noChangeArrowheads="1"/>
              </p:cNvSpPr>
              <p:nvPr/>
            </p:nvSpPr>
            <p:spPr bwMode="auto">
              <a:xfrm>
                <a:off x="7608876" y="516026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Rectangle 80">
                <a:extLst>
                  <a:ext uri="{FF2B5EF4-FFF2-40B4-BE49-F238E27FC236}">
                    <a16:creationId xmlns:a16="http://schemas.microsoft.com/office/drawing/2014/main" id="{122D022E-1CAF-1B41-B59B-8338A8228E71}"/>
                  </a:ext>
                </a:extLst>
              </p:cNvPr>
              <p:cNvSpPr>
                <a:spLocks noChangeArrowheads="1"/>
              </p:cNvSpPr>
              <p:nvPr/>
            </p:nvSpPr>
            <p:spPr bwMode="auto">
              <a:xfrm>
                <a:off x="7819099" y="516026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Rectangle 81">
                <a:extLst>
                  <a:ext uri="{FF2B5EF4-FFF2-40B4-BE49-F238E27FC236}">
                    <a16:creationId xmlns:a16="http://schemas.microsoft.com/office/drawing/2014/main" id="{A1770CF5-80FF-A24E-BE99-1CE1040AA444}"/>
                  </a:ext>
                </a:extLst>
              </p:cNvPr>
              <p:cNvSpPr>
                <a:spLocks noChangeArrowheads="1"/>
              </p:cNvSpPr>
              <p:nvPr/>
            </p:nvSpPr>
            <p:spPr bwMode="auto">
              <a:xfrm>
                <a:off x="8019577" y="516026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Rectangle 82">
                <a:extLst>
                  <a:ext uri="{FF2B5EF4-FFF2-40B4-BE49-F238E27FC236}">
                    <a16:creationId xmlns:a16="http://schemas.microsoft.com/office/drawing/2014/main" id="{A6A6A36A-433A-6441-A98E-8AA7E262AE73}"/>
                  </a:ext>
                </a:extLst>
              </p:cNvPr>
              <p:cNvSpPr>
                <a:spLocks noChangeArrowheads="1"/>
              </p:cNvSpPr>
              <p:nvPr/>
            </p:nvSpPr>
            <p:spPr bwMode="auto">
              <a:xfrm>
                <a:off x="8217271" y="516026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Rectangle 83">
                <a:extLst>
                  <a:ext uri="{FF2B5EF4-FFF2-40B4-BE49-F238E27FC236}">
                    <a16:creationId xmlns:a16="http://schemas.microsoft.com/office/drawing/2014/main" id="{8CA501E3-6117-A64F-B00F-F9EE4EFDFC70}"/>
                  </a:ext>
                </a:extLst>
              </p:cNvPr>
              <p:cNvSpPr>
                <a:spLocks noChangeArrowheads="1"/>
              </p:cNvSpPr>
              <p:nvPr/>
            </p:nvSpPr>
            <p:spPr bwMode="auto">
              <a:xfrm>
                <a:off x="7901240" y="5371882"/>
                <a:ext cx="160104" cy="1837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2" name="Rectangle 292">
                <a:extLst>
                  <a:ext uri="{FF2B5EF4-FFF2-40B4-BE49-F238E27FC236}">
                    <a16:creationId xmlns:a16="http://schemas.microsoft.com/office/drawing/2014/main" id="{59D326F2-B9C0-FE48-AA48-952F7CD32895}"/>
                  </a:ext>
                </a:extLst>
              </p:cNvPr>
              <p:cNvSpPr>
                <a:spLocks noChangeArrowheads="1"/>
              </p:cNvSpPr>
              <p:nvPr/>
            </p:nvSpPr>
            <p:spPr bwMode="auto">
              <a:xfrm>
                <a:off x="7608876" y="3715153"/>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3" name="Rectangle 293">
                <a:extLst>
                  <a:ext uri="{FF2B5EF4-FFF2-40B4-BE49-F238E27FC236}">
                    <a16:creationId xmlns:a16="http://schemas.microsoft.com/office/drawing/2014/main" id="{13A8E6F4-8EE4-644D-9AA6-D18C166A029F}"/>
                  </a:ext>
                </a:extLst>
              </p:cNvPr>
              <p:cNvSpPr>
                <a:spLocks noChangeArrowheads="1"/>
              </p:cNvSpPr>
              <p:nvPr/>
            </p:nvSpPr>
            <p:spPr bwMode="auto">
              <a:xfrm>
                <a:off x="7819099" y="3715153"/>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294">
                <a:extLst>
                  <a:ext uri="{FF2B5EF4-FFF2-40B4-BE49-F238E27FC236}">
                    <a16:creationId xmlns:a16="http://schemas.microsoft.com/office/drawing/2014/main" id="{7B2B85DC-AB28-834C-9649-6AFC1DF14695}"/>
                  </a:ext>
                </a:extLst>
              </p:cNvPr>
              <p:cNvSpPr>
                <a:spLocks/>
              </p:cNvSpPr>
              <p:nvPr/>
            </p:nvSpPr>
            <p:spPr bwMode="auto">
              <a:xfrm>
                <a:off x="8019577" y="3715153"/>
                <a:ext cx="122514" cy="142005"/>
              </a:xfrm>
              <a:custGeom>
                <a:avLst/>
                <a:gdLst>
                  <a:gd name="T0" fmla="*/ 0 w 88"/>
                  <a:gd name="T1" fmla="*/ 0 h 102"/>
                  <a:gd name="T2" fmla="*/ 25 w 88"/>
                  <a:gd name="T3" fmla="*/ 0 h 102"/>
                  <a:gd name="T4" fmla="*/ 88 w 88"/>
                  <a:gd name="T5" fmla="*/ 63 h 102"/>
                  <a:gd name="T6" fmla="*/ 88 w 88"/>
                  <a:gd name="T7" fmla="*/ 102 h 102"/>
                  <a:gd name="T8" fmla="*/ 0 w 88"/>
                  <a:gd name="T9" fmla="*/ 102 h 102"/>
                  <a:gd name="T10" fmla="*/ 0 w 88"/>
                  <a:gd name="T11" fmla="*/ 0 h 102"/>
                </a:gdLst>
                <a:ahLst/>
                <a:cxnLst>
                  <a:cxn ang="0">
                    <a:pos x="T0" y="T1"/>
                  </a:cxn>
                  <a:cxn ang="0">
                    <a:pos x="T2" y="T3"/>
                  </a:cxn>
                  <a:cxn ang="0">
                    <a:pos x="T4" y="T5"/>
                  </a:cxn>
                  <a:cxn ang="0">
                    <a:pos x="T6" y="T7"/>
                  </a:cxn>
                  <a:cxn ang="0">
                    <a:pos x="T8" y="T9"/>
                  </a:cxn>
                  <a:cxn ang="0">
                    <a:pos x="T10" y="T11"/>
                  </a:cxn>
                </a:cxnLst>
                <a:rect l="0" t="0" r="r" b="b"/>
                <a:pathLst>
                  <a:path w="88" h="102">
                    <a:moveTo>
                      <a:pt x="0" y="0"/>
                    </a:moveTo>
                    <a:lnTo>
                      <a:pt x="25" y="0"/>
                    </a:lnTo>
                    <a:lnTo>
                      <a:pt x="88" y="63"/>
                    </a:lnTo>
                    <a:lnTo>
                      <a:pt x="88" y="102"/>
                    </a:lnTo>
                    <a:lnTo>
                      <a:pt x="0" y="10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Rectangle 295">
                <a:extLst>
                  <a:ext uri="{FF2B5EF4-FFF2-40B4-BE49-F238E27FC236}">
                    <a16:creationId xmlns:a16="http://schemas.microsoft.com/office/drawing/2014/main" id="{710715E8-6A15-1241-B7AE-D3E1D731AB03}"/>
                  </a:ext>
                </a:extLst>
              </p:cNvPr>
              <p:cNvSpPr>
                <a:spLocks noChangeArrowheads="1"/>
              </p:cNvSpPr>
              <p:nvPr/>
            </p:nvSpPr>
            <p:spPr bwMode="auto">
              <a:xfrm>
                <a:off x="7608876" y="3946260"/>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6" name="Rectangle 296">
                <a:extLst>
                  <a:ext uri="{FF2B5EF4-FFF2-40B4-BE49-F238E27FC236}">
                    <a16:creationId xmlns:a16="http://schemas.microsoft.com/office/drawing/2014/main" id="{5B9AE466-46C8-5D41-A1D3-04C6C24261CC}"/>
                  </a:ext>
                </a:extLst>
              </p:cNvPr>
              <p:cNvSpPr>
                <a:spLocks noChangeArrowheads="1"/>
              </p:cNvSpPr>
              <p:nvPr/>
            </p:nvSpPr>
            <p:spPr bwMode="auto">
              <a:xfrm>
                <a:off x="7819099" y="3946260"/>
                <a:ext cx="121123"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7" name="Rectangle 297">
                <a:extLst>
                  <a:ext uri="{FF2B5EF4-FFF2-40B4-BE49-F238E27FC236}">
                    <a16:creationId xmlns:a16="http://schemas.microsoft.com/office/drawing/2014/main" id="{1D810E61-906C-B048-8437-95E04080677D}"/>
                  </a:ext>
                </a:extLst>
              </p:cNvPr>
              <p:cNvSpPr>
                <a:spLocks noChangeArrowheads="1"/>
              </p:cNvSpPr>
              <p:nvPr/>
            </p:nvSpPr>
            <p:spPr bwMode="auto">
              <a:xfrm>
                <a:off x="8019577" y="3946260"/>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8" name="Freeform 298">
                <a:extLst>
                  <a:ext uri="{FF2B5EF4-FFF2-40B4-BE49-F238E27FC236}">
                    <a16:creationId xmlns:a16="http://schemas.microsoft.com/office/drawing/2014/main" id="{FD1DFA85-B9C0-3E4C-A6E9-AADB53340CDE}"/>
                  </a:ext>
                </a:extLst>
              </p:cNvPr>
              <p:cNvSpPr>
                <a:spLocks/>
              </p:cNvSpPr>
              <p:nvPr/>
            </p:nvSpPr>
            <p:spPr bwMode="auto">
              <a:xfrm>
                <a:off x="8217271" y="3946260"/>
                <a:ext cx="121123" cy="137829"/>
              </a:xfrm>
              <a:custGeom>
                <a:avLst/>
                <a:gdLst>
                  <a:gd name="T0" fmla="*/ 0 w 87"/>
                  <a:gd name="T1" fmla="*/ 0 h 99"/>
                  <a:gd name="T2" fmla="*/ 47 w 87"/>
                  <a:gd name="T3" fmla="*/ 0 h 99"/>
                  <a:gd name="T4" fmla="*/ 87 w 87"/>
                  <a:gd name="T5" fmla="*/ 40 h 99"/>
                  <a:gd name="T6" fmla="*/ 87 w 87"/>
                  <a:gd name="T7" fmla="*/ 99 h 99"/>
                  <a:gd name="T8" fmla="*/ 0 w 87"/>
                  <a:gd name="T9" fmla="*/ 99 h 99"/>
                  <a:gd name="T10" fmla="*/ 0 w 87"/>
                  <a:gd name="T11" fmla="*/ 0 h 99"/>
                </a:gdLst>
                <a:ahLst/>
                <a:cxnLst>
                  <a:cxn ang="0">
                    <a:pos x="T0" y="T1"/>
                  </a:cxn>
                  <a:cxn ang="0">
                    <a:pos x="T2" y="T3"/>
                  </a:cxn>
                  <a:cxn ang="0">
                    <a:pos x="T4" y="T5"/>
                  </a:cxn>
                  <a:cxn ang="0">
                    <a:pos x="T6" y="T7"/>
                  </a:cxn>
                  <a:cxn ang="0">
                    <a:pos x="T8" y="T9"/>
                  </a:cxn>
                  <a:cxn ang="0">
                    <a:pos x="T10" y="T11"/>
                  </a:cxn>
                </a:cxnLst>
                <a:rect l="0" t="0" r="r" b="b"/>
                <a:pathLst>
                  <a:path w="87" h="99">
                    <a:moveTo>
                      <a:pt x="0" y="0"/>
                    </a:moveTo>
                    <a:lnTo>
                      <a:pt x="47" y="0"/>
                    </a:lnTo>
                    <a:lnTo>
                      <a:pt x="87" y="40"/>
                    </a:lnTo>
                    <a:lnTo>
                      <a:pt x="87" y="99"/>
                    </a:lnTo>
                    <a:lnTo>
                      <a:pt x="0" y="9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Rectangle 299">
                <a:extLst>
                  <a:ext uri="{FF2B5EF4-FFF2-40B4-BE49-F238E27FC236}">
                    <a16:creationId xmlns:a16="http://schemas.microsoft.com/office/drawing/2014/main" id="{F86DC7CC-45E0-1E43-A54D-894FE22E4195}"/>
                  </a:ext>
                </a:extLst>
              </p:cNvPr>
              <p:cNvSpPr>
                <a:spLocks noChangeArrowheads="1"/>
              </p:cNvSpPr>
              <p:nvPr/>
            </p:nvSpPr>
            <p:spPr bwMode="auto">
              <a:xfrm>
                <a:off x="7608876" y="4198250"/>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0" name="Rectangle 300">
                <a:extLst>
                  <a:ext uri="{FF2B5EF4-FFF2-40B4-BE49-F238E27FC236}">
                    <a16:creationId xmlns:a16="http://schemas.microsoft.com/office/drawing/2014/main" id="{71E55996-057E-5A41-B78C-E38689B1D47F}"/>
                  </a:ext>
                </a:extLst>
              </p:cNvPr>
              <p:cNvSpPr>
                <a:spLocks noChangeArrowheads="1"/>
              </p:cNvSpPr>
              <p:nvPr/>
            </p:nvSpPr>
            <p:spPr bwMode="auto">
              <a:xfrm>
                <a:off x="7819099" y="4198250"/>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1" name="Rectangle 301">
                <a:extLst>
                  <a:ext uri="{FF2B5EF4-FFF2-40B4-BE49-F238E27FC236}">
                    <a16:creationId xmlns:a16="http://schemas.microsoft.com/office/drawing/2014/main" id="{A6683DFD-E5E7-AC4B-9095-109B189E896A}"/>
                  </a:ext>
                </a:extLst>
              </p:cNvPr>
              <p:cNvSpPr>
                <a:spLocks noChangeArrowheads="1"/>
              </p:cNvSpPr>
              <p:nvPr/>
            </p:nvSpPr>
            <p:spPr bwMode="auto">
              <a:xfrm>
                <a:off x="8019577" y="4198250"/>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2" name="Rectangle 302">
                <a:extLst>
                  <a:ext uri="{FF2B5EF4-FFF2-40B4-BE49-F238E27FC236}">
                    <a16:creationId xmlns:a16="http://schemas.microsoft.com/office/drawing/2014/main" id="{7226366D-8934-9444-A478-A70154814EB0}"/>
                  </a:ext>
                </a:extLst>
              </p:cNvPr>
              <p:cNvSpPr>
                <a:spLocks noChangeArrowheads="1"/>
              </p:cNvSpPr>
              <p:nvPr/>
            </p:nvSpPr>
            <p:spPr bwMode="auto">
              <a:xfrm>
                <a:off x="8217271" y="4198250"/>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3" name="Rectangle 303">
                <a:extLst>
                  <a:ext uri="{FF2B5EF4-FFF2-40B4-BE49-F238E27FC236}">
                    <a16:creationId xmlns:a16="http://schemas.microsoft.com/office/drawing/2014/main" id="{3FFB85CB-DE5A-F244-A3BB-BA9B721A12ED}"/>
                  </a:ext>
                </a:extLst>
              </p:cNvPr>
              <p:cNvSpPr>
                <a:spLocks noChangeArrowheads="1"/>
              </p:cNvSpPr>
              <p:nvPr/>
            </p:nvSpPr>
            <p:spPr bwMode="auto">
              <a:xfrm>
                <a:off x="7608876" y="444188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4" name="Rectangle 304">
                <a:extLst>
                  <a:ext uri="{FF2B5EF4-FFF2-40B4-BE49-F238E27FC236}">
                    <a16:creationId xmlns:a16="http://schemas.microsoft.com/office/drawing/2014/main" id="{7F37E193-5520-2940-B4CE-5791D9E4AFFC}"/>
                  </a:ext>
                </a:extLst>
              </p:cNvPr>
              <p:cNvSpPr>
                <a:spLocks noChangeArrowheads="1"/>
              </p:cNvSpPr>
              <p:nvPr/>
            </p:nvSpPr>
            <p:spPr bwMode="auto">
              <a:xfrm>
                <a:off x="7819099" y="444188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5" name="Rectangle 305">
                <a:extLst>
                  <a:ext uri="{FF2B5EF4-FFF2-40B4-BE49-F238E27FC236}">
                    <a16:creationId xmlns:a16="http://schemas.microsoft.com/office/drawing/2014/main" id="{C00D459E-ECE2-8D4C-A1C8-829C67901A3F}"/>
                  </a:ext>
                </a:extLst>
              </p:cNvPr>
              <p:cNvSpPr>
                <a:spLocks noChangeArrowheads="1"/>
              </p:cNvSpPr>
              <p:nvPr/>
            </p:nvSpPr>
            <p:spPr bwMode="auto">
              <a:xfrm>
                <a:off x="8019577" y="444188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6" name="Rectangle 306">
                <a:extLst>
                  <a:ext uri="{FF2B5EF4-FFF2-40B4-BE49-F238E27FC236}">
                    <a16:creationId xmlns:a16="http://schemas.microsoft.com/office/drawing/2014/main" id="{9B6C5D13-F966-8344-93E6-3B93D8495F68}"/>
                  </a:ext>
                </a:extLst>
              </p:cNvPr>
              <p:cNvSpPr>
                <a:spLocks noChangeArrowheads="1"/>
              </p:cNvSpPr>
              <p:nvPr/>
            </p:nvSpPr>
            <p:spPr bwMode="auto">
              <a:xfrm>
                <a:off x="8217271" y="444188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7" name="Rectangle 307">
                <a:extLst>
                  <a:ext uri="{FF2B5EF4-FFF2-40B4-BE49-F238E27FC236}">
                    <a16:creationId xmlns:a16="http://schemas.microsoft.com/office/drawing/2014/main" id="{7D78377C-7AE3-3643-8215-B5A5A678F95C}"/>
                  </a:ext>
                </a:extLst>
              </p:cNvPr>
              <p:cNvSpPr>
                <a:spLocks noChangeArrowheads="1"/>
              </p:cNvSpPr>
              <p:nvPr/>
            </p:nvSpPr>
            <p:spPr bwMode="auto">
              <a:xfrm>
                <a:off x="7608876" y="4696661"/>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8" name="Rectangle 308">
                <a:extLst>
                  <a:ext uri="{FF2B5EF4-FFF2-40B4-BE49-F238E27FC236}">
                    <a16:creationId xmlns:a16="http://schemas.microsoft.com/office/drawing/2014/main" id="{74FBFC7D-16A8-A442-AC0E-81726EB7DD3A}"/>
                  </a:ext>
                </a:extLst>
              </p:cNvPr>
              <p:cNvSpPr>
                <a:spLocks noChangeArrowheads="1"/>
              </p:cNvSpPr>
              <p:nvPr/>
            </p:nvSpPr>
            <p:spPr bwMode="auto">
              <a:xfrm>
                <a:off x="7819099" y="4696661"/>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9" name="Rectangle 309">
                <a:extLst>
                  <a:ext uri="{FF2B5EF4-FFF2-40B4-BE49-F238E27FC236}">
                    <a16:creationId xmlns:a16="http://schemas.microsoft.com/office/drawing/2014/main" id="{FB34BA99-2D31-B240-B7BA-D89988255B34}"/>
                  </a:ext>
                </a:extLst>
              </p:cNvPr>
              <p:cNvSpPr>
                <a:spLocks noChangeArrowheads="1"/>
              </p:cNvSpPr>
              <p:nvPr/>
            </p:nvSpPr>
            <p:spPr bwMode="auto">
              <a:xfrm>
                <a:off x="8019577" y="4696661"/>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0" name="Rectangle 310">
                <a:extLst>
                  <a:ext uri="{FF2B5EF4-FFF2-40B4-BE49-F238E27FC236}">
                    <a16:creationId xmlns:a16="http://schemas.microsoft.com/office/drawing/2014/main" id="{842BFB26-BAEE-5B47-BD72-85D63DE32C93}"/>
                  </a:ext>
                </a:extLst>
              </p:cNvPr>
              <p:cNvSpPr>
                <a:spLocks noChangeArrowheads="1"/>
              </p:cNvSpPr>
              <p:nvPr/>
            </p:nvSpPr>
            <p:spPr bwMode="auto">
              <a:xfrm>
                <a:off x="8217271" y="4696661"/>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1" name="Rectangle 311">
                <a:extLst>
                  <a:ext uri="{FF2B5EF4-FFF2-40B4-BE49-F238E27FC236}">
                    <a16:creationId xmlns:a16="http://schemas.microsoft.com/office/drawing/2014/main" id="{00764578-64CA-BF49-9AFC-FD609C0AD481}"/>
                  </a:ext>
                </a:extLst>
              </p:cNvPr>
              <p:cNvSpPr>
                <a:spLocks noChangeArrowheads="1"/>
              </p:cNvSpPr>
              <p:nvPr/>
            </p:nvSpPr>
            <p:spPr bwMode="auto">
              <a:xfrm>
                <a:off x="7608876" y="490549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2" name="Rectangle 312">
                <a:extLst>
                  <a:ext uri="{FF2B5EF4-FFF2-40B4-BE49-F238E27FC236}">
                    <a16:creationId xmlns:a16="http://schemas.microsoft.com/office/drawing/2014/main" id="{358E0936-3B70-4A47-9C10-A51DF9129EC5}"/>
                  </a:ext>
                </a:extLst>
              </p:cNvPr>
              <p:cNvSpPr>
                <a:spLocks noChangeArrowheads="1"/>
              </p:cNvSpPr>
              <p:nvPr/>
            </p:nvSpPr>
            <p:spPr bwMode="auto">
              <a:xfrm>
                <a:off x="7819099" y="4905492"/>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3" name="Rectangle 313">
                <a:extLst>
                  <a:ext uri="{FF2B5EF4-FFF2-40B4-BE49-F238E27FC236}">
                    <a16:creationId xmlns:a16="http://schemas.microsoft.com/office/drawing/2014/main" id="{F224E62F-780B-B644-A5FA-F70504E040D1}"/>
                  </a:ext>
                </a:extLst>
              </p:cNvPr>
              <p:cNvSpPr>
                <a:spLocks noChangeArrowheads="1"/>
              </p:cNvSpPr>
              <p:nvPr/>
            </p:nvSpPr>
            <p:spPr bwMode="auto">
              <a:xfrm>
                <a:off x="8019577" y="490549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4" name="Rectangle 314">
                <a:extLst>
                  <a:ext uri="{FF2B5EF4-FFF2-40B4-BE49-F238E27FC236}">
                    <a16:creationId xmlns:a16="http://schemas.microsoft.com/office/drawing/2014/main" id="{CB201032-ABEC-9C4A-B77F-DFCCAAF6F5A3}"/>
                  </a:ext>
                </a:extLst>
              </p:cNvPr>
              <p:cNvSpPr>
                <a:spLocks noChangeArrowheads="1"/>
              </p:cNvSpPr>
              <p:nvPr/>
            </p:nvSpPr>
            <p:spPr bwMode="auto">
              <a:xfrm>
                <a:off x="8217271" y="4905492"/>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5" name="Rectangle 315">
                <a:extLst>
                  <a:ext uri="{FF2B5EF4-FFF2-40B4-BE49-F238E27FC236}">
                    <a16:creationId xmlns:a16="http://schemas.microsoft.com/office/drawing/2014/main" id="{88FA2A30-F65B-7840-B7F4-1A3AA6DE6F90}"/>
                  </a:ext>
                </a:extLst>
              </p:cNvPr>
              <p:cNvSpPr>
                <a:spLocks noChangeArrowheads="1"/>
              </p:cNvSpPr>
              <p:nvPr/>
            </p:nvSpPr>
            <p:spPr bwMode="auto">
              <a:xfrm>
                <a:off x="7608876" y="516026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6" name="Rectangle 316">
                <a:extLst>
                  <a:ext uri="{FF2B5EF4-FFF2-40B4-BE49-F238E27FC236}">
                    <a16:creationId xmlns:a16="http://schemas.microsoft.com/office/drawing/2014/main" id="{703DB645-33D6-2544-B98D-6B606DA130C0}"/>
                  </a:ext>
                </a:extLst>
              </p:cNvPr>
              <p:cNvSpPr>
                <a:spLocks noChangeArrowheads="1"/>
              </p:cNvSpPr>
              <p:nvPr/>
            </p:nvSpPr>
            <p:spPr bwMode="auto">
              <a:xfrm>
                <a:off x="7819099" y="516026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7" name="Rectangle 317">
                <a:extLst>
                  <a:ext uri="{FF2B5EF4-FFF2-40B4-BE49-F238E27FC236}">
                    <a16:creationId xmlns:a16="http://schemas.microsoft.com/office/drawing/2014/main" id="{B141AC77-FCB5-6647-BD49-C85747EA3FB6}"/>
                  </a:ext>
                </a:extLst>
              </p:cNvPr>
              <p:cNvSpPr>
                <a:spLocks noChangeArrowheads="1"/>
              </p:cNvSpPr>
              <p:nvPr/>
            </p:nvSpPr>
            <p:spPr bwMode="auto">
              <a:xfrm>
                <a:off x="8019577" y="516026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8" name="Rectangle 318">
                <a:extLst>
                  <a:ext uri="{FF2B5EF4-FFF2-40B4-BE49-F238E27FC236}">
                    <a16:creationId xmlns:a16="http://schemas.microsoft.com/office/drawing/2014/main" id="{B0375753-7A2E-3845-A055-C4979C596F78}"/>
                  </a:ext>
                </a:extLst>
              </p:cNvPr>
              <p:cNvSpPr>
                <a:spLocks noChangeArrowheads="1"/>
              </p:cNvSpPr>
              <p:nvPr/>
            </p:nvSpPr>
            <p:spPr bwMode="auto">
              <a:xfrm>
                <a:off x="8217271" y="516026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9" name="Rectangle 319">
                <a:extLst>
                  <a:ext uri="{FF2B5EF4-FFF2-40B4-BE49-F238E27FC236}">
                    <a16:creationId xmlns:a16="http://schemas.microsoft.com/office/drawing/2014/main" id="{1BBD0BBC-03CE-0844-9336-D101EB9B628C}"/>
                  </a:ext>
                </a:extLst>
              </p:cNvPr>
              <p:cNvSpPr>
                <a:spLocks noChangeArrowheads="1"/>
              </p:cNvSpPr>
              <p:nvPr/>
            </p:nvSpPr>
            <p:spPr bwMode="auto">
              <a:xfrm>
                <a:off x="7608876" y="5371882"/>
                <a:ext cx="726710" cy="1837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74" name="Rectangle 473">
            <a:extLst>
              <a:ext uri="{FF2B5EF4-FFF2-40B4-BE49-F238E27FC236}">
                <a16:creationId xmlns:a16="http://schemas.microsoft.com/office/drawing/2014/main" id="{A7713305-26D5-6941-97DB-0CFAB90A681C}"/>
              </a:ext>
            </a:extLst>
          </p:cNvPr>
          <p:cNvSpPr/>
          <p:nvPr/>
        </p:nvSpPr>
        <p:spPr bwMode="gray">
          <a:xfrm>
            <a:off x="501650" y="5399978"/>
            <a:ext cx="11188700" cy="526255"/>
          </a:xfrm>
          <a:prstGeom prst="rect">
            <a:avLst/>
          </a:prstGeom>
          <a:solidFill>
            <a:schemeClr val="tx1">
              <a:lumMod val="85000"/>
              <a:lumOff val="15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cxnSp>
        <p:nvCxnSpPr>
          <p:cNvPr id="475" name="Straight Connector 474">
            <a:extLst>
              <a:ext uri="{FF2B5EF4-FFF2-40B4-BE49-F238E27FC236}">
                <a16:creationId xmlns:a16="http://schemas.microsoft.com/office/drawing/2014/main" id="{E1758AA5-9AD5-5A4A-B159-A9501FFECD60}"/>
              </a:ext>
            </a:extLst>
          </p:cNvPr>
          <p:cNvCxnSpPr>
            <a:stCxn id="474" idx="1"/>
            <a:endCxn id="474" idx="3"/>
          </p:cNvCxnSpPr>
          <p:nvPr/>
        </p:nvCxnSpPr>
        <p:spPr>
          <a:xfrm>
            <a:off x="501650" y="5663106"/>
            <a:ext cx="11188700" cy="0"/>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501650" y="3199152"/>
            <a:ext cx="743317" cy="2204477"/>
            <a:chOff x="8247071" y="2864513"/>
            <a:chExt cx="909113" cy="2696183"/>
          </a:xfrm>
        </p:grpSpPr>
        <p:sp>
          <p:nvSpPr>
            <p:cNvPr id="577" name="Freeform 576">
              <a:extLst>
                <a:ext uri="{FF2B5EF4-FFF2-40B4-BE49-F238E27FC236}">
                  <a16:creationId xmlns:a16="http://schemas.microsoft.com/office/drawing/2014/main" id="{2DBEBD81-F309-4F44-ACDD-64638D8CA100}"/>
                </a:ext>
              </a:extLst>
            </p:cNvPr>
            <p:cNvSpPr>
              <a:spLocks noChangeArrowheads="1"/>
            </p:cNvSpPr>
            <p:nvPr/>
          </p:nvSpPr>
          <p:spPr bwMode="auto">
            <a:xfrm>
              <a:off x="8247071" y="2864513"/>
              <a:ext cx="909113" cy="2696183"/>
            </a:xfrm>
            <a:custGeom>
              <a:avLst/>
              <a:gdLst>
                <a:gd name="connsiteX0" fmla="*/ 129476 w 909113"/>
                <a:gd name="connsiteY0" fmla="*/ 0 h 2196906"/>
                <a:gd name="connsiteX1" fmla="*/ 779638 w 909113"/>
                <a:gd name="connsiteY1" fmla="*/ 0 h 2196906"/>
                <a:gd name="connsiteX2" fmla="*/ 779638 w 909113"/>
                <a:gd name="connsiteY2" fmla="*/ 123907 h 2196906"/>
                <a:gd name="connsiteX3" fmla="*/ 909113 w 909113"/>
                <a:gd name="connsiteY3" fmla="*/ 123907 h 2196906"/>
                <a:gd name="connsiteX4" fmla="*/ 909113 w 909113"/>
                <a:gd name="connsiteY4" fmla="*/ 2196906 h 2196906"/>
                <a:gd name="connsiteX5" fmla="*/ 0 w 909113"/>
                <a:gd name="connsiteY5" fmla="*/ 2196906 h 2196906"/>
                <a:gd name="connsiteX6" fmla="*/ 0 w 909113"/>
                <a:gd name="connsiteY6" fmla="*/ 123907 h 2196906"/>
                <a:gd name="connsiteX7" fmla="*/ 129476 w 909113"/>
                <a:gd name="connsiteY7" fmla="*/ 123907 h 219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113" h="2196906">
                  <a:moveTo>
                    <a:pt x="129476" y="0"/>
                  </a:moveTo>
                  <a:lnTo>
                    <a:pt x="779638" y="0"/>
                  </a:lnTo>
                  <a:lnTo>
                    <a:pt x="779638" y="123907"/>
                  </a:lnTo>
                  <a:lnTo>
                    <a:pt x="909113" y="123907"/>
                  </a:lnTo>
                  <a:lnTo>
                    <a:pt x="909113" y="2196906"/>
                  </a:lnTo>
                  <a:lnTo>
                    <a:pt x="0" y="2196906"/>
                  </a:lnTo>
                  <a:lnTo>
                    <a:pt x="0" y="123907"/>
                  </a:lnTo>
                  <a:lnTo>
                    <a:pt x="129476" y="123907"/>
                  </a:lnTo>
                  <a:close/>
                </a:path>
              </a:pathLst>
            </a:custGeom>
            <a:solidFill>
              <a:srgbClr val="009A44"/>
            </a:solidFill>
            <a:ln w="0">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4" name="Group 3"/>
            <p:cNvGrpSpPr/>
            <p:nvPr/>
          </p:nvGrpSpPr>
          <p:grpSpPr>
            <a:xfrm>
              <a:off x="8380723" y="3179849"/>
              <a:ext cx="650162" cy="2380846"/>
              <a:chOff x="631126" y="3626052"/>
              <a:chExt cx="650162" cy="2380846"/>
            </a:xfrm>
            <a:solidFill>
              <a:srgbClr val="FFFFFF"/>
            </a:solidFill>
          </p:grpSpPr>
          <p:sp>
            <p:nvSpPr>
              <p:cNvPr id="297" name="Rectangle 105">
                <a:extLst>
                  <a:ext uri="{FF2B5EF4-FFF2-40B4-BE49-F238E27FC236}">
                    <a16:creationId xmlns:a16="http://schemas.microsoft.com/office/drawing/2014/main" id="{B7AECB55-EEC6-1C49-9A69-5AF3C96DE8F5}"/>
                  </a:ext>
                </a:extLst>
              </p:cNvPr>
              <p:cNvSpPr>
                <a:spLocks noChangeArrowheads="1"/>
              </p:cNvSpPr>
              <p:nvPr/>
            </p:nvSpPr>
            <p:spPr bwMode="auto">
              <a:xfrm>
                <a:off x="631126" y="3626052"/>
                <a:ext cx="650162" cy="14339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Rectangle 106">
                <a:extLst>
                  <a:ext uri="{FF2B5EF4-FFF2-40B4-BE49-F238E27FC236}">
                    <a16:creationId xmlns:a16="http://schemas.microsoft.com/office/drawing/2014/main" id="{5A8ECC9C-CE60-7947-B5C4-1E647E33873E}"/>
                  </a:ext>
                </a:extLst>
              </p:cNvPr>
              <p:cNvSpPr>
                <a:spLocks noChangeArrowheads="1"/>
              </p:cNvSpPr>
              <p:nvPr/>
            </p:nvSpPr>
            <p:spPr bwMode="auto">
              <a:xfrm>
                <a:off x="631126" y="3922383"/>
                <a:ext cx="650162"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Rectangle 107">
                <a:extLst>
                  <a:ext uri="{FF2B5EF4-FFF2-40B4-BE49-F238E27FC236}">
                    <a16:creationId xmlns:a16="http://schemas.microsoft.com/office/drawing/2014/main" id="{FAAE0F1A-1563-6D4F-9AA5-8455E736943A}"/>
                  </a:ext>
                </a:extLst>
              </p:cNvPr>
              <p:cNvSpPr>
                <a:spLocks noChangeArrowheads="1"/>
              </p:cNvSpPr>
              <p:nvPr/>
            </p:nvSpPr>
            <p:spPr bwMode="auto">
              <a:xfrm>
                <a:off x="631126" y="4217321"/>
                <a:ext cx="650162" cy="14339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Rectangle 108">
                <a:extLst>
                  <a:ext uri="{FF2B5EF4-FFF2-40B4-BE49-F238E27FC236}">
                    <a16:creationId xmlns:a16="http://schemas.microsoft.com/office/drawing/2014/main" id="{C745E22B-058A-E546-9339-9CB5FD910DB5}"/>
                  </a:ext>
                </a:extLst>
              </p:cNvPr>
              <p:cNvSpPr>
                <a:spLocks noChangeArrowheads="1"/>
              </p:cNvSpPr>
              <p:nvPr/>
            </p:nvSpPr>
            <p:spPr bwMode="auto">
              <a:xfrm>
                <a:off x="631126" y="4513652"/>
                <a:ext cx="650162"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Rectangle 109">
                <a:extLst>
                  <a:ext uri="{FF2B5EF4-FFF2-40B4-BE49-F238E27FC236}">
                    <a16:creationId xmlns:a16="http://schemas.microsoft.com/office/drawing/2014/main" id="{7510E192-9462-4C41-B485-2D788C72E6A6}"/>
                  </a:ext>
                </a:extLst>
              </p:cNvPr>
              <p:cNvSpPr>
                <a:spLocks noChangeArrowheads="1"/>
              </p:cNvSpPr>
              <p:nvPr/>
            </p:nvSpPr>
            <p:spPr bwMode="auto">
              <a:xfrm>
                <a:off x="631126" y="4808590"/>
                <a:ext cx="650162" cy="14339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8" name="Rectangle 109">
                <a:extLst>
                  <a:ext uri="{FF2B5EF4-FFF2-40B4-BE49-F238E27FC236}">
                    <a16:creationId xmlns:a16="http://schemas.microsoft.com/office/drawing/2014/main" id="{7510E192-9462-4C41-B485-2D788C72E6A6}"/>
                  </a:ext>
                </a:extLst>
              </p:cNvPr>
              <p:cNvSpPr>
                <a:spLocks noChangeArrowheads="1"/>
              </p:cNvSpPr>
              <p:nvPr/>
            </p:nvSpPr>
            <p:spPr bwMode="auto">
              <a:xfrm>
                <a:off x="631126" y="5104921"/>
                <a:ext cx="650162" cy="14339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9" name="Rectangle 109">
                <a:extLst>
                  <a:ext uri="{FF2B5EF4-FFF2-40B4-BE49-F238E27FC236}">
                    <a16:creationId xmlns:a16="http://schemas.microsoft.com/office/drawing/2014/main" id="{7510E192-9462-4C41-B485-2D788C72E6A6}"/>
                  </a:ext>
                </a:extLst>
              </p:cNvPr>
              <p:cNvSpPr>
                <a:spLocks noChangeArrowheads="1"/>
              </p:cNvSpPr>
              <p:nvPr/>
            </p:nvSpPr>
            <p:spPr bwMode="auto">
              <a:xfrm>
                <a:off x="631126" y="5401253"/>
                <a:ext cx="650162" cy="60564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3" name="Group 22"/>
          <p:cNvGrpSpPr/>
          <p:nvPr/>
        </p:nvGrpSpPr>
        <p:grpSpPr>
          <a:xfrm>
            <a:off x="3276930" y="1714500"/>
            <a:ext cx="2054452" cy="3684088"/>
            <a:chOff x="3748281" y="2457449"/>
            <a:chExt cx="1727731" cy="3098205"/>
          </a:xfrm>
        </p:grpSpPr>
        <p:sp>
          <p:nvSpPr>
            <p:cNvPr id="344" name="Rectangle 177">
              <a:extLst>
                <a:ext uri="{FF2B5EF4-FFF2-40B4-BE49-F238E27FC236}">
                  <a16:creationId xmlns:a16="http://schemas.microsoft.com/office/drawing/2014/main" id="{E3C26379-7CAF-F143-B640-D2456D26FEA3}"/>
                </a:ext>
              </a:extLst>
            </p:cNvPr>
            <p:cNvSpPr>
              <a:spLocks noChangeArrowheads="1"/>
            </p:cNvSpPr>
            <p:nvPr/>
          </p:nvSpPr>
          <p:spPr bwMode="auto">
            <a:xfrm>
              <a:off x="3808918" y="3450634"/>
              <a:ext cx="1581744" cy="210502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6" name="Freeform 585">
              <a:extLst>
                <a:ext uri="{FF2B5EF4-FFF2-40B4-BE49-F238E27FC236}">
                  <a16:creationId xmlns:a16="http://schemas.microsoft.com/office/drawing/2014/main" id="{68654A7C-C5D3-AA44-B734-854BA24B979C}"/>
                </a:ext>
              </a:extLst>
            </p:cNvPr>
            <p:cNvSpPr>
              <a:spLocks noChangeArrowheads="1"/>
            </p:cNvSpPr>
            <p:nvPr/>
          </p:nvSpPr>
          <p:spPr bwMode="auto">
            <a:xfrm>
              <a:off x="4158983" y="4312411"/>
              <a:ext cx="903544" cy="1243243"/>
            </a:xfrm>
            <a:custGeom>
              <a:avLst/>
              <a:gdLst>
                <a:gd name="connsiteX0" fmla="*/ 0 w 903544"/>
                <a:gd name="connsiteY0" fmla="*/ 0 h 1243243"/>
                <a:gd name="connsiteX1" fmla="*/ 903544 w 903544"/>
                <a:gd name="connsiteY1" fmla="*/ 0 h 1243243"/>
                <a:gd name="connsiteX2" fmla="*/ 903544 w 903544"/>
                <a:gd name="connsiteY2" fmla="*/ 1243243 h 1243243"/>
                <a:gd name="connsiteX3" fmla="*/ 0 w 903544"/>
                <a:gd name="connsiteY3" fmla="*/ 1243243 h 1243243"/>
              </a:gdLst>
              <a:ahLst/>
              <a:cxnLst>
                <a:cxn ang="0">
                  <a:pos x="connsiteX0" y="connsiteY0"/>
                </a:cxn>
                <a:cxn ang="0">
                  <a:pos x="connsiteX1" y="connsiteY1"/>
                </a:cxn>
                <a:cxn ang="0">
                  <a:pos x="connsiteX2" y="connsiteY2"/>
                </a:cxn>
                <a:cxn ang="0">
                  <a:pos x="connsiteX3" y="connsiteY3"/>
                </a:cxn>
              </a:cxnLst>
              <a:rect l="l" t="t" r="r" b="b"/>
              <a:pathLst>
                <a:path w="903544" h="1243243">
                  <a:moveTo>
                    <a:pt x="0" y="0"/>
                  </a:moveTo>
                  <a:lnTo>
                    <a:pt x="903544" y="0"/>
                  </a:lnTo>
                  <a:lnTo>
                    <a:pt x="903544" y="1243243"/>
                  </a:lnTo>
                  <a:lnTo>
                    <a:pt x="0" y="1243243"/>
                  </a:lnTo>
                  <a:close/>
                </a:path>
              </a:pathLst>
            </a:cu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45" name="Rectangle 178">
              <a:extLst>
                <a:ext uri="{FF2B5EF4-FFF2-40B4-BE49-F238E27FC236}">
                  <a16:creationId xmlns:a16="http://schemas.microsoft.com/office/drawing/2014/main" id="{1E0559E8-986E-284C-BB1C-1B929AD48241}"/>
                </a:ext>
              </a:extLst>
            </p:cNvPr>
            <p:cNvSpPr>
              <a:spLocks noChangeArrowheads="1"/>
            </p:cNvSpPr>
            <p:nvPr/>
          </p:nvSpPr>
          <p:spPr bwMode="auto">
            <a:xfrm>
              <a:off x="3915346" y="2654290"/>
              <a:ext cx="1390817" cy="79634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7" name="Rectangle 180">
              <a:extLst>
                <a:ext uri="{FF2B5EF4-FFF2-40B4-BE49-F238E27FC236}">
                  <a16:creationId xmlns:a16="http://schemas.microsoft.com/office/drawing/2014/main" id="{23B9F234-3E26-A44C-B15C-F4887EAD8AED}"/>
                </a:ext>
              </a:extLst>
            </p:cNvPr>
            <p:cNvSpPr>
              <a:spLocks noChangeArrowheads="1"/>
            </p:cNvSpPr>
            <p:nvPr/>
          </p:nvSpPr>
          <p:spPr bwMode="auto">
            <a:xfrm>
              <a:off x="4178474" y="4337471"/>
              <a:ext cx="864562" cy="1139257"/>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8" name="Rectangle 181">
              <a:extLst>
                <a:ext uri="{FF2B5EF4-FFF2-40B4-BE49-F238E27FC236}">
                  <a16:creationId xmlns:a16="http://schemas.microsoft.com/office/drawing/2014/main" id="{A2D05F05-B371-2F43-831A-1F2AC944AC2C}"/>
                </a:ext>
              </a:extLst>
            </p:cNvPr>
            <p:cNvSpPr>
              <a:spLocks noChangeArrowheads="1"/>
            </p:cNvSpPr>
            <p:nvPr/>
          </p:nvSpPr>
          <p:spPr bwMode="auto">
            <a:xfrm>
              <a:off x="4611451" y="4337471"/>
              <a:ext cx="431585" cy="1139257"/>
            </a:xfrm>
            <a:prstGeom prst="rect">
              <a:avLst/>
            </a:prstGeom>
            <a:solidFill>
              <a:srgbClr val="D0D0C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9" name="Rectangle 182">
              <a:extLst>
                <a:ext uri="{FF2B5EF4-FFF2-40B4-BE49-F238E27FC236}">
                  <a16:creationId xmlns:a16="http://schemas.microsoft.com/office/drawing/2014/main" id="{0AA557FC-09A9-C64E-9422-8E58CD7B3842}"/>
                </a:ext>
              </a:extLst>
            </p:cNvPr>
            <p:cNvSpPr>
              <a:spLocks noChangeArrowheads="1"/>
            </p:cNvSpPr>
            <p:nvPr/>
          </p:nvSpPr>
          <p:spPr bwMode="auto">
            <a:xfrm>
              <a:off x="3915346" y="2654290"/>
              <a:ext cx="1390817" cy="21718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2" name="Group 21"/>
            <p:cNvGrpSpPr/>
            <p:nvPr/>
          </p:nvGrpSpPr>
          <p:grpSpPr>
            <a:xfrm>
              <a:off x="4018369" y="3087268"/>
              <a:ext cx="1212614" cy="228322"/>
              <a:chOff x="4018369" y="3087268"/>
              <a:chExt cx="1212614" cy="228322"/>
            </a:xfrm>
            <a:solidFill>
              <a:srgbClr val="FFFFFF"/>
            </a:solidFill>
          </p:grpSpPr>
          <p:sp>
            <p:nvSpPr>
              <p:cNvPr id="350" name="Rectangle 183">
                <a:extLst>
                  <a:ext uri="{FF2B5EF4-FFF2-40B4-BE49-F238E27FC236}">
                    <a16:creationId xmlns:a16="http://schemas.microsoft.com/office/drawing/2014/main" id="{182C5139-98F1-0E46-9864-7E481765AA0C}"/>
                  </a:ext>
                </a:extLst>
              </p:cNvPr>
              <p:cNvSpPr>
                <a:spLocks noChangeArrowheads="1"/>
              </p:cNvSpPr>
              <p:nvPr/>
            </p:nvSpPr>
            <p:spPr bwMode="auto">
              <a:xfrm>
                <a:off x="4241123"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1" name="Rectangle 184">
                <a:extLst>
                  <a:ext uri="{FF2B5EF4-FFF2-40B4-BE49-F238E27FC236}">
                    <a16:creationId xmlns:a16="http://schemas.microsoft.com/office/drawing/2014/main" id="{7A1EDFD4-93C6-DE42-97DC-0B7CE8E0281E}"/>
                  </a:ext>
                </a:extLst>
              </p:cNvPr>
              <p:cNvSpPr>
                <a:spLocks noChangeArrowheads="1"/>
              </p:cNvSpPr>
              <p:nvPr/>
            </p:nvSpPr>
            <p:spPr bwMode="auto">
              <a:xfrm>
                <a:off x="4018369"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2" name="Rectangle 185">
                <a:extLst>
                  <a:ext uri="{FF2B5EF4-FFF2-40B4-BE49-F238E27FC236}">
                    <a16:creationId xmlns:a16="http://schemas.microsoft.com/office/drawing/2014/main" id="{1C74231F-8DDD-D543-9DD2-808748A5C619}"/>
                  </a:ext>
                </a:extLst>
              </p:cNvPr>
              <p:cNvSpPr>
                <a:spLocks noChangeArrowheads="1"/>
              </p:cNvSpPr>
              <p:nvPr/>
            </p:nvSpPr>
            <p:spPr bwMode="auto">
              <a:xfrm>
                <a:off x="4668531"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3" name="Rectangle 186">
                <a:extLst>
                  <a:ext uri="{FF2B5EF4-FFF2-40B4-BE49-F238E27FC236}">
                    <a16:creationId xmlns:a16="http://schemas.microsoft.com/office/drawing/2014/main" id="{F0D04444-5DFC-4048-B537-1F23F0C18779}"/>
                  </a:ext>
                </a:extLst>
              </p:cNvPr>
              <p:cNvSpPr>
                <a:spLocks noChangeArrowheads="1"/>
              </p:cNvSpPr>
              <p:nvPr/>
            </p:nvSpPr>
            <p:spPr bwMode="auto">
              <a:xfrm>
                <a:off x="4448562"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4" name="Rectangle 187">
                <a:extLst>
                  <a:ext uri="{FF2B5EF4-FFF2-40B4-BE49-F238E27FC236}">
                    <a16:creationId xmlns:a16="http://schemas.microsoft.com/office/drawing/2014/main" id="{31CD6BC2-0552-5B4B-B7AD-07182E291B69}"/>
                  </a:ext>
                </a:extLst>
              </p:cNvPr>
              <p:cNvSpPr>
                <a:spLocks noChangeArrowheads="1"/>
              </p:cNvSpPr>
              <p:nvPr/>
            </p:nvSpPr>
            <p:spPr bwMode="auto">
              <a:xfrm>
                <a:off x="5097331"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5" name="Rectangle 188">
                <a:extLst>
                  <a:ext uri="{FF2B5EF4-FFF2-40B4-BE49-F238E27FC236}">
                    <a16:creationId xmlns:a16="http://schemas.microsoft.com/office/drawing/2014/main" id="{251BB731-8A2B-4C47-8FF5-79D2C30AE483}"/>
                  </a:ext>
                </a:extLst>
              </p:cNvPr>
              <p:cNvSpPr>
                <a:spLocks noChangeArrowheads="1"/>
              </p:cNvSpPr>
              <p:nvPr/>
            </p:nvSpPr>
            <p:spPr bwMode="auto">
              <a:xfrm>
                <a:off x="4875970"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71" name="Group 470">
              <a:extLst>
                <a:ext uri="{FF2B5EF4-FFF2-40B4-BE49-F238E27FC236}">
                  <a16:creationId xmlns:a16="http://schemas.microsoft.com/office/drawing/2014/main" id="{BDBD8351-8ED6-A24A-9EDA-C68C2EC9EFB0}"/>
                </a:ext>
              </a:extLst>
            </p:cNvPr>
            <p:cNvGrpSpPr/>
            <p:nvPr/>
          </p:nvGrpSpPr>
          <p:grpSpPr>
            <a:xfrm>
              <a:off x="4317202" y="2457449"/>
              <a:ext cx="577721" cy="577721"/>
              <a:chOff x="4350777" y="1351935"/>
              <a:chExt cx="658761" cy="658761"/>
            </a:xfrm>
          </p:grpSpPr>
          <p:sp>
            <p:nvSpPr>
              <p:cNvPr id="479" name="Oval 478">
                <a:extLst>
                  <a:ext uri="{FF2B5EF4-FFF2-40B4-BE49-F238E27FC236}">
                    <a16:creationId xmlns:a16="http://schemas.microsoft.com/office/drawing/2014/main" id="{239A3402-6FA9-434F-A561-94C81D8BA47A}"/>
                  </a:ext>
                </a:extLst>
              </p:cNvPr>
              <p:cNvSpPr/>
              <p:nvPr/>
            </p:nvSpPr>
            <p:spPr bwMode="gray">
              <a:xfrm>
                <a:off x="4350777" y="1351935"/>
                <a:ext cx="658761" cy="658761"/>
              </a:xfrm>
              <a:prstGeom prst="ellipse">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80" name="Oval 479">
                <a:extLst>
                  <a:ext uri="{FF2B5EF4-FFF2-40B4-BE49-F238E27FC236}">
                    <a16:creationId xmlns:a16="http://schemas.microsoft.com/office/drawing/2014/main" id="{40377626-8E82-A344-987B-5157FAADA05F}"/>
                  </a:ext>
                </a:extLst>
              </p:cNvPr>
              <p:cNvSpPr/>
              <p:nvPr/>
            </p:nvSpPr>
            <p:spPr bwMode="gray">
              <a:xfrm>
                <a:off x="4380271" y="1381432"/>
                <a:ext cx="599768" cy="599768"/>
              </a:xfrm>
              <a:prstGeom prst="ellipse">
                <a:avLst/>
              </a:prstGeom>
              <a:solidFill>
                <a:schemeClr val="accent2"/>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472" name="TextBox 471">
              <a:extLst>
                <a:ext uri="{FF2B5EF4-FFF2-40B4-BE49-F238E27FC236}">
                  <a16:creationId xmlns:a16="http://schemas.microsoft.com/office/drawing/2014/main" id="{CA2A667D-DC2E-DE47-AF3A-D3CAE07950EA}"/>
                </a:ext>
              </a:extLst>
            </p:cNvPr>
            <p:cNvSpPr txBox="1"/>
            <p:nvPr/>
          </p:nvSpPr>
          <p:spPr>
            <a:xfrm>
              <a:off x="4086669" y="3848559"/>
              <a:ext cx="1043665" cy="232948"/>
            </a:xfrm>
            <a:prstGeom prst="rect">
              <a:avLst/>
            </a:prstGeom>
            <a:noFill/>
          </p:spPr>
          <p:txBody>
            <a:bodyPr vert="horz" wrap="square" lIns="0" tIns="0" rIns="0" bIns="0" rtlCol="0">
              <a:spAutoFit/>
            </a:bodyPr>
            <a:lstStyle/>
            <a:p>
              <a:pPr algn="ctr">
                <a:buSzPct val="100000"/>
              </a:pPr>
              <a:r>
                <a:rPr lang="en-US" b="1" dirty="0">
                  <a:solidFill>
                    <a:schemeClr val="bg1"/>
                  </a:solidFill>
                </a:rPr>
                <a:t>BANK</a:t>
              </a:r>
            </a:p>
          </p:txBody>
        </p:sp>
        <p:grpSp>
          <p:nvGrpSpPr>
            <p:cNvPr id="473" name="Group 374">
              <a:extLst>
                <a:ext uri="{FF2B5EF4-FFF2-40B4-BE49-F238E27FC236}">
                  <a16:creationId xmlns:a16="http://schemas.microsoft.com/office/drawing/2014/main" id="{65C4C1CF-C938-E04E-B0F8-5D969743BF84}"/>
                </a:ext>
              </a:extLst>
            </p:cNvPr>
            <p:cNvGrpSpPr>
              <a:grpSpLocks noChangeAspect="1"/>
            </p:cNvGrpSpPr>
            <p:nvPr/>
          </p:nvGrpSpPr>
          <p:grpSpPr bwMode="auto">
            <a:xfrm>
              <a:off x="4366279" y="2506529"/>
              <a:ext cx="479566" cy="479564"/>
              <a:chOff x="6996" y="1195"/>
              <a:chExt cx="340" cy="340"/>
            </a:xfrm>
            <a:solidFill>
              <a:schemeClr val="bg1"/>
            </a:solidFill>
          </p:grpSpPr>
          <p:sp>
            <p:nvSpPr>
              <p:cNvPr id="476" name="Freeform 375">
                <a:extLst>
                  <a:ext uri="{FF2B5EF4-FFF2-40B4-BE49-F238E27FC236}">
                    <a16:creationId xmlns:a16="http://schemas.microsoft.com/office/drawing/2014/main" id="{DC61EA60-E173-2846-9FF6-66991E4D773C}"/>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7" name="Freeform 376">
                <a:extLst>
                  <a:ext uri="{FF2B5EF4-FFF2-40B4-BE49-F238E27FC236}">
                    <a16:creationId xmlns:a16="http://schemas.microsoft.com/office/drawing/2014/main" id="{30CCC18B-1960-814A-8BF3-FFF531C515A6}"/>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8" name="Freeform 377">
                <a:extLst>
                  <a:ext uri="{FF2B5EF4-FFF2-40B4-BE49-F238E27FC236}">
                    <a16:creationId xmlns:a16="http://schemas.microsoft.com/office/drawing/2014/main" id="{2DA93680-A728-C046-9C7E-2AE9703C1ABD}"/>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5" name="Freeform 584">
              <a:extLst>
                <a:ext uri="{FF2B5EF4-FFF2-40B4-BE49-F238E27FC236}">
                  <a16:creationId xmlns:a16="http://schemas.microsoft.com/office/drawing/2014/main" id="{8ACBF2E6-4640-A948-ACD6-BF9225A042FA}"/>
                </a:ext>
              </a:extLst>
            </p:cNvPr>
            <p:cNvSpPr>
              <a:spLocks noChangeArrowheads="1"/>
            </p:cNvSpPr>
            <p:nvPr/>
          </p:nvSpPr>
          <p:spPr bwMode="auto">
            <a:xfrm>
              <a:off x="3748281" y="3450634"/>
              <a:ext cx="1727731" cy="2105020"/>
            </a:xfrm>
            <a:custGeom>
              <a:avLst/>
              <a:gdLst>
                <a:gd name="connsiteX0" fmla="*/ 0 w 1727731"/>
                <a:gd name="connsiteY0" fmla="*/ 0 h 2105020"/>
                <a:gd name="connsiteX1" fmla="*/ 58435 w 1727731"/>
                <a:gd name="connsiteY1" fmla="*/ 0 h 2105020"/>
                <a:gd name="connsiteX2" fmla="*/ 121085 w 1727731"/>
                <a:gd name="connsiteY2" fmla="*/ 0 h 2105020"/>
                <a:gd name="connsiteX3" fmla="*/ 1606645 w 1727731"/>
                <a:gd name="connsiteY3" fmla="*/ 0 h 2105020"/>
                <a:gd name="connsiteX4" fmla="*/ 1669295 w 1727731"/>
                <a:gd name="connsiteY4" fmla="*/ 0 h 2105020"/>
                <a:gd name="connsiteX5" fmla="*/ 1727731 w 1727731"/>
                <a:gd name="connsiteY5" fmla="*/ 0 h 2105020"/>
                <a:gd name="connsiteX6" fmla="*/ 1727731 w 1727731"/>
                <a:gd name="connsiteY6" fmla="*/ 218577 h 2105020"/>
                <a:gd name="connsiteX7" fmla="*/ 1669295 w 1727731"/>
                <a:gd name="connsiteY7" fmla="*/ 218577 h 2105020"/>
                <a:gd name="connsiteX8" fmla="*/ 1669295 w 1727731"/>
                <a:gd name="connsiteY8" fmla="*/ 2105020 h 2105020"/>
                <a:gd name="connsiteX9" fmla="*/ 1606645 w 1727731"/>
                <a:gd name="connsiteY9" fmla="*/ 2105020 h 2105020"/>
                <a:gd name="connsiteX10" fmla="*/ 1606645 w 1727731"/>
                <a:gd name="connsiteY10" fmla="*/ 218577 h 2105020"/>
                <a:gd name="connsiteX11" fmla="*/ 121085 w 1727731"/>
                <a:gd name="connsiteY11" fmla="*/ 218577 h 2105020"/>
                <a:gd name="connsiteX12" fmla="*/ 121085 w 1727731"/>
                <a:gd name="connsiteY12" fmla="*/ 2105020 h 2105020"/>
                <a:gd name="connsiteX13" fmla="*/ 58435 w 1727731"/>
                <a:gd name="connsiteY13" fmla="*/ 2105020 h 2105020"/>
                <a:gd name="connsiteX14" fmla="*/ 58435 w 1727731"/>
                <a:gd name="connsiteY14" fmla="*/ 218577 h 2105020"/>
                <a:gd name="connsiteX15" fmla="*/ 0 w 1727731"/>
                <a:gd name="connsiteY15" fmla="*/ 218577 h 210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27731" h="2105020">
                  <a:moveTo>
                    <a:pt x="0" y="0"/>
                  </a:moveTo>
                  <a:lnTo>
                    <a:pt x="58435" y="0"/>
                  </a:lnTo>
                  <a:lnTo>
                    <a:pt x="121085" y="0"/>
                  </a:lnTo>
                  <a:lnTo>
                    <a:pt x="1606645" y="0"/>
                  </a:lnTo>
                  <a:lnTo>
                    <a:pt x="1669295" y="0"/>
                  </a:lnTo>
                  <a:lnTo>
                    <a:pt x="1727731" y="0"/>
                  </a:lnTo>
                  <a:lnTo>
                    <a:pt x="1727731" y="218577"/>
                  </a:lnTo>
                  <a:lnTo>
                    <a:pt x="1669295" y="218577"/>
                  </a:lnTo>
                  <a:lnTo>
                    <a:pt x="1669295" y="2105020"/>
                  </a:lnTo>
                  <a:lnTo>
                    <a:pt x="1606645" y="2105020"/>
                  </a:lnTo>
                  <a:lnTo>
                    <a:pt x="1606645" y="218577"/>
                  </a:lnTo>
                  <a:lnTo>
                    <a:pt x="121085" y="218577"/>
                  </a:lnTo>
                  <a:lnTo>
                    <a:pt x="121085" y="2105020"/>
                  </a:lnTo>
                  <a:lnTo>
                    <a:pt x="58435" y="2105020"/>
                  </a:lnTo>
                  <a:lnTo>
                    <a:pt x="58435" y="218577"/>
                  </a:lnTo>
                  <a:lnTo>
                    <a:pt x="0" y="218577"/>
                  </a:lnTo>
                  <a:close/>
                </a:path>
              </a:pathLst>
            </a:cu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25" name="Rectangle 24"/>
          <p:cNvSpPr/>
          <p:nvPr/>
        </p:nvSpPr>
        <p:spPr>
          <a:xfrm>
            <a:off x="8673815" y="2511710"/>
            <a:ext cx="3016536" cy="2800767"/>
          </a:xfrm>
          <a:prstGeom prst="rect">
            <a:avLst/>
          </a:prstGeom>
        </p:spPr>
        <p:txBody>
          <a:bodyPr wrap="square" lIns="0" tIns="0" rIns="0" bIns="0">
            <a:spAutoFit/>
          </a:bodyPr>
          <a:lstStyle/>
          <a:p>
            <a:pPr marL="171450" indent="-171450" defTabSz="965149">
              <a:buClr>
                <a:srgbClr val="43B02A"/>
              </a:buClr>
              <a:buSzPct val="100000"/>
              <a:buFont typeface="Wingdings" panose="05000000000000000000" pitchFamily="2" charset="2"/>
              <a:buChar char="§"/>
              <a:defRPr/>
            </a:pPr>
            <a:r>
              <a:rPr lang="en-US" sz="1300" kern="0" dirty="0">
                <a:solidFill>
                  <a:prstClr val="black"/>
                </a:solidFill>
              </a:rPr>
              <a:t>This is dummy text it is not here to be read. The is just text to show where you could insert text. Please replace with your text content here.</a:t>
            </a:r>
          </a:p>
          <a:p>
            <a:pPr marL="171450" indent="-171450" defTabSz="965149">
              <a:buClr>
                <a:srgbClr val="43B02A"/>
              </a:buClr>
              <a:buSzPct val="100000"/>
              <a:buFont typeface="Wingdings" panose="05000000000000000000" pitchFamily="2" charset="2"/>
              <a:buChar char="§"/>
              <a:defRPr/>
            </a:pPr>
            <a:endParaRPr lang="en-US" sz="1300" kern="0" dirty="0">
              <a:solidFill>
                <a:prstClr val="black"/>
              </a:solidFill>
            </a:endParaRPr>
          </a:p>
          <a:p>
            <a:pPr marL="171450" indent="-171450" defTabSz="965149">
              <a:buClr>
                <a:srgbClr val="43B02A"/>
              </a:buClr>
              <a:buSzPct val="100000"/>
              <a:buFont typeface="Wingdings" panose="05000000000000000000" pitchFamily="2" charset="2"/>
              <a:buChar char="§"/>
              <a:defRPr/>
            </a:pPr>
            <a:r>
              <a:rPr lang="en-US" sz="1300" kern="0" dirty="0">
                <a:solidFill>
                  <a:prstClr val="black"/>
                </a:solidFill>
              </a:rPr>
              <a:t>This is dummy text it is not here to be read. The is just text to show where you could insert text. Please replace with your text content here.</a:t>
            </a:r>
          </a:p>
          <a:p>
            <a:pPr marL="171450" indent="-171450" defTabSz="965149">
              <a:buClr>
                <a:srgbClr val="43B02A"/>
              </a:buClr>
              <a:buSzPct val="100000"/>
              <a:buFont typeface="Wingdings" panose="05000000000000000000" pitchFamily="2" charset="2"/>
              <a:buChar char="§"/>
              <a:defRPr/>
            </a:pPr>
            <a:endParaRPr lang="en-US" sz="1300" kern="0" dirty="0">
              <a:solidFill>
                <a:prstClr val="black"/>
              </a:solidFill>
            </a:endParaRPr>
          </a:p>
          <a:p>
            <a:pPr marL="171450" indent="-171450" defTabSz="965149">
              <a:buClr>
                <a:srgbClr val="43B02A"/>
              </a:buClr>
              <a:buSzPct val="100000"/>
              <a:buFont typeface="Wingdings" panose="05000000000000000000" pitchFamily="2" charset="2"/>
              <a:buChar char="§"/>
              <a:defRPr/>
            </a:pPr>
            <a:r>
              <a:rPr lang="en-US" sz="1300" kern="0" dirty="0">
                <a:solidFill>
                  <a:prstClr val="black"/>
                </a:solidFill>
              </a:rPr>
              <a:t>This is dummy text it is not here to be read. The is just text to show where you could insert text. Please replace with your text content here.</a:t>
            </a:r>
          </a:p>
        </p:txBody>
      </p:sp>
    </p:spTree>
    <p:custDataLst>
      <p:tags r:id="rId1"/>
    </p:custDataLst>
    <p:extLst>
      <p:ext uri="{BB962C8B-B14F-4D97-AF65-F5344CB8AC3E}">
        <p14:creationId xmlns:p14="http://schemas.microsoft.com/office/powerpoint/2010/main" val="1777714004"/>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6"/>
          <p:cNvSpPr>
            <a:spLocks noChangeArrowheads="1"/>
          </p:cNvSpPr>
          <p:nvPr/>
        </p:nvSpPr>
        <p:spPr bwMode="auto">
          <a:xfrm>
            <a:off x="3713163" y="1146175"/>
            <a:ext cx="2371725" cy="795338"/>
          </a:xfrm>
          <a:prstGeom prst="rect">
            <a:avLst/>
          </a:prstGeom>
          <a:solidFill>
            <a:srgbClr val="696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7"/>
          <p:cNvSpPr>
            <a:spLocks noChangeArrowheads="1"/>
          </p:cNvSpPr>
          <p:nvPr/>
        </p:nvSpPr>
        <p:spPr bwMode="auto">
          <a:xfrm>
            <a:off x="4264025" y="1157288"/>
            <a:ext cx="7037388" cy="795338"/>
          </a:xfrm>
          <a:prstGeom prst="rect">
            <a:avLst/>
          </a:prstGeom>
          <a:noFill/>
          <a:ln w="22225" cap="flat">
            <a:solidFill>
              <a:srgbClr val="696B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Rectangle 8"/>
          <p:cNvSpPr>
            <a:spLocks noChangeArrowheads="1"/>
          </p:cNvSpPr>
          <p:nvPr/>
        </p:nvSpPr>
        <p:spPr bwMode="auto">
          <a:xfrm>
            <a:off x="4862513" y="2093913"/>
            <a:ext cx="1470025" cy="795338"/>
          </a:xfrm>
          <a:prstGeom prst="rect">
            <a:avLst/>
          </a:prstGeom>
          <a:solidFill>
            <a:srgbClr val="9AD3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9"/>
          <p:cNvSpPr>
            <a:spLocks noChangeArrowheads="1"/>
          </p:cNvSpPr>
          <p:nvPr/>
        </p:nvSpPr>
        <p:spPr bwMode="auto">
          <a:xfrm>
            <a:off x="4862513" y="2093913"/>
            <a:ext cx="6438900" cy="795338"/>
          </a:xfrm>
          <a:prstGeom prst="rect">
            <a:avLst/>
          </a:prstGeom>
          <a:noFill/>
          <a:ln w="22225" cap="flat">
            <a:solidFill>
              <a:srgbClr val="9AD3C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Rectangle 10"/>
          <p:cNvSpPr>
            <a:spLocks noChangeArrowheads="1"/>
          </p:cNvSpPr>
          <p:nvPr/>
        </p:nvSpPr>
        <p:spPr bwMode="auto">
          <a:xfrm>
            <a:off x="4783138" y="3030538"/>
            <a:ext cx="1746250" cy="796925"/>
          </a:xfrm>
          <a:prstGeom prst="rect">
            <a:avLst/>
          </a:prstGeom>
          <a:solidFill>
            <a:srgbClr val="7FBE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1"/>
          <p:cNvSpPr>
            <a:spLocks noChangeArrowheads="1"/>
          </p:cNvSpPr>
          <p:nvPr/>
        </p:nvSpPr>
        <p:spPr bwMode="auto">
          <a:xfrm>
            <a:off x="5138738" y="3030538"/>
            <a:ext cx="6162675" cy="796925"/>
          </a:xfrm>
          <a:prstGeom prst="rect">
            <a:avLst/>
          </a:prstGeom>
          <a:noFill/>
          <a:ln w="22225" cap="flat">
            <a:solidFill>
              <a:srgbClr val="7FBE2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Rectangle 12"/>
          <p:cNvSpPr>
            <a:spLocks noChangeArrowheads="1"/>
          </p:cNvSpPr>
          <p:nvPr/>
        </p:nvSpPr>
        <p:spPr bwMode="auto">
          <a:xfrm>
            <a:off x="4416425" y="3968750"/>
            <a:ext cx="1916113" cy="795338"/>
          </a:xfrm>
          <a:prstGeom prst="rect">
            <a:avLst/>
          </a:prstGeom>
          <a:solidFill>
            <a:srgbClr val="00AA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3"/>
          <p:cNvSpPr>
            <a:spLocks noChangeArrowheads="1"/>
          </p:cNvSpPr>
          <p:nvPr/>
        </p:nvSpPr>
        <p:spPr bwMode="auto">
          <a:xfrm>
            <a:off x="4721225" y="3968750"/>
            <a:ext cx="6580188" cy="795338"/>
          </a:xfrm>
          <a:prstGeom prst="rect">
            <a:avLst/>
          </a:prstGeom>
          <a:noFill/>
          <a:ln w="22225"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Rectangle 14"/>
          <p:cNvSpPr>
            <a:spLocks noChangeArrowheads="1"/>
          </p:cNvSpPr>
          <p:nvPr/>
        </p:nvSpPr>
        <p:spPr bwMode="auto">
          <a:xfrm>
            <a:off x="3189288" y="4905375"/>
            <a:ext cx="2895600" cy="795338"/>
          </a:xfrm>
          <a:prstGeom prst="rect">
            <a:avLst/>
          </a:prstGeom>
          <a:solidFill>
            <a:srgbClr val="9698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5"/>
          <p:cNvSpPr>
            <a:spLocks noChangeArrowheads="1"/>
          </p:cNvSpPr>
          <p:nvPr/>
        </p:nvSpPr>
        <p:spPr bwMode="auto">
          <a:xfrm>
            <a:off x="3328988" y="4905375"/>
            <a:ext cx="7972425" cy="795338"/>
          </a:xfrm>
          <a:prstGeom prst="rect">
            <a:avLst/>
          </a:prstGeom>
          <a:noFill/>
          <a:ln w="22225" cap="flat">
            <a:solidFill>
              <a:srgbClr val="9698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Oval 16"/>
          <p:cNvSpPr>
            <a:spLocks noChangeArrowheads="1"/>
          </p:cNvSpPr>
          <p:nvPr/>
        </p:nvSpPr>
        <p:spPr bwMode="auto">
          <a:xfrm>
            <a:off x="873125" y="1062038"/>
            <a:ext cx="4564063" cy="4735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7"/>
          <p:cNvSpPr>
            <a:spLocks/>
          </p:cNvSpPr>
          <p:nvPr/>
        </p:nvSpPr>
        <p:spPr bwMode="auto">
          <a:xfrm>
            <a:off x="3644900" y="5097463"/>
            <a:ext cx="207963" cy="207963"/>
          </a:xfrm>
          <a:custGeom>
            <a:avLst/>
            <a:gdLst>
              <a:gd name="T0" fmla="*/ 34 w 37"/>
              <a:gd name="T1" fmla="*/ 14 h 37"/>
              <a:gd name="T2" fmla="*/ 24 w 37"/>
              <a:gd name="T3" fmla="*/ 34 h 37"/>
              <a:gd name="T4" fmla="*/ 3 w 37"/>
              <a:gd name="T5" fmla="*/ 24 h 37"/>
              <a:gd name="T6" fmla="*/ 14 w 37"/>
              <a:gd name="T7" fmla="*/ 3 h 37"/>
              <a:gd name="T8" fmla="*/ 34 w 37"/>
              <a:gd name="T9" fmla="*/ 14 h 37"/>
            </a:gdLst>
            <a:ahLst/>
            <a:cxnLst>
              <a:cxn ang="0">
                <a:pos x="T0" y="T1"/>
              </a:cxn>
              <a:cxn ang="0">
                <a:pos x="T2" y="T3"/>
              </a:cxn>
              <a:cxn ang="0">
                <a:pos x="T4" y="T5"/>
              </a:cxn>
              <a:cxn ang="0">
                <a:pos x="T6" y="T7"/>
              </a:cxn>
              <a:cxn ang="0">
                <a:pos x="T8" y="T9"/>
              </a:cxn>
            </a:cxnLst>
            <a:rect l="0" t="0" r="r" b="b"/>
            <a:pathLst>
              <a:path w="37" h="37">
                <a:moveTo>
                  <a:pt x="34" y="14"/>
                </a:moveTo>
                <a:cubicBezTo>
                  <a:pt x="37" y="22"/>
                  <a:pt x="32" y="32"/>
                  <a:pt x="24" y="34"/>
                </a:cubicBezTo>
                <a:cubicBezTo>
                  <a:pt x="15" y="37"/>
                  <a:pt x="6" y="32"/>
                  <a:pt x="3" y="24"/>
                </a:cubicBezTo>
                <a:cubicBezTo>
                  <a:pt x="0" y="15"/>
                  <a:pt x="5" y="6"/>
                  <a:pt x="14" y="3"/>
                </a:cubicBezTo>
                <a:cubicBezTo>
                  <a:pt x="22" y="0"/>
                  <a:pt x="31" y="5"/>
                  <a:pt x="34" y="1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8"/>
          <p:cNvSpPr>
            <a:spLocks/>
          </p:cNvSpPr>
          <p:nvPr/>
        </p:nvSpPr>
        <p:spPr bwMode="auto">
          <a:xfrm>
            <a:off x="4597400" y="4402138"/>
            <a:ext cx="214313" cy="209550"/>
          </a:xfrm>
          <a:custGeom>
            <a:avLst/>
            <a:gdLst>
              <a:gd name="T0" fmla="*/ 29 w 38"/>
              <a:gd name="T1" fmla="*/ 6 h 37"/>
              <a:gd name="T2" fmla="*/ 32 w 38"/>
              <a:gd name="T3" fmla="*/ 28 h 37"/>
              <a:gd name="T4" fmla="*/ 9 w 38"/>
              <a:gd name="T5" fmla="*/ 32 h 37"/>
              <a:gd name="T6" fmla="*/ 6 w 38"/>
              <a:gd name="T7" fmla="*/ 9 h 37"/>
              <a:gd name="T8" fmla="*/ 29 w 38"/>
              <a:gd name="T9" fmla="*/ 6 h 37"/>
            </a:gdLst>
            <a:ahLst/>
            <a:cxnLst>
              <a:cxn ang="0">
                <a:pos x="T0" y="T1"/>
              </a:cxn>
              <a:cxn ang="0">
                <a:pos x="T2" y="T3"/>
              </a:cxn>
              <a:cxn ang="0">
                <a:pos x="T4" y="T5"/>
              </a:cxn>
              <a:cxn ang="0">
                <a:pos x="T6" y="T7"/>
              </a:cxn>
              <a:cxn ang="0">
                <a:pos x="T8" y="T9"/>
              </a:cxn>
            </a:cxnLst>
            <a:rect l="0" t="0" r="r" b="b"/>
            <a:pathLst>
              <a:path w="38" h="37">
                <a:moveTo>
                  <a:pt x="29" y="6"/>
                </a:moveTo>
                <a:cubicBezTo>
                  <a:pt x="36" y="11"/>
                  <a:pt x="38" y="21"/>
                  <a:pt x="32" y="28"/>
                </a:cubicBezTo>
                <a:cubicBezTo>
                  <a:pt x="27" y="36"/>
                  <a:pt x="17" y="37"/>
                  <a:pt x="9" y="32"/>
                </a:cubicBezTo>
                <a:cubicBezTo>
                  <a:pt x="2" y="27"/>
                  <a:pt x="0" y="16"/>
                  <a:pt x="6" y="9"/>
                </a:cubicBezTo>
                <a:cubicBezTo>
                  <a:pt x="11" y="2"/>
                  <a:pt x="21" y="0"/>
                  <a:pt x="29" y="6"/>
                </a:cubicBezTo>
                <a:close/>
              </a:path>
            </a:pathLst>
          </a:custGeom>
          <a:solidFill>
            <a:srgbClr val="00A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19"/>
          <p:cNvSpPr>
            <a:spLocks noChangeArrowheads="1"/>
          </p:cNvSpPr>
          <p:nvPr/>
        </p:nvSpPr>
        <p:spPr bwMode="auto">
          <a:xfrm>
            <a:off x="4975225" y="3290888"/>
            <a:ext cx="185738" cy="185738"/>
          </a:xfrm>
          <a:prstGeom prst="ellipse">
            <a:avLst/>
          </a:pr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p:cNvSpPr>
            <a:spLocks/>
          </p:cNvSpPr>
          <p:nvPr/>
        </p:nvSpPr>
        <p:spPr bwMode="auto">
          <a:xfrm>
            <a:off x="4597400" y="2155825"/>
            <a:ext cx="214313" cy="209550"/>
          </a:xfrm>
          <a:custGeom>
            <a:avLst/>
            <a:gdLst>
              <a:gd name="T0" fmla="*/ 9 w 38"/>
              <a:gd name="T1" fmla="*/ 6 h 37"/>
              <a:gd name="T2" fmla="*/ 32 w 38"/>
              <a:gd name="T3" fmla="*/ 9 h 37"/>
              <a:gd name="T4" fmla="*/ 29 w 38"/>
              <a:gd name="T5" fmla="*/ 32 h 37"/>
              <a:gd name="T6" fmla="*/ 6 w 38"/>
              <a:gd name="T7" fmla="*/ 29 h 37"/>
              <a:gd name="T8" fmla="*/ 9 w 38"/>
              <a:gd name="T9" fmla="*/ 6 h 37"/>
            </a:gdLst>
            <a:ahLst/>
            <a:cxnLst>
              <a:cxn ang="0">
                <a:pos x="T0" y="T1"/>
              </a:cxn>
              <a:cxn ang="0">
                <a:pos x="T2" y="T3"/>
              </a:cxn>
              <a:cxn ang="0">
                <a:pos x="T4" y="T5"/>
              </a:cxn>
              <a:cxn ang="0">
                <a:pos x="T6" y="T7"/>
              </a:cxn>
              <a:cxn ang="0">
                <a:pos x="T8" y="T9"/>
              </a:cxn>
            </a:cxnLst>
            <a:rect l="0" t="0" r="r" b="b"/>
            <a:pathLst>
              <a:path w="38" h="37">
                <a:moveTo>
                  <a:pt x="9" y="6"/>
                </a:moveTo>
                <a:cubicBezTo>
                  <a:pt x="17" y="0"/>
                  <a:pt x="27" y="2"/>
                  <a:pt x="32" y="9"/>
                </a:cubicBezTo>
                <a:cubicBezTo>
                  <a:pt x="38" y="17"/>
                  <a:pt x="36" y="27"/>
                  <a:pt x="29" y="32"/>
                </a:cubicBezTo>
                <a:cubicBezTo>
                  <a:pt x="21" y="37"/>
                  <a:pt x="11" y="36"/>
                  <a:pt x="6" y="29"/>
                </a:cubicBezTo>
                <a:cubicBezTo>
                  <a:pt x="0" y="21"/>
                  <a:pt x="2" y="11"/>
                  <a:pt x="9" y="6"/>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
          <p:cNvSpPr>
            <a:spLocks/>
          </p:cNvSpPr>
          <p:nvPr/>
        </p:nvSpPr>
        <p:spPr bwMode="auto">
          <a:xfrm>
            <a:off x="3644900" y="1462088"/>
            <a:ext cx="207963" cy="207963"/>
          </a:xfrm>
          <a:custGeom>
            <a:avLst/>
            <a:gdLst>
              <a:gd name="T0" fmla="*/ 3 w 37"/>
              <a:gd name="T1" fmla="*/ 14 h 37"/>
              <a:gd name="T2" fmla="*/ 24 w 37"/>
              <a:gd name="T3" fmla="*/ 3 h 37"/>
              <a:gd name="T4" fmla="*/ 34 w 37"/>
              <a:gd name="T5" fmla="*/ 24 h 37"/>
              <a:gd name="T6" fmla="*/ 14 w 37"/>
              <a:gd name="T7" fmla="*/ 35 h 37"/>
              <a:gd name="T8" fmla="*/ 3 w 37"/>
              <a:gd name="T9" fmla="*/ 14 h 37"/>
            </a:gdLst>
            <a:ahLst/>
            <a:cxnLst>
              <a:cxn ang="0">
                <a:pos x="T0" y="T1"/>
              </a:cxn>
              <a:cxn ang="0">
                <a:pos x="T2" y="T3"/>
              </a:cxn>
              <a:cxn ang="0">
                <a:pos x="T4" y="T5"/>
              </a:cxn>
              <a:cxn ang="0">
                <a:pos x="T6" y="T7"/>
              </a:cxn>
              <a:cxn ang="0">
                <a:pos x="T8" y="T9"/>
              </a:cxn>
            </a:cxnLst>
            <a:rect l="0" t="0" r="r" b="b"/>
            <a:pathLst>
              <a:path w="37" h="37">
                <a:moveTo>
                  <a:pt x="3" y="14"/>
                </a:moveTo>
                <a:cubicBezTo>
                  <a:pt x="6" y="5"/>
                  <a:pt x="15" y="0"/>
                  <a:pt x="24" y="3"/>
                </a:cubicBezTo>
                <a:cubicBezTo>
                  <a:pt x="32" y="6"/>
                  <a:pt x="37" y="15"/>
                  <a:pt x="34" y="24"/>
                </a:cubicBezTo>
                <a:cubicBezTo>
                  <a:pt x="31" y="33"/>
                  <a:pt x="22" y="37"/>
                  <a:pt x="14" y="35"/>
                </a:cubicBezTo>
                <a:cubicBezTo>
                  <a:pt x="5" y="32"/>
                  <a:pt x="0" y="22"/>
                  <a:pt x="3" y="14"/>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p:cNvSpPr>
            <a:spLocks/>
          </p:cNvSpPr>
          <p:nvPr/>
        </p:nvSpPr>
        <p:spPr bwMode="auto">
          <a:xfrm>
            <a:off x="3898900" y="4629150"/>
            <a:ext cx="714375" cy="534988"/>
          </a:xfrm>
          <a:custGeom>
            <a:avLst/>
            <a:gdLst>
              <a:gd name="T0" fmla="*/ 4 w 127"/>
              <a:gd name="T1" fmla="*/ 95 h 95"/>
              <a:gd name="T2" fmla="*/ 0 w 127"/>
              <a:gd name="T3" fmla="*/ 87 h 95"/>
              <a:gd name="T4" fmla="*/ 121 w 127"/>
              <a:gd name="T5" fmla="*/ 0 h 95"/>
              <a:gd name="T6" fmla="*/ 127 w 127"/>
              <a:gd name="T7" fmla="*/ 6 h 95"/>
              <a:gd name="T8" fmla="*/ 4 w 127"/>
              <a:gd name="T9" fmla="*/ 95 h 95"/>
            </a:gdLst>
            <a:ahLst/>
            <a:cxnLst>
              <a:cxn ang="0">
                <a:pos x="T0" y="T1"/>
              </a:cxn>
              <a:cxn ang="0">
                <a:pos x="T2" y="T3"/>
              </a:cxn>
              <a:cxn ang="0">
                <a:pos x="T4" y="T5"/>
              </a:cxn>
              <a:cxn ang="0">
                <a:pos x="T6" y="T7"/>
              </a:cxn>
              <a:cxn ang="0">
                <a:pos x="T8" y="T9"/>
              </a:cxn>
            </a:cxnLst>
            <a:rect l="0" t="0" r="r" b="b"/>
            <a:pathLst>
              <a:path w="127" h="95">
                <a:moveTo>
                  <a:pt x="4" y="95"/>
                </a:moveTo>
                <a:cubicBezTo>
                  <a:pt x="0" y="87"/>
                  <a:pt x="0" y="87"/>
                  <a:pt x="0" y="87"/>
                </a:cubicBezTo>
                <a:cubicBezTo>
                  <a:pt x="46" y="67"/>
                  <a:pt x="88" y="37"/>
                  <a:pt x="121" y="0"/>
                </a:cubicBezTo>
                <a:cubicBezTo>
                  <a:pt x="127" y="6"/>
                  <a:pt x="127" y="6"/>
                  <a:pt x="127" y="6"/>
                </a:cubicBezTo>
                <a:cubicBezTo>
                  <a:pt x="94" y="44"/>
                  <a:pt x="51" y="75"/>
                  <a:pt x="4" y="95"/>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p:nvSpPr>
        <p:spPr bwMode="auto">
          <a:xfrm>
            <a:off x="4776788" y="3556000"/>
            <a:ext cx="311150" cy="823913"/>
          </a:xfrm>
          <a:custGeom>
            <a:avLst/>
            <a:gdLst>
              <a:gd name="T0" fmla="*/ 8 w 55"/>
              <a:gd name="T1" fmla="*/ 146 h 146"/>
              <a:gd name="T2" fmla="*/ 0 w 55"/>
              <a:gd name="T3" fmla="*/ 141 h 146"/>
              <a:gd name="T4" fmla="*/ 46 w 55"/>
              <a:gd name="T5" fmla="*/ 0 h 146"/>
              <a:gd name="T6" fmla="*/ 55 w 55"/>
              <a:gd name="T7" fmla="*/ 1 h 146"/>
              <a:gd name="T8" fmla="*/ 8 w 55"/>
              <a:gd name="T9" fmla="*/ 146 h 146"/>
            </a:gdLst>
            <a:ahLst/>
            <a:cxnLst>
              <a:cxn ang="0">
                <a:pos x="T0" y="T1"/>
              </a:cxn>
              <a:cxn ang="0">
                <a:pos x="T2" y="T3"/>
              </a:cxn>
              <a:cxn ang="0">
                <a:pos x="T4" y="T5"/>
              </a:cxn>
              <a:cxn ang="0">
                <a:pos x="T6" y="T7"/>
              </a:cxn>
              <a:cxn ang="0">
                <a:pos x="T8" y="T9"/>
              </a:cxn>
            </a:cxnLst>
            <a:rect l="0" t="0" r="r" b="b"/>
            <a:pathLst>
              <a:path w="55" h="146">
                <a:moveTo>
                  <a:pt x="8" y="146"/>
                </a:moveTo>
                <a:cubicBezTo>
                  <a:pt x="0" y="141"/>
                  <a:pt x="0" y="141"/>
                  <a:pt x="0" y="141"/>
                </a:cubicBezTo>
                <a:cubicBezTo>
                  <a:pt x="25" y="98"/>
                  <a:pt x="41" y="49"/>
                  <a:pt x="46" y="0"/>
                </a:cubicBezTo>
                <a:cubicBezTo>
                  <a:pt x="55" y="1"/>
                  <a:pt x="55" y="1"/>
                  <a:pt x="55" y="1"/>
                </a:cubicBezTo>
                <a:cubicBezTo>
                  <a:pt x="50" y="52"/>
                  <a:pt x="34" y="102"/>
                  <a:pt x="8" y="146"/>
                </a:cubicBezTo>
                <a:close/>
              </a:path>
            </a:pathLst>
          </a:custGeom>
          <a:solidFill>
            <a:srgbClr val="00A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p:cNvSpPr>
          <p:nvPr/>
        </p:nvSpPr>
        <p:spPr bwMode="auto">
          <a:xfrm>
            <a:off x="4776788" y="2393950"/>
            <a:ext cx="311150" cy="823913"/>
          </a:xfrm>
          <a:custGeom>
            <a:avLst/>
            <a:gdLst>
              <a:gd name="T0" fmla="*/ 46 w 55"/>
              <a:gd name="T1" fmla="*/ 146 h 146"/>
              <a:gd name="T2" fmla="*/ 0 w 55"/>
              <a:gd name="T3" fmla="*/ 5 h 146"/>
              <a:gd name="T4" fmla="*/ 8 w 55"/>
              <a:gd name="T5" fmla="*/ 0 h 146"/>
              <a:gd name="T6" fmla="*/ 55 w 55"/>
              <a:gd name="T7" fmla="*/ 145 h 146"/>
              <a:gd name="T8" fmla="*/ 46 w 55"/>
              <a:gd name="T9" fmla="*/ 146 h 146"/>
            </a:gdLst>
            <a:ahLst/>
            <a:cxnLst>
              <a:cxn ang="0">
                <a:pos x="T0" y="T1"/>
              </a:cxn>
              <a:cxn ang="0">
                <a:pos x="T2" y="T3"/>
              </a:cxn>
              <a:cxn ang="0">
                <a:pos x="T4" y="T5"/>
              </a:cxn>
              <a:cxn ang="0">
                <a:pos x="T6" y="T7"/>
              </a:cxn>
              <a:cxn ang="0">
                <a:pos x="T8" y="T9"/>
              </a:cxn>
            </a:cxnLst>
            <a:rect l="0" t="0" r="r" b="b"/>
            <a:pathLst>
              <a:path w="55" h="146">
                <a:moveTo>
                  <a:pt x="46" y="146"/>
                </a:moveTo>
                <a:cubicBezTo>
                  <a:pt x="41" y="96"/>
                  <a:pt x="25" y="47"/>
                  <a:pt x="0" y="5"/>
                </a:cubicBezTo>
                <a:cubicBezTo>
                  <a:pt x="8" y="0"/>
                  <a:pt x="8" y="0"/>
                  <a:pt x="8" y="0"/>
                </a:cubicBezTo>
                <a:cubicBezTo>
                  <a:pt x="34" y="44"/>
                  <a:pt x="50" y="94"/>
                  <a:pt x="55" y="145"/>
                </a:cubicBezTo>
                <a:lnTo>
                  <a:pt x="46" y="146"/>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p:cNvSpPr>
          <p:nvPr/>
        </p:nvSpPr>
        <p:spPr bwMode="auto">
          <a:xfrm>
            <a:off x="3898900" y="1603375"/>
            <a:ext cx="714375" cy="541338"/>
          </a:xfrm>
          <a:custGeom>
            <a:avLst/>
            <a:gdLst>
              <a:gd name="T0" fmla="*/ 121 w 127"/>
              <a:gd name="T1" fmla="*/ 96 h 96"/>
              <a:gd name="T2" fmla="*/ 0 w 127"/>
              <a:gd name="T3" fmla="*/ 9 h 96"/>
              <a:gd name="T4" fmla="*/ 4 w 127"/>
              <a:gd name="T5" fmla="*/ 0 h 96"/>
              <a:gd name="T6" fmla="*/ 127 w 127"/>
              <a:gd name="T7" fmla="*/ 90 h 96"/>
              <a:gd name="T8" fmla="*/ 121 w 127"/>
              <a:gd name="T9" fmla="*/ 96 h 96"/>
            </a:gdLst>
            <a:ahLst/>
            <a:cxnLst>
              <a:cxn ang="0">
                <a:pos x="T0" y="T1"/>
              </a:cxn>
              <a:cxn ang="0">
                <a:pos x="T2" y="T3"/>
              </a:cxn>
              <a:cxn ang="0">
                <a:pos x="T4" y="T5"/>
              </a:cxn>
              <a:cxn ang="0">
                <a:pos x="T6" y="T7"/>
              </a:cxn>
              <a:cxn ang="0">
                <a:pos x="T8" y="T9"/>
              </a:cxn>
            </a:cxnLst>
            <a:rect l="0" t="0" r="r" b="b"/>
            <a:pathLst>
              <a:path w="127" h="96">
                <a:moveTo>
                  <a:pt x="121" y="96"/>
                </a:moveTo>
                <a:cubicBezTo>
                  <a:pt x="88" y="58"/>
                  <a:pt x="46" y="28"/>
                  <a:pt x="0" y="9"/>
                </a:cubicBezTo>
                <a:cubicBezTo>
                  <a:pt x="4" y="0"/>
                  <a:pt x="4" y="0"/>
                  <a:pt x="4" y="0"/>
                </a:cubicBezTo>
                <a:cubicBezTo>
                  <a:pt x="51" y="20"/>
                  <a:pt x="94" y="52"/>
                  <a:pt x="127" y="90"/>
                </a:cubicBezTo>
                <a:lnTo>
                  <a:pt x="121" y="96"/>
                </a:ln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auto">
          <a:xfrm>
            <a:off x="2225675" y="4684713"/>
            <a:ext cx="912813" cy="333375"/>
          </a:xfrm>
          <a:custGeom>
            <a:avLst/>
            <a:gdLst>
              <a:gd name="T0" fmla="*/ 162 w 162"/>
              <a:gd name="T1" fmla="*/ 59 h 59"/>
              <a:gd name="T2" fmla="*/ 0 w 162"/>
              <a:gd name="T3" fmla="*/ 7 h 59"/>
              <a:gd name="T4" fmla="*/ 5 w 162"/>
              <a:gd name="T5" fmla="*/ 0 h 59"/>
              <a:gd name="T6" fmla="*/ 162 w 162"/>
              <a:gd name="T7" fmla="*/ 50 h 59"/>
              <a:gd name="T8" fmla="*/ 162 w 162"/>
              <a:gd name="T9" fmla="*/ 59 h 59"/>
            </a:gdLst>
            <a:ahLst/>
            <a:cxnLst>
              <a:cxn ang="0">
                <a:pos x="T0" y="T1"/>
              </a:cxn>
              <a:cxn ang="0">
                <a:pos x="T2" y="T3"/>
              </a:cxn>
              <a:cxn ang="0">
                <a:pos x="T4" y="T5"/>
              </a:cxn>
              <a:cxn ang="0">
                <a:pos x="T6" y="T7"/>
              </a:cxn>
              <a:cxn ang="0">
                <a:pos x="T8" y="T9"/>
              </a:cxn>
            </a:cxnLst>
            <a:rect l="0" t="0" r="r" b="b"/>
            <a:pathLst>
              <a:path w="162" h="59">
                <a:moveTo>
                  <a:pt x="162" y="59"/>
                </a:moveTo>
                <a:cubicBezTo>
                  <a:pt x="104" y="59"/>
                  <a:pt x="48" y="41"/>
                  <a:pt x="0" y="7"/>
                </a:cubicBezTo>
                <a:cubicBezTo>
                  <a:pt x="5" y="0"/>
                  <a:pt x="5" y="0"/>
                  <a:pt x="5" y="0"/>
                </a:cubicBezTo>
                <a:cubicBezTo>
                  <a:pt x="52" y="32"/>
                  <a:pt x="106" y="50"/>
                  <a:pt x="162" y="50"/>
                </a:cubicBezTo>
                <a:lnTo>
                  <a:pt x="162" y="59"/>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7"/>
          <p:cNvSpPr>
            <a:spLocks/>
          </p:cNvSpPr>
          <p:nvPr/>
        </p:nvSpPr>
        <p:spPr bwMode="auto">
          <a:xfrm>
            <a:off x="1616075" y="3900488"/>
            <a:ext cx="598488" cy="795338"/>
          </a:xfrm>
          <a:custGeom>
            <a:avLst/>
            <a:gdLst>
              <a:gd name="T0" fmla="*/ 101 w 106"/>
              <a:gd name="T1" fmla="*/ 141 h 141"/>
              <a:gd name="T2" fmla="*/ 0 w 106"/>
              <a:gd name="T3" fmla="*/ 3 h 141"/>
              <a:gd name="T4" fmla="*/ 9 w 106"/>
              <a:gd name="T5" fmla="*/ 0 h 141"/>
              <a:gd name="T6" fmla="*/ 106 w 106"/>
              <a:gd name="T7" fmla="*/ 134 h 141"/>
              <a:gd name="T8" fmla="*/ 101 w 106"/>
              <a:gd name="T9" fmla="*/ 141 h 141"/>
            </a:gdLst>
            <a:ahLst/>
            <a:cxnLst>
              <a:cxn ang="0">
                <a:pos x="T0" y="T1"/>
              </a:cxn>
              <a:cxn ang="0">
                <a:pos x="T2" y="T3"/>
              </a:cxn>
              <a:cxn ang="0">
                <a:pos x="T4" y="T5"/>
              </a:cxn>
              <a:cxn ang="0">
                <a:pos x="T6" y="T7"/>
              </a:cxn>
              <a:cxn ang="0">
                <a:pos x="T8" y="T9"/>
              </a:cxn>
            </a:cxnLst>
            <a:rect l="0" t="0" r="r" b="b"/>
            <a:pathLst>
              <a:path w="106" h="141">
                <a:moveTo>
                  <a:pt x="101" y="141"/>
                </a:moveTo>
                <a:cubicBezTo>
                  <a:pt x="54" y="106"/>
                  <a:pt x="19" y="58"/>
                  <a:pt x="0" y="3"/>
                </a:cubicBezTo>
                <a:cubicBezTo>
                  <a:pt x="9" y="0"/>
                  <a:pt x="9" y="0"/>
                  <a:pt x="9" y="0"/>
                </a:cubicBezTo>
                <a:cubicBezTo>
                  <a:pt x="27" y="54"/>
                  <a:pt x="61" y="100"/>
                  <a:pt x="106" y="134"/>
                </a:cubicBezTo>
                <a:lnTo>
                  <a:pt x="101" y="141"/>
                </a:lnTo>
                <a:close/>
              </a:path>
            </a:pathLst>
          </a:custGeom>
          <a:solidFill>
            <a:srgbClr val="00A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8"/>
          <p:cNvSpPr>
            <a:spLocks/>
          </p:cNvSpPr>
          <p:nvPr/>
        </p:nvSpPr>
        <p:spPr bwMode="auto">
          <a:xfrm>
            <a:off x="1503363" y="2906713"/>
            <a:ext cx="147638" cy="965200"/>
          </a:xfrm>
          <a:custGeom>
            <a:avLst/>
            <a:gdLst>
              <a:gd name="T0" fmla="*/ 17 w 26"/>
              <a:gd name="T1" fmla="*/ 171 h 171"/>
              <a:gd name="T2" fmla="*/ 17 w 26"/>
              <a:gd name="T3" fmla="*/ 0 h 171"/>
              <a:gd name="T4" fmla="*/ 26 w 26"/>
              <a:gd name="T5" fmla="*/ 3 h 171"/>
              <a:gd name="T6" fmla="*/ 26 w 26"/>
              <a:gd name="T7" fmla="*/ 168 h 171"/>
              <a:gd name="T8" fmla="*/ 17 w 26"/>
              <a:gd name="T9" fmla="*/ 171 h 171"/>
            </a:gdLst>
            <a:ahLst/>
            <a:cxnLst>
              <a:cxn ang="0">
                <a:pos x="T0" y="T1"/>
              </a:cxn>
              <a:cxn ang="0">
                <a:pos x="T2" y="T3"/>
              </a:cxn>
              <a:cxn ang="0">
                <a:pos x="T4" y="T5"/>
              </a:cxn>
              <a:cxn ang="0">
                <a:pos x="T6" y="T7"/>
              </a:cxn>
              <a:cxn ang="0">
                <a:pos x="T8" y="T9"/>
              </a:cxn>
            </a:cxnLst>
            <a:rect l="0" t="0" r="r" b="b"/>
            <a:pathLst>
              <a:path w="26" h="171">
                <a:moveTo>
                  <a:pt x="17" y="171"/>
                </a:moveTo>
                <a:cubicBezTo>
                  <a:pt x="0" y="115"/>
                  <a:pt x="0" y="56"/>
                  <a:pt x="17" y="0"/>
                </a:cubicBezTo>
                <a:cubicBezTo>
                  <a:pt x="26" y="3"/>
                  <a:pt x="26" y="3"/>
                  <a:pt x="26" y="3"/>
                </a:cubicBezTo>
                <a:cubicBezTo>
                  <a:pt x="9" y="57"/>
                  <a:pt x="9" y="114"/>
                  <a:pt x="26" y="168"/>
                </a:cubicBezTo>
                <a:lnTo>
                  <a:pt x="17" y="171"/>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9"/>
          <p:cNvSpPr>
            <a:spLocks/>
          </p:cNvSpPr>
          <p:nvPr/>
        </p:nvSpPr>
        <p:spPr bwMode="auto">
          <a:xfrm>
            <a:off x="1616075" y="2082800"/>
            <a:ext cx="592138" cy="795338"/>
          </a:xfrm>
          <a:custGeom>
            <a:avLst/>
            <a:gdLst>
              <a:gd name="T0" fmla="*/ 8 w 105"/>
              <a:gd name="T1" fmla="*/ 141 h 141"/>
              <a:gd name="T2" fmla="*/ 0 w 105"/>
              <a:gd name="T3" fmla="*/ 138 h 141"/>
              <a:gd name="T4" fmla="*/ 100 w 105"/>
              <a:gd name="T5" fmla="*/ 0 h 141"/>
              <a:gd name="T6" fmla="*/ 105 w 105"/>
              <a:gd name="T7" fmla="*/ 7 h 141"/>
              <a:gd name="T8" fmla="*/ 8 w 105"/>
              <a:gd name="T9" fmla="*/ 141 h 141"/>
            </a:gdLst>
            <a:ahLst/>
            <a:cxnLst>
              <a:cxn ang="0">
                <a:pos x="T0" y="T1"/>
              </a:cxn>
              <a:cxn ang="0">
                <a:pos x="T2" y="T3"/>
              </a:cxn>
              <a:cxn ang="0">
                <a:pos x="T4" y="T5"/>
              </a:cxn>
              <a:cxn ang="0">
                <a:pos x="T6" y="T7"/>
              </a:cxn>
              <a:cxn ang="0">
                <a:pos x="T8" y="T9"/>
              </a:cxn>
            </a:cxnLst>
            <a:rect l="0" t="0" r="r" b="b"/>
            <a:pathLst>
              <a:path w="105" h="141">
                <a:moveTo>
                  <a:pt x="8" y="141"/>
                </a:moveTo>
                <a:cubicBezTo>
                  <a:pt x="0" y="138"/>
                  <a:pt x="0" y="138"/>
                  <a:pt x="0" y="138"/>
                </a:cubicBezTo>
                <a:cubicBezTo>
                  <a:pt x="19" y="83"/>
                  <a:pt x="53" y="35"/>
                  <a:pt x="100" y="0"/>
                </a:cubicBezTo>
                <a:cubicBezTo>
                  <a:pt x="105" y="7"/>
                  <a:pt x="105" y="7"/>
                  <a:pt x="105" y="7"/>
                </a:cubicBezTo>
                <a:cubicBezTo>
                  <a:pt x="60" y="41"/>
                  <a:pt x="26" y="87"/>
                  <a:pt x="8" y="141"/>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0"/>
          <p:cNvSpPr>
            <a:spLocks/>
          </p:cNvSpPr>
          <p:nvPr/>
        </p:nvSpPr>
        <p:spPr bwMode="auto">
          <a:xfrm>
            <a:off x="2219325" y="1749425"/>
            <a:ext cx="912813" cy="344488"/>
          </a:xfrm>
          <a:custGeom>
            <a:avLst/>
            <a:gdLst>
              <a:gd name="T0" fmla="*/ 5 w 162"/>
              <a:gd name="T1" fmla="*/ 61 h 61"/>
              <a:gd name="T2" fmla="*/ 0 w 162"/>
              <a:gd name="T3" fmla="*/ 53 h 61"/>
              <a:gd name="T4" fmla="*/ 162 w 162"/>
              <a:gd name="T5" fmla="*/ 0 h 61"/>
              <a:gd name="T6" fmla="*/ 162 w 162"/>
              <a:gd name="T7" fmla="*/ 9 h 61"/>
              <a:gd name="T8" fmla="*/ 5 w 162"/>
              <a:gd name="T9" fmla="*/ 61 h 61"/>
            </a:gdLst>
            <a:ahLst/>
            <a:cxnLst>
              <a:cxn ang="0">
                <a:pos x="T0" y="T1"/>
              </a:cxn>
              <a:cxn ang="0">
                <a:pos x="T2" y="T3"/>
              </a:cxn>
              <a:cxn ang="0">
                <a:pos x="T4" y="T5"/>
              </a:cxn>
              <a:cxn ang="0">
                <a:pos x="T6" y="T7"/>
              </a:cxn>
              <a:cxn ang="0">
                <a:pos x="T8" y="T9"/>
              </a:cxn>
            </a:cxnLst>
            <a:rect l="0" t="0" r="r" b="b"/>
            <a:pathLst>
              <a:path w="162" h="61">
                <a:moveTo>
                  <a:pt x="5" y="61"/>
                </a:moveTo>
                <a:cubicBezTo>
                  <a:pt x="0" y="53"/>
                  <a:pt x="0" y="53"/>
                  <a:pt x="0" y="53"/>
                </a:cubicBezTo>
                <a:cubicBezTo>
                  <a:pt x="47" y="20"/>
                  <a:pt x="103" y="1"/>
                  <a:pt x="162" y="0"/>
                </a:cubicBezTo>
                <a:cubicBezTo>
                  <a:pt x="162" y="9"/>
                  <a:pt x="162" y="9"/>
                  <a:pt x="162" y="9"/>
                </a:cubicBezTo>
                <a:cubicBezTo>
                  <a:pt x="105" y="10"/>
                  <a:pt x="51" y="28"/>
                  <a:pt x="5" y="61"/>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1"/>
          <p:cNvSpPr>
            <a:spLocks noEditPoints="1"/>
          </p:cNvSpPr>
          <p:nvPr/>
        </p:nvSpPr>
        <p:spPr bwMode="auto">
          <a:xfrm>
            <a:off x="3543300" y="5006975"/>
            <a:ext cx="411163" cy="395288"/>
          </a:xfrm>
          <a:custGeom>
            <a:avLst/>
            <a:gdLst>
              <a:gd name="T0" fmla="*/ 37 w 73"/>
              <a:gd name="T1" fmla="*/ 70 h 70"/>
              <a:gd name="T2" fmla="*/ 3 w 73"/>
              <a:gd name="T3" fmla="*/ 46 h 70"/>
              <a:gd name="T4" fmla="*/ 5 w 73"/>
              <a:gd name="T5" fmla="*/ 19 h 70"/>
              <a:gd name="T6" fmla="*/ 26 w 73"/>
              <a:gd name="T7" fmla="*/ 2 h 70"/>
              <a:gd name="T8" fmla="*/ 37 w 73"/>
              <a:gd name="T9" fmla="*/ 0 h 70"/>
              <a:gd name="T10" fmla="*/ 70 w 73"/>
              <a:gd name="T11" fmla="*/ 24 h 70"/>
              <a:gd name="T12" fmla="*/ 68 w 73"/>
              <a:gd name="T13" fmla="*/ 51 h 70"/>
              <a:gd name="T14" fmla="*/ 47 w 73"/>
              <a:gd name="T15" fmla="*/ 68 h 70"/>
              <a:gd name="T16" fmla="*/ 37 w 73"/>
              <a:gd name="T17" fmla="*/ 70 h 70"/>
              <a:gd name="T18" fmla="*/ 37 w 73"/>
              <a:gd name="T19" fmla="*/ 9 h 70"/>
              <a:gd name="T20" fmla="*/ 29 w 73"/>
              <a:gd name="T21" fmla="*/ 10 h 70"/>
              <a:gd name="T22" fmla="*/ 13 w 73"/>
              <a:gd name="T23" fmla="*/ 23 h 70"/>
              <a:gd name="T24" fmla="*/ 12 w 73"/>
              <a:gd name="T25" fmla="*/ 43 h 70"/>
              <a:gd name="T26" fmla="*/ 37 w 73"/>
              <a:gd name="T27" fmla="*/ 61 h 70"/>
              <a:gd name="T28" fmla="*/ 45 w 73"/>
              <a:gd name="T29" fmla="*/ 59 h 70"/>
              <a:gd name="T30" fmla="*/ 60 w 73"/>
              <a:gd name="T31" fmla="*/ 47 h 70"/>
              <a:gd name="T32" fmla="*/ 61 w 73"/>
              <a:gd name="T33" fmla="*/ 27 h 70"/>
              <a:gd name="T34" fmla="*/ 37 w 73"/>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0">
                <a:moveTo>
                  <a:pt x="37" y="70"/>
                </a:moveTo>
                <a:cubicBezTo>
                  <a:pt x="21" y="70"/>
                  <a:pt x="8" y="60"/>
                  <a:pt x="3" y="46"/>
                </a:cubicBezTo>
                <a:cubicBezTo>
                  <a:pt x="0" y="37"/>
                  <a:pt x="1" y="27"/>
                  <a:pt x="5" y="19"/>
                </a:cubicBezTo>
                <a:cubicBezTo>
                  <a:pt x="10" y="11"/>
                  <a:pt x="17" y="4"/>
                  <a:pt x="26" y="2"/>
                </a:cubicBezTo>
                <a:cubicBezTo>
                  <a:pt x="29" y="0"/>
                  <a:pt x="33" y="0"/>
                  <a:pt x="37" y="0"/>
                </a:cubicBezTo>
                <a:cubicBezTo>
                  <a:pt x="52" y="0"/>
                  <a:pt x="65" y="10"/>
                  <a:pt x="70" y="24"/>
                </a:cubicBezTo>
                <a:cubicBezTo>
                  <a:pt x="73" y="33"/>
                  <a:pt x="72" y="42"/>
                  <a:pt x="68" y="51"/>
                </a:cubicBezTo>
                <a:cubicBezTo>
                  <a:pt x="64" y="59"/>
                  <a:pt x="56" y="65"/>
                  <a:pt x="47" y="68"/>
                </a:cubicBezTo>
                <a:cubicBezTo>
                  <a:pt x="44" y="69"/>
                  <a:pt x="40" y="70"/>
                  <a:pt x="37" y="70"/>
                </a:cubicBezTo>
                <a:close/>
                <a:moveTo>
                  <a:pt x="37" y="9"/>
                </a:moveTo>
                <a:cubicBezTo>
                  <a:pt x="34" y="9"/>
                  <a:pt x="31" y="9"/>
                  <a:pt x="29" y="10"/>
                </a:cubicBezTo>
                <a:cubicBezTo>
                  <a:pt x="22" y="12"/>
                  <a:pt x="17" y="17"/>
                  <a:pt x="13" y="23"/>
                </a:cubicBezTo>
                <a:cubicBezTo>
                  <a:pt x="10" y="29"/>
                  <a:pt x="10" y="36"/>
                  <a:pt x="12" y="43"/>
                </a:cubicBezTo>
                <a:cubicBezTo>
                  <a:pt x="15" y="54"/>
                  <a:pt x="25" y="61"/>
                  <a:pt x="37" y="61"/>
                </a:cubicBezTo>
                <a:cubicBezTo>
                  <a:pt x="39" y="61"/>
                  <a:pt x="42" y="60"/>
                  <a:pt x="45" y="59"/>
                </a:cubicBezTo>
                <a:cubicBezTo>
                  <a:pt x="51" y="57"/>
                  <a:pt x="57" y="53"/>
                  <a:pt x="60" y="47"/>
                </a:cubicBezTo>
                <a:cubicBezTo>
                  <a:pt x="63" y="40"/>
                  <a:pt x="63" y="33"/>
                  <a:pt x="61" y="27"/>
                </a:cubicBezTo>
                <a:cubicBezTo>
                  <a:pt x="58" y="16"/>
                  <a:pt x="48" y="9"/>
                  <a:pt x="37" y="9"/>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2"/>
          <p:cNvSpPr>
            <a:spLocks noEditPoints="1"/>
          </p:cNvSpPr>
          <p:nvPr/>
        </p:nvSpPr>
        <p:spPr bwMode="auto">
          <a:xfrm>
            <a:off x="4500563" y="4311650"/>
            <a:ext cx="406400" cy="395288"/>
          </a:xfrm>
          <a:custGeom>
            <a:avLst/>
            <a:gdLst>
              <a:gd name="T0" fmla="*/ 36 w 72"/>
              <a:gd name="T1" fmla="*/ 70 h 70"/>
              <a:gd name="T2" fmla="*/ 15 w 72"/>
              <a:gd name="T3" fmla="*/ 63 h 70"/>
              <a:gd name="T4" fmla="*/ 1 w 72"/>
              <a:gd name="T5" fmla="*/ 40 h 70"/>
              <a:gd name="T6" fmla="*/ 8 w 72"/>
              <a:gd name="T7" fmla="*/ 14 h 70"/>
              <a:gd name="T8" fmla="*/ 36 w 72"/>
              <a:gd name="T9" fmla="*/ 0 h 70"/>
              <a:gd name="T10" fmla="*/ 56 w 72"/>
              <a:gd name="T11" fmla="*/ 7 h 70"/>
              <a:gd name="T12" fmla="*/ 70 w 72"/>
              <a:gd name="T13" fmla="*/ 29 h 70"/>
              <a:gd name="T14" fmla="*/ 64 w 72"/>
              <a:gd name="T15" fmla="*/ 55 h 70"/>
              <a:gd name="T16" fmla="*/ 36 w 72"/>
              <a:gd name="T17" fmla="*/ 70 h 70"/>
              <a:gd name="T18" fmla="*/ 36 w 72"/>
              <a:gd name="T19" fmla="*/ 9 h 70"/>
              <a:gd name="T20" fmla="*/ 15 w 72"/>
              <a:gd name="T21" fmla="*/ 20 h 70"/>
              <a:gd name="T22" fmla="*/ 10 w 72"/>
              <a:gd name="T23" fmla="*/ 39 h 70"/>
              <a:gd name="T24" fmla="*/ 21 w 72"/>
              <a:gd name="T25" fmla="*/ 56 h 70"/>
              <a:gd name="T26" fmla="*/ 36 w 72"/>
              <a:gd name="T27" fmla="*/ 61 h 70"/>
              <a:gd name="T28" fmla="*/ 57 w 72"/>
              <a:gd name="T29" fmla="*/ 50 h 70"/>
              <a:gd name="T30" fmla="*/ 62 w 72"/>
              <a:gd name="T31" fmla="*/ 31 h 70"/>
              <a:gd name="T32" fmla="*/ 51 w 72"/>
              <a:gd name="T33" fmla="*/ 14 h 70"/>
              <a:gd name="T34" fmla="*/ 36 w 72"/>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0">
                <a:moveTo>
                  <a:pt x="36" y="70"/>
                </a:moveTo>
                <a:cubicBezTo>
                  <a:pt x="28" y="70"/>
                  <a:pt x="21" y="67"/>
                  <a:pt x="15" y="63"/>
                </a:cubicBezTo>
                <a:cubicBezTo>
                  <a:pt x="8" y="58"/>
                  <a:pt x="3" y="50"/>
                  <a:pt x="1" y="40"/>
                </a:cubicBezTo>
                <a:cubicBezTo>
                  <a:pt x="0" y="31"/>
                  <a:pt x="2" y="22"/>
                  <a:pt x="8" y="14"/>
                </a:cubicBezTo>
                <a:cubicBezTo>
                  <a:pt x="14" y="5"/>
                  <a:pt x="25" y="0"/>
                  <a:pt x="36" y="0"/>
                </a:cubicBezTo>
                <a:cubicBezTo>
                  <a:pt x="43" y="0"/>
                  <a:pt x="50" y="2"/>
                  <a:pt x="56" y="7"/>
                </a:cubicBezTo>
                <a:cubicBezTo>
                  <a:pt x="64" y="12"/>
                  <a:pt x="69" y="20"/>
                  <a:pt x="70" y="29"/>
                </a:cubicBezTo>
                <a:cubicBezTo>
                  <a:pt x="72" y="39"/>
                  <a:pt x="70" y="48"/>
                  <a:pt x="64" y="55"/>
                </a:cubicBezTo>
                <a:cubicBezTo>
                  <a:pt x="58" y="64"/>
                  <a:pt x="47" y="70"/>
                  <a:pt x="36" y="70"/>
                </a:cubicBezTo>
                <a:close/>
                <a:moveTo>
                  <a:pt x="36" y="9"/>
                </a:moveTo>
                <a:cubicBezTo>
                  <a:pt x="28" y="9"/>
                  <a:pt x="20" y="13"/>
                  <a:pt x="15" y="20"/>
                </a:cubicBezTo>
                <a:cubicBezTo>
                  <a:pt x="11" y="25"/>
                  <a:pt x="9" y="32"/>
                  <a:pt x="10" y="39"/>
                </a:cubicBezTo>
                <a:cubicBezTo>
                  <a:pt x="11" y="46"/>
                  <a:pt x="15" y="52"/>
                  <a:pt x="21" y="56"/>
                </a:cubicBezTo>
                <a:cubicBezTo>
                  <a:pt x="25" y="59"/>
                  <a:pt x="30" y="61"/>
                  <a:pt x="36" y="61"/>
                </a:cubicBezTo>
                <a:cubicBezTo>
                  <a:pt x="44" y="61"/>
                  <a:pt x="52" y="57"/>
                  <a:pt x="57" y="50"/>
                </a:cubicBezTo>
                <a:cubicBezTo>
                  <a:pt x="61" y="44"/>
                  <a:pt x="63" y="38"/>
                  <a:pt x="62" y="31"/>
                </a:cubicBezTo>
                <a:cubicBezTo>
                  <a:pt x="60" y="24"/>
                  <a:pt x="57" y="18"/>
                  <a:pt x="51" y="14"/>
                </a:cubicBezTo>
                <a:cubicBezTo>
                  <a:pt x="47" y="11"/>
                  <a:pt x="41" y="9"/>
                  <a:pt x="36" y="9"/>
                </a:cubicBezTo>
                <a:close/>
              </a:path>
            </a:pathLst>
          </a:custGeom>
          <a:solidFill>
            <a:srgbClr val="00A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3"/>
          <p:cNvSpPr>
            <a:spLocks noEditPoints="1"/>
          </p:cNvSpPr>
          <p:nvPr/>
        </p:nvSpPr>
        <p:spPr bwMode="auto">
          <a:xfrm>
            <a:off x="4873625" y="3189288"/>
            <a:ext cx="388938" cy="395288"/>
          </a:xfrm>
          <a:custGeom>
            <a:avLst/>
            <a:gdLst>
              <a:gd name="T0" fmla="*/ 35 w 69"/>
              <a:gd name="T1" fmla="*/ 70 h 70"/>
              <a:gd name="T2" fmla="*/ 0 w 69"/>
              <a:gd name="T3" fmla="*/ 35 h 70"/>
              <a:gd name="T4" fmla="*/ 35 w 69"/>
              <a:gd name="T5" fmla="*/ 0 h 70"/>
              <a:gd name="T6" fmla="*/ 69 w 69"/>
              <a:gd name="T7" fmla="*/ 35 h 70"/>
              <a:gd name="T8" fmla="*/ 35 w 69"/>
              <a:gd name="T9" fmla="*/ 70 h 70"/>
              <a:gd name="T10" fmla="*/ 35 w 69"/>
              <a:gd name="T11" fmla="*/ 9 h 70"/>
              <a:gd name="T12" fmla="*/ 9 w 69"/>
              <a:gd name="T13" fmla="*/ 35 h 70"/>
              <a:gd name="T14" fmla="*/ 35 w 69"/>
              <a:gd name="T15" fmla="*/ 61 h 70"/>
              <a:gd name="T16" fmla="*/ 60 w 69"/>
              <a:gd name="T17" fmla="*/ 35 h 70"/>
              <a:gd name="T18" fmla="*/ 35 w 69"/>
              <a:gd name="T19"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5" y="70"/>
                </a:moveTo>
                <a:cubicBezTo>
                  <a:pt x="15" y="70"/>
                  <a:pt x="0" y="54"/>
                  <a:pt x="0" y="35"/>
                </a:cubicBezTo>
                <a:cubicBezTo>
                  <a:pt x="0" y="16"/>
                  <a:pt x="15" y="0"/>
                  <a:pt x="35" y="0"/>
                </a:cubicBezTo>
                <a:cubicBezTo>
                  <a:pt x="54" y="0"/>
                  <a:pt x="69" y="16"/>
                  <a:pt x="69" y="35"/>
                </a:cubicBezTo>
                <a:cubicBezTo>
                  <a:pt x="69" y="54"/>
                  <a:pt x="54" y="70"/>
                  <a:pt x="35" y="70"/>
                </a:cubicBezTo>
                <a:close/>
                <a:moveTo>
                  <a:pt x="35" y="9"/>
                </a:moveTo>
                <a:cubicBezTo>
                  <a:pt x="20" y="9"/>
                  <a:pt x="9" y="21"/>
                  <a:pt x="9" y="35"/>
                </a:cubicBezTo>
                <a:cubicBezTo>
                  <a:pt x="9" y="49"/>
                  <a:pt x="20" y="61"/>
                  <a:pt x="35" y="61"/>
                </a:cubicBezTo>
                <a:cubicBezTo>
                  <a:pt x="49" y="61"/>
                  <a:pt x="60" y="49"/>
                  <a:pt x="60" y="35"/>
                </a:cubicBezTo>
                <a:cubicBezTo>
                  <a:pt x="60" y="21"/>
                  <a:pt x="49" y="9"/>
                  <a:pt x="35" y="9"/>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4"/>
          <p:cNvSpPr>
            <a:spLocks noEditPoints="1"/>
          </p:cNvSpPr>
          <p:nvPr/>
        </p:nvSpPr>
        <p:spPr bwMode="auto">
          <a:xfrm>
            <a:off x="4500563" y="2065338"/>
            <a:ext cx="406400" cy="395288"/>
          </a:xfrm>
          <a:custGeom>
            <a:avLst/>
            <a:gdLst>
              <a:gd name="T0" fmla="*/ 36 w 72"/>
              <a:gd name="T1" fmla="*/ 70 h 70"/>
              <a:gd name="T2" fmla="*/ 8 w 72"/>
              <a:gd name="T3" fmla="*/ 55 h 70"/>
              <a:gd name="T4" fmla="*/ 1 w 72"/>
              <a:gd name="T5" fmla="*/ 29 h 70"/>
              <a:gd name="T6" fmla="*/ 15 w 72"/>
              <a:gd name="T7" fmla="*/ 7 h 70"/>
              <a:gd name="T8" fmla="*/ 36 w 72"/>
              <a:gd name="T9" fmla="*/ 0 h 70"/>
              <a:gd name="T10" fmla="*/ 64 w 72"/>
              <a:gd name="T11" fmla="*/ 14 h 70"/>
              <a:gd name="T12" fmla="*/ 70 w 72"/>
              <a:gd name="T13" fmla="*/ 40 h 70"/>
              <a:gd name="T14" fmla="*/ 56 w 72"/>
              <a:gd name="T15" fmla="*/ 63 h 70"/>
              <a:gd name="T16" fmla="*/ 36 w 72"/>
              <a:gd name="T17" fmla="*/ 70 h 70"/>
              <a:gd name="T18" fmla="*/ 36 w 72"/>
              <a:gd name="T19" fmla="*/ 9 h 70"/>
              <a:gd name="T20" fmla="*/ 21 w 72"/>
              <a:gd name="T21" fmla="*/ 14 h 70"/>
              <a:gd name="T22" fmla="*/ 10 w 72"/>
              <a:gd name="T23" fmla="*/ 31 h 70"/>
              <a:gd name="T24" fmla="*/ 15 w 72"/>
              <a:gd name="T25" fmla="*/ 50 h 70"/>
              <a:gd name="T26" fmla="*/ 36 w 72"/>
              <a:gd name="T27" fmla="*/ 61 h 70"/>
              <a:gd name="T28" fmla="*/ 51 w 72"/>
              <a:gd name="T29" fmla="*/ 56 h 70"/>
              <a:gd name="T30" fmla="*/ 62 w 72"/>
              <a:gd name="T31" fmla="*/ 39 h 70"/>
              <a:gd name="T32" fmla="*/ 57 w 72"/>
              <a:gd name="T33" fmla="*/ 20 h 70"/>
              <a:gd name="T34" fmla="*/ 36 w 72"/>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0">
                <a:moveTo>
                  <a:pt x="36" y="70"/>
                </a:moveTo>
                <a:cubicBezTo>
                  <a:pt x="25" y="70"/>
                  <a:pt x="14" y="64"/>
                  <a:pt x="8" y="55"/>
                </a:cubicBezTo>
                <a:cubicBezTo>
                  <a:pt x="2" y="48"/>
                  <a:pt x="0" y="39"/>
                  <a:pt x="1" y="29"/>
                </a:cubicBezTo>
                <a:cubicBezTo>
                  <a:pt x="3" y="20"/>
                  <a:pt x="8" y="12"/>
                  <a:pt x="15" y="7"/>
                </a:cubicBezTo>
                <a:cubicBezTo>
                  <a:pt x="21" y="2"/>
                  <a:pt x="28" y="0"/>
                  <a:pt x="36" y="0"/>
                </a:cubicBezTo>
                <a:cubicBezTo>
                  <a:pt x="47" y="0"/>
                  <a:pt x="58" y="5"/>
                  <a:pt x="64" y="14"/>
                </a:cubicBezTo>
                <a:cubicBezTo>
                  <a:pt x="70" y="22"/>
                  <a:pt x="72" y="31"/>
                  <a:pt x="70" y="40"/>
                </a:cubicBezTo>
                <a:cubicBezTo>
                  <a:pt x="69" y="50"/>
                  <a:pt x="64" y="58"/>
                  <a:pt x="56" y="63"/>
                </a:cubicBezTo>
                <a:cubicBezTo>
                  <a:pt x="50" y="68"/>
                  <a:pt x="43" y="70"/>
                  <a:pt x="36" y="70"/>
                </a:cubicBezTo>
                <a:close/>
                <a:moveTo>
                  <a:pt x="36" y="9"/>
                </a:moveTo>
                <a:cubicBezTo>
                  <a:pt x="30" y="9"/>
                  <a:pt x="25" y="11"/>
                  <a:pt x="21" y="14"/>
                </a:cubicBezTo>
                <a:cubicBezTo>
                  <a:pt x="15" y="18"/>
                  <a:pt x="11" y="24"/>
                  <a:pt x="10" y="31"/>
                </a:cubicBezTo>
                <a:cubicBezTo>
                  <a:pt x="9" y="38"/>
                  <a:pt x="11" y="45"/>
                  <a:pt x="15" y="50"/>
                </a:cubicBezTo>
                <a:cubicBezTo>
                  <a:pt x="20" y="57"/>
                  <a:pt x="28" y="61"/>
                  <a:pt x="36" y="61"/>
                </a:cubicBezTo>
                <a:cubicBezTo>
                  <a:pt x="41" y="61"/>
                  <a:pt x="47" y="59"/>
                  <a:pt x="51" y="56"/>
                </a:cubicBezTo>
                <a:cubicBezTo>
                  <a:pt x="57" y="52"/>
                  <a:pt x="60" y="46"/>
                  <a:pt x="62" y="39"/>
                </a:cubicBezTo>
                <a:cubicBezTo>
                  <a:pt x="63" y="32"/>
                  <a:pt x="61" y="25"/>
                  <a:pt x="57" y="20"/>
                </a:cubicBezTo>
                <a:cubicBezTo>
                  <a:pt x="52" y="13"/>
                  <a:pt x="44" y="9"/>
                  <a:pt x="36" y="9"/>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5"/>
          <p:cNvSpPr>
            <a:spLocks noEditPoints="1"/>
          </p:cNvSpPr>
          <p:nvPr/>
        </p:nvSpPr>
        <p:spPr bwMode="auto">
          <a:xfrm>
            <a:off x="3543300" y="1371600"/>
            <a:ext cx="411163" cy="395288"/>
          </a:xfrm>
          <a:custGeom>
            <a:avLst/>
            <a:gdLst>
              <a:gd name="T0" fmla="*/ 37 w 73"/>
              <a:gd name="T1" fmla="*/ 70 h 70"/>
              <a:gd name="T2" fmla="*/ 26 w 73"/>
              <a:gd name="T3" fmla="*/ 68 h 70"/>
              <a:gd name="T4" fmla="*/ 5 w 73"/>
              <a:gd name="T5" fmla="*/ 51 h 70"/>
              <a:gd name="T6" fmla="*/ 3 w 73"/>
              <a:gd name="T7" fmla="*/ 24 h 70"/>
              <a:gd name="T8" fmla="*/ 37 w 73"/>
              <a:gd name="T9" fmla="*/ 0 h 70"/>
              <a:gd name="T10" fmla="*/ 47 w 73"/>
              <a:gd name="T11" fmla="*/ 2 h 70"/>
              <a:gd name="T12" fmla="*/ 68 w 73"/>
              <a:gd name="T13" fmla="*/ 19 h 70"/>
              <a:gd name="T14" fmla="*/ 70 w 73"/>
              <a:gd name="T15" fmla="*/ 46 h 70"/>
              <a:gd name="T16" fmla="*/ 37 w 73"/>
              <a:gd name="T17" fmla="*/ 70 h 70"/>
              <a:gd name="T18" fmla="*/ 37 w 73"/>
              <a:gd name="T19" fmla="*/ 9 h 70"/>
              <a:gd name="T20" fmla="*/ 12 w 73"/>
              <a:gd name="T21" fmla="*/ 27 h 70"/>
              <a:gd name="T22" fmla="*/ 13 w 73"/>
              <a:gd name="T23" fmla="*/ 47 h 70"/>
              <a:gd name="T24" fmla="*/ 29 w 73"/>
              <a:gd name="T25" fmla="*/ 60 h 70"/>
              <a:gd name="T26" fmla="*/ 37 w 73"/>
              <a:gd name="T27" fmla="*/ 61 h 70"/>
              <a:gd name="T28" fmla="*/ 61 w 73"/>
              <a:gd name="T29" fmla="*/ 43 h 70"/>
              <a:gd name="T30" fmla="*/ 60 w 73"/>
              <a:gd name="T31" fmla="*/ 23 h 70"/>
              <a:gd name="T32" fmla="*/ 45 w 73"/>
              <a:gd name="T33" fmla="*/ 10 h 70"/>
              <a:gd name="T34" fmla="*/ 37 w 73"/>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0">
                <a:moveTo>
                  <a:pt x="37" y="70"/>
                </a:moveTo>
                <a:cubicBezTo>
                  <a:pt x="33" y="70"/>
                  <a:pt x="29" y="69"/>
                  <a:pt x="26" y="68"/>
                </a:cubicBezTo>
                <a:cubicBezTo>
                  <a:pt x="17" y="65"/>
                  <a:pt x="10" y="59"/>
                  <a:pt x="5" y="51"/>
                </a:cubicBezTo>
                <a:cubicBezTo>
                  <a:pt x="1" y="42"/>
                  <a:pt x="0" y="33"/>
                  <a:pt x="3" y="24"/>
                </a:cubicBezTo>
                <a:cubicBezTo>
                  <a:pt x="8" y="10"/>
                  <a:pt x="21" y="0"/>
                  <a:pt x="37" y="0"/>
                </a:cubicBezTo>
                <a:cubicBezTo>
                  <a:pt x="40" y="0"/>
                  <a:pt x="44" y="1"/>
                  <a:pt x="47" y="2"/>
                </a:cubicBezTo>
                <a:cubicBezTo>
                  <a:pt x="56" y="5"/>
                  <a:pt x="64" y="11"/>
                  <a:pt x="68" y="19"/>
                </a:cubicBezTo>
                <a:cubicBezTo>
                  <a:pt x="72" y="27"/>
                  <a:pt x="73" y="37"/>
                  <a:pt x="70" y="46"/>
                </a:cubicBezTo>
                <a:cubicBezTo>
                  <a:pt x="65" y="60"/>
                  <a:pt x="52" y="70"/>
                  <a:pt x="37" y="70"/>
                </a:cubicBezTo>
                <a:close/>
                <a:moveTo>
                  <a:pt x="37" y="9"/>
                </a:moveTo>
                <a:cubicBezTo>
                  <a:pt x="25" y="9"/>
                  <a:pt x="15" y="16"/>
                  <a:pt x="12" y="27"/>
                </a:cubicBezTo>
                <a:cubicBezTo>
                  <a:pt x="10" y="33"/>
                  <a:pt x="10" y="41"/>
                  <a:pt x="13" y="47"/>
                </a:cubicBezTo>
                <a:cubicBezTo>
                  <a:pt x="17" y="53"/>
                  <a:pt x="22" y="57"/>
                  <a:pt x="29" y="60"/>
                </a:cubicBezTo>
                <a:cubicBezTo>
                  <a:pt x="31" y="60"/>
                  <a:pt x="34" y="61"/>
                  <a:pt x="37" y="61"/>
                </a:cubicBezTo>
                <a:cubicBezTo>
                  <a:pt x="48" y="61"/>
                  <a:pt x="58" y="54"/>
                  <a:pt x="61" y="43"/>
                </a:cubicBezTo>
                <a:cubicBezTo>
                  <a:pt x="63" y="36"/>
                  <a:pt x="63" y="29"/>
                  <a:pt x="60" y="23"/>
                </a:cubicBezTo>
                <a:cubicBezTo>
                  <a:pt x="57" y="17"/>
                  <a:pt x="51" y="12"/>
                  <a:pt x="45" y="10"/>
                </a:cubicBezTo>
                <a:cubicBezTo>
                  <a:pt x="42" y="9"/>
                  <a:pt x="39" y="9"/>
                  <a:pt x="37" y="9"/>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4372" name="Picture 3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16275" y="2495550"/>
            <a:ext cx="1047750"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3" name="Picture 3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48050" y="2190750"/>
            <a:ext cx="354013"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4" name="Picture 3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16275" y="3059113"/>
            <a:ext cx="896938"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5" name="Picture 3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8050" y="3465513"/>
            <a:ext cx="99695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6" name="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16275" y="4046538"/>
            <a:ext cx="963613" cy="10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7" name="Picture 4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89300" y="4046538"/>
            <a:ext cx="4572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Freeform 42"/>
          <p:cNvSpPr>
            <a:spLocks/>
          </p:cNvSpPr>
          <p:nvPr/>
        </p:nvSpPr>
        <p:spPr bwMode="auto">
          <a:xfrm>
            <a:off x="1971675" y="2049463"/>
            <a:ext cx="1189038" cy="2692400"/>
          </a:xfrm>
          <a:custGeom>
            <a:avLst/>
            <a:gdLst>
              <a:gd name="T0" fmla="*/ 211 w 211"/>
              <a:gd name="T1" fmla="*/ 0 h 477"/>
              <a:gd name="T2" fmla="*/ 211 w 211"/>
              <a:gd name="T3" fmla="*/ 464 h 477"/>
              <a:gd name="T4" fmla="*/ 174 w 211"/>
              <a:gd name="T5" fmla="*/ 464 h 477"/>
              <a:gd name="T6" fmla="*/ 152 w 211"/>
              <a:gd name="T7" fmla="*/ 430 h 477"/>
              <a:gd name="T8" fmla="*/ 51 w 211"/>
              <a:gd name="T9" fmla="*/ 424 h 477"/>
              <a:gd name="T10" fmla="*/ 44 w 211"/>
              <a:gd name="T11" fmla="*/ 378 h 477"/>
              <a:gd name="T12" fmla="*/ 33 w 211"/>
              <a:gd name="T13" fmla="*/ 356 h 477"/>
              <a:gd name="T14" fmla="*/ 36 w 211"/>
              <a:gd name="T15" fmla="*/ 345 h 477"/>
              <a:gd name="T16" fmla="*/ 28 w 211"/>
              <a:gd name="T17" fmla="*/ 333 h 477"/>
              <a:gd name="T18" fmla="*/ 28 w 211"/>
              <a:gd name="T19" fmla="*/ 299 h 477"/>
              <a:gd name="T20" fmla="*/ 5 w 211"/>
              <a:gd name="T21" fmla="*/ 292 h 477"/>
              <a:gd name="T22" fmla="*/ 33 w 211"/>
              <a:gd name="T23" fmla="*/ 214 h 477"/>
              <a:gd name="T24" fmla="*/ 211 w 211"/>
              <a:gd name="T25"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1" h="477">
                <a:moveTo>
                  <a:pt x="211" y="0"/>
                </a:moveTo>
                <a:cubicBezTo>
                  <a:pt x="211" y="464"/>
                  <a:pt x="211" y="464"/>
                  <a:pt x="211" y="464"/>
                </a:cubicBezTo>
                <a:cubicBezTo>
                  <a:pt x="184" y="473"/>
                  <a:pt x="177" y="477"/>
                  <a:pt x="174" y="464"/>
                </a:cubicBezTo>
                <a:cubicBezTo>
                  <a:pt x="170" y="450"/>
                  <a:pt x="165" y="429"/>
                  <a:pt x="152" y="430"/>
                </a:cubicBezTo>
                <a:cubicBezTo>
                  <a:pt x="108" y="431"/>
                  <a:pt x="64" y="431"/>
                  <a:pt x="51" y="424"/>
                </a:cubicBezTo>
                <a:cubicBezTo>
                  <a:pt x="38" y="417"/>
                  <a:pt x="46" y="385"/>
                  <a:pt x="44" y="378"/>
                </a:cubicBezTo>
                <a:cubicBezTo>
                  <a:pt x="41" y="371"/>
                  <a:pt x="34" y="361"/>
                  <a:pt x="33" y="356"/>
                </a:cubicBezTo>
                <a:cubicBezTo>
                  <a:pt x="32" y="350"/>
                  <a:pt x="36" y="345"/>
                  <a:pt x="36" y="345"/>
                </a:cubicBezTo>
                <a:cubicBezTo>
                  <a:pt x="36" y="345"/>
                  <a:pt x="32" y="341"/>
                  <a:pt x="28" y="333"/>
                </a:cubicBezTo>
                <a:cubicBezTo>
                  <a:pt x="24" y="324"/>
                  <a:pt x="30" y="305"/>
                  <a:pt x="28" y="299"/>
                </a:cubicBezTo>
                <a:cubicBezTo>
                  <a:pt x="27" y="294"/>
                  <a:pt x="10" y="299"/>
                  <a:pt x="5" y="292"/>
                </a:cubicBezTo>
                <a:cubicBezTo>
                  <a:pt x="0" y="284"/>
                  <a:pt x="32" y="225"/>
                  <a:pt x="33" y="214"/>
                </a:cubicBezTo>
                <a:cubicBezTo>
                  <a:pt x="34" y="203"/>
                  <a:pt x="24" y="0"/>
                  <a:pt x="211" y="0"/>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43"/>
          <p:cNvSpPr>
            <a:spLocks noChangeArrowheads="1"/>
          </p:cNvSpPr>
          <p:nvPr/>
        </p:nvSpPr>
        <p:spPr bwMode="auto">
          <a:xfrm>
            <a:off x="3662363" y="2127250"/>
            <a:ext cx="174625" cy="180975"/>
          </a:xfrm>
          <a:prstGeom prst="ellipse">
            <a:avLst/>
          </a:pr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44"/>
          <p:cNvSpPr>
            <a:spLocks/>
          </p:cNvSpPr>
          <p:nvPr/>
        </p:nvSpPr>
        <p:spPr bwMode="auto">
          <a:xfrm>
            <a:off x="3914775" y="2946400"/>
            <a:ext cx="311150" cy="355600"/>
          </a:xfrm>
          <a:custGeom>
            <a:avLst/>
            <a:gdLst>
              <a:gd name="T0" fmla="*/ 23 w 55"/>
              <a:gd name="T1" fmla="*/ 4 h 63"/>
              <a:gd name="T2" fmla="*/ 12 w 55"/>
              <a:gd name="T3" fmla="*/ 47 h 63"/>
              <a:gd name="T4" fmla="*/ 55 w 55"/>
              <a:gd name="T5" fmla="*/ 29 h 63"/>
              <a:gd name="T6" fmla="*/ 23 w 55"/>
              <a:gd name="T7" fmla="*/ 4 h 63"/>
            </a:gdLst>
            <a:ahLst/>
            <a:cxnLst>
              <a:cxn ang="0">
                <a:pos x="T0" y="T1"/>
              </a:cxn>
              <a:cxn ang="0">
                <a:pos x="T2" y="T3"/>
              </a:cxn>
              <a:cxn ang="0">
                <a:pos x="T4" y="T5"/>
              </a:cxn>
              <a:cxn ang="0">
                <a:pos x="T6" y="T7"/>
              </a:cxn>
            </a:cxnLst>
            <a:rect l="0" t="0" r="r" b="b"/>
            <a:pathLst>
              <a:path w="55" h="63">
                <a:moveTo>
                  <a:pt x="23" y="4"/>
                </a:moveTo>
                <a:cubicBezTo>
                  <a:pt x="4" y="10"/>
                  <a:pt x="0" y="33"/>
                  <a:pt x="12" y="47"/>
                </a:cubicBezTo>
                <a:cubicBezTo>
                  <a:pt x="27" y="63"/>
                  <a:pt x="55" y="50"/>
                  <a:pt x="55" y="29"/>
                </a:cubicBezTo>
                <a:cubicBezTo>
                  <a:pt x="55" y="12"/>
                  <a:pt x="39" y="0"/>
                  <a:pt x="23" y="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5"/>
          <p:cNvSpPr>
            <a:spLocks/>
          </p:cNvSpPr>
          <p:nvPr/>
        </p:nvSpPr>
        <p:spPr bwMode="auto">
          <a:xfrm>
            <a:off x="3368675" y="3392488"/>
            <a:ext cx="293688" cy="254000"/>
          </a:xfrm>
          <a:custGeom>
            <a:avLst/>
            <a:gdLst>
              <a:gd name="T0" fmla="*/ 39 w 52"/>
              <a:gd name="T1" fmla="*/ 8 h 45"/>
              <a:gd name="T2" fmla="*/ 13 w 52"/>
              <a:gd name="T3" fmla="*/ 5 h 45"/>
              <a:gd name="T4" fmla="*/ 3 w 52"/>
              <a:gd name="T5" fmla="*/ 29 h 45"/>
              <a:gd name="T6" fmla="*/ 5 w 52"/>
              <a:gd name="T7" fmla="*/ 32 h 45"/>
              <a:gd name="T8" fmla="*/ 20 w 52"/>
              <a:gd name="T9" fmla="*/ 44 h 45"/>
              <a:gd name="T10" fmla="*/ 24 w 52"/>
              <a:gd name="T11" fmla="*/ 44 h 45"/>
              <a:gd name="T12" fmla="*/ 39 w 52"/>
              <a:gd name="T13" fmla="*/ 8 h 45"/>
            </a:gdLst>
            <a:ahLst/>
            <a:cxnLst>
              <a:cxn ang="0">
                <a:pos x="T0" y="T1"/>
              </a:cxn>
              <a:cxn ang="0">
                <a:pos x="T2" y="T3"/>
              </a:cxn>
              <a:cxn ang="0">
                <a:pos x="T4" y="T5"/>
              </a:cxn>
              <a:cxn ang="0">
                <a:pos x="T6" y="T7"/>
              </a:cxn>
              <a:cxn ang="0">
                <a:pos x="T8" y="T9"/>
              </a:cxn>
              <a:cxn ang="0">
                <a:pos x="T10" y="T11"/>
              </a:cxn>
              <a:cxn ang="0">
                <a:pos x="T12" y="T13"/>
              </a:cxn>
            </a:cxnLst>
            <a:rect l="0" t="0" r="r" b="b"/>
            <a:pathLst>
              <a:path w="52" h="45">
                <a:moveTo>
                  <a:pt x="39" y="8"/>
                </a:moveTo>
                <a:cubicBezTo>
                  <a:pt x="32" y="1"/>
                  <a:pt x="21" y="0"/>
                  <a:pt x="13" y="5"/>
                </a:cubicBezTo>
                <a:cubicBezTo>
                  <a:pt x="5" y="9"/>
                  <a:pt x="0" y="20"/>
                  <a:pt x="3" y="29"/>
                </a:cubicBezTo>
                <a:cubicBezTo>
                  <a:pt x="4" y="30"/>
                  <a:pt x="4" y="31"/>
                  <a:pt x="5" y="32"/>
                </a:cubicBezTo>
                <a:cubicBezTo>
                  <a:pt x="7" y="39"/>
                  <a:pt x="13" y="45"/>
                  <a:pt x="20" y="44"/>
                </a:cubicBezTo>
                <a:cubicBezTo>
                  <a:pt x="22" y="44"/>
                  <a:pt x="23" y="44"/>
                  <a:pt x="24" y="44"/>
                </a:cubicBezTo>
                <a:cubicBezTo>
                  <a:pt x="42" y="44"/>
                  <a:pt x="52" y="21"/>
                  <a:pt x="39" y="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46"/>
          <p:cNvSpPr>
            <a:spLocks noChangeArrowheads="1"/>
          </p:cNvSpPr>
          <p:nvPr/>
        </p:nvSpPr>
        <p:spPr bwMode="auto">
          <a:xfrm>
            <a:off x="4022725" y="3984625"/>
            <a:ext cx="230188" cy="231775"/>
          </a:xfrm>
          <a:prstGeom prst="ellipse">
            <a:avLst/>
          </a:pr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7"/>
          <p:cNvSpPr>
            <a:spLocks/>
          </p:cNvSpPr>
          <p:nvPr/>
        </p:nvSpPr>
        <p:spPr bwMode="auto">
          <a:xfrm>
            <a:off x="3565525" y="2732088"/>
            <a:ext cx="236538" cy="207963"/>
          </a:xfrm>
          <a:custGeom>
            <a:avLst/>
            <a:gdLst>
              <a:gd name="T0" fmla="*/ 21 w 42"/>
              <a:gd name="T1" fmla="*/ 0 h 37"/>
              <a:gd name="T2" fmla="*/ 3 w 42"/>
              <a:gd name="T3" fmla="*/ 23 h 37"/>
              <a:gd name="T4" fmla="*/ 3 w 42"/>
              <a:gd name="T5" fmla="*/ 24 h 37"/>
              <a:gd name="T6" fmla="*/ 21 w 42"/>
              <a:gd name="T7" fmla="*/ 37 h 37"/>
              <a:gd name="T8" fmla="*/ 38 w 42"/>
              <a:gd name="T9" fmla="*/ 24 h 37"/>
              <a:gd name="T10" fmla="*/ 38 w 42"/>
              <a:gd name="T11" fmla="*/ 23 h 37"/>
              <a:gd name="T12" fmla="*/ 21 w 42"/>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42" h="37">
                <a:moveTo>
                  <a:pt x="21" y="0"/>
                </a:moveTo>
                <a:cubicBezTo>
                  <a:pt x="9" y="0"/>
                  <a:pt x="0" y="12"/>
                  <a:pt x="3" y="23"/>
                </a:cubicBezTo>
                <a:cubicBezTo>
                  <a:pt x="3" y="24"/>
                  <a:pt x="3" y="24"/>
                  <a:pt x="3" y="24"/>
                </a:cubicBezTo>
                <a:cubicBezTo>
                  <a:pt x="6" y="32"/>
                  <a:pt x="13" y="37"/>
                  <a:pt x="21" y="37"/>
                </a:cubicBezTo>
                <a:cubicBezTo>
                  <a:pt x="29" y="37"/>
                  <a:pt x="36" y="32"/>
                  <a:pt x="38" y="24"/>
                </a:cubicBezTo>
                <a:cubicBezTo>
                  <a:pt x="38" y="24"/>
                  <a:pt x="38" y="24"/>
                  <a:pt x="38" y="23"/>
                </a:cubicBezTo>
                <a:cubicBezTo>
                  <a:pt x="42" y="12"/>
                  <a:pt x="32" y="0"/>
                  <a:pt x="21" y="0"/>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8"/>
          <p:cNvSpPr>
            <a:spLocks/>
          </p:cNvSpPr>
          <p:nvPr/>
        </p:nvSpPr>
        <p:spPr bwMode="auto">
          <a:xfrm>
            <a:off x="4124325" y="2466975"/>
            <a:ext cx="190500" cy="192088"/>
          </a:xfrm>
          <a:custGeom>
            <a:avLst/>
            <a:gdLst>
              <a:gd name="T0" fmla="*/ 32 w 34"/>
              <a:gd name="T1" fmla="*/ 13 h 34"/>
              <a:gd name="T2" fmla="*/ 32 w 34"/>
              <a:gd name="T3" fmla="*/ 12 h 34"/>
              <a:gd name="T4" fmla="*/ 11 w 34"/>
              <a:gd name="T5" fmla="*/ 3 h 34"/>
              <a:gd name="T6" fmla="*/ 9 w 34"/>
              <a:gd name="T7" fmla="*/ 4 h 34"/>
              <a:gd name="T8" fmla="*/ 2 w 34"/>
              <a:gd name="T9" fmla="*/ 22 h 34"/>
              <a:gd name="T10" fmla="*/ 4 w 34"/>
              <a:gd name="T11" fmla="*/ 27 h 34"/>
              <a:gd name="T12" fmla="*/ 19 w 34"/>
              <a:gd name="T13" fmla="*/ 33 h 34"/>
              <a:gd name="T14" fmla="*/ 21 w 34"/>
              <a:gd name="T15" fmla="*/ 33 h 34"/>
              <a:gd name="T16" fmla="*/ 32 w 34"/>
              <a:gd name="T17"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32" y="13"/>
                </a:moveTo>
                <a:cubicBezTo>
                  <a:pt x="32" y="13"/>
                  <a:pt x="32" y="13"/>
                  <a:pt x="32" y="12"/>
                </a:cubicBezTo>
                <a:cubicBezTo>
                  <a:pt x="30" y="2"/>
                  <a:pt x="19" y="0"/>
                  <a:pt x="11" y="3"/>
                </a:cubicBezTo>
                <a:cubicBezTo>
                  <a:pt x="9" y="4"/>
                  <a:pt x="9" y="4"/>
                  <a:pt x="9" y="4"/>
                </a:cubicBezTo>
                <a:cubicBezTo>
                  <a:pt x="3" y="7"/>
                  <a:pt x="0" y="15"/>
                  <a:pt x="2" y="22"/>
                </a:cubicBezTo>
                <a:cubicBezTo>
                  <a:pt x="3" y="24"/>
                  <a:pt x="3" y="25"/>
                  <a:pt x="4" y="27"/>
                </a:cubicBezTo>
                <a:cubicBezTo>
                  <a:pt x="7" y="33"/>
                  <a:pt x="14" y="34"/>
                  <a:pt x="19" y="33"/>
                </a:cubicBezTo>
                <a:cubicBezTo>
                  <a:pt x="20" y="33"/>
                  <a:pt x="21" y="33"/>
                  <a:pt x="21" y="33"/>
                </a:cubicBezTo>
                <a:cubicBezTo>
                  <a:pt x="30" y="30"/>
                  <a:pt x="34" y="22"/>
                  <a:pt x="32" y="13"/>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49"/>
          <p:cNvSpPr>
            <a:spLocks noChangeArrowheads="1"/>
          </p:cNvSpPr>
          <p:nvPr/>
        </p:nvSpPr>
        <p:spPr bwMode="auto">
          <a:xfrm>
            <a:off x="4276725" y="3663950"/>
            <a:ext cx="223838" cy="225425"/>
          </a:xfrm>
          <a:prstGeom prst="ellipse">
            <a:avLst/>
          </a:pr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0"/>
          <p:cNvSpPr>
            <a:spLocks/>
          </p:cNvSpPr>
          <p:nvPr/>
        </p:nvSpPr>
        <p:spPr bwMode="auto">
          <a:xfrm>
            <a:off x="3560763" y="4295775"/>
            <a:ext cx="292100" cy="225425"/>
          </a:xfrm>
          <a:custGeom>
            <a:avLst/>
            <a:gdLst>
              <a:gd name="T0" fmla="*/ 26 w 52"/>
              <a:gd name="T1" fmla="*/ 0 h 40"/>
              <a:gd name="T2" fmla="*/ 26 w 52"/>
              <a:gd name="T3" fmla="*/ 40 h 40"/>
              <a:gd name="T4" fmla="*/ 26 w 52"/>
              <a:gd name="T5" fmla="*/ 0 h 40"/>
            </a:gdLst>
            <a:ahLst/>
            <a:cxnLst>
              <a:cxn ang="0">
                <a:pos x="T0" y="T1"/>
              </a:cxn>
              <a:cxn ang="0">
                <a:pos x="T2" y="T3"/>
              </a:cxn>
              <a:cxn ang="0">
                <a:pos x="T4" y="T5"/>
              </a:cxn>
            </a:cxnLst>
            <a:rect l="0" t="0" r="r" b="b"/>
            <a:pathLst>
              <a:path w="52" h="40">
                <a:moveTo>
                  <a:pt x="26" y="0"/>
                </a:moveTo>
                <a:cubicBezTo>
                  <a:pt x="0" y="0"/>
                  <a:pt x="0" y="40"/>
                  <a:pt x="26" y="40"/>
                </a:cubicBezTo>
                <a:cubicBezTo>
                  <a:pt x="52" y="40"/>
                  <a:pt x="52" y="0"/>
                  <a:pt x="26" y="0"/>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文本框 106"/>
          <p:cNvSpPr txBox="1"/>
          <p:nvPr/>
        </p:nvSpPr>
        <p:spPr>
          <a:xfrm>
            <a:off x="4883009" y="1355379"/>
            <a:ext cx="1236946"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Lorem ipsum</a:t>
            </a:r>
          </a:p>
        </p:txBody>
      </p:sp>
      <p:sp>
        <p:nvSpPr>
          <p:cNvPr id="63" name="文本框 106"/>
          <p:cNvSpPr txBox="1"/>
          <p:nvPr/>
        </p:nvSpPr>
        <p:spPr>
          <a:xfrm>
            <a:off x="6311901" y="1355379"/>
            <a:ext cx="3317874" cy="456535"/>
          </a:xfrm>
          <a:prstGeom prst="rect">
            <a:avLst/>
          </a:prstGeom>
          <a:noFill/>
        </p:spPr>
        <p:txBody>
          <a:bodyPr vert="horz" wrap="square" lIns="0" tIns="0" rIns="0" bIns="0" rtlCol="0">
            <a:spAutoFit/>
          </a:bodyPr>
          <a:lstStyle/>
          <a:p>
            <a:pPr>
              <a:spcBef>
                <a:spcPts val="200"/>
              </a:spcBef>
              <a:buSzPct val="100000"/>
            </a:pPr>
            <a:r>
              <a:rPr lang="en-US" altLang="zh-CN" sz="1400" dirty="0"/>
              <a:t>Lorem ipsum  Lorem ipsum</a:t>
            </a:r>
          </a:p>
          <a:p>
            <a:pPr>
              <a:spcBef>
                <a:spcPts val="200"/>
              </a:spcBef>
              <a:buSzPct val="100000"/>
            </a:pPr>
            <a:r>
              <a:rPr lang="en-US" altLang="zh-CN" sz="1400" dirty="0"/>
              <a:t>Lorem ipsum</a:t>
            </a:r>
            <a:endParaRPr lang="en-US" sz="1400" dirty="0"/>
          </a:p>
        </p:txBody>
      </p:sp>
      <p:sp>
        <p:nvSpPr>
          <p:cNvPr id="64" name="文本框 106"/>
          <p:cNvSpPr txBox="1"/>
          <p:nvPr/>
        </p:nvSpPr>
        <p:spPr>
          <a:xfrm>
            <a:off x="4883009" y="5148928"/>
            <a:ext cx="1236946"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Lorem ipsum</a:t>
            </a:r>
          </a:p>
        </p:txBody>
      </p:sp>
      <p:sp>
        <p:nvSpPr>
          <p:cNvPr id="65" name="文本框 106"/>
          <p:cNvSpPr txBox="1"/>
          <p:nvPr/>
        </p:nvSpPr>
        <p:spPr>
          <a:xfrm>
            <a:off x="6311901" y="5148928"/>
            <a:ext cx="3317874" cy="456535"/>
          </a:xfrm>
          <a:prstGeom prst="rect">
            <a:avLst/>
          </a:prstGeom>
          <a:noFill/>
        </p:spPr>
        <p:txBody>
          <a:bodyPr vert="horz" wrap="square" lIns="0" tIns="0" rIns="0" bIns="0" rtlCol="0">
            <a:spAutoFit/>
          </a:bodyPr>
          <a:lstStyle/>
          <a:p>
            <a:pPr>
              <a:spcBef>
                <a:spcPts val="200"/>
              </a:spcBef>
              <a:buSzPct val="100000"/>
            </a:pPr>
            <a:r>
              <a:rPr lang="en-US" altLang="zh-CN" sz="1400" dirty="0"/>
              <a:t>Lorem ipsum  Lorem ipsum</a:t>
            </a:r>
          </a:p>
          <a:p>
            <a:pPr>
              <a:spcBef>
                <a:spcPts val="200"/>
              </a:spcBef>
              <a:buSzPct val="100000"/>
            </a:pPr>
            <a:r>
              <a:rPr lang="en-US" altLang="zh-CN" sz="1400" dirty="0"/>
              <a:t>Lorem ipsum</a:t>
            </a:r>
            <a:endParaRPr lang="en-US" sz="1400" dirty="0"/>
          </a:p>
        </p:txBody>
      </p:sp>
      <p:sp>
        <p:nvSpPr>
          <p:cNvPr id="66" name="文本框 106"/>
          <p:cNvSpPr txBox="1"/>
          <p:nvPr/>
        </p:nvSpPr>
        <p:spPr>
          <a:xfrm>
            <a:off x="5324476" y="2290966"/>
            <a:ext cx="1236946"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Lorem ipsum</a:t>
            </a:r>
          </a:p>
        </p:txBody>
      </p:sp>
      <p:sp>
        <p:nvSpPr>
          <p:cNvPr id="67" name="文本框 106"/>
          <p:cNvSpPr txBox="1"/>
          <p:nvPr/>
        </p:nvSpPr>
        <p:spPr>
          <a:xfrm>
            <a:off x="6753368" y="2290966"/>
            <a:ext cx="3317874" cy="456535"/>
          </a:xfrm>
          <a:prstGeom prst="rect">
            <a:avLst/>
          </a:prstGeom>
          <a:noFill/>
        </p:spPr>
        <p:txBody>
          <a:bodyPr vert="horz" wrap="square" lIns="0" tIns="0" rIns="0" bIns="0" rtlCol="0">
            <a:spAutoFit/>
          </a:bodyPr>
          <a:lstStyle/>
          <a:p>
            <a:pPr>
              <a:spcBef>
                <a:spcPts val="200"/>
              </a:spcBef>
              <a:buSzPct val="100000"/>
            </a:pPr>
            <a:r>
              <a:rPr lang="en-US" altLang="zh-CN" sz="1400" dirty="0"/>
              <a:t>Lorem ipsum  Lorem ipsum</a:t>
            </a:r>
          </a:p>
          <a:p>
            <a:pPr>
              <a:spcBef>
                <a:spcPts val="200"/>
              </a:spcBef>
              <a:buSzPct val="100000"/>
            </a:pPr>
            <a:r>
              <a:rPr lang="en-US" altLang="zh-CN" sz="1400" dirty="0"/>
              <a:t>Lorem ipsum</a:t>
            </a:r>
            <a:endParaRPr lang="en-US" sz="1400" dirty="0"/>
          </a:p>
        </p:txBody>
      </p:sp>
      <p:sp>
        <p:nvSpPr>
          <p:cNvPr id="68" name="文本框 106"/>
          <p:cNvSpPr txBox="1"/>
          <p:nvPr/>
        </p:nvSpPr>
        <p:spPr>
          <a:xfrm>
            <a:off x="5324476" y="4149929"/>
            <a:ext cx="1236946"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Lorem ipsum</a:t>
            </a:r>
          </a:p>
        </p:txBody>
      </p:sp>
      <p:sp>
        <p:nvSpPr>
          <p:cNvPr id="69" name="文本框 106"/>
          <p:cNvSpPr txBox="1"/>
          <p:nvPr/>
        </p:nvSpPr>
        <p:spPr>
          <a:xfrm>
            <a:off x="6753368" y="4149929"/>
            <a:ext cx="3317874" cy="456535"/>
          </a:xfrm>
          <a:prstGeom prst="rect">
            <a:avLst/>
          </a:prstGeom>
          <a:noFill/>
        </p:spPr>
        <p:txBody>
          <a:bodyPr vert="horz" wrap="square" lIns="0" tIns="0" rIns="0" bIns="0" rtlCol="0">
            <a:spAutoFit/>
          </a:bodyPr>
          <a:lstStyle/>
          <a:p>
            <a:pPr>
              <a:spcBef>
                <a:spcPts val="200"/>
              </a:spcBef>
              <a:buSzPct val="100000"/>
            </a:pPr>
            <a:r>
              <a:rPr lang="en-US" altLang="zh-CN" sz="1400" dirty="0"/>
              <a:t>Lorem ipsum  Lorem ipsum</a:t>
            </a:r>
          </a:p>
          <a:p>
            <a:pPr>
              <a:spcBef>
                <a:spcPts val="200"/>
              </a:spcBef>
              <a:buSzPct val="100000"/>
            </a:pPr>
            <a:r>
              <a:rPr lang="en-US" altLang="zh-CN" sz="1400" dirty="0"/>
              <a:t>Lorem ipsum</a:t>
            </a:r>
            <a:endParaRPr lang="en-US" sz="1400" dirty="0"/>
          </a:p>
        </p:txBody>
      </p:sp>
      <p:sp>
        <p:nvSpPr>
          <p:cNvPr id="70" name="文本框 106"/>
          <p:cNvSpPr txBox="1"/>
          <p:nvPr/>
        </p:nvSpPr>
        <p:spPr>
          <a:xfrm>
            <a:off x="5594351" y="3207415"/>
            <a:ext cx="935037" cy="430887"/>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Lorem ipsum</a:t>
            </a:r>
          </a:p>
        </p:txBody>
      </p:sp>
      <p:sp>
        <p:nvSpPr>
          <p:cNvPr id="71" name="文本框 106"/>
          <p:cNvSpPr txBox="1"/>
          <p:nvPr/>
        </p:nvSpPr>
        <p:spPr>
          <a:xfrm>
            <a:off x="7023243" y="3207415"/>
            <a:ext cx="3317874" cy="456535"/>
          </a:xfrm>
          <a:prstGeom prst="rect">
            <a:avLst/>
          </a:prstGeom>
          <a:noFill/>
        </p:spPr>
        <p:txBody>
          <a:bodyPr vert="horz" wrap="square" lIns="0" tIns="0" rIns="0" bIns="0" rtlCol="0">
            <a:spAutoFit/>
          </a:bodyPr>
          <a:lstStyle/>
          <a:p>
            <a:pPr>
              <a:spcBef>
                <a:spcPts val="200"/>
              </a:spcBef>
              <a:buSzPct val="100000"/>
            </a:pPr>
            <a:r>
              <a:rPr lang="en-US" altLang="zh-CN" sz="1400" dirty="0"/>
              <a:t>Lorem ipsum  Lorem ipsum</a:t>
            </a:r>
          </a:p>
          <a:p>
            <a:pPr>
              <a:spcBef>
                <a:spcPts val="200"/>
              </a:spcBef>
              <a:buSzPct val="100000"/>
            </a:pPr>
            <a:r>
              <a:rPr lang="en-US" altLang="zh-CN" sz="1400" dirty="0"/>
              <a:t>Lorem ipsum</a:t>
            </a:r>
            <a:endParaRPr lang="en-US" sz="1400" dirty="0"/>
          </a:p>
        </p:txBody>
      </p:sp>
    </p:spTree>
    <p:custDataLst>
      <p:tags r:id="rId1"/>
    </p:custDataLst>
    <p:extLst>
      <p:ext uri="{BB962C8B-B14F-4D97-AF65-F5344CB8AC3E}">
        <p14:creationId xmlns:p14="http://schemas.microsoft.com/office/powerpoint/2010/main" val="3864535529"/>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69"/>
          <p:cNvGrpSpPr/>
          <p:nvPr/>
        </p:nvGrpSpPr>
        <p:grpSpPr>
          <a:xfrm>
            <a:off x="794682" y="4902963"/>
            <a:ext cx="441092" cy="441870"/>
            <a:chOff x="9145588" y="4435475"/>
            <a:chExt cx="464344" cy="465138"/>
          </a:xfrm>
          <a:solidFill>
            <a:srgbClr val="75787B"/>
          </a:solidFill>
        </p:grpSpPr>
        <p:sp>
          <p:nvSpPr>
            <p:cNvPr id="71" name="AutoShape 7"/>
            <p:cNvSpPr>
              <a:spLocks/>
            </p:cNvSpPr>
            <p:nvPr/>
          </p:nvSpPr>
          <p:spPr bwMode="auto">
            <a:xfrm>
              <a:off x="9145588" y="4435475"/>
              <a:ext cx="464344" cy="465138"/>
            </a:xfrm>
            <a:custGeom>
              <a:avLst/>
              <a:gdLst>
                <a:gd name="T0" fmla="+- 0 10800 1271"/>
                <a:gd name="T1" fmla="*/ T0 w 19058"/>
                <a:gd name="T2" fmla="+- 0 10799 1270"/>
                <a:gd name="T3" fmla="*/ 10799 h 19059"/>
                <a:gd name="T4" fmla="+- 0 10800 1271"/>
                <a:gd name="T5" fmla="*/ T4 w 19058"/>
                <a:gd name="T6" fmla="+- 0 10799 1270"/>
                <a:gd name="T7" fmla="*/ 10799 h 19059"/>
                <a:gd name="T8" fmla="+- 0 10800 1271"/>
                <a:gd name="T9" fmla="*/ T8 w 19058"/>
                <a:gd name="T10" fmla="+- 0 10799 1270"/>
                <a:gd name="T11" fmla="*/ 10799 h 19059"/>
                <a:gd name="T12" fmla="+- 0 10800 1271"/>
                <a:gd name="T13" fmla="*/ T12 w 19058"/>
                <a:gd name="T14" fmla="+- 0 10799 1270"/>
                <a:gd name="T15" fmla="*/ 10799 h 19059"/>
              </a:gdLst>
              <a:ahLst/>
              <a:cxnLst>
                <a:cxn ang="0">
                  <a:pos x="T1" y="T3"/>
                </a:cxn>
                <a:cxn ang="0">
                  <a:pos x="T5" y="T7"/>
                </a:cxn>
                <a:cxn ang="0">
                  <a:pos x="T9" y="T11"/>
                </a:cxn>
                <a:cxn ang="0">
                  <a:pos x="T13" y="T15"/>
                </a:cxn>
              </a:cxnLst>
              <a:rect l="0" t="0" r="r" b="b"/>
              <a:pathLst>
                <a:path w="19058" h="19059">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2" name="AutoShape 8"/>
            <p:cNvSpPr>
              <a:spLocks/>
            </p:cNvSpPr>
            <p:nvPr/>
          </p:nvSpPr>
          <p:spPr bwMode="auto">
            <a:xfrm>
              <a:off x="9348788" y="4638675"/>
              <a:ext cx="57944" cy="57944"/>
            </a:xfrm>
            <a:custGeom>
              <a:avLst/>
              <a:gdLst>
                <a:gd name="T0" fmla="+- 0 10801 1272"/>
                <a:gd name="T1" fmla="*/ T0 w 19059"/>
                <a:gd name="T2" fmla="+- 0 10800 1272"/>
                <a:gd name="T3" fmla="*/ 10800 h 19056"/>
                <a:gd name="T4" fmla="+- 0 10801 1272"/>
                <a:gd name="T5" fmla="*/ T4 w 19059"/>
                <a:gd name="T6" fmla="+- 0 10800 1272"/>
                <a:gd name="T7" fmla="*/ 10800 h 19056"/>
                <a:gd name="T8" fmla="+- 0 10801 1272"/>
                <a:gd name="T9" fmla="*/ T8 w 19059"/>
                <a:gd name="T10" fmla="+- 0 10800 1272"/>
                <a:gd name="T11" fmla="*/ 10800 h 19056"/>
                <a:gd name="T12" fmla="+- 0 10801 1272"/>
                <a:gd name="T13" fmla="*/ T12 w 19059"/>
                <a:gd name="T14" fmla="+- 0 10800 1272"/>
                <a:gd name="T15" fmla="*/ 10800 h 19056"/>
              </a:gdLst>
              <a:ahLst/>
              <a:cxnLst>
                <a:cxn ang="0">
                  <a:pos x="T1" y="T3"/>
                </a:cxn>
                <a:cxn ang="0">
                  <a:pos x="T5" y="T7"/>
                </a:cxn>
                <a:cxn ang="0">
                  <a:pos x="T9" y="T11"/>
                </a:cxn>
                <a:cxn ang="0">
                  <a:pos x="T13" y="T15"/>
                </a:cxn>
              </a:cxnLst>
              <a:rect l="0" t="0" r="r" b="b"/>
              <a:pathLst>
                <a:path w="19059" h="19056">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3" name="AutoShape 9"/>
            <p:cNvSpPr>
              <a:spLocks/>
            </p:cNvSpPr>
            <p:nvPr/>
          </p:nvSpPr>
          <p:spPr bwMode="auto">
            <a:xfrm>
              <a:off x="9290050" y="4580732"/>
              <a:ext cx="174625" cy="174625"/>
            </a:xfrm>
            <a:custGeom>
              <a:avLst/>
              <a:gdLst>
                <a:gd name="T0" fmla="+- 0 10800 1271"/>
                <a:gd name="T1" fmla="*/ T0 w 19059"/>
                <a:gd name="T2" fmla="+- 0 10800 1271"/>
                <a:gd name="T3" fmla="*/ 10800 h 19058"/>
                <a:gd name="T4" fmla="+- 0 10800 1271"/>
                <a:gd name="T5" fmla="*/ T4 w 19059"/>
                <a:gd name="T6" fmla="+- 0 10800 1271"/>
                <a:gd name="T7" fmla="*/ 10800 h 19058"/>
                <a:gd name="T8" fmla="+- 0 10800 1271"/>
                <a:gd name="T9" fmla="*/ T8 w 19059"/>
                <a:gd name="T10" fmla="+- 0 10800 1271"/>
                <a:gd name="T11" fmla="*/ 10800 h 19058"/>
                <a:gd name="T12" fmla="+- 0 10800 1271"/>
                <a:gd name="T13" fmla="*/ T12 w 19059"/>
                <a:gd name="T14" fmla="+- 0 10800 1271"/>
                <a:gd name="T15" fmla="*/ 10800 h 19058"/>
              </a:gdLst>
              <a:ahLst/>
              <a:cxnLst>
                <a:cxn ang="0">
                  <a:pos x="T1" y="T3"/>
                </a:cxn>
                <a:cxn ang="0">
                  <a:pos x="T5" y="T7"/>
                </a:cxn>
                <a:cxn ang="0">
                  <a:pos x="T9" y="T11"/>
                </a:cxn>
                <a:cxn ang="0">
                  <a:pos x="T13" y="T15"/>
                </a:cxn>
              </a:cxnLst>
              <a:rect l="0" t="0" r="r" b="b"/>
              <a:pathLst>
                <a:path w="19059" h="19058">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4" name="AutoShape 10"/>
            <p:cNvSpPr>
              <a:spLocks/>
            </p:cNvSpPr>
            <p:nvPr/>
          </p:nvSpPr>
          <p:spPr bwMode="auto">
            <a:xfrm>
              <a:off x="9406732" y="4696619"/>
              <a:ext cx="72231" cy="74613"/>
            </a:xfrm>
            <a:custGeom>
              <a:avLst/>
              <a:gdLst>
                <a:gd name="T0" fmla="+- 0 10804 288"/>
                <a:gd name="T1" fmla="*/ T0 w 21033"/>
                <a:gd name="T2" fmla="+- 0 10798 277"/>
                <a:gd name="T3" fmla="*/ 10798 h 21043"/>
                <a:gd name="T4" fmla="+- 0 10804 288"/>
                <a:gd name="T5" fmla="*/ T4 w 21033"/>
                <a:gd name="T6" fmla="+- 0 10798 277"/>
                <a:gd name="T7" fmla="*/ 10798 h 21043"/>
                <a:gd name="T8" fmla="+- 0 10804 288"/>
                <a:gd name="T9" fmla="*/ T8 w 21033"/>
                <a:gd name="T10" fmla="+- 0 10798 277"/>
                <a:gd name="T11" fmla="*/ 10798 h 21043"/>
                <a:gd name="T12" fmla="+- 0 10804 288"/>
                <a:gd name="T13" fmla="*/ T12 w 21033"/>
                <a:gd name="T14" fmla="+- 0 10798 277"/>
                <a:gd name="T15" fmla="*/ 10798 h 21043"/>
              </a:gdLst>
              <a:ahLst/>
              <a:cxnLst>
                <a:cxn ang="0">
                  <a:pos x="T1" y="T3"/>
                </a:cxn>
                <a:cxn ang="0">
                  <a:pos x="T5" y="T7"/>
                </a:cxn>
                <a:cxn ang="0">
                  <a:pos x="T9" y="T11"/>
                </a:cxn>
                <a:cxn ang="0">
                  <a:pos x="T13" y="T15"/>
                </a:cxn>
              </a:cxnLst>
              <a:rect l="0" t="0" r="r" b="b"/>
              <a:pathLst>
                <a:path w="21033" h="2104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5" name="AutoShape 11"/>
            <p:cNvSpPr>
              <a:spLocks/>
            </p:cNvSpPr>
            <p:nvPr/>
          </p:nvSpPr>
          <p:spPr bwMode="auto">
            <a:xfrm>
              <a:off x="9435307" y="4725988"/>
              <a:ext cx="103981" cy="106363"/>
            </a:xfrm>
            <a:custGeom>
              <a:avLst/>
              <a:gdLst>
                <a:gd name="T0" fmla="+- 0 10803 203"/>
                <a:gd name="T1" fmla="*/ T0 w 21201"/>
                <a:gd name="T2" fmla="+- 0 10798 194"/>
                <a:gd name="T3" fmla="*/ 10798 h 21209"/>
                <a:gd name="T4" fmla="+- 0 10803 203"/>
                <a:gd name="T5" fmla="*/ T4 w 21201"/>
                <a:gd name="T6" fmla="+- 0 10798 194"/>
                <a:gd name="T7" fmla="*/ 10798 h 21209"/>
                <a:gd name="T8" fmla="+- 0 10803 203"/>
                <a:gd name="T9" fmla="*/ T8 w 21201"/>
                <a:gd name="T10" fmla="+- 0 10798 194"/>
                <a:gd name="T11" fmla="*/ 10798 h 21209"/>
                <a:gd name="T12" fmla="+- 0 10803 203"/>
                <a:gd name="T13" fmla="*/ T12 w 21201"/>
                <a:gd name="T14" fmla="+- 0 10798 194"/>
                <a:gd name="T15" fmla="*/ 10798 h 21209"/>
              </a:gdLst>
              <a:ahLst/>
              <a:cxnLst>
                <a:cxn ang="0">
                  <a:pos x="T1" y="T3"/>
                </a:cxn>
                <a:cxn ang="0">
                  <a:pos x="T5" y="T7"/>
                </a:cxn>
                <a:cxn ang="0">
                  <a:pos x="T9" y="T11"/>
                </a:cxn>
                <a:cxn ang="0">
                  <a:pos x="T13" y="T15"/>
                </a:cxn>
              </a:cxnLst>
              <a:rect l="0" t="0" r="r" b="b"/>
              <a:pathLst>
                <a:path w="21201" h="21209">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6" name="AutoShape 12"/>
            <p:cNvSpPr>
              <a:spLocks/>
            </p:cNvSpPr>
            <p:nvPr/>
          </p:nvSpPr>
          <p:spPr bwMode="auto">
            <a:xfrm>
              <a:off x="9421019" y="4711700"/>
              <a:ext cx="88106" cy="89694"/>
            </a:xfrm>
            <a:custGeom>
              <a:avLst/>
              <a:gdLst>
                <a:gd name="T0" fmla="+- 0 10802 238"/>
                <a:gd name="T1" fmla="*/ T0 w 21128"/>
                <a:gd name="T2" fmla="+- 0 10797 227"/>
                <a:gd name="T3" fmla="*/ 10797 h 21141"/>
                <a:gd name="T4" fmla="+- 0 10802 238"/>
                <a:gd name="T5" fmla="*/ T4 w 21128"/>
                <a:gd name="T6" fmla="+- 0 10797 227"/>
                <a:gd name="T7" fmla="*/ 10797 h 21141"/>
                <a:gd name="T8" fmla="+- 0 10802 238"/>
                <a:gd name="T9" fmla="*/ T8 w 21128"/>
                <a:gd name="T10" fmla="+- 0 10797 227"/>
                <a:gd name="T11" fmla="*/ 10797 h 21141"/>
                <a:gd name="T12" fmla="+- 0 10802 238"/>
                <a:gd name="T13" fmla="*/ T12 w 21128"/>
                <a:gd name="T14" fmla="+- 0 10797 227"/>
                <a:gd name="T15" fmla="*/ 10797 h 21141"/>
              </a:gdLst>
              <a:ahLst/>
              <a:cxnLst>
                <a:cxn ang="0">
                  <a:pos x="T1" y="T3"/>
                </a:cxn>
                <a:cxn ang="0">
                  <a:pos x="T5" y="T7"/>
                </a:cxn>
                <a:cxn ang="0">
                  <a:pos x="T9" y="T11"/>
                </a:cxn>
                <a:cxn ang="0">
                  <a:pos x="T13" y="T15"/>
                </a:cxn>
              </a:cxnLst>
              <a:rect l="0" t="0" r="r" b="b"/>
              <a:pathLst>
                <a:path w="21128" h="21141">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7" name="AutoShape 13"/>
            <p:cNvSpPr>
              <a:spLocks/>
            </p:cNvSpPr>
            <p:nvPr/>
          </p:nvSpPr>
          <p:spPr bwMode="auto">
            <a:xfrm>
              <a:off x="9275763" y="4566444"/>
              <a:ext cx="73025" cy="73819"/>
            </a:xfrm>
            <a:custGeom>
              <a:avLst/>
              <a:gdLst>
                <a:gd name="T0" fmla="+- 0 10797 278"/>
                <a:gd name="T1" fmla="*/ T0 w 21039"/>
                <a:gd name="T2" fmla="+- 0 10803 281"/>
                <a:gd name="T3" fmla="*/ 10803 h 21044"/>
                <a:gd name="T4" fmla="+- 0 10797 278"/>
                <a:gd name="T5" fmla="*/ T4 w 21039"/>
                <a:gd name="T6" fmla="+- 0 10803 281"/>
                <a:gd name="T7" fmla="*/ 10803 h 21044"/>
                <a:gd name="T8" fmla="+- 0 10797 278"/>
                <a:gd name="T9" fmla="*/ T8 w 21039"/>
                <a:gd name="T10" fmla="+- 0 10803 281"/>
                <a:gd name="T11" fmla="*/ 10803 h 21044"/>
                <a:gd name="T12" fmla="+- 0 10797 278"/>
                <a:gd name="T13" fmla="*/ T12 w 21039"/>
                <a:gd name="T14" fmla="+- 0 10803 281"/>
                <a:gd name="T15" fmla="*/ 10803 h 21044"/>
              </a:gdLst>
              <a:ahLst/>
              <a:cxnLst>
                <a:cxn ang="0">
                  <a:pos x="T1" y="T3"/>
                </a:cxn>
                <a:cxn ang="0">
                  <a:pos x="T5" y="T7"/>
                </a:cxn>
                <a:cxn ang="0">
                  <a:pos x="T9" y="T11"/>
                </a:cxn>
                <a:cxn ang="0">
                  <a:pos x="T13" y="T15"/>
                </a:cxn>
              </a:cxnLst>
              <a:rect l="0" t="0" r="r" b="b"/>
              <a:pathLst>
                <a:path w="21039" h="21044">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8" name="AutoShape 14"/>
            <p:cNvSpPr>
              <a:spLocks/>
            </p:cNvSpPr>
            <p:nvPr/>
          </p:nvSpPr>
          <p:spPr bwMode="auto">
            <a:xfrm>
              <a:off x="9217819" y="4508500"/>
              <a:ext cx="103981" cy="105569"/>
            </a:xfrm>
            <a:custGeom>
              <a:avLst/>
              <a:gdLst>
                <a:gd name="T0" fmla="+- 0 10797 198"/>
                <a:gd name="T1" fmla="*/ T0 w 21199"/>
                <a:gd name="T2" fmla="+- 0 10802 198"/>
                <a:gd name="T3" fmla="*/ 10802 h 21208"/>
                <a:gd name="T4" fmla="+- 0 10797 198"/>
                <a:gd name="T5" fmla="*/ T4 w 21199"/>
                <a:gd name="T6" fmla="+- 0 10802 198"/>
                <a:gd name="T7" fmla="*/ 10802 h 21208"/>
                <a:gd name="T8" fmla="+- 0 10797 198"/>
                <a:gd name="T9" fmla="*/ T8 w 21199"/>
                <a:gd name="T10" fmla="+- 0 10802 198"/>
                <a:gd name="T11" fmla="*/ 10802 h 21208"/>
                <a:gd name="T12" fmla="+- 0 10797 198"/>
                <a:gd name="T13" fmla="*/ T12 w 21199"/>
                <a:gd name="T14" fmla="+- 0 10802 198"/>
                <a:gd name="T15" fmla="*/ 10802 h 21208"/>
              </a:gdLst>
              <a:ahLst/>
              <a:cxnLst>
                <a:cxn ang="0">
                  <a:pos x="T1" y="T3"/>
                </a:cxn>
                <a:cxn ang="0">
                  <a:pos x="T5" y="T7"/>
                </a:cxn>
                <a:cxn ang="0">
                  <a:pos x="T9" y="T11"/>
                </a:cxn>
                <a:cxn ang="0">
                  <a:pos x="T13" y="T15"/>
                </a:cxn>
              </a:cxnLst>
              <a:rect l="0" t="0" r="r" b="b"/>
              <a:pathLst>
                <a:path w="21199" h="21208">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9" name="AutoShape 15"/>
            <p:cNvSpPr>
              <a:spLocks/>
            </p:cNvSpPr>
            <p:nvPr/>
          </p:nvSpPr>
          <p:spPr bwMode="auto">
            <a:xfrm>
              <a:off x="9247188" y="4537075"/>
              <a:ext cx="88107" cy="90488"/>
            </a:xfrm>
            <a:custGeom>
              <a:avLst/>
              <a:gdLst>
                <a:gd name="T0" fmla="+- 0 10796 232"/>
                <a:gd name="T1" fmla="*/ T0 w 21129"/>
                <a:gd name="T2" fmla="+- 0 10804 234"/>
                <a:gd name="T3" fmla="*/ 10804 h 21141"/>
                <a:gd name="T4" fmla="+- 0 10796 232"/>
                <a:gd name="T5" fmla="*/ T4 w 21129"/>
                <a:gd name="T6" fmla="+- 0 10804 234"/>
                <a:gd name="T7" fmla="*/ 10804 h 21141"/>
                <a:gd name="T8" fmla="+- 0 10796 232"/>
                <a:gd name="T9" fmla="*/ T8 w 21129"/>
                <a:gd name="T10" fmla="+- 0 10804 234"/>
                <a:gd name="T11" fmla="*/ 10804 h 21141"/>
                <a:gd name="T12" fmla="+- 0 10796 232"/>
                <a:gd name="T13" fmla="*/ T12 w 21129"/>
                <a:gd name="T14" fmla="+- 0 10804 234"/>
                <a:gd name="T15" fmla="*/ 10804 h 21141"/>
              </a:gdLst>
              <a:ahLst/>
              <a:cxnLst>
                <a:cxn ang="0">
                  <a:pos x="T1" y="T3"/>
                </a:cxn>
                <a:cxn ang="0">
                  <a:pos x="T5" y="T7"/>
                </a:cxn>
                <a:cxn ang="0">
                  <a:pos x="T9" y="T11"/>
                </a:cxn>
                <a:cxn ang="0">
                  <a:pos x="T13" y="T15"/>
                </a:cxn>
              </a:cxnLst>
              <a:rect l="0" t="0" r="r" b="b"/>
              <a:pathLst>
                <a:path w="21129" h="21141">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25" name="Group 79"/>
          <p:cNvGrpSpPr/>
          <p:nvPr/>
        </p:nvGrpSpPr>
        <p:grpSpPr>
          <a:xfrm>
            <a:off x="801939" y="3222790"/>
            <a:ext cx="413195" cy="441115"/>
            <a:chOff x="9159875" y="1647825"/>
            <a:chExt cx="434975" cy="464344"/>
          </a:xfrm>
          <a:solidFill>
            <a:srgbClr val="00A3E0"/>
          </a:solidFill>
        </p:grpSpPr>
        <p:sp>
          <p:nvSpPr>
            <p:cNvPr id="81" name="AutoShape 78"/>
            <p:cNvSpPr>
              <a:spLocks/>
            </p:cNvSpPr>
            <p:nvPr/>
          </p:nvSpPr>
          <p:spPr bwMode="auto">
            <a:xfrm>
              <a:off x="9159875" y="1647825"/>
              <a:ext cx="434975"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160" y="18900"/>
                  </a:moveTo>
                  <a:cubicBezTo>
                    <a:pt x="20160" y="19643"/>
                    <a:pt x="19513" y="20249"/>
                    <a:pt x="18720" y="20249"/>
                  </a:cubicBezTo>
                  <a:lnTo>
                    <a:pt x="2880" y="20249"/>
                  </a:lnTo>
                  <a:cubicBezTo>
                    <a:pt x="2086" y="20249"/>
                    <a:pt x="1440" y="19643"/>
                    <a:pt x="1440" y="18900"/>
                  </a:cubicBezTo>
                  <a:lnTo>
                    <a:pt x="1440" y="2700"/>
                  </a:lnTo>
                  <a:cubicBezTo>
                    <a:pt x="1440" y="1955"/>
                    <a:pt x="2086" y="1350"/>
                    <a:pt x="2880" y="1350"/>
                  </a:cubicBezTo>
                  <a:lnTo>
                    <a:pt x="18720" y="1350"/>
                  </a:lnTo>
                  <a:cubicBezTo>
                    <a:pt x="19513" y="1350"/>
                    <a:pt x="20160" y="1955"/>
                    <a:pt x="20160" y="2700"/>
                  </a:cubicBezTo>
                  <a:cubicBezTo>
                    <a:pt x="20160" y="2700"/>
                    <a:pt x="20160" y="18900"/>
                    <a:pt x="20160" y="18900"/>
                  </a:cubicBezTo>
                  <a:close/>
                  <a:moveTo>
                    <a:pt x="18720" y="0"/>
                  </a:moveTo>
                  <a:lnTo>
                    <a:pt x="2880" y="0"/>
                  </a:lnTo>
                  <a:cubicBezTo>
                    <a:pt x="1289" y="0"/>
                    <a:pt x="0" y="1208"/>
                    <a:pt x="0" y="2700"/>
                  </a:cubicBezTo>
                  <a:lnTo>
                    <a:pt x="0" y="18900"/>
                  </a:lnTo>
                  <a:cubicBezTo>
                    <a:pt x="0" y="20391"/>
                    <a:pt x="1289" y="21599"/>
                    <a:pt x="2880" y="21599"/>
                  </a:cubicBezTo>
                  <a:lnTo>
                    <a:pt x="18720" y="21599"/>
                  </a:lnTo>
                  <a:cubicBezTo>
                    <a:pt x="20310" y="21599"/>
                    <a:pt x="21599" y="20391"/>
                    <a:pt x="21599" y="18900"/>
                  </a:cubicBezTo>
                  <a:lnTo>
                    <a:pt x="21599" y="2700"/>
                  </a:lnTo>
                  <a:cubicBezTo>
                    <a:pt x="21599" y="1208"/>
                    <a:pt x="20310" y="0"/>
                    <a:pt x="1872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2" name="AutoShape 79"/>
            <p:cNvSpPr>
              <a:spLocks/>
            </p:cNvSpPr>
            <p:nvPr/>
          </p:nvSpPr>
          <p:spPr bwMode="auto">
            <a:xfrm>
              <a:off x="9217819" y="1705769"/>
              <a:ext cx="319088" cy="290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7418" y="20519"/>
                  </a:moveTo>
                  <a:lnTo>
                    <a:pt x="14053" y="16248"/>
                  </a:lnTo>
                  <a:lnTo>
                    <a:pt x="16690" y="12959"/>
                  </a:lnTo>
                  <a:lnTo>
                    <a:pt x="20618" y="17689"/>
                  </a:lnTo>
                  <a:lnTo>
                    <a:pt x="20618" y="20519"/>
                  </a:lnTo>
                  <a:cubicBezTo>
                    <a:pt x="20618" y="20519"/>
                    <a:pt x="17418" y="20519"/>
                    <a:pt x="17418" y="20519"/>
                  </a:cubicBezTo>
                  <a:close/>
                  <a:moveTo>
                    <a:pt x="981" y="11446"/>
                  </a:moveTo>
                  <a:lnTo>
                    <a:pt x="4909" y="6479"/>
                  </a:lnTo>
                  <a:lnTo>
                    <a:pt x="12828" y="16353"/>
                  </a:lnTo>
                  <a:lnTo>
                    <a:pt x="13398" y="17064"/>
                  </a:lnTo>
                  <a:lnTo>
                    <a:pt x="16109" y="20519"/>
                  </a:lnTo>
                  <a:lnTo>
                    <a:pt x="981" y="20519"/>
                  </a:lnTo>
                  <a:cubicBezTo>
                    <a:pt x="981" y="20519"/>
                    <a:pt x="981" y="11446"/>
                    <a:pt x="981" y="11446"/>
                  </a:cubicBezTo>
                  <a:close/>
                  <a:moveTo>
                    <a:pt x="20618" y="1080"/>
                  </a:moveTo>
                  <a:lnTo>
                    <a:pt x="20618" y="16058"/>
                  </a:lnTo>
                  <a:lnTo>
                    <a:pt x="17427" y="12244"/>
                  </a:lnTo>
                  <a:cubicBezTo>
                    <a:pt x="17240" y="12012"/>
                    <a:pt x="16972" y="11879"/>
                    <a:pt x="16690" y="11879"/>
                  </a:cubicBezTo>
                  <a:cubicBezTo>
                    <a:pt x="16409" y="11879"/>
                    <a:pt x="16141" y="12012"/>
                    <a:pt x="15954" y="12244"/>
                  </a:cubicBezTo>
                  <a:lnTo>
                    <a:pt x="13399" y="15432"/>
                  </a:lnTo>
                  <a:lnTo>
                    <a:pt x="5645" y="5764"/>
                  </a:lnTo>
                  <a:cubicBezTo>
                    <a:pt x="5458" y="5532"/>
                    <a:pt x="5190" y="5400"/>
                    <a:pt x="4909" y="5400"/>
                  </a:cubicBezTo>
                  <a:cubicBezTo>
                    <a:pt x="4627" y="5400"/>
                    <a:pt x="4359" y="5532"/>
                    <a:pt x="4172" y="5764"/>
                  </a:cubicBezTo>
                  <a:lnTo>
                    <a:pt x="981" y="9812"/>
                  </a:lnTo>
                  <a:lnTo>
                    <a:pt x="981" y="1080"/>
                  </a:lnTo>
                  <a:cubicBezTo>
                    <a:pt x="981" y="1080"/>
                    <a:pt x="20618" y="1080"/>
                    <a:pt x="20618" y="1080"/>
                  </a:cubicBezTo>
                  <a:close/>
                  <a:moveTo>
                    <a:pt x="20618" y="0"/>
                  </a:moveTo>
                  <a:lnTo>
                    <a:pt x="981" y="0"/>
                  </a:lnTo>
                  <a:cubicBezTo>
                    <a:pt x="439" y="0"/>
                    <a:pt x="0" y="483"/>
                    <a:pt x="0" y="1080"/>
                  </a:cubicBezTo>
                  <a:lnTo>
                    <a:pt x="0" y="20519"/>
                  </a:lnTo>
                  <a:cubicBezTo>
                    <a:pt x="0" y="21116"/>
                    <a:pt x="439" y="21599"/>
                    <a:pt x="981" y="21599"/>
                  </a:cubicBezTo>
                  <a:lnTo>
                    <a:pt x="20618" y="21599"/>
                  </a:lnTo>
                  <a:cubicBezTo>
                    <a:pt x="21160" y="21599"/>
                    <a:pt x="21600" y="21116"/>
                    <a:pt x="21600" y="20519"/>
                  </a:cubicBezTo>
                  <a:lnTo>
                    <a:pt x="21600" y="1080"/>
                  </a:lnTo>
                  <a:cubicBezTo>
                    <a:pt x="21600" y="483"/>
                    <a:pt x="21160" y="0"/>
                    <a:pt x="20618"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3" name="AutoShape 80"/>
            <p:cNvSpPr>
              <a:spLocks/>
            </p:cNvSpPr>
            <p:nvPr/>
          </p:nvSpPr>
          <p:spPr bwMode="auto">
            <a:xfrm>
              <a:off x="9391650" y="1749425"/>
              <a:ext cx="87313" cy="873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3600"/>
                  </a:moveTo>
                  <a:cubicBezTo>
                    <a:pt x="14769" y="3600"/>
                    <a:pt x="17999" y="6827"/>
                    <a:pt x="17999" y="10800"/>
                  </a:cubicBezTo>
                  <a:cubicBezTo>
                    <a:pt x="17999" y="14769"/>
                    <a:pt x="14769" y="18000"/>
                    <a:pt x="10800" y="18000"/>
                  </a:cubicBezTo>
                  <a:cubicBezTo>
                    <a:pt x="6830" y="18000"/>
                    <a:pt x="3600" y="14769"/>
                    <a:pt x="3600" y="10800"/>
                  </a:cubicBezTo>
                  <a:cubicBezTo>
                    <a:pt x="3600" y="6827"/>
                    <a:pt x="6830" y="3600"/>
                    <a:pt x="10800" y="3600"/>
                  </a:cubicBezTo>
                  <a:moveTo>
                    <a:pt x="10800" y="21599"/>
                  </a:moveTo>
                  <a:cubicBezTo>
                    <a:pt x="16766" y="21599"/>
                    <a:pt x="21600" y="16762"/>
                    <a:pt x="21600" y="10800"/>
                  </a:cubicBezTo>
                  <a:cubicBezTo>
                    <a:pt x="21600" y="4833"/>
                    <a:pt x="16766" y="0"/>
                    <a:pt x="10800" y="0"/>
                  </a:cubicBezTo>
                  <a:cubicBezTo>
                    <a:pt x="4833" y="0"/>
                    <a:pt x="0" y="4833"/>
                    <a:pt x="0" y="10800"/>
                  </a:cubicBezTo>
                  <a:cubicBezTo>
                    <a:pt x="0" y="16762"/>
                    <a:pt x="4833"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28" name="Group 83"/>
          <p:cNvGrpSpPr/>
          <p:nvPr/>
        </p:nvGrpSpPr>
        <p:grpSpPr>
          <a:xfrm>
            <a:off x="801218" y="1542620"/>
            <a:ext cx="441846" cy="413970"/>
            <a:chOff x="5368132" y="3540125"/>
            <a:chExt cx="465138" cy="435769"/>
          </a:xfrm>
          <a:solidFill>
            <a:srgbClr val="86BC25"/>
          </a:solidFill>
        </p:grpSpPr>
        <p:sp>
          <p:nvSpPr>
            <p:cNvPr id="85" name="AutoShape 110"/>
            <p:cNvSpPr>
              <a:spLocks/>
            </p:cNvSpPr>
            <p:nvPr/>
          </p:nvSpPr>
          <p:spPr bwMode="auto">
            <a:xfrm>
              <a:off x="5426869" y="3598069"/>
              <a:ext cx="347663" cy="2325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699" y="20255"/>
                  </a:moveTo>
                  <a:lnTo>
                    <a:pt x="899" y="20255"/>
                  </a:lnTo>
                  <a:lnTo>
                    <a:pt x="899" y="1350"/>
                  </a:lnTo>
                  <a:lnTo>
                    <a:pt x="20699" y="1350"/>
                  </a:lnTo>
                  <a:cubicBezTo>
                    <a:pt x="20699" y="1350"/>
                    <a:pt x="20699" y="20255"/>
                    <a:pt x="20699" y="20255"/>
                  </a:cubicBezTo>
                  <a:close/>
                  <a:moveTo>
                    <a:pt x="20699" y="0"/>
                  </a:moveTo>
                  <a:lnTo>
                    <a:pt x="899" y="5"/>
                  </a:lnTo>
                  <a:cubicBezTo>
                    <a:pt x="402" y="5"/>
                    <a:pt x="0" y="603"/>
                    <a:pt x="0" y="1350"/>
                  </a:cubicBezTo>
                  <a:lnTo>
                    <a:pt x="0" y="20249"/>
                  </a:lnTo>
                  <a:cubicBezTo>
                    <a:pt x="0" y="20996"/>
                    <a:pt x="402" y="21599"/>
                    <a:pt x="899" y="21599"/>
                  </a:cubicBezTo>
                  <a:lnTo>
                    <a:pt x="20699" y="21599"/>
                  </a:lnTo>
                  <a:cubicBezTo>
                    <a:pt x="21197" y="21599"/>
                    <a:pt x="21600" y="20996"/>
                    <a:pt x="21600" y="20249"/>
                  </a:cubicBezTo>
                  <a:lnTo>
                    <a:pt x="21600" y="1350"/>
                  </a:lnTo>
                  <a:cubicBezTo>
                    <a:pt x="21600" y="603"/>
                    <a:pt x="21197" y="0"/>
                    <a:pt x="20699"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6" name="AutoShape 111"/>
            <p:cNvSpPr>
              <a:spLocks/>
            </p:cNvSpPr>
            <p:nvPr/>
          </p:nvSpPr>
          <p:spPr bwMode="auto">
            <a:xfrm>
              <a:off x="5368132" y="3540125"/>
              <a:ext cx="465138" cy="4357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6562"/>
                  </a:moveTo>
                  <a:cubicBezTo>
                    <a:pt x="20249" y="16959"/>
                    <a:pt x="19946" y="17282"/>
                    <a:pt x="19575" y="17282"/>
                  </a:cubicBezTo>
                  <a:lnTo>
                    <a:pt x="13499" y="17282"/>
                  </a:lnTo>
                  <a:lnTo>
                    <a:pt x="8099" y="17282"/>
                  </a:lnTo>
                  <a:lnTo>
                    <a:pt x="2024" y="17282"/>
                  </a:lnTo>
                  <a:cubicBezTo>
                    <a:pt x="1651" y="17282"/>
                    <a:pt x="1349" y="16959"/>
                    <a:pt x="1349" y="16562"/>
                  </a:cubicBezTo>
                  <a:lnTo>
                    <a:pt x="1349" y="2160"/>
                  </a:lnTo>
                  <a:cubicBezTo>
                    <a:pt x="1349" y="1762"/>
                    <a:pt x="1651" y="1440"/>
                    <a:pt x="2024" y="1440"/>
                  </a:cubicBezTo>
                  <a:lnTo>
                    <a:pt x="19575" y="1440"/>
                  </a:lnTo>
                  <a:cubicBezTo>
                    <a:pt x="19946" y="1440"/>
                    <a:pt x="20249" y="1762"/>
                    <a:pt x="20249" y="2160"/>
                  </a:cubicBezTo>
                  <a:cubicBezTo>
                    <a:pt x="20249" y="2160"/>
                    <a:pt x="20249" y="16562"/>
                    <a:pt x="20249" y="16562"/>
                  </a:cubicBezTo>
                  <a:close/>
                  <a:moveTo>
                    <a:pt x="19575" y="0"/>
                  </a:moveTo>
                  <a:lnTo>
                    <a:pt x="2024" y="0"/>
                  </a:lnTo>
                  <a:cubicBezTo>
                    <a:pt x="905" y="0"/>
                    <a:pt x="0" y="966"/>
                    <a:pt x="0" y="2160"/>
                  </a:cubicBezTo>
                  <a:lnTo>
                    <a:pt x="0" y="16562"/>
                  </a:lnTo>
                  <a:cubicBezTo>
                    <a:pt x="0" y="17753"/>
                    <a:pt x="903" y="18718"/>
                    <a:pt x="2018" y="18721"/>
                  </a:cubicBezTo>
                  <a:lnTo>
                    <a:pt x="8774" y="18721"/>
                  </a:lnTo>
                  <a:lnTo>
                    <a:pt x="8774" y="19597"/>
                  </a:lnTo>
                  <a:lnTo>
                    <a:pt x="4561" y="20181"/>
                  </a:lnTo>
                  <a:cubicBezTo>
                    <a:pt x="4260" y="20262"/>
                    <a:pt x="4049" y="20549"/>
                    <a:pt x="4049" y="20879"/>
                  </a:cubicBezTo>
                  <a:cubicBezTo>
                    <a:pt x="4049" y="21277"/>
                    <a:pt x="4351" y="21599"/>
                    <a:pt x="4724" y="21599"/>
                  </a:cubicBezTo>
                  <a:lnTo>
                    <a:pt x="16874" y="21599"/>
                  </a:lnTo>
                  <a:cubicBezTo>
                    <a:pt x="17248" y="21599"/>
                    <a:pt x="17549" y="21277"/>
                    <a:pt x="17549" y="20879"/>
                  </a:cubicBezTo>
                  <a:cubicBezTo>
                    <a:pt x="17549" y="20549"/>
                    <a:pt x="17339" y="20262"/>
                    <a:pt x="17038" y="20181"/>
                  </a:cubicBezTo>
                  <a:lnTo>
                    <a:pt x="12824" y="19597"/>
                  </a:lnTo>
                  <a:lnTo>
                    <a:pt x="12824" y="18721"/>
                  </a:lnTo>
                  <a:lnTo>
                    <a:pt x="19581" y="18721"/>
                  </a:lnTo>
                  <a:cubicBezTo>
                    <a:pt x="20696" y="18718"/>
                    <a:pt x="21600" y="17753"/>
                    <a:pt x="21600" y="16562"/>
                  </a:cubicBezTo>
                  <a:lnTo>
                    <a:pt x="21600" y="2160"/>
                  </a:lnTo>
                  <a:cubicBezTo>
                    <a:pt x="21600" y="966"/>
                    <a:pt x="20692" y="0"/>
                    <a:pt x="19575"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29" name="Group 86"/>
          <p:cNvGrpSpPr/>
          <p:nvPr/>
        </p:nvGrpSpPr>
        <p:grpSpPr>
          <a:xfrm>
            <a:off x="801575" y="2403816"/>
            <a:ext cx="441846" cy="371744"/>
            <a:chOff x="5368132" y="2625725"/>
            <a:chExt cx="465138" cy="391319"/>
          </a:xfrm>
          <a:solidFill>
            <a:srgbClr val="046A38"/>
          </a:solidFill>
        </p:grpSpPr>
        <p:sp>
          <p:nvSpPr>
            <p:cNvPr id="88" name="AutoShape 120"/>
            <p:cNvSpPr>
              <a:spLocks/>
            </p:cNvSpPr>
            <p:nvPr/>
          </p:nvSpPr>
          <p:spPr bwMode="auto">
            <a:xfrm>
              <a:off x="5484813" y="2727325"/>
              <a:ext cx="231775" cy="2317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48" y="16070"/>
                  </a:moveTo>
                  <a:cubicBezTo>
                    <a:pt x="14037" y="19468"/>
                    <a:pt x="8925" y="19859"/>
                    <a:pt x="5529" y="16948"/>
                  </a:cubicBezTo>
                  <a:cubicBezTo>
                    <a:pt x="2130" y="14038"/>
                    <a:pt x="1740" y="8924"/>
                    <a:pt x="4651" y="5527"/>
                  </a:cubicBezTo>
                  <a:cubicBezTo>
                    <a:pt x="7559" y="2131"/>
                    <a:pt x="12674" y="1740"/>
                    <a:pt x="16070" y="4650"/>
                  </a:cubicBezTo>
                  <a:cubicBezTo>
                    <a:pt x="19466" y="7560"/>
                    <a:pt x="19859" y="12673"/>
                    <a:pt x="16948" y="16070"/>
                  </a:cubicBezTo>
                  <a:moveTo>
                    <a:pt x="10800" y="0"/>
                  </a:moveTo>
                  <a:cubicBezTo>
                    <a:pt x="4833" y="0"/>
                    <a:pt x="0" y="4834"/>
                    <a:pt x="0" y="10800"/>
                  </a:cubicBezTo>
                  <a:cubicBezTo>
                    <a:pt x="0" y="16765"/>
                    <a:pt x="4833" y="21599"/>
                    <a:pt x="10800" y="21599"/>
                  </a:cubicBezTo>
                  <a:cubicBezTo>
                    <a:pt x="16764" y="21599"/>
                    <a:pt x="21600" y="16765"/>
                    <a:pt x="21600" y="10800"/>
                  </a:cubicBezTo>
                  <a:cubicBezTo>
                    <a:pt x="21600" y="4834"/>
                    <a:pt x="16764"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9" name="AutoShape 121"/>
            <p:cNvSpPr>
              <a:spLocks/>
            </p:cNvSpPr>
            <p:nvPr/>
          </p:nvSpPr>
          <p:spPr bwMode="auto">
            <a:xfrm>
              <a:off x="5542757" y="2785269"/>
              <a:ext cx="65088" cy="65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200" y="0"/>
                  </a:moveTo>
                  <a:cubicBezTo>
                    <a:pt x="8596" y="0"/>
                    <a:pt x="0" y="8596"/>
                    <a:pt x="0" y="19195"/>
                  </a:cubicBezTo>
                  <a:lnTo>
                    <a:pt x="0" y="19199"/>
                  </a:lnTo>
                  <a:cubicBezTo>
                    <a:pt x="0" y="20524"/>
                    <a:pt x="1068" y="21599"/>
                    <a:pt x="2400" y="21599"/>
                  </a:cubicBezTo>
                  <a:cubicBezTo>
                    <a:pt x="3721" y="21599"/>
                    <a:pt x="4800" y="20524"/>
                    <a:pt x="4800" y="19199"/>
                  </a:cubicBezTo>
                  <a:lnTo>
                    <a:pt x="4800" y="19195"/>
                  </a:lnTo>
                  <a:cubicBezTo>
                    <a:pt x="4800" y="11247"/>
                    <a:pt x="11240" y="4799"/>
                    <a:pt x="19200" y="4799"/>
                  </a:cubicBezTo>
                  <a:cubicBezTo>
                    <a:pt x="20521" y="4799"/>
                    <a:pt x="21600" y="3724"/>
                    <a:pt x="21600" y="2399"/>
                  </a:cubicBezTo>
                  <a:cubicBezTo>
                    <a:pt x="21600" y="1075"/>
                    <a:pt x="20521" y="0"/>
                    <a:pt x="192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0" name="AutoShape 122"/>
            <p:cNvSpPr>
              <a:spLocks/>
            </p:cNvSpPr>
            <p:nvPr/>
          </p:nvSpPr>
          <p:spPr bwMode="auto">
            <a:xfrm>
              <a:off x="5368132" y="2625725"/>
              <a:ext cx="465138" cy="3913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9199"/>
                  </a:moveTo>
                  <a:cubicBezTo>
                    <a:pt x="20249" y="19642"/>
                    <a:pt x="19948" y="19999"/>
                    <a:pt x="19575" y="19999"/>
                  </a:cubicBezTo>
                  <a:lnTo>
                    <a:pt x="2024" y="19999"/>
                  </a:lnTo>
                  <a:cubicBezTo>
                    <a:pt x="1651" y="19999"/>
                    <a:pt x="1349" y="19642"/>
                    <a:pt x="1349" y="19199"/>
                  </a:cubicBezTo>
                  <a:lnTo>
                    <a:pt x="1349" y="7200"/>
                  </a:lnTo>
                  <a:cubicBezTo>
                    <a:pt x="1349" y="6809"/>
                    <a:pt x="1588" y="6475"/>
                    <a:pt x="1914" y="6411"/>
                  </a:cubicBezTo>
                  <a:lnTo>
                    <a:pt x="5588" y="5684"/>
                  </a:lnTo>
                  <a:lnTo>
                    <a:pt x="6797" y="2103"/>
                  </a:lnTo>
                  <a:cubicBezTo>
                    <a:pt x="6900" y="1799"/>
                    <a:pt x="7148" y="1600"/>
                    <a:pt x="7424" y="1600"/>
                  </a:cubicBezTo>
                  <a:lnTo>
                    <a:pt x="14174" y="1600"/>
                  </a:lnTo>
                  <a:cubicBezTo>
                    <a:pt x="14450" y="1600"/>
                    <a:pt x="14698" y="1799"/>
                    <a:pt x="14801" y="2103"/>
                  </a:cubicBezTo>
                  <a:lnTo>
                    <a:pt x="16010" y="5684"/>
                  </a:lnTo>
                  <a:lnTo>
                    <a:pt x="19685" y="6411"/>
                  </a:lnTo>
                  <a:cubicBezTo>
                    <a:pt x="20011" y="6475"/>
                    <a:pt x="20249" y="6809"/>
                    <a:pt x="20249" y="7200"/>
                  </a:cubicBezTo>
                  <a:cubicBezTo>
                    <a:pt x="20249" y="7200"/>
                    <a:pt x="20249" y="19199"/>
                    <a:pt x="20249" y="19199"/>
                  </a:cubicBezTo>
                  <a:close/>
                  <a:moveTo>
                    <a:pt x="19907" y="4832"/>
                  </a:moveTo>
                  <a:lnTo>
                    <a:pt x="16981" y="4254"/>
                  </a:lnTo>
                  <a:lnTo>
                    <a:pt x="16054" y="1507"/>
                  </a:lnTo>
                  <a:cubicBezTo>
                    <a:pt x="15745" y="591"/>
                    <a:pt x="15006" y="0"/>
                    <a:pt x="14174" y="0"/>
                  </a:cubicBezTo>
                  <a:lnTo>
                    <a:pt x="7424" y="0"/>
                  </a:lnTo>
                  <a:cubicBezTo>
                    <a:pt x="6593" y="0"/>
                    <a:pt x="5854" y="591"/>
                    <a:pt x="5543" y="1509"/>
                  </a:cubicBezTo>
                  <a:lnTo>
                    <a:pt x="4618" y="4254"/>
                  </a:lnTo>
                  <a:lnTo>
                    <a:pt x="1692" y="4832"/>
                  </a:lnTo>
                  <a:cubicBezTo>
                    <a:pt x="711" y="5025"/>
                    <a:pt x="0" y="6020"/>
                    <a:pt x="0" y="7200"/>
                  </a:cubicBezTo>
                  <a:lnTo>
                    <a:pt x="0" y="19199"/>
                  </a:lnTo>
                  <a:cubicBezTo>
                    <a:pt x="0" y="20523"/>
                    <a:pt x="908" y="21600"/>
                    <a:pt x="2024" y="21600"/>
                  </a:cubicBezTo>
                  <a:lnTo>
                    <a:pt x="19575" y="21600"/>
                  </a:lnTo>
                  <a:cubicBezTo>
                    <a:pt x="20691" y="21600"/>
                    <a:pt x="21600" y="20523"/>
                    <a:pt x="21600" y="19199"/>
                  </a:cubicBezTo>
                  <a:lnTo>
                    <a:pt x="21600" y="7200"/>
                  </a:lnTo>
                  <a:cubicBezTo>
                    <a:pt x="21600" y="6020"/>
                    <a:pt x="20888" y="5025"/>
                    <a:pt x="19907" y="4832"/>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30" name="Group 90"/>
          <p:cNvGrpSpPr/>
          <p:nvPr/>
        </p:nvGrpSpPr>
        <p:grpSpPr>
          <a:xfrm>
            <a:off x="797522" y="4111134"/>
            <a:ext cx="441092" cy="344600"/>
            <a:chOff x="2581275" y="1710532"/>
            <a:chExt cx="464344" cy="362744"/>
          </a:xfrm>
          <a:solidFill>
            <a:srgbClr val="012169"/>
          </a:solidFill>
        </p:grpSpPr>
        <p:sp>
          <p:nvSpPr>
            <p:cNvPr id="92" name="AutoShape 140"/>
            <p:cNvSpPr>
              <a:spLocks/>
            </p:cNvSpPr>
            <p:nvPr/>
          </p:nvSpPr>
          <p:spPr bwMode="auto">
            <a:xfrm>
              <a:off x="2639219" y="1768475"/>
              <a:ext cx="290513" cy="235744"/>
            </a:xfrm>
            <a:custGeom>
              <a:avLst/>
              <a:gdLst>
                <a:gd name="T0" fmla="+- 0 10800 376"/>
                <a:gd name="T1" fmla="*/ T0 w 20848"/>
                <a:gd name="T2" fmla="*/ 10800 h 21600"/>
                <a:gd name="T3" fmla="+- 0 10800 376"/>
                <a:gd name="T4" fmla="*/ T3 w 20848"/>
                <a:gd name="T5" fmla="*/ 10800 h 21600"/>
                <a:gd name="T6" fmla="+- 0 10800 376"/>
                <a:gd name="T7" fmla="*/ T6 w 20848"/>
                <a:gd name="T8" fmla="*/ 10800 h 21600"/>
                <a:gd name="T9" fmla="+- 0 10800 376"/>
                <a:gd name="T10" fmla="*/ T9 w 20848"/>
                <a:gd name="T11" fmla="*/ 10800 h 21600"/>
              </a:gdLst>
              <a:ahLst/>
              <a:cxnLst>
                <a:cxn ang="0">
                  <a:pos x="T1" y="T2"/>
                </a:cxn>
                <a:cxn ang="0">
                  <a:pos x="T4" y="T5"/>
                </a:cxn>
                <a:cxn ang="0">
                  <a:pos x="T7" y="T8"/>
                </a:cxn>
                <a:cxn ang="0">
                  <a:pos x="T10" y="T11"/>
                </a:cxn>
              </a:cxnLst>
              <a:rect l="0" t="0" r="r" b="b"/>
              <a:pathLst>
                <a:path w="20848" h="21600">
                  <a:moveTo>
                    <a:pt x="18728" y="19178"/>
                  </a:moveTo>
                  <a:cubicBezTo>
                    <a:pt x="13191" y="20631"/>
                    <a:pt x="7654" y="20631"/>
                    <a:pt x="2118" y="19178"/>
                  </a:cubicBezTo>
                  <a:cubicBezTo>
                    <a:pt x="678" y="13592"/>
                    <a:pt x="678" y="8008"/>
                    <a:pt x="2118" y="2421"/>
                  </a:cubicBezTo>
                  <a:cubicBezTo>
                    <a:pt x="7654" y="968"/>
                    <a:pt x="13191" y="968"/>
                    <a:pt x="18728" y="2421"/>
                  </a:cubicBezTo>
                  <a:cubicBezTo>
                    <a:pt x="20168" y="8008"/>
                    <a:pt x="20168" y="13592"/>
                    <a:pt x="18728" y="19178"/>
                  </a:cubicBezTo>
                  <a:moveTo>
                    <a:pt x="18938" y="1116"/>
                  </a:moveTo>
                  <a:cubicBezTo>
                    <a:pt x="16114" y="375"/>
                    <a:pt x="13249" y="0"/>
                    <a:pt x="10423" y="0"/>
                  </a:cubicBezTo>
                  <a:cubicBezTo>
                    <a:pt x="7597" y="0"/>
                    <a:pt x="4732" y="375"/>
                    <a:pt x="1908" y="1116"/>
                  </a:cubicBezTo>
                  <a:cubicBezTo>
                    <a:pt x="1543" y="1213"/>
                    <a:pt x="1244" y="1552"/>
                    <a:pt x="1127" y="2004"/>
                  </a:cubicBezTo>
                  <a:cubicBezTo>
                    <a:pt x="-376" y="7841"/>
                    <a:pt x="-376" y="13759"/>
                    <a:pt x="1127" y="19593"/>
                  </a:cubicBezTo>
                  <a:cubicBezTo>
                    <a:pt x="1244" y="20047"/>
                    <a:pt x="1543" y="20386"/>
                    <a:pt x="1908" y="20482"/>
                  </a:cubicBezTo>
                  <a:cubicBezTo>
                    <a:pt x="4732" y="21224"/>
                    <a:pt x="7597" y="21600"/>
                    <a:pt x="10423" y="21600"/>
                  </a:cubicBezTo>
                  <a:cubicBezTo>
                    <a:pt x="13249" y="21600"/>
                    <a:pt x="16114" y="21224"/>
                    <a:pt x="18938" y="20482"/>
                  </a:cubicBezTo>
                  <a:cubicBezTo>
                    <a:pt x="19303" y="20386"/>
                    <a:pt x="19602" y="20047"/>
                    <a:pt x="19719" y="19593"/>
                  </a:cubicBezTo>
                  <a:cubicBezTo>
                    <a:pt x="21223" y="13759"/>
                    <a:pt x="21223" y="7841"/>
                    <a:pt x="19719" y="2004"/>
                  </a:cubicBezTo>
                  <a:cubicBezTo>
                    <a:pt x="19602" y="1552"/>
                    <a:pt x="19303" y="1213"/>
                    <a:pt x="18938" y="1116"/>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3" name="AutoShape 141"/>
            <p:cNvSpPr>
              <a:spLocks/>
            </p:cNvSpPr>
            <p:nvPr/>
          </p:nvSpPr>
          <p:spPr bwMode="auto">
            <a:xfrm>
              <a:off x="2581275" y="1710532"/>
              <a:ext cx="464344" cy="362744"/>
            </a:xfrm>
            <a:custGeom>
              <a:avLst/>
              <a:gdLst>
                <a:gd name="T0" fmla="+- 0 10800 252"/>
                <a:gd name="T1" fmla="*/ T0 w 21096"/>
                <a:gd name="T2" fmla="*/ 10800 h 21600"/>
                <a:gd name="T3" fmla="+- 0 10800 252"/>
                <a:gd name="T4" fmla="*/ T3 w 21096"/>
                <a:gd name="T5" fmla="*/ 10800 h 21600"/>
                <a:gd name="T6" fmla="+- 0 10800 252"/>
                <a:gd name="T7" fmla="*/ T6 w 21096"/>
                <a:gd name="T8" fmla="*/ 10800 h 21600"/>
                <a:gd name="T9" fmla="+- 0 10800 252"/>
                <a:gd name="T10" fmla="*/ T9 w 21096"/>
                <a:gd name="T11" fmla="*/ 10800 h 21600"/>
              </a:gdLst>
              <a:ahLst/>
              <a:cxnLst>
                <a:cxn ang="0">
                  <a:pos x="T1" y="T2"/>
                </a:cxn>
                <a:cxn ang="0">
                  <a:pos x="T4" y="T5"/>
                </a:cxn>
                <a:cxn ang="0">
                  <a:pos x="T7" y="T8"/>
                </a:cxn>
                <a:cxn ang="0">
                  <a:pos x="T10" y="T11"/>
                </a:cxn>
              </a:cxnLst>
              <a:rect l="0" t="0" r="r" b="b"/>
              <a:pathLst>
                <a:path w="21096" h="21600">
                  <a:moveTo>
                    <a:pt x="19056" y="18331"/>
                  </a:moveTo>
                  <a:cubicBezTo>
                    <a:pt x="13383" y="19233"/>
                    <a:pt x="7711" y="19233"/>
                    <a:pt x="2038" y="18331"/>
                  </a:cubicBezTo>
                  <a:cubicBezTo>
                    <a:pt x="1074" y="13022"/>
                    <a:pt x="1074" y="7713"/>
                    <a:pt x="2038" y="2404"/>
                  </a:cubicBezTo>
                  <a:cubicBezTo>
                    <a:pt x="7711" y="1502"/>
                    <a:pt x="13383" y="1502"/>
                    <a:pt x="19056" y="2404"/>
                  </a:cubicBezTo>
                  <a:cubicBezTo>
                    <a:pt x="20021" y="7713"/>
                    <a:pt x="20021" y="13022"/>
                    <a:pt x="19056" y="18331"/>
                  </a:cubicBezTo>
                  <a:moveTo>
                    <a:pt x="20338" y="2005"/>
                  </a:moveTo>
                  <a:cubicBezTo>
                    <a:pt x="20211" y="1301"/>
                    <a:pt x="19762" y="776"/>
                    <a:pt x="19215" y="689"/>
                  </a:cubicBezTo>
                  <a:cubicBezTo>
                    <a:pt x="16339" y="232"/>
                    <a:pt x="13423" y="0"/>
                    <a:pt x="10547" y="0"/>
                  </a:cubicBezTo>
                  <a:cubicBezTo>
                    <a:pt x="7671" y="0"/>
                    <a:pt x="4755" y="232"/>
                    <a:pt x="1879" y="689"/>
                  </a:cubicBezTo>
                  <a:cubicBezTo>
                    <a:pt x="1332" y="776"/>
                    <a:pt x="883" y="1301"/>
                    <a:pt x="756" y="2005"/>
                  </a:cubicBezTo>
                  <a:cubicBezTo>
                    <a:pt x="-252" y="7553"/>
                    <a:pt x="-252" y="13181"/>
                    <a:pt x="756" y="18731"/>
                  </a:cubicBezTo>
                  <a:cubicBezTo>
                    <a:pt x="883" y="19434"/>
                    <a:pt x="1332" y="19959"/>
                    <a:pt x="1879" y="20046"/>
                  </a:cubicBezTo>
                  <a:cubicBezTo>
                    <a:pt x="3265" y="20266"/>
                    <a:pt x="4660" y="20429"/>
                    <a:pt x="6055" y="20544"/>
                  </a:cubicBezTo>
                  <a:cubicBezTo>
                    <a:pt x="5979" y="20606"/>
                    <a:pt x="5931" y="20670"/>
                    <a:pt x="5931" y="20735"/>
                  </a:cubicBezTo>
                  <a:cubicBezTo>
                    <a:pt x="5931" y="21213"/>
                    <a:pt x="7997" y="21599"/>
                    <a:pt x="10547" y="21599"/>
                  </a:cubicBezTo>
                  <a:cubicBezTo>
                    <a:pt x="13097" y="21599"/>
                    <a:pt x="15164" y="21213"/>
                    <a:pt x="15164" y="20735"/>
                  </a:cubicBezTo>
                  <a:cubicBezTo>
                    <a:pt x="15164" y="20670"/>
                    <a:pt x="15115" y="20606"/>
                    <a:pt x="15040" y="20544"/>
                  </a:cubicBezTo>
                  <a:cubicBezTo>
                    <a:pt x="16434" y="20429"/>
                    <a:pt x="17830" y="20266"/>
                    <a:pt x="19215" y="20046"/>
                  </a:cubicBezTo>
                  <a:cubicBezTo>
                    <a:pt x="19762" y="19959"/>
                    <a:pt x="20211" y="19434"/>
                    <a:pt x="20338" y="18731"/>
                  </a:cubicBezTo>
                  <a:cubicBezTo>
                    <a:pt x="21347" y="13181"/>
                    <a:pt x="21347" y="7553"/>
                    <a:pt x="20338" y="2005"/>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4" name="AutoShape 142"/>
            <p:cNvSpPr>
              <a:spLocks/>
            </p:cNvSpPr>
            <p:nvPr/>
          </p:nvSpPr>
          <p:spPr bwMode="auto">
            <a:xfrm>
              <a:off x="2944019" y="1783557"/>
              <a:ext cx="43656" cy="428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7200"/>
                  </a:moveTo>
                  <a:cubicBezTo>
                    <a:pt x="12779" y="7200"/>
                    <a:pt x="14399" y="8820"/>
                    <a:pt x="14399" y="10800"/>
                  </a:cubicBezTo>
                  <a:cubicBezTo>
                    <a:pt x="14399" y="12779"/>
                    <a:pt x="12779" y="14400"/>
                    <a:pt x="10800" y="14400"/>
                  </a:cubicBezTo>
                  <a:cubicBezTo>
                    <a:pt x="8820" y="14400"/>
                    <a:pt x="7199" y="12779"/>
                    <a:pt x="7199" y="10800"/>
                  </a:cubicBezTo>
                  <a:cubicBezTo>
                    <a:pt x="7199" y="8820"/>
                    <a:pt x="8820" y="7200"/>
                    <a:pt x="10800" y="7200"/>
                  </a:cubicBezTo>
                  <a:moveTo>
                    <a:pt x="10800" y="21599"/>
                  </a:moveTo>
                  <a:cubicBezTo>
                    <a:pt x="16762" y="21599"/>
                    <a:pt x="21600" y="16762"/>
                    <a:pt x="21600" y="10800"/>
                  </a:cubicBezTo>
                  <a:cubicBezTo>
                    <a:pt x="21600" y="4837"/>
                    <a:pt x="16762" y="0"/>
                    <a:pt x="10800" y="0"/>
                  </a:cubicBezTo>
                  <a:cubicBezTo>
                    <a:pt x="4837" y="0"/>
                    <a:pt x="0" y="4837"/>
                    <a:pt x="0" y="10800"/>
                  </a:cubicBezTo>
                  <a:cubicBezTo>
                    <a:pt x="0" y="16762"/>
                    <a:pt x="4837"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5" name="AutoShape 143"/>
            <p:cNvSpPr>
              <a:spLocks/>
            </p:cNvSpPr>
            <p:nvPr/>
          </p:nvSpPr>
          <p:spPr bwMode="auto">
            <a:xfrm>
              <a:off x="2929732" y="1971675"/>
              <a:ext cx="57944" cy="150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6" name="AutoShape 144"/>
            <p:cNvSpPr>
              <a:spLocks/>
            </p:cNvSpPr>
            <p:nvPr/>
          </p:nvSpPr>
          <p:spPr bwMode="auto">
            <a:xfrm>
              <a:off x="2944019" y="1928019"/>
              <a:ext cx="58738"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7" name="AutoShape 145"/>
            <p:cNvSpPr>
              <a:spLocks/>
            </p:cNvSpPr>
            <p:nvPr/>
          </p:nvSpPr>
          <p:spPr bwMode="auto">
            <a:xfrm>
              <a:off x="2944019" y="1885157"/>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8" name="AutoShape 146"/>
            <p:cNvSpPr>
              <a:spLocks/>
            </p:cNvSpPr>
            <p:nvPr/>
          </p:nvSpPr>
          <p:spPr bwMode="auto">
            <a:xfrm>
              <a:off x="2697957" y="1826419"/>
              <a:ext cx="86519" cy="61119"/>
            </a:xfrm>
            <a:custGeom>
              <a:avLst/>
              <a:gdLst>
                <a:gd name="T0" fmla="+- 0 10822 44"/>
                <a:gd name="T1" fmla="*/ T0 w 21556"/>
                <a:gd name="T2" fmla="+- 0 10826 53"/>
                <a:gd name="T3" fmla="*/ 10826 h 21547"/>
                <a:gd name="T4" fmla="+- 0 10822 44"/>
                <a:gd name="T5" fmla="*/ T4 w 21556"/>
                <a:gd name="T6" fmla="+- 0 10826 53"/>
                <a:gd name="T7" fmla="*/ 10826 h 21547"/>
                <a:gd name="T8" fmla="+- 0 10822 44"/>
                <a:gd name="T9" fmla="*/ T8 w 21556"/>
                <a:gd name="T10" fmla="+- 0 10826 53"/>
                <a:gd name="T11" fmla="*/ 10826 h 21547"/>
                <a:gd name="T12" fmla="+- 0 10822 44"/>
                <a:gd name="T13" fmla="*/ T12 w 21556"/>
                <a:gd name="T14" fmla="+- 0 10826 53"/>
                <a:gd name="T15" fmla="*/ 10826 h 21547"/>
              </a:gdLst>
              <a:ahLst/>
              <a:cxnLst>
                <a:cxn ang="0">
                  <a:pos x="T1" y="T3"/>
                </a:cxn>
                <a:cxn ang="0">
                  <a:pos x="T5" y="T7"/>
                </a:cxn>
                <a:cxn ang="0">
                  <a:pos x="T9" y="T11"/>
                </a:cxn>
                <a:cxn ang="0">
                  <a:pos x="T13" y="T15"/>
                </a:cxn>
              </a:cxnLst>
              <a:rect l="0" t="0" r="r" b="b"/>
              <a:pathLst>
                <a:path w="21556" h="21547">
                  <a:moveTo>
                    <a:pt x="19751" y="2"/>
                  </a:moveTo>
                  <a:lnTo>
                    <a:pt x="3200" y="1845"/>
                  </a:lnTo>
                  <a:cubicBezTo>
                    <a:pt x="2215" y="2010"/>
                    <a:pt x="1272" y="3284"/>
                    <a:pt x="1106" y="4676"/>
                  </a:cubicBezTo>
                  <a:lnTo>
                    <a:pt x="1" y="18986"/>
                  </a:lnTo>
                  <a:cubicBezTo>
                    <a:pt x="-44" y="20398"/>
                    <a:pt x="724" y="21547"/>
                    <a:pt x="1712" y="21547"/>
                  </a:cubicBezTo>
                  <a:cubicBezTo>
                    <a:pt x="2698" y="21547"/>
                    <a:pt x="3542" y="20398"/>
                    <a:pt x="3582" y="18978"/>
                  </a:cubicBezTo>
                  <a:lnTo>
                    <a:pt x="4185" y="9251"/>
                  </a:lnTo>
                  <a:cubicBezTo>
                    <a:pt x="4319" y="7849"/>
                    <a:pt x="5235" y="6592"/>
                    <a:pt x="6220" y="6447"/>
                  </a:cubicBezTo>
                  <a:lnTo>
                    <a:pt x="19751" y="5128"/>
                  </a:lnTo>
                  <a:cubicBezTo>
                    <a:pt x="20743" y="5078"/>
                    <a:pt x="21556" y="3884"/>
                    <a:pt x="21556" y="2467"/>
                  </a:cubicBezTo>
                  <a:cubicBezTo>
                    <a:pt x="21556" y="1055"/>
                    <a:pt x="20743" y="-53"/>
                    <a:pt x="19751" y="2"/>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31" name="Group 98"/>
          <p:cNvGrpSpPr/>
          <p:nvPr/>
        </p:nvGrpSpPr>
        <p:grpSpPr>
          <a:xfrm>
            <a:off x="1542369" y="1403993"/>
            <a:ext cx="6054519" cy="592438"/>
            <a:chOff x="8676119" y="2245062"/>
            <a:chExt cx="3378732" cy="623634"/>
          </a:xfrm>
        </p:grpSpPr>
        <p:sp>
          <p:nvSpPr>
            <p:cNvPr id="100" name="TextBox 99"/>
            <p:cNvSpPr txBox="1"/>
            <p:nvPr/>
          </p:nvSpPr>
          <p:spPr>
            <a:xfrm>
              <a:off x="8683447" y="2245062"/>
              <a:ext cx="1605769" cy="311024"/>
            </a:xfrm>
            <a:prstGeom prst="rect">
              <a:avLst/>
            </a:prstGeom>
            <a:noFill/>
          </p:spPr>
          <p:txBody>
            <a:bodyPr wrap="none" lIns="0" tIns="0" rIns="0" bIns="0" rtlCol="0">
              <a:spAutoFit/>
            </a:bodyPr>
            <a:lstStyle/>
            <a:p>
              <a:pPr>
                <a:lnSpc>
                  <a:spcPct val="120000"/>
                </a:lnSpc>
              </a:pPr>
              <a:r>
                <a:rPr lang="da-DK" altLang="zh-CN" sz="1600" dirty="0">
                  <a:solidFill>
                    <a:srgbClr val="000000"/>
                  </a:solidFill>
                  <a:cs typeface="+mn-ea"/>
                  <a:sym typeface="Arial" panose="020B0604020202020204" pitchFamily="34" charset="0"/>
                </a:rPr>
                <a:t>Lorem ipsum dolor sit amet</a:t>
              </a:r>
              <a:endParaRPr lang="en-GB" sz="1600" dirty="0">
                <a:solidFill>
                  <a:srgbClr val="000000"/>
                </a:solidFill>
                <a:cs typeface="+mn-ea"/>
                <a:sym typeface="Arial" panose="020B0604020202020204" pitchFamily="34" charset="0"/>
              </a:endParaRPr>
            </a:p>
          </p:txBody>
        </p:sp>
        <p:sp>
          <p:nvSpPr>
            <p:cNvPr id="101" name="Rectangle 100"/>
            <p:cNvSpPr/>
            <p:nvPr/>
          </p:nvSpPr>
          <p:spPr>
            <a:xfrm>
              <a:off x="8676119" y="2479916"/>
              <a:ext cx="3378732" cy="388780"/>
            </a:xfrm>
            <a:prstGeom prst="rect">
              <a:avLst/>
            </a:prstGeom>
          </p:spPr>
          <p:txBody>
            <a:bodyPr wrap="square" lIns="0" tIns="0" rIns="0" bIns="0">
              <a:spAutoFit/>
            </a:bodyPr>
            <a:lstStyle/>
            <a:p>
              <a:pPr>
                <a:lnSpc>
                  <a:spcPct val="120000"/>
                </a:lnSpc>
              </a:pPr>
              <a:r>
                <a:rPr lang="en-US" altLang="zh-CN" sz="10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sz="1000" dirty="0">
                <a:solidFill>
                  <a:srgbClr val="000000"/>
                </a:solidFill>
                <a:cs typeface="+mn-ea"/>
                <a:sym typeface="Arial" panose="020B0604020202020204" pitchFamily="34" charset="0"/>
              </a:endParaRPr>
            </a:p>
          </p:txBody>
        </p:sp>
      </p:grpSp>
      <p:grpSp>
        <p:nvGrpSpPr>
          <p:cNvPr id="64" name="Group 113"/>
          <p:cNvGrpSpPr/>
          <p:nvPr/>
        </p:nvGrpSpPr>
        <p:grpSpPr>
          <a:xfrm>
            <a:off x="1542369" y="2283301"/>
            <a:ext cx="6054519" cy="598083"/>
            <a:chOff x="8676119" y="2239118"/>
            <a:chExt cx="3378732" cy="629576"/>
          </a:xfrm>
        </p:grpSpPr>
        <p:sp>
          <p:nvSpPr>
            <p:cNvPr id="115" name="TextBox 114"/>
            <p:cNvSpPr txBox="1"/>
            <p:nvPr/>
          </p:nvSpPr>
          <p:spPr>
            <a:xfrm>
              <a:off x="8683447" y="2239118"/>
              <a:ext cx="1605769" cy="311024"/>
            </a:xfrm>
            <a:prstGeom prst="rect">
              <a:avLst/>
            </a:prstGeom>
            <a:noFill/>
          </p:spPr>
          <p:txBody>
            <a:bodyPr wrap="none" lIns="0" tIns="0" rIns="0" bIns="0" rtlCol="0">
              <a:spAutoFit/>
            </a:bodyPr>
            <a:lstStyle/>
            <a:p>
              <a:pPr>
                <a:lnSpc>
                  <a:spcPct val="120000"/>
                </a:lnSpc>
              </a:pPr>
              <a:r>
                <a:rPr lang="da-DK" altLang="zh-CN" sz="1600" dirty="0">
                  <a:solidFill>
                    <a:srgbClr val="000000"/>
                  </a:solidFill>
                  <a:cs typeface="+mn-ea"/>
                  <a:sym typeface="Arial" panose="020B0604020202020204" pitchFamily="34" charset="0"/>
                </a:rPr>
                <a:t>Lorem ipsum dolor sit amet</a:t>
              </a:r>
              <a:endParaRPr lang="en-GB" sz="1600" dirty="0">
                <a:solidFill>
                  <a:srgbClr val="000000"/>
                </a:solidFill>
                <a:cs typeface="+mn-ea"/>
                <a:sym typeface="Arial" panose="020B0604020202020204" pitchFamily="34" charset="0"/>
              </a:endParaRPr>
            </a:p>
          </p:txBody>
        </p:sp>
        <p:sp>
          <p:nvSpPr>
            <p:cNvPr id="116" name="Rectangle 115"/>
            <p:cNvSpPr/>
            <p:nvPr/>
          </p:nvSpPr>
          <p:spPr>
            <a:xfrm>
              <a:off x="8676119" y="2479914"/>
              <a:ext cx="3378732" cy="388780"/>
            </a:xfrm>
            <a:prstGeom prst="rect">
              <a:avLst/>
            </a:prstGeom>
          </p:spPr>
          <p:txBody>
            <a:bodyPr wrap="square" lIns="0" tIns="0" rIns="0" bIns="0">
              <a:spAutoFit/>
            </a:bodyPr>
            <a:lstStyle/>
            <a:p>
              <a:pPr>
                <a:lnSpc>
                  <a:spcPct val="120000"/>
                </a:lnSpc>
              </a:pPr>
              <a:r>
                <a:rPr lang="en-US" altLang="zh-CN" sz="10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altLang="zh-CN" sz="1000" dirty="0">
                <a:solidFill>
                  <a:srgbClr val="000000"/>
                </a:solidFill>
                <a:cs typeface="+mn-ea"/>
                <a:sym typeface="Arial" panose="020B0604020202020204" pitchFamily="34" charset="0"/>
              </a:endParaRPr>
            </a:p>
          </p:txBody>
        </p:sp>
      </p:grpSp>
      <p:grpSp>
        <p:nvGrpSpPr>
          <p:cNvPr id="65" name="Group 116"/>
          <p:cNvGrpSpPr/>
          <p:nvPr/>
        </p:nvGrpSpPr>
        <p:grpSpPr>
          <a:xfrm>
            <a:off x="1542369" y="3148502"/>
            <a:ext cx="6054519" cy="568647"/>
            <a:chOff x="8676119" y="2270107"/>
            <a:chExt cx="3378732" cy="598590"/>
          </a:xfrm>
        </p:grpSpPr>
        <p:sp>
          <p:nvSpPr>
            <p:cNvPr id="118" name="TextBox 117"/>
            <p:cNvSpPr txBox="1"/>
            <p:nvPr/>
          </p:nvSpPr>
          <p:spPr>
            <a:xfrm>
              <a:off x="8683447" y="2270107"/>
              <a:ext cx="1605769" cy="311024"/>
            </a:xfrm>
            <a:prstGeom prst="rect">
              <a:avLst/>
            </a:prstGeom>
            <a:noFill/>
          </p:spPr>
          <p:txBody>
            <a:bodyPr wrap="none" lIns="0" tIns="0" rIns="0" bIns="0" rtlCol="0">
              <a:spAutoFit/>
            </a:bodyPr>
            <a:lstStyle/>
            <a:p>
              <a:pPr>
                <a:lnSpc>
                  <a:spcPct val="120000"/>
                </a:lnSpc>
              </a:pPr>
              <a:r>
                <a:rPr lang="da-DK" altLang="zh-CN" sz="1600" dirty="0">
                  <a:solidFill>
                    <a:srgbClr val="000000"/>
                  </a:solidFill>
                  <a:cs typeface="+mn-ea"/>
                  <a:sym typeface="Arial" panose="020B0604020202020204" pitchFamily="34" charset="0"/>
                </a:rPr>
                <a:t>Lorem ipsum dolor sit amet</a:t>
              </a:r>
              <a:endParaRPr lang="en-GB" sz="1600" dirty="0">
                <a:solidFill>
                  <a:srgbClr val="000000"/>
                </a:solidFill>
                <a:cs typeface="+mn-ea"/>
                <a:sym typeface="Arial" panose="020B0604020202020204" pitchFamily="34" charset="0"/>
              </a:endParaRPr>
            </a:p>
          </p:txBody>
        </p:sp>
        <p:sp>
          <p:nvSpPr>
            <p:cNvPr id="119" name="Rectangle 118"/>
            <p:cNvSpPr/>
            <p:nvPr/>
          </p:nvSpPr>
          <p:spPr>
            <a:xfrm>
              <a:off x="8676119" y="2479917"/>
              <a:ext cx="3378732" cy="388780"/>
            </a:xfrm>
            <a:prstGeom prst="rect">
              <a:avLst/>
            </a:prstGeom>
          </p:spPr>
          <p:txBody>
            <a:bodyPr wrap="square" lIns="0" tIns="0" rIns="0" bIns="0">
              <a:spAutoFit/>
            </a:bodyPr>
            <a:lstStyle/>
            <a:p>
              <a:pPr>
                <a:lnSpc>
                  <a:spcPct val="120000"/>
                </a:lnSpc>
              </a:pPr>
              <a:r>
                <a:rPr lang="en-US" altLang="zh-CN" sz="10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altLang="zh-CN" sz="1000" dirty="0">
                <a:solidFill>
                  <a:srgbClr val="000000"/>
                </a:solidFill>
                <a:cs typeface="+mn-ea"/>
                <a:sym typeface="Arial" panose="020B0604020202020204" pitchFamily="34" charset="0"/>
              </a:endParaRPr>
            </a:p>
          </p:txBody>
        </p:sp>
      </p:grpSp>
      <p:grpSp>
        <p:nvGrpSpPr>
          <p:cNvPr id="66" name="Group 119"/>
          <p:cNvGrpSpPr/>
          <p:nvPr/>
        </p:nvGrpSpPr>
        <p:grpSpPr>
          <a:xfrm>
            <a:off x="1542369" y="3984256"/>
            <a:ext cx="6054519" cy="582339"/>
            <a:chOff x="8676119" y="2255696"/>
            <a:chExt cx="3378732" cy="613003"/>
          </a:xfrm>
        </p:grpSpPr>
        <p:sp>
          <p:nvSpPr>
            <p:cNvPr id="121" name="TextBox 120"/>
            <p:cNvSpPr txBox="1"/>
            <p:nvPr/>
          </p:nvSpPr>
          <p:spPr>
            <a:xfrm>
              <a:off x="8683447" y="2255696"/>
              <a:ext cx="1605769" cy="311024"/>
            </a:xfrm>
            <a:prstGeom prst="rect">
              <a:avLst/>
            </a:prstGeom>
            <a:noFill/>
          </p:spPr>
          <p:txBody>
            <a:bodyPr wrap="none" lIns="0" tIns="0" rIns="0" bIns="0" rtlCol="0">
              <a:spAutoFit/>
            </a:bodyPr>
            <a:lstStyle/>
            <a:p>
              <a:pPr>
                <a:lnSpc>
                  <a:spcPct val="120000"/>
                </a:lnSpc>
              </a:pPr>
              <a:r>
                <a:rPr lang="da-DK" altLang="zh-CN" sz="1600" dirty="0">
                  <a:solidFill>
                    <a:srgbClr val="000000"/>
                  </a:solidFill>
                  <a:cs typeface="+mn-ea"/>
                  <a:sym typeface="Arial" panose="020B0604020202020204" pitchFamily="34" charset="0"/>
                </a:rPr>
                <a:t>Lorem ipsum dolor sit amet</a:t>
              </a:r>
              <a:endParaRPr lang="en-GB" sz="1600" dirty="0">
                <a:solidFill>
                  <a:srgbClr val="000000"/>
                </a:solidFill>
                <a:cs typeface="+mn-ea"/>
                <a:sym typeface="Arial" panose="020B0604020202020204" pitchFamily="34" charset="0"/>
              </a:endParaRPr>
            </a:p>
          </p:txBody>
        </p:sp>
        <p:sp>
          <p:nvSpPr>
            <p:cNvPr id="122" name="Rectangle 121"/>
            <p:cNvSpPr/>
            <p:nvPr/>
          </p:nvSpPr>
          <p:spPr>
            <a:xfrm>
              <a:off x="8676119" y="2479919"/>
              <a:ext cx="3378732" cy="388780"/>
            </a:xfrm>
            <a:prstGeom prst="rect">
              <a:avLst/>
            </a:prstGeom>
          </p:spPr>
          <p:txBody>
            <a:bodyPr wrap="square" lIns="0" tIns="0" rIns="0" bIns="0">
              <a:spAutoFit/>
            </a:bodyPr>
            <a:lstStyle/>
            <a:p>
              <a:pPr>
                <a:lnSpc>
                  <a:spcPct val="120000"/>
                </a:lnSpc>
              </a:pPr>
              <a:r>
                <a:rPr lang="en-US" altLang="zh-CN" sz="10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altLang="zh-CN" sz="1000" dirty="0">
                <a:solidFill>
                  <a:srgbClr val="000000"/>
                </a:solidFill>
                <a:cs typeface="+mn-ea"/>
                <a:sym typeface="Arial" panose="020B0604020202020204" pitchFamily="34" charset="0"/>
              </a:endParaRPr>
            </a:p>
          </p:txBody>
        </p:sp>
      </p:grpSp>
      <p:grpSp>
        <p:nvGrpSpPr>
          <p:cNvPr id="67" name="Group 122"/>
          <p:cNvGrpSpPr/>
          <p:nvPr/>
        </p:nvGrpSpPr>
        <p:grpSpPr>
          <a:xfrm>
            <a:off x="1542369" y="4833708"/>
            <a:ext cx="6054519" cy="577209"/>
            <a:chOff x="8676119" y="2261096"/>
            <a:chExt cx="3378732" cy="607603"/>
          </a:xfrm>
        </p:grpSpPr>
        <p:sp>
          <p:nvSpPr>
            <p:cNvPr id="124" name="TextBox 123"/>
            <p:cNvSpPr txBox="1"/>
            <p:nvPr/>
          </p:nvSpPr>
          <p:spPr>
            <a:xfrm>
              <a:off x="8683447" y="2261096"/>
              <a:ext cx="1605769" cy="311024"/>
            </a:xfrm>
            <a:prstGeom prst="rect">
              <a:avLst/>
            </a:prstGeom>
            <a:noFill/>
          </p:spPr>
          <p:txBody>
            <a:bodyPr wrap="none" lIns="0" tIns="0" rIns="0" bIns="0" rtlCol="0">
              <a:spAutoFit/>
            </a:bodyPr>
            <a:lstStyle/>
            <a:p>
              <a:pPr>
                <a:lnSpc>
                  <a:spcPct val="120000"/>
                </a:lnSpc>
              </a:pPr>
              <a:r>
                <a:rPr lang="da-DK" altLang="zh-CN" sz="1600" dirty="0">
                  <a:solidFill>
                    <a:srgbClr val="000000"/>
                  </a:solidFill>
                  <a:cs typeface="+mn-ea"/>
                  <a:sym typeface="Arial" panose="020B0604020202020204" pitchFamily="34" charset="0"/>
                </a:rPr>
                <a:t>Lorem ipsum dolor sit amet</a:t>
              </a:r>
              <a:endParaRPr lang="en-GB" sz="1600" dirty="0">
                <a:solidFill>
                  <a:srgbClr val="000000"/>
                </a:solidFill>
                <a:cs typeface="+mn-ea"/>
                <a:sym typeface="Arial" panose="020B0604020202020204" pitchFamily="34" charset="0"/>
              </a:endParaRPr>
            </a:p>
          </p:txBody>
        </p:sp>
        <p:sp>
          <p:nvSpPr>
            <p:cNvPr id="125" name="Rectangle 124"/>
            <p:cNvSpPr/>
            <p:nvPr/>
          </p:nvSpPr>
          <p:spPr>
            <a:xfrm>
              <a:off x="8676119" y="2479919"/>
              <a:ext cx="3378732" cy="388780"/>
            </a:xfrm>
            <a:prstGeom prst="rect">
              <a:avLst/>
            </a:prstGeom>
          </p:spPr>
          <p:txBody>
            <a:bodyPr wrap="square" lIns="0" tIns="0" rIns="0" bIns="0">
              <a:spAutoFit/>
            </a:bodyPr>
            <a:lstStyle/>
            <a:p>
              <a:pPr>
                <a:lnSpc>
                  <a:spcPct val="120000"/>
                </a:lnSpc>
              </a:pPr>
              <a:r>
                <a:rPr lang="en-US" altLang="zh-CN" sz="10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altLang="zh-CN" sz="1000" dirty="0">
                <a:solidFill>
                  <a:srgbClr val="000000"/>
                </a:solidFill>
                <a:cs typeface="+mn-ea"/>
                <a:sym typeface="Arial" panose="020B0604020202020204" pitchFamily="34" charset="0"/>
              </a:endParaRPr>
            </a:p>
          </p:txBody>
        </p:sp>
      </p:grpSp>
      <p:sp>
        <p:nvSpPr>
          <p:cNvPr id="841" name="Freeform 5"/>
          <p:cNvSpPr>
            <a:spLocks/>
          </p:cNvSpPr>
          <p:nvPr/>
        </p:nvSpPr>
        <p:spPr bwMode="auto">
          <a:xfrm>
            <a:off x="9630456" y="1254321"/>
            <a:ext cx="187325" cy="4598987"/>
          </a:xfrm>
          <a:custGeom>
            <a:avLst/>
            <a:gdLst>
              <a:gd name="T0" fmla="*/ 0 w 60"/>
              <a:gd name="T1" fmla="*/ 1459 h 1489"/>
              <a:gd name="T2" fmla="*/ 0 w 60"/>
              <a:gd name="T3" fmla="*/ 30 h 1489"/>
              <a:gd name="T4" fmla="*/ 30 w 60"/>
              <a:gd name="T5" fmla="*/ 0 h 1489"/>
              <a:gd name="T6" fmla="*/ 30 w 60"/>
              <a:gd name="T7" fmla="*/ 0 h 1489"/>
              <a:gd name="T8" fmla="*/ 60 w 60"/>
              <a:gd name="T9" fmla="*/ 30 h 1489"/>
              <a:gd name="T10" fmla="*/ 60 w 60"/>
              <a:gd name="T11" fmla="*/ 1459 h 1489"/>
              <a:gd name="T12" fmla="*/ 30 w 60"/>
              <a:gd name="T13" fmla="*/ 1489 h 1489"/>
              <a:gd name="T14" fmla="*/ 30 w 60"/>
              <a:gd name="T15" fmla="*/ 1489 h 1489"/>
              <a:gd name="T16" fmla="*/ 0 w 60"/>
              <a:gd name="T17" fmla="*/ 1459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489">
                <a:moveTo>
                  <a:pt x="0" y="1459"/>
                </a:moveTo>
                <a:cubicBezTo>
                  <a:pt x="0" y="30"/>
                  <a:pt x="0" y="30"/>
                  <a:pt x="0" y="30"/>
                </a:cubicBezTo>
                <a:cubicBezTo>
                  <a:pt x="0" y="13"/>
                  <a:pt x="13" y="0"/>
                  <a:pt x="30" y="0"/>
                </a:cubicBezTo>
                <a:cubicBezTo>
                  <a:pt x="30" y="0"/>
                  <a:pt x="30" y="0"/>
                  <a:pt x="30" y="0"/>
                </a:cubicBezTo>
                <a:cubicBezTo>
                  <a:pt x="47" y="0"/>
                  <a:pt x="60" y="13"/>
                  <a:pt x="60" y="30"/>
                </a:cubicBezTo>
                <a:cubicBezTo>
                  <a:pt x="60" y="1459"/>
                  <a:pt x="60" y="1459"/>
                  <a:pt x="60" y="1459"/>
                </a:cubicBezTo>
                <a:cubicBezTo>
                  <a:pt x="60" y="1475"/>
                  <a:pt x="47" y="1489"/>
                  <a:pt x="30" y="1489"/>
                </a:cubicBezTo>
                <a:cubicBezTo>
                  <a:pt x="30" y="1489"/>
                  <a:pt x="30" y="1489"/>
                  <a:pt x="30" y="1489"/>
                </a:cubicBezTo>
                <a:cubicBezTo>
                  <a:pt x="13" y="1489"/>
                  <a:pt x="0" y="1475"/>
                  <a:pt x="0" y="1459"/>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2" name="Freeform 6"/>
          <p:cNvSpPr>
            <a:spLocks/>
          </p:cNvSpPr>
          <p:nvPr/>
        </p:nvSpPr>
        <p:spPr bwMode="auto">
          <a:xfrm>
            <a:off x="9587593" y="2248097"/>
            <a:ext cx="273050" cy="133350"/>
          </a:xfrm>
          <a:custGeom>
            <a:avLst/>
            <a:gdLst>
              <a:gd name="T0" fmla="*/ 67 w 88"/>
              <a:gd name="T1" fmla="*/ 43 h 43"/>
              <a:gd name="T2" fmla="*/ 21 w 88"/>
              <a:gd name="T3" fmla="*/ 43 h 43"/>
              <a:gd name="T4" fmla="*/ 0 w 88"/>
              <a:gd name="T5" fmla="*/ 22 h 43"/>
              <a:gd name="T6" fmla="*/ 0 w 88"/>
              <a:gd name="T7" fmla="*/ 22 h 43"/>
              <a:gd name="T8" fmla="*/ 21 w 88"/>
              <a:gd name="T9" fmla="*/ 0 h 43"/>
              <a:gd name="T10" fmla="*/ 67 w 88"/>
              <a:gd name="T11" fmla="*/ 0 h 43"/>
              <a:gd name="T12" fmla="*/ 88 w 88"/>
              <a:gd name="T13" fmla="*/ 22 h 43"/>
              <a:gd name="T14" fmla="*/ 88 w 88"/>
              <a:gd name="T15" fmla="*/ 22 h 43"/>
              <a:gd name="T16" fmla="*/ 67 w 8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43">
                <a:moveTo>
                  <a:pt x="67" y="43"/>
                </a:moveTo>
                <a:cubicBezTo>
                  <a:pt x="21" y="43"/>
                  <a:pt x="21" y="43"/>
                  <a:pt x="21" y="43"/>
                </a:cubicBezTo>
                <a:cubicBezTo>
                  <a:pt x="9" y="43"/>
                  <a:pt x="0" y="34"/>
                  <a:pt x="0" y="22"/>
                </a:cubicBezTo>
                <a:cubicBezTo>
                  <a:pt x="0" y="22"/>
                  <a:pt x="0" y="22"/>
                  <a:pt x="0" y="22"/>
                </a:cubicBezTo>
                <a:cubicBezTo>
                  <a:pt x="0" y="10"/>
                  <a:pt x="9" y="0"/>
                  <a:pt x="21" y="0"/>
                </a:cubicBezTo>
                <a:cubicBezTo>
                  <a:pt x="67" y="0"/>
                  <a:pt x="67" y="0"/>
                  <a:pt x="67" y="0"/>
                </a:cubicBezTo>
                <a:cubicBezTo>
                  <a:pt x="79" y="0"/>
                  <a:pt x="88" y="10"/>
                  <a:pt x="88" y="22"/>
                </a:cubicBezTo>
                <a:cubicBezTo>
                  <a:pt x="88" y="22"/>
                  <a:pt x="88" y="22"/>
                  <a:pt x="88" y="22"/>
                </a:cubicBezTo>
                <a:cubicBezTo>
                  <a:pt x="88" y="34"/>
                  <a:pt x="79" y="43"/>
                  <a:pt x="67" y="43"/>
                </a:cubicBez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3" name="Freeform 7"/>
          <p:cNvSpPr>
            <a:spLocks/>
          </p:cNvSpPr>
          <p:nvPr/>
        </p:nvSpPr>
        <p:spPr bwMode="auto">
          <a:xfrm>
            <a:off x="9587593" y="3603822"/>
            <a:ext cx="273050" cy="133350"/>
          </a:xfrm>
          <a:custGeom>
            <a:avLst/>
            <a:gdLst>
              <a:gd name="T0" fmla="*/ 67 w 88"/>
              <a:gd name="T1" fmla="*/ 43 h 43"/>
              <a:gd name="T2" fmla="*/ 21 w 88"/>
              <a:gd name="T3" fmla="*/ 43 h 43"/>
              <a:gd name="T4" fmla="*/ 0 w 88"/>
              <a:gd name="T5" fmla="*/ 21 h 43"/>
              <a:gd name="T6" fmla="*/ 0 w 88"/>
              <a:gd name="T7" fmla="*/ 21 h 43"/>
              <a:gd name="T8" fmla="*/ 21 w 88"/>
              <a:gd name="T9" fmla="*/ 0 h 43"/>
              <a:gd name="T10" fmla="*/ 67 w 88"/>
              <a:gd name="T11" fmla="*/ 0 h 43"/>
              <a:gd name="T12" fmla="*/ 88 w 88"/>
              <a:gd name="T13" fmla="*/ 21 h 43"/>
              <a:gd name="T14" fmla="*/ 88 w 88"/>
              <a:gd name="T15" fmla="*/ 21 h 43"/>
              <a:gd name="T16" fmla="*/ 67 w 8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43">
                <a:moveTo>
                  <a:pt x="67" y="43"/>
                </a:moveTo>
                <a:cubicBezTo>
                  <a:pt x="21" y="43"/>
                  <a:pt x="21" y="43"/>
                  <a:pt x="21" y="43"/>
                </a:cubicBezTo>
                <a:cubicBezTo>
                  <a:pt x="9" y="43"/>
                  <a:pt x="0" y="33"/>
                  <a:pt x="0" y="21"/>
                </a:cubicBezTo>
                <a:cubicBezTo>
                  <a:pt x="0" y="21"/>
                  <a:pt x="0" y="21"/>
                  <a:pt x="0" y="21"/>
                </a:cubicBezTo>
                <a:cubicBezTo>
                  <a:pt x="0" y="9"/>
                  <a:pt x="9" y="0"/>
                  <a:pt x="21" y="0"/>
                </a:cubicBezTo>
                <a:cubicBezTo>
                  <a:pt x="67" y="0"/>
                  <a:pt x="67" y="0"/>
                  <a:pt x="67" y="0"/>
                </a:cubicBezTo>
                <a:cubicBezTo>
                  <a:pt x="79" y="0"/>
                  <a:pt x="88" y="9"/>
                  <a:pt x="88" y="21"/>
                </a:cubicBezTo>
                <a:cubicBezTo>
                  <a:pt x="88" y="21"/>
                  <a:pt x="88" y="21"/>
                  <a:pt x="88" y="21"/>
                </a:cubicBezTo>
                <a:cubicBezTo>
                  <a:pt x="88" y="33"/>
                  <a:pt x="79" y="43"/>
                  <a:pt x="67" y="43"/>
                </a:cubicBezTo>
                <a:close/>
              </a:path>
            </a:pathLst>
          </a:custGeom>
          <a:solidFill>
            <a:srgbClr val="9DD4CF"/>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4" name="Freeform 8"/>
          <p:cNvSpPr>
            <a:spLocks/>
          </p:cNvSpPr>
          <p:nvPr/>
        </p:nvSpPr>
        <p:spPr bwMode="auto">
          <a:xfrm>
            <a:off x="9587593" y="4954784"/>
            <a:ext cx="273050" cy="133350"/>
          </a:xfrm>
          <a:custGeom>
            <a:avLst/>
            <a:gdLst>
              <a:gd name="T0" fmla="*/ 67 w 88"/>
              <a:gd name="T1" fmla="*/ 43 h 43"/>
              <a:gd name="T2" fmla="*/ 21 w 88"/>
              <a:gd name="T3" fmla="*/ 43 h 43"/>
              <a:gd name="T4" fmla="*/ 0 w 88"/>
              <a:gd name="T5" fmla="*/ 22 h 43"/>
              <a:gd name="T6" fmla="*/ 0 w 88"/>
              <a:gd name="T7" fmla="*/ 22 h 43"/>
              <a:gd name="T8" fmla="*/ 21 w 88"/>
              <a:gd name="T9" fmla="*/ 0 h 43"/>
              <a:gd name="T10" fmla="*/ 67 w 88"/>
              <a:gd name="T11" fmla="*/ 0 h 43"/>
              <a:gd name="T12" fmla="*/ 88 w 88"/>
              <a:gd name="T13" fmla="*/ 22 h 43"/>
              <a:gd name="T14" fmla="*/ 88 w 88"/>
              <a:gd name="T15" fmla="*/ 22 h 43"/>
              <a:gd name="T16" fmla="*/ 67 w 8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43">
                <a:moveTo>
                  <a:pt x="67" y="43"/>
                </a:moveTo>
                <a:cubicBezTo>
                  <a:pt x="21" y="43"/>
                  <a:pt x="21" y="43"/>
                  <a:pt x="21" y="43"/>
                </a:cubicBezTo>
                <a:cubicBezTo>
                  <a:pt x="9" y="43"/>
                  <a:pt x="0" y="34"/>
                  <a:pt x="0" y="22"/>
                </a:cubicBezTo>
                <a:cubicBezTo>
                  <a:pt x="0" y="22"/>
                  <a:pt x="0" y="22"/>
                  <a:pt x="0" y="22"/>
                </a:cubicBezTo>
                <a:cubicBezTo>
                  <a:pt x="0" y="10"/>
                  <a:pt x="9" y="0"/>
                  <a:pt x="21" y="0"/>
                </a:cubicBezTo>
                <a:cubicBezTo>
                  <a:pt x="67" y="0"/>
                  <a:pt x="67" y="0"/>
                  <a:pt x="67" y="0"/>
                </a:cubicBezTo>
                <a:cubicBezTo>
                  <a:pt x="79" y="0"/>
                  <a:pt x="88" y="10"/>
                  <a:pt x="88" y="22"/>
                </a:cubicBezTo>
                <a:cubicBezTo>
                  <a:pt x="88" y="22"/>
                  <a:pt x="88" y="22"/>
                  <a:pt x="88" y="22"/>
                </a:cubicBezTo>
                <a:cubicBezTo>
                  <a:pt x="88" y="34"/>
                  <a:pt x="79" y="43"/>
                  <a:pt x="67" y="43"/>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5" name="Freeform 9"/>
          <p:cNvSpPr>
            <a:spLocks/>
          </p:cNvSpPr>
          <p:nvPr/>
        </p:nvSpPr>
        <p:spPr bwMode="auto">
          <a:xfrm>
            <a:off x="8417606" y="2059184"/>
            <a:ext cx="1169988" cy="244475"/>
          </a:xfrm>
          <a:custGeom>
            <a:avLst/>
            <a:gdLst>
              <a:gd name="T0" fmla="*/ 0 w 737"/>
              <a:gd name="T1" fmla="*/ 0 h 154"/>
              <a:gd name="T2" fmla="*/ 578 w 737"/>
              <a:gd name="T3" fmla="*/ 0 h 154"/>
              <a:gd name="T4" fmla="*/ 737 w 737"/>
              <a:gd name="T5" fmla="*/ 154 h 154"/>
            </a:gdLst>
            <a:ahLst/>
            <a:cxnLst>
              <a:cxn ang="0">
                <a:pos x="T0" y="T1"/>
              </a:cxn>
              <a:cxn ang="0">
                <a:pos x="T2" y="T3"/>
              </a:cxn>
              <a:cxn ang="0">
                <a:pos x="T4" y="T5"/>
              </a:cxn>
            </a:cxnLst>
            <a:rect l="0" t="0" r="r" b="b"/>
            <a:pathLst>
              <a:path w="737" h="154">
                <a:moveTo>
                  <a:pt x="0" y="0"/>
                </a:moveTo>
                <a:lnTo>
                  <a:pt x="578" y="0"/>
                </a:lnTo>
                <a:lnTo>
                  <a:pt x="737" y="154"/>
                </a:lnTo>
              </a:path>
            </a:pathLst>
          </a:custGeom>
          <a:noFill/>
          <a:ln w="12700" cap="flat">
            <a:solidFill>
              <a:srgbClr val="0097A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46" name="Oval 10"/>
          <p:cNvSpPr>
            <a:spLocks noChangeArrowheads="1"/>
          </p:cNvSpPr>
          <p:nvPr/>
        </p:nvSpPr>
        <p:spPr bwMode="auto">
          <a:xfrm>
            <a:off x="8339818" y="2011559"/>
            <a:ext cx="90488" cy="90487"/>
          </a:xfrm>
          <a:prstGeom prst="ellipse">
            <a:avLst/>
          </a:prstGeom>
          <a:solidFill>
            <a:srgbClr val="0097A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7" name="Freeform 11"/>
          <p:cNvSpPr>
            <a:spLocks/>
          </p:cNvSpPr>
          <p:nvPr/>
        </p:nvSpPr>
        <p:spPr bwMode="auto">
          <a:xfrm>
            <a:off x="8417606" y="3413322"/>
            <a:ext cx="1169988" cy="242887"/>
          </a:xfrm>
          <a:custGeom>
            <a:avLst/>
            <a:gdLst>
              <a:gd name="T0" fmla="*/ 0 w 737"/>
              <a:gd name="T1" fmla="*/ 0 h 153"/>
              <a:gd name="T2" fmla="*/ 578 w 737"/>
              <a:gd name="T3" fmla="*/ 0 h 153"/>
              <a:gd name="T4" fmla="*/ 737 w 737"/>
              <a:gd name="T5" fmla="*/ 153 h 153"/>
            </a:gdLst>
            <a:ahLst/>
            <a:cxnLst>
              <a:cxn ang="0">
                <a:pos x="T0" y="T1"/>
              </a:cxn>
              <a:cxn ang="0">
                <a:pos x="T2" y="T3"/>
              </a:cxn>
              <a:cxn ang="0">
                <a:pos x="T4" y="T5"/>
              </a:cxn>
            </a:cxnLst>
            <a:rect l="0" t="0" r="r" b="b"/>
            <a:pathLst>
              <a:path w="737" h="153">
                <a:moveTo>
                  <a:pt x="0" y="0"/>
                </a:moveTo>
                <a:lnTo>
                  <a:pt x="578" y="0"/>
                </a:lnTo>
                <a:lnTo>
                  <a:pt x="737" y="153"/>
                </a:lnTo>
              </a:path>
            </a:pathLst>
          </a:custGeom>
          <a:noFill/>
          <a:ln w="12700" cap="flat">
            <a:solidFill>
              <a:srgbClr val="0097A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48" name="Oval 12"/>
          <p:cNvSpPr>
            <a:spLocks noChangeArrowheads="1"/>
          </p:cNvSpPr>
          <p:nvPr/>
        </p:nvSpPr>
        <p:spPr bwMode="auto">
          <a:xfrm>
            <a:off x="8339818" y="3364109"/>
            <a:ext cx="90488" cy="90487"/>
          </a:xfrm>
          <a:prstGeom prst="ellipse">
            <a:avLst/>
          </a:prstGeom>
          <a:solidFill>
            <a:srgbClr val="0097A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9" name="Freeform 13"/>
          <p:cNvSpPr>
            <a:spLocks/>
          </p:cNvSpPr>
          <p:nvPr/>
        </p:nvSpPr>
        <p:spPr bwMode="auto">
          <a:xfrm>
            <a:off x="8417606" y="4765872"/>
            <a:ext cx="1169988" cy="241300"/>
          </a:xfrm>
          <a:custGeom>
            <a:avLst/>
            <a:gdLst>
              <a:gd name="T0" fmla="*/ 0 w 737"/>
              <a:gd name="T1" fmla="*/ 0 h 152"/>
              <a:gd name="T2" fmla="*/ 578 w 737"/>
              <a:gd name="T3" fmla="*/ 0 h 152"/>
              <a:gd name="T4" fmla="*/ 737 w 737"/>
              <a:gd name="T5" fmla="*/ 152 h 152"/>
            </a:gdLst>
            <a:ahLst/>
            <a:cxnLst>
              <a:cxn ang="0">
                <a:pos x="T0" y="T1"/>
              </a:cxn>
              <a:cxn ang="0">
                <a:pos x="T2" y="T3"/>
              </a:cxn>
              <a:cxn ang="0">
                <a:pos x="T4" y="T5"/>
              </a:cxn>
            </a:cxnLst>
            <a:rect l="0" t="0" r="r" b="b"/>
            <a:pathLst>
              <a:path w="737" h="152">
                <a:moveTo>
                  <a:pt x="0" y="0"/>
                </a:moveTo>
                <a:lnTo>
                  <a:pt x="578" y="0"/>
                </a:lnTo>
                <a:lnTo>
                  <a:pt x="737" y="152"/>
                </a:lnTo>
              </a:path>
            </a:pathLst>
          </a:custGeom>
          <a:noFill/>
          <a:ln w="12700" cap="flat">
            <a:solidFill>
              <a:srgbClr val="0097A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50" name="Oval 14"/>
          <p:cNvSpPr>
            <a:spLocks noChangeArrowheads="1"/>
          </p:cNvSpPr>
          <p:nvPr/>
        </p:nvSpPr>
        <p:spPr bwMode="auto">
          <a:xfrm>
            <a:off x="8339818" y="4715072"/>
            <a:ext cx="90488" cy="93662"/>
          </a:xfrm>
          <a:prstGeom prst="ellipse">
            <a:avLst/>
          </a:prstGeom>
          <a:solidFill>
            <a:srgbClr val="0097A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54" name="Freeform 21"/>
          <p:cNvSpPr>
            <a:spLocks/>
          </p:cNvSpPr>
          <p:nvPr/>
        </p:nvSpPr>
        <p:spPr bwMode="auto">
          <a:xfrm>
            <a:off x="9971768" y="1778197"/>
            <a:ext cx="677863" cy="606425"/>
          </a:xfrm>
          <a:custGeom>
            <a:avLst/>
            <a:gdLst>
              <a:gd name="T0" fmla="*/ 203 w 203"/>
              <a:gd name="T1" fmla="*/ 0 h 181"/>
              <a:gd name="T2" fmla="*/ 117 w 203"/>
              <a:gd name="T3" fmla="*/ 0 h 181"/>
              <a:gd name="T4" fmla="*/ 0 w 203"/>
              <a:gd name="T5" fmla="*/ 117 h 181"/>
              <a:gd name="T6" fmla="*/ 0 w 203"/>
              <a:gd name="T7" fmla="*/ 181 h 181"/>
              <a:gd name="T8" fmla="*/ 86 w 203"/>
              <a:gd name="T9" fmla="*/ 181 h 181"/>
              <a:gd name="T10" fmla="*/ 203 w 203"/>
              <a:gd name="T11" fmla="*/ 64 h 181"/>
              <a:gd name="T12" fmla="*/ 203 w 203"/>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203" h="181">
                <a:moveTo>
                  <a:pt x="203" y="0"/>
                </a:moveTo>
                <a:cubicBezTo>
                  <a:pt x="117" y="0"/>
                  <a:pt x="117" y="0"/>
                  <a:pt x="117" y="0"/>
                </a:cubicBezTo>
                <a:cubicBezTo>
                  <a:pt x="52" y="0"/>
                  <a:pt x="0" y="53"/>
                  <a:pt x="0" y="117"/>
                </a:cubicBezTo>
                <a:cubicBezTo>
                  <a:pt x="0" y="181"/>
                  <a:pt x="0" y="181"/>
                  <a:pt x="0" y="181"/>
                </a:cubicBezTo>
                <a:cubicBezTo>
                  <a:pt x="86" y="181"/>
                  <a:pt x="86" y="181"/>
                  <a:pt x="86" y="181"/>
                </a:cubicBezTo>
                <a:cubicBezTo>
                  <a:pt x="150" y="181"/>
                  <a:pt x="203" y="129"/>
                  <a:pt x="203" y="64"/>
                </a:cubicBezTo>
                <a:lnTo>
                  <a:pt x="203" y="0"/>
                </a:lnTo>
                <a:close/>
              </a:path>
            </a:pathLst>
          </a:custGeom>
          <a:solidFill>
            <a:srgbClr val="00A3E0"/>
          </a:solidFill>
          <a:ln>
            <a:noFill/>
          </a:ln>
        </p:spPr>
        <p:txBody>
          <a:bodyPr vert="horz" wrap="square" lIns="91440" tIns="45720" rIns="91440" bIns="45720" numCol="1" anchor="ctr" anchorCtr="0" compatLnSpc="1">
            <a:prstTxWarp prst="textNoShape">
              <a:avLst/>
            </a:prstTxWarp>
          </a:bodyPr>
          <a:lstStyle/>
          <a:p>
            <a:pPr algn="ctr"/>
            <a:r>
              <a:rPr lang="en-US" altLang="zh-CN" dirty="0">
                <a:solidFill>
                  <a:srgbClr val="FFFFFF"/>
                </a:solidFill>
              </a:rPr>
              <a:t>A</a:t>
            </a:r>
            <a:endParaRPr lang="zh-CN" altLang="en-US" dirty="0">
              <a:solidFill>
                <a:srgbClr val="FFFFFF"/>
              </a:solidFill>
            </a:endParaRPr>
          </a:p>
        </p:txBody>
      </p:sp>
      <p:sp>
        <p:nvSpPr>
          <p:cNvPr id="855" name="Freeform 21"/>
          <p:cNvSpPr>
            <a:spLocks/>
          </p:cNvSpPr>
          <p:nvPr/>
        </p:nvSpPr>
        <p:spPr bwMode="auto">
          <a:xfrm>
            <a:off x="9971768" y="3134007"/>
            <a:ext cx="677863" cy="606425"/>
          </a:xfrm>
          <a:custGeom>
            <a:avLst/>
            <a:gdLst>
              <a:gd name="T0" fmla="*/ 203 w 203"/>
              <a:gd name="T1" fmla="*/ 0 h 181"/>
              <a:gd name="T2" fmla="*/ 117 w 203"/>
              <a:gd name="T3" fmla="*/ 0 h 181"/>
              <a:gd name="T4" fmla="*/ 0 w 203"/>
              <a:gd name="T5" fmla="*/ 117 h 181"/>
              <a:gd name="T6" fmla="*/ 0 w 203"/>
              <a:gd name="T7" fmla="*/ 181 h 181"/>
              <a:gd name="T8" fmla="*/ 86 w 203"/>
              <a:gd name="T9" fmla="*/ 181 h 181"/>
              <a:gd name="T10" fmla="*/ 203 w 203"/>
              <a:gd name="T11" fmla="*/ 64 h 181"/>
              <a:gd name="T12" fmla="*/ 203 w 203"/>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203" h="181">
                <a:moveTo>
                  <a:pt x="203" y="0"/>
                </a:moveTo>
                <a:cubicBezTo>
                  <a:pt x="117" y="0"/>
                  <a:pt x="117" y="0"/>
                  <a:pt x="117" y="0"/>
                </a:cubicBezTo>
                <a:cubicBezTo>
                  <a:pt x="52" y="0"/>
                  <a:pt x="0" y="53"/>
                  <a:pt x="0" y="117"/>
                </a:cubicBezTo>
                <a:cubicBezTo>
                  <a:pt x="0" y="181"/>
                  <a:pt x="0" y="181"/>
                  <a:pt x="0" y="181"/>
                </a:cubicBezTo>
                <a:cubicBezTo>
                  <a:pt x="86" y="181"/>
                  <a:pt x="86" y="181"/>
                  <a:pt x="86" y="181"/>
                </a:cubicBezTo>
                <a:cubicBezTo>
                  <a:pt x="150" y="181"/>
                  <a:pt x="203" y="129"/>
                  <a:pt x="203" y="64"/>
                </a:cubicBezTo>
                <a:lnTo>
                  <a:pt x="203" y="0"/>
                </a:lnTo>
                <a:close/>
              </a:path>
            </a:pathLst>
          </a:custGeom>
          <a:solidFill>
            <a:srgbClr val="00ABAB"/>
          </a:solidFill>
          <a:ln>
            <a:noFill/>
          </a:ln>
        </p:spPr>
        <p:txBody>
          <a:bodyPr vert="horz" wrap="square" lIns="91440" tIns="45720" rIns="91440" bIns="45720" numCol="1" anchor="ctr" anchorCtr="0" compatLnSpc="1">
            <a:prstTxWarp prst="textNoShape">
              <a:avLst/>
            </a:prstTxWarp>
          </a:bodyPr>
          <a:lstStyle/>
          <a:p>
            <a:pPr algn="ctr"/>
            <a:r>
              <a:rPr lang="en-US" altLang="zh-CN" dirty="0">
                <a:solidFill>
                  <a:srgbClr val="FFFFFF"/>
                </a:solidFill>
              </a:rPr>
              <a:t>B</a:t>
            </a:r>
            <a:endParaRPr lang="zh-CN" altLang="en-US" dirty="0">
              <a:solidFill>
                <a:srgbClr val="FFFFFF"/>
              </a:solidFill>
            </a:endParaRPr>
          </a:p>
        </p:txBody>
      </p:sp>
      <p:sp>
        <p:nvSpPr>
          <p:cNvPr id="856" name="Freeform 21"/>
          <p:cNvSpPr>
            <a:spLocks/>
          </p:cNvSpPr>
          <p:nvPr/>
        </p:nvSpPr>
        <p:spPr bwMode="auto">
          <a:xfrm>
            <a:off x="9971768" y="4481709"/>
            <a:ext cx="677863" cy="606425"/>
          </a:xfrm>
          <a:custGeom>
            <a:avLst/>
            <a:gdLst>
              <a:gd name="T0" fmla="*/ 203 w 203"/>
              <a:gd name="T1" fmla="*/ 0 h 181"/>
              <a:gd name="T2" fmla="*/ 117 w 203"/>
              <a:gd name="T3" fmla="*/ 0 h 181"/>
              <a:gd name="T4" fmla="*/ 0 w 203"/>
              <a:gd name="T5" fmla="*/ 117 h 181"/>
              <a:gd name="T6" fmla="*/ 0 w 203"/>
              <a:gd name="T7" fmla="*/ 181 h 181"/>
              <a:gd name="T8" fmla="*/ 86 w 203"/>
              <a:gd name="T9" fmla="*/ 181 h 181"/>
              <a:gd name="T10" fmla="*/ 203 w 203"/>
              <a:gd name="T11" fmla="*/ 64 h 181"/>
              <a:gd name="T12" fmla="*/ 203 w 203"/>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203" h="181">
                <a:moveTo>
                  <a:pt x="203" y="0"/>
                </a:moveTo>
                <a:cubicBezTo>
                  <a:pt x="117" y="0"/>
                  <a:pt x="117" y="0"/>
                  <a:pt x="117" y="0"/>
                </a:cubicBezTo>
                <a:cubicBezTo>
                  <a:pt x="52" y="0"/>
                  <a:pt x="0" y="53"/>
                  <a:pt x="0" y="117"/>
                </a:cubicBezTo>
                <a:cubicBezTo>
                  <a:pt x="0" y="181"/>
                  <a:pt x="0" y="181"/>
                  <a:pt x="0" y="181"/>
                </a:cubicBezTo>
                <a:cubicBezTo>
                  <a:pt x="86" y="181"/>
                  <a:pt x="86" y="181"/>
                  <a:pt x="86" y="181"/>
                </a:cubicBezTo>
                <a:cubicBezTo>
                  <a:pt x="150" y="181"/>
                  <a:pt x="203" y="129"/>
                  <a:pt x="203" y="64"/>
                </a:cubicBezTo>
                <a:lnTo>
                  <a:pt x="203" y="0"/>
                </a:lnTo>
                <a:close/>
              </a:path>
            </a:pathLst>
          </a:custGeom>
          <a:solidFill>
            <a:srgbClr val="007680"/>
          </a:solidFill>
          <a:ln>
            <a:noFill/>
          </a:ln>
        </p:spPr>
        <p:txBody>
          <a:bodyPr vert="horz" wrap="square" lIns="91440" tIns="45720" rIns="91440" bIns="45720" numCol="1" anchor="ctr" anchorCtr="0" compatLnSpc="1">
            <a:prstTxWarp prst="textNoShape">
              <a:avLst/>
            </a:prstTxWarp>
          </a:bodyPr>
          <a:lstStyle/>
          <a:p>
            <a:pPr algn="ctr"/>
            <a:r>
              <a:rPr lang="en-US" altLang="zh-CN" dirty="0">
                <a:solidFill>
                  <a:srgbClr val="FFFFFF"/>
                </a:solidFill>
              </a:rPr>
              <a:t>C</a:t>
            </a:r>
            <a:endParaRPr lang="zh-CN" altLang="en-US" dirty="0">
              <a:solidFill>
                <a:srgbClr val="FFFFFF"/>
              </a:solidFill>
            </a:endParaRPr>
          </a:p>
        </p:txBody>
      </p:sp>
      <p:sp>
        <p:nvSpPr>
          <p:cNvPr id="3072" name="椭圆 3071"/>
          <p:cNvSpPr/>
          <p:nvPr/>
        </p:nvSpPr>
        <p:spPr bwMode="gray">
          <a:xfrm>
            <a:off x="8417606" y="1287118"/>
            <a:ext cx="538747" cy="5387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880" name="椭圆 879"/>
          <p:cNvSpPr/>
          <p:nvPr/>
        </p:nvSpPr>
        <p:spPr bwMode="gray">
          <a:xfrm>
            <a:off x="8417606" y="2591999"/>
            <a:ext cx="538747" cy="538747"/>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881" name="椭圆 880"/>
          <p:cNvSpPr/>
          <p:nvPr/>
        </p:nvSpPr>
        <p:spPr bwMode="gray">
          <a:xfrm>
            <a:off x="8417606" y="3885214"/>
            <a:ext cx="538747" cy="538747"/>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867" name="Freeform 603"/>
          <p:cNvSpPr>
            <a:spLocks noChangeAspect="1" noEditPoints="1"/>
          </p:cNvSpPr>
          <p:nvPr/>
        </p:nvSpPr>
        <p:spPr bwMode="auto">
          <a:xfrm>
            <a:off x="8503456" y="1368674"/>
            <a:ext cx="360000" cy="36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78" name="Freeform 59"/>
          <p:cNvSpPr>
            <a:spLocks noChangeAspect="1" noEditPoints="1"/>
          </p:cNvSpPr>
          <p:nvPr/>
        </p:nvSpPr>
        <p:spPr bwMode="auto">
          <a:xfrm>
            <a:off x="8503456" y="2677312"/>
            <a:ext cx="360000" cy="361058"/>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79" name="Freeform 232"/>
          <p:cNvSpPr>
            <a:spLocks noChangeAspect="1" noEditPoints="1"/>
          </p:cNvSpPr>
          <p:nvPr/>
        </p:nvSpPr>
        <p:spPr bwMode="auto">
          <a:xfrm>
            <a:off x="8503456" y="3970770"/>
            <a:ext cx="360000" cy="36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73 h 512"/>
              <a:gd name="T12" fmla="*/ 373 w 512"/>
              <a:gd name="T13" fmla="*/ 384 h 512"/>
              <a:gd name="T14" fmla="*/ 138 w 512"/>
              <a:gd name="T15" fmla="*/ 384 h 512"/>
              <a:gd name="T16" fmla="*/ 128 w 512"/>
              <a:gd name="T17" fmla="*/ 373 h 512"/>
              <a:gd name="T18" fmla="*/ 128 w 512"/>
              <a:gd name="T19" fmla="*/ 138 h 512"/>
              <a:gd name="T20" fmla="*/ 138 w 512"/>
              <a:gd name="T21" fmla="*/ 128 h 512"/>
              <a:gd name="T22" fmla="*/ 373 w 512"/>
              <a:gd name="T23" fmla="*/ 128 h 512"/>
              <a:gd name="T24" fmla="*/ 384 w 512"/>
              <a:gd name="T25" fmla="*/ 138 h 512"/>
              <a:gd name="T26" fmla="*/ 384 w 512"/>
              <a:gd name="T27" fmla="*/ 373 h 512"/>
              <a:gd name="T28" fmla="*/ 149 w 512"/>
              <a:gd name="T29" fmla="*/ 362 h 512"/>
              <a:gd name="T30" fmla="*/ 362 w 512"/>
              <a:gd name="T31" fmla="*/ 362 h 512"/>
              <a:gd name="T32" fmla="*/ 362 w 512"/>
              <a:gd name="T33" fmla="*/ 149 h 512"/>
              <a:gd name="T34" fmla="*/ 149 w 512"/>
              <a:gd name="T35" fmla="*/ 149 h 512"/>
              <a:gd name="T36" fmla="*/ 149 w 512"/>
              <a:gd name="T37" fmla="*/ 362 h 512"/>
              <a:gd name="T38" fmla="*/ 309 w 512"/>
              <a:gd name="T39" fmla="*/ 170 h 512"/>
              <a:gd name="T40" fmla="*/ 330 w 512"/>
              <a:gd name="T41" fmla="*/ 192 h 512"/>
              <a:gd name="T42" fmla="*/ 309 w 512"/>
              <a:gd name="T43" fmla="*/ 213 h 512"/>
              <a:gd name="T44" fmla="*/ 288 w 512"/>
              <a:gd name="T45" fmla="*/ 192 h 512"/>
              <a:gd name="T46" fmla="*/ 309 w 512"/>
              <a:gd name="T47" fmla="*/ 170 h 512"/>
              <a:gd name="T48" fmla="*/ 309 w 512"/>
              <a:gd name="T49" fmla="*/ 234 h 512"/>
              <a:gd name="T50" fmla="*/ 330 w 512"/>
              <a:gd name="T51" fmla="*/ 256 h 512"/>
              <a:gd name="T52" fmla="*/ 309 w 512"/>
              <a:gd name="T53" fmla="*/ 277 h 512"/>
              <a:gd name="T54" fmla="*/ 288 w 512"/>
              <a:gd name="T55" fmla="*/ 256 h 512"/>
              <a:gd name="T56" fmla="*/ 309 w 512"/>
              <a:gd name="T57" fmla="*/ 234 h 512"/>
              <a:gd name="T58" fmla="*/ 309 w 512"/>
              <a:gd name="T59" fmla="*/ 298 h 512"/>
              <a:gd name="T60" fmla="*/ 330 w 512"/>
              <a:gd name="T61" fmla="*/ 320 h 512"/>
              <a:gd name="T62" fmla="*/ 309 w 512"/>
              <a:gd name="T63" fmla="*/ 341 h 512"/>
              <a:gd name="T64" fmla="*/ 288 w 512"/>
              <a:gd name="T65" fmla="*/ 320 h 512"/>
              <a:gd name="T66" fmla="*/ 309 w 512"/>
              <a:gd name="T67" fmla="*/ 298 h 512"/>
              <a:gd name="T68" fmla="*/ 202 w 512"/>
              <a:gd name="T69" fmla="*/ 170 h 512"/>
              <a:gd name="T70" fmla="*/ 224 w 512"/>
              <a:gd name="T71" fmla="*/ 192 h 512"/>
              <a:gd name="T72" fmla="*/ 202 w 512"/>
              <a:gd name="T73" fmla="*/ 213 h 512"/>
              <a:gd name="T74" fmla="*/ 181 w 512"/>
              <a:gd name="T75" fmla="*/ 192 h 512"/>
              <a:gd name="T76" fmla="*/ 202 w 512"/>
              <a:gd name="T77" fmla="*/ 170 h 512"/>
              <a:gd name="T78" fmla="*/ 202 w 512"/>
              <a:gd name="T79" fmla="*/ 234 h 512"/>
              <a:gd name="T80" fmla="*/ 224 w 512"/>
              <a:gd name="T81" fmla="*/ 256 h 512"/>
              <a:gd name="T82" fmla="*/ 202 w 512"/>
              <a:gd name="T83" fmla="*/ 277 h 512"/>
              <a:gd name="T84" fmla="*/ 181 w 512"/>
              <a:gd name="T85" fmla="*/ 256 h 512"/>
              <a:gd name="T86" fmla="*/ 202 w 512"/>
              <a:gd name="T87" fmla="*/ 234 h 512"/>
              <a:gd name="T88" fmla="*/ 202 w 512"/>
              <a:gd name="T89" fmla="*/ 298 h 512"/>
              <a:gd name="T90" fmla="*/ 224 w 512"/>
              <a:gd name="T91" fmla="*/ 320 h 512"/>
              <a:gd name="T92" fmla="*/ 202 w 512"/>
              <a:gd name="T93" fmla="*/ 341 h 512"/>
              <a:gd name="T94" fmla="*/ 181 w 512"/>
              <a:gd name="T95" fmla="*/ 320 h 512"/>
              <a:gd name="T96" fmla="*/ 202 w 512"/>
              <a:gd name="T9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73"/>
                </a:moveTo>
                <a:cubicBezTo>
                  <a:pt x="384" y="379"/>
                  <a:pt x="379" y="384"/>
                  <a:pt x="373" y="384"/>
                </a:cubicBezTo>
                <a:cubicBezTo>
                  <a:pt x="138" y="384"/>
                  <a:pt x="138" y="384"/>
                  <a:pt x="138" y="384"/>
                </a:cubicBezTo>
                <a:cubicBezTo>
                  <a:pt x="132" y="384"/>
                  <a:pt x="128" y="379"/>
                  <a:pt x="128" y="373"/>
                </a:cubicBezTo>
                <a:cubicBezTo>
                  <a:pt x="128" y="138"/>
                  <a:pt x="128" y="138"/>
                  <a:pt x="128" y="138"/>
                </a:cubicBezTo>
                <a:cubicBezTo>
                  <a:pt x="128" y="132"/>
                  <a:pt x="132" y="128"/>
                  <a:pt x="138" y="128"/>
                </a:cubicBezTo>
                <a:cubicBezTo>
                  <a:pt x="373" y="128"/>
                  <a:pt x="373" y="128"/>
                  <a:pt x="373" y="128"/>
                </a:cubicBezTo>
                <a:cubicBezTo>
                  <a:pt x="379" y="128"/>
                  <a:pt x="384" y="132"/>
                  <a:pt x="384" y="138"/>
                </a:cubicBezTo>
                <a:lnTo>
                  <a:pt x="384" y="373"/>
                </a:lnTo>
                <a:close/>
                <a:moveTo>
                  <a:pt x="149" y="362"/>
                </a:moveTo>
                <a:cubicBezTo>
                  <a:pt x="362" y="362"/>
                  <a:pt x="362" y="362"/>
                  <a:pt x="362" y="362"/>
                </a:cubicBezTo>
                <a:cubicBezTo>
                  <a:pt x="362" y="149"/>
                  <a:pt x="362" y="149"/>
                  <a:pt x="362" y="149"/>
                </a:cubicBezTo>
                <a:cubicBezTo>
                  <a:pt x="149" y="149"/>
                  <a:pt x="149" y="149"/>
                  <a:pt x="149" y="149"/>
                </a:cubicBezTo>
                <a:lnTo>
                  <a:pt x="149" y="362"/>
                </a:lnTo>
                <a:close/>
                <a:moveTo>
                  <a:pt x="309" y="170"/>
                </a:moveTo>
                <a:cubicBezTo>
                  <a:pt x="321" y="170"/>
                  <a:pt x="330" y="180"/>
                  <a:pt x="330" y="192"/>
                </a:cubicBezTo>
                <a:cubicBezTo>
                  <a:pt x="330" y="203"/>
                  <a:pt x="321" y="213"/>
                  <a:pt x="309" y="213"/>
                </a:cubicBezTo>
                <a:cubicBezTo>
                  <a:pt x="297" y="213"/>
                  <a:pt x="288" y="203"/>
                  <a:pt x="288" y="192"/>
                </a:cubicBezTo>
                <a:cubicBezTo>
                  <a:pt x="288" y="180"/>
                  <a:pt x="297" y="170"/>
                  <a:pt x="309" y="170"/>
                </a:cubicBezTo>
                <a:close/>
                <a:moveTo>
                  <a:pt x="309" y="234"/>
                </a:moveTo>
                <a:cubicBezTo>
                  <a:pt x="321" y="234"/>
                  <a:pt x="330" y="244"/>
                  <a:pt x="330" y="256"/>
                </a:cubicBezTo>
                <a:cubicBezTo>
                  <a:pt x="330" y="267"/>
                  <a:pt x="321" y="277"/>
                  <a:pt x="309" y="277"/>
                </a:cubicBezTo>
                <a:cubicBezTo>
                  <a:pt x="297" y="277"/>
                  <a:pt x="288" y="267"/>
                  <a:pt x="288" y="256"/>
                </a:cubicBezTo>
                <a:cubicBezTo>
                  <a:pt x="288" y="244"/>
                  <a:pt x="297" y="234"/>
                  <a:pt x="309" y="234"/>
                </a:cubicBezTo>
                <a:close/>
                <a:moveTo>
                  <a:pt x="309" y="298"/>
                </a:moveTo>
                <a:cubicBezTo>
                  <a:pt x="321" y="298"/>
                  <a:pt x="330" y="308"/>
                  <a:pt x="330" y="320"/>
                </a:cubicBezTo>
                <a:cubicBezTo>
                  <a:pt x="330" y="331"/>
                  <a:pt x="321" y="341"/>
                  <a:pt x="309" y="341"/>
                </a:cubicBezTo>
                <a:cubicBezTo>
                  <a:pt x="297" y="341"/>
                  <a:pt x="288" y="331"/>
                  <a:pt x="288" y="320"/>
                </a:cubicBezTo>
                <a:cubicBezTo>
                  <a:pt x="288" y="308"/>
                  <a:pt x="297" y="298"/>
                  <a:pt x="309" y="298"/>
                </a:cubicBezTo>
                <a:close/>
                <a:moveTo>
                  <a:pt x="202" y="170"/>
                </a:moveTo>
                <a:cubicBezTo>
                  <a:pt x="214" y="170"/>
                  <a:pt x="224" y="180"/>
                  <a:pt x="224" y="192"/>
                </a:cubicBezTo>
                <a:cubicBezTo>
                  <a:pt x="224" y="203"/>
                  <a:pt x="214" y="213"/>
                  <a:pt x="202" y="213"/>
                </a:cubicBezTo>
                <a:cubicBezTo>
                  <a:pt x="191" y="213"/>
                  <a:pt x="181" y="203"/>
                  <a:pt x="181" y="192"/>
                </a:cubicBezTo>
                <a:cubicBezTo>
                  <a:pt x="181" y="180"/>
                  <a:pt x="191" y="170"/>
                  <a:pt x="202" y="170"/>
                </a:cubicBezTo>
                <a:close/>
                <a:moveTo>
                  <a:pt x="202" y="234"/>
                </a:moveTo>
                <a:cubicBezTo>
                  <a:pt x="214" y="234"/>
                  <a:pt x="224" y="244"/>
                  <a:pt x="224" y="256"/>
                </a:cubicBezTo>
                <a:cubicBezTo>
                  <a:pt x="224" y="267"/>
                  <a:pt x="214" y="277"/>
                  <a:pt x="202" y="277"/>
                </a:cubicBezTo>
                <a:cubicBezTo>
                  <a:pt x="191" y="277"/>
                  <a:pt x="181" y="267"/>
                  <a:pt x="181" y="256"/>
                </a:cubicBezTo>
                <a:cubicBezTo>
                  <a:pt x="181" y="244"/>
                  <a:pt x="191" y="234"/>
                  <a:pt x="202" y="234"/>
                </a:cubicBezTo>
                <a:close/>
                <a:moveTo>
                  <a:pt x="202" y="298"/>
                </a:moveTo>
                <a:cubicBezTo>
                  <a:pt x="214" y="298"/>
                  <a:pt x="224" y="308"/>
                  <a:pt x="224" y="320"/>
                </a:cubicBezTo>
                <a:cubicBezTo>
                  <a:pt x="224" y="331"/>
                  <a:pt x="214" y="341"/>
                  <a:pt x="202" y="341"/>
                </a:cubicBezTo>
                <a:cubicBezTo>
                  <a:pt x="191" y="341"/>
                  <a:pt x="181" y="331"/>
                  <a:pt x="181" y="320"/>
                </a:cubicBezTo>
                <a:cubicBezTo>
                  <a:pt x="181" y="308"/>
                  <a:pt x="191" y="298"/>
                  <a:pt x="202" y="29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83" name="TextBox 39"/>
          <p:cNvSpPr txBox="1"/>
          <p:nvPr/>
        </p:nvSpPr>
        <p:spPr>
          <a:xfrm>
            <a:off x="8417606" y="1833105"/>
            <a:ext cx="1058863" cy="215444"/>
          </a:xfrm>
          <a:prstGeom prst="rect">
            <a:avLst/>
          </a:prstGeom>
          <a:noFill/>
        </p:spPr>
        <p:txBody>
          <a:bodyPr wrap="square" lIns="0" tIns="0" rIns="0" bIns="0" rtlCol="0">
            <a:spAutoFit/>
          </a:bodyPr>
          <a:lstStyle/>
          <a:p>
            <a:r>
              <a:rPr lang="da-DK" altLang="zh-CN" sz="1400" dirty="0">
                <a:solidFill>
                  <a:srgbClr val="000000"/>
                </a:solidFill>
                <a:sym typeface="Arial" panose="020B0604020202020204" pitchFamily="34" charset="0"/>
              </a:rPr>
              <a:t>Lorem ipsum</a:t>
            </a:r>
            <a:endParaRPr lang="zh-CN" altLang="en-US" sz="1400" dirty="0">
              <a:solidFill>
                <a:srgbClr val="000000"/>
              </a:solidFill>
              <a:sym typeface="Arial" panose="020B0604020202020204" pitchFamily="34" charset="0"/>
            </a:endParaRPr>
          </a:p>
        </p:txBody>
      </p:sp>
      <p:sp>
        <p:nvSpPr>
          <p:cNvPr id="884" name="TextBox 39"/>
          <p:cNvSpPr txBox="1"/>
          <p:nvPr/>
        </p:nvSpPr>
        <p:spPr>
          <a:xfrm>
            <a:off x="8417606" y="3202015"/>
            <a:ext cx="1058863" cy="215444"/>
          </a:xfrm>
          <a:prstGeom prst="rect">
            <a:avLst/>
          </a:prstGeom>
          <a:noFill/>
        </p:spPr>
        <p:txBody>
          <a:bodyPr wrap="square" lIns="0" tIns="0" rIns="0" bIns="0" rtlCol="0">
            <a:spAutoFit/>
          </a:bodyPr>
          <a:lstStyle/>
          <a:p>
            <a:r>
              <a:rPr lang="da-DK" altLang="zh-CN" sz="1400" dirty="0">
                <a:solidFill>
                  <a:srgbClr val="000000"/>
                </a:solidFill>
                <a:sym typeface="Arial" panose="020B0604020202020204" pitchFamily="34" charset="0"/>
              </a:rPr>
              <a:t>Lorem ipsum</a:t>
            </a:r>
            <a:endParaRPr lang="zh-CN" altLang="en-US" sz="1400" dirty="0">
              <a:solidFill>
                <a:srgbClr val="000000"/>
              </a:solidFill>
              <a:sym typeface="Arial" panose="020B0604020202020204" pitchFamily="34" charset="0"/>
            </a:endParaRPr>
          </a:p>
        </p:txBody>
      </p:sp>
      <p:sp>
        <p:nvSpPr>
          <p:cNvPr id="885" name="TextBox 39"/>
          <p:cNvSpPr txBox="1"/>
          <p:nvPr/>
        </p:nvSpPr>
        <p:spPr>
          <a:xfrm>
            <a:off x="8417606" y="4531544"/>
            <a:ext cx="1058863" cy="215444"/>
          </a:xfrm>
          <a:prstGeom prst="rect">
            <a:avLst/>
          </a:prstGeom>
          <a:noFill/>
        </p:spPr>
        <p:txBody>
          <a:bodyPr wrap="square" lIns="0" tIns="0" rIns="0" bIns="0" rtlCol="0">
            <a:spAutoFit/>
          </a:bodyPr>
          <a:lstStyle/>
          <a:p>
            <a:r>
              <a:rPr lang="da-DK" altLang="zh-CN" sz="1400" dirty="0">
                <a:solidFill>
                  <a:srgbClr val="000000"/>
                </a:solidFill>
                <a:sym typeface="Arial" panose="020B0604020202020204" pitchFamily="34" charset="0"/>
              </a:rPr>
              <a:t>Lorem ipsum</a:t>
            </a:r>
            <a:endParaRPr lang="zh-CN" altLang="en-US" sz="1400" dirty="0">
              <a:solidFill>
                <a:srgbClr val="000000"/>
              </a:solidFill>
              <a:sym typeface="Arial" panose="020B0604020202020204" pitchFamily="34" charset="0"/>
            </a:endParaRPr>
          </a:p>
        </p:txBody>
      </p:sp>
    </p:spTree>
    <p:custDataLst>
      <p:tags r:id="rId1"/>
    </p:custDataLst>
    <p:extLst>
      <p:ext uri="{BB962C8B-B14F-4D97-AF65-F5344CB8AC3E}">
        <p14:creationId xmlns:p14="http://schemas.microsoft.com/office/powerpoint/2010/main" val="2125246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83"/>
                                        </p:tgtEl>
                                        <p:attrNameLst>
                                          <p:attrName>style.visibility</p:attrName>
                                        </p:attrNameLst>
                                      </p:cBhvr>
                                      <p:to>
                                        <p:strVal val="visible"/>
                                      </p:to>
                                    </p:set>
                                    <p:animEffect transition="in" filter="wipe(up)">
                                      <p:cBhvr>
                                        <p:cTn id="7" dur="500"/>
                                        <p:tgtEl>
                                          <p:spTgt spid="88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884"/>
                                        </p:tgtEl>
                                        <p:attrNameLst>
                                          <p:attrName>style.visibility</p:attrName>
                                        </p:attrNameLst>
                                      </p:cBhvr>
                                      <p:to>
                                        <p:strVal val="visible"/>
                                      </p:to>
                                    </p:set>
                                    <p:animEffect transition="in" filter="wipe(up)">
                                      <p:cBhvr>
                                        <p:cTn id="11" dur="500"/>
                                        <p:tgtEl>
                                          <p:spTgt spid="884"/>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885"/>
                                        </p:tgtEl>
                                        <p:attrNameLst>
                                          <p:attrName>style.visibility</p:attrName>
                                        </p:attrNameLst>
                                      </p:cBhvr>
                                      <p:to>
                                        <p:strVal val="visible"/>
                                      </p:to>
                                    </p:set>
                                    <p:animEffect transition="in" filter="wipe(up)">
                                      <p:cBhvr>
                                        <p:cTn id="15" dur="500"/>
                                        <p:tgtEl>
                                          <p:spTgt spid="8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3" grpId="0"/>
      <p:bldP spid="884" grpId="0"/>
      <p:bldP spid="885" grpId="0"/>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2" name="Straight Connector 71"/>
          <p:cNvCxnSpPr/>
          <p:nvPr/>
        </p:nvCxnSpPr>
        <p:spPr>
          <a:xfrm flipV="1">
            <a:off x="951464" y="1736782"/>
            <a:ext cx="3582574" cy="1"/>
          </a:xfrm>
          <a:prstGeom prst="line">
            <a:avLst/>
          </a:prstGeom>
          <a:ln w="476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951464" y="2638431"/>
            <a:ext cx="718497" cy="9270"/>
          </a:xfrm>
          <a:prstGeom prst="line">
            <a:avLst/>
          </a:prstGeom>
          <a:ln w="47625">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951464" y="3530809"/>
            <a:ext cx="3582574" cy="0"/>
          </a:xfrm>
          <a:prstGeom prst="line">
            <a:avLst/>
          </a:prstGeom>
          <a:ln w="47625">
            <a:solidFill>
              <a:srgbClr val="C4D600"/>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951464" y="4421137"/>
            <a:ext cx="718497" cy="4457"/>
          </a:xfrm>
          <a:prstGeom prst="line">
            <a:avLst/>
          </a:prstGeom>
          <a:ln w="47625">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951464" y="5324836"/>
            <a:ext cx="3582574" cy="4"/>
          </a:xfrm>
          <a:prstGeom prst="line">
            <a:avLst/>
          </a:prstGeom>
          <a:ln w="476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29" idx="4"/>
            <a:endCxn id="65" idx="0"/>
          </p:cNvCxnSpPr>
          <p:nvPr/>
        </p:nvCxnSpPr>
        <p:spPr>
          <a:xfrm>
            <a:off x="710682" y="1977564"/>
            <a:ext cx="0" cy="3106493"/>
          </a:xfrm>
          <a:prstGeom prst="line">
            <a:avLst/>
          </a:prstGeom>
          <a:ln w="47625">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29" name="Oval 28"/>
          <p:cNvSpPr/>
          <p:nvPr/>
        </p:nvSpPr>
        <p:spPr bwMode="gray">
          <a:xfrm>
            <a:off x="469900" y="1496001"/>
            <a:ext cx="481564" cy="481563"/>
          </a:xfrm>
          <a:prstGeom prst="ellipse">
            <a:avLst/>
          </a:prstGeom>
          <a:solidFill>
            <a:schemeClr val="accent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Freeform 974"/>
          <p:cNvSpPr>
            <a:spLocks noChangeAspect="1" noEditPoints="1"/>
          </p:cNvSpPr>
          <p:nvPr/>
        </p:nvSpPr>
        <p:spPr bwMode="auto">
          <a:xfrm>
            <a:off x="530230" y="1556330"/>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41" name="Oval 40"/>
          <p:cNvSpPr/>
          <p:nvPr/>
        </p:nvSpPr>
        <p:spPr bwMode="gray">
          <a:xfrm>
            <a:off x="469900" y="2402285"/>
            <a:ext cx="481564" cy="481563"/>
          </a:xfrm>
          <a:prstGeom prst="ellipse">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Freeform 974"/>
          <p:cNvSpPr>
            <a:spLocks noChangeAspect="1" noEditPoints="1"/>
          </p:cNvSpPr>
          <p:nvPr/>
        </p:nvSpPr>
        <p:spPr bwMode="auto">
          <a:xfrm>
            <a:off x="530230" y="2462615"/>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50" name="Oval 49"/>
          <p:cNvSpPr/>
          <p:nvPr/>
        </p:nvSpPr>
        <p:spPr bwMode="gray">
          <a:xfrm>
            <a:off x="469900" y="3290028"/>
            <a:ext cx="481564" cy="481563"/>
          </a:xfrm>
          <a:prstGeom prst="ellipse">
            <a:avLst/>
          </a:prstGeom>
          <a:solidFill>
            <a:srgbClr val="C4D60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Freeform 974"/>
          <p:cNvSpPr>
            <a:spLocks noChangeAspect="1" noEditPoints="1"/>
          </p:cNvSpPr>
          <p:nvPr/>
        </p:nvSpPr>
        <p:spPr bwMode="auto">
          <a:xfrm>
            <a:off x="530230" y="3350358"/>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56" name="Oval 55"/>
          <p:cNvSpPr/>
          <p:nvPr/>
        </p:nvSpPr>
        <p:spPr bwMode="gray">
          <a:xfrm>
            <a:off x="469900" y="4182584"/>
            <a:ext cx="481564" cy="481563"/>
          </a:xfrm>
          <a:prstGeom prst="ellipse">
            <a:avLst/>
          </a:prstGeom>
          <a:solidFill>
            <a:srgbClr val="62B5E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Freeform 974"/>
          <p:cNvSpPr>
            <a:spLocks noChangeAspect="1" noEditPoints="1"/>
          </p:cNvSpPr>
          <p:nvPr/>
        </p:nvSpPr>
        <p:spPr bwMode="auto">
          <a:xfrm>
            <a:off x="530230" y="4242914"/>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65" name="Oval 64"/>
          <p:cNvSpPr/>
          <p:nvPr/>
        </p:nvSpPr>
        <p:spPr bwMode="gray">
          <a:xfrm>
            <a:off x="469900" y="5084057"/>
            <a:ext cx="481564" cy="481563"/>
          </a:xfrm>
          <a:prstGeom prst="ellipse">
            <a:avLst/>
          </a:prstGeom>
          <a:solidFill>
            <a:schemeClr val="accent6"/>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6" name="Freeform 974"/>
          <p:cNvSpPr>
            <a:spLocks noChangeAspect="1" noEditPoints="1"/>
          </p:cNvSpPr>
          <p:nvPr/>
        </p:nvSpPr>
        <p:spPr bwMode="auto">
          <a:xfrm>
            <a:off x="530230" y="5144387"/>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70" name="TextBox 69"/>
          <p:cNvSpPr txBox="1"/>
          <p:nvPr/>
        </p:nvSpPr>
        <p:spPr>
          <a:xfrm>
            <a:off x="1669961" y="2237226"/>
            <a:ext cx="2656667" cy="811681"/>
          </a:xfrm>
          <a:prstGeom prst="roundRect">
            <a:avLst/>
          </a:prstGeom>
          <a:solidFill>
            <a:srgbClr val="43B02A"/>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spcBef>
                <a:spcPts val="600"/>
              </a:spcBef>
              <a:buSzPct val="100000"/>
            </a:pPr>
            <a:r>
              <a:rPr lang="en-US" altLang="zh-CN" sz="950" b="1" dirty="0" err="1">
                <a:solidFill>
                  <a:schemeClr val="bg1"/>
                </a:solidFill>
              </a:rPr>
              <a:t>Pellentesque</a:t>
            </a:r>
            <a:endParaRPr lang="en-US" altLang="zh-CN" sz="950" b="1" dirty="0">
              <a:solidFill>
                <a:schemeClr val="bg1"/>
              </a:solidFill>
            </a:endParaRPr>
          </a:p>
          <a:p>
            <a:pPr>
              <a:spcBef>
                <a:spcPts val="600"/>
              </a:spcBef>
              <a:buSzPct val="100000"/>
            </a:pPr>
            <a:r>
              <a:rPr lang="en-US" altLang="zh-CN" sz="950" dirty="0">
                <a:solidFill>
                  <a:schemeClr val="bg1"/>
                </a:solidFill>
              </a:rPr>
              <a:t>Habitant morbi tristique </a:t>
            </a:r>
            <a:r>
              <a:rPr lang="en-US" altLang="zh-CN" sz="950" dirty="0" err="1">
                <a:solidFill>
                  <a:schemeClr val="bg1"/>
                </a:solidFill>
              </a:rPr>
              <a:t>senectus</a:t>
            </a:r>
            <a:r>
              <a:rPr lang="en-US" altLang="zh-CN" sz="950" dirty="0">
                <a:solidFill>
                  <a:schemeClr val="bg1"/>
                </a:solidFill>
              </a:rPr>
              <a:t> et</a:t>
            </a:r>
          </a:p>
        </p:txBody>
      </p:sp>
      <p:sp>
        <p:nvSpPr>
          <p:cNvPr id="71" name="TextBox 70"/>
          <p:cNvSpPr txBox="1"/>
          <p:nvPr/>
        </p:nvSpPr>
        <p:spPr>
          <a:xfrm>
            <a:off x="1669961" y="4017526"/>
            <a:ext cx="2656667" cy="811681"/>
          </a:xfrm>
          <a:prstGeom prst="roundRect">
            <a:avLst/>
          </a:prstGeom>
          <a:solidFill>
            <a:srgbClr val="62B5E5"/>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spcBef>
                <a:spcPts val="600"/>
              </a:spcBef>
              <a:buSzPct val="100000"/>
            </a:pPr>
            <a:r>
              <a:rPr lang="en-US" altLang="zh-CN" sz="950" b="1" dirty="0">
                <a:solidFill>
                  <a:schemeClr val="bg1"/>
                </a:solidFill>
              </a:rPr>
              <a:t>Maecenas </a:t>
            </a:r>
          </a:p>
          <a:p>
            <a:pPr>
              <a:spcBef>
                <a:spcPts val="600"/>
              </a:spcBef>
              <a:buSzPct val="100000"/>
            </a:pPr>
            <a:r>
              <a:rPr lang="en-US" altLang="zh-CN" sz="950" dirty="0" err="1">
                <a:solidFill>
                  <a:schemeClr val="bg1"/>
                </a:solidFill>
              </a:rPr>
              <a:t>Fusce</a:t>
            </a:r>
            <a:r>
              <a:rPr lang="en-US" altLang="zh-CN" sz="950" dirty="0">
                <a:solidFill>
                  <a:schemeClr val="bg1"/>
                </a:solidFill>
              </a:rPr>
              <a:t> posuere, magna sed pulvinar ultricies, </a:t>
            </a:r>
            <a:r>
              <a:rPr lang="en-US" altLang="zh-CN" sz="950" dirty="0" err="1">
                <a:solidFill>
                  <a:schemeClr val="bg1"/>
                </a:solidFill>
              </a:rPr>
              <a:t>purus</a:t>
            </a:r>
            <a:r>
              <a:rPr lang="en-US" altLang="zh-CN" sz="950" dirty="0">
                <a:solidFill>
                  <a:schemeClr val="bg1"/>
                </a:solidFill>
              </a:rPr>
              <a:t> </a:t>
            </a:r>
            <a:r>
              <a:rPr lang="en-US" altLang="zh-CN" sz="950" dirty="0" err="1">
                <a:solidFill>
                  <a:schemeClr val="bg1"/>
                </a:solidFill>
              </a:rPr>
              <a:t>lectus</a:t>
            </a:r>
            <a:endParaRPr lang="en-US" altLang="zh-CN" sz="950" dirty="0">
              <a:solidFill>
                <a:schemeClr val="bg1"/>
              </a:solidFill>
            </a:endParaRPr>
          </a:p>
        </p:txBody>
      </p:sp>
      <p:sp>
        <p:nvSpPr>
          <p:cNvPr id="75" name="TextBox 74"/>
          <p:cNvSpPr txBox="1"/>
          <p:nvPr/>
        </p:nvSpPr>
        <p:spPr>
          <a:xfrm>
            <a:off x="4534038" y="1330942"/>
            <a:ext cx="2656667" cy="811681"/>
          </a:xfrm>
          <a:prstGeom prst="roundRect">
            <a:avLst/>
          </a:prstGeom>
          <a:solidFill>
            <a:schemeClr val="accent5"/>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spcBef>
                <a:spcPts val="600"/>
              </a:spcBef>
              <a:buSzPct val="100000"/>
            </a:pPr>
            <a:r>
              <a:rPr lang="en-US" altLang="zh-CN" sz="950" b="1" dirty="0">
                <a:solidFill>
                  <a:schemeClr val="bg1"/>
                </a:solidFill>
              </a:rPr>
              <a:t>Lorem ipsum dolor</a:t>
            </a:r>
          </a:p>
          <a:p>
            <a:pPr>
              <a:spcBef>
                <a:spcPts val="600"/>
              </a:spcBef>
              <a:buSzPct val="100000"/>
            </a:pPr>
            <a:r>
              <a:rPr lang="en-US" altLang="zh-CN" sz="950" dirty="0">
                <a:solidFill>
                  <a:schemeClr val="bg1"/>
                </a:solidFill>
              </a:rPr>
              <a:t>Sit </a:t>
            </a:r>
            <a:r>
              <a:rPr lang="en-US" altLang="zh-CN" sz="950" dirty="0" err="1">
                <a:solidFill>
                  <a:schemeClr val="bg1"/>
                </a:solidFill>
              </a:rPr>
              <a:t>amet</a:t>
            </a:r>
            <a:r>
              <a:rPr lang="en-US" altLang="zh-CN" sz="950" dirty="0">
                <a:solidFill>
                  <a:schemeClr val="bg1"/>
                </a:solidFill>
              </a:rPr>
              <a:t>, </a:t>
            </a:r>
            <a:r>
              <a:rPr lang="en-US" altLang="zh-CN" sz="950" dirty="0" err="1">
                <a:solidFill>
                  <a:schemeClr val="bg1"/>
                </a:solidFill>
              </a:rPr>
              <a:t>consectetuer</a:t>
            </a:r>
            <a:r>
              <a:rPr lang="en-US" altLang="zh-CN" sz="950" dirty="0">
                <a:solidFill>
                  <a:schemeClr val="bg1"/>
                </a:solidFill>
              </a:rPr>
              <a:t> </a:t>
            </a:r>
            <a:r>
              <a:rPr lang="en-US" altLang="zh-CN" sz="950" dirty="0" err="1">
                <a:solidFill>
                  <a:schemeClr val="bg1"/>
                </a:solidFill>
              </a:rPr>
              <a:t>adipiscing</a:t>
            </a:r>
            <a:r>
              <a:rPr lang="en-US" altLang="zh-CN" sz="950" dirty="0">
                <a:solidFill>
                  <a:schemeClr val="bg1"/>
                </a:solidFill>
              </a:rPr>
              <a:t> </a:t>
            </a:r>
            <a:r>
              <a:rPr lang="en-US" altLang="zh-CN" sz="950" dirty="0" err="1">
                <a:solidFill>
                  <a:schemeClr val="bg1"/>
                </a:solidFill>
              </a:rPr>
              <a:t>elit</a:t>
            </a:r>
            <a:r>
              <a:rPr lang="en-US" altLang="zh-CN" sz="950" dirty="0">
                <a:solidFill>
                  <a:schemeClr val="bg1"/>
                </a:solidFill>
              </a:rPr>
              <a:t>. </a:t>
            </a:r>
          </a:p>
        </p:txBody>
      </p:sp>
      <p:sp>
        <p:nvSpPr>
          <p:cNvPr id="76" name="TextBox 75"/>
          <p:cNvSpPr txBox="1"/>
          <p:nvPr/>
        </p:nvSpPr>
        <p:spPr>
          <a:xfrm>
            <a:off x="4534038" y="3124969"/>
            <a:ext cx="2656667" cy="811681"/>
          </a:xfrm>
          <a:prstGeom prst="roundRect">
            <a:avLst/>
          </a:prstGeom>
          <a:solidFill>
            <a:srgbClr val="C4D600"/>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spcBef>
                <a:spcPts val="600"/>
              </a:spcBef>
              <a:buSzPct val="100000"/>
            </a:pPr>
            <a:r>
              <a:rPr lang="en-US" altLang="zh-CN" sz="950" b="1" dirty="0" err="1">
                <a:solidFill>
                  <a:schemeClr val="bg1"/>
                </a:solidFill>
              </a:rPr>
              <a:t>Pellentesque</a:t>
            </a:r>
            <a:endParaRPr lang="en-US" altLang="zh-CN" sz="950" b="1" dirty="0">
              <a:solidFill>
                <a:schemeClr val="bg1"/>
              </a:solidFill>
            </a:endParaRPr>
          </a:p>
          <a:p>
            <a:pPr>
              <a:spcBef>
                <a:spcPts val="600"/>
              </a:spcBef>
              <a:buSzPct val="100000"/>
            </a:pPr>
            <a:r>
              <a:rPr lang="en-US" altLang="zh-CN" sz="950" dirty="0">
                <a:solidFill>
                  <a:schemeClr val="bg1"/>
                </a:solidFill>
              </a:rPr>
              <a:t>Habitant </a:t>
            </a:r>
            <a:r>
              <a:rPr lang="en-US" altLang="zh-CN" sz="950" dirty="0" err="1">
                <a:solidFill>
                  <a:schemeClr val="bg1"/>
                </a:solidFill>
              </a:rPr>
              <a:t>morbi</a:t>
            </a:r>
            <a:r>
              <a:rPr lang="en-US" altLang="zh-CN" sz="950" dirty="0">
                <a:solidFill>
                  <a:schemeClr val="bg1"/>
                </a:solidFill>
              </a:rPr>
              <a:t> </a:t>
            </a:r>
            <a:r>
              <a:rPr lang="en-US" altLang="zh-CN" sz="950" dirty="0" err="1">
                <a:solidFill>
                  <a:schemeClr val="bg1"/>
                </a:solidFill>
              </a:rPr>
              <a:t>tristique</a:t>
            </a:r>
            <a:r>
              <a:rPr lang="en-US" altLang="zh-CN" sz="950" dirty="0">
                <a:solidFill>
                  <a:schemeClr val="bg1"/>
                </a:solidFill>
              </a:rPr>
              <a:t> </a:t>
            </a:r>
            <a:r>
              <a:rPr lang="en-US" altLang="zh-CN" sz="950" dirty="0" err="1">
                <a:solidFill>
                  <a:schemeClr val="bg1"/>
                </a:solidFill>
              </a:rPr>
              <a:t>senectus</a:t>
            </a:r>
            <a:r>
              <a:rPr lang="en-US" altLang="zh-CN" sz="950" dirty="0">
                <a:solidFill>
                  <a:schemeClr val="bg1"/>
                </a:solidFill>
              </a:rPr>
              <a:t> et</a:t>
            </a:r>
          </a:p>
        </p:txBody>
      </p:sp>
      <p:sp>
        <p:nvSpPr>
          <p:cNvPr id="77" name="TextBox 76"/>
          <p:cNvSpPr txBox="1"/>
          <p:nvPr/>
        </p:nvSpPr>
        <p:spPr>
          <a:xfrm>
            <a:off x="4534038" y="4918999"/>
            <a:ext cx="2656667" cy="811681"/>
          </a:xfrm>
          <a:prstGeom prst="roundRect">
            <a:avLst/>
          </a:prstGeom>
          <a:solidFill>
            <a:schemeClr val="accent6"/>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spcBef>
                <a:spcPts val="600"/>
              </a:spcBef>
              <a:buSzPct val="100000"/>
            </a:pPr>
            <a:r>
              <a:rPr lang="en-US" altLang="zh-CN" sz="950" b="1" dirty="0">
                <a:solidFill>
                  <a:schemeClr val="bg1"/>
                </a:solidFill>
              </a:rPr>
              <a:t>Maecenas </a:t>
            </a:r>
            <a:r>
              <a:rPr lang="en-US" altLang="zh-CN" sz="950" b="1" dirty="0" err="1">
                <a:solidFill>
                  <a:schemeClr val="bg1"/>
                </a:solidFill>
              </a:rPr>
              <a:t>porttitor</a:t>
            </a:r>
            <a:r>
              <a:rPr lang="en-US" altLang="zh-CN" sz="950" b="1" dirty="0">
                <a:solidFill>
                  <a:schemeClr val="bg1"/>
                </a:solidFill>
              </a:rPr>
              <a:t> </a:t>
            </a:r>
          </a:p>
          <a:p>
            <a:pPr>
              <a:spcBef>
                <a:spcPts val="600"/>
              </a:spcBef>
              <a:buSzPct val="100000"/>
            </a:pPr>
            <a:r>
              <a:rPr lang="en-US" altLang="zh-CN" sz="950" dirty="0" err="1">
                <a:solidFill>
                  <a:schemeClr val="bg1"/>
                </a:solidFill>
              </a:rPr>
              <a:t>Fusce</a:t>
            </a:r>
            <a:r>
              <a:rPr lang="en-US" altLang="zh-CN" sz="950" dirty="0">
                <a:solidFill>
                  <a:schemeClr val="bg1"/>
                </a:solidFill>
              </a:rPr>
              <a:t> </a:t>
            </a:r>
            <a:r>
              <a:rPr lang="en-US" altLang="zh-CN" sz="950" dirty="0" err="1">
                <a:solidFill>
                  <a:schemeClr val="bg1"/>
                </a:solidFill>
              </a:rPr>
              <a:t>posuere</a:t>
            </a:r>
            <a:r>
              <a:rPr lang="en-US" altLang="zh-CN" sz="950" dirty="0">
                <a:solidFill>
                  <a:schemeClr val="bg1"/>
                </a:solidFill>
              </a:rPr>
              <a:t>, magna </a:t>
            </a:r>
            <a:r>
              <a:rPr lang="en-US" altLang="zh-CN" sz="950" dirty="0" err="1">
                <a:solidFill>
                  <a:schemeClr val="bg1"/>
                </a:solidFill>
              </a:rPr>
              <a:t>sed</a:t>
            </a:r>
            <a:r>
              <a:rPr lang="en-US" altLang="zh-CN" sz="950" dirty="0">
                <a:solidFill>
                  <a:schemeClr val="bg1"/>
                </a:solidFill>
              </a:rPr>
              <a:t> </a:t>
            </a:r>
            <a:r>
              <a:rPr lang="en-US" altLang="zh-CN" sz="950" dirty="0" err="1">
                <a:solidFill>
                  <a:schemeClr val="bg1"/>
                </a:solidFill>
              </a:rPr>
              <a:t>pulvinar</a:t>
            </a:r>
            <a:r>
              <a:rPr lang="en-US" altLang="zh-CN" sz="950" dirty="0">
                <a:solidFill>
                  <a:schemeClr val="bg1"/>
                </a:solidFill>
              </a:rPr>
              <a:t> </a:t>
            </a:r>
            <a:r>
              <a:rPr lang="en-US" altLang="zh-CN" sz="950" dirty="0" err="1">
                <a:solidFill>
                  <a:schemeClr val="bg1"/>
                </a:solidFill>
              </a:rPr>
              <a:t>ultricies</a:t>
            </a:r>
            <a:r>
              <a:rPr lang="en-US" altLang="zh-CN" sz="950" dirty="0">
                <a:solidFill>
                  <a:schemeClr val="bg1"/>
                </a:solidFill>
              </a:rPr>
              <a:t>, </a:t>
            </a:r>
            <a:r>
              <a:rPr lang="en-US" altLang="zh-CN" sz="950" dirty="0" err="1">
                <a:solidFill>
                  <a:schemeClr val="bg1"/>
                </a:solidFill>
              </a:rPr>
              <a:t>purus</a:t>
            </a:r>
            <a:endParaRPr lang="en-US" altLang="zh-CN" sz="950" dirty="0">
              <a:solidFill>
                <a:schemeClr val="bg1"/>
              </a:solidFill>
            </a:endParaRPr>
          </a:p>
        </p:txBody>
      </p:sp>
      <p:sp>
        <p:nvSpPr>
          <p:cNvPr id="138" name="Freeform 137"/>
          <p:cNvSpPr/>
          <p:nvPr/>
        </p:nvSpPr>
        <p:spPr bwMode="gray">
          <a:xfrm>
            <a:off x="4534038" y="1694608"/>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7680"/>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r>
              <a:rPr lang="en-US" sz="1600" b="1" dirty="0">
                <a:solidFill>
                  <a:schemeClr val="bg1"/>
                </a:solidFill>
              </a:rPr>
              <a:t>A</a:t>
            </a:r>
          </a:p>
        </p:txBody>
      </p:sp>
      <p:sp>
        <p:nvSpPr>
          <p:cNvPr id="139" name="Freeform 138"/>
          <p:cNvSpPr/>
          <p:nvPr/>
        </p:nvSpPr>
        <p:spPr bwMode="gray">
          <a:xfrm>
            <a:off x="1669961" y="2603655"/>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9A44"/>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r>
              <a:rPr lang="en-US" sz="1600" b="1" dirty="0">
                <a:solidFill>
                  <a:schemeClr val="bg1"/>
                </a:solidFill>
              </a:rPr>
              <a:t>B</a:t>
            </a:r>
          </a:p>
        </p:txBody>
      </p:sp>
      <p:sp>
        <p:nvSpPr>
          <p:cNvPr id="140" name="Freeform 139"/>
          <p:cNvSpPr/>
          <p:nvPr/>
        </p:nvSpPr>
        <p:spPr bwMode="gray">
          <a:xfrm>
            <a:off x="4534038" y="3488636"/>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86BC25"/>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r>
              <a:rPr lang="en-US" sz="1600" b="1" dirty="0">
                <a:solidFill>
                  <a:schemeClr val="bg1"/>
                </a:solidFill>
              </a:rPr>
              <a:t>C</a:t>
            </a:r>
          </a:p>
        </p:txBody>
      </p:sp>
      <p:sp>
        <p:nvSpPr>
          <p:cNvPr id="141" name="Freeform 140"/>
          <p:cNvSpPr/>
          <p:nvPr/>
        </p:nvSpPr>
        <p:spPr bwMode="gray">
          <a:xfrm>
            <a:off x="1669961" y="4383954"/>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A3E0"/>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r>
              <a:rPr lang="en-US" sz="1600" b="1" dirty="0">
                <a:solidFill>
                  <a:schemeClr val="bg1"/>
                </a:solidFill>
              </a:rPr>
              <a:t>D</a:t>
            </a:r>
          </a:p>
        </p:txBody>
      </p:sp>
      <p:sp>
        <p:nvSpPr>
          <p:cNvPr id="142" name="Freeform 141"/>
          <p:cNvSpPr/>
          <p:nvPr/>
        </p:nvSpPr>
        <p:spPr bwMode="gray">
          <a:xfrm>
            <a:off x="4534038" y="5285427"/>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63666A"/>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r>
              <a:rPr lang="en-US" sz="1600" b="1" dirty="0">
                <a:solidFill>
                  <a:schemeClr val="bg1"/>
                </a:solidFill>
              </a:rPr>
              <a:t>E</a:t>
            </a:r>
          </a:p>
        </p:txBody>
      </p:sp>
      <p:sp>
        <p:nvSpPr>
          <p:cNvPr id="143" name="TextBox 142"/>
          <p:cNvSpPr txBox="1"/>
          <p:nvPr/>
        </p:nvSpPr>
        <p:spPr>
          <a:xfrm>
            <a:off x="7418230" y="1400192"/>
            <a:ext cx="4136443" cy="692497"/>
          </a:xfrm>
          <a:prstGeom prst="rect">
            <a:avLst/>
          </a:prstGeom>
          <a:noFill/>
        </p:spPr>
        <p:txBody>
          <a:bodyPr wrap="square" lIns="0" tIns="0" rIns="0" bIns="0" rtlCol="0" anchor="ctr">
            <a:spAutoFit/>
          </a:bodyPr>
          <a:lstStyle/>
          <a:p>
            <a:pPr>
              <a:spcBef>
                <a:spcPts val="600"/>
              </a:spcBef>
              <a:buSzPct val="100000"/>
            </a:pPr>
            <a:r>
              <a:rPr lang="en-US" sz="900" dirty="0">
                <a:solidFill>
                  <a:srgbClr val="313131"/>
                </a:solidFill>
              </a:rPr>
              <a:t>Lorem ipsum dolor sit amet, consectetuer adipiscing elit. Maecenas porttitor congue massa. Fusce posuere, magna sed pulvinar ultricies, purus lectus malesuada libero, sit amet commodo magna eros quis </a:t>
            </a:r>
            <a:r>
              <a:rPr lang="en-US" sz="900" dirty="0" err="1">
                <a:solidFill>
                  <a:srgbClr val="313131"/>
                </a:solidFill>
              </a:rPr>
              <a:t>urna</a:t>
            </a:r>
            <a:r>
              <a:rPr lang="en-US" sz="900" dirty="0">
                <a:solidFill>
                  <a:srgbClr val="313131"/>
                </a:solidFill>
              </a:rPr>
              <a:t>. Nunc viverra imperdiet enim. Fusce est. Vivamus a </a:t>
            </a:r>
            <a:r>
              <a:rPr lang="en-US" sz="900" dirty="0" err="1">
                <a:solidFill>
                  <a:srgbClr val="313131"/>
                </a:solidFill>
              </a:rPr>
              <a:t>tellus</a:t>
            </a:r>
            <a:r>
              <a:rPr lang="en-US" sz="900" dirty="0">
                <a:solidFill>
                  <a:srgbClr val="313131"/>
                </a:solidFill>
              </a:rPr>
              <a:t>. </a:t>
            </a:r>
            <a:r>
              <a:rPr lang="en-US" sz="900" dirty="0" err="1">
                <a:solidFill>
                  <a:srgbClr val="313131"/>
                </a:solidFill>
              </a:rPr>
              <a:t>Pellentesque</a:t>
            </a:r>
            <a:r>
              <a:rPr lang="en-US" sz="900" dirty="0">
                <a:solidFill>
                  <a:srgbClr val="313131"/>
                </a:solidFill>
              </a:rPr>
              <a:t> habitant morbi tristique </a:t>
            </a:r>
            <a:r>
              <a:rPr lang="en-US" sz="900" dirty="0" err="1">
                <a:solidFill>
                  <a:srgbClr val="313131"/>
                </a:solidFill>
              </a:rPr>
              <a:t>senectus</a:t>
            </a:r>
            <a:r>
              <a:rPr lang="en-US" sz="900" dirty="0">
                <a:solidFill>
                  <a:srgbClr val="313131"/>
                </a:solidFill>
              </a:rPr>
              <a:t> et</a:t>
            </a:r>
          </a:p>
        </p:txBody>
      </p:sp>
      <p:sp>
        <p:nvSpPr>
          <p:cNvPr id="144" name="TextBox 143"/>
          <p:cNvSpPr txBox="1"/>
          <p:nvPr/>
        </p:nvSpPr>
        <p:spPr>
          <a:xfrm>
            <a:off x="4534038" y="2366067"/>
            <a:ext cx="4136443" cy="553998"/>
          </a:xfrm>
          <a:prstGeom prst="rect">
            <a:avLst/>
          </a:prstGeom>
          <a:noFill/>
        </p:spPr>
        <p:txBody>
          <a:bodyPr wrap="square" lIns="0" tIns="0" rIns="0" bIns="0" rtlCol="0" anchor="ctr">
            <a:spAutoFit/>
          </a:bodyPr>
          <a:lstStyle/>
          <a:p>
            <a:pPr>
              <a:spcBef>
                <a:spcPts val="600"/>
              </a:spcBef>
              <a:buSzPct val="100000"/>
            </a:pPr>
            <a:r>
              <a:rPr lang="en-US" sz="900" dirty="0">
                <a:solidFill>
                  <a:srgbClr val="313131"/>
                </a:solidFill>
              </a:rPr>
              <a:t>Lorem ipsum dolor sit amet, consectetuer adipiscing elit. Maecenas porttitor congue massa. Fusce posuere, magna sed pulvinar ultricies, purus lectus malesuada libero, sit amet commodo magna eros quis </a:t>
            </a:r>
            <a:r>
              <a:rPr lang="en-US" sz="900" dirty="0" err="1">
                <a:solidFill>
                  <a:srgbClr val="313131"/>
                </a:solidFill>
              </a:rPr>
              <a:t>urna</a:t>
            </a:r>
            <a:r>
              <a:rPr lang="en-US" sz="900" dirty="0">
                <a:solidFill>
                  <a:srgbClr val="313131"/>
                </a:solidFill>
              </a:rPr>
              <a:t>. Nunc viverra imperdiet enim. Fusce est. Vivamus a </a:t>
            </a:r>
            <a:r>
              <a:rPr lang="en-US" sz="900" dirty="0" err="1">
                <a:solidFill>
                  <a:srgbClr val="313131"/>
                </a:solidFill>
              </a:rPr>
              <a:t>tellus</a:t>
            </a:r>
            <a:r>
              <a:rPr lang="en-US" sz="900" dirty="0">
                <a:solidFill>
                  <a:srgbClr val="313131"/>
                </a:solidFill>
              </a:rPr>
              <a:t>. </a:t>
            </a:r>
          </a:p>
        </p:txBody>
      </p:sp>
      <p:sp>
        <p:nvSpPr>
          <p:cNvPr id="145" name="TextBox 144"/>
          <p:cNvSpPr txBox="1"/>
          <p:nvPr/>
        </p:nvSpPr>
        <p:spPr>
          <a:xfrm>
            <a:off x="4534038" y="4152518"/>
            <a:ext cx="4136443" cy="553998"/>
          </a:xfrm>
          <a:prstGeom prst="rect">
            <a:avLst/>
          </a:prstGeom>
          <a:noFill/>
        </p:spPr>
        <p:txBody>
          <a:bodyPr wrap="square" lIns="0" tIns="0" rIns="0" bIns="0" rtlCol="0" anchor="ctr">
            <a:spAutoFit/>
          </a:bodyPr>
          <a:lstStyle/>
          <a:p>
            <a:pPr>
              <a:spcBef>
                <a:spcPts val="600"/>
              </a:spcBef>
              <a:buSzPct val="100000"/>
            </a:pPr>
            <a:r>
              <a:rPr lang="en-US" sz="900" dirty="0">
                <a:solidFill>
                  <a:srgbClr val="313131"/>
                </a:solidFill>
              </a:rPr>
              <a:t>Lorem ipsum dolor sit amet, consectetuer adipiscing elit. Maecenas porttitor congue massa. Fusce posuere, magna sed pulvinar ultricies, purus lectus malesuada libero, sit amet commodo magna eros quis </a:t>
            </a:r>
            <a:r>
              <a:rPr lang="en-US" sz="900" dirty="0" err="1">
                <a:solidFill>
                  <a:srgbClr val="313131"/>
                </a:solidFill>
              </a:rPr>
              <a:t>urna</a:t>
            </a:r>
            <a:r>
              <a:rPr lang="en-US" sz="900" dirty="0">
                <a:solidFill>
                  <a:srgbClr val="313131"/>
                </a:solidFill>
              </a:rPr>
              <a:t>. Nunc viverra imperdiet enim. Fusce est. Vivamus a </a:t>
            </a:r>
            <a:r>
              <a:rPr lang="en-US" sz="900" dirty="0" err="1">
                <a:solidFill>
                  <a:srgbClr val="313131"/>
                </a:solidFill>
              </a:rPr>
              <a:t>tellus</a:t>
            </a:r>
            <a:r>
              <a:rPr lang="en-US" sz="900" dirty="0">
                <a:solidFill>
                  <a:srgbClr val="313131"/>
                </a:solidFill>
              </a:rPr>
              <a:t>. </a:t>
            </a:r>
          </a:p>
        </p:txBody>
      </p:sp>
      <p:sp>
        <p:nvSpPr>
          <p:cNvPr id="146" name="TextBox 145"/>
          <p:cNvSpPr txBox="1"/>
          <p:nvPr/>
        </p:nvSpPr>
        <p:spPr>
          <a:xfrm>
            <a:off x="7418230" y="3259292"/>
            <a:ext cx="4136443" cy="553998"/>
          </a:xfrm>
          <a:prstGeom prst="rect">
            <a:avLst/>
          </a:prstGeom>
          <a:noFill/>
        </p:spPr>
        <p:txBody>
          <a:bodyPr wrap="square" lIns="0" tIns="0" rIns="0" bIns="0" rtlCol="0" anchor="ctr">
            <a:spAutoFit/>
          </a:bodyPr>
          <a:lstStyle/>
          <a:p>
            <a:pPr>
              <a:spcBef>
                <a:spcPts val="600"/>
              </a:spcBef>
              <a:buSzPct val="100000"/>
            </a:pPr>
            <a:r>
              <a:rPr lang="en-US" sz="900" dirty="0">
                <a:solidFill>
                  <a:srgbClr val="313131"/>
                </a:solidFill>
              </a:rPr>
              <a:t>Lorem ipsum dolor sit amet, consectetuer adipiscing elit. Maecenas porttitor congue massa. Fusce posuere, magna sed pulvinar ultricies, purus lectus malesuada libero, sit amet commodo magna eros quis </a:t>
            </a:r>
            <a:r>
              <a:rPr lang="en-US" sz="900" dirty="0" err="1">
                <a:solidFill>
                  <a:srgbClr val="313131"/>
                </a:solidFill>
              </a:rPr>
              <a:t>urna</a:t>
            </a:r>
            <a:r>
              <a:rPr lang="en-US" sz="900" dirty="0">
                <a:solidFill>
                  <a:srgbClr val="313131"/>
                </a:solidFill>
              </a:rPr>
              <a:t>. Nunc viverra imperdiet enim. Fusce est. Vivamus a </a:t>
            </a:r>
            <a:r>
              <a:rPr lang="en-US" sz="900" dirty="0" err="1">
                <a:solidFill>
                  <a:srgbClr val="313131"/>
                </a:solidFill>
              </a:rPr>
              <a:t>tellus</a:t>
            </a:r>
            <a:r>
              <a:rPr lang="en-US" sz="900" dirty="0">
                <a:solidFill>
                  <a:srgbClr val="313131"/>
                </a:solidFill>
              </a:rPr>
              <a:t>. </a:t>
            </a:r>
          </a:p>
        </p:txBody>
      </p:sp>
      <p:sp>
        <p:nvSpPr>
          <p:cNvPr id="147" name="TextBox 146"/>
          <p:cNvSpPr txBox="1"/>
          <p:nvPr/>
        </p:nvSpPr>
        <p:spPr>
          <a:xfrm>
            <a:off x="7418230" y="5034024"/>
            <a:ext cx="4136443" cy="553998"/>
          </a:xfrm>
          <a:prstGeom prst="rect">
            <a:avLst/>
          </a:prstGeom>
          <a:noFill/>
        </p:spPr>
        <p:txBody>
          <a:bodyPr wrap="square" lIns="0" tIns="0" rIns="0" bIns="0" rtlCol="0" anchor="ctr">
            <a:spAutoFit/>
          </a:bodyPr>
          <a:lstStyle/>
          <a:p>
            <a:pPr>
              <a:spcBef>
                <a:spcPts val="600"/>
              </a:spcBef>
              <a:buSzPct val="100000"/>
            </a:pPr>
            <a:r>
              <a:rPr lang="en-US" sz="900" dirty="0">
                <a:solidFill>
                  <a:srgbClr val="313131"/>
                </a:solidFill>
              </a:rPr>
              <a:t>Lorem ipsum dolor sit amet, consectetuer adipiscing elit. Maecenas porttitor congue massa. Fusce posuere, magna sed pulvinar ultricies, purus lectus malesuada libero, sit amet commodo magna eros quis </a:t>
            </a:r>
            <a:r>
              <a:rPr lang="en-US" sz="900" dirty="0" err="1">
                <a:solidFill>
                  <a:srgbClr val="313131"/>
                </a:solidFill>
              </a:rPr>
              <a:t>urna</a:t>
            </a:r>
            <a:r>
              <a:rPr lang="en-US" sz="900" dirty="0">
                <a:solidFill>
                  <a:srgbClr val="313131"/>
                </a:solidFill>
              </a:rPr>
              <a:t>. Nunc viverra imperdiet enim. Fusce est. Vivamus a </a:t>
            </a:r>
            <a:r>
              <a:rPr lang="en-US" sz="900" dirty="0" err="1">
                <a:solidFill>
                  <a:srgbClr val="313131"/>
                </a:solidFill>
              </a:rPr>
              <a:t>tellus</a:t>
            </a:r>
            <a:r>
              <a:rPr lang="en-US" sz="900" dirty="0">
                <a:solidFill>
                  <a:srgbClr val="313131"/>
                </a:solidFill>
              </a:rPr>
              <a:t>. </a:t>
            </a:r>
          </a:p>
        </p:txBody>
      </p:sp>
    </p:spTree>
    <p:custDataLst>
      <p:tags r:id="rId1"/>
    </p:custDataLst>
    <p:extLst>
      <p:ext uri="{BB962C8B-B14F-4D97-AF65-F5344CB8AC3E}">
        <p14:creationId xmlns:p14="http://schemas.microsoft.com/office/powerpoint/2010/main" val="3032595839"/>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19126" y="816951"/>
            <a:ext cx="11115674" cy="4750621"/>
            <a:chOff x="1876426" y="2003588"/>
            <a:chExt cx="8339138" cy="3563984"/>
          </a:xfrm>
        </p:grpSpPr>
        <p:sp>
          <p:nvSpPr>
            <p:cNvPr id="36" name="Freeform 6">
              <a:extLst>
                <a:ext uri="{FF2B5EF4-FFF2-40B4-BE49-F238E27FC236}">
                  <a16:creationId xmlns:a16="http://schemas.microsoft.com/office/drawing/2014/main" id="{2334C8A3-AA0B-C149-A715-B976D0914DB3}"/>
                </a:ext>
              </a:extLst>
            </p:cNvPr>
            <p:cNvSpPr>
              <a:spLocks/>
            </p:cNvSpPr>
            <p:nvPr/>
          </p:nvSpPr>
          <p:spPr bwMode="auto">
            <a:xfrm>
              <a:off x="3343673" y="2003588"/>
              <a:ext cx="1677941" cy="1410516"/>
            </a:xfrm>
            <a:custGeom>
              <a:avLst/>
              <a:gdLst>
                <a:gd name="T0" fmla="*/ 1545 w 1545"/>
                <a:gd name="T1" fmla="*/ 0 h 1244"/>
                <a:gd name="T2" fmla="*/ 0 w 1545"/>
                <a:gd name="T3" fmla="*/ 1205 h 1244"/>
                <a:gd name="T4" fmla="*/ 0 w 1545"/>
                <a:gd name="T5" fmla="*/ 1244 h 1244"/>
                <a:gd name="T6" fmla="*/ 1545 w 1545"/>
                <a:gd name="T7" fmla="*/ 498 h 1244"/>
                <a:gd name="T8" fmla="*/ 1545 w 1545"/>
                <a:gd name="T9" fmla="*/ 0 h 1244"/>
              </a:gdLst>
              <a:ahLst/>
              <a:cxnLst>
                <a:cxn ang="0">
                  <a:pos x="T0" y="T1"/>
                </a:cxn>
                <a:cxn ang="0">
                  <a:pos x="T2" y="T3"/>
                </a:cxn>
                <a:cxn ang="0">
                  <a:pos x="T4" y="T5"/>
                </a:cxn>
                <a:cxn ang="0">
                  <a:pos x="T6" y="T7"/>
                </a:cxn>
                <a:cxn ang="0">
                  <a:pos x="T8" y="T9"/>
                </a:cxn>
              </a:cxnLst>
              <a:rect l="0" t="0" r="r" b="b"/>
              <a:pathLst>
                <a:path w="1545" h="1244">
                  <a:moveTo>
                    <a:pt x="1545" y="0"/>
                  </a:moveTo>
                  <a:lnTo>
                    <a:pt x="0" y="1205"/>
                  </a:lnTo>
                  <a:lnTo>
                    <a:pt x="0" y="1244"/>
                  </a:lnTo>
                  <a:lnTo>
                    <a:pt x="1545" y="498"/>
                  </a:lnTo>
                  <a:lnTo>
                    <a:pt x="15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37" name="Freeform 9">
              <a:extLst>
                <a:ext uri="{FF2B5EF4-FFF2-40B4-BE49-F238E27FC236}">
                  <a16:creationId xmlns:a16="http://schemas.microsoft.com/office/drawing/2014/main" id="{8B46D326-8253-5749-A7E7-B7511B60989B}"/>
                </a:ext>
              </a:extLst>
            </p:cNvPr>
            <p:cNvSpPr>
              <a:spLocks/>
            </p:cNvSpPr>
            <p:nvPr/>
          </p:nvSpPr>
          <p:spPr bwMode="auto">
            <a:xfrm>
              <a:off x="3343673" y="2654421"/>
              <a:ext cx="1677941" cy="858330"/>
            </a:xfrm>
            <a:custGeom>
              <a:avLst/>
              <a:gdLst>
                <a:gd name="T0" fmla="*/ 1545 w 1545"/>
                <a:gd name="T1" fmla="*/ 0 h 757"/>
                <a:gd name="T2" fmla="*/ 0 w 1545"/>
                <a:gd name="T3" fmla="*/ 718 h 757"/>
                <a:gd name="T4" fmla="*/ 0 w 1545"/>
                <a:gd name="T5" fmla="*/ 757 h 757"/>
                <a:gd name="T6" fmla="*/ 1545 w 1545"/>
                <a:gd name="T7" fmla="*/ 497 h 757"/>
                <a:gd name="T8" fmla="*/ 1545 w 1545"/>
                <a:gd name="T9" fmla="*/ 0 h 757"/>
              </a:gdLst>
              <a:ahLst/>
              <a:cxnLst>
                <a:cxn ang="0">
                  <a:pos x="T0" y="T1"/>
                </a:cxn>
                <a:cxn ang="0">
                  <a:pos x="T2" y="T3"/>
                </a:cxn>
                <a:cxn ang="0">
                  <a:pos x="T4" y="T5"/>
                </a:cxn>
                <a:cxn ang="0">
                  <a:pos x="T6" y="T7"/>
                </a:cxn>
                <a:cxn ang="0">
                  <a:pos x="T8" y="T9"/>
                </a:cxn>
              </a:cxnLst>
              <a:rect l="0" t="0" r="r" b="b"/>
              <a:pathLst>
                <a:path w="1545" h="757">
                  <a:moveTo>
                    <a:pt x="1545" y="0"/>
                  </a:moveTo>
                  <a:lnTo>
                    <a:pt x="0" y="718"/>
                  </a:lnTo>
                  <a:lnTo>
                    <a:pt x="0" y="757"/>
                  </a:lnTo>
                  <a:lnTo>
                    <a:pt x="1545" y="497"/>
                  </a:lnTo>
                  <a:lnTo>
                    <a:pt x="15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38" name="Freeform 12">
              <a:extLst>
                <a:ext uri="{FF2B5EF4-FFF2-40B4-BE49-F238E27FC236}">
                  <a16:creationId xmlns:a16="http://schemas.microsoft.com/office/drawing/2014/main" id="{68817C46-BBC3-6041-B889-DF6735CF9406}"/>
                </a:ext>
              </a:extLst>
            </p:cNvPr>
            <p:cNvSpPr>
              <a:spLocks/>
            </p:cNvSpPr>
            <p:nvPr/>
          </p:nvSpPr>
          <p:spPr bwMode="auto">
            <a:xfrm>
              <a:off x="3343673" y="3306390"/>
              <a:ext cx="1677941" cy="563527"/>
            </a:xfrm>
            <a:custGeom>
              <a:avLst/>
              <a:gdLst>
                <a:gd name="T0" fmla="*/ 1545 w 1545"/>
                <a:gd name="T1" fmla="*/ 0 h 497"/>
                <a:gd name="T2" fmla="*/ 0 w 1545"/>
                <a:gd name="T3" fmla="*/ 229 h 497"/>
                <a:gd name="T4" fmla="*/ 0 w 1545"/>
                <a:gd name="T5" fmla="*/ 268 h 497"/>
                <a:gd name="T6" fmla="*/ 1545 w 1545"/>
                <a:gd name="T7" fmla="*/ 497 h 497"/>
                <a:gd name="T8" fmla="*/ 1545 w 1545"/>
                <a:gd name="T9" fmla="*/ 0 h 497"/>
              </a:gdLst>
              <a:ahLst/>
              <a:cxnLst>
                <a:cxn ang="0">
                  <a:pos x="T0" y="T1"/>
                </a:cxn>
                <a:cxn ang="0">
                  <a:pos x="T2" y="T3"/>
                </a:cxn>
                <a:cxn ang="0">
                  <a:pos x="T4" y="T5"/>
                </a:cxn>
                <a:cxn ang="0">
                  <a:pos x="T6" y="T7"/>
                </a:cxn>
                <a:cxn ang="0">
                  <a:pos x="T8" y="T9"/>
                </a:cxn>
              </a:cxnLst>
              <a:rect l="0" t="0" r="r" b="b"/>
              <a:pathLst>
                <a:path w="1545" h="497">
                  <a:moveTo>
                    <a:pt x="1545" y="0"/>
                  </a:moveTo>
                  <a:lnTo>
                    <a:pt x="0" y="229"/>
                  </a:lnTo>
                  <a:lnTo>
                    <a:pt x="0" y="268"/>
                  </a:lnTo>
                  <a:lnTo>
                    <a:pt x="1545" y="497"/>
                  </a:lnTo>
                  <a:lnTo>
                    <a:pt x="15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39" name="Freeform 15">
              <a:extLst>
                <a:ext uri="{FF2B5EF4-FFF2-40B4-BE49-F238E27FC236}">
                  <a16:creationId xmlns:a16="http://schemas.microsoft.com/office/drawing/2014/main" id="{35450436-758F-764C-8376-562A6876F406}"/>
                </a:ext>
              </a:extLst>
            </p:cNvPr>
            <p:cNvSpPr>
              <a:spLocks/>
            </p:cNvSpPr>
            <p:nvPr/>
          </p:nvSpPr>
          <p:spPr bwMode="auto">
            <a:xfrm>
              <a:off x="3343673" y="3664688"/>
              <a:ext cx="1677941" cy="856062"/>
            </a:xfrm>
            <a:custGeom>
              <a:avLst/>
              <a:gdLst>
                <a:gd name="T0" fmla="*/ 0 w 1545"/>
                <a:gd name="T1" fmla="*/ 0 h 755"/>
                <a:gd name="T2" fmla="*/ 0 w 1545"/>
                <a:gd name="T3" fmla="*/ 38 h 755"/>
                <a:gd name="T4" fmla="*/ 1545 w 1545"/>
                <a:gd name="T5" fmla="*/ 755 h 755"/>
                <a:gd name="T6" fmla="*/ 1545 w 1545"/>
                <a:gd name="T7" fmla="*/ 257 h 755"/>
                <a:gd name="T8" fmla="*/ 0 w 1545"/>
                <a:gd name="T9" fmla="*/ 0 h 755"/>
              </a:gdLst>
              <a:ahLst/>
              <a:cxnLst>
                <a:cxn ang="0">
                  <a:pos x="T0" y="T1"/>
                </a:cxn>
                <a:cxn ang="0">
                  <a:pos x="T2" y="T3"/>
                </a:cxn>
                <a:cxn ang="0">
                  <a:pos x="T4" y="T5"/>
                </a:cxn>
                <a:cxn ang="0">
                  <a:pos x="T6" y="T7"/>
                </a:cxn>
                <a:cxn ang="0">
                  <a:pos x="T8" y="T9"/>
                </a:cxn>
              </a:cxnLst>
              <a:rect l="0" t="0" r="r" b="b"/>
              <a:pathLst>
                <a:path w="1545" h="755">
                  <a:moveTo>
                    <a:pt x="0" y="0"/>
                  </a:moveTo>
                  <a:lnTo>
                    <a:pt x="0" y="38"/>
                  </a:lnTo>
                  <a:lnTo>
                    <a:pt x="1545" y="755"/>
                  </a:lnTo>
                  <a:lnTo>
                    <a:pt x="1545" y="25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40" name="Freeform 18">
              <a:extLst>
                <a:ext uri="{FF2B5EF4-FFF2-40B4-BE49-F238E27FC236}">
                  <a16:creationId xmlns:a16="http://schemas.microsoft.com/office/drawing/2014/main" id="{4219BB98-4F2D-844D-95D7-3A0860630911}"/>
                </a:ext>
              </a:extLst>
            </p:cNvPr>
            <p:cNvSpPr>
              <a:spLocks/>
            </p:cNvSpPr>
            <p:nvPr/>
          </p:nvSpPr>
          <p:spPr bwMode="auto">
            <a:xfrm>
              <a:off x="3343673" y="3762199"/>
              <a:ext cx="1677941" cy="1410516"/>
            </a:xfrm>
            <a:custGeom>
              <a:avLst/>
              <a:gdLst>
                <a:gd name="T0" fmla="*/ 0 w 1545"/>
                <a:gd name="T1" fmla="*/ 0 h 1244"/>
                <a:gd name="T2" fmla="*/ 0 w 1545"/>
                <a:gd name="T3" fmla="*/ 39 h 1244"/>
                <a:gd name="T4" fmla="*/ 1545 w 1545"/>
                <a:gd name="T5" fmla="*/ 1244 h 1244"/>
                <a:gd name="T6" fmla="*/ 1545 w 1545"/>
                <a:gd name="T7" fmla="*/ 747 h 1244"/>
                <a:gd name="T8" fmla="*/ 0 w 1545"/>
                <a:gd name="T9" fmla="*/ 0 h 1244"/>
              </a:gdLst>
              <a:ahLst/>
              <a:cxnLst>
                <a:cxn ang="0">
                  <a:pos x="T0" y="T1"/>
                </a:cxn>
                <a:cxn ang="0">
                  <a:pos x="T2" y="T3"/>
                </a:cxn>
                <a:cxn ang="0">
                  <a:pos x="T4" y="T5"/>
                </a:cxn>
                <a:cxn ang="0">
                  <a:pos x="T6" y="T7"/>
                </a:cxn>
                <a:cxn ang="0">
                  <a:pos x="T8" y="T9"/>
                </a:cxn>
              </a:cxnLst>
              <a:rect l="0" t="0" r="r" b="b"/>
              <a:pathLst>
                <a:path w="1545" h="1244">
                  <a:moveTo>
                    <a:pt x="0" y="0"/>
                  </a:moveTo>
                  <a:lnTo>
                    <a:pt x="0" y="39"/>
                  </a:lnTo>
                  <a:lnTo>
                    <a:pt x="1545" y="1244"/>
                  </a:lnTo>
                  <a:lnTo>
                    <a:pt x="1545" y="7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41" name="Freeform 5">
              <a:extLst>
                <a:ext uri="{FF2B5EF4-FFF2-40B4-BE49-F238E27FC236}">
                  <a16:creationId xmlns:a16="http://schemas.microsoft.com/office/drawing/2014/main" id="{BF892AD4-6B16-8641-BDA8-F80B8A47EEC3}"/>
                </a:ext>
              </a:extLst>
            </p:cNvPr>
            <p:cNvSpPr>
              <a:spLocks/>
            </p:cNvSpPr>
            <p:nvPr/>
          </p:nvSpPr>
          <p:spPr bwMode="auto">
            <a:xfrm>
              <a:off x="3334923" y="2156000"/>
              <a:ext cx="1020406" cy="1518424"/>
            </a:xfrm>
            <a:custGeom>
              <a:avLst/>
              <a:gdLst>
                <a:gd name="T0" fmla="*/ 1545 w 1545"/>
                <a:gd name="T1" fmla="*/ 0 h 1244"/>
                <a:gd name="T2" fmla="*/ 0 w 1545"/>
                <a:gd name="T3" fmla="*/ 1205 h 1244"/>
                <a:gd name="T4" fmla="*/ 0 w 1545"/>
                <a:gd name="T5" fmla="*/ 1244 h 1244"/>
                <a:gd name="T6" fmla="*/ 1545 w 1545"/>
                <a:gd name="T7" fmla="*/ 498 h 1244"/>
                <a:gd name="T8" fmla="*/ 1545 w 1545"/>
                <a:gd name="T9" fmla="*/ 0 h 1244"/>
              </a:gdLst>
              <a:ahLst/>
              <a:cxnLst>
                <a:cxn ang="0">
                  <a:pos x="T0" y="T1"/>
                </a:cxn>
                <a:cxn ang="0">
                  <a:pos x="T2" y="T3"/>
                </a:cxn>
                <a:cxn ang="0">
                  <a:pos x="T4" y="T5"/>
                </a:cxn>
                <a:cxn ang="0">
                  <a:pos x="T6" y="T7"/>
                </a:cxn>
                <a:cxn ang="0">
                  <a:pos x="T8" y="T9"/>
                </a:cxn>
              </a:cxnLst>
              <a:rect l="0" t="0" r="r" b="b"/>
              <a:pathLst>
                <a:path w="1545" h="1244">
                  <a:moveTo>
                    <a:pt x="1545" y="0"/>
                  </a:moveTo>
                  <a:lnTo>
                    <a:pt x="0" y="1205"/>
                  </a:lnTo>
                  <a:lnTo>
                    <a:pt x="0" y="1244"/>
                  </a:lnTo>
                  <a:lnTo>
                    <a:pt x="1545" y="498"/>
                  </a:lnTo>
                  <a:lnTo>
                    <a:pt x="1545" y="0"/>
                  </a:lnTo>
                  <a:close/>
                </a:path>
              </a:pathLst>
            </a:custGeom>
            <a:solidFill>
              <a:srgbClr val="E3E48D"/>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42" name="Freeform 8">
              <a:extLst>
                <a:ext uri="{FF2B5EF4-FFF2-40B4-BE49-F238E27FC236}">
                  <a16:creationId xmlns:a16="http://schemas.microsoft.com/office/drawing/2014/main" id="{F72EF84B-47D9-FB4F-8C4F-0C64BC54F50B}"/>
                </a:ext>
              </a:extLst>
            </p:cNvPr>
            <p:cNvSpPr>
              <a:spLocks/>
            </p:cNvSpPr>
            <p:nvPr/>
          </p:nvSpPr>
          <p:spPr bwMode="auto">
            <a:xfrm>
              <a:off x="3334923" y="2856623"/>
              <a:ext cx="1020406" cy="923993"/>
            </a:xfrm>
            <a:custGeom>
              <a:avLst/>
              <a:gdLst>
                <a:gd name="T0" fmla="*/ 1545 w 1545"/>
                <a:gd name="T1" fmla="*/ 0 h 757"/>
                <a:gd name="T2" fmla="*/ 0 w 1545"/>
                <a:gd name="T3" fmla="*/ 718 h 757"/>
                <a:gd name="T4" fmla="*/ 0 w 1545"/>
                <a:gd name="T5" fmla="*/ 757 h 757"/>
                <a:gd name="T6" fmla="*/ 1545 w 1545"/>
                <a:gd name="T7" fmla="*/ 497 h 757"/>
                <a:gd name="T8" fmla="*/ 1545 w 1545"/>
                <a:gd name="T9" fmla="*/ 0 h 757"/>
              </a:gdLst>
              <a:ahLst/>
              <a:cxnLst>
                <a:cxn ang="0">
                  <a:pos x="T0" y="T1"/>
                </a:cxn>
                <a:cxn ang="0">
                  <a:pos x="T2" y="T3"/>
                </a:cxn>
                <a:cxn ang="0">
                  <a:pos x="T4" y="T5"/>
                </a:cxn>
                <a:cxn ang="0">
                  <a:pos x="T6" y="T7"/>
                </a:cxn>
                <a:cxn ang="0">
                  <a:pos x="T8" y="T9"/>
                </a:cxn>
              </a:cxnLst>
              <a:rect l="0" t="0" r="r" b="b"/>
              <a:pathLst>
                <a:path w="1545" h="757">
                  <a:moveTo>
                    <a:pt x="1545" y="0"/>
                  </a:moveTo>
                  <a:lnTo>
                    <a:pt x="0" y="718"/>
                  </a:lnTo>
                  <a:lnTo>
                    <a:pt x="0" y="757"/>
                  </a:lnTo>
                  <a:lnTo>
                    <a:pt x="1545" y="497"/>
                  </a:lnTo>
                  <a:lnTo>
                    <a:pt x="1545" y="0"/>
                  </a:lnTo>
                  <a:close/>
                </a:path>
              </a:pathLst>
            </a:custGeom>
            <a:solidFill>
              <a:srgbClr val="C4D600"/>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43" name="Freeform 11">
              <a:extLst>
                <a:ext uri="{FF2B5EF4-FFF2-40B4-BE49-F238E27FC236}">
                  <a16:creationId xmlns:a16="http://schemas.microsoft.com/office/drawing/2014/main" id="{123F6C45-D6B4-774F-9547-290474A94767}"/>
                </a:ext>
              </a:extLst>
            </p:cNvPr>
            <p:cNvSpPr>
              <a:spLocks/>
            </p:cNvSpPr>
            <p:nvPr/>
          </p:nvSpPr>
          <p:spPr bwMode="auto">
            <a:xfrm>
              <a:off x="3334923" y="3558467"/>
              <a:ext cx="1020406" cy="606638"/>
            </a:xfrm>
            <a:custGeom>
              <a:avLst/>
              <a:gdLst>
                <a:gd name="T0" fmla="*/ 1545 w 1545"/>
                <a:gd name="T1" fmla="*/ 0 h 497"/>
                <a:gd name="T2" fmla="*/ 0 w 1545"/>
                <a:gd name="T3" fmla="*/ 229 h 497"/>
                <a:gd name="T4" fmla="*/ 0 w 1545"/>
                <a:gd name="T5" fmla="*/ 268 h 497"/>
                <a:gd name="T6" fmla="*/ 1545 w 1545"/>
                <a:gd name="T7" fmla="*/ 497 h 497"/>
                <a:gd name="T8" fmla="*/ 1545 w 1545"/>
                <a:gd name="T9" fmla="*/ 0 h 497"/>
              </a:gdLst>
              <a:ahLst/>
              <a:cxnLst>
                <a:cxn ang="0">
                  <a:pos x="T0" y="T1"/>
                </a:cxn>
                <a:cxn ang="0">
                  <a:pos x="T2" y="T3"/>
                </a:cxn>
                <a:cxn ang="0">
                  <a:pos x="T4" y="T5"/>
                </a:cxn>
                <a:cxn ang="0">
                  <a:pos x="T6" y="T7"/>
                </a:cxn>
                <a:cxn ang="0">
                  <a:pos x="T8" y="T9"/>
                </a:cxn>
              </a:cxnLst>
              <a:rect l="0" t="0" r="r" b="b"/>
              <a:pathLst>
                <a:path w="1545" h="497">
                  <a:moveTo>
                    <a:pt x="1545" y="0"/>
                  </a:moveTo>
                  <a:lnTo>
                    <a:pt x="0" y="229"/>
                  </a:lnTo>
                  <a:lnTo>
                    <a:pt x="0" y="268"/>
                  </a:lnTo>
                  <a:lnTo>
                    <a:pt x="1545" y="497"/>
                  </a:lnTo>
                  <a:lnTo>
                    <a:pt x="1545" y="0"/>
                  </a:lnTo>
                  <a:close/>
                </a:path>
              </a:pathLst>
            </a:custGeom>
            <a:solidFill>
              <a:srgbClr val="43B02A"/>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44" name="Freeform 43">
              <a:extLst>
                <a:ext uri="{FF2B5EF4-FFF2-40B4-BE49-F238E27FC236}">
                  <a16:creationId xmlns:a16="http://schemas.microsoft.com/office/drawing/2014/main" id="{A525F248-6A4E-714F-BC48-C62D5B7A7692}"/>
                </a:ext>
              </a:extLst>
            </p:cNvPr>
            <p:cNvSpPr>
              <a:spLocks/>
            </p:cNvSpPr>
            <p:nvPr/>
          </p:nvSpPr>
          <p:spPr bwMode="auto">
            <a:xfrm>
              <a:off x="3334923" y="3944176"/>
              <a:ext cx="1020406" cy="921552"/>
            </a:xfrm>
            <a:custGeom>
              <a:avLst/>
              <a:gdLst>
                <a:gd name="T0" fmla="*/ 0 w 1545"/>
                <a:gd name="T1" fmla="*/ 0 h 755"/>
                <a:gd name="T2" fmla="*/ 0 w 1545"/>
                <a:gd name="T3" fmla="*/ 38 h 755"/>
                <a:gd name="T4" fmla="*/ 1545 w 1545"/>
                <a:gd name="T5" fmla="*/ 755 h 755"/>
                <a:gd name="T6" fmla="*/ 1545 w 1545"/>
                <a:gd name="T7" fmla="*/ 257 h 755"/>
                <a:gd name="T8" fmla="*/ 0 w 1545"/>
                <a:gd name="T9" fmla="*/ 0 h 755"/>
              </a:gdLst>
              <a:ahLst/>
              <a:cxnLst>
                <a:cxn ang="0">
                  <a:pos x="T0" y="T1"/>
                </a:cxn>
                <a:cxn ang="0">
                  <a:pos x="T2" y="T3"/>
                </a:cxn>
                <a:cxn ang="0">
                  <a:pos x="T4" y="T5"/>
                </a:cxn>
                <a:cxn ang="0">
                  <a:pos x="T6" y="T7"/>
                </a:cxn>
                <a:cxn ang="0">
                  <a:pos x="T8" y="T9"/>
                </a:cxn>
              </a:cxnLst>
              <a:rect l="0" t="0" r="r" b="b"/>
              <a:pathLst>
                <a:path w="1545" h="755">
                  <a:moveTo>
                    <a:pt x="0" y="0"/>
                  </a:moveTo>
                  <a:lnTo>
                    <a:pt x="0" y="38"/>
                  </a:lnTo>
                  <a:lnTo>
                    <a:pt x="1545" y="755"/>
                  </a:lnTo>
                  <a:lnTo>
                    <a:pt x="1545" y="257"/>
                  </a:lnTo>
                  <a:lnTo>
                    <a:pt x="0" y="0"/>
                  </a:lnTo>
                  <a:close/>
                </a:path>
              </a:pathLst>
            </a:custGeom>
            <a:solidFill>
              <a:srgbClr val="A0DCFF"/>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45" name="Freeform 17">
              <a:extLst>
                <a:ext uri="{FF2B5EF4-FFF2-40B4-BE49-F238E27FC236}">
                  <a16:creationId xmlns:a16="http://schemas.microsoft.com/office/drawing/2014/main" id="{05B1EB07-1E7B-044C-8599-6F57D9D02689}"/>
                </a:ext>
              </a:extLst>
            </p:cNvPr>
            <p:cNvSpPr>
              <a:spLocks/>
            </p:cNvSpPr>
            <p:nvPr/>
          </p:nvSpPr>
          <p:spPr bwMode="auto">
            <a:xfrm>
              <a:off x="3334923" y="4049148"/>
              <a:ext cx="1020406" cy="1518424"/>
            </a:xfrm>
            <a:custGeom>
              <a:avLst/>
              <a:gdLst>
                <a:gd name="T0" fmla="*/ 0 w 1545"/>
                <a:gd name="T1" fmla="*/ 0 h 1244"/>
                <a:gd name="T2" fmla="*/ 0 w 1545"/>
                <a:gd name="T3" fmla="*/ 39 h 1244"/>
                <a:gd name="T4" fmla="*/ 1545 w 1545"/>
                <a:gd name="T5" fmla="*/ 1244 h 1244"/>
                <a:gd name="T6" fmla="*/ 1545 w 1545"/>
                <a:gd name="T7" fmla="*/ 747 h 1244"/>
                <a:gd name="T8" fmla="*/ 0 w 1545"/>
                <a:gd name="T9" fmla="*/ 0 h 1244"/>
              </a:gdLst>
              <a:ahLst/>
              <a:cxnLst>
                <a:cxn ang="0">
                  <a:pos x="T0" y="T1"/>
                </a:cxn>
                <a:cxn ang="0">
                  <a:pos x="T2" y="T3"/>
                </a:cxn>
                <a:cxn ang="0">
                  <a:pos x="T4" y="T5"/>
                </a:cxn>
                <a:cxn ang="0">
                  <a:pos x="T6" y="T7"/>
                </a:cxn>
                <a:cxn ang="0">
                  <a:pos x="T8" y="T9"/>
                </a:cxn>
              </a:cxnLst>
              <a:rect l="0" t="0" r="r" b="b"/>
              <a:pathLst>
                <a:path w="1545" h="1244">
                  <a:moveTo>
                    <a:pt x="0" y="0"/>
                  </a:moveTo>
                  <a:lnTo>
                    <a:pt x="0" y="39"/>
                  </a:lnTo>
                  <a:lnTo>
                    <a:pt x="1545" y="1244"/>
                  </a:lnTo>
                  <a:lnTo>
                    <a:pt x="1545" y="747"/>
                  </a:lnTo>
                  <a:lnTo>
                    <a:pt x="0" y="0"/>
                  </a:lnTo>
                  <a:close/>
                </a:path>
              </a:pathLst>
            </a:custGeom>
            <a:solidFill>
              <a:srgbClr val="DDEFE8"/>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46" name="Rectangle 7">
              <a:extLst>
                <a:ext uri="{FF2B5EF4-FFF2-40B4-BE49-F238E27FC236}">
                  <a16:creationId xmlns:a16="http://schemas.microsoft.com/office/drawing/2014/main" id="{23AAC7C4-6989-C842-B983-1FE1F5C99668}"/>
                </a:ext>
              </a:extLst>
            </p:cNvPr>
            <p:cNvSpPr>
              <a:spLocks noChangeArrowheads="1"/>
            </p:cNvSpPr>
            <p:nvPr/>
          </p:nvSpPr>
          <p:spPr bwMode="auto">
            <a:xfrm>
              <a:off x="4355329" y="2156001"/>
              <a:ext cx="5860235" cy="607857"/>
            </a:xfrm>
            <a:prstGeom prst="snip1Rect">
              <a:avLst/>
            </a:prstGeom>
            <a:solidFill>
              <a:schemeClr val="tx1"/>
            </a:solidFill>
            <a:ln w="25400">
              <a:solidFill>
                <a:schemeClr val="accent1"/>
              </a:solidFill>
            </a:ln>
          </p:spPr>
          <p:txBody>
            <a:bodyPr vert="horz" wrap="square" lIns="40341" tIns="20171" rIns="40341" bIns="20171" numCol="1" anchor="t" anchorCtr="0" compatLnSpc="1">
              <a:prstTxWarp prst="textNoShape">
                <a:avLst/>
              </a:prstTxWarp>
            </a:bodyPr>
            <a:lstStyle/>
            <a:p>
              <a:endParaRPr lang="en-US" sz="1100" dirty="0">
                <a:solidFill>
                  <a:schemeClr val="bg1"/>
                </a:solidFill>
              </a:endParaRPr>
            </a:p>
          </p:txBody>
        </p:sp>
        <p:sp>
          <p:nvSpPr>
            <p:cNvPr id="47" name="Rectangle 10">
              <a:extLst>
                <a:ext uri="{FF2B5EF4-FFF2-40B4-BE49-F238E27FC236}">
                  <a16:creationId xmlns:a16="http://schemas.microsoft.com/office/drawing/2014/main" id="{1A2C78A9-D171-ED47-93E2-84D28149909D}"/>
                </a:ext>
              </a:extLst>
            </p:cNvPr>
            <p:cNvSpPr>
              <a:spLocks noChangeArrowheads="1"/>
            </p:cNvSpPr>
            <p:nvPr/>
          </p:nvSpPr>
          <p:spPr bwMode="auto">
            <a:xfrm>
              <a:off x="4355329" y="2856622"/>
              <a:ext cx="5860235" cy="606638"/>
            </a:xfrm>
            <a:prstGeom prst="snip1Rect">
              <a:avLst/>
            </a:prstGeom>
            <a:solidFill>
              <a:schemeClr val="tx1"/>
            </a:solidFill>
            <a:ln w="25400">
              <a:solidFill>
                <a:schemeClr val="accent3"/>
              </a:solidFill>
            </a:ln>
          </p:spPr>
          <p:txBody>
            <a:bodyPr vert="horz" wrap="square" lIns="40341" tIns="20171" rIns="40341" bIns="20171" numCol="1" anchor="t" anchorCtr="0" compatLnSpc="1">
              <a:prstTxWarp prst="textNoShape">
                <a:avLst/>
              </a:prstTxWarp>
            </a:bodyPr>
            <a:lstStyle/>
            <a:p>
              <a:endParaRPr lang="en-US" sz="1100" dirty="0"/>
            </a:p>
          </p:txBody>
        </p:sp>
        <p:sp>
          <p:nvSpPr>
            <p:cNvPr id="48" name="Freeform 13">
              <a:extLst>
                <a:ext uri="{FF2B5EF4-FFF2-40B4-BE49-F238E27FC236}">
                  <a16:creationId xmlns:a16="http://schemas.microsoft.com/office/drawing/2014/main" id="{3FFB1BD6-F83A-524A-BADA-4546CC810D55}"/>
                </a:ext>
              </a:extLst>
            </p:cNvPr>
            <p:cNvSpPr>
              <a:spLocks/>
            </p:cNvSpPr>
            <p:nvPr/>
          </p:nvSpPr>
          <p:spPr bwMode="auto">
            <a:xfrm>
              <a:off x="4355329" y="3558467"/>
              <a:ext cx="5860235" cy="606638"/>
            </a:xfrm>
            <a:prstGeom prst="snip1Rect">
              <a:avLst/>
            </a:prstGeom>
            <a:solidFill>
              <a:schemeClr val="tx1"/>
            </a:solidFill>
            <a:ln w="25400">
              <a:solidFill>
                <a:srgbClr val="E3E48D"/>
              </a:solidFill>
            </a:ln>
          </p:spPr>
          <p:txBody>
            <a:bodyPr vert="horz" wrap="square" lIns="40341" tIns="20171" rIns="40341" bIns="20171" numCol="1" anchor="t" anchorCtr="0" compatLnSpc="1">
              <a:prstTxWarp prst="textNoShape">
                <a:avLst/>
              </a:prstTxWarp>
            </a:bodyPr>
            <a:lstStyle/>
            <a:p>
              <a:endParaRPr lang="en-US" sz="1100" dirty="0"/>
            </a:p>
          </p:txBody>
        </p:sp>
        <p:sp>
          <p:nvSpPr>
            <p:cNvPr id="49" name="Rectangle 16">
              <a:extLst>
                <a:ext uri="{FF2B5EF4-FFF2-40B4-BE49-F238E27FC236}">
                  <a16:creationId xmlns:a16="http://schemas.microsoft.com/office/drawing/2014/main" id="{EB9C51FE-688D-4F4A-A555-1CAEA9BDC534}"/>
                </a:ext>
              </a:extLst>
            </p:cNvPr>
            <p:cNvSpPr>
              <a:spLocks noChangeArrowheads="1"/>
            </p:cNvSpPr>
            <p:nvPr/>
          </p:nvSpPr>
          <p:spPr bwMode="auto">
            <a:xfrm>
              <a:off x="4355329" y="4257871"/>
              <a:ext cx="5860235" cy="607857"/>
            </a:xfrm>
            <a:prstGeom prst="snip1Rect">
              <a:avLst/>
            </a:prstGeom>
            <a:solidFill>
              <a:schemeClr val="tx1"/>
            </a:solidFill>
            <a:ln w="25400">
              <a:solidFill>
                <a:srgbClr val="00A3E0"/>
              </a:solidFill>
            </a:ln>
          </p:spPr>
          <p:txBody>
            <a:bodyPr vert="horz" wrap="square" lIns="40341" tIns="20171" rIns="40341" bIns="20171" numCol="1" anchor="t" anchorCtr="0" compatLnSpc="1">
              <a:prstTxWarp prst="textNoShape">
                <a:avLst/>
              </a:prstTxWarp>
            </a:bodyPr>
            <a:lstStyle/>
            <a:p>
              <a:endParaRPr lang="en-US" sz="1100" dirty="0"/>
            </a:p>
          </p:txBody>
        </p:sp>
        <p:sp>
          <p:nvSpPr>
            <p:cNvPr id="50" name="Rectangle 19">
              <a:extLst>
                <a:ext uri="{FF2B5EF4-FFF2-40B4-BE49-F238E27FC236}">
                  <a16:creationId xmlns:a16="http://schemas.microsoft.com/office/drawing/2014/main" id="{135E68ED-DB3E-CF4A-9034-A28FCB9B77DE}"/>
                </a:ext>
              </a:extLst>
            </p:cNvPr>
            <p:cNvSpPr>
              <a:spLocks noChangeArrowheads="1"/>
            </p:cNvSpPr>
            <p:nvPr/>
          </p:nvSpPr>
          <p:spPr bwMode="auto">
            <a:xfrm>
              <a:off x="4355329" y="4960934"/>
              <a:ext cx="5860235" cy="606638"/>
            </a:xfrm>
            <a:prstGeom prst="snip1Rect">
              <a:avLst/>
            </a:prstGeom>
            <a:solidFill>
              <a:schemeClr val="tx1"/>
            </a:solidFill>
            <a:ln w="25400">
              <a:solidFill>
                <a:srgbClr val="00ABAB"/>
              </a:solidFill>
            </a:ln>
          </p:spPr>
          <p:txBody>
            <a:bodyPr vert="horz" wrap="square" lIns="40341" tIns="20171" rIns="40341" bIns="20171" numCol="1" anchor="t" anchorCtr="0" compatLnSpc="1">
              <a:prstTxWarp prst="textNoShape">
                <a:avLst/>
              </a:prstTxWarp>
            </a:bodyPr>
            <a:lstStyle/>
            <a:p>
              <a:endParaRPr lang="en-US" sz="1100" dirty="0"/>
            </a:p>
          </p:txBody>
        </p:sp>
        <p:sp>
          <p:nvSpPr>
            <p:cNvPr id="51" name="Freeform 20">
              <a:extLst>
                <a:ext uri="{FF2B5EF4-FFF2-40B4-BE49-F238E27FC236}">
                  <a16:creationId xmlns:a16="http://schemas.microsoft.com/office/drawing/2014/main" id="{C76E71F2-F318-0D4D-8A57-0118AE9DB142}"/>
                </a:ext>
              </a:extLst>
            </p:cNvPr>
            <p:cNvSpPr>
              <a:spLocks/>
            </p:cNvSpPr>
            <p:nvPr/>
          </p:nvSpPr>
          <p:spPr bwMode="auto">
            <a:xfrm>
              <a:off x="1876426" y="3665624"/>
              <a:ext cx="1348868" cy="496324"/>
            </a:xfrm>
            <a:custGeom>
              <a:avLst/>
              <a:gdLst>
                <a:gd name="T0" fmla="*/ 704 w 704"/>
                <a:gd name="T1" fmla="*/ 231 h 259"/>
                <a:gd name="T2" fmla="*/ 676 w 704"/>
                <a:gd name="T3" fmla="*/ 259 h 259"/>
                <a:gd name="T4" fmla="*/ 28 w 704"/>
                <a:gd name="T5" fmla="*/ 259 h 259"/>
                <a:gd name="T6" fmla="*/ 0 w 704"/>
                <a:gd name="T7" fmla="*/ 231 h 259"/>
                <a:gd name="T8" fmla="*/ 0 w 704"/>
                <a:gd name="T9" fmla="*/ 29 h 259"/>
                <a:gd name="T10" fmla="*/ 28 w 704"/>
                <a:gd name="T11" fmla="*/ 0 h 259"/>
                <a:gd name="T12" fmla="*/ 676 w 704"/>
                <a:gd name="T13" fmla="*/ 0 h 259"/>
                <a:gd name="T14" fmla="*/ 704 w 704"/>
                <a:gd name="T15" fmla="*/ 29 h 259"/>
                <a:gd name="T16" fmla="*/ 704 w 704"/>
                <a:gd name="T17" fmla="*/ 23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4" h="259">
                  <a:moveTo>
                    <a:pt x="704" y="231"/>
                  </a:moveTo>
                  <a:cubicBezTo>
                    <a:pt x="704" y="247"/>
                    <a:pt x="691" y="259"/>
                    <a:pt x="676" y="259"/>
                  </a:cubicBezTo>
                  <a:cubicBezTo>
                    <a:pt x="28" y="259"/>
                    <a:pt x="28" y="259"/>
                    <a:pt x="28" y="259"/>
                  </a:cubicBezTo>
                  <a:cubicBezTo>
                    <a:pt x="13" y="259"/>
                    <a:pt x="0" y="247"/>
                    <a:pt x="0" y="231"/>
                  </a:cubicBezTo>
                  <a:cubicBezTo>
                    <a:pt x="0" y="29"/>
                    <a:pt x="0" y="29"/>
                    <a:pt x="0" y="29"/>
                  </a:cubicBezTo>
                  <a:cubicBezTo>
                    <a:pt x="0" y="13"/>
                    <a:pt x="13" y="0"/>
                    <a:pt x="28" y="0"/>
                  </a:cubicBezTo>
                  <a:cubicBezTo>
                    <a:pt x="676" y="0"/>
                    <a:pt x="676" y="0"/>
                    <a:pt x="676" y="0"/>
                  </a:cubicBezTo>
                  <a:cubicBezTo>
                    <a:pt x="691" y="0"/>
                    <a:pt x="704" y="13"/>
                    <a:pt x="704" y="29"/>
                  </a:cubicBezTo>
                  <a:lnTo>
                    <a:pt x="704" y="2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52" name="Freeform 21">
              <a:extLst>
                <a:ext uri="{FF2B5EF4-FFF2-40B4-BE49-F238E27FC236}">
                  <a16:creationId xmlns:a16="http://schemas.microsoft.com/office/drawing/2014/main" id="{70161764-555B-3448-AE80-66FE128FE552}"/>
                </a:ext>
              </a:extLst>
            </p:cNvPr>
            <p:cNvSpPr>
              <a:spLocks/>
            </p:cNvSpPr>
            <p:nvPr/>
          </p:nvSpPr>
          <p:spPr bwMode="auto">
            <a:xfrm>
              <a:off x="2550860" y="3665624"/>
              <a:ext cx="674435" cy="496324"/>
            </a:xfrm>
            <a:custGeom>
              <a:avLst/>
              <a:gdLst>
                <a:gd name="T0" fmla="*/ 352 w 352"/>
                <a:gd name="T1" fmla="*/ 231 h 259"/>
                <a:gd name="T2" fmla="*/ 324 w 352"/>
                <a:gd name="T3" fmla="*/ 259 h 259"/>
                <a:gd name="T4" fmla="*/ 28 w 352"/>
                <a:gd name="T5" fmla="*/ 259 h 259"/>
                <a:gd name="T6" fmla="*/ 0 w 352"/>
                <a:gd name="T7" fmla="*/ 231 h 259"/>
                <a:gd name="T8" fmla="*/ 0 w 352"/>
                <a:gd name="T9" fmla="*/ 29 h 259"/>
                <a:gd name="T10" fmla="*/ 28 w 352"/>
                <a:gd name="T11" fmla="*/ 0 h 259"/>
                <a:gd name="T12" fmla="*/ 324 w 352"/>
                <a:gd name="T13" fmla="*/ 0 h 259"/>
                <a:gd name="T14" fmla="*/ 352 w 352"/>
                <a:gd name="T15" fmla="*/ 29 h 259"/>
                <a:gd name="T16" fmla="*/ 352 w 352"/>
                <a:gd name="T17" fmla="*/ 23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259">
                  <a:moveTo>
                    <a:pt x="352" y="231"/>
                  </a:moveTo>
                  <a:cubicBezTo>
                    <a:pt x="352" y="247"/>
                    <a:pt x="339" y="259"/>
                    <a:pt x="324" y="259"/>
                  </a:cubicBezTo>
                  <a:cubicBezTo>
                    <a:pt x="28" y="259"/>
                    <a:pt x="28" y="259"/>
                    <a:pt x="28" y="259"/>
                  </a:cubicBezTo>
                  <a:cubicBezTo>
                    <a:pt x="13" y="259"/>
                    <a:pt x="0" y="247"/>
                    <a:pt x="0" y="231"/>
                  </a:cubicBezTo>
                  <a:cubicBezTo>
                    <a:pt x="0" y="29"/>
                    <a:pt x="0" y="29"/>
                    <a:pt x="0" y="29"/>
                  </a:cubicBezTo>
                  <a:cubicBezTo>
                    <a:pt x="0" y="13"/>
                    <a:pt x="13" y="0"/>
                    <a:pt x="28" y="0"/>
                  </a:cubicBezTo>
                  <a:cubicBezTo>
                    <a:pt x="324" y="0"/>
                    <a:pt x="324" y="0"/>
                    <a:pt x="324" y="0"/>
                  </a:cubicBezTo>
                  <a:cubicBezTo>
                    <a:pt x="339" y="0"/>
                    <a:pt x="352" y="13"/>
                    <a:pt x="352" y="29"/>
                  </a:cubicBezTo>
                  <a:lnTo>
                    <a:pt x="352" y="231"/>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53" name="Oval 22">
              <a:extLst>
                <a:ext uri="{FF2B5EF4-FFF2-40B4-BE49-F238E27FC236}">
                  <a16:creationId xmlns:a16="http://schemas.microsoft.com/office/drawing/2014/main" id="{FFC40C16-5161-F443-81A0-3096D7E028F3}"/>
                </a:ext>
              </a:extLst>
            </p:cNvPr>
            <p:cNvSpPr>
              <a:spLocks noChangeArrowheads="1"/>
            </p:cNvSpPr>
            <p:nvPr/>
          </p:nvSpPr>
          <p:spPr bwMode="auto">
            <a:xfrm>
              <a:off x="2951611" y="3740563"/>
              <a:ext cx="233500" cy="348621"/>
            </a:xfrm>
            <a:prstGeom prst="ellipse">
              <a:avLst/>
            </a:prstGeom>
            <a:solidFill>
              <a:schemeClr val="accent2"/>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4" name="Oval 23">
              <a:extLst>
                <a:ext uri="{FF2B5EF4-FFF2-40B4-BE49-F238E27FC236}">
                  <a16:creationId xmlns:a16="http://schemas.microsoft.com/office/drawing/2014/main" id="{BC10755C-E184-A544-9A23-1AEBF5453D79}"/>
                </a:ext>
              </a:extLst>
            </p:cNvPr>
            <p:cNvSpPr>
              <a:spLocks noChangeArrowheads="1"/>
            </p:cNvSpPr>
            <p:nvPr/>
          </p:nvSpPr>
          <p:spPr bwMode="auto">
            <a:xfrm>
              <a:off x="2977675" y="3803554"/>
              <a:ext cx="147702" cy="220467"/>
            </a:xfrm>
            <a:prstGeom prst="ellipse">
              <a:avLst/>
            </a:prstGeom>
            <a:solidFill>
              <a:srgbClr val="E3E48D"/>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5" name="Oval 24">
              <a:extLst>
                <a:ext uri="{FF2B5EF4-FFF2-40B4-BE49-F238E27FC236}">
                  <a16:creationId xmlns:a16="http://schemas.microsoft.com/office/drawing/2014/main" id="{567C8880-5770-204F-841B-E79E260C32F2}"/>
                </a:ext>
              </a:extLst>
            </p:cNvPr>
            <p:cNvSpPr>
              <a:spLocks noChangeArrowheads="1"/>
            </p:cNvSpPr>
            <p:nvPr/>
          </p:nvSpPr>
          <p:spPr bwMode="auto">
            <a:xfrm>
              <a:off x="2618196" y="3873060"/>
              <a:ext cx="57561" cy="83627"/>
            </a:xfrm>
            <a:prstGeom prst="ellipse">
              <a:avLst/>
            </a:prstGeom>
            <a:solidFill>
              <a:schemeClr val="accent2"/>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6" name="Oval 25">
              <a:extLst>
                <a:ext uri="{FF2B5EF4-FFF2-40B4-BE49-F238E27FC236}">
                  <a16:creationId xmlns:a16="http://schemas.microsoft.com/office/drawing/2014/main" id="{F4C007F1-16CC-1743-A596-C0E462E0E3FB}"/>
                </a:ext>
              </a:extLst>
            </p:cNvPr>
            <p:cNvSpPr>
              <a:spLocks noChangeArrowheads="1"/>
            </p:cNvSpPr>
            <p:nvPr/>
          </p:nvSpPr>
          <p:spPr bwMode="auto">
            <a:xfrm>
              <a:off x="2726800" y="3873060"/>
              <a:ext cx="55388" cy="83627"/>
            </a:xfrm>
            <a:prstGeom prst="ellipse">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7" name="Oval 26">
              <a:extLst>
                <a:ext uri="{FF2B5EF4-FFF2-40B4-BE49-F238E27FC236}">
                  <a16:creationId xmlns:a16="http://schemas.microsoft.com/office/drawing/2014/main" id="{6B6CB449-060F-FF4A-9F6B-2D7C5FA1754B}"/>
                </a:ext>
              </a:extLst>
            </p:cNvPr>
            <p:cNvSpPr>
              <a:spLocks noChangeArrowheads="1"/>
            </p:cNvSpPr>
            <p:nvPr/>
          </p:nvSpPr>
          <p:spPr bwMode="auto">
            <a:xfrm>
              <a:off x="2834318" y="3873060"/>
              <a:ext cx="55388" cy="83627"/>
            </a:xfrm>
            <a:prstGeom prst="ellipse">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8" name="Rectangle 27">
              <a:extLst>
                <a:ext uri="{FF2B5EF4-FFF2-40B4-BE49-F238E27FC236}">
                  <a16:creationId xmlns:a16="http://schemas.microsoft.com/office/drawing/2014/main" id="{921CB8B5-A12A-EE4D-B8EB-C65058EED1BA}"/>
                </a:ext>
              </a:extLst>
            </p:cNvPr>
            <p:cNvSpPr>
              <a:spLocks noChangeArrowheads="1"/>
            </p:cNvSpPr>
            <p:nvPr/>
          </p:nvSpPr>
          <p:spPr bwMode="auto">
            <a:xfrm>
              <a:off x="1876426" y="3901297"/>
              <a:ext cx="247619" cy="27152"/>
            </a:xfrm>
            <a:prstGeom prst="rect">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9" name="Rectangle 28">
              <a:extLst>
                <a:ext uri="{FF2B5EF4-FFF2-40B4-BE49-F238E27FC236}">
                  <a16:creationId xmlns:a16="http://schemas.microsoft.com/office/drawing/2014/main" id="{5BD2D04E-D977-5547-84E8-D495F48F83E3}"/>
                </a:ext>
              </a:extLst>
            </p:cNvPr>
            <p:cNvSpPr>
              <a:spLocks noChangeArrowheads="1"/>
            </p:cNvSpPr>
            <p:nvPr/>
          </p:nvSpPr>
          <p:spPr bwMode="auto">
            <a:xfrm>
              <a:off x="1876426" y="3820930"/>
              <a:ext cx="247619" cy="27152"/>
            </a:xfrm>
            <a:prstGeom prst="rect">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60" name="Rectangle 29">
              <a:extLst>
                <a:ext uri="{FF2B5EF4-FFF2-40B4-BE49-F238E27FC236}">
                  <a16:creationId xmlns:a16="http://schemas.microsoft.com/office/drawing/2014/main" id="{F0AE9045-3CBC-DC45-B08E-E6D25B7DD4BF}"/>
                </a:ext>
              </a:extLst>
            </p:cNvPr>
            <p:cNvSpPr>
              <a:spLocks noChangeArrowheads="1"/>
            </p:cNvSpPr>
            <p:nvPr/>
          </p:nvSpPr>
          <p:spPr bwMode="auto">
            <a:xfrm>
              <a:off x="1876426" y="3981664"/>
              <a:ext cx="247619" cy="27152"/>
            </a:xfrm>
            <a:prstGeom prst="rect">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61" name="Freeform 30">
              <a:extLst>
                <a:ext uri="{FF2B5EF4-FFF2-40B4-BE49-F238E27FC236}">
                  <a16:creationId xmlns:a16="http://schemas.microsoft.com/office/drawing/2014/main" id="{DDDFDAC0-0910-7A4A-A970-31B603F378D5}"/>
                </a:ext>
              </a:extLst>
            </p:cNvPr>
            <p:cNvSpPr>
              <a:spLocks/>
            </p:cNvSpPr>
            <p:nvPr/>
          </p:nvSpPr>
          <p:spPr bwMode="auto">
            <a:xfrm>
              <a:off x="2407503" y="4161948"/>
              <a:ext cx="286715" cy="69507"/>
            </a:xfrm>
            <a:custGeom>
              <a:avLst/>
              <a:gdLst>
                <a:gd name="T0" fmla="*/ 136 w 150"/>
                <a:gd name="T1" fmla="*/ 0 h 36"/>
                <a:gd name="T2" fmla="*/ 14 w 150"/>
                <a:gd name="T3" fmla="*/ 0 h 36"/>
                <a:gd name="T4" fmla="*/ 0 w 150"/>
                <a:gd name="T5" fmla="*/ 0 h 36"/>
                <a:gd name="T6" fmla="*/ 0 w 150"/>
                <a:gd name="T7" fmla="*/ 15 h 36"/>
                <a:gd name="T8" fmla="*/ 0 w 150"/>
                <a:gd name="T9" fmla="*/ 22 h 36"/>
                <a:gd name="T10" fmla="*/ 14 w 150"/>
                <a:gd name="T11" fmla="*/ 36 h 36"/>
                <a:gd name="T12" fmla="*/ 136 w 150"/>
                <a:gd name="T13" fmla="*/ 36 h 36"/>
                <a:gd name="T14" fmla="*/ 150 w 150"/>
                <a:gd name="T15" fmla="*/ 22 h 36"/>
                <a:gd name="T16" fmla="*/ 150 w 150"/>
                <a:gd name="T17" fmla="*/ 15 h 36"/>
                <a:gd name="T18" fmla="*/ 150 w 150"/>
                <a:gd name="T19" fmla="*/ 0 h 36"/>
                <a:gd name="T20" fmla="*/ 136 w 150"/>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36">
                  <a:moveTo>
                    <a:pt x="136" y="0"/>
                  </a:moveTo>
                  <a:cubicBezTo>
                    <a:pt x="14" y="0"/>
                    <a:pt x="14" y="0"/>
                    <a:pt x="14" y="0"/>
                  </a:cubicBezTo>
                  <a:cubicBezTo>
                    <a:pt x="0" y="0"/>
                    <a:pt x="0" y="0"/>
                    <a:pt x="0" y="0"/>
                  </a:cubicBezTo>
                  <a:cubicBezTo>
                    <a:pt x="0" y="15"/>
                    <a:pt x="0" y="15"/>
                    <a:pt x="0" y="15"/>
                  </a:cubicBezTo>
                  <a:cubicBezTo>
                    <a:pt x="0" y="22"/>
                    <a:pt x="0" y="22"/>
                    <a:pt x="0" y="22"/>
                  </a:cubicBezTo>
                  <a:cubicBezTo>
                    <a:pt x="0" y="29"/>
                    <a:pt x="6" y="36"/>
                    <a:pt x="14" y="36"/>
                  </a:cubicBezTo>
                  <a:cubicBezTo>
                    <a:pt x="136" y="36"/>
                    <a:pt x="136" y="36"/>
                    <a:pt x="136" y="36"/>
                  </a:cubicBezTo>
                  <a:cubicBezTo>
                    <a:pt x="144" y="36"/>
                    <a:pt x="150" y="29"/>
                    <a:pt x="150" y="22"/>
                  </a:cubicBezTo>
                  <a:cubicBezTo>
                    <a:pt x="150" y="15"/>
                    <a:pt x="150" y="15"/>
                    <a:pt x="150" y="15"/>
                  </a:cubicBezTo>
                  <a:cubicBezTo>
                    <a:pt x="150" y="0"/>
                    <a:pt x="150" y="0"/>
                    <a:pt x="150" y="0"/>
                  </a:cubicBezTo>
                  <a:lnTo>
                    <a:pt x="136" y="0"/>
                  </a:lnTo>
                  <a:close/>
                </a:path>
              </a:pathLst>
            </a:cu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95" name="Freeform 31">
              <a:extLst>
                <a:ext uri="{FF2B5EF4-FFF2-40B4-BE49-F238E27FC236}">
                  <a16:creationId xmlns:a16="http://schemas.microsoft.com/office/drawing/2014/main" id="{CBDF9814-05BA-EE4B-BDD0-47793D8D8CB8}"/>
                </a:ext>
              </a:extLst>
            </p:cNvPr>
            <p:cNvSpPr>
              <a:spLocks/>
            </p:cNvSpPr>
            <p:nvPr/>
          </p:nvSpPr>
          <p:spPr bwMode="auto">
            <a:xfrm>
              <a:off x="2530225" y="4715831"/>
              <a:ext cx="41270" cy="791728"/>
            </a:xfrm>
            <a:custGeom>
              <a:avLst/>
              <a:gdLst>
                <a:gd name="T0" fmla="*/ 22 w 22"/>
                <a:gd name="T1" fmla="*/ 0 h 413"/>
                <a:gd name="T2" fmla="*/ 22 w 22"/>
                <a:gd name="T3" fmla="*/ 413 h 413"/>
                <a:gd name="T4" fmla="*/ 21 w 22"/>
                <a:gd name="T5" fmla="*/ 413 h 413"/>
                <a:gd name="T6" fmla="*/ 1 w 22"/>
                <a:gd name="T7" fmla="*/ 413 h 413"/>
                <a:gd name="T8" fmla="*/ 0 w 22"/>
                <a:gd name="T9" fmla="*/ 413 h 413"/>
                <a:gd name="T10" fmla="*/ 0 w 22"/>
                <a:gd name="T11" fmla="*/ 0 h 413"/>
                <a:gd name="T12" fmla="*/ 22 w 22"/>
                <a:gd name="T13" fmla="*/ 0 h 413"/>
              </a:gdLst>
              <a:ahLst/>
              <a:cxnLst>
                <a:cxn ang="0">
                  <a:pos x="T0" y="T1"/>
                </a:cxn>
                <a:cxn ang="0">
                  <a:pos x="T2" y="T3"/>
                </a:cxn>
                <a:cxn ang="0">
                  <a:pos x="T4" y="T5"/>
                </a:cxn>
                <a:cxn ang="0">
                  <a:pos x="T6" y="T7"/>
                </a:cxn>
                <a:cxn ang="0">
                  <a:pos x="T8" y="T9"/>
                </a:cxn>
                <a:cxn ang="0">
                  <a:pos x="T10" y="T11"/>
                </a:cxn>
                <a:cxn ang="0">
                  <a:pos x="T12" y="T13"/>
                </a:cxn>
              </a:cxnLst>
              <a:rect l="0" t="0" r="r" b="b"/>
              <a:pathLst>
                <a:path w="22" h="413">
                  <a:moveTo>
                    <a:pt x="22" y="0"/>
                  </a:moveTo>
                  <a:cubicBezTo>
                    <a:pt x="22" y="413"/>
                    <a:pt x="22" y="413"/>
                    <a:pt x="22" y="413"/>
                  </a:cubicBezTo>
                  <a:cubicBezTo>
                    <a:pt x="22" y="413"/>
                    <a:pt x="21" y="413"/>
                    <a:pt x="21" y="413"/>
                  </a:cubicBezTo>
                  <a:cubicBezTo>
                    <a:pt x="1" y="413"/>
                    <a:pt x="1" y="413"/>
                    <a:pt x="1" y="413"/>
                  </a:cubicBezTo>
                  <a:cubicBezTo>
                    <a:pt x="1" y="413"/>
                    <a:pt x="0" y="413"/>
                    <a:pt x="0" y="413"/>
                  </a:cubicBezTo>
                  <a:cubicBezTo>
                    <a:pt x="0" y="0"/>
                    <a:pt x="0" y="0"/>
                    <a:pt x="0" y="0"/>
                  </a:cubicBezTo>
                  <a:lnTo>
                    <a:pt x="22" y="0"/>
                  </a:lnTo>
                  <a:close/>
                </a:path>
              </a:pathLst>
            </a:custGeom>
            <a:solidFill>
              <a:srgbClr val="53565A"/>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96" name="Rectangle 32">
              <a:extLst>
                <a:ext uri="{FF2B5EF4-FFF2-40B4-BE49-F238E27FC236}">
                  <a16:creationId xmlns:a16="http://schemas.microsoft.com/office/drawing/2014/main" id="{62D60A46-5C48-E044-A00D-6F320C054576}"/>
                </a:ext>
              </a:extLst>
            </p:cNvPr>
            <p:cNvSpPr>
              <a:spLocks noChangeArrowheads="1"/>
            </p:cNvSpPr>
            <p:nvPr/>
          </p:nvSpPr>
          <p:spPr bwMode="auto">
            <a:xfrm>
              <a:off x="2500901" y="4231455"/>
              <a:ext cx="99917" cy="772179"/>
            </a:xfrm>
            <a:prstGeom prst="rect">
              <a:avLst/>
            </a:prstGeom>
            <a:solidFill>
              <a:srgbClr val="53565A"/>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97" name="Freeform 33">
              <a:extLst>
                <a:ext uri="{FF2B5EF4-FFF2-40B4-BE49-F238E27FC236}">
                  <a16:creationId xmlns:a16="http://schemas.microsoft.com/office/drawing/2014/main" id="{62F7C10D-6CBE-3E48-AC7E-6989E8A913C7}"/>
                </a:ext>
              </a:extLst>
            </p:cNvPr>
            <p:cNvSpPr>
              <a:spLocks/>
            </p:cNvSpPr>
            <p:nvPr/>
          </p:nvSpPr>
          <p:spPr bwMode="auto">
            <a:xfrm>
              <a:off x="2523709" y="5440224"/>
              <a:ext cx="54302" cy="67335"/>
            </a:xfrm>
            <a:custGeom>
              <a:avLst/>
              <a:gdLst>
                <a:gd name="T0" fmla="*/ 28 w 28"/>
                <a:gd name="T1" fmla="*/ 4 h 35"/>
                <a:gd name="T2" fmla="*/ 28 w 28"/>
                <a:gd name="T3" fmla="*/ 31 h 35"/>
                <a:gd name="T4" fmla="*/ 25 w 28"/>
                <a:gd name="T5" fmla="*/ 35 h 35"/>
                <a:gd name="T6" fmla="*/ 24 w 28"/>
                <a:gd name="T7" fmla="*/ 35 h 35"/>
                <a:gd name="T8" fmla="*/ 4 w 28"/>
                <a:gd name="T9" fmla="*/ 35 h 35"/>
                <a:gd name="T10" fmla="*/ 3 w 28"/>
                <a:gd name="T11" fmla="*/ 35 h 35"/>
                <a:gd name="T12" fmla="*/ 0 w 28"/>
                <a:gd name="T13" fmla="*/ 31 h 35"/>
                <a:gd name="T14" fmla="*/ 0 w 28"/>
                <a:gd name="T15" fmla="*/ 4 h 35"/>
                <a:gd name="T16" fmla="*/ 3 w 28"/>
                <a:gd name="T17" fmla="*/ 0 h 35"/>
                <a:gd name="T18" fmla="*/ 4 w 28"/>
                <a:gd name="T19" fmla="*/ 0 h 35"/>
                <a:gd name="T20" fmla="*/ 24 w 28"/>
                <a:gd name="T21" fmla="*/ 0 h 35"/>
                <a:gd name="T22" fmla="*/ 25 w 28"/>
                <a:gd name="T23" fmla="*/ 0 h 35"/>
                <a:gd name="T24" fmla="*/ 28 w 28"/>
                <a:gd name="T25"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5">
                  <a:moveTo>
                    <a:pt x="28" y="4"/>
                  </a:moveTo>
                  <a:cubicBezTo>
                    <a:pt x="28" y="31"/>
                    <a:pt x="28" y="31"/>
                    <a:pt x="28" y="31"/>
                  </a:cubicBezTo>
                  <a:cubicBezTo>
                    <a:pt x="28" y="32"/>
                    <a:pt x="27" y="34"/>
                    <a:pt x="25" y="35"/>
                  </a:cubicBezTo>
                  <a:cubicBezTo>
                    <a:pt x="25" y="35"/>
                    <a:pt x="24" y="35"/>
                    <a:pt x="24" y="35"/>
                  </a:cubicBezTo>
                  <a:cubicBezTo>
                    <a:pt x="4" y="35"/>
                    <a:pt x="4" y="35"/>
                    <a:pt x="4" y="35"/>
                  </a:cubicBezTo>
                  <a:cubicBezTo>
                    <a:pt x="4" y="35"/>
                    <a:pt x="3" y="35"/>
                    <a:pt x="3" y="35"/>
                  </a:cubicBezTo>
                  <a:cubicBezTo>
                    <a:pt x="1" y="34"/>
                    <a:pt x="0" y="32"/>
                    <a:pt x="0" y="31"/>
                  </a:cubicBezTo>
                  <a:cubicBezTo>
                    <a:pt x="0" y="4"/>
                    <a:pt x="0" y="4"/>
                    <a:pt x="0" y="4"/>
                  </a:cubicBezTo>
                  <a:cubicBezTo>
                    <a:pt x="0" y="2"/>
                    <a:pt x="1" y="0"/>
                    <a:pt x="3" y="0"/>
                  </a:cubicBezTo>
                  <a:cubicBezTo>
                    <a:pt x="3" y="0"/>
                    <a:pt x="4" y="0"/>
                    <a:pt x="4" y="0"/>
                  </a:cubicBezTo>
                  <a:cubicBezTo>
                    <a:pt x="24" y="0"/>
                    <a:pt x="24" y="0"/>
                    <a:pt x="24" y="0"/>
                  </a:cubicBezTo>
                  <a:cubicBezTo>
                    <a:pt x="24" y="0"/>
                    <a:pt x="25" y="0"/>
                    <a:pt x="25" y="0"/>
                  </a:cubicBezTo>
                  <a:cubicBezTo>
                    <a:pt x="27" y="0"/>
                    <a:pt x="28" y="2"/>
                    <a:pt x="28" y="4"/>
                  </a:cubicBezTo>
                  <a:close/>
                </a:path>
              </a:pathLst>
            </a:cu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98" name="Freeform 34">
              <a:extLst>
                <a:ext uri="{FF2B5EF4-FFF2-40B4-BE49-F238E27FC236}">
                  <a16:creationId xmlns:a16="http://schemas.microsoft.com/office/drawing/2014/main" id="{1B8F4606-7CE8-614D-A517-5BB194199CB0}"/>
                </a:ext>
              </a:extLst>
            </p:cNvPr>
            <p:cNvSpPr>
              <a:spLocks/>
            </p:cNvSpPr>
            <p:nvPr/>
          </p:nvSpPr>
          <p:spPr bwMode="auto">
            <a:xfrm>
              <a:off x="2146853" y="4706058"/>
              <a:ext cx="423557" cy="711361"/>
            </a:xfrm>
            <a:custGeom>
              <a:avLst/>
              <a:gdLst>
                <a:gd name="T0" fmla="*/ 221 w 221"/>
                <a:gd name="T1" fmla="*/ 11 h 371"/>
                <a:gd name="T2" fmla="*/ 37 w 221"/>
                <a:gd name="T3" fmla="*/ 340 h 371"/>
                <a:gd name="T4" fmla="*/ 20 w 221"/>
                <a:gd name="T5" fmla="*/ 371 h 371"/>
                <a:gd name="T6" fmla="*/ 19 w 221"/>
                <a:gd name="T7" fmla="*/ 370 h 371"/>
                <a:gd name="T8" fmla="*/ 10 w 221"/>
                <a:gd name="T9" fmla="*/ 365 h 371"/>
                <a:gd name="T10" fmla="*/ 2 w 221"/>
                <a:gd name="T11" fmla="*/ 360 h 371"/>
                <a:gd name="T12" fmla="*/ 0 w 221"/>
                <a:gd name="T13" fmla="*/ 360 h 371"/>
                <a:gd name="T14" fmla="*/ 17 w 221"/>
                <a:gd name="T15" fmla="*/ 329 h 371"/>
                <a:gd name="T16" fmla="*/ 201 w 221"/>
                <a:gd name="T17" fmla="*/ 0 h 371"/>
                <a:gd name="T18" fmla="*/ 221 w 221"/>
                <a:gd name="T19" fmla="*/ 11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371">
                  <a:moveTo>
                    <a:pt x="221" y="11"/>
                  </a:moveTo>
                  <a:cubicBezTo>
                    <a:pt x="37" y="340"/>
                    <a:pt x="37" y="340"/>
                    <a:pt x="37" y="340"/>
                  </a:cubicBezTo>
                  <a:cubicBezTo>
                    <a:pt x="20" y="371"/>
                    <a:pt x="20" y="371"/>
                    <a:pt x="20" y="371"/>
                  </a:cubicBezTo>
                  <a:cubicBezTo>
                    <a:pt x="20" y="370"/>
                    <a:pt x="19" y="370"/>
                    <a:pt x="19" y="370"/>
                  </a:cubicBezTo>
                  <a:cubicBezTo>
                    <a:pt x="10" y="365"/>
                    <a:pt x="10" y="365"/>
                    <a:pt x="10" y="365"/>
                  </a:cubicBezTo>
                  <a:cubicBezTo>
                    <a:pt x="2" y="360"/>
                    <a:pt x="2" y="360"/>
                    <a:pt x="2" y="360"/>
                  </a:cubicBezTo>
                  <a:cubicBezTo>
                    <a:pt x="1" y="360"/>
                    <a:pt x="1" y="360"/>
                    <a:pt x="0" y="360"/>
                  </a:cubicBezTo>
                  <a:cubicBezTo>
                    <a:pt x="17" y="329"/>
                    <a:pt x="17" y="329"/>
                    <a:pt x="17" y="329"/>
                  </a:cubicBezTo>
                  <a:cubicBezTo>
                    <a:pt x="201" y="0"/>
                    <a:pt x="201" y="0"/>
                    <a:pt x="201" y="0"/>
                  </a:cubicBezTo>
                  <a:lnTo>
                    <a:pt x="221" y="11"/>
                  </a:lnTo>
                  <a:close/>
                </a:path>
              </a:pathLst>
            </a:custGeom>
            <a:solidFill>
              <a:srgbClr val="53565A"/>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99" name="Freeform 35">
              <a:extLst>
                <a:ext uri="{FF2B5EF4-FFF2-40B4-BE49-F238E27FC236}">
                  <a16:creationId xmlns:a16="http://schemas.microsoft.com/office/drawing/2014/main" id="{6EB448E0-436A-6A45-A24A-A584D642D102}"/>
                </a:ext>
              </a:extLst>
            </p:cNvPr>
            <p:cNvSpPr>
              <a:spLocks/>
            </p:cNvSpPr>
            <p:nvPr/>
          </p:nvSpPr>
          <p:spPr bwMode="auto">
            <a:xfrm>
              <a:off x="2144680" y="5337050"/>
              <a:ext cx="74937" cy="80368"/>
            </a:xfrm>
            <a:custGeom>
              <a:avLst/>
              <a:gdLst>
                <a:gd name="T0" fmla="*/ 38 w 39"/>
                <a:gd name="T1" fmla="*/ 16 h 42"/>
                <a:gd name="T2" fmla="*/ 25 w 39"/>
                <a:gd name="T3" fmla="*/ 39 h 42"/>
                <a:gd name="T4" fmla="*/ 21 w 39"/>
                <a:gd name="T5" fmla="*/ 42 h 42"/>
                <a:gd name="T6" fmla="*/ 20 w 39"/>
                <a:gd name="T7" fmla="*/ 41 h 42"/>
                <a:gd name="T8" fmla="*/ 20 w 39"/>
                <a:gd name="T9" fmla="*/ 41 h 42"/>
                <a:gd name="T10" fmla="*/ 3 w 39"/>
                <a:gd name="T11" fmla="*/ 31 h 42"/>
                <a:gd name="T12" fmla="*/ 1 w 39"/>
                <a:gd name="T13" fmla="*/ 31 h 42"/>
                <a:gd name="T14" fmla="*/ 1 w 39"/>
                <a:gd name="T15" fmla="*/ 26 h 42"/>
                <a:gd name="T16" fmla="*/ 14 w 39"/>
                <a:gd name="T17" fmla="*/ 3 h 42"/>
                <a:gd name="T18" fmla="*/ 18 w 39"/>
                <a:gd name="T19" fmla="*/ 0 h 42"/>
                <a:gd name="T20" fmla="*/ 20 w 39"/>
                <a:gd name="T21" fmla="*/ 1 h 42"/>
                <a:gd name="T22" fmla="*/ 37 w 39"/>
                <a:gd name="T23" fmla="*/ 11 h 42"/>
                <a:gd name="T24" fmla="*/ 38 w 39"/>
                <a:gd name="T25" fmla="*/ 11 h 42"/>
                <a:gd name="T26" fmla="*/ 38 w 39"/>
                <a:gd name="T27"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2">
                  <a:moveTo>
                    <a:pt x="38" y="16"/>
                  </a:moveTo>
                  <a:cubicBezTo>
                    <a:pt x="25" y="39"/>
                    <a:pt x="25" y="39"/>
                    <a:pt x="25" y="39"/>
                  </a:cubicBezTo>
                  <a:cubicBezTo>
                    <a:pt x="25" y="41"/>
                    <a:pt x="23" y="42"/>
                    <a:pt x="21" y="42"/>
                  </a:cubicBezTo>
                  <a:cubicBezTo>
                    <a:pt x="21" y="41"/>
                    <a:pt x="20" y="41"/>
                    <a:pt x="20" y="41"/>
                  </a:cubicBezTo>
                  <a:cubicBezTo>
                    <a:pt x="20" y="41"/>
                    <a:pt x="20" y="41"/>
                    <a:pt x="20" y="41"/>
                  </a:cubicBezTo>
                  <a:cubicBezTo>
                    <a:pt x="3" y="31"/>
                    <a:pt x="3" y="31"/>
                    <a:pt x="3" y="31"/>
                  </a:cubicBezTo>
                  <a:cubicBezTo>
                    <a:pt x="2" y="31"/>
                    <a:pt x="2" y="31"/>
                    <a:pt x="1" y="31"/>
                  </a:cubicBezTo>
                  <a:cubicBezTo>
                    <a:pt x="0" y="29"/>
                    <a:pt x="0" y="27"/>
                    <a:pt x="1" y="26"/>
                  </a:cubicBezTo>
                  <a:cubicBezTo>
                    <a:pt x="14" y="3"/>
                    <a:pt x="14" y="3"/>
                    <a:pt x="14" y="3"/>
                  </a:cubicBezTo>
                  <a:cubicBezTo>
                    <a:pt x="15" y="1"/>
                    <a:pt x="16" y="0"/>
                    <a:pt x="18" y="0"/>
                  </a:cubicBezTo>
                  <a:cubicBezTo>
                    <a:pt x="19" y="1"/>
                    <a:pt x="19" y="1"/>
                    <a:pt x="20" y="1"/>
                  </a:cubicBezTo>
                  <a:cubicBezTo>
                    <a:pt x="37" y="11"/>
                    <a:pt x="37" y="11"/>
                    <a:pt x="37" y="11"/>
                  </a:cubicBezTo>
                  <a:cubicBezTo>
                    <a:pt x="37" y="11"/>
                    <a:pt x="38" y="11"/>
                    <a:pt x="38" y="11"/>
                  </a:cubicBezTo>
                  <a:cubicBezTo>
                    <a:pt x="39" y="13"/>
                    <a:pt x="39" y="15"/>
                    <a:pt x="38" y="16"/>
                  </a:cubicBezTo>
                  <a:close/>
                </a:path>
              </a:pathLst>
            </a:cu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100" name="Freeform 36">
              <a:extLst>
                <a:ext uri="{FF2B5EF4-FFF2-40B4-BE49-F238E27FC236}">
                  <a16:creationId xmlns:a16="http://schemas.microsoft.com/office/drawing/2014/main" id="{58991A3C-2AB7-0E47-999E-49AF57E1F660}"/>
                </a:ext>
              </a:extLst>
            </p:cNvPr>
            <p:cNvSpPr>
              <a:spLocks/>
            </p:cNvSpPr>
            <p:nvPr/>
          </p:nvSpPr>
          <p:spPr bwMode="auto">
            <a:xfrm>
              <a:off x="2531309" y="4706058"/>
              <a:ext cx="421386" cy="711361"/>
            </a:xfrm>
            <a:custGeom>
              <a:avLst/>
              <a:gdLst>
                <a:gd name="T0" fmla="*/ 220 w 220"/>
                <a:gd name="T1" fmla="*/ 360 h 371"/>
                <a:gd name="T2" fmla="*/ 219 w 220"/>
                <a:gd name="T3" fmla="*/ 360 h 371"/>
                <a:gd name="T4" fmla="*/ 214 w 220"/>
                <a:gd name="T5" fmla="*/ 363 h 371"/>
                <a:gd name="T6" fmla="*/ 202 w 220"/>
                <a:gd name="T7" fmla="*/ 370 h 371"/>
                <a:gd name="T8" fmla="*/ 201 w 220"/>
                <a:gd name="T9" fmla="*/ 371 h 371"/>
                <a:gd name="T10" fmla="*/ 184 w 220"/>
                <a:gd name="T11" fmla="*/ 340 h 371"/>
                <a:gd name="T12" fmla="*/ 0 w 220"/>
                <a:gd name="T13" fmla="*/ 11 h 371"/>
                <a:gd name="T14" fmla="*/ 20 w 220"/>
                <a:gd name="T15" fmla="*/ 0 h 371"/>
                <a:gd name="T16" fmla="*/ 204 w 220"/>
                <a:gd name="T17" fmla="*/ 329 h 371"/>
                <a:gd name="T18" fmla="*/ 220 w 220"/>
                <a:gd name="T19" fmla="*/ 36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371">
                  <a:moveTo>
                    <a:pt x="220" y="360"/>
                  </a:moveTo>
                  <a:cubicBezTo>
                    <a:pt x="220" y="360"/>
                    <a:pt x="220" y="360"/>
                    <a:pt x="219" y="360"/>
                  </a:cubicBezTo>
                  <a:cubicBezTo>
                    <a:pt x="214" y="363"/>
                    <a:pt x="214" y="363"/>
                    <a:pt x="214" y="363"/>
                  </a:cubicBezTo>
                  <a:cubicBezTo>
                    <a:pt x="202" y="370"/>
                    <a:pt x="202" y="370"/>
                    <a:pt x="202" y="370"/>
                  </a:cubicBezTo>
                  <a:cubicBezTo>
                    <a:pt x="202" y="370"/>
                    <a:pt x="201" y="370"/>
                    <a:pt x="201" y="371"/>
                  </a:cubicBezTo>
                  <a:cubicBezTo>
                    <a:pt x="184" y="340"/>
                    <a:pt x="184" y="340"/>
                    <a:pt x="184" y="340"/>
                  </a:cubicBezTo>
                  <a:cubicBezTo>
                    <a:pt x="0" y="11"/>
                    <a:pt x="0" y="11"/>
                    <a:pt x="0" y="11"/>
                  </a:cubicBezTo>
                  <a:cubicBezTo>
                    <a:pt x="20" y="0"/>
                    <a:pt x="20" y="0"/>
                    <a:pt x="20" y="0"/>
                  </a:cubicBezTo>
                  <a:cubicBezTo>
                    <a:pt x="204" y="329"/>
                    <a:pt x="204" y="329"/>
                    <a:pt x="204" y="329"/>
                  </a:cubicBezTo>
                  <a:lnTo>
                    <a:pt x="220" y="360"/>
                  </a:lnTo>
                  <a:close/>
                </a:path>
              </a:pathLst>
            </a:custGeom>
            <a:solidFill>
              <a:srgbClr val="53565A"/>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101" name="Freeform 37">
              <a:extLst>
                <a:ext uri="{FF2B5EF4-FFF2-40B4-BE49-F238E27FC236}">
                  <a16:creationId xmlns:a16="http://schemas.microsoft.com/office/drawing/2014/main" id="{E2848902-706F-CB4D-8527-81C78B276B29}"/>
                </a:ext>
              </a:extLst>
            </p:cNvPr>
            <p:cNvSpPr>
              <a:spLocks/>
            </p:cNvSpPr>
            <p:nvPr/>
          </p:nvSpPr>
          <p:spPr bwMode="auto">
            <a:xfrm>
              <a:off x="2882103" y="5337050"/>
              <a:ext cx="74937" cy="80368"/>
            </a:xfrm>
            <a:custGeom>
              <a:avLst/>
              <a:gdLst>
                <a:gd name="T0" fmla="*/ 37 w 39"/>
                <a:gd name="T1" fmla="*/ 31 h 42"/>
                <a:gd name="T2" fmla="*/ 36 w 39"/>
                <a:gd name="T3" fmla="*/ 31 h 42"/>
                <a:gd name="T4" fmla="*/ 31 w 39"/>
                <a:gd name="T5" fmla="*/ 34 h 42"/>
                <a:gd name="T6" fmla="*/ 19 w 39"/>
                <a:gd name="T7" fmla="*/ 41 h 42"/>
                <a:gd name="T8" fmla="*/ 19 w 39"/>
                <a:gd name="T9" fmla="*/ 41 h 42"/>
                <a:gd name="T10" fmla="*/ 18 w 39"/>
                <a:gd name="T11" fmla="*/ 42 h 42"/>
                <a:gd name="T12" fmla="*/ 13 w 39"/>
                <a:gd name="T13" fmla="*/ 39 h 42"/>
                <a:gd name="T14" fmla="*/ 0 w 39"/>
                <a:gd name="T15" fmla="*/ 16 h 42"/>
                <a:gd name="T16" fmla="*/ 1 w 39"/>
                <a:gd name="T17" fmla="*/ 11 h 42"/>
                <a:gd name="T18" fmla="*/ 2 w 39"/>
                <a:gd name="T19" fmla="*/ 11 h 42"/>
                <a:gd name="T20" fmla="*/ 19 w 39"/>
                <a:gd name="T21" fmla="*/ 1 h 42"/>
                <a:gd name="T22" fmla="*/ 21 w 39"/>
                <a:gd name="T23" fmla="*/ 0 h 42"/>
                <a:gd name="T24" fmla="*/ 25 w 39"/>
                <a:gd name="T25" fmla="*/ 3 h 42"/>
                <a:gd name="T26" fmla="*/ 38 w 39"/>
                <a:gd name="T27" fmla="*/ 26 h 42"/>
                <a:gd name="T28" fmla="*/ 37 w 39"/>
                <a:gd name="T29" fmla="*/ 3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42">
                  <a:moveTo>
                    <a:pt x="37" y="31"/>
                  </a:moveTo>
                  <a:cubicBezTo>
                    <a:pt x="37" y="31"/>
                    <a:pt x="37" y="31"/>
                    <a:pt x="36" y="31"/>
                  </a:cubicBezTo>
                  <a:cubicBezTo>
                    <a:pt x="31" y="34"/>
                    <a:pt x="31" y="34"/>
                    <a:pt x="31" y="34"/>
                  </a:cubicBezTo>
                  <a:cubicBezTo>
                    <a:pt x="19" y="41"/>
                    <a:pt x="19" y="41"/>
                    <a:pt x="19" y="41"/>
                  </a:cubicBezTo>
                  <a:cubicBezTo>
                    <a:pt x="19" y="41"/>
                    <a:pt x="19" y="41"/>
                    <a:pt x="19" y="41"/>
                  </a:cubicBezTo>
                  <a:cubicBezTo>
                    <a:pt x="19" y="41"/>
                    <a:pt x="18" y="41"/>
                    <a:pt x="18" y="42"/>
                  </a:cubicBezTo>
                  <a:cubicBezTo>
                    <a:pt x="16" y="42"/>
                    <a:pt x="14" y="41"/>
                    <a:pt x="13" y="39"/>
                  </a:cubicBezTo>
                  <a:cubicBezTo>
                    <a:pt x="0" y="16"/>
                    <a:pt x="0" y="16"/>
                    <a:pt x="0" y="16"/>
                  </a:cubicBezTo>
                  <a:cubicBezTo>
                    <a:pt x="0" y="15"/>
                    <a:pt x="0" y="13"/>
                    <a:pt x="1" y="11"/>
                  </a:cubicBezTo>
                  <a:cubicBezTo>
                    <a:pt x="1" y="11"/>
                    <a:pt x="2" y="11"/>
                    <a:pt x="2" y="11"/>
                  </a:cubicBezTo>
                  <a:cubicBezTo>
                    <a:pt x="19" y="1"/>
                    <a:pt x="19" y="1"/>
                    <a:pt x="19" y="1"/>
                  </a:cubicBezTo>
                  <a:cubicBezTo>
                    <a:pt x="20" y="1"/>
                    <a:pt x="20" y="1"/>
                    <a:pt x="21" y="0"/>
                  </a:cubicBezTo>
                  <a:cubicBezTo>
                    <a:pt x="22" y="0"/>
                    <a:pt x="24" y="1"/>
                    <a:pt x="25" y="3"/>
                  </a:cubicBezTo>
                  <a:cubicBezTo>
                    <a:pt x="38" y="26"/>
                    <a:pt x="38" y="26"/>
                    <a:pt x="38" y="26"/>
                  </a:cubicBezTo>
                  <a:cubicBezTo>
                    <a:pt x="39" y="27"/>
                    <a:pt x="39" y="29"/>
                    <a:pt x="37" y="31"/>
                  </a:cubicBezTo>
                  <a:close/>
                </a:path>
              </a:pathLst>
            </a:cu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102" name="Rectangle 38">
              <a:extLst>
                <a:ext uri="{FF2B5EF4-FFF2-40B4-BE49-F238E27FC236}">
                  <a16:creationId xmlns:a16="http://schemas.microsoft.com/office/drawing/2014/main" id="{E08E8C8C-981B-E14C-BA4B-FF522BF63AEF}"/>
                </a:ext>
              </a:extLst>
            </p:cNvPr>
            <p:cNvSpPr>
              <a:spLocks noChangeArrowheads="1"/>
            </p:cNvSpPr>
            <p:nvPr/>
          </p:nvSpPr>
          <p:spPr bwMode="auto">
            <a:xfrm>
              <a:off x="2488955" y="4635466"/>
              <a:ext cx="122723" cy="132497"/>
            </a:xfrm>
            <a:prstGeom prst="rect">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103" name="Rectangle 102">
              <a:extLst>
                <a:ext uri="{FF2B5EF4-FFF2-40B4-BE49-F238E27FC236}">
                  <a16:creationId xmlns:a16="http://schemas.microsoft.com/office/drawing/2014/main" id="{F0A17F5F-9A65-4D4A-924A-BDE00E63291B}"/>
                </a:ext>
              </a:extLst>
            </p:cNvPr>
            <p:cNvSpPr/>
            <p:nvPr/>
          </p:nvSpPr>
          <p:spPr>
            <a:xfrm>
              <a:off x="1881157" y="2799903"/>
              <a:ext cx="1534495" cy="646515"/>
            </a:xfrm>
            <a:prstGeom prst="rect">
              <a:avLst/>
            </a:prstGeom>
          </p:spPr>
          <p:txBody>
            <a:bodyPr wrap="square" lIns="0" tIns="0" rIns="0" bIns="0">
              <a:spAutoFit/>
            </a:bodyPr>
            <a:lstStyle/>
            <a:p>
              <a:r>
                <a:rPr lang="en-US" sz="1400" b="1" dirty="0">
                  <a:solidFill>
                    <a:schemeClr val="bg1"/>
                  </a:solidFill>
                </a:rPr>
                <a:t>Lorem ipsum dolor sit </a:t>
              </a:r>
              <a:r>
                <a:rPr lang="en-US" sz="1400" b="1" dirty="0" err="1">
                  <a:solidFill>
                    <a:schemeClr val="bg1"/>
                  </a:solidFill>
                </a:rPr>
                <a:t>amet</a:t>
              </a:r>
              <a:r>
                <a:rPr lang="en-US" sz="1400" b="1" dirty="0">
                  <a:solidFill>
                    <a:schemeClr val="bg1"/>
                  </a:solidFill>
                </a:rPr>
                <a:t>, </a:t>
              </a:r>
              <a:r>
                <a:rPr lang="en-US" sz="1400" b="1" dirty="0" err="1">
                  <a:solidFill>
                    <a:schemeClr val="bg1"/>
                  </a:solidFill>
                </a:rPr>
                <a:t>consectetur</a:t>
              </a:r>
              <a:r>
                <a:rPr lang="en-US" sz="1400" b="1" dirty="0">
                  <a:solidFill>
                    <a:schemeClr val="bg1"/>
                  </a:solidFill>
                </a:rPr>
                <a:t> </a:t>
              </a:r>
              <a:r>
                <a:rPr lang="en-US" sz="1400" b="1" dirty="0" err="1">
                  <a:solidFill>
                    <a:schemeClr val="bg1"/>
                  </a:solidFill>
                </a:rPr>
                <a:t>adipiscing</a:t>
              </a:r>
              <a:r>
                <a:rPr lang="en-US" sz="1400" b="1" dirty="0">
                  <a:solidFill>
                    <a:schemeClr val="bg1"/>
                  </a:solidFill>
                </a:rPr>
                <a:t> </a:t>
              </a:r>
              <a:r>
                <a:rPr lang="en-US" sz="1400" b="1" dirty="0" err="1">
                  <a:solidFill>
                    <a:schemeClr val="bg1"/>
                  </a:solidFill>
                </a:rPr>
                <a:t>elit</a:t>
              </a:r>
              <a:r>
                <a:rPr lang="en-US" sz="1400" b="1" dirty="0">
                  <a:solidFill>
                    <a:schemeClr val="bg1"/>
                  </a:solidFill>
                </a:rPr>
                <a:t>, </a:t>
              </a:r>
              <a:r>
                <a:rPr lang="en-US" sz="1400" b="1" dirty="0" err="1">
                  <a:solidFill>
                    <a:schemeClr val="bg1"/>
                  </a:solidFill>
                </a:rPr>
                <a:t>sed</a:t>
              </a:r>
              <a:r>
                <a:rPr lang="en-US" sz="1400" b="1" dirty="0">
                  <a:solidFill>
                    <a:schemeClr val="bg1"/>
                  </a:solidFill>
                </a:rPr>
                <a:t> </a:t>
              </a:r>
              <a:r>
                <a:rPr lang="en-US" sz="1400" b="1" dirty="0" err="1">
                  <a:solidFill>
                    <a:schemeClr val="bg1"/>
                  </a:solidFill>
                </a:rPr>
                <a:t>dLorem</a:t>
              </a:r>
              <a:r>
                <a:rPr lang="en-US" sz="1400" b="1" dirty="0">
                  <a:solidFill>
                    <a:schemeClr val="bg1"/>
                  </a:solidFill>
                </a:rPr>
                <a:t> ipsum dolor sit </a:t>
              </a:r>
              <a:r>
                <a:rPr lang="en-US" sz="1400" b="1" dirty="0" err="1">
                  <a:solidFill>
                    <a:schemeClr val="bg1"/>
                  </a:solidFill>
                </a:rPr>
                <a:t>amet</a:t>
              </a:r>
              <a:r>
                <a:rPr lang="en-US" sz="1400" b="1" dirty="0">
                  <a:solidFill>
                    <a:schemeClr val="bg1"/>
                  </a:solidFill>
                </a:rPr>
                <a:t>, </a:t>
              </a:r>
            </a:p>
          </p:txBody>
        </p:sp>
        <p:sp>
          <p:nvSpPr>
            <p:cNvPr id="104" name="Rectangle 103">
              <a:extLst>
                <a:ext uri="{FF2B5EF4-FFF2-40B4-BE49-F238E27FC236}">
                  <a16:creationId xmlns:a16="http://schemas.microsoft.com/office/drawing/2014/main" id="{EBEDEE27-0136-8A45-AA2D-FA1E11C9530B}"/>
                </a:ext>
              </a:extLst>
            </p:cNvPr>
            <p:cNvSpPr/>
            <p:nvPr/>
          </p:nvSpPr>
          <p:spPr>
            <a:xfrm>
              <a:off x="4419427" y="2298300"/>
              <a:ext cx="5796137" cy="323258"/>
            </a:xfrm>
            <a:prstGeom prst="rect">
              <a:avLst/>
            </a:prstGeom>
            <a:noFill/>
          </p:spPr>
          <p:txBody>
            <a:bodyPr wrap="square" lIns="0" tIns="0" rIns="0" bIns="0" anchor="ctr">
              <a:spAutoFit/>
            </a:bodyPr>
            <a:lstStyle/>
            <a:p>
              <a:r>
                <a:rPr lang="en-US" sz="1400" b="1" dirty="0">
                  <a:solidFill>
                    <a:schemeClr val="accent1"/>
                  </a:solidFill>
                </a:rPr>
                <a:t>Lorem ipsum </a:t>
              </a:r>
            </a:p>
            <a:p>
              <a:pPr marL="128588" indent="-128588">
                <a:buFont typeface="Arial" panose="020B0604020202020204" pitchFamily="34" charset="0"/>
                <a:buChar char="•"/>
              </a:pPr>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d</a:t>
              </a:r>
            </a:p>
          </p:txBody>
        </p:sp>
        <p:sp>
          <p:nvSpPr>
            <p:cNvPr id="105" name="Rectangle 104">
              <a:extLst>
                <a:ext uri="{FF2B5EF4-FFF2-40B4-BE49-F238E27FC236}">
                  <a16:creationId xmlns:a16="http://schemas.microsoft.com/office/drawing/2014/main" id="{C9C5628E-C0D0-1E4F-A948-F497DD011796}"/>
                </a:ext>
              </a:extLst>
            </p:cNvPr>
            <p:cNvSpPr/>
            <p:nvPr/>
          </p:nvSpPr>
          <p:spPr>
            <a:xfrm>
              <a:off x="4419427" y="2998313"/>
              <a:ext cx="5796137" cy="323258"/>
            </a:xfrm>
            <a:prstGeom prst="rect">
              <a:avLst/>
            </a:prstGeom>
            <a:noFill/>
          </p:spPr>
          <p:txBody>
            <a:bodyPr wrap="square" lIns="0" tIns="0" rIns="0" bIns="0" anchor="ctr">
              <a:spAutoFit/>
            </a:bodyPr>
            <a:lstStyle/>
            <a:p>
              <a:r>
                <a:rPr lang="en-US" sz="1400" b="1" dirty="0" err="1">
                  <a:solidFill>
                    <a:schemeClr val="accent3"/>
                  </a:solidFill>
                </a:rPr>
                <a:t>ALorem</a:t>
              </a:r>
              <a:r>
                <a:rPr lang="en-US" sz="1400" b="1" dirty="0">
                  <a:solidFill>
                    <a:schemeClr val="accent3"/>
                  </a:solidFill>
                </a:rPr>
                <a:t> ipsum </a:t>
              </a:r>
            </a:p>
            <a:p>
              <a:pPr marL="128588" indent="-128588">
                <a:buFont typeface="Arial" panose="020B0604020202020204" pitchFamily="34" charset="0"/>
                <a:buChar char="•"/>
              </a:pPr>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d</a:t>
              </a:r>
            </a:p>
          </p:txBody>
        </p:sp>
        <p:sp>
          <p:nvSpPr>
            <p:cNvPr id="106" name="Rectangle 105">
              <a:extLst>
                <a:ext uri="{FF2B5EF4-FFF2-40B4-BE49-F238E27FC236}">
                  <a16:creationId xmlns:a16="http://schemas.microsoft.com/office/drawing/2014/main" id="{0A730BC6-91D1-9D4C-94E9-F1DD22F3058D}"/>
                </a:ext>
              </a:extLst>
            </p:cNvPr>
            <p:cNvSpPr/>
            <p:nvPr/>
          </p:nvSpPr>
          <p:spPr>
            <a:xfrm>
              <a:off x="4419427" y="3619342"/>
              <a:ext cx="5796137" cy="484887"/>
            </a:xfrm>
            <a:prstGeom prst="rect">
              <a:avLst/>
            </a:prstGeom>
            <a:noFill/>
            <a:ln>
              <a:noFill/>
            </a:ln>
          </p:spPr>
          <p:txBody>
            <a:bodyPr wrap="square" lIns="0" tIns="0" rIns="0" bIns="0" anchor="ctr">
              <a:spAutoFit/>
            </a:bodyPr>
            <a:lstStyle/>
            <a:p>
              <a:r>
                <a:rPr lang="en-US" sz="1400" b="1" dirty="0">
                  <a:solidFill>
                    <a:srgbClr val="E3E48D"/>
                  </a:solidFill>
                </a:rPr>
                <a:t>Lorem ipsum </a:t>
              </a:r>
            </a:p>
            <a:p>
              <a:pPr marL="128588" indent="-128588">
                <a:buFont typeface="Arial" panose="020B0604020202020204" pitchFamily="34" charset="0"/>
                <a:buChar char="•"/>
              </a:pPr>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a:t>
              </a:r>
              <a:r>
                <a:rPr lang="en-US" sz="1400" dirty="0" err="1">
                  <a:solidFill>
                    <a:schemeClr val="bg1"/>
                  </a:solidFill>
                </a:rPr>
                <a:t>dLorem</a:t>
              </a:r>
              <a:r>
                <a:rPr lang="en-US" sz="1400" dirty="0">
                  <a:solidFill>
                    <a:schemeClr val="bg1"/>
                  </a:solidFill>
                </a:rPr>
                <a:t>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d</a:t>
              </a:r>
              <a:endParaRPr lang="en-US" sz="1400" b="1" dirty="0">
                <a:solidFill>
                  <a:schemeClr val="bg1"/>
                </a:solidFill>
              </a:endParaRPr>
            </a:p>
          </p:txBody>
        </p:sp>
        <p:sp>
          <p:nvSpPr>
            <p:cNvPr id="107" name="Rectangle 106">
              <a:extLst>
                <a:ext uri="{FF2B5EF4-FFF2-40B4-BE49-F238E27FC236}">
                  <a16:creationId xmlns:a16="http://schemas.microsoft.com/office/drawing/2014/main" id="{72B07E35-DFC7-2C42-90EE-B12A25D1F9DA}"/>
                </a:ext>
              </a:extLst>
            </p:cNvPr>
            <p:cNvSpPr/>
            <p:nvPr/>
          </p:nvSpPr>
          <p:spPr>
            <a:xfrm>
              <a:off x="4419427" y="4400172"/>
              <a:ext cx="5796137" cy="323258"/>
            </a:xfrm>
            <a:prstGeom prst="rect">
              <a:avLst/>
            </a:prstGeom>
            <a:noFill/>
          </p:spPr>
          <p:txBody>
            <a:bodyPr wrap="square" lIns="0" tIns="0" rIns="0" bIns="0" anchor="ctr">
              <a:spAutoFit/>
            </a:bodyPr>
            <a:lstStyle/>
            <a:p>
              <a:r>
                <a:rPr lang="en-US" sz="1400" b="1" dirty="0">
                  <a:solidFill>
                    <a:srgbClr val="00A3E0"/>
                  </a:solidFill>
                </a:rPr>
                <a:t>Lorem ipsum </a:t>
              </a:r>
            </a:p>
            <a:p>
              <a:pPr marL="128588" indent="-128588">
                <a:buFont typeface="Arial" panose="020B0604020202020204" pitchFamily="34" charset="0"/>
                <a:buChar char="•"/>
              </a:pPr>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d</a:t>
              </a:r>
            </a:p>
          </p:txBody>
        </p:sp>
        <p:sp>
          <p:nvSpPr>
            <p:cNvPr id="108" name="Rectangle 107">
              <a:extLst>
                <a:ext uri="{FF2B5EF4-FFF2-40B4-BE49-F238E27FC236}">
                  <a16:creationId xmlns:a16="http://schemas.microsoft.com/office/drawing/2014/main" id="{25B9427B-8740-8540-8FBC-106979029293}"/>
                </a:ext>
              </a:extLst>
            </p:cNvPr>
            <p:cNvSpPr/>
            <p:nvPr/>
          </p:nvSpPr>
          <p:spPr>
            <a:xfrm>
              <a:off x="4419427" y="5102626"/>
              <a:ext cx="5796137" cy="323258"/>
            </a:xfrm>
            <a:prstGeom prst="rect">
              <a:avLst/>
            </a:prstGeom>
            <a:noFill/>
          </p:spPr>
          <p:txBody>
            <a:bodyPr wrap="square" lIns="0" tIns="0" rIns="0" bIns="0" anchor="ctr">
              <a:spAutoFit/>
            </a:bodyPr>
            <a:lstStyle/>
            <a:p>
              <a:r>
                <a:rPr lang="en-US" sz="1400" b="1" dirty="0">
                  <a:solidFill>
                    <a:srgbClr val="00ABAB"/>
                  </a:solidFill>
                </a:rPr>
                <a:t>Lorem ipsum </a:t>
              </a:r>
            </a:p>
            <a:p>
              <a:pPr marL="128588" indent="-128588">
                <a:buFont typeface="Arial" panose="020B0604020202020204" pitchFamily="34" charset="0"/>
                <a:buChar char="•"/>
              </a:pPr>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d</a:t>
              </a:r>
            </a:p>
          </p:txBody>
        </p:sp>
        <p:grpSp>
          <p:nvGrpSpPr>
            <p:cNvPr id="109" name="Group 29">
              <a:extLst>
                <a:ext uri="{FF2B5EF4-FFF2-40B4-BE49-F238E27FC236}">
                  <a16:creationId xmlns:a16="http://schemas.microsoft.com/office/drawing/2014/main" id="{7B841F7C-05B0-2643-8D71-559C04787E04}"/>
                </a:ext>
              </a:extLst>
            </p:cNvPr>
            <p:cNvGrpSpPr>
              <a:grpSpLocks/>
            </p:cNvGrpSpPr>
            <p:nvPr/>
          </p:nvGrpSpPr>
          <p:grpSpPr bwMode="auto">
            <a:xfrm>
              <a:off x="4090136" y="2541377"/>
              <a:ext cx="205740" cy="205740"/>
              <a:chOff x="2899" y="653"/>
              <a:chExt cx="340" cy="340"/>
            </a:xfrm>
            <a:solidFill>
              <a:schemeClr val="tx1"/>
            </a:solidFill>
          </p:grpSpPr>
          <p:sp>
            <p:nvSpPr>
              <p:cNvPr id="110" name="Freeform 30">
                <a:extLst>
                  <a:ext uri="{FF2B5EF4-FFF2-40B4-BE49-F238E27FC236}">
                    <a16:creationId xmlns:a16="http://schemas.microsoft.com/office/drawing/2014/main" id="{0D4FADC9-5A6C-2746-AF22-835D9B80F932}"/>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11" name="Freeform 31">
                <a:extLst>
                  <a:ext uri="{FF2B5EF4-FFF2-40B4-BE49-F238E27FC236}">
                    <a16:creationId xmlns:a16="http://schemas.microsoft.com/office/drawing/2014/main" id="{ADD0E966-21A2-3443-AD61-2748C5327FBC}"/>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12" name="Freeform 32">
                <a:extLst>
                  <a:ext uri="{FF2B5EF4-FFF2-40B4-BE49-F238E27FC236}">
                    <a16:creationId xmlns:a16="http://schemas.microsoft.com/office/drawing/2014/main" id="{55948162-AA37-1E49-AC5A-8CB98EDC3A46}"/>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grpSp>
        <p:grpSp>
          <p:nvGrpSpPr>
            <p:cNvPr id="113" name="Group 285">
              <a:extLst>
                <a:ext uri="{FF2B5EF4-FFF2-40B4-BE49-F238E27FC236}">
                  <a16:creationId xmlns:a16="http://schemas.microsoft.com/office/drawing/2014/main" id="{40DAD39F-2D16-9F47-8A25-4348866911EB}"/>
                </a:ext>
              </a:extLst>
            </p:cNvPr>
            <p:cNvGrpSpPr>
              <a:grpSpLocks/>
            </p:cNvGrpSpPr>
            <p:nvPr/>
          </p:nvGrpSpPr>
          <p:grpSpPr bwMode="auto">
            <a:xfrm>
              <a:off x="4090136" y="3154566"/>
              <a:ext cx="205740" cy="205740"/>
              <a:chOff x="388" y="758"/>
              <a:chExt cx="341" cy="340"/>
            </a:xfrm>
            <a:solidFill>
              <a:schemeClr val="tx1"/>
            </a:solidFill>
          </p:grpSpPr>
          <p:sp>
            <p:nvSpPr>
              <p:cNvPr id="114" name="Freeform 286">
                <a:extLst>
                  <a:ext uri="{FF2B5EF4-FFF2-40B4-BE49-F238E27FC236}">
                    <a16:creationId xmlns:a16="http://schemas.microsoft.com/office/drawing/2014/main" id="{5A83EA6D-2551-A244-9017-2F03C50F4439}"/>
                  </a:ext>
                </a:extLst>
              </p:cNvPr>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15" name="Freeform 287">
                <a:extLst>
                  <a:ext uri="{FF2B5EF4-FFF2-40B4-BE49-F238E27FC236}">
                    <a16:creationId xmlns:a16="http://schemas.microsoft.com/office/drawing/2014/main" id="{B454C932-820B-834D-A4BD-A7C037CE8302}"/>
                  </a:ext>
                </a:extLst>
              </p:cNvPr>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grpSp>
        <p:grpSp>
          <p:nvGrpSpPr>
            <p:cNvPr id="116" name="Group 749">
              <a:extLst>
                <a:ext uri="{FF2B5EF4-FFF2-40B4-BE49-F238E27FC236}">
                  <a16:creationId xmlns:a16="http://schemas.microsoft.com/office/drawing/2014/main" id="{6219E019-9B80-F948-AE90-F46D65361072}"/>
                </a:ext>
              </a:extLst>
            </p:cNvPr>
            <p:cNvGrpSpPr>
              <a:grpSpLocks/>
            </p:cNvGrpSpPr>
            <p:nvPr/>
          </p:nvGrpSpPr>
          <p:grpSpPr bwMode="auto">
            <a:xfrm>
              <a:off x="4090136" y="3728317"/>
              <a:ext cx="205740" cy="205740"/>
              <a:chOff x="3520" y="2686"/>
              <a:chExt cx="340" cy="340"/>
            </a:xfrm>
            <a:solidFill>
              <a:schemeClr val="tx1"/>
            </a:solidFill>
          </p:grpSpPr>
          <p:sp>
            <p:nvSpPr>
              <p:cNvPr id="117" name="Freeform 750">
                <a:extLst>
                  <a:ext uri="{FF2B5EF4-FFF2-40B4-BE49-F238E27FC236}">
                    <a16:creationId xmlns:a16="http://schemas.microsoft.com/office/drawing/2014/main" id="{912D3E13-C96C-C44E-A40A-12256403D223}"/>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18" name="Freeform 751">
                <a:extLst>
                  <a:ext uri="{FF2B5EF4-FFF2-40B4-BE49-F238E27FC236}">
                    <a16:creationId xmlns:a16="http://schemas.microsoft.com/office/drawing/2014/main" id="{C1230921-16F3-4849-B91B-AFA375F35D38}"/>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19" name="Freeform 752">
                <a:extLst>
                  <a:ext uri="{FF2B5EF4-FFF2-40B4-BE49-F238E27FC236}">
                    <a16:creationId xmlns:a16="http://schemas.microsoft.com/office/drawing/2014/main" id="{7E0CBADA-E75D-B840-81F5-67EC2C5D3F02}"/>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grpSp>
        <p:grpSp>
          <p:nvGrpSpPr>
            <p:cNvPr id="120" name="Group 526">
              <a:extLst>
                <a:ext uri="{FF2B5EF4-FFF2-40B4-BE49-F238E27FC236}">
                  <a16:creationId xmlns:a16="http://schemas.microsoft.com/office/drawing/2014/main" id="{1EC5057E-F762-7440-8EFD-E06A4F3F9D34}"/>
                </a:ext>
              </a:extLst>
            </p:cNvPr>
            <p:cNvGrpSpPr>
              <a:grpSpLocks/>
            </p:cNvGrpSpPr>
            <p:nvPr/>
          </p:nvGrpSpPr>
          <p:grpSpPr bwMode="auto">
            <a:xfrm>
              <a:off x="4090136" y="4342833"/>
              <a:ext cx="205740" cy="205740"/>
              <a:chOff x="3464" y="1974"/>
              <a:chExt cx="340" cy="340"/>
            </a:xfrm>
            <a:solidFill>
              <a:schemeClr val="tx1"/>
            </a:solidFill>
          </p:grpSpPr>
          <p:sp>
            <p:nvSpPr>
              <p:cNvPr id="121" name="Freeform 527">
                <a:extLst>
                  <a:ext uri="{FF2B5EF4-FFF2-40B4-BE49-F238E27FC236}">
                    <a16:creationId xmlns:a16="http://schemas.microsoft.com/office/drawing/2014/main" id="{4FE9214D-1A3A-B74B-BD09-4B3B1DC02647}"/>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22" name="Freeform 528">
                <a:extLst>
                  <a:ext uri="{FF2B5EF4-FFF2-40B4-BE49-F238E27FC236}">
                    <a16:creationId xmlns:a16="http://schemas.microsoft.com/office/drawing/2014/main" id="{18F6C586-3BCE-094F-AD9B-01E04C6F7AC7}"/>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grpSp>
        <p:grpSp>
          <p:nvGrpSpPr>
            <p:cNvPr id="123" name="Group 559">
              <a:extLst>
                <a:ext uri="{FF2B5EF4-FFF2-40B4-BE49-F238E27FC236}">
                  <a16:creationId xmlns:a16="http://schemas.microsoft.com/office/drawing/2014/main" id="{6F2544C0-CC73-794D-B65D-E71A2C769491}"/>
                </a:ext>
              </a:extLst>
            </p:cNvPr>
            <p:cNvGrpSpPr>
              <a:grpSpLocks/>
            </p:cNvGrpSpPr>
            <p:nvPr/>
          </p:nvGrpSpPr>
          <p:grpSpPr bwMode="auto">
            <a:xfrm>
              <a:off x="4090136" y="4940561"/>
              <a:ext cx="205740" cy="205740"/>
              <a:chOff x="6726" y="2883"/>
              <a:chExt cx="340" cy="340"/>
            </a:xfrm>
            <a:solidFill>
              <a:schemeClr val="tx1"/>
            </a:solidFill>
          </p:grpSpPr>
          <p:sp>
            <p:nvSpPr>
              <p:cNvPr id="124" name="Freeform 560">
                <a:extLst>
                  <a:ext uri="{FF2B5EF4-FFF2-40B4-BE49-F238E27FC236}">
                    <a16:creationId xmlns:a16="http://schemas.microsoft.com/office/drawing/2014/main" id="{9C8FADAF-CF8F-394D-9ACF-59F4BD2C3CB0}"/>
                  </a:ext>
                </a:extLst>
              </p:cNvPr>
              <p:cNvSpPr>
                <a:spLocks noEditPoints="1"/>
              </p:cNvSpPr>
              <p:nvPr/>
            </p:nvSpPr>
            <p:spPr bwMode="auto">
              <a:xfrm>
                <a:off x="6832" y="2947"/>
                <a:ext cx="149" cy="212"/>
              </a:xfrm>
              <a:custGeom>
                <a:avLst/>
                <a:gdLst>
                  <a:gd name="T0" fmla="*/ 33 w 225"/>
                  <a:gd name="T1" fmla="*/ 320 h 320"/>
                  <a:gd name="T2" fmla="*/ 28 w 225"/>
                  <a:gd name="T3" fmla="*/ 318 h 320"/>
                  <a:gd name="T4" fmla="*/ 22 w 225"/>
                  <a:gd name="T5" fmla="*/ 306 h 320"/>
                  <a:gd name="T6" fmla="*/ 61 w 225"/>
                  <a:gd name="T7" fmla="*/ 170 h 320"/>
                  <a:gd name="T8" fmla="*/ 11 w 225"/>
                  <a:gd name="T9" fmla="*/ 170 h 320"/>
                  <a:gd name="T10" fmla="*/ 2 w 225"/>
                  <a:gd name="T11" fmla="*/ 166 h 320"/>
                  <a:gd name="T12" fmla="*/ 2 w 225"/>
                  <a:gd name="T13" fmla="*/ 155 h 320"/>
                  <a:gd name="T14" fmla="*/ 66 w 225"/>
                  <a:gd name="T15" fmla="*/ 6 h 320"/>
                  <a:gd name="T16" fmla="*/ 75 w 225"/>
                  <a:gd name="T17" fmla="*/ 0 h 320"/>
                  <a:gd name="T18" fmla="*/ 182 w 225"/>
                  <a:gd name="T19" fmla="*/ 0 h 320"/>
                  <a:gd name="T20" fmla="*/ 191 w 225"/>
                  <a:gd name="T21" fmla="*/ 5 h 320"/>
                  <a:gd name="T22" fmla="*/ 192 w 225"/>
                  <a:gd name="T23" fmla="*/ 15 h 320"/>
                  <a:gd name="T24" fmla="*/ 156 w 225"/>
                  <a:gd name="T25" fmla="*/ 96 h 320"/>
                  <a:gd name="T26" fmla="*/ 214 w 225"/>
                  <a:gd name="T27" fmla="*/ 96 h 320"/>
                  <a:gd name="T28" fmla="*/ 224 w 225"/>
                  <a:gd name="T29" fmla="*/ 102 h 320"/>
                  <a:gd name="T30" fmla="*/ 222 w 225"/>
                  <a:gd name="T31" fmla="*/ 113 h 320"/>
                  <a:gd name="T32" fmla="*/ 41 w 225"/>
                  <a:gd name="T33" fmla="*/ 316 h 320"/>
                  <a:gd name="T34" fmla="*/ 33 w 225"/>
                  <a:gd name="T35" fmla="*/ 320 h 320"/>
                  <a:gd name="T36" fmla="*/ 28 w 225"/>
                  <a:gd name="T37" fmla="*/ 149 h 320"/>
                  <a:gd name="T38" fmla="*/ 75 w 225"/>
                  <a:gd name="T39" fmla="*/ 149 h 320"/>
                  <a:gd name="T40" fmla="*/ 84 w 225"/>
                  <a:gd name="T41" fmla="*/ 153 h 320"/>
                  <a:gd name="T42" fmla="*/ 86 w 225"/>
                  <a:gd name="T43" fmla="*/ 163 h 320"/>
                  <a:gd name="T44" fmla="*/ 56 w 225"/>
                  <a:gd name="T45" fmla="*/ 267 h 320"/>
                  <a:gd name="T46" fmla="*/ 190 w 225"/>
                  <a:gd name="T47" fmla="*/ 117 h 320"/>
                  <a:gd name="T48" fmla="*/ 139 w 225"/>
                  <a:gd name="T49" fmla="*/ 117 h 320"/>
                  <a:gd name="T50" fmla="*/ 130 w 225"/>
                  <a:gd name="T51" fmla="*/ 112 h 320"/>
                  <a:gd name="T52" fmla="*/ 130 w 225"/>
                  <a:gd name="T53" fmla="*/ 102 h 320"/>
                  <a:gd name="T54" fmla="*/ 166 w 225"/>
                  <a:gd name="T55" fmla="*/ 21 h 320"/>
                  <a:gd name="T56" fmla="*/ 82 w 225"/>
                  <a:gd name="T57" fmla="*/ 21 h 320"/>
                  <a:gd name="T58" fmla="*/ 28 w 225"/>
                  <a:gd name="T5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 h="320">
                    <a:moveTo>
                      <a:pt x="33" y="320"/>
                    </a:moveTo>
                    <a:cubicBezTo>
                      <a:pt x="31" y="320"/>
                      <a:pt x="29" y="319"/>
                      <a:pt x="28" y="318"/>
                    </a:cubicBezTo>
                    <a:cubicBezTo>
                      <a:pt x="23" y="316"/>
                      <a:pt x="21" y="311"/>
                      <a:pt x="22" y="306"/>
                    </a:cubicBezTo>
                    <a:cubicBezTo>
                      <a:pt x="61" y="170"/>
                      <a:pt x="61" y="170"/>
                      <a:pt x="61" y="170"/>
                    </a:cubicBezTo>
                    <a:cubicBezTo>
                      <a:pt x="11" y="170"/>
                      <a:pt x="11" y="170"/>
                      <a:pt x="11" y="170"/>
                    </a:cubicBezTo>
                    <a:cubicBezTo>
                      <a:pt x="8" y="170"/>
                      <a:pt x="4" y="169"/>
                      <a:pt x="2" y="166"/>
                    </a:cubicBezTo>
                    <a:cubicBezTo>
                      <a:pt x="0" y="163"/>
                      <a:pt x="0" y="159"/>
                      <a:pt x="2" y="155"/>
                    </a:cubicBezTo>
                    <a:cubicBezTo>
                      <a:pt x="66" y="6"/>
                      <a:pt x="66" y="6"/>
                      <a:pt x="66" y="6"/>
                    </a:cubicBezTo>
                    <a:cubicBezTo>
                      <a:pt x="67" y="2"/>
                      <a:pt x="71" y="0"/>
                      <a:pt x="75" y="0"/>
                    </a:cubicBezTo>
                    <a:cubicBezTo>
                      <a:pt x="182" y="0"/>
                      <a:pt x="182" y="0"/>
                      <a:pt x="182" y="0"/>
                    </a:cubicBezTo>
                    <a:cubicBezTo>
                      <a:pt x="186" y="0"/>
                      <a:pt x="189" y="1"/>
                      <a:pt x="191" y="5"/>
                    </a:cubicBezTo>
                    <a:cubicBezTo>
                      <a:pt x="193" y="8"/>
                      <a:pt x="193" y="11"/>
                      <a:pt x="192" y="15"/>
                    </a:cubicBezTo>
                    <a:cubicBezTo>
                      <a:pt x="156" y="96"/>
                      <a:pt x="156" y="96"/>
                      <a:pt x="156" y="96"/>
                    </a:cubicBezTo>
                    <a:cubicBezTo>
                      <a:pt x="214" y="96"/>
                      <a:pt x="214" y="96"/>
                      <a:pt x="214" y="96"/>
                    </a:cubicBezTo>
                    <a:cubicBezTo>
                      <a:pt x="218" y="96"/>
                      <a:pt x="222" y="98"/>
                      <a:pt x="224" y="102"/>
                    </a:cubicBezTo>
                    <a:cubicBezTo>
                      <a:pt x="225" y="106"/>
                      <a:pt x="225" y="110"/>
                      <a:pt x="222" y="113"/>
                    </a:cubicBezTo>
                    <a:cubicBezTo>
                      <a:pt x="41" y="316"/>
                      <a:pt x="41" y="316"/>
                      <a:pt x="41" y="316"/>
                    </a:cubicBezTo>
                    <a:cubicBezTo>
                      <a:pt x="39" y="318"/>
                      <a:pt x="36" y="320"/>
                      <a:pt x="33" y="320"/>
                    </a:cubicBezTo>
                    <a:close/>
                    <a:moveTo>
                      <a:pt x="28" y="149"/>
                    </a:moveTo>
                    <a:cubicBezTo>
                      <a:pt x="75" y="149"/>
                      <a:pt x="75" y="149"/>
                      <a:pt x="75" y="149"/>
                    </a:cubicBezTo>
                    <a:cubicBezTo>
                      <a:pt x="79" y="149"/>
                      <a:pt x="82" y="151"/>
                      <a:pt x="84" y="153"/>
                    </a:cubicBezTo>
                    <a:cubicBezTo>
                      <a:pt x="86" y="156"/>
                      <a:pt x="87" y="159"/>
                      <a:pt x="86" y="163"/>
                    </a:cubicBezTo>
                    <a:cubicBezTo>
                      <a:pt x="56" y="267"/>
                      <a:pt x="56" y="267"/>
                      <a:pt x="56" y="267"/>
                    </a:cubicBezTo>
                    <a:cubicBezTo>
                      <a:pt x="190" y="117"/>
                      <a:pt x="190" y="117"/>
                      <a:pt x="190" y="117"/>
                    </a:cubicBezTo>
                    <a:cubicBezTo>
                      <a:pt x="139" y="117"/>
                      <a:pt x="139" y="117"/>
                      <a:pt x="139" y="117"/>
                    </a:cubicBezTo>
                    <a:cubicBezTo>
                      <a:pt x="136" y="117"/>
                      <a:pt x="132" y="115"/>
                      <a:pt x="130" y="112"/>
                    </a:cubicBezTo>
                    <a:cubicBezTo>
                      <a:pt x="128" y="109"/>
                      <a:pt x="128" y="105"/>
                      <a:pt x="130" y="102"/>
                    </a:cubicBezTo>
                    <a:cubicBezTo>
                      <a:pt x="166" y="21"/>
                      <a:pt x="166" y="21"/>
                      <a:pt x="166" y="21"/>
                    </a:cubicBezTo>
                    <a:cubicBezTo>
                      <a:pt x="82" y="21"/>
                      <a:pt x="82" y="21"/>
                      <a:pt x="82" y="21"/>
                    </a:cubicBezTo>
                    <a:lnTo>
                      <a:pt x="28" y="149"/>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25" name="Freeform 561">
                <a:extLst>
                  <a:ext uri="{FF2B5EF4-FFF2-40B4-BE49-F238E27FC236}">
                    <a16:creationId xmlns:a16="http://schemas.microsoft.com/office/drawing/2014/main" id="{7E74ED90-8722-9247-BF5B-7267488C0849}"/>
                  </a:ext>
                </a:extLst>
              </p:cNvPr>
              <p:cNvSpPr>
                <a:spLocks noEditPoints="1"/>
              </p:cNvSpPr>
              <p:nvPr/>
            </p:nvSpPr>
            <p:spPr bwMode="auto">
              <a:xfrm>
                <a:off x="6726" y="28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grpSp>
      </p:grpSp>
    </p:spTree>
    <p:custDataLst>
      <p:tags r:id="rId1"/>
    </p:custDataLst>
    <p:extLst>
      <p:ext uri="{BB962C8B-B14F-4D97-AF65-F5344CB8AC3E}">
        <p14:creationId xmlns:p14="http://schemas.microsoft.com/office/powerpoint/2010/main" val="2835797540"/>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492126" y="973138"/>
            <a:ext cx="3679825" cy="4911725"/>
            <a:chOff x="310" y="613"/>
            <a:chExt cx="2318" cy="3094"/>
          </a:xfrm>
        </p:grpSpPr>
        <p:sp>
          <p:nvSpPr>
            <p:cNvPr id="7" name="Freeform 5"/>
            <p:cNvSpPr>
              <a:spLocks/>
            </p:cNvSpPr>
            <p:nvPr/>
          </p:nvSpPr>
          <p:spPr bwMode="auto">
            <a:xfrm>
              <a:off x="1264" y="2924"/>
              <a:ext cx="94" cy="91"/>
            </a:xfrm>
            <a:custGeom>
              <a:avLst/>
              <a:gdLst>
                <a:gd name="T0" fmla="*/ 30 w 33"/>
                <a:gd name="T1" fmla="*/ 11 h 32"/>
                <a:gd name="T2" fmla="*/ 21 w 33"/>
                <a:gd name="T3" fmla="*/ 30 h 32"/>
                <a:gd name="T4" fmla="*/ 2 w 33"/>
                <a:gd name="T5" fmla="*/ 20 h 32"/>
                <a:gd name="T6" fmla="*/ 12 w 33"/>
                <a:gd name="T7" fmla="*/ 2 h 32"/>
                <a:gd name="T8" fmla="*/ 30 w 33"/>
                <a:gd name="T9" fmla="*/ 11 h 32"/>
              </a:gdLst>
              <a:ahLst/>
              <a:cxnLst>
                <a:cxn ang="0">
                  <a:pos x="T0" y="T1"/>
                </a:cxn>
                <a:cxn ang="0">
                  <a:pos x="T2" y="T3"/>
                </a:cxn>
                <a:cxn ang="0">
                  <a:pos x="T4" y="T5"/>
                </a:cxn>
                <a:cxn ang="0">
                  <a:pos x="T6" y="T7"/>
                </a:cxn>
                <a:cxn ang="0">
                  <a:pos x="T8" y="T9"/>
                </a:cxn>
              </a:cxnLst>
              <a:rect l="0" t="0" r="r" b="b"/>
              <a:pathLst>
                <a:path w="33" h="32">
                  <a:moveTo>
                    <a:pt x="30" y="11"/>
                  </a:moveTo>
                  <a:cubicBezTo>
                    <a:pt x="33" y="19"/>
                    <a:pt x="28" y="27"/>
                    <a:pt x="21" y="30"/>
                  </a:cubicBezTo>
                  <a:cubicBezTo>
                    <a:pt x="13" y="32"/>
                    <a:pt x="5" y="28"/>
                    <a:pt x="2" y="20"/>
                  </a:cubicBezTo>
                  <a:cubicBezTo>
                    <a:pt x="0" y="13"/>
                    <a:pt x="4" y="5"/>
                    <a:pt x="12" y="2"/>
                  </a:cubicBezTo>
                  <a:cubicBezTo>
                    <a:pt x="19" y="0"/>
                    <a:pt x="28" y="4"/>
                    <a:pt x="30" y="11"/>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1690" y="2614"/>
              <a:ext cx="94" cy="94"/>
            </a:xfrm>
            <a:custGeom>
              <a:avLst/>
              <a:gdLst>
                <a:gd name="T0" fmla="*/ 25 w 33"/>
                <a:gd name="T1" fmla="*/ 4 h 33"/>
                <a:gd name="T2" fmla="*/ 28 w 33"/>
                <a:gd name="T3" fmla="*/ 25 h 33"/>
                <a:gd name="T4" fmla="*/ 8 w 33"/>
                <a:gd name="T5" fmla="*/ 28 h 33"/>
                <a:gd name="T6" fmla="*/ 4 w 33"/>
                <a:gd name="T7" fmla="*/ 8 h 33"/>
                <a:gd name="T8" fmla="*/ 25 w 33"/>
                <a:gd name="T9" fmla="*/ 4 h 33"/>
              </a:gdLst>
              <a:ahLst/>
              <a:cxnLst>
                <a:cxn ang="0">
                  <a:pos x="T0" y="T1"/>
                </a:cxn>
                <a:cxn ang="0">
                  <a:pos x="T2" y="T3"/>
                </a:cxn>
                <a:cxn ang="0">
                  <a:pos x="T4" y="T5"/>
                </a:cxn>
                <a:cxn ang="0">
                  <a:pos x="T6" y="T7"/>
                </a:cxn>
                <a:cxn ang="0">
                  <a:pos x="T8" y="T9"/>
                </a:cxn>
              </a:cxnLst>
              <a:rect l="0" t="0" r="r" b="b"/>
              <a:pathLst>
                <a:path w="33" h="33">
                  <a:moveTo>
                    <a:pt x="25" y="4"/>
                  </a:moveTo>
                  <a:cubicBezTo>
                    <a:pt x="31" y="9"/>
                    <a:pt x="33" y="18"/>
                    <a:pt x="28" y="25"/>
                  </a:cubicBezTo>
                  <a:cubicBezTo>
                    <a:pt x="23" y="31"/>
                    <a:pt x="14" y="33"/>
                    <a:pt x="8" y="28"/>
                  </a:cubicBezTo>
                  <a:cubicBezTo>
                    <a:pt x="1" y="23"/>
                    <a:pt x="0" y="14"/>
                    <a:pt x="4" y="8"/>
                  </a:cubicBezTo>
                  <a:cubicBezTo>
                    <a:pt x="9" y="1"/>
                    <a:pt x="18" y="0"/>
                    <a:pt x="25" y="4"/>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Oval 7"/>
            <p:cNvSpPr>
              <a:spLocks noChangeArrowheads="1"/>
            </p:cNvSpPr>
            <p:nvPr/>
          </p:nvSpPr>
          <p:spPr bwMode="auto">
            <a:xfrm>
              <a:off x="1858" y="2120"/>
              <a:ext cx="82" cy="83"/>
            </a:xfrm>
            <a:prstGeom prst="ellipse">
              <a:avLst/>
            </a:pr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1690" y="1615"/>
              <a:ext cx="94" cy="94"/>
            </a:xfrm>
            <a:custGeom>
              <a:avLst/>
              <a:gdLst>
                <a:gd name="T0" fmla="*/ 8 w 33"/>
                <a:gd name="T1" fmla="*/ 4 h 33"/>
                <a:gd name="T2" fmla="*/ 28 w 33"/>
                <a:gd name="T3" fmla="*/ 8 h 33"/>
                <a:gd name="T4" fmla="*/ 25 w 33"/>
                <a:gd name="T5" fmla="*/ 28 h 33"/>
                <a:gd name="T6" fmla="*/ 4 w 33"/>
                <a:gd name="T7" fmla="*/ 25 h 33"/>
                <a:gd name="T8" fmla="*/ 8 w 33"/>
                <a:gd name="T9" fmla="*/ 4 h 33"/>
              </a:gdLst>
              <a:ahLst/>
              <a:cxnLst>
                <a:cxn ang="0">
                  <a:pos x="T0" y="T1"/>
                </a:cxn>
                <a:cxn ang="0">
                  <a:pos x="T2" y="T3"/>
                </a:cxn>
                <a:cxn ang="0">
                  <a:pos x="T4" y="T5"/>
                </a:cxn>
                <a:cxn ang="0">
                  <a:pos x="T6" y="T7"/>
                </a:cxn>
                <a:cxn ang="0">
                  <a:pos x="T8" y="T9"/>
                </a:cxn>
              </a:cxnLst>
              <a:rect l="0" t="0" r="r" b="b"/>
              <a:pathLst>
                <a:path w="33" h="33">
                  <a:moveTo>
                    <a:pt x="8" y="4"/>
                  </a:moveTo>
                  <a:cubicBezTo>
                    <a:pt x="14" y="0"/>
                    <a:pt x="23" y="1"/>
                    <a:pt x="28" y="8"/>
                  </a:cubicBezTo>
                  <a:cubicBezTo>
                    <a:pt x="33" y="14"/>
                    <a:pt x="31" y="23"/>
                    <a:pt x="25" y="28"/>
                  </a:cubicBezTo>
                  <a:cubicBezTo>
                    <a:pt x="18" y="33"/>
                    <a:pt x="9" y="31"/>
                    <a:pt x="4" y="25"/>
                  </a:cubicBezTo>
                  <a:cubicBezTo>
                    <a:pt x="0" y="18"/>
                    <a:pt x="1" y="9"/>
                    <a:pt x="8" y="4"/>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auto">
            <a:xfrm>
              <a:off x="1264" y="1305"/>
              <a:ext cx="94" cy="94"/>
            </a:xfrm>
            <a:custGeom>
              <a:avLst/>
              <a:gdLst>
                <a:gd name="T0" fmla="*/ 2 w 33"/>
                <a:gd name="T1" fmla="*/ 12 h 33"/>
                <a:gd name="T2" fmla="*/ 21 w 33"/>
                <a:gd name="T3" fmla="*/ 2 h 33"/>
                <a:gd name="T4" fmla="*/ 30 w 33"/>
                <a:gd name="T5" fmla="*/ 21 h 33"/>
                <a:gd name="T6" fmla="*/ 12 w 33"/>
                <a:gd name="T7" fmla="*/ 30 h 33"/>
                <a:gd name="T8" fmla="*/ 2 w 33"/>
                <a:gd name="T9" fmla="*/ 12 h 33"/>
              </a:gdLst>
              <a:ahLst/>
              <a:cxnLst>
                <a:cxn ang="0">
                  <a:pos x="T0" y="T1"/>
                </a:cxn>
                <a:cxn ang="0">
                  <a:pos x="T2" y="T3"/>
                </a:cxn>
                <a:cxn ang="0">
                  <a:pos x="T4" y="T5"/>
                </a:cxn>
                <a:cxn ang="0">
                  <a:pos x="T6" y="T7"/>
                </a:cxn>
                <a:cxn ang="0">
                  <a:pos x="T8" y="T9"/>
                </a:cxn>
              </a:cxnLst>
              <a:rect l="0" t="0" r="r" b="b"/>
              <a:pathLst>
                <a:path w="33" h="33">
                  <a:moveTo>
                    <a:pt x="2" y="12"/>
                  </a:moveTo>
                  <a:cubicBezTo>
                    <a:pt x="5" y="4"/>
                    <a:pt x="13" y="0"/>
                    <a:pt x="21" y="2"/>
                  </a:cubicBezTo>
                  <a:cubicBezTo>
                    <a:pt x="28" y="5"/>
                    <a:pt x="33" y="13"/>
                    <a:pt x="30" y="21"/>
                  </a:cubicBezTo>
                  <a:cubicBezTo>
                    <a:pt x="28" y="28"/>
                    <a:pt x="19" y="33"/>
                    <a:pt x="12" y="30"/>
                  </a:cubicBezTo>
                  <a:cubicBezTo>
                    <a:pt x="4" y="28"/>
                    <a:pt x="0" y="19"/>
                    <a:pt x="2" y="12"/>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auto">
            <a:xfrm>
              <a:off x="1378" y="2714"/>
              <a:ext cx="318" cy="238"/>
            </a:xfrm>
            <a:custGeom>
              <a:avLst/>
              <a:gdLst>
                <a:gd name="T0" fmla="*/ 3 w 112"/>
                <a:gd name="T1" fmla="*/ 84 h 84"/>
                <a:gd name="T2" fmla="*/ 0 w 112"/>
                <a:gd name="T3" fmla="*/ 77 h 84"/>
                <a:gd name="T4" fmla="*/ 106 w 112"/>
                <a:gd name="T5" fmla="*/ 0 h 84"/>
                <a:gd name="T6" fmla="*/ 112 w 112"/>
                <a:gd name="T7" fmla="*/ 5 h 84"/>
                <a:gd name="T8" fmla="*/ 3 w 112"/>
                <a:gd name="T9" fmla="*/ 84 h 84"/>
              </a:gdLst>
              <a:ahLst/>
              <a:cxnLst>
                <a:cxn ang="0">
                  <a:pos x="T0" y="T1"/>
                </a:cxn>
                <a:cxn ang="0">
                  <a:pos x="T2" y="T3"/>
                </a:cxn>
                <a:cxn ang="0">
                  <a:pos x="T4" y="T5"/>
                </a:cxn>
                <a:cxn ang="0">
                  <a:pos x="T6" y="T7"/>
                </a:cxn>
                <a:cxn ang="0">
                  <a:pos x="T8" y="T9"/>
                </a:cxn>
              </a:cxnLst>
              <a:rect l="0" t="0" r="r" b="b"/>
              <a:pathLst>
                <a:path w="112" h="84">
                  <a:moveTo>
                    <a:pt x="3" y="84"/>
                  </a:moveTo>
                  <a:cubicBezTo>
                    <a:pt x="0" y="77"/>
                    <a:pt x="0" y="77"/>
                    <a:pt x="0" y="77"/>
                  </a:cubicBezTo>
                  <a:cubicBezTo>
                    <a:pt x="41" y="59"/>
                    <a:pt x="77" y="33"/>
                    <a:pt x="106" y="0"/>
                  </a:cubicBezTo>
                  <a:cubicBezTo>
                    <a:pt x="112" y="5"/>
                    <a:pt x="112" y="5"/>
                    <a:pt x="112" y="5"/>
                  </a:cubicBezTo>
                  <a:cubicBezTo>
                    <a:pt x="83" y="39"/>
                    <a:pt x="45" y="66"/>
                    <a:pt x="3" y="8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auto">
            <a:xfrm>
              <a:off x="1767" y="2237"/>
              <a:ext cx="139" cy="366"/>
            </a:xfrm>
            <a:custGeom>
              <a:avLst/>
              <a:gdLst>
                <a:gd name="T0" fmla="*/ 7 w 49"/>
                <a:gd name="T1" fmla="*/ 129 h 129"/>
                <a:gd name="T2" fmla="*/ 0 w 49"/>
                <a:gd name="T3" fmla="*/ 125 h 129"/>
                <a:gd name="T4" fmla="*/ 41 w 49"/>
                <a:gd name="T5" fmla="*/ 0 h 129"/>
                <a:gd name="T6" fmla="*/ 49 w 49"/>
                <a:gd name="T7" fmla="*/ 0 h 129"/>
                <a:gd name="T8" fmla="*/ 7 w 49"/>
                <a:gd name="T9" fmla="*/ 129 h 129"/>
              </a:gdLst>
              <a:ahLst/>
              <a:cxnLst>
                <a:cxn ang="0">
                  <a:pos x="T0" y="T1"/>
                </a:cxn>
                <a:cxn ang="0">
                  <a:pos x="T2" y="T3"/>
                </a:cxn>
                <a:cxn ang="0">
                  <a:pos x="T4" y="T5"/>
                </a:cxn>
                <a:cxn ang="0">
                  <a:pos x="T6" y="T7"/>
                </a:cxn>
                <a:cxn ang="0">
                  <a:pos x="T8" y="T9"/>
                </a:cxn>
              </a:cxnLst>
              <a:rect l="0" t="0" r="r" b="b"/>
              <a:pathLst>
                <a:path w="49" h="129">
                  <a:moveTo>
                    <a:pt x="7" y="129"/>
                  </a:moveTo>
                  <a:cubicBezTo>
                    <a:pt x="0" y="125"/>
                    <a:pt x="0" y="125"/>
                    <a:pt x="0" y="125"/>
                  </a:cubicBezTo>
                  <a:cubicBezTo>
                    <a:pt x="23" y="87"/>
                    <a:pt x="37" y="43"/>
                    <a:pt x="41" y="0"/>
                  </a:cubicBezTo>
                  <a:cubicBezTo>
                    <a:pt x="49" y="0"/>
                    <a:pt x="49" y="0"/>
                    <a:pt x="49" y="0"/>
                  </a:cubicBezTo>
                  <a:cubicBezTo>
                    <a:pt x="45" y="45"/>
                    <a:pt x="31" y="90"/>
                    <a:pt x="7" y="129"/>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auto">
            <a:xfrm>
              <a:off x="1770" y="1717"/>
              <a:ext cx="136" cy="369"/>
            </a:xfrm>
            <a:custGeom>
              <a:avLst/>
              <a:gdLst>
                <a:gd name="T0" fmla="*/ 40 w 48"/>
                <a:gd name="T1" fmla="*/ 130 h 130"/>
                <a:gd name="T2" fmla="*/ 0 w 48"/>
                <a:gd name="T3" fmla="*/ 5 h 130"/>
                <a:gd name="T4" fmla="*/ 6 w 48"/>
                <a:gd name="T5" fmla="*/ 0 h 130"/>
                <a:gd name="T6" fmla="*/ 48 w 48"/>
                <a:gd name="T7" fmla="*/ 129 h 130"/>
                <a:gd name="T8" fmla="*/ 40 w 48"/>
                <a:gd name="T9" fmla="*/ 130 h 130"/>
              </a:gdLst>
              <a:ahLst/>
              <a:cxnLst>
                <a:cxn ang="0">
                  <a:pos x="T0" y="T1"/>
                </a:cxn>
                <a:cxn ang="0">
                  <a:pos x="T2" y="T3"/>
                </a:cxn>
                <a:cxn ang="0">
                  <a:pos x="T4" y="T5"/>
                </a:cxn>
                <a:cxn ang="0">
                  <a:pos x="T6" y="T7"/>
                </a:cxn>
                <a:cxn ang="0">
                  <a:pos x="T8" y="T9"/>
                </a:cxn>
              </a:cxnLst>
              <a:rect l="0" t="0" r="r" b="b"/>
              <a:pathLst>
                <a:path w="48" h="130">
                  <a:moveTo>
                    <a:pt x="40" y="130"/>
                  </a:moveTo>
                  <a:cubicBezTo>
                    <a:pt x="36" y="86"/>
                    <a:pt x="22" y="42"/>
                    <a:pt x="0" y="5"/>
                  </a:cubicBezTo>
                  <a:cubicBezTo>
                    <a:pt x="6" y="0"/>
                    <a:pt x="6" y="0"/>
                    <a:pt x="6" y="0"/>
                  </a:cubicBezTo>
                  <a:cubicBezTo>
                    <a:pt x="30" y="39"/>
                    <a:pt x="44" y="84"/>
                    <a:pt x="48" y="129"/>
                  </a:cubicBezTo>
                  <a:lnTo>
                    <a:pt x="40" y="130"/>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p:cNvSpPr>
            <p:nvPr/>
          </p:nvSpPr>
          <p:spPr bwMode="auto">
            <a:xfrm>
              <a:off x="1378" y="1368"/>
              <a:ext cx="318" cy="241"/>
            </a:xfrm>
            <a:custGeom>
              <a:avLst/>
              <a:gdLst>
                <a:gd name="T0" fmla="*/ 106 w 112"/>
                <a:gd name="T1" fmla="*/ 85 h 85"/>
                <a:gd name="T2" fmla="*/ 0 w 112"/>
                <a:gd name="T3" fmla="*/ 7 h 85"/>
                <a:gd name="T4" fmla="*/ 3 w 112"/>
                <a:gd name="T5" fmla="*/ 0 h 85"/>
                <a:gd name="T6" fmla="*/ 112 w 112"/>
                <a:gd name="T7" fmla="*/ 79 h 85"/>
                <a:gd name="T8" fmla="*/ 106 w 112"/>
                <a:gd name="T9" fmla="*/ 85 h 85"/>
              </a:gdLst>
              <a:ahLst/>
              <a:cxnLst>
                <a:cxn ang="0">
                  <a:pos x="T0" y="T1"/>
                </a:cxn>
                <a:cxn ang="0">
                  <a:pos x="T2" y="T3"/>
                </a:cxn>
                <a:cxn ang="0">
                  <a:pos x="T4" y="T5"/>
                </a:cxn>
                <a:cxn ang="0">
                  <a:pos x="T6" y="T7"/>
                </a:cxn>
                <a:cxn ang="0">
                  <a:pos x="T8" y="T9"/>
                </a:cxn>
              </a:cxnLst>
              <a:rect l="0" t="0" r="r" b="b"/>
              <a:pathLst>
                <a:path w="112" h="85">
                  <a:moveTo>
                    <a:pt x="106" y="85"/>
                  </a:moveTo>
                  <a:cubicBezTo>
                    <a:pt x="77" y="51"/>
                    <a:pt x="40" y="25"/>
                    <a:pt x="0" y="7"/>
                  </a:cubicBezTo>
                  <a:cubicBezTo>
                    <a:pt x="3" y="0"/>
                    <a:pt x="3" y="0"/>
                    <a:pt x="3" y="0"/>
                  </a:cubicBezTo>
                  <a:cubicBezTo>
                    <a:pt x="45" y="18"/>
                    <a:pt x="82" y="45"/>
                    <a:pt x="112" y="79"/>
                  </a:cubicBezTo>
                  <a:lnTo>
                    <a:pt x="106" y="85"/>
                  </a:ln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4"/>
            <p:cNvSpPr>
              <a:spLocks/>
            </p:cNvSpPr>
            <p:nvPr/>
          </p:nvSpPr>
          <p:spPr bwMode="auto">
            <a:xfrm>
              <a:off x="631" y="2736"/>
              <a:ext cx="406" cy="151"/>
            </a:xfrm>
            <a:custGeom>
              <a:avLst/>
              <a:gdLst>
                <a:gd name="T0" fmla="*/ 143 w 143"/>
                <a:gd name="T1" fmla="*/ 53 h 53"/>
                <a:gd name="T2" fmla="*/ 0 w 143"/>
                <a:gd name="T3" fmla="*/ 7 h 53"/>
                <a:gd name="T4" fmla="*/ 4 w 143"/>
                <a:gd name="T5" fmla="*/ 0 h 53"/>
                <a:gd name="T6" fmla="*/ 143 w 143"/>
                <a:gd name="T7" fmla="*/ 45 h 53"/>
                <a:gd name="T8" fmla="*/ 143 w 143"/>
                <a:gd name="T9" fmla="*/ 53 h 53"/>
              </a:gdLst>
              <a:ahLst/>
              <a:cxnLst>
                <a:cxn ang="0">
                  <a:pos x="T0" y="T1"/>
                </a:cxn>
                <a:cxn ang="0">
                  <a:pos x="T2" y="T3"/>
                </a:cxn>
                <a:cxn ang="0">
                  <a:pos x="T4" y="T5"/>
                </a:cxn>
                <a:cxn ang="0">
                  <a:pos x="T6" y="T7"/>
                </a:cxn>
                <a:cxn ang="0">
                  <a:pos x="T8" y="T9"/>
                </a:cxn>
              </a:cxnLst>
              <a:rect l="0" t="0" r="r" b="b"/>
              <a:pathLst>
                <a:path w="143" h="53">
                  <a:moveTo>
                    <a:pt x="143" y="53"/>
                  </a:moveTo>
                  <a:cubicBezTo>
                    <a:pt x="92" y="53"/>
                    <a:pt x="42" y="37"/>
                    <a:pt x="0" y="7"/>
                  </a:cubicBezTo>
                  <a:cubicBezTo>
                    <a:pt x="4" y="0"/>
                    <a:pt x="4" y="0"/>
                    <a:pt x="4" y="0"/>
                  </a:cubicBezTo>
                  <a:cubicBezTo>
                    <a:pt x="45" y="29"/>
                    <a:pt x="94" y="45"/>
                    <a:pt x="143" y="45"/>
                  </a:cubicBezTo>
                  <a:lnTo>
                    <a:pt x="143"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5"/>
            <p:cNvSpPr>
              <a:spLocks/>
            </p:cNvSpPr>
            <p:nvPr/>
          </p:nvSpPr>
          <p:spPr bwMode="auto">
            <a:xfrm>
              <a:off x="361" y="2390"/>
              <a:ext cx="264" cy="352"/>
            </a:xfrm>
            <a:custGeom>
              <a:avLst/>
              <a:gdLst>
                <a:gd name="T0" fmla="*/ 88 w 93"/>
                <a:gd name="T1" fmla="*/ 124 h 124"/>
                <a:gd name="T2" fmla="*/ 0 w 93"/>
                <a:gd name="T3" fmla="*/ 2 h 124"/>
                <a:gd name="T4" fmla="*/ 7 w 93"/>
                <a:gd name="T5" fmla="*/ 0 h 124"/>
                <a:gd name="T6" fmla="*/ 93 w 93"/>
                <a:gd name="T7" fmla="*/ 118 h 124"/>
                <a:gd name="T8" fmla="*/ 88 w 93"/>
                <a:gd name="T9" fmla="*/ 124 h 124"/>
              </a:gdLst>
              <a:ahLst/>
              <a:cxnLst>
                <a:cxn ang="0">
                  <a:pos x="T0" y="T1"/>
                </a:cxn>
                <a:cxn ang="0">
                  <a:pos x="T2" y="T3"/>
                </a:cxn>
                <a:cxn ang="0">
                  <a:pos x="T4" y="T5"/>
                </a:cxn>
                <a:cxn ang="0">
                  <a:pos x="T6" y="T7"/>
                </a:cxn>
                <a:cxn ang="0">
                  <a:pos x="T8" y="T9"/>
                </a:cxn>
              </a:cxnLst>
              <a:rect l="0" t="0" r="r" b="b"/>
              <a:pathLst>
                <a:path w="93" h="124">
                  <a:moveTo>
                    <a:pt x="88" y="124"/>
                  </a:moveTo>
                  <a:cubicBezTo>
                    <a:pt x="47" y="94"/>
                    <a:pt x="16" y="51"/>
                    <a:pt x="0" y="2"/>
                  </a:cubicBezTo>
                  <a:cubicBezTo>
                    <a:pt x="7" y="0"/>
                    <a:pt x="7" y="0"/>
                    <a:pt x="7" y="0"/>
                  </a:cubicBezTo>
                  <a:cubicBezTo>
                    <a:pt x="23" y="47"/>
                    <a:pt x="53" y="88"/>
                    <a:pt x="93" y="118"/>
                  </a:cubicBezTo>
                  <a:lnTo>
                    <a:pt x="88" y="124"/>
                  </a:ln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6"/>
            <p:cNvSpPr>
              <a:spLocks/>
            </p:cNvSpPr>
            <p:nvPr/>
          </p:nvSpPr>
          <p:spPr bwMode="auto">
            <a:xfrm>
              <a:off x="310" y="1947"/>
              <a:ext cx="65" cy="429"/>
            </a:xfrm>
            <a:custGeom>
              <a:avLst/>
              <a:gdLst>
                <a:gd name="T0" fmla="*/ 15 w 23"/>
                <a:gd name="T1" fmla="*/ 151 h 151"/>
                <a:gd name="T2" fmla="*/ 15 w 23"/>
                <a:gd name="T3" fmla="*/ 0 h 151"/>
                <a:gd name="T4" fmla="*/ 22 w 23"/>
                <a:gd name="T5" fmla="*/ 3 h 151"/>
                <a:gd name="T6" fmla="*/ 23 w 23"/>
                <a:gd name="T7" fmla="*/ 149 h 151"/>
                <a:gd name="T8" fmla="*/ 15 w 23"/>
                <a:gd name="T9" fmla="*/ 151 h 151"/>
              </a:gdLst>
              <a:ahLst/>
              <a:cxnLst>
                <a:cxn ang="0">
                  <a:pos x="T0" y="T1"/>
                </a:cxn>
                <a:cxn ang="0">
                  <a:pos x="T2" y="T3"/>
                </a:cxn>
                <a:cxn ang="0">
                  <a:pos x="T4" y="T5"/>
                </a:cxn>
                <a:cxn ang="0">
                  <a:pos x="T6" y="T7"/>
                </a:cxn>
                <a:cxn ang="0">
                  <a:pos x="T8" y="T9"/>
                </a:cxn>
              </a:cxnLst>
              <a:rect l="0" t="0" r="r" b="b"/>
              <a:pathLst>
                <a:path w="23" h="151">
                  <a:moveTo>
                    <a:pt x="15" y="151"/>
                  </a:moveTo>
                  <a:cubicBezTo>
                    <a:pt x="0" y="102"/>
                    <a:pt x="0" y="50"/>
                    <a:pt x="15" y="0"/>
                  </a:cubicBezTo>
                  <a:cubicBezTo>
                    <a:pt x="22" y="3"/>
                    <a:pt x="22" y="3"/>
                    <a:pt x="22" y="3"/>
                  </a:cubicBezTo>
                  <a:cubicBezTo>
                    <a:pt x="8" y="50"/>
                    <a:pt x="8" y="101"/>
                    <a:pt x="23" y="149"/>
                  </a:cubicBezTo>
                  <a:lnTo>
                    <a:pt x="15" y="151"/>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7"/>
            <p:cNvSpPr>
              <a:spLocks/>
            </p:cNvSpPr>
            <p:nvPr/>
          </p:nvSpPr>
          <p:spPr bwMode="auto">
            <a:xfrm>
              <a:off x="358" y="1578"/>
              <a:ext cx="264" cy="355"/>
            </a:xfrm>
            <a:custGeom>
              <a:avLst/>
              <a:gdLst>
                <a:gd name="T0" fmla="*/ 8 w 93"/>
                <a:gd name="T1" fmla="*/ 125 h 125"/>
                <a:gd name="T2" fmla="*/ 0 w 93"/>
                <a:gd name="T3" fmla="*/ 123 h 125"/>
                <a:gd name="T4" fmla="*/ 89 w 93"/>
                <a:gd name="T5" fmla="*/ 0 h 125"/>
                <a:gd name="T6" fmla="*/ 93 w 93"/>
                <a:gd name="T7" fmla="*/ 7 h 125"/>
                <a:gd name="T8" fmla="*/ 8 w 93"/>
                <a:gd name="T9" fmla="*/ 125 h 125"/>
              </a:gdLst>
              <a:ahLst/>
              <a:cxnLst>
                <a:cxn ang="0">
                  <a:pos x="T0" y="T1"/>
                </a:cxn>
                <a:cxn ang="0">
                  <a:pos x="T2" y="T3"/>
                </a:cxn>
                <a:cxn ang="0">
                  <a:pos x="T4" y="T5"/>
                </a:cxn>
                <a:cxn ang="0">
                  <a:pos x="T6" y="T7"/>
                </a:cxn>
                <a:cxn ang="0">
                  <a:pos x="T8" y="T9"/>
                </a:cxn>
              </a:cxnLst>
              <a:rect l="0" t="0" r="r" b="b"/>
              <a:pathLst>
                <a:path w="93" h="125">
                  <a:moveTo>
                    <a:pt x="8" y="125"/>
                  </a:moveTo>
                  <a:cubicBezTo>
                    <a:pt x="0" y="123"/>
                    <a:pt x="0" y="123"/>
                    <a:pt x="0" y="123"/>
                  </a:cubicBezTo>
                  <a:cubicBezTo>
                    <a:pt x="17" y="74"/>
                    <a:pt x="47" y="32"/>
                    <a:pt x="89" y="0"/>
                  </a:cubicBezTo>
                  <a:cubicBezTo>
                    <a:pt x="93" y="7"/>
                    <a:pt x="93" y="7"/>
                    <a:pt x="93" y="7"/>
                  </a:cubicBezTo>
                  <a:cubicBezTo>
                    <a:pt x="53" y="37"/>
                    <a:pt x="24" y="78"/>
                    <a:pt x="8" y="125"/>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8"/>
            <p:cNvSpPr>
              <a:spLocks/>
            </p:cNvSpPr>
            <p:nvPr/>
          </p:nvSpPr>
          <p:spPr bwMode="auto">
            <a:xfrm>
              <a:off x="628" y="1433"/>
              <a:ext cx="406" cy="151"/>
            </a:xfrm>
            <a:custGeom>
              <a:avLst/>
              <a:gdLst>
                <a:gd name="T0" fmla="*/ 5 w 143"/>
                <a:gd name="T1" fmla="*/ 53 h 53"/>
                <a:gd name="T2" fmla="*/ 0 w 143"/>
                <a:gd name="T3" fmla="*/ 47 h 53"/>
                <a:gd name="T4" fmla="*/ 143 w 143"/>
                <a:gd name="T5" fmla="*/ 0 h 53"/>
                <a:gd name="T6" fmla="*/ 143 w 143"/>
                <a:gd name="T7" fmla="*/ 8 h 53"/>
                <a:gd name="T8" fmla="*/ 5 w 143"/>
                <a:gd name="T9" fmla="*/ 53 h 53"/>
              </a:gdLst>
              <a:ahLst/>
              <a:cxnLst>
                <a:cxn ang="0">
                  <a:pos x="T0" y="T1"/>
                </a:cxn>
                <a:cxn ang="0">
                  <a:pos x="T2" y="T3"/>
                </a:cxn>
                <a:cxn ang="0">
                  <a:pos x="T4" y="T5"/>
                </a:cxn>
                <a:cxn ang="0">
                  <a:pos x="T6" y="T7"/>
                </a:cxn>
                <a:cxn ang="0">
                  <a:pos x="T8" y="T9"/>
                </a:cxn>
              </a:cxnLst>
              <a:rect l="0" t="0" r="r" b="b"/>
              <a:pathLst>
                <a:path w="143" h="53">
                  <a:moveTo>
                    <a:pt x="5" y="53"/>
                  </a:moveTo>
                  <a:cubicBezTo>
                    <a:pt x="0" y="47"/>
                    <a:pt x="0" y="47"/>
                    <a:pt x="0" y="47"/>
                  </a:cubicBezTo>
                  <a:cubicBezTo>
                    <a:pt x="42" y="17"/>
                    <a:pt x="92" y="1"/>
                    <a:pt x="143" y="0"/>
                  </a:cubicBezTo>
                  <a:cubicBezTo>
                    <a:pt x="143" y="8"/>
                    <a:pt x="143" y="8"/>
                    <a:pt x="143" y="8"/>
                  </a:cubicBezTo>
                  <a:cubicBezTo>
                    <a:pt x="93" y="9"/>
                    <a:pt x="45" y="25"/>
                    <a:pt x="5" y="53"/>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9"/>
            <p:cNvSpPr>
              <a:spLocks noEditPoints="1"/>
            </p:cNvSpPr>
            <p:nvPr/>
          </p:nvSpPr>
          <p:spPr bwMode="auto">
            <a:xfrm>
              <a:off x="1219" y="2881"/>
              <a:ext cx="182" cy="176"/>
            </a:xfrm>
            <a:custGeom>
              <a:avLst/>
              <a:gdLst>
                <a:gd name="T0" fmla="*/ 32 w 64"/>
                <a:gd name="T1" fmla="*/ 62 h 62"/>
                <a:gd name="T2" fmla="*/ 3 w 64"/>
                <a:gd name="T3" fmla="*/ 40 h 62"/>
                <a:gd name="T4" fmla="*/ 5 w 64"/>
                <a:gd name="T5" fmla="*/ 17 h 62"/>
                <a:gd name="T6" fmla="*/ 23 w 64"/>
                <a:gd name="T7" fmla="*/ 2 h 62"/>
                <a:gd name="T8" fmla="*/ 32 w 64"/>
                <a:gd name="T9" fmla="*/ 0 h 62"/>
                <a:gd name="T10" fmla="*/ 62 w 64"/>
                <a:gd name="T11" fmla="*/ 21 h 62"/>
                <a:gd name="T12" fmla="*/ 60 w 64"/>
                <a:gd name="T13" fmla="*/ 45 h 62"/>
                <a:gd name="T14" fmla="*/ 42 w 64"/>
                <a:gd name="T15" fmla="*/ 60 h 62"/>
                <a:gd name="T16" fmla="*/ 32 w 64"/>
                <a:gd name="T17" fmla="*/ 62 h 62"/>
                <a:gd name="T18" fmla="*/ 32 w 64"/>
                <a:gd name="T19" fmla="*/ 8 h 62"/>
                <a:gd name="T20" fmla="*/ 25 w 64"/>
                <a:gd name="T21" fmla="*/ 9 h 62"/>
                <a:gd name="T22" fmla="*/ 12 w 64"/>
                <a:gd name="T23" fmla="*/ 21 h 62"/>
                <a:gd name="T24" fmla="*/ 10 w 64"/>
                <a:gd name="T25" fmla="*/ 38 h 62"/>
                <a:gd name="T26" fmla="*/ 32 w 64"/>
                <a:gd name="T27" fmla="*/ 54 h 62"/>
                <a:gd name="T28" fmla="*/ 39 w 64"/>
                <a:gd name="T29" fmla="*/ 53 h 62"/>
                <a:gd name="T30" fmla="*/ 53 w 64"/>
                <a:gd name="T31" fmla="*/ 41 h 62"/>
                <a:gd name="T32" fmla="*/ 54 w 64"/>
                <a:gd name="T33" fmla="*/ 24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19" y="62"/>
                    <a:pt x="7" y="53"/>
                    <a:pt x="3" y="40"/>
                  </a:cubicBezTo>
                  <a:cubicBezTo>
                    <a:pt x="0" y="33"/>
                    <a:pt x="1" y="24"/>
                    <a:pt x="5" y="17"/>
                  </a:cubicBezTo>
                  <a:cubicBezTo>
                    <a:pt x="8" y="10"/>
                    <a:pt x="15" y="4"/>
                    <a:pt x="23" y="2"/>
                  </a:cubicBezTo>
                  <a:cubicBezTo>
                    <a:pt x="26" y="0"/>
                    <a:pt x="29" y="0"/>
                    <a:pt x="32" y="0"/>
                  </a:cubicBezTo>
                  <a:cubicBezTo>
                    <a:pt x="46" y="0"/>
                    <a:pt x="58" y="9"/>
                    <a:pt x="62" y="21"/>
                  </a:cubicBezTo>
                  <a:cubicBezTo>
                    <a:pt x="64" y="29"/>
                    <a:pt x="64" y="38"/>
                    <a:pt x="60" y="45"/>
                  </a:cubicBezTo>
                  <a:cubicBezTo>
                    <a:pt x="56" y="52"/>
                    <a:pt x="50" y="58"/>
                    <a:pt x="42" y="60"/>
                  </a:cubicBezTo>
                  <a:cubicBezTo>
                    <a:pt x="39" y="61"/>
                    <a:pt x="36" y="62"/>
                    <a:pt x="32" y="62"/>
                  </a:cubicBezTo>
                  <a:close/>
                  <a:moveTo>
                    <a:pt x="32" y="8"/>
                  </a:moveTo>
                  <a:cubicBezTo>
                    <a:pt x="30" y="8"/>
                    <a:pt x="28" y="8"/>
                    <a:pt x="25" y="9"/>
                  </a:cubicBezTo>
                  <a:cubicBezTo>
                    <a:pt x="19" y="11"/>
                    <a:pt x="15" y="15"/>
                    <a:pt x="12" y="21"/>
                  </a:cubicBezTo>
                  <a:cubicBezTo>
                    <a:pt x="9" y="26"/>
                    <a:pt x="9" y="32"/>
                    <a:pt x="10" y="38"/>
                  </a:cubicBezTo>
                  <a:cubicBezTo>
                    <a:pt x="14" y="48"/>
                    <a:pt x="22" y="54"/>
                    <a:pt x="32" y="54"/>
                  </a:cubicBezTo>
                  <a:cubicBezTo>
                    <a:pt x="35" y="54"/>
                    <a:pt x="37" y="54"/>
                    <a:pt x="39" y="53"/>
                  </a:cubicBezTo>
                  <a:cubicBezTo>
                    <a:pt x="45" y="51"/>
                    <a:pt x="50" y="47"/>
                    <a:pt x="53" y="41"/>
                  </a:cubicBezTo>
                  <a:cubicBezTo>
                    <a:pt x="56" y="36"/>
                    <a:pt x="56" y="30"/>
                    <a:pt x="54" y="24"/>
                  </a:cubicBezTo>
                  <a:cubicBezTo>
                    <a:pt x="51" y="14"/>
                    <a:pt x="42" y="8"/>
                    <a:pt x="32" y="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p:cNvSpPr>
              <a:spLocks noEditPoints="1"/>
            </p:cNvSpPr>
            <p:nvPr/>
          </p:nvSpPr>
          <p:spPr bwMode="auto">
            <a:xfrm>
              <a:off x="1645" y="2572"/>
              <a:ext cx="182" cy="176"/>
            </a:xfrm>
            <a:custGeom>
              <a:avLst/>
              <a:gdLst>
                <a:gd name="T0" fmla="*/ 32 w 64"/>
                <a:gd name="T1" fmla="*/ 62 h 62"/>
                <a:gd name="T2" fmla="*/ 14 w 64"/>
                <a:gd name="T3" fmla="*/ 56 h 62"/>
                <a:gd name="T4" fmla="*/ 1 w 64"/>
                <a:gd name="T5" fmla="*/ 36 h 62"/>
                <a:gd name="T6" fmla="*/ 7 w 64"/>
                <a:gd name="T7" fmla="*/ 13 h 62"/>
                <a:gd name="T8" fmla="*/ 32 w 64"/>
                <a:gd name="T9" fmla="*/ 0 h 62"/>
                <a:gd name="T10" fmla="*/ 50 w 64"/>
                <a:gd name="T11" fmla="*/ 6 h 62"/>
                <a:gd name="T12" fmla="*/ 63 w 64"/>
                <a:gd name="T13" fmla="*/ 26 h 62"/>
                <a:gd name="T14" fmla="*/ 57 w 64"/>
                <a:gd name="T15" fmla="*/ 49 h 62"/>
                <a:gd name="T16" fmla="*/ 32 w 64"/>
                <a:gd name="T17" fmla="*/ 62 h 62"/>
                <a:gd name="T18" fmla="*/ 32 w 64"/>
                <a:gd name="T19" fmla="*/ 8 h 62"/>
                <a:gd name="T20" fmla="*/ 13 w 64"/>
                <a:gd name="T21" fmla="*/ 18 h 62"/>
                <a:gd name="T22" fmla="*/ 9 w 64"/>
                <a:gd name="T23" fmla="*/ 35 h 62"/>
                <a:gd name="T24" fmla="*/ 19 w 64"/>
                <a:gd name="T25" fmla="*/ 50 h 62"/>
                <a:gd name="T26" fmla="*/ 32 w 64"/>
                <a:gd name="T27" fmla="*/ 54 h 62"/>
                <a:gd name="T28" fmla="*/ 51 w 64"/>
                <a:gd name="T29" fmla="*/ 45 h 62"/>
                <a:gd name="T30" fmla="*/ 55 w 64"/>
                <a:gd name="T31" fmla="*/ 28 h 62"/>
                <a:gd name="T32" fmla="*/ 46 w 64"/>
                <a:gd name="T33" fmla="*/ 13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5" y="62"/>
                    <a:pt x="19" y="60"/>
                    <a:pt x="14" y="56"/>
                  </a:cubicBezTo>
                  <a:cubicBezTo>
                    <a:pt x="7" y="51"/>
                    <a:pt x="3" y="44"/>
                    <a:pt x="1" y="36"/>
                  </a:cubicBezTo>
                  <a:cubicBezTo>
                    <a:pt x="0" y="28"/>
                    <a:pt x="2" y="20"/>
                    <a:pt x="7" y="13"/>
                  </a:cubicBezTo>
                  <a:cubicBezTo>
                    <a:pt x="13" y="5"/>
                    <a:pt x="22" y="0"/>
                    <a:pt x="32" y="0"/>
                  </a:cubicBezTo>
                  <a:cubicBezTo>
                    <a:pt x="39" y="0"/>
                    <a:pt x="45" y="2"/>
                    <a:pt x="50" y="6"/>
                  </a:cubicBezTo>
                  <a:cubicBezTo>
                    <a:pt x="57" y="11"/>
                    <a:pt x="61" y="18"/>
                    <a:pt x="63" y="26"/>
                  </a:cubicBezTo>
                  <a:cubicBezTo>
                    <a:pt x="64" y="34"/>
                    <a:pt x="62" y="43"/>
                    <a:pt x="57" y="49"/>
                  </a:cubicBezTo>
                  <a:cubicBezTo>
                    <a:pt x="51" y="57"/>
                    <a:pt x="42" y="62"/>
                    <a:pt x="32" y="62"/>
                  </a:cubicBezTo>
                  <a:close/>
                  <a:moveTo>
                    <a:pt x="32" y="8"/>
                  </a:moveTo>
                  <a:cubicBezTo>
                    <a:pt x="25" y="8"/>
                    <a:pt x="18" y="12"/>
                    <a:pt x="13" y="18"/>
                  </a:cubicBezTo>
                  <a:cubicBezTo>
                    <a:pt x="10" y="23"/>
                    <a:pt x="8" y="29"/>
                    <a:pt x="9" y="35"/>
                  </a:cubicBezTo>
                  <a:cubicBezTo>
                    <a:pt x="10" y="41"/>
                    <a:pt x="14" y="46"/>
                    <a:pt x="19" y="50"/>
                  </a:cubicBezTo>
                  <a:cubicBezTo>
                    <a:pt x="23" y="53"/>
                    <a:pt x="27" y="54"/>
                    <a:pt x="32" y="54"/>
                  </a:cubicBezTo>
                  <a:cubicBezTo>
                    <a:pt x="39" y="54"/>
                    <a:pt x="46" y="51"/>
                    <a:pt x="51" y="45"/>
                  </a:cubicBezTo>
                  <a:cubicBezTo>
                    <a:pt x="54" y="40"/>
                    <a:pt x="56" y="34"/>
                    <a:pt x="55" y="28"/>
                  </a:cubicBezTo>
                  <a:cubicBezTo>
                    <a:pt x="54" y="21"/>
                    <a:pt x="51" y="16"/>
                    <a:pt x="46" y="13"/>
                  </a:cubicBezTo>
                  <a:cubicBezTo>
                    <a:pt x="42" y="10"/>
                    <a:pt x="37" y="8"/>
                    <a:pt x="32" y="8"/>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
            <p:cNvSpPr>
              <a:spLocks noEditPoints="1"/>
            </p:cNvSpPr>
            <p:nvPr/>
          </p:nvSpPr>
          <p:spPr bwMode="auto">
            <a:xfrm>
              <a:off x="1810" y="2072"/>
              <a:ext cx="176" cy="176"/>
            </a:xfrm>
            <a:custGeom>
              <a:avLst/>
              <a:gdLst>
                <a:gd name="T0" fmla="*/ 31 w 62"/>
                <a:gd name="T1" fmla="*/ 62 h 62"/>
                <a:gd name="T2" fmla="*/ 0 w 62"/>
                <a:gd name="T3" fmla="*/ 31 h 62"/>
                <a:gd name="T4" fmla="*/ 31 w 62"/>
                <a:gd name="T5" fmla="*/ 0 h 62"/>
                <a:gd name="T6" fmla="*/ 62 w 62"/>
                <a:gd name="T7" fmla="*/ 31 h 62"/>
                <a:gd name="T8" fmla="*/ 31 w 62"/>
                <a:gd name="T9" fmla="*/ 62 h 62"/>
                <a:gd name="T10" fmla="*/ 31 w 62"/>
                <a:gd name="T11" fmla="*/ 8 h 62"/>
                <a:gd name="T12" fmla="*/ 8 w 62"/>
                <a:gd name="T13" fmla="*/ 31 h 62"/>
                <a:gd name="T14" fmla="*/ 31 w 62"/>
                <a:gd name="T15" fmla="*/ 54 h 62"/>
                <a:gd name="T16" fmla="*/ 54 w 62"/>
                <a:gd name="T17" fmla="*/ 31 h 62"/>
                <a:gd name="T18" fmla="*/ 31 w 62"/>
                <a:gd name="T19"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31" y="8"/>
                  </a:moveTo>
                  <a:cubicBezTo>
                    <a:pt x="19" y="8"/>
                    <a:pt x="8" y="18"/>
                    <a:pt x="8" y="31"/>
                  </a:cubicBezTo>
                  <a:cubicBezTo>
                    <a:pt x="8" y="44"/>
                    <a:pt x="19" y="54"/>
                    <a:pt x="31" y="54"/>
                  </a:cubicBezTo>
                  <a:cubicBezTo>
                    <a:pt x="44" y="54"/>
                    <a:pt x="54" y="44"/>
                    <a:pt x="54" y="31"/>
                  </a:cubicBezTo>
                  <a:cubicBezTo>
                    <a:pt x="54" y="18"/>
                    <a:pt x="44" y="8"/>
                    <a:pt x="31" y="8"/>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p:cNvSpPr>
              <a:spLocks noEditPoints="1"/>
            </p:cNvSpPr>
            <p:nvPr/>
          </p:nvSpPr>
          <p:spPr bwMode="auto">
            <a:xfrm>
              <a:off x="1645" y="1572"/>
              <a:ext cx="182" cy="176"/>
            </a:xfrm>
            <a:custGeom>
              <a:avLst/>
              <a:gdLst>
                <a:gd name="T0" fmla="*/ 32 w 64"/>
                <a:gd name="T1" fmla="*/ 62 h 62"/>
                <a:gd name="T2" fmla="*/ 7 w 64"/>
                <a:gd name="T3" fmla="*/ 49 h 62"/>
                <a:gd name="T4" fmla="*/ 1 w 64"/>
                <a:gd name="T5" fmla="*/ 26 h 62"/>
                <a:gd name="T6" fmla="*/ 14 w 64"/>
                <a:gd name="T7" fmla="*/ 6 h 62"/>
                <a:gd name="T8" fmla="*/ 32 w 64"/>
                <a:gd name="T9" fmla="*/ 0 h 62"/>
                <a:gd name="T10" fmla="*/ 57 w 64"/>
                <a:gd name="T11" fmla="*/ 13 h 62"/>
                <a:gd name="T12" fmla="*/ 63 w 64"/>
                <a:gd name="T13" fmla="*/ 36 h 62"/>
                <a:gd name="T14" fmla="*/ 50 w 64"/>
                <a:gd name="T15" fmla="*/ 56 h 62"/>
                <a:gd name="T16" fmla="*/ 32 w 64"/>
                <a:gd name="T17" fmla="*/ 62 h 62"/>
                <a:gd name="T18" fmla="*/ 32 w 64"/>
                <a:gd name="T19" fmla="*/ 8 h 62"/>
                <a:gd name="T20" fmla="*/ 19 w 64"/>
                <a:gd name="T21" fmla="*/ 12 h 62"/>
                <a:gd name="T22" fmla="*/ 9 w 64"/>
                <a:gd name="T23" fmla="*/ 27 h 62"/>
                <a:gd name="T24" fmla="*/ 13 w 64"/>
                <a:gd name="T25" fmla="*/ 45 h 62"/>
                <a:gd name="T26" fmla="*/ 32 w 64"/>
                <a:gd name="T27" fmla="*/ 54 h 62"/>
                <a:gd name="T28" fmla="*/ 46 w 64"/>
                <a:gd name="T29" fmla="*/ 50 h 62"/>
                <a:gd name="T30" fmla="*/ 55 w 64"/>
                <a:gd name="T31" fmla="*/ 35 h 62"/>
                <a:gd name="T32" fmla="*/ 51 w 64"/>
                <a:gd name="T33" fmla="*/ 18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2" y="62"/>
                    <a:pt x="13" y="57"/>
                    <a:pt x="7" y="49"/>
                  </a:cubicBezTo>
                  <a:cubicBezTo>
                    <a:pt x="2" y="43"/>
                    <a:pt x="0" y="34"/>
                    <a:pt x="1" y="26"/>
                  </a:cubicBezTo>
                  <a:cubicBezTo>
                    <a:pt x="3" y="18"/>
                    <a:pt x="7" y="11"/>
                    <a:pt x="14" y="6"/>
                  </a:cubicBezTo>
                  <a:cubicBezTo>
                    <a:pt x="19" y="2"/>
                    <a:pt x="25" y="0"/>
                    <a:pt x="32" y="0"/>
                  </a:cubicBezTo>
                  <a:cubicBezTo>
                    <a:pt x="42" y="0"/>
                    <a:pt x="51" y="5"/>
                    <a:pt x="57" y="13"/>
                  </a:cubicBezTo>
                  <a:cubicBezTo>
                    <a:pt x="62" y="20"/>
                    <a:pt x="64" y="28"/>
                    <a:pt x="63" y="36"/>
                  </a:cubicBezTo>
                  <a:cubicBezTo>
                    <a:pt x="61" y="44"/>
                    <a:pt x="57" y="51"/>
                    <a:pt x="50" y="56"/>
                  </a:cubicBezTo>
                  <a:cubicBezTo>
                    <a:pt x="45" y="60"/>
                    <a:pt x="39" y="62"/>
                    <a:pt x="32" y="62"/>
                  </a:cubicBezTo>
                  <a:close/>
                  <a:moveTo>
                    <a:pt x="32" y="8"/>
                  </a:moveTo>
                  <a:cubicBezTo>
                    <a:pt x="27" y="8"/>
                    <a:pt x="23" y="10"/>
                    <a:pt x="19" y="12"/>
                  </a:cubicBezTo>
                  <a:cubicBezTo>
                    <a:pt x="14" y="16"/>
                    <a:pt x="10" y="21"/>
                    <a:pt x="9" y="27"/>
                  </a:cubicBezTo>
                  <a:cubicBezTo>
                    <a:pt x="8" y="34"/>
                    <a:pt x="10" y="40"/>
                    <a:pt x="13" y="45"/>
                  </a:cubicBezTo>
                  <a:cubicBezTo>
                    <a:pt x="18" y="50"/>
                    <a:pt x="25" y="54"/>
                    <a:pt x="32" y="54"/>
                  </a:cubicBezTo>
                  <a:cubicBezTo>
                    <a:pt x="37" y="54"/>
                    <a:pt x="42" y="52"/>
                    <a:pt x="46" y="50"/>
                  </a:cubicBezTo>
                  <a:cubicBezTo>
                    <a:pt x="51" y="46"/>
                    <a:pt x="54" y="41"/>
                    <a:pt x="55" y="35"/>
                  </a:cubicBezTo>
                  <a:cubicBezTo>
                    <a:pt x="56" y="29"/>
                    <a:pt x="54" y="23"/>
                    <a:pt x="51" y="18"/>
                  </a:cubicBezTo>
                  <a:cubicBezTo>
                    <a:pt x="46" y="12"/>
                    <a:pt x="39" y="8"/>
                    <a:pt x="32" y="8"/>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noEditPoints="1"/>
            </p:cNvSpPr>
            <p:nvPr/>
          </p:nvSpPr>
          <p:spPr bwMode="auto">
            <a:xfrm>
              <a:off x="1219" y="1263"/>
              <a:ext cx="182" cy="176"/>
            </a:xfrm>
            <a:custGeom>
              <a:avLst/>
              <a:gdLst>
                <a:gd name="T0" fmla="*/ 32 w 64"/>
                <a:gd name="T1" fmla="*/ 62 h 62"/>
                <a:gd name="T2" fmla="*/ 23 w 64"/>
                <a:gd name="T3" fmla="*/ 61 h 62"/>
                <a:gd name="T4" fmla="*/ 5 w 64"/>
                <a:gd name="T5" fmla="*/ 45 h 62"/>
                <a:gd name="T6" fmla="*/ 3 w 64"/>
                <a:gd name="T7" fmla="*/ 22 h 62"/>
                <a:gd name="T8" fmla="*/ 32 w 64"/>
                <a:gd name="T9" fmla="*/ 0 h 62"/>
                <a:gd name="T10" fmla="*/ 42 w 64"/>
                <a:gd name="T11" fmla="*/ 2 h 62"/>
                <a:gd name="T12" fmla="*/ 60 w 64"/>
                <a:gd name="T13" fmla="*/ 17 h 62"/>
                <a:gd name="T14" fmla="*/ 62 w 64"/>
                <a:gd name="T15" fmla="*/ 41 h 62"/>
                <a:gd name="T16" fmla="*/ 32 w 64"/>
                <a:gd name="T17" fmla="*/ 62 h 62"/>
                <a:gd name="T18" fmla="*/ 32 w 64"/>
                <a:gd name="T19" fmla="*/ 8 h 62"/>
                <a:gd name="T20" fmla="*/ 10 w 64"/>
                <a:gd name="T21" fmla="*/ 24 h 62"/>
                <a:gd name="T22" fmla="*/ 12 w 64"/>
                <a:gd name="T23" fmla="*/ 42 h 62"/>
                <a:gd name="T24" fmla="*/ 25 w 64"/>
                <a:gd name="T25" fmla="*/ 53 h 62"/>
                <a:gd name="T26" fmla="*/ 32 w 64"/>
                <a:gd name="T27" fmla="*/ 54 h 62"/>
                <a:gd name="T28" fmla="*/ 54 w 64"/>
                <a:gd name="T29" fmla="*/ 38 h 62"/>
                <a:gd name="T30" fmla="*/ 53 w 64"/>
                <a:gd name="T31" fmla="*/ 21 h 62"/>
                <a:gd name="T32" fmla="*/ 39 w 64"/>
                <a:gd name="T33" fmla="*/ 9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9" y="62"/>
                    <a:pt x="26" y="62"/>
                    <a:pt x="23" y="61"/>
                  </a:cubicBezTo>
                  <a:cubicBezTo>
                    <a:pt x="15" y="58"/>
                    <a:pt x="8" y="53"/>
                    <a:pt x="5" y="45"/>
                  </a:cubicBezTo>
                  <a:cubicBezTo>
                    <a:pt x="1" y="38"/>
                    <a:pt x="0" y="30"/>
                    <a:pt x="3" y="22"/>
                  </a:cubicBezTo>
                  <a:cubicBezTo>
                    <a:pt x="7" y="9"/>
                    <a:pt x="19" y="0"/>
                    <a:pt x="32" y="0"/>
                  </a:cubicBezTo>
                  <a:cubicBezTo>
                    <a:pt x="36" y="0"/>
                    <a:pt x="39" y="1"/>
                    <a:pt x="42" y="2"/>
                  </a:cubicBezTo>
                  <a:cubicBezTo>
                    <a:pt x="50" y="4"/>
                    <a:pt x="56" y="10"/>
                    <a:pt x="60" y="17"/>
                  </a:cubicBezTo>
                  <a:cubicBezTo>
                    <a:pt x="64" y="25"/>
                    <a:pt x="64" y="33"/>
                    <a:pt x="62" y="41"/>
                  </a:cubicBezTo>
                  <a:cubicBezTo>
                    <a:pt x="58" y="54"/>
                    <a:pt x="46" y="62"/>
                    <a:pt x="32" y="62"/>
                  </a:cubicBezTo>
                  <a:close/>
                  <a:moveTo>
                    <a:pt x="32" y="8"/>
                  </a:moveTo>
                  <a:cubicBezTo>
                    <a:pt x="22" y="8"/>
                    <a:pt x="14" y="15"/>
                    <a:pt x="10" y="24"/>
                  </a:cubicBezTo>
                  <a:cubicBezTo>
                    <a:pt x="9" y="30"/>
                    <a:pt x="9" y="36"/>
                    <a:pt x="12" y="42"/>
                  </a:cubicBezTo>
                  <a:cubicBezTo>
                    <a:pt x="15" y="47"/>
                    <a:pt x="19" y="51"/>
                    <a:pt x="25" y="53"/>
                  </a:cubicBezTo>
                  <a:cubicBezTo>
                    <a:pt x="28" y="54"/>
                    <a:pt x="30" y="54"/>
                    <a:pt x="32" y="54"/>
                  </a:cubicBezTo>
                  <a:cubicBezTo>
                    <a:pt x="42" y="54"/>
                    <a:pt x="51" y="48"/>
                    <a:pt x="54" y="38"/>
                  </a:cubicBezTo>
                  <a:cubicBezTo>
                    <a:pt x="56" y="33"/>
                    <a:pt x="56" y="26"/>
                    <a:pt x="53" y="21"/>
                  </a:cubicBezTo>
                  <a:cubicBezTo>
                    <a:pt x="50" y="15"/>
                    <a:pt x="45" y="11"/>
                    <a:pt x="39" y="9"/>
                  </a:cubicBezTo>
                  <a:cubicBezTo>
                    <a:pt x="37" y="9"/>
                    <a:pt x="35" y="8"/>
                    <a:pt x="32" y="8"/>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p:cNvSpPr>
            <p:nvPr/>
          </p:nvSpPr>
          <p:spPr bwMode="auto">
            <a:xfrm>
              <a:off x="1151" y="3068"/>
              <a:ext cx="605" cy="639"/>
            </a:xfrm>
            <a:custGeom>
              <a:avLst/>
              <a:gdLst>
                <a:gd name="T0" fmla="*/ 197 w 213"/>
                <a:gd name="T1" fmla="*/ 88 h 225"/>
                <a:gd name="T2" fmla="*/ 136 w 213"/>
                <a:gd name="T3" fmla="*/ 209 h 225"/>
                <a:gd name="T4" fmla="*/ 15 w 213"/>
                <a:gd name="T5" fmla="*/ 147 h 225"/>
                <a:gd name="T6" fmla="*/ 60 w 213"/>
                <a:gd name="T7" fmla="*/ 34 h 225"/>
                <a:gd name="T8" fmla="*/ 68 w 213"/>
                <a:gd name="T9" fmla="*/ 0 h 225"/>
                <a:gd name="T10" fmla="*/ 93 w 213"/>
                <a:gd name="T11" fmla="*/ 23 h 225"/>
                <a:gd name="T12" fmla="*/ 197 w 213"/>
                <a:gd name="T13" fmla="*/ 88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88"/>
                  </a:moveTo>
                  <a:cubicBezTo>
                    <a:pt x="213" y="138"/>
                    <a:pt x="186" y="192"/>
                    <a:pt x="136" y="209"/>
                  </a:cubicBezTo>
                  <a:cubicBezTo>
                    <a:pt x="85" y="225"/>
                    <a:pt x="31" y="198"/>
                    <a:pt x="15" y="147"/>
                  </a:cubicBezTo>
                  <a:cubicBezTo>
                    <a:pt x="0" y="103"/>
                    <a:pt x="20" y="55"/>
                    <a:pt x="60" y="34"/>
                  </a:cubicBezTo>
                  <a:cubicBezTo>
                    <a:pt x="68" y="0"/>
                    <a:pt x="68" y="0"/>
                    <a:pt x="68" y="0"/>
                  </a:cubicBezTo>
                  <a:cubicBezTo>
                    <a:pt x="93" y="23"/>
                    <a:pt x="93" y="23"/>
                    <a:pt x="93" y="23"/>
                  </a:cubicBezTo>
                  <a:cubicBezTo>
                    <a:pt x="138" y="17"/>
                    <a:pt x="182" y="43"/>
                    <a:pt x="197" y="8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p:cNvSpPr>
            <p:nvPr/>
          </p:nvSpPr>
          <p:spPr bwMode="auto">
            <a:xfrm>
              <a:off x="1804" y="2631"/>
              <a:ext cx="611" cy="605"/>
            </a:xfrm>
            <a:custGeom>
              <a:avLst/>
              <a:gdLst>
                <a:gd name="T0" fmla="*/ 162 w 215"/>
                <a:gd name="T1" fmla="*/ 27 h 213"/>
                <a:gd name="T2" fmla="*/ 183 w 215"/>
                <a:gd name="T3" fmla="*/ 161 h 213"/>
                <a:gd name="T4" fmla="*/ 50 w 215"/>
                <a:gd name="T5" fmla="*/ 182 h 213"/>
                <a:gd name="T6" fmla="*/ 20 w 215"/>
                <a:gd name="T7" fmla="*/ 63 h 213"/>
                <a:gd name="T8" fmla="*/ 6 w 215"/>
                <a:gd name="T9" fmla="*/ 32 h 213"/>
                <a:gd name="T10" fmla="*/ 40 w 215"/>
                <a:gd name="T11" fmla="*/ 35 h 213"/>
                <a:gd name="T12" fmla="*/ 162 w 215"/>
                <a:gd name="T13" fmla="*/ 27 h 213"/>
              </a:gdLst>
              <a:ahLst/>
              <a:cxnLst>
                <a:cxn ang="0">
                  <a:pos x="T0" y="T1"/>
                </a:cxn>
                <a:cxn ang="0">
                  <a:pos x="T2" y="T3"/>
                </a:cxn>
                <a:cxn ang="0">
                  <a:pos x="T4" y="T5"/>
                </a:cxn>
                <a:cxn ang="0">
                  <a:pos x="T6" y="T7"/>
                </a:cxn>
                <a:cxn ang="0">
                  <a:pos x="T8" y="T9"/>
                </a:cxn>
                <a:cxn ang="0">
                  <a:pos x="T10" y="T11"/>
                </a:cxn>
                <a:cxn ang="0">
                  <a:pos x="T12" y="T13"/>
                </a:cxn>
              </a:cxnLst>
              <a:rect l="0" t="0" r="r" b="b"/>
              <a:pathLst>
                <a:path w="215" h="213">
                  <a:moveTo>
                    <a:pt x="162" y="27"/>
                  </a:moveTo>
                  <a:cubicBezTo>
                    <a:pt x="205" y="58"/>
                    <a:pt x="215" y="118"/>
                    <a:pt x="183" y="161"/>
                  </a:cubicBezTo>
                  <a:cubicBezTo>
                    <a:pt x="152" y="204"/>
                    <a:pt x="93" y="213"/>
                    <a:pt x="50" y="182"/>
                  </a:cubicBezTo>
                  <a:cubicBezTo>
                    <a:pt x="12" y="154"/>
                    <a:pt x="0" y="104"/>
                    <a:pt x="20" y="63"/>
                  </a:cubicBezTo>
                  <a:cubicBezTo>
                    <a:pt x="6" y="32"/>
                    <a:pt x="6" y="32"/>
                    <a:pt x="6" y="32"/>
                  </a:cubicBezTo>
                  <a:cubicBezTo>
                    <a:pt x="40" y="35"/>
                    <a:pt x="40" y="35"/>
                    <a:pt x="40" y="35"/>
                  </a:cubicBezTo>
                  <a:cubicBezTo>
                    <a:pt x="73" y="4"/>
                    <a:pt x="124" y="0"/>
                    <a:pt x="162" y="27"/>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auto">
            <a:xfrm>
              <a:off x="2003" y="1887"/>
              <a:ext cx="625" cy="546"/>
            </a:xfrm>
            <a:custGeom>
              <a:avLst/>
              <a:gdLst>
                <a:gd name="T0" fmla="*/ 124 w 220"/>
                <a:gd name="T1" fmla="*/ 192 h 192"/>
                <a:gd name="T2" fmla="*/ 220 w 220"/>
                <a:gd name="T3" fmla="*/ 96 h 192"/>
                <a:gd name="T4" fmla="*/ 124 w 220"/>
                <a:gd name="T5" fmla="*/ 0 h 192"/>
                <a:gd name="T6" fmla="*/ 30 w 220"/>
                <a:gd name="T7" fmla="*/ 79 h 192"/>
                <a:gd name="T8" fmla="*/ 0 w 220"/>
                <a:gd name="T9" fmla="*/ 96 h 192"/>
                <a:gd name="T10" fmla="*/ 30 w 220"/>
                <a:gd name="T11" fmla="*/ 113 h 192"/>
                <a:gd name="T12" fmla="*/ 124 w 22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220" h="192">
                  <a:moveTo>
                    <a:pt x="124" y="192"/>
                  </a:moveTo>
                  <a:cubicBezTo>
                    <a:pt x="177" y="192"/>
                    <a:pt x="220" y="149"/>
                    <a:pt x="220" y="96"/>
                  </a:cubicBezTo>
                  <a:cubicBezTo>
                    <a:pt x="220" y="43"/>
                    <a:pt x="177" y="0"/>
                    <a:pt x="124" y="0"/>
                  </a:cubicBezTo>
                  <a:cubicBezTo>
                    <a:pt x="77" y="0"/>
                    <a:pt x="38" y="34"/>
                    <a:pt x="30" y="79"/>
                  </a:cubicBezTo>
                  <a:cubicBezTo>
                    <a:pt x="0" y="96"/>
                    <a:pt x="0" y="96"/>
                    <a:pt x="0" y="96"/>
                  </a:cubicBezTo>
                  <a:cubicBezTo>
                    <a:pt x="30" y="113"/>
                    <a:pt x="30" y="113"/>
                    <a:pt x="30" y="113"/>
                  </a:cubicBezTo>
                  <a:cubicBezTo>
                    <a:pt x="38" y="158"/>
                    <a:pt x="77" y="192"/>
                    <a:pt x="124" y="192"/>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7"/>
            <p:cNvSpPr>
              <a:spLocks/>
            </p:cNvSpPr>
            <p:nvPr/>
          </p:nvSpPr>
          <p:spPr bwMode="auto">
            <a:xfrm>
              <a:off x="1804" y="1084"/>
              <a:ext cx="611" cy="608"/>
            </a:xfrm>
            <a:custGeom>
              <a:avLst/>
              <a:gdLst>
                <a:gd name="T0" fmla="*/ 162 w 215"/>
                <a:gd name="T1" fmla="*/ 186 h 214"/>
                <a:gd name="T2" fmla="*/ 183 w 215"/>
                <a:gd name="T3" fmla="*/ 52 h 214"/>
                <a:gd name="T4" fmla="*/ 50 w 215"/>
                <a:gd name="T5" fmla="*/ 31 h 214"/>
                <a:gd name="T6" fmla="*/ 20 w 215"/>
                <a:gd name="T7" fmla="*/ 150 h 214"/>
                <a:gd name="T8" fmla="*/ 6 w 215"/>
                <a:gd name="T9" fmla="*/ 182 h 214"/>
                <a:gd name="T10" fmla="*/ 40 w 215"/>
                <a:gd name="T11" fmla="*/ 178 h 214"/>
                <a:gd name="T12" fmla="*/ 162 w 215"/>
                <a:gd name="T13" fmla="*/ 186 h 214"/>
              </a:gdLst>
              <a:ahLst/>
              <a:cxnLst>
                <a:cxn ang="0">
                  <a:pos x="T0" y="T1"/>
                </a:cxn>
                <a:cxn ang="0">
                  <a:pos x="T2" y="T3"/>
                </a:cxn>
                <a:cxn ang="0">
                  <a:pos x="T4" y="T5"/>
                </a:cxn>
                <a:cxn ang="0">
                  <a:pos x="T6" y="T7"/>
                </a:cxn>
                <a:cxn ang="0">
                  <a:pos x="T8" y="T9"/>
                </a:cxn>
                <a:cxn ang="0">
                  <a:pos x="T10" y="T11"/>
                </a:cxn>
                <a:cxn ang="0">
                  <a:pos x="T12" y="T13"/>
                </a:cxn>
              </a:cxnLst>
              <a:rect l="0" t="0" r="r" b="b"/>
              <a:pathLst>
                <a:path w="215" h="214">
                  <a:moveTo>
                    <a:pt x="162" y="186"/>
                  </a:moveTo>
                  <a:cubicBezTo>
                    <a:pt x="205" y="155"/>
                    <a:pt x="215" y="95"/>
                    <a:pt x="183" y="52"/>
                  </a:cubicBezTo>
                  <a:cubicBezTo>
                    <a:pt x="152" y="10"/>
                    <a:pt x="93" y="0"/>
                    <a:pt x="50" y="31"/>
                  </a:cubicBezTo>
                  <a:cubicBezTo>
                    <a:pt x="12" y="59"/>
                    <a:pt x="0" y="109"/>
                    <a:pt x="20" y="150"/>
                  </a:cubicBezTo>
                  <a:cubicBezTo>
                    <a:pt x="6" y="182"/>
                    <a:pt x="6" y="182"/>
                    <a:pt x="6" y="182"/>
                  </a:cubicBezTo>
                  <a:cubicBezTo>
                    <a:pt x="40" y="178"/>
                    <a:pt x="40" y="178"/>
                    <a:pt x="40" y="178"/>
                  </a:cubicBezTo>
                  <a:cubicBezTo>
                    <a:pt x="73" y="209"/>
                    <a:pt x="124" y="214"/>
                    <a:pt x="162" y="186"/>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8"/>
            <p:cNvSpPr>
              <a:spLocks/>
            </p:cNvSpPr>
            <p:nvPr/>
          </p:nvSpPr>
          <p:spPr bwMode="auto">
            <a:xfrm>
              <a:off x="1151" y="613"/>
              <a:ext cx="605" cy="639"/>
            </a:xfrm>
            <a:custGeom>
              <a:avLst/>
              <a:gdLst>
                <a:gd name="T0" fmla="*/ 197 w 213"/>
                <a:gd name="T1" fmla="*/ 137 h 225"/>
                <a:gd name="T2" fmla="*/ 136 w 213"/>
                <a:gd name="T3" fmla="*/ 16 h 225"/>
                <a:gd name="T4" fmla="*/ 15 w 213"/>
                <a:gd name="T5" fmla="*/ 78 h 225"/>
                <a:gd name="T6" fmla="*/ 60 w 213"/>
                <a:gd name="T7" fmla="*/ 192 h 225"/>
                <a:gd name="T8" fmla="*/ 68 w 213"/>
                <a:gd name="T9" fmla="*/ 225 h 225"/>
                <a:gd name="T10" fmla="*/ 93 w 213"/>
                <a:gd name="T11" fmla="*/ 202 h 225"/>
                <a:gd name="T12" fmla="*/ 197 w 213"/>
                <a:gd name="T13" fmla="*/ 137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137"/>
                  </a:moveTo>
                  <a:cubicBezTo>
                    <a:pt x="213" y="87"/>
                    <a:pt x="186" y="33"/>
                    <a:pt x="136" y="16"/>
                  </a:cubicBezTo>
                  <a:cubicBezTo>
                    <a:pt x="85" y="0"/>
                    <a:pt x="31" y="28"/>
                    <a:pt x="15" y="78"/>
                  </a:cubicBezTo>
                  <a:cubicBezTo>
                    <a:pt x="0" y="123"/>
                    <a:pt x="20" y="170"/>
                    <a:pt x="60" y="192"/>
                  </a:cubicBezTo>
                  <a:cubicBezTo>
                    <a:pt x="68" y="225"/>
                    <a:pt x="68" y="225"/>
                    <a:pt x="68" y="225"/>
                  </a:cubicBezTo>
                  <a:cubicBezTo>
                    <a:pt x="93" y="202"/>
                    <a:pt x="93" y="202"/>
                    <a:pt x="93" y="202"/>
                  </a:cubicBezTo>
                  <a:cubicBezTo>
                    <a:pt x="138" y="208"/>
                    <a:pt x="182" y="182"/>
                    <a:pt x="197" y="137"/>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29"/>
            <p:cNvSpPr>
              <a:spLocks noChangeArrowheads="1"/>
            </p:cNvSpPr>
            <p:nvPr/>
          </p:nvSpPr>
          <p:spPr bwMode="auto">
            <a:xfrm>
              <a:off x="1270" y="3222"/>
              <a:ext cx="364" cy="3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30"/>
            <p:cNvSpPr>
              <a:spLocks noChangeArrowheads="1"/>
            </p:cNvSpPr>
            <p:nvPr/>
          </p:nvSpPr>
          <p:spPr bwMode="auto">
            <a:xfrm>
              <a:off x="1276" y="3227"/>
              <a:ext cx="352" cy="3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31"/>
            <p:cNvSpPr>
              <a:spLocks noChangeArrowheads="1"/>
            </p:cNvSpPr>
            <p:nvPr/>
          </p:nvSpPr>
          <p:spPr bwMode="auto">
            <a:xfrm>
              <a:off x="1923" y="2748"/>
              <a:ext cx="364" cy="3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32"/>
            <p:cNvSpPr>
              <a:spLocks noChangeArrowheads="1"/>
            </p:cNvSpPr>
            <p:nvPr/>
          </p:nvSpPr>
          <p:spPr bwMode="auto">
            <a:xfrm>
              <a:off x="1929" y="2753"/>
              <a:ext cx="352" cy="3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33"/>
            <p:cNvSpPr>
              <a:spLocks noChangeArrowheads="1"/>
            </p:cNvSpPr>
            <p:nvPr/>
          </p:nvSpPr>
          <p:spPr bwMode="auto">
            <a:xfrm>
              <a:off x="2173" y="1978"/>
              <a:ext cx="364" cy="364"/>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34"/>
            <p:cNvSpPr>
              <a:spLocks noChangeArrowheads="1"/>
            </p:cNvSpPr>
            <p:nvPr/>
          </p:nvSpPr>
          <p:spPr bwMode="auto">
            <a:xfrm>
              <a:off x="2179" y="1984"/>
              <a:ext cx="352" cy="3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35"/>
            <p:cNvSpPr>
              <a:spLocks noChangeArrowheads="1"/>
            </p:cNvSpPr>
            <p:nvPr/>
          </p:nvSpPr>
          <p:spPr bwMode="auto">
            <a:xfrm>
              <a:off x="1923" y="1212"/>
              <a:ext cx="364" cy="36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36"/>
            <p:cNvSpPr>
              <a:spLocks noChangeArrowheads="1"/>
            </p:cNvSpPr>
            <p:nvPr/>
          </p:nvSpPr>
          <p:spPr bwMode="auto">
            <a:xfrm>
              <a:off x="1929" y="1217"/>
              <a:ext cx="352" cy="3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37"/>
            <p:cNvSpPr>
              <a:spLocks noChangeArrowheads="1"/>
            </p:cNvSpPr>
            <p:nvPr/>
          </p:nvSpPr>
          <p:spPr bwMode="auto">
            <a:xfrm>
              <a:off x="1270" y="735"/>
              <a:ext cx="364" cy="3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38"/>
            <p:cNvSpPr>
              <a:spLocks noChangeArrowheads="1"/>
            </p:cNvSpPr>
            <p:nvPr/>
          </p:nvSpPr>
          <p:spPr bwMode="auto">
            <a:xfrm>
              <a:off x="1276" y="741"/>
              <a:ext cx="352" cy="3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Oval 39"/>
            <p:cNvSpPr>
              <a:spLocks noChangeArrowheads="1"/>
            </p:cNvSpPr>
            <p:nvPr/>
          </p:nvSpPr>
          <p:spPr bwMode="auto">
            <a:xfrm>
              <a:off x="415" y="1527"/>
              <a:ext cx="1267" cy="1266"/>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40"/>
            <p:cNvSpPr>
              <a:spLocks noChangeArrowheads="1"/>
            </p:cNvSpPr>
            <p:nvPr/>
          </p:nvSpPr>
          <p:spPr bwMode="auto">
            <a:xfrm>
              <a:off x="432" y="1547"/>
              <a:ext cx="1230" cy="1226"/>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1"/>
            <p:cNvSpPr>
              <a:spLocks noEditPoints="1"/>
            </p:cNvSpPr>
            <p:nvPr/>
          </p:nvSpPr>
          <p:spPr bwMode="auto">
            <a:xfrm>
              <a:off x="1375" y="831"/>
              <a:ext cx="145" cy="148"/>
            </a:xfrm>
            <a:custGeom>
              <a:avLst/>
              <a:gdLst>
                <a:gd name="T0" fmla="*/ 51 w 51"/>
                <a:gd name="T1" fmla="*/ 48 h 52"/>
                <a:gd name="T2" fmla="*/ 33 w 51"/>
                <a:gd name="T3" fmla="*/ 31 h 52"/>
                <a:gd name="T4" fmla="*/ 38 w 51"/>
                <a:gd name="T5" fmla="*/ 19 h 52"/>
                <a:gd name="T6" fmla="*/ 19 w 51"/>
                <a:gd name="T7" fmla="*/ 0 h 52"/>
                <a:gd name="T8" fmla="*/ 0 w 51"/>
                <a:gd name="T9" fmla="*/ 19 h 52"/>
                <a:gd name="T10" fmla="*/ 19 w 51"/>
                <a:gd name="T11" fmla="*/ 38 h 52"/>
                <a:gd name="T12" fmla="*/ 31 w 51"/>
                <a:gd name="T13" fmla="*/ 34 h 52"/>
                <a:gd name="T14" fmla="*/ 48 w 51"/>
                <a:gd name="T15" fmla="*/ 51 h 52"/>
                <a:gd name="T16" fmla="*/ 49 w 51"/>
                <a:gd name="T17" fmla="*/ 52 h 52"/>
                <a:gd name="T18" fmla="*/ 51 w 51"/>
                <a:gd name="T19" fmla="*/ 51 h 52"/>
                <a:gd name="T20" fmla="*/ 51 w 51"/>
                <a:gd name="T21" fmla="*/ 48 h 52"/>
                <a:gd name="T22" fmla="*/ 19 w 51"/>
                <a:gd name="T23" fmla="*/ 34 h 52"/>
                <a:gd name="T24" fmla="*/ 3 w 51"/>
                <a:gd name="T25" fmla="*/ 19 h 52"/>
                <a:gd name="T26" fmla="*/ 19 w 51"/>
                <a:gd name="T27" fmla="*/ 4 h 52"/>
                <a:gd name="T28" fmla="*/ 34 w 51"/>
                <a:gd name="T29" fmla="*/ 19 h 52"/>
                <a:gd name="T30" fmla="*/ 19 w 51"/>
                <a:gd name="T31" fmla="*/ 3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52">
                  <a:moveTo>
                    <a:pt x="51" y="48"/>
                  </a:moveTo>
                  <a:cubicBezTo>
                    <a:pt x="33" y="31"/>
                    <a:pt x="33" y="31"/>
                    <a:pt x="33" y="31"/>
                  </a:cubicBezTo>
                  <a:cubicBezTo>
                    <a:pt x="36" y="28"/>
                    <a:pt x="38" y="24"/>
                    <a:pt x="38" y="19"/>
                  </a:cubicBezTo>
                  <a:cubicBezTo>
                    <a:pt x="38" y="9"/>
                    <a:pt x="29" y="0"/>
                    <a:pt x="19" y="0"/>
                  </a:cubicBezTo>
                  <a:cubicBezTo>
                    <a:pt x="8" y="0"/>
                    <a:pt x="0" y="9"/>
                    <a:pt x="0" y="19"/>
                  </a:cubicBezTo>
                  <a:cubicBezTo>
                    <a:pt x="0" y="30"/>
                    <a:pt x="8" y="38"/>
                    <a:pt x="19" y="38"/>
                  </a:cubicBezTo>
                  <a:cubicBezTo>
                    <a:pt x="23" y="38"/>
                    <a:pt x="27" y="37"/>
                    <a:pt x="31" y="34"/>
                  </a:cubicBezTo>
                  <a:cubicBezTo>
                    <a:pt x="48" y="51"/>
                    <a:pt x="48" y="51"/>
                    <a:pt x="48" y="51"/>
                  </a:cubicBezTo>
                  <a:cubicBezTo>
                    <a:pt x="48" y="51"/>
                    <a:pt x="49" y="52"/>
                    <a:pt x="49" y="52"/>
                  </a:cubicBezTo>
                  <a:cubicBezTo>
                    <a:pt x="50" y="52"/>
                    <a:pt x="50" y="51"/>
                    <a:pt x="51" y="51"/>
                  </a:cubicBezTo>
                  <a:cubicBezTo>
                    <a:pt x="51" y="50"/>
                    <a:pt x="51" y="49"/>
                    <a:pt x="51" y="48"/>
                  </a:cubicBezTo>
                  <a:close/>
                  <a:moveTo>
                    <a:pt x="19" y="34"/>
                  </a:moveTo>
                  <a:cubicBezTo>
                    <a:pt x="10" y="34"/>
                    <a:pt x="3" y="28"/>
                    <a:pt x="3" y="19"/>
                  </a:cubicBezTo>
                  <a:cubicBezTo>
                    <a:pt x="3" y="11"/>
                    <a:pt x="10" y="4"/>
                    <a:pt x="19" y="4"/>
                  </a:cubicBezTo>
                  <a:cubicBezTo>
                    <a:pt x="27" y="4"/>
                    <a:pt x="34" y="11"/>
                    <a:pt x="34" y="19"/>
                  </a:cubicBezTo>
                  <a:cubicBezTo>
                    <a:pt x="34" y="28"/>
                    <a:pt x="27" y="34"/>
                    <a:pt x="19" y="34"/>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2"/>
            <p:cNvSpPr>
              <a:spLocks noEditPoints="1"/>
            </p:cNvSpPr>
            <p:nvPr/>
          </p:nvSpPr>
          <p:spPr bwMode="auto">
            <a:xfrm>
              <a:off x="2043" y="1291"/>
              <a:ext cx="130" cy="162"/>
            </a:xfrm>
            <a:custGeom>
              <a:avLst/>
              <a:gdLst>
                <a:gd name="T0" fmla="*/ 42 w 46"/>
                <a:gd name="T1" fmla="*/ 46 h 57"/>
                <a:gd name="T2" fmla="*/ 40 w 46"/>
                <a:gd name="T3" fmla="*/ 38 h 57"/>
                <a:gd name="T4" fmla="*/ 44 w 46"/>
                <a:gd name="T5" fmla="*/ 21 h 57"/>
                <a:gd name="T6" fmla="*/ 2 w 46"/>
                <a:gd name="T7" fmla="*/ 21 h 57"/>
                <a:gd name="T8" fmla="*/ 2 w 46"/>
                <a:gd name="T9" fmla="*/ 38 h 57"/>
                <a:gd name="T10" fmla="*/ 0 w 46"/>
                <a:gd name="T11" fmla="*/ 48 h 57"/>
                <a:gd name="T12" fmla="*/ 4 w 46"/>
                <a:gd name="T13" fmla="*/ 50 h 57"/>
                <a:gd name="T14" fmla="*/ 6 w 46"/>
                <a:gd name="T15" fmla="*/ 57 h 57"/>
                <a:gd name="T16" fmla="*/ 46 w 46"/>
                <a:gd name="T17" fmla="*/ 55 h 57"/>
                <a:gd name="T18" fmla="*/ 44 w 46"/>
                <a:gd name="T19" fmla="*/ 46 h 57"/>
                <a:gd name="T20" fmla="*/ 34 w 46"/>
                <a:gd name="T21" fmla="*/ 46 h 57"/>
                <a:gd name="T22" fmla="*/ 38 w 46"/>
                <a:gd name="T23" fmla="*/ 42 h 57"/>
                <a:gd name="T24" fmla="*/ 38 w 46"/>
                <a:gd name="T25" fmla="*/ 46 h 57"/>
                <a:gd name="T26" fmla="*/ 12 w 46"/>
                <a:gd name="T27" fmla="*/ 42 h 57"/>
                <a:gd name="T28" fmla="*/ 15 w 46"/>
                <a:gd name="T29" fmla="*/ 46 h 57"/>
                <a:gd name="T30" fmla="*/ 12 w 46"/>
                <a:gd name="T31" fmla="*/ 46 h 57"/>
                <a:gd name="T32" fmla="*/ 19 w 46"/>
                <a:gd name="T33" fmla="*/ 42 h 57"/>
                <a:gd name="T34" fmla="*/ 23 w 46"/>
                <a:gd name="T35" fmla="*/ 46 h 57"/>
                <a:gd name="T36" fmla="*/ 19 w 46"/>
                <a:gd name="T37" fmla="*/ 46 h 57"/>
                <a:gd name="T38" fmla="*/ 31 w 46"/>
                <a:gd name="T39" fmla="*/ 42 h 57"/>
                <a:gd name="T40" fmla="*/ 27 w 46"/>
                <a:gd name="T41" fmla="*/ 46 h 57"/>
                <a:gd name="T42" fmla="*/ 27 w 46"/>
                <a:gd name="T43" fmla="*/ 42 h 57"/>
                <a:gd name="T44" fmla="*/ 34 w 46"/>
                <a:gd name="T45" fmla="*/ 53 h 57"/>
                <a:gd name="T46" fmla="*/ 31 w 46"/>
                <a:gd name="T47" fmla="*/ 50 h 57"/>
                <a:gd name="T48" fmla="*/ 34 w 46"/>
                <a:gd name="T49" fmla="*/ 50 h 57"/>
                <a:gd name="T50" fmla="*/ 23 w 46"/>
                <a:gd name="T51" fmla="*/ 4 h 57"/>
                <a:gd name="T52" fmla="*/ 23 w 46"/>
                <a:gd name="T53" fmla="*/ 38 h 57"/>
                <a:gd name="T54" fmla="*/ 4 w 46"/>
                <a:gd name="T55" fmla="*/ 42 h 57"/>
                <a:gd name="T56" fmla="*/ 8 w 46"/>
                <a:gd name="T57" fmla="*/ 46 h 57"/>
                <a:gd name="T58" fmla="*/ 4 w 46"/>
                <a:gd name="T59" fmla="*/ 46 h 57"/>
                <a:gd name="T60" fmla="*/ 4 w 46"/>
                <a:gd name="T61" fmla="*/ 42 h 57"/>
                <a:gd name="T62" fmla="*/ 12 w 46"/>
                <a:gd name="T63" fmla="*/ 50 h 57"/>
                <a:gd name="T64" fmla="*/ 8 w 46"/>
                <a:gd name="T65" fmla="*/ 53 h 57"/>
                <a:gd name="T66" fmla="*/ 8 w 46"/>
                <a:gd name="T67" fmla="*/ 50 h 57"/>
                <a:gd name="T68" fmla="*/ 15 w 46"/>
                <a:gd name="T69" fmla="*/ 50 h 57"/>
                <a:gd name="T70" fmla="*/ 19 w 46"/>
                <a:gd name="T71" fmla="*/ 53 h 57"/>
                <a:gd name="T72" fmla="*/ 15 w 46"/>
                <a:gd name="T73" fmla="*/ 53 h 57"/>
                <a:gd name="T74" fmla="*/ 27 w 46"/>
                <a:gd name="T75" fmla="*/ 50 h 57"/>
                <a:gd name="T76" fmla="*/ 23 w 46"/>
                <a:gd name="T77" fmla="*/ 53 h 57"/>
                <a:gd name="T78" fmla="*/ 23 w 46"/>
                <a:gd name="T79" fmla="*/ 50 h 57"/>
                <a:gd name="T80" fmla="*/ 38 w 46"/>
                <a:gd name="T81" fmla="*/ 53 h 57"/>
                <a:gd name="T82" fmla="*/ 40 w 46"/>
                <a:gd name="T83" fmla="*/ 50 h 57"/>
                <a:gd name="T84" fmla="*/ 42 w 46"/>
                <a:gd name="T85" fmla="*/ 53 h 57"/>
                <a:gd name="T86" fmla="*/ 23 w 46"/>
                <a:gd name="T87" fmla="*/ 30 h 57"/>
                <a:gd name="T88" fmla="*/ 17 w 46"/>
                <a:gd name="T89" fmla="*/ 29 h 57"/>
                <a:gd name="T90" fmla="*/ 20 w 46"/>
                <a:gd name="T91" fmla="*/ 27 h 57"/>
                <a:gd name="T92" fmla="*/ 24 w 46"/>
                <a:gd name="T93" fmla="*/ 27 h 57"/>
                <a:gd name="T94" fmla="*/ 25 w 46"/>
                <a:gd name="T95" fmla="*/ 24 h 57"/>
                <a:gd name="T96" fmla="*/ 22 w 46"/>
                <a:gd name="T97" fmla="*/ 22 h 57"/>
                <a:gd name="T98" fmla="*/ 18 w 46"/>
                <a:gd name="T99" fmla="*/ 19 h 57"/>
                <a:gd name="T100" fmla="*/ 19 w 46"/>
                <a:gd name="T101" fmla="*/ 13 h 57"/>
                <a:gd name="T102" fmla="*/ 23 w 46"/>
                <a:gd name="T103" fmla="*/ 10 h 57"/>
                <a:gd name="T104" fmla="*/ 25 w 46"/>
                <a:gd name="T105" fmla="*/ 12 h 57"/>
                <a:gd name="T106" fmla="*/ 29 w 46"/>
                <a:gd name="T107" fmla="*/ 13 h 57"/>
                <a:gd name="T108" fmla="*/ 25 w 46"/>
                <a:gd name="T109" fmla="*/ 15 h 57"/>
                <a:gd name="T110" fmla="*/ 22 w 46"/>
                <a:gd name="T111" fmla="*/ 16 h 57"/>
                <a:gd name="T112" fmla="*/ 21 w 46"/>
                <a:gd name="T113" fmla="*/ 18 h 57"/>
                <a:gd name="T114" fmla="*/ 24 w 46"/>
                <a:gd name="T115" fmla="*/ 20 h 57"/>
                <a:gd name="T116" fmla="*/ 29 w 46"/>
                <a:gd name="T117" fmla="*/ 25 h 57"/>
                <a:gd name="T118" fmla="*/ 25 w 46"/>
                <a:gd name="T119" fmla="*/ 30 h 57"/>
                <a:gd name="T120" fmla="*/ 23 w 46"/>
                <a:gd name="T121" fmla="*/ 32 h 57"/>
                <a:gd name="T122" fmla="*/ 23 w 46"/>
                <a:gd name="T123" fmla="*/ 3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 h="57">
                  <a:moveTo>
                    <a:pt x="44" y="46"/>
                  </a:moveTo>
                  <a:cubicBezTo>
                    <a:pt x="42" y="46"/>
                    <a:pt x="42" y="46"/>
                    <a:pt x="42" y="46"/>
                  </a:cubicBezTo>
                  <a:cubicBezTo>
                    <a:pt x="42" y="40"/>
                    <a:pt x="42" y="40"/>
                    <a:pt x="42" y="40"/>
                  </a:cubicBezTo>
                  <a:cubicBezTo>
                    <a:pt x="42" y="39"/>
                    <a:pt x="41" y="38"/>
                    <a:pt x="40" y="38"/>
                  </a:cubicBezTo>
                  <a:cubicBezTo>
                    <a:pt x="35" y="38"/>
                    <a:pt x="35" y="38"/>
                    <a:pt x="35" y="38"/>
                  </a:cubicBezTo>
                  <a:cubicBezTo>
                    <a:pt x="40" y="34"/>
                    <a:pt x="44" y="28"/>
                    <a:pt x="44" y="21"/>
                  </a:cubicBezTo>
                  <a:cubicBezTo>
                    <a:pt x="44" y="9"/>
                    <a:pt x="35" y="0"/>
                    <a:pt x="23" y="0"/>
                  </a:cubicBezTo>
                  <a:cubicBezTo>
                    <a:pt x="11" y="0"/>
                    <a:pt x="2" y="9"/>
                    <a:pt x="2" y="21"/>
                  </a:cubicBezTo>
                  <a:cubicBezTo>
                    <a:pt x="2" y="28"/>
                    <a:pt x="6" y="34"/>
                    <a:pt x="11" y="38"/>
                  </a:cubicBezTo>
                  <a:cubicBezTo>
                    <a:pt x="2" y="38"/>
                    <a:pt x="2" y="38"/>
                    <a:pt x="2" y="38"/>
                  </a:cubicBezTo>
                  <a:cubicBezTo>
                    <a:pt x="1" y="38"/>
                    <a:pt x="0" y="39"/>
                    <a:pt x="0" y="40"/>
                  </a:cubicBezTo>
                  <a:cubicBezTo>
                    <a:pt x="0" y="48"/>
                    <a:pt x="0" y="48"/>
                    <a:pt x="0" y="48"/>
                  </a:cubicBezTo>
                  <a:cubicBezTo>
                    <a:pt x="0" y="49"/>
                    <a:pt x="1" y="50"/>
                    <a:pt x="2" y="50"/>
                  </a:cubicBezTo>
                  <a:cubicBezTo>
                    <a:pt x="4" y="50"/>
                    <a:pt x="4" y="50"/>
                    <a:pt x="4" y="50"/>
                  </a:cubicBezTo>
                  <a:cubicBezTo>
                    <a:pt x="4" y="55"/>
                    <a:pt x="4" y="55"/>
                    <a:pt x="4" y="55"/>
                  </a:cubicBezTo>
                  <a:cubicBezTo>
                    <a:pt x="4" y="56"/>
                    <a:pt x="5" y="57"/>
                    <a:pt x="6" y="57"/>
                  </a:cubicBezTo>
                  <a:cubicBezTo>
                    <a:pt x="44" y="57"/>
                    <a:pt x="44" y="57"/>
                    <a:pt x="44" y="57"/>
                  </a:cubicBezTo>
                  <a:cubicBezTo>
                    <a:pt x="45" y="57"/>
                    <a:pt x="46" y="56"/>
                    <a:pt x="46" y="55"/>
                  </a:cubicBezTo>
                  <a:cubicBezTo>
                    <a:pt x="46" y="48"/>
                    <a:pt x="46" y="48"/>
                    <a:pt x="46" y="48"/>
                  </a:cubicBezTo>
                  <a:cubicBezTo>
                    <a:pt x="46" y="47"/>
                    <a:pt x="45" y="46"/>
                    <a:pt x="44" y="46"/>
                  </a:cubicBezTo>
                  <a:close/>
                  <a:moveTo>
                    <a:pt x="38" y="46"/>
                  </a:moveTo>
                  <a:cubicBezTo>
                    <a:pt x="34" y="46"/>
                    <a:pt x="34" y="46"/>
                    <a:pt x="34" y="46"/>
                  </a:cubicBezTo>
                  <a:cubicBezTo>
                    <a:pt x="34" y="42"/>
                    <a:pt x="34" y="42"/>
                    <a:pt x="34" y="42"/>
                  </a:cubicBezTo>
                  <a:cubicBezTo>
                    <a:pt x="38" y="42"/>
                    <a:pt x="38" y="42"/>
                    <a:pt x="38" y="42"/>
                  </a:cubicBezTo>
                  <a:cubicBezTo>
                    <a:pt x="38" y="46"/>
                    <a:pt x="38" y="46"/>
                    <a:pt x="38" y="46"/>
                  </a:cubicBezTo>
                  <a:cubicBezTo>
                    <a:pt x="38" y="46"/>
                    <a:pt x="38" y="46"/>
                    <a:pt x="38" y="46"/>
                  </a:cubicBezTo>
                  <a:close/>
                  <a:moveTo>
                    <a:pt x="12" y="46"/>
                  </a:moveTo>
                  <a:cubicBezTo>
                    <a:pt x="12" y="42"/>
                    <a:pt x="12" y="42"/>
                    <a:pt x="12" y="42"/>
                  </a:cubicBezTo>
                  <a:cubicBezTo>
                    <a:pt x="15" y="42"/>
                    <a:pt x="15" y="42"/>
                    <a:pt x="15" y="42"/>
                  </a:cubicBezTo>
                  <a:cubicBezTo>
                    <a:pt x="15" y="46"/>
                    <a:pt x="15" y="46"/>
                    <a:pt x="15" y="46"/>
                  </a:cubicBezTo>
                  <a:cubicBezTo>
                    <a:pt x="12" y="46"/>
                    <a:pt x="12" y="46"/>
                    <a:pt x="12" y="46"/>
                  </a:cubicBezTo>
                  <a:cubicBezTo>
                    <a:pt x="12" y="46"/>
                    <a:pt x="12" y="46"/>
                    <a:pt x="12" y="46"/>
                  </a:cubicBezTo>
                  <a:close/>
                  <a:moveTo>
                    <a:pt x="19" y="46"/>
                  </a:moveTo>
                  <a:cubicBezTo>
                    <a:pt x="19" y="42"/>
                    <a:pt x="19" y="42"/>
                    <a:pt x="19" y="42"/>
                  </a:cubicBezTo>
                  <a:cubicBezTo>
                    <a:pt x="23" y="42"/>
                    <a:pt x="23" y="42"/>
                    <a:pt x="23" y="42"/>
                  </a:cubicBezTo>
                  <a:cubicBezTo>
                    <a:pt x="23" y="46"/>
                    <a:pt x="23" y="46"/>
                    <a:pt x="23" y="46"/>
                  </a:cubicBezTo>
                  <a:cubicBezTo>
                    <a:pt x="19" y="46"/>
                    <a:pt x="19" y="46"/>
                    <a:pt x="19" y="46"/>
                  </a:cubicBezTo>
                  <a:cubicBezTo>
                    <a:pt x="19" y="46"/>
                    <a:pt x="19" y="46"/>
                    <a:pt x="19" y="46"/>
                  </a:cubicBezTo>
                  <a:close/>
                  <a:moveTo>
                    <a:pt x="27" y="42"/>
                  </a:moveTo>
                  <a:cubicBezTo>
                    <a:pt x="31" y="42"/>
                    <a:pt x="31" y="42"/>
                    <a:pt x="31" y="42"/>
                  </a:cubicBezTo>
                  <a:cubicBezTo>
                    <a:pt x="31" y="46"/>
                    <a:pt x="31" y="46"/>
                    <a:pt x="31" y="46"/>
                  </a:cubicBezTo>
                  <a:cubicBezTo>
                    <a:pt x="27" y="46"/>
                    <a:pt x="27" y="46"/>
                    <a:pt x="27" y="46"/>
                  </a:cubicBezTo>
                  <a:cubicBezTo>
                    <a:pt x="27" y="42"/>
                    <a:pt x="27" y="42"/>
                    <a:pt x="27" y="42"/>
                  </a:cubicBezTo>
                  <a:cubicBezTo>
                    <a:pt x="27" y="42"/>
                    <a:pt x="27" y="42"/>
                    <a:pt x="27" y="42"/>
                  </a:cubicBezTo>
                  <a:close/>
                  <a:moveTo>
                    <a:pt x="34" y="50"/>
                  </a:moveTo>
                  <a:cubicBezTo>
                    <a:pt x="34" y="53"/>
                    <a:pt x="34" y="53"/>
                    <a:pt x="34" y="53"/>
                  </a:cubicBezTo>
                  <a:cubicBezTo>
                    <a:pt x="31" y="53"/>
                    <a:pt x="31" y="53"/>
                    <a:pt x="31" y="53"/>
                  </a:cubicBezTo>
                  <a:cubicBezTo>
                    <a:pt x="31" y="50"/>
                    <a:pt x="31" y="50"/>
                    <a:pt x="31" y="50"/>
                  </a:cubicBezTo>
                  <a:cubicBezTo>
                    <a:pt x="34" y="50"/>
                    <a:pt x="34" y="50"/>
                    <a:pt x="34" y="50"/>
                  </a:cubicBezTo>
                  <a:cubicBezTo>
                    <a:pt x="34" y="50"/>
                    <a:pt x="34" y="50"/>
                    <a:pt x="34" y="50"/>
                  </a:cubicBezTo>
                  <a:close/>
                  <a:moveTo>
                    <a:pt x="6" y="21"/>
                  </a:moveTo>
                  <a:cubicBezTo>
                    <a:pt x="6" y="12"/>
                    <a:pt x="14" y="4"/>
                    <a:pt x="23" y="4"/>
                  </a:cubicBezTo>
                  <a:cubicBezTo>
                    <a:pt x="32" y="4"/>
                    <a:pt x="40" y="12"/>
                    <a:pt x="40" y="21"/>
                  </a:cubicBezTo>
                  <a:cubicBezTo>
                    <a:pt x="40" y="30"/>
                    <a:pt x="32" y="38"/>
                    <a:pt x="23" y="38"/>
                  </a:cubicBezTo>
                  <a:cubicBezTo>
                    <a:pt x="14" y="38"/>
                    <a:pt x="6" y="30"/>
                    <a:pt x="6" y="21"/>
                  </a:cubicBezTo>
                  <a:close/>
                  <a:moveTo>
                    <a:pt x="4" y="42"/>
                  </a:moveTo>
                  <a:cubicBezTo>
                    <a:pt x="8" y="42"/>
                    <a:pt x="8" y="42"/>
                    <a:pt x="8" y="42"/>
                  </a:cubicBezTo>
                  <a:cubicBezTo>
                    <a:pt x="8" y="46"/>
                    <a:pt x="8" y="46"/>
                    <a:pt x="8" y="46"/>
                  </a:cubicBezTo>
                  <a:cubicBezTo>
                    <a:pt x="6" y="46"/>
                    <a:pt x="6" y="46"/>
                    <a:pt x="6" y="46"/>
                  </a:cubicBezTo>
                  <a:cubicBezTo>
                    <a:pt x="4" y="46"/>
                    <a:pt x="4" y="46"/>
                    <a:pt x="4" y="46"/>
                  </a:cubicBezTo>
                  <a:cubicBezTo>
                    <a:pt x="4" y="42"/>
                    <a:pt x="4" y="42"/>
                    <a:pt x="4" y="42"/>
                  </a:cubicBezTo>
                  <a:cubicBezTo>
                    <a:pt x="4" y="42"/>
                    <a:pt x="4" y="42"/>
                    <a:pt x="4" y="42"/>
                  </a:cubicBezTo>
                  <a:close/>
                  <a:moveTo>
                    <a:pt x="8" y="50"/>
                  </a:moveTo>
                  <a:cubicBezTo>
                    <a:pt x="12" y="50"/>
                    <a:pt x="12" y="50"/>
                    <a:pt x="12" y="50"/>
                  </a:cubicBezTo>
                  <a:cubicBezTo>
                    <a:pt x="12" y="53"/>
                    <a:pt x="12" y="53"/>
                    <a:pt x="12" y="53"/>
                  </a:cubicBezTo>
                  <a:cubicBezTo>
                    <a:pt x="8" y="53"/>
                    <a:pt x="8" y="53"/>
                    <a:pt x="8" y="53"/>
                  </a:cubicBezTo>
                  <a:cubicBezTo>
                    <a:pt x="8" y="50"/>
                    <a:pt x="8" y="50"/>
                    <a:pt x="8" y="50"/>
                  </a:cubicBezTo>
                  <a:cubicBezTo>
                    <a:pt x="8" y="50"/>
                    <a:pt x="8" y="50"/>
                    <a:pt x="8" y="50"/>
                  </a:cubicBezTo>
                  <a:close/>
                  <a:moveTo>
                    <a:pt x="15" y="53"/>
                  </a:moveTo>
                  <a:cubicBezTo>
                    <a:pt x="15" y="50"/>
                    <a:pt x="15" y="50"/>
                    <a:pt x="15" y="50"/>
                  </a:cubicBezTo>
                  <a:cubicBezTo>
                    <a:pt x="19" y="50"/>
                    <a:pt x="19" y="50"/>
                    <a:pt x="19" y="50"/>
                  </a:cubicBezTo>
                  <a:cubicBezTo>
                    <a:pt x="19" y="53"/>
                    <a:pt x="19" y="53"/>
                    <a:pt x="19" y="53"/>
                  </a:cubicBezTo>
                  <a:cubicBezTo>
                    <a:pt x="15" y="53"/>
                    <a:pt x="15" y="53"/>
                    <a:pt x="15" y="53"/>
                  </a:cubicBezTo>
                  <a:cubicBezTo>
                    <a:pt x="15" y="53"/>
                    <a:pt x="15" y="53"/>
                    <a:pt x="15" y="53"/>
                  </a:cubicBezTo>
                  <a:close/>
                  <a:moveTo>
                    <a:pt x="23" y="50"/>
                  </a:moveTo>
                  <a:cubicBezTo>
                    <a:pt x="27" y="50"/>
                    <a:pt x="27" y="50"/>
                    <a:pt x="27" y="50"/>
                  </a:cubicBezTo>
                  <a:cubicBezTo>
                    <a:pt x="27" y="53"/>
                    <a:pt x="27" y="53"/>
                    <a:pt x="27" y="53"/>
                  </a:cubicBezTo>
                  <a:cubicBezTo>
                    <a:pt x="23" y="53"/>
                    <a:pt x="23" y="53"/>
                    <a:pt x="23" y="53"/>
                  </a:cubicBezTo>
                  <a:cubicBezTo>
                    <a:pt x="23" y="50"/>
                    <a:pt x="23" y="50"/>
                    <a:pt x="23" y="50"/>
                  </a:cubicBezTo>
                  <a:cubicBezTo>
                    <a:pt x="23" y="50"/>
                    <a:pt x="23" y="50"/>
                    <a:pt x="23" y="50"/>
                  </a:cubicBezTo>
                  <a:close/>
                  <a:moveTo>
                    <a:pt x="42" y="53"/>
                  </a:moveTo>
                  <a:cubicBezTo>
                    <a:pt x="38" y="53"/>
                    <a:pt x="38" y="53"/>
                    <a:pt x="38" y="53"/>
                  </a:cubicBezTo>
                  <a:cubicBezTo>
                    <a:pt x="38" y="50"/>
                    <a:pt x="38" y="50"/>
                    <a:pt x="38" y="50"/>
                  </a:cubicBezTo>
                  <a:cubicBezTo>
                    <a:pt x="40" y="50"/>
                    <a:pt x="40" y="50"/>
                    <a:pt x="40" y="50"/>
                  </a:cubicBezTo>
                  <a:cubicBezTo>
                    <a:pt x="42" y="50"/>
                    <a:pt x="42" y="50"/>
                    <a:pt x="42" y="50"/>
                  </a:cubicBezTo>
                  <a:cubicBezTo>
                    <a:pt x="42" y="53"/>
                    <a:pt x="42" y="53"/>
                    <a:pt x="42" y="53"/>
                  </a:cubicBezTo>
                  <a:cubicBezTo>
                    <a:pt x="42" y="53"/>
                    <a:pt x="42" y="53"/>
                    <a:pt x="42" y="53"/>
                  </a:cubicBezTo>
                  <a:close/>
                  <a:moveTo>
                    <a:pt x="23" y="30"/>
                  </a:moveTo>
                  <a:cubicBezTo>
                    <a:pt x="23" y="30"/>
                    <a:pt x="23" y="30"/>
                    <a:pt x="23" y="30"/>
                  </a:cubicBezTo>
                  <a:cubicBezTo>
                    <a:pt x="21" y="30"/>
                    <a:pt x="19" y="30"/>
                    <a:pt x="17" y="29"/>
                  </a:cubicBezTo>
                  <a:cubicBezTo>
                    <a:pt x="17" y="26"/>
                    <a:pt x="17" y="26"/>
                    <a:pt x="17" y="26"/>
                  </a:cubicBezTo>
                  <a:cubicBezTo>
                    <a:pt x="19" y="26"/>
                    <a:pt x="19" y="27"/>
                    <a:pt x="20" y="27"/>
                  </a:cubicBezTo>
                  <a:cubicBezTo>
                    <a:pt x="21" y="27"/>
                    <a:pt x="22" y="27"/>
                    <a:pt x="22" y="27"/>
                  </a:cubicBezTo>
                  <a:cubicBezTo>
                    <a:pt x="23" y="27"/>
                    <a:pt x="24" y="27"/>
                    <a:pt x="24" y="27"/>
                  </a:cubicBezTo>
                  <a:cubicBezTo>
                    <a:pt x="25" y="26"/>
                    <a:pt x="25" y="26"/>
                    <a:pt x="25" y="25"/>
                  </a:cubicBezTo>
                  <a:cubicBezTo>
                    <a:pt x="25" y="25"/>
                    <a:pt x="25" y="25"/>
                    <a:pt x="25" y="24"/>
                  </a:cubicBezTo>
                  <a:cubicBezTo>
                    <a:pt x="25" y="24"/>
                    <a:pt x="24" y="24"/>
                    <a:pt x="24" y="24"/>
                  </a:cubicBezTo>
                  <a:cubicBezTo>
                    <a:pt x="24" y="23"/>
                    <a:pt x="23" y="23"/>
                    <a:pt x="22" y="22"/>
                  </a:cubicBezTo>
                  <a:cubicBezTo>
                    <a:pt x="21" y="22"/>
                    <a:pt x="20" y="21"/>
                    <a:pt x="19" y="21"/>
                  </a:cubicBezTo>
                  <a:cubicBezTo>
                    <a:pt x="19" y="20"/>
                    <a:pt x="18" y="20"/>
                    <a:pt x="18" y="19"/>
                  </a:cubicBezTo>
                  <a:cubicBezTo>
                    <a:pt x="18" y="19"/>
                    <a:pt x="18" y="18"/>
                    <a:pt x="18" y="17"/>
                  </a:cubicBezTo>
                  <a:cubicBezTo>
                    <a:pt x="18" y="15"/>
                    <a:pt x="18" y="14"/>
                    <a:pt x="19" y="13"/>
                  </a:cubicBezTo>
                  <a:cubicBezTo>
                    <a:pt x="20" y="13"/>
                    <a:pt x="21" y="12"/>
                    <a:pt x="23" y="12"/>
                  </a:cubicBezTo>
                  <a:cubicBezTo>
                    <a:pt x="23" y="10"/>
                    <a:pt x="23" y="10"/>
                    <a:pt x="23" y="10"/>
                  </a:cubicBezTo>
                  <a:cubicBezTo>
                    <a:pt x="25" y="10"/>
                    <a:pt x="25" y="10"/>
                    <a:pt x="25" y="10"/>
                  </a:cubicBezTo>
                  <a:cubicBezTo>
                    <a:pt x="25" y="12"/>
                    <a:pt x="25" y="12"/>
                    <a:pt x="25" y="12"/>
                  </a:cubicBezTo>
                  <a:cubicBezTo>
                    <a:pt x="25" y="12"/>
                    <a:pt x="26" y="12"/>
                    <a:pt x="26" y="12"/>
                  </a:cubicBezTo>
                  <a:cubicBezTo>
                    <a:pt x="27" y="13"/>
                    <a:pt x="28" y="13"/>
                    <a:pt x="29" y="13"/>
                  </a:cubicBezTo>
                  <a:cubicBezTo>
                    <a:pt x="27" y="16"/>
                    <a:pt x="27" y="16"/>
                    <a:pt x="27" y="16"/>
                  </a:cubicBezTo>
                  <a:cubicBezTo>
                    <a:pt x="27" y="16"/>
                    <a:pt x="26" y="16"/>
                    <a:pt x="25" y="15"/>
                  </a:cubicBezTo>
                  <a:cubicBezTo>
                    <a:pt x="24" y="15"/>
                    <a:pt x="24" y="15"/>
                    <a:pt x="23" y="15"/>
                  </a:cubicBezTo>
                  <a:cubicBezTo>
                    <a:pt x="23" y="15"/>
                    <a:pt x="22" y="15"/>
                    <a:pt x="22" y="16"/>
                  </a:cubicBezTo>
                  <a:cubicBezTo>
                    <a:pt x="21" y="16"/>
                    <a:pt x="21" y="16"/>
                    <a:pt x="21" y="17"/>
                  </a:cubicBezTo>
                  <a:cubicBezTo>
                    <a:pt x="21" y="17"/>
                    <a:pt x="21" y="18"/>
                    <a:pt x="21" y="18"/>
                  </a:cubicBezTo>
                  <a:cubicBezTo>
                    <a:pt x="22" y="18"/>
                    <a:pt x="22" y="18"/>
                    <a:pt x="22" y="19"/>
                  </a:cubicBezTo>
                  <a:cubicBezTo>
                    <a:pt x="22" y="19"/>
                    <a:pt x="23" y="19"/>
                    <a:pt x="24" y="20"/>
                  </a:cubicBezTo>
                  <a:cubicBezTo>
                    <a:pt x="26" y="20"/>
                    <a:pt x="27" y="21"/>
                    <a:pt x="28" y="22"/>
                  </a:cubicBezTo>
                  <a:cubicBezTo>
                    <a:pt x="28" y="23"/>
                    <a:pt x="29" y="24"/>
                    <a:pt x="29" y="25"/>
                  </a:cubicBezTo>
                  <a:cubicBezTo>
                    <a:pt x="29" y="27"/>
                    <a:pt x="29" y="28"/>
                    <a:pt x="27" y="29"/>
                  </a:cubicBezTo>
                  <a:cubicBezTo>
                    <a:pt x="27" y="29"/>
                    <a:pt x="25" y="30"/>
                    <a:pt x="25" y="30"/>
                  </a:cubicBezTo>
                  <a:cubicBezTo>
                    <a:pt x="25" y="32"/>
                    <a:pt x="25" y="32"/>
                    <a:pt x="25" y="32"/>
                  </a:cubicBezTo>
                  <a:cubicBezTo>
                    <a:pt x="23" y="32"/>
                    <a:pt x="23" y="32"/>
                    <a:pt x="23" y="32"/>
                  </a:cubicBezTo>
                  <a:cubicBezTo>
                    <a:pt x="23" y="30"/>
                    <a:pt x="23" y="30"/>
                    <a:pt x="23" y="30"/>
                  </a:cubicBezTo>
                  <a:cubicBezTo>
                    <a:pt x="23" y="30"/>
                    <a:pt x="23" y="30"/>
                    <a:pt x="23" y="30"/>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3"/>
            <p:cNvSpPr>
              <a:spLocks noEditPoints="1"/>
            </p:cNvSpPr>
            <p:nvPr/>
          </p:nvSpPr>
          <p:spPr bwMode="auto">
            <a:xfrm>
              <a:off x="2284" y="2066"/>
              <a:ext cx="125" cy="162"/>
            </a:xfrm>
            <a:custGeom>
              <a:avLst/>
              <a:gdLst>
                <a:gd name="T0" fmla="*/ 40 w 44"/>
                <a:gd name="T1" fmla="*/ 46 h 57"/>
                <a:gd name="T2" fmla="*/ 40 w 44"/>
                <a:gd name="T3" fmla="*/ 32 h 57"/>
                <a:gd name="T4" fmla="*/ 34 w 44"/>
                <a:gd name="T5" fmla="*/ 27 h 57"/>
                <a:gd name="T6" fmla="*/ 24 w 44"/>
                <a:gd name="T7" fmla="*/ 27 h 57"/>
                <a:gd name="T8" fmla="*/ 24 w 44"/>
                <a:gd name="T9" fmla="*/ 11 h 57"/>
                <a:gd name="T10" fmla="*/ 28 w 44"/>
                <a:gd name="T11" fmla="*/ 6 h 57"/>
                <a:gd name="T12" fmla="*/ 22 w 44"/>
                <a:gd name="T13" fmla="*/ 0 h 57"/>
                <a:gd name="T14" fmla="*/ 16 w 44"/>
                <a:gd name="T15" fmla="*/ 6 h 57"/>
                <a:gd name="T16" fmla="*/ 20 w 44"/>
                <a:gd name="T17" fmla="*/ 11 h 57"/>
                <a:gd name="T18" fmla="*/ 20 w 44"/>
                <a:gd name="T19" fmla="*/ 27 h 57"/>
                <a:gd name="T20" fmla="*/ 10 w 44"/>
                <a:gd name="T21" fmla="*/ 27 h 57"/>
                <a:gd name="T22" fmla="*/ 4 w 44"/>
                <a:gd name="T23" fmla="*/ 32 h 57"/>
                <a:gd name="T24" fmla="*/ 4 w 44"/>
                <a:gd name="T25" fmla="*/ 46 h 57"/>
                <a:gd name="T26" fmla="*/ 0 w 44"/>
                <a:gd name="T27" fmla="*/ 51 h 57"/>
                <a:gd name="T28" fmla="*/ 6 w 44"/>
                <a:gd name="T29" fmla="*/ 57 h 57"/>
                <a:gd name="T30" fmla="*/ 12 w 44"/>
                <a:gd name="T31" fmla="*/ 51 h 57"/>
                <a:gd name="T32" fmla="*/ 8 w 44"/>
                <a:gd name="T33" fmla="*/ 46 h 57"/>
                <a:gd name="T34" fmla="*/ 8 w 44"/>
                <a:gd name="T35" fmla="*/ 32 h 57"/>
                <a:gd name="T36" fmla="*/ 10 w 44"/>
                <a:gd name="T37" fmla="*/ 30 h 57"/>
                <a:gd name="T38" fmla="*/ 20 w 44"/>
                <a:gd name="T39" fmla="*/ 30 h 57"/>
                <a:gd name="T40" fmla="*/ 20 w 44"/>
                <a:gd name="T41" fmla="*/ 46 h 57"/>
                <a:gd name="T42" fmla="*/ 16 w 44"/>
                <a:gd name="T43" fmla="*/ 51 h 57"/>
                <a:gd name="T44" fmla="*/ 22 w 44"/>
                <a:gd name="T45" fmla="*/ 57 h 57"/>
                <a:gd name="T46" fmla="*/ 28 w 44"/>
                <a:gd name="T47" fmla="*/ 51 h 57"/>
                <a:gd name="T48" fmla="*/ 24 w 44"/>
                <a:gd name="T49" fmla="*/ 46 h 57"/>
                <a:gd name="T50" fmla="*/ 24 w 44"/>
                <a:gd name="T51" fmla="*/ 30 h 57"/>
                <a:gd name="T52" fmla="*/ 34 w 44"/>
                <a:gd name="T53" fmla="*/ 30 h 57"/>
                <a:gd name="T54" fmla="*/ 36 w 44"/>
                <a:gd name="T55" fmla="*/ 32 h 57"/>
                <a:gd name="T56" fmla="*/ 36 w 44"/>
                <a:gd name="T57" fmla="*/ 46 h 57"/>
                <a:gd name="T58" fmla="*/ 32 w 44"/>
                <a:gd name="T59" fmla="*/ 51 h 57"/>
                <a:gd name="T60" fmla="*/ 38 w 44"/>
                <a:gd name="T61" fmla="*/ 57 h 57"/>
                <a:gd name="T62" fmla="*/ 44 w 44"/>
                <a:gd name="T63" fmla="*/ 51 h 57"/>
                <a:gd name="T64" fmla="*/ 40 w 44"/>
                <a:gd name="T65" fmla="*/ 46 h 57"/>
                <a:gd name="T66" fmla="*/ 22 w 44"/>
                <a:gd name="T67" fmla="*/ 4 h 57"/>
                <a:gd name="T68" fmla="*/ 24 w 44"/>
                <a:gd name="T69" fmla="*/ 6 h 57"/>
                <a:gd name="T70" fmla="*/ 22 w 44"/>
                <a:gd name="T71" fmla="*/ 7 h 57"/>
                <a:gd name="T72" fmla="*/ 20 w 44"/>
                <a:gd name="T73" fmla="*/ 6 h 57"/>
                <a:gd name="T74" fmla="*/ 22 w 44"/>
                <a:gd name="T75" fmla="*/ 4 h 57"/>
                <a:gd name="T76" fmla="*/ 6 w 44"/>
                <a:gd name="T77" fmla="*/ 53 h 57"/>
                <a:gd name="T78" fmla="*/ 4 w 44"/>
                <a:gd name="T79" fmla="*/ 51 h 57"/>
                <a:gd name="T80" fmla="*/ 6 w 44"/>
                <a:gd name="T81" fmla="*/ 49 h 57"/>
                <a:gd name="T82" fmla="*/ 8 w 44"/>
                <a:gd name="T83" fmla="*/ 51 h 57"/>
                <a:gd name="T84" fmla="*/ 6 w 44"/>
                <a:gd name="T85" fmla="*/ 53 h 57"/>
                <a:gd name="T86" fmla="*/ 22 w 44"/>
                <a:gd name="T87" fmla="*/ 53 h 57"/>
                <a:gd name="T88" fmla="*/ 20 w 44"/>
                <a:gd name="T89" fmla="*/ 51 h 57"/>
                <a:gd name="T90" fmla="*/ 22 w 44"/>
                <a:gd name="T91" fmla="*/ 49 h 57"/>
                <a:gd name="T92" fmla="*/ 24 w 44"/>
                <a:gd name="T93" fmla="*/ 51 h 57"/>
                <a:gd name="T94" fmla="*/ 22 w 44"/>
                <a:gd name="T95" fmla="*/ 53 h 57"/>
                <a:gd name="T96" fmla="*/ 38 w 44"/>
                <a:gd name="T97" fmla="*/ 53 h 57"/>
                <a:gd name="T98" fmla="*/ 36 w 44"/>
                <a:gd name="T99" fmla="*/ 51 h 57"/>
                <a:gd name="T100" fmla="*/ 38 w 44"/>
                <a:gd name="T101" fmla="*/ 49 h 57"/>
                <a:gd name="T102" fmla="*/ 40 w 44"/>
                <a:gd name="T103" fmla="*/ 51 h 57"/>
                <a:gd name="T104" fmla="*/ 38 w 44"/>
                <a:gd name="T105" fmla="*/ 5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57">
                  <a:moveTo>
                    <a:pt x="40" y="46"/>
                  </a:moveTo>
                  <a:cubicBezTo>
                    <a:pt x="40" y="32"/>
                    <a:pt x="40" y="32"/>
                    <a:pt x="40" y="32"/>
                  </a:cubicBezTo>
                  <a:cubicBezTo>
                    <a:pt x="40" y="28"/>
                    <a:pt x="36" y="27"/>
                    <a:pt x="34" y="27"/>
                  </a:cubicBezTo>
                  <a:cubicBezTo>
                    <a:pt x="24" y="27"/>
                    <a:pt x="24" y="27"/>
                    <a:pt x="24" y="27"/>
                  </a:cubicBezTo>
                  <a:cubicBezTo>
                    <a:pt x="24" y="11"/>
                    <a:pt x="24" y="11"/>
                    <a:pt x="24" y="11"/>
                  </a:cubicBezTo>
                  <a:cubicBezTo>
                    <a:pt x="26" y="10"/>
                    <a:pt x="28" y="8"/>
                    <a:pt x="28" y="6"/>
                  </a:cubicBezTo>
                  <a:cubicBezTo>
                    <a:pt x="28" y="2"/>
                    <a:pt x="25" y="0"/>
                    <a:pt x="22" y="0"/>
                  </a:cubicBezTo>
                  <a:cubicBezTo>
                    <a:pt x="19" y="0"/>
                    <a:pt x="16" y="2"/>
                    <a:pt x="16" y="6"/>
                  </a:cubicBezTo>
                  <a:cubicBezTo>
                    <a:pt x="16" y="8"/>
                    <a:pt x="18" y="10"/>
                    <a:pt x="20" y="11"/>
                  </a:cubicBezTo>
                  <a:cubicBezTo>
                    <a:pt x="20" y="27"/>
                    <a:pt x="20" y="27"/>
                    <a:pt x="20" y="27"/>
                  </a:cubicBezTo>
                  <a:cubicBezTo>
                    <a:pt x="10" y="27"/>
                    <a:pt x="10" y="27"/>
                    <a:pt x="10" y="27"/>
                  </a:cubicBezTo>
                  <a:cubicBezTo>
                    <a:pt x="6" y="27"/>
                    <a:pt x="4" y="30"/>
                    <a:pt x="4" y="32"/>
                  </a:cubicBezTo>
                  <a:cubicBezTo>
                    <a:pt x="4" y="46"/>
                    <a:pt x="4" y="46"/>
                    <a:pt x="4" y="46"/>
                  </a:cubicBezTo>
                  <a:cubicBezTo>
                    <a:pt x="2" y="47"/>
                    <a:pt x="0" y="49"/>
                    <a:pt x="0" y="51"/>
                  </a:cubicBezTo>
                  <a:cubicBezTo>
                    <a:pt x="0" y="54"/>
                    <a:pt x="3" y="57"/>
                    <a:pt x="6" y="57"/>
                  </a:cubicBezTo>
                  <a:cubicBezTo>
                    <a:pt x="10" y="57"/>
                    <a:pt x="12" y="54"/>
                    <a:pt x="12" y="51"/>
                  </a:cubicBezTo>
                  <a:cubicBezTo>
                    <a:pt x="12" y="49"/>
                    <a:pt x="10" y="47"/>
                    <a:pt x="8" y="46"/>
                  </a:cubicBezTo>
                  <a:cubicBezTo>
                    <a:pt x="8" y="32"/>
                    <a:pt x="8" y="32"/>
                    <a:pt x="8" y="32"/>
                  </a:cubicBezTo>
                  <a:cubicBezTo>
                    <a:pt x="8" y="32"/>
                    <a:pt x="8" y="30"/>
                    <a:pt x="10" y="30"/>
                  </a:cubicBezTo>
                  <a:cubicBezTo>
                    <a:pt x="20" y="30"/>
                    <a:pt x="20" y="30"/>
                    <a:pt x="20" y="30"/>
                  </a:cubicBezTo>
                  <a:cubicBezTo>
                    <a:pt x="20" y="46"/>
                    <a:pt x="20" y="46"/>
                    <a:pt x="20" y="46"/>
                  </a:cubicBezTo>
                  <a:cubicBezTo>
                    <a:pt x="18" y="47"/>
                    <a:pt x="16" y="49"/>
                    <a:pt x="16" y="51"/>
                  </a:cubicBezTo>
                  <a:cubicBezTo>
                    <a:pt x="16" y="54"/>
                    <a:pt x="19" y="57"/>
                    <a:pt x="22" y="57"/>
                  </a:cubicBezTo>
                  <a:cubicBezTo>
                    <a:pt x="25" y="57"/>
                    <a:pt x="28" y="54"/>
                    <a:pt x="28" y="51"/>
                  </a:cubicBezTo>
                  <a:cubicBezTo>
                    <a:pt x="28" y="49"/>
                    <a:pt x="26" y="47"/>
                    <a:pt x="24" y="46"/>
                  </a:cubicBezTo>
                  <a:cubicBezTo>
                    <a:pt x="24" y="30"/>
                    <a:pt x="24" y="30"/>
                    <a:pt x="24" y="30"/>
                  </a:cubicBezTo>
                  <a:cubicBezTo>
                    <a:pt x="34" y="30"/>
                    <a:pt x="34" y="30"/>
                    <a:pt x="34" y="30"/>
                  </a:cubicBezTo>
                  <a:cubicBezTo>
                    <a:pt x="35" y="30"/>
                    <a:pt x="36" y="31"/>
                    <a:pt x="36" y="32"/>
                  </a:cubicBezTo>
                  <a:cubicBezTo>
                    <a:pt x="36" y="46"/>
                    <a:pt x="36" y="46"/>
                    <a:pt x="36" y="46"/>
                  </a:cubicBezTo>
                  <a:cubicBezTo>
                    <a:pt x="34" y="47"/>
                    <a:pt x="32" y="49"/>
                    <a:pt x="32" y="51"/>
                  </a:cubicBezTo>
                  <a:cubicBezTo>
                    <a:pt x="32" y="54"/>
                    <a:pt x="35" y="57"/>
                    <a:pt x="38" y="57"/>
                  </a:cubicBezTo>
                  <a:cubicBezTo>
                    <a:pt x="41" y="57"/>
                    <a:pt x="44" y="54"/>
                    <a:pt x="44" y="51"/>
                  </a:cubicBezTo>
                  <a:cubicBezTo>
                    <a:pt x="44" y="49"/>
                    <a:pt x="42" y="47"/>
                    <a:pt x="40" y="46"/>
                  </a:cubicBezTo>
                  <a:close/>
                  <a:moveTo>
                    <a:pt x="22" y="4"/>
                  </a:moveTo>
                  <a:cubicBezTo>
                    <a:pt x="23" y="4"/>
                    <a:pt x="24" y="5"/>
                    <a:pt x="24" y="6"/>
                  </a:cubicBezTo>
                  <a:cubicBezTo>
                    <a:pt x="24" y="7"/>
                    <a:pt x="23" y="7"/>
                    <a:pt x="22" y="7"/>
                  </a:cubicBezTo>
                  <a:cubicBezTo>
                    <a:pt x="21" y="7"/>
                    <a:pt x="20" y="7"/>
                    <a:pt x="20" y="6"/>
                  </a:cubicBezTo>
                  <a:cubicBezTo>
                    <a:pt x="20" y="5"/>
                    <a:pt x="21" y="4"/>
                    <a:pt x="22" y="4"/>
                  </a:cubicBezTo>
                  <a:close/>
                  <a:moveTo>
                    <a:pt x="6" y="53"/>
                  </a:moveTo>
                  <a:cubicBezTo>
                    <a:pt x="5" y="53"/>
                    <a:pt x="4" y="53"/>
                    <a:pt x="4" y="51"/>
                  </a:cubicBezTo>
                  <a:cubicBezTo>
                    <a:pt x="4" y="50"/>
                    <a:pt x="5" y="49"/>
                    <a:pt x="6" y="49"/>
                  </a:cubicBezTo>
                  <a:cubicBezTo>
                    <a:pt x="7" y="49"/>
                    <a:pt x="8" y="50"/>
                    <a:pt x="8" y="51"/>
                  </a:cubicBezTo>
                  <a:cubicBezTo>
                    <a:pt x="8" y="53"/>
                    <a:pt x="7" y="53"/>
                    <a:pt x="6" y="53"/>
                  </a:cubicBezTo>
                  <a:close/>
                  <a:moveTo>
                    <a:pt x="22" y="53"/>
                  </a:moveTo>
                  <a:cubicBezTo>
                    <a:pt x="21" y="53"/>
                    <a:pt x="20" y="53"/>
                    <a:pt x="20" y="51"/>
                  </a:cubicBezTo>
                  <a:cubicBezTo>
                    <a:pt x="20" y="50"/>
                    <a:pt x="21" y="49"/>
                    <a:pt x="22" y="49"/>
                  </a:cubicBezTo>
                  <a:cubicBezTo>
                    <a:pt x="23" y="49"/>
                    <a:pt x="24" y="50"/>
                    <a:pt x="24" y="51"/>
                  </a:cubicBezTo>
                  <a:cubicBezTo>
                    <a:pt x="24" y="53"/>
                    <a:pt x="23" y="53"/>
                    <a:pt x="22" y="53"/>
                  </a:cubicBezTo>
                  <a:close/>
                  <a:moveTo>
                    <a:pt x="38" y="53"/>
                  </a:moveTo>
                  <a:cubicBezTo>
                    <a:pt x="37" y="53"/>
                    <a:pt x="36" y="53"/>
                    <a:pt x="36" y="51"/>
                  </a:cubicBezTo>
                  <a:cubicBezTo>
                    <a:pt x="36" y="50"/>
                    <a:pt x="37" y="49"/>
                    <a:pt x="38" y="49"/>
                  </a:cubicBezTo>
                  <a:cubicBezTo>
                    <a:pt x="39" y="49"/>
                    <a:pt x="40" y="50"/>
                    <a:pt x="40" y="51"/>
                  </a:cubicBezTo>
                  <a:cubicBezTo>
                    <a:pt x="40" y="53"/>
                    <a:pt x="39" y="53"/>
                    <a:pt x="38" y="53"/>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4"/>
            <p:cNvSpPr>
              <a:spLocks noEditPoints="1"/>
            </p:cNvSpPr>
            <p:nvPr/>
          </p:nvSpPr>
          <p:spPr bwMode="auto">
            <a:xfrm>
              <a:off x="2031" y="2870"/>
              <a:ext cx="165" cy="119"/>
            </a:xfrm>
            <a:custGeom>
              <a:avLst/>
              <a:gdLst>
                <a:gd name="T0" fmla="*/ 2 w 58"/>
                <a:gd name="T1" fmla="*/ 42 h 42"/>
                <a:gd name="T2" fmla="*/ 2 w 58"/>
                <a:gd name="T3" fmla="*/ 42 h 42"/>
                <a:gd name="T4" fmla="*/ 1 w 58"/>
                <a:gd name="T5" fmla="*/ 42 h 42"/>
                <a:gd name="T6" fmla="*/ 0 w 58"/>
                <a:gd name="T7" fmla="*/ 41 h 42"/>
                <a:gd name="T8" fmla="*/ 0 w 58"/>
                <a:gd name="T9" fmla="*/ 41 h 42"/>
                <a:gd name="T10" fmla="*/ 0 w 58"/>
                <a:gd name="T11" fmla="*/ 41 h 42"/>
                <a:gd name="T12" fmla="*/ 0 w 58"/>
                <a:gd name="T13" fmla="*/ 40 h 42"/>
                <a:gd name="T14" fmla="*/ 0 w 58"/>
                <a:gd name="T15" fmla="*/ 40 h 42"/>
                <a:gd name="T16" fmla="*/ 0 w 58"/>
                <a:gd name="T17" fmla="*/ 40 h 42"/>
                <a:gd name="T18" fmla="*/ 0 w 58"/>
                <a:gd name="T19" fmla="*/ 40 h 42"/>
                <a:gd name="T20" fmla="*/ 0 w 58"/>
                <a:gd name="T21" fmla="*/ 40 h 42"/>
                <a:gd name="T22" fmla="*/ 0 w 58"/>
                <a:gd name="T23" fmla="*/ 2 h 42"/>
                <a:gd name="T24" fmla="*/ 2 w 58"/>
                <a:gd name="T25" fmla="*/ 0 h 42"/>
                <a:gd name="T26" fmla="*/ 13 w 58"/>
                <a:gd name="T27" fmla="*/ 0 h 42"/>
                <a:gd name="T28" fmla="*/ 15 w 58"/>
                <a:gd name="T29" fmla="*/ 1 h 42"/>
                <a:gd name="T30" fmla="*/ 18 w 58"/>
                <a:gd name="T31" fmla="*/ 4 h 42"/>
                <a:gd name="T32" fmla="*/ 48 w 58"/>
                <a:gd name="T33" fmla="*/ 4 h 42"/>
                <a:gd name="T34" fmla="*/ 50 w 58"/>
                <a:gd name="T35" fmla="*/ 6 h 42"/>
                <a:gd name="T36" fmla="*/ 50 w 58"/>
                <a:gd name="T37" fmla="*/ 12 h 42"/>
                <a:gd name="T38" fmla="*/ 56 w 58"/>
                <a:gd name="T39" fmla="*/ 12 h 42"/>
                <a:gd name="T40" fmla="*/ 57 w 58"/>
                <a:gd name="T41" fmla="*/ 13 h 42"/>
                <a:gd name="T42" fmla="*/ 57 w 58"/>
                <a:gd name="T43" fmla="*/ 14 h 42"/>
                <a:gd name="T44" fmla="*/ 50 w 58"/>
                <a:gd name="T45" fmla="*/ 41 h 42"/>
                <a:gd name="T46" fmla="*/ 48 w 58"/>
                <a:gd name="T47" fmla="*/ 42 h 42"/>
                <a:gd name="T48" fmla="*/ 2 w 58"/>
                <a:gd name="T49" fmla="*/ 42 h 42"/>
                <a:gd name="T50" fmla="*/ 2 w 58"/>
                <a:gd name="T51" fmla="*/ 42 h 42"/>
                <a:gd name="T52" fmla="*/ 5 w 58"/>
                <a:gd name="T53" fmla="*/ 38 h 42"/>
                <a:gd name="T54" fmla="*/ 46 w 58"/>
                <a:gd name="T55" fmla="*/ 38 h 42"/>
                <a:gd name="T56" fmla="*/ 53 w 58"/>
                <a:gd name="T57" fmla="*/ 16 h 42"/>
                <a:gd name="T58" fmla="*/ 13 w 58"/>
                <a:gd name="T59" fmla="*/ 16 h 42"/>
                <a:gd name="T60" fmla="*/ 5 w 58"/>
                <a:gd name="T61" fmla="*/ 38 h 42"/>
                <a:gd name="T62" fmla="*/ 5 w 58"/>
                <a:gd name="T63" fmla="*/ 38 h 42"/>
                <a:gd name="T64" fmla="*/ 4 w 58"/>
                <a:gd name="T65" fmla="*/ 4 h 42"/>
                <a:gd name="T66" fmla="*/ 4 w 58"/>
                <a:gd name="T67" fmla="*/ 29 h 42"/>
                <a:gd name="T68" fmla="*/ 10 w 58"/>
                <a:gd name="T69" fmla="*/ 13 h 42"/>
                <a:gd name="T70" fmla="*/ 12 w 58"/>
                <a:gd name="T71" fmla="*/ 12 h 42"/>
                <a:gd name="T72" fmla="*/ 46 w 58"/>
                <a:gd name="T73" fmla="*/ 12 h 42"/>
                <a:gd name="T74" fmla="*/ 46 w 58"/>
                <a:gd name="T75" fmla="*/ 8 h 42"/>
                <a:gd name="T76" fmla="*/ 17 w 58"/>
                <a:gd name="T77" fmla="*/ 8 h 42"/>
                <a:gd name="T78" fmla="*/ 16 w 58"/>
                <a:gd name="T79" fmla="*/ 8 h 42"/>
                <a:gd name="T80" fmla="*/ 13 w 58"/>
                <a:gd name="T81" fmla="*/ 4 h 42"/>
                <a:gd name="T82" fmla="*/ 4 w 58"/>
                <a:gd name="T83" fmla="*/ 4 h 42"/>
                <a:gd name="T84" fmla="*/ 4 w 58"/>
                <a:gd name="T85"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8" h="42">
                  <a:moveTo>
                    <a:pt x="2" y="42"/>
                  </a:moveTo>
                  <a:cubicBezTo>
                    <a:pt x="2" y="42"/>
                    <a:pt x="2" y="42"/>
                    <a:pt x="2" y="42"/>
                  </a:cubicBezTo>
                  <a:cubicBezTo>
                    <a:pt x="2" y="42"/>
                    <a:pt x="1" y="42"/>
                    <a:pt x="1" y="42"/>
                  </a:cubicBezTo>
                  <a:cubicBezTo>
                    <a:pt x="1" y="41"/>
                    <a:pt x="1" y="41"/>
                    <a:pt x="0" y="41"/>
                  </a:cubicBezTo>
                  <a:cubicBezTo>
                    <a:pt x="0" y="41"/>
                    <a:pt x="0" y="41"/>
                    <a:pt x="0" y="41"/>
                  </a:cubicBezTo>
                  <a:cubicBezTo>
                    <a:pt x="0" y="41"/>
                    <a:pt x="0" y="41"/>
                    <a:pt x="0" y="41"/>
                  </a:cubicBezTo>
                  <a:cubicBezTo>
                    <a:pt x="0" y="41"/>
                    <a:pt x="0" y="41"/>
                    <a:pt x="0" y="40"/>
                  </a:cubicBezTo>
                  <a:cubicBezTo>
                    <a:pt x="0" y="40"/>
                    <a:pt x="0" y="40"/>
                    <a:pt x="0" y="40"/>
                  </a:cubicBezTo>
                  <a:cubicBezTo>
                    <a:pt x="0" y="40"/>
                    <a:pt x="0" y="40"/>
                    <a:pt x="0" y="40"/>
                  </a:cubicBezTo>
                  <a:cubicBezTo>
                    <a:pt x="0" y="40"/>
                    <a:pt x="0" y="40"/>
                    <a:pt x="0" y="40"/>
                  </a:cubicBezTo>
                  <a:cubicBezTo>
                    <a:pt x="0" y="40"/>
                    <a:pt x="0" y="40"/>
                    <a:pt x="0" y="40"/>
                  </a:cubicBezTo>
                  <a:cubicBezTo>
                    <a:pt x="0" y="2"/>
                    <a:pt x="0" y="2"/>
                    <a:pt x="0" y="2"/>
                  </a:cubicBezTo>
                  <a:cubicBezTo>
                    <a:pt x="0" y="1"/>
                    <a:pt x="1" y="0"/>
                    <a:pt x="2" y="0"/>
                  </a:cubicBezTo>
                  <a:cubicBezTo>
                    <a:pt x="13" y="0"/>
                    <a:pt x="13" y="0"/>
                    <a:pt x="13" y="0"/>
                  </a:cubicBezTo>
                  <a:cubicBezTo>
                    <a:pt x="14" y="0"/>
                    <a:pt x="14" y="1"/>
                    <a:pt x="15" y="1"/>
                  </a:cubicBezTo>
                  <a:cubicBezTo>
                    <a:pt x="18" y="4"/>
                    <a:pt x="18" y="4"/>
                    <a:pt x="18" y="4"/>
                  </a:cubicBezTo>
                  <a:cubicBezTo>
                    <a:pt x="48" y="4"/>
                    <a:pt x="48" y="4"/>
                    <a:pt x="48" y="4"/>
                  </a:cubicBezTo>
                  <a:cubicBezTo>
                    <a:pt x="49" y="4"/>
                    <a:pt x="50" y="5"/>
                    <a:pt x="50" y="6"/>
                  </a:cubicBezTo>
                  <a:cubicBezTo>
                    <a:pt x="50" y="12"/>
                    <a:pt x="50" y="12"/>
                    <a:pt x="50" y="12"/>
                  </a:cubicBezTo>
                  <a:cubicBezTo>
                    <a:pt x="56" y="12"/>
                    <a:pt x="56" y="12"/>
                    <a:pt x="56" y="12"/>
                  </a:cubicBezTo>
                  <a:cubicBezTo>
                    <a:pt x="56" y="12"/>
                    <a:pt x="57" y="12"/>
                    <a:pt x="57" y="13"/>
                  </a:cubicBezTo>
                  <a:cubicBezTo>
                    <a:pt x="58" y="13"/>
                    <a:pt x="58" y="14"/>
                    <a:pt x="57" y="14"/>
                  </a:cubicBezTo>
                  <a:cubicBezTo>
                    <a:pt x="50" y="41"/>
                    <a:pt x="50" y="41"/>
                    <a:pt x="50" y="41"/>
                  </a:cubicBezTo>
                  <a:cubicBezTo>
                    <a:pt x="50" y="41"/>
                    <a:pt x="49" y="42"/>
                    <a:pt x="48" y="42"/>
                  </a:cubicBezTo>
                  <a:cubicBezTo>
                    <a:pt x="2" y="42"/>
                    <a:pt x="2" y="42"/>
                    <a:pt x="2" y="42"/>
                  </a:cubicBezTo>
                  <a:cubicBezTo>
                    <a:pt x="2" y="42"/>
                    <a:pt x="2" y="42"/>
                    <a:pt x="2" y="42"/>
                  </a:cubicBezTo>
                  <a:close/>
                  <a:moveTo>
                    <a:pt x="5" y="38"/>
                  </a:moveTo>
                  <a:cubicBezTo>
                    <a:pt x="46" y="38"/>
                    <a:pt x="46" y="38"/>
                    <a:pt x="46" y="38"/>
                  </a:cubicBezTo>
                  <a:cubicBezTo>
                    <a:pt x="53" y="16"/>
                    <a:pt x="53" y="16"/>
                    <a:pt x="53" y="16"/>
                  </a:cubicBezTo>
                  <a:cubicBezTo>
                    <a:pt x="13" y="16"/>
                    <a:pt x="13" y="16"/>
                    <a:pt x="13" y="16"/>
                  </a:cubicBezTo>
                  <a:cubicBezTo>
                    <a:pt x="5" y="38"/>
                    <a:pt x="5" y="38"/>
                    <a:pt x="5" y="38"/>
                  </a:cubicBezTo>
                  <a:cubicBezTo>
                    <a:pt x="5" y="38"/>
                    <a:pt x="5" y="38"/>
                    <a:pt x="5" y="38"/>
                  </a:cubicBezTo>
                  <a:close/>
                  <a:moveTo>
                    <a:pt x="4" y="4"/>
                  </a:moveTo>
                  <a:cubicBezTo>
                    <a:pt x="4" y="29"/>
                    <a:pt x="4" y="29"/>
                    <a:pt x="4" y="29"/>
                  </a:cubicBezTo>
                  <a:cubicBezTo>
                    <a:pt x="10" y="13"/>
                    <a:pt x="10" y="13"/>
                    <a:pt x="10" y="13"/>
                  </a:cubicBezTo>
                  <a:cubicBezTo>
                    <a:pt x="10" y="12"/>
                    <a:pt x="11" y="12"/>
                    <a:pt x="12" y="12"/>
                  </a:cubicBezTo>
                  <a:cubicBezTo>
                    <a:pt x="46" y="12"/>
                    <a:pt x="46" y="12"/>
                    <a:pt x="46" y="12"/>
                  </a:cubicBezTo>
                  <a:cubicBezTo>
                    <a:pt x="46" y="8"/>
                    <a:pt x="46" y="8"/>
                    <a:pt x="46" y="8"/>
                  </a:cubicBezTo>
                  <a:cubicBezTo>
                    <a:pt x="17" y="8"/>
                    <a:pt x="17" y="8"/>
                    <a:pt x="17" y="8"/>
                  </a:cubicBezTo>
                  <a:cubicBezTo>
                    <a:pt x="17" y="8"/>
                    <a:pt x="16" y="8"/>
                    <a:pt x="16" y="8"/>
                  </a:cubicBezTo>
                  <a:cubicBezTo>
                    <a:pt x="13" y="4"/>
                    <a:pt x="13" y="4"/>
                    <a:pt x="13" y="4"/>
                  </a:cubicBezTo>
                  <a:cubicBezTo>
                    <a:pt x="4" y="4"/>
                    <a:pt x="4" y="4"/>
                    <a:pt x="4" y="4"/>
                  </a:cubicBezTo>
                  <a:cubicBezTo>
                    <a:pt x="4" y="4"/>
                    <a:pt x="4" y="4"/>
                    <a:pt x="4" y="4"/>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5"/>
            <p:cNvSpPr>
              <a:spLocks noEditPoints="1"/>
            </p:cNvSpPr>
            <p:nvPr/>
          </p:nvSpPr>
          <p:spPr bwMode="auto">
            <a:xfrm>
              <a:off x="1378" y="3324"/>
              <a:ext cx="142" cy="153"/>
            </a:xfrm>
            <a:custGeom>
              <a:avLst/>
              <a:gdLst>
                <a:gd name="T0" fmla="*/ 48 w 50"/>
                <a:gd name="T1" fmla="*/ 54 h 54"/>
                <a:gd name="T2" fmla="*/ 3 w 50"/>
                <a:gd name="T3" fmla="*/ 54 h 54"/>
                <a:gd name="T4" fmla="*/ 1 w 50"/>
                <a:gd name="T5" fmla="*/ 53 h 54"/>
                <a:gd name="T6" fmla="*/ 1 w 50"/>
                <a:gd name="T7" fmla="*/ 51 h 54"/>
                <a:gd name="T8" fmla="*/ 5 w 50"/>
                <a:gd name="T9" fmla="*/ 43 h 54"/>
                <a:gd name="T10" fmla="*/ 6 w 50"/>
                <a:gd name="T11" fmla="*/ 42 h 54"/>
                <a:gd name="T12" fmla="*/ 44 w 50"/>
                <a:gd name="T13" fmla="*/ 42 h 54"/>
                <a:gd name="T14" fmla="*/ 46 w 50"/>
                <a:gd name="T15" fmla="*/ 43 h 54"/>
                <a:gd name="T16" fmla="*/ 50 w 50"/>
                <a:gd name="T17" fmla="*/ 51 h 54"/>
                <a:gd name="T18" fmla="*/ 50 w 50"/>
                <a:gd name="T19" fmla="*/ 53 h 54"/>
                <a:gd name="T20" fmla="*/ 48 w 50"/>
                <a:gd name="T21" fmla="*/ 54 h 54"/>
                <a:gd name="T22" fmla="*/ 6 w 50"/>
                <a:gd name="T23" fmla="*/ 50 h 54"/>
                <a:gd name="T24" fmla="*/ 45 w 50"/>
                <a:gd name="T25" fmla="*/ 50 h 54"/>
                <a:gd name="T26" fmla="*/ 43 w 50"/>
                <a:gd name="T27" fmla="*/ 46 h 54"/>
                <a:gd name="T28" fmla="*/ 8 w 50"/>
                <a:gd name="T29" fmla="*/ 46 h 54"/>
                <a:gd name="T30" fmla="*/ 6 w 50"/>
                <a:gd name="T31" fmla="*/ 50 h 54"/>
                <a:gd name="T32" fmla="*/ 6 w 50"/>
                <a:gd name="T33" fmla="*/ 50 h 54"/>
                <a:gd name="T34" fmla="*/ 46 w 50"/>
                <a:gd name="T35" fmla="*/ 16 h 54"/>
                <a:gd name="T36" fmla="*/ 4 w 50"/>
                <a:gd name="T37" fmla="*/ 16 h 54"/>
                <a:gd name="T38" fmla="*/ 3 w 50"/>
                <a:gd name="T39" fmla="*/ 14 h 54"/>
                <a:gd name="T40" fmla="*/ 4 w 50"/>
                <a:gd name="T41" fmla="*/ 12 h 54"/>
                <a:gd name="T42" fmla="*/ 24 w 50"/>
                <a:gd name="T43" fmla="*/ 1 h 54"/>
                <a:gd name="T44" fmla="*/ 26 w 50"/>
                <a:gd name="T45" fmla="*/ 1 h 54"/>
                <a:gd name="T46" fmla="*/ 47 w 50"/>
                <a:gd name="T47" fmla="*/ 12 h 54"/>
                <a:gd name="T48" fmla="*/ 48 w 50"/>
                <a:gd name="T49" fmla="*/ 14 h 54"/>
                <a:gd name="T50" fmla="*/ 46 w 50"/>
                <a:gd name="T51" fmla="*/ 16 h 54"/>
                <a:gd name="T52" fmla="*/ 12 w 50"/>
                <a:gd name="T53" fmla="*/ 12 h 54"/>
                <a:gd name="T54" fmla="*/ 39 w 50"/>
                <a:gd name="T55" fmla="*/ 12 h 54"/>
                <a:gd name="T56" fmla="*/ 25 w 50"/>
                <a:gd name="T57" fmla="*/ 4 h 54"/>
                <a:gd name="T58" fmla="*/ 12 w 50"/>
                <a:gd name="T59" fmla="*/ 12 h 54"/>
                <a:gd name="T60" fmla="*/ 12 w 50"/>
                <a:gd name="T61" fmla="*/ 12 h 54"/>
                <a:gd name="T62" fmla="*/ 10 w 50"/>
                <a:gd name="T63" fmla="*/ 36 h 54"/>
                <a:gd name="T64" fmla="*/ 10 w 50"/>
                <a:gd name="T65" fmla="*/ 21 h 54"/>
                <a:gd name="T66" fmla="*/ 8 w 50"/>
                <a:gd name="T67" fmla="*/ 19 h 54"/>
                <a:gd name="T68" fmla="*/ 6 w 50"/>
                <a:gd name="T69" fmla="*/ 21 h 54"/>
                <a:gd name="T70" fmla="*/ 6 w 50"/>
                <a:gd name="T71" fmla="*/ 36 h 54"/>
                <a:gd name="T72" fmla="*/ 8 w 50"/>
                <a:gd name="T73" fmla="*/ 38 h 54"/>
                <a:gd name="T74" fmla="*/ 10 w 50"/>
                <a:gd name="T75" fmla="*/ 36 h 54"/>
                <a:gd name="T76" fmla="*/ 21 w 50"/>
                <a:gd name="T77" fmla="*/ 36 h 54"/>
                <a:gd name="T78" fmla="*/ 21 w 50"/>
                <a:gd name="T79" fmla="*/ 21 h 54"/>
                <a:gd name="T80" fmla="*/ 20 w 50"/>
                <a:gd name="T81" fmla="*/ 19 h 54"/>
                <a:gd name="T82" fmla="*/ 18 w 50"/>
                <a:gd name="T83" fmla="*/ 21 h 54"/>
                <a:gd name="T84" fmla="*/ 18 w 50"/>
                <a:gd name="T85" fmla="*/ 36 h 54"/>
                <a:gd name="T86" fmla="*/ 20 w 50"/>
                <a:gd name="T87" fmla="*/ 38 h 54"/>
                <a:gd name="T88" fmla="*/ 21 w 50"/>
                <a:gd name="T89" fmla="*/ 36 h 54"/>
                <a:gd name="T90" fmla="*/ 33 w 50"/>
                <a:gd name="T91" fmla="*/ 36 h 54"/>
                <a:gd name="T92" fmla="*/ 33 w 50"/>
                <a:gd name="T93" fmla="*/ 21 h 54"/>
                <a:gd name="T94" fmla="*/ 31 w 50"/>
                <a:gd name="T95" fmla="*/ 19 h 54"/>
                <a:gd name="T96" fmla="*/ 29 w 50"/>
                <a:gd name="T97" fmla="*/ 21 h 54"/>
                <a:gd name="T98" fmla="*/ 29 w 50"/>
                <a:gd name="T99" fmla="*/ 36 h 54"/>
                <a:gd name="T100" fmla="*/ 31 w 50"/>
                <a:gd name="T101" fmla="*/ 38 h 54"/>
                <a:gd name="T102" fmla="*/ 33 w 50"/>
                <a:gd name="T103" fmla="*/ 36 h 54"/>
                <a:gd name="T104" fmla="*/ 44 w 50"/>
                <a:gd name="T105" fmla="*/ 36 h 54"/>
                <a:gd name="T106" fmla="*/ 44 w 50"/>
                <a:gd name="T107" fmla="*/ 21 h 54"/>
                <a:gd name="T108" fmla="*/ 42 w 50"/>
                <a:gd name="T109" fmla="*/ 19 h 54"/>
                <a:gd name="T110" fmla="*/ 40 w 50"/>
                <a:gd name="T111" fmla="*/ 21 h 54"/>
                <a:gd name="T112" fmla="*/ 40 w 50"/>
                <a:gd name="T113" fmla="*/ 36 h 54"/>
                <a:gd name="T114" fmla="*/ 42 w 50"/>
                <a:gd name="T115" fmla="*/ 38 h 54"/>
                <a:gd name="T116" fmla="*/ 44 w 50"/>
                <a:gd name="T117"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 h="54">
                  <a:moveTo>
                    <a:pt x="48" y="54"/>
                  </a:moveTo>
                  <a:cubicBezTo>
                    <a:pt x="3" y="54"/>
                    <a:pt x="3" y="54"/>
                    <a:pt x="3" y="54"/>
                  </a:cubicBezTo>
                  <a:cubicBezTo>
                    <a:pt x="2" y="54"/>
                    <a:pt x="1" y="53"/>
                    <a:pt x="1" y="53"/>
                  </a:cubicBezTo>
                  <a:cubicBezTo>
                    <a:pt x="1" y="52"/>
                    <a:pt x="0" y="51"/>
                    <a:pt x="1" y="51"/>
                  </a:cubicBezTo>
                  <a:cubicBezTo>
                    <a:pt x="5" y="43"/>
                    <a:pt x="5" y="43"/>
                    <a:pt x="5" y="43"/>
                  </a:cubicBezTo>
                  <a:cubicBezTo>
                    <a:pt x="5" y="43"/>
                    <a:pt x="6" y="42"/>
                    <a:pt x="6" y="42"/>
                  </a:cubicBezTo>
                  <a:cubicBezTo>
                    <a:pt x="44" y="42"/>
                    <a:pt x="44" y="42"/>
                    <a:pt x="44" y="42"/>
                  </a:cubicBezTo>
                  <a:cubicBezTo>
                    <a:pt x="45" y="42"/>
                    <a:pt x="46" y="43"/>
                    <a:pt x="46" y="43"/>
                  </a:cubicBezTo>
                  <a:cubicBezTo>
                    <a:pt x="50" y="51"/>
                    <a:pt x="50" y="51"/>
                    <a:pt x="50" y="51"/>
                  </a:cubicBezTo>
                  <a:cubicBezTo>
                    <a:pt x="50" y="51"/>
                    <a:pt x="50" y="52"/>
                    <a:pt x="50" y="53"/>
                  </a:cubicBezTo>
                  <a:cubicBezTo>
                    <a:pt x="49" y="53"/>
                    <a:pt x="49" y="54"/>
                    <a:pt x="48" y="54"/>
                  </a:cubicBezTo>
                  <a:close/>
                  <a:moveTo>
                    <a:pt x="6" y="50"/>
                  </a:moveTo>
                  <a:cubicBezTo>
                    <a:pt x="45" y="50"/>
                    <a:pt x="45" y="50"/>
                    <a:pt x="45" y="50"/>
                  </a:cubicBezTo>
                  <a:cubicBezTo>
                    <a:pt x="43" y="46"/>
                    <a:pt x="43" y="46"/>
                    <a:pt x="43" y="46"/>
                  </a:cubicBezTo>
                  <a:cubicBezTo>
                    <a:pt x="8" y="46"/>
                    <a:pt x="8" y="46"/>
                    <a:pt x="8" y="46"/>
                  </a:cubicBezTo>
                  <a:cubicBezTo>
                    <a:pt x="6" y="50"/>
                    <a:pt x="6" y="50"/>
                    <a:pt x="6" y="50"/>
                  </a:cubicBezTo>
                  <a:cubicBezTo>
                    <a:pt x="6" y="50"/>
                    <a:pt x="6" y="50"/>
                    <a:pt x="6" y="50"/>
                  </a:cubicBezTo>
                  <a:close/>
                  <a:moveTo>
                    <a:pt x="46" y="16"/>
                  </a:moveTo>
                  <a:cubicBezTo>
                    <a:pt x="4" y="16"/>
                    <a:pt x="4" y="16"/>
                    <a:pt x="4" y="16"/>
                  </a:cubicBezTo>
                  <a:cubicBezTo>
                    <a:pt x="4" y="16"/>
                    <a:pt x="3" y="15"/>
                    <a:pt x="3" y="14"/>
                  </a:cubicBezTo>
                  <a:cubicBezTo>
                    <a:pt x="2" y="13"/>
                    <a:pt x="3" y="12"/>
                    <a:pt x="4" y="12"/>
                  </a:cubicBezTo>
                  <a:cubicBezTo>
                    <a:pt x="24" y="1"/>
                    <a:pt x="24" y="1"/>
                    <a:pt x="24" y="1"/>
                  </a:cubicBezTo>
                  <a:cubicBezTo>
                    <a:pt x="25" y="0"/>
                    <a:pt x="26" y="0"/>
                    <a:pt x="26" y="1"/>
                  </a:cubicBezTo>
                  <a:cubicBezTo>
                    <a:pt x="47" y="12"/>
                    <a:pt x="47" y="12"/>
                    <a:pt x="47" y="12"/>
                  </a:cubicBezTo>
                  <a:cubicBezTo>
                    <a:pt x="48" y="12"/>
                    <a:pt x="48" y="13"/>
                    <a:pt x="48" y="14"/>
                  </a:cubicBezTo>
                  <a:cubicBezTo>
                    <a:pt x="48" y="15"/>
                    <a:pt x="47" y="16"/>
                    <a:pt x="46" y="16"/>
                  </a:cubicBezTo>
                  <a:close/>
                  <a:moveTo>
                    <a:pt x="12" y="12"/>
                  </a:moveTo>
                  <a:cubicBezTo>
                    <a:pt x="39" y="12"/>
                    <a:pt x="39" y="12"/>
                    <a:pt x="39" y="12"/>
                  </a:cubicBezTo>
                  <a:cubicBezTo>
                    <a:pt x="25" y="4"/>
                    <a:pt x="25" y="4"/>
                    <a:pt x="25" y="4"/>
                  </a:cubicBezTo>
                  <a:cubicBezTo>
                    <a:pt x="12" y="12"/>
                    <a:pt x="12" y="12"/>
                    <a:pt x="12" y="12"/>
                  </a:cubicBezTo>
                  <a:cubicBezTo>
                    <a:pt x="12" y="12"/>
                    <a:pt x="12" y="12"/>
                    <a:pt x="12" y="12"/>
                  </a:cubicBezTo>
                  <a:close/>
                  <a:moveTo>
                    <a:pt x="10" y="36"/>
                  </a:moveTo>
                  <a:cubicBezTo>
                    <a:pt x="10" y="21"/>
                    <a:pt x="10" y="21"/>
                    <a:pt x="10" y="21"/>
                  </a:cubicBezTo>
                  <a:cubicBezTo>
                    <a:pt x="10" y="20"/>
                    <a:pt x="9" y="19"/>
                    <a:pt x="8" y="19"/>
                  </a:cubicBezTo>
                  <a:cubicBezTo>
                    <a:pt x="7" y="19"/>
                    <a:pt x="6" y="20"/>
                    <a:pt x="6" y="21"/>
                  </a:cubicBezTo>
                  <a:cubicBezTo>
                    <a:pt x="6" y="36"/>
                    <a:pt x="6" y="36"/>
                    <a:pt x="6" y="36"/>
                  </a:cubicBezTo>
                  <a:cubicBezTo>
                    <a:pt x="6" y="38"/>
                    <a:pt x="7" y="38"/>
                    <a:pt x="8" y="38"/>
                  </a:cubicBezTo>
                  <a:cubicBezTo>
                    <a:pt x="9" y="38"/>
                    <a:pt x="10" y="38"/>
                    <a:pt x="10" y="36"/>
                  </a:cubicBezTo>
                  <a:close/>
                  <a:moveTo>
                    <a:pt x="21" y="36"/>
                  </a:moveTo>
                  <a:cubicBezTo>
                    <a:pt x="21" y="21"/>
                    <a:pt x="21" y="21"/>
                    <a:pt x="21" y="21"/>
                  </a:cubicBezTo>
                  <a:cubicBezTo>
                    <a:pt x="21" y="20"/>
                    <a:pt x="21" y="19"/>
                    <a:pt x="20" y="19"/>
                  </a:cubicBezTo>
                  <a:cubicBezTo>
                    <a:pt x="19" y="19"/>
                    <a:pt x="18" y="20"/>
                    <a:pt x="18" y="21"/>
                  </a:cubicBezTo>
                  <a:cubicBezTo>
                    <a:pt x="18" y="36"/>
                    <a:pt x="18" y="36"/>
                    <a:pt x="18" y="36"/>
                  </a:cubicBezTo>
                  <a:cubicBezTo>
                    <a:pt x="18" y="38"/>
                    <a:pt x="19" y="38"/>
                    <a:pt x="20" y="38"/>
                  </a:cubicBezTo>
                  <a:cubicBezTo>
                    <a:pt x="21" y="38"/>
                    <a:pt x="21" y="38"/>
                    <a:pt x="21" y="36"/>
                  </a:cubicBezTo>
                  <a:close/>
                  <a:moveTo>
                    <a:pt x="33" y="36"/>
                  </a:moveTo>
                  <a:cubicBezTo>
                    <a:pt x="33" y="21"/>
                    <a:pt x="33" y="21"/>
                    <a:pt x="33" y="21"/>
                  </a:cubicBezTo>
                  <a:cubicBezTo>
                    <a:pt x="33" y="20"/>
                    <a:pt x="32" y="19"/>
                    <a:pt x="31" y="19"/>
                  </a:cubicBezTo>
                  <a:cubicBezTo>
                    <a:pt x="30" y="19"/>
                    <a:pt x="29" y="20"/>
                    <a:pt x="29" y="21"/>
                  </a:cubicBezTo>
                  <a:cubicBezTo>
                    <a:pt x="29" y="36"/>
                    <a:pt x="29" y="36"/>
                    <a:pt x="29" y="36"/>
                  </a:cubicBezTo>
                  <a:cubicBezTo>
                    <a:pt x="29" y="38"/>
                    <a:pt x="30" y="38"/>
                    <a:pt x="31" y="38"/>
                  </a:cubicBezTo>
                  <a:cubicBezTo>
                    <a:pt x="32" y="38"/>
                    <a:pt x="33" y="38"/>
                    <a:pt x="33" y="36"/>
                  </a:cubicBezTo>
                  <a:close/>
                  <a:moveTo>
                    <a:pt x="44" y="36"/>
                  </a:moveTo>
                  <a:cubicBezTo>
                    <a:pt x="44" y="21"/>
                    <a:pt x="44" y="21"/>
                    <a:pt x="44" y="21"/>
                  </a:cubicBezTo>
                  <a:cubicBezTo>
                    <a:pt x="44" y="20"/>
                    <a:pt x="43" y="19"/>
                    <a:pt x="42" y="19"/>
                  </a:cubicBezTo>
                  <a:cubicBezTo>
                    <a:pt x="41" y="19"/>
                    <a:pt x="40" y="20"/>
                    <a:pt x="40" y="21"/>
                  </a:cubicBezTo>
                  <a:cubicBezTo>
                    <a:pt x="40" y="36"/>
                    <a:pt x="40" y="36"/>
                    <a:pt x="40" y="36"/>
                  </a:cubicBezTo>
                  <a:cubicBezTo>
                    <a:pt x="40" y="38"/>
                    <a:pt x="41" y="38"/>
                    <a:pt x="42" y="38"/>
                  </a:cubicBezTo>
                  <a:cubicBezTo>
                    <a:pt x="43" y="38"/>
                    <a:pt x="44" y="38"/>
                    <a:pt x="44" y="36"/>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 name="TextBox 47"/>
          <p:cNvSpPr txBox="1"/>
          <p:nvPr/>
        </p:nvSpPr>
        <p:spPr>
          <a:xfrm>
            <a:off x="2944815" y="1074029"/>
            <a:ext cx="8704260" cy="507831"/>
          </a:xfrm>
          <a:prstGeom prst="rect">
            <a:avLst/>
          </a:prstGeom>
          <a:noFill/>
        </p:spPr>
        <p:txBody>
          <a:bodyPr wrap="square" lIns="0" tIns="0" rIns="0" bIns="0" rtlCol="0" anchor="ctr">
            <a:spAutoFit/>
          </a:bodyPr>
          <a:lstStyle/>
          <a:p>
            <a:pPr>
              <a:spcBef>
                <a:spcPts val="600"/>
              </a:spcBef>
              <a:buSzPct val="100000"/>
            </a:pPr>
            <a:r>
              <a:rPr lang="en-US" sz="1100" dirty="0">
                <a:solidFill>
                  <a:srgbClr val="313131"/>
                </a:solidFill>
              </a:rPr>
              <a:t>Lorem ipsum dolor sit amet, consectetuer adipiscing elit. Maecenas porttitor congue massa. Fusce posuere, magna sed pulvinar ultricies, purus lectus malesuada libero, sit amet commodo magna eros quis </a:t>
            </a:r>
            <a:r>
              <a:rPr lang="en-US" sz="1100" dirty="0" err="1">
                <a:solidFill>
                  <a:srgbClr val="313131"/>
                </a:solidFill>
              </a:rPr>
              <a:t>urna</a:t>
            </a:r>
            <a:r>
              <a:rPr lang="en-US" sz="1100" dirty="0">
                <a:solidFill>
                  <a:srgbClr val="313131"/>
                </a:solidFill>
              </a:rPr>
              <a:t>. Nunc viverra imperdiet enim. Fusce est. Vivamus a </a:t>
            </a:r>
            <a:r>
              <a:rPr lang="en-US" sz="1100" dirty="0" err="1">
                <a:solidFill>
                  <a:srgbClr val="313131"/>
                </a:solidFill>
              </a:rPr>
              <a:t>tellus</a:t>
            </a:r>
            <a:r>
              <a:rPr lang="en-US" sz="1100" dirty="0">
                <a:solidFill>
                  <a:srgbClr val="313131"/>
                </a:solidFill>
              </a:rPr>
              <a:t>. </a:t>
            </a:r>
            <a:r>
              <a:rPr lang="en-US" sz="1100" dirty="0" err="1">
                <a:solidFill>
                  <a:srgbClr val="313131"/>
                </a:solidFill>
              </a:rPr>
              <a:t>Pellentesque</a:t>
            </a:r>
            <a:r>
              <a:rPr lang="en-US" sz="1100" dirty="0">
                <a:solidFill>
                  <a:srgbClr val="313131"/>
                </a:solidFill>
              </a:rPr>
              <a:t> habitant morbi tristique </a:t>
            </a:r>
            <a:r>
              <a:rPr lang="en-US" sz="1100" dirty="0" err="1">
                <a:solidFill>
                  <a:srgbClr val="313131"/>
                </a:solidFill>
              </a:rPr>
              <a:t>senectus</a:t>
            </a:r>
            <a:r>
              <a:rPr lang="en-US" sz="1100" dirty="0">
                <a:solidFill>
                  <a:srgbClr val="313131"/>
                </a:solidFill>
              </a:rPr>
              <a:t> et</a:t>
            </a:r>
          </a:p>
        </p:txBody>
      </p:sp>
      <p:sp>
        <p:nvSpPr>
          <p:cNvPr id="49" name="TextBox 48"/>
          <p:cNvSpPr txBox="1"/>
          <p:nvPr/>
        </p:nvSpPr>
        <p:spPr>
          <a:xfrm>
            <a:off x="2944815" y="5207001"/>
            <a:ext cx="8704260" cy="507831"/>
          </a:xfrm>
          <a:prstGeom prst="rect">
            <a:avLst/>
          </a:prstGeom>
          <a:noFill/>
        </p:spPr>
        <p:txBody>
          <a:bodyPr wrap="square" lIns="0" tIns="0" rIns="0" bIns="0" rtlCol="0" anchor="ctr">
            <a:spAutoFit/>
          </a:bodyPr>
          <a:lstStyle/>
          <a:p>
            <a:pPr>
              <a:spcBef>
                <a:spcPts val="600"/>
              </a:spcBef>
              <a:buSzPct val="100000"/>
            </a:pPr>
            <a:r>
              <a:rPr lang="en-US" sz="1100" dirty="0">
                <a:solidFill>
                  <a:srgbClr val="313131"/>
                </a:solidFill>
              </a:rPr>
              <a:t>Lorem ipsum dolor sit amet, consectetuer adipiscing elit. Maecenas porttitor congue massa. Fusce posuere, magna sed pulvinar ultricies, purus lectus malesuada libero, sit amet commodo magna eros quis </a:t>
            </a:r>
            <a:r>
              <a:rPr lang="en-US" sz="1100" dirty="0" err="1">
                <a:solidFill>
                  <a:srgbClr val="313131"/>
                </a:solidFill>
              </a:rPr>
              <a:t>urna</a:t>
            </a:r>
            <a:r>
              <a:rPr lang="en-US" sz="1100" dirty="0">
                <a:solidFill>
                  <a:srgbClr val="313131"/>
                </a:solidFill>
              </a:rPr>
              <a:t>. Nunc viverra imperdiet enim. Fusce est. Vivamus a </a:t>
            </a:r>
            <a:r>
              <a:rPr lang="en-US" sz="1100" dirty="0" err="1">
                <a:solidFill>
                  <a:srgbClr val="313131"/>
                </a:solidFill>
              </a:rPr>
              <a:t>tellus</a:t>
            </a:r>
            <a:r>
              <a:rPr lang="en-US" sz="1100" dirty="0">
                <a:solidFill>
                  <a:srgbClr val="313131"/>
                </a:solidFill>
              </a:rPr>
              <a:t>. </a:t>
            </a:r>
            <a:r>
              <a:rPr lang="en-US" sz="1100" dirty="0" err="1">
                <a:solidFill>
                  <a:srgbClr val="313131"/>
                </a:solidFill>
              </a:rPr>
              <a:t>Pellentesque</a:t>
            </a:r>
            <a:r>
              <a:rPr lang="en-US" sz="1100" dirty="0">
                <a:solidFill>
                  <a:srgbClr val="313131"/>
                </a:solidFill>
              </a:rPr>
              <a:t> habitant morbi tristique </a:t>
            </a:r>
            <a:r>
              <a:rPr lang="en-US" sz="1100" dirty="0" err="1">
                <a:solidFill>
                  <a:srgbClr val="313131"/>
                </a:solidFill>
              </a:rPr>
              <a:t>senectus</a:t>
            </a:r>
            <a:r>
              <a:rPr lang="en-US" sz="1100" dirty="0">
                <a:solidFill>
                  <a:srgbClr val="313131"/>
                </a:solidFill>
              </a:rPr>
              <a:t> et</a:t>
            </a:r>
          </a:p>
        </p:txBody>
      </p:sp>
      <p:sp>
        <p:nvSpPr>
          <p:cNvPr id="50" name="TextBox 49"/>
          <p:cNvSpPr txBox="1"/>
          <p:nvPr/>
        </p:nvSpPr>
        <p:spPr>
          <a:xfrm>
            <a:off x="3983039" y="4429295"/>
            <a:ext cx="7666036" cy="507831"/>
          </a:xfrm>
          <a:prstGeom prst="rect">
            <a:avLst/>
          </a:prstGeom>
          <a:noFill/>
        </p:spPr>
        <p:txBody>
          <a:bodyPr wrap="square" lIns="0" tIns="0" rIns="0" bIns="0" rtlCol="0" anchor="ctr">
            <a:spAutoFit/>
          </a:bodyPr>
          <a:lstStyle/>
          <a:p>
            <a:pPr>
              <a:spcBef>
                <a:spcPts val="600"/>
              </a:spcBef>
              <a:buSzPct val="100000"/>
            </a:pPr>
            <a:r>
              <a:rPr lang="en-US" sz="1100" dirty="0">
                <a:solidFill>
                  <a:srgbClr val="313131"/>
                </a:solidFill>
              </a:rPr>
              <a:t>Lorem ipsum dolor sit amet, consectetuer adipiscing elit. Maecenas porttitor congue massa. Fusce posuere, magna sed pulvinar ultricies, purus lectus malesuada libero, sit amet commodo magna eros quis </a:t>
            </a:r>
            <a:r>
              <a:rPr lang="en-US" sz="1100" dirty="0" err="1">
                <a:solidFill>
                  <a:srgbClr val="313131"/>
                </a:solidFill>
              </a:rPr>
              <a:t>urna</a:t>
            </a:r>
            <a:r>
              <a:rPr lang="en-US" sz="1100" dirty="0">
                <a:solidFill>
                  <a:srgbClr val="313131"/>
                </a:solidFill>
              </a:rPr>
              <a:t>. Nunc viverra imperdiet enim. Fusce est. Vivamus a </a:t>
            </a:r>
            <a:r>
              <a:rPr lang="en-US" sz="1100" dirty="0" err="1">
                <a:solidFill>
                  <a:srgbClr val="313131"/>
                </a:solidFill>
              </a:rPr>
              <a:t>tellus</a:t>
            </a:r>
            <a:r>
              <a:rPr lang="en-US" sz="1100" dirty="0">
                <a:solidFill>
                  <a:srgbClr val="313131"/>
                </a:solidFill>
              </a:rPr>
              <a:t>. </a:t>
            </a:r>
            <a:r>
              <a:rPr lang="en-US" sz="1100" dirty="0" err="1">
                <a:solidFill>
                  <a:srgbClr val="313131"/>
                </a:solidFill>
              </a:rPr>
              <a:t>Pellentesque</a:t>
            </a:r>
            <a:r>
              <a:rPr lang="en-US" sz="1100" dirty="0">
                <a:solidFill>
                  <a:srgbClr val="313131"/>
                </a:solidFill>
              </a:rPr>
              <a:t> habitant morbi tristique </a:t>
            </a:r>
            <a:r>
              <a:rPr lang="en-US" sz="1100" dirty="0" err="1">
                <a:solidFill>
                  <a:srgbClr val="313131"/>
                </a:solidFill>
              </a:rPr>
              <a:t>senectus</a:t>
            </a:r>
            <a:r>
              <a:rPr lang="en-US" sz="1100" dirty="0">
                <a:solidFill>
                  <a:srgbClr val="313131"/>
                </a:solidFill>
              </a:rPr>
              <a:t> et</a:t>
            </a:r>
          </a:p>
        </p:txBody>
      </p:sp>
      <p:sp>
        <p:nvSpPr>
          <p:cNvPr id="51" name="TextBox 50"/>
          <p:cNvSpPr txBox="1"/>
          <p:nvPr/>
        </p:nvSpPr>
        <p:spPr>
          <a:xfrm>
            <a:off x="3983039" y="1949535"/>
            <a:ext cx="7666036" cy="507831"/>
          </a:xfrm>
          <a:prstGeom prst="rect">
            <a:avLst/>
          </a:prstGeom>
          <a:noFill/>
        </p:spPr>
        <p:txBody>
          <a:bodyPr wrap="square" lIns="0" tIns="0" rIns="0" bIns="0" rtlCol="0" anchor="ctr">
            <a:spAutoFit/>
          </a:bodyPr>
          <a:lstStyle/>
          <a:p>
            <a:pPr>
              <a:spcBef>
                <a:spcPts val="600"/>
              </a:spcBef>
              <a:buSzPct val="100000"/>
            </a:pPr>
            <a:r>
              <a:rPr lang="en-US" sz="1100" dirty="0">
                <a:solidFill>
                  <a:srgbClr val="313131"/>
                </a:solidFill>
              </a:rPr>
              <a:t>Lorem ipsum dolor sit amet, consectetuer adipiscing elit. Maecenas porttitor congue massa. Fusce posuere, magna sed pulvinar ultricies, purus lectus malesuada libero, sit amet commodo magna eros quis </a:t>
            </a:r>
            <a:r>
              <a:rPr lang="en-US" sz="1100" dirty="0" err="1">
                <a:solidFill>
                  <a:srgbClr val="313131"/>
                </a:solidFill>
              </a:rPr>
              <a:t>urna</a:t>
            </a:r>
            <a:r>
              <a:rPr lang="en-US" sz="1100" dirty="0">
                <a:solidFill>
                  <a:srgbClr val="313131"/>
                </a:solidFill>
              </a:rPr>
              <a:t>. Nunc viverra imperdiet enim. Fusce est. Vivamus a </a:t>
            </a:r>
            <a:r>
              <a:rPr lang="en-US" sz="1100" dirty="0" err="1">
                <a:solidFill>
                  <a:srgbClr val="313131"/>
                </a:solidFill>
              </a:rPr>
              <a:t>tellus</a:t>
            </a:r>
            <a:r>
              <a:rPr lang="en-US" sz="1100" dirty="0">
                <a:solidFill>
                  <a:srgbClr val="313131"/>
                </a:solidFill>
              </a:rPr>
              <a:t>. </a:t>
            </a:r>
            <a:r>
              <a:rPr lang="en-US" sz="1100" dirty="0" err="1">
                <a:solidFill>
                  <a:srgbClr val="313131"/>
                </a:solidFill>
              </a:rPr>
              <a:t>Pellentesque</a:t>
            </a:r>
            <a:r>
              <a:rPr lang="en-US" sz="1100" dirty="0">
                <a:solidFill>
                  <a:srgbClr val="313131"/>
                </a:solidFill>
              </a:rPr>
              <a:t> habitant morbi tristique </a:t>
            </a:r>
            <a:r>
              <a:rPr lang="en-US" sz="1100" dirty="0" err="1">
                <a:solidFill>
                  <a:srgbClr val="313131"/>
                </a:solidFill>
              </a:rPr>
              <a:t>senectus</a:t>
            </a:r>
            <a:r>
              <a:rPr lang="en-US" sz="1100" dirty="0">
                <a:solidFill>
                  <a:srgbClr val="313131"/>
                </a:solidFill>
              </a:rPr>
              <a:t> et</a:t>
            </a:r>
          </a:p>
        </p:txBody>
      </p:sp>
      <p:sp>
        <p:nvSpPr>
          <p:cNvPr id="52" name="TextBox 51"/>
          <p:cNvSpPr txBox="1"/>
          <p:nvPr/>
        </p:nvSpPr>
        <p:spPr>
          <a:xfrm>
            <a:off x="4338639" y="3200570"/>
            <a:ext cx="7310436" cy="507831"/>
          </a:xfrm>
          <a:prstGeom prst="rect">
            <a:avLst/>
          </a:prstGeom>
          <a:noFill/>
        </p:spPr>
        <p:txBody>
          <a:bodyPr wrap="square" lIns="0" tIns="0" rIns="0" bIns="0" rtlCol="0" anchor="ctr">
            <a:spAutoFit/>
          </a:bodyPr>
          <a:lstStyle/>
          <a:p>
            <a:pPr>
              <a:spcBef>
                <a:spcPts val="600"/>
              </a:spcBef>
              <a:buSzPct val="100000"/>
            </a:pPr>
            <a:r>
              <a:rPr lang="en-US" sz="1100" dirty="0">
                <a:solidFill>
                  <a:srgbClr val="313131"/>
                </a:solidFill>
              </a:rPr>
              <a:t>Lorem ipsum dolor sit amet, consectetuer adipiscing elit. Maecenas porttitor congue massa. Fusce posuere, magna sed pulvinar ultricies, purus lectus malesuada libero, sit amet commodo magna eros quis </a:t>
            </a:r>
            <a:r>
              <a:rPr lang="en-US" sz="1100" dirty="0" err="1">
                <a:solidFill>
                  <a:srgbClr val="313131"/>
                </a:solidFill>
              </a:rPr>
              <a:t>urna</a:t>
            </a:r>
            <a:r>
              <a:rPr lang="en-US" sz="1100" dirty="0">
                <a:solidFill>
                  <a:srgbClr val="313131"/>
                </a:solidFill>
              </a:rPr>
              <a:t>. Nunc viverra imperdiet enim. Fusce est. Vivamus a </a:t>
            </a:r>
            <a:r>
              <a:rPr lang="en-US" sz="1100" dirty="0" err="1">
                <a:solidFill>
                  <a:srgbClr val="313131"/>
                </a:solidFill>
              </a:rPr>
              <a:t>tellus</a:t>
            </a:r>
            <a:r>
              <a:rPr lang="en-US" sz="1100" dirty="0">
                <a:solidFill>
                  <a:srgbClr val="313131"/>
                </a:solidFill>
              </a:rPr>
              <a:t>. </a:t>
            </a:r>
            <a:r>
              <a:rPr lang="en-US" sz="1100" dirty="0" err="1">
                <a:solidFill>
                  <a:srgbClr val="313131"/>
                </a:solidFill>
              </a:rPr>
              <a:t>Pellentesque</a:t>
            </a:r>
            <a:r>
              <a:rPr lang="en-US" sz="1100" dirty="0">
                <a:solidFill>
                  <a:srgbClr val="313131"/>
                </a:solidFill>
              </a:rPr>
              <a:t> habitant morbi tristique </a:t>
            </a:r>
            <a:r>
              <a:rPr lang="en-US" sz="1100" dirty="0" err="1">
                <a:solidFill>
                  <a:srgbClr val="313131"/>
                </a:solidFill>
              </a:rPr>
              <a:t>senectus</a:t>
            </a:r>
            <a:r>
              <a:rPr lang="en-US" sz="1100" dirty="0">
                <a:solidFill>
                  <a:srgbClr val="313131"/>
                </a:solidFill>
              </a:rPr>
              <a:t> et</a:t>
            </a:r>
          </a:p>
        </p:txBody>
      </p:sp>
      <p:sp>
        <p:nvSpPr>
          <p:cNvPr id="53" name="TextBox 52"/>
          <p:cNvSpPr txBox="1"/>
          <p:nvPr/>
        </p:nvSpPr>
        <p:spPr>
          <a:xfrm>
            <a:off x="1122363" y="2894847"/>
            <a:ext cx="1001713" cy="1107996"/>
          </a:xfrm>
          <a:prstGeom prst="rect">
            <a:avLst/>
          </a:prstGeom>
          <a:noFill/>
        </p:spPr>
        <p:txBody>
          <a:bodyPr wrap="square" lIns="0" tIns="0" rIns="0" bIns="0" rtlCol="0" anchor="ctr">
            <a:spAutoFit/>
          </a:bodyPr>
          <a:lstStyle/>
          <a:p>
            <a:pPr>
              <a:spcBef>
                <a:spcPts val="600"/>
              </a:spcBef>
              <a:buSzPct val="100000"/>
            </a:pPr>
            <a:r>
              <a:rPr lang="en-US" dirty="0">
                <a:solidFill>
                  <a:srgbClr val="313131"/>
                </a:solidFill>
              </a:rPr>
              <a:t>Lorem ipsum dolor sit </a:t>
            </a:r>
            <a:r>
              <a:rPr lang="en-US" dirty="0" err="1">
                <a:solidFill>
                  <a:srgbClr val="313131"/>
                </a:solidFill>
              </a:rPr>
              <a:t>amet</a:t>
            </a:r>
            <a:endParaRPr lang="en-US" dirty="0">
              <a:solidFill>
                <a:srgbClr val="313131"/>
              </a:solidFill>
            </a:endParaRPr>
          </a:p>
        </p:txBody>
      </p:sp>
    </p:spTree>
    <p:custDataLst>
      <p:tags r:id="rId1"/>
    </p:custDataLst>
    <p:extLst>
      <p:ext uri="{BB962C8B-B14F-4D97-AF65-F5344CB8AC3E}">
        <p14:creationId xmlns:p14="http://schemas.microsoft.com/office/powerpoint/2010/main" val="4061214424"/>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F14A51A-168F-468B-89B1-1E6AA17FB1E8}"/>
              </a:ext>
            </a:extLst>
          </p:cNvPr>
          <p:cNvGrpSpPr/>
          <p:nvPr/>
        </p:nvGrpSpPr>
        <p:grpSpPr>
          <a:xfrm>
            <a:off x="461963" y="1444517"/>
            <a:ext cx="11229975" cy="4193505"/>
            <a:chOff x="376237" y="3258052"/>
            <a:chExt cx="8410387" cy="3140612"/>
          </a:xfrm>
        </p:grpSpPr>
        <p:sp>
          <p:nvSpPr>
            <p:cNvPr id="5" name="Title 1">
              <a:extLst>
                <a:ext uri="{FF2B5EF4-FFF2-40B4-BE49-F238E27FC236}">
                  <a16:creationId xmlns:a16="http://schemas.microsoft.com/office/drawing/2014/main" id="{F777FF5B-F4F4-4975-838E-747273D81A3D}"/>
                </a:ext>
              </a:extLst>
            </p:cNvPr>
            <p:cNvSpPr txBox="1">
              <a:spLocks/>
            </p:cNvSpPr>
            <p:nvPr/>
          </p:nvSpPr>
          <p:spPr bwMode="gray">
            <a:xfrm>
              <a:off x="379953" y="4353490"/>
              <a:ext cx="856849" cy="720316"/>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6" name="Title 1">
              <a:extLst>
                <a:ext uri="{FF2B5EF4-FFF2-40B4-BE49-F238E27FC236}">
                  <a16:creationId xmlns:a16="http://schemas.microsoft.com/office/drawing/2014/main" id="{D1C3EE43-948E-4D40-81C4-06AC7F371817}"/>
                </a:ext>
              </a:extLst>
            </p:cNvPr>
            <p:cNvSpPr txBox="1">
              <a:spLocks/>
            </p:cNvSpPr>
            <p:nvPr/>
          </p:nvSpPr>
          <p:spPr bwMode="gray">
            <a:xfrm>
              <a:off x="1337899" y="5314374"/>
              <a:ext cx="120799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7" name="Title 1">
              <a:extLst>
                <a:ext uri="{FF2B5EF4-FFF2-40B4-BE49-F238E27FC236}">
                  <a16:creationId xmlns:a16="http://schemas.microsoft.com/office/drawing/2014/main" id="{081BF7DC-2A03-408A-8F6F-18123E8BC758}"/>
                </a:ext>
              </a:extLst>
            </p:cNvPr>
            <p:cNvSpPr txBox="1">
              <a:spLocks/>
            </p:cNvSpPr>
            <p:nvPr/>
          </p:nvSpPr>
          <p:spPr bwMode="gray">
            <a:xfrm>
              <a:off x="2907346" y="5908850"/>
              <a:ext cx="1088818"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8" name="Title 1">
              <a:extLst>
                <a:ext uri="{FF2B5EF4-FFF2-40B4-BE49-F238E27FC236}">
                  <a16:creationId xmlns:a16="http://schemas.microsoft.com/office/drawing/2014/main" id="{5DB2C497-35BB-4AB3-941F-6A6CF5F2B381}"/>
                </a:ext>
              </a:extLst>
            </p:cNvPr>
            <p:cNvSpPr txBox="1">
              <a:spLocks/>
            </p:cNvSpPr>
            <p:nvPr/>
          </p:nvSpPr>
          <p:spPr bwMode="gray">
            <a:xfrm>
              <a:off x="4681423" y="5754962"/>
              <a:ext cx="102412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9" name="Title 1">
              <a:extLst>
                <a:ext uri="{FF2B5EF4-FFF2-40B4-BE49-F238E27FC236}">
                  <a16:creationId xmlns:a16="http://schemas.microsoft.com/office/drawing/2014/main" id="{7D7A930A-9846-4D66-A2B0-2892090917C7}"/>
                </a:ext>
              </a:extLst>
            </p:cNvPr>
            <p:cNvSpPr txBox="1">
              <a:spLocks/>
            </p:cNvSpPr>
            <p:nvPr/>
          </p:nvSpPr>
          <p:spPr bwMode="gray">
            <a:xfrm>
              <a:off x="6094421" y="5083541"/>
              <a:ext cx="95591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10" name="Title 1">
              <a:extLst>
                <a:ext uri="{FF2B5EF4-FFF2-40B4-BE49-F238E27FC236}">
                  <a16:creationId xmlns:a16="http://schemas.microsoft.com/office/drawing/2014/main" id="{9B525C87-BEE1-436E-8FCE-E5E65BAA34F2}"/>
                </a:ext>
              </a:extLst>
            </p:cNvPr>
            <p:cNvSpPr txBox="1">
              <a:spLocks/>
            </p:cNvSpPr>
            <p:nvPr/>
          </p:nvSpPr>
          <p:spPr bwMode="gray">
            <a:xfrm>
              <a:off x="7364480" y="4321313"/>
              <a:ext cx="1103301"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11" name="Rectangle 10">
              <a:extLst>
                <a:ext uri="{FF2B5EF4-FFF2-40B4-BE49-F238E27FC236}">
                  <a16:creationId xmlns:a16="http://schemas.microsoft.com/office/drawing/2014/main" id="{4E04AE07-F2A2-419B-BCFD-5C4179EBC545}"/>
                </a:ext>
              </a:extLst>
            </p:cNvPr>
            <p:cNvSpPr/>
            <p:nvPr/>
          </p:nvSpPr>
          <p:spPr bwMode="gray">
            <a:xfrm>
              <a:off x="376237" y="3915570"/>
              <a:ext cx="989332" cy="33410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2" name="Rectangle 11">
              <a:extLst>
                <a:ext uri="{FF2B5EF4-FFF2-40B4-BE49-F238E27FC236}">
                  <a16:creationId xmlns:a16="http://schemas.microsoft.com/office/drawing/2014/main" id="{C8FEADE8-8879-4FC7-8D08-9FC71026802D}"/>
                </a:ext>
              </a:extLst>
            </p:cNvPr>
            <p:cNvSpPr/>
            <p:nvPr/>
          </p:nvSpPr>
          <p:spPr bwMode="gray">
            <a:xfrm>
              <a:off x="1361845" y="4847400"/>
              <a:ext cx="989332" cy="334101"/>
            </a:xfrm>
            <a:prstGeom prst="rect">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tx1">
                      <a:lumMod val="85000"/>
                      <a:lumOff val="15000"/>
                    </a:schemeClr>
                  </a:solidFill>
                </a:rPr>
                <a:t>Lorem ipsum </a:t>
              </a:r>
            </a:p>
          </p:txBody>
        </p:sp>
        <p:sp>
          <p:nvSpPr>
            <p:cNvPr id="13" name="Rectangle 12">
              <a:extLst>
                <a:ext uri="{FF2B5EF4-FFF2-40B4-BE49-F238E27FC236}">
                  <a16:creationId xmlns:a16="http://schemas.microsoft.com/office/drawing/2014/main" id="{DFB59171-21D7-4BEC-BBCD-93944A56ADC0}"/>
                </a:ext>
              </a:extLst>
            </p:cNvPr>
            <p:cNvSpPr/>
            <p:nvPr/>
          </p:nvSpPr>
          <p:spPr bwMode="gray">
            <a:xfrm>
              <a:off x="2910453" y="5450395"/>
              <a:ext cx="989332" cy="334101"/>
            </a:xfrm>
            <a:prstGeom prst="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4" name="Rectangle 13">
              <a:extLst>
                <a:ext uri="{FF2B5EF4-FFF2-40B4-BE49-F238E27FC236}">
                  <a16:creationId xmlns:a16="http://schemas.microsoft.com/office/drawing/2014/main" id="{EBBE48D1-76BC-4C05-866A-54FEF7C8E526}"/>
                </a:ext>
              </a:extLst>
            </p:cNvPr>
            <p:cNvSpPr/>
            <p:nvPr/>
          </p:nvSpPr>
          <p:spPr bwMode="gray">
            <a:xfrm>
              <a:off x="4668597" y="5312661"/>
              <a:ext cx="989332" cy="334101"/>
            </a:xfrm>
            <a:prstGeom prst="rect">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5" name="Rectangle 14">
              <a:extLst>
                <a:ext uri="{FF2B5EF4-FFF2-40B4-BE49-F238E27FC236}">
                  <a16:creationId xmlns:a16="http://schemas.microsoft.com/office/drawing/2014/main" id="{02965545-1DE5-4699-AE75-D8B3EA9FF67B}"/>
                </a:ext>
              </a:extLst>
            </p:cNvPr>
            <p:cNvSpPr/>
            <p:nvPr/>
          </p:nvSpPr>
          <p:spPr bwMode="gray">
            <a:xfrm>
              <a:off x="6102110" y="4625850"/>
              <a:ext cx="989332" cy="334101"/>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6" name="Rectangle 15">
              <a:extLst>
                <a:ext uri="{FF2B5EF4-FFF2-40B4-BE49-F238E27FC236}">
                  <a16:creationId xmlns:a16="http://schemas.microsoft.com/office/drawing/2014/main" id="{30FD7820-7E2F-47F6-B5CB-3A8A1A18BD8C}"/>
                </a:ext>
              </a:extLst>
            </p:cNvPr>
            <p:cNvSpPr/>
            <p:nvPr/>
          </p:nvSpPr>
          <p:spPr bwMode="gray">
            <a:xfrm>
              <a:off x="7222260" y="3915570"/>
              <a:ext cx="1564364" cy="334101"/>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cxnSp>
          <p:nvCxnSpPr>
            <p:cNvPr id="17" name="Straight Connector 16">
              <a:extLst>
                <a:ext uri="{FF2B5EF4-FFF2-40B4-BE49-F238E27FC236}">
                  <a16:creationId xmlns:a16="http://schemas.microsoft.com/office/drawing/2014/main" id="{4055C149-0CB2-4088-8465-87CE4EB791C3}"/>
                </a:ext>
              </a:extLst>
            </p:cNvPr>
            <p:cNvCxnSpPr/>
            <p:nvPr/>
          </p:nvCxnSpPr>
          <p:spPr>
            <a:xfrm flipV="1">
              <a:off x="1365569" y="4082620"/>
              <a:ext cx="1673416" cy="1"/>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41AF2C8-24E3-4675-9FCB-EC41C1877A21}"/>
                </a:ext>
              </a:extLst>
            </p:cNvPr>
            <p:cNvCxnSpPr>
              <a:stCxn id="12" idx="3"/>
            </p:cNvCxnSpPr>
            <p:nvPr/>
          </p:nvCxnSpPr>
          <p:spPr>
            <a:xfrm flipV="1">
              <a:off x="2351177" y="4335792"/>
              <a:ext cx="842679" cy="678659"/>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D51C0AD-85B9-477C-8794-18D8F8B6C409}"/>
                </a:ext>
              </a:extLst>
            </p:cNvPr>
            <p:cNvCxnSpPr>
              <a:cxnSpLocks/>
            </p:cNvCxnSpPr>
            <p:nvPr/>
          </p:nvCxnSpPr>
          <p:spPr>
            <a:xfrm flipV="1">
              <a:off x="3622750" y="4536501"/>
              <a:ext cx="0" cy="891702"/>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E959E7B-335C-4761-8BD9-ECB3FC915950}"/>
                </a:ext>
              </a:extLst>
            </p:cNvPr>
            <p:cNvCxnSpPr>
              <a:cxnSpLocks/>
              <a:endCxn id="14" idx="1"/>
            </p:cNvCxnSpPr>
            <p:nvPr/>
          </p:nvCxnSpPr>
          <p:spPr>
            <a:xfrm>
              <a:off x="4042952" y="4405963"/>
              <a:ext cx="625645" cy="1073749"/>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D275291-4253-467A-B242-FEAA7301C43C}"/>
                </a:ext>
              </a:extLst>
            </p:cNvPr>
            <p:cNvCxnSpPr>
              <a:cxnSpLocks/>
              <a:endCxn id="15" idx="1"/>
            </p:cNvCxnSpPr>
            <p:nvPr/>
          </p:nvCxnSpPr>
          <p:spPr>
            <a:xfrm>
              <a:off x="4150781" y="4214119"/>
              <a:ext cx="1951329" cy="578782"/>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5F6DA9E-C94A-409D-BF6B-277CB671BEDD}"/>
                </a:ext>
              </a:extLst>
            </p:cNvPr>
            <p:cNvCxnSpPr>
              <a:cxnSpLocks/>
              <a:stCxn id="52" idx="0"/>
              <a:endCxn id="16" idx="1"/>
            </p:cNvCxnSpPr>
            <p:nvPr/>
          </p:nvCxnSpPr>
          <p:spPr>
            <a:xfrm>
              <a:off x="4130429" y="4065317"/>
              <a:ext cx="3091831" cy="17304"/>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831CDA09-6996-40A2-8C7D-A5C48F13AA54}"/>
                </a:ext>
              </a:extLst>
            </p:cNvPr>
            <p:cNvGrpSpPr/>
            <p:nvPr/>
          </p:nvGrpSpPr>
          <p:grpSpPr>
            <a:xfrm>
              <a:off x="2887496" y="3258052"/>
              <a:ext cx="1463040" cy="1463040"/>
              <a:chOff x="2887496" y="3258052"/>
              <a:chExt cx="1463040" cy="1463040"/>
            </a:xfrm>
          </p:grpSpPr>
          <p:sp>
            <p:nvSpPr>
              <p:cNvPr id="51" name="Title 1">
                <a:extLst>
                  <a:ext uri="{FF2B5EF4-FFF2-40B4-BE49-F238E27FC236}">
                    <a16:creationId xmlns:a16="http://schemas.microsoft.com/office/drawing/2014/main" id="{A414F220-DA29-4A1E-9E78-BF8E0017D257}"/>
                  </a:ext>
                </a:extLst>
              </p:cNvPr>
              <p:cNvSpPr txBox="1">
                <a:spLocks/>
              </p:cNvSpPr>
              <p:nvPr/>
            </p:nvSpPr>
            <p:spPr bwMode="gray">
              <a:xfrm>
                <a:off x="3141637" y="3491209"/>
                <a:ext cx="989332" cy="987501"/>
              </a:xfrm>
              <a:prstGeom prst="ellipse">
                <a:avLst/>
              </a:prstGeom>
              <a:solidFill>
                <a:schemeClr val="accent5"/>
              </a:solidFill>
              <a:ln w="31750">
                <a:solidFill>
                  <a:schemeClr val="bg1"/>
                </a:solidFill>
              </a:ln>
            </p:spPr>
            <p:txBody>
              <a:bodyPr vert="horz" wrap="none" lIns="0" tIns="0" rIns="0" bIns="0" rtlCol="0" anchor="ctr"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GB" sz="800" b="1" dirty="0">
                    <a:solidFill>
                      <a:schemeClr val="bg1"/>
                    </a:solidFill>
                  </a:rPr>
                  <a:t>Lorem ipsum Lorem </a:t>
                </a:r>
                <a:r>
                  <a:rPr lang="en-GB" sz="800" b="1" dirty="0" err="1">
                    <a:solidFill>
                      <a:schemeClr val="bg1"/>
                    </a:solidFill>
                  </a:rPr>
                  <a:t>ip</a:t>
                </a:r>
                <a:endParaRPr lang="en-GB" sz="800" b="1" dirty="0">
                  <a:solidFill>
                    <a:schemeClr val="bg1"/>
                  </a:solidFill>
                </a:endParaRPr>
              </a:p>
              <a:p>
                <a:pPr algn="ctr"/>
                <a:r>
                  <a:rPr lang="en-GB" sz="800" b="1" dirty="0">
                    <a:solidFill>
                      <a:schemeClr val="bg1"/>
                    </a:solidFill>
                  </a:rPr>
                  <a:t>sum Lorem ipsum </a:t>
                </a:r>
              </a:p>
            </p:txBody>
          </p:sp>
          <p:sp>
            <p:nvSpPr>
              <p:cNvPr id="52" name="Arc 51">
                <a:extLst>
                  <a:ext uri="{FF2B5EF4-FFF2-40B4-BE49-F238E27FC236}">
                    <a16:creationId xmlns:a16="http://schemas.microsoft.com/office/drawing/2014/main" id="{22DB4681-EC38-442F-A2CB-40D54EDA1224}"/>
                  </a:ext>
                </a:extLst>
              </p:cNvPr>
              <p:cNvSpPr>
                <a:spLocks noChangeAspect="1"/>
              </p:cNvSpPr>
              <p:nvPr/>
            </p:nvSpPr>
            <p:spPr>
              <a:xfrm>
                <a:off x="3130194" y="3487521"/>
                <a:ext cx="1005840" cy="1005840"/>
              </a:xfrm>
              <a:prstGeom prst="arc">
                <a:avLst>
                  <a:gd name="adj1" fmla="val 513727"/>
                  <a:gd name="adj2" fmla="val 11800379"/>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Arc 52">
                <a:extLst>
                  <a:ext uri="{FF2B5EF4-FFF2-40B4-BE49-F238E27FC236}">
                    <a16:creationId xmlns:a16="http://schemas.microsoft.com/office/drawing/2014/main" id="{C4CD96D5-CD9D-4793-BD1B-16DCA8E51B69}"/>
                  </a:ext>
                </a:extLst>
              </p:cNvPr>
              <p:cNvSpPr>
                <a:spLocks noChangeAspect="1"/>
              </p:cNvSpPr>
              <p:nvPr/>
            </p:nvSpPr>
            <p:spPr>
              <a:xfrm>
                <a:off x="3077405" y="3447445"/>
                <a:ext cx="1097280" cy="1097280"/>
              </a:xfrm>
              <a:prstGeom prst="arc">
                <a:avLst>
                  <a:gd name="adj1" fmla="val 1223637"/>
                  <a:gd name="adj2" fmla="val 12401778"/>
                </a:avLst>
              </a:prstGeom>
              <a:ln w="38100">
                <a:solidFill>
                  <a:srgbClr val="00A3E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Arc 53">
                <a:extLst>
                  <a:ext uri="{FF2B5EF4-FFF2-40B4-BE49-F238E27FC236}">
                    <a16:creationId xmlns:a16="http://schemas.microsoft.com/office/drawing/2014/main" id="{0F1F1388-1901-4EB3-92E1-5538D17D2C8D}"/>
                  </a:ext>
                </a:extLst>
              </p:cNvPr>
              <p:cNvSpPr>
                <a:spLocks noChangeAspect="1"/>
              </p:cNvSpPr>
              <p:nvPr/>
            </p:nvSpPr>
            <p:spPr>
              <a:xfrm>
                <a:off x="3030307" y="3406538"/>
                <a:ext cx="1188720" cy="1188720"/>
              </a:xfrm>
              <a:prstGeom prst="arc">
                <a:avLst>
                  <a:gd name="adj1" fmla="val 2562022"/>
                  <a:gd name="adj2" fmla="val 12953517"/>
                </a:avLst>
              </a:prstGeom>
              <a:ln w="38100">
                <a:solidFill>
                  <a:srgbClr val="009A4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Arc 54">
                <a:extLst>
                  <a:ext uri="{FF2B5EF4-FFF2-40B4-BE49-F238E27FC236}">
                    <a16:creationId xmlns:a16="http://schemas.microsoft.com/office/drawing/2014/main" id="{FB397226-B9C9-4A15-B944-BDD606E52C56}"/>
                  </a:ext>
                </a:extLst>
              </p:cNvPr>
              <p:cNvSpPr>
                <a:spLocks noChangeAspect="1"/>
              </p:cNvSpPr>
              <p:nvPr/>
            </p:nvSpPr>
            <p:spPr>
              <a:xfrm>
                <a:off x="2983209" y="3365631"/>
                <a:ext cx="1280160" cy="1280160"/>
              </a:xfrm>
              <a:prstGeom prst="arc">
                <a:avLst>
                  <a:gd name="adj1" fmla="val 5359704"/>
                  <a:gd name="adj2" fmla="val 13461762"/>
                </a:avLst>
              </a:prstGeom>
              <a:ln w="38100">
                <a:solidFill>
                  <a:srgbClr val="97999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6" name="Arc 55">
                <a:extLst>
                  <a:ext uri="{FF2B5EF4-FFF2-40B4-BE49-F238E27FC236}">
                    <a16:creationId xmlns:a16="http://schemas.microsoft.com/office/drawing/2014/main" id="{E2B2B19D-A214-4075-A433-F90FE4E6E661}"/>
                  </a:ext>
                </a:extLst>
              </p:cNvPr>
              <p:cNvSpPr>
                <a:spLocks noChangeAspect="1"/>
              </p:cNvSpPr>
              <p:nvPr/>
            </p:nvSpPr>
            <p:spPr>
              <a:xfrm>
                <a:off x="2931348" y="3315198"/>
                <a:ext cx="1371600" cy="1371600"/>
              </a:xfrm>
              <a:prstGeom prst="arc">
                <a:avLst>
                  <a:gd name="adj1" fmla="val 8442504"/>
                  <a:gd name="adj2" fmla="val 14238736"/>
                </a:avLst>
              </a:prstGeom>
              <a:ln w="38100">
                <a:solidFill>
                  <a:srgbClr val="C4D6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Arc 56">
                <a:extLst>
                  <a:ext uri="{FF2B5EF4-FFF2-40B4-BE49-F238E27FC236}">
                    <a16:creationId xmlns:a16="http://schemas.microsoft.com/office/drawing/2014/main" id="{40A96665-D7BF-47E5-A6B8-A9F0B7BD2F43}"/>
                  </a:ext>
                </a:extLst>
              </p:cNvPr>
              <p:cNvSpPr>
                <a:spLocks noChangeAspect="1"/>
              </p:cNvSpPr>
              <p:nvPr/>
            </p:nvSpPr>
            <p:spPr>
              <a:xfrm>
                <a:off x="2887496" y="3258052"/>
                <a:ext cx="1463040" cy="1463040"/>
              </a:xfrm>
              <a:prstGeom prst="arc">
                <a:avLst>
                  <a:gd name="adj1" fmla="val 10405615"/>
                  <a:gd name="adj2" fmla="val 14751918"/>
                </a:avLst>
              </a:pr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4" name="Isosceles Triangle 23">
              <a:extLst>
                <a:ext uri="{FF2B5EF4-FFF2-40B4-BE49-F238E27FC236}">
                  <a16:creationId xmlns:a16="http://schemas.microsoft.com/office/drawing/2014/main" id="{31EE399C-8223-4725-AC14-8EB8481D7B55}"/>
                </a:ext>
              </a:extLst>
            </p:cNvPr>
            <p:cNvSpPr/>
            <p:nvPr/>
          </p:nvSpPr>
          <p:spPr bwMode="gray">
            <a:xfrm>
              <a:off x="376238" y="3811751"/>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5" name="Isosceles Triangle 24">
              <a:extLst>
                <a:ext uri="{FF2B5EF4-FFF2-40B4-BE49-F238E27FC236}">
                  <a16:creationId xmlns:a16="http://schemas.microsoft.com/office/drawing/2014/main" id="{A15EEE33-A8B8-4617-90D0-F6FB1366858F}"/>
                </a:ext>
              </a:extLst>
            </p:cNvPr>
            <p:cNvSpPr/>
            <p:nvPr/>
          </p:nvSpPr>
          <p:spPr bwMode="gray">
            <a:xfrm>
              <a:off x="1361845" y="4744516"/>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6" name="Isosceles Triangle 25">
              <a:extLst>
                <a:ext uri="{FF2B5EF4-FFF2-40B4-BE49-F238E27FC236}">
                  <a16:creationId xmlns:a16="http://schemas.microsoft.com/office/drawing/2014/main" id="{FACD1F33-CE27-49DC-9AC5-4CB61F0134BC}"/>
                </a:ext>
              </a:extLst>
            </p:cNvPr>
            <p:cNvSpPr/>
            <p:nvPr/>
          </p:nvSpPr>
          <p:spPr bwMode="gray">
            <a:xfrm>
              <a:off x="4674920" y="5206061"/>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7" name="Isosceles Triangle 26">
              <a:extLst>
                <a:ext uri="{FF2B5EF4-FFF2-40B4-BE49-F238E27FC236}">
                  <a16:creationId xmlns:a16="http://schemas.microsoft.com/office/drawing/2014/main" id="{2C4BBAF2-9FC8-41E1-97A8-90892825076E}"/>
                </a:ext>
              </a:extLst>
            </p:cNvPr>
            <p:cNvSpPr/>
            <p:nvPr/>
          </p:nvSpPr>
          <p:spPr bwMode="gray">
            <a:xfrm>
              <a:off x="6094421" y="4526614"/>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8" name="Isosceles Triangle 27">
              <a:extLst>
                <a:ext uri="{FF2B5EF4-FFF2-40B4-BE49-F238E27FC236}">
                  <a16:creationId xmlns:a16="http://schemas.microsoft.com/office/drawing/2014/main" id="{31378592-1518-489C-9314-B980332AA212}"/>
                </a:ext>
              </a:extLst>
            </p:cNvPr>
            <p:cNvSpPr/>
            <p:nvPr/>
          </p:nvSpPr>
          <p:spPr bwMode="gray">
            <a:xfrm>
              <a:off x="7216584" y="3817713"/>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29" name="Group 795">
              <a:extLst>
                <a:ext uri="{FF2B5EF4-FFF2-40B4-BE49-F238E27FC236}">
                  <a16:creationId xmlns:a16="http://schemas.microsoft.com/office/drawing/2014/main" id="{8852C4BA-B194-403B-8048-335C5C2936FD}"/>
                </a:ext>
              </a:extLst>
            </p:cNvPr>
            <p:cNvGrpSpPr>
              <a:grpSpLocks noChangeAspect="1"/>
            </p:cNvGrpSpPr>
            <p:nvPr/>
          </p:nvGrpSpPr>
          <p:grpSpPr bwMode="auto">
            <a:xfrm>
              <a:off x="1698889" y="4477848"/>
              <a:ext cx="304976" cy="304976"/>
              <a:chOff x="4288" y="3084"/>
              <a:chExt cx="340" cy="340"/>
            </a:xfrm>
            <a:solidFill>
              <a:srgbClr val="63666A"/>
            </a:solidFill>
          </p:grpSpPr>
          <p:sp>
            <p:nvSpPr>
              <p:cNvPr id="47" name="Freeform 796">
                <a:extLst>
                  <a:ext uri="{FF2B5EF4-FFF2-40B4-BE49-F238E27FC236}">
                    <a16:creationId xmlns:a16="http://schemas.microsoft.com/office/drawing/2014/main" id="{125FF548-867D-4FF6-888E-CA5AD22F59D9}"/>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797">
                <a:extLst>
                  <a:ext uri="{FF2B5EF4-FFF2-40B4-BE49-F238E27FC236}">
                    <a16:creationId xmlns:a16="http://schemas.microsoft.com/office/drawing/2014/main" id="{BBF94E9E-6F07-4B34-B2E7-059A24EBC3F7}"/>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798">
                <a:extLst>
                  <a:ext uri="{FF2B5EF4-FFF2-40B4-BE49-F238E27FC236}">
                    <a16:creationId xmlns:a16="http://schemas.microsoft.com/office/drawing/2014/main" id="{8FBE43F7-DF2D-4CD5-AC47-D083E7BCFC0D}"/>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799">
                <a:extLst>
                  <a:ext uri="{FF2B5EF4-FFF2-40B4-BE49-F238E27FC236}">
                    <a16:creationId xmlns:a16="http://schemas.microsoft.com/office/drawing/2014/main" id="{7B28A479-3819-43A5-8441-F4AB7C42BB97}"/>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 name="Group 317">
              <a:extLst>
                <a:ext uri="{FF2B5EF4-FFF2-40B4-BE49-F238E27FC236}">
                  <a16:creationId xmlns:a16="http://schemas.microsoft.com/office/drawing/2014/main" id="{19FE85DC-11A1-4343-A96C-AA57CDF103EF}"/>
                </a:ext>
              </a:extLst>
            </p:cNvPr>
            <p:cNvGrpSpPr>
              <a:grpSpLocks noChangeAspect="1"/>
            </p:cNvGrpSpPr>
            <p:nvPr/>
          </p:nvGrpSpPr>
          <p:grpSpPr bwMode="auto">
            <a:xfrm>
              <a:off x="716988" y="3542396"/>
              <a:ext cx="303827" cy="303827"/>
              <a:chOff x="2718" y="1165"/>
              <a:chExt cx="340" cy="340"/>
            </a:xfrm>
            <a:solidFill>
              <a:srgbClr val="63666A"/>
            </a:solidFill>
          </p:grpSpPr>
          <p:sp>
            <p:nvSpPr>
              <p:cNvPr id="45" name="Freeform 318">
                <a:extLst>
                  <a:ext uri="{FF2B5EF4-FFF2-40B4-BE49-F238E27FC236}">
                    <a16:creationId xmlns:a16="http://schemas.microsoft.com/office/drawing/2014/main" id="{A55EB3BE-7E0A-4598-8C2E-67C0E86C5BBF}"/>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319">
                <a:extLst>
                  <a:ext uri="{FF2B5EF4-FFF2-40B4-BE49-F238E27FC236}">
                    <a16:creationId xmlns:a16="http://schemas.microsoft.com/office/drawing/2014/main" id="{FCA98D97-05C4-4F9B-9997-BC6272075E91}"/>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Group 282">
              <a:extLst>
                <a:ext uri="{FF2B5EF4-FFF2-40B4-BE49-F238E27FC236}">
                  <a16:creationId xmlns:a16="http://schemas.microsoft.com/office/drawing/2014/main" id="{2CF29668-7457-4797-A797-562F1D8B541A}"/>
                </a:ext>
              </a:extLst>
            </p:cNvPr>
            <p:cNvGrpSpPr>
              <a:grpSpLocks noChangeAspect="1"/>
            </p:cNvGrpSpPr>
            <p:nvPr/>
          </p:nvGrpSpPr>
          <p:grpSpPr bwMode="auto">
            <a:xfrm>
              <a:off x="3256994" y="5075589"/>
              <a:ext cx="303340" cy="303340"/>
              <a:chOff x="7007" y="1580"/>
              <a:chExt cx="340" cy="340"/>
            </a:xfrm>
            <a:solidFill>
              <a:srgbClr val="63666A"/>
            </a:solidFill>
          </p:grpSpPr>
          <p:sp>
            <p:nvSpPr>
              <p:cNvPr id="43" name="Freeform 278">
                <a:extLst>
                  <a:ext uri="{FF2B5EF4-FFF2-40B4-BE49-F238E27FC236}">
                    <a16:creationId xmlns:a16="http://schemas.microsoft.com/office/drawing/2014/main" id="{8F4641F0-EDF2-40FA-8C0B-7D13BC4570D1}"/>
                  </a:ext>
                </a:extLst>
              </p:cNvPr>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79">
                <a:extLst>
                  <a:ext uri="{FF2B5EF4-FFF2-40B4-BE49-F238E27FC236}">
                    <a16:creationId xmlns:a16="http://schemas.microsoft.com/office/drawing/2014/main" id="{ED30F397-F0A2-42AE-B77F-D0DC44528910}"/>
                  </a:ext>
                </a:extLst>
              </p:cNvPr>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 name="Group 620">
              <a:extLst>
                <a:ext uri="{FF2B5EF4-FFF2-40B4-BE49-F238E27FC236}">
                  <a16:creationId xmlns:a16="http://schemas.microsoft.com/office/drawing/2014/main" id="{E44AB4C2-5DD6-4240-8CA7-1761CF8F2496}"/>
                </a:ext>
              </a:extLst>
            </p:cNvPr>
            <p:cNvGrpSpPr>
              <a:grpSpLocks noChangeAspect="1"/>
            </p:cNvGrpSpPr>
            <p:nvPr/>
          </p:nvGrpSpPr>
          <p:grpSpPr bwMode="auto">
            <a:xfrm>
              <a:off x="5018288" y="4926565"/>
              <a:ext cx="305517" cy="305517"/>
              <a:chOff x="5828" y="2247"/>
              <a:chExt cx="340" cy="340"/>
            </a:xfrm>
            <a:solidFill>
              <a:srgbClr val="63666A"/>
            </a:solidFill>
          </p:grpSpPr>
          <p:sp>
            <p:nvSpPr>
              <p:cNvPr id="41" name="Freeform 621">
                <a:extLst>
                  <a:ext uri="{FF2B5EF4-FFF2-40B4-BE49-F238E27FC236}">
                    <a16:creationId xmlns:a16="http://schemas.microsoft.com/office/drawing/2014/main" id="{5980D58F-950E-47BE-8CF1-D2B043C10BB0}"/>
                  </a:ext>
                </a:extLst>
              </p:cNvPr>
              <p:cNvSpPr>
                <a:spLocks noEditPoints="1"/>
              </p:cNvSpPr>
              <p:nvPr/>
            </p:nvSpPr>
            <p:spPr bwMode="auto">
              <a:xfrm>
                <a:off x="5898" y="2311"/>
                <a:ext cx="199" cy="212"/>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622">
                <a:extLst>
                  <a:ext uri="{FF2B5EF4-FFF2-40B4-BE49-F238E27FC236}">
                    <a16:creationId xmlns:a16="http://schemas.microsoft.com/office/drawing/2014/main" id="{095256DA-EBFF-4CB8-9E63-D5530736D886}"/>
                  </a:ext>
                </a:extLst>
              </p:cNvPr>
              <p:cNvSpPr>
                <a:spLocks noEditPoints="1"/>
              </p:cNvSpPr>
              <p:nvPr/>
            </p:nvSpPr>
            <p:spPr bwMode="auto">
              <a:xfrm>
                <a:off x="5828" y="224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Group 638">
              <a:extLst>
                <a:ext uri="{FF2B5EF4-FFF2-40B4-BE49-F238E27FC236}">
                  <a16:creationId xmlns:a16="http://schemas.microsoft.com/office/drawing/2014/main" id="{20D73EBD-5EF8-425C-B285-22077318D91D}"/>
                </a:ext>
              </a:extLst>
            </p:cNvPr>
            <p:cNvGrpSpPr>
              <a:grpSpLocks noChangeAspect="1"/>
            </p:cNvGrpSpPr>
            <p:nvPr/>
          </p:nvGrpSpPr>
          <p:grpSpPr bwMode="auto">
            <a:xfrm>
              <a:off x="6416169" y="4248544"/>
              <a:ext cx="305517" cy="305517"/>
              <a:chOff x="4300" y="2260"/>
              <a:chExt cx="340" cy="340"/>
            </a:xfrm>
            <a:solidFill>
              <a:srgbClr val="63666A"/>
            </a:solidFill>
          </p:grpSpPr>
          <p:sp>
            <p:nvSpPr>
              <p:cNvPr id="38" name="Freeform 639">
                <a:extLst>
                  <a:ext uri="{FF2B5EF4-FFF2-40B4-BE49-F238E27FC236}">
                    <a16:creationId xmlns:a16="http://schemas.microsoft.com/office/drawing/2014/main" id="{C7182034-FCA8-4B19-A671-B661C178449C}"/>
                  </a:ext>
                </a:extLst>
              </p:cNvPr>
              <p:cNvSpPr>
                <a:spLocks/>
              </p:cNvSpPr>
              <p:nvPr/>
            </p:nvSpPr>
            <p:spPr bwMode="auto">
              <a:xfrm>
                <a:off x="4463" y="2437"/>
                <a:ext cx="14" cy="99"/>
              </a:xfrm>
              <a:custGeom>
                <a:avLst/>
                <a:gdLst>
                  <a:gd name="T0" fmla="*/ 11 w 21"/>
                  <a:gd name="T1" fmla="*/ 0 h 150"/>
                  <a:gd name="T2" fmla="*/ 0 w 21"/>
                  <a:gd name="T3" fmla="*/ 11 h 150"/>
                  <a:gd name="T4" fmla="*/ 0 w 21"/>
                  <a:gd name="T5" fmla="*/ 139 h 150"/>
                  <a:gd name="T6" fmla="*/ 11 w 21"/>
                  <a:gd name="T7" fmla="*/ 150 h 150"/>
                  <a:gd name="T8" fmla="*/ 21 w 21"/>
                  <a:gd name="T9" fmla="*/ 139 h 150"/>
                  <a:gd name="T10" fmla="*/ 21 w 21"/>
                  <a:gd name="T11" fmla="*/ 11 h 150"/>
                  <a:gd name="T12" fmla="*/ 11 w 21"/>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21" h="150">
                    <a:moveTo>
                      <a:pt x="11" y="0"/>
                    </a:moveTo>
                    <a:cubicBezTo>
                      <a:pt x="5" y="0"/>
                      <a:pt x="0" y="5"/>
                      <a:pt x="0" y="11"/>
                    </a:cubicBezTo>
                    <a:cubicBezTo>
                      <a:pt x="0" y="139"/>
                      <a:pt x="0" y="139"/>
                      <a:pt x="0" y="139"/>
                    </a:cubicBezTo>
                    <a:cubicBezTo>
                      <a:pt x="0" y="145"/>
                      <a:pt x="5" y="150"/>
                      <a:pt x="11" y="150"/>
                    </a:cubicBezTo>
                    <a:cubicBezTo>
                      <a:pt x="17" y="150"/>
                      <a:pt x="21" y="145"/>
                      <a:pt x="21" y="139"/>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40">
                <a:extLst>
                  <a:ext uri="{FF2B5EF4-FFF2-40B4-BE49-F238E27FC236}">
                    <a16:creationId xmlns:a16="http://schemas.microsoft.com/office/drawing/2014/main" id="{ED7CA201-F49F-4F57-8A10-17BFCFA062CC}"/>
                  </a:ext>
                </a:extLst>
              </p:cNvPr>
              <p:cNvSpPr>
                <a:spLocks noEditPoints="1"/>
              </p:cNvSpPr>
              <p:nvPr/>
            </p:nvSpPr>
            <p:spPr bwMode="auto">
              <a:xfrm>
                <a:off x="4405" y="2330"/>
                <a:ext cx="132" cy="107"/>
              </a:xfrm>
              <a:custGeom>
                <a:avLst/>
                <a:gdLst>
                  <a:gd name="T0" fmla="*/ 192 w 199"/>
                  <a:gd name="T1" fmla="*/ 140 h 160"/>
                  <a:gd name="T2" fmla="*/ 129 w 199"/>
                  <a:gd name="T3" fmla="*/ 105 h 160"/>
                  <a:gd name="T4" fmla="*/ 108 w 199"/>
                  <a:gd name="T5" fmla="*/ 77 h 160"/>
                  <a:gd name="T6" fmla="*/ 108 w 199"/>
                  <a:gd name="T7" fmla="*/ 11 h 160"/>
                  <a:gd name="T8" fmla="*/ 98 w 199"/>
                  <a:gd name="T9" fmla="*/ 0 h 160"/>
                  <a:gd name="T10" fmla="*/ 87 w 199"/>
                  <a:gd name="T11" fmla="*/ 11 h 160"/>
                  <a:gd name="T12" fmla="*/ 87 w 199"/>
                  <a:gd name="T13" fmla="*/ 77 h 160"/>
                  <a:gd name="T14" fmla="*/ 66 w 199"/>
                  <a:gd name="T15" fmla="*/ 107 h 160"/>
                  <a:gd name="T16" fmla="*/ 7 w 199"/>
                  <a:gd name="T17" fmla="*/ 140 h 160"/>
                  <a:gd name="T18" fmla="*/ 3 w 199"/>
                  <a:gd name="T19" fmla="*/ 155 h 160"/>
                  <a:gd name="T20" fmla="*/ 12 w 199"/>
                  <a:gd name="T21" fmla="*/ 160 h 160"/>
                  <a:gd name="T22" fmla="*/ 18 w 199"/>
                  <a:gd name="T23" fmla="*/ 159 h 160"/>
                  <a:gd name="T24" fmla="*/ 73 w 199"/>
                  <a:gd name="T25" fmla="*/ 127 h 160"/>
                  <a:gd name="T26" fmla="*/ 98 w 199"/>
                  <a:gd name="T27" fmla="*/ 139 h 160"/>
                  <a:gd name="T28" fmla="*/ 123 w 199"/>
                  <a:gd name="T29" fmla="*/ 126 h 160"/>
                  <a:gd name="T30" fmla="*/ 181 w 199"/>
                  <a:gd name="T31" fmla="*/ 159 h 160"/>
                  <a:gd name="T32" fmla="*/ 187 w 199"/>
                  <a:gd name="T33" fmla="*/ 160 h 160"/>
                  <a:gd name="T34" fmla="*/ 196 w 199"/>
                  <a:gd name="T35" fmla="*/ 155 h 160"/>
                  <a:gd name="T36" fmla="*/ 192 w 199"/>
                  <a:gd name="T37" fmla="*/ 140 h 160"/>
                  <a:gd name="T38" fmla="*/ 98 w 199"/>
                  <a:gd name="T39" fmla="*/ 118 h 160"/>
                  <a:gd name="T40" fmla="*/ 87 w 199"/>
                  <a:gd name="T41" fmla="*/ 107 h 160"/>
                  <a:gd name="T42" fmla="*/ 98 w 199"/>
                  <a:gd name="T43" fmla="*/ 96 h 160"/>
                  <a:gd name="T44" fmla="*/ 108 w 199"/>
                  <a:gd name="T45" fmla="*/ 107 h 160"/>
                  <a:gd name="T46" fmla="*/ 98 w 199"/>
                  <a:gd name="T47" fmla="*/ 1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9" h="160">
                    <a:moveTo>
                      <a:pt x="192" y="140"/>
                    </a:moveTo>
                    <a:cubicBezTo>
                      <a:pt x="129" y="105"/>
                      <a:pt x="129" y="105"/>
                      <a:pt x="129" y="105"/>
                    </a:cubicBezTo>
                    <a:cubicBezTo>
                      <a:pt x="129" y="92"/>
                      <a:pt x="120" y="81"/>
                      <a:pt x="108" y="77"/>
                    </a:cubicBezTo>
                    <a:cubicBezTo>
                      <a:pt x="108" y="11"/>
                      <a:pt x="108" y="11"/>
                      <a:pt x="108" y="11"/>
                    </a:cubicBezTo>
                    <a:cubicBezTo>
                      <a:pt x="108" y="5"/>
                      <a:pt x="104" y="0"/>
                      <a:pt x="98" y="0"/>
                    </a:cubicBezTo>
                    <a:cubicBezTo>
                      <a:pt x="92" y="0"/>
                      <a:pt x="87" y="5"/>
                      <a:pt x="87" y="11"/>
                    </a:cubicBezTo>
                    <a:cubicBezTo>
                      <a:pt x="87" y="77"/>
                      <a:pt x="87" y="77"/>
                      <a:pt x="87" y="77"/>
                    </a:cubicBezTo>
                    <a:cubicBezTo>
                      <a:pt x="75" y="81"/>
                      <a:pt x="66" y="93"/>
                      <a:pt x="66" y="107"/>
                    </a:cubicBezTo>
                    <a:cubicBezTo>
                      <a:pt x="7" y="140"/>
                      <a:pt x="7" y="140"/>
                      <a:pt x="7" y="140"/>
                    </a:cubicBezTo>
                    <a:cubicBezTo>
                      <a:pt x="2" y="143"/>
                      <a:pt x="0" y="150"/>
                      <a:pt x="3" y="155"/>
                    </a:cubicBezTo>
                    <a:cubicBezTo>
                      <a:pt x="5" y="158"/>
                      <a:pt x="9" y="160"/>
                      <a:pt x="12" y="160"/>
                    </a:cubicBezTo>
                    <a:cubicBezTo>
                      <a:pt x="14" y="160"/>
                      <a:pt x="16" y="160"/>
                      <a:pt x="18" y="159"/>
                    </a:cubicBezTo>
                    <a:cubicBezTo>
                      <a:pt x="73" y="127"/>
                      <a:pt x="73" y="127"/>
                      <a:pt x="73" y="127"/>
                    </a:cubicBezTo>
                    <a:cubicBezTo>
                      <a:pt x="79" y="134"/>
                      <a:pt x="88" y="139"/>
                      <a:pt x="98" y="139"/>
                    </a:cubicBezTo>
                    <a:cubicBezTo>
                      <a:pt x="108" y="139"/>
                      <a:pt x="117" y="134"/>
                      <a:pt x="123" y="126"/>
                    </a:cubicBezTo>
                    <a:cubicBezTo>
                      <a:pt x="181" y="159"/>
                      <a:pt x="181" y="159"/>
                      <a:pt x="181" y="159"/>
                    </a:cubicBezTo>
                    <a:cubicBezTo>
                      <a:pt x="183" y="160"/>
                      <a:pt x="185" y="160"/>
                      <a:pt x="187" y="160"/>
                    </a:cubicBezTo>
                    <a:cubicBezTo>
                      <a:pt x="190" y="160"/>
                      <a:pt x="194" y="158"/>
                      <a:pt x="196" y="155"/>
                    </a:cubicBezTo>
                    <a:cubicBezTo>
                      <a:pt x="199" y="150"/>
                      <a:pt x="197" y="143"/>
                      <a:pt x="192" y="140"/>
                    </a:cubicBezTo>
                    <a:close/>
                    <a:moveTo>
                      <a:pt x="98" y="118"/>
                    </a:moveTo>
                    <a:cubicBezTo>
                      <a:pt x="92" y="118"/>
                      <a:pt x="87" y="113"/>
                      <a:pt x="87" y="107"/>
                    </a:cubicBezTo>
                    <a:cubicBezTo>
                      <a:pt x="87" y="101"/>
                      <a:pt x="92" y="96"/>
                      <a:pt x="98" y="96"/>
                    </a:cubicBezTo>
                    <a:cubicBezTo>
                      <a:pt x="104" y="96"/>
                      <a:pt x="108" y="101"/>
                      <a:pt x="108" y="107"/>
                    </a:cubicBezTo>
                    <a:cubicBezTo>
                      <a:pt x="108" y="113"/>
                      <a:pt x="104" y="118"/>
                      <a:pt x="98" y="11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641">
                <a:extLst>
                  <a:ext uri="{FF2B5EF4-FFF2-40B4-BE49-F238E27FC236}">
                    <a16:creationId xmlns:a16="http://schemas.microsoft.com/office/drawing/2014/main" id="{FF4F8839-678E-4D8C-8B09-A21DA9011F1D}"/>
                  </a:ext>
                </a:extLst>
              </p:cNvPr>
              <p:cNvSpPr>
                <a:spLocks noEditPoints="1"/>
              </p:cNvSpPr>
              <p:nvPr/>
            </p:nvSpPr>
            <p:spPr bwMode="auto">
              <a:xfrm>
                <a:off x="4300" y="22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 name="Group 526">
              <a:extLst>
                <a:ext uri="{FF2B5EF4-FFF2-40B4-BE49-F238E27FC236}">
                  <a16:creationId xmlns:a16="http://schemas.microsoft.com/office/drawing/2014/main" id="{C3FC15FC-7FEF-40FA-8A30-C2C4C51FA914}"/>
                </a:ext>
              </a:extLst>
            </p:cNvPr>
            <p:cNvGrpSpPr>
              <a:grpSpLocks noChangeAspect="1"/>
            </p:cNvGrpSpPr>
            <p:nvPr/>
          </p:nvGrpSpPr>
          <p:grpSpPr bwMode="auto">
            <a:xfrm>
              <a:off x="7547247" y="3527169"/>
              <a:ext cx="304976" cy="304976"/>
              <a:chOff x="3464" y="1974"/>
              <a:chExt cx="340" cy="340"/>
            </a:xfrm>
            <a:solidFill>
              <a:srgbClr val="63666A"/>
            </a:solidFill>
          </p:grpSpPr>
          <p:sp>
            <p:nvSpPr>
              <p:cNvPr id="36" name="Freeform 527">
                <a:extLst>
                  <a:ext uri="{FF2B5EF4-FFF2-40B4-BE49-F238E27FC236}">
                    <a16:creationId xmlns:a16="http://schemas.microsoft.com/office/drawing/2014/main" id="{D75D1012-D8FA-4AEF-A302-0431047D2177}"/>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528">
                <a:extLst>
                  <a:ext uri="{FF2B5EF4-FFF2-40B4-BE49-F238E27FC236}">
                    <a16:creationId xmlns:a16="http://schemas.microsoft.com/office/drawing/2014/main" id="{705E7A3F-BBC0-46DB-BA42-9B48DB30FC16}"/>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 name="Isosceles Triangle 34">
              <a:extLst>
                <a:ext uri="{FF2B5EF4-FFF2-40B4-BE49-F238E27FC236}">
                  <a16:creationId xmlns:a16="http://schemas.microsoft.com/office/drawing/2014/main" id="{1F87DF50-1715-46C1-9261-9AC1CAF781B8}"/>
                </a:ext>
              </a:extLst>
            </p:cNvPr>
            <p:cNvSpPr/>
            <p:nvPr/>
          </p:nvSpPr>
          <p:spPr bwMode="gray">
            <a:xfrm>
              <a:off x="2917352" y="5347511"/>
              <a:ext cx="126935" cy="102884"/>
            </a:xfrm>
            <a:prstGeom prst="triangle">
              <a:avLst>
                <a:gd name="adj" fmla="val 100000"/>
              </a:avLst>
            </a:pr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custDataLst>
      <p:tags r:id="rId1"/>
    </p:custDataLst>
    <p:extLst>
      <p:ext uri="{BB962C8B-B14F-4D97-AF65-F5344CB8AC3E}">
        <p14:creationId xmlns:p14="http://schemas.microsoft.com/office/powerpoint/2010/main" val="632935254"/>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BCB64A-9E3A-4924-9427-62E77874EADF}"/>
              </a:ext>
            </a:extLst>
          </p:cNvPr>
          <p:cNvGrpSpPr/>
          <p:nvPr/>
        </p:nvGrpSpPr>
        <p:grpSpPr>
          <a:xfrm>
            <a:off x="67773" y="657726"/>
            <a:ext cx="12056454" cy="5202717"/>
            <a:chOff x="474453" y="1453551"/>
            <a:chExt cx="11253158" cy="4856071"/>
          </a:xfrm>
        </p:grpSpPr>
        <p:sp>
          <p:nvSpPr>
            <p:cNvPr id="2" name="矩形 1"/>
            <p:cNvSpPr/>
            <p:nvPr/>
          </p:nvSpPr>
          <p:spPr bwMode="gray">
            <a:xfrm>
              <a:off x="2432279" y="4891706"/>
              <a:ext cx="7345764" cy="451079"/>
            </a:xfrm>
            <a:prstGeom prst="rect">
              <a:avLst/>
            </a:prstGeom>
            <a:solidFill>
              <a:srgbClr val="0097A9"/>
            </a:solidFill>
            <a:ln w="19050" algn="ctr">
              <a:noFill/>
              <a:miter lim="800000"/>
              <a:headEnd/>
              <a:tailEnd/>
            </a:ln>
          </p:spPr>
          <p:txBody>
            <a:bodyPr wrap="square" lIns="88900" tIns="88900" rIns="88900" bIns="88900" rtlCol="0" anchor="ctr"/>
            <a:lstStyle/>
            <a:p>
              <a:pPr algn="ctr"/>
              <a:r>
                <a:rPr lang="en-US" sz="1200" b="1" dirty="0">
                  <a:solidFill>
                    <a:schemeClr val="bg1"/>
                  </a:solidFill>
                  <a:cs typeface="Verdana" panose="020B0604030504040204" pitchFamily="34" charset="0"/>
                </a:rPr>
                <a:t>Lorem ipsum dolor sit </a:t>
              </a:r>
              <a:r>
                <a:rPr lang="en-US" sz="1200" b="1" dirty="0" err="1">
                  <a:solidFill>
                    <a:schemeClr val="bg1"/>
                  </a:solidFill>
                  <a:cs typeface="Verdana" panose="020B0604030504040204" pitchFamily="34" charset="0"/>
                </a:rPr>
                <a:t>amet</a:t>
              </a:r>
              <a:r>
                <a:rPr lang="en-US" sz="1200" b="1" dirty="0">
                  <a:solidFill>
                    <a:schemeClr val="bg1"/>
                  </a:solidFill>
                  <a:cs typeface="Verdana" panose="020B0604030504040204" pitchFamily="34" charset="0"/>
                </a:rPr>
                <a:t>, </a:t>
              </a:r>
              <a:r>
                <a:rPr lang="en-US" sz="1200" b="1" dirty="0" err="1">
                  <a:solidFill>
                    <a:schemeClr val="bg1"/>
                  </a:solidFill>
                  <a:cs typeface="Verdana" panose="020B0604030504040204" pitchFamily="34" charset="0"/>
                </a:rPr>
                <a:t>consectetur</a:t>
              </a:r>
              <a:endParaRPr lang="en-US" sz="1200" b="1" dirty="0">
                <a:solidFill>
                  <a:schemeClr val="bg1"/>
                </a:solidFill>
                <a:cs typeface="Verdana" panose="020B0604030504040204" pitchFamily="34" charset="0"/>
              </a:endParaRPr>
            </a:p>
          </p:txBody>
        </p:sp>
        <p:grpSp>
          <p:nvGrpSpPr>
            <p:cNvPr id="81" name="组合 80"/>
            <p:cNvGrpSpPr/>
            <p:nvPr/>
          </p:nvGrpSpPr>
          <p:grpSpPr>
            <a:xfrm>
              <a:off x="2432279" y="5395695"/>
              <a:ext cx="7345764" cy="110232"/>
              <a:chOff x="3482875" y="5046325"/>
              <a:chExt cx="4938863" cy="82903"/>
            </a:xfrm>
            <a:solidFill>
              <a:schemeClr val="tx1">
                <a:lumMod val="65000"/>
                <a:lumOff val="35000"/>
              </a:schemeClr>
            </a:solidFill>
          </p:grpSpPr>
          <p:sp>
            <p:nvSpPr>
              <p:cNvPr id="78" name="Rectangle 2"/>
              <p:cNvSpPr/>
              <p:nvPr/>
            </p:nvSpPr>
            <p:spPr bwMode="gray">
              <a:xfrm>
                <a:off x="5141257"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9" name="Rectangle 2"/>
              <p:cNvSpPr/>
              <p:nvPr/>
            </p:nvSpPr>
            <p:spPr bwMode="gray">
              <a:xfrm>
                <a:off x="3482875"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0" name="Rectangle 2"/>
              <p:cNvSpPr/>
              <p:nvPr/>
            </p:nvSpPr>
            <p:spPr bwMode="gray">
              <a:xfrm>
                <a:off x="6849048"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83" name="Rectangle 2"/>
            <p:cNvSpPr/>
            <p:nvPr/>
          </p:nvSpPr>
          <p:spPr bwMode="gray">
            <a:xfrm>
              <a:off x="4254272"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84" name="Rectangle 2"/>
            <p:cNvSpPr/>
            <p:nvPr/>
          </p:nvSpPr>
          <p:spPr bwMode="gray">
            <a:xfrm>
              <a:off x="479060"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85" name="Rectangle 2"/>
            <p:cNvSpPr/>
            <p:nvPr/>
          </p:nvSpPr>
          <p:spPr bwMode="gray">
            <a:xfrm>
              <a:off x="8141961"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90" name="Arc 2">
              <a:extLst>
                <a:ext uri="{FF2B5EF4-FFF2-40B4-BE49-F238E27FC236}">
                  <a16:creationId xmlns:a16="http://schemas.microsoft.com/office/drawing/2014/main" id="{A79CA17B-A41D-44F9-9AC6-CA33FE22AE3F}"/>
                </a:ext>
              </a:extLst>
            </p:cNvPr>
            <p:cNvSpPr>
              <a:spLocks/>
            </p:cNvSpPr>
            <p:nvPr/>
          </p:nvSpPr>
          <p:spPr bwMode="auto">
            <a:xfrm>
              <a:off x="2758440" y="2187917"/>
              <a:ext cx="6675120" cy="2651760"/>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chemeClr val="bg2"/>
              </a:solidFill>
              <a:round/>
              <a:headEnd/>
              <a:tailEnd/>
            </a:ln>
          </p:spPr>
          <p:txBody>
            <a:bodyPr wrap="square" lIns="0" tIns="0" rIns="0" bIns="0" anchor="ctr"/>
            <a:lstStyle/>
            <a:p>
              <a:pPr algn="ctr">
                <a:defRPr/>
              </a:pPr>
              <a:endParaRPr lang="en-GB" altLang="ja-JP" sz="1400" dirty="0">
                <a:ln>
                  <a:solidFill>
                    <a:srgbClr val="D0D0CE"/>
                  </a:solidFill>
                </a:ln>
                <a:ea typeface="ＭＳ Ｐゴシック" pitchFamily="50" charset="-128"/>
              </a:endParaRPr>
            </a:p>
          </p:txBody>
        </p:sp>
        <p:sp>
          <p:nvSpPr>
            <p:cNvPr id="91" name="AutoShape 4">
              <a:extLst>
                <a:ext uri="{FF2B5EF4-FFF2-40B4-BE49-F238E27FC236}">
                  <a16:creationId xmlns:a16="http://schemas.microsoft.com/office/drawing/2014/main" id="{BFC1C703-6646-4177-975D-1D0C34E4095C}"/>
                </a:ext>
              </a:extLst>
            </p:cNvPr>
            <p:cNvSpPr>
              <a:spLocks noChangeArrowheads="1"/>
            </p:cNvSpPr>
            <p:nvPr/>
          </p:nvSpPr>
          <p:spPr bwMode="auto">
            <a:xfrm flipV="1">
              <a:off x="4846639" y="4283935"/>
              <a:ext cx="2473325" cy="241300"/>
            </a:xfrm>
            <a:prstGeom prst="triangle">
              <a:avLst>
                <a:gd name="adj" fmla="val 50000"/>
              </a:avLst>
            </a:prstGeom>
            <a:solidFill>
              <a:schemeClr val="bg2"/>
            </a:solidFill>
            <a:ln w="6350" algn="ctr">
              <a:noFill/>
              <a:miter lim="800000"/>
              <a:headEnd/>
              <a:tailEnd/>
            </a:ln>
            <a:effectLst/>
          </p:spPr>
          <p:txBody>
            <a:bodyPr vert="horz" wrap="none" lIns="88900" tIns="88900" rIns="88900" bIns="88900" numCol="1" anchor="ctr" anchorCtr="0" compatLnSpc="1">
              <a:prstTxWarp prst="textNoShape">
                <a:avLst/>
              </a:prstTxWarp>
            </a:bodyPr>
            <a:lstStyle/>
            <a:p>
              <a:endParaRPr lang="en-GB" dirty="0"/>
            </a:p>
          </p:txBody>
        </p:sp>
        <p:sp>
          <p:nvSpPr>
            <p:cNvPr id="92" name="Rectangle: Rounded Corners 2">
              <a:extLst>
                <a:ext uri="{FF2B5EF4-FFF2-40B4-BE49-F238E27FC236}">
                  <a16:creationId xmlns:a16="http://schemas.microsoft.com/office/drawing/2014/main" id="{65D88EB5-8D64-4508-826A-A52DDC7375FA}"/>
                </a:ext>
              </a:extLst>
            </p:cNvPr>
            <p:cNvSpPr/>
            <p:nvPr/>
          </p:nvSpPr>
          <p:spPr bwMode="gray">
            <a:xfrm>
              <a:off x="4892040" y="3644054"/>
              <a:ext cx="2382204" cy="534366"/>
            </a:xfrm>
            <a:prstGeom prst="roundRect">
              <a:avLst>
                <a:gd name="adj" fmla="val 0"/>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grpSp>
          <p:nvGrpSpPr>
            <p:cNvPr id="26" name="Group 23"/>
            <p:cNvGrpSpPr/>
            <p:nvPr/>
          </p:nvGrpSpPr>
          <p:grpSpPr>
            <a:xfrm>
              <a:off x="2193925" y="3280180"/>
              <a:ext cx="1394232" cy="1394230"/>
              <a:chOff x="6005512" y="879468"/>
              <a:chExt cx="2523744" cy="2523744"/>
            </a:xfrm>
          </p:grpSpPr>
          <p:sp>
            <p:nvSpPr>
              <p:cNvPr id="47"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dirty="0">
                  <a:solidFill>
                    <a:schemeClr val="tx1"/>
                  </a:solidFill>
                </a:endParaRPr>
              </a:p>
            </p:txBody>
          </p:sp>
          <p:sp>
            <p:nvSpPr>
              <p:cNvPr id="48"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49"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50"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94" name="Group 23"/>
            <p:cNvGrpSpPr/>
            <p:nvPr/>
          </p:nvGrpSpPr>
          <p:grpSpPr>
            <a:xfrm>
              <a:off x="3170128" y="2139664"/>
              <a:ext cx="1394232" cy="1394230"/>
              <a:chOff x="6005512" y="879468"/>
              <a:chExt cx="2523744" cy="2523744"/>
            </a:xfrm>
          </p:grpSpPr>
          <p:sp>
            <p:nvSpPr>
              <p:cNvPr id="9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b="1" dirty="0">
                  <a:solidFill>
                    <a:schemeClr val="tx1"/>
                  </a:solidFill>
                </a:endParaRPr>
              </a:p>
            </p:txBody>
          </p:sp>
          <p:sp>
            <p:nvSpPr>
              <p:cNvPr id="9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9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9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99" name="Group 23"/>
            <p:cNvGrpSpPr/>
            <p:nvPr/>
          </p:nvGrpSpPr>
          <p:grpSpPr>
            <a:xfrm>
              <a:off x="4659989" y="1453551"/>
              <a:ext cx="1394232" cy="1394230"/>
              <a:chOff x="6005512" y="879468"/>
              <a:chExt cx="2523744" cy="2523744"/>
            </a:xfrm>
          </p:grpSpPr>
          <p:sp>
            <p:nvSpPr>
              <p:cNvPr id="100"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dirty="0">
                  <a:solidFill>
                    <a:schemeClr val="tx1"/>
                  </a:solidFill>
                </a:endParaRPr>
              </a:p>
            </p:txBody>
          </p:sp>
          <p:sp>
            <p:nvSpPr>
              <p:cNvPr id="101"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02"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03"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04" name="Group 23"/>
            <p:cNvGrpSpPr/>
            <p:nvPr/>
          </p:nvGrpSpPr>
          <p:grpSpPr>
            <a:xfrm>
              <a:off x="8703479" y="3280180"/>
              <a:ext cx="1394232" cy="1394230"/>
              <a:chOff x="6005512" y="879468"/>
              <a:chExt cx="2523744" cy="2523744"/>
            </a:xfrm>
          </p:grpSpPr>
          <p:sp>
            <p:nvSpPr>
              <p:cNvPr id="10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dirty="0">
                  <a:solidFill>
                    <a:schemeClr val="tx1"/>
                  </a:solidFill>
                </a:endParaRPr>
              </a:p>
            </p:txBody>
          </p:sp>
          <p:sp>
            <p:nvSpPr>
              <p:cNvPr id="10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0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0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09" name="Group 23"/>
            <p:cNvGrpSpPr/>
            <p:nvPr/>
          </p:nvGrpSpPr>
          <p:grpSpPr>
            <a:xfrm>
              <a:off x="7823138" y="2139664"/>
              <a:ext cx="1394232" cy="1394230"/>
              <a:chOff x="6005512" y="879468"/>
              <a:chExt cx="2523744" cy="2523744"/>
            </a:xfrm>
          </p:grpSpPr>
          <p:sp>
            <p:nvSpPr>
              <p:cNvPr id="110" name="Oval 44">
                <a:hlinkClick r:id="" action="ppaction://noaction"/>
              </p:cNvPr>
              <p:cNvSpPr>
                <a:spLocks noChangeAspect="1"/>
              </p:cNvSpPr>
              <p:nvPr/>
            </p:nvSpPr>
            <p:spPr>
              <a:xfrm>
                <a:off x="6184899" y="1058855"/>
                <a:ext cx="2160001"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b="1" dirty="0">
                  <a:solidFill>
                    <a:schemeClr val="tx1"/>
                  </a:solidFill>
                </a:endParaRPr>
              </a:p>
            </p:txBody>
          </p:sp>
          <p:sp>
            <p:nvSpPr>
              <p:cNvPr id="111"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12"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13"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14" name="Group 23"/>
            <p:cNvGrpSpPr/>
            <p:nvPr/>
          </p:nvGrpSpPr>
          <p:grpSpPr>
            <a:xfrm>
              <a:off x="6242936" y="1453551"/>
              <a:ext cx="1394232" cy="1394230"/>
              <a:chOff x="6005512" y="879468"/>
              <a:chExt cx="2523744" cy="2523744"/>
            </a:xfrm>
          </p:grpSpPr>
          <p:sp>
            <p:nvSpPr>
              <p:cNvPr id="11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b="1" dirty="0">
                  <a:solidFill>
                    <a:schemeClr val="tx1"/>
                  </a:solidFill>
                </a:endParaRPr>
              </a:p>
            </p:txBody>
          </p:sp>
          <p:sp>
            <p:nvSpPr>
              <p:cNvPr id="11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1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1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sp>
          <p:nvSpPr>
            <p:cNvPr id="119" name="文本框 118"/>
            <p:cNvSpPr txBox="1"/>
            <p:nvPr/>
          </p:nvSpPr>
          <p:spPr>
            <a:xfrm>
              <a:off x="2406245" y="3785217"/>
              <a:ext cx="965458" cy="415498"/>
            </a:xfrm>
            <a:prstGeom prst="rect">
              <a:avLst/>
            </a:prstGeom>
            <a:noFill/>
          </p:spPr>
          <p:txBody>
            <a:bodyPr wrap="square" lIns="0" tIns="0" rIns="0" bIns="0" rtlCol="0">
              <a:spAutoFit/>
            </a:bodyPr>
            <a:lstStyle/>
            <a:p>
              <a:pPr algn="ctr">
                <a:spcBef>
                  <a:spcPts val="600"/>
                </a:spcBef>
                <a:buSzPct val="100000"/>
              </a:pPr>
              <a:r>
                <a:rPr lang="en-US" sz="900" dirty="0"/>
                <a:t>Lorem ipsum dolor sit </a:t>
              </a:r>
              <a:r>
                <a:rPr lang="en-US" sz="900" dirty="0" err="1"/>
                <a:t>amet</a:t>
              </a:r>
              <a:r>
                <a:rPr lang="en-US" sz="900" dirty="0"/>
                <a:t>, </a:t>
              </a:r>
              <a:r>
                <a:rPr lang="en-US" sz="900" dirty="0" err="1"/>
                <a:t>consectetur</a:t>
              </a:r>
              <a:endParaRPr lang="en-US" sz="900" dirty="0">
                <a:solidFill>
                  <a:srgbClr val="313131"/>
                </a:solidFill>
              </a:endParaRPr>
            </a:p>
          </p:txBody>
        </p:sp>
        <p:sp>
          <p:nvSpPr>
            <p:cNvPr id="120" name="文本框 119"/>
            <p:cNvSpPr txBox="1"/>
            <p:nvPr/>
          </p:nvSpPr>
          <p:spPr>
            <a:xfrm>
              <a:off x="3382448" y="2684016"/>
              <a:ext cx="965458" cy="415498"/>
            </a:xfrm>
            <a:prstGeom prst="rect">
              <a:avLst/>
            </a:prstGeom>
            <a:noFill/>
          </p:spPr>
          <p:txBody>
            <a:bodyPr wrap="square" lIns="0" tIns="0" rIns="0" bIns="0" rtlCol="0">
              <a:spAutoFit/>
            </a:bodyPr>
            <a:lstStyle/>
            <a:p>
              <a:pPr algn="ctr"/>
              <a:r>
                <a:rPr lang="en-US" sz="900" dirty="0"/>
                <a:t>Lorem ipsum dolor sit </a:t>
              </a:r>
              <a:r>
                <a:rPr lang="en-US" sz="900" dirty="0" err="1"/>
                <a:t>amet</a:t>
              </a:r>
              <a:r>
                <a:rPr lang="en-US" sz="900" dirty="0"/>
                <a:t>, </a:t>
              </a:r>
              <a:r>
                <a:rPr lang="en-US" sz="900" dirty="0" err="1"/>
                <a:t>consectetur</a:t>
              </a:r>
              <a:endParaRPr lang="en-US" sz="900" b="1" dirty="0"/>
            </a:p>
          </p:txBody>
        </p:sp>
        <p:sp>
          <p:nvSpPr>
            <p:cNvPr id="121" name="文本框 120"/>
            <p:cNvSpPr txBox="1"/>
            <p:nvPr/>
          </p:nvSpPr>
          <p:spPr>
            <a:xfrm>
              <a:off x="4874376" y="2014658"/>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b="1" dirty="0"/>
                <a:t>Lorem ipsum dolor sit </a:t>
              </a:r>
              <a:r>
                <a:rPr lang="en-US" sz="900" b="1" dirty="0" err="1"/>
                <a:t>amet</a:t>
              </a:r>
              <a:r>
                <a:rPr lang="en-US" sz="900" b="1" dirty="0"/>
                <a:t>, </a:t>
              </a:r>
              <a:r>
                <a:rPr lang="en-US" sz="900" b="1" dirty="0" err="1"/>
                <a:t>consectetur</a:t>
              </a:r>
              <a:endParaRPr lang="en-US" sz="900" dirty="0"/>
            </a:p>
          </p:txBody>
        </p:sp>
        <p:sp>
          <p:nvSpPr>
            <p:cNvPr id="122" name="文本框 121"/>
            <p:cNvSpPr txBox="1"/>
            <p:nvPr/>
          </p:nvSpPr>
          <p:spPr>
            <a:xfrm>
              <a:off x="6462612" y="2014658"/>
              <a:ext cx="965458" cy="415498"/>
            </a:xfrm>
            <a:prstGeom prst="rect">
              <a:avLst/>
            </a:prstGeom>
            <a:noFill/>
          </p:spPr>
          <p:txBody>
            <a:bodyPr wrap="square" lIns="0" tIns="0" rIns="0" bIns="0" rtlCol="0">
              <a:spAutoFit/>
            </a:bodyPr>
            <a:lstStyle/>
            <a:p>
              <a:pPr algn="ctr"/>
              <a:r>
                <a:rPr lang="en-US" sz="900" dirty="0"/>
                <a:t>Lorem ipsum dolor sit </a:t>
              </a:r>
              <a:r>
                <a:rPr lang="en-US" sz="900" dirty="0" err="1"/>
                <a:t>amet</a:t>
              </a:r>
              <a:r>
                <a:rPr lang="en-US" sz="900" dirty="0"/>
                <a:t>, </a:t>
              </a:r>
              <a:r>
                <a:rPr lang="en-US" sz="900" dirty="0" err="1"/>
                <a:t>consectetur</a:t>
              </a:r>
              <a:endParaRPr lang="en-US" sz="900" b="1" dirty="0"/>
            </a:p>
          </p:txBody>
        </p:sp>
        <p:sp>
          <p:nvSpPr>
            <p:cNvPr id="123" name="文本框 122"/>
            <p:cNvSpPr txBox="1"/>
            <p:nvPr/>
          </p:nvSpPr>
          <p:spPr>
            <a:xfrm>
              <a:off x="8078358" y="2684016"/>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dirty="0"/>
                <a:t>Lorem ipsum dolor sit </a:t>
              </a:r>
              <a:r>
                <a:rPr lang="en-US" sz="900" dirty="0" err="1"/>
                <a:t>amet</a:t>
              </a:r>
              <a:r>
                <a:rPr lang="en-US" sz="900" dirty="0"/>
                <a:t>, </a:t>
              </a:r>
              <a:r>
                <a:rPr lang="en-US" sz="900" dirty="0" err="1"/>
                <a:t>consectetur</a:t>
              </a:r>
              <a:endParaRPr lang="en-US" sz="900" b="1" dirty="0"/>
            </a:p>
          </p:txBody>
        </p:sp>
        <p:sp>
          <p:nvSpPr>
            <p:cNvPr id="124" name="文本框 123"/>
            <p:cNvSpPr txBox="1"/>
            <p:nvPr/>
          </p:nvSpPr>
          <p:spPr>
            <a:xfrm>
              <a:off x="8933515" y="3840498"/>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dirty="0"/>
                <a:t>Lorem ipsum dolor sit </a:t>
              </a:r>
              <a:r>
                <a:rPr lang="en-US" sz="900" dirty="0" err="1"/>
                <a:t>amet</a:t>
              </a:r>
              <a:r>
                <a:rPr lang="en-US" sz="900" dirty="0"/>
                <a:t>, </a:t>
              </a:r>
              <a:r>
                <a:rPr lang="en-US" sz="900" dirty="0" err="1"/>
                <a:t>consectetur</a:t>
              </a:r>
              <a:endParaRPr lang="en-US" sz="900" dirty="0"/>
            </a:p>
          </p:txBody>
        </p:sp>
        <p:sp>
          <p:nvSpPr>
            <p:cNvPr id="126" name="任意多边形 125"/>
            <p:cNvSpPr/>
            <p:nvPr/>
          </p:nvSpPr>
          <p:spPr bwMode="gray">
            <a:xfrm>
              <a:off x="474453" y="5503653"/>
              <a:ext cx="4295955" cy="284672"/>
            </a:xfrm>
            <a:custGeom>
              <a:avLst/>
              <a:gdLst>
                <a:gd name="connsiteX0" fmla="*/ 1953883 w 4295955"/>
                <a:gd name="connsiteY0" fmla="*/ 0 h 284672"/>
                <a:gd name="connsiteX1" fmla="*/ 4295955 w 4295955"/>
                <a:gd name="connsiteY1" fmla="*/ 0 h 284672"/>
                <a:gd name="connsiteX2" fmla="*/ 3579962 w 4295955"/>
                <a:gd name="connsiteY2" fmla="*/ 284672 h 284672"/>
                <a:gd name="connsiteX3" fmla="*/ 0 w 4295955"/>
                <a:gd name="connsiteY3" fmla="*/ 284672 h 284672"/>
                <a:gd name="connsiteX4" fmla="*/ 1953883 w 4295955"/>
                <a:gd name="connsiteY4" fmla="*/ 0 h 284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5955" h="284672">
                  <a:moveTo>
                    <a:pt x="1953883" y="0"/>
                  </a:moveTo>
                  <a:lnTo>
                    <a:pt x="4295955" y="0"/>
                  </a:lnTo>
                  <a:lnTo>
                    <a:pt x="3579962" y="284672"/>
                  </a:lnTo>
                  <a:lnTo>
                    <a:pt x="0" y="284672"/>
                  </a:lnTo>
                  <a:lnTo>
                    <a:pt x="1953883"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7" name="任意多边形 126"/>
            <p:cNvSpPr/>
            <p:nvPr/>
          </p:nvSpPr>
          <p:spPr bwMode="gray">
            <a:xfrm>
              <a:off x="4257136" y="5499340"/>
              <a:ext cx="3579962" cy="288985"/>
            </a:xfrm>
            <a:custGeom>
              <a:avLst/>
              <a:gdLst>
                <a:gd name="connsiteX0" fmla="*/ 638355 w 3579962"/>
                <a:gd name="connsiteY0" fmla="*/ 0 h 288985"/>
                <a:gd name="connsiteX1" fmla="*/ 2984739 w 3579962"/>
                <a:gd name="connsiteY1" fmla="*/ 0 h 288985"/>
                <a:gd name="connsiteX2" fmla="*/ 3579962 w 3579962"/>
                <a:gd name="connsiteY2" fmla="*/ 288985 h 288985"/>
                <a:gd name="connsiteX3" fmla="*/ 0 w 3579962"/>
                <a:gd name="connsiteY3" fmla="*/ 288985 h 288985"/>
                <a:gd name="connsiteX4" fmla="*/ 638355 w 3579962"/>
                <a:gd name="connsiteY4" fmla="*/ 0 h 28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962" h="288985">
                  <a:moveTo>
                    <a:pt x="638355" y="0"/>
                  </a:moveTo>
                  <a:lnTo>
                    <a:pt x="2984739" y="0"/>
                  </a:lnTo>
                  <a:lnTo>
                    <a:pt x="3579962" y="288985"/>
                  </a:lnTo>
                  <a:lnTo>
                    <a:pt x="0" y="288985"/>
                  </a:lnTo>
                  <a:lnTo>
                    <a:pt x="638355"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8" name="任意多边形 127"/>
            <p:cNvSpPr/>
            <p:nvPr/>
          </p:nvSpPr>
          <p:spPr bwMode="gray">
            <a:xfrm>
              <a:off x="7435970" y="5503653"/>
              <a:ext cx="4291641" cy="284672"/>
            </a:xfrm>
            <a:custGeom>
              <a:avLst/>
              <a:gdLst>
                <a:gd name="connsiteX0" fmla="*/ 0 w 4291641"/>
                <a:gd name="connsiteY0" fmla="*/ 0 h 284672"/>
                <a:gd name="connsiteX1" fmla="*/ 2346385 w 4291641"/>
                <a:gd name="connsiteY1" fmla="*/ 0 h 284672"/>
                <a:gd name="connsiteX2" fmla="*/ 4291641 w 4291641"/>
                <a:gd name="connsiteY2" fmla="*/ 284672 h 284672"/>
                <a:gd name="connsiteX3" fmla="*/ 711679 w 4291641"/>
                <a:gd name="connsiteY3" fmla="*/ 284672 h 284672"/>
                <a:gd name="connsiteX4" fmla="*/ 0 w 4291641"/>
                <a:gd name="connsiteY4" fmla="*/ 0 h 284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641" h="284672">
                  <a:moveTo>
                    <a:pt x="0" y="0"/>
                  </a:moveTo>
                  <a:lnTo>
                    <a:pt x="2346385" y="0"/>
                  </a:lnTo>
                  <a:lnTo>
                    <a:pt x="4291641" y="284672"/>
                  </a:lnTo>
                  <a:lnTo>
                    <a:pt x="711679" y="284672"/>
                  </a:lnTo>
                  <a:lnTo>
                    <a:pt x="0"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custDataLst>
      <p:tags r:id="rId1"/>
    </p:custDataLst>
    <p:extLst>
      <p:ext uri="{BB962C8B-B14F-4D97-AF65-F5344CB8AC3E}">
        <p14:creationId xmlns:p14="http://schemas.microsoft.com/office/powerpoint/2010/main" val="3821020855"/>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object 9">
            <a:extLst>
              <a:ext uri="{FF2B5EF4-FFF2-40B4-BE49-F238E27FC236}">
                <a16:creationId xmlns:a16="http://schemas.microsoft.com/office/drawing/2014/main" id="{B6A622CD-2570-40B1-A139-EB33BAFCA85D}"/>
              </a:ext>
            </a:extLst>
          </p:cNvPr>
          <p:cNvSpPr/>
          <p:nvPr/>
        </p:nvSpPr>
        <p:spPr>
          <a:xfrm flipV="1">
            <a:off x="8135863" y="4418729"/>
            <a:ext cx="3152371" cy="65718"/>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1" name="object 9">
            <a:extLst>
              <a:ext uri="{FF2B5EF4-FFF2-40B4-BE49-F238E27FC236}">
                <a16:creationId xmlns:a16="http://schemas.microsoft.com/office/drawing/2014/main" id="{ADF74F22-DD4D-4B87-8006-50536C0922B5}"/>
              </a:ext>
            </a:extLst>
          </p:cNvPr>
          <p:cNvSpPr/>
          <p:nvPr/>
        </p:nvSpPr>
        <p:spPr>
          <a:xfrm flipV="1">
            <a:off x="6278047" y="1158525"/>
            <a:ext cx="5010187" cy="129753"/>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40" name="object 9">
            <a:extLst>
              <a:ext uri="{FF2B5EF4-FFF2-40B4-BE49-F238E27FC236}">
                <a16:creationId xmlns:a16="http://schemas.microsoft.com/office/drawing/2014/main" id="{B6A622CD-2570-40B1-A139-EB33BAFCA85D}"/>
              </a:ext>
            </a:extLst>
          </p:cNvPr>
          <p:cNvSpPr/>
          <p:nvPr/>
        </p:nvSpPr>
        <p:spPr>
          <a:xfrm flipV="1">
            <a:off x="8135863" y="3656457"/>
            <a:ext cx="3152371" cy="65718"/>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2" name="object 9">
            <a:extLst>
              <a:ext uri="{FF2B5EF4-FFF2-40B4-BE49-F238E27FC236}">
                <a16:creationId xmlns:a16="http://schemas.microsoft.com/office/drawing/2014/main" id="{B6A622CD-2570-40B1-A139-EB33BAFCA85D}"/>
              </a:ext>
            </a:extLst>
          </p:cNvPr>
          <p:cNvSpPr/>
          <p:nvPr/>
        </p:nvSpPr>
        <p:spPr>
          <a:xfrm flipV="1">
            <a:off x="8169707" y="2530537"/>
            <a:ext cx="3118527" cy="93810"/>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3" name="object 9">
            <a:extLst>
              <a:ext uri="{FF2B5EF4-FFF2-40B4-BE49-F238E27FC236}">
                <a16:creationId xmlns:a16="http://schemas.microsoft.com/office/drawing/2014/main" id="{2736A413-4E51-46BD-AA95-21AA9EC2A5F9}"/>
              </a:ext>
            </a:extLst>
          </p:cNvPr>
          <p:cNvSpPr/>
          <p:nvPr/>
        </p:nvSpPr>
        <p:spPr>
          <a:xfrm flipV="1">
            <a:off x="914400" y="2627435"/>
            <a:ext cx="3079911" cy="115161"/>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55" name="object 9">
            <a:extLst>
              <a:ext uri="{FF2B5EF4-FFF2-40B4-BE49-F238E27FC236}">
                <a16:creationId xmlns:a16="http://schemas.microsoft.com/office/drawing/2014/main" id="{D2F02014-9190-4EAA-A8E6-E76E7C1EB826}"/>
              </a:ext>
            </a:extLst>
          </p:cNvPr>
          <p:cNvSpPr/>
          <p:nvPr/>
        </p:nvSpPr>
        <p:spPr>
          <a:xfrm flipV="1">
            <a:off x="914400" y="1144205"/>
            <a:ext cx="4232681" cy="350517"/>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grpSp>
        <p:nvGrpSpPr>
          <p:cNvPr id="28" name="组合 27"/>
          <p:cNvGrpSpPr/>
          <p:nvPr/>
        </p:nvGrpSpPr>
        <p:grpSpPr>
          <a:xfrm>
            <a:off x="3802223" y="1264817"/>
            <a:ext cx="4587876" cy="4378326"/>
            <a:chOff x="14103350" y="1636713"/>
            <a:chExt cx="4587876" cy="4378326"/>
          </a:xfrm>
        </p:grpSpPr>
        <p:sp>
          <p:nvSpPr>
            <p:cNvPr id="11" name="Freeform 6"/>
            <p:cNvSpPr>
              <a:spLocks/>
            </p:cNvSpPr>
            <p:nvPr/>
          </p:nvSpPr>
          <p:spPr bwMode="auto">
            <a:xfrm>
              <a:off x="15559088" y="1636713"/>
              <a:ext cx="1679575" cy="998538"/>
            </a:xfrm>
            <a:custGeom>
              <a:avLst/>
              <a:gdLst>
                <a:gd name="T0" fmla="*/ 332 w 419"/>
                <a:gd name="T1" fmla="*/ 250 h 250"/>
                <a:gd name="T2" fmla="*/ 419 w 419"/>
                <a:gd name="T3" fmla="*/ 40 h 250"/>
                <a:gd name="T4" fmla="*/ 209 w 419"/>
                <a:gd name="T5" fmla="*/ 0 h 250"/>
                <a:gd name="T6" fmla="*/ 0 w 419"/>
                <a:gd name="T7" fmla="*/ 40 h 250"/>
                <a:gd name="T8" fmla="*/ 87 w 419"/>
                <a:gd name="T9" fmla="*/ 250 h 250"/>
                <a:gd name="T10" fmla="*/ 209 w 419"/>
                <a:gd name="T11" fmla="*/ 227 h 250"/>
                <a:gd name="T12" fmla="*/ 332 w 419"/>
                <a:gd name="T13" fmla="*/ 250 h 250"/>
              </a:gdLst>
              <a:ahLst/>
              <a:cxnLst>
                <a:cxn ang="0">
                  <a:pos x="T0" y="T1"/>
                </a:cxn>
                <a:cxn ang="0">
                  <a:pos x="T2" y="T3"/>
                </a:cxn>
                <a:cxn ang="0">
                  <a:pos x="T4" y="T5"/>
                </a:cxn>
                <a:cxn ang="0">
                  <a:pos x="T6" y="T7"/>
                </a:cxn>
                <a:cxn ang="0">
                  <a:pos x="T8" y="T9"/>
                </a:cxn>
                <a:cxn ang="0">
                  <a:pos x="T10" y="T11"/>
                </a:cxn>
                <a:cxn ang="0">
                  <a:pos x="T12" y="T13"/>
                </a:cxn>
              </a:cxnLst>
              <a:rect l="0" t="0" r="r" b="b"/>
              <a:pathLst>
                <a:path w="419" h="250">
                  <a:moveTo>
                    <a:pt x="332" y="250"/>
                  </a:moveTo>
                  <a:cubicBezTo>
                    <a:pt x="419" y="40"/>
                    <a:pt x="419" y="40"/>
                    <a:pt x="419" y="40"/>
                  </a:cubicBezTo>
                  <a:cubicBezTo>
                    <a:pt x="354" y="14"/>
                    <a:pt x="283" y="0"/>
                    <a:pt x="209" y="0"/>
                  </a:cubicBezTo>
                  <a:cubicBezTo>
                    <a:pt x="135" y="0"/>
                    <a:pt x="65" y="14"/>
                    <a:pt x="0" y="40"/>
                  </a:cubicBezTo>
                  <a:cubicBezTo>
                    <a:pt x="87" y="250"/>
                    <a:pt x="87" y="250"/>
                    <a:pt x="87" y="250"/>
                  </a:cubicBezTo>
                  <a:cubicBezTo>
                    <a:pt x="125" y="235"/>
                    <a:pt x="166" y="227"/>
                    <a:pt x="209" y="227"/>
                  </a:cubicBezTo>
                  <a:cubicBezTo>
                    <a:pt x="253" y="227"/>
                    <a:pt x="294" y="235"/>
                    <a:pt x="332" y="250"/>
                  </a:cubicBezTo>
                  <a:close/>
                </a:path>
              </a:pathLst>
            </a:custGeom>
            <a:solidFill>
              <a:srgbClr val="E3E48D"/>
            </a:solidFill>
            <a:ln w="6350">
              <a:solidFill>
                <a:schemeClr val="accent1"/>
              </a:solidFill>
            </a:ln>
          </p:spPr>
          <p:txBody>
            <a:bodyPr wrap="square" lIns="0" tIns="0" rIns="0" bIns="0" rtlCol="0"/>
            <a:lstStyle/>
            <a:p>
              <a:endParaRPr lang="zh-CN" altLang="en-US"/>
            </a:p>
          </p:txBody>
        </p:sp>
        <p:sp>
          <p:nvSpPr>
            <p:cNvPr id="12" name="Freeform 7"/>
            <p:cNvSpPr>
              <a:spLocks/>
            </p:cNvSpPr>
            <p:nvPr/>
          </p:nvSpPr>
          <p:spPr bwMode="auto">
            <a:xfrm>
              <a:off x="16965613" y="1824038"/>
              <a:ext cx="1536700" cy="1533525"/>
            </a:xfrm>
            <a:custGeom>
              <a:avLst/>
              <a:gdLst>
                <a:gd name="T0" fmla="*/ 173 w 383"/>
                <a:gd name="T1" fmla="*/ 384 h 384"/>
                <a:gd name="T2" fmla="*/ 383 w 383"/>
                <a:gd name="T3" fmla="*/ 297 h 384"/>
                <a:gd name="T4" fmla="*/ 87 w 383"/>
                <a:gd name="T5" fmla="*/ 0 h 384"/>
                <a:gd name="T6" fmla="*/ 0 w 383"/>
                <a:gd name="T7" fmla="*/ 210 h 384"/>
                <a:gd name="T8" fmla="*/ 173 w 383"/>
                <a:gd name="T9" fmla="*/ 384 h 384"/>
              </a:gdLst>
              <a:ahLst/>
              <a:cxnLst>
                <a:cxn ang="0">
                  <a:pos x="T0" y="T1"/>
                </a:cxn>
                <a:cxn ang="0">
                  <a:pos x="T2" y="T3"/>
                </a:cxn>
                <a:cxn ang="0">
                  <a:pos x="T4" y="T5"/>
                </a:cxn>
                <a:cxn ang="0">
                  <a:pos x="T6" y="T7"/>
                </a:cxn>
                <a:cxn ang="0">
                  <a:pos x="T8" y="T9"/>
                </a:cxn>
              </a:cxnLst>
              <a:rect l="0" t="0" r="r" b="b"/>
              <a:pathLst>
                <a:path w="383" h="384">
                  <a:moveTo>
                    <a:pt x="173" y="384"/>
                  </a:moveTo>
                  <a:cubicBezTo>
                    <a:pt x="383" y="297"/>
                    <a:pt x="383" y="297"/>
                    <a:pt x="383" y="297"/>
                  </a:cubicBezTo>
                  <a:cubicBezTo>
                    <a:pt x="325" y="164"/>
                    <a:pt x="219" y="58"/>
                    <a:pt x="87" y="0"/>
                  </a:cubicBezTo>
                  <a:cubicBezTo>
                    <a:pt x="0" y="210"/>
                    <a:pt x="0" y="210"/>
                    <a:pt x="0" y="210"/>
                  </a:cubicBezTo>
                  <a:cubicBezTo>
                    <a:pt x="77" y="245"/>
                    <a:pt x="139" y="307"/>
                    <a:pt x="173" y="384"/>
                  </a:cubicBezTo>
                  <a:close/>
                </a:path>
              </a:pathLst>
            </a:custGeom>
            <a:solidFill>
              <a:srgbClr val="DDEFE8"/>
            </a:solidFill>
            <a:ln w="6350">
              <a:solidFill>
                <a:schemeClr val="accent2"/>
              </a:solidFill>
            </a:ln>
          </p:spPr>
          <p:txBody>
            <a:bodyPr wrap="square" lIns="0" tIns="0" rIns="0" bIns="0" rtlCol="0"/>
            <a:lstStyle/>
            <a:p>
              <a:endParaRPr lang="zh-CN" altLang="en-US"/>
            </a:p>
          </p:txBody>
        </p:sp>
        <p:sp>
          <p:nvSpPr>
            <p:cNvPr id="13" name="Freeform 8"/>
            <p:cNvSpPr>
              <a:spLocks/>
            </p:cNvSpPr>
            <p:nvPr/>
          </p:nvSpPr>
          <p:spPr bwMode="auto">
            <a:xfrm>
              <a:off x="17692688" y="3081338"/>
              <a:ext cx="998538" cy="1676400"/>
            </a:xfrm>
            <a:custGeom>
              <a:avLst/>
              <a:gdLst>
                <a:gd name="T0" fmla="*/ 0 w 249"/>
                <a:gd name="T1" fmla="*/ 333 h 420"/>
                <a:gd name="T2" fmla="*/ 210 w 249"/>
                <a:gd name="T3" fmla="*/ 420 h 420"/>
                <a:gd name="T4" fmla="*/ 249 w 249"/>
                <a:gd name="T5" fmla="*/ 210 h 420"/>
                <a:gd name="T6" fmla="*/ 210 w 249"/>
                <a:gd name="T7" fmla="*/ 0 h 420"/>
                <a:gd name="T8" fmla="*/ 0 w 249"/>
                <a:gd name="T9" fmla="*/ 87 h 420"/>
                <a:gd name="T10" fmla="*/ 22 w 249"/>
                <a:gd name="T11" fmla="*/ 210 h 420"/>
                <a:gd name="T12" fmla="*/ 0 w 249"/>
                <a:gd name="T13" fmla="*/ 333 h 420"/>
              </a:gdLst>
              <a:ahLst/>
              <a:cxnLst>
                <a:cxn ang="0">
                  <a:pos x="T0" y="T1"/>
                </a:cxn>
                <a:cxn ang="0">
                  <a:pos x="T2" y="T3"/>
                </a:cxn>
                <a:cxn ang="0">
                  <a:pos x="T4" y="T5"/>
                </a:cxn>
                <a:cxn ang="0">
                  <a:pos x="T6" y="T7"/>
                </a:cxn>
                <a:cxn ang="0">
                  <a:pos x="T8" y="T9"/>
                </a:cxn>
                <a:cxn ang="0">
                  <a:pos x="T10" y="T11"/>
                </a:cxn>
                <a:cxn ang="0">
                  <a:pos x="T12" y="T13"/>
                </a:cxn>
              </a:cxnLst>
              <a:rect l="0" t="0" r="r" b="b"/>
              <a:pathLst>
                <a:path w="249" h="420">
                  <a:moveTo>
                    <a:pt x="0" y="333"/>
                  </a:moveTo>
                  <a:cubicBezTo>
                    <a:pt x="210" y="420"/>
                    <a:pt x="210" y="420"/>
                    <a:pt x="210" y="420"/>
                  </a:cubicBezTo>
                  <a:cubicBezTo>
                    <a:pt x="235" y="355"/>
                    <a:pt x="249" y="284"/>
                    <a:pt x="249" y="210"/>
                  </a:cubicBezTo>
                  <a:cubicBezTo>
                    <a:pt x="249" y="136"/>
                    <a:pt x="235" y="65"/>
                    <a:pt x="210" y="0"/>
                  </a:cubicBezTo>
                  <a:cubicBezTo>
                    <a:pt x="0" y="87"/>
                    <a:pt x="0" y="87"/>
                    <a:pt x="0" y="87"/>
                  </a:cubicBezTo>
                  <a:cubicBezTo>
                    <a:pt x="14" y="125"/>
                    <a:pt x="22" y="167"/>
                    <a:pt x="22" y="210"/>
                  </a:cubicBezTo>
                  <a:cubicBezTo>
                    <a:pt x="22" y="253"/>
                    <a:pt x="14" y="295"/>
                    <a:pt x="0" y="333"/>
                  </a:cubicBezTo>
                  <a:close/>
                </a:path>
              </a:pathLst>
            </a:custGeom>
            <a:solidFill>
              <a:srgbClr val="9DD4CF"/>
            </a:solidFill>
            <a:ln w="6350">
              <a:solidFill>
                <a:schemeClr val="accent3"/>
              </a:solidFill>
            </a:ln>
          </p:spPr>
          <p:txBody>
            <a:bodyPr wrap="square" lIns="0" tIns="0" rIns="0" bIns="0" rtlCol="0"/>
            <a:lstStyle/>
            <a:p>
              <a:endParaRPr lang="zh-CN" altLang="en-US"/>
            </a:p>
          </p:txBody>
        </p:sp>
        <p:sp>
          <p:nvSpPr>
            <p:cNvPr id="14" name="Freeform 9"/>
            <p:cNvSpPr>
              <a:spLocks/>
            </p:cNvSpPr>
            <p:nvPr/>
          </p:nvSpPr>
          <p:spPr bwMode="auto">
            <a:xfrm>
              <a:off x="14103350" y="3081338"/>
              <a:ext cx="1001713" cy="1676400"/>
            </a:xfrm>
            <a:custGeom>
              <a:avLst/>
              <a:gdLst>
                <a:gd name="T0" fmla="*/ 250 w 250"/>
                <a:gd name="T1" fmla="*/ 87 h 420"/>
                <a:gd name="T2" fmla="*/ 40 w 250"/>
                <a:gd name="T3" fmla="*/ 0 h 420"/>
                <a:gd name="T4" fmla="*/ 0 w 250"/>
                <a:gd name="T5" fmla="*/ 210 h 420"/>
                <a:gd name="T6" fmla="*/ 40 w 250"/>
                <a:gd name="T7" fmla="*/ 420 h 420"/>
                <a:gd name="T8" fmla="*/ 250 w 250"/>
                <a:gd name="T9" fmla="*/ 333 h 420"/>
                <a:gd name="T10" fmla="*/ 227 w 250"/>
                <a:gd name="T11" fmla="*/ 210 h 420"/>
                <a:gd name="T12" fmla="*/ 250 w 250"/>
                <a:gd name="T13" fmla="*/ 87 h 420"/>
              </a:gdLst>
              <a:ahLst/>
              <a:cxnLst>
                <a:cxn ang="0">
                  <a:pos x="T0" y="T1"/>
                </a:cxn>
                <a:cxn ang="0">
                  <a:pos x="T2" y="T3"/>
                </a:cxn>
                <a:cxn ang="0">
                  <a:pos x="T4" y="T5"/>
                </a:cxn>
                <a:cxn ang="0">
                  <a:pos x="T6" y="T7"/>
                </a:cxn>
                <a:cxn ang="0">
                  <a:pos x="T8" y="T9"/>
                </a:cxn>
                <a:cxn ang="0">
                  <a:pos x="T10" y="T11"/>
                </a:cxn>
                <a:cxn ang="0">
                  <a:pos x="T12" y="T13"/>
                </a:cxn>
              </a:cxnLst>
              <a:rect l="0" t="0" r="r" b="b"/>
              <a:pathLst>
                <a:path w="250" h="420">
                  <a:moveTo>
                    <a:pt x="250" y="87"/>
                  </a:moveTo>
                  <a:cubicBezTo>
                    <a:pt x="40" y="0"/>
                    <a:pt x="40" y="0"/>
                    <a:pt x="40" y="0"/>
                  </a:cubicBezTo>
                  <a:cubicBezTo>
                    <a:pt x="15" y="65"/>
                    <a:pt x="0" y="136"/>
                    <a:pt x="0" y="210"/>
                  </a:cubicBezTo>
                  <a:cubicBezTo>
                    <a:pt x="0" y="284"/>
                    <a:pt x="15" y="355"/>
                    <a:pt x="40" y="420"/>
                  </a:cubicBezTo>
                  <a:cubicBezTo>
                    <a:pt x="250" y="333"/>
                    <a:pt x="250" y="333"/>
                    <a:pt x="250" y="333"/>
                  </a:cubicBezTo>
                  <a:cubicBezTo>
                    <a:pt x="235" y="295"/>
                    <a:pt x="227" y="253"/>
                    <a:pt x="227" y="210"/>
                  </a:cubicBezTo>
                  <a:cubicBezTo>
                    <a:pt x="227" y="167"/>
                    <a:pt x="235" y="125"/>
                    <a:pt x="250" y="87"/>
                  </a:cubicBezTo>
                  <a:close/>
                </a:path>
              </a:pathLst>
            </a:custGeom>
            <a:solidFill>
              <a:srgbClr val="D0D0CE"/>
            </a:solidFill>
            <a:ln w="6350">
              <a:solidFill>
                <a:schemeClr val="accent5"/>
              </a:solidFill>
            </a:ln>
          </p:spPr>
          <p:txBody>
            <a:bodyPr wrap="square" lIns="0" tIns="0" rIns="0" bIns="0" rtlCol="0"/>
            <a:lstStyle/>
            <a:p>
              <a:endParaRPr lang="zh-CN" altLang="en-US"/>
            </a:p>
          </p:txBody>
        </p:sp>
        <p:sp>
          <p:nvSpPr>
            <p:cNvPr id="15" name="Freeform 10"/>
            <p:cNvSpPr>
              <a:spLocks/>
            </p:cNvSpPr>
            <p:nvPr/>
          </p:nvSpPr>
          <p:spPr bwMode="auto">
            <a:xfrm>
              <a:off x="16965613" y="4483101"/>
              <a:ext cx="1536700" cy="1531938"/>
            </a:xfrm>
            <a:custGeom>
              <a:avLst/>
              <a:gdLst>
                <a:gd name="T0" fmla="*/ 0 w 383"/>
                <a:gd name="T1" fmla="*/ 174 h 384"/>
                <a:gd name="T2" fmla="*/ 87 w 383"/>
                <a:gd name="T3" fmla="*/ 384 h 384"/>
                <a:gd name="T4" fmla="*/ 383 w 383"/>
                <a:gd name="T5" fmla="*/ 87 h 384"/>
                <a:gd name="T6" fmla="*/ 173 w 383"/>
                <a:gd name="T7" fmla="*/ 0 h 384"/>
                <a:gd name="T8" fmla="*/ 0 w 383"/>
                <a:gd name="T9" fmla="*/ 174 h 384"/>
              </a:gdLst>
              <a:ahLst/>
              <a:cxnLst>
                <a:cxn ang="0">
                  <a:pos x="T0" y="T1"/>
                </a:cxn>
                <a:cxn ang="0">
                  <a:pos x="T2" y="T3"/>
                </a:cxn>
                <a:cxn ang="0">
                  <a:pos x="T4" y="T5"/>
                </a:cxn>
                <a:cxn ang="0">
                  <a:pos x="T6" y="T7"/>
                </a:cxn>
                <a:cxn ang="0">
                  <a:pos x="T8" y="T9"/>
                </a:cxn>
              </a:cxnLst>
              <a:rect l="0" t="0" r="r" b="b"/>
              <a:pathLst>
                <a:path w="383" h="384">
                  <a:moveTo>
                    <a:pt x="0" y="174"/>
                  </a:moveTo>
                  <a:cubicBezTo>
                    <a:pt x="87" y="384"/>
                    <a:pt x="87" y="384"/>
                    <a:pt x="87" y="384"/>
                  </a:cubicBezTo>
                  <a:cubicBezTo>
                    <a:pt x="219" y="326"/>
                    <a:pt x="325" y="220"/>
                    <a:pt x="383" y="87"/>
                  </a:cubicBezTo>
                  <a:cubicBezTo>
                    <a:pt x="173" y="0"/>
                    <a:pt x="173" y="0"/>
                    <a:pt x="173" y="0"/>
                  </a:cubicBezTo>
                  <a:cubicBezTo>
                    <a:pt x="139" y="77"/>
                    <a:pt x="77" y="139"/>
                    <a:pt x="0" y="174"/>
                  </a:cubicBezTo>
                  <a:close/>
                </a:path>
              </a:pathLst>
            </a:custGeom>
            <a:solidFill>
              <a:srgbClr val="D0D0CE"/>
            </a:solidFill>
            <a:ln w="6350">
              <a:solidFill>
                <a:schemeClr val="accent5"/>
              </a:solidFill>
            </a:ln>
          </p:spPr>
          <p:txBody>
            <a:bodyPr wrap="square" lIns="0" tIns="0" rIns="0" bIns="0" rtlCol="0"/>
            <a:lstStyle/>
            <a:p>
              <a:endParaRPr lang="zh-CN" altLang="en-US"/>
            </a:p>
          </p:txBody>
        </p:sp>
        <p:sp>
          <p:nvSpPr>
            <p:cNvPr id="16" name="Freeform 11"/>
            <p:cNvSpPr>
              <a:spLocks/>
            </p:cNvSpPr>
            <p:nvPr/>
          </p:nvSpPr>
          <p:spPr bwMode="auto">
            <a:xfrm>
              <a:off x="14295438" y="1824038"/>
              <a:ext cx="1535113" cy="1533525"/>
            </a:xfrm>
            <a:custGeom>
              <a:avLst/>
              <a:gdLst>
                <a:gd name="T0" fmla="*/ 383 w 383"/>
                <a:gd name="T1" fmla="*/ 210 h 384"/>
                <a:gd name="T2" fmla="*/ 296 w 383"/>
                <a:gd name="T3" fmla="*/ 0 h 384"/>
                <a:gd name="T4" fmla="*/ 0 w 383"/>
                <a:gd name="T5" fmla="*/ 297 h 384"/>
                <a:gd name="T6" fmla="*/ 210 w 383"/>
                <a:gd name="T7" fmla="*/ 384 h 384"/>
                <a:gd name="T8" fmla="*/ 383 w 383"/>
                <a:gd name="T9" fmla="*/ 210 h 384"/>
              </a:gdLst>
              <a:ahLst/>
              <a:cxnLst>
                <a:cxn ang="0">
                  <a:pos x="T0" y="T1"/>
                </a:cxn>
                <a:cxn ang="0">
                  <a:pos x="T2" y="T3"/>
                </a:cxn>
                <a:cxn ang="0">
                  <a:pos x="T4" y="T5"/>
                </a:cxn>
                <a:cxn ang="0">
                  <a:pos x="T6" y="T7"/>
                </a:cxn>
                <a:cxn ang="0">
                  <a:pos x="T8" y="T9"/>
                </a:cxn>
              </a:cxnLst>
              <a:rect l="0" t="0" r="r" b="b"/>
              <a:pathLst>
                <a:path w="383" h="384">
                  <a:moveTo>
                    <a:pt x="383" y="210"/>
                  </a:moveTo>
                  <a:cubicBezTo>
                    <a:pt x="296" y="0"/>
                    <a:pt x="296" y="0"/>
                    <a:pt x="296" y="0"/>
                  </a:cubicBezTo>
                  <a:cubicBezTo>
                    <a:pt x="164" y="58"/>
                    <a:pt x="58" y="164"/>
                    <a:pt x="0" y="297"/>
                  </a:cubicBezTo>
                  <a:cubicBezTo>
                    <a:pt x="210" y="384"/>
                    <a:pt x="210" y="384"/>
                    <a:pt x="210" y="384"/>
                  </a:cubicBezTo>
                  <a:cubicBezTo>
                    <a:pt x="244" y="307"/>
                    <a:pt x="306" y="245"/>
                    <a:pt x="383" y="210"/>
                  </a:cubicBezTo>
                  <a:close/>
                </a:path>
              </a:pathLst>
            </a:custGeom>
            <a:solidFill>
              <a:srgbClr val="A0DCFF"/>
            </a:solidFill>
            <a:ln w="6350">
              <a:solidFill>
                <a:srgbClr val="0070C0"/>
              </a:solidFill>
            </a:ln>
          </p:spPr>
          <p:txBody>
            <a:bodyPr wrap="square" lIns="0" tIns="0" rIns="0" bIns="0" rtlCol="0"/>
            <a:lstStyle/>
            <a:p>
              <a:endParaRPr lang="zh-CN" altLang="en-US"/>
            </a:p>
          </p:txBody>
        </p:sp>
        <p:sp>
          <p:nvSpPr>
            <p:cNvPr id="18" name="Freeform 13"/>
            <p:cNvSpPr>
              <a:spLocks/>
            </p:cNvSpPr>
            <p:nvPr/>
          </p:nvSpPr>
          <p:spPr bwMode="auto">
            <a:xfrm>
              <a:off x="14295438" y="4483101"/>
              <a:ext cx="1535113" cy="1531938"/>
            </a:xfrm>
            <a:custGeom>
              <a:avLst/>
              <a:gdLst>
                <a:gd name="T0" fmla="*/ 210 w 383"/>
                <a:gd name="T1" fmla="*/ 0 h 384"/>
                <a:gd name="T2" fmla="*/ 0 w 383"/>
                <a:gd name="T3" fmla="*/ 87 h 384"/>
                <a:gd name="T4" fmla="*/ 296 w 383"/>
                <a:gd name="T5" fmla="*/ 384 h 384"/>
                <a:gd name="T6" fmla="*/ 383 w 383"/>
                <a:gd name="T7" fmla="*/ 174 h 384"/>
                <a:gd name="T8" fmla="*/ 210 w 383"/>
                <a:gd name="T9" fmla="*/ 0 h 384"/>
              </a:gdLst>
              <a:ahLst/>
              <a:cxnLst>
                <a:cxn ang="0">
                  <a:pos x="T0" y="T1"/>
                </a:cxn>
                <a:cxn ang="0">
                  <a:pos x="T2" y="T3"/>
                </a:cxn>
                <a:cxn ang="0">
                  <a:pos x="T4" y="T5"/>
                </a:cxn>
                <a:cxn ang="0">
                  <a:pos x="T6" y="T7"/>
                </a:cxn>
                <a:cxn ang="0">
                  <a:pos x="T8" y="T9"/>
                </a:cxn>
              </a:cxnLst>
              <a:rect l="0" t="0" r="r" b="b"/>
              <a:pathLst>
                <a:path w="383" h="384">
                  <a:moveTo>
                    <a:pt x="210" y="0"/>
                  </a:moveTo>
                  <a:cubicBezTo>
                    <a:pt x="0" y="87"/>
                    <a:pt x="0" y="87"/>
                    <a:pt x="0" y="87"/>
                  </a:cubicBezTo>
                  <a:cubicBezTo>
                    <a:pt x="58" y="220"/>
                    <a:pt x="164" y="326"/>
                    <a:pt x="296" y="384"/>
                  </a:cubicBezTo>
                  <a:cubicBezTo>
                    <a:pt x="383" y="174"/>
                    <a:pt x="383" y="174"/>
                    <a:pt x="383" y="174"/>
                  </a:cubicBezTo>
                  <a:cubicBezTo>
                    <a:pt x="306" y="139"/>
                    <a:pt x="244" y="77"/>
                    <a:pt x="210" y="0"/>
                  </a:cubicBezTo>
                  <a:close/>
                </a:path>
              </a:pathLst>
            </a:custGeom>
            <a:solidFill>
              <a:srgbClr val="6FC2B4"/>
            </a:solidFill>
            <a:ln w="6350">
              <a:solidFill>
                <a:schemeClr val="accent4"/>
              </a:solidFill>
            </a:ln>
          </p:spPr>
          <p:txBody>
            <a:bodyPr wrap="square" lIns="0" tIns="0" rIns="0" bIns="0" rtlCol="0"/>
            <a:lstStyle/>
            <a:p>
              <a:endParaRPr lang="zh-CN" altLang="en-US" dirty="0"/>
            </a:p>
          </p:txBody>
        </p:sp>
        <p:sp>
          <p:nvSpPr>
            <p:cNvPr id="19" name="Freeform 14"/>
            <p:cNvSpPr>
              <a:spLocks/>
            </p:cNvSpPr>
            <p:nvPr/>
          </p:nvSpPr>
          <p:spPr bwMode="auto">
            <a:xfrm>
              <a:off x="15136813" y="4427538"/>
              <a:ext cx="754063" cy="749300"/>
            </a:xfrm>
            <a:custGeom>
              <a:avLst/>
              <a:gdLst>
                <a:gd name="T0" fmla="*/ 126 w 188"/>
                <a:gd name="T1" fmla="*/ 62 h 188"/>
                <a:gd name="T2" fmla="*/ 82 w 188"/>
                <a:gd name="T3" fmla="*/ 74 h 188"/>
                <a:gd name="T4" fmla="*/ 34 w 188"/>
                <a:gd name="T5" fmla="*/ 0 h 188"/>
                <a:gd name="T6" fmla="*/ 0 w 188"/>
                <a:gd name="T7" fmla="*/ 14 h 188"/>
                <a:gd name="T8" fmla="*/ 173 w 188"/>
                <a:gd name="T9" fmla="*/ 188 h 188"/>
                <a:gd name="T10" fmla="*/ 188 w 188"/>
                <a:gd name="T11" fmla="*/ 153 h 188"/>
                <a:gd name="T12" fmla="*/ 114 w 188"/>
                <a:gd name="T13" fmla="*/ 106 h 188"/>
                <a:gd name="T14" fmla="*/ 126 w 188"/>
                <a:gd name="T15" fmla="*/ 62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88">
                  <a:moveTo>
                    <a:pt x="126" y="62"/>
                  </a:moveTo>
                  <a:cubicBezTo>
                    <a:pt x="82" y="74"/>
                    <a:pt x="82" y="74"/>
                    <a:pt x="82" y="74"/>
                  </a:cubicBezTo>
                  <a:cubicBezTo>
                    <a:pt x="63" y="52"/>
                    <a:pt x="47" y="27"/>
                    <a:pt x="34" y="0"/>
                  </a:cubicBezTo>
                  <a:cubicBezTo>
                    <a:pt x="0" y="14"/>
                    <a:pt x="0" y="14"/>
                    <a:pt x="0" y="14"/>
                  </a:cubicBezTo>
                  <a:cubicBezTo>
                    <a:pt x="34" y="91"/>
                    <a:pt x="96" y="153"/>
                    <a:pt x="173" y="188"/>
                  </a:cubicBezTo>
                  <a:cubicBezTo>
                    <a:pt x="188" y="153"/>
                    <a:pt x="188" y="153"/>
                    <a:pt x="188" y="153"/>
                  </a:cubicBezTo>
                  <a:cubicBezTo>
                    <a:pt x="161" y="141"/>
                    <a:pt x="136" y="125"/>
                    <a:pt x="114" y="106"/>
                  </a:cubicBezTo>
                  <a:lnTo>
                    <a:pt x="126" y="62"/>
                  </a:lnTo>
                  <a:close/>
                </a:path>
              </a:pathLst>
            </a:custGeom>
            <a:solidFill>
              <a:schemeClr val="accent4"/>
            </a:solidFill>
          </p:spPr>
          <p:txBody>
            <a:bodyPr wrap="square" lIns="0" tIns="0" rIns="0" bIns="0" rtlCol="0"/>
            <a:lstStyle/>
            <a:p>
              <a:endParaRPr lang="zh-CN" altLang="en-US"/>
            </a:p>
          </p:txBody>
        </p:sp>
        <p:sp>
          <p:nvSpPr>
            <p:cNvPr id="20" name="Freeform 15"/>
            <p:cNvSpPr>
              <a:spLocks/>
            </p:cNvSpPr>
            <p:nvPr/>
          </p:nvSpPr>
          <p:spPr bwMode="auto">
            <a:xfrm>
              <a:off x="16906875" y="2662238"/>
              <a:ext cx="754063" cy="750888"/>
            </a:xfrm>
            <a:custGeom>
              <a:avLst/>
              <a:gdLst>
                <a:gd name="T0" fmla="*/ 62 w 188"/>
                <a:gd name="T1" fmla="*/ 126 h 188"/>
                <a:gd name="T2" fmla="*/ 106 w 188"/>
                <a:gd name="T3" fmla="*/ 114 h 188"/>
                <a:gd name="T4" fmla="*/ 154 w 188"/>
                <a:gd name="T5" fmla="*/ 188 h 188"/>
                <a:gd name="T6" fmla="*/ 154 w 188"/>
                <a:gd name="T7" fmla="*/ 188 h 188"/>
                <a:gd name="T8" fmla="*/ 188 w 188"/>
                <a:gd name="T9" fmla="*/ 174 h 188"/>
                <a:gd name="T10" fmla="*/ 15 w 188"/>
                <a:gd name="T11" fmla="*/ 0 h 188"/>
                <a:gd name="T12" fmla="*/ 0 w 188"/>
                <a:gd name="T13" fmla="*/ 35 h 188"/>
                <a:gd name="T14" fmla="*/ 74 w 188"/>
                <a:gd name="T15" fmla="*/ 82 h 188"/>
                <a:gd name="T16" fmla="*/ 62 w 188"/>
                <a:gd name="T17" fmla="*/ 12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88">
                  <a:moveTo>
                    <a:pt x="62" y="126"/>
                  </a:moveTo>
                  <a:cubicBezTo>
                    <a:pt x="106" y="114"/>
                    <a:pt x="106" y="114"/>
                    <a:pt x="106" y="114"/>
                  </a:cubicBezTo>
                  <a:cubicBezTo>
                    <a:pt x="125" y="136"/>
                    <a:pt x="141" y="161"/>
                    <a:pt x="154" y="188"/>
                  </a:cubicBezTo>
                  <a:cubicBezTo>
                    <a:pt x="154" y="188"/>
                    <a:pt x="154" y="188"/>
                    <a:pt x="154" y="188"/>
                  </a:cubicBezTo>
                  <a:cubicBezTo>
                    <a:pt x="188" y="174"/>
                    <a:pt x="188" y="174"/>
                    <a:pt x="188" y="174"/>
                  </a:cubicBezTo>
                  <a:cubicBezTo>
                    <a:pt x="154" y="97"/>
                    <a:pt x="92" y="35"/>
                    <a:pt x="15" y="0"/>
                  </a:cubicBezTo>
                  <a:cubicBezTo>
                    <a:pt x="0" y="35"/>
                    <a:pt x="0" y="35"/>
                    <a:pt x="0" y="35"/>
                  </a:cubicBezTo>
                  <a:cubicBezTo>
                    <a:pt x="27" y="47"/>
                    <a:pt x="52" y="63"/>
                    <a:pt x="74" y="82"/>
                  </a:cubicBezTo>
                  <a:lnTo>
                    <a:pt x="62" y="126"/>
                  </a:lnTo>
                  <a:close/>
                </a:path>
              </a:pathLst>
            </a:custGeom>
            <a:solidFill>
              <a:schemeClr val="accent2"/>
            </a:solidFill>
            <a:ln w="6350">
              <a:solidFill>
                <a:schemeClr val="accent2"/>
              </a:solidFill>
            </a:ln>
          </p:spPr>
          <p:txBody>
            <a:bodyPr wrap="square" lIns="0" tIns="0" rIns="0" bIns="0" rtlCol="0"/>
            <a:lstStyle/>
            <a:p>
              <a:endParaRPr lang="zh-CN" altLang="en-US"/>
            </a:p>
          </p:txBody>
        </p:sp>
        <p:sp>
          <p:nvSpPr>
            <p:cNvPr id="21" name="Freeform 16"/>
            <p:cNvSpPr>
              <a:spLocks/>
            </p:cNvSpPr>
            <p:nvPr/>
          </p:nvSpPr>
          <p:spPr bwMode="auto">
            <a:xfrm>
              <a:off x="15906750" y="2543176"/>
              <a:ext cx="982663" cy="311150"/>
            </a:xfrm>
            <a:custGeom>
              <a:avLst/>
              <a:gdLst>
                <a:gd name="T0" fmla="*/ 0 w 245"/>
                <a:gd name="T1" fmla="*/ 23 h 78"/>
                <a:gd name="T2" fmla="*/ 14 w 245"/>
                <a:gd name="T3" fmla="*/ 57 h 78"/>
                <a:gd name="T4" fmla="*/ 14 w 245"/>
                <a:gd name="T5" fmla="*/ 57 h 78"/>
                <a:gd name="T6" fmla="*/ 25 w 245"/>
                <a:gd name="T7" fmla="*/ 53 h 78"/>
                <a:gd name="T8" fmla="*/ 28 w 245"/>
                <a:gd name="T9" fmla="*/ 52 h 78"/>
                <a:gd name="T10" fmla="*/ 38 w 245"/>
                <a:gd name="T11" fmla="*/ 49 h 78"/>
                <a:gd name="T12" fmla="*/ 41 w 245"/>
                <a:gd name="T13" fmla="*/ 48 h 78"/>
                <a:gd name="T14" fmla="*/ 51 w 245"/>
                <a:gd name="T15" fmla="*/ 46 h 78"/>
                <a:gd name="T16" fmla="*/ 56 w 245"/>
                <a:gd name="T17" fmla="*/ 45 h 78"/>
                <a:gd name="T18" fmla="*/ 64 w 245"/>
                <a:gd name="T19" fmla="*/ 43 h 78"/>
                <a:gd name="T20" fmla="*/ 70 w 245"/>
                <a:gd name="T21" fmla="*/ 42 h 78"/>
                <a:gd name="T22" fmla="*/ 78 w 245"/>
                <a:gd name="T23" fmla="*/ 41 h 78"/>
                <a:gd name="T24" fmla="*/ 86 w 245"/>
                <a:gd name="T25" fmla="*/ 40 h 78"/>
                <a:gd name="T26" fmla="*/ 93 w 245"/>
                <a:gd name="T27" fmla="*/ 39 h 78"/>
                <a:gd name="T28" fmla="*/ 100 w 245"/>
                <a:gd name="T29" fmla="*/ 38 h 78"/>
                <a:gd name="T30" fmla="*/ 122 w 245"/>
                <a:gd name="T31" fmla="*/ 78 h 78"/>
                <a:gd name="T32" fmla="*/ 145 w 245"/>
                <a:gd name="T33" fmla="*/ 38 h 78"/>
                <a:gd name="T34" fmla="*/ 152 w 245"/>
                <a:gd name="T35" fmla="*/ 39 h 78"/>
                <a:gd name="T36" fmla="*/ 159 w 245"/>
                <a:gd name="T37" fmla="*/ 40 h 78"/>
                <a:gd name="T38" fmla="*/ 167 w 245"/>
                <a:gd name="T39" fmla="*/ 41 h 78"/>
                <a:gd name="T40" fmla="*/ 175 w 245"/>
                <a:gd name="T41" fmla="*/ 42 h 78"/>
                <a:gd name="T42" fmla="*/ 181 w 245"/>
                <a:gd name="T43" fmla="*/ 43 h 78"/>
                <a:gd name="T44" fmla="*/ 189 w 245"/>
                <a:gd name="T45" fmla="*/ 45 h 78"/>
                <a:gd name="T46" fmla="*/ 194 w 245"/>
                <a:gd name="T47" fmla="*/ 46 h 78"/>
                <a:gd name="T48" fmla="*/ 204 w 245"/>
                <a:gd name="T49" fmla="*/ 48 h 78"/>
                <a:gd name="T50" fmla="*/ 207 w 245"/>
                <a:gd name="T51" fmla="*/ 49 h 78"/>
                <a:gd name="T52" fmla="*/ 217 w 245"/>
                <a:gd name="T53" fmla="*/ 52 h 78"/>
                <a:gd name="T54" fmla="*/ 220 w 245"/>
                <a:gd name="T55" fmla="*/ 53 h 78"/>
                <a:gd name="T56" fmla="*/ 231 w 245"/>
                <a:gd name="T57" fmla="*/ 57 h 78"/>
                <a:gd name="T58" fmla="*/ 245 w 245"/>
                <a:gd name="T59" fmla="*/ 23 h 78"/>
                <a:gd name="T60" fmla="*/ 122 w 245"/>
                <a:gd name="T61" fmla="*/ 0 h 78"/>
                <a:gd name="T62" fmla="*/ 0 w 245"/>
                <a:gd name="T63" fmla="*/ 2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5" h="78">
                  <a:moveTo>
                    <a:pt x="0" y="23"/>
                  </a:moveTo>
                  <a:cubicBezTo>
                    <a:pt x="14" y="57"/>
                    <a:pt x="14" y="57"/>
                    <a:pt x="14" y="57"/>
                  </a:cubicBezTo>
                  <a:cubicBezTo>
                    <a:pt x="14" y="57"/>
                    <a:pt x="14" y="57"/>
                    <a:pt x="14" y="57"/>
                  </a:cubicBezTo>
                  <a:cubicBezTo>
                    <a:pt x="18" y="56"/>
                    <a:pt x="21" y="55"/>
                    <a:pt x="25" y="53"/>
                  </a:cubicBezTo>
                  <a:cubicBezTo>
                    <a:pt x="26" y="53"/>
                    <a:pt x="27" y="53"/>
                    <a:pt x="28" y="52"/>
                  </a:cubicBezTo>
                  <a:cubicBezTo>
                    <a:pt x="31" y="51"/>
                    <a:pt x="34" y="50"/>
                    <a:pt x="38" y="49"/>
                  </a:cubicBezTo>
                  <a:cubicBezTo>
                    <a:pt x="39" y="49"/>
                    <a:pt x="40" y="49"/>
                    <a:pt x="41" y="48"/>
                  </a:cubicBezTo>
                  <a:cubicBezTo>
                    <a:pt x="44" y="48"/>
                    <a:pt x="48" y="47"/>
                    <a:pt x="51" y="46"/>
                  </a:cubicBezTo>
                  <a:cubicBezTo>
                    <a:pt x="52" y="46"/>
                    <a:pt x="54" y="45"/>
                    <a:pt x="56" y="45"/>
                  </a:cubicBezTo>
                  <a:cubicBezTo>
                    <a:pt x="59" y="44"/>
                    <a:pt x="61" y="44"/>
                    <a:pt x="64" y="43"/>
                  </a:cubicBezTo>
                  <a:cubicBezTo>
                    <a:pt x="66" y="43"/>
                    <a:pt x="68" y="42"/>
                    <a:pt x="70" y="42"/>
                  </a:cubicBezTo>
                  <a:cubicBezTo>
                    <a:pt x="73" y="42"/>
                    <a:pt x="76" y="41"/>
                    <a:pt x="78" y="41"/>
                  </a:cubicBezTo>
                  <a:cubicBezTo>
                    <a:pt x="81" y="40"/>
                    <a:pt x="83" y="40"/>
                    <a:pt x="86" y="40"/>
                  </a:cubicBezTo>
                  <a:cubicBezTo>
                    <a:pt x="88" y="39"/>
                    <a:pt x="90" y="39"/>
                    <a:pt x="93" y="39"/>
                  </a:cubicBezTo>
                  <a:cubicBezTo>
                    <a:pt x="95" y="39"/>
                    <a:pt x="97" y="39"/>
                    <a:pt x="100" y="38"/>
                  </a:cubicBezTo>
                  <a:cubicBezTo>
                    <a:pt x="122" y="78"/>
                    <a:pt x="122" y="78"/>
                    <a:pt x="122" y="78"/>
                  </a:cubicBezTo>
                  <a:cubicBezTo>
                    <a:pt x="145" y="38"/>
                    <a:pt x="145" y="38"/>
                    <a:pt x="145" y="38"/>
                  </a:cubicBezTo>
                  <a:cubicBezTo>
                    <a:pt x="148" y="39"/>
                    <a:pt x="150" y="39"/>
                    <a:pt x="152" y="39"/>
                  </a:cubicBezTo>
                  <a:cubicBezTo>
                    <a:pt x="155" y="39"/>
                    <a:pt x="157" y="39"/>
                    <a:pt x="159" y="40"/>
                  </a:cubicBezTo>
                  <a:cubicBezTo>
                    <a:pt x="162" y="40"/>
                    <a:pt x="164" y="40"/>
                    <a:pt x="167" y="41"/>
                  </a:cubicBezTo>
                  <a:cubicBezTo>
                    <a:pt x="169" y="41"/>
                    <a:pt x="172" y="42"/>
                    <a:pt x="175" y="42"/>
                  </a:cubicBezTo>
                  <a:cubicBezTo>
                    <a:pt x="177" y="42"/>
                    <a:pt x="179" y="43"/>
                    <a:pt x="181" y="43"/>
                  </a:cubicBezTo>
                  <a:cubicBezTo>
                    <a:pt x="184" y="44"/>
                    <a:pt x="186" y="44"/>
                    <a:pt x="189" y="45"/>
                  </a:cubicBezTo>
                  <a:cubicBezTo>
                    <a:pt x="191" y="45"/>
                    <a:pt x="193" y="46"/>
                    <a:pt x="194" y="46"/>
                  </a:cubicBezTo>
                  <a:cubicBezTo>
                    <a:pt x="197" y="47"/>
                    <a:pt x="200" y="48"/>
                    <a:pt x="204" y="48"/>
                  </a:cubicBezTo>
                  <a:cubicBezTo>
                    <a:pt x="205" y="49"/>
                    <a:pt x="206" y="49"/>
                    <a:pt x="207" y="49"/>
                  </a:cubicBezTo>
                  <a:cubicBezTo>
                    <a:pt x="211" y="50"/>
                    <a:pt x="214" y="51"/>
                    <a:pt x="217" y="52"/>
                  </a:cubicBezTo>
                  <a:cubicBezTo>
                    <a:pt x="218" y="53"/>
                    <a:pt x="219" y="53"/>
                    <a:pt x="220" y="53"/>
                  </a:cubicBezTo>
                  <a:cubicBezTo>
                    <a:pt x="224" y="55"/>
                    <a:pt x="227" y="56"/>
                    <a:pt x="231" y="57"/>
                  </a:cubicBezTo>
                  <a:cubicBezTo>
                    <a:pt x="245" y="23"/>
                    <a:pt x="245" y="23"/>
                    <a:pt x="245" y="23"/>
                  </a:cubicBezTo>
                  <a:cubicBezTo>
                    <a:pt x="207" y="8"/>
                    <a:pt x="166" y="0"/>
                    <a:pt x="122" y="0"/>
                  </a:cubicBezTo>
                  <a:cubicBezTo>
                    <a:pt x="79" y="0"/>
                    <a:pt x="38" y="8"/>
                    <a:pt x="0" y="23"/>
                  </a:cubicBezTo>
                  <a:close/>
                </a:path>
              </a:pathLst>
            </a:custGeom>
            <a:solidFill>
              <a:schemeClr val="accent1"/>
            </a:solidFill>
            <a:ln w="6350">
              <a:solidFill>
                <a:schemeClr val="accent1"/>
              </a:solidFill>
            </a:ln>
          </p:spPr>
          <p:txBody>
            <a:bodyPr wrap="square" lIns="0" tIns="0" rIns="0" bIns="0" rtlCol="0"/>
            <a:lstStyle/>
            <a:p>
              <a:endParaRPr lang="zh-CN" altLang="en-US"/>
            </a:p>
          </p:txBody>
        </p:sp>
        <p:sp>
          <p:nvSpPr>
            <p:cNvPr id="22" name="Freeform 17"/>
            <p:cNvSpPr>
              <a:spLocks/>
            </p:cNvSpPr>
            <p:nvPr/>
          </p:nvSpPr>
          <p:spPr bwMode="auto">
            <a:xfrm>
              <a:off x="17472025" y="3429001"/>
              <a:ext cx="307975" cy="982663"/>
            </a:xfrm>
            <a:custGeom>
              <a:avLst/>
              <a:gdLst>
                <a:gd name="T0" fmla="*/ 55 w 77"/>
                <a:gd name="T1" fmla="*/ 0 h 246"/>
                <a:gd name="T2" fmla="*/ 20 w 77"/>
                <a:gd name="T3" fmla="*/ 15 h 246"/>
                <a:gd name="T4" fmla="*/ 24 w 77"/>
                <a:gd name="T5" fmla="*/ 26 h 246"/>
                <a:gd name="T6" fmla="*/ 25 w 77"/>
                <a:gd name="T7" fmla="*/ 28 h 246"/>
                <a:gd name="T8" fmla="*/ 28 w 77"/>
                <a:gd name="T9" fmla="*/ 38 h 246"/>
                <a:gd name="T10" fmla="*/ 29 w 77"/>
                <a:gd name="T11" fmla="*/ 42 h 246"/>
                <a:gd name="T12" fmla="*/ 31 w 77"/>
                <a:gd name="T13" fmla="*/ 51 h 246"/>
                <a:gd name="T14" fmla="*/ 33 w 77"/>
                <a:gd name="T15" fmla="*/ 56 h 246"/>
                <a:gd name="T16" fmla="*/ 34 w 77"/>
                <a:gd name="T17" fmla="*/ 65 h 246"/>
                <a:gd name="T18" fmla="*/ 36 w 77"/>
                <a:gd name="T19" fmla="*/ 71 h 246"/>
                <a:gd name="T20" fmla="*/ 37 w 77"/>
                <a:gd name="T21" fmla="*/ 79 h 246"/>
                <a:gd name="T22" fmla="*/ 38 w 77"/>
                <a:gd name="T23" fmla="*/ 86 h 246"/>
                <a:gd name="T24" fmla="*/ 39 w 77"/>
                <a:gd name="T25" fmla="*/ 93 h 246"/>
                <a:gd name="T26" fmla="*/ 39 w 77"/>
                <a:gd name="T27" fmla="*/ 100 h 246"/>
                <a:gd name="T28" fmla="*/ 0 w 77"/>
                <a:gd name="T29" fmla="*/ 123 h 246"/>
                <a:gd name="T30" fmla="*/ 39 w 77"/>
                <a:gd name="T31" fmla="*/ 146 h 246"/>
                <a:gd name="T32" fmla="*/ 39 w 77"/>
                <a:gd name="T33" fmla="*/ 153 h 246"/>
                <a:gd name="T34" fmla="*/ 38 w 77"/>
                <a:gd name="T35" fmla="*/ 160 h 246"/>
                <a:gd name="T36" fmla="*/ 37 w 77"/>
                <a:gd name="T37" fmla="*/ 167 h 246"/>
                <a:gd name="T38" fmla="*/ 36 w 77"/>
                <a:gd name="T39" fmla="*/ 175 h 246"/>
                <a:gd name="T40" fmla="*/ 34 w 77"/>
                <a:gd name="T41" fmla="*/ 181 h 246"/>
                <a:gd name="T42" fmla="*/ 33 w 77"/>
                <a:gd name="T43" fmla="*/ 190 h 246"/>
                <a:gd name="T44" fmla="*/ 31 w 77"/>
                <a:gd name="T45" fmla="*/ 195 h 246"/>
                <a:gd name="T46" fmla="*/ 29 w 77"/>
                <a:gd name="T47" fmla="*/ 204 h 246"/>
                <a:gd name="T48" fmla="*/ 28 w 77"/>
                <a:gd name="T49" fmla="*/ 208 h 246"/>
                <a:gd name="T50" fmla="*/ 25 w 77"/>
                <a:gd name="T51" fmla="*/ 218 h 246"/>
                <a:gd name="T52" fmla="*/ 24 w 77"/>
                <a:gd name="T53" fmla="*/ 220 h 246"/>
                <a:gd name="T54" fmla="*/ 20 w 77"/>
                <a:gd name="T55" fmla="*/ 231 h 246"/>
                <a:gd name="T56" fmla="*/ 55 w 77"/>
                <a:gd name="T57" fmla="*/ 246 h 246"/>
                <a:gd name="T58" fmla="*/ 77 w 77"/>
                <a:gd name="T59" fmla="*/ 123 h 246"/>
                <a:gd name="T60" fmla="*/ 55 w 77"/>
                <a:gd name="T6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246">
                  <a:moveTo>
                    <a:pt x="55" y="0"/>
                  </a:moveTo>
                  <a:cubicBezTo>
                    <a:pt x="20" y="15"/>
                    <a:pt x="20" y="15"/>
                    <a:pt x="20" y="15"/>
                  </a:cubicBezTo>
                  <a:cubicBezTo>
                    <a:pt x="22" y="18"/>
                    <a:pt x="23" y="22"/>
                    <a:pt x="24" y="26"/>
                  </a:cubicBezTo>
                  <a:cubicBezTo>
                    <a:pt x="24" y="26"/>
                    <a:pt x="25" y="27"/>
                    <a:pt x="25" y="28"/>
                  </a:cubicBezTo>
                  <a:cubicBezTo>
                    <a:pt x="26" y="31"/>
                    <a:pt x="27" y="35"/>
                    <a:pt x="28" y="38"/>
                  </a:cubicBezTo>
                  <a:cubicBezTo>
                    <a:pt x="28" y="39"/>
                    <a:pt x="29" y="41"/>
                    <a:pt x="29" y="42"/>
                  </a:cubicBezTo>
                  <a:cubicBezTo>
                    <a:pt x="30" y="45"/>
                    <a:pt x="31" y="48"/>
                    <a:pt x="31" y="51"/>
                  </a:cubicBezTo>
                  <a:cubicBezTo>
                    <a:pt x="32" y="53"/>
                    <a:pt x="32" y="55"/>
                    <a:pt x="33" y="56"/>
                  </a:cubicBezTo>
                  <a:cubicBezTo>
                    <a:pt x="33" y="59"/>
                    <a:pt x="34" y="62"/>
                    <a:pt x="34" y="65"/>
                  </a:cubicBezTo>
                  <a:cubicBezTo>
                    <a:pt x="35" y="67"/>
                    <a:pt x="35" y="69"/>
                    <a:pt x="36" y="71"/>
                  </a:cubicBezTo>
                  <a:cubicBezTo>
                    <a:pt x="36" y="74"/>
                    <a:pt x="36" y="76"/>
                    <a:pt x="37" y="79"/>
                  </a:cubicBezTo>
                  <a:cubicBezTo>
                    <a:pt x="37" y="81"/>
                    <a:pt x="37" y="84"/>
                    <a:pt x="38" y="86"/>
                  </a:cubicBezTo>
                  <a:cubicBezTo>
                    <a:pt x="38" y="89"/>
                    <a:pt x="38" y="91"/>
                    <a:pt x="39" y="93"/>
                  </a:cubicBezTo>
                  <a:cubicBezTo>
                    <a:pt x="39" y="96"/>
                    <a:pt x="39" y="98"/>
                    <a:pt x="39" y="100"/>
                  </a:cubicBezTo>
                  <a:cubicBezTo>
                    <a:pt x="0" y="123"/>
                    <a:pt x="0" y="123"/>
                    <a:pt x="0" y="123"/>
                  </a:cubicBezTo>
                  <a:cubicBezTo>
                    <a:pt x="39" y="146"/>
                    <a:pt x="39" y="146"/>
                    <a:pt x="39" y="146"/>
                  </a:cubicBezTo>
                  <a:cubicBezTo>
                    <a:pt x="39" y="148"/>
                    <a:pt x="39" y="150"/>
                    <a:pt x="39" y="153"/>
                  </a:cubicBezTo>
                  <a:cubicBezTo>
                    <a:pt x="38" y="155"/>
                    <a:pt x="38" y="157"/>
                    <a:pt x="38" y="160"/>
                  </a:cubicBezTo>
                  <a:cubicBezTo>
                    <a:pt x="37" y="162"/>
                    <a:pt x="37" y="165"/>
                    <a:pt x="37" y="167"/>
                  </a:cubicBezTo>
                  <a:cubicBezTo>
                    <a:pt x="36" y="170"/>
                    <a:pt x="36" y="172"/>
                    <a:pt x="36" y="175"/>
                  </a:cubicBezTo>
                  <a:cubicBezTo>
                    <a:pt x="35" y="177"/>
                    <a:pt x="35" y="179"/>
                    <a:pt x="34" y="181"/>
                  </a:cubicBezTo>
                  <a:cubicBezTo>
                    <a:pt x="34" y="184"/>
                    <a:pt x="33" y="187"/>
                    <a:pt x="33" y="190"/>
                  </a:cubicBezTo>
                  <a:cubicBezTo>
                    <a:pt x="32" y="191"/>
                    <a:pt x="32" y="193"/>
                    <a:pt x="31" y="195"/>
                  </a:cubicBezTo>
                  <a:cubicBezTo>
                    <a:pt x="31" y="198"/>
                    <a:pt x="30" y="201"/>
                    <a:pt x="29" y="204"/>
                  </a:cubicBezTo>
                  <a:cubicBezTo>
                    <a:pt x="29" y="205"/>
                    <a:pt x="28" y="207"/>
                    <a:pt x="28" y="208"/>
                  </a:cubicBezTo>
                  <a:cubicBezTo>
                    <a:pt x="27" y="211"/>
                    <a:pt x="26" y="215"/>
                    <a:pt x="25" y="218"/>
                  </a:cubicBezTo>
                  <a:cubicBezTo>
                    <a:pt x="25" y="219"/>
                    <a:pt x="24" y="220"/>
                    <a:pt x="24" y="220"/>
                  </a:cubicBezTo>
                  <a:cubicBezTo>
                    <a:pt x="23" y="224"/>
                    <a:pt x="22" y="228"/>
                    <a:pt x="20" y="231"/>
                  </a:cubicBezTo>
                  <a:cubicBezTo>
                    <a:pt x="55" y="246"/>
                    <a:pt x="55" y="246"/>
                    <a:pt x="55" y="246"/>
                  </a:cubicBezTo>
                  <a:cubicBezTo>
                    <a:pt x="69" y="208"/>
                    <a:pt x="77" y="166"/>
                    <a:pt x="77" y="123"/>
                  </a:cubicBezTo>
                  <a:cubicBezTo>
                    <a:pt x="77" y="80"/>
                    <a:pt x="69" y="38"/>
                    <a:pt x="55" y="0"/>
                  </a:cubicBezTo>
                  <a:close/>
                </a:path>
              </a:pathLst>
            </a:custGeom>
            <a:solidFill>
              <a:schemeClr val="accent3"/>
            </a:solidFill>
            <a:ln w="6350">
              <a:solidFill>
                <a:schemeClr val="accent3"/>
              </a:solidFill>
            </a:ln>
          </p:spPr>
          <p:txBody>
            <a:bodyPr wrap="square" lIns="0" tIns="0" rIns="0" bIns="0" rtlCol="0"/>
            <a:lstStyle/>
            <a:p>
              <a:endParaRPr lang="zh-CN" altLang="en-US"/>
            </a:p>
          </p:txBody>
        </p:sp>
        <p:sp>
          <p:nvSpPr>
            <p:cNvPr id="23" name="Freeform 18"/>
            <p:cNvSpPr>
              <a:spLocks/>
            </p:cNvSpPr>
            <p:nvPr/>
          </p:nvSpPr>
          <p:spPr bwMode="auto">
            <a:xfrm>
              <a:off x="15012988" y="3429001"/>
              <a:ext cx="312738" cy="982663"/>
            </a:xfrm>
            <a:custGeom>
              <a:avLst/>
              <a:gdLst>
                <a:gd name="T0" fmla="*/ 54 w 78"/>
                <a:gd name="T1" fmla="*/ 220 h 246"/>
                <a:gd name="T2" fmla="*/ 53 w 78"/>
                <a:gd name="T3" fmla="*/ 218 h 246"/>
                <a:gd name="T4" fmla="*/ 50 w 78"/>
                <a:gd name="T5" fmla="*/ 208 h 246"/>
                <a:gd name="T6" fmla="*/ 49 w 78"/>
                <a:gd name="T7" fmla="*/ 204 h 246"/>
                <a:gd name="T8" fmla="*/ 46 w 78"/>
                <a:gd name="T9" fmla="*/ 195 h 246"/>
                <a:gd name="T10" fmla="*/ 45 w 78"/>
                <a:gd name="T11" fmla="*/ 190 h 246"/>
                <a:gd name="T12" fmla="*/ 44 w 78"/>
                <a:gd name="T13" fmla="*/ 181 h 246"/>
                <a:gd name="T14" fmla="*/ 42 w 78"/>
                <a:gd name="T15" fmla="*/ 175 h 246"/>
                <a:gd name="T16" fmla="*/ 41 w 78"/>
                <a:gd name="T17" fmla="*/ 167 h 246"/>
                <a:gd name="T18" fmla="*/ 40 w 78"/>
                <a:gd name="T19" fmla="*/ 160 h 246"/>
                <a:gd name="T20" fmla="*/ 39 w 78"/>
                <a:gd name="T21" fmla="*/ 153 h 246"/>
                <a:gd name="T22" fmla="*/ 39 w 78"/>
                <a:gd name="T23" fmla="*/ 146 h 246"/>
                <a:gd name="T24" fmla="*/ 78 w 78"/>
                <a:gd name="T25" fmla="*/ 123 h 246"/>
                <a:gd name="T26" fmla="*/ 39 w 78"/>
                <a:gd name="T27" fmla="*/ 100 h 246"/>
                <a:gd name="T28" fmla="*/ 39 w 78"/>
                <a:gd name="T29" fmla="*/ 93 h 246"/>
                <a:gd name="T30" fmla="*/ 40 w 78"/>
                <a:gd name="T31" fmla="*/ 86 h 246"/>
                <a:gd name="T32" fmla="*/ 41 w 78"/>
                <a:gd name="T33" fmla="*/ 79 h 246"/>
                <a:gd name="T34" fmla="*/ 42 w 78"/>
                <a:gd name="T35" fmla="*/ 71 h 246"/>
                <a:gd name="T36" fmla="*/ 44 w 78"/>
                <a:gd name="T37" fmla="*/ 65 h 246"/>
                <a:gd name="T38" fmla="*/ 45 w 78"/>
                <a:gd name="T39" fmla="*/ 56 h 246"/>
                <a:gd name="T40" fmla="*/ 46 w 78"/>
                <a:gd name="T41" fmla="*/ 51 h 246"/>
                <a:gd name="T42" fmla="*/ 49 w 78"/>
                <a:gd name="T43" fmla="*/ 42 h 246"/>
                <a:gd name="T44" fmla="*/ 50 w 78"/>
                <a:gd name="T45" fmla="*/ 38 h 246"/>
                <a:gd name="T46" fmla="*/ 53 w 78"/>
                <a:gd name="T47" fmla="*/ 28 h 246"/>
                <a:gd name="T48" fmla="*/ 54 w 78"/>
                <a:gd name="T49" fmla="*/ 26 h 246"/>
                <a:gd name="T50" fmla="*/ 58 w 78"/>
                <a:gd name="T51" fmla="*/ 15 h 246"/>
                <a:gd name="T52" fmla="*/ 58 w 78"/>
                <a:gd name="T53" fmla="*/ 15 h 246"/>
                <a:gd name="T54" fmla="*/ 23 w 78"/>
                <a:gd name="T55" fmla="*/ 0 h 246"/>
                <a:gd name="T56" fmla="*/ 0 w 78"/>
                <a:gd name="T57" fmla="*/ 123 h 246"/>
                <a:gd name="T58" fmla="*/ 23 w 78"/>
                <a:gd name="T59" fmla="*/ 246 h 246"/>
                <a:gd name="T60" fmla="*/ 58 w 78"/>
                <a:gd name="T61" fmla="*/ 231 h 246"/>
                <a:gd name="T62" fmla="*/ 54 w 78"/>
                <a:gd name="T63" fmla="*/ 22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246">
                  <a:moveTo>
                    <a:pt x="54" y="220"/>
                  </a:moveTo>
                  <a:cubicBezTo>
                    <a:pt x="54" y="220"/>
                    <a:pt x="53" y="219"/>
                    <a:pt x="53" y="218"/>
                  </a:cubicBezTo>
                  <a:cubicBezTo>
                    <a:pt x="52" y="215"/>
                    <a:pt x="51" y="211"/>
                    <a:pt x="50" y="208"/>
                  </a:cubicBezTo>
                  <a:cubicBezTo>
                    <a:pt x="50" y="207"/>
                    <a:pt x="49" y="205"/>
                    <a:pt x="49" y="204"/>
                  </a:cubicBezTo>
                  <a:cubicBezTo>
                    <a:pt x="48" y="201"/>
                    <a:pt x="47" y="198"/>
                    <a:pt x="46" y="195"/>
                  </a:cubicBezTo>
                  <a:cubicBezTo>
                    <a:pt x="46" y="193"/>
                    <a:pt x="46" y="191"/>
                    <a:pt x="45" y="190"/>
                  </a:cubicBezTo>
                  <a:cubicBezTo>
                    <a:pt x="45" y="187"/>
                    <a:pt x="44" y="184"/>
                    <a:pt x="44" y="181"/>
                  </a:cubicBezTo>
                  <a:cubicBezTo>
                    <a:pt x="43" y="179"/>
                    <a:pt x="43" y="177"/>
                    <a:pt x="42" y="175"/>
                  </a:cubicBezTo>
                  <a:cubicBezTo>
                    <a:pt x="42" y="172"/>
                    <a:pt x="42" y="170"/>
                    <a:pt x="41" y="167"/>
                  </a:cubicBezTo>
                  <a:cubicBezTo>
                    <a:pt x="41" y="165"/>
                    <a:pt x="41" y="162"/>
                    <a:pt x="40" y="160"/>
                  </a:cubicBezTo>
                  <a:cubicBezTo>
                    <a:pt x="40" y="157"/>
                    <a:pt x="40" y="155"/>
                    <a:pt x="39" y="153"/>
                  </a:cubicBezTo>
                  <a:cubicBezTo>
                    <a:pt x="39" y="150"/>
                    <a:pt x="39" y="148"/>
                    <a:pt x="39" y="146"/>
                  </a:cubicBezTo>
                  <a:cubicBezTo>
                    <a:pt x="78" y="123"/>
                    <a:pt x="78" y="123"/>
                    <a:pt x="78" y="123"/>
                  </a:cubicBezTo>
                  <a:cubicBezTo>
                    <a:pt x="39" y="100"/>
                    <a:pt x="39" y="100"/>
                    <a:pt x="39" y="100"/>
                  </a:cubicBezTo>
                  <a:cubicBezTo>
                    <a:pt x="39" y="98"/>
                    <a:pt x="39" y="96"/>
                    <a:pt x="39" y="93"/>
                  </a:cubicBezTo>
                  <a:cubicBezTo>
                    <a:pt x="40" y="91"/>
                    <a:pt x="40" y="89"/>
                    <a:pt x="40" y="86"/>
                  </a:cubicBezTo>
                  <a:cubicBezTo>
                    <a:pt x="41" y="84"/>
                    <a:pt x="41" y="81"/>
                    <a:pt x="41" y="79"/>
                  </a:cubicBezTo>
                  <a:cubicBezTo>
                    <a:pt x="42" y="76"/>
                    <a:pt x="42" y="74"/>
                    <a:pt x="42" y="71"/>
                  </a:cubicBezTo>
                  <a:cubicBezTo>
                    <a:pt x="43" y="69"/>
                    <a:pt x="43" y="67"/>
                    <a:pt x="44" y="65"/>
                  </a:cubicBezTo>
                  <a:cubicBezTo>
                    <a:pt x="44" y="62"/>
                    <a:pt x="45" y="59"/>
                    <a:pt x="45" y="56"/>
                  </a:cubicBezTo>
                  <a:cubicBezTo>
                    <a:pt x="46" y="55"/>
                    <a:pt x="46" y="53"/>
                    <a:pt x="46" y="51"/>
                  </a:cubicBezTo>
                  <a:cubicBezTo>
                    <a:pt x="47" y="48"/>
                    <a:pt x="48" y="45"/>
                    <a:pt x="49" y="42"/>
                  </a:cubicBezTo>
                  <a:cubicBezTo>
                    <a:pt x="49" y="41"/>
                    <a:pt x="50" y="39"/>
                    <a:pt x="50" y="38"/>
                  </a:cubicBezTo>
                  <a:cubicBezTo>
                    <a:pt x="51" y="35"/>
                    <a:pt x="52" y="31"/>
                    <a:pt x="53" y="28"/>
                  </a:cubicBezTo>
                  <a:cubicBezTo>
                    <a:pt x="53" y="27"/>
                    <a:pt x="54" y="26"/>
                    <a:pt x="54" y="26"/>
                  </a:cubicBezTo>
                  <a:cubicBezTo>
                    <a:pt x="55" y="22"/>
                    <a:pt x="56" y="18"/>
                    <a:pt x="58" y="15"/>
                  </a:cubicBezTo>
                  <a:cubicBezTo>
                    <a:pt x="58" y="15"/>
                    <a:pt x="58" y="15"/>
                    <a:pt x="58" y="15"/>
                  </a:cubicBezTo>
                  <a:cubicBezTo>
                    <a:pt x="23" y="0"/>
                    <a:pt x="23" y="0"/>
                    <a:pt x="23" y="0"/>
                  </a:cubicBezTo>
                  <a:cubicBezTo>
                    <a:pt x="8" y="38"/>
                    <a:pt x="0" y="80"/>
                    <a:pt x="0" y="123"/>
                  </a:cubicBezTo>
                  <a:cubicBezTo>
                    <a:pt x="0" y="166"/>
                    <a:pt x="8" y="208"/>
                    <a:pt x="23" y="246"/>
                  </a:cubicBezTo>
                  <a:cubicBezTo>
                    <a:pt x="58" y="231"/>
                    <a:pt x="58" y="231"/>
                    <a:pt x="58" y="231"/>
                  </a:cubicBezTo>
                  <a:cubicBezTo>
                    <a:pt x="56" y="228"/>
                    <a:pt x="55" y="224"/>
                    <a:pt x="54" y="220"/>
                  </a:cubicBezTo>
                  <a:close/>
                </a:path>
              </a:pathLst>
            </a:custGeom>
            <a:solidFill>
              <a:schemeClr val="accent5"/>
            </a:solidFill>
            <a:ln w="6350">
              <a:solidFill>
                <a:schemeClr val="accent5"/>
              </a:solidFill>
            </a:ln>
          </p:spPr>
          <p:txBody>
            <a:bodyPr wrap="square" lIns="0" tIns="0" rIns="0" bIns="0" rtlCol="0"/>
            <a:lstStyle/>
            <a:p>
              <a:endParaRPr lang="zh-CN" altLang="en-US"/>
            </a:p>
          </p:txBody>
        </p:sp>
        <p:sp>
          <p:nvSpPr>
            <p:cNvPr id="24" name="Freeform 19"/>
            <p:cNvSpPr>
              <a:spLocks/>
            </p:cNvSpPr>
            <p:nvPr/>
          </p:nvSpPr>
          <p:spPr bwMode="auto">
            <a:xfrm>
              <a:off x="16906875" y="4427538"/>
              <a:ext cx="754063" cy="749300"/>
            </a:xfrm>
            <a:custGeom>
              <a:avLst/>
              <a:gdLst>
                <a:gd name="T0" fmla="*/ 106 w 188"/>
                <a:gd name="T1" fmla="*/ 74 h 188"/>
                <a:gd name="T2" fmla="*/ 62 w 188"/>
                <a:gd name="T3" fmla="*/ 62 h 188"/>
                <a:gd name="T4" fmla="*/ 74 w 188"/>
                <a:gd name="T5" fmla="*/ 106 h 188"/>
                <a:gd name="T6" fmla="*/ 0 w 188"/>
                <a:gd name="T7" fmla="*/ 153 h 188"/>
                <a:gd name="T8" fmla="*/ 15 w 188"/>
                <a:gd name="T9" fmla="*/ 188 h 188"/>
                <a:gd name="T10" fmla="*/ 188 w 188"/>
                <a:gd name="T11" fmla="*/ 14 h 188"/>
                <a:gd name="T12" fmla="*/ 154 w 188"/>
                <a:gd name="T13" fmla="*/ 0 h 188"/>
                <a:gd name="T14" fmla="*/ 106 w 188"/>
                <a:gd name="T15" fmla="*/ 74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88">
                  <a:moveTo>
                    <a:pt x="106" y="74"/>
                  </a:moveTo>
                  <a:cubicBezTo>
                    <a:pt x="62" y="62"/>
                    <a:pt x="62" y="62"/>
                    <a:pt x="62" y="62"/>
                  </a:cubicBezTo>
                  <a:cubicBezTo>
                    <a:pt x="74" y="106"/>
                    <a:pt x="74" y="106"/>
                    <a:pt x="74" y="106"/>
                  </a:cubicBezTo>
                  <a:cubicBezTo>
                    <a:pt x="52" y="125"/>
                    <a:pt x="27" y="141"/>
                    <a:pt x="0" y="153"/>
                  </a:cubicBezTo>
                  <a:cubicBezTo>
                    <a:pt x="15" y="188"/>
                    <a:pt x="15" y="188"/>
                    <a:pt x="15" y="188"/>
                  </a:cubicBezTo>
                  <a:cubicBezTo>
                    <a:pt x="92" y="153"/>
                    <a:pt x="154" y="91"/>
                    <a:pt x="188" y="14"/>
                  </a:cubicBezTo>
                  <a:cubicBezTo>
                    <a:pt x="154" y="0"/>
                    <a:pt x="154" y="0"/>
                    <a:pt x="154" y="0"/>
                  </a:cubicBezTo>
                  <a:cubicBezTo>
                    <a:pt x="141" y="27"/>
                    <a:pt x="125" y="52"/>
                    <a:pt x="106" y="7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20"/>
            <p:cNvSpPr>
              <a:spLocks/>
            </p:cNvSpPr>
            <p:nvPr/>
          </p:nvSpPr>
          <p:spPr bwMode="auto">
            <a:xfrm>
              <a:off x="15136813" y="2662238"/>
              <a:ext cx="754063" cy="750888"/>
            </a:xfrm>
            <a:custGeom>
              <a:avLst/>
              <a:gdLst>
                <a:gd name="T0" fmla="*/ 34 w 188"/>
                <a:gd name="T1" fmla="*/ 188 h 188"/>
                <a:gd name="T2" fmla="*/ 82 w 188"/>
                <a:gd name="T3" fmla="*/ 114 h 188"/>
                <a:gd name="T4" fmla="*/ 126 w 188"/>
                <a:gd name="T5" fmla="*/ 126 h 188"/>
                <a:gd name="T6" fmla="*/ 114 w 188"/>
                <a:gd name="T7" fmla="*/ 82 h 188"/>
                <a:gd name="T8" fmla="*/ 188 w 188"/>
                <a:gd name="T9" fmla="*/ 35 h 188"/>
                <a:gd name="T10" fmla="*/ 173 w 188"/>
                <a:gd name="T11" fmla="*/ 0 h 188"/>
                <a:gd name="T12" fmla="*/ 0 w 188"/>
                <a:gd name="T13" fmla="*/ 174 h 188"/>
                <a:gd name="T14" fmla="*/ 34 w 188"/>
                <a:gd name="T15" fmla="*/ 188 h 188"/>
                <a:gd name="T16" fmla="*/ 34 w 188"/>
                <a:gd name="T17"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88">
                  <a:moveTo>
                    <a:pt x="34" y="188"/>
                  </a:moveTo>
                  <a:cubicBezTo>
                    <a:pt x="47" y="161"/>
                    <a:pt x="63" y="136"/>
                    <a:pt x="82" y="114"/>
                  </a:cubicBezTo>
                  <a:cubicBezTo>
                    <a:pt x="126" y="126"/>
                    <a:pt x="126" y="126"/>
                    <a:pt x="126" y="126"/>
                  </a:cubicBezTo>
                  <a:cubicBezTo>
                    <a:pt x="114" y="82"/>
                    <a:pt x="114" y="82"/>
                    <a:pt x="114" y="82"/>
                  </a:cubicBezTo>
                  <a:cubicBezTo>
                    <a:pt x="136" y="63"/>
                    <a:pt x="161" y="47"/>
                    <a:pt x="188" y="35"/>
                  </a:cubicBezTo>
                  <a:cubicBezTo>
                    <a:pt x="173" y="0"/>
                    <a:pt x="173" y="0"/>
                    <a:pt x="173" y="0"/>
                  </a:cubicBezTo>
                  <a:cubicBezTo>
                    <a:pt x="96" y="35"/>
                    <a:pt x="34" y="97"/>
                    <a:pt x="0" y="174"/>
                  </a:cubicBezTo>
                  <a:cubicBezTo>
                    <a:pt x="34" y="188"/>
                    <a:pt x="34" y="188"/>
                    <a:pt x="34" y="188"/>
                  </a:cubicBezTo>
                  <a:cubicBezTo>
                    <a:pt x="34" y="188"/>
                    <a:pt x="34" y="188"/>
                    <a:pt x="34" y="188"/>
                  </a:cubicBezTo>
                  <a:close/>
                </a:path>
              </a:pathLst>
            </a:custGeom>
            <a:solidFill>
              <a:srgbClr val="0070C0"/>
            </a:solidFill>
            <a:ln w="6350">
              <a:solidFill>
                <a:srgbClr val="0070C0"/>
              </a:solidFill>
            </a:ln>
          </p:spPr>
          <p:txBody>
            <a:bodyPr wrap="square" lIns="0" tIns="0" rIns="0" bIns="0" rtlCol="0"/>
            <a:lstStyle/>
            <a:p>
              <a:endParaRPr lang="zh-CN" altLang="en-US"/>
            </a:p>
          </p:txBody>
        </p:sp>
      </p:grpSp>
      <p:graphicFrame>
        <p:nvGraphicFramePr>
          <p:cNvPr id="8" name="Object 7"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067" name="think-cell Slide" r:id="rId5" imgW="492" imgH="493" progId="TCLayout.ActiveDocument.1">
                  <p:embed/>
                </p:oleObj>
              </mc:Choice>
              <mc:Fallback>
                <p:oleObj name="think-cell Slide" r:id="rId5" imgW="492" imgH="493" progId="TCLayout.ActiveDocument.1">
                  <p:embed/>
                  <p:pic>
                    <p:nvPicPr>
                      <p:cNvPr id="8" name="Object 7"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78" name="object 39">
            <a:extLst>
              <a:ext uri="{FF2B5EF4-FFF2-40B4-BE49-F238E27FC236}">
                <a16:creationId xmlns:a16="http://schemas.microsoft.com/office/drawing/2014/main" id="{E6FDA1C6-2DF4-4DDC-8301-70F8FCA6C4AC}"/>
              </a:ext>
            </a:extLst>
          </p:cNvPr>
          <p:cNvSpPr txBox="1"/>
          <p:nvPr/>
        </p:nvSpPr>
        <p:spPr>
          <a:xfrm>
            <a:off x="925145" y="4517785"/>
            <a:ext cx="2954927" cy="923330"/>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9" name="object 40">
            <a:extLst>
              <a:ext uri="{FF2B5EF4-FFF2-40B4-BE49-F238E27FC236}">
                <a16:creationId xmlns:a16="http://schemas.microsoft.com/office/drawing/2014/main" id="{E8A8B1A6-70E9-44F5-9EA4-161DDE446AF2}"/>
              </a:ext>
            </a:extLst>
          </p:cNvPr>
          <p:cNvSpPr txBox="1"/>
          <p:nvPr/>
        </p:nvSpPr>
        <p:spPr>
          <a:xfrm>
            <a:off x="915464" y="2817059"/>
            <a:ext cx="2807408" cy="1090042"/>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80" name="object 41">
            <a:extLst>
              <a:ext uri="{FF2B5EF4-FFF2-40B4-BE49-F238E27FC236}">
                <a16:creationId xmlns:a16="http://schemas.microsoft.com/office/drawing/2014/main" id="{DA6533EA-E353-48D7-8B32-FA7FDA8244F9}"/>
              </a:ext>
            </a:extLst>
          </p:cNvPr>
          <p:cNvSpPr txBox="1"/>
          <p:nvPr/>
        </p:nvSpPr>
        <p:spPr>
          <a:xfrm>
            <a:off x="917285" y="1555727"/>
            <a:ext cx="3205614" cy="615553"/>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81" name="object 42">
            <a:extLst>
              <a:ext uri="{FF2B5EF4-FFF2-40B4-BE49-F238E27FC236}">
                <a16:creationId xmlns:a16="http://schemas.microsoft.com/office/drawing/2014/main" id="{85E028FA-1922-45E4-B5FF-E4593DE88E75}"/>
              </a:ext>
            </a:extLst>
          </p:cNvPr>
          <p:cNvSpPr txBox="1"/>
          <p:nvPr/>
        </p:nvSpPr>
        <p:spPr>
          <a:xfrm>
            <a:off x="8565635" y="3802554"/>
            <a:ext cx="2642608" cy="544235"/>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p>
        </p:txBody>
      </p:sp>
      <p:sp>
        <p:nvSpPr>
          <p:cNvPr id="82" name="object 47">
            <a:extLst>
              <a:ext uri="{FF2B5EF4-FFF2-40B4-BE49-F238E27FC236}">
                <a16:creationId xmlns:a16="http://schemas.microsoft.com/office/drawing/2014/main" id="{F9306217-0C59-48BE-ABE0-34C9D20673B1}"/>
              </a:ext>
            </a:extLst>
          </p:cNvPr>
          <p:cNvSpPr txBox="1"/>
          <p:nvPr/>
        </p:nvSpPr>
        <p:spPr>
          <a:xfrm>
            <a:off x="8201186" y="1506778"/>
            <a:ext cx="3201850" cy="769441"/>
          </a:xfrm>
          <a:prstGeom prst="rect">
            <a:avLst/>
          </a:prstGeom>
        </p:spPr>
        <p:txBody>
          <a:bodyPr vert="horz" wrap="square" lIns="0" tIns="0" rIns="0" bIns="0" rtlCol="0" anchor="ctr"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2" name="object 26">
            <a:extLst>
              <a:ext uri="{FF2B5EF4-FFF2-40B4-BE49-F238E27FC236}">
                <a16:creationId xmlns:a16="http://schemas.microsoft.com/office/drawing/2014/main" id="{E88F7A0E-7164-4328-8DD1-29D890B57A30}"/>
              </a:ext>
            </a:extLst>
          </p:cNvPr>
          <p:cNvSpPr txBox="1"/>
          <p:nvPr/>
        </p:nvSpPr>
        <p:spPr>
          <a:xfrm>
            <a:off x="4475864" y="4966154"/>
            <a:ext cx="885377" cy="311871"/>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3" name="object 28">
            <a:extLst>
              <a:ext uri="{FF2B5EF4-FFF2-40B4-BE49-F238E27FC236}">
                <a16:creationId xmlns:a16="http://schemas.microsoft.com/office/drawing/2014/main" id="{B1414392-0F26-4712-BE19-9B24F0C800E6}"/>
              </a:ext>
            </a:extLst>
          </p:cNvPr>
          <p:cNvSpPr txBox="1"/>
          <p:nvPr/>
        </p:nvSpPr>
        <p:spPr>
          <a:xfrm>
            <a:off x="3783380" y="3572862"/>
            <a:ext cx="969551" cy="291555"/>
          </a:xfrm>
          <a:prstGeom prst="rect">
            <a:avLst/>
          </a:prstGeom>
        </p:spPr>
        <p:txBody>
          <a:bodyPr vert="horz" wrap="square" lIns="0" tIns="0" rIns="0" bIns="0" rtlCol="0">
            <a:noAutofit/>
          </a:bodyPr>
          <a:lstStyle/>
          <a:p>
            <a:pPr marR="5080" indent="11113" algn="ctr">
              <a:lnSpc>
                <a:spcPct val="108300"/>
              </a:lnSpc>
              <a:spcBef>
                <a:spcPts val="100"/>
              </a:spcBef>
            </a:pPr>
            <a:r>
              <a:rPr lang="en-US" sz="1000" b="1" spc="-40" dirty="0">
                <a:solidFill>
                  <a:srgbClr val="000000"/>
                </a:solidFill>
                <a:cs typeface="Palatino Linotype"/>
              </a:rPr>
              <a:t>Lorem ipsum dolor</a:t>
            </a:r>
          </a:p>
        </p:txBody>
      </p:sp>
      <p:sp>
        <p:nvSpPr>
          <p:cNvPr id="134" name="object 47">
            <a:extLst>
              <a:ext uri="{FF2B5EF4-FFF2-40B4-BE49-F238E27FC236}">
                <a16:creationId xmlns:a16="http://schemas.microsoft.com/office/drawing/2014/main" id="{348742B7-AC70-4093-81D6-EDF9167FEA31}"/>
              </a:ext>
            </a:extLst>
          </p:cNvPr>
          <p:cNvSpPr txBox="1"/>
          <p:nvPr/>
        </p:nvSpPr>
        <p:spPr>
          <a:xfrm>
            <a:off x="8565635" y="2672187"/>
            <a:ext cx="2722599" cy="792872"/>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grpSp>
        <p:nvGrpSpPr>
          <p:cNvPr id="4" name="组合 3"/>
          <p:cNvGrpSpPr/>
          <p:nvPr/>
        </p:nvGrpSpPr>
        <p:grpSpPr>
          <a:xfrm>
            <a:off x="5408122" y="2821260"/>
            <a:ext cx="1376078" cy="1376076"/>
            <a:chOff x="-2923522" y="3888762"/>
            <a:chExt cx="1430033" cy="1430031"/>
          </a:xfrm>
        </p:grpSpPr>
        <p:sp>
          <p:nvSpPr>
            <p:cNvPr id="84" name="object 49">
              <a:extLst>
                <a:ext uri="{FF2B5EF4-FFF2-40B4-BE49-F238E27FC236}">
                  <a16:creationId xmlns:a16="http://schemas.microsoft.com/office/drawing/2014/main" id="{C866B7E5-1C22-4A5A-BF35-9C53DF1E7330}"/>
                </a:ext>
              </a:extLst>
            </p:cNvPr>
            <p:cNvSpPr/>
            <p:nvPr/>
          </p:nvSpPr>
          <p:spPr>
            <a:xfrm>
              <a:off x="-2894724" y="3917559"/>
              <a:ext cx="1372438" cy="1372437"/>
            </a:xfrm>
            <a:custGeom>
              <a:avLst/>
              <a:gdLst/>
              <a:ahLst/>
              <a:cxnLst/>
              <a:rect l="l" t="t" r="r" b="b"/>
              <a:pathLst>
                <a:path w="1532254" h="1532254">
                  <a:moveTo>
                    <a:pt x="765975" y="0"/>
                  </a:moveTo>
                  <a:lnTo>
                    <a:pt x="717533" y="1506"/>
                  </a:lnTo>
                  <a:lnTo>
                    <a:pt x="669892" y="5968"/>
                  </a:lnTo>
                  <a:lnTo>
                    <a:pt x="623142" y="13293"/>
                  </a:lnTo>
                  <a:lnTo>
                    <a:pt x="577371" y="23393"/>
                  </a:lnTo>
                  <a:lnTo>
                    <a:pt x="532671" y="36178"/>
                  </a:lnTo>
                  <a:lnTo>
                    <a:pt x="489130" y="51558"/>
                  </a:lnTo>
                  <a:lnTo>
                    <a:pt x="446838" y="69444"/>
                  </a:lnTo>
                  <a:lnTo>
                    <a:pt x="405886" y="89745"/>
                  </a:lnTo>
                  <a:lnTo>
                    <a:pt x="366362" y="112373"/>
                  </a:lnTo>
                  <a:lnTo>
                    <a:pt x="328356" y="137237"/>
                  </a:lnTo>
                  <a:lnTo>
                    <a:pt x="291959" y="164247"/>
                  </a:lnTo>
                  <a:lnTo>
                    <a:pt x="257260" y="193314"/>
                  </a:lnTo>
                  <a:lnTo>
                    <a:pt x="224348" y="224348"/>
                  </a:lnTo>
                  <a:lnTo>
                    <a:pt x="193314" y="257260"/>
                  </a:lnTo>
                  <a:lnTo>
                    <a:pt x="164247" y="291959"/>
                  </a:lnTo>
                  <a:lnTo>
                    <a:pt x="137237" y="328356"/>
                  </a:lnTo>
                  <a:lnTo>
                    <a:pt x="112373" y="366362"/>
                  </a:lnTo>
                  <a:lnTo>
                    <a:pt x="89745" y="405886"/>
                  </a:lnTo>
                  <a:lnTo>
                    <a:pt x="69444" y="446838"/>
                  </a:lnTo>
                  <a:lnTo>
                    <a:pt x="51558" y="489130"/>
                  </a:lnTo>
                  <a:lnTo>
                    <a:pt x="36178" y="532671"/>
                  </a:lnTo>
                  <a:lnTo>
                    <a:pt x="23393" y="577371"/>
                  </a:lnTo>
                  <a:lnTo>
                    <a:pt x="13293" y="623142"/>
                  </a:lnTo>
                  <a:lnTo>
                    <a:pt x="5968" y="669892"/>
                  </a:lnTo>
                  <a:lnTo>
                    <a:pt x="1506" y="717533"/>
                  </a:lnTo>
                  <a:lnTo>
                    <a:pt x="0" y="765975"/>
                  </a:lnTo>
                  <a:lnTo>
                    <a:pt x="1506" y="814416"/>
                  </a:lnTo>
                  <a:lnTo>
                    <a:pt x="5968" y="862057"/>
                  </a:lnTo>
                  <a:lnTo>
                    <a:pt x="13293" y="908807"/>
                  </a:lnTo>
                  <a:lnTo>
                    <a:pt x="23393" y="954578"/>
                  </a:lnTo>
                  <a:lnTo>
                    <a:pt x="36178" y="999278"/>
                  </a:lnTo>
                  <a:lnTo>
                    <a:pt x="51558" y="1042819"/>
                  </a:lnTo>
                  <a:lnTo>
                    <a:pt x="69444" y="1085111"/>
                  </a:lnTo>
                  <a:lnTo>
                    <a:pt x="89745" y="1126064"/>
                  </a:lnTo>
                  <a:lnTo>
                    <a:pt x="112373" y="1165588"/>
                  </a:lnTo>
                  <a:lnTo>
                    <a:pt x="137237" y="1203593"/>
                  </a:lnTo>
                  <a:lnTo>
                    <a:pt x="164247" y="1239990"/>
                  </a:lnTo>
                  <a:lnTo>
                    <a:pt x="193314" y="1274689"/>
                  </a:lnTo>
                  <a:lnTo>
                    <a:pt x="224348" y="1307601"/>
                  </a:lnTo>
                  <a:lnTo>
                    <a:pt x="257260" y="1338635"/>
                  </a:lnTo>
                  <a:lnTo>
                    <a:pt x="291959" y="1367702"/>
                  </a:lnTo>
                  <a:lnTo>
                    <a:pt x="328356" y="1394713"/>
                  </a:lnTo>
                  <a:lnTo>
                    <a:pt x="366362" y="1419576"/>
                  </a:lnTo>
                  <a:lnTo>
                    <a:pt x="405886" y="1442204"/>
                  </a:lnTo>
                  <a:lnTo>
                    <a:pt x="446838" y="1462505"/>
                  </a:lnTo>
                  <a:lnTo>
                    <a:pt x="489130" y="1480391"/>
                  </a:lnTo>
                  <a:lnTo>
                    <a:pt x="532671" y="1495771"/>
                  </a:lnTo>
                  <a:lnTo>
                    <a:pt x="577371" y="1508556"/>
                  </a:lnTo>
                  <a:lnTo>
                    <a:pt x="623142" y="1518656"/>
                  </a:lnTo>
                  <a:lnTo>
                    <a:pt x="669892" y="1525982"/>
                  </a:lnTo>
                  <a:lnTo>
                    <a:pt x="717533" y="1530443"/>
                  </a:lnTo>
                  <a:lnTo>
                    <a:pt x="765975" y="1531950"/>
                  </a:lnTo>
                  <a:lnTo>
                    <a:pt x="814416" y="1530443"/>
                  </a:lnTo>
                  <a:lnTo>
                    <a:pt x="862057" y="1525982"/>
                  </a:lnTo>
                  <a:lnTo>
                    <a:pt x="908807" y="1518656"/>
                  </a:lnTo>
                  <a:lnTo>
                    <a:pt x="954578" y="1508556"/>
                  </a:lnTo>
                  <a:lnTo>
                    <a:pt x="999278" y="1495771"/>
                  </a:lnTo>
                  <a:lnTo>
                    <a:pt x="1042819" y="1480391"/>
                  </a:lnTo>
                  <a:lnTo>
                    <a:pt x="1085111" y="1462505"/>
                  </a:lnTo>
                  <a:lnTo>
                    <a:pt x="1126064" y="1442204"/>
                  </a:lnTo>
                  <a:lnTo>
                    <a:pt x="1165588" y="1419576"/>
                  </a:lnTo>
                  <a:lnTo>
                    <a:pt x="1203593" y="1394713"/>
                  </a:lnTo>
                  <a:lnTo>
                    <a:pt x="1239990" y="1367702"/>
                  </a:lnTo>
                  <a:lnTo>
                    <a:pt x="1274689" y="1338635"/>
                  </a:lnTo>
                  <a:lnTo>
                    <a:pt x="1307601" y="1307601"/>
                  </a:lnTo>
                  <a:lnTo>
                    <a:pt x="1338635" y="1274689"/>
                  </a:lnTo>
                  <a:lnTo>
                    <a:pt x="1367702" y="1239990"/>
                  </a:lnTo>
                  <a:lnTo>
                    <a:pt x="1394713" y="1203593"/>
                  </a:lnTo>
                  <a:lnTo>
                    <a:pt x="1419576" y="1165588"/>
                  </a:lnTo>
                  <a:lnTo>
                    <a:pt x="1442204" y="1126064"/>
                  </a:lnTo>
                  <a:lnTo>
                    <a:pt x="1462505" y="1085111"/>
                  </a:lnTo>
                  <a:lnTo>
                    <a:pt x="1480391" y="1042819"/>
                  </a:lnTo>
                  <a:lnTo>
                    <a:pt x="1495771" y="999278"/>
                  </a:lnTo>
                  <a:lnTo>
                    <a:pt x="1508556" y="954578"/>
                  </a:lnTo>
                  <a:lnTo>
                    <a:pt x="1518656" y="908807"/>
                  </a:lnTo>
                  <a:lnTo>
                    <a:pt x="1525982" y="862057"/>
                  </a:lnTo>
                  <a:lnTo>
                    <a:pt x="1530443" y="814416"/>
                  </a:lnTo>
                  <a:lnTo>
                    <a:pt x="1531950" y="765975"/>
                  </a:lnTo>
                  <a:lnTo>
                    <a:pt x="1530443" y="717533"/>
                  </a:lnTo>
                  <a:lnTo>
                    <a:pt x="1525982" y="669892"/>
                  </a:lnTo>
                  <a:lnTo>
                    <a:pt x="1518656" y="623142"/>
                  </a:lnTo>
                  <a:lnTo>
                    <a:pt x="1508556" y="577371"/>
                  </a:lnTo>
                  <a:lnTo>
                    <a:pt x="1495771" y="532671"/>
                  </a:lnTo>
                  <a:lnTo>
                    <a:pt x="1480391" y="489130"/>
                  </a:lnTo>
                  <a:lnTo>
                    <a:pt x="1462505" y="446838"/>
                  </a:lnTo>
                  <a:lnTo>
                    <a:pt x="1442204" y="405886"/>
                  </a:lnTo>
                  <a:lnTo>
                    <a:pt x="1419576" y="366362"/>
                  </a:lnTo>
                  <a:lnTo>
                    <a:pt x="1394713" y="328356"/>
                  </a:lnTo>
                  <a:lnTo>
                    <a:pt x="1367702" y="291959"/>
                  </a:lnTo>
                  <a:lnTo>
                    <a:pt x="1338635" y="257260"/>
                  </a:lnTo>
                  <a:lnTo>
                    <a:pt x="1307601" y="224348"/>
                  </a:lnTo>
                  <a:lnTo>
                    <a:pt x="1274689" y="193314"/>
                  </a:lnTo>
                  <a:lnTo>
                    <a:pt x="1239990" y="164247"/>
                  </a:lnTo>
                  <a:lnTo>
                    <a:pt x="1203593" y="137237"/>
                  </a:lnTo>
                  <a:lnTo>
                    <a:pt x="1165588" y="112373"/>
                  </a:lnTo>
                  <a:lnTo>
                    <a:pt x="1126064" y="89745"/>
                  </a:lnTo>
                  <a:lnTo>
                    <a:pt x="1085111" y="69444"/>
                  </a:lnTo>
                  <a:lnTo>
                    <a:pt x="1042819" y="51558"/>
                  </a:lnTo>
                  <a:lnTo>
                    <a:pt x="999278" y="36178"/>
                  </a:lnTo>
                  <a:lnTo>
                    <a:pt x="954578" y="23393"/>
                  </a:lnTo>
                  <a:lnTo>
                    <a:pt x="908807" y="13293"/>
                  </a:lnTo>
                  <a:lnTo>
                    <a:pt x="862057" y="5968"/>
                  </a:lnTo>
                  <a:lnTo>
                    <a:pt x="814416" y="1506"/>
                  </a:lnTo>
                  <a:lnTo>
                    <a:pt x="765975" y="0"/>
                  </a:lnTo>
                  <a:close/>
                </a:path>
              </a:pathLst>
            </a:custGeom>
            <a:solidFill>
              <a:schemeClr val="bg1">
                <a:lumMod val="85000"/>
              </a:schemeClr>
            </a:solidFill>
          </p:spPr>
          <p:txBody>
            <a:bodyPr wrap="square" lIns="0" tIns="0" rIns="0" bIns="0" rtlCol="0"/>
            <a:lstStyle/>
            <a:p>
              <a:endParaRPr/>
            </a:p>
          </p:txBody>
        </p:sp>
        <p:sp>
          <p:nvSpPr>
            <p:cNvPr id="86" name="object 52">
              <a:extLst>
                <a:ext uri="{FF2B5EF4-FFF2-40B4-BE49-F238E27FC236}">
                  <a16:creationId xmlns:a16="http://schemas.microsoft.com/office/drawing/2014/main" id="{91CA42A3-7B3E-4E0B-80F1-951488D6817B}"/>
                </a:ext>
              </a:extLst>
            </p:cNvPr>
            <p:cNvSpPr/>
            <p:nvPr/>
          </p:nvSpPr>
          <p:spPr>
            <a:xfrm>
              <a:off x="-2923522" y="3888762"/>
              <a:ext cx="1430033" cy="1430031"/>
            </a:xfrm>
            <a:custGeom>
              <a:avLst/>
              <a:gdLst/>
              <a:ahLst/>
              <a:cxnLst/>
              <a:rect l="l" t="t" r="r" b="b"/>
              <a:pathLst>
                <a:path w="1532254" h="1532254">
                  <a:moveTo>
                    <a:pt x="765975" y="1531950"/>
                  </a:moveTo>
                  <a:lnTo>
                    <a:pt x="814416" y="1530443"/>
                  </a:lnTo>
                  <a:lnTo>
                    <a:pt x="862057" y="1525982"/>
                  </a:lnTo>
                  <a:lnTo>
                    <a:pt x="908807" y="1518656"/>
                  </a:lnTo>
                  <a:lnTo>
                    <a:pt x="954578" y="1508556"/>
                  </a:lnTo>
                  <a:lnTo>
                    <a:pt x="999278" y="1495771"/>
                  </a:lnTo>
                  <a:lnTo>
                    <a:pt x="1042819" y="1480391"/>
                  </a:lnTo>
                  <a:lnTo>
                    <a:pt x="1085111" y="1462505"/>
                  </a:lnTo>
                  <a:lnTo>
                    <a:pt x="1126064" y="1442204"/>
                  </a:lnTo>
                  <a:lnTo>
                    <a:pt x="1165588" y="1419576"/>
                  </a:lnTo>
                  <a:lnTo>
                    <a:pt x="1203593" y="1394713"/>
                  </a:lnTo>
                  <a:lnTo>
                    <a:pt x="1239990" y="1367702"/>
                  </a:lnTo>
                  <a:lnTo>
                    <a:pt x="1274689" y="1338635"/>
                  </a:lnTo>
                  <a:lnTo>
                    <a:pt x="1307601" y="1307601"/>
                  </a:lnTo>
                  <a:lnTo>
                    <a:pt x="1338635" y="1274689"/>
                  </a:lnTo>
                  <a:lnTo>
                    <a:pt x="1367702" y="1239990"/>
                  </a:lnTo>
                  <a:lnTo>
                    <a:pt x="1394713" y="1203593"/>
                  </a:lnTo>
                  <a:lnTo>
                    <a:pt x="1419576" y="1165588"/>
                  </a:lnTo>
                  <a:lnTo>
                    <a:pt x="1442204" y="1126064"/>
                  </a:lnTo>
                  <a:lnTo>
                    <a:pt x="1462505" y="1085111"/>
                  </a:lnTo>
                  <a:lnTo>
                    <a:pt x="1480391" y="1042819"/>
                  </a:lnTo>
                  <a:lnTo>
                    <a:pt x="1495771" y="999278"/>
                  </a:lnTo>
                  <a:lnTo>
                    <a:pt x="1508556" y="954578"/>
                  </a:lnTo>
                  <a:lnTo>
                    <a:pt x="1518656" y="908807"/>
                  </a:lnTo>
                  <a:lnTo>
                    <a:pt x="1525982" y="862057"/>
                  </a:lnTo>
                  <a:lnTo>
                    <a:pt x="1530443" y="814416"/>
                  </a:lnTo>
                  <a:lnTo>
                    <a:pt x="1531950" y="765975"/>
                  </a:lnTo>
                  <a:lnTo>
                    <a:pt x="1530443" y="717533"/>
                  </a:lnTo>
                  <a:lnTo>
                    <a:pt x="1525982" y="669892"/>
                  </a:lnTo>
                  <a:lnTo>
                    <a:pt x="1518656" y="623142"/>
                  </a:lnTo>
                  <a:lnTo>
                    <a:pt x="1508556" y="577371"/>
                  </a:lnTo>
                  <a:lnTo>
                    <a:pt x="1495771" y="532671"/>
                  </a:lnTo>
                  <a:lnTo>
                    <a:pt x="1480391" y="489130"/>
                  </a:lnTo>
                  <a:lnTo>
                    <a:pt x="1462505" y="446838"/>
                  </a:lnTo>
                  <a:lnTo>
                    <a:pt x="1442204" y="405886"/>
                  </a:lnTo>
                  <a:lnTo>
                    <a:pt x="1419576" y="366362"/>
                  </a:lnTo>
                  <a:lnTo>
                    <a:pt x="1394713" y="328356"/>
                  </a:lnTo>
                  <a:lnTo>
                    <a:pt x="1367702" y="291959"/>
                  </a:lnTo>
                  <a:lnTo>
                    <a:pt x="1338635" y="257260"/>
                  </a:lnTo>
                  <a:lnTo>
                    <a:pt x="1307601" y="224348"/>
                  </a:lnTo>
                  <a:lnTo>
                    <a:pt x="1274689" y="193314"/>
                  </a:lnTo>
                  <a:lnTo>
                    <a:pt x="1239990" y="164247"/>
                  </a:lnTo>
                  <a:lnTo>
                    <a:pt x="1203593" y="137237"/>
                  </a:lnTo>
                  <a:lnTo>
                    <a:pt x="1165588" y="112373"/>
                  </a:lnTo>
                  <a:lnTo>
                    <a:pt x="1126064" y="89745"/>
                  </a:lnTo>
                  <a:lnTo>
                    <a:pt x="1085111" y="69444"/>
                  </a:lnTo>
                  <a:lnTo>
                    <a:pt x="1042819" y="51558"/>
                  </a:lnTo>
                  <a:lnTo>
                    <a:pt x="999278" y="36178"/>
                  </a:lnTo>
                  <a:lnTo>
                    <a:pt x="954578" y="23393"/>
                  </a:lnTo>
                  <a:lnTo>
                    <a:pt x="908807" y="13293"/>
                  </a:lnTo>
                  <a:lnTo>
                    <a:pt x="862057" y="5968"/>
                  </a:lnTo>
                  <a:lnTo>
                    <a:pt x="814416" y="1506"/>
                  </a:lnTo>
                  <a:lnTo>
                    <a:pt x="765975" y="0"/>
                  </a:lnTo>
                  <a:lnTo>
                    <a:pt x="717533" y="1506"/>
                  </a:lnTo>
                  <a:lnTo>
                    <a:pt x="669892" y="5968"/>
                  </a:lnTo>
                  <a:lnTo>
                    <a:pt x="623142" y="13293"/>
                  </a:lnTo>
                  <a:lnTo>
                    <a:pt x="577371" y="23393"/>
                  </a:lnTo>
                  <a:lnTo>
                    <a:pt x="532671" y="36178"/>
                  </a:lnTo>
                  <a:lnTo>
                    <a:pt x="489130" y="51558"/>
                  </a:lnTo>
                  <a:lnTo>
                    <a:pt x="446838" y="69444"/>
                  </a:lnTo>
                  <a:lnTo>
                    <a:pt x="405886" y="89745"/>
                  </a:lnTo>
                  <a:lnTo>
                    <a:pt x="366362" y="112373"/>
                  </a:lnTo>
                  <a:lnTo>
                    <a:pt x="328356" y="137237"/>
                  </a:lnTo>
                  <a:lnTo>
                    <a:pt x="291959" y="164247"/>
                  </a:lnTo>
                  <a:lnTo>
                    <a:pt x="257260" y="193314"/>
                  </a:lnTo>
                  <a:lnTo>
                    <a:pt x="224348" y="224348"/>
                  </a:lnTo>
                  <a:lnTo>
                    <a:pt x="193314" y="257260"/>
                  </a:lnTo>
                  <a:lnTo>
                    <a:pt x="164247" y="291959"/>
                  </a:lnTo>
                  <a:lnTo>
                    <a:pt x="137237" y="328356"/>
                  </a:lnTo>
                  <a:lnTo>
                    <a:pt x="112373" y="366362"/>
                  </a:lnTo>
                  <a:lnTo>
                    <a:pt x="89745" y="405886"/>
                  </a:lnTo>
                  <a:lnTo>
                    <a:pt x="69444" y="446838"/>
                  </a:lnTo>
                  <a:lnTo>
                    <a:pt x="51558" y="489130"/>
                  </a:lnTo>
                  <a:lnTo>
                    <a:pt x="36178" y="532671"/>
                  </a:lnTo>
                  <a:lnTo>
                    <a:pt x="23393" y="577371"/>
                  </a:lnTo>
                  <a:lnTo>
                    <a:pt x="13293" y="623142"/>
                  </a:lnTo>
                  <a:lnTo>
                    <a:pt x="5968" y="669892"/>
                  </a:lnTo>
                  <a:lnTo>
                    <a:pt x="1506" y="717533"/>
                  </a:lnTo>
                  <a:lnTo>
                    <a:pt x="0" y="765975"/>
                  </a:lnTo>
                  <a:lnTo>
                    <a:pt x="1506" y="814416"/>
                  </a:lnTo>
                  <a:lnTo>
                    <a:pt x="5968" y="862057"/>
                  </a:lnTo>
                  <a:lnTo>
                    <a:pt x="13293" y="908807"/>
                  </a:lnTo>
                  <a:lnTo>
                    <a:pt x="23393" y="954578"/>
                  </a:lnTo>
                  <a:lnTo>
                    <a:pt x="36178" y="999278"/>
                  </a:lnTo>
                  <a:lnTo>
                    <a:pt x="51558" y="1042819"/>
                  </a:lnTo>
                  <a:lnTo>
                    <a:pt x="69444" y="1085111"/>
                  </a:lnTo>
                  <a:lnTo>
                    <a:pt x="89745" y="1126064"/>
                  </a:lnTo>
                  <a:lnTo>
                    <a:pt x="112373" y="1165588"/>
                  </a:lnTo>
                  <a:lnTo>
                    <a:pt x="137237" y="1203593"/>
                  </a:lnTo>
                  <a:lnTo>
                    <a:pt x="164247" y="1239990"/>
                  </a:lnTo>
                  <a:lnTo>
                    <a:pt x="193314" y="1274689"/>
                  </a:lnTo>
                  <a:lnTo>
                    <a:pt x="224348" y="1307601"/>
                  </a:lnTo>
                  <a:lnTo>
                    <a:pt x="257260" y="1338635"/>
                  </a:lnTo>
                  <a:lnTo>
                    <a:pt x="291959" y="1367702"/>
                  </a:lnTo>
                  <a:lnTo>
                    <a:pt x="328356" y="1394713"/>
                  </a:lnTo>
                  <a:lnTo>
                    <a:pt x="366362" y="1419576"/>
                  </a:lnTo>
                  <a:lnTo>
                    <a:pt x="405886" y="1442204"/>
                  </a:lnTo>
                  <a:lnTo>
                    <a:pt x="446838" y="1462505"/>
                  </a:lnTo>
                  <a:lnTo>
                    <a:pt x="489130" y="1480391"/>
                  </a:lnTo>
                  <a:lnTo>
                    <a:pt x="532671" y="1495771"/>
                  </a:lnTo>
                  <a:lnTo>
                    <a:pt x="577371" y="1508556"/>
                  </a:lnTo>
                  <a:lnTo>
                    <a:pt x="623142" y="1518656"/>
                  </a:lnTo>
                  <a:lnTo>
                    <a:pt x="669892" y="1525982"/>
                  </a:lnTo>
                  <a:lnTo>
                    <a:pt x="717533" y="1530443"/>
                  </a:lnTo>
                  <a:lnTo>
                    <a:pt x="765975" y="1531950"/>
                  </a:lnTo>
                  <a:close/>
                </a:path>
              </a:pathLst>
            </a:custGeom>
            <a:ln w="12700">
              <a:solidFill>
                <a:schemeClr val="bg1">
                  <a:lumMod val="85000"/>
                </a:schemeClr>
              </a:solidFill>
            </a:ln>
          </p:spPr>
          <p:txBody>
            <a:bodyPr wrap="square" lIns="0" tIns="0" rIns="0" bIns="0" rtlCol="0"/>
            <a:lstStyle/>
            <a:p>
              <a:endParaRPr/>
            </a:p>
          </p:txBody>
        </p:sp>
        <p:grpSp>
          <p:nvGrpSpPr>
            <p:cNvPr id="135" name="Group 134">
              <a:extLst>
                <a:ext uri="{FF2B5EF4-FFF2-40B4-BE49-F238E27FC236}">
                  <a16:creationId xmlns:a16="http://schemas.microsoft.com/office/drawing/2014/main" id="{2F9C83CD-FD3E-4BC5-8F09-188F5E894EDC}"/>
                </a:ext>
              </a:extLst>
            </p:cNvPr>
            <p:cNvGrpSpPr>
              <a:grpSpLocks noChangeAspect="1"/>
            </p:cNvGrpSpPr>
            <p:nvPr/>
          </p:nvGrpSpPr>
          <p:grpSpPr>
            <a:xfrm>
              <a:off x="-2590846" y="4222599"/>
              <a:ext cx="764683" cy="762357"/>
              <a:chOff x="3198813" y="842963"/>
              <a:chExt cx="522288" cy="520700"/>
            </a:xfrm>
            <a:solidFill>
              <a:schemeClr val="bg1">
                <a:lumMod val="65000"/>
              </a:schemeClr>
            </a:solidFill>
          </p:grpSpPr>
          <p:sp>
            <p:nvSpPr>
              <p:cNvPr id="136" name="Freeform 13">
                <a:extLst>
                  <a:ext uri="{FF2B5EF4-FFF2-40B4-BE49-F238E27FC236}">
                    <a16:creationId xmlns:a16="http://schemas.microsoft.com/office/drawing/2014/main" id="{EA174E26-BEC5-4C8F-BEAA-4A228860BEA3}"/>
                  </a:ext>
                </a:extLst>
              </p:cNvPr>
              <p:cNvSpPr>
                <a:spLocks noEditPoints="1"/>
              </p:cNvSpPr>
              <p:nvPr/>
            </p:nvSpPr>
            <p:spPr bwMode="auto">
              <a:xfrm>
                <a:off x="3198813" y="842963"/>
                <a:ext cx="522288" cy="520700"/>
              </a:xfrm>
              <a:custGeom>
                <a:avLst/>
                <a:gdLst>
                  <a:gd name="T0" fmla="*/ 312 w 659"/>
                  <a:gd name="T1" fmla="*/ 657 h 657"/>
                  <a:gd name="T2" fmla="*/ 262 w 659"/>
                  <a:gd name="T3" fmla="*/ 650 h 657"/>
                  <a:gd name="T4" fmla="*/ 202 w 659"/>
                  <a:gd name="T5" fmla="*/ 631 h 657"/>
                  <a:gd name="T6" fmla="*/ 120 w 659"/>
                  <a:gd name="T7" fmla="*/ 581 h 657"/>
                  <a:gd name="T8" fmla="*/ 57 w 659"/>
                  <a:gd name="T9" fmla="*/ 511 h 657"/>
                  <a:gd name="T10" fmla="*/ 15 w 659"/>
                  <a:gd name="T11" fmla="*/ 425 h 657"/>
                  <a:gd name="T12" fmla="*/ 5 w 659"/>
                  <a:gd name="T13" fmla="*/ 377 h 657"/>
                  <a:gd name="T14" fmla="*/ 0 w 659"/>
                  <a:gd name="T15" fmla="*/ 327 h 657"/>
                  <a:gd name="T16" fmla="*/ 2 w 659"/>
                  <a:gd name="T17" fmla="*/ 294 h 657"/>
                  <a:gd name="T18" fmla="*/ 11 w 659"/>
                  <a:gd name="T19" fmla="*/ 245 h 657"/>
                  <a:gd name="T20" fmla="*/ 41 w 659"/>
                  <a:gd name="T21" fmla="*/ 172 h 657"/>
                  <a:gd name="T22" fmla="*/ 97 w 659"/>
                  <a:gd name="T23" fmla="*/ 95 h 657"/>
                  <a:gd name="T24" fmla="*/ 172 w 659"/>
                  <a:gd name="T25" fmla="*/ 38 h 657"/>
                  <a:gd name="T26" fmla="*/ 248 w 659"/>
                  <a:gd name="T27" fmla="*/ 9 h 657"/>
                  <a:gd name="T28" fmla="*/ 296 w 659"/>
                  <a:gd name="T29" fmla="*/ 1 h 657"/>
                  <a:gd name="T30" fmla="*/ 330 w 659"/>
                  <a:gd name="T31" fmla="*/ 0 h 657"/>
                  <a:gd name="T32" fmla="*/ 379 w 659"/>
                  <a:gd name="T33" fmla="*/ 2 h 657"/>
                  <a:gd name="T34" fmla="*/ 426 w 659"/>
                  <a:gd name="T35" fmla="*/ 14 h 657"/>
                  <a:gd name="T36" fmla="*/ 514 w 659"/>
                  <a:gd name="T37" fmla="*/ 55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5 h 657"/>
                  <a:gd name="T52" fmla="*/ 583 w 659"/>
                  <a:gd name="T53" fmla="*/ 537 h 657"/>
                  <a:gd name="T54" fmla="*/ 514 w 659"/>
                  <a:gd name="T55" fmla="*/ 600 h 657"/>
                  <a:gd name="T56" fmla="*/ 426 w 659"/>
                  <a:gd name="T57" fmla="*/ 642 h 657"/>
                  <a:gd name="T58" fmla="*/ 379 w 659"/>
                  <a:gd name="T59" fmla="*/ 653 h 657"/>
                  <a:gd name="T60" fmla="*/ 330 w 659"/>
                  <a:gd name="T61" fmla="*/ 657 h 657"/>
                  <a:gd name="T62" fmla="*/ 330 w 659"/>
                  <a:gd name="T63" fmla="*/ 37 h 657"/>
                  <a:gd name="T64" fmla="*/ 242 w 659"/>
                  <a:gd name="T65" fmla="*/ 49 h 657"/>
                  <a:gd name="T66" fmla="*/ 167 w 659"/>
                  <a:gd name="T67" fmla="*/ 87 h 657"/>
                  <a:gd name="T68" fmla="*/ 105 w 659"/>
                  <a:gd name="T69" fmla="*/ 142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69 h 657"/>
                  <a:gd name="T82" fmla="*/ 242 w 659"/>
                  <a:gd name="T83" fmla="*/ 605 h 657"/>
                  <a:gd name="T84" fmla="*/ 330 w 659"/>
                  <a:gd name="T85" fmla="*/ 619 h 657"/>
                  <a:gd name="T86" fmla="*/ 387 w 659"/>
                  <a:gd name="T87" fmla="*/ 614 h 657"/>
                  <a:gd name="T88" fmla="*/ 468 w 659"/>
                  <a:gd name="T89" fmla="*/ 584 h 657"/>
                  <a:gd name="T90" fmla="*/ 535 w 659"/>
                  <a:gd name="T91" fmla="*/ 533 h 657"/>
                  <a:gd name="T92" fmla="*/ 585 w 659"/>
                  <a:gd name="T93" fmla="*/ 467 h 657"/>
                  <a:gd name="T94" fmla="*/ 614 w 659"/>
                  <a:gd name="T95" fmla="*/ 386 h 657"/>
                  <a:gd name="T96" fmla="*/ 621 w 659"/>
                  <a:gd name="T97" fmla="*/ 327 h 657"/>
                  <a:gd name="T98" fmla="*/ 608 w 659"/>
                  <a:gd name="T99" fmla="*/ 241 h 657"/>
                  <a:gd name="T100" fmla="*/ 570 w 659"/>
                  <a:gd name="T101" fmla="*/ 165 h 657"/>
                  <a:gd name="T102" fmla="*/ 515 w 659"/>
                  <a:gd name="T103" fmla="*/ 103 h 657"/>
                  <a:gd name="T104" fmla="*/ 442 w 659"/>
                  <a:gd name="T105" fmla="*/ 60 h 657"/>
                  <a:gd name="T106" fmla="*/ 359 w 659"/>
                  <a:gd name="T107" fmla="*/ 38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5"/>
                    </a:lnTo>
                    <a:lnTo>
                      <a:pt x="280" y="653"/>
                    </a:lnTo>
                    <a:lnTo>
                      <a:pt x="262" y="650"/>
                    </a:lnTo>
                    <a:lnTo>
                      <a:pt x="248" y="646"/>
                    </a:lnTo>
                    <a:lnTo>
                      <a:pt x="232" y="642"/>
                    </a:lnTo>
                    <a:lnTo>
                      <a:pt x="202" y="631"/>
                    </a:lnTo>
                    <a:lnTo>
                      <a:pt x="172" y="616"/>
                    </a:lnTo>
                    <a:lnTo>
                      <a:pt x="146" y="600"/>
                    </a:lnTo>
                    <a:lnTo>
                      <a:pt x="120" y="581"/>
                    </a:lnTo>
                    <a:lnTo>
                      <a:pt x="97" y="560"/>
                    </a:lnTo>
                    <a:lnTo>
                      <a:pt x="76" y="537"/>
                    </a:lnTo>
                    <a:lnTo>
                      <a:pt x="57" y="511"/>
                    </a:lnTo>
                    <a:lnTo>
                      <a:pt x="41" y="485"/>
                    </a:lnTo>
                    <a:lnTo>
                      <a:pt x="26" y="455"/>
                    </a:lnTo>
                    <a:lnTo>
                      <a:pt x="15" y="425"/>
                    </a:lnTo>
                    <a:lnTo>
                      <a:pt x="11" y="409"/>
                    </a:lnTo>
                    <a:lnTo>
                      <a:pt x="7" y="395"/>
                    </a:lnTo>
                    <a:lnTo>
                      <a:pt x="5" y="377"/>
                    </a:lnTo>
                    <a:lnTo>
                      <a:pt x="2" y="361"/>
                    </a:lnTo>
                    <a:lnTo>
                      <a:pt x="0" y="345"/>
                    </a:lnTo>
                    <a:lnTo>
                      <a:pt x="0" y="327"/>
                    </a:lnTo>
                    <a:lnTo>
                      <a:pt x="0" y="327"/>
                    </a:lnTo>
                    <a:lnTo>
                      <a:pt x="0" y="311"/>
                    </a:lnTo>
                    <a:lnTo>
                      <a:pt x="2" y="294"/>
                    </a:lnTo>
                    <a:lnTo>
                      <a:pt x="5" y="278"/>
                    </a:lnTo>
                    <a:lnTo>
                      <a:pt x="7" y="262"/>
                    </a:lnTo>
                    <a:lnTo>
                      <a:pt x="11" y="245"/>
                    </a:lnTo>
                    <a:lnTo>
                      <a:pt x="15" y="231"/>
                    </a:lnTo>
                    <a:lnTo>
                      <a:pt x="26" y="200"/>
                    </a:lnTo>
                    <a:lnTo>
                      <a:pt x="41" y="172"/>
                    </a:lnTo>
                    <a:lnTo>
                      <a:pt x="57" y="145"/>
                    </a:lnTo>
                    <a:lnTo>
                      <a:pt x="76" y="119"/>
                    </a:lnTo>
                    <a:lnTo>
                      <a:pt x="97" y="95"/>
                    </a:lnTo>
                    <a:lnTo>
                      <a:pt x="120" y="73"/>
                    </a:lnTo>
                    <a:lnTo>
                      <a:pt x="146" y="55"/>
                    </a:lnTo>
                    <a:lnTo>
                      <a:pt x="172" y="38"/>
                    </a:lnTo>
                    <a:lnTo>
                      <a:pt x="202" y="25"/>
                    </a:lnTo>
                    <a:lnTo>
                      <a:pt x="232" y="14"/>
                    </a:lnTo>
                    <a:lnTo>
                      <a:pt x="248" y="9"/>
                    </a:lnTo>
                    <a:lnTo>
                      <a:pt x="262" y="5"/>
                    </a:lnTo>
                    <a:lnTo>
                      <a:pt x="280" y="2"/>
                    </a:lnTo>
                    <a:lnTo>
                      <a:pt x="296" y="1"/>
                    </a:lnTo>
                    <a:lnTo>
                      <a:pt x="312" y="0"/>
                    </a:lnTo>
                    <a:lnTo>
                      <a:pt x="330" y="0"/>
                    </a:lnTo>
                    <a:lnTo>
                      <a:pt x="330" y="0"/>
                    </a:lnTo>
                    <a:lnTo>
                      <a:pt x="346" y="0"/>
                    </a:lnTo>
                    <a:lnTo>
                      <a:pt x="363" y="1"/>
                    </a:lnTo>
                    <a:lnTo>
                      <a:pt x="379" y="2"/>
                    </a:lnTo>
                    <a:lnTo>
                      <a:pt x="395" y="5"/>
                    </a:lnTo>
                    <a:lnTo>
                      <a:pt x="412" y="9"/>
                    </a:lnTo>
                    <a:lnTo>
                      <a:pt x="426" y="14"/>
                    </a:lnTo>
                    <a:lnTo>
                      <a:pt x="457" y="25"/>
                    </a:lnTo>
                    <a:lnTo>
                      <a:pt x="485" y="38"/>
                    </a:lnTo>
                    <a:lnTo>
                      <a:pt x="514" y="55"/>
                    </a:lnTo>
                    <a:lnTo>
                      <a:pt x="538" y="73"/>
                    </a:lnTo>
                    <a:lnTo>
                      <a:pt x="562" y="95"/>
                    </a:lnTo>
                    <a:lnTo>
                      <a:pt x="583" y="119"/>
                    </a:lnTo>
                    <a:lnTo>
                      <a:pt x="602" y="145"/>
                    </a:lnTo>
                    <a:lnTo>
                      <a:pt x="618" y="172"/>
                    </a:lnTo>
                    <a:lnTo>
                      <a:pt x="632" y="200"/>
                    </a:lnTo>
                    <a:lnTo>
                      <a:pt x="644" y="231"/>
                    </a:lnTo>
                    <a:lnTo>
                      <a:pt x="648" y="245"/>
                    </a:lnTo>
                    <a:lnTo>
                      <a:pt x="652" y="262"/>
                    </a:lnTo>
                    <a:lnTo>
                      <a:pt x="655" y="278"/>
                    </a:lnTo>
                    <a:lnTo>
                      <a:pt x="656" y="294"/>
                    </a:lnTo>
                    <a:lnTo>
                      <a:pt x="657" y="311"/>
                    </a:lnTo>
                    <a:lnTo>
                      <a:pt x="659" y="327"/>
                    </a:lnTo>
                    <a:lnTo>
                      <a:pt x="659" y="327"/>
                    </a:lnTo>
                    <a:lnTo>
                      <a:pt x="657" y="345"/>
                    </a:lnTo>
                    <a:lnTo>
                      <a:pt x="656" y="361"/>
                    </a:lnTo>
                    <a:lnTo>
                      <a:pt x="655" y="377"/>
                    </a:lnTo>
                    <a:lnTo>
                      <a:pt x="652" y="395"/>
                    </a:lnTo>
                    <a:lnTo>
                      <a:pt x="648" y="409"/>
                    </a:lnTo>
                    <a:lnTo>
                      <a:pt x="644" y="425"/>
                    </a:lnTo>
                    <a:lnTo>
                      <a:pt x="632" y="455"/>
                    </a:lnTo>
                    <a:lnTo>
                      <a:pt x="618" y="485"/>
                    </a:lnTo>
                    <a:lnTo>
                      <a:pt x="602" y="511"/>
                    </a:lnTo>
                    <a:lnTo>
                      <a:pt x="583" y="537"/>
                    </a:lnTo>
                    <a:lnTo>
                      <a:pt x="562" y="560"/>
                    </a:lnTo>
                    <a:lnTo>
                      <a:pt x="538" y="581"/>
                    </a:lnTo>
                    <a:lnTo>
                      <a:pt x="514" y="600"/>
                    </a:lnTo>
                    <a:lnTo>
                      <a:pt x="485" y="616"/>
                    </a:lnTo>
                    <a:lnTo>
                      <a:pt x="457" y="631"/>
                    </a:lnTo>
                    <a:lnTo>
                      <a:pt x="426" y="642"/>
                    </a:lnTo>
                    <a:lnTo>
                      <a:pt x="412" y="646"/>
                    </a:lnTo>
                    <a:lnTo>
                      <a:pt x="395" y="650"/>
                    </a:lnTo>
                    <a:lnTo>
                      <a:pt x="379" y="653"/>
                    </a:lnTo>
                    <a:lnTo>
                      <a:pt x="363" y="655"/>
                    </a:lnTo>
                    <a:lnTo>
                      <a:pt x="346" y="657"/>
                    </a:lnTo>
                    <a:lnTo>
                      <a:pt x="330" y="657"/>
                    </a:lnTo>
                    <a:lnTo>
                      <a:pt x="330" y="657"/>
                    </a:lnTo>
                    <a:close/>
                    <a:moveTo>
                      <a:pt x="330" y="37"/>
                    </a:moveTo>
                    <a:lnTo>
                      <a:pt x="330" y="37"/>
                    </a:lnTo>
                    <a:lnTo>
                      <a:pt x="300" y="38"/>
                    </a:lnTo>
                    <a:lnTo>
                      <a:pt x="270" y="43"/>
                    </a:lnTo>
                    <a:lnTo>
                      <a:pt x="242" y="49"/>
                    </a:lnTo>
                    <a:lnTo>
                      <a:pt x="215" y="60"/>
                    </a:lnTo>
                    <a:lnTo>
                      <a:pt x="191" y="72"/>
                    </a:lnTo>
                    <a:lnTo>
                      <a:pt x="167" y="87"/>
                    </a:lnTo>
                    <a:lnTo>
                      <a:pt x="144" y="103"/>
                    </a:lnTo>
                    <a:lnTo>
                      <a:pt x="124" y="122"/>
                    </a:lnTo>
                    <a:lnTo>
                      <a:pt x="105" y="142"/>
                    </a:lnTo>
                    <a:lnTo>
                      <a:pt x="88" y="165"/>
                    </a:lnTo>
                    <a:lnTo>
                      <a:pt x="73" y="189"/>
                    </a:lnTo>
                    <a:lnTo>
                      <a:pt x="61" y="215"/>
                    </a:lnTo>
                    <a:lnTo>
                      <a:pt x="52" y="241"/>
                    </a:lnTo>
                    <a:lnTo>
                      <a:pt x="43" y="270"/>
                    </a:lnTo>
                    <a:lnTo>
                      <a:pt x="39" y="298"/>
                    </a:lnTo>
                    <a:lnTo>
                      <a:pt x="38" y="327"/>
                    </a:lnTo>
                    <a:lnTo>
                      <a:pt x="38" y="327"/>
                    </a:lnTo>
                    <a:lnTo>
                      <a:pt x="39" y="357"/>
                    </a:lnTo>
                    <a:lnTo>
                      <a:pt x="43" y="386"/>
                    </a:lnTo>
                    <a:lnTo>
                      <a:pt x="52" y="415"/>
                    </a:lnTo>
                    <a:lnTo>
                      <a:pt x="61" y="442"/>
                    </a:lnTo>
                    <a:lnTo>
                      <a:pt x="73" y="467"/>
                    </a:lnTo>
                    <a:lnTo>
                      <a:pt x="88" y="490"/>
                    </a:lnTo>
                    <a:lnTo>
                      <a:pt x="105" y="513"/>
                    </a:lnTo>
                    <a:lnTo>
                      <a:pt x="124" y="533"/>
                    </a:lnTo>
                    <a:lnTo>
                      <a:pt x="144" y="552"/>
                    </a:lnTo>
                    <a:lnTo>
                      <a:pt x="167" y="569"/>
                    </a:lnTo>
                    <a:lnTo>
                      <a:pt x="191" y="584"/>
                    </a:lnTo>
                    <a:lnTo>
                      <a:pt x="215" y="596"/>
                    </a:lnTo>
                    <a:lnTo>
                      <a:pt x="242" y="605"/>
                    </a:lnTo>
                    <a:lnTo>
                      <a:pt x="270" y="614"/>
                    </a:lnTo>
                    <a:lnTo>
                      <a:pt x="300" y="618"/>
                    </a:lnTo>
                    <a:lnTo>
                      <a:pt x="330" y="619"/>
                    </a:lnTo>
                    <a:lnTo>
                      <a:pt x="330" y="619"/>
                    </a:lnTo>
                    <a:lnTo>
                      <a:pt x="359" y="618"/>
                    </a:lnTo>
                    <a:lnTo>
                      <a:pt x="387" y="614"/>
                    </a:lnTo>
                    <a:lnTo>
                      <a:pt x="416" y="605"/>
                    </a:lnTo>
                    <a:lnTo>
                      <a:pt x="442" y="596"/>
                    </a:lnTo>
                    <a:lnTo>
                      <a:pt x="468" y="584"/>
                    </a:lnTo>
                    <a:lnTo>
                      <a:pt x="492" y="569"/>
                    </a:lnTo>
                    <a:lnTo>
                      <a:pt x="515" y="552"/>
                    </a:lnTo>
                    <a:lnTo>
                      <a:pt x="535" y="533"/>
                    </a:lnTo>
                    <a:lnTo>
                      <a:pt x="554" y="513"/>
                    </a:lnTo>
                    <a:lnTo>
                      <a:pt x="570" y="490"/>
                    </a:lnTo>
                    <a:lnTo>
                      <a:pt x="585" y="467"/>
                    </a:lnTo>
                    <a:lnTo>
                      <a:pt x="597" y="442"/>
                    </a:lnTo>
                    <a:lnTo>
                      <a:pt x="608" y="415"/>
                    </a:lnTo>
                    <a:lnTo>
                      <a:pt x="614" y="386"/>
                    </a:lnTo>
                    <a:lnTo>
                      <a:pt x="618" y="357"/>
                    </a:lnTo>
                    <a:lnTo>
                      <a:pt x="621" y="327"/>
                    </a:lnTo>
                    <a:lnTo>
                      <a:pt x="621" y="327"/>
                    </a:lnTo>
                    <a:lnTo>
                      <a:pt x="618" y="298"/>
                    </a:lnTo>
                    <a:lnTo>
                      <a:pt x="614" y="270"/>
                    </a:lnTo>
                    <a:lnTo>
                      <a:pt x="608" y="241"/>
                    </a:lnTo>
                    <a:lnTo>
                      <a:pt x="597" y="215"/>
                    </a:lnTo>
                    <a:lnTo>
                      <a:pt x="585" y="189"/>
                    </a:lnTo>
                    <a:lnTo>
                      <a:pt x="570" y="165"/>
                    </a:lnTo>
                    <a:lnTo>
                      <a:pt x="554" y="142"/>
                    </a:lnTo>
                    <a:lnTo>
                      <a:pt x="535" y="122"/>
                    </a:lnTo>
                    <a:lnTo>
                      <a:pt x="515" y="103"/>
                    </a:lnTo>
                    <a:lnTo>
                      <a:pt x="492" y="87"/>
                    </a:lnTo>
                    <a:lnTo>
                      <a:pt x="468" y="72"/>
                    </a:lnTo>
                    <a:lnTo>
                      <a:pt x="442" y="60"/>
                    </a:lnTo>
                    <a:lnTo>
                      <a:pt x="416" y="49"/>
                    </a:lnTo>
                    <a:lnTo>
                      <a:pt x="387" y="43"/>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46">
                <a:extLst>
                  <a:ext uri="{FF2B5EF4-FFF2-40B4-BE49-F238E27FC236}">
                    <a16:creationId xmlns:a16="http://schemas.microsoft.com/office/drawing/2014/main" id="{9CE1746A-112C-429F-A352-D432ECCED1A4}"/>
                  </a:ext>
                </a:extLst>
              </p:cNvPr>
              <p:cNvSpPr>
                <a:spLocks noEditPoints="1"/>
              </p:cNvSpPr>
              <p:nvPr/>
            </p:nvSpPr>
            <p:spPr bwMode="auto">
              <a:xfrm>
                <a:off x="3351213" y="1004888"/>
                <a:ext cx="225425" cy="225425"/>
              </a:xfrm>
              <a:custGeom>
                <a:avLst/>
                <a:gdLst>
                  <a:gd name="T0" fmla="*/ 234 w 282"/>
                  <a:gd name="T1" fmla="*/ 20 h 283"/>
                  <a:gd name="T2" fmla="*/ 234 w 282"/>
                  <a:gd name="T3" fmla="*/ 5 h 283"/>
                  <a:gd name="T4" fmla="*/ 228 w 282"/>
                  <a:gd name="T5" fmla="*/ 0 h 283"/>
                  <a:gd name="T6" fmla="*/ 54 w 282"/>
                  <a:gd name="T7" fmla="*/ 0 h 283"/>
                  <a:gd name="T8" fmla="*/ 48 w 282"/>
                  <a:gd name="T9" fmla="*/ 5 h 283"/>
                  <a:gd name="T10" fmla="*/ 4 w 282"/>
                  <a:gd name="T11" fmla="*/ 20 h 283"/>
                  <a:gd name="T12" fmla="*/ 1 w 282"/>
                  <a:gd name="T13" fmla="*/ 21 h 283"/>
                  <a:gd name="T14" fmla="*/ 0 w 282"/>
                  <a:gd name="T15" fmla="*/ 74 h 283"/>
                  <a:gd name="T16" fmla="*/ 0 w 282"/>
                  <a:gd name="T17" fmla="*/ 84 h 283"/>
                  <a:gd name="T18" fmla="*/ 8 w 282"/>
                  <a:gd name="T19" fmla="*/ 105 h 283"/>
                  <a:gd name="T20" fmla="*/ 23 w 282"/>
                  <a:gd name="T21" fmla="*/ 119 h 283"/>
                  <a:gd name="T22" fmla="*/ 42 w 282"/>
                  <a:gd name="T23" fmla="*/ 130 h 283"/>
                  <a:gd name="T24" fmla="*/ 52 w 282"/>
                  <a:gd name="T25" fmla="*/ 131 h 283"/>
                  <a:gd name="T26" fmla="*/ 64 w 282"/>
                  <a:gd name="T27" fmla="*/ 154 h 283"/>
                  <a:gd name="T28" fmla="*/ 81 w 282"/>
                  <a:gd name="T29" fmla="*/ 173 h 283"/>
                  <a:gd name="T30" fmla="*/ 102 w 282"/>
                  <a:gd name="T31" fmla="*/ 187 h 283"/>
                  <a:gd name="T32" fmla="*/ 126 w 282"/>
                  <a:gd name="T33" fmla="*/ 193 h 283"/>
                  <a:gd name="T34" fmla="*/ 125 w 282"/>
                  <a:gd name="T35" fmla="*/ 203 h 283"/>
                  <a:gd name="T36" fmla="*/ 117 w 282"/>
                  <a:gd name="T37" fmla="*/ 225 h 283"/>
                  <a:gd name="T38" fmla="*/ 107 w 282"/>
                  <a:gd name="T39" fmla="*/ 239 h 283"/>
                  <a:gd name="T40" fmla="*/ 72 w 282"/>
                  <a:gd name="T41" fmla="*/ 239 h 283"/>
                  <a:gd name="T42" fmla="*/ 67 w 282"/>
                  <a:gd name="T43" fmla="*/ 244 h 283"/>
                  <a:gd name="T44" fmla="*/ 67 w 282"/>
                  <a:gd name="T45" fmla="*/ 278 h 283"/>
                  <a:gd name="T46" fmla="*/ 72 w 282"/>
                  <a:gd name="T47" fmla="*/ 283 h 283"/>
                  <a:gd name="T48" fmla="*/ 209 w 282"/>
                  <a:gd name="T49" fmla="*/ 283 h 283"/>
                  <a:gd name="T50" fmla="*/ 214 w 282"/>
                  <a:gd name="T51" fmla="*/ 278 h 283"/>
                  <a:gd name="T52" fmla="*/ 214 w 282"/>
                  <a:gd name="T53" fmla="*/ 244 h 283"/>
                  <a:gd name="T54" fmla="*/ 209 w 282"/>
                  <a:gd name="T55" fmla="*/ 239 h 283"/>
                  <a:gd name="T56" fmla="*/ 175 w 282"/>
                  <a:gd name="T57" fmla="*/ 239 h 283"/>
                  <a:gd name="T58" fmla="*/ 165 w 282"/>
                  <a:gd name="T59" fmla="*/ 225 h 283"/>
                  <a:gd name="T60" fmla="*/ 156 w 282"/>
                  <a:gd name="T61" fmla="*/ 203 h 283"/>
                  <a:gd name="T62" fmla="*/ 156 w 282"/>
                  <a:gd name="T63" fmla="*/ 193 h 283"/>
                  <a:gd name="T64" fmla="*/ 180 w 282"/>
                  <a:gd name="T65" fmla="*/ 187 h 283"/>
                  <a:gd name="T66" fmla="*/ 201 w 282"/>
                  <a:gd name="T67" fmla="*/ 173 h 283"/>
                  <a:gd name="T68" fmla="*/ 218 w 282"/>
                  <a:gd name="T69" fmla="*/ 154 h 283"/>
                  <a:gd name="T70" fmla="*/ 228 w 282"/>
                  <a:gd name="T71" fmla="*/ 131 h 283"/>
                  <a:gd name="T72" fmla="*/ 239 w 282"/>
                  <a:gd name="T73" fmla="*/ 130 h 283"/>
                  <a:gd name="T74" fmla="*/ 258 w 282"/>
                  <a:gd name="T75" fmla="*/ 119 h 283"/>
                  <a:gd name="T76" fmla="*/ 273 w 282"/>
                  <a:gd name="T77" fmla="*/ 105 h 283"/>
                  <a:gd name="T78" fmla="*/ 281 w 282"/>
                  <a:gd name="T79" fmla="*/ 84 h 283"/>
                  <a:gd name="T80" fmla="*/ 282 w 282"/>
                  <a:gd name="T81" fmla="*/ 24 h 283"/>
                  <a:gd name="T82" fmla="*/ 281 w 282"/>
                  <a:gd name="T83" fmla="*/ 21 h 283"/>
                  <a:gd name="T84" fmla="*/ 277 w 282"/>
                  <a:gd name="T85" fmla="*/ 20 h 283"/>
                  <a:gd name="T86" fmla="*/ 9 w 282"/>
                  <a:gd name="T87" fmla="*/ 29 h 283"/>
                  <a:gd name="T88" fmla="*/ 48 w 282"/>
                  <a:gd name="T89" fmla="*/ 102 h 283"/>
                  <a:gd name="T90" fmla="*/ 48 w 282"/>
                  <a:gd name="T91" fmla="*/ 113 h 283"/>
                  <a:gd name="T92" fmla="*/ 50 w 282"/>
                  <a:gd name="T93" fmla="*/ 121 h 283"/>
                  <a:gd name="T94" fmla="*/ 34 w 282"/>
                  <a:gd name="T95" fmla="*/ 115 h 283"/>
                  <a:gd name="T96" fmla="*/ 21 w 282"/>
                  <a:gd name="T97" fmla="*/ 105 h 283"/>
                  <a:gd name="T98" fmla="*/ 12 w 282"/>
                  <a:gd name="T99" fmla="*/ 90 h 283"/>
                  <a:gd name="T100" fmla="*/ 9 w 282"/>
                  <a:gd name="T101" fmla="*/ 74 h 283"/>
                  <a:gd name="T102" fmla="*/ 273 w 282"/>
                  <a:gd name="T103" fmla="*/ 74 h 283"/>
                  <a:gd name="T104" fmla="*/ 271 w 282"/>
                  <a:gd name="T105" fmla="*/ 82 h 283"/>
                  <a:gd name="T106" fmla="*/ 266 w 282"/>
                  <a:gd name="T107" fmla="*/ 98 h 283"/>
                  <a:gd name="T108" fmla="*/ 254 w 282"/>
                  <a:gd name="T109" fmla="*/ 111 h 283"/>
                  <a:gd name="T110" fmla="*/ 239 w 282"/>
                  <a:gd name="T111" fmla="*/ 119 h 283"/>
                  <a:gd name="T112" fmla="*/ 231 w 282"/>
                  <a:gd name="T113" fmla="*/ 121 h 283"/>
                  <a:gd name="T114" fmla="*/ 234 w 282"/>
                  <a:gd name="T115" fmla="*/ 102 h 283"/>
                  <a:gd name="T116" fmla="*/ 273 w 282"/>
                  <a:gd name="T117" fmla="*/ 2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2" h="283">
                    <a:moveTo>
                      <a:pt x="277" y="20"/>
                    </a:moveTo>
                    <a:lnTo>
                      <a:pt x="234" y="20"/>
                    </a:lnTo>
                    <a:lnTo>
                      <a:pt x="234" y="5"/>
                    </a:lnTo>
                    <a:lnTo>
                      <a:pt x="234" y="5"/>
                    </a:lnTo>
                    <a:lnTo>
                      <a:pt x="232" y="1"/>
                    </a:lnTo>
                    <a:lnTo>
                      <a:pt x="228" y="0"/>
                    </a:lnTo>
                    <a:lnTo>
                      <a:pt x="54" y="0"/>
                    </a:lnTo>
                    <a:lnTo>
                      <a:pt x="54" y="0"/>
                    </a:lnTo>
                    <a:lnTo>
                      <a:pt x="50" y="1"/>
                    </a:lnTo>
                    <a:lnTo>
                      <a:pt x="48" y="5"/>
                    </a:lnTo>
                    <a:lnTo>
                      <a:pt x="48" y="20"/>
                    </a:lnTo>
                    <a:lnTo>
                      <a:pt x="4" y="20"/>
                    </a:lnTo>
                    <a:lnTo>
                      <a:pt x="4" y="20"/>
                    </a:lnTo>
                    <a:lnTo>
                      <a:pt x="1" y="21"/>
                    </a:lnTo>
                    <a:lnTo>
                      <a:pt x="0" y="24"/>
                    </a:lnTo>
                    <a:lnTo>
                      <a:pt x="0" y="74"/>
                    </a:lnTo>
                    <a:lnTo>
                      <a:pt x="0" y="74"/>
                    </a:lnTo>
                    <a:lnTo>
                      <a:pt x="0" y="84"/>
                    </a:lnTo>
                    <a:lnTo>
                      <a:pt x="4" y="95"/>
                    </a:lnTo>
                    <a:lnTo>
                      <a:pt x="8" y="105"/>
                    </a:lnTo>
                    <a:lnTo>
                      <a:pt x="15" y="113"/>
                    </a:lnTo>
                    <a:lnTo>
                      <a:pt x="23" y="119"/>
                    </a:lnTo>
                    <a:lnTo>
                      <a:pt x="32" y="126"/>
                    </a:lnTo>
                    <a:lnTo>
                      <a:pt x="42" y="130"/>
                    </a:lnTo>
                    <a:lnTo>
                      <a:pt x="52" y="131"/>
                    </a:lnTo>
                    <a:lnTo>
                      <a:pt x="52" y="131"/>
                    </a:lnTo>
                    <a:lnTo>
                      <a:pt x="58" y="144"/>
                    </a:lnTo>
                    <a:lnTo>
                      <a:pt x="64" y="154"/>
                    </a:lnTo>
                    <a:lnTo>
                      <a:pt x="71" y="164"/>
                    </a:lnTo>
                    <a:lnTo>
                      <a:pt x="81" y="173"/>
                    </a:lnTo>
                    <a:lnTo>
                      <a:pt x="90" y="180"/>
                    </a:lnTo>
                    <a:lnTo>
                      <a:pt x="102" y="187"/>
                    </a:lnTo>
                    <a:lnTo>
                      <a:pt x="114" y="191"/>
                    </a:lnTo>
                    <a:lnTo>
                      <a:pt x="126" y="193"/>
                    </a:lnTo>
                    <a:lnTo>
                      <a:pt x="126" y="193"/>
                    </a:lnTo>
                    <a:lnTo>
                      <a:pt x="125" y="203"/>
                    </a:lnTo>
                    <a:lnTo>
                      <a:pt x="122" y="213"/>
                    </a:lnTo>
                    <a:lnTo>
                      <a:pt x="117" y="225"/>
                    </a:lnTo>
                    <a:lnTo>
                      <a:pt x="113" y="232"/>
                    </a:lnTo>
                    <a:lnTo>
                      <a:pt x="107" y="239"/>
                    </a:lnTo>
                    <a:lnTo>
                      <a:pt x="72" y="239"/>
                    </a:lnTo>
                    <a:lnTo>
                      <a:pt x="72" y="239"/>
                    </a:lnTo>
                    <a:lnTo>
                      <a:pt x="68" y="240"/>
                    </a:lnTo>
                    <a:lnTo>
                      <a:pt x="67" y="244"/>
                    </a:lnTo>
                    <a:lnTo>
                      <a:pt x="67" y="278"/>
                    </a:lnTo>
                    <a:lnTo>
                      <a:pt x="67" y="278"/>
                    </a:lnTo>
                    <a:lnTo>
                      <a:pt x="68" y="282"/>
                    </a:lnTo>
                    <a:lnTo>
                      <a:pt x="72" y="283"/>
                    </a:lnTo>
                    <a:lnTo>
                      <a:pt x="209" y="283"/>
                    </a:lnTo>
                    <a:lnTo>
                      <a:pt x="209" y="283"/>
                    </a:lnTo>
                    <a:lnTo>
                      <a:pt x="212" y="282"/>
                    </a:lnTo>
                    <a:lnTo>
                      <a:pt x="214" y="278"/>
                    </a:lnTo>
                    <a:lnTo>
                      <a:pt x="214" y="244"/>
                    </a:lnTo>
                    <a:lnTo>
                      <a:pt x="214" y="244"/>
                    </a:lnTo>
                    <a:lnTo>
                      <a:pt x="212" y="240"/>
                    </a:lnTo>
                    <a:lnTo>
                      <a:pt x="209" y="239"/>
                    </a:lnTo>
                    <a:lnTo>
                      <a:pt x="175" y="239"/>
                    </a:lnTo>
                    <a:lnTo>
                      <a:pt x="175" y="239"/>
                    </a:lnTo>
                    <a:lnTo>
                      <a:pt x="169" y="232"/>
                    </a:lnTo>
                    <a:lnTo>
                      <a:pt x="165" y="225"/>
                    </a:lnTo>
                    <a:lnTo>
                      <a:pt x="158" y="213"/>
                    </a:lnTo>
                    <a:lnTo>
                      <a:pt x="156" y="203"/>
                    </a:lnTo>
                    <a:lnTo>
                      <a:pt x="156" y="193"/>
                    </a:lnTo>
                    <a:lnTo>
                      <a:pt x="156" y="193"/>
                    </a:lnTo>
                    <a:lnTo>
                      <a:pt x="168" y="191"/>
                    </a:lnTo>
                    <a:lnTo>
                      <a:pt x="180" y="187"/>
                    </a:lnTo>
                    <a:lnTo>
                      <a:pt x="191" y="180"/>
                    </a:lnTo>
                    <a:lnTo>
                      <a:pt x="201" y="173"/>
                    </a:lnTo>
                    <a:lnTo>
                      <a:pt x="209" y="164"/>
                    </a:lnTo>
                    <a:lnTo>
                      <a:pt x="218" y="154"/>
                    </a:lnTo>
                    <a:lnTo>
                      <a:pt x="224" y="144"/>
                    </a:lnTo>
                    <a:lnTo>
                      <a:pt x="228" y="131"/>
                    </a:lnTo>
                    <a:lnTo>
                      <a:pt x="228" y="131"/>
                    </a:lnTo>
                    <a:lnTo>
                      <a:pt x="239" y="130"/>
                    </a:lnTo>
                    <a:lnTo>
                      <a:pt x="250" y="126"/>
                    </a:lnTo>
                    <a:lnTo>
                      <a:pt x="258" y="119"/>
                    </a:lnTo>
                    <a:lnTo>
                      <a:pt x="266" y="113"/>
                    </a:lnTo>
                    <a:lnTo>
                      <a:pt x="273" y="105"/>
                    </a:lnTo>
                    <a:lnTo>
                      <a:pt x="278" y="95"/>
                    </a:lnTo>
                    <a:lnTo>
                      <a:pt x="281" y="84"/>
                    </a:lnTo>
                    <a:lnTo>
                      <a:pt x="282" y="74"/>
                    </a:lnTo>
                    <a:lnTo>
                      <a:pt x="282" y="24"/>
                    </a:lnTo>
                    <a:lnTo>
                      <a:pt x="282" y="24"/>
                    </a:lnTo>
                    <a:lnTo>
                      <a:pt x="281" y="21"/>
                    </a:lnTo>
                    <a:lnTo>
                      <a:pt x="277" y="20"/>
                    </a:lnTo>
                    <a:lnTo>
                      <a:pt x="277" y="20"/>
                    </a:lnTo>
                    <a:close/>
                    <a:moveTo>
                      <a:pt x="9" y="74"/>
                    </a:moveTo>
                    <a:lnTo>
                      <a:pt x="9" y="29"/>
                    </a:lnTo>
                    <a:lnTo>
                      <a:pt x="48" y="29"/>
                    </a:lnTo>
                    <a:lnTo>
                      <a:pt x="48" y="102"/>
                    </a:lnTo>
                    <a:lnTo>
                      <a:pt x="48" y="102"/>
                    </a:lnTo>
                    <a:lnTo>
                      <a:pt x="48" y="113"/>
                    </a:lnTo>
                    <a:lnTo>
                      <a:pt x="50" y="121"/>
                    </a:lnTo>
                    <a:lnTo>
                      <a:pt x="50" y="121"/>
                    </a:lnTo>
                    <a:lnTo>
                      <a:pt x="42" y="119"/>
                    </a:lnTo>
                    <a:lnTo>
                      <a:pt x="34" y="115"/>
                    </a:lnTo>
                    <a:lnTo>
                      <a:pt x="27" y="111"/>
                    </a:lnTo>
                    <a:lnTo>
                      <a:pt x="21" y="105"/>
                    </a:lnTo>
                    <a:lnTo>
                      <a:pt x="16" y="98"/>
                    </a:lnTo>
                    <a:lnTo>
                      <a:pt x="12" y="90"/>
                    </a:lnTo>
                    <a:lnTo>
                      <a:pt x="11" y="82"/>
                    </a:lnTo>
                    <a:lnTo>
                      <a:pt x="9" y="74"/>
                    </a:lnTo>
                    <a:lnTo>
                      <a:pt x="9" y="74"/>
                    </a:lnTo>
                    <a:close/>
                    <a:moveTo>
                      <a:pt x="273" y="74"/>
                    </a:moveTo>
                    <a:lnTo>
                      <a:pt x="273" y="74"/>
                    </a:lnTo>
                    <a:lnTo>
                      <a:pt x="271" y="82"/>
                    </a:lnTo>
                    <a:lnTo>
                      <a:pt x="269" y="90"/>
                    </a:lnTo>
                    <a:lnTo>
                      <a:pt x="266" y="98"/>
                    </a:lnTo>
                    <a:lnTo>
                      <a:pt x="261" y="105"/>
                    </a:lnTo>
                    <a:lnTo>
                      <a:pt x="254" y="111"/>
                    </a:lnTo>
                    <a:lnTo>
                      <a:pt x="247" y="115"/>
                    </a:lnTo>
                    <a:lnTo>
                      <a:pt x="239" y="119"/>
                    </a:lnTo>
                    <a:lnTo>
                      <a:pt x="231" y="121"/>
                    </a:lnTo>
                    <a:lnTo>
                      <a:pt x="231" y="121"/>
                    </a:lnTo>
                    <a:lnTo>
                      <a:pt x="232" y="113"/>
                    </a:lnTo>
                    <a:lnTo>
                      <a:pt x="234" y="102"/>
                    </a:lnTo>
                    <a:lnTo>
                      <a:pt x="234" y="29"/>
                    </a:lnTo>
                    <a:lnTo>
                      <a:pt x="273" y="29"/>
                    </a:lnTo>
                    <a:lnTo>
                      <a:pt x="273" y="74"/>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Rectangle 1">
            <a:extLst>
              <a:ext uri="{FF2B5EF4-FFF2-40B4-BE49-F238E27FC236}">
                <a16:creationId xmlns:a16="http://schemas.microsoft.com/office/drawing/2014/main" id="{1B72D0B3-6CC0-9145-B1E2-128591F3E5A3}"/>
              </a:ext>
            </a:extLst>
          </p:cNvPr>
          <p:cNvSpPr/>
          <p:nvPr/>
        </p:nvSpPr>
        <p:spPr>
          <a:xfrm>
            <a:off x="8565635" y="4554085"/>
            <a:ext cx="2722599" cy="969496"/>
          </a:xfrm>
          <a:prstGeom prst="rect">
            <a:avLst/>
          </a:prstGeom>
        </p:spPr>
        <p:txBody>
          <a:bodyPr wrap="square" lIns="0" tIns="0" rIns="0" bIns="0">
            <a:sp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4" name="object 31">
            <a:extLst>
              <a:ext uri="{FF2B5EF4-FFF2-40B4-BE49-F238E27FC236}">
                <a16:creationId xmlns:a16="http://schemas.microsoft.com/office/drawing/2014/main" id="{A4EFC34F-8B75-4ACF-828F-D58ACDBFDFB9}"/>
              </a:ext>
            </a:extLst>
          </p:cNvPr>
          <p:cNvSpPr txBox="1"/>
          <p:nvPr/>
        </p:nvSpPr>
        <p:spPr>
          <a:xfrm>
            <a:off x="4052346" y="2332245"/>
            <a:ext cx="1094735" cy="238673"/>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5" name="object 33">
            <a:extLst>
              <a:ext uri="{FF2B5EF4-FFF2-40B4-BE49-F238E27FC236}">
                <a16:creationId xmlns:a16="http://schemas.microsoft.com/office/drawing/2014/main" id="{F1753755-0F3B-484B-96ED-D3217B79D7ED}"/>
              </a:ext>
            </a:extLst>
          </p:cNvPr>
          <p:cNvSpPr txBox="1"/>
          <p:nvPr/>
        </p:nvSpPr>
        <p:spPr>
          <a:xfrm>
            <a:off x="5539675" y="1828676"/>
            <a:ext cx="1128155" cy="276999"/>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6" name="object 36">
            <a:extLst>
              <a:ext uri="{FF2B5EF4-FFF2-40B4-BE49-F238E27FC236}">
                <a16:creationId xmlns:a16="http://schemas.microsoft.com/office/drawing/2014/main" id="{BE69B5EB-BC3B-4901-9F11-56B52988AFCF}"/>
              </a:ext>
            </a:extLst>
          </p:cNvPr>
          <p:cNvSpPr txBox="1"/>
          <p:nvPr/>
        </p:nvSpPr>
        <p:spPr>
          <a:xfrm>
            <a:off x="7224503" y="2332245"/>
            <a:ext cx="807795" cy="404384"/>
          </a:xfrm>
          <a:prstGeom prst="rect">
            <a:avLst/>
          </a:prstGeom>
        </p:spPr>
        <p:txBody>
          <a:bodyPr vert="horz" wrap="square" lIns="0" tIns="0" rIns="0" bIns="0" rtlCol="0">
            <a:noAutofit/>
          </a:bodyPr>
          <a:lstStyle/>
          <a:p>
            <a:pPr marR="5080" algn="ctr">
              <a:lnSpc>
                <a:spcPct val="108300"/>
              </a:lnSpc>
              <a:spcBef>
                <a:spcPts val="100"/>
              </a:spcBef>
            </a:pPr>
            <a:r>
              <a:rPr lang="en-US" sz="1000" b="1" dirty="0">
                <a:solidFill>
                  <a:srgbClr val="000000"/>
                </a:solidFill>
                <a:cs typeface="Palatino Linotype"/>
              </a:rPr>
              <a:t>Lorem ipsum dolor</a:t>
            </a:r>
          </a:p>
        </p:txBody>
      </p:sp>
      <p:sp>
        <p:nvSpPr>
          <p:cNvPr id="77" name="object 37">
            <a:extLst>
              <a:ext uri="{FF2B5EF4-FFF2-40B4-BE49-F238E27FC236}">
                <a16:creationId xmlns:a16="http://schemas.microsoft.com/office/drawing/2014/main" id="{D228EBB9-CC46-4428-8EFF-74165F9AE00F}"/>
              </a:ext>
            </a:extLst>
          </p:cNvPr>
          <p:cNvSpPr txBox="1"/>
          <p:nvPr/>
        </p:nvSpPr>
        <p:spPr>
          <a:xfrm>
            <a:off x="7441190" y="3562633"/>
            <a:ext cx="943677" cy="384408"/>
          </a:xfrm>
          <a:prstGeom prst="rect">
            <a:avLst/>
          </a:prstGeom>
        </p:spPr>
        <p:txBody>
          <a:bodyPr vert="horz" wrap="square" lIns="0" tIns="0" rIns="0" bIns="0" rtlCol="0">
            <a:noAutofit/>
          </a:bodyPr>
          <a:lstStyle/>
          <a:p>
            <a:pPr marR="5080" algn="ctr">
              <a:lnSpc>
                <a:spcPct val="108300"/>
              </a:lnSpc>
              <a:spcBef>
                <a:spcPts val="100"/>
              </a:spcBef>
            </a:pPr>
            <a:r>
              <a:rPr lang="en-US" sz="1000" b="1" dirty="0">
                <a:solidFill>
                  <a:srgbClr val="000000"/>
                </a:solidFill>
                <a:cs typeface="Palatino Linotype"/>
              </a:rPr>
              <a:t>Lorem ipsum dolor</a:t>
            </a:r>
          </a:p>
        </p:txBody>
      </p:sp>
      <p:sp>
        <p:nvSpPr>
          <p:cNvPr id="138" name="object 9">
            <a:extLst>
              <a:ext uri="{FF2B5EF4-FFF2-40B4-BE49-F238E27FC236}">
                <a16:creationId xmlns:a16="http://schemas.microsoft.com/office/drawing/2014/main" id="{2736A413-4E51-46BD-AA95-21AA9EC2A5F9}"/>
              </a:ext>
            </a:extLst>
          </p:cNvPr>
          <p:cNvSpPr/>
          <p:nvPr/>
        </p:nvSpPr>
        <p:spPr>
          <a:xfrm flipV="1">
            <a:off x="914400" y="4383673"/>
            <a:ext cx="3079911" cy="115161"/>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47" name="object 26">
            <a:extLst>
              <a:ext uri="{FF2B5EF4-FFF2-40B4-BE49-F238E27FC236}">
                <a16:creationId xmlns:a16="http://schemas.microsoft.com/office/drawing/2014/main" id="{E88F7A0E-7164-4328-8DD1-29D890B57A30}"/>
              </a:ext>
            </a:extLst>
          </p:cNvPr>
          <p:cNvSpPr txBox="1"/>
          <p:nvPr/>
        </p:nvSpPr>
        <p:spPr>
          <a:xfrm>
            <a:off x="6889046" y="4966154"/>
            <a:ext cx="790055" cy="311871"/>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grpSp>
        <p:nvGrpSpPr>
          <p:cNvPr id="139" name="Group 768">
            <a:extLst>
              <a:ext uri="{FF2B5EF4-FFF2-40B4-BE49-F238E27FC236}">
                <a16:creationId xmlns:a16="http://schemas.microsoft.com/office/drawing/2014/main" id="{17AC79EA-853D-44A2-98F9-C6424C1A8CB8}"/>
              </a:ext>
            </a:extLst>
          </p:cNvPr>
          <p:cNvGrpSpPr>
            <a:grpSpLocks noChangeAspect="1"/>
          </p:cNvGrpSpPr>
          <p:nvPr/>
        </p:nvGrpSpPr>
        <p:grpSpPr bwMode="auto">
          <a:xfrm>
            <a:off x="4672543" y="1747527"/>
            <a:ext cx="457200" cy="457200"/>
            <a:chOff x="6591" y="3054"/>
            <a:chExt cx="340" cy="340"/>
          </a:xfrm>
          <a:solidFill>
            <a:schemeClr val="tx1"/>
          </a:solidFill>
        </p:grpSpPr>
        <p:sp>
          <p:nvSpPr>
            <p:cNvPr id="148" name="Freeform 769">
              <a:extLst>
                <a:ext uri="{FF2B5EF4-FFF2-40B4-BE49-F238E27FC236}">
                  <a16:creationId xmlns:a16="http://schemas.microsoft.com/office/drawing/2014/main" id="{8A268BA1-B76F-4334-A9B1-3BDA7E880A50}"/>
                </a:ext>
              </a:extLst>
            </p:cNvPr>
            <p:cNvSpPr>
              <a:spLocks noEditPoints="1"/>
            </p:cNvSpPr>
            <p:nvPr/>
          </p:nvSpPr>
          <p:spPr bwMode="auto">
            <a:xfrm>
              <a:off x="6591" y="305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9" name="Freeform 770">
              <a:extLst>
                <a:ext uri="{FF2B5EF4-FFF2-40B4-BE49-F238E27FC236}">
                  <a16:creationId xmlns:a16="http://schemas.microsoft.com/office/drawing/2014/main" id="{121319F5-B007-416D-970D-EA01D4C5B7E1}"/>
                </a:ext>
              </a:extLst>
            </p:cNvPr>
            <p:cNvSpPr>
              <a:spLocks noEditPoints="1"/>
            </p:cNvSpPr>
            <p:nvPr/>
          </p:nvSpPr>
          <p:spPr bwMode="auto">
            <a:xfrm>
              <a:off x="6690" y="3132"/>
              <a:ext cx="149" cy="198"/>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0" name="Group 459">
            <a:extLst>
              <a:ext uri="{FF2B5EF4-FFF2-40B4-BE49-F238E27FC236}">
                <a16:creationId xmlns:a16="http://schemas.microsoft.com/office/drawing/2014/main" id="{F918C79F-6620-4D8E-8A8F-31909C782850}"/>
              </a:ext>
            </a:extLst>
          </p:cNvPr>
          <p:cNvGrpSpPr>
            <a:grpSpLocks noChangeAspect="1"/>
          </p:cNvGrpSpPr>
          <p:nvPr/>
        </p:nvGrpSpPr>
        <p:grpSpPr bwMode="auto">
          <a:xfrm>
            <a:off x="4107047" y="3018283"/>
            <a:ext cx="457200" cy="457200"/>
            <a:chOff x="1918" y="1565"/>
            <a:chExt cx="340" cy="340"/>
          </a:xfrm>
          <a:solidFill>
            <a:schemeClr val="tx1"/>
          </a:solidFill>
        </p:grpSpPr>
        <p:sp>
          <p:nvSpPr>
            <p:cNvPr id="151" name="Freeform 460">
              <a:extLst>
                <a:ext uri="{FF2B5EF4-FFF2-40B4-BE49-F238E27FC236}">
                  <a16:creationId xmlns:a16="http://schemas.microsoft.com/office/drawing/2014/main" id="{7E2A80ED-2763-4B44-8F41-EAF51E459CD7}"/>
                </a:ext>
              </a:extLst>
            </p:cNvPr>
            <p:cNvSpPr>
              <a:spLocks noEditPoints="1"/>
            </p:cNvSpPr>
            <p:nvPr/>
          </p:nvSpPr>
          <p:spPr bwMode="auto">
            <a:xfrm>
              <a:off x="2010" y="1636"/>
              <a:ext cx="156" cy="199"/>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461">
              <a:extLst>
                <a:ext uri="{FF2B5EF4-FFF2-40B4-BE49-F238E27FC236}">
                  <a16:creationId xmlns:a16="http://schemas.microsoft.com/office/drawing/2014/main" id="{5AD5EF42-EACA-42CB-B154-78702F623485}"/>
                </a:ext>
              </a:extLst>
            </p:cNvPr>
            <p:cNvSpPr>
              <a:spLocks noEditPoints="1"/>
            </p:cNvSpPr>
            <p:nvPr/>
          </p:nvSpPr>
          <p:spPr bwMode="auto">
            <a:xfrm>
              <a:off x="1918" y="156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3" name="Group 152">
            <a:extLst>
              <a:ext uri="{FF2B5EF4-FFF2-40B4-BE49-F238E27FC236}">
                <a16:creationId xmlns:a16="http://schemas.microsoft.com/office/drawing/2014/main" id="{E9602881-1DF4-40EA-AC2D-5343826DFBEB}"/>
              </a:ext>
            </a:extLst>
          </p:cNvPr>
          <p:cNvGrpSpPr>
            <a:grpSpLocks noChangeAspect="1"/>
          </p:cNvGrpSpPr>
          <p:nvPr/>
        </p:nvGrpSpPr>
        <p:grpSpPr bwMode="auto">
          <a:xfrm>
            <a:off x="4556590" y="4416823"/>
            <a:ext cx="458544" cy="457200"/>
            <a:chOff x="3100" y="2384"/>
            <a:chExt cx="341" cy="340"/>
          </a:xfrm>
          <a:solidFill>
            <a:schemeClr val="tx1"/>
          </a:solidFill>
        </p:grpSpPr>
        <p:sp>
          <p:nvSpPr>
            <p:cNvPr id="154" name="Freeform 342">
              <a:extLst>
                <a:ext uri="{FF2B5EF4-FFF2-40B4-BE49-F238E27FC236}">
                  <a16:creationId xmlns:a16="http://schemas.microsoft.com/office/drawing/2014/main" id="{C27E8825-9537-4C80-8F82-D8D67C82F0D8}"/>
                </a:ext>
              </a:extLst>
            </p:cNvPr>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343">
              <a:extLst>
                <a:ext uri="{FF2B5EF4-FFF2-40B4-BE49-F238E27FC236}">
                  <a16:creationId xmlns:a16="http://schemas.microsoft.com/office/drawing/2014/main" id="{B868F1B5-3B53-4F6B-8E6A-7B90539F7E1A}"/>
                </a:ext>
              </a:extLst>
            </p:cNvPr>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6" name="Group 892">
            <a:extLst>
              <a:ext uri="{FF2B5EF4-FFF2-40B4-BE49-F238E27FC236}">
                <a16:creationId xmlns:a16="http://schemas.microsoft.com/office/drawing/2014/main" id="{1E149E51-74D5-48DC-AE2E-BD5E9C0925E7}"/>
              </a:ext>
            </a:extLst>
          </p:cNvPr>
          <p:cNvGrpSpPr>
            <a:grpSpLocks noChangeAspect="1"/>
          </p:cNvGrpSpPr>
          <p:nvPr/>
        </p:nvGrpSpPr>
        <p:grpSpPr bwMode="auto">
          <a:xfrm>
            <a:off x="7235120" y="4441188"/>
            <a:ext cx="455860" cy="457200"/>
            <a:chOff x="4270" y="3457"/>
            <a:chExt cx="340" cy="341"/>
          </a:xfrm>
          <a:solidFill>
            <a:schemeClr val="tx1"/>
          </a:solidFill>
        </p:grpSpPr>
        <p:sp>
          <p:nvSpPr>
            <p:cNvPr id="157" name="Freeform 893">
              <a:extLst>
                <a:ext uri="{FF2B5EF4-FFF2-40B4-BE49-F238E27FC236}">
                  <a16:creationId xmlns:a16="http://schemas.microsoft.com/office/drawing/2014/main" id="{C1B76A1F-0392-481A-9DB2-110BB6C9C4A3}"/>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8" name="Freeform 894">
              <a:extLst>
                <a:ext uri="{FF2B5EF4-FFF2-40B4-BE49-F238E27FC236}">
                  <a16:creationId xmlns:a16="http://schemas.microsoft.com/office/drawing/2014/main" id="{80DE0FF7-105C-4AB3-B987-A51AD50328F8}"/>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9" name="Group 29">
            <a:extLst>
              <a:ext uri="{FF2B5EF4-FFF2-40B4-BE49-F238E27FC236}">
                <a16:creationId xmlns:a16="http://schemas.microsoft.com/office/drawing/2014/main" id="{807E2061-9C77-475F-BBFC-C3E230848D35}"/>
              </a:ext>
            </a:extLst>
          </p:cNvPr>
          <p:cNvGrpSpPr>
            <a:grpSpLocks noChangeAspect="1"/>
          </p:cNvGrpSpPr>
          <p:nvPr/>
        </p:nvGrpSpPr>
        <p:grpSpPr bwMode="auto">
          <a:xfrm>
            <a:off x="7691464" y="3051178"/>
            <a:ext cx="457200" cy="457200"/>
            <a:chOff x="2899" y="653"/>
            <a:chExt cx="340" cy="340"/>
          </a:xfrm>
          <a:solidFill>
            <a:schemeClr val="tx1"/>
          </a:solidFill>
        </p:grpSpPr>
        <p:sp>
          <p:nvSpPr>
            <p:cNvPr id="160" name="Freeform 30">
              <a:extLst>
                <a:ext uri="{FF2B5EF4-FFF2-40B4-BE49-F238E27FC236}">
                  <a16:creationId xmlns:a16="http://schemas.microsoft.com/office/drawing/2014/main" id="{D0D8B92C-57E2-4D00-9DC8-40B52F7F405C}"/>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1" name="Freeform 31">
              <a:extLst>
                <a:ext uri="{FF2B5EF4-FFF2-40B4-BE49-F238E27FC236}">
                  <a16:creationId xmlns:a16="http://schemas.microsoft.com/office/drawing/2014/main" id="{20A4E7D1-9BFC-4C7B-8A65-E77FE1D44355}"/>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2" name="Freeform 32">
              <a:extLst>
                <a:ext uri="{FF2B5EF4-FFF2-40B4-BE49-F238E27FC236}">
                  <a16:creationId xmlns:a16="http://schemas.microsoft.com/office/drawing/2014/main" id="{8E81ED61-9EA5-4755-BB22-0ED6E804F681}"/>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3" name="Group 934">
            <a:extLst>
              <a:ext uri="{FF2B5EF4-FFF2-40B4-BE49-F238E27FC236}">
                <a16:creationId xmlns:a16="http://schemas.microsoft.com/office/drawing/2014/main" id="{1F2C59C4-951F-4964-AE95-A55199397904}"/>
              </a:ext>
            </a:extLst>
          </p:cNvPr>
          <p:cNvGrpSpPr>
            <a:grpSpLocks noChangeAspect="1"/>
          </p:cNvGrpSpPr>
          <p:nvPr/>
        </p:nvGrpSpPr>
        <p:grpSpPr bwMode="auto">
          <a:xfrm>
            <a:off x="7076492" y="1781117"/>
            <a:ext cx="457200" cy="457200"/>
            <a:chOff x="1155" y="3472"/>
            <a:chExt cx="340" cy="340"/>
          </a:xfrm>
          <a:solidFill>
            <a:schemeClr val="tx1"/>
          </a:solidFill>
        </p:grpSpPr>
        <p:sp>
          <p:nvSpPr>
            <p:cNvPr id="164" name="Freeform 935">
              <a:extLst>
                <a:ext uri="{FF2B5EF4-FFF2-40B4-BE49-F238E27FC236}">
                  <a16:creationId xmlns:a16="http://schemas.microsoft.com/office/drawing/2014/main" id="{0A8D1CE3-1AF0-4D36-ACE9-AD48F070873C}"/>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5" name="Freeform 936">
              <a:extLst>
                <a:ext uri="{FF2B5EF4-FFF2-40B4-BE49-F238E27FC236}">
                  <a16:creationId xmlns:a16="http://schemas.microsoft.com/office/drawing/2014/main" id="{DD06F711-F5E5-45D9-BC76-2054817F3BAA}"/>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6" name="Group 777">
            <a:extLst>
              <a:ext uri="{FF2B5EF4-FFF2-40B4-BE49-F238E27FC236}">
                <a16:creationId xmlns:a16="http://schemas.microsoft.com/office/drawing/2014/main" id="{1F290C2D-DD5C-439B-8E9F-8D196AA71A9B}"/>
              </a:ext>
            </a:extLst>
          </p:cNvPr>
          <p:cNvGrpSpPr>
            <a:grpSpLocks noChangeAspect="1"/>
          </p:cNvGrpSpPr>
          <p:nvPr/>
        </p:nvGrpSpPr>
        <p:grpSpPr bwMode="auto">
          <a:xfrm>
            <a:off x="5866728" y="1338630"/>
            <a:ext cx="458544" cy="457200"/>
            <a:chOff x="5818" y="3070"/>
            <a:chExt cx="341" cy="340"/>
          </a:xfrm>
          <a:solidFill>
            <a:schemeClr val="tx1"/>
          </a:solidFill>
        </p:grpSpPr>
        <p:sp>
          <p:nvSpPr>
            <p:cNvPr id="167" name="Freeform 778">
              <a:extLst>
                <a:ext uri="{FF2B5EF4-FFF2-40B4-BE49-F238E27FC236}">
                  <a16:creationId xmlns:a16="http://schemas.microsoft.com/office/drawing/2014/main" id="{D26107A6-0B08-42BD-A35B-06959AB73E25}"/>
                </a:ext>
              </a:extLst>
            </p:cNvPr>
            <p:cNvSpPr>
              <a:spLocks noEditPoints="1"/>
            </p:cNvSpPr>
            <p:nvPr/>
          </p:nvSpPr>
          <p:spPr bwMode="auto">
            <a:xfrm>
              <a:off x="5882" y="3140"/>
              <a:ext cx="213" cy="185"/>
            </a:xfrm>
            <a:custGeom>
              <a:avLst/>
              <a:gdLst>
                <a:gd name="T0" fmla="*/ 309 w 320"/>
                <a:gd name="T1" fmla="*/ 43 h 278"/>
                <a:gd name="T2" fmla="*/ 213 w 320"/>
                <a:gd name="T3" fmla="*/ 43 h 278"/>
                <a:gd name="T4" fmla="*/ 213 w 320"/>
                <a:gd name="T5" fmla="*/ 11 h 278"/>
                <a:gd name="T6" fmla="*/ 202 w 320"/>
                <a:gd name="T7" fmla="*/ 0 h 278"/>
                <a:gd name="T8" fmla="*/ 117 w 320"/>
                <a:gd name="T9" fmla="*/ 0 h 278"/>
                <a:gd name="T10" fmla="*/ 106 w 320"/>
                <a:gd name="T11" fmla="*/ 11 h 278"/>
                <a:gd name="T12" fmla="*/ 106 w 320"/>
                <a:gd name="T13" fmla="*/ 43 h 278"/>
                <a:gd name="T14" fmla="*/ 10 w 320"/>
                <a:gd name="T15" fmla="*/ 43 h 278"/>
                <a:gd name="T16" fmla="*/ 0 w 320"/>
                <a:gd name="T17" fmla="*/ 54 h 278"/>
                <a:gd name="T18" fmla="*/ 0 w 320"/>
                <a:gd name="T19" fmla="*/ 160 h 278"/>
                <a:gd name="T20" fmla="*/ 10 w 320"/>
                <a:gd name="T21" fmla="*/ 171 h 278"/>
                <a:gd name="T22" fmla="*/ 21 w 320"/>
                <a:gd name="T23" fmla="*/ 171 h 278"/>
                <a:gd name="T24" fmla="*/ 21 w 320"/>
                <a:gd name="T25" fmla="*/ 267 h 278"/>
                <a:gd name="T26" fmla="*/ 32 w 320"/>
                <a:gd name="T27" fmla="*/ 278 h 278"/>
                <a:gd name="T28" fmla="*/ 288 w 320"/>
                <a:gd name="T29" fmla="*/ 278 h 278"/>
                <a:gd name="T30" fmla="*/ 298 w 320"/>
                <a:gd name="T31" fmla="*/ 267 h 278"/>
                <a:gd name="T32" fmla="*/ 298 w 320"/>
                <a:gd name="T33" fmla="*/ 171 h 278"/>
                <a:gd name="T34" fmla="*/ 309 w 320"/>
                <a:gd name="T35" fmla="*/ 171 h 278"/>
                <a:gd name="T36" fmla="*/ 320 w 320"/>
                <a:gd name="T37" fmla="*/ 160 h 278"/>
                <a:gd name="T38" fmla="*/ 320 w 320"/>
                <a:gd name="T39" fmla="*/ 54 h 278"/>
                <a:gd name="T40" fmla="*/ 309 w 320"/>
                <a:gd name="T41" fmla="*/ 43 h 278"/>
                <a:gd name="T42" fmla="*/ 128 w 320"/>
                <a:gd name="T43" fmla="*/ 22 h 278"/>
                <a:gd name="T44" fmla="*/ 192 w 320"/>
                <a:gd name="T45" fmla="*/ 22 h 278"/>
                <a:gd name="T46" fmla="*/ 192 w 320"/>
                <a:gd name="T47" fmla="*/ 43 h 278"/>
                <a:gd name="T48" fmla="*/ 128 w 320"/>
                <a:gd name="T49" fmla="*/ 43 h 278"/>
                <a:gd name="T50" fmla="*/ 128 w 320"/>
                <a:gd name="T51" fmla="*/ 22 h 278"/>
                <a:gd name="T52" fmla="*/ 277 w 320"/>
                <a:gd name="T53" fmla="*/ 256 h 278"/>
                <a:gd name="T54" fmla="*/ 42 w 320"/>
                <a:gd name="T55" fmla="*/ 256 h 278"/>
                <a:gd name="T56" fmla="*/ 42 w 320"/>
                <a:gd name="T57" fmla="*/ 171 h 278"/>
                <a:gd name="T58" fmla="*/ 85 w 320"/>
                <a:gd name="T59" fmla="*/ 171 h 278"/>
                <a:gd name="T60" fmla="*/ 85 w 320"/>
                <a:gd name="T61" fmla="*/ 182 h 278"/>
                <a:gd name="T62" fmla="*/ 96 w 320"/>
                <a:gd name="T63" fmla="*/ 192 h 278"/>
                <a:gd name="T64" fmla="*/ 106 w 320"/>
                <a:gd name="T65" fmla="*/ 182 h 278"/>
                <a:gd name="T66" fmla="*/ 106 w 320"/>
                <a:gd name="T67" fmla="*/ 171 h 278"/>
                <a:gd name="T68" fmla="*/ 213 w 320"/>
                <a:gd name="T69" fmla="*/ 171 h 278"/>
                <a:gd name="T70" fmla="*/ 213 w 320"/>
                <a:gd name="T71" fmla="*/ 182 h 278"/>
                <a:gd name="T72" fmla="*/ 224 w 320"/>
                <a:gd name="T73" fmla="*/ 192 h 278"/>
                <a:gd name="T74" fmla="*/ 234 w 320"/>
                <a:gd name="T75" fmla="*/ 182 h 278"/>
                <a:gd name="T76" fmla="*/ 234 w 320"/>
                <a:gd name="T77" fmla="*/ 171 h 278"/>
                <a:gd name="T78" fmla="*/ 277 w 320"/>
                <a:gd name="T79" fmla="*/ 171 h 278"/>
                <a:gd name="T80" fmla="*/ 277 w 320"/>
                <a:gd name="T81" fmla="*/ 256 h 278"/>
                <a:gd name="T82" fmla="*/ 298 w 320"/>
                <a:gd name="T83" fmla="*/ 150 h 278"/>
                <a:gd name="T84" fmla="*/ 234 w 320"/>
                <a:gd name="T85" fmla="*/ 150 h 278"/>
                <a:gd name="T86" fmla="*/ 234 w 320"/>
                <a:gd name="T87" fmla="*/ 139 h 278"/>
                <a:gd name="T88" fmla="*/ 224 w 320"/>
                <a:gd name="T89" fmla="*/ 128 h 278"/>
                <a:gd name="T90" fmla="*/ 213 w 320"/>
                <a:gd name="T91" fmla="*/ 139 h 278"/>
                <a:gd name="T92" fmla="*/ 213 w 320"/>
                <a:gd name="T93" fmla="*/ 150 h 278"/>
                <a:gd name="T94" fmla="*/ 106 w 320"/>
                <a:gd name="T95" fmla="*/ 150 h 278"/>
                <a:gd name="T96" fmla="*/ 106 w 320"/>
                <a:gd name="T97" fmla="*/ 139 h 278"/>
                <a:gd name="T98" fmla="*/ 96 w 320"/>
                <a:gd name="T99" fmla="*/ 128 h 278"/>
                <a:gd name="T100" fmla="*/ 85 w 320"/>
                <a:gd name="T101" fmla="*/ 139 h 278"/>
                <a:gd name="T102" fmla="*/ 85 w 320"/>
                <a:gd name="T103" fmla="*/ 150 h 278"/>
                <a:gd name="T104" fmla="*/ 21 w 320"/>
                <a:gd name="T105" fmla="*/ 150 h 278"/>
                <a:gd name="T106" fmla="*/ 21 w 320"/>
                <a:gd name="T107" fmla="*/ 64 h 278"/>
                <a:gd name="T108" fmla="*/ 298 w 320"/>
                <a:gd name="T109" fmla="*/ 64 h 278"/>
                <a:gd name="T110" fmla="*/ 298 w 320"/>
                <a:gd name="T111" fmla="*/ 15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78">
                  <a:moveTo>
                    <a:pt x="309" y="43"/>
                  </a:moveTo>
                  <a:cubicBezTo>
                    <a:pt x="213" y="43"/>
                    <a:pt x="213" y="43"/>
                    <a:pt x="213" y="43"/>
                  </a:cubicBezTo>
                  <a:cubicBezTo>
                    <a:pt x="213" y="11"/>
                    <a:pt x="213" y="11"/>
                    <a:pt x="213" y="11"/>
                  </a:cubicBezTo>
                  <a:cubicBezTo>
                    <a:pt x="213" y="5"/>
                    <a:pt x="208" y="0"/>
                    <a:pt x="202" y="0"/>
                  </a:cubicBezTo>
                  <a:cubicBezTo>
                    <a:pt x="117" y="0"/>
                    <a:pt x="117" y="0"/>
                    <a:pt x="117" y="0"/>
                  </a:cubicBezTo>
                  <a:cubicBezTo>
                    <a:pt x="111" y="0"/>
                    <a:pt x="106" y="5"/>
                    <a:pt x="106" y="11"/>
                  </a:cubicBezTo>
                  <a:cubicBezTo>
                    <a:pt x="106" y="43"/>
                    <a:pt x="106" y="43"/>
                    <a:pt x="106" y="43"/>
                  </a:cubicBezTo>
                  <a:cubicBezTo>
                    <a:pt x="10" y="43"/>
                    <a:pt x="10" y="43"/>
                    <a:pt x="10" y="43"/>
                  </a:cubicBezTo>
                  <a:cubicBezTo>
                    <a:pt x="4" y="43"/>
                    <a:pt x="0" y="48"/>
                    <a:pt x="0" y="54"/>
                  </a:cubicBezTo>
                  <a:cubicBezTo>
                    <a:pt x="0" y="160"/>
                    <a:pt x="0" y="160"/>
                    <a:pt x="0" y="160"/>
                  </a:cubicBezTo>
                  <a:cubicBezTo>
                    <a:pt x="0" y="166"/>
                    <a:pt x="4" y="171"/>
                    <a:pt x="10" y="171"/>
                  </a:cubicBezTo>
                  <a:cubicBezTo>
                    <a:pt x="21" y="171"/>
                    <a:pt x="21" y="171"/>
                    <a:pt x="21" y="171"/>
                  </a:cubicBezTo>
                  <a:cubicBezTo>
                    <a:pt x="21" y="267"/>
                    <a:pt x="21" y="267"/>
                    <a:pt x="21" y="267"/>
                  </a:cubicBezTo>
                  <a:cubicBezTo>
                    <a:pt x="21" y="273"/>
                    <a:pt x="26" y="278"/>
                    <a:pt x="32" y="278"/>
                  </a:cubicBezTo>
                  <a:cubicBezTo>
                    <a:pt x="288" y="278"/>
                    <a:pt x="288" y="278"/>
                    <a:pt x="288" y="278"/>
                  </a:cubicBezTo>
                  <a:cubicBezTo>
                    <a:pt x="294" y="278"/>
                    <a:pt x="298" y="273"/>
                    <a:pt x="298" y="267"/>
                  </a:cubicBezTo>
                  <a:cubicBezTo>
                    <a:pt x="298" y="171"/>
                    <a:pt x="298" y="171"/>
                    <a:pt x="298" y="171"/>
                  </a:cubicBezTo>
                  <a:cubicBezTo>
                    <a:pt x="309" y="171"/>
                    <a:pt x="309" y="171"/>
                    <a:pt x="309" y="171"/>
                  </a:cubicBezTo>
                  <a:cubicBezTo>
                    <a:pt x="315" y="171"/>
                    <a:pt x="320" y="166"/>
                    <a:pt x="320" y="160"/>
                  </a:cubicBezTo>
                  <a:cubicBezTo>
                    <a:pt x="320" y="54"/>
                    <a:pt x="320" y="54"/>
                    <a:pt x="320" y="54"/>
                  </a:cubicBezTo>
                  <a:cubicBezTo>
                    <a:pt x="320" y="48"/>
                    <a:pt x="315" y="43"/>
                    <a:pt x="309" y="43"/>
                  </a:cubicBezTo>
                  <a:close/>
                  <a:moveTo>
                    <a:pt x="128" y="22"/>
                  </a:moveTo>
                  <a:cubicBezTo>
                    <a:pt x="192" y="22"/>
                    <a:pt x="192" y="22"/>
                    <a:pt x="192" y="22"/>
                  </a:cubicBezTo>
                  <a:cubicBezTo>
                    <a:pt x="192" y="43"/>
                    <a:pt x="192" y="43"/>
                    <a:pt x="192" y="43"/>
                  </a:cubicBezTo>
                  <a:cubicBezTo>
                    <a:pt x="128" y="43"/>
                    <a:pt x="128" y="43"/>
                    <a:pt x="128" y="43"/>
                  </a:cubicBezTo>
                  <a:lnTo>
                    <a:pt x="128" y="22"/>
                  </a:lnTo>
                  <a:close/>
                  <a:moveTo>
                    <a:pt x="277" y="256"/>
                  </a:moveTo>
                  <a:cubicBezTo>
                    <a:pt x="42" y="256"/>
                    <a:pt x="42" y="256"/>
                    <a:pt x="42" y="256"/>
                  </a:cubicBezTo>
                  <a:cubicBezTo>
                    <a:pt x="42" y="171"/>
                    <a:pt x="42" y="171"/>
                    <a:pt x="42" y="171"/>
                  </a:cubicBezTo>
                  <a:cubicBezTo>
                    <a:pt x="85" y="171"/>
                    <a:pt x="85" y="171"/>
                    <a:pt x="85" y="171"/>
                  </a:cubicBezTo>
                  <a:cubicBezTo>
                    <a:pt x="85" y="182"/>
                    <a:pt x="85" y="182"/>
                    <a:pt x="85" y="182"/>
                  </a:cubicBezTo>
                  <a:cubicBezTo>
                    <a:pt x="85" y="188"/>
                    <a:pt x="90" y="192"/>
                    <a:pt x="96" y="192"/>
                  </a:cubicBezTo>
                  <a:cubicBezTo>
                    <a:pt x="102" y="192"/>
                    <a:pt x="106" y="188"/>
                    <a:pt x="106" y="182"/>
                  </a:cubicBezTo>
                  <a:cubicBezTo>
                    <a:pt x="106" y="171"/>
                    <a:pt x="106" y="171"/>
                    <a:pt x="106" y="171"/>
                  </a:cubicBezTo>
                  <a:cubicBezTo>
                    <a:pt x="213" y="171"/>
                    <a:pt x="213" y="171"/>
                    <a:pt x="213" y="171"/>
                  </a:cubicBezTo>
                  <a:cubicBezTo>
                    <a:pt x="213" y="182"/>
                    <a:pt x="213" y="182"/>
                    <a:pt x="213" y="182"/>
                  </a:cubicBezTo>
                  <a:cubicBezTo>
                    <a:pt x="213" y="188"/>
                    <a:pt x="218" y="192"/>
                    <a:pt x="224" y="192"/>
                  </a:cubicBezTo>
                  <a:cubicBezTo>
                    <a:pt x="230" y="192"/>
                    <a:pt x="234" y="188"/>
                    <a:pt x="234" y="182"/>
                  </a:cubicBezTo>
                  <a:cubicBezTo>
                    <a:pt x="234" y="171"/>
                    <a:pt x="234" y="171"/>
                    <a:pt x="234" y="171"/>
                  </a:cubicBezTo>
                  <a:cubicBezTo>
                    <a:pt x="277" y="171"/>
                    <a:pt x="277" y="171"/>
                    <a:pt x="277" y="171"/>
                  </a:cubicBezTo>
                  <a:lnTo>
                    <a:pt x="277" y="256"/>
                  </a:lnTo>
                  <a:close/>
                  <a:moveTo>
                    <a:pt x="298" y="150"/>
                  </a:moveTo>
                  <a:cubicBezTo>
                    <a:pt x="234" y="150"/>
                    <a:pt x="234" y="150"/>
                    <a:pt x="234" y="150"/>
                  </a:cubicBezTo>
                  <a:cubicBezTo>
                    <a:pt x="234" y="139"/>
                    <a:pt x="234" y="139"/>
                    <a:pt x="234" y="139"/>
                  </a:cubicBezTo>
                  <a:cubicBezTo>
                    <a:pt x="234" y="133"/>
                    <a:pt x="230" y="128"/>
                    <a:pt x="224" y="128"/>
                  </a:cubicBezTo>
                  <a:cubicBezTo>
                    <a:pt x="218" y="128"/>
                    <a:pt x="213" y="133"/>
                    <a:pt x="213" y="139"/>
                  </a:cubicBezTo>
                  <a:cubicBezTo>
                    <a:pt x="213" y="150"/>
                    <a:pt x="213" y="150"/>
                    <a:pt x="213" y="150"/>
                  </a:cubicBezTo>
                  <a:cubicBezTo>
                    <a:pt x="106" y="150"/>
                    <a:pt x="106" y="150"/>
                    <a:pt x="106" y="150"/>
                  </a:cubicBezTo>
                  <a:cubicBezTo>
                    <a:pt x="106" y="139"/>
                    <a:pt x="106" y="139"/>
                    <a:pt x="106" y="139"/>
                  </a:cubicBezTo>
                  <a:cubicBezTo>
                    <a:pt x="106" y="133"/>
                    <a:pt x="102" y="128"/>
                    <a:pt x="96" y="128"/>
                  </a:cubicBezTo>
                  <a:cubicBezTo>
                    <a:pt x="90" y="128"/>
                    <a:pt x="85" y="133"/>
                    <a:pt x="85" y="139"/>
                  </a:cubicBezTo>
                  <a:cubicBezTo>
                    <a:pt x="85" y="150"/>
                    <a:pt x="85" y="150"/>
                    <a:pt x="85" y="150"/>
                  </a:cubicBezTo>
                  <a:cubicBezTo>
                    <a:pt x="21" y="150"/>
                    <a:pt x="21" y="150"/>
                    <a:pt x="21" y="150"/>
                  </a:cubicBezTo>
                  <a:cubicBezTo>
                    <a:pt x="21" y="64"/>
                    <a:pt x="21" y="64"/>
                    <a:pt x="21" y="64"/>
                  </a:cubicBezTo>
                  <a:cubicBezTo>
                    <a:pt x="298" y="64"/>
                    <a:pt x="298" y="64"/>
                    <a:pt x="298" y="64"/>
                  </a:cubicBezTo>
                  <a:lnTo>
                    <a:pt x="298" y="150"/>
                  </a:ln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8" name="Freeform 779">
              <a:extLst>
                <a:ext uri="{FF2B5EF4-FFF2-40B4-BE49-F238E27FC236}">
                  <a16:creationId xmlns:a16="http://schemas.microsoft.com/office/drawing/2014/main" id="{5252BEE0-FD9D-479F-91FE-2C73E5599C2C}"/>
                </a:ext>
              </a:extLst>
            </p:cNvPr>
            <p:cNvSpPr>
              <a:spLocks noEditPoints="1"/>
            </p:cNvSpPr>
            <p:nvPr/>
          </p:nvSpPr>
          <p:spPr bwMode="auto">
            <a:xfrm>
              <a:off x="5818" y="307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60160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5748338" y="0"/>
            <a:ext cx="64436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1" name="Group 40">
            <a:extLst>
              <a:ext uri="{FF2B5EF4-FFF2-40B4-BE49-F238E27FC236}">
                <a16:creationId xmlns:a16="http://schemas.microsoft.com/office/drawing/2014/main" id="{B81C30BD-6E0A-5746-A583-22D8F6841F52}"/>
              </a:ext>
            </a:extLst>
          </p:cNvPr>
          <p:cNvGrpSpPr/>
          <p:nvPr/>
        </p:nvGrpSpPr>
        <p:grpSpPr>
          <a:xfrm>
            <a:off x="746538" y="725024"/>
            <a:ext cx="4642410" cy="5135562"/>
            <a:chOff x="2379795" y="745511"/>
            <a:chExt cx="4642410" cy="5135562"/>
          </a:xfrm>
        </p:grpSpPr>
        <p:sp>
          <p:nvSpPr>
            <p:cNvPr id="42" name="Freeform 1591">
              <a:extLst>
                <a:ext uri="{FF2B5EF4-FFF2-40B4-BE49-F238E27FC236}">
                  <a16:creationId xmlns:a16="http://schemas.microsoft.com/office/drawing/2014/main" id="{D89D21A3-25D8-0242-B62E-890E8D7FFE26}"/>
                </a:ext>
              </a:extLst>
            </p:cNvPr>
            <p:cNvSpPr>
              <a:spLocks/>
            </p:cNvSpPr>
            <p:nvPr/>
          </p:nvSpPr>
          <p:spPr bwMode="auto">
            <a:xfrm>
              <a:off x="3983729" y="1975823"/>
              <a:ext cx="1577975" cy="3897312"/>
            </a:xfrm>
            <a:custGeom>
              <a:avLst/>
              <a:gdLst>
                <a:gd name="T0" fmla="*/ 1308 w 1988"/>
                <a:gd name="T1" fmla="*/ 51 h 4910"/>
                <a:gd name="T2" fmla="*/ 1661 w 1988"/>
                <a:gd name="T3" fmla="*/ 257 h 4910"/>
                <a:gd name="T4" fmla="*/ 1900 w 1988"/>
                <a:gd name="T5" fmla="*/ 584 h 4910"/>
                <a:gd name="T6" fmla="*/ 1988 w 1988"/>
                <a:gd name="T7" fmla="*/ 994 h 4910"/>
                <a:gd name="T8" fmla="*/ 1906 w 1988"/>
                <a:gd name="T9" fmla="*/ 1391 h 4910"/>
                <a:gd name="T10" fmla="*/ 1684 w 1988"/>
                <a:gd name="T11" fmla="*/ 1712 h 4910"/>
                <a:gd name="T12" fmla="*/ 1353 w 1988"/>
                <a:gd name="T13" fmla="*/ 1922 h 4910"/>
                <a:gd name="T14" fmla="*/ 1055 w 1988"/>
                <a:gd name="T15" fmla="*/ 2919 h 4910"/>
                <a:gd name="T16" fmla="*/ 1353 w 1988"/>
                <a:gd name="T17" fmla="*/ 2990 h 4910"/>
                <a:gd name="T18" fmla="*/ 1684 w 1988"/>
                <a:gd name="T19" fmla="*/ 3199 h 4910"/>
                <a:gd name="T20" fmla="*/ 1906 w 1988"/>
                <a:gd name="T21" fmla="*/ 3521 h 4910"/>
                <a:gd name="T22" fmla="*/ 1988 w 1988"/>
                <a:gd name="T23" fmla="*/ 3916 h 4910"/>
                <a:gd name="T24" fmla="*/ 1900 w 1988"/>
                <a:gd name="T25" fmla="*/ 4328 h 4910"/>
                <a:gd name="T26" fmla="*/ 1661 w 1988"/>
                <a:gd name="T27" fmla="*/ 4655 h 4910"/>
                <a:gd name="T28" fmla="*/ 1308 w 1988"/>
                <a:gd name="T29" fmla="*/ 4859 h 4910"/>
                <a:gd name="T30" fmla="*/ 886 w 1988"/>
                <a:gd name="T31" fmla="*/ 4904 h 4910"/>
                <a:gd name="T32" fmla="*/ 494 w 1988"/>
                <a:gd name="T33" fmla="*/ 4775 h 4910"/>
                <a:gd name="T34" fmla="*/ 192 w 1988"/>
                <a:gd name="T35" fmla="*/ 4504 h 4910"/>
                <a:gd name="T36" fmla="*/ 23 w 1988"/>
                <a:gd name="T37" fmla="*/ 4129 h 4910"/>
                <a:gd name="T38" fmla="*/ 21 w 1988"/>
                <a:gd name="T39" fmla="*/ 3712 h 4910"/>
                <a:gd name="T40" fmla="*/ 186 w 1988"/>
                <a:gd name="T41" fmla="*/ 3339 h 4910"/>
                <a:gd name="T42" fmla="*/ 260 w 1988"/>
                <a:gd name="T43" fmla="*/ 3258 h 4910"/>
                <a:gd name="T44" fmla="*/ 198 w 1988"/>
                <a:gd name="T45" fmla="*/ 3349 h 4910"/>
                <a:gd name="T46" fmla="*/ 37 w 1988"/>
                <a:gd name="T47" fmla="*/ 3715 h 4910"/>
                <a:gd name="T48" fmla="*/ 37 w 1988"/>
                <a:gd name="T49" fmla="*/ 4125 h 4910"/>
                <a:gd name="T50" fmla="*/ 204 w 1988"/>
                <a:gd name="T51" fmla="*/ 4494 h 4910"/>
                <a:gd name="T52" fmla="*/ 500 w 1988"/>
                <a:gd name="T53" fmla="*/ 4761 h 4910"/>
                <a:gd name="T54" fmla="*/ 888 w 1988"/>
                <a:gd name="T55" fmla="*/ 4891 h 4910"/>
                <a:gd name="T56" fmla="*/ 1304 w 1988"/>
                <a:gd name="T57" fmla="*/ 4845 h 4910"/>
                <a:gd name="T58" fmla="*/ 1651 w 1988"/>
                <a:gd name="T59" fmla="*/ 4643 h 4910"/>
                <a:gd name="T60" fmla="*/ 1886 w 1988"/>
                <a:gd name="T61" fmla="*/ 4320 h 4910"/>
                <a:gd name="T62" fmla="*/ 1973 w 1988"/>
                <a:gd name="T63" fmla="*/ 3916 h 4910"/>
                <a:gd name="T64" fmla="*/ 1892 w 1988"/>
                <a:gd name="T65" fmla="*/ 3525 h 4910"/>
                <a:gd name="T66" fmla="*/ 1671 w 1988"/>
                <a:gd name="T67" fmla="*/ 3207 h 4910"/>
                <a:gd name="T68" fmla="*/ 1343 w 1988"/>
                <a:gd name="T69" fmla="*/ 3001 h 4910"/>
                <a:gd name="T70" fmla="*/ 1043 w 1988"/>
                <a:gd name="T71" fmla="*/ 2937 h 4910"/>
                <a:gd name="T72" fmla="*/ 1041 w 1988"/>
                <a:gd name="T73" fmla="*/ 1981 h 4910"/>
                <a:gd name="T74" fmla="*/ 1149 w 1988"/>
                <a:gd name="T75" fmla="*/ 1962 h 4910"/>
                <a:gd name="T76" fmla="*/ 1518 w 1988"/>
                <a:gd name="T77" fmla="*/ 1822 h 4910"/>
                <a:gd name="T78" fmla="*/ 1796 w 1988"/>
                <a:gd name="T79" fmla="*/ 1555 h 4910"/>
                <a:gd name="T80" fmla="*/ 1953 w 1988"/>
                <a:gd name="T81" fmla="*/ 1198 h 4910"/>
                <a:gd name="T82" fmla="*/ 1951 w 1988"/>
                <a:gd name="T83" fmla="*/ 784 h 4910"/>
                <a:gd name="T84" fmla="*/ 1784 w 1988"/>
                <a:gd name="T85" fmla="*/ 418 h 4910"/>
                <a:gd name="T86" fmla="*/ 1488 w 1988"/>
                <a:gd name="T87" fmla="*/ 149 h 4910"/>
                <a:gd name="T88" fmla="*/ 1102 w 1988"/>
                <a:gd name="T89" fmla="*/ 21 h 4910"/>
                <a:gd name="T90" fmla="*/ 686 w 1988"/>
                <a:gd name="T91" fmla="*/ 66 h 4910"/>
                <a:gd name="T92" fmla="*/ 339 w 1988"/>
                <a:gd name="T93" fmla="*/ 269 h 4910"/>
                <a:gd name="T94" fmla="*/ 102 w 1988"/>
                <a:gd name="T95" fmla="*/ 590 h 4910"/>
                <a:gd name="T96" fmla="*/ 15 w 1988"/>
                <a:gd name="T97" fmla="*/ 994 h 4910"/>
                <a:gd name="T98" fmla="*/ 72 w 1988"/>
                <a:gd name="T99" fmla="*/ 1324 h 4910"/>
                <a:gd name="T100" fmla="*/ 64 w 1988"/>
                <a:gd name="T101" fmla="*/ 1334 h 4910"/>
                <a:gd name="T102" fmla="*/ 15 w 1988"/>
                <a:gd name="T103" fmla="*/ 1165 h 4910"/>
                <a:gd name="T104" fmla="*/ 23 w 1988"/>
                <a:gd name="T105" fmla="*/ 783 h 4910"/>
                <a:gd name="T106" fmla="*/ 192 w 1988"/>
                <a:gd name="T107" fmla="*/ 408 h 4910"/>
                <a:gd name="T108" fmla="*/ 494 w 1988"/>
                <a:gd name="T109" fmla="*/ 137 h 4910"/>
                <a:gd name="T110" fmla="*/ 886 w 1988"/>
                <a:gd name="T111" fmla="*/ 6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8" h="4910">
                  <a:moveTo>
                    <a:pt x="994" y="0"/>
                  </a:moveTo>
                  <a:lnTo>
                    <a:pt x="1102" y="6"/>
                  </a:lnTo>
                  <a:lnTo>
                    <a:pt x="1208" y="23"/>
                  </a:lnTo>
                  <a:lnTo>
                    <a:pt x="1308" y="51"/>
                  </a:lnTo>
                  <a:lnTo>
                    <a:pt x="1404" y="90"/>
                  </a:lnTo>
                  <a:lnTo>
                    <a:pt x="1496" y="137"/>
                  </a:lnTo>
                  <a:lnTo>
                    <a:pt x="1580" y="192"/>
                  </a:lnTo>
                  <a:lnTo>
                    <a:pt x="1661" y="257"/>
                  </a:lnTo>
                  <a:lnTo>
                    <a:pt x="1731" y="329"/>
                  </a:lnTo>
                  <a:lnTo>
                    <a:pt x="1796" y="408"/>
                  </a:lnTo>
                  <a:lnTo>
                    <a:pt x="1853" y="494"/>
                  </a:lnTo>
                  <a:lnTo>
                    <a:pt x="1900" y="584"/>
                  </a:lnTo>
                  <a:lnTo>
                    <a:pt x="1937" y="681"/>
                  </a:lnTo>
                  <a:lnTo>
                    <a:pt x="1965" y="783"/>
                  </a:lnTo>
                  <a:lnTo>
                    <a:pt x="1982" y="887"/>
                  </a:lnTo>
                  <a:lnTo>
                    <a:pt x="1988" y="994"/>
                  </a:lnTo>
                  <a:lnTo>
                    <a:pt x="1982" y="1098"/>
                  </a:lnTo>
                  <a:lnTo>
                    <a:pt x="1967" y="1200"/>
                  </a:lnTo>
                  <a:lnTo>
                    <a:pt x="1941" y="1297"/>
                  </a:lnTo>
                  <a:lnTo>
                    <a:pt x="1906" y="1391"/>
                  </a:lnTo>
                  <a:lnTo>
                    <a:pt x="1863" y="1479"/>
                  </a:lnTo>
                  <a:lnTo>
                    <a:pt x="1810" y="1563"/>
                  </a:lnTo>
                  <a:lnTo>
                    <a:pt x="1751" y="1640"/>
                  </a:lnTo>
                  <a:lnTo>
                    <a:pt x="1684" y="1712"/>
                  </a:lnTo>
                  <a:lnTo>
                    <a:pt x="1610" y="1775"/>
                  </a:lnTo>
                  <a:lnTo>
                    <a:pt x="1529" y="1834"/>
                  </a:lnTo>
                  <a:lnTo>
                    <a:pt x="1445" y="1883"/>
                  </a:lnTo>
                  <a:lnTo>
                    <a:pt x="1353" y="1922"/>
                  </a:lnTo>
                  <a:lnTo>
                    <a:pt x="1259" y="1954"/>
                  </a:lnTo>
                  <a:lnTo>
                    <a:pt x="1159" y="1975"/>
                  </a:lnTo>
                  <a:lnTo>
                    <a:pt x="1055" y="1987"/>
                  </a:lnTo>
                  <a:lnTo>
                    <a:pt x="1055" y="2919"/>
                  </a:lnTo>
                  <a:lnTo>
                    <a:pt x="1055" y="2925"/>
                  </a:lnTo>
                  <a:lnTo>
                    <a:pt x="1159" y="2935"/>
                  </a:lnTo>
                  <a:lnTo>
                    <a:pt x="1257" y="2958"/>
                  </a:lnTo>
                  <a:lnTo>
                    <a:pt x="1353" y="2990"/>
                  </a:lnTo>
                  <a:lnTo>
                    <a:pt x="1443" y="3029"/>
                  </a:lnTo>
                  <a:lnTo>
                    <a:pt x="1529" y="3078"/>
                  </a:lnTo>
                  <a:lnTo>
                    <a:pt x="1610" y="3135"/>
                  </a:lnTo>
                  <a:lnTo>
                    <a:pt x="1684" y="3199"/>
                  </a:lnTo>
                  <a:lnTo>
                    <a:pt x="1751" y="3270"/>
                  </a:lnTo>
                  <a:lnTo>
                    <a:pt x="1810" y="3349"/>
                  </a:lnTo>
                  <a:lnTo>
                    <a:pt x="1863" y="3433"/>
                  </a:lnTo>
                  <a:lnTo>
                    <a:pt x="1906" y="3521"/>
                  </a:lnTo>
                  <a:lnTo>
                    <a:pt x="1941" y="3613"/>
                  </a:lnTo>
                  <a:lnTo>
                    <a:pt x="1967" y="3712"/>
                  </a:lnTo>
                  <a:lnTo>
                    <a:pt x="1982" y="3812"/>
                  </a:lnTo>
                  <a:lnTo>
                    <a:pt x="1988" y="3916"/>
                  </a:lnTo>
                  <a:lnTo>
                    <a:pt x="1982" y="4025"/>
                  </a:lnTo>
                  <a:lnTo>
                    <a:pt x="1965" y="4129"/>
                  </a:lnTo>
                  <a:lnTo>
                    <a:pt x="1937" y="4229"/>
                  </a:lnTo>
                  <a:lnTo>
                    <a:pt x="1900" y="4328"/>
                  </a:lnTo>
                  <a:lnTo>
                    <a:pt x="1853" y="4418"/>
                  </a:lnTo>
                  <a:lnTo>
                    <a:pt x="1796" y="4504"/>
                  </a:lnTo>
                  <a:lnTo>
                    <a:pt x="1731" y="4583"/>
                  </a:lnTo>
                  <a:lnTo>
                    <a:pt x="1661" y="4655"/>
                  </a:lnTo>
                  <a:lnTo>
                    <a:pt x="1580" y="4718"/>
                  </a:lnTo>
                  <a:lnTo>
                    <a:pt x="1496" y="4775"/>
                  </a:lnTo>
                  <a:lnTo>
                    <a:pt x="1404" y="4822"/>
                  </a:lnTo>
                  <a:lnTo>
                    <a:pt x="1308" y="4859"/>
                  </a:lnTo>
                  <a:lnTo>
                    <a:pt x="1208" y="4889"/>
                  </a:lnTo>
                  <a:lnTo>
                    <a:pt x="1102" y="4904"/>
                  </a:lnTo>
                  <a:lnTo>
                    <a:pt x="994" y="4910"/>
                  </a:lnTo>
                  <a:lnTo>
                    <a:pt x="886" y="4904"/>
                  </a:lnTo>
                  <a:lnTo>
                    <a:pt x="782" y="4889"/>
                  </a:lnTo>
                  <a:lnTo>
                    <a:pt x="680" y="4859"/>
                  </a:lnTo>
                  <a:lnTo>
                    <a:pt x="584" y="4822"/>
                  </a:lnTo>
                  <a:lnTo>
                    <a:pt x="494" y="4775"/>
                  </a:lnTo>
                  <a:lnTo>
                    <a:pt x="408" y="4718"/>
                  </a:lnTo>
                  <a:lnTo>
                    <a:pt x="329" y="4655"/>
                  </a:lnTo>
                  <a:lnTo>
                    <a:pt x="256" y="4583"/>
                  </a:lnTo>
                  <a:lnTo>
                    <a:pt x="192" y="4504"/>
                  </a:lnTo>
                  <a:lnTo>
                    <a:pt x="137" y="4418"/>
                  </a:lnTo>
                  <a:lnTo>
                    <a:pt x="90" y="4328"/>
                  </a:lnTo>
                  <a:lnTo>
                    <a:pt x="51" y="4229"/>
                  </a:lnTo>
                  <a:lnTo>
                    <a:pt x="23" y="4129"/>
                  </a:lnTo>
                  <a:lnTo>
                    <a:pt x="5" y="4025"/>
                  </a:lnTo>
                  <a:lnTo>
                    <a:pt x="0" y="3916"/>
                  </a:lnTo>
                  <a:lnTo>
                    <a:pt x="5" y="3814"/>
                  </a:lnTo>
                  <a:lnTo>
                    <a:pt x="21" y="3712"/>
                  </a:lnTo>
                  <a:lnTo>
                    <a:pt x="49" y="3613"/>
                  </a:lnTo>
                  <a:lnTo>
                    <a:pt x="84" y="3517"/>
                  </a:lnTo>
                  <a:lnTo>
                    <a:pt x="129" y="3425"/>
                  </a:lnTo>
                  <a:lnTo>
                    <a:pt x="186" y="3339"/>
                  </a:lnTo>
                  <a:lnTo>
                    <a:pt x="249" y="3258"/>
                  </a:lnTo>
                  <a:lnTo>
                    <a:pt x="253" y="3256"/>
                  </a:lnTo>
                  <a:lnTo>
                    <a:pt x="256" y="3256"/>
                  </a:lnTo>
                  <a:lnTo>
                    <a:pt x="260" y="3258"/>
                  </a:lnTo>
                  <a:lnTo>
                    <a:pt x="262" y="3260"/>
                  </a:lnTo>
                  <a:lnTo>
                    <a:pt x="262" y="3264"/>
                  </a:lnTo>
                  <a:lnTo>
                    <a:pt x="260" y="3268"/>
                  </a:lnTo>
                  <a:lnTo>
                    <a:pt x="198" y="3349"/>
                  </a:lnTo>
                  <a:lnTo>
                    <a:pt x="143" y="3433"/>
                  </a:lnTo>
                  <a:lnTo>
                    <a:pt x="98" y="3523"/>
                  </a:lnTo>
                  <a:lnTo>
                    <a:pt x="62" y="3617"/>
                  </a:lnTo>
                  <a:lnTo>
                    <a:pt x="37" y="3715"/>
                  </a:lnTo>
                  <a:lnTo>
                    <a:pt x="21" y="3815"/>
                  </a:lnTo>
                  <a:lnTo>
                    <a:pt x="15" y="3916"/>
                  </a:lnTo>
                  <a:lnTo>
                    <a:pt x="21" y="4023"/>
                  </a:lnTo>
                  <a:lnTo>
                    <a:pt x="37" y="4125"/>
                  </a:lnTo>
                  <a:lnTo>
                    <a:pt x="64" y="4226"/>
                  </a:lnTo>
                  <a:lnTo>
                    <a:pt x="102" y="4320"/>
                  </a:lnTo>
                  <a:lnTo>
                    <a:pt x="149" y="4410"/>
                  </a:lnTo>
                  <a:lnTo>
                    <a:pt x="204" y="4494"/>
                  </a:lnTo>
                  <a:lnTo>
                    <a:pt x="268" y="4573"/>
                  </a:lnTo>
                  <a:lnTo>
                    <a:pt x="339" y="4643"/>
                  </a:lnTo>
                  <a:lnTo>
                    <a:pt x="417" y="4706"/>
                  </a:lnTo>
                  <a:lnTo>
                    <a:pt x="500" y="4761"/>
                  </a:lnTo>
                  <a:lnTo>
                    <a:pt x="590" y="4808"/>
                  </a:lnTo>
                  <a:lnTo>
                    <a:pt x="686" y="4845"/>
                  </a:lnTo>
                  <a:lnTo>
                    <a:pt x="784" y="4873"/>
                  </a:lnTo>
                  <a:lnTo>
                    <a:pt x="888" y="4891"/>
                  </a:lnTo>
                  <a:lnTo>
                    <a:pt x="994" y="4896"/>
                  </a:lnTo>
                  <a:lnTo>
                    <a:pt x="1102" y="4891"/>
                  </a:lnTo>
                  <a:lnTo>
                    <a:pt x="1204" y="4873"/>
                  </a:lnTo>
                  <a:lnTo>
                    <a:pt x="1304" y="4845"/>
                  </a:lnTo>
                  <a:lnTo>
                    <a:pt x="1398" y="4808"/>
                  </a:lnTo>
                  <a:lnTo>
                    <a:pt x="1488" y="4761"/>
                  </a:lnTo>
                  <a:lnTo>
                    <a:pt x="1573" y="4706"/>
                  </a:lnTo>
                  <a:lnTo>
                    <a:pt x="1651" y="4643"/>
                  </a:lnTo>
                  <a:lnTo>
                    <a:pt x="1722" y="4573"/>
                  </a:lnTo>
                  <a:lnTo>
                    <a:pt x="1784" y="4494"/>
                  </a:lnTo>
                  <a:lnTo>
                    <a:pt x="1839" y="4410"/>
                  </a:lnTo>
                  <a:lnTo>
                    <a:pt x="1886" y="4320"/>
                  </a:lnTo>
                  <a:lnTo>
                    <a:pt x="1924" y="4226"/>
                  </a:lnTo>
                  <a:lnTo>
                    <a:pt x="1951" y="4125"/>
                  </a:lnTo>
                  <a:lnTo>
                    <a:pt x="1969" y="4023"/>
                  </a:lnTo>
                  <a:lnTo>
                    <a:pt x="1973" y="3916"/>
                  </a:lnTo>
                  <a:lnTo>
                    <a:pt x="1969" y="3814"/>
                  </a:lnTo>
                  <a:lnTo>
                    <a:pt x="1953" y="3713"/>
                  </a:lnTo>
                  <a:lnTo>
                    <a:pt x="1928" y="3617"/>
                  </a:lnTo>
                  <a:lnTo>
                    <a:pt x="1892" y="3525"/>
                  </a:lnTo>
                  <a:lnTo>
                    <a:pt x="1849" y="3437"/>
                  </a:lnTo>
                  <a:lnTo>
                    <a:pt x="1796" y="3354"/>
                  </a:lnTo>
                  <a:lnTo>
                    <a:pt x="1737" y="3278"/>
                  </a:lnTo>
                  <a:lnTo>
                    <a:pt x="1671" y="3207"/>
                  </a:lnTo>
                  <a:lnTo>
                    <a:pt x="1598" y="3145"/>
                  </a:lnTo>
                  <a:lnTo>
                    <a:pt x="1518" y="3088"/>
                  </a:lnTo>
                  <a:lnTo>
                    <a:pt x="1433" y="3041"/>
                  </a:lnTo>
                  <a:lnTo>
                    <a:pt x="1343" y="3001"/>
                  </a:lnTo>
                  <a:lnTo>
                    <a:pt x="1247" y="2970"/>
                  </a:lnTo>
                  <a:lnTo>
                    <a:pt x="1149" y="2948"/>
                  </a:lnTo>
                  <a:lnTo>
                    <a:pt x="1047" y="2939"/>
                  </a:lnTo>
                  <a:lnTo>
                    <a:pt x="1043" y="2937"/>
                  </a:lnTo>
                  <a:lnTo>
                    <a:pt x="1041" y="2935"/>
                  </a:lnTo>
                  <a:lnTo>
                    <a:pt x="1039" y="2931"/>
                  </a:lnTo>
                  <a:lnTo>
                    <a:pt x="1041" y="2919"/>
                  </a:lnTo>
                  <a:lnTo>
                    <a:pt x="1041" y="1981"/>
                  </a:lnTo>
                  <a:lnTo>
                    <a:pt x="1041" y="1977"/>
                  </a:lnTo>
                  <a:lnTo>
                    <a:pt x="1043" y="1973"/>
                  </a:lnTo>
                  <a:lnTo>
                    <a:pt x="1047" y="1973"/>
                  </a:lnTo>
                  <a:lnTo>
                    <a:pt x="1149" y="1962"/>
                  </a:lnTo>
                  <a:lnTo>
                    <a:pt x="1249" y="1942"/>
                  </a:lnTo>
                  <a:lnTo>
                    <a:pt x="1343" y="1911"/>
                  </a:lnTo>
                  <a:lnTo>
                    <a:pt x="1433" y="1871"/>
                  </a:lnTo>
                  <a:lnTo>
                    <a:pt x="1518" y="1822"/>
                  </a:lnTo>
                  <a:lnTo>
                    <a:pt x="1598" y="1767"/>
                  </a:lnTo>
                  <a:lnTo>
                    <a:pt x="1671" y="1703"/>
                  </a:lnTo>
                  <a:lnTo>
                    <a:pt x="1737" y="1634"/>
                  </a:lnTo>
                  <a:lnTo>
                    <a:pt x="1796" y="1555"/>
                  </a:lnTo>
                  <a:lnTo>
                    <a:pt x="1849" y="1473"/>
                  </a:lnTo>
                  <a:lnTo>
                    <a:pt x="1892" y="1387"/>
                  </a:lnTo>
                  <a:lnTo>
                    <a:pt x="1928" y="1295"/>
                  </a:lnTo>
                  <a:lnTo>
                    <a:pt x="1953" y="1198"/>
                  </a:lnTo>
                  <a:lnTo>
                    <a:pt x="1969" y="1098"/>
                  </a:lnTo>
                  <a:lnTo>
                    <a:pt x="1973" y="994"/>
                  </a:lnTo>
                  <a:lnTo>
                    <a:pt x="1969" y="888"/>
                  </a:lnTo>
                  <a:lnTo>
                    <a:pt x="1951" y="784"/>
                  </a:lnTo>
                  <a:lnTo>
                    <a:pt x="1924" y="686"/>
                  </a:lnTo>
                  <a:lnTo>
                    <a:pt x="1886" y="590"/>
                  </a:lnTo>
                  <a:lnTo>
                    <a:pt x="1839" y="502"/>
                  </a:lnTo>
                  <a:lnTo>
                    <a:pt x="1784" y="418"/>
                  </a:lnTo>
                  <a:lnTo>
                    <a:pt x="1722" y="339"/>
                  </a:lnTo>
                  <a:lnTo>
                    <a:pt x="1651" y="269"/>
                  </a:lnTo>
                  <a:lnTo>
                    <a:pt x="1573" y="204"/>
                  </a:lnTo>
                  <a:lnTo>
                    <a:pt x="1488" y="149"/>
                  </a:lnTo>
                  <a:lnTo>
                    <a:pt x="1398" y="104"/>
                  </a:lnTo>
                  <a:lnTo>
                    <a:pt x="1304" y="66"/>
                  </a:lnTo>
                  <a:lnTo>
                    <a:pt x="1204" y="39"/>
                  </a:lnTo>
                  <a:lnTo>
                    <a:pt x="1102" y="21"/>
                  </a:lnTo>
                  <a:lnTo>
                    <a:pt x="994" y="15"/>
                  </a:lnTo>
                  <a:lnTo>
                    <a:pt x="888" y="21"/>
                  </a:lnTo>
                  <a:lnTo>
                    <a:pt x="784" y="39"/>
                  </a:lnTo>
                  <a:lnTo>
                    <a:pt x="686" y="66"/>
                  </a:lnTo>
                  <a:lnTo>
                    <a:pt x="590" y="104"/>
                  </a:lnTo>
                  <a:lnTo>
                    <a:pt x="500" y="149"/>
                  </a:lnTo>
                  <a:lnTo>
                    <a:pt x="417" y="204"/>
                  </a:lnTo>
                  <a:lnTo>
                    <a:pt x="339" y="269"/>
                  </a:lnTo>
                  <a:lnTo>
                    <a:pt x="268" y="339"/>
                  </a:lnTo>
                  <a:lnTo>
                    <a:pt x="204" y="418"/>
                  </a:lnTo>
                  <a:lnTo>
                    <a:pt x="149" y="502"/>
                  </a:lnTo>
                  <a:lnTo>
                    <a:pt x="102" y="590"/>
                  </a:lnTo>
                  <a:lnTo>
                    <a:pt x="64" y="686"/>
                  </a:lnTo>
                  <a:lnTo>
                    <a:pt x="37" y="784"/>
                  </a:lnTo>
                  <a:lnTo>
                    <a:pt x="21" y="888"/>
                  </a:lnTo>
                  <a:lnTo>
                    <a:pt x="15" y="994"/>
                  </a:lnTo>
                  <a:lnTo>
                    <a:pt x="19" y="1079"/>
                  </a:lnTo>
                  <a:lnTo>
                    <a:pt x="29" y="1163"/>
                  </a:lnTo>
                  <a:lnTo>
                    <a:pt x="47" y="1244"/>
                  </a:lnTo>
                  <a:lnTo>
                    <a:pt x="72" y="1324"/>
                  </a:lnTo>
                  <a:lnTo>
                    <a:pt x="72" y="1328"/>
                  </a:lnTo>
                  <a:lnTo>
                    <a:pt x="70" y="1332"/>
                  </a:lnTo>
                  <a:lnTo>
                    <a:pt x="68" y="1334"/>
                  </a:lnTo>
                  <a:lnTo>
                    <a:pt x="64" y="1334"/>
                  </a:lnTo>
                  <a:lnTo>
                    <a:pt x="60" y="1332"/>
                  </a:lnTo>
                  <a:lnTo>
                    <a:pt x="58" y="1330"/>
                  </a:lnTo>
                  <a:lnTo>
                    <a:pt x="33" y="1247"/>
                  </a:lnTo>
                  <a:lnTo>
                    <a:pt x="15" y="1165"/>
                  </a:lnTo>
                  <a:lnTo>
                    <a:pt x="3" y="1081"/>
                  </a:lnTo>
                  <a:lnTo>
                    <a:pt x="0" y="994"/>
                  </a:lnTo>
                  <a:lnTo>
                    <a:pt x="5" y="887"/>
                  </a:lnTo>
                  <a:lnTo>
                    <a:pt x="23" y="783"/>
                  </a:lnTo>
                  <a:lnTo>
                    <a:pt x="51" y="681"/>
                  </a:lnTo>
                  <a:lnTo>
                    <a:pt x="90" y="584"/>
                  </a:lnTo>
                  <a:lnTo>
                    <a:pt x="137" y="494"/>
                  </a:lnTo>
                  <a:lnTo>
                    <a:pt x="192" y="408"/>
                  </a:lnTo>
                  <a:lnTo>
                    <a:pt x="256" y="329"/>
                  </a:lnTo>
                  <a:lnTo>
                    <a:pt x="329" y="257"/>
                  </a:lnTo>
                  <a:lnTo>
                    <a:pt x="408" y="192"/>
                  </a:lnTo>
                  <a:lnTo>
                    <a:pt x="494" y="137"/>
                  </a:lnTo>
                  <a:lnTo>
                    <a:pt x="584" y="90"/>
                  </a:lnTo>
                  <a:lnTo>
                    <a:pt x="680" y="51"/>
                  </a:lnTo>
                  <a:lnTo>
                    <a:pt x="782" y="23"/>
                  </a:lnTo>
                  <a:lnTo>
                    <a:pt x="886" y="6"/>
                  </a:lnTo>
                  <a:lnTo>
                    <a:pt x="99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1592">
              <a:extLst>
                <a:ext uri="{FF2B5EF4-FFF2-40B4-BE49-F238E27FC236}">
                  <a16:creationId xmlns:a16="http://schemas.microsoft.com/office/drawing/2014/main" id="{67F13EDD-4DD1-044A-9D48-2AB6506C8AEA}"/>
                </a:ext>
              </a:extLst>
            </p:cNvPr>
            <p:cNvSpPr>
              <a:spLocks/>
            </p:cNvSpPr>
            <p:nvPr/>
          </p:nvSpPr>
          <p:spPr bwMode="auto">
            <a:xfrm>
              <a:off x="2523229" y="4693623"/>
              <a:ext cx="1281113" cy="1093787"/>
            </a:xfrm>
            <a:custGeom>
              <a:avLst/>
              <a:gdLst>
                <a:gd name="T0" fmla="*/ 1606 w 1614"/>
                <a:gd name="T1" fmla="*/ 0 h 1379"/>
                <a:gd name="T2" fmla="*/ 1610 w 1614"/>
                <a:gd name="T3" fmla="*/ 2 h 1379"/>
                <a:gd name="T4" fmla="*/ 1614 w 1614"/>
                <a:gd name="T5" fmla="*/ 4 h 1379"/>
                <a:gd name="T6" fmla="*/ 1614 w 1614"/>
                <a:gd name="T7" fmla="*/ 8 h 1379"/>
                <a:gd name="T8" fmla="*/ 1614 w 1614"/>
                <a:gd name="T9" fmla="*/ 1269 h 1379"/>
                <a:gd name="T10" fmla="*/ 1608 w 1614"/>
                <a:gd name="T11" fmla="*/ 1305 h 1379"/>
                <a:gd name="T12" fmla="*/ 1592 w 1614"/>
                <a:gd name="T13" fmla="*/ 1334 h 1379"/>
                <a:gd name="T14" fmla="*/ 1569 w 1614"/>
                <a:gd name="T15" fmla="*/ 1358 h 1379"/>
                <a:gd name="T16" fmla="*/ 1539 w 1614"/>
                <a:gd name="T17" fmla="*/ 1373 h 1379"/>
                <a:gd name="T18" fmla="*/ 1504 w 1614"/>
                <a:gd name="T19" fmla="*/ 1379 h 1379"/>
                <a:gd name="T20" fmla="*/ 8 w 1614"/>
                <a:gd name="T21" fmla="*/ 1379 h 1379"/>
                <a:gd name="T22" fmla="*/ 4 w 1614"/>
                <a:gd name="T23" fmla="*/ 1379 h 1379"/>
                <a:gd name="T24" fmla="*/ 0 w 1614"/>
                <a:gd name="T25" fmla="*/ 1375 h 1379"/>
                <a:gd name="T26" fmla="*/ 0 w 1614"/>
                <a:gd name="T27" fmla="*/ 1371 h 1379"/>
                <a:gd name="T28" fmla="*/ 0 w 1614"/>
                <a:gd name="T29" fmla="*/ 1369 h 1379"/>
                <a:gd name="T30" fmla="*/ 4 w 1614"/>
                <a:gd name="T31" fmla="*/ 1366 h 1379"/>
                <a:gd name="T32" fmla="*/ 8 w 1614"/>
                <a:gd name="T33" fmla="*/ 1366 h 1379"/>
                <a:gd name="T34" fmla="*/ 1504 w 1614"/>
                <a:gd name="T35" fmla="*/ 1366 h 1379"/>
                <a:gd name="T36" fmla="*/ 1536 w 1614"/>
                <a:gd name="T37" fmla="*/ 1360 h 1379"/>
                <a:gd name="T38" fmla="*/ 1561 w 1614"/>
                <a:gd name="T39" fmla="*/ 1346 h 1379"/>
                <a:gd name="T40" fmla="*/ 1581 w 1614"/>
                <a:gd name="T41" fmla="*/ 1326 h 1379"/>
                <a:gd name="T42" fmla="*/ 1594 w 1614"/>
                <a:gd name="T43" fmla="*/ 1301 h 1379"/>
                <a:gd name="T44" fmla="*/ 1600 w 1614"/>
                <a:gd name="T45" fmla="*/ 1269 h 1379"/>
                <a:gd name="T46" fmla="*/ 1600 w 1614"/>
                <a:gd name="T47" fmla="*/ 8 h 1379"/>
                <a:gd name="T48" fmla="*/ 1600 w 1614"/>
                <a:gd name="T49" fmla="*/ 4 h 1379"/>
                <a:gd name="T50" fmla="*/ 1604 w 1614"/>
                <a:gd name="T51" fmla="*/ 2 h 1379"/>
                <a:gd name="T52" fmla="*/ 1606 w 1614"/>
                <a:gd name="T53"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14" h="1379">
                  <a:moveTo>
                    <a:pt x="1606" y="0"/>
                  </a:moveTo>
                  <a:lnTo>
                    <a:pt x="1610" y="2"/>
                  </a:lnTo>
                  <a:lnTo>
                    <a:pt x="1614" y="4"/>
                  </a:lnTo>
                  <a:lnTo>
                    <a:pt x="1614" y="8"/>
                  </a:lnTo>
                  <a:lnTo>
                    <a:pt x="1614" y="1269"/>
                  </a:lnTo>
                  <a:lnTo>
                    <a:pt x="1608" y="1305"/>
                  </a:lnTo>
                  <a:lnTo>
                    <a:pt x="1592" y="1334"/>
                  </a:lnTo>
                  <a:lnTo>
                    <a:pt x="1569" y="1358"/>
                  </a:lnTo>
                  <a:lnTo>
                    <a:pt x="1539" y="1373"/>
                  </a:lnTo>
                  <a:lnTo>
                    <a:pt x="1504" y="1379"/>
                  </a:lnTo>
                  <a:lnTo>
                    <a:pt x="8" y="1379"/>
                  </a:lnTo>
                  <a:lnTo>
                    <a:pt x="4" y="1379"/>
                  </a:lnTo>
                  <a:lnTo>
                    <a:pt x="0" y="1375"/>
                  </a:lnTo>
                  <a:lnTo>
                    <a:pt x="0" y="1371"/>
                  </a:lnTo>
                  <a:lnTo>
                    <a:pt x="0" y="1369"/>
                  </a:lnTo>
                  <a:lnTo>
                    <a:pt x="4" y="1366"/>
                  </a:lnTo>
                  <a:lnTo>
                    <a:pt x="8" y="1366"/>
                  </a:lnTo>
                  <a:lnTo>
                    <a:pt x="1504" y="1366"/>
                  </a:lnTo>
                  <a:lnTo>
                    <a:pt x="1536" y="1360"/>
                  </a:lnTo>
                  <a:lnTo>
                    <a:pt x="1561" y="1346"/>
                  </a:lnTo>
                  <a:lnTo>
                    <a:pt x="1581" y="1326"/>
                  </a:lnTo>
                  <a:lnTo>
                    <a:pt x="1594" y="1301"/>
                  </a:lnTo>
                  <a:lnTo>
                    <a:pt x="1600" y="1269"/>
                  </a:lnTo>
                  <a:lnTo>
                    <a:pt x="1600" y="8"/>
                  </a:lnTo>
                  <a:lnTo>
                    <a:pt x="1600" y="4"/>
                  </a:lnTo>
                  <a:lnTo>
                    <a:pt x="1604" y="2"/>
                  </a:lnTo>
                  <a:lnTo>
                    <a:pt x="1606" y="0"/>
                  </a:lnTo>
                  <a:close/>
                </a:path>
              </a:pathLst>
            </a:custGeom>
            <a:solidFill>
              <a:schemeClr val="accent6"/>
            </a:solidFill>
            <a:ln w="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1593">
              <a:extLst>
                <a:ext uri="{FF2B5EF4-FFF2-40B4-BE49-F238E27FC236}">
                  <a16:creationId xmlns:a16="http://schemas.microsoft.com/office/drawing/2014/main" id="{3B1FC591-8327-A244-80A5-703114801188}"/>
                </a:ext>
              </a:extLst>
            </p:cNvPr>
            <p:cNvSpPr>
              <a:spLocks/>
            </p:cNvSpPr>
            <p:nvPr/>
          </p:nvSpPr>
          <p:spPr bwMode="auto">
            <a:xfrm>
              <a:off x="5642667" y="2433023"/>
              <a:ext cx="1379538" cy="1541462"/>
            </a:xfrm>
            <a:custGeom>
              <a:avLst/>
              <a:gdLst>
                <a:gd name="T0" fmla="*/ 804 w 1738"/>
                <a:gd name="T1" fmla="*/ 0 h 1942"/>
                <a:gd name="T2" fmla="*/ 808 w 1738"/>
                <a:gd name="T3" fmla="*/ 7 h 1942"/>
                <a:gd name="T4" fmla="*/ 802 w 1738"/>
                <a:gd name="T5" fmla="*/ 494 h 1942"/>
                <a:gd name="T6" fmla="*/ 763 w 1738"/>
                <a:gd name="T7" fmla="*/ 549 h 1942"/>
                <a:gd name="T8" fmla="*/ 699 w 1738"/>
                <a:gd name="T9" fmla="*/ 568 h 1942"/>
                <a:gd name="T10" fmla="*/ 81 w 1738"/>
                <a:gd name="T11" fmla="*/ 574 h 1942"/>
                <a:gd name="T12" fmla="*/ 34 w 1738"/>
                <a:gd name="T13" fmla="*/ 608 h 1942"/>
                <a:gd name="T14" fmla="*/ 16 w 1738"/>
                <a:gd name="T15" fmla="*/ 665 h 1942"/>
                <a:gd name="T16" fmla="*/ 106 w 1738"/>
                <a:gd name="T17" fmla="*/ 916 h 1942"/>
                <a:gd name="T18" fmla="*/ 298 w 1738"/>
                <a:gd name="T19" fmla="*/ 843 h 1942"/>
                <a:gd name="T20" fmla="*/ 500 w 1738"/>
                <a:gd name="T21" fmla="*/ 806 h 1942"/>
                <a:gd name="T22" fmla="*/ 720 w 1738"/>
                <a:gd name="T23" fmla="*/ 806 h 1942"/>
                <a:gd name="T24" fmla="*/ 942 w 1738"/>
                <a:gd name="T25" fmla="*/ 851 h 1942"/>
                <a:gd name="T26" fmla="*/ 1144 w 1738"/>
                <a:gd name="T27" fmla="*/ 937 h 1942"/>
                <a:gd name="T28" fmla="*/ 1324 w 1738"/>
                <a:gd name="T29" fmla="*/ 1059 h 1942"/>
                <a:gd name="T30" fmla="*/ 1479 w 1738"/>
                <a:gd name="T31" fmla="*/ 1214 h 1942"/>
                <a:gd name="T32" fmla="*/ 1601 w 1738"/>
                <a:gd name="T33" fmla="*/ 1394 h 1942"/>
                <a:gd name="T34" fmla="*/ 1687 w 1738"/>
                <a:gd name="T35" fmla="*/ 1598 h 1942"/>
                <a:gd name="T36" fmla="*/ 1732 w 1738"/>
                <a:gd name="T37" fmla="*/ 1818 h 1942"/>
                <a:gd name="T38" fmla="*/ 1736 w 1738"/>
                <a:gd name="T39" fmla="*/ 1938 h 1942"/>
                <a:gd name="T40" fmla="*/ 1730 w 1738"/>
                <a:gd name="T41" fmla="*/ 1942 h 1942"/>
                <a:gd name="T42" fmla="*/ 1724 w 1738"/>
                <a:gd name="T43" fmla="*/ 1938 h 1942"/>
                <a:gd name="T44" fmla="*/ 1716 w 1738"/>
                <a:gd name="T45" fmla="*/ 1820 h 1942"/>
                <a:gd name="T46" fmla="*/ 1673 w 1738"/>
                <a:gd name="T47" fmla="*/ 1602 h 1942"/>
                <a:gd name="T48" fmla="*/ 1587 w 1738"/>
                <a:gd name="T49" fmla="*/ 1402 h 1942"/>
                <a:gd name="T50" fmla="*/ 1467 w 1738"/>
                <a:gd name="T51" fmla="*/ 1224 h 1942"/>
                <a:gd name="T52" fmla="*/ 1316 w 1738"/>
                <a:gd name="T53" fmla="*/ 1071 h 1942"/>
                <a:gd name="T54" fmla="*/ 1138 w 1738"/>
                <a:gd name="T55" fmla="*/ 951 h 1942"/>
                <a:gd name="T56" fmla="*/ 936 w 1738"/>
                <a:gd name="T57" fmla="*/ 867 h 1942"/>
                <a:gd name="T58" fmla="*/ 718 w 1738"/>
                <a:gd name="T59" fmla="*/ 822 h 1942"/>
                <a:gd name="T60" fmla="*/ 500 w 1738"/>
                <a:gd name="T61" fmla="*/ 820 h 1942"/>
                <a:gd name="T62" fmla="*/ 296 w 1738"/>
                <a:gd name="T63" fmla="*/ 859 h 1942"/>
                <a:gd name="T64" fmla="*/ 104 w 1738"/>
                <a:gd name="T65" fmla="*/ 933 h 1942"/>
                <a:gd name="T66" fmla="*/ 10 w 1738"/>
                <a:gd name="T67" fmla="*/ 986 h 1942"/>
                <a:gd name="T68" fmla="*/ 4 w 1738"/>
                <a:gd name="T69" fmla="*/ 986 h 1942"/>
                <a:gd name="T70" fmla="*/ 0 w 1738"/>
                <a:gd name="T71" fmla="*/ 980 h 1942"/>
                <a:gd name="T72" fmla="*/ 0 w 1738"/>
                <a:gd name="T73" fmla="*/ 665 h 1942"/>
                <a:gd name="T74" fmla="*/ 22 w 1738"/>
                <a:gd name="T75" fmla="*/ 600 h 1942"/>
                <a:gd name="T76" fmla="*/ 75 w 1738"/>
                <a:gd name="T77" fmla="*/ 561 h 1942"/>
                <a:gd name="T78" fmla="*/ 699 w 1738"/>
                <a:gd name="T79" fmla="*/ 555 h 1942"/>
                <a:gd name="T80" fmla="*/ 755 w 1738"/>
                <a:gd name="T81" fmla="*/ 537 h 1942"/>
                <a:gd name="T82" fmla="*/ 789 w 1738"/>
                <a:gd name="T83" fmla="*/ 490 h 1942"/>
                <a:gd name="T84" fmla="*/ 795 w 1738"/>
                <a:gd name="T85" fmla="*/ 7 h 1942"/>
                <a:gd name="T86" fmla="*/ 799 w 1738"/>
                <a:gd name="T87" fmla="*/ 0 h 1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8" h="1942">
                  <a:moveTo>
                    <a:pt x="801" y="0"/>
                  </a:moveTo>
                  <a:lnTo>
                    <a:pt x="804" y="0"/>
                  </a:lnTo>
                  <a:lnTo>
                    <a:pt x="808" y="3"/>
                  </a:lnTo>
                  <a:lnTo>
                    <a:pt x="808" y="7"/>
                  </a:lnTo>
                  <a:lnTo>
                    <a:pt x="808" y="461"/>
                  </a:lnTo>
                  <a:lnTo>
                    <a:pt x="802" y="494"/>
                  </a:lnTo>
                  <a:lnTo>
                    <a:pt x="787" y="525"/>
                  </a:lnTo>
                  <a:lnTo>
                    <a:pt x="763" y="549"/>
                  </a:lnTo>
                  <a:lnTo>
                    <a:pt x="734" y="565"/>
                  </a:lnTo>
                  <a:lnTo>
                    <a:pt x="699" y="568"/>
                  </a:lnTo>
                  <a:lnTo>
                    <a:pt x="110" y="568"/>
                  </a:lnTo>
                  <a:lnTo>
                    <a:pt x="81" y="574"/>
                  </a:lnTo>
                  <a:lnTo>
                    <a:pt x="53" y="588"/>
                  </a:lnTo>
                  <a:lnTo>
                    <a:pt x="34" y="608"/>
                  </a:lnTo>
                  <a:lnTo>
                    <a:pt x="20" y="633"/>
                  </a:lnTo>
                  <a:lnTo>
                    <a:pt x="16" y="665"/>
                  </a:lnTo>
                  <a:lnTo>
                    <a:pt x="16" y="967"/>
                  </a:lnTo>
                  <a:lnTo>
                    <a:pt x="106" y="916"/>
                  </a:lnTo>
                  <a:lnTo>
                    <a:pt x="200" y="875"/>
                  </a:lnTo>
                  <a:lnTo>
                    <a:pt x="298" y="843"/>
                  </a:lnTo>
                  <a:lnTo>
                    <a:pt x="398" y="820"/>
                  </a:lnTo>
                  <a:lnTo>
                    <a:pt x="500" y="806"/>
                  </a:lnTo>
                  <a:lnTo>
                    <a:pt x="604" y="800"/>
                  </a:lnTo>
                  <a:lnTo>
                    <a:pt x="720" y="806"/>
                  </a:lnTo>
                  <a:lnTo>
                    <a:pt x="832" y="823"/>
                  </a:lnTo>
                  <a:lnTo>
                    <a:pt x="942" y="851"/>
                  </a:lnTo>
                  <a:lnTo>
                    <a:pt x="1046" y="890"/>
                  </a:lnTo>
                  <a:lnTo>
                    <a:pt x="1144" y="937"/>
                  </a:lnTo>
                  <a:lnTo>
                    <a:pt x="1238" y="994"/>
                  </a:lnTo>
                  <a:lnTo>
                    <a:pt x="1324" y="1059"/>
                  </a:lnTo>
                  <a:lnTo>
                    <a:pt x="1405" y="1133"/>
                  </a:lnTo>
                  <a:lnTo>
                    <a:pt x="1479" y="1214"/>
                  </a:lnTo>
                  <a:lnTo>
                    <a:pt x="1544" y="1300"/>
                  </a:lnTo>
                  <a:lnTo>
                    <a:pt x="1601" y="1394"/>
                  </a:lnTo>
                  <a:lnTo>
                    <a:pt x="1648" y="1492"/>
                  </a:lnTo>
                  <a:lnTo>
                    <a:pt x="1687" y="1598"/>
                  </a:lnTo>
                  <a:lnTo>
                    <a:pt x="1715" y="1706"/>
                  </a:lnTo>
                  <a:lnTo>
                    <a:pt x="1732" y="1818"/>
                  </a:lnTo>
                  <a:lnTo>
                    <a:pt x="1738" y="1934"/>
                  </a:lnTo>
                  <a:lnTo>
                    <a:pt x="1736" y="1938"/>
                  </a:lnTo>
                  <a:lnTo>
                    <a:pt x="1734" y="1940"/>
                  </a:lnTo>
                  <a:lnTo>
                    <a:pt x="1730" y="1942"/>
                  </a:lnTo>
                  <a:lnTo>
                    <a:pt x="1726" y="1940"/>
                  </a:lnTo>
                  <a:lnTo>
                    <a:pt x="1724" y="1938"/>
                  </a:lnTo>
                  <a:lnTo>
                    <a:pt x="1722" y="1934"/>
                  </a:lnTo>
                  <a:lnTo>
                    <a:pt x="1716" y="1820"/>
                  </a:lnTo>
                  <a:lnTo>
                    <a:pt x="1701" y="1708"/>
                  </a:lnTo>
                  <a:lnTo>
                    <a:pt x="1673" y="1602"/>
                  </a:lnTo>
                  <a:lnTo>
                    <a:pt x="1634" y="1498"/>
                  </a:lnTo>
                  <a:lnTo>
                    <a:pt x="1587" y="1402"/>
                  </a:lnTo>
                  <a:lnTo>
                    <a:pt x="1532" y="1310"/>
                  </a:lnTo>
                  <a:lnTo>
                    <a:pt x="1467" y="1224"/>
                  </a:lnTo>
                  <a:lnTo>
                    <a:pt x="1395" y="1143"/>
                  </a:lnTo>
                  <a:lnTo>
                    <a:pt x="1316" y="1071"/>
                  </a:lnTo>
                  <a:lnTo>
                    <a:pt x="1230" y="1006"/>
                  </a:lnTo>
                  <a:lnTo>
                    <a:pt x="1138" y="951"/>
                  </a:lnTo>
                  <a:lnTo>
                    <a:pt x="1040" y="904"/>
                  </a:lnTo>
                  <a:lnTo>
                    <a:pt x="936" y="867"/>
                  </a:lnTo>
                  <a:lnTo>
                    <a:pt x="830" y="839"/>
                  </a:lnTo>
                  <a:lnTo>
                    <a:pt x="718" y="822"/>
                  </a:lnTo>
                  <a:lnTo>
                    <a:pt x="604" y="816"/>
                  </a:lnTo>
                  <a:lnTo>
                    <a:pt x="500" y="820"/>
                  </a:lnTo>
                  <a:lnTo>
                    <a:pt x="397" y="835"/>
                  </a:lnTo>
                  <a:lnTo>
                    <a:pt x="296" y="859"/>
                  </a:lnTo>
                  <a:lnTo>
                    <a:pt x="198" y="892"/>
                  </a:lnTo>
                  <a:lnTo>
                    <a:pt x="104" y="933"/>
                  </a:lnTo>
                  <a:lnTo>
                    <a:pt x="12" y="984"/>
                  </a:lnTo>
                  <a:lnTo>
                    <a:pt x="10" y="986"/>
                  </a:lnTo>
                  <a:lnTo>
                    <a:pt x="6" y="986"/>
                  </a:lnTo>
                  <a:lnTo>
                    <a:pt x="4" y="986"/>
                  </a:lnTo>
                  <a:lnTo>
                    <a:pt x="2" y="984"/>
                  </a:lnTo>
                  <a:lnTo>
                    <a:pt x="0" y="980"/>
                  </a:lnTo>
                  <a:lnTo>
                    <a:pt x="0" y="978"/>
                  </a:lnTo>
                  <a:lnTo>
                    <a:pt x="0" y="665"/>
                  </a:lnTo>
                  <a:lnTo>
                    <a:pt x="6" y="629"/>
                  </a:lnTo>
                  <a:lnTo>
                    <a:pt x="22" y="600"/>
                  </a:lnTo>
                  <a:lnTo>
                    <a:pt x="45" y="576"/>
                  </a:lnTo>
                  <a:lnTo>
                    <a:pt x="75" y="561"/>
                  </a:lnTo>
                  <a:lnTo>
                    <a:pt x="110" y="555"/>
                  </a:lnTo>
                  <a:lnTo>
                    <a:pt x="699" y="555"/>
                  </a:lnTo>
                  <a:lnTo>
                    <a:pt x="730" y="549"/>
                  </a:lnTo>
                  <a:lnTo>
                    <a:pt x="755" y="537"/>
                  </a:lnTo>
                  <a:lnTo>
                    <a:pt x="775" y="515"/>
                  </a:lnTo>
                  <a:lnTo>
                    <a:pt x="789" y="490"/>
                  </a:lnTo>
                  <a:lnTo>
                    <a:pt x="795" y="461"/>
                  </a:lnTo>
                  <a:lnTo>
                    <a:pt x="795" y="7"/>
                  </a:lnTo>
                  <a:lnTo>
                    <a:pt x="795" y="3"/>
                  </a:lnTo>
                  <a:lnTo>
                    <a:pt x="799" y="0"/>
                  </a:lnTo>
                  <a:lnTo>
                    <a:pt x="80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594">
              <a:extLst>
                <a:ext uri="{FF2B5EF4-FFF2-40B4-BE49-F238E27FC236}">
                  <a16:creationId xmlns:a16="http://schemas.microsoft.com/office/drawing/2014/main" id="{DA2104C8-785F-DA46-B982-7D4B12AC5928}"/>
                </a:ext>
              </a:extLst>
            </p:cNvPr>
            <p:cNvSpPr>
              <a:spLocks/>
            </p:cNvSpPr>
            <p:nvPr/>
          </p:nvSpPr>
          <p:spPr bwMode="auto">
            <a:xfrm>
              <a:off x="2515291" y="804248"/>
              <a:ext cx="4491038" cy="5076825"/>
            </a:xfrm>
            <a:custGeom>
              <a:avLst/>
              <a:gdLst>
                <a:gd name="T0" fmla="*/ 5046 w 5658"/>
                <a:gd name="T1" fmla="*/ 95 h 6396"/>
                <a:gd name="T2" fmla="*/ 5456 w 5658"/>
                <a:gd name="T3" fmla="*/ 428 h 6396"/>
                <a:gd name="T4" fmla="*/ 5653 w 5658"/>
                <a:gd name="T5" fmla="*/ 930 h 6396"/>
                <a:gd name="T6" fmla="*/ 5643 w 5658"/>
                <a:gd name="T7" fmla="*/ 1060 h 6396"/>
                <a:gd name="T8" fmla="*/ 5619 w 5658"/>
                <a:gd name="T9" fmla="*/ 934 h 6396"/>
                <a:gd name="T10" fmla="*/ 5431 w 5658"/>
                <a:gd name="T11" fmla="*/ 448 h 6396"/>
                <a:gd name="T12" fmla="*/ 5033 w 5658"/>
                <a:gd name="T13" fmla="*/ 124 h 6396"/>
                <a:gd name="T14" fmla="*/ 4507 w 5658"/>
                <a:gd name="T15" fmla="*/ 40 h 6396"/>
                <a:gd name="T16" fmla="*/ 4021 w 5658"/>
                <a:gd name="T17" fmla="*/ 230 h 6396"/>
                <a:gd name="T18" fmla="*/ 3697 w 5658"/>
                <a:gd name="T19" fmla="*/ 626 h 6396"/>
                <a:gd name="T20" fmla="*/ 3615 w 5658"/>
                <a:gd name="T21" fmla="*/ 1148 h 6396"/>
                <a:gd name="T22" fmla="*/ 3809 w 5658"/>
                <a:gd name="T23" fmla="*/ 1627 h 6396"/>
                <a:gd name="T24" fmla="*/ 4205 w 5658"/>
                <a:gd name="T25" fmla="*/ 1958 h 6396"/>
                <a:gd name="T26" fmla="*/ 4607 w 5658"/>
                <a:gd name="T27" fmla="*/ 2053 h 6396"/>
                <a:gd name="T28" fmla="*/ 4623 w 5658"/>
                <a:gd name="T29" fmla="*/ 2368 h 6396"/>
                <a:gd name="T30" fmla="*/ 4537 w 5658"/>
                <a:gd name="T31" fmla="*/ 2484 h 6396"/>
                <a:gd name="T32" fmla="*/ 3944 w 5658"/>
                <a:gd name="T33" fmla="*/ 2478 h 6396"/>
                <a:gd name="T34" fmla="*/ 3856 w 5658"/>
                <a:gd name="T35" fmla="*/ 2045 h 6396"/>
                <a:gd name="T36" fmla="*/ 3542 w 5658"/>
                <a:gd name="T37" fmla="*/ 1623 h 6396"/>
                <a:gd name="T38" fmla="*/ 3066 w 5658"/>
                <a:gd name="T39" fmla="*/ 1395 h 6396"/>
                <a:gd name="T40" fmla="*/ 2518 w 5658"/>
                <a:gd name="T41" fmla="*/ 1421 h 6396"/>
                <a:gd name="T42" fmla="*/ 2067 w 5658"/>
                <a:gd name="T43" fmla="*/ 1694 h 6396"/>
                <a:gd name="T44" fmla="*/ 1795 w 5658"/>
                <a:gd name="T45" fmla="*/ 2145 h 6396"/>
                <a:gd name="T46" fmla="*/ 1769 w 5658"/>
                <a:gd name="T47" fmla="*/ 2694 h 6396"/>
                <a:gd name="T48" fmla="*/ 2006 w 5658"/>
                <a:gd name="T49" fmla="*/ 3179 h 6396"/>
                <a:gd name="T50" fmla="*/ 2440 w 5658"/>
                <a:gd name="T51" fmla="*/ 3493 h 6396"/>
                <a:gd name="T52" fmla="*/ 2799 w 5658"/>
                <a:gd name="T53" fmla="*/ 3571 h 6396"/>
                <a:gd name="T54" fmla="*/ 2807 w 5658"/>
                <a:gd name="T55" fmla="*/ 4283 h 6396"/>
                <a:gd name="T56" fmla="*/ 2664 w 5658"/>
                <a:gd name="T57" fmla="*/ 4309 h 6396"/>
                <a:gd name="T58" fmla="*/ 2165 w 5658"/>
                <a:gd name="T59" fmla="*/ 4530 h 6396"/>
                <a:gd name="T60" fmla="*/ 1836 w 5658"/>
                <a:gd name="T61" fmla="*/ 4956 h 6396"/>
                <a:gd name="T62" fmla="*/ 1746 w 5658"/>
                <a:gd name="T63" fmla="*/ 6261 h 6396"/>
                <a:gd name="T64" fmla="*/ 1648 w 5658"/>
                <a:gd name="T65" fmla="*/ 6392 h 6396"/>
                <a:gd name="T66" fmla="*/ 2 w 5658"/>
                <a:gd name="T67" fmla="*/ 6386 h 6396"/>
                <a:gd name="T68" fmla="*/ 18 w 5658"/>
                <a:gd name="T69" fmla="*/ 6363 h 6396"/>
                <a:gd name="T70" fmla="*/ 1708 w 5658"/>
                <a:gd name="T71" fmla="*/ 6294 h 6396"/>
                <a:gd name="T72" fmla="*/ 1759 w 5658"/>
                <a:gd name="T73" fmla="*/ 5070 h 6396"/>
                <a:gd name="T74" fmla="*/ 2020 w 5658"/>
                <a:gd name="T75" fmla="*/ 4617 h 6396"/>
                <a:gd name="T76" fmla="*/ 2456 w 5658"/>
                <a:gd name="T77" fmla="*/ 4328 h 6396"/>
                <a:gd name="T78" fmla="*/ 2764 w 5658"/>
                <a:gd name="T79" fmla="*/ 3600 h 6396"/>
                <a:gd name="T80" fmla="*/ 2265 w 5658"/>
                <a:gd name="T81" fmla="*/ 3443 h 6396"/>
                <a:gd name="T82" fmla="*/ 1887 w 5658"/>
                <a:gd name="T83" fmla="*/ 3075 h 6396"/>
                <a:gd name="T84" fmla="*/ 1718 w 5658"/>
                <a:gd name="T85" fmla="*/ 2578 h 6396"/>
                <a:gd name="T86" fmla="*/ 1802 w 5658"/>
                <a:gd name="T87" fmla="*/ 2031 h 6396"/>
                <a:gd name="T88" fmla="*/ 2124 w 5658"/>
                <a:gd name="T89" fmla="*/ 1597 h 6396"/>
                <a:gd name="T90" fmla="*/ 2616 w 5658"/>
                <a:gd name="T91" fmla="*/ 1362 h 6396"/>
                <a:gd name="T92" fmla="*/ 3177 w 5658"/>
                <a:gd name="T93" fmla="*/ 1389 h 6396"/>
                <a:gd name="T94" fmla="*/ 3638 w 5658"/>
                <a:gd name="T95" fmla="*/ 1666 h 6396"/>
                <a:gd name="T96" fmla="*/ 3921 w 5658"/>
                <a:gd name="T97" fmla="*/ 2123 h 6396"/>
                <a:gd name="T98" fmla="*/ 4533 w 5658"/>
                <a:gd name="T99" fmla="*/ 2451 h 6396"/>
                <a:gd name="T100" fmla="*/ 4590 w 5658"/>
                <a:gd name="T101" fmla="*/ 2086 h 6396"/>
                <a:gd name="T102" fmla="*/ 4134 w 5658"/>
                <a:gd name="T103" fmla="*/ 1958 h 6396"/>
                <a:gd name="T104" fmla="*/ 3758 w 5658"/>
                <a:gd name="T105" fmla="*/ 1619 h 6396"/>
                <a:gd name="T106" fmla="*/ 3579 w 5658"/>
                <a:gd name="T107" fmla="*/ 1146 h 6396"/>
                <a:gd name="T108" fmla="*/ 3668 w 5658"/>
                <a:gd name="T109" fmla="*/ 613 h 6396"/>
                <a:gd name="T110" fmla="*/ 4001 w 5658"/>
                <a:gd name="T111" fmla="*/ 203 h 6396"/>
                <a:gd name="T112" fmla="*/ 4503 w 5658"/>
                <a:gd name="T113" fmla="*/ 6 h 6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58" h="6396">
                  <a:moveTo>
                    <a:pt x="4617" y="0"/>
                  </a:moveTo>
                  <a:lnTo>
                    <a:pt x="4731" y="6"/>
                  </a:lnTo>
                  <a:lnTo>
                    <a:pt x="4841" y="26"/>
                  </a:lnTo>
                  <a:lnTo>
                    <a:pt x="4946" y="53"/>
                  </a:lnTo>
                  <a:lnTo>
                    <a:pt x="5046" y="95"/>
                  </a:lnTo>
                  <a:lnTo>
                    <a:pt x="5143" y="144"/>
                  </a:lnTo>
                  <a:lnTo>
                    <a:pt x="5231" y="203"/>
                  </a:lnTo>
                  <a:lnTo>
                    <a:pt x="5315" y="269"/>
                  </a:lnTo>
                  <a:lnTo>
                    <a:pt x="5390" y="346"/>
                  </a:lnTo>
                  <a:lnTo>
                    <a:pt x="5456" y="428"/>
                  </a:lnTo>
                  <a:lnTo>
                    <a:pt x="5515" y="518"/>
                  </a:lnTo>
                  <a:lnTo>
                    <a:pt x="5566" y="613"/>
                  </a:lnTo>
                  <a:lnTo>
                    <a:pt x="5605" y="715"/>
                  </a:lnTo>
                  <a:lnTo>
                    <a:pt x="5635" y="821"/>
                  </a:lnTo>
                  <a:lnTo>
                    <a:pt x="5653" y="930"/>
                  </a:lnTo>
                  <a:lnTo>
                    <a:pt x="5658" y="1044"/>
                  </a:lnTo>
                  <a:lnTo>
                    <a:pt x="5656" y="1050"/>
                  </a:lnTo>
                  <a:lnTo>
                    <a:pt x="5655" y="1056"/>
                  </a:lnTo>
                  <a:lnTo>
                    <a:pt x="5649" y="1058"/>
                  </a:lnTo>
                  <a:lnTo>
                    <a:pt x="5643" y="1060"/>
                  </a:lnTo>
                  <a:lnTo>
                    <a:pt x="5635" y="1058"/>
                  </a:lnTo>
                  <a:lnTo>
                    <a:pt x="5631" y="1056"/>
                  </a:lnTo>
                  <a:lnTo>
                    <a:pt x="5627" y="1050"/>
                  </a:lnTo>
                  <a:lnTo>
                    <a:pt x="5625" y="1044"/>
                  </a:lnTo>
                  <a:lnTo>
                    <a:pt x="5619" y="934"/>
                  </a:lnTo>
                  <a:lnTo>
                    <a:pt x="5602" y="826"/>
                  </a:lnTo>
                  <a:lnTo>
                    <a:pt x="5574" y="724"/>
                  </a:lnTo>
                  <a:lnTo>
                    <a:pt x="5535" y="626"/>
                  </a:lnTo>
                  <a:lnTo>
                    <a:pt x="5488" y="534"/>
                  </a:lnTo>
                  <a:lnTo>
                    <a:pt x="5431" y="448"/>
                  </a:lnTo>
                  <a:lnTo>
                    <a:pt x="5364" y="367"/>
                  </a:lnTo>
                  <a:lnTo>
                    <a:pt x="5292" y="295"/>
                  </a:lnTo>
                  <a:lnTo>
                    <a:pt x="5211" y="230"/>
                  </a:lnTo>
                  <a:lnTo>
                    <a:pt x="5125" y="173"/>
                  </a:lnTo>
                  <a:lnTo>
                    <a:pt x="5033" y="124"/>
                  </a:lnTo>
                  <a:lnTo>
                    <a:pt x="4935" y="87"/>
                  </a:lnTo>
                  <a:lnTo>
                    <a:pt x="4833" y="57"/>
                  </a:lnTo>
                  <a:lnTo>
                    <a:pt x="4727" y="40"/>
                  </a:lnTo>
                  <a:lnTo>
                    <a:pt x="4617" y="34"/>
                  </a:lnTo>
                  <a:lnTo>
                    <a:pt x="4507" y="40"/>
                  </a:lnTo>
                  <a:lnTo>
                    <a:pt x="4401" y="57"/>
                  </a:lnTo>
                  <a:lnTo>
                    <a:pt x="4297" y="87"/>
                  </a:lnTo>
                  <a:lnTo>
                    <a:pt x="4201" y="124"/>
                  </a:lnTo>
                  <a:lnTo>
                    <a:pt x="4107" y="173"/>
                  </a:lnTo>
                  <a:lnTo>
                    <a:pt x="4021" y="230"/>
                  </a:lnTo>
                  <a:lnTo>
                    <a:pt x="3940" y="295"/>
                  </a:lnTo>
                  <a:lnTo>
                    <a:pt x="3868" y="367"/>
                  </a:lnTo>
                  <a:lnTo>
                    <a:pt x="3803" y="448"/>
                  </a:lnTo>
                  <a:lnTo>
                    <a:pt x="3746" y="534"/>
                  </a:lnTo>
                  <a:lnTo>
                    <a:pt x="3697" y="626"/>
                  </a:lnTo>
                  <a:lnTo>
                    <a:pt x="3660" y="724"/>
                  </a:lnTo>
                  <a:lnTo>
                    <a:pt x="3630" y="826"/>
                  </a:lnTo>
                  <a:lnTo>
                    <a:pt x="3613" y="934"/>
                  </a:lnTo>
                  <a:lnTo>
                    <a:pt x="3607" y="1044"/>
                  </a:lnTo>
                  <a:lnTo>
                    <a:pt x="3615" y="1148"/>
                  </a:lnTo>
                  <a:lnTo>
                    <a:pt x="3632" y="1250"/>
                  </a:lnTo>
                  <a:lnTo>
                    <a:pt x="3662" y="1350"/>
                  </a:lnTo>
                  <a:lnTo>
                    <a:pt x="3701" y="1446"/>
                  </a:lnTo>
                  <a:lnTo>
                    <a:pt x="3750" y="1539"/>
                  </a:lnTo>
                  <a:lnTo>
                    <a:pt x="3809" y="1627"/>
                  </a:lnTo>
                  <a:lnTo>
                    <a:pt x="3876" y="1707"/>
                  </a:lnTo>
                  <a:lnTo>
                    <a:pt x="3948" y="1782"/>
                  </a:lnTo>
                  <a:lnTo>
                    <a:pt x="4029" y="1849"/>
                  </a:lnTo>
                  <a:lnTo>
                    <a:pt x="4115" y="1907"/>
                  </a:lnTo>
                  <a:lnTo>
                    <a:pt x="4205" y="1958"/>
                  </a:lnTo>
                  <a:lnTo>
                    <a:pt x="4301" y="1998"/>
                  </a:lnTo>
                  <a:lnTo>
                    <a:pt x="4399" y="2027"/>
                  </a:lnTo>
                  <a:lnTo>
                    <a:pt x="4501" y="2047"/>
                  </a:lnTo>
                  <a:lnTo>
                    <a:pt x="4605" y="2053"/>
                  </a:lnTo>
                  <a:lnTo>
                    <a:pt x="4607" y="2053"/>
                  </a:lnTo>
                  <a:lnTo>
                    <a:pt x="4613" y="2054"/>
                  </a:lnTo>
                  <a:lnTo>
                    <a:pt x="4619" y="2056"/>
                  </a:lnTo>
                  <a:lnTo>
                    <a:pt x="4623" y="2062"/>
                  </a:lnTo>
                  <a:lnTo>
                    <a:pt x="4623" y="2068"/>
                  </a:lnTo>
                  <a:lnTo>
                    <a:pt x="4623" y="2368"/>
                  </a:lnTo>
                  <a:lnTo>
                    <a:pt x="4619" y="2400"/>
                  </a:lnTo>
                  <a:lnTo>
                    <a:pt x="4607" y="2429"/>
                  </a:lnTo>
                  <a:lnTo>
                    <a:pt x="4590" y="2453"/>
                  </a:lnTo>
                  <a:lnTo>
                    <a:pt x="4564" y="2472"/>
                  </a:lnTo>
                  <a:lnTo>
                    <a:pt x="4537" y="2484"/>
                  </a:lnTo>
                  <a:lnTo>
                    <a:pt x="4505" y="2488"/>
                  </a:lnTo>
                  <a:lnTo>
                    <a:pt x="3960" y="2488"/>
                  </a:lnTo>
                  <a:lnTo>
                    <a:pt x="3952" y="2486"/>
                  </a:lnTo>
                  <a:lnTo>
                    <a:pt x="3948" y="2482"/>
                  </a:lnTo>
                  <a:lnTo>
                    <a:pt x="3944" y="2478"/>
                  </a:lnTo>
                  <a:lnTo>
                    <a:pt x="3942" y="2470"/>
                  </a:lnTo>
                  <a:lnTo>
                    <a:pt x="3936" y="2359"/>
                  </a:lnTo>
                  <a:lnTo>
                    <a:pt x="3921" y="2251"/>
                  </a:lnTo>
                  <a:lnTo>
                    <a:pt x="3893" y="2145"/>
                  </a:lnTo>
                  <a:lnTo>
                    <a:pt x="3856" y="2045"/>
                  </a:lnTo>
                  <a:lnTo>
                    <a:pt x="3811" y="1949"/>
                  </a:lnTo>
                  <a:lnTo>
                    <a:pt x="3756" y="1856"/>
                  </a:lnTo>
                  <a:lnTo>
                    <a:pt x="3691" y="1772"/>
                  </a:lnTo>
                  <a:lnTo>
                    <a:pt x="3621" y="1694"/>
                  </a:lnTo>
                  <a:lnTo>
                    <a:pt x="3542" y="1623"/>
                  </a:lnTo>
                  <a:lnTo>
                    <a:pt x="3458" y="1560"/>
                  </a:lnTo>
                  <a:lnTo>
                    <a:pt x="3368" y="1505"/>
                  </a:lnTo>
                  <a:lnTo>
                    <a:pt x="3272" y="1458"/>
                  </a:lnTo>
                  <a:lnTo>
                    <a:pt x="3171" y="1421"/>
                  </a:lnTo>
                  <a:lnTo>
                    <a:pt x="3066" y="1395"/>
                  </a:lnTo>
                  <a:lnTo>
                    <a:pt x="2956" y="1378"/>
                  </a:lnTo>
                  <a:lnTo>
                    <a:pt x="2844" y="1372"/>
                  </a:lnTo>
                  <a:lnTo>
                    <a:pt x="2732" y="1378"/>
                  </a:lnTo>
                  <a:lnTo>
                    <a:pt x="2622" y="1395"/>
                  </a:lnTo>
                  <a:lnTo>
                    <a:pt x="2518" y="1421"/>
                  </a:lnTo>
                  <a:lnTo>
                    <a:pt x="2416" y="1458"/>
                  </a:lnTo>
                  <a:lnTo>
                    <a:pt x="2320" y="1505"/>
                  </a:lnTo>
                  <a:lnTo>
                    <a:pt x="2230" y="1560"/>
                  </a:lnTo>
                  <a:lnTo>
                    <a:pt x="2146" y="1623"/>
                  </a:lnTo>
                  <a:lnTo>
                    <a:pt x="2067" y="1694"/>
                  </a:lnTo>
                  <a:lnTo>
                    <a:pt x="1997" y="1772"/>
                  </a:lnTo>
                  <a:lnTo>
                    <a:pt x="1934" y="1856"/>
                  </a:lnTo>
                  <a:lnTo>
                    <a:pt x="1879" y="1949"/>
                  </a:lnTo>
                  <a:lnTo>
                    <a:pt x="1832" y="2043"/>
                  </a:lnTo>
                  <a:lnTo>
                    <a:pt x="1795" y="2145"/>
                  </a:lnTo>
                  <a:lnTo>
                    <a:pt x="1767" y="2251"/>
                  </a:lnTo>
                  <a:lnTo>
                    <a:pt x="1751" y="2359"/>
                  </a:lnTo>
                  <a:lnTo>
                    <a:pt x="1746" y="2470"/>
                  </a:lnTo>
                  <a:lnTo>
                    <a:pt x="1751" y="2584"/>
                  </a:lnTo>
                  <a:lnTo>
                    <a:pt x="1769" y="2694"/>
                  </a:lnTo>
                  <a:lnTo>
                    <a:pt x="1797" y="2802"/>
                  </a:lnTo>
                  <a:lnTo>
                    <a:pt x="1836" y="2904"/>
                  </a:lnTo>
                  <a:lnTo>
                    <a:pt x="1883" y="3002"/>
                  </a:lnTo>
                  <a:lnTo>
                    <a:pt x="1940" y="3094"/>
                  </a:lnTo>
                  <a:lnTo>
                    <a:pt x="2006" y="3179"/>
                  </a:lnTo>
                  <a:lnTo>
                    <a:pt x="2079" y="3257"/>
                  </a:lnTo>
                  <a:lnTo>
                    <a:pt x="2159" y="3330"/>
                  </a:lnTo>
                  <a:lnTo>
                    <a:pt x="2248" y="3392"/>
                  </a:lnTo>
                  <a:lnTo>
                    <a:pt x="2342" y="3447"/>
                  </a:lnTo>
                  <a:lnTo>
                    <a:pt x="2440" y="3493"/>
                  </a:lnTo>
                  <a:lnTo>
                    <a:pt x="2544" y="3528"/>
                  </a:lnTo>
                  <a:lnTo>
                    <a:pt x="2654" y="3553"/>
                  </a:lnTo>
                  <a:lnTo>
                    <a:pt x="2765" y="3567"/>
                  </a:lnTo>
                  <a:lnTo>
                    <a:pt x="2793" y="3569"/>
                  </a:lnTo>
                  <a:lnTo>
                    <a:pt x="2799" y="3571"/>
                  </a:lnTo>
                  <a:lnTo>
                    <a:pt x="2803" y="3575"/>
                  </a:lnTo>
                  <a:lnTo>
                    <a:pt x="2807" y="3581"/>
                  </a:lnTo>
                  <a:lnTo>
                    <a:pt x="2809" y="3587"/>
                  </a:lnTo>
                  <a:lnTo>
                    <a:pt x="2809" y="4277"/>
                  </a:lnTo>
                  <a:lnTo>
                    <a:pt x="2807" y="4283"/>
                  </a:lnTo>
                  <a:lnTo>
                    <a:pt x="2803" y="4287"/>
                  </a:lnTo>
                  <a:lnTo>
                    <a:pt x="2799" y="4291"/>
                  </a:lnTo>
                  <a:lnTo>
                    <a:pt x="2793" y="4293"/>
                  </a:lnTo>
                  <a:lnTo>
                    <a:pt x="2777" y="4295"/>
                  </a:lnTo>
                  <a:lnTo>
                    <a:pt x="2664" y="4309"/>
                  </a:lnTo>
                  <a:lnTo>
                    <a:pt x="2554" y="4332"/>
                  </a:lnTo>
                  <a:lnTo>
                    <a:pt x="2448" y="4367"/>
                  </a:lnTo>
                  <a:lnTo>
                    <a:pt x="2348" y="4413"/>
                  </a:lnTo>
                  <a:lnTo>
                    <a:pt x="2254" y="4468"/>
                  </a:lnTo>
                  <a:lnTo>
                    <a:pt x="2165" y="4530"/>
                  </a:lnTo>
                  <a:lnTo>
                    <a:pt x="2083" y="4601"/>
                  </a:lnTo>
                  <a:lnTo>
                    <a:pt x="2008" y="4679"/>
                  </a:lnTo>
                  <a:lnTo>
                    <a:pt x="1942" y="4766"/>
                  </a:lnTo>
                  <a:lnTo>
                    <a:pt x="1885" y="4858"/>
                  </a:lnTo>
                  <a:lnTo>
                    <a:pt x="1836" y="4956"/>
                  </a:lnTo>
                  <a:lnTo>
                    <a:pt x="1797" y="5060"/>
                  </a:lnTo>
                  <a:lnTo>
                    <a:pt x="1769" y="5166"/>
                  </a:lnTo>
                  <a:lnTo>
                    <a:pt x="1751" y="5278"/>
                  </a:lnTo>
                  <a:lnTo>
                    <a:pt x="1746" y="5392"/>
                  </a:lnTo>
                  <a:lnTo>
                    <a:pt x="1746" y="6261"/>
                  </a:lnTo>
                  <a:lnTo>
                    <a:pt x="1742" y="6298"/>
                  </a:lnTo>
                  <a:lnTo>
                    <a:pt x="1728" y="6329"/>
                  </a:lnTo>
                  <a:lnTo>
                    <a:pt x="1706" y="6357"/>
                  </a:lnTo>
                  <a:lnTo>
                    <a:pt x="1679" y="6378"/>
                  </a:lnTo>
                  <a:lnTo>
                    <a:pt x="1648" y="6392"/>
                  </a:lnTo>
                  <a:lnTo>
                    <a:pt x="1610" y="6396"/>
                  </a:lnTo>
                  <a:lnTo>
                    <a:pt x="18" y="6396"/>
                  </a:lnTo>
                  <a:lnTo>
                    <a:pt x="10" y="6394"/>
                  </a:lnTo>
                  <a:lnTo>
                    <a:pt x="6" y="6392"/>
                  </a:lnTo>
                  <a:lnTo>
                    <a:pt x="2" y="6386"/>
                  </a:lnTo>
                  <a:lnTo>
                    <a:pt x="0" y="6380"/>
                  </a:lnTo>
                  <a:lnTo>
                    <a:pt x="2" y="6372"/>
                  </a:lnTo>
                  <a:lnTo>
                    <a:pt x="6" y="6369"/>
                  </a:lnTo>
                  <a:lnTo>
                    <a:pt x="10" y="6365"/>
                  </a:lnTo>
                  <a:lnTo>
                    <a:pt x="18" y="6363"/>
                  </a:lnTo>
                  <a:lnTo>
                    <a:pt x="1610" y="6363"/>
                  </a:lnTo>
                  <a:lnTo>
                    <a:pt x="1644" y="6357"/>
                  </a:lnTo>
                  <a:lnTo>
                    <a:pt x="1671" y="6343"/>
                  </a:lnTo>
                  <a:lnTo>
                    <a:pt x="1693" y="6321"/>
                  </a:lnTo>
                  <a:lnTo>
                    <a:pt x="1708" y="6294"/>
                  </a:lnTo>
                  <a:lnTo>
                    <a:pt x="1712" y="6261"/>
                  </a:lnTo>
                  <a:lnTo>
                    <a:pt x="1712" y="5392"/>
                  </a:lnTo>
                  <a:lnTo>
                    <a:pt x="1718" y="5282"/>
                  </a:lnTo>
                  <a:lnTo>
                    <a:pt x="1734" y="5174"/>
                  </a:lnTo>
                  <a:lnTo>
                    <a:pt x="1759" y="5070"/>
                  </a:lnTo>
                  <a:lnTo>
                    <a:pt x="1795" y="4970"/>
                  </a:lnTo>
                  <a:lnTo>
                    <a:pt x="1840" y="4874"/>
                  </a:lnTo>
                  <a:lnTo>
                    <a:pt x="1891" y="4781"/>
                  </a:lnTo>
                  <a:lnTo>
                    <a:pt x="1952" y="4697"/>
                  </a:lnTo>
                  <a:lnTo>
                    <a:pt x="2020" y="4617"/>
                  </a:lnTo>
                  <a:lnTo>
                    <a:pt x="2095" y="4544"/>
                  </a:lnTo>
                  <a:lnTo>
                    <a:pt x="2177" y="4479"/>
                  </a:lnTo>
                  <a:lnTo>
                    <a:pt x="2263" y="4420"/>
                  </a:lnTo>
                  <a:lnTo>
                    <a:pt x="2358" y="4369"/>
                  </a:lnTo>
                  <a:lnTo>
                    <a:pt x="2456" y="4328"/>
                  </a:lnTo>
                  <a:lnTo>
                    <a:pt x="2558" y="4297"/>
                  </a:lnTo>
                  <a:lnTo>
                    <a:pt x="2664" y="4275"/>
                  </a:lnTo>
                  <a:lnTo>
                    <a:pt x="2775" y="4262"/>
                  </a:lnTo>
                  <a:lnTo>
                    <a:pt x="2775" y="3600"/>
                  </a:lnTo>
                  <a:lnTo>
                    <a:pt x="2764" y="3600"/>
                  </a:lnTo>
                  <a:lnTo>
                    <a:pt x="2658" y="3589"/>
                  </a:lnTo>
                  <a:lnTo>
                    <a:pt x="2554" y="3565"/>
                  </a:lnTo>
                  <a:lnTo>
                    <a:pt x="2454" y="3534"/>
                  </a:lnTo>
                  <a:lnTo>
                    <a:pt x="2358" y="3493"/>
                  </a:lnTo>
                  <a:lnTo>
                    <a:pt x="2265" y="3443"/>
                  </a:lnTo>
                  <a:lnTo>
                    <a:pt x="2177" y="3385"/>
                  </a:lnTo>
                  <a:lnTo>
                    <a:pt x="2095" y="3320"/>
                  </a:lnTo>
                  <a:lnTo>
                    <a:pt x="2018" y="3245"/>
                  </a:lnTo>
                  <a:lnTo>
                    <a:pt x="1948" y="3163"/>
                  </a:lnTo>
                  <a:lnTo>
                    <a:pt x="1887" y="3075"/>
                  </a:lnTo>
                  <a:lnTo>
                    <a:pt x="1834" y="2982"/>
                  </a:lnTo>
                  <a:lnTo>
                    <a:pt x="1791" y="2886"/>
                  </a:lnTo>
                  <a:lnTo>
                    <a:pt x="1757" y="2786"/>
                  </a:lnTo>
                  <a:lnTo>
                    <a:pt x="1732" y="2684"/>
                  </a:lnTo>
                  <a:lnTo>
                    <a:pt x="1718" y="2578"/>
                  </a:lnTo>
                  <a:lnTo>
                    <a:pt x="1712" y="2470"/>
                  </a:lnTo>
                  <a:lnTo>
                    <a:pt x="1718" y="2355"/>
                  </a:lnTo>
                  <a:lnTo>
                    <a:pt x="1736" y="2243"/>
                  </a:lnTo>
                  <a:lnTo>
                    <a:pt x="1763" y="2135"/>
                  </a:lnTo>
                  <a:lnTo>
                    <a:pt x="1802" y="2031"/>
                  </a:lnTo>
                  <a:lnTo>
                    <a:pt x="1850" y="1931"/>
                  </a:lnTo>
                  <a:lnTo>
                    <a:pt x="1906" y="1839"/>
                  </a:lnTo>
                  <a:lnTo>
                    <a:pt x="1971" y="1750"/>
                  </a:lnTo>
                  <a:lnTo>
                    <a:pt x="2044" y="1670"/>
                  </a:lnTo>
                  <a:lnTo>
                    <a:pt x="2124" y="1597"/>
                  </a:lnTo>
                  <a:lnTo>
                    <a:pt x="2212" y="1533"/>
                  </a:lnTo>
                  <a:lnTo>
                    <a:pt x="2305" y="1476"/>
                  </a:lnTo>
                  <a:lnTo>
                    <a:pt x="2405" y="1429"/>
                  </a:lnTo>
                  <a:lnTo>
                    <a:pt x="2509" y="1389"/>
                  </a:lnTo>
                  <a:lnTo>
                    <a:pt x="2616" y="1362"/>
                  </a:lnTo>
                  <a:lnTo>
                    <a:pt x="2728" y="1344"/>
                  </a:lnTo>
                  <a:lnTo>
                    <a:pt x="2844" y="1338"/>
                  </a:lnTo>
                  <a:lnTo>
                    <a:pt x="2958" y="1344"/>
                  </a:lnTo>
                  <a:lnTo>
                    <a:pt x="3069" y="1362"/>
                  </a:lnTo>
                  <a:lnTo>
                    <a:pt x="3177" y="1389"/>
                  </a:lnTo>
                  <a:lnTo>
                    <a:pt x="3279" y="1427"/>
                  </a:lnTo>
                  <a:lnTo>
                    <a:pt x="3377" y="1474"/>
                  </a:lnTo>
                  <a:lnTo>
                    <a:pt x="3472" y="1529"/>
                  </a:lnTo>
                  <a:lnTo>
                    <a:pt x="3558" y="1593"/>
                  </a:lnTo>
                  <a:lnTo>
                    <a:pt x="3638" y="1666"/>
                  </a:lnTo>
                  <a:lnTo>
                    <a:pt x="3711" y="1745"/>
                  </a:lnTo>
                  <a:lnTo>
                    <a:pt x="3778" y="1831"/>
                  </a:lnTo>
                  <a:lnTo>
                    <a:pt x="3834" y="1923"/>
                  </a:lnTo>
                  <a:lnTo>
                    <a:pt x="3881" y="2021"/>
                  </a:lnTo>
                  <a:lnTo>
                    <a:pt x="3921" y="2123"/>
                  </a:lnTo>
                  <a:lnTo>
                    <a:pt x="3950" y="2229"/>
                  </a:lnTo>
                  <a:lnTo>
                    <a:pt x="3968" y="2341"/>
                  </a:lnTo>
                  <a:lnTo>
                    <a:pt x="3976" y="2455"/>
                  </a:lnTo>
                  <a:lnTo>
                    <a:pt x="4505" y="2455"/>
                  </a:lnTo>
                  <a:lnTo>
                    <a:pt x="4533" y="2451"/>
                  </a:lnTo>
                  <a:lnTo>
                    <a:pt x="4556" y="2437"/>
                  </a:lnTo>
                  <a:lnTo>
                    <a:pt x="4574" y="2419"/>
                  </a:lnTo>
                  <a:lnTo>
                    <a:pt x="4586" y="2396"/>
                  </a:lnTo>
                  <a:lnTo>
                    <a:pt x="4590" y="2368"/>
                  </a:lnTo>
                  <a:lnTo>
                    <a:pt x="4590" y="2086"/>
                  </a:lnTo>
                  <a:lnTo>
                    <a:pt x="4497" y="2078"/>
                  </a:lnTo>
                  <a:lnTo>
                    <a:pt x="4405" y="2062"/>
                  </a:lnTo>
                  <a:lnTo>
                    <a:pt x="4313" y="2037"/>
                  </a:lnTo>
                  <a:lnTo>
                    <a:pt x="4223" y="2002"/>
                  </a:lnTo>
                  <a:lnTo>
                    <a:pt x="4134" y="1958"/>
                  </a:lnTo>
                  <a:lnTo>
                    <a:pt x="4050" y="1907"/>
                  </a:lnTo>
                  <a:lnTo>
                    <a:pt x="3972" y="1849"/>
                  </a:lnTo>
                  <a:lnTo>
                    <a:pt x="3895" y="1780"/>
                  </a:lnTo>
                  <a:lnTo>
                    <a:pt x="3823" y="1701"/>
                  </a:lnTo>
                  <a:lnTo>
                    <a:pt x="3758" y="1619"/>
                  </a:lnTo>
                  <a:lnTo>
                    <a:pt x="3703" y="1531"/>
                  </a:lnTo>
                  <a:lnTo>
                    <a:pt x="3658" y="1438"/>
                  </a:lnTo>
                  <a:lnTo>
                    <a:pt x="3621" y="1344"/>
                  </a:lnTo>
                  <a:lnTo>
                    <a:pt x="3595" y="1246"/>
                  </a:lnTo>
                  <a:lnTo>
                    <a:pt x="3579" y="1146"/>
                  </a:lnTo>
                  <a:lnTo>
                    <a:pt x="3574" y="1044"/>
                  </a:lnTo>
                  <a:lnTo>
                    <a:pt x="3581" y="930"/>
                  </a:lnTo>
                  <a:lnTo>
                    <a:pt x="3599" y="821"/>
                  </a:lnTo>
                  <a:lnTo>
                    <a:pt x="3628" y="715"/>
                  </a:lnTo>
                  <a:lnTo>
                    <a:pt x="3668" y="613"/>
                  </a:lnTo>
                  <a:lnTo>
                    <a:pt x="3717" y="518"/>
                  </a:lnTo>
                  <a:lnTo>
                    <a:pt x="3776" y="428"/>
                  </a:lnTo>
                  <a:lnTo>
                    <a:pt x="3842" y="346"/>
                  </a:lnTo>
                  <a:lnTo>
                    <a:pt x="3919" y="269"/>
                  </a:lnTo>
                  <a:lnTo>
                    <a:pt x="4001" y="203"/>
                  </a:lnTo>
                  <a:lnTo>
                    <a:pt x="4091" y="144"/>
                  </a:lnTo>
                  <a:lnTo>
                    <a:pt x="4187" y="95"/>
                  </a:lnTo>
                  <a:lnTo>
                    <a:pt x="4287" y="53"/>
                  </a:lnTo>
                  <a:lnTo>
                    <a:pt x="4393" y="26"/>
                  </a:lnTo>
                  <a:lnTo>
                    <a:pt x="4503" y="6"/>
                  </a:lnTo>
                  <a:lnTo>
                    <a:pt x="461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595">
              <a:extLst>
                <a:ext uri="{FF2B5EF4-FFF2-40B4-BE49-F238E27FC236}">
                  <a16:creationId xmlns:a16="http://schemas.microsoft.com/office/drawing/2014/main" id="{11BA1157-5E38-944E-A624-747AB95C4FD5}"/>
                </a:ext>
              </a:extLst>
            </p:cNvPr>
            <p:cNvSpPr>
              <a:spLocks/>
            </p:cNvSpPr>
            <p:nvPr/>
          </p:nvSpPr>
          <p:spPr bwMode="auto">
            <a:xfrm>
              <a:off x="5499792" y="951886"/>
              <a:ext cx="1358900" cy="1204912"/>
            </a:xfrm>
            <a:custGeom>
              <a:avLst/>
              <a:gdLst>
                <a:gd name="T0" fmla="*/ 957 w 1712"/>
                <a:gd name="T1" fmla="*/ 6 h 1516"/>
                <a:gd name="T2" fmla="*/ 1145 w 1712"/>
                <a:gd name="T3" fmla="*/ 51 h 1516"/>
                <a:gd name="T4" fmla="*/ 1314 w 1712"/>
                <a:gd name="T5" fmla="*/ 133 h 1516"/>
                <a:gd name="T6" fmla="*/ 1461 w 1712"/>
                <a:gd name="T7" fmla="*/ 251 h 1516"/>
                <a:gd name="T8" fmla="*/ 1579 w 1712"/>
                <a:gd name="T9" fmla="*/ 398 h 1516"/>
                <a:gd name="T10" fmla="*/ 1663 w 1712"/>
                <a:gd name="T11" fmla="*/ 569 h 1516"/>
                <a:gd name="T12" fmla="*/ 1706 w 1712"/>
                <a:gd name="T13" fmla="*/ 757 h 1516"/>
                <a:gd name="T14" fmla="*/ 1706 w 1712"/>
                <a:gd name="T15" fmla="*/ 951 h 1516"/>
                <a:gd name="T16" fmla="*/ 1667 w 1712"/>
                <a:gd name="T17" fmla="*/ 1134 h 1516"/>
                <a:gd name="T18" fmla="*/ 1589 w 1712"/>
                <a:gd name="T19" fmla="*/ 1301 h 1516"/>
                <a:gd name="T20" fmla="*/ 1475 w 1712"/>
                <a:gd name="T21" fmla="*/ 1450 h 1516"/>
                <a:gd name="T22" fmla="*/ 1402 w 1712"/>
                <a:gd name="T23" fmla="*/ 1514 h 1516"/>
                <a:gd name="T24" fmla="*/ 1396 w 1712"/>
                <a:gd name="T25" fmla="*/ 1514 h 1516"/>
                <a:gd name="T26" fmla="*/ 1392 w 1712"/>
                <a:gd name="T27" fmla="*/ 1510 h 1516"/>
                <a:gd name="T28" fmla="*/ 1394 w 1712"/>
                <a:gd name="T29" fmla="*/ 1503 h 1516"/>
                <a:gd name="T30" fmla="*/ 1524 w 1712"/>
                <a:gd name="T31" fmla="*/ 1369 h 1516"/>
                <a:gd name="T32" fmla="*/ 1618 w 1712"/>
                <a:gd name="T33" fmla="*/ 1212 h 1516"/>
                <a:gd name="T34" fmla="*/ 1677 w 1712"/>
                <a:gd name="T35" fmla="*/ 1040 h 1516"/>
                <a:gd name="T36" fmla="*/ 1698 w 1712"/>
                <a:gd name="T37" fmla="*/ 857 h 1516"/>
                <a:gd name="T38" fmla="*/ 1675 w 1712"/>
                <a:gd name="T39" fmla="*/ 663 h 1516"/>
                <a:gd name="T40" fmla="*/ 1612 w 1712"/>
                <a:gd name="T41" fmla="*/ 486 h 1516"/>
                <a:gd name="T42" fmla="*/ 1512 w 1712"/>
                <a:gd name="T43" fmla="*/ 331 h 1516"/>
                <a:gd name="T44" fmla="*/ 1383 w 1712"/>
                <a:gd name="T45" fmla="*/ 200 h 1516"/>
                <a:gd name="T46" fmla="*/ 1226 w 1712"/>
                <a:gd name="T47" fmla="*/ 102 h 1516"/>
                <a:gd name="T48" fmla="*/ 1049 w 1712"/>
                <a:gd name="T49" fmla="*/ 37 h 1516"/>
                <a:gd name="T50" fmla="*/ 857 w 1712"/>
                <a:gd name="T51" fmla="*/ 16 h 1516"/>
                <a:gd name="T52" fmla="*/ 665 w 1712"/>
                <a:gd name="T53" fmla="*/ 37 h 1516"/>
                <a:gd name="T54" fmla="*/ 486 w 1712"/>
                <a:gd name="T55" fmla="*/ 102 h 1516"/>
                <a:gd name="T56" fmla="*/ 331 w 1712"/>
                <a:gd name="T57" fmla="*/ 200 h 1516"/>
                <a:gd name="T58" fmla="*/ 200 w 1712"/>
                <a:gd name="T59" fmla="*/ 331 h 1516"/>
                <a:gd name="T60" fmla="*/ 102 w 1712"/>
                <a:gd name="T61" fmla="*/ 486 h 1516"/>
                <a:gd name="T62" fmla="*/ 37 w 1712"/>
                <a:gd name="T63" fmla="*/ 663 h 1516"/>
                <a:gd name="T64" fmla="*/ 16 w 1712"/>
                <a:gd name="T65" fmla="*/ 857 h 1516"/>
                <a:gd name="T66" fmla="*/ 12 w 1712"/>
                <a:gd name="T67" fmla="*/ 863 h 1516"/>
                <a:gd name="T68" fmla="*/ 4 w 1712"/>
                <a:gd name="T69" fmla="*/ 863 h 1516"/>
                <a:gd name="T70" fmla="*/ 0 w 1712"/>
                <a:gd name="T71" fmla="*/ 857 h 1516"/>
                <a:gd name="T72" fmla="*/ 23 w 1712"/>
                <a:gd name="T73" fmla="*/ 661 h 1516"/>
                <a:gd name="T74" fmla="*/ 88 w 1712"/>
                <a:gd name="T75" fmla="*/ 480 h 1516"/>
                <a:gd name="T76" fmla="*/ 188 w 1712"/>
                <a:gd name="T77" fmla="*/ 322 h 1516"/>
                <a:gd name="T78" fmla="*/ 322 w 1712"/>
                <a:gd name="T79" fmla="*/ 188 h 1516"/>
                <a:gd name="T80" fmla="*/ 480 w 1712"/>
                <a:gd name="T81" fmla="*/ 88 h 1516"/>
                <a:gd name="T82" fmla="*/ 661 w 1712"/>
                <a:gd name="T83" fmla="*/ 23 h 1516"/>
                <a:gd name="T84" fmla="*/ 857 w 1712"/>
                <a:gd name="T85" fmla="*/ 0 h 1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12" h="1516">
                  <a:moveTo>
                    <a:pt x="857" y="0"/>
                  </a:moveTo>
                  <a:lnTo>
                    <a:pt x="957" y="6"/>
                  </a:lnTo>
                  <a:lnTo>
                    <a:pt x="1053" y="23"/>
                  </a:lnTo>
                  <a:lnTo>
                    <a:pt x="1145" y="51"/>
                  </a:lnTo>
                  <a:lnTo>
                    <a:pt x="1232" y="88"/>
                  </a:lnTo>
                  <a:lnTo>
                    <a:pt x="1314" y="133"/>
                  </a:lnTo>
                  <a:lnTo>
                    <a:pt x="1390" y="188"/>
                  </a:lnTo>
                  <a:lnTo>
                    <a:pt x="1461" y="251"/>
                  </a:lnTo>
                  <a:lnTo>
                    <a:pt x="1524" y="322"/>
                  </a:lnTo>
                  <a:lnTo>
                    <a:pt x="1579" y="398"/>
                  </a:lnTo>
                  <a:lnTo>
                    <a:pt x="1626" y="480"/>
                  </a:lnTo>
                  <a:lnTo>
                    <a:pt x="1663" y="569"/>
                  </a:lnTo>
                  <a:lnTo>
                    <a:pt x="1691" y="661"/>
                  </a:lnTo>
                  <a:lnTo>
                    <a:pt x="1706" y="757"/>
                  </a:lnTo>
                  <a:lnTo>
                    <a:pt x="1712" y="857"/>
                  </a:lnTo>
                  <a:lnTo>
                    <a:pt x="1706" y="951"/>
                  </a:lnTo>
                  <a:lnTo>
                    <a:pt x="1692" y="1044"/>
                  </a:lnTo>
                  <a:lnTo>
                    <a:pt x="1667" y="1134"/>
                  </a:lnTo>
                  <a:lnTo>
                    <a:pt x="1632" y="1220"/>
                  </a:lnTo>
                  <a:lnTo>
                    <a:pt x="1589" y="1301"/>
                  </a:lnTo>
                  <a:lnTo>
                    <a:pt x="1536" y="1379"/>
                  </a:lnTo>
                  <a:lnTo>
                    <a:pt x="1475" y="1450"/>
                  </a:lnTo>
                  <a:lnTo>
                    <a:pt x="1404" y="1514"/>
                  </a:lnTo>
                  <a:lnTo>
                    <a:pt x="1402" y="1514"/>
                  </a:lnTo>
                  <a:lnTo>
                    <a:pt x="1400" y="1516"/>
                  </a:lnTo>
                  <a:lnTo>
                    <a:pt x="1396" y="1514"/>
                  </a:lnTo>
                  <a:lnTo>
                    <a:pt x="1394" y="1512"/>
                  </a:lnTo>
                  <a:lnTo>
                    <a:pt x="1392" y="1510"/>
                  </a:lnTo>
                  <a:lnTo>
                    <a:pt x="1392" y="1507"/>
                  </a:lnTo>
                  <a:lnTo>
                    <a:pt x="1394" y="1503"/>
                  </a:lnTo>
                  <a:lnTo>
                    <a:pt x="1463" y="1440"/>
                  </a:lnTo>
                  <a:lnTo>
                    <a:pt x="1524" y="1369"/>
                  </a:lnTo>
                  <a:lnTo>
                    <a:pt x="1575" y="1293"/>
                  </a:lnTo>
                  <a:lnTo>
                    <a:pt x="1618" y="1212"/>
                  </a:lnTo>
                  <a:lnTo>
                    <a:pt x="1653" y="1128"/>
                  </a:lnTo>
                  <a:lnTo>
                    <a:pt x="1677" y="1040"/>
                  </a:lnTo>
                  <a:lnTo>
                    <a:pt x="1692" y="949"/>
                  </a:lnTo>
                  <a:lnTo>
                    <a:pt x="1698" y="857"/>
                  </a:lnTo>
                  <a:lnTo>
                    <a:pt x="1692" y="759"/>
                  </a:lnTo>
                  <a:lnTo>
                    <a:pt x="1675" y="663"/>
                  </a:lnTo>
                  <a:lnTo>
                    <a:pt x="1649" y="573"/>
                  </a:lnTo>
                  <a:lnTo>
                    <a:pt x="1612" y="486"/>
                  </a:lnTo>
                  <a:lnTo>
                    <a:pt x="1567" y="406"/>
                  </a:lnTo>
                  <a:lnTo>
                    <a:pt x="1512" y="331"/>
                  </a:lnTo>
                  <a:lnTo>
                    <a:pt x="1451" y="263"/>
                  </a:lnTo>
                  <a:lnTo>
                    <a:pt x="1383" y="200"/>
                  </a:lnTo>
                  <a:lnTo>
                    <a:pt x="1306" y="147"/>
                  </a:lnTo>
                  <a:lnTo>
                    <a:pt x="1226" y="102"/>
                  </a:lnTo>
                  <a:lnTo>
                    <a:pt x="1139" y="65"/>
                  </a:lnTo>
                  <a:lnTo>
                    <a:pt x="1049" y="37"/>
                  </a:lnTo>
                  <a:lnTo>
                    <a:pt x="955" y="21"/>
                  </a:lnTo>
                  <a:lnTo>
                    <a:pt x="857" y="16"/>
                  </a:lnTo>
                  <a:lnTo>
                    <a:pt x="759" y="21"/>
                  </a:lnTo>
                  <a:lnTo>
                    <a:pt x="665" y="37"/>
                  </a:lnTo>
                  <a:lnTo>
                    <a:pt x="573" y="65"/>
                  </a:lnTo>
                  <a:lnTo>
                    <a:pt x="486" y="102"/>
                  </a:lnTo>
                  <a:lnTo>
                    <a:pt x="406" y="147"/>
                  </a:lnTo>
                  <a:lnTo>
                    <a:pt x="331" y="200"/>
                  </a:lnTo>
                  <a:lnTo>
                    <a:pt x="263" y="263"/>
                  </a:lnTo>
                  <a:lnTo>
                    <a:pt x="200" y="331"/>
                  </a:lnTo>
                  <a:lnTo>
                    <a:pt x="147" y="406"/>
                  </a:lnTo>
                  <a:lnTo>
                    <a:pt x="102" y="486"/>
                  </a:lnTo>
                  <a:lnTo>
                    <a:pt x="65" y="573"/>
                  </a:lnTo>
                  <a:lnTo>
                    <a:pt x="37" y="663"/>
                  </a:lnTo>
                  <a:lnTo>
                    <a:pt x="21" y="759"/>
                  </a:lnTo>
                  <a:lnTo>
                    <a:pt x="16" y="857"/>
                  </a:lnTo>
                  <a:lnTo>
                    <a:pt x="14" y="861"/>
                  </a:lnTo>
                  <a:lnTo>
                    <a:pt x="12" y="863"/>
                  </a:lnTo>
                  <a:lnTo>
                    <a:pt x="8" y="863"/>
                  </a:lnTo>
                  <a:lnTo>
                    <a:pt x="4" y="863"/>
                  </a:lnTo>
                  <a:lnTo>
                    <a:pt x="2" y="861"/>
                  </a:lnTo>
                  <a:lnTo>
                    <a:pt x="0" y="857"/>
                  </a:lnTo>
                  <a:lnTo>
                    <a:pt x="6" y="757"/>
                  </a:lnTo>
                  <a:lnTo>
                    <a:pt x="23" y="661"/>
                  </a:lnTo>
                  <a:lnTo>
                    <a:pt x="51" y="569"/>
                  </a:lnTo>
                  <a:lnTo>
                    <a:pt x="88" y="480"/>
                  </a:lnTo>
                  <a:lnTo>
                    <a:pt x="133" y="398"/>
                  </a:lnTo>
                  <a:lnTo>
                    <a:pt x="188" y="322"/>
                  </a:lnTo>
                  <a:lnTo>
                    <a:pt x="251" y="251"/>
                  </a:lnTo>
                  <a:lnTo>
                    <a:pt x="322" y="188"/>
                  </a:lnTo>
                  <a:lnTo>
                    <a:pt x="398" y="133"/>
                  </a:lnTo>
                  <a:lnTo>
                    <a:pt x="480" y="88"/>
                  </a:lnTo>
                  <a:lnTo>
                    <a:pt x="569" y="51"/>
                  </a:lnTo>
                  <a:lnTo>
                    <a:pt x="661" y="23"/>
                  </a:lnTo>
                  <a:lnTo>
                    <a:pt x="757" y="6"/>
                  </a:lnTo>
                  <a:lnTo>
                    <a:pt x="857" y="0"/>
                  </a:lnTo>
                  <a:close/>
                </a:path>
              </a:pathLst>
            </a:custGeom>
            <a:solidFill>
              <a:schemeClr val="accent2"/>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1596">
              <a:extLst>
                <a:ext uri="{FF2B5EF4-FFF2-40B4-BE49-F238E27FC236}">
                  <a16:creationId xmlns:a16="http://schemas.microsoft.com/office/drawing/2014/main" id="{B4CC8390-D154-8346-B528-A77940C30BB8}"/>
                </a:ext>
              </a:extLst>
            </p:cNvPr>
            <p:cNvSpPr>
              <a:spLocks/>
            </p:cNvSpPr>
            <p:nvPr/>
          </p:nvSpPr>
          <p:spPr bwMode="auto">
            <a:xfrm>
              <a:off x="5374379" y="3169623"/>
              <a:ext cx="1546225" cy="1598612"/>
            </a:xfrm>
            <a:custGeom>
              <a:avLst/>
              <a:gdLst>
                <a:gd name="T0" fmla="*/ 1053 w 1950"/>
                <a:gd name="T1" fmla="*/ 6 h 2013"/>
                <a:gd name="T2" fmla="*/ 1261 w 1950"/>
                <a:gd name="T3" fmla="*/ 51 h 2013"/>
                <a:gd name="T4" fmla="*/ 1451 w 1950"/>
                <a:gd name="T5" fmla="*/ 138 h 2013"/>
                <a:gd name="T6" fmla="*/ 1618 w 1950"/>
                <a:gd name="T7" fmla="*/ 261 h 2013"/>
                <a:gd name="T8" fmla="*/ 1755 w 1950"/>
                <a:gd name="T9" fmla="*/ 412 h 2013"/>
                <a:gd name="T10" fmla="*/ 1859 w 1950"/>
                <a:gd name="T11" fmla="*/ 593 h 2013"/>
                <a:gd name="T12" fmla="*/ 1926 w 1950"/>
                <a:gd name="T13" fmla="*/ 791 h 2013"/>
                <a:gd name="T14" fmla="*/ 1950 w 1950"/>
                <a:gd name="T15" fmla="*/ 1007 h 2013"/>
                <a:gd name="T16" fmla="*/ 1926 w 1950"/>
                <a:gd name="T17" fmla="*/ 1223 h 2013"/>
                <a:gd name="T18" fmla="*/ 1859 w 1950"/>
                <a:gd name="T19" fmla="*/ 1423 h 2013"/>
                <a:gd name="T20" fmla="*/ 1755 w 1950"/>
                <a:gd name="T21" fmla="*/ 1601 h 2013"/>
                <a:gd name="T22" fmla="*/ 1618 w 1950"/>
                <a:gd name="T23" fmla="*/ 1754 h 2013"/>
                <a:gd name="T24" fmla="*/ 1451 w 1950"/>
                <a:gd name="T25" fmla="*/ 1876 h 2013"/>
                <a:gd name="T26" fmla="*/ 1261 w 1950"/>
                <a:gd name="T27" fmla="*/ 1962 h 2013"/>
                <a:gd name="T28" fmla="*/ 1053 w 1950"/>
                <a:gd name="T29" fmla="*/ 2007 h 2013"/>
                <a:gd name="T30" fmla="*/ 839 w 1950"/>
                <a:gd name="T31" fmla="*/ 2007 h 2013"/>
                <a:gd name="T32" fmla="*/ 641 w 1950"/>
                <a:gd name="T33" fmla="*/ 1966 h 2013"/>
                <a:gd name="T34" fmla="*/ 455 w 1950"/>
                <a:gd name="T35" fmla="*/ 1886 h 2013"/>
                <a:gd name="T36" fmla="*/ 290 w 1950"/>
                <a:gd name="T37" fmla="*/ 1772 h 2013"/>
                <a:gd name="T38" fmla="*/ 151 w 1950"/>
                <a:gd name="T39" fmla="*/ 1627 h 2013"/>
                <a:gd name="T40" fmla="*/ 43 w 1950"/>
                <a:gd name="T41" fmla="*/ 1454 h 2013"/>
                <a:gd name="T42" fmla="*/ 0 w 1950"/>
                <a:gd name="T43" fmla="*/ 1354 h 2013"/>
                <a:gd name="T44" fmla="*/ 6 w 1950"/>
                <a:gd name="T45" fmla="*/ 1342 h 2013"/>
                <a:gd name="T46" fmla="*/ 18 w 1950"/>
                <a:gd name="T47" fmla="*/ 1336 h 2013"/>
                <a:gd name="T48" fmla="*/ 26 w 1950"/>
                <a:gd name="T49" fmla="*/ 1340 h 2013"/>
                <a:gd name="T50" fmla="*/ 31 w 1950"/>
                <a:gd name="T51" fmla="*/ 1348 h 2013"/>
                <a:gd name="T52" fmla="*/ 122 w 1950"/>
                <a:gd name="T53" fmla="*/ 1527 h 2013"/>
                <a:gd name="T54" fmla="*/ 241 w 1950"/>
                <a:gd name="T55" fmla="*/ 1680 h 2013"/>
                <a:gd name="T56" fmla="*/ 390 w 1950"/>
                <a:gd name="T57" fmla="*/ 1805 h 2013"/>
                <a:gd name="T58" fmla="*/ 559 w 1950"/>
                <a:gd name="T59" fmla="*/ 1900 h 2013"/>
                <a:gd name="T60" fmla="*/ 745 w 1950"/>
                <a:gd name="T61" fmla="*/ 1960 h 2013"/>
                <a:gd name="T62" fmla="*/ 943 w 1950"/>
                <a:gd name="T63" fmla="*/ 1980 h 2013"/>
                <a:gd name="T64" fmla="*/ 1151 w 1950"/>
                <a:gd name="T65" fmla="*/ 1958 h 2013"/>
                <a:gd name="T66" fmla="*/ 1345 w 1950"/>
                <a:gd name="T67" fmla="*/ 1894 h 2013"/>
                <a:gd name="T68" fmla="*/ 1518 w 1950"/>
                <a:gd name="T69" fmla="*/ 1792 h 2013"/>
                <a:gd name="T70" fmla="*/ 1665 w 1950"/>
                <a:gd name="T71" fmla="*/ 1658 h 2013"/>
                <a:gd name="T72" fmla="*/ 1783 w 1950"/>
                <a:gd name="T73" fmla="*/ 1497 h 2013"/>
                <a:gd name="T74" fmla="*/ 1867 w 1950"/>
                <a:gd name="T75" fmla="*/ 1315 h 2013"/>
                <a:gd name="T76" fmla="*/ 1910 w 1950"/>
                <a:gd name="T77" fmla="*/ 1113 h 2013"/>
                <a:gd name="T78" fmla="*/ 1910 w 1950"/>
                <a:gd name="T79" fmla="*/ 901 h 2013"/>
                <a:gd name="T80" fmla="*/ 1867 w 1950"/>
                <a:gd name="T81" fmla="*/ 701 h 2013"/>
                <a:gd name="T82" fmla="*/ 1783 w 1950"/>
                <a:gd name="T83" fmla="*/ 516 h 2013"/>
                <a:gd name="T84" fmla="*/ 1665 w 1950"/>
                <a:gd name="T85" fmla="*/ 356 h 2013"/>
                <a:gd name="T86" fmla="*/ 1518 w 1950"/>
                <a:gd name="T87" fmla="*/ 222 h 2013"/>
                <a:gd name="T88" fmla="*/ 1345 w 1950"/>
                <a:gd name="T89" fmla="*/ 120 h 2013"/>
                <a:gd name="T90" fmla="*/ 1151 w 1950"/>
                <a:gd name="T91" fmla="*/ 57 h 2013"/>
                <a:gd name="T92" fmla="*/ 943 w 1950"/>
                <a:gd name="T93" fmla="*/ 34 h 2013"/>
                <a:gd name="T94" fmla="*/ 747 w 1950"/>
                <a:gd name="T95" fmla="*/ 53 h 2013"/>
                <a:gd name="T96" fmla="*/ 563 w 1950"/>
                <a:gd name="T97" fmla="*/ 112 h 2013"/>
                <a:gd name="T98" fmla="*/ 394 w 1950"/>
                <a:gd name="T99" fmla="*/ 205 h 2013"/>
                <a:gd name="T100" fmla="*/ 245 w 1950"/>
                <a:gd name="T101" fmla="*/ 328 h 2013"/>
                <a:gd name="T102" fmla="*/ 124 w 1950"/>
                <a:gd name="T103" fmla="*/ 483 h 2013"/>
                <a:gd name="T104" fmla="*/ 116 w 1950"/>
                <a:gd name="T105" fmla="*/ 491 h 2013"/>
                <a:gd name="T106" fmla="*/ 106 w 1950"/>
                <a:gd name="T107" fmla="*/ 491 h 2013"/>
                <a:gd name="T108" fmla="*/ 96 w 1950"/>
                <a:gd name="T109" fmla="*/ 485 h 2013"/>
                <a:gd name="T110" fmla="*/ 92 w 1950"/>
                <a:gd name="T111" fmla="*/ 475 h 2013"/>
                <a:gd name="T112" fmla="*/ 96 w 1950"/>
                <a:gd name="T113" fmla="*/ 465 h 2013"/>
                <a:gd name="T114" fmla="*/ 222 w 1950"/>
                <a:gd name="T115" fmla="*/ 307 h 2013"/>
                <a:gd name="T116" fmla="*/ 375 w 1950"/>
                <a:gd name="T117" fmla="*/ 177 h 2013"/>
                <a:gd name="T118" fmla="*/ 549 w 1950"/>
                <a:gd name="T119" fmla="*/ 81 h 2013"/>
                <a:gd name="T120" fmla="*/ 741 w 1950"/>
                <a:gd name="T121" fmla="*/ 22 h 2013"/>
                <a:gd name="T122" fmla="*/ 943 w 1950"/>
                <a:gd name="T123" fmla="*/ 0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50" h="2013">
                  <a:moveTo>
                    <a:pt x="943" y="0"/>
                  </a:moveTo>
                  <a:lnTo>
                    <a:pt x="1053" y="6"/>
                  </a:lnTo>
                  <a:lnTo>
                    <a:pt x="1159" y="24"/>
                  </a:lnTo>
                  <a:lnTo>
                    <a:pt x="1261" y="51"/>
                  </a:lnTo>
                  <a:lnTo>
                    <a:pt x="1359" y="91"/>
                  </a:lnTo>
                  <a:lnTo>
                    <a:pt x="1451" y="138"/>
                  </a:lnTo>
                  <a:lnTo>
                    <a:pt x="1538" y="195"/>
                  </a:lnTo>
                  <a:lnTo>
                    <a:pt x="1618" y="261"/>
                  </a:lnTo>
                  <a:lnTo>
                    <a:pt x="1691" y="334"/>
                  </a:lnTo>
                  <a:lnTo>
                    <a:pt x="1755" y="412"/>
                  </a:lnTo>
                  <a:lnTo>
                    <a:pt x="1812" y="501"/>
                  </a:lnTo>
                  <a:lnTo>
                    <a:pt x="1859" y="593"/>
                  </a:lnTo>
                  <a:lnTo>
                    <a:pt x="1899" y="689"/>
                  </a:lnTo>
                  <a:lnTo>
                    <a:pt x="1926" y="791"/>
                  </a:lnTo>
                  <a:lnTo>
                    <a:pt x="1944" y="897"/>
                  </a:lnTo>
                  <a:lnTo>
                    <a:pt x="1950" y="1007"/>
                  </a:lnTo>
                  <a:lnTo>
                    <a:pt x="1944" y="1117"/>
                  </a:lnTo>
                  <a:lnTo>
                    <a:pt x="1926" y="1223"/>
                  </a:lnTo>
                  <a:lnTo>
                    <a:pt x="1899" y="1325"/>
                  </a:lnTo>
                  <a:lnTo>
                    <a:pt x="1859" y="1423"/>
                  </a:lnTo>
                  <a:lnTo>
                    <a:pt x="1812" y="1515"/>
                  </a:lnTo>
                  <a:lnTo>
                    <a:pt x="1755" y="1601"/>
                  </a:lnTo>
                  <a:lnTo>
                    <a:pt x="1691" y="1682"/>
                  </a:lnTo>
                  <a:lnTo>
                    <a:pt x="1618" y="1754"/>
                  </a:lnTo>
                  <a:lnTo>
                    <a:pt x="1538" y="1819"/>
                  </a:lnTo>
                  <a:lnTo>
                    <a:pt x="1451" y="1876"/>
                  </a:lnTo>
                  <a:lnTo>
                    <a:pt x="1359" y="1923"/>
                  </a:lnTo>
                  <a:lnTo>
                    <a:pt x="1261" y="1962"/>
                  </a:lnTo>
                  <a:lnTo>
                    <a:pt x="1159" y="1990"/>
                  </a:lnTo>
                  <a:lnTo>
                    <a:pt x="1053" y="2007"/>
                  </a:lnTo>
                  <a:lnTo>
                    <a:pt x="943" y="2013"/>
                  </a:lnTo>
                  <a:lnTo>
                    <a:pt x="839" y="2007"/>
                  </a:lnTo>
                  <a:lnTo>
                    <a:pt x="739" y="1992"/>
                  </a:lnTo>
                  <a:lnTo>
                    <a:pt x="641" y="1966"/>
                  </a:lnTo>
                  <a:lnTo>
                    <a:pt x="545" y="1931"/>
                  </a:lnTo>
                  <a:lnTo>
                    <a:pt x="455" y="1886"/>
                  </a:lnTo>
                  <a:lnTo>
                    <a:pt x="371" y="1833"/>
                  </a:lnTo>
                  <a:lnTo>
                    <a:pt x="290" y="1772"/>
                  </a:lnTo>
                  <a:lnTo>
                    <a:pt x="218" y="1703"/>
                  </a:lnTo>
                  <a:lnTo>
                    <a:pt x="151" y="1627"/>
                  </a:lnTo>
                  <a:lnTo>
                    <a:pt x="92" y="1544"/>
                  </a:lnTo>
                  <a:lnTo>
                    <a:pt x="43" y="1454"/>
                  </a:lnTo>
                  <a:lnTo>
                    <a:pt x="2" y="1360"/>
                  </a:lnTo>
                  <a:lnTo>
                    <a:pt x="0" y="1354"/>
                  </a:lnTo>
                  <a:lnTo>
                    <a:pt x="2" y="1346"/>
                  </a:lnTo>
                  <a:lnTo>
                    <a:pt x="6" y="1342"/>
                  </a:lnTo>
                  <a:lnTo>
                    <a:pt x="12" y="1338"/>
                  </a:lnTo>
                  <a:lnTo>
                    <a:pt x="18" y="1336"/>
                  </a:lnTo>
                  <a:lnTo>
                    <a:pt x="22" y="1338"/>
                  </a:lnTo>
                  <a:lnTo>
                    <a:pt x="26" y="1340"/>
                  </a:lnTo>
                  <a:lnTo>
                    <a:pt x="29" y="1344"/>
                  </a:lnTo>
                  <a:lnTo>
                    <a:pt x="31" y="1348"/>
                  </a:lnTo>
                  <a:lnTo>
                    <a:pt x="73" y="1440"/>
                  </a:lnTo>
                  <a:lnTo>
                    <a:pt x="122" y="1527"/>
                  </a:lnTo>
                  <a:lnTo>
                    <a:pt x="178" y="1607"/>
                  </a:lnTo>
                  <a:lnTo>
                    <a:pt x="241" y="1680"/>
                  </a:lnTo>
                  <a:lnTo>
                    <a:pt x="312" y="1746"/>
                  </a:lnTo>
                  <a:lnTo>
                    <a:pt x="390" y="1805"/>
                  </a:lnTo>
                  <a:lnTo>
                    <a:pt x="473" y="1856"/>
                  </a:lnTo>
                  <a:lnTo>
                    <a:pt x="559" y="1900"/>
                  </a:lnTo>
                  <a:lnTo>
                    <a:pt x="651" y="1935"/>
                  </a:lnTo>
                  <a:lnTo>
                    <a:pt x="745" y="1960"/>
                  </a:lnTo>
                  <a:lnTo>
                    <a:pt x="843" y="1974"/>
                  </a:lnTo>
                  <a:lnTo>
                    <a:pt x="943" y="1980"/>
                  </a:lnTo>
                  <a:lnTo>
                    <a:pt x="1049" y="1974"/>
                  </a:lnTo>
                  <a:lnTo>
                    <a:pt x="1151" y="1958"/>
                  </a:lnTo>
                  <a:lnTo>
                    <a:pt x="1251" y="1931"/>
                  </a:lnTo>
                  <a:lnTo>
                    <a:pt x="1345" y="1894"/>
                  </a:lnTo>
                  <a:lnTo>
                    <a:pt x="1434" y="1847"/>
                  </a:lnTo>
                  <a:lnTo>
                    <a:pt x="1518" y="1792"/>
                  </a:lnTo>
                  <a:lnTo>
                    <a:pt x="1595" y="1729"/>
                  </a:lnTo>
                  <a:lnTo>
                    <a:pt x="1665" y="1658"/>
                  </a:lnTo>
                  <a:lnTo>
                    <a:pt x="1728" y="1582"/>
                  </a:lnTo>
                  <a:lnTo>
                    <a:pt x="1783" y="1497"/>
                  </a:lnTo>
                  <a:lnTo>
                    <a:pt x="1830" y="1409"/>
                  </a:lnTo>
                  <a:lnTo>
                    <a:pt x="1867" y="1315"/>
                  </a:lnTo>
                  <a:lnTo>
                    <a:pt x="1895" y="1215"/>
                  </a:lnTo>
                  <a:lnTo>
                    <a:pt x="1910" y="1113"/>
                  </a:lnTo>
                  <a:lnTo>
                    <a:pt x="1916" y="1007"/>
                  </a:lnTo>
                  <a:lnTo>
                    <a:pt x="1910" y="901"/>
                  </a:lnTo>
                  <a:lnTo>
                    <a:pt x="1895" y="799"/>
                  </a:lnTo>
                  <a:lnTo>
                    <a:pt x="1867" y="701"/>
                  </a:lnTo>
                  <a:lnTo>
                    <a:pt x="1830" y="607"/>
                  </a:lnTo>
                  <a:lnTo>
                    <a:pt x="1783" y="516"/>
                  </a:lnTo>
                  <a:lnTo>
                    <a:pt x="1728" y="432"/>
                  </a:lnTo>
                  <a:lnTo>
                    <a:pt x="1665" y="356"/>
                  </a:lnTo>
                  <a:lnTo>
                    <a:pt x="1595" y="285"/>
                  </a:lnTo>
                  <a:lnTo>
                    <a:pt x="1518" y="222"/>
                  </a:lnTo>
                  <a:lnTo>
                    <a:pt x="1434" y="167"/>
                  </a:lnTo>
                  <a:lnTo>
                    <a:pt x="1345" y="120"/>
                  </a:lnTo>
                  <a:lnTo>
                    <a:pt x="1251" y="85"/>
                  </a:lnTo>
                  <a:lnTo>
                    <a:pt x="1151" y="57"/>
                  </a:lnTo>
                  <a:lnTo>
                    <a:pt x="1049" y="40"/>
                  </a:lnTo>
                  <a:lnTo>
                    <a:pt x="943" y="34"/>
                  </a:lnTo>
                  <a:lnTo>
                    <a:pt x="845" y="40"/>
                  </a:lnTo>
                  <a:lnTo>
                    <a:pt x="747" y="53"/>
                  </a:lnTo>
                  <a:lnTo>
                    <a:pt x="653" y="79"/>
                  </a:lnTo>
                  <a:lnTo>
                    <a:pt x="563" y="112"/>
                  </a:lnTo>
                  <a:lnTo>
                    <a:pt x="477" y="153"/>
                  </a:lnTo>
                  <a:lnTo>
                    <a:pt x="394" y="205"/>
                  </a:lnTo>
                  <a:lnTo>
                    <a:pt x="318" y="263"/>
                  </a:lnTo>
                  <a:lnTo>
                    <a:pt x="245" y="328"/>
                  </a:lnTo>
                  <a:lnTo>
                    <a:pt x="180" y="403"/>
                  </a:lnTo>
                  <a:lnTo>
                    <a:pt x="124" y="483"/>
                  </a:lnTo>
                  <a:lnTo>
                    <a:pt x="120" y="487"/>
                  </a:lnTo>
                  <a:lnTo>
                    <a:pt x="116" y="491"/>
                  </a:lnTo>
                  <a:lnTo>
                    <a:pt x="110" y="491"/>
                  </a:lnTo>
                  <a:lnTo>
                    <a:pt x="106" y="491"/>
                  </a:lnTo>
                  <a:lnTo>
                    <a:pt x="100" y="489"/>
                  </a:lnTo>
                  <a:lnTo>
                    <a:pt x="96" y="485"/>
                  </a:lnTo>
                  <a:lnTo>
                    <a:pt x="94" y="481"/>
                  </a:lnTo>
                  <a:lnTo>
                    <a:pt x="92" y="475"/>
                  </a:lnTo>
                  <a:lnTo>
                    <a:pt x="94" y="471"/>
                  </a:lnTo>
                  <a:lnTo>
                    <a:pt x="96" y="465"/>
                  </a:lnTo>
                  <a:lnTo>
                    <a:pt x="155" y="381"/>
                  </a:lnTo>
                  <a:lnTo>
                    <a:pt x="222" y="307"/>
                  </a:lnTo>
                  <a:lnTo>
                    <a:pt x="296" y="238"/>
                  </a:lnTo>
                  <a:lnTo>
                    <a:pt x="375" y="177"/>
                  </a:lnTo>
                  <a:lnTo>
                    <a:pt x="461" y="124"/>
                  </a:lnTo>
                  <a:lnTo>
                    <a:pt x="549" y="81"/>
                  </a:lnTo>
                  <a:lnTo>
                    <a:pt x="643" y="46"/>
                  </a:lnTo>
                  <a:lnTo>
                    <a:pt x="741" y="22"/>
                  </a:lnTo>
                  <a:lnTo>
                    <a:pt x="841" y="6"/>
                  </a:lnTo>
                  <a:lnTo>
                    <a:pt x="94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597">
              <a:extLst>
                <a:ext uri="{FF2B5EF4-FFF2-40B4-BE49-F238E27FC236}">
                  <a16:creationId xmlns:a16="http://schemas.microsoft.com/office/drawing/2014/main" id="{822EC67F-18EC-F842-9411-390DEF5DDE40}"/>
                </a:ext>
              </a:extLst>
            </p:cNvPr>
            <p:cNvSpPr>
              <a:spLocks/>
            </p:cNvSpPr>
            <p:nvPr/>
          </p:nvSpPr>
          <p:spPr bwMode="auto">
            <a:xfrm>
              <a:off x="2664517" y="870923"/>
              <a:ext cx="1520825" cy="3640137"/>
            </a:xfrm>
            <a:custGeom>
              <a:avLst/>
              <a:gdLst>
                <a:gd name="T0" fmla="*/ 1163 w 1917"/>
                <a:gd name="T1" fmla="*/ 23 h 4585"/>
                <a:gd name="T2" fmla="*/ 1442 w 1917"/>
                <a:gd name="T3" fmla="*/ 131 h 4585"/>
                <a:gd name="T4" fmla="*/ 1669 w 1917"/>
                <a:gd name="T5" fmla="*/ 318 h 4585"/>
                <a:gd name="T6" fmla="*/ 1832 w 1917"/>
                <a:gd name="T7" fmla="*/ 563 h 4585"/>
                <a:gd name="T8" fmla="*/ 1911 w 1917"/>
                <a:gd name="T9" fmla="*/ 855 h 4585"/>
                <a:gd name="T10" fmla="*/ 1895 w 1917"/>
                <a:gd name="T11" fmla="*/ 1163 h 4585"/>
                <a:gd name="T12" fmla="*/ 1787 w 1917"/>
                <a:gd name="T13" fmla="*/ 1440 h 4585"/>
                <a:gd name="T14" fmla="*/ 1603 w 1917"/>
                <a:gd name="T15" fmla="*/ 1667 h 4585"/>
                <a:gd name="T16" fmla="*/ 1360 w 1917"/>
                <a:gd name="T17" fmla="*/ 1828 h 4585"/>
                <a:gd name="T18" fmla="*/ 1069 w 1917"/>
                <a:gd name="T19" fmla="*/ 1911 h 4585"/>
                <a:gd name="T20" fmla="*/ 965 w 1917"/>
                <a:gd name="T21" fmla="*/ 3005 h 4585"/>
                <a:gd name="T22" fmla="*/ 861 w 1917"/>
                <a:gd name="T23" fmla="*/ 3015 h 4585"/>
                <a:gd name="T24" fmla="*/ 593 w 1917"/>
                <a:gd name="T25" fmla="*/ 3101 h 4585"/>
                <a:gd name="T26" fmla="*/ 375 w 1917"/>
                <a:gd name="T27" fmla="*/ 3272 h 4585"/>
                <a:gd name="T28" fmla="*/ 232 w 1917"/>
                <a:gd name="T29" fmla="*/ 3508 h 4585"/>
                <a:gd name="T30" fmla="*/ 179 w 1917"/>
                <a:gd name="T31" fmla="*/ 3790 h 4585"/>
                <a:gd name="T32" fmla="*/ 232 w 1917"/>
                <a:gd name="T33" fmla="*/ 4073 h 4585"/>
                <a:gd name="T34" fmla="*/ 375 w 1917"/>
                <a:gd name="T35" fmla="*/ 4308 h 4585"/>
                <a:gd name="T36" fmla="*/ 593 w 1917"/>
                <a:gd name="T37" fmla="*/ 4479 h 4585"/>
                <a:gd name="T38" fmla="*/ 861 w 1917"/>
                <a:gd name="T39" fmla="*/ 4565 h 4585"/>
                <a:gd name="T40" fmla="*/ 1152 w 1917"/>
                <a:gd name="T41" fmla="*/ 4547 h 4585"/>
                <a:gd name="T42" fmla="*/ 1405 w 1917"/>
                <a:gd name="T43" fmla="*/ 4430 h 4585"/>
                <a:gd name="T44" fmla="*/ 1599 w 1917"/>
                <a:gd name="T45" fmla="*/ 4235 h 4585"/>
                <a:gd name="T46" fmla="*/ 1715 w 1917"/>
                <a:gd name="T47" fmla="*/ 3982 h 4585"/>
                <a:gd name="T48" fmla="*/ 1740 w 1917"/>
                <a:gd name="T49" fmla="*/ 3786 h 4585"/>
                <a:gd name="T50" fmla="*/ 1750 w 1917"/>
                <a:gd name="T51" fmla="*/ 3784 h 4585"/>
                <a:gd name="T52" fmla="*/ 1748 w 1917"/>
                <a:gd name="T53" fmla="*/ 3890 h 4585"/>
                <a:gd name="T54" fmla="*/ 1662 w 1917"/>
                <a:gd name="T55" fmla="*/ 4163 h 4585"/>
                <a:gd name="T56" fmla="*/ 1487 w 1917"/>
                <a:gd name="T57" fmla="*/ 4384 h 4585"/>
                <a:gd name="T58" fmla="*/ 1246 w 1917"/>
                <a:gd name="T59" fmla="*/ 4532 h 4585"/>
                <a:gd name="T60" fmla="*/ 959 w 1917"/>
                <a:gd name="T61" fmla="*/ 4585 h 4585"/>
                <a:gd name="T62" fmla="*/ 671 w 1917"/>
                <a:gd name="T63" fmla="*/ 4532 h 4585"/>
                <a:gd name="T64" fmla="*/ 432 w 1917"/>
                <a:gd name="T65" fmla="*/ 4384 h 4585"/>
                <a:gd name="T66" fmla="*/ 257 w 1917"/>
                <a:gd name="T67" fmla="*/ 4163 h 4585"/>
                <a:gd name="T68" fmla="*/ 171 w 1917"/>
                <a:gd name="T69" fmla="*/ 3890 h 4585"/>
                <a:gd name="T70" fmla="*/ 189 w 1917"/>
                <a:gd name="T71" fmla="*/ 3596 h 4585"/>
                <a:gd name="T72" fmla="*/ 304 w 1917"/>
                <a:gd name="T73" fmla="*/ 3339 h 4585"/>
                <a:gd name="T74" fmla="*/ 502 w 1917"/>
                <a:gd name="T75" fmla="*/ 3141 h 4585"/>
                <a:gd name="T76" fmla="*/ 757 w 1917"/>
                <a:gd name="T77" fmla="*/ 3021 h 4585"/>
                <a:gd name="T78" fmla="*/ 952 w 1917"/>
                <a:gd name="T79" fmla="*/ 1909 h 4585"/>
                <a:gd name="T80" fmla="*/ 959 w 1917"/>
                <a:gd name="T81" fmla="*/ 1901 h 4585"/>
                <a:gd name="T82" fmla="*/ 1258 w 1917"/>
                <a:gd name="T83" fmla="*/ 1854 h 4585"/>
                <a:gd name="T84" fmla="*/ 1516 w 1917"/>
                <a:gd name="T85" fmla="*/ 1720 h 4585"/>
                <a:gd name="T86" fmla="*/ 1720 w 1917"/>
                <a:gd name="T87" fmla="*/ 1514 h 4585"/>
                <a:gd name="T88" fmla="*/ 1854 w 1917"/>
                <a:gd name="T89" fmla="*/ 1255 h 4585"/>
                <a:gd name="T90" fmla="*/ 1903 w 1917"/>
                <a:gd name="T91" fmla="*/ 959 h 4585"/>
                <a:gd name="T92" fmla="*/ 1854 w 1917"/>
                <a:gd name="T93" fmla="*/ 661 h 4585"/>
                <a:gd name="T94" fmla="*/ 1720 w 1917"/>
                <a:gd name="T95" fmla="*/ 402 h 4585"/>
                <a:gd name="T96" fmla="*/ 1516 w 1917"/>
                <a:gd name="T97" fmla="*/ 198 h 4585"/>
                <a:gd name="T98" fmla="*/ 1258 w 1917"/>
                <a:gd name="T99" fmla="*/ 63 h 4585"/>
                <a:gd name="T100" fmla="*/ 959 w 1917"/>
                <a:gd name="T101" fmla="*/ 16 h 4585"/>
                <a:gd name="T102" fmla="*/ 661 w 1917"/>
                <a:gd name="T103" fmla="*/ 63 h 4585"/>
                <a:gd name="T104" fmla="*/ 402 w 1917"/>
                <a:gd name="T105" fmla="*/ 198 h 4585"/>
                <a:gd name="T106" fmla="*/ 198 w 1917"/>
                <a:gd name="T107" fmla="*/ 402 h 4585"/>
                <a:gd name="T108" fmla="*/ 65 w 1917"/>
                <a:gd name="T109" fmla="*/ 661 h 4585"/>
                <a:gd name="T110" fmla="*/ 16 w 1917"/>
                <a:gd name="T111" fmla="*/ 959 h 4585"/>
                <a:gd name="T112" fmla="*/ 8 w 1917"/>
                <a:gd name="T113" fmla="*/ 965 h 4585"/>
                <a:gd name="T114" fmla="*/ 0 w 1917"/>
                <a:gd name="T115" fmla="*/ 959 h 4585"/>
                <a:gd name="T116" fmla="*/ 49 w 1917"/>
                <a:gd name="T117" fmla="*/ 655 h 4585"/>
                <a:gd name="T118" fmla="*/ 187 w 1917"/>
                <a:gd name="T119" fmla="*/ 392 h 4585"/>
                <a:gd name="T120" fmla="*/ 395 w 1917"/>
                <a:gd name="T121" fmla="*/ 186 h 4585"/>
                <a:gd name="T122" fmla="*/ 657 w 1917"/>
                <a:gd name="T123" fmla="*/ 49 h 4585"/>
                <a:gd name="T124" fmla="*/ 959 w 1917"/>
                <a:gd name="T125" fmla="*/ 0 h 4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17" h="4585">
                  <a:moveTo>
                    <a:pt x="959" y="0"/>
                  </a:moveTo>
                  <a:lnTo>
                    <a:pt x="1063" y="6"/>
                  </a:lnTo>
                  <a:lnTo>
                    <a:pt x="1163" y="23"/>
                  </a:lnTo>
                  <a:lnTo>
                    <a:pt x="1261" y="49"/>
                  </a:lnTo>
                  <a:lnTo>
                    <a:pt x="1354" y="86"/>
                  </a:lnTo>
                  <a:lnTo>
                    <a:pt x="1442" y="131"/>
                  </a:lnTo>
                  <a:lnTo>
                    <a:pt x="1524" y="186"/>
                  </a:lnTo>
                  <a:lnTo>
                    <a:pt x="1601" y="247"/>
                  </a:lnTo>
                  <a:lnTo>
                    <a:pt x="1669" y="318"/>
                  </a:lnTo>
                  <a:lnTo>
                    <a:pt x="1732" y="392"/>
                  </a:lnTo>
                  <a:lnTo>
                    <a:pt x="1785" y="475"/>
                  </a:lnTo>
                  <a:lnTo>
                    <a:pt x="1832" y="563"/>
                  </a:lnTo>
                  <a:lnTo>
                    <a:pt x="1867" y="655"/>
                  </a:lnTo>
                  <a:lnTo>
                    <a:pt x="1895" y="753"/>
                  </a:lnTo>
                  <a:lnTo>
                    <a:pt x="1911" y="855"/>
                  </a:lnTo>
                  <a:lnTo>
                    <a:pt x="1917" y="959"/>
                  </a:lnTo>
                  <a:lnTo>
                    <a:pt x="1911" y="1063"/>
                  </a:lnTo>
                  <a:lnTo>
                    <a:pt x="1895" y="1163"/>
                  </a:lnTo>
                  <a:lnTo>
                    <a:pt x="1867" y="1259"/>
                  </a:lnTo>
                  <a:lnTo>
                    <a:pt x="1832" y="1352"/>
                  </a:lnTo>
                  <a:lnTo>
                    <a:pt x="1787" y="1440"/>
                  </a:lnTo>
                  <a:lnTo>
                    <a:pt x="1734" y="1522"/>
                  </a:lnTo>
                  <a:lnTo>
                    <a:pt x="1671" y="1597"/>
                  </a:lnTo>
                  <a:lnTo>
                    <a:pt x="1603" y="1667"/>
                  </a:lnTo>
                  <a:lnTo>
                    <a:pt x="1528" y="1728"/>
                  </a:lnTo>
                  <a:lnTo>
                    <a:pt x="1446" y="1783"/>
                  </a:lnTo>
                  <a:lnTo>
                    <a:pt x="1360" y="1828"/>
                  </a:lnTo>
                  <a:lnTo>
                    <a:pt x="1267" y="1866"/>
                  </a:lnTo>
                  <a:lnTo>
                    <a:pt x="1169" y="1893"/>
                  </a:lnTo>
                  <a:lnTo>
                    <a:pt x="1069" y="1911"/>
                  </a:lnTo>
                  <a:lnTo>
                    <a:pt x="967" y="1917"/>
                  </a:lnTo>
                  <a:lnTo>
                    <a:pt x="967" y="3001"/>
                  </a:lnTo>
                  <a:lnTo>
                    <a:pt x="965" y="3005"/>
                  </a:lnTo>
                  <a:lnTo>
                    <a:pt x="963" y="3009"/>
                  </a:lnTo>
                  <a:lnTo>
                    <a:pt x="959" y="3009"/>
                  </a:lnTo>
                  <a:lnTo>
                    <a:pt x="861" y="3015"/>
                  </a:lnTo>
                  <a:lnTo>
                    <a:pt x="767" y="3033"/>
                  </a:lnTo>
                  <a:lnTo>
                    <a:pt x="677" y="3062"/>
                  </a:lnTo>
                  <a:lnTo>
                    <a:pt x="593" y="3101"/>
                  </a:lnTo>
                  <a:lnTo>
                    <a:pt x="514" y="3149"/>
                  </a:lnTo>
                  <a:lnTo>
                    <a:pt x="442" y="3207"/>
                  </a:lnTo>
                  <a:lnTo>
                    <a:pt x="375" y="3272"/>
                  </a:lnTo>
                  <a:lnTo>
                    <a:pt x="318" y="3345"/>
                  </a:lnTo>
                  <a:lnTo>
                    <a:pt x="271" y="3423"/>
                  </a:lnTo>
                  <a:lnTo>
                    <a:pt x="232" y="3508"/>
                  </a:lnTo>
                  <a:lnTo>
                    <a:pt x="202" y="3598"/>
                  </a:lnTo>
                  <a:lnTo>
                    <a:pt x="185" y="3692"/>
                  </a:lnTo>
                  <a:lnTo>
                    <a:pt x="179" y="3790"/>
                  </a:lnTo>
                  <a:lnTo>
                    <a:pt x="185" y="3888"/>
                  </a:lnTo>
                  <a:lnTo>
                    <a:pt x="202" y="3982"/>
                  </a:lnTo>
                  <a:lnTo>
                    <a:pt x="232" y="4073"/>
                  </a:lnTo>
                  <a:lnTo>
                    <a:pt x="271" y="4157"/>
                  </a:lnTo>
                  <a:lnTo>
                    <a:pt x="318" y="4235"/>
                  </a:lnTo>
                  <a:lnTo>
                    <a:pt x="375" y="4308"/>
                  </a:lnTo>
                  <a:lnTo>
                    <a:pt x="442" y="4373"/>
                  </a:lnTo>
                  <a:lnTo>
                    <a:pt x="514" y="4430"/>
                  </a:lnTo>
                  <a:lnTo>
                    <a:pt x="593" y="4479"/>
                  </a:lnTo>
                  <a:lnTo>
                    <a:pt x="677" y="4518"/>
                  </a:lnTo>
                  <a:lnTo>
                    <a:pt x="767" y="4547"/>
                  </a:lnTo>
                  <a:lnTo>
                    <a:pt x="861" y="4565"/>
                  </a:lnTo>
                  <a:lnTo>
                    <a:pt x="959" y="4571"/>
                  </a:lnTo>
                  <a:lnTo>
                    <a:pt x="1057" y="4565"/>
                  </a:lnTo>
                  <a:lnTo>
                    <a:pt x="1152" y="4547"/>
                  </a:lnTo>
                  <a:lnTo>
                    <a:pt x="1240" y="4518"/>
                  </a:lnTo>
                  <a:lnTo>
                    <a:pt x="1326" y="4479"/>
                  </a:lnTo>
                  <a:lnTo>
                    <a:pt x="1405" y="4430"/>
                  </a:lnTo>
                  <a:lnTo>
                    <a:pt x="1477" y="4373"/>
                  </a:lnTo>
                  <a:lnTo>
                    <a:pt x="1542" y="4308"/>
                  </a:lnTo>
                  <a:lnTo>
                    <a:pt x="1599" y="4235"/>
                  </a:lnTo>
                  <a:lnTo>
                    <a:pt x="1648" y="4157"/>
                  </a:lnTo>
                  <a:lnTo>
                    <a:pt x="1687" y="4073"/>
                  </a:lnTo>
                  <a:lnTo>
                    <a:pt x="1715" y="3982"/>
                  </a:lnTo>
                  <a:lnTo>
                    <a:pt x="1732" y="3888"/>
                  </a:lnTo>
                  <a:lnTo>
                    <a:pt x="1740" y="3790"/>
                  </a:lnTo>
                  <a:lnTo>
                    <a:pt x="1740" y="3786"/>
                  </a:lnTo>
                  <a:lnTo>
                    <a:pt x="1742" y="3784"/>
                  </a:lnTo>
                  <a:lnTo>
                    <a:pt x="1746" y="3782"/>
                  </a:lnTo>
                  <a:lnTo>
                    <a:pt x="1750" y="3784"/>
                  </a:lnTo>
                  <a:lnTo>
                    <a:pt x="1754" y="3786"/>
                  </a:lnTo>
                  <a:lnTo>
                    <a:pt x="1754" y="3790"/>
                  </a:lnTo>
                  <a:lnTo>
                    <a:pt x="1748" y="3890"/>
                  </a:lnTo>
                  <a:lnTo>
                    <a:pt x="1730" y="3986"/>
                  </a:lnTo>
                  <a:lnTo>
                    <a:pt x="1701" y="4076"/>
                  </a:lnTo>
                  <a:lnTo>
                    <a:pt x="1662" y="4163"/>
                  </a:lnTo>
                  <a:lnTo>
                    <a:pt x="1611" y="4243"/>
                  </a:lnTo>
                  <a:lnTo>
                    <a:pt x="1554" y="4318"/>
                  </a:lnTo>
                  <a:lnTo>
                    <a:pt x="1487" y="4384"/>
                  </a:lnTo>
                  <a:lnTo>
                    <a:pt x="1412" y="4443"/>
                  </a:lnTo>
                  <a:lnTo>
                    <a:pt x="1332" y="4492"/>
                  </a:lnTo>
                  <a:lnTo>
                    <a:pt x="1246" y="4532"/>
                  </a:lnTo>
                  <a:lnTo>
                    <a:pt x="1154" y="4561"/>
                  </a:lnTo>
                  <a:lnTo>
                    <a:pt x="1059" y="4579"/>
                  </a:lnTo>
                  <a:lnTo>
                    <a:pt x="959" y="4585"/>
                  </a:lnTo>
                  <a:lnTo>
                    <a:pt x="859" y="4579"/>
                  </a:lnTo>
                  <a:lnTo>
                    <a:pt x="763" y="4561"/>
                  </a:lnTo>
                  <a:lnTo>
                    <a:pt x="671" y="4532"/>
                  </a:lnTo>
                  <a:lnTo>
                    <a:pt x="585" y="4492"/>
                  </a:lnTo>
                  <a:lnTo>
                    <a:pt x="504" y="4443"/>
                  </a:lnTo>
                  <a:lnTo>
                    <a:pt x="432" y="4384"/>
                  </a:lnTo>
                  <a:lnTo>
                    <a:pt x="365" y="4318"/>
                  </a:lnTo>
                  <a:lnTo>
                    <a:pt x="306" y="4243"/>
                  </a:lnTo>
                  <a:lnTo>
                    <a:pt x="257" y="4163"/>
                  </a:lnTo>
                  <a:lnTo>
                    <a:pt x="218" y="4076"/>
                  </a:lnTo>
                  <a:lnTo>
                    <a:pt x="189" y="3986"/>
                  </a:lnTo>
                  <a:lnTo>
                    <a:pt x="171" y="3890"/>
                  </a:lnTo>
                  <a:lnTo>
                    <a:pt x="163" y="3790"/>
                  </a:lnTo>
                  <a:lnTo>
                    <a:pt x="171" y="3690"/>
                  </a:lnTo>
                  <a:lnTo>
                    <a:pt x="189" y="3596"/>
                  </a:lnTo>
                  <a:lnTo>
                    <a:pt x="216" y="3504"/>
                  </a:lnTo>
                  <a:lnTo>
                    <a:pt x="255" y="3417"/>
                  </a:lnTo>
                  <a:lnTo>
                    <a:pt x="304" y="3339"/>
                  </a:lnTo>
                  <a:lnTo>
                    <a:pt x="363" y="3264"/>
                  </a:lnTo>
                  <a:lnTo>
                    <a:pt x="428" y="3198"/>
                  </a:lnTo>
                  <a:lnTo>
                    <a:pt x="502" y="3141"/>
                  </a:lnTo>
                  <a:lnTo>
                    <a:pt x="581" y="3090"/>
                  </a:lnTo>
                  <a:lnTo>
                    <a:pt x="667" y="3050"/>
                  </a:lnTo>
                  <a:lnTo>
                    <a:pt x="757" y="3021"/>
                  </a:lnTo>
                  <a:lnTo>
                    <a:pt x="853" y="3001"/>
                  </a:lnTo>
                  <a:lnTo>
                    <a:pt x="952" y="2996"/>
                  </a:lnTo>
                  <a:lnTo>
                    <a:pt x="952" y="1909"/>
                  </a:lnTo>
                  <a:lnTo>
                    <a:pt x="954" y="1905"/>
                  </a:lnTo>
                  <a:lnTo>
                    <a:pt x="955" y="1903"/>
                  </a:lnTo>
                  <a:lnTo>
                    <a:pt x="959" y="1901"/>
                  </a:lnTo>
                  <a:lnTo>
                    <a:pt x="1061" y="1897"/>
                  </a:lnTo>
                  <a:lnTo>
                    <a:pt x="1161" y="1879"/>
                  </a:lnTo>
                  <a:lnTo>
                    <a:pt x="1258" y="1854"/>
                  </a:lnTo>
                  <a:lnTo>
                    <a:pt x="1348" y="1818"/>
                  </a:lnTo>
                  <a:lnTo>
                    <a:pt x="1434" y="1773"/>
                  </a:lnTo>
                  <a:lnTo>
                    <a:pt x="1516" y="1720"/>
                  </a:lnTo>
                  <a:lnTo>
                    <a:pt x="1591" y="1658"/>
                  </a:lnTo>
                  <a:lnTo>
                    <a:pt x="1660" y="1591"/>
                  </a:lnTo>
                  <a:lnTo>
                    <a:pt x="1720" y="1514"/>
                  </a:lnTo>
                  <a:lnTo>
                    <a:pt x="1773" y="1434"/>
                  </a:lnTo>
                  <a:lnTo>
                    <a:pt x="1818" y="1348"/>
                  </a:lnTo>
                  <a:lnTo>
                    <a:pt x="1854" y="1255"/>
                  </a:lnTo>
                  <a:lnTo>
                    <a:pt x="1879" y="1161"/>
                  </a:lnTo>
                  <a:lnTo>
                    <a:pt x="1897" y="1061"/>
                  </a:lnTo>
                  <a:lnTo>
                    <a:pt x="1903" y="959"/>
                  </a:lnTo>
                  <a:lnTo>
                    <a:pt x="1897" y="855"/>
                  </a:lnTo>
                  <a:lnTo>
                    <a:pt x="1879" y="757"/>
                  </a:lnTo>
                  <a:lnTo>
                    <a:pt x="1854" y="661"/>
                  </a:lnTo>
                  <a:lnTo>
                    <a:pt x="1818" y="569"/>
                  </a:lnTo>
                  <a:lnTo>
                    <a:pt x="1773" y="482"/>
                  </a:lnTo>
                  <a:lnTo>
                    <a:pt x="1720" y="402"/>
                  </a:lnTo>
                  <a:lnTo>
                    <a:pt x="1660" y="327"/>
                  </a:lnTo>
                  <a:lnTo>
                    <a:pt x="1591" y="259"/>
                  </a:lnTo>
                  <a:lnTo>
                    <a:pt x="1516" y="198"/>
                  </a:lnTo>
                  <a:lnTo>
                    <a:pt x="1434" y="145"/>
                  </a:lnTo>
                  <a:lnTo>
                    <a:pt x="1348" y="100"/>
                  </a:lnTo>
                  <a:lnTo>
                    <a:pt x="1258" y="63"/>
                  </a:lnTo>
                  <a:lnTo>
                    <a:pt x="1161" y="37"/>
                  </a:lnTo>
                  <a:lnTo>
                    <a:pt x="1061" y="21"/>
                  </a:lnTo>
                  <a:lnTo>
                    <a:pt x="959" y="16"/>
                  </a:lnTo>
                  <a:lnTo>
                    <a:pt x="855" y="21"/>
                  </a:lnTo>
                  <a:lnTo>
                    <a:pt x="757" y="37"/>
                  </a:lnTo>
                  <a:lnTo>
                    <a:pt x="661" y="63"/>
                  </a:lnTo>
                  <a:lnTo>
                    <a:pt x="569" y="100"/>
                  </a:lnTo>
                  <a:lnTo>
                    <a:pt x="483" y="145"/>
                  </a:lnTo>
                  <a:lnTo>
                    <a:pt x="402" y="198"/>
                  </a:lnTo>
                  <a:lnTo>
                    <a:pt x="328" y="259"/>
                  </a:lnTo>
                  <a:lnTo>
                    <a:pt x="259" y="327"/>
                  </a:lnTo>
                  <a:lnTo>
                    <a:pt x="198" y="402"/>
                  </a:lnTo>
                  <a:lnTo>
                    <a:pt x="145" y="482"/>
                  </a:lnTo>
                  <a:lnTo>
                    <a:pt x="100" y="569"/>
                  </a:lnTo>
                  <a:lnTo>
                    <a:pt x="65" y="661"/>
                  </a:lnTo>
                  <a:lnTo>
                    <a:pt x="38" y="757"/>
                  </a:lnTo>
                  <a:lnTo>
                    <a:pt x="22" y="855"/>
                  </a:lnTo>
                  <a:lnTo>
                    <a:pt x="16" y="959"/>
                  </a:lnTo>
                  <a:lnTo>
                    <a:pt x="16" y="963"/>
                  </a:lnTo>
                  <a:lnTo>
                    <a:pt x="12" y="965"/>
                  </a:lnTo>
                  <a:lnTo>
                    <a:pt x="8" y="965"/>
                  </a:lnTo>
                  <a:lnTo>
                    <a:pt x="4" y="965"/>
                  </a:lnTo>
                  <a:lnTo>
                    <a:pt x="2" y="963"/>
                  </a:lnTo>
                  <a:lnTo>
                    <a:pt x="0" y="959"/>
                  </a:lnTo>
                  <a:lnTo>
                    <a:pt x="6" y="855"/>
                  </a:lnTo>
                  <a:lnTo>
                    <a:pt x="24" y="753"/>
                  </a:lnTo>
                  <a:lnTo>
                    <a:pt x="49" y="655"/>
                  </a:lnTo>
                  <a:lnTo>
                    <a:pt x="87" y="563"/>
                  </a:lnTo>
                  <a:lnTo>
                    <a:pt x="132" y="475"/>
                  </a:lnTo>
                  <a:lnTo>
                    <a:pt x="187" y="392"/>
                  </a:lnTo>
                  <a:lnTo>
                    <a:pt x="247" y="318"/>
                  </a:lnTo>
                  <a:lnTo>
                    <a:pt x="318" y="247"/>
                  </a:lnTo>
                  <a:lnTo>
                    <a:pt x="395" y="186"/>
                  </a:lnTo>
                  <a:lnTo>
                    <a:pt x="477" y="131"/>
                  </a:lnTo>
                  <a:lnTo>
                    <a:pt x="563" y="86"/>
                  </a:lnTo>
                  <a:lnTo>
                    <a:pt x="657" y="49"/>
                  </a:lnTo>
                  <a:lnTo>
                    <a:pt x="753" y="23"/>
                  </a:lnTo>
                  <a:lnTo>
                    <a:pt x="855" y="6"/>
                  </a:lnTo>
                  <a:lnTo>
                    <a:pt x="959" y="0"/>
                  </a:lnTo>
                  <a:close/>
                </a:path>
              </a:pathLst>
            </a:custGeom>
            <a:solidFill>
              <a:schemeClr val="accent3"/>
            </a:solid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1598">
              <a:extLst>
                <a:ext uri="{FF2B5EF4-FFF2-40B4-BE49-F238E27FC236}">
                  <a16:creationId xmlns:a16="http://schemas.microsoft.com/office/drawing/2014/main" id="{D666B8EF-59AE-9A48-B91E-C169C1D67140}"/>
                </a:ext>
              </a:extLst>
            </p:cNvPr>
            <p:cNvSpPr>
              <a:spLocks/>
            </p:cNvSpPr>
            <p:nvPr/>
          </p:nvSpPr>
          <p:spPr bwMode="auto">
            <a:xfrm>
              <a:off x="2539104" y="745511"/>
              <a:ext cx="1773238" cy="1522412"/>
            </a:xfrm>
            <a:custGeom>
              <a:avLst/>
              <a:gdLst>
                <a:gd name="T0" fmla="*/ 1232 w 2234"/>
                <a:gd name="T1" fmla="*/ 6 h 1919"/>
                <a:gd name="T2" fmla="*/ 1450 w 2234"/>
                <a:gd name="T3" fmla="*/ 51 h 1919"/>
                <a:gd name="T4" fmla="*/ 1650 w 2234"/>
                <a:gd name="T5" fmla="*/ 135 h 1919"/>
                <a:gd name="T6" fmla="*/ 1828 w 2234"/>
                <a:gd name="T7" fmla="*/ 255 h 1919"/>
                <a:gd name="T8" fmla="*/ 1979 w 2234"/>
                <a:gd name="T9" fmla="*/ 406 h 1919"/>
                <a:gd name="T10" fmla="*/ 2101 w 2234"/>
                <a:gd name="T11" fmla="*/ 585 h 1919"/>
                <a:gd name="T12" fmla="*/ 2185 w 2234"/>
                <a:gd name="T13" fmla="*/ 785 h 1919"/>
                <a:gd name="T14" fmla="*/ 2230 w 2234"/>
                <a:gd name="T15" fmla="*/ 1002 h 1919"/>
                <a:gd name="T16" fmla="*/ 2234 w 2234"/>
                <a:gd name="T17" fmla="*/ 1124 h 1919"/>
                <a:gd name="T18" fmla="*/ 2225 w 2234"/>
                <a:gd name="T19" fmla="*/ 1132 h 1919"/>
                <a:gd name="T20" fmla="*/ 2213 w 2234"/>
                <a:gd name="T21" fmla="*/ 1132 h 1919"/>
                <a:gd name="T22" fmla="*/ 2203 w 2234"/>
                <a:gd name="T23" fmla="*/ 1124 h 1919"/>
                <a:gd name="T24" fmla="*/ 2197 w 2234"/>
                <a:gd name="T25" fmla="*/ 1006 h 1919"/>
                <a:gd name="T26" fmla="*/ 2154 w 2234"/>
                <a:gd name="T27" fmla="*/ 794 h 1919"/>
                <a:gd name="T28" fmla="*/ 2072 w 2234"/>
                <a:gd name="T29" fmla="*/ 600 h 1919"/>
                <a:gd name="T30" fmla="*/ 1954 w 2234"/>
                <a:gd name="T31" fmla="*/ 428 h 1919"/>
                <a:gd name="T32" fmla="*/ 1807 w 2234"/>
                <a:gd name="T33" fmla="*/ 280 h 1919"/>
                <a:gd name="T34" fmla="*/ 1634 w 2234"/>
                <a:gd name="T35" fmla="*/ 165 h 1919"/>
                <a:gd name="T36" fmla="*/ 1440 w 2234"/>
                <a:gd name="T37" fmla="*/ 82 h 1919"/>
                <a:gd name="T38" fmla="*/ 1228 w 2234"/>
                <a:gd name="T39" fmla="*/ 39 h 1919"/>
                <a:gd name="T40" fmla="*/ 1007 w 2234"/>
                <a:gd name="T41" fmla="*/ 39 h 1919"/>
                <a:gd name="T42" fmla="*/ 797 w 2234"/>
                <a:gd name="T43" fmla="*/ 82 h 1919"/>
                <a:gd name="T44" fmla="*/ 603 w 2234"/>
                <a:gd name="T45" fmla="*/ 165 h 1919"/>
                <a:gd name="T46" fmla="*/ 428 w 2234"/>
                <a:gd name="T47" fmla="*/ 280 h 1919"/>
                <a:gd name="T48" fmla="*/ 281 w 2234"/>
                <a:gd name="T49" fmla="*/ 428 h 1919"/>
                <a:gd name="T50" fmla="*/ 165 w 2234"/>
                <a:gd name="T51" fmla="*/ 600 h 1919"/>
                <a:gd name="T52" fmla="*/ 83 w 2234"/>
                <a:gd name="T53" fmla="*/ 794 h 1919"/>
                <a:gd name="T54" fmla="*/ 40 w 2234"/>
                <a:gd name="T55" fmla="*/ 1006 h 1919"/>
                <a:gd name="T56" fmla="*/ 40 w 2234"/>
                <a:gd name="T57" fmla="*/ 1226 h 1919"/>
                <a:gd name="T58" fmla="*/ 81 w 2234"/>
                <a:gd name="T59" fmla="*/ 1436 h 1919"/>
                <a:gd name="T60" fmla="*/ 163 w 2234"/>
                <a:gd name="T61" fmla="*/ 1634 h 1919"/>
                <a:gd name="T62" fmla="*/ 285 w 2234"/>
                <a:gd name="T63" fmla="*/ 1811 h 1919"/>
                <a:gd name="T64" fmla="*/ 361 w 2234"/>
                <a:gd name="T65" fmla="*/ 1895 h 1919"/>
                <a:gd name="T66" fmla="*/ 363 w 2234"/>
                <a:gd name="T67" fmla="*/ 1905 h 1919"/>
                <a:gd name="T68" fmla="*/ 359 w 2234"/>
                <a:gd name="T69" fmla="*/ 1915 h 1919"/>
                <a:gd name="T70" fmla="*/ 346 w 2234"/>
                <a:gd name="T71" fmla="*/ 1919 h 1919"/>
                <a:gd name="T72" fmla="*/ 336 w 2234"/>
                <a:gd name="T73" fmla="*/ 1915 h 1919"/>
                <a:gd name="T74" fmla="*/ 206 w 2234"/>
                <a:gd name="T75" fmla="*/ 1764 h 1919"/>
                <a:gd name="T76" fmla="*/ 106 w 2234"/>
                <a:gd name="T77" fmla="*/ 1595 h 1919"/>
                <a:gd name="T78" fmla="*/ 40 w 2234"/>
                <a:gd name="T79" fmla="*/ 1410 h 1919"/>
                <a:gd name="T80" fmla="*/ 4 w 2234"/>
                <a:gd name="T81" fmla="*/ 1218 h 1919"/>
                <a:gd name="T82" fmla="*/ 6 w 2234"/>
                <a:gd name="T83" fmla="*/ 1002 h 1919"/>
                <a:gd name="T84" fmla="*/ 51 w 2234"/>
                <a:gd name="T85" fmla="*/ 785 h 1919"/>
                <a:gd name="T86" fmla="*/ 136 w 2234"/>
                <a:gd name="T87" fmla="*/ 585 h 1919"/>
                <a:gd name="T88" fmla="*/ 255 w 2234"/>
                <a:gd name="T89" fmla="*/ 406 h 1919"/>
                <a:gd name="T90" fmla="*/ 408 w 2234"/>
                <a:gd name="T91" fmla="*/ 255 h 1919"/>
                <a:gd name="T92" fmla="*/ 585 w 2234"/>
                <a:gd name="T93" fmla="*/ 135 h 1919"/>
                <a:gd name="T94" fmla="*/ 787 w 2234"/>
                <a:gd name="T95" fmla="*/ 51 h 1919"/>
                <a:gd name="T96" fmla="*/ 1005 w 2234"/>
                <a:gd name="T97" fmla="*/ 6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34" h="1919">
                  <a:moveTo>
                    <a:pt x="1118" y="0"/>
                  </a:moveTo>
                  <a:lnTo>
                    <a:pt x="1232" y="6"/>
                  </a:lnTo>
                  <a:lnTo>
                    <a:pt x="1342" y="23"/>
                  </a:lnTo>
                  <a:lnTo>
                    <a:pt x="1450" y="51"/>
                  </a:lnTo>
                  <a:lnTo>
                    <a:pt x="1552" y="88"/>
                  </a:lnTo>
                  <a:lnTo>
                    <a:pt x="1650" y="135"/>
                  </a:lnTo>
                  <a:lnTo>
                    <a:pt x="1742" y="190"/>
                  </a:lnTo>
                  <a:lnTo>
                    <a:pt x="1828" y="255"/>
                  </a:lnTo>
                  <a:lnTo>
                    <a:pt x="1907" y="328"/>
                  </a:lnTo>
                  <a:lnTo>
                    <a:pt x="1979" y="406"/>
                  </a:lnTo>
                  <a:lnTo>
                    <a:pt x="2044" y="492"/>
                  </a:lnTo>
                  <a:lnTo>
                    <a:pt x="2101" y="585"/>
                  </a:lnTo>
                  <a:lnTo>
                    <a:pt x="2148" y="683"/>
                  </a:lnTo>
                  <a:lnTo>
                    <a:pt x="2185" y="785"/>
                  </a:lnTo>
                  <a:lnTo>
                    <a:pt x="2213" y="893"/>
                  </a:lnTo>
                  <a:lnTo>
                    <a:pt x="2230" y="1002"/>
                  </a:lnTo>
                  <a:lnTo>
                    <a:pt x="2234" y="1118"/>
                  </a:lnTo>
                  <a:lnTo>
                    <a:pt x="2234" y="1124"/>
                  </a:lnTo>
                  <a:lnTo>
                    <a:pt x="2230" y="1130"/>
                  </a:lnTo>
                  <a:lnTo>
                    <a:pt x="2225" y="1132"/>
                  </a:lnTo>
                  <a:lnTo>
                    <a:pt x="2219" y="1134"/>
                  </a:lnTo>
                  <a:lnTo>
                    <a:pt x="2213" y="1132"/>
                  </a:lnTo>
                  <a:lnTo>
                    <a:pt x="2207" y="1130"/>
                  </a:lnTo>
                  <a:lnTo>
                    <a:pt x="2203" y="1124"/>
                  </a:lnTo>
                  <a:lnTo>
                    <a:pt x="2203" y="1118"/>
                  </a:lnTo>
                  <a:lnTo>
                    <a:pt x="2197" y="1006"/>
                  </a:lnTo>
                  <a:lnTo>
                    <a:pt x="2179" y="898"/>
                  </a:lnTo>
                  <a:lnTo>
                    <a:pt x="2154" y="794"/>
                  </a:lnTo>
                  <a:lnTo>
                    <a:pt x="2117" y="696"/>
                  </a:lnTo>
                  <a:lnTo>
                    <a:pt x="2072" y="600"/>
                  </a:lnTo>
                  <a:lnTo>
                    <a:pt x="2017" y="512"/>
                  </a:lnTo>
                  <a:lnTo>
                    <a:pt x="1954" y="428"/>
                  </a:lnTo>
                  <a:lnTo>
                    <a:pt x="1883" y="351"/>
                  </a:lnTo>
                  <a:lnTo>
                    <a:pt x="1807" y="280"/>
                  </a:lnTo>
                  <a:lnTo>
                    <a:pt x="1724" y="218"/>
                  </a:lnTo>
                  <a:lnTo>
                    <a:pt x="1634" y="165"/>
                  </a:lnTo>
                  <a:lnTo>
                    <a:pt x="1540" y="118"/>
                  </a:lnTo>
                  <a:lnTo>
                    <a:pt x="1440" y="82"/>
                  </a:lnTo>
                  <a:lnTo>
                    <a:pt x="1336" y="55"/>
                  </a:lnTo>
                  <a:lnTo>
                    <a:pt x="1228" y="39"/>
                  </a:lnTo>
                  <a:lnTo>
                    <a:pt x="1118" y="33"/>
                  </a:lnTo>
                  <a:lnTo>
                    <a:pt x="1007" y="39"/>
                  </a:lnTo>
                  <a:lnTo>
                    <a:pt x="901" y="55"/>
                  </a:lnTo>
                  <a:lnTo>
                    <a:pt x="797" y="82"/>
                  </a:lnTo>
                  <a:lnTo>
                    <a:pt x="697" y="118"/>
                  </a:lnTo>
                  <a:lnTo>
                    <a:pt x="603" y="165"/>
                  </a:lnTo>
                  <a:lnTo>
                    <a:pt x="512" y="218"/>
                  </a:lnTo>
                  <a:lnTo>
                    <a:pt x="428" y="280"/>
                  </a:lnTo>
                  <a:lnTo>
                    <a:pt x="352" y="351"/>
                  </a:lnTo>
                  <a:lnTo>
                    <a:pt x="281" y="428"/>
                  </a:lnTo>
                  <a:lnTo>
                    <a:pt x="220" y="512"/>
                  </a:lnTo>
                  <a:lnTo>
                    <a:pt x="165" y="600"/>
                  </a:lnTo>
                  <a:lnTo>
                    <a:pt x="120" y="696"/>
                  </a:lnTo>
                  <a:lnTo>
                    <a:pt x="83" y="794"/>
                  </a:lnTo>
                  <a:lnTo>
                    <a:pt x="55" y="898"/>
                  </a:lnTo>
                  <a:lnTo>
                    <a:pt x="40" y="1006"/>
                  </a:lnTo>
                  <a:lnTo>
                    <a:pt x="34" y="1118"/>
                  </a:lnTo>
                  <a:lnTo>
                    <a:pt x="40" y="1226"/>
                  </a:lnTo>
                  <a:lnTo>
                    <a:pt x="55" y="1334"/>
                  </a:lnTo>
                  <a:lnTo>
                    <a:pt x="81" y="1436"/>
                  </a:lnTo>
                  <a:lnTo>
                    <a:pt x="118" y="1538"/>
                  </a:lnTo>
                  <a:lnTo>
                    <a:pt x="163" y="1634"/>
                  </a:lnTo>
                  <a:lnTo>
                    <a:pt x="220" y="1724"/>
                  </a:lnTo>
                  <a:lnTo>
                    <a:pt x="285" y="1811"/>
                  </a:lnTo>
                  <a:lnTo>
                    <a:pt x="357" y="1891"/>
                  </a:lnTo>
                  <a:lnTo>
                    <a:pt x="361" y="1895"/>
                  </a:lnTo>
                  <a:lnTo>
                    <a:pt x="363" y="1901"/>
                  </a:lnTo>
                  <a:lnTo>
                    <a:pt x="363" y="1905"/>
                  </a:lnTo>
                  <a:lnTo>
                    <a:pt x="361" y="1911"/>
                  </a:lnTo>
                  <a:lnTo>
                    <a:pt x="359" y="1915"/>
                  </a:lnTo>
                  <a:lnTo>
                    <a:pt x="353" y="1919"/>
                  </a:lnTo>
                  <a:lnTo>
                    <a:pt x="346" y="1919"/>
                  </a:lnTo>
                  <a:lnTo>
                    <a:pt x="340" y="1919"/>
                  </a:lnTo>
                  <a:lnTo>
                    <a:pt x="336" y="1915"/>
                  </a:lnTo>
                  <a:lnTo>
                    <a:pt x="267" y="1842"/>
                  </a:lnTo>
                  <a:lnTo>
                    <a:pt x="206" y="1764"/>
                  </a:lnTo>
                  <a:lnTo>
                    <a:pt x="151" y="1681"/>
                  </a:lnTo>
                  <a:lnTo>
                    <a:pt x="106" y="1595"/>
                  </a:lnTo>
                  <a:lnTo>
                    <a:pt x="69" y="1505"/>
                  </a:lnTo>
                  <a:lnTo>
                    <a:pt x="40" y="1410"/>
                  </a:lnTo>
                  <a:lnTo>
                    <a:pt x="18" y="1316"/>
                  </a:lnTo>
                  <a:lnTo>
                    <a:pt x="4" y="1218"/>
                  </a:lnTo>
                  <a:lnTo>
                    <a:pt x="0" y="1118"/>
                  </a:lnTo>
                  <a:lnTo>
                    <a:pt x="6" y="1002"/>
                  </a:lnTo>
                  <a:lnTo>
                    <a:pt x="24" y="893"/>
                  </a:lnTo>
                  <a:lnTo>
                    <a:pt x="51" y="785"/>
                  </a:lnTo>
                  <a:lnTo>
                    <a:pt x="89" y="683"/>
                  </a:lnTo>
                  <a:lnTo>
                    <a:pt x="136" y="585"/>
                  </a:lnTo>
                  <a:lnTo>
                    <a:pt x="193" y="492"/>
                  </a:lnTo>
                  <a:lnTo>
                    <a:pt x="255" y="406"/>
                  </a:lnTo>
                  <a:lnTo>
                    <a:pt x="328" y="328"/>
                  </a:lnTo>
                  <a:lnTo>
                    <a:pt x="408" y="255"/>
                  </a:lnTo>
                  <a:lnTo>
                    <a:pt x="493" y="190"/>
                  </a:lnTo>
                  <a:lnTo>
                    <a:pt x="585" y="135"/>
                  </a:lnTo>
                  <a:lnTo>
                    <a:pt x="683" y="88"/>
                  </a:lnTo>
                  <a:lnTo>
                    <a:pt x="787" y="51"/>
                  </a:lnTo>
                  <a:lnTo>
                    <a:pt x="893" y="23"/>
                  </a:lnTo>
                  <a:lnTo>
                    <a:pt x="1005" y="6"/>
                  </a:lnTo>
                  <a:lnTo>
                    <a:pt x="111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1599">
              <a:extLst>
                <a:ext uri="{FF2B5EF4-FFF2-40B4-BE49-F238E27FC236}">
                  <a16:creationId xmlns:a16="http://schemas.microsoft.com/office/drawing/2014/main" id="{CA67B177-F27B-834B-A262-516DACAD7C4D}"/>
                </a:ext>
              </a:extLst>
            </p:cNvPr>
            <p:cNvSpPr>
              <a:spLocks/>
            </p:cNvSpPr>
            <p:nvPr/>
          </p:nvSpPr>
          <p:spPr bwMode="auto">
            <a:xfrm>
              <a:off x="2658167" y="3128348"/>
              <a:ext cx="627063" cy="1311275"/>
            </a:xfrm>
            <a:custGeom>
              <a:avLst/>
              <a:gdLst>
                <a:gd name="T0" fmla="*/ 775 w 791"/>
                <a:gd name="T1" fmla="*/ 0 h 1651"/>
                <a:gd name="T2" fmla="*/ 781 w 791"/>
                <a:gd name="T3" fmla="*/ 0 h 1651"/>
                <a:gd name="T4" fmla="*/ 785 w 791"/>
                <a:gd name="T5" fmla="*/ 3 h 1651"/>
                <a:gd name="T6" fmla="*/ 789 w 791"/>
                <a:gd name="T7" fmla="*/ 7 h 1651"/>
                <a:gd name="T8" fmla="*/ 791 w 791"/>
                <a:gd name="T9" fmla="*/ 13 h 1651"/>
                <a:gd name="T10" fmla="*/ 791 w 791"/>
                <a:gd name="T11" fmla="*/ 19 h 1651"/>
                <a:gd name="T12" fmla="*/ 789 w 791"/>
                <a:gd name="T13" fmla="*/ 25 h 1651"/>
                <a:gd name="T14" fmla="*/ 785 w 791"/>
                <a:gd name="T15" fmla="*/ 29 h 1651"/>
                <a:gd name="T16" fmla="*/ 779 w 791"/>
                <a:gd name="T17" fmla="*/ 33 h 1651"/>
                <a:gd name="T18" fmla="*/ 681 w 791"/>
                <a:gd name="T19" fmla="*/ 58 h 1651"/>
                <a:gd name="T20" fmla="*/ 589 w 791"/>
                <a:gd name="T21" fmla="*/ 94 h 1651"/>
                <a:gd name="T22" fmla="*/ 501 w 791"/>
                <a:gd name="T23" fmla="*/ 137 h 1651"/>
                <a:gd name="T24" fmla="*/ 420 w 791"/>
                <a:gd name="T25" fmla="*/ 190 h 1651"/>
                <a:gd name="T26" fmla="*/ 344 w 791"/>
                <a:gd name="T27" fmla="*/ 253 h 1651"/>
                <a:gd name="T28" fmla="*/ 275 w 791"/>
                <a:gd name="T29" fmla="*/ 319 h 1651"/>
                <a:gd name="T30" fmla="*/ 214 w 791"/>
                <a:gd name="T31" fmla="*/ 396 h 1651"/>
                <a:gd name="T32" fmla="*/ 161 w 791"/>
                <a:gd name="T33" fmla="*/ 476 h 1651"/>
                <a:gd name="T34" fmla="*/ 116 w 791"/>
                <a:gd name="T35" fmla="*/ 563 h 1651"/>
                <a:gd name="T36" fmla="*/ 81 w 791"/>
                <a:gd name="T37" fmla="*/ 653 h 1651"/>
                <a:gd name="T38" fmla="*/ 55 w 791"/>
                <a:gd name="T39" fmla="*/ 747 h 1651"/>
                <a:gd name="T40" fmla="*/ 40 w 791"/>
                <a:gd name="T41" fmla="*/ 847 h 1651"/>
                <a:gd name="T42" fmla="*/ 34 w 791"/>
                <a:gd name="T43" fmla="*/ 947 h 1651"/>
                <a:gd name="T44" fmla="*/ 38 w 791"/>
                <a:gd name="T45" fmla="*/ 1043 h 1651"/>
                <a:gd name="T46" fmla="*/ 51 w 791"/>
                <a:gd name="T47" fmla="*/ 1135 h 1651"/>
                <a:gd name="T48" fmla="*/ 75 w 791"/>
                <a:gd name="T49" fmla="*/ 1228 h 1651"/>
                <a:gd name="T50" fmla="*/ 108 w 791"/>
                <a:gd name="T51" fmla="*/ 1314 h 1651"/>
                <a:gd name="T52" fmla="*/ 150 w 791"/>
                <a:gd name="T53" fmla="*/ 1398 h 1651"/>
                <a:gd name="T54" fmla="*/ 199 w 791"/>
                <a:gd name="T55" fmla="*/ 1477 h 1651"/>
                <a:gd name="T56" fmla="*/ 255 w 791"/>
                <a:gd name="T57" fmla="*/ 1553 h 1651"/>
                <a:gd name="T58" fmla="*/ 322 w 791"/>
                <a:gd name="T59" fmla="*/ 1622 h 1651"/>
                <a:gd name="T60" fmla="*/ 324 w 791"/>
                <a:gd name="T61" fmla="*/ 1626 h 1651"/>
                <a:gd name="T62" fmla="*/ 326 w 791"/>
                <a:gd name="T63" fmla="*/ 1632 h 1651"/>
                <a:gd name="T64" fmla="*/ 326 w 791"/>
                <a:gd name="T65" fmla="*/ 1636 h 1651"/>
                <a:gd name="T66" fmla="*/ 326 w 791"/>
                <a:gd name="T67" fmla="*/ 1642 h 1651"/>
                <a:gd name="T68" fmla="*/ 322 w 791"/>
                <a:gd name="T69" fmla="*/ 1645 h 1651"/>
                <a:gd name="T70" fmla="*/ 318 w 791"/>
                <a:gd name="T71" fmla="*/ 1647 h 1651"/>
                <a:gd name="T72" fmla="*/ 314 w 791"/>
                <a:gd name="T73" fmla="*/ 1649 h 1651"/>
                <a:gd name="T74" fmla="*/ 310 w 791"/>
                <a:gd name="T75" fmla="*/ 1651 h 1651"/>
                <a:gd name="T76" fmla="*/ 304 w 791"/>
                <a:gd name="T77" fmla="*/ 1649 h 1651"/>
                <a:gd name="T78" fmla="*/ 299 w 791"/>
                <a:gd name="T79" fmla="*/ 1645 h 1651"/>
                <a:gd name="T80" fmla="*/ 230 w 791"/>
                <a:gd name="T81" fmla="*/ 1575 h 1651"/>
                <a:gd name="T82" fmla="*/ 171 w 791"/>
                <a:gd name="T83" fmla="*/ 1496 h 1651"/>
                <a:gd name="T84" fmla="*/ 120 w 791"/>
                <a:gd name="T85" fmla="*/ 1414 h 1651"/>
                <a:gd name="T86" fmla="*/ 77 w 791"/>
                <a:gd name="T87" fmla="*/ 1328 h 1651"/>
                <a:gd name="T88" fmla="*/ 44 w 791"/>
                <a:gd name="T89" fmla="*/ 1237 h 1651"/>
                <a:gd name="T90" fmla="*/ 20 w 791"/>
                <a:gd name="T91" fmla="*/ 1143 h 1651"/>
                <a:gd name="T92" fmla="*/ 4 w 791"/>
                <a:gd name="T93" fmla="*/ 1045 h 1651"/>
                <a:gd name="T94" fmla="*/ 0 w 791"/>
                <a:gd name="T95" fmla="*/ 947 h 1651"/>
                <a:gd name="T96" fmla="*/ 6 w 791"/>
                <a:gd name="T97" fmla="*/ 843 h 1651"/>
                <a:gd name="T98" fmla="*/ 22 w 791"/>
                <a:gd name="T99" fmla="*/ 741 h 1651"/>
                <a:gd name="T100" fmla="*/ 50 w 791"/>
                <a:gd name="T101" fmla="*/ 643 h 1651"/>
                <a:gd name="T102" fmla="*/ 87 w 791"/>
                <a:gd name="T103" fmla="*/ 549 h 1651"/>
                <a:gd name="T104" fmla="*/ 132 w 791"/>
                <a:gd name="T105" fmla="*/ 459 h 1651"/>
                <a:gd name="T106" fmla="*/ 187 w 791"/>
                <a:gd name="T107" fmla="*/ 376 h 1651"/>
                <a:gd name="T108" fmla="*/ 252 w 791"/>
                <a:gd name="T109" fmla="*/ 298 h 1651"/>
                <a:gd name="T110" fmla="*/ 322 w 791"/>
                <a:gd name="T111" fmla="*/ 227 h 1651"/>
                <a:gd name="T112" fmla="*/ 401 w 791"/>
                <a:gd name="T113" fmla="*/ 164 h 1651"/>
                <a:gd name="T114" fmla="*/ 485 w 791"/>
                <a:gd name="T115" fmla="*/ 109 h 1651"/>
                <a:gd name="T116" fmla="*/ 575 w 791"/>
                <a:gd name="T117" fmla="*/ 62 h 1651"/>
                <a:gd name="T118" fmla="*/ 671 w 791"/>
                <a:gd name="T119" fmla="*/ 25 h 1651"/>
                <a:gd name="T120" fmla="*/ 771 w 791"/>
                <a:gd name="T121" fmla="*/ 0 h 1651"/>
                <a:gd name="T122" fmla="*/ 775 w 791"/>
                <a:gd name="T123" fmla="*/ 0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1" h="1651">
                  <a:moveTo>
                    <a:pt x="775" y="0"/>
                  </a:moveTo>
                  <a:lnTo>
                    <a:pt x="781" y="0"/>
                  </a:lnTo>
                  <a:lnTo>
                    <a:pt x="785" y="3"/>
                  </a:lnTo>
                  <a:lnTo>
                    <a:pt x="789" y="7"/>
                  </a:lnTo>
                  <a:lnTo>
                    <a:pt x="791" y="13"/>
                  </a:lnTo>
                  <a:lnTo>
                    <a:pt x="791" y="19"/>
                  </a:lnTo>
                  <a:lnTo>
                    <a:pt x="789" y="25"/>
                  </a:lnTo>
                  <a:lnTo>
                    <a:pt x="785" y="29"/>
                  </a:lnTo>
                  <a:lnTo>
                    <a:pt x="779" y="33"/>
                  </a:lnTo>
                  <a:lnTo>
                    <a:pt x="681" y="58"/>
                  </a:lnTo>
                  <a:lnTo>
                    <a:pt x="589" y="94"/>
                  </a:lnTo>
                  <a:lnTo>
                    <a:pt x="501" y="137"/>
                  </a:lnTo>
                  <a:lnTo>
                    <a:pt x="420" y="190"/>
                  </a:lnTo>
                  <a:lnTo>
                    <a:pt x="344" y="253"/>
                  </a:lnTo>
                  <a:lnTo>
                    <a:pt x="275" y="319"/>
                  </a:lnTo>
                  <a:lnTo>
                    <a:pt x="214" y="396"/>
                  </a:lnTo>
                  <a:lnTo>
                    <a:pt x="161" y="476"/>
                  </a:lnTo>
                  <a:lnTo>
                    <a:pt x="116" y="563"/>
                  </a:lnTo>
                  <a:lnTo>
                    <a:pt x="81" y="653"/>
                  </a:lnTo>
                  <a:lnTo>
                    <a:pt x="55" y="747"/>
                  </a:lnTo>
                  <a:lnTo>
                    <a:pt x="40" y="847"/>
                  </a:lnTo>
                  <a:lnTo>
                    <a:pt x="34" y="947"/>
                  </a:lnTo>
                  <a:lnTo>
                    <a:pt x="38" y="1043"/>
                  </a:lnTo>
                  <a:lnTo>
                    <a:pt x="51" y="1135"/>
                  </a:lnTo>
                  <a:lnTo>
                    <a:pt x="75" y="1228"/>
                  </a:lnTo>
                  <a:lnTo>
                    <a:pt x="108" y="1314"/>
                  </a:lnTo>
                  <a:lnTo>
                    <a:pt x="150" y="1398"/>
                  </a:lnTo>
                  <a:lnTo>
                    <a:pt x="199" y="1477"/>
                  </a:lnTo>
                  <a:lnTo>
                    <a:pt x="255" y="1553"/>
                  </a:lnTo>
                  <a:lnTo>
                    <a:pt x="322" y="1622"/>
                  </a:lnTo>
                  <a:lnTo>
                    <a:pt x="324" y="1626"/>
                  </a:lnTo>
                  <a:lnTo>
                    <a:pt x="326" y="1632"/>
                  </a:lnTo>
                  <a:lnTo>
                    <a:pt x="326" y="1636"/>
                  </a:lnTo>
                  <a:lnTo>
                    <a:pt x="326" y="1642"/>
                  </a:lnTo>
                  <a:lnTo>
                    <a:pt x="322" y="1645"/>
                  </a:lnTo>
                  <a:lnTo>
                    <a:pt x="318" y="1647"/>
                  </a:lnTo>
                  <a:lnTo>
                    <a:pt x="314" y="1649"/>
                  </a:lnTo>
                  <a:lnTo>
                    <a:pt x="310" y="1651"/>
                  </a:lnTo>
                  <a:lnTo>
                    <a:pt x="304" y="1649"/>
                  </a:lnTo>
                  <a:lnTo>
                    <a:pt x="299" y="1645"/>
                  </a:lnTo>
                  <a:lnTo>
                    <a:pt x="230" y="1575"/>
                  </a:lnTo>
                  <a:lnTo>
                    <a:pt x="171" y="1496"/>
                  </a:lnTo>
                  <a:lnTo>
                    <a:pt x="120" y="1414"/>
                  </a:lnTo>
                  <a:lnTo>
                    <a:pt x="77" y="1328"/>
                  </a:lnTo>
                  <a:lnTo>
                    <a:pt x="44" y="1237"/>
                  </a:lnTo>
                  <a:lnTo>
                    <a:pt x="20" y="1143"/>
                  </a:lnTo>
                  <a:lnTo>
                    <a:pt x="4" y="1045"/>
                  </a:lnTo>
                  <a:lnTo>
                    <a:pt x="0" y="947"/>
                  </a:lnTo>
                  <a:lnTo>
                    <a:pt x="6" y="843"/>
                  </a:lnTo>
                  <a:lnTo>
                    <a:pt x="22" y="741"/>
                  </a:lnTo>
                  <a:lnTo>
                    <a:pt x="50" y="643"/>
                  </a:lnTo>
                  <a:lnTo>
                    <a:pt x="87" y="549"/>
                  </a:lnTo>
                  <a:lnTo>
                    <a:pt x="132" y="459"/>
                  </a:lnTo>
                  <a:lnTo>
                    <a:pt x="187" y="376"/>
                  </a:lnTo>
                  <a:lnTo>
                    <a:pt x="252" y="298"/>
                  </a:lnTo>
                  <a:lnTo>
                    <a:pt x="322" y="227"/>
                  </a:lnTo>
                  <a:lnTo>
                    <a:pt x="401" y="164"/>
                  </a:lnTo>
                  <a:lnTo>
                    <a:pt x="485" y="109"/>
                  </a:lnTo>
                  <a:lnTo>
                    <a:pt x="575" y="62"/>
                  </a:lnTo>
                  <a:lnTo>
                    <a:pt x="671" y="25"/>
                  </a:lnTo>
                  <a:lnTo>
                    <a:pt x="771" y="0"/>
                  </a:lnTo>
                  <a:lnTo>
                    <a:pt x="775"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1600">
              <a:extLst>
                <a:ext uri="{FF2B5EF4-FFF2-40B4-BE49-F238E27FC236}">
                  <a16:creationId xmlns:a16="http://schemas.microsoft.com/office/drawing/2014/main" id="{18E3ACB1-4052-A042-BA49-1762EC343D91}"/>
                </a:ext>
              </a:extLst>
            </p:cNvPr>
            <p:cNvSpPr>
              <a:spLocks/>
            </p:cNvSpPr>
            <p:nvPr/>
          </p:nvSpPr>
          <p:spPr bwMode="auto">
            <a:xfrm>
              <a:off x="6255442" y="2413973"/>
              <a:ext cx="47625" cy="49212"/>
            </a:xfrm>
            <a:custGeom>
              <a:avLst/>
              <a:gdLst>
                <a:gd name="T0" fmla="*/ 30 w 61"/>
                <a:gd name="T1" fmla="*/ 0 h 61"/>
                <a:gd name="T2" fmla="*/ 39 w 61"/>
                <a:gd name="T3" fmla="*/ 0 h 61"/>
                <a:gd name="T4" fmla="*/ 45 w 61"/>
                <a:gd name="T5" fmla="*/ 4 h 61"/>
                <a:gd name="T6" fmla="*/ 53 w 61"/>
                <a:gd name="T7" fmla="*/ 8 h 61"/>
                <a:gd name="T8" fmla="*/ 57 w 61"/>
                <a:gd name="T9" fmla="*/ 16 h 61"/>
                <a:gd name="T10" fmla="*/ 61 w 61"/>
                <a:gd name="T11" fmla="*/ 22 h 61"/>
                <a:gd name="T12" fmla="*/ 61 w 61"/>
                <a:gd name="T13" fmla="*/ 31 h 61"/>
                <a:gd name="T14" fmla="*/ 61 w 61"/>
                <a:gd name="T15" fmla="*/ 39 h 61"/>
                <a:gd name="T16" fmla="*/ 57 w 61"/>
                <a:gd name="T17" fmla="*/ 47 h 61"/>
                <a:gd name="T18" fmla="*/ 53 w 61"/>
                <a:gd name="T19" fmla="*/ 53 h 61"/>
                <a:gd name="T20" fmla="*/ 45 w 61"/>
                <a:gd name="T21" fmla="*/ 57 h 61"/>
                <a:gd name="T22" fmla="*/ 39 w 61"/>
                <a:gd name="T23" fmla="*/ 61 h 61"/>
                <a:gd name="T24" fmla="*/ 30 w 61"/>
                <a:gd name="T25" fmla="*/ 61 h 61"/>
                <a:gd name="T26" fmla="*/ 22 w 61"/>
                <a:gd name="T27" fmla="*/ 61 h 61"/>
                <a:gd name="T28" fmla="*/ 14 w 61"/>
                <a:gd name="T29" fmla="*/ 57 h 61"/>
                <a:gd name="T30" fmla="*/ 8 w 61"/>
                <a:gd name="T31" fmla="*/ 53 h 61"/>
                <a:gd name="T32" fmla="*/ 4 w 61"/>
                <a:gd name="T33" fmla="*/ 47 h 61"/>
                <a:gd name="T34" fmla="*/ 0 w 61"/>
                <a:gd name="T35" fmla="*/ 39 h 61"/>
                <a:gd name="T36" fmla="*/ 0 w 61"/>
                <a:gd name="T37" fmla="*/ 31 h 61"/>
                <a:gd name="T38" fmla="*/ 0 w 61"/>
                <a:gd name="T39" fmla="*/ 22 h 61"/>
                <a:gd name="T40" fmla="*/ 4 w 61"/>
                <a:gd name="T41" fmla="*/ 16 h 61"/>
                <a:gd name="T42" fmla="*/ 8 w 61"/>
                <a:gd name="T43" fmla="*/ 8 h 61"/>
                <a:gd name="T44" fmla="*/ 14 w 61"/>
                <a:gd name="T45" fmla="*/ 4 h 61"/>
                <a:gd name="T46" fmla="*/ 22 w 61"/>
                <a:gd name="T47" fmla="*/ 0 h 61"/>
                <a:gd name="T48" fmla="*/ 30 w 61"/>
                <a:gd name="T4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1">
                  <a:moveTo>
                    <a:pt x="30" y="0"/>
                  </a:moveTo>
                  <a:lnTo>
                    <a:pt x="39" y="0"/>
                  </a:lnTo>
                  <a:lnTo>
                    <a:pt x="45" y="4"/>
                  </a:lnTo>
                  <a:lnTo>
                    <a:pt x="53" y="8"/>
                  </a:lnTo>
                  <a:lnTo>
                    <a:pt x="57" y="16"/>
                  </a:lnTo>
                  <a:lnTo>
                    <a:pt x="61" y="22"/>
                  </a:lnTo>
                  <a:lnTo>
                    <a:pt x="61" y="31"/>
                  </a:lnTo>
                  <a:lnTo>
                    <a:pt x="61" y="39"/>
                  </a:lnTo>
                  <a:lnTo>
                    <a:pt x="57" y="47"/>
                  </a:lnTo>
                  <a:lnTo>
                    <a:pt x="53" y="53"/>
                  </a:lnTo>
                  <a:lnTo>
                    <a:pt x="45" y="57"/>
                  </a:lnTo>
                  <a:lnTo>
                    <a:pt x="39" y="61"/>
                  </a:lnTo>
                  <a:lnTo>
                    <a:pt x="30" y="61"/>
                  </a:lnTo>
                  <a:lnTo>
                    <a:pt x="22" y="61"/>
                  </a:lnTo>
                  <a:lnTo>
                    <a:pt x="14" y="57"/>
                  </a:lnTo>
                  <a:lnTo>
                    <a:pt x="8" y="53"/>
                  </a:lnTo>
                  <a:lnTo>
                    <a:pt x="4" y="47"/>
                  </a:lnTo>
                  <a:lnTo>
                    <a:pt x="0" y="39"/>
                  </a:lnTo>
                  <a:lnTo>
                    <a:pt x="0" y="31"/>
                  </a:lnTo>
                  <a:lnTo>
                    <a:pt x="0" y="22"/>
                  </a:lnTo>
                  <a:lnTo>
                    <a:pt x="4" y="16"/>
                  </a:lnTo>
                  <a:lnTo>
                    <a:pt x="8" y="8"/>
                  </a:lnTo>
                  <a:lnTo>
                    <a:pt x="14" y="4"/>
                  </a:lnTo>
                  <a:lnTo>
                    <a:pt x="22" y="0"/>
                  </a:lnTo>
                  <a:lnTo>
                    <a:pt x="30" y="0"/>
                  </a:lnTo>
                  <a:close/>
                </a:path>
              </a:pathLst>
            </a:custGeom>
            <a:solidFill>
              <a:schemeClr val="accent2"/>
            </a:solidFill>
            <a:ln w="0">
              <a:solidFill>
                <a:srgbClr val="96FF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1601">
              <a:extLst>
                <a:ext uri="{FF2B5EF4-FFF2-40B4-BE49-F238E27FC236}">
                  <a16:creationId xmlns:a16="http://schemas.microsoft.com/office/drawing/2014/main" id="{35EA5BD4-683C-A949-AA43-3A3396C9A1B7}"/>
                </a:ext>
              </a:extLst>
            </p:cNvPr>
            <p:cNvSpPr>
              <a:spLocks/>
            </p:cNvSpPr>
            <p:nvPr/>
          </p:nvSpPr>
          <p:spPr bwMode="auto">
            <a:xfrm>
              <a:off x="5426767" y="3534748"/>
              <a:ext cx="49213" cy="49212"/>
            </a:xfrm>
            <a:custGeom>
              <a:avLst/>
              <a:gdLst>
                <a:gd name="T0" fmla="*/ 31 w 62"/>
                <a:gd name="T1" fmla="*/ 0 h 62"/>
                <a:gd name="T2" fmla="*/ 39 w 62"/>
                <a:gd name="T3" fmla="*/ 2 h 62"/>
                <a:gd name="T4" fmla="*/ 47 w 62"/>
                <a:gd name="T5" fmla="*/ 5 h 62"/>
                <a:gd name="T6" fmla="*/ 53 w 62"/>
                <a:gd name="T7" fmla="*/ 9 h 62"/>
                <a:gd name="T8" fmla="*/ 59 w 62"/>
                <a:gd name="T9" fmla="*/ 15 h 62"/>
                <a:gd name="T10" fmla="*/ 62 w 62"/>
                <a:gd name="T11" fmla="*/ 23 h 62"/>
                <a:gd name="T12" fmla="*/ 62 w 62"/>
                <a:gd name="T13" fmla="*/ 31 h 62"/>
                <a:gd name="T14" fmla="*/ 62 w 62"/>
                <a:gd name="T15" fmla="*/ 39 h 62"/>
                <a:gd name="T16" fmla="*/ 59 w 62"/>
                <a:gd name="T17" fmla="*/ 47 h 62"/>
                <a:gd name="T18" fmla="*/ 53 w 62"/>
                <a:gd name="T19" fmla="*/ 53 h 62"/>
                <a:gd name="T20" fmla="*/ 47 w 62"/>
                <a:gd name="T21" fmla="*/ 58 h 62"/>
                <a:gd name="T22" fmla="*/ 39 w 62"/>
                <a:gd name="T23" fmla="*/ 62 h 62"/>
                <a:gd name="T24" fmla="*/ 31 w 62"/>
                <a:gd name="T25" fmla="*/ 62 h 62"/>
                <a:gd name="T26" fmla="*/ 23 w 62"/>
                <a:gd name="T27" fmla="*/ 62 h 62"/>
                <a:gd name="T28" fmla="*/ 15 w 62"/>
                <a:gd name="T29" fmla="*/ 58 h 62"/>
                <a:gd name="T30" fmla="*/ 9 w 62"/>
                <a:gd name="T31" fmla="*/ 53 h 62"/>
                <a:gd name="T32" fmla="*/ 6 w 62"/>
                <a:gd name="T33" fmla="*/ 47 h 62"/>
                <a:gd name="T34" fmla="*/ 2 w 62"/>
                <a:gd name="T35" fmla="*/ 39 h 62"/>
                <a:gd name="T36" fmla="*/ 0 w 62"/>
                <a:gd name="T37" fmla="*/ 31 h 62"/>
                <a:gd name="T38" fmla="*/ 2 w 62"/>
                <a:gd name="T39" fmla="*/ 23 h 62"/>
                <a:gd name="T40" fmla="*/ 6 w 62"/>
                <a:gd name="T41" fmla="*/ 15 h 62"/>
                <a:gd name="T42" fmla="*/ 9 w 62"/>
                <a:gd name="T43" fmla="*/ 9 h 62"/>
                <a:gd name="T44" fmla="*/ 15 w 62"/>
                <a:gd name="T45" fmla="*/ 5 h 62"/>
                <a:gd name="T46" fmla="*/ 23 w 62"/>
                <a:gd name="T47" fmla="*/ 2 h 62"/>
                <a:gd name="T48" fmla="*/ 31 w 62"/>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2">
                  <a:moveTo>
                    <a:pt x="31" y="0"/>
                  </a:moveTo>
                  <a:lnTo>
                    <a:pt x="39" y="2"/>
                  </a:lnTo>
                  <a:lnTo>
                    <a:pt x="47" y="5"/>
                  </a:lnTo>
                  <a:lnTo>
                    <a:pt x="53" y="9"/>
                  </a:lnTo>
                  <a:lnTo>
                    <a:pt x="59" y="15"/>
                  </a:lnTo>
                  <a:lnTo>
                    <a:pt x="62" y="23"/>
                  </a:lnTo>
                  <a:lnTo>
                    <a:pt x="62" y="31"/>
                  </a:lnTo>
                  <a:lnTo>
                    <a:pt x="62" y="39"/>
                  </a:lnTo>
                  <a:lnTo>
                    <a:pt x="59" y="47"/>
                  </a:lnTo>
                  <a:lnTo>
                    <a:pt x="53" y="53"/>
                  </a:lnTo>
                  <a:lnTo>
                    <a:pt x="47" y="58"/>
                  </a:lnTo>
                  <a:lnTo>
                    <a:pt x="39" y="62"/>
                  </a:lnTo>
                  <a:lnTo>
                    <a:pt x="31" y="62"/>
                  </a:lnTo>
                  <a:lnTo>
                    <a:pt x="23" y="62"/>
                  </a:lnTo>
                  <a:lnTo>
                    <a:pt x="15" y="58"/>
                  </a:lnTo>
                  <a:lnTo>
                    <a:pt x="9" y="53"/>
                  </a:lnTo>
                  <a:lnTo>
                    <a:pt x="6" y="47"/>
                  </a:lnTo>
                  <a:lnTo>
                    <a:pt x="2" y="39"/>
                  </a:lnTo>
                  <a:lnTo>
                    <a:pt x="0" y="31"/>
                  </a:lnTo>
                  <a:lnTo>
                    <a:pt x="2" y="23"/>
                  </a:lnTo>
                  <a:lnTo>
                    <a:pt x="6" y="15"/>
                  </a:lnTo>
                  <a:lnTo>
                    <a:pt x="9" y="9"/>
                  </a:lnTo>
                  <a:lnTo>
                    <a:pt x="15" y="5"/>
                  </a:lnTo>
                  <a:lnTo>
                    <a:pt x="23" y="2"/>
                  </a:lnTo>
                  <a:lnTo>
                    <a:pt x="31" y="0"/>
                  </a:lnTo>
                  <a:close/>
                </a:path>
              </a:pathLst>
            </a:custGeom>
            <a:solidFill>
              <a:srgbClr val="6FC2B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1602">
              <a:extLst>
                <a:ext uri="{FF2B5EF4-FFF2-40B4-BE49-F238E27FC236}">
                  <a16:creationId xmlns:a16="http://schemas.microsoft.com/office/drawing/2014/main" id="{1D466735-6CCD-174C-8707-E7AC124DE8FE}"/>
                </a:ext>
              </a:extLst>
            </p:cNvPr>
            <p:cNvSpPr>
              <a:spLocks/>
            </p:cNvSpPr>
            <p:nvPr/>
          </p:nvSpPr>
          <p:spPr bwMode="auto">
            <a:xfrm>
              <a:off x="2791517" y="2231411"/>
              <a:ext cx="47625" cy="49212"/>
            </a:xfrm>
            <a:custGeom>
              <a:avLst/>
              <a:gdLst>
                <a:gd name="T0" fmla="*/ 30 w 61"/>
                <a:gd name="T1" fmla="*/ 0 h 63"/>
                <a:gd name="T2" fmla="*/ 39 w 61"/>
                <a:gd name="T3" fmla="*/ 2 h 63"/>
                <a:gd name="T4" fmla="*/ 45 w 61"/>
                <a:gd name="T5" fmla="*/ 4 h 63"/>
                <a:gd name="T6" fmla="*/ 53 w 61"/>
                <a:gd name="T7" fmla="*/ 10 h 63"/>
                <a:gd name="T8" fmla="*/ 57 w 61"/>
                <a:gd name="T9" fmla="*/ 16 h 63"/>
                <a:gd name="T10" fmla="*/ 61 w 61"/>
                <a:gd name="T11" fmla="*/ 24 h 63"/>
                <a:gd name="T12" fmla="*/ 61 w 61"/>
                <a:gd name="T13" fmla="*/ 32 h 63"/>
                <a:gd name="T14" fmla="*/ 61 w 61"/>
                <a:gd name="T15" fmla="*/ 40 h 63"/>
                <a:gd name="T16" fmla="*/ 57 w 61"/>
                <a:gd name="T17" fmla="*/ 48 h 63"/>
                <a:gd name="T18" fmla="*/ 53 w 61"/>
                <a:gd name="T19" fmla="*/ 53 h 63"/>
                <a:gd name="T20" fmla="*/ 45 w 61"/>
                <a:gd name="T21" fmla="*/ 59 h 63"/>
                <a:gd name="T22" fmla="*/ 39 w 61"/>
                <a:gd name="T23" fmla="*/ 61 h 63"/>
                <a:gd name="T24" fmla="*/ 30 w 61"/>
                <a:gd name="T25" fmla="*/ 63 h 63"/>
                <a:gd name="T26" fmla="*/ 22 w 61"/>
                <a:gd name="T27" fmla="*/ 61 h 63"/>
                <a:gd name="T28" fmla="*/ 14 w 61"/>
                <a:gd name="T29" fmla="*/ 59 h 63"/>
                <a:gd name="T30" fmla="*/ 8 w 61"/>
                <a:gd name="T31" fmla="*/ 53 h 63"/>
                <a:gd name="T32" fmla="*/ 4 w 61"/>
                <a:gd name="T33" fmla="*/ 48 h 63"/>
                <a:gd name="T34" fmla="*/ 0 w 61"/>
                <a:gd name="T35" fmla="*/ 40 h 63"/>
                <a:gd name="T36" fmla="*/ 0 w 61"/>
                <a:gd name="T37" fmla="*/ 32 h 63"/>
                <a:gd name="T38" fmla="*/ 0 w 61"/>
                <a:gd name="T39" fmla="*/ 24 h 63"/>
                <a:gd name="T40" fmla="*/ 4 w 61"/>
                <a:gd name="T41" fmla="*/ 16 h 63"/>
                <a:gd name="T42" fmla="*/ 8 w 61"/>
                <a:gd name="T43" fmla="*/ 10 h 63"/>
                <a:gd name="T44" fmla="*/ 14 w 61"/>
                <a:gd name="T45" fmla="*/ 4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39" y="2"/>
                  </a:lnTo>
                  <a:lnTo>
                    <a:pt x="45" y="4"/>
                  </a:lnTo>
                  <a:lnTo>
                    <a:pt x="53" y="10"/>
                  </a:lnTo>
                  <a:lnTo>
                    <a:pt x="57" y="16"/>
                  </a:lnTo>
                  <a:lnTo>
                    <a:pt x="61" y="24"/>
                  </a:lnTo>
                  <a:lnTo>
                    <a:pt x="61" y="32"/>
                  </a:lnTo>
                  <a:lnTo>
                    <a:pt x="61" y="40"/>
                  </a:lnTo>
                  <a:lnTo>
                    <a:pt x="57" y="48"/>
                  </a:lnTo>
                  <a:lnTo>
                    <a:pt x="53" y="53"/>
                  </a:lnTo>
                  <a:lnTo>
                    <a:pt x="45" y="59"/>
                  </a:lnTo>
                  <a:lnTo>
                    <a:pt x="39" y="61"/>
                  </a:lnTo>
                  <a:lnTo>
                    <a:pt x="30" y="63"/>
                  </a:lnTo>
                  <a:lnTo>
                    <a:pt x="22" y="61"/>
                  </a:lnTo>
                  <a:lnTo>
                    <a:pt x="14" y="59"/>
                  </a:lnTo>
                  <a:lnTo>
                    <a:pt x="8" y="53"/>
                  </a:lnTo>
                  <a:lnTo>
                    <a:pt x="4" y="48"/>
                  </a:lnTo>
                  <a:lnTo>
                    <a:pt x="0" y="40"/>
                  </a:lnTo>
                  <a:lnTo>
                    <a:pt x="0" y="32"/>
                  </a:lnTo>
                  <a:lnTo>
                    <a:pt x="0" y="24"/>
                  </a:lnTo>
                  <a:lnTo>
                    <a:pt x="4" y="16"/>
                  </a:lnTo>
                  <a:lnTo>
                    <a:pt x="8" y="10"/>
                  </a:lnTo>
                  <a:lnTo>
                    <a:pt x="14" y="4"/>
                  </a:lnTo>
                  <a:lnTo>
                    <a:pt x="22" y="2"/>
                  </a:lnTo>
                  <a:lnTo>
                    <a:pt x="3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1603">
              <a:extLst>
                <a:ext uri="{FF2B5EF4-FFF2-40B4-BE49-F238E27FC236}">
                  <a16:creationId xmlns:a16="http://schemas.microsoft.com/office/drawing/2014/main" id="{675D17A5-1B0E-1943-88A9-6AEDF3634810}"/>
                </a:ext>
              </a:extLst>
            </p:cNvPr>
            <p:cNvSpPr>
              <a:spLocks/>
            </p:cNvSpPr>
            <p:nvPr/>
          </p:nvSpPr>
          <p:spPr bwMode="auto">
            <a:xfrm>
              <a:off x="4026592" y="3025161"/>
              <a:ext cx="49213" cy="49212"/>
            </a:xfrm>
            <a:custGeom>
              <a:avLst/>
              <a:gdLst>
                <a:gd name="T0" fmla="*/ 30 w 61"/>
                <a:gd name="T1" fmla="*/ 0 h 63"/>
                <a:gd name="T2" fmla="*/ 40 w 61"/>
                <a:gd name="T3" fmla="*/ 2 h 63"/>
                <a:gd name="T4" fmla="*/ 46 w 61"/>
                <a:gd name="T5" fmla="*/ 6 h 63"/>
                <a:gd name="T6" fmla="*/ 53 w 61"/>
                <a:gd name="T7" fmla="*/ 10 h 63"/>
                <a:gd name="T8" fmla="*/ 57 w 61"/>
                <a:gd name="T9" fmla="*/ 16 h 63"/>
                <a:gd name="T10" fmla="*/ 61 w 61"/>
                <a:gd name="T11" fmla="*/ 24 h 63"/>
                <a:gd name="T12" fmla="*/ 61 w 61"/>
                <a:gd name="T13" fmla="*/ 31 h 63"/>
                <a:gd name="T14" fmla="*/ 61 w 61"/>
                <a:gd name="T15" fmla="*/ 41 h 63"/>
                <a:gd name="T16" fmla="*/ 57 w 61"/>
                <a:gd name="T17" fmla="*/ 47 h 63"/>
                <a:gd name="T18" fmla="*/ 53 w 61"/>
                <a:gd name="T19" fmla="*/ 55 h 63"/>
                <a:gd name="T20" fmla="*/ 46 w 61"/>
                <a:gd name="T21" fmla="*/ 59 h 63"/>
                <a:gd name="T22" fmla="*/ 40 w 61"/>
                <a:gd name="T23" fmla="*/ 63 h 63"/>
                <a:gd name="T24" fmla="*/ 30 w 61"/>
                <a:gd name="T25" fmla="*/ 63 h 63"/>
                <a:gd name="T26" fmla="*/ 22 w 61"/>
                <a:gd name="T27" fmla="*/ 63 h 63"/>
                <a:gd name="T28" fmla="*/ 14 w 61"/>
                <a:gd name="T29" fmla="*/ 59 h 63"/>
                <a:gd name="T30" fmla="*/ 8 w 61"/>
                <a:gd name="T31" fmla="*/ 55 h 63"/>
                <a:gd name="T32" fmla="*/ 4 w 61"/>
                <a:gd name="T33" fmla="*/ 47 h 63"/>
                <a:gd name="T34" fmla="*/ 0 w 61"/>
                <a:gd name="T35" fmla="*/ 41 h 63"/>
                <a:gd name="T36" fmla="*/ 0 w 61"/>
                <a:gd name="T37" fmla="*/ 31 h 63"/>
                <a:gd name="T38" fmla="*/ 0 w 61"/>
                <a:gd name="T39" fmla="*/ 24 h 63"/>
                <a:gd name="T40" fmla="*/ 4 w 61"/>
                <a:gd name="T41" fmla="*/ 16 h 63"/>
                <a:gd name="T42" fmla="*/ 8 w 61"/>
                <a:gd name="T43" fmla="*/ 10 h 63"/>
                <a:gd name="T44" fmla="*/ 14 w 61"/>
                <a:gd name="T45" fmla="*/ 6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40" y="2"/>
                  </a:lnTo>
                  <a:lnTo>
                    <a:pt x="46" y="6"/>
                  </a:lnTo>
                  <a:lnTo>
                    <a:pt x="53" y="10"/>
                  </a:lnTo>
                  <a:lnTo>
                    <a:pt x="57" y="16"/>
                  </a:lnTo>
                  <a:lnTo>
                    <a:pt x="61" y="24"/>
                  </a:lnTo>
                  <a:lnTo>
                    <a:pt x="61" y="31"/>
                  </a:lnTo>
                  <a:lnTo>
                    <a:pt x="61" y="41"/>
                  </a:lnTo>
                  <a:lnTo>
                    <a:pt x="57" y="47"/>
                  </a:lnTo>
                  <a:lnTo>
                    <a:pt x="53" y="55"/>
                  </a:lnTo>
                  <a:lnTo>
                    <a:pt x="46" y="59"/>
                  </a:lnTo>
                  <a:lnTo>
                    <a:pt x="40" y="63"/>
                  </a:lnTo>
                  <a:lnTo>
                    <a:pt x="30" y="63"/>
                  </a:lnTo>
                  <a:lnTo>
                    <a:pt x="22" y="63"/>
                  </a:lnTo>
                  <a:lnTo>
                    <a:pt x="14" y="59"/>
                  </a:lnTo>
                  <a:lnTo>
                    <a:pt x="8" y="55"/>
                  </a:lnTo>
                  <a:lnTo>
                    <a:pt x="4" y="47"/>
                  </a:lnTo>
                  <a:lnTo>
                    <a:pt x="0" y="41"/>
                  </a:lnTo>
                  <a:lnTo>
                    <a:pt x="0" y="31"/>
                  </a:lnTo>
                  <a:lnTo>
                    <a:pt x="0" y="24"/>
                  </a:lnTo>
                  <a:lnTo>
                    <a:pt x="4" y="16"/>
                  </a:lnTo>
                  <a:lnTo>
                    <a:pt x="8" y="10"/>
                  </a:lnTo>
                  <a:lnTo>
                    <a:pt x="14" y="6"/>
                  </a:lnTo>
                  <a:lnTo>
                    <a:pt x="22" y="2"/>
                  </a:lnTo>
                  <a:lnTo>
                    <a:pt x="30" y="0"/>
                  </a:lnTo>
                  <a:close/>
                </a:path>
              </a:pathLst>
            </a:custGeom>
            <a:solidFill>
              <a:schemeClr val="accent2"/>
            </a:solidFill>
            <a:ln w="0">
              <a:solidFill>
                <a:srgbClr val="4EDB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1604">
              <a:extLst>
                <a:ext uri="{FF2B5EF4-FFF2-40B4-BE49-F238E27FC236}">
                  <a16:creationId xmlns:a16="http://schemas.microsoft.com/office/drawing/2014/main" id="{547F1957-D8D7-CD4C-BDFC-7D0328E6C529}"/>
                </a:ext>
              </a:extLst>
            </p:cNvPr>
            <p:cNvSpPr>
              <a:spLocks/>
            </p:cNvSpPr>
            <p:nvPr/>
          </p:nvSpPr>
          <p:spPr bwMode="auto">
            <a:xfrm>
              <a:off x="4026592" y="3855423"/>
              <a:ext cx="49213" cy="49212"/>
            </a:xfrm>
            <a:custGeom>
              <a:avLst/>
              <a:gdLst>
                <a:gd name="T0" fmla="*/ 30 w 61"/>
                <a:gd name="T1" fmla="*/ 0 h 62"/>
                <a:gd name="T2" fmla="*/ 40 w 61"/>
                <a:gd name="T3" fmla="*/ 2 h 62"/>
                <a:gd name="T4" fmla="*/ 46 w 61"/>
                <a:gd name="T5" fmla="*/ 4 h 62"/>
                <a:gd name="T6" fmla="*/ 53 w 61"/>
                <a:gd name="T7" fmla="*/ 9 h 62"/>
                <a:gd name="T8" fmla="*/ 57 w 61"/>
                <a:gd name="T9" fmla="*/ 15 h 62"/>
                <a:gd name="T10" fmla="*/ 61 w 61"/>
                <a:gd name="T11" fmla="*/ 23 h 62"/>
                <a:gd name="T12" fmla="*/ 61 w 61"/>
                <a:gd name="T13" fmla="*/ 31 h 62"/>
                <a:gd name="T14" fmla="*/ 61 w 61"/>
                <a:gd name="T15" fmla="*/ 39 h 62"/>
                <a:gd name="T16" fmla="*/ 57 w 61"/>
                <a:gd name="T17" fmla="*/ 47 h 62"/>
                <a:gd name="T18" fmla="*/ 53 w 61"/>
                <a:gd name="T19" fmla="*/ 53 h 62"/>
                <a:gd name="T20" fmla="*/ 46 w 61"/>
                <a:gd name="T21" fmla="*/ 59 h 62"/>
                <a:gd name="T22" fmla="*/ 40 w 61"/>
                <a:gd name="T23" fmla="*/ 60 h 62"/>
                <a:gd name="T24" fmla="*/ 30 w 61"/>
                <a:gd name="T25" fmla="*/ 62 h 62"/>
                <a:gd name="T26" fmla="*/ 22 w 61"/>
                <a:gd name="T27" fmla="*/ 60 h 62"/>
                <a:gd name="T28" fmla="*/ 14 w 61"/>
                <a:gd name="T29" fmla="*/ 59 h 62"/>
                <a:gd name="T30" fmla="*/ 8 w 61"/>
                <a:gd name="T31" fmla="*/ 53 h 62"/>
                <a:gd name="T32" fmla="*/ 4 w 61"/>
                <a:gd name="T33" fmla="*/ 47 h 62"/>
                <a:gd name="T34" fmla="*/ 0 w 61"/>
                <a:gd name="T35" fmla="*/ 39 h 62"/>
                <a:gd name="T36" fmla="*/ 0 w 61"/>
                <a:gd name="T37" fmla="*/ 31 h 62"/>
                <a:gd name="T38" fmla="*/ 0 w 61"/>
                <a:gd name="T39" fmla="*/ 23 h 62"/>
                <a:gd name="T40" fmla="*/ 4 w 61"/>
                <a:gd name="T41" fmla="*/ 15 h 62"/>
                <a:gd name="T42" fmla="*/ 8 w 61"/>
                <a:gd name="T43" fmla="*/ 9 h 62"/>
                <a:gd name="T44" fmla="*/ 14 w 61"/>
                <a:gd name="T45" fmla="*/ 4 h 62"/>
                <a:gd name="T46" fmla="*/ 22 w 61"/>
                <a:gd name="T47" fmla="*/ 2 h 62"/>
                <a:gd name="T48" fmla="*/ 30 w 61"/>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2">
                  <a:moveTo>
                    <a:pt x="30" y="0"/>
                  </a:moveTo>
                  <a:lnTo>
                    <a:pt x="40" y="2"/>
                  </a:lnTo>
                  <a:lnTo>
                    <a:pt x="46" y="4"/>
                  </a:lnTo>
                  <a:lnTo>
                    <a:pt x="53" y="9"/>
                  </a:lnTo>
                  <a:lnTo>
                    <a:pt x="57" y="15"/>
                  </a:lnTo>
                  <a:lnTo>
                    <a:pt x="61" y="23"/>
                  </a:lnTo>
                  <a:lnTo>
                    <a:pt x="61" y="31"/>
                  </a:lnTo>
                  <a:lnTo>
                    <a:pt x="61" y="39"/>
                  </a:lnTo>
                  <a:lnTo>
                    <a:pt x="57" y="47"/>
                  </a:lnTo>
                  <a:lnTo>
                    <a:pt x="53" y="53"/>
                  </a:lnTo>
                  <a:lnTo>
                    <a:pt x="46" y="59"/>
                  </a:lnTo>
                  <a:lnTo>
                    <a:pt x="40" y="60"/>
                  </a:lnTo>
                  <a:lnTo>
                    <a:pt x="30" y="62"/>
                  </a:lnTo>
                  <a:lnTo>
                    <a:pt x="22" y="60"/>
                  </a:lnTo>
                  <a:lnTo>
                    <a:pt x="14" y="59"/>
                  </a:lnTo>
                  <a:lnTo>
                    <a:pt x="8" y="53"/>
                  </a:lnTo>
                  <a:lnTo>
                    <a:pt x="4" y="47"/>
                  </a:lnTo>
                  <a:lnTo>
                    <a:pt x="0" y="39"/>
                  </a:lnTo>
                  <a:lnTo>
                    <a:pt x="0" y="31"/>
                  </a:lnTo>
                  <a:lnTo>
                    <a:pt x="0" y="23"/>
                  </a:lnTo>
                  <a:lnTo>
                    <a:pt x="4" y="15"/>
                  </a:lnTo>
                  <a:lnTo>
                    <a:pt x="8" y="9"/>
                  </a:lnTo>
                  <a:lnTo>
                    <a:pt x="14" y="4"/>
                  </a:lnTo>
                  <a:lnTo>
                    <a:pt x="22" y="2"/>
                  </a:lnTo>
                  <a:lnTo>
                    <a:pt x="3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1605">
              <a:extLst>
                <a:ext uri="{FF2B5EF4-FFF2-40B4-BE49-F238E27FC236}">
                  <a16:creationId xmlns:a16="http://schemas.microsoft.com/office/drawing/2014/main" id="{5FCD89AD-AD72-C246-888D-EC19C6834A69}"/>
                </a:ext>
              </a:extLst>
            </p:cNvPr>
            <p:cNvSpPr>
              <a:spLocks/>
            </p:cNvSpPr>
            <p:nvPr/>
          </p:nvSpPr>
          <p:spPr bwMode="auto">
            <a:xfrm>
              <a:off x="4163117" y="4539636"/>
              <a:ext cx="47625" cy="50800"/>
            </a:xfrm>
            <a:custGeom>
              <a:avLst/>
              <a:gdLst>
                <a:gd name="T0" fmla="*/ 30 w 61"/>
                <a:gd name="T1" fmla="*/ 0 h 63"/>
                <a:gd name="T2" fmla="*/ 39 w 61"/>
                <a:gd name="T3" fmla="*/ 0 h 63"/>
                <a:gd name="T4" fmla="*/ 45 w 61"/>
                <a:gd name="T5" fmla="*/ 4 h 63"/>
                <a:gd name="T6" fmla="*/ 53 w 61"/>
                <a:gd name="T7" fmla="*/ 10 h 63"/>
                <a:gd name="T8" fmla="*/ 57 w 61"/>
                <a:gd name="T9" fmla="*/ 16 h 63"/>
                <a:gd name="T10" fmla="*/ 61 w 61"/>
                <a:gd name="T11" fmla="*/ 23 h 63"/>
                <a:gd name="T12" fmla="*/ 61 w 61"/>
                <a:gd name="T13" fmla="*/ 31 h 63"/>
                <a:gd name="T14" fmla="*/ 61 w 61"/>
                <a:gd name="T15" fmla="*/ 39 h 63"/>
                <a:gd name="T16" fmla="*/ 57 w 61"/>
                <a:gd name="T17" fmla="*/ 47 h 63"/>
                <a:gd name="T18" fmla="*/ 53 w 61"/>
                <a:gd name="T19" fmla="*/ 53 h 63"/>
                <a:gd name="T20" fmla="*/ 45 w 61"/>
                <a:gd name="T21" fmla="*/ 57 h 63"/>
                <a:gd name="T22" fmla="*/ 39 w 61"/>
                <a:gd name="T23" fmla="*/ 61 h 63"/>
                <a:gd name="T24" fmla="*/ 30 w 61"/>
                <a:gd name="T25" fmla="*/ 63 h 63"/>
                <a:gd name="T26" fmla="*/ 22 w 61"/>
                <a:gd name="T27" fmla="*/ 61 h 63"/>
                <a:gd name="T28" fmla="*/ 14 w 61"/>
                <a:gd name="T29" fmla="*/ 57 h 63"/>
                <a:gd name="T30" fmla="*/ 8 w 61"/>
                <a:gd name="T31" fmla="*/ 53 h 63"/>
                <a:gd name="T32" fmla="*/ 4 w 61"/>
                <a:gd name="T33" fmla="*/ 47 h 63"/>
                <a:gd name="T34" fmla="*/ 0 w 61"/>
                <a:gd name="T35" fmla="*/ 39 h 63"/>
                <a:gd name="T36" fmla="*/ 0 w 61"/>
                <a:gd name="T37" fmla="*/ 31 h 63"/>
                <a:gd name="T38" fmla="*/ 0 w 61"/>
                <a:gd name="T39" fmla="*/ 23 h 63"/>
                <a:gd name="T40" fmla="*/ 4 w 61"/>
                <a:gd name="T41" fmla="*/ 16 h 63"/>
                <a:gd name="T42" fmla="*/ 8 w 61"/>
                <a:gd name="T43" fmla="*/ 10 h 63"/>
                <a:gd name="T44" fmla="*/ 14 w 61"/>
                <a:gd name="T45" fmla="*/ 4 h 63"/>
                <a:gd name="T46" fmla="*/ 22 w 61"/>
                <a:gd name="T47" fmla="*/ 0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39" y="0"/>
                  </a:lnTo>
                  <a:lnTo>
                    <a:pt x="45" y="4"/>
                  </a:lnTo>
                  <a:lnTo>
                    <a:pt x="53" y="10"/>
                  </a:lnTo>
                  <a:lnTo>
                    <a:pt x="57" y="16"/>
                  </a:lnTo>
                  <a:lnTo>
                    <a:pt x="61" y="23"/>
                  </a:lnTo>
                  <a:lnTo>
                    <a:pt x="61" y="31"/>
                  </a:lnTo>
                  <a:lnTo>
                    <a:pt x="61" y="39"/>
                  </a:lnTo>
                  <a:lnTo>
                    <a:pt x="57" y="47"/>
                  </a:lnTo>
                  <a:lnTo>
                    <a:pt x="53" y="53"/>
                  </a:lnTo>
                  <a:lnTo>
                    <a:pt x="45" y="57"/>
                  </a:lnTo>
                  <a:lnTo>
                    <a:pt x="39" y="61"/>
                  </a:lnTo>
                  <a:lnTo>
                    <a:pt x="30" y="63"/>
                  </a:lnTo>
                  <a:lnTo>
                    <a:pt x="22" y="61"/>
                  </a:lnTo>
                  <a:lnTo>
                    <a:pt x="14" y="57"/>
                  </a:lnTo>
                  <a:lnTo>
                    <a:pt x="8" y="53"/>
                  </a:lnTo>
                  <a:lnTo>
                    <a:pt x="4" y="47"/>
                  </a:lnTo>
                  <a:lnTo>
                    <a:pt x="0" y="39"/>
                  </a:lnTo>
                  <a:lnTo>
                    <a:pt x="0" y="31"/>
                  </a:lnTo>
                  <a:lnTo>
                    <a:pt x="0" y="23"/>
                  </a:lnTo>
                  <a:lnTo>
                    <a:pt x="4" y="16"/>
                  </a:lnTo>
                  <a:lnTo>
                    <a:pt x="8" y="10"/>
                  </a:lnTo>
                  <a:lnTo>
                    <a:pt x="14" y="4"/>
                  </a:lnTo>
                  <a:lnTo>
                    <a:pt x="22" y="0"/>
                  </a:lnTo>
                  <a:lnTo>
                    <a:pt x="30" y="0"/>
                  </a:lnTo>
                  <a:close/>
                </a:path>
              </a:pathLst>
            </a:custGeom>
            <a:solidFill>
              <a:schemeClr val="tx1"/>
            </a:solidFill>
            <a:ln w="0">
              <a:solidFill>
                <a:srgbClr val="FEC117"/>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1606">
              <a:extLst>
                <a:ext uri="{FF2B5EF4-FFF2-40B4-BE49-F238E27FC236}">
                  <a16:creationId xmlns:a16="http://schemas.microsoft.com/office/drawing/2014/main" id="{95ED25F0-4DDF-1846-9252-5C96250FDD39}"/>
                </a:ext>
              </a:extLst>
            </p:cNvPr>
            <p:cNvSpPr>
              <a:spLocks/>
            </p:cNvSpPr>
            <p:nvPr/>
          </p:nvSpPr>
          <p:spPr bwMode="auto">
            <a:xfrm>
              <a:off x="5452167" y="3298211"/>
              <a:ext cx="1341438" cy="1341437"/>
            </a:xfrm>
            <a:custGeom>
              <a:avLst/>
              <a:gdLst>
                <a:gd name="T0" fmla="*/ 845 w 1691"/>
                <a:gd name="T1" fmla="*/ 0 h 1691"/>
                <a:gd name="T2" fmla="*/ 943 w 1691"/>
                <a:gd name="T3" fmla="*/ 6 h 1691"/>
                <a:gd name="T4" fmla="*/ 1040 w 1691"/>
                <a:gd name="T5" fmla="*/ 24 h 1691"/>
                <a:gd name="T6" fmla="*/ 1130 w 1691"/>
                <a:gd name="T7" fmla="*/ 49 h 1691"/>
                <a:gd name="T8" fmla="*/ 1218 w 1691"/>
                <a:gd name="T9" fmla="*/ 87 h 1691"/>
                <a:gd name="T10" fmla="*/ 1298 w 1691"/>
                <a:gd name="T11" fmla="*/ 132 h 1691"/>
                <a:gd name="T12" fmla="*/ 1375 w 1691"/>
                <a:gd name="T13" fmla="*/ 187 h 1691"/>
                <a:gd name="T14" fmla="*/ 1444 w 1691"/>
                <a:gd name="T15" fmla="*/ 249 h 1691"/>
                <a:gd name="T16" fmla="*/ 1504 w 1691"/>
                <a:gd name="T17" fmla="*/ 318 h 1691"/>
                <a:gd name="T18" fmla="*/ 1559 w 1691"/>
                <a:gd name="T19" fmla="*/ 393 h 1691"/>
                <a:gd name="T20" fmla="*/ 1604 w 1691"/>
                <a:gd name="T21" fmla="*/ 475 h 1691"/>
                <a:gd name="T22" fmla="*/ 1642 w 1691"/>
                <a:gd name="T23" fmla="*/ 561 h 1691"/>
                <a:gd name="T24" fmla="*/ 1669 w 1691"/>
                <a:gd name="T25" fmla="*/ 652 h 1691"/>
                <a:gd name="T26" fmla="*/ 1685 w 1691"/>
                <a:gd name="T27" fmla="*/ 748 h 1691"/>
                <a:gd name="T28" fmla="*/ 1691 w 1691"/>
                <a:gd name="T29" fmla="*/ 846 h 1691"/>
                <a:gd name="T30" fmla="*/ 1685 w 1691"/>
                <a:gd name="T31" fmla="*/ 944 h 1691"/>
                <a:gd name="T32" fmla="*/ 1669 w 1691"/>
                <a:gd name="T33" fmla="*/ 1040 h 1691"/>
                <a:gd name="T34" fmla="*/ 1642 w 1691"/>
                <a:gd name="T35" fmla="*/ 1130 h 1691"/>
                <a:gd name="T36" fmla="*/ 1604 w 1691"/>
                <a:gd name="T37" fmla="*/ 1219 h 1691"/>
                <a:gd name="T38" fmla="*/ 1559 w 1691"/>
                <a:gd name="T39" fmla="*/ 1299 h 1691"/>
                <a:gd name="T40" fmla="*/ 1504 w 1691"/>
                <a:gd name="T41" fmla="*/ 1376 h 1691"/>
                <a:gd name="T42" fmla="*/ 1444 w 1691"/>
                <a:gd name="T43" fmla="*/ 1444 h 1691"/>
                <a:gd name="T44" fmla="*/ 1375 w 1691"/>
                <a:gd name="T45" fmla="*/ 1505 h 1691"/>
                <a:gd name="T46" fmla="*/ 1298 w 1691"/>
                <a:gd name="T47" fmla="*/ 1560 h 1691"/>
                <a:gd name="T48" fmla="*/ 1218 w 1691"/>
                <a:gd name="T49" fmla="*/ 1605 h 1691"/>
                <a:gd name="T50" fmla="*/ 1130 w 1691"/>
                <a:gd name="T51" fmla="*/ 1642 h 1691"/>
                <a:gd name="T52" fmla="*/ 1040 w 1691"/>
                <a:gd name="T53" fmla="*/ 1670 h 1691"/>
                <a:gd name="T54" fmla="*/ 943 w 1691"/>
                <a:gd name="T55" fmla="*/ 1686 h 1691"/>
                <a:gd name="T56" fmla="*/ 845 w 1691"/>
                <a:gd name="T57" fmla="*/ 1691 h 1691"/>
                <a:gd name="T58" fmla="*/ 747 w 1691"/>
                <a:gd name="T59" fmla="*/ 1686 h 1691"/>
                <a:gd name="T60" fmla="*/ 651 w 1691"/>
                <a:gd name="T61" fmla="*/ 1670 h 1691"/>
                <a:gd name="T62" fmla="*/ 561 w 1691"/>
                <a:gd name="T63" fmla="*/ 1642 h 1691"/>
                <a:gd name="T64" fmla="*/ 475 w 1691"/>
                <a:gd name="T65" fmla="*/ 1605 h 1691"/>
                <a:gd name="T66" fmla="*/ 392 w 1691"/>
                <a:gd name="T67" fmla="*/ 1560 h 1691"/>
                <a:gd name="T68" fmla="*/ 318 w 1691"/>
                <a:gd name="T69" fmla="*/ 1505 h 1691"/>
                <a:gd name="T70" fmla="*/ 247 w 1691"/>
                <a:gd name="T71" fmla="*/ 1444 h 1691"/>
                <a:gd name="T72" fmla="*/ 186 w 1691"/>
                <a:gd name="T73" fmla="*/ 1376 h 1691"/>
                <a:gd name="T74" fmla="*/ 131 w 1691"/>
                <a:gd name="T75" fmla="*/ 1299 h 1691"/>
                <a:gd name="T76" fmla="*/ 86 w 1691"/>
                <a:gd name="T77" fmla="*/ 1219 h 1691"/>
                <a:gd name="T78" fmla="*/ 49 w 1691"/>
                <a:gd name="T79" fmla="*/ 1130 h 1691"/>
                <a:gd name="T80" fmla="*/ 24 w 1691"/>
                <a:gd name="T81" fmla="*/ 1040 h 1691"/>
                <a:gd name="T82" fmla="*/ 6 w 1691"/>
                <a:gd name="T83" fmla="*/ 944 h 1691"/>
                <a:gd name="T84" fmla="*/ 0 w 1691"/>
                <a:gd name="T85" fmla="*/ 846 h 1691"/>
                <a:gd name="T86" fmla="*/ 6 w 1691"/>
                <a:gd name="T87" fmla="*/ 748 h 1691"/>
                <a:gd name="T88" fmla="*/ 24 w 1691"/>
                <a:gd name="T89" fmla="*/ 652 h 1691"/>
                <a:gd name="T90" fmla="*/ 49 w 1691"/>
                <a:gd name="T91" fmla="*/ 561 h 1691"/>
                <a:gd name="T92" fmla="*/ 86 w 1691"/>
                <a:gd name="T93" fmla="*/ 475 h 1691"/>
                <a:gd name="T94" fmla="*/ 131 w 1691"/>
                <a:gd name="T95" fmla="*/ 393 h 1691"/>
                <a:gd name="T96" fmla="*/ 186 w 1691"/>
                <a:gd name="T97" fmla="*/ 318 h 1691"/>
                <a:gd name="T98" fmla="*/ 247 w 1691"/>
                <a:gd name="T99" fmla="*/ 249 h 1691"/>
                <a:gd name="T100" fmla="*/ 318 w 1691"/>
                <a:gd name="T101" fmla="*/ 187 h 1691"/>
                <a:gd name="T102" fmla="*/ 392 w 1691"/>
                <a:gd name="T103" fmla="*/ 132 h 1691"/>
                <a:gd name="T104" fmla="*/ 475 w 1691"/>
                <a:gd name="T105" fmla="*/ 87 h 1691"/>
                <a:gd name="T106" fmla="*/ 561 w 1691"/>
                <a:gd name="T107" fmla="*/ 49 h 1691"/>
                <a:gd name="T108" fmla="*/ 651 w 1691"/>
                <a:gd name="T109" fmla="*/ 24 h 1691"/>
                <a:gd name="T110" fmla="*/ 747 w 1691"/>
                <a:gd name="T111" fmla="*/ 6 h 1691"/>
                <a:gd name="T112" fmla="*/ 845 w 1691"/>
                <a:gd name="T113" fmla="*/ 0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1" h="1691">
                  <a:moveTo>
                    <a:pt x="845" y="0"/>
                  </a:moveTo>
                  <a:lnTo>
                    <a:pt x="943" y="6"/>
                  </a:lnTo>
                  <a:lnTo>
                    <a:pt x="1040" y="24"/>
                  </a:lnTo>
                  <a:lnTo>
                    <a:pt x="1130" y="49"/>
                  </a:lnTo>
                  <a:lnTo>
                    <a:pt x="1218" y="87"/>
                  </a:lnTo>
                  <a:lnTo>
                    <a:pt x="1298" y="132"/>
                  </a:lnTo>
                  <a:lnTo>
                    <a:pt x="1375" y="187"/>
                  </a:lnTo>
                  <a:lnTo>
                    <a:pt x="1444" y="249"/>
                  </a:lnTo>
                  <a:lnTo>
                    <a:pt x="1504" y="318"/>
                  </a:lnTo>
                  <a:lnTo>
                    <a:pt x="1559" y="393"/>
                  </a:lnTo>
                  <a:lnTo>
                    <a:pt x="1604" y="475"/>
                  </a:lnTo>
                  <a:lnTo>
                    <a:pt x="1642" y="561"/>
                  </a:lnTo>
                  <a:lnTo>
                    <a:pt x="1669" y="652"/>
                  </a:lnTo>
                  <a:lnTo>
                    <a:pt x="1685" y="748"/>
                  </a:lnTo>
                  <a:lnTo>
                    <a:pt x="1691" y="846"/>
                  </a:lnTo>
                  <a:lnTo>
                    <a:pt x="1685" y="944"/>
                  </a:lnTo>
                  <a:lnTo>
                    <a:pt x="1669" y="1040"/>
                  </a:lnTo>
                  <a:lnTo>
                    <a:pt x="1642" y="1130"/>
                  </a:lnTo>
                  <a:lnTo>
                    <a:pt x="1604" y="1219"/>
                  </a:lnTo>
                  <a:lnTo>
                    <a:pt x="1559" y="1299"/>
                  </a:lnTo>
                  <a:lnTo>
                    <a:pt x="1504" y="1376"/>
                  </a:lnTo>
                  <a:lnTo>
                    <a:pt x="1444" y="1444"/>
                  </a:lnTo>
                  <a:lnTo>
                    <a:pt x="1375" y="1505"/>
                  </a:lnTo>
                  <a:lnTo>
                    <a:pt x="1298" y="1560"/>
                  </a:lnTo>
                  <a:lnTo>
                    <a:pt x="1218" y="1605"/>
                  </a:lnTo>
                  <a:lnTo>
                    <a:pt x="1130" y="1642"/>
                  </a:lnTo>
                  <a:lnTo>
                    <a:pt x="1040" y="1670"/>
                  </a:lnTo>
                  <a:lnTo>
                    <a:pt x="943" y="1686"/>
                  </a:lnTo>
                  <a:lnTo>
                    <a:pt x="845" y="1691"/>
                  </a:lnTo>
                  <a:lnTo>
                    <a:pt x="747" y="1686"/>
                  </a:lnTo>
                  <a:lnTo>
                    <a:pt x="651" y="1670"/>
                  </a:lnTo>
                  <a:lnTo>
                    <a:pt x="561" y="1642"/>
                  </a:lnTo>
                  <a:lnTo>
                    <a:pt x="475" y="1605"/>
                  </a:lnTo>
                  <a:lnTo>
                    <a:pt x="392" y="1560"/>
                  </a:lnTo>
                  <a:lnTo>
                    <a:pt x="318" y="1505"/>
                  </a:lnTo>
                  <a:lnTo>
                    <a:pt x="247" y="1444"/>
                  </a:lnTo>
                  <a:lnTo>
                    <a:pt x="186" y="1376"/>
                  </a:lnTo>
                  <a:lnTo>
                    <a:pt x="131" y="1299"/>
                  </a:lnTo>
                  <a:lnTo>
                    <a:pt x="86" y="1219"/>
                  </a:lnTo>
                  <a:lnTo>
                    <a:pt x="49" y="1130"/>
                  </a:lnTo>
                  <a:lnTo>
                    <a:pt x="24" y="1040"/>
                  </a:lnTo>
                  <a:lnTo>
                    <a:pt x="6" y="944"/>
                  </a:lnTo>
                  <a:lnTo>
                    <a:pt x="0" y="846"/>
                  </a:lnTo>
                  <a:lnTo>
                    <a:pt x="6" y="748"/>
                  </a:lnTo>
                  <a:lnTo>
                    <a:pt x="24" y="652"/>
                  </a:lnTo>
                  <a:lnTo>
                    <a:pt x="49" y="561"/>
                  </a:lnTo>
                  <a:lnTo>
                    <a:pt x="86" y="475"/>
                  </a:lnTo>
                  <a:lnTo>
                    <a:pt x="131" y="393"/>
                  </a:lnTo>
                  <a:lnTo>
                    <a:pt x="186" y="318"/>
                  </a:lnTo>
                  <a:lnTo>
                    <a:pt x="247" y="249"/>
                  </a:lnTo>
                  <a:lnTo>
                    <a:pt x="318" y="187"/>
                  </a:lnTo>
                  <a:lnTo>
                    <a:pt x="392" y="132"/>
                  </a:lnTo>
                  <a:lnTo>
                    <a:pt x="475" y="87"/>
                  </a:lnTo>
                  <a:lnTo>
                    <a:pt x="561" y="49"/>
                  </a:lnTo>
                  <a:lnTo>
                    <a:pt x="651" y="24"/>
                  </a:lnTo>
                  <a:lnTo>
                    <a:pt x="747" y="6"/>
                  </a:lnTo>
                  <a:lnTo>
                    <a:pt x="845" y="0"/>
                  </a:lnTo>
                  <a:close/>
                </a:path>
              </a:pathLst>
            </a:custGeom>
            <a:solidFill>
              <a:srgbClr val="6FC2B4"/>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1607">
              <a:extLst>
                <a:ext uri="{FF2B5EF4-FFF2-40B4-BE49-F238E27FC236}">
                  <a16:creationId xmlns:a16="http://schemas.microsoft.com/office/drawing/2014/main" id="{7F3C1B85-06F1-0F48-AD2C-D2188FCD2064}"/>
                </a:ext>
              </a:extLst>
            </p:cNvPr>
            <p:cNvSpPr>
              <a:spLocks noEditPoints="1"/>
            </p:cNvSpPr>
            <p:nvPr/>
          </p:nvSpPr>
          <p:spPr bwMode="auto">
            <a:xfrm>
              <a:off x="5504554" y="3350598"/>
              <a:ext cx="1238250" cy="1238250"/>
            </a:xfrm>
            <a:custGeom>
              <a:avLst/>
              <a:gdLst>
                <a:gd name="T0" fmla="*/ 639 w 1559"/>
                <a:gd name="T1" fmla="*/ 77 h 1560"/>
                <a:gd name="T2" fmla="*/ 435 w 1559"/>
                <a:gd name="T3" fmla="*/ 151 h 1560"/>
                <a:gd name="T4" fmla="*/ 325 w 1559"/>
                <a:gd name="T5" fmla="*/ 226 h 1560"/>
                <a:gd name="T6" fmla="*/ 182 w 1559"/>
                <a:gd name="T7" fmla="*/ 385 h 1560"/>
                <a:gd name="T8" fmla="*/ 119 w 1559"/>
                <a:gd name="T9" fmla="*/ 500 h 1560"/>
                <a:gd name="T10" fmla="*/ 68 w 1559"/>
                <a:gd name="T11" fmla="*/ 702 h 1560"/>
                <a:gd name="T12" fmla="*/ 68 w 1559"/>
                <a:gd name="T13" fmla="*/ 855 h 1560"/>
                <a:gd name="T14" fmla="*/ 119 w 1559"/>
                <a:gd name="T15" fmla="*/ 1057 h 1560"/>
                <a:gd name="T16" fmla="*/ 225 w 1559"/>
                <a:gd name="T17" fmla="*/ 1232 h 1560"/>
                <a:gd name="T18" fmla="*/ 374 w 1559"/>
                <a:gd name="T19" fmla="*/ 1369 h 1560"/>
                <a:gd name="T20" fmla="*/ 500 w 1559"/>
                <a:gd name="T21" fmla="*/ 1438 h 1560"/>
                <a:gd name="T22" fmla="*/ 641 w 1559"/>
                <a:gd name="T23" fmla="*/ 1481 h 1560"/>
                <a:gd name="T24" fmla="*/ 855 w 1559"/>
                <a:gd name="T25" fmla="*/ 1491 h 1560"/>
                <a:gd name="T26" fmla="*/ 988 w 1559"/>
                <a:gd name="T27" fmla="*/ 1464 h 1560"/>
                <a:gd name="T28" fmla="*/ 1184 w 1559"/>
                <a:gd name="T29" fmla="*/ 1369 h 1560"/>
                <a:gd name="T30" fmla="*/ 1284 w 1559"/>
                <a:gd name="T31" fmla="*/ 1285 h 1560"/>
                <a:gd name="T32" fmla="*/ 1369 w 1559"/>
                <a:gd name="T33" fmla="*/ 1185 h 1560"/>
                <a:gd name="T34" fmla="*/ 1463 w 1559"/>
                <a:gd name="T35" fmla="*/ 989 h 1560"/>
                <a:gd name="T36" fmla="*/ 1490 w 1559"/>
                <a:gd name="T37" fmla="*/ 855 h 1560"/>
                <a:gd name="T38" fmla="*/ 1481 w 1559"/>
                <a:gd name="T39" fmla="*/ 642 h 1560"/>
                <a:gd name="T40" fmla="*/ 1437 w 1559"/>
                <a:gd name="T41" fmla="*/ 500 h 1560"/>
                <a:gd name="T42" fmla="*/ 1369 w 1559"/>
                <a:gd name="T43" fmla="*/ 375 h 1560"/>
                <a:gd name="T44" fmla="*/ 1231 w 1559"/>
                <a:gd name="T45" fmla="*/ 226 h 1560"/>
                <a:gd name="T46" fmla="*/ 1057 w 1559"/>
                <a:gd name="T47" fmla="*/ 120 h 1560"/>
                <a:gd name="T48" fmla="*/ 855 w 1559"/>
                <a:gd name="T49" fmla="*/ 69 h 1560"/>
                <a:gd name="T50" fmla="*/ 739 w 1559"/>
                <a:gd name="T51" fmla="*/ 0 h 1560"/>
                <a:gd name="T52" fmla="*/ 929 w 1559"/>
                <a:gd name="T53" fmla="*/ 14 h 1560"/>
                <a:gd name="T54" fmla="*/ 1082 w 1559"/>
                <a:gd name="T55" fmla="*/ 61 h 1560"/>
                <a:gd name="T56" fmla="*/ 1220 w 1559"/>
                <a:gd name="T57" fmla="*/ 137 h 1560"/>
                <a:gd name="T58" fmla="*/ 1379 w 1559"/>
                <a:gd name="T59" fmla="*/ 281 h 1560"/>
                <a:gd name="T60" fmla="*/ 1465 w 1559"/>
                <a:gd name="T61" fmla="*/ 410 h 1560"/>
                <a:gd name="T62" fmla="*/ 1539 w 1559"/>
                <a:gd name="T63" fmla="*/ 616 h 1560"/>
                <a:gd name="T64" fmla="*/ 1559 w 1559"/>
                <a:gd name="T65" fmla="*/ 779 h 1560"/>
                <a:gd name="T66" fmla="*/ 1539 w 1559"/>
                <a:gd name="T67" fmla="*/ 942 h 1560"/>
                <a:gd name="T68" fmla="*/ 1465 w 1559"/>
                <a:gd name="T69" fmla="*/ 1148 h 1560"/>
                <a:gd name="T70" fmla="*/ 1379 w 1559"/>
                <a:gd name="T71" fmla="*/ 1277 h 1560"/>
                <a:gd name="T72" fmla="*/ 1220 w 1559"/>
                <a:gd name="T73" fmla="*/ 1422 h 1560"/>
                <a:gd name="T74" fmla="*/ 1082 w 1559"/>
                <a:gd name="T75" fmla="*/ 1497 h 1560"/>
                <a:gd name="T76" fmla="*/ 929 w 1559"/>
                <a:gd name="T77" fmla="*/ 1544 h 1560"/>
                <a:gd name="T78" fmla="*/ 702 w 1559"/>
                <a:gd name="T79" fmla="*/ 1556 h 1560"/>
                <a:gd name="T80" fmla="*/ 543 w 1559"/>
                <a:gd name="T81" fmla="*/ 1522 h 1560"/>
                <a:gd name="T82" fmla="*/ 349 w 1559"/>
                <a:gd name="T83" fmla="*/ 1428 h 1560"/>
                <a:gd name="T84" fmla="*/ 227 w 1559"/>
                <a:gd name="T85" fmla="*/ 1330 h 1560"/>
                <a:gd name="T86" fmla="*/ 129 w 1559"/>
                <a:gd name="T87" fmla="*/ 1210 h 1560"/>
                <a:gd name="T88" fmla="*/ 35 w 1559"/>
                <a:gd name="T89" fmla="*/ 1014 h 1560"/>
                <a:gd name="T90" fmla="*/ 4 w 1559"/>
                <a:gd name="T91" fmla="*/ 855 h 1560"/>
                <a:gd name="T92" fmla="*/ 4 w 1559"/>
                <a:gd name="T93" fmla="*/ 702 h 1560"/>
                <a:gd name="T94" fmla="*/ 35 w 1559"/>
                <a:gd name="T95" fmla="*/ 543 h 1560"/>
                <a:gd name="T96" fmla="*/ 129 w 1559"/>
                <a:gd name="T97" fmla="*/ 349 h 1560"/>
                <a:gd name="T98" fmla="*/ 227 w 1559"/>
                <a:gd name="T99" fmla="*/ 228 h 1560"/>
                <a:gd name="T100" fmla="*/ 349 w 1559"/>
                <a:gd name="T101" fmla="*/ 130 h 1560"/>
                <a:gd name="T102" fmla="*/ 543 w 1559"/>
                <a:gd name="T103" fmla="*/ 35 h 1560"/>
                <a:gd name="T104" fmla="*/ 702 w 1559"/>
                <a:gd name="T105" fmla="*/ 4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9" h="1560">
                  <a:moveTo>
                    <a:pt x="739" y="65"/>
                  </a:moveTo>
                  <a:lnTo>
                    <a:pt x="702" y="69"/>
                  </a:lnTo>
                  <a:lnTo>
                    <a:pt x="639" y="77"/>
                  </a:lnTo>
                  <a:lnTo>
                    <a:pt x="569" y="94"/>
                  </a:lnTo>
                  <a:lnTo>
                    <a:pt x="500" y="120"/>
                  </a:lnTo>
                  <a:lnTo>
                    <a:pt x="435" y="151"/>
                  </a:lnTo>
                  <a:lnTo>
                    <a:pt x="384" y="182"/>
                  </a:lnTo>
                  <a:lnTo>
                    <a:pt x="384" y="182"/>
                  </a:lnTo>
                  <a:lnTo>
                    <a:pt x="325" y="226"/>
                  </a:lnTo>
                  <a:lnTo>
                    <a:pt x="272" y="273"/>
                  </a:lnTo>
                  <a:lnTo>
                    <a:pt x="225" y="326"/>
                  </a:lnTo>
                  <a:lnTo>
                    <a:pt x="182" y="385"/>
                  </a:lnTo>
                  <a:lnTo>
                    <a:pt x="182" y="385"/>
                  </a:lnTo>
                  <a:lnTo>
                    <a:pt x="151" y="436"/>
                  </a:lnTo>
                  <a:lnTo>
                    <a:pt x="119" y="500"/>
                  </a:lnTo>
                  <a:lnTo>
                    <a:pt x="94" y="569"/>
                  </a:lnTo>
                  <a:lnTo>
                    <a:pt x="76" y="640"/>
                  </a:lnTo>
                  <a:lnTo>
                    <a:pt x="68" y="702"/>
                  </a:lnTo>
                  <a:lnTo>
                    <a:pt x="64" y="740"/>
                  </a:lnTo>
                  <a:lnTo>
                    <a:pt x="64" y="818"/>
                  </a:lnTo>
                  <a:lnTo>
                    <a:pt x="68" y="855"/>
                  </a:lnTo>
                  <a:lnTo>
                    <a:pt x="76" y="918"/>
                  </a:lnTo>
                  <a:lnTo>
                    <a:pt x="94" y="989"/>
                  </a:lnTo>
                  <a:lnTo>
                    <a:pt x="119" y="1057"/>
                  </a:lnTo>
                  <a:lnTo>
                    <a:pt x="151" y="1122"/>
                  </a:lnTo>
                  <a:lnTo>
                    <a:pt x="182" y="1175"/>
                  </a:lnTo>
                  <a:lnTo>
                    <a:pt x="225" y="1232"/>
                  </a:lnTo>
                  <a:lnTo>
                    <a:pt x="272" y="1285"/>
                  </a:lnTo>
                  <a:lnTo>
                    <a:pt x="325" y="1334"/>
                  </a:lnTo>
                  <a:lnTo>
                    <a:pt x="374" y="1369"/>
                  </a:lnTo>
                  <a:lnTo>
                    <a:pt x="374" y="1369"/>
                  </a:lnTo>
                  <a:lnTo>
                    <a:pt x="435" y="1407"/>
                  </a:lnTo>
                  <a:lnTo>
                    <a:pt x="500" y="1438"/>
                  </a:lnTo>
                  <a:lnTo>
                    <a:pt x="569" y="1464"/>
                  </a:lnTo>
                  <a:lnTo>
                    <a:pt x="641" y="1481"/>
                  </a:lnTo>
                  <a:lnTo>
                    <a:pt x="641" y="1481"/>
                  </a:lnTo>
                  <a:lnTo>
                    <a:pt x="702" y="1491"/>
                  </a:lnTo>
                  <a:lnTo>
                    <a:pt x="778" y="1495"/>
                  </a:lnTo>
                  <a:lnTo>
                    <a:pt x="855" y="1491"/>
                  </a:lnTo>
                  <a:lnTo>
                    <a:pt x="916" y="1481"/>
                  </a:lnTo>
                  <a:lnTo>
                    <a:pt x="916" y="1481"/>
                  </a:lnTo>
                  <a:lnTo>
                    <a:pt x="988" y="1464"/>
                  </a:lnTo>
                  <a:lnTo>
                    <a:pt x="1057" y="1438"/>
                  </a:lnTo>
                  <a:lnTo>
                    <a:pt x="1122" y="1407"/>
                  </a:lnTo>
                  <a:lnTo>
                    <a:pt x="1184" y="1369"/>
                  </a:lnTo>
                  <a:lnTo>
                    <a:pt x="1184" y="1369"/>
                  </a:lnTo>
                  <a:lnTo>
                    <a:pt x="1231" y="1334"/>
                  </a:lnTo>
                  <a:lnTo>
                    <a:pt x="1284" y="1285"/>
                  </a:lnTo>
                  <a:lnTo>
                    <a:pt x="1333" y="1232"/>
                  </a:lnTo>
                  <a:lnTo>
                    <a:pt x="1369" y="1185"/>
                  </a:lnTo>
                  <a:lnTo>
                    <a:pt x="1369" y="1185"/>
                  </a:lnTo>
                  <a:lnTo>
                    <a:pt x="1406" y="1122"/>
                  </a:lnTo>
                  <a:lnTo>
                    <a:pt x="1437" y="1057"/>
                  </a:lnTo>
                  <a:lnTo>
                    <a:pt x="1463" y="989"/>
                  </a:lnTo>
                  <a:lnTo>
                    <a:pt x="1481" y="916"/>
                  </a:lnTo>
                  <a:lnTo>
                    <a:pt x="1481" y="916"/>
                  </a:lnTo>
                  <a:lnTo>
                    <a:pt x="1490" y="855"/>
                  </a:lnTo>
                  <a:lnTo>
                    <a:pt x="1494" y="779"/>
                  </a:lnTo>
                  <a:lnTo>
                    <a:pt x="1490" y="702"/>
                  </a:lnTo>
                  <a:lnTo>
                    <a:pt x="1481" y="642"/>
                  </a:lnTo>
                  <a:lnTo>
                    <a:pt x="1481" y="642"/>
                  </a:lnTo>
                  <a:lnTo>
                    <a:pt x="1463" y="569"/>
                  </a:lnTo>
                  <a:lnTo>
                    <a:pt x="1437" y="500"/>
                  </a:lnTo>
                  <a:lnTo>
                    <a:pt x="1406" y="436"/>
                  </a:lnTo>
                  <a:lnTo>
                    <a:pt x="1369" y="375"/>
                  </a:lnTo>
                  <a:lnTo>
                    <a:pt x="1369" y="375"/>
                  </a:lnTo>
                  <a:lnTo>
                    <a:pt x="1333" y="326"/>
                  </a:lnTo>
                  <a:lnTo>
                    <a:pt x="1284" y="273"/>
                  </a:lnTo>
                  <a:lnTo>
                    <a:pt x="1231" y="226"/>
                  </a:lnTo>
                  <a:lnTo>
                    <a:pt x="1175" y="182"/>
                  </a:lnTo>
                  <a:lnTo>
                    <a:pt x="1122" y="151"/>
                  </a:lnTo>
                  <a:lnTo>
                    <a:pt x="1057" y="120"/>
                  </a:lnTo>
                  <a:lnTo>
                    <a:pt x="988" y="94"/>
                  </a:lnTo>
                  <a:lnTo>
                    <a:pt x="918" y="77"/>
                  </a:lnTo>
                  <a:lnTo>
                    <a:pt x="855" y="69"/>
                  </a:lnTo>
                  <a:lnTo>
                    <a:pt x="818" y="65"/>
                  </a:lnTo>
                  <a:lnTo>
                    <a:pt x="739" y="65"/>
                  </a:lnTo>
                  <a:close/>
                  <a:moveTo>
                    <a:pt x="739" y="0"/>
                  </a:moveTo>
                  <a:lnTo>
                    <a:pt x="818" y="0"/>
                  </a:lnTo>
                  <a:lnTo>
                    <a:pt x="855" y="4"/>
                  </a:lnTo>
                  <a:lnTo>
                    <a:pt x="929" y="14"/>
                  </a:lnTo>
                  <a:lnTo>
                    <a:pt x="941" y="18"/>
                  </a:lnTo>
                  <a:lnTo>
                    <a:pt x="1014" y="35"/>
                  </a:lnTo>
                  <a:lnTo>
                    <a:pt x="1082" y="61"/>
                  </a:lnTo>
                  <a:lnTo>
                    <a:pt x="1147" y="92"/>
                  </a:lnTo>
                  <a:lnTo>
                    <a:pt x="1210" y="130"/>
                  </a:lnTo>
                  <a:lnTo>
                    <a:pt x="1220" y="137"/>
                  </a:lnTo>
                  <a:lnTo>
                    <a:pt x="1277" y="181"/>
                  </a:lnTo>
                  <a:lnTo>
                    <a:pt x="1330" y="228"/>
                  </a:lnTo>
                  <a:lnTo>
                    <a:pt x="1379" y="281"/>
                  </a:lnTo>
                  <a:lnTo>
                    <a:pt x="1422" y="339"/>
                  </a:lnTo>
                  <a:lnTo>
                    <a:pt x="1428" y="349"/>
                  </a:lnTo>
                  <a:lnTo>
                    <a:pt x="1465" y="410"/>
                  </a:lnTo>
                  <a:lnTo>
                    <a:pt x="1496" y="475"/>
                  </a:lnTo>
                  <a:lnTo>
                    <a:pt x="1522" y="543"/>
                  </a:lnTo>
                  <a:lnTo>
                    <a:pt x="1539" y="616"/>
                  </a:lnTo>
                  <a:lnTo>
                    <a:pt x="1543" y="628"/>
                  </a:lnTo>
                  <a:lnTo>
                    <a:pt x="1555" y="702"/>
                  </a:lnTo>
                  <a:lnTo>
                    <a:pt x="1559" y="779"/>
                  </a:lnTo>
                  <a:lnTo>
                    <a:pt x="1555" y="855"/>
                  </a:lnTo>
                  <a:lnTo>
                    <a:pt x="1543" y="930"/>
                  </a:lnTo>
                  <a:lnTo>
                    <a:pt x="1539" y="942"/>
                  </a:lnTo>
                  <a:lnTo>
                    <a:pt x="1522" y="1014"/>
                  </a:lnTo>
                  <a:lnTo>
                    <a:pt x="1496" y="1083"/>
                  </a:lnTo>
                  <a:lnTo>
                    <a:pt x="1465" y="1148"/>
                  </a:lnTo>
                  <a:lnTo>
                    <a:pt x="1428" y="1210"/>
                  </a:lnTo>
                  <a:lnTo>
                    <a:pt x="1422" y="1220"/>
                  </a:lnTo>
                  <a:lnTo>
                    <a:pt x="1379" y="1277"/>
                  </a:lnTo>
                  <a:lnTo>
                    <a:pt x="1330" y="1330"/>
                  </a:lnTo>
                  <a:lnTo>
                    <a:pt x="1277" y="1379"/>
                  </a:lnTo>
                  <a:lnTo>
                    <a:pt x="1220" y="1422"/>
                  </a:lnTo>
                  <a:lnTo>
                    <a:pt x="1210" y="1428"/>
                  </a:lnTo>
                  <a:lnTo>
                    <a:pt x="1147" y="1466"/>
                  </a:lnTo>
                  <a:lnTo>
                    <a:pt x="1082" y="1497"/>
                  </a:lnTo>
                  <a:lnTo>
                    <a:pt x="1014" y="1522"/>
                  </a:lnTo>
                  <a:lnTo>
                    <a:pt x="941" y="1540"/>
                  </a:lnTo>
                  <a:lnTo>
                    <a:pt x="929" y="1544"/>
                  </a:lnTo>
                  <a:lnTo>
                    <a:pt x="855" y="1556"/>
                  </a:lnTo>
                  <a:lnTo>
                    <a:pt x="778" y="1560"/>
                  </a:lnTo>
                  <a:lnTo>
                    <a:pt x="702" y="1556"/>
                  </a:lnTo>
                  <a:lnTo>
                    <a:pt x="627" y="1544"/>
                  </a:lnTo>
                  <a:lnTo>
                    <a:pt x="616" y="1540"/>
                  </a:lnTo>
                  <a:lnTo>
                    <a:pt x="543" y="1522"/>
                  </a:lnTo>
                  <a:lnTo>
                    <a:pt x="474" y="1497"/>
                  </a:lnTo>
                  <a:lnTo>
                    <a:pt x="410" y="1466"/>
                  </a:lnTo>
                  <a:lnTo>
                    <a:pt x="349" y="1428"/>
                  </a:lnTo>
                  <a:lnTo>
                    <a:pt x="339" y="1422"/>
                  </a:lnTo>
                  <a:lnTo>
                    <a:pt x="280" y="1379"/>
                  </a:lnTo>
                  <a:lnTo>
                    <a:pt x="227" y="1330"/>
                  </a:lnTo>
                  <a:lnTo>
                    <a:pt x="180" y="1277"/>
                  </a:lnTo>
                  <a:lnTo>
                    <a:pt x="137" y="1220"/>
                  </a:lnTo>
                  <a:lnTo>
                    <a:pt x="129" y="1210"/>
                  </a:lnTo>
                  <a:lnTo>
                    <a:pt x="92" y="1148"/>
                  </a:lnTo>
                  <a:lnTo>
                    <a:pt x="61" y="1083"/>
                  </a:lnTo>
                  <a:lnTo>
                    <a:pt x="35" y="1014"/>
                  </a:lnTo>
                  <a:lnTo>
                    <a:pt x="17" y="942"/>
                  </a:lnTo>
                  <a:lnTo>
                    <a:pt x="13" y="930"/>
                  </a:lnTo>
                  <a:lnTo>
                    <a:pt x="4" y="855"/>
                  </a:lnTo>
                  <a:lnTo>
                    <a:pt x="0" y="818"/>
                  </a:lnTo>
                  <a:lnTo>
                    <a:pt x="0" y="740"/>
                  </a:lnTo>
                  <a:lnTo>
                    <a:pt x="4" y="702"/>
                  </a:lnTo>
                  <a:lnTo>
                    <a:pt x="13" y="628"/>
                  </a:lnTo>
                  <a:lnTo>
                    <a:pt x="17" y="616"/>
                  </a:lnTo>
                  <a:lnTo>
                    <a:pt x="35" y="543"/>
                  </a:lnTo>
                  <a:lnTo>
                    <a:pt x="61" y="475"/>
                  </a:lnTo>
                  <a:lnTo>
                    <a:pt x="92" y="410"/>
                  </a:lnTo>
                  <a:lnTo>
                    <a:pt x="129" y="349"/>
                  </a:lnTo>
                  <a:lnTo>
                    <a:pt x="137" y="339"/>
                  </a:lnTo>
                  <a:lnTo>
                    <a:pt x="180" y="281"/>
                  </a:lnTo>
                  <a:lnTo>
                    <a:pt x="227" y="228"/>
                  </a:lnTo>
                  <a:lnTo>
                    <a:pt x="280" y="181"/>
                  </a:lnTo>
                  <a:lnTo>
                    <a:pt x="339" y="137"/>
                  </a:lnTo>
                  <a:lnTo>
                    <a:pt x="349" y="130"/>
                  </a:lnTo>
                  <a:lnTo>
                    <a:pt x="410" y="92"/>
                  </a:lnTo>
                  <a:lnTo>
                    <a:pt x="474" y="61"/>
                  </a:lnTo>
                  <a:lnTo>
                    <a:pt x="543" y="35"/>
                  </a:lnTo>
                  <a:lnTo>
                    <a:pt x="616" y="18"/>
                  </a:lnTo>
                  <a:lnTo>
                    <a:pt x="627" y="14"/>
                  </a:lnTo>
                  <a:lnTo>
                    <a:pt x="702" y="4"/>
                  </a:lnTo>
                  <a:lnTo>
                    <a:pt x="739" y="0"/>
                  </a:lnTo>
                  <a:close/>
                </a:path>
              </a:pathLst>
            </a:custGeom>
            <a:solidFill>
              <a:schemeClr val="accent5">
                <a:lumMod val="75000"/>
              </a:schemeClr>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1608">
              <a:extLst>
                <a:ext uri="{FF2B5EF4-FFF2-40B4-BE49-F238E27FC236}">
                  <a16:creationId xmlns:a16="http://schemas.microsoft.com/office/drawing/2014/main" id="{42E1B99E-BBC8-A545-A2FD-1BA54354D60E}"/>
                </a:ext>
              </a:extLst>
            </p:cNvPr>
            <p:cNvSpPr>
              <a:spLocks/>
            </p:cNvSpPr>
            <p:nvPr/>
          </p:nvSpPr>
          <p:spPr bwMode="auto">
            <a:xfrm>
              <a:off x="2893117" y="3347423"/>
              <a:ext cx="1065213" cy="1065212"/>
            </a:xfrm>
            <a:custGeom>
              <a:avLst/>
              <a:gdLst>
                <a:gd name="T0" fmla="*/ 670 w 1341"/>
                <a:gd name="T1" fmla="*/ 0 h 1342"/>
                <a:gd name="T2" fmla="*/ 761 w 1341"/>
                <a:gd name="T3" fmla="*/ 6 h 1342"/>
                <a:gd name="T4" fmla="*/ 849 w 1341"/>
                <a:gd name="T5" fmla="*/ 24 h 1342"/>
                <a:gd name="T6" fmla="*/ 931 w 1341"/>
                <a:gd name="T7" fmla="*/ 53 h 1342"/>
                <a:gd name="T8" fmla="*/ 1008 w 1341"/>
                <a:gd name="T9" fmla="*/ 92 h 1342"/>
                <a:gd name="T10" fmla="*/ 1080 w 1341"/>
                <a:gd name="T11" fmla="*/ 139 h 1342"/>
                <a:gd name="T12" fmla="*/ 1145 w 1341"/>
                <a:gd name="T13" fmla="*/ 196 h 1342"/>
                <a:gd name="T14" fmla="*/ 1200 w 1341"/>
                <a:gd name="T15" fmla="*/ 261 h 1342"/>
                <a:gd name="T16" fmla="*/ 1249 w 1341"/>
                <a:gd name="T17" fmla="*/ 332 h 1342"/>
                <a:gd name="T18" fmla="*/ 1288 w 1341"/>
                <a:gd name="T19" fmla="*/ 410 h 1342"/>
                <a:gd name="T20" fmla="*/ 1316 w 1341"/>
                <a:gd name="T21" fmla="*/ 493 h 1342"/>
                <a:gd name="T22" fmla="*/ 1335 w 1341"/>
                <a:gd name="T23" fmla="*/ 581 h 1342"/>
                <a:gd name="T24" fmla="*/ 1341 w 1341"/>
                <a:gd name="T25" fmla="*/ 671 h 1342"/>
                <a:gd name="T26" fmla="*/ 1335 w 1341"/>
                <a:gd name="T27" fmla="*/ 761 h 1342"/>
                <a:gd name="T28" fmla="*/ 1316 w 1341"/>
                <a:gd name="T29" fmla="*/ 850 h 1342"/>
                <a:gd name="T30" fmla="*/ 1288 w 1341"/>
                <a:gd name="T31" fmla="*/ 932 h 1342"/>
                <a:gd name="T32" fmla="*/ 1249 w 1341"/>
                <a:gd name="T33" fmla="*/ 1008 h 1342"/>
                <a:gd name="T34" fmla="*/ 1200 w 1341"/>
                <a:gd name="T35" fmla="*/ 1081 h 1342"/>
                <a:gd name="T36" fmla="*/ 1145 w 1341"/>
                <a:gd name="T37" fmla="*/ 1146 h 1342"/>
                <a:gd name="T38" fmla="*/ 1080 w 1341"/>
                <a:gd name="T39" fmla="*/ 1203 h 1342"/>
                <a:gd name="T40" fmla="*/ 1008 w 1341"/>
                <a:gd name="T41" fmla="*/ 1250 h 1342"/>
                <a:gd name="T42" fmla="*/ 931 w 1341"/>
                <a:gd name="T43" fmla="*/ 1289 h 1342"/>
                <a:gd name="T44" fmla="*/ 849 w 1341"/>
                <a:gd name="T45" fmla="*/ 1318 h 1342"/>
                <a:gd name="T46" fmla="*/ 761 w 1341"/>
                <a:gd name="T47" fmla="*/ 1336 h 1342"/>
                <a:gd name="T48" fmla="*/ 670 w 1341"/>
                <a:gd name="T49" fmla="*/ 1342 h 1342"/>
                <a:gd name="T50" fmla="*/ 578 w 1341"/>
                <a:gd name="T51" fmla="*/ 1336 h 1342"/>
                <a:gd name="T52" fmla="*/ 492 w 1341"/>
                <a:gd name="T53" fmla="*/ 1318 h 1342"/>
                <a:gd name="T54" fmla="*/ 410 w 1341"/>
                <a:gd name="T55" fmla="*/ 1289 h 1342"/>
                <a:gd name="T56" fmla="*/ 331 w 1341"/>
                <a:gd name="T57" fmla="*/ 1250 h 1342"/>
                <a:gd name="T58" fmla="*/ 260 w 1341"/>
                <a:gd name="T59" fmla="*/ 1203 h 1342"/>
                <a:gd name="T60" fmla="*/ 196 w 1341"/>
                <a:gd name="T61" fmla="*/ 1146 h 1342"/>
                <a:gd name="T62" fmla="*/ 139 w 1341"/>
                <a:gd name="T63" fmla="*/ 1081 h 1342"/>
                <a:gd name="T64" fmla="*/ 92 w 1341"/>
                <a:gd name="T65" fmla="*/ 1008 h 1342"/>
                <a:gd name="T66" fmla="*/ 53 w 1341"/>
                <a:gd name="T67" fmla="*/ 932 h 1342"/>
                <a:gd name="T68" fmla="*/ 23 w 1341"/>
                <a:gd name="T69" fmla="*/ 850 h 1342"/>
                <a:gd name="T70" fmla="*/ 6 w 1341"/>
                <a:gd name="T71" fmla="*/ 761 h 1342"/>
                <a:gd name="T72" fmla="*/ 0 w 1341"/>
                <a:gd name="T73" fmla="*/ 671 h 1342"/>
                <a:gd name="T74" fmla="*/ 6 w 1341"/>
                <a:gd name="T75" fmla="*/ 581 h 1342"/>
                <a:gd name="T76" fmla="*/ 23 w 1341"/>
                <a:gd name="T77" fmla="*/ 493 h 1342"/>
                <a:gd name="T78" fmla="*/ 53 w 1341"/>
                <a:gd name="T79" fmla="*/ 410 h 1342"/>
                <a:gd name="T80" fmla="*/ 92 w 1341"/>
                <a:gd name="T81" fmla="*/ 332 h 1342"/>
                <a:gd name="T82" fmla="*/ 139 w 1341"/>
                <a:gd name="T83" fmla="*/ 261 h 1342"/>
                <a:gd name="T84" fmla="*/ 196 w 1341"/>
                <a:gd name="T85" fmla="*/ 196 h 1342"/>
                <a:gd name="T86" fmla="*/ 260 w 1341"/>
                <a:gd name="T87" fmla="*/ 139 h 1342"/>
                <a:gd name="T88" fmla="*/ 331 w 1341"/>
                <a:gd name="T89" fmla="*/ 92 h 1342"/>
                <a:gd name="T90" fmla="*/ 410 w 1341"/>
                <a:gd name="T91" fmla="*/ 53 h 1342"/>
                <a:gd name="T92" fmla="*/ 492 w 1341"/>
                <a:gd name="T93" fmla="*/ 24 h 1342"/>
                <a:gd name="T94" fmla="*/ 578 w 1341"/>
                <a:gd name="T95" fmla="*/ 6 h 1342"/>
                <a:gd name="T96" fmla="*/ 670 w 1341"/>
                <a:gd name="T97" fmla="*/ 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41" h="1342">
                  <a:moveTo>
                    <a:pt x="670" y="0"/>
                  </a:moveTo>
                  <a:lnTo>
                    <a:pt x="761" y="6"/>
                  </a:lnTo>
                  <a:lnTo>
                    <a:pt x="849" y="24"/>
                  </a:lnTo>
                  <a:lnTo>
                    <a:pt x="931" y="53"/>
                  </a:lnTo>
                  <a:lnTo>
                    <a:pt x="1008" y="92"/>
                  </a:lnTo>
                  <a:lnTo>
                    <a:pt x="1080" y="139"/>
                  </a:lnTo>
                  <a:lnTo>
                    <a:pt x="1145" y="196"/>
                  </a:lnTo>
                  <a:lnTo>
                    <a:pt x="1200" y="261"/>
                  </a:lnTo>
                  <a:lnTo>
                    <a:pt x="1249" y="332"/>
                  </a:lnTo>
                  <a:lnTo>
                    <a:pt x="1288" y="410"/>
                  </a:lnTo>
                  <a:lnTo>
                    <a:pt x="1316" y="493"/>
                  </a:lnTo>
                  <a:lnTo>
                    <a:pt x="1335" y="581"/>
                  </a:lnTo>
                  <a:lnTo>
                    <a:pt x="1341" y="671"/>
                  </a:lnTo>
                  <a:lnTo>
                    <a:pt x="1335" y="761"/>
                  </a:lnTo>
                  <a:lnTo>
                    <a:pt x="1316" y="850"/>
                  </a:lnTo>
                  <a:lnTo>
                    <a:pt x="1288" y="932"/>
                  </a:lnTo>
                  <a:lnTo>
                    <a:pt x="1249" y="1008"/>
                  </a:lnTo>
                  <a:lnTo>
                    <a:pt x="1200" y="1081"/>
                  </a:lnTo>
                  <a:lnTo>
                    <a:pt x="1145" y="1146"/>
                  </a:lnTo>
                  <a:lnTo>
                    <a:pt x="1080" y="1203"/>
                  </a:lnTo>
                  <a:lnTo>
                    <a:pt x="1008" y="1250"/>
                  </a:lnTo>
                  <a:lnTo>
                    <a:pt x="931" y="1289"/>
                  </a:lnTo>
                  <a:lnTo>
                    <a:pt x="849" y="1318"/>
                  </a:lnTo>
                  <a:lnTo>
                    <a:pt x="761" y="1336"/>
                  </a:lnTo>
                  <a:lnTo>
                    <a:pt x="670" y="1342"/>
                  </a:lnTo>
                  <a:lnTo>
                    <a:pt x="578" y="1336"/>
                  </a:lnTo>
                  <a:lnTo>
                    <a:pt x="492" y="1318"/>
                  </a:lnTo>
                  <a:lnTo>
                    <a:pt x="410" y="1289"/>
                  </a:lnTo>
                  <a:lnTo>
                    <a:pt x="331" y="1250"/>
                  </a:lnTo>
                  <a:lnTo>
                    <a:pt x="260" y="1203"/>
                  </a:lnTo>
                  <a:lnTo>
                    <a:pt x="196" y="1146"/>
                  </a:lnTo>
                  <a:lnTo>
                    <a:pt x="139" y="1081"/>
                  </a:lnTo>
                  <a:lnTo>
                    <a:pt x="92" y="1008"/>
                  </a:lnTo>
                  <a:lnTo>
                    <a:pt x="53" y="932"/>
                  </a:lnTo>
                  <a:lnTo>
                    <a:pt x="23" y="850"/>
                  </a:lnTo>
                  <a:lnTo>
                    <a:pt x="6" y="761"/>
                  </a:lnTo>
                  <a:lnTo>
                    <a:pt x="0" y="671"/>
                  </a:lnTo>
                  <a:lnTo>
                    <a:pt x="6" y="581"/>
                  </a:lnTo>
                  <a:lnTo>
                    <a:pt x="23" y="493"/>
                  </a:lnTo>
                  <a:lnTo>
                    <a:pt x="53" y="410"/>
                  </a:lnTo>
                  <a:lnTo>
                    <a:pt x="92" y="332"/>
                  </a:lnTo>
                  <a:lnTo>
                    <a:pt x="139" y="261"/>
                  </a:lnTo>
                  <a:lnTo>
                    <a:pt x="196" y="196"/>
                  </a:lnTo>
                  <a:lnTo>
                    <a:pt x="260" y="139"/>
                  </a:lnTo>
                  <a:lnTo>
                    <a:pt x="331" y="92"/>
                  </a:lnTo>
                  <a:lnTo>
                    <a:pt x="410" y="53"/>
                  </a:lnTo>
                  <a:lnTo>
                    <a:pt x="492" y="24"/>
                  </a:lnTo>
                  <a:lnTo>
                    <a:pt x="578" y="6"/>
                  </a:lnTo>
                  <a:lnTo>
                    <a:pt x="670" y="0"/>
                  </a:lnTo>
                  <a:close/>
                </a:path>
              </a:pathLst>
            </a:custGeom>
            <a:solidFill>
              <a:schemeClr val="accent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1609">
              <a:extLst>
                <a:ext uri="{FF2B5EF4-FFF2-40B4-BE49-F238E27FC236}">
                  <a16:creationId xmlns:a16="http://schemas.microsoft.com/office/drawing/2014/main" id="{31B639D5-B791-DB41-A2FE-4245BEF22FD2}"/>
                </a:ext>
              </a:extLst>
            </p:cNvPr>
            <p:cNvSpPr>
              <a:spLocks noEditPoints="1"/>
            </p:cNvSpPr>
            <p:nvPr/>
          </p:nvSpPr>
          <p:spPr bwMode="auto">
            <a:xfrm>
              <a:off x="2886767" y="3341073"/>
              <a:ext cx="1077913" cy="1077912"/>
            </a:xfrm>
            <a:custGeom>
              <a:avLst/>
              <a:gdLst>
                <a:gd name="T0" fmla="*/ 598 w 1357"/>
                <a:gd name="T1" fmla="*/ 98 h 1358"/>
                <a:gd name="T2" fmla="*/ 449 w 1357"/>
                <a:gd name="T3" fmla="*/ 138 h 1358"/>
                <a:gd name="T4" fmla="*/ 319 w 1357"/>
                <a:gd name="T5" fmla="*/ 214 h 1358"/>
                <a:gd name="T6" fmla="*/ 214 w 1357"/>
                <a:gd name="T7" fmla="*/ 320 h 1358"/>
                <a:gd name="T8" fmla="*/ 137 w 1357"/>
                <a:gd name="T9" fmla="*/ 451 h 1358"/>
                <a:gd name="T10" fmla="*/ 96 w 1357"/>
                <a:gd name="T11" fmla="*/ 599 h 1358"/>
                <a:gd name="T12" fmla="*/ 96 w 1357"/>
                <a:gd name="T13" fmla="*/ 758 h 1358"/>
                <a:gd name="T14" fmla="*/ 137 w 1357"/>
                <a:gd name="T15" fmla="*/ 907 h 1358"/>
                <a:gd name="T16" fmla="*/ 214 w 1357"/>
                <a:gd name="T17" fmla="*/ 1038 h 1358"/>
                <a:gd name="T18" fmla="*/ 319 w 1357"/>
                <a:gd name="T19" fmla="*/ 1144 h 1358"/>
                <a:gd name="T20" fmla="*/ 449 w 1357"/>
                <a:gd name="T21" fmla="*/ 1219 h 1358"/>
                <a:gd name="T22" fmla="*/ 598 w 1357"/>
                <a:gd name="T23" fmla="*/ 1260 h 1358"/>
                <a:gd name="T24" fmla="*/ 757 w 1357"/>
                <a:gd name="T25" fmla="*/ 1260 h 1358"/>
                <a:gd name="T26" fmla="*/ 906 w 1357"/>
                <a:gd name="T27" fmla="*/ 1219 h 1358"/>
                <a:gd name="T28" fmla="*/ 1035 w 1357"/>
                <a:gd name="T29" fmla="*/ 1144 h 1358"/>
                <a:gd name="T30" fmla="*/ 1143 w 1357"/>
                <a:gd name="T31" fmla="*/ 1038 h 1358"/>
                <a:gd name="T32" fmla="*/ 1218 w 1357"/>
                <a:gd name="T33" fmla="*/ 907 h 1358"/>
                <a:gd name="T34" fmla="*/ 1259 w 1357"/>
                <a:gd name="T35" fmla="*/ 758 h 1358"/>
                <a:gd name="T36" fmla="*/ 1259 w 1357"/>
                <a:gd name="T37" fmla="*/ 599 h 1358"/>
                <a:gd name="T38" fmla="*/ 1218 w 1357"/>
                <a:gd name="T39" fmla="*/ 451 h 1358"/>
                <a:gd name="T40" fmla="*/ 1143 w 1357"/>
                <a:gd name="T41" fmla="*/ 320 h 1358"/>
                <a:gd name="T42" fmla="*/ 1035 w 1357"/>
                <a:gd name="T43" fmla="*/ 214 h 1358"/>
                <a:gd name="T44" fmla="*/ 906 w 1357"/>
                <a:gd name="T45" fmla="*/ 138 h 1358"/>
                <a:gd name="T46" fmla="*/ 757 w 1357"/>
                <a:gd name="T47" fmla="*/ 98 h 1358"/>
                <a:gd name="T48" fmla="*/ 678 w 1357"/>
                <a:gd name="T49" fmla="*/ 0 h 1358"/>
                <a:gd name="T50" fmla="*/ 859 w 1357"/>
                <a:gd name="T51" fmla="*/ 24 h 1358"/>
                <a:gd name="T52" fmla="*/ 1020 w 1357"/>
                <a:gd name="T53" fmla="*/ 92 h 1358"/>
                <a:gd name="T54" fmla="*/ 1159 w 1357"/>
                <a:gd name="T55" fmla="*/ 198 h 1358"/>
                <a:gd name="T56" fmla="*/ 1265 w 1357"/>
                <a:gd name="T57" fmla="*/ 336 h 1358"/>
                <a:gd name="T58" fmla="*/ 1333 w 1357"/>
                <a:gd name="T59" fmla="*/ 499 h 1358"/>
                <a:gd name="T60" fmla="*/ 1357 w 1357"/>
                <a:gd name="T61" fmla="*/ 679 h 1358"/>
                <a:gd name="T62" fmla="*/ 1333 w 1357"/>
                <a:gd name="T63" fmla="*/ 860 h 1358"/>
                <a:gd name="T64" fmla="*/ 1265 w 1357"/>
                <a:gd name="T65" fmla="*/ 1022 h 1358"/>
                <a:gd name="T66" fmla="*/ 1159 w 1357"/>
                <a:gd name="T67" fmla="*/ 1160 h 1358"/>
                <a:gd name="T68" fmla="*/ 1020 w 1357"/>
                <a:gd name="T69" fmla="*/ 1266 h 1358"/>
                <a:gd name="T70" fmla="*/ 859 w 1357"/>
                <a:gd name="T71" fmla="*/ 1334 h 1358"/>
                <a:gd name="T72" fmla="*/ 678 w 1357"/>
                <a:gd name="T73" fmla="*/ 1358 h 1358"/>
                <a:gd name="T74" fmla="*/ 498 w 1357"/>
                <a:gd name="T75" fmla="*/ 1334 h 1358"/>
                <a:gd name="T76" fmla="*/ 335 w 1357"/>
                <a:gd name="T77" fmla="*/ 1266 h 1358"/>
                <a:gd name="T78" fmla="*/ 198 w 1357"/>
                <a:gd name="T79" fmla="*/ 1160 h 1358"/>
                <a:gd name="T80" fmla="*/ 92 w 1357"/>
                <a:gd name="T81" fmla="*/ 1022 h 1358"/>
                <a:gd name="T82" fmla="*/ 23 w 1357"/>
                <a:gd name="T83" fmla="*/ 860 h 1358"/>
                <a:gd name="T84" fmla="*/ 0 w 1357"/>
                <a:gd name="T85" fmla="*/ 679 h 1358"/>
                <a:gd name="T86" fmla="*/ 23 w 1357"/>
                <a:gd name="T87" fmla="*/ 499 h 1358"/>
                <a:gd name="T88" fmla="*/ 92 w 1357"/>
                <a:gd name="T89" fmla="*/ 336 h 1358"/>
                <a:gd name="T90" fmla="*/ 198 w 1357"/>
                <a:gd name="T91" fmla="*/ 198 h 1358"/>
                <a:gd name="T92" fmla="*/ 335 w 1357"/>
                <a:gd name="T93" fmla="*/ 92 h 1358"/>
                <a:gd name="T94" fmla="*/ 498 w 1357"/>
                <a:gd name="T95" fmla="*/ 24 h 1358"/>
                <a:gd name="T96" fmla="*/ 678 w 1357"/>
                <a:gd name="T97"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7" h="1358">
                  <a:moveTo>
                    <a:pt x="678" y="92"/>
                  </a:moveTo>
                  <a:lnTo>
                    <a:pt x="598" y="98"/>
                  </a:lnTo>
                  <a:lnTo>
                    <a:pt x="522" y="112"/>
                  </a:lnTo>
                  <a:lnTo>
                    <a:pt x="449" y="138"/>
                  </a:lnTo>
                  <a:lnTo>
                    <a:pt x="382" y="173"/>
                  </a:lnTo>
                  <a:lnTo>
                    <a:pt x="319" y="214"/>
                  </a:lnTo>
                  <a:lnTo>
                    <a:pt x="263" y="265"/>
                  </a:lnTo>
                  <a:lnTo>
                    <a:pt x="214" y="320"/>
                  </a:lnTo>
                  <a:lnTo>
                    <a:pt x="172" y="383"/>
                  </a:lnTo>
                  <a:lnTo>
                    <a:pt x="137" y="451"/>
                  </a:lnTo>
                  <a:lnTo>
                    <a:pt x="112" y="522"/>
                  </a:lnTo>
                  <a:lnTo>
                    <a:pt x="96" y="599"/>
                  </a:lnTo>
                  <a:lnTo>
                    <a:pt x="92" y="679"/>
                  </a:lnTo>
                  <a:lnTo>
                    <a:pt x="96" y="758"/>
                  </a:lnTo>
                  <a:lnTo>
                    <a:pt x="112" y="834"/>
                  </a:lnTo>
                  <a:lnTo>
                    <a:pt x="137" y="907"/>
                  </a:lnTo>
                  <a:lnTo>
                    <a:pt x="172" y="975"/>
                  </a:lnTo>
                  <a:lnTo>
                    <a:pt x="214" y="1038"/>
                  </a:lnTo>
                  <a:lnTo>
                    <a:pt x="263" y="1093"/>
                  </a:lnTo>
                  <a:lnTo>
                    <a:pt x="319" y="1144"/>
                  </a:lnTo>
                  <a:lnTo>
                    <a:pt x="382" y="1185"/>
                  </a:lnTo>
                  <a:lnTo>
                    <a:pt x="449" y="1219"/>
                  </a:lnTo>
                  <a:lnTo>
                    <a:pt x="522" y="1244"/>
                  </a:lnTo>
                  <a:lnTo>
                    <a:pt x="598" y="1260"/>
                  </a:lnTo>
                  <a:lnTo>
                    <a:pt x="678" y="1266"/>
                  </a:lnTo>
                  <a:lnTo>
                    <a:pt x="757" y="1260"/>
                  </a:lnTo>
                  <a:lnTo>
                    <a:pt x="833" y="1244"/>
                  </a:lnTo>
                  <a:lnTo>
                    <a:pt x="906" y="1219"/>
                  </a:lnTo>
                  <a:lnTo>
                    <a:pt x="975" y="1185"/>
                  </a:lnTo>
                  <a:lnTo>
                    <a:pt x="1035" y="1144"/>
                  </a:lnTo>
                  <a:lnTo>
                    <a:pt x="1092" y="1093"/>
                  </a:lnTo>
                  <a:lnTo>
                    <a:pt x="1143" y="1038"/>
                  </a:lnTo>
                  <a:lnTo>
                    <a:pt x="1184" y="975"/>
                  </a:lnTo>
                  <a:lnTo>
                    <a:pt x="1218" y="907"/>
                  </a:lnTo>
                  <a:lnTo>
                    <a:pt x="1243" y="834"/>
                  </a:lnTo>
                  <a:lnTo>
                    <a:pt x="1259" y="758"/>
                  </a:lnTo>
                  <a:lnTo>
                    <a:pt x="1265" y="679"/>
                  </a:lnTo>
                  <a:lnTo>
                    <a:pt x="1259" y="599"/>
                  </a:lnTo>
                  <a:lnTo>
                    <a:pt x="1243" y="522"/>
                  </a:lnTo>
                  <a:lnTo>
                    <a:pt x="1218" y="451"/>
                  </a:lnTo>
                  <a:lnTo>
                    <a:pt x="1184" y="383"/>
                  </a:lnTo>
                  <a:lnTo>
                    <a:pt x="1143" y="320"/>
                  </a:lnTo>
                  <a:lnTo>
                    <a:pt x="1092" y="265"/>
                  </a:lnTo>
                  <a:lnTo>
                    <a:pt x="1035" y="214"/>
                  </a:lnTo>
                  <a:lnTo>
                    <a:pt x="975" y="173"/>
                  </a:lnTo>
                  <a:lnTo>
                    <a:pt x="906" y="138"/>
                  </a:lnTo>
                  <a:lnTo>
                    <a:pt x="833" y="112"/>
                  </a:lnTo>
                  <a:lnTo>
                    <a:pt x="757" y="98"/>
                  </a:lnTo>
                  <a:lnTo>
                    <a:pt x="678" y="92"/>
                  </a:lnTo>
                  <a:close/>
                  <a:moveTo>
                    <a:pt x="678" y="0"/>
                  </a:moveTo>
                  <a:lnTo>
                    <a:pt x="771" y="6"/>
                  </a:lnTo>
                  <a:lnTo>
                    <a:pt x="859" y="24"/>
                  </a:lnTo>
                  <a:lnTo>
                    <a:pt x="943" y="53"/>
                  </a:lnTo>
                  <a:lnTo>
                    <a:pt x="1020" y="92"/>
                  </a:lnTo>
                  <a:lnTo>
                    <a:pt x="1092" y="142"/>
                  </a:lnTo>
                  <a:lnTo>
                    <a:pt x="1159" y="198"/>
                  </a:lnTo>
                  <a:lnTo>
                    <a:pt x="1216" y="263"/>
                  </a:lnTo>
                  <a:lnTo>
                    <a:pt x="1265" y="336"/>
                  </a:lnTo>
                  <a:lnTo>
                    <a:pt x="1304" y="414"/>
                  </a:lnTo>
                  <a:lnTo>
                    <a:pt x="1333" y="499"/>
                  </a:lnTo>
                  <a:lnTo>
                    <a:pt x="1351" y="587"/>
                  </a:lnTo>
                  <a:lnTo>
                    <a:pt x="1357" y="679"/>
                  </a:lnTo>
                  <a:lnTo>
                    <a:pt x="1351" y="771"/>
                  </a:lnTo>
                  <a:lnTo>
                    <a:pt x="1333" y="860"/>
                  </a:lnTo>
                  <a:lnTo>
                    <a:pt x="1304" y="944"/>
                  </a:lnTo>
                  <a:lnTo>
                    <a:pt x="1265" y="1022"/>
                  </a:lnTo>
                  <a:lnTo>
                    <a:pt x="1216" y="1093"/>
                  </a:lnTo>
                  <a:lnTo>
                    <a:pt x="1159" y="1160"/>
                  </a:lnTo>
                  <a:lnTo>
                    <a:pt x="1092" y="1217"/>
                  </a:lnTo>
                  <a:lnTo>
                    <a:pt x="1020" y="1266"/>
                  </a:lnTo>
                  <a:lnTo>
                    <a:pt x="943" y="1305"/>
                  </a:lnTo>
                  <a:lnTo>
                    <a:pt x="859" y="1334"/>
                  </a:lnTo>
                  <a:lnTo>
                    <a:pt x="771" y="1352"/>
                  </a:lnTo>
                  <a:lnTo>
                    <a:pt x="678" y="1358"/>
                  </a:lnTo>
                  <a:lnTo>
                    <a:pt x="586" y="1352"/>
                  </a:lnTo>
                  <a:lnTo>
                    <a:pt x="498" y="1334"/>
                  </a:lnTo>
                  <a:lnTo>
                    <a:pt x="414" y="1305"/>
                  </a:lnTo>
                  <a:lnTo>
                    <a:pt x="335" y="1266"/>
                  </a:lnTo>
                  <a:lnTo>
                    <a:pt x="263" y="1217"/>
                  </a:lnTo>
                  <a:lnTo>
                    <a:pt x="198" y="1160"/>
                  </a:lnTo>
                  <a:lnTo>
                    <a:pt x="141" y="1093"/>
                  </a:lnTo>
                  <a:lnTo>
                    <a:pt x="92" y="1022"/>
                  </a:lnTo>
                  <a:lnTo>
                    <a:pt x="53" y="944"/>
                  </a:lnTo>
                  <a:lnTo>
                    <a:pt x="23" y="860"/>
                  </a:lnTo>
                  <a:lnTo>
                    <a:pt x="6" y="771"/>
                  </a:lnTo>
                  <a:lnTo>
                    <a:pt x="0" y="679"/>
                  </a:lnTo>
                  <a:lnTo>
                    <a:pt x="6" y="587"/>
                  </a:lnTo>
                  <a:lnTo>
                    <a:pt x="23" y="499"/>
                  </a:lnTo>
                  <a:lnTo>
                    <a:pt x="53" y="414"/>
                  </a:lnTo>
                  <a:lnTo>
                    <a:pt x="92" y="336"/>
                  </a:lnTo>
                  <a:lnTo>
                    <a:pt x="141" y="263"/>
                  </a:lnTo>
                  <a:lnTo>
                    <a:pt x="198" y="198"/>
                  </a:lnTo>
                  <a:lnTo>
                    <a:pt x="263" y="142"/>
                  </a:lnTo>
                  <a:lnTo>
                    <a:pt x="335" y="92"/>
                  </a:lnTo>
                  <a:lnTo>
                    <a:pt x="414" y="53"/>
                  </a:lnTo>
                  <a:lnTo>
                    <a:pt x="498" y="24"/>
                  </a:lnTo>
                  <a:lnTo>
                    <a:pt x="586" y="6"/>
                  </a:lnTo>
                  <a:lnTo>
                    <a:pt x="678" y="0"/>
                  </a:lnTo>
                  <a:close/>
                </a:path>
              </a:pathLst>
            </a:custGeom>
            <a:solidFill>
              <a:schemeClr val="accent5"/>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1610">
              <a:extLst>
                <a:ext uri="{FF2B5EF4-FFF2-40B4-BE49-F238E27FC236}">
                  <a16:creationId xmlns:a16="http://schemas.microsoft.com/office/drawing/2014/main" id="{5C40CCA5-6800-5A44-A2EA-669E7D7A77CE}"/>
                </a:ext>
              </a:extLst>
            </p:cNvPr>
            <p:cNvSpPr>
              <a:spLocks/>
            </p:cNvSpPr>
            <p:nvPr/>
          </p:nvSpPr>
          <p:spPr bwMode="auto">
            <a:xfrm>
              <a:off x="5644254" y="1096348"/>
              <a:ext cx="1071563" cy="1073150"/>
            </a:xfrm>
            <a:custGeom>
              <a:avLst/>
              <a:gdLst>
                <a:gd name="T0" fmla="*/ 675 w 1350"/>
                <a:gd name="T1" fmla="*/ 0 h 1352"/>
                <a:gd name="T2" fmla="*/ 765 w 1350"/>
                <a:gd name="T3" fmla="*/ 8 h 1352"/>
                <a:gd name="T4" fmla="*/ 853 w 1350"/>
                <a:gd name="T5" fmla="*/ 26 h 1352"/>
                <a:gd name="T6" fmla="*/ 938 w 1350"/>
                <a:gd name="T7" fmla="*/ 53 h 1352"/>
                <a:gd name="T8" fmla="*/ 1016 w 1350"/>
                <a:gd name="T9" fmla="*/ 93 h 1352"/>
                <a:gd name="T10" fmla="*/ 1087 w 1350"/>
                <a:gd name="T11" fmla="*/ 142 h 1352"/>
                <a:gd name="T12" fmla="*/ 1152 w 1350"/>
                <a:gd name="T13" fmla="*/ 198 h 1352"/>
                <a:gd name="T14" fmla="*/ 1208 w 1350"/>
                <a:gd name="T15" fmla="*/ 263 h 1352"/>
                <a:gd name="T16" fmla="*/ 1257 w 1350"/>
                <a:gd name="T17" fmla="*/ 336 h 1352"/>
                <a:gd name="T18" fmla="*/ 1297 w 1350"/>
                <a:gd name="T19" fmla="*/ 414 h 1352"/>
                <a:gd name="T20" fmla="*/ 1326 w 1350"/>
                <a:gd name="T21" fmla="*/ 497 h 1352"/>
                <a:gd name="T22" fmla="*/ 1344 w 1350"/>
                <a:gd name="T23" fmla="*/ 585 h 1352"/>
                <a:gd name="T24" fmla="*/ 1350 w 1350"/>
                <a:gd name="T25" fmla="*/ 677 h 1352"/>
                <a:gd name="T26" fmla="*/ 1344 w 1350"/>
                <a:gd name="T27" fmla="*/ 767 h 1352"/>
                <a:gd name="T28" fmla="*/ 1326 w 1350"/>
                <a:gd name="T29" fmla="*/ 856 h 1352"/>
                <a:gd name="T30" fmla="*/ 1297 w 1350"/>
                <a:gd name="T31" fmla="*/ 940 h 1352"/>
                <a:gd name="T32" fmla="*/ 1257 w 1350"/>
                <a:gd name="T33" fmla="*/ 1017 h 1352"/>
                <a:gd name="T34" fmla="*/ 1208 w 1350"/>
                <a:gd name="T35" fmla="*/ 1089 h 1352"/>
                <a:gd name="T36" fmla="*/ 1152 w 1350"/>
                <a:gd name="T37" fmla="*/ 1154 h 1352"/>
                <a:gd name="T38" fmla="*/ 1087 w 1350"/>
                <a:gd name="T39" fmla="*/ 1211 h 1352"/>
                <a:gd name="T40" fmla="*/ 1016 w 1350"/>
                <a:gd name="T41" fmla="*/ 1260 h 1352"/>
                <a:gd name="T42" fmla="*/ 938 w 1350"/>
                <a:gd name="T43" fmla="*/ 1299 h 1352"/>
                <a:gd name="T44" fmla="*/ 853 w 1350"/>
                <a:gd name="T45" fmla="*/ 1328 h 1352"/>
                <a:gd name="T46" fmla="*/ 765 w 1350"/>
                <a:gd name="T47" fmla="*/ 1346 h 1352"/>
                <a:gd name="T48" fmla="*/ 675 w 1350"/>
                <a:gd name="T49" fmla="*/ 1352 h 1352"/>
                <a:gd name="T50" fmla="*/ 583 w 1350"/>
                <a:gd name="T51" fmla="*/ 1346 h 1352"/>
                <a:gd name="T52" fmla="*/ 495 w 1350"/>
                <a:gd name="T53" fmla="*/ 1328 h 1352"/>
                <a:gd name="T54" fmla="*/ 412 w 1350"/>
                <a:gd name="T55" fmla="*/ 1299 h 1352"/>
                <a:gd name="T56" fmla="*/ 334 w 1350"/>
                <a:gd name="T57" fmla="*/ 1260 h 1352"/>
                <a:gd name="T58" fmla="*/ 261 w 1350"/>
                <a:gd name="T59" fmla="*/ 1211 h 1352"/>
                <a:gd name="T60" fmla="*/ 196 w 1350"/>
                <a:gd name="T61" fmla="*/ 1154 h 1352"/>
                <a:gd name="T62" fmla="*/ 140 w 1350"/>
                <a:gd name="T63" fmla="*/ 1089 h 1352"/>
                <a:gd name="T64" fmla="*/ 92 w 1350"/>
                <a:gd name="T65" fmla="*/ 1017 h 1352"/>
                <a:gd name="T66" fmla="*/ 53 w 1350"/>
                <a:gd name="T67" fmla="*/ 940 h 1352"/>
                <a:gd name="T68" fmla="*/ 24 w 1350"/>
                <a:gd name="T69" fmla="*/ 856 h 1352"/>
                <a:gd name="T70" fmla="*/ 6 w 1350"/>
                <a:gd name="T71" fmla="*/ 767 h 1352"/>
                <a:gd name="T72" fmla="*/ 0 w 1350"/>
                <a:gd name="T73" fmla="*/ 677 h 1352"/>
                <a:gd name="T74" fmla="*/ 6 w 1350"/>
                <a:gd name="T75" fmla="*/ 585 h 1352"/>
                <a:gd name="T76" fmla="*/ 24 w 1350"/>
                <a:gd name="T77" fmla="*/ 497 h 1352"/>
                <a:gd name="T78" fmla="*/ 53 w 1350"/>
                <a:gd name="T79" fmla="*/ 414 h 1352"/>
                <a:gd name="T80" fmla="*/ 92 w 1350"/>
                <a:gd name="T81" fmla="*/ 336 h 1352"/>
                <a:gd name="T82" fmla="*/ 140 w 1350"/>
                <a:gd name="T83" fmla="*/ 263 h 1352"/>
                <a:gd name="T84" fmla="*/ 196 w 1350"/>
                <a:gd name="T85" fmla="*/ 198 h 1352"/>
                <a:gd name="T86" fmla="*/ 261 w 1350"/>
                <a:gd name="T87" fmla="*/ 142 h 1352"/>
                <a:gd name="T88" fmla="*/ 334 w 1350"/>
                <a:gd name="T89" fmla="*/ 93 h 1352"/>
                <a:gd name="T90" fmla="*/ 412 w 1350"/>
                <a:gd name="T91" fmla="*/ 53 h 1352"/>
                <a:gd name="T92" fmla="*/ 495 w 1350"/>
                <a:gd name="T93" fmla="*/ 26 h 1352"/>
                <a:gd name="T94" fmla="*/ 583 w 1350"/>
                <a:gd name="T95" fmla="*/ 8 h 1352"/>
                <a:gd name="T96" fmla="*/ 675 w 1350"/>
                <a:gd name="T97" fmla="*/ 0 h 1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0" h="1352">
                  <a:moveTo>
                    <a:pt x="675" y="0"/>
                  </a:moveTo>
                  <a:lnTo>
                    <a:pt x="765" y="8"/>
                  </a:lnTo>
                  <a:lnTo>
                    <a:pt x="853" y="26"/>
                  </a:lnTo>
                  <a:lnTo>
                    <a:pt x="938" y="53"/>
                  </a:lnTo>
                  <a:lnTo>
                    <a:pt x="1016" y="93"/>
                  </a:lnTo>
                  <a:lnTo>
                    <a:pt x="1087" y="142"/>
                  </a:lnTo>
                  <a:lnTo>
                    <a:pt x="1152" y="198"/>
                  </a:lnTo>
                  <a:lnTo>
                    <a:pt x="1208" y="263"/>
                  </a:lnTo>
                  <a:lnTo>
                    <a:pt x="1257" y="336"/>
                  </a:lnTo>
                  <a:lnTo>
                    <a:pt x="1297" y="414"/>
                  </a:lnTo>
                  <a:lnTo>
                    <a:pt x="1326" y="497"/>
                  </a:lnTo>
                  <a:lnTo>
                    <a:pt x="1344" y="585"/>
                  </a:lnTo>
                  <a:lnTo>
                    <a:pt x="1350" y="677"/>
                  </a:lnTo>
                  <a:lnTo>
                    <a:pt x="1344" y="767"/>
                  </a:lnTo>
                  <a:lnTo>
                    <a:pt x="1326" y="856"/>
                  </a:lnTo>
                  <a:lnTo>
                    <a:pt x="1297" y="940"/>
                  </a:lnTo>
                  <a:lnTo>
                    <a:pt x="1257" y="1017"/>
                  </a:lnTo>
                  <a:lnTo>
                    <a:pt x="1208" y="1089"/>
                  </a:lnTo>
                  <a:lnTo>
                    <a:pt x="1152" y="1154"/>
                  </a:lnTo>
                  <a:lnTo>
                    <a:pt x="1087" y="1211"/>
                  </a:lnTo>
                  <a:lnTo>
                    <a:pt x="1016" y="1260"/>
                  </a:lnTo>
                  <a:lnTo>
                    <a:pt x="938" y="1299"/>
                  </a:lnTo>
                  <a:lnTo>
                    <a:pt x="853" y="1328"/>
                  </a:lnTo>
                  <a:lnTo>
                    <a:pt x="765" y="1346"/>
                  </a:lnTo>
                  <a:lnTo>
                    <a:pt x="675" y="1352"/>
                  </a:lnTo>
                  <a:lnTo>
                    <a:pt x="583" y="1346"/>
                  </a:lnTo>
                  <a:lnTo>
                    <a:pt x="495" y="1328"/>
                  </a:lnTo>
                  <a:lnTo>
                    <a:pt x="412" y="1299"/>
                  </a:lnTo>
                  <a:lnTo>
                    <a:pt x="334" y="1260"/>
                  </a:lnTo>
                  <a:lnTo>
                    <a:pt x="261" y="1211"/>
                  </a:lnTo>
                  <a:lnTo>
                    <a:pt x="196" y="1154"/>
                  </a:lnTo>
                  <a:lnTo>
                    <a:pt x="140" y="1089"/>
                  </a:lnTo>
                  <a:lnTo>
                    <a:pt x="92" y="1017"/>
                  </a:lnTo>
                  <a:lnTo>
                    <a:pt x="53" y="940"/>
                  </a:lnTo>
                  <a:lnTo>
                    <a:pt x="24" y="856"/>
                  </a:lnTo>
                  <a:lnTo>
                    <a:pt x="6" y="767"/>
                  </a:lnTo>
                  <a:lnTo>
                    <a:pt x="0" y="677"/>
                  </a:lnTo>
                  <a:lnTo>
                    <a:pt x="6" y="585"/>
                  </a:lnTo>
                  <a:lnTo>
                    <a:pt x="24" y="497"/>
                  </a:lnTo>
                  <a:lnTo>
                    <a:pt x="53" y="414"/>
                  </a:lnTo>
                  <a:lnTo>
                    <a:pt x="92" y="336"/>
                  </a:lnTo>
                  <a:lnTo>
                    <a:pt x="140" y="263"/>
                  </a:lnTo>
                  <a:lnTo>
                    <a:pt x="196" y="198"/>
                  </a:lnTo>
                  <a:lnTo>
                    <a:pt x="261" y="142"/>
                  </a:lnTo>
                  <a:lnTo>
                    <a:pt x="334" y="93"/>
                  </a:lnTo>
                  <a:lnTo>
                    <a:pt x="412" y="53"/>
                  </a:lnTo>
                  <a:lnTo>
                    <a:pt x="495" y="26"/>
                  </a:lnTo>
                  <a:lnTo>
                    <a:pt x="583" y="8"/>
                  </a:lnTo>
                  <a:lnTo>
                    <a:pt x="675" y="0"/>
                  </a:lnTo>
                  <a:close/>
                </a:path>
              </a:pathLst>
            </a:custGeom>
            <a:solidFill>
              <a:schemeClr val="accent1">
                <a:lumMod val="60000"/>
                <a:lumOff val="40000"/>
              </a:schemeClr>
            </a:solidFill>
            <a:ln w="0">
              <a:solidFill>
                <a:srgbClr val="96FF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1611">
              <a:extLst>
                <a:ext uri="{FF2B5EF4-FFF2-40B4-BE49-F238E27FC236}">
                  <a16:creationId xmlns:a16="http://schemas.microsoft.com/office/drawing/2014/main" id="{97C531E8-DBC7-DB46-908C-8D3238F8D363}"/>
                </a:ext>
              </a:extLst>
            </p:cNvPr>
            <p:cNvSpPr>
              <a:spLocks noEditPoints="1"/>
            </p:cNvSpPr>
            <p:nvPr/>
          </p:nvSpPr>
          <p:spPr bwMode="auto">
            <a:xfrm>
              <a:off x="5609329" y="1061423"/>
              <a:ext cx="1143000" cy="1144587"/>
            </a:xfrm>
            <a:custGeom>
              <a:avLst/>
              <a:gdLst>
                <a:gd name="T0" fmla="*/ 581 w 1442"/>
                <a:gd name="T1" fmla="*/ 79 h 1442"/>
                <a:gd name="T2" fmla="*/ 465 w 1442"/>
                <a:gd name="T3" fmla="*/ 116 h 1442"/>
                <a:gd name="T4" fmla="*/ 347 w 1442"/>
                <a:gd name="T5" fmla="*/ 179 h 1442"/>
                <a:gd name="T6" fmla="*/ 212 w 1442"/>
                <a:gd name="T7" fmla="*/ 304 h 1442"/>
                <a:gd name="T8" fmla="*/ 143 w 1442"/>
                <a:gd name="T9" fmla="*/ 404 h 1442"/>
                <a:gd name="T10" fmla="*/ 79 w 1442"/>
                <a:gd name="T11" fmla="*/ 581 h 1442"/>
                <a:gd name="T12" fmla="*/ 65 w 1442"/>
                <a:gd name="T13" fmla="*/ 720 h 1442"/>
                <a:gd name="T14" fmla="*/ 79 w 1442"/>
                <a:gd name="T15" fmla="*/ 859 h 1442"/>
                <a:gd name="T16" fmla="*/ 143 w 1442"/>
                <a:gd name="T17" fmla="*/ 1036 h 1442"/>
                <a:gd name="T18" fmla="*/ 212 w 1442"/>
                <a:gd name="T19" fmla="*/ 1136 h 1442"/>
                <a:gd name="T20" fmla="*/ 347 w 1442"/>
                <a:gd name="T21" fmla="*/ 1262 h 1442"/>
                <a:gd name="T22" fmla="*/ 465 w 1442"/>
                <a:gd name="T23" fmla="*/ 1324 h 1442"/>
                <a:gd name="T24" fmla="*/ 581 w 1442"/>
                <a:gd name="T25" fmla="*/ 1362 h 1442"/>
                <a:gd name="T26" fmla="*/ 791 w 1442"/>
                <a:gd name="T27" fmla="*/ 1373 h 1442"/>
                <a:gd name="T28" fmla="*/ 912 w 1442"/>
                <a:gd name="T29" fmla="*/ 1348 h 1442"/>
                <a:gd name="T30" fmla="*/ 1093 w 1442"/>
                <a:gd name="T31" fmla="*/ 1262 h 1442"/>
                <a:gd name="T32" fmla="*/ 1185 w 1442"/>
                <a:gd name="T33" fmla="*/ 1185 h 1442"/>
                <a:gd name="T34" fmla="*/ 1261 w 1442"/>
                <a:gd name="T35" fmla="*/ 1093 h 1442"/>
                <a:gd name="T36" fmla="*/ 1348 w 1442"/>
                <a:gd name="T37" fmla="*/ 912 h 1442"/>
                <a:gd name="T38" fmla="*/ 1373 w 1442"/>
                <a:gd name="T39" fmla="*/ 791 h 1442"/>
                <a:gd name="T40" fmla="*/ 1361 w 1442"/>
                <a:gd name="T41" fmla="*/ 581 h 1442"/>
                <a:gd name="T42" fmla="*/ 1324 w 1442"/>
                <a:gd name="T43" fmla="*/ 465 h 1442"/>
                <a:gd name="T44" fmla="*/ 1261 w 1442"/>
                <a:gd name="T45" fmla="*/ 347 h 1442"/>
                <a:gd name="T46" fmla="*/ 1136 w 1442"/>
                <a:gd name="T47" fmla="*/ 212 h 1442"/>
                <a:gd name="T48" fmla="*/ 1036 w 1442"/>
                <a:gd name="T49" fmla="*/ 143 h 1442"/>
                <a:gd name="T50" fmla="*/ 859 w 1442"/>
                <a:gd name="T51" fmla="*/ 79 h 1442"/>
                <a:gd name="T52" fmla="*/ 720 w 1442"/>
                <a:gd name="T53" fmla="*/ 65 h 1442"/>
                <a:gd name="T54" fmla="*/ 859 w 1442"/>
                <a:gd name="T55" fmla="*/ 14 h 1442"/>
                <a:gd name="T56" fmla="*/ 1000 w 1442"/>
                <a:gd name="T57" fmla="*/ 57 h 1442"/>
                <a:gd name="T58" fmla="*/ 1128 w 1442"/>
                <a:gd name="T59" fmla="*/ 126 h 1442"/>
                <a:gd name="T60" fmla="*/ 1273 w 1442"/>
                <a:gd name="T61" fmla="*/ 259 h 1442"/>
                <a:gd name="T62" fmla="*/ 1355 w 1442"/>
                <a:gd name="T63" fmla="*/ 379 h 1442"/>
                <a:gd name="T64" fmla="*/ 1424 w 1442"/>
                <a:gd name="T65" fmla="*/ 569 h 1442"/>
                <a:gd name="T66" fmla="*/ 1442 w 1442"/>
                <a:gd name="T67" fmla="*/ 720 h 1442"/>
                <a:gd name="T68" fmla="*/ 1424 w 1442"/>
                <a:gd name="T69" fmla="*/ 871 h 1442"/>
                <a:gd name="T70" fmla="*/ 1355 w 1442"/>
                <a:gd name="T71" fmla="*/ 1062 h 1442"/>
                <a:gd name="T72" fmla="*/ 1273 w 1442"/>
                <a:gd name="T73" fmla="*/ 1181 h 1442"/>
                <a:gd name="T74" fmla="*/ 1128 w 1442"/>
                <a:gd name="T75" fmla="*/ 1315 h 1442"/>
                <a:gd name="T76" fmla="*/ 1000 w 1442"/>
                <a:gd name="T77" fmla="*/ 1383 h 1442"/>
                <a:gd name="T78" fmla="*/ 859 w 1442"/>
                <a:gd name="T79" fmla="*/ 1426 h 1442"/>
                <a:gd name="T80" fmla="*/ 649 w 1442"/>
                <a:gd name="T81" fmla="*/ 1438 h 1442"/>
                <a:gd name="T82" fmla="*/ 502 w 1442"/>
                <a:gd name="T83" fmla="*/ 1407 h 1442"/>
                <a:gd name="T84" fmla="*/ 322 w 1442"/>
                <a:gd name="T85" fmla="*/ 1320 h 1442"/>
                <a:gd name="T86" fmla="*/ 210 w 1442"/>
                <a:gd name="T87" fmla="*/ 1230 h 1442"/>
                <a:gd name="T88" fmla="*/ 120 w 1442"/>
                <a:gd name="T89" fmla="*/ 1118 h 1442"/>
                <a:gd name="T90" fmla="*/ 34 w 1442"/>
                <a:gd name="T91" fmla="*/ 938 h 1442"/>
                <a:gd name="T92" fmla="*/ 2 w 1442"/>
                <a:gd name="T93" fmla="*/ 791 h 1442"/>
                <a:gd name="T94" fmla="*/ 14 w 1442"/>
                <a:gd name="T95" fmla="*/ 581 h 1442"/>
                <a:gd name="T96" fmla="*/ 57 w 1442"/>
                <a:gd name="T97" fmla="*/ 440 h 1442"/>
                <a:gd name="T98" fmla="*/ 126 w 1442"/>
                <a:gd name="T99" fmla="*/ 312 h 1442"/>
                <a:gd name="T100" fmla="*/ 259 w 1442"/>
                <a:gd name="T101" fmla="*/ 167 h 1442"/>
                <a:gd name="T102" fmla="*/ 379 w 1442"/>
                <a:gd name="T103" fmla="*/ 85 h 1442"/>
                <a:gd name="T104" fmla="*/ 569 w 1442"/>
                <a:gd name="T105" fmla="*/ 16 h 1442"/>
                <a:gd name="T106" fmla="*/ 720 w 1442"/>
                <a:gd name="T107"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0" y="65"/>
                  </a:moveTo>
                  <a:lnTo>
                    <a:pt x="649" y="67"/>
                  </a:lnTo>
                  <a:lnTo>
                    <a:pt x="581" y="79"/>
                  </a:lnTo>
                  <a:lnTo>
                    <a:pt x="581" y="79"/>
                  </a:lnTo>
                  <a:lnTo>
                    <a:pt x="528" y="92"/>
                  </a:lnTo>
                  <a:lnTo>
                    <a:pt x="465" y="116"/>
                  </a:lnTo>
                  <a:lnTo>
                    <a:pt x="404" y="143"/>
                  </a:lnTo>
                  <a:lnTo>
                    <a:pt x="347" y="179"/>
                  </a:lnTo>
                  <a:lnTo>
                    <a:pt x="347" y="179"/>
                  </a:lnTo>
                  <a:lnTo>
                    <a:pt x="304" y="212"/>
                  </a:lnTo>
                  <a:lnTo>
                    <a:pt x="255" y="255"/>
                  </a:lnTo>
                  <a:lnTo>
                    <a:pt x="212" y="304"/>
                  </a:lnTo>
                  <a:lnTo>
                    <a:pt x="179" y="347"/>
                  </a:lnTo>
                  <a:lnTo>
                    <a:pt x="179" y="347"/>
                  </a:lnTo>
                  <a:lnTo>
                    <a:pt x="143" y="404"/>
                  </a:lnTo>
                  <a:lnTo>
                    <a:pt x="116" y="465"/>
                  </a:lnTo>
                  <a:lnTo>
                    <a:pt x="92" y="528"/>
                  </a:lnTo>
                  <a:lnTo>
                    <a:pt x="79" y="581"/>
                  </a:lnTo>
                  <a:lnTo>
                    <a:pt x="79" y="581"/>
                  </a:lnTo>
                  <a:lnTo>
                    <a:pt x="67" y="650"/>
                  </a:lnTo>
                  <a:lnTo>
                    <a:pt x="65" y="720"/>
                  </a:lnTo>
                  <a:lnTo>
                    <a:pt x="67" y="791"/>
                  </a:lnTo>
                  <a:lnTo>
                    <a:pt x="79" y="859"/>
                  </a:lnTo>
                  <a:lnTo>
                    <a:pt x="79" y="859"/>
                  </a:lnTo>
                  <a:lnTo>
                    <a:pt x="92" y="912"/>
                  </a:lnTo>
                  <a:lnTo>
                    <a:pt x="116" y="975"/>
                  </a:lnTo>
                  <a:lnTo>
                    <a:pt x="143" y="1036"/>
                  </a:lnTo>
                  <a:lnTo>
                    <a:pt x="179" y="1093"/>
                  </a:lnTo>
                  <a:lnTo>
                    <a:pt x="179" y="1093"/>
                  </a:lnTo>
                  <a:lnTo>
                    <a:pt x="212" y="1136"/>
                  </a:lnTo>
                  <a:lnTo>
                    <a:pt x="255" y="1185"/>
                  </a:lnTo>
                  <a:lnTo>
                    <a:pt x="304" y="1228"/>
                  </a:lnTo>
                  <a:lnTo>
                    <a:pt x="347" y="1262"/>
                  </a:lnTo>
                  <a:lnTo>
                    <a:pt x="347" y="1262"/>
                  </a:lnTo>
                  <a:lnTo>
                    <a:pt x="404" y="1297"/>
                  </a:lnTo>
                  <a:lnTo>
                    <a:pt x="465" y="1324"/>
                  </a:lnTo>
                  <a:lnTo>
                    <a:pt x="528" y="1348"/>
                  </a:lnTo>
                  <a:lnTo>
                    <a:pt x="581" y="1362"/>
                  </a:lnTo>
                  <a:lnTo>
                    <a:pt x="581" y="1362"/>
                  </a:lnTo>
                  <a:lnTo>
                    <a:pt x="649" y="1373"/>
                  </a:lnTo>
                  <a:lnTo>
                    <a:pt x="720" y="1377"/>
                  </a:lnTo>
                  <a:lnTo>
                    <a:pt x="791" y="1373"/>
                  </a:lnTo>
                  <a:lnTo>
                    <a:pt x="859" y="1362"/>
                  </a:lnTo>
                  <a:lnTo>
                    <a:pt x="859" y="1362"/>
                  </a:lnTo>
                  <a:lnTo>
                    <a:pt x="912" y="1348"/>
                  </a:lnTo>
                  <a:lnTo>
                    <a:pt x="975" y="1324"/>
                  </a:lnTo>
                  <a:lnTo>
                    <a:pt x="1036" y="1297"/>
                  </a:lnTo>
                  <a:lnTo>
                    <a:pt x="1093" y="1262"/>
                  </a:lnTo>
                  <a:lnTo>
                    <a:pt x="1093" y="1262"/>
                  </a:lnTo>
                  <a:lnTo>
                    <a:pt x="1136" y="1228"/>
                  </a:lnTo>
                  <a:lnTo>
                    <a:pt x="1185" y="1185"/>
                  </a:lnTo>
                  <a:lnTo>
                    <a:pt x="1228" y="1136"/>
                  </a:lnTo>
                  <a:lnTo>
                    <a:pt x="1261" y="1093"/>
                  </a:lnTo>
                  <a:lnTo>
                    <a:pt x="1261" y="1093"/>
                  </a:lnTo>
                  <a:lnTo>
                    <a:pt x="1297" y="1036"/>
                  </a:lnTo>
                  <a:lnTo>
                    <a:pt x="1324" y="975"/>
                  </a:lnTo>
                  <a:lnTo>
                    <a:pt x="1348" y="912"/>
                  </a:lnTo>
                  <a:lnTo>
                    <a:pt x="1361" y="859"/>
                  </a:lnTo>
                  <a:lnTo>
                    <a:pt x="1361" y="859"/>
                  </a:lnTo>
                  <a:lnTo>
                    <a:pt x="1373" y="791"/>
                  </a:lnTo>
                  <a:lnTo>
                    <a:pt x="1377" y="720"/>
                  </a:lnTo>
                  <a:lnTo>
                    <a:pt x="1373" y="650"/>
                  </a:lnTo>
                  <a:lnTo>
                    <a:pt x="1361" y="581"/>
                  </a:lnTo>
                  <a:lnTo>
                    <a:pt x="1361" y="581"/>
                  </a:lnTo>
                  <a:lnTo>
                    <a:pt x="1348" y="528"/>
                  </a:lnTo>
                  <a:lnTo>
                    <a:pt x="1324" y="465"/>
                  </a:lnTo>
                  <a:lnTo>
                    <a:pt x="1297" y="404"/>
                  </a:lnTo>
                  <a:lnTo>
                    <a:pt x="1261" y="347"/>
                  </a:lnTo>
                  <a:lnTo>
                    <a:pt x="1261" y="347"/>
                  </a:lnTo>
                  <a:lnTo>
                    <a:pt x="1228" y="304"/>
                  </a:lnTo>
                  <a:lnTo>
                    <a:pt x="1185" y="255"/>
                  </a:lnTo>
                  <a:lnTo>
                    <a:pt x="1136" y="212"/>
                  </a:lnTo>
                  <a:lnTo>
                    <a:pt x="1093" y="179"/>
                  </a:lnTo>
                  <a:lnTo>
                    <a:pt x="1093" y="179"/>
                  </a:lnTo>
                  <a:lnTo>
                    <a:pt x="1036" y="143"/>
                  </a:lnTo>
                  <a:lnTo>
                    <a:pt x="975" y="116"/>
                  </a:lnTo>
                  <a:lnTo>
                    <a:pt x="912" y="92"/>
                  </a:lnTo>
                  <a:lnTo>
                    <a:pt x="859" y="79"/>
                  </a:lnTo>
                  <a:lnTo>
                    <a:pt x="859" y="79"/>
                  </a:lnTo>
                  <a:lnTo>
                    <a:pt x="791" y="67"/>
                  </a:lnTo>
                  <a:lnTo>
                    <a:pt x="720" y="65"/>
                  </a:lnTo>
                  <a:close/>
                  <a:moveTo>
                    <a:pt x="720" y="0"/>
                  </a:moveTo>
                  <a:lnTo>
                    <a:pt x="791" y="2"/>
                  </a:lnTo>
                  <a:lnTo>
                    <a:pt x="859" y="14"/>
                  </a:lnTo>
                  <a:lnTo>
                    <a:pt x="871" y="16"/>
                  </a:lnTo>
                  <a:lnTo>
                    <a:pt x="938" y="34"/>
                  </a:lnTo>
                  <a:lnTo>
                    <a:pt x="1000" y="57"/>
                  </a:lnTo>
                  <a:lnTo>
                    <a:pt x="1061" y="85"/>
                  </a:lnTo>
                  <a:lnTo>
                    <a:pt x="1118" y="120"/>
                  </a:lnTo>
                  <a:lnTo>
                    <a:pt x="1128" y="126"/>
                  </a:lnTo>
                  <a:lnTo>
                    <a:pt x="1181" y="167"/>
                  </a:lnTo>
                  <a:lnTo>
                    <a:pt x="1230" y="210"/>
                  </a:lnTo>
                  <a:lnTo>
                    <a:pt x="1273" y="259"/>
                  </a:lnTo>
                  <a:lnTo>
                    <a:pt x="1314" y="312"/>
                  </a:lnTo>
                  <a:lnTo>
                    <a:pt x="1320" y="322"/>
                  </a:lnTo>
                  <a:lnTo>
                    <a:pt x="1355" y="379"/>
                  </a:lnTo>
                  <a:lnTo>
                    <a:pt x="1383" y="440"/>
                  </a:lnTo>
                  <a:lnTo>
                    <a:pt x="1406" y="502"/>
                  </a:lnTo>
                  <a:lnTo>
                    <a:pt x="1424" y="569"/>
                  </a:lnTo>
                  <a:lnTo>
                    <a:pt x="1426" y="581"/>
                  </a:lnTo>
                  <a:lnTo>
                    <a:pt x="1438" y="650"/>
                  </a:lnTo>
                  <a:lnTo>
                    <a:pt x="1442" y="720"/>
                  </a:lnTo>
                  <a:lnTo>
                    <a:pt x="1438" y="791"/>
                  </a:lnTo>
                  <a:lnTo>
                    <a:pt x="1426" y="859"/>
                  </a:lnTo>
                  <a:lnTo>
                    <a:pt x="1424" y="871"/>
                  </a:lnTo>
                  <a:lnTo>
                    <a:pt x="1406" y="938"/>
                  </a:lnTo>
                  <a:lnTo>
                    <a:pt x="1383" y="1001"/>
                  </a:lnTo>
                  <a:lnTo>
                    <a:pt x="1355" y="1062"/>
                  </a:lnTo>
                  <a:lnTo>
                    <a:pt x="1320" y="1118"/>
                  </a:lnTo>
                  <a:lnTo>
                    <a:pt x="1314" y="1128"/>
                  </a:lnTo>
                  <a:lnTo>
                    <a:pt x="1273" y="1181"/>
                  </a:lnTo>
                  <a:lnTo>
                    <a:pt x="1230" y="1230"/>
                  </a:lnTo>
                  <a:lnTo>
                    <a:pt x="1181" y="1273"/>
                  </a:lnTo>
                  <a:lnTo>
                    <a:pt x="1128" y="1315"/>
                  </a:lnTo>
                  <a:lnTo>
                    <a:pt x="1118" y="1320"/>
                  </a:lnTo>
                  <a:lnTo>
                    <a:pt x="1061" y="1356"/>
                  </a:lnTo>
                  <a:lnTo>
                    <a:pt x="1000" y="1383"/>
                  </a:lnTo>
                  <a:lnTo>
                    <a:pt x="938" y="1407"/>
                  </a:lnTo>
                  <a:lnTo>
                    <a:pt x="871" y="1424"/>
                  </a:lnTo>
                  <a:lnTo>
                    <a:pt x="859" y="1426"/>
                  </a:lnTo>
                  <a:lnTo>
                    <a:pt x="791" y="1438"/>
                  </a:lnTo>
                  <a:lnTo>
                    <a:pt x="720" y="1442"/>
                  </a:lnTo>
                  <a:lnTo>
                    <a:pt x="649" y="1438"/>
                  </a:lnTo>
                  <a:lnTo>
                    <a:pt x="581" y="1426"/>
                  </a:lnTo>
                  <a:lnTo>
                    <a:pt x="569" y="1424"/>
                  </a:lnTo>
                  <a:lnTo>
                    <a:pt x="502" y="1407"/>
                  </a:lnTo>
                  <a:lnTo>
                    <a:pt x="440" y="1383"/>
                  </a:lnTo>
                  <a:lnTo>
                    <a:pt x="379" y="1356"/>
                  </a:lnTo>
                  <a:lnTo>
                    <a:pt x="322" y="1320"/>
                  </a:lnTo>
                  <a:lnTo>
                    <a:pt x="312" y="1315"/>
                  </a:lnTo>
                  <a:lnTo>
                    <a:pt x="259" y="1273"/>
                  </a:lnTo>
                  <a:lnTo>
                    <a:pt x="210" y="1230"/>
                  </a:lnTo>
                  <a:lnTo>
                    <a:pt x="167" y="1181"/>
                  </a:lnTo>
                  <a:lnTo>
                    <a:pt x="126" y="1128"/>
                  </a:lnTo>
                  <a:lnTo>
                    <a:pt x="120" y="1118"/>
                  </a:lnTo>
                  <a:lnTo>
                    <a:pt x="85" y="1062"/>
                  </a:lnTo>
                  <a:lnTo>
                    <a:pt x="57" y="1001"/>
                  </a:lnTo>
                  <a:lnTo>
                    <a:pt x="34" y="938"/>
                  </a:lnTo>
                  <a:lnTo>
                    <a:pt x="16" y="871"/>
                  </a:lnTo>
                  <a:lnTo>
                    <a:pt x="14" y="859"/>
                  </a:lnTo>
                  <a:lnTo>
                    <a:pt x="2" y="791"/>
                  </a:lnTo>
                  <a:lnTo>
                    <a:pt x="0" y="720"/>
                  </a:lnTo>
                  <a:lnTo>
                    <a:pt x="2" y="650"/>
                  </a:lnTo>
                  <a:lnTo>
                    <a:pt x="14" y="581"/>
                  </a:lnTo>
                  <a:lnTo>
                    <a:pt x="16" y="569"/>
                  </a:lnTo>
                  <a:lnTo>
                    <a:pt x="34" y="502"/>
                  </a:lnTo>
                  <a:lnTo>
                    <a:pt x="57" y="440"/>
                  </a:lnTo>
                  <a:lnTo>
                    <a:pt x="85" y="379"/>
                  </a:lnTo>
                  <a:lnTo>
                    <a:pt x="120" y="322"/>
                  </a:lnTo>
                  <a:lnTo>
                    <a:pt x="126" y="312"/>
                  </a:lnTo>
                  <a:lnTo>
                    <a:pt x="167" y="259"/>
                  </a:lnTo>
                  <a:lnTo>
                    <a:pt x="210" y="210"/>
                  </a:lnTo>
                  <a:lnTo>
                    <a:pt x="259" y="167"/>
                  </a:lnTo>
                  <a:lnTo>
                    <a:pt x="312" y="126"/>
                  </a:lnTo>
                  <a:lnTo>
                    <a:pt x="322" y="120"/>
                  </a:lnTo>
                  <a:lnTo>
                    <a:pt x="379" y="85"/>
                  </a:lnTo>
                  <a:lnTo>
                    <a:pt x="440" y="57"/>
                  </a:lnTo>
                  <a:lnTo>
                    <a:pt x="502" y="34"/>
                  </a:lnTo>
                  <a:lnTo>
                    <a:pt x="569" y="16"/>
                  </a:lnTo>
                  <a:lnTo>
                    <a:pt x="581" y="14"/>
                  </a:lnTo>
                  <a:lnTo>
                    <a:pt x="649" y="2"/>
                  </a:lnTo>
                  <a:lnTo>
                    <a:pt x="720" y="0"/>
                  </a:lnTo>
                  <a:close/>
                </a:path>
              </a:pathLst>
            </a:custGeom>
            <a:solidFill>
              <a:schemeClr val="accent1">
                <a:lumMod val="50000"/>
              </a:schemeClr>
            </a:solidFill>
            <a:ln w="0">
              <a:solidFill>
                <a:srgbClr val="6DD5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1612">
              <a:extLst>
                <a:ext uri="{FF2B5EF4-FFF2-40B4-BE49-F238E27FC236}">
                  <a16:creationId xmlns:a16="http://schemas.microsoft.com/office/drawing/2014/main" id="{E1912C9E-19EA-4F41-AD89-C1E59B830B72}"/>
                </a:ext>
              </a:extLst>
            </p:cNvPr>
            <p:cNvSpPr>
              <a:spLocks/>
            </p:cNvSpPr>
            <p:nvPr/>
          </p:nvSpPr>
          <p:spPr bwMode="auto">
            <a:xfrm>
              <a:off x="4093267" y="4404698"/>
              <a:ext cx="1358900" cy="1358900"/>
            </a:xfrm>
            <a:custGeom>
              <a:avLst/>
              <a:gdLst>
                <a:gd name="T0" fmla="*/ 855 w 1710"/>
                <a:gd name="T1" fmla="*/ 0 h 1713"/>
                <a:gd name="T2" fmla="*/ 955 w 1710"/>
                <a:gd name="T3" fmla="*/ 6 h 1713"/>
                <a:gd name="T4" fmla="*/ 1051 w 1710"/>
                <a:gd name="T5" fmla="*/ 24 h 1713"/>
                <a:gd name="T6" fmla="*/ 1143 w 1710"/>
                <a:gd name="T7" fmla="*/ 51 h 1713"/>
                <a:gd name="T8" fmla="*/ 1232 w 1710"/>
                <a:gd name="T9" fmla="*/ 88 h 1713"/>
                <a:gd name="T10" fmla="*/ 1314 w 1710"/>
                <a:gd name="T11" fmla="*/ 134 h 1713"/>
                <a:gd name="T12" fmla="*/ 1390 w 1710"/>
                <a:gd name="T13" fmla="*/ 189 h 1713"/>
                <a:gd name="T14" fmla="*/ 1461 w 1710"/>
                <a:gd name="T15" fmla="*/ 251 h 1713"/>
                <a:gd name="T16" fmla="*/ 1522 w 1710"/>
                <a:gd name="T17" fmla="*/ 322 h 1713"/>
                <a:gd name="T18" fmla="*/ 1577 w 1710"/>
                <a:gd name="T19" fmla="*/ 398 h 1713"/>
                <a:gd name="T20" fmla="*/ 1624 w 1710"/>
                <a:gd name="T21" fmla="*/ 481 h 1713"/>
                <a:gd name="T22" fmla="*/ 1661 w 1710"/>
                <a:gd name="T23" fmla="*/ 567 h 1713"/>
                <a:gd name="T24" fmla="*/ 1688 w 1710"/>
                <a:gd name="T25" fmla="*/ 659 h 1713"/>
                <a:gd name="T26" fmla="*/ 1704 w 1710"/>
                <a:gd name="T27" fmla="*/ 757 h 1713"/>
                <a:gd name="T28" fmla="*/ 1710 w 1710"/>
                <a:gd name="T29" fmla="*/ 856 h 1713"/>
                <a:gd name="T30" fmla="*/ 1704 w 1710"/>
                <a:gd name="T31" fmla="*/ 956 h 1713"/>
                <a:gd name="T32" fmla="*/ 1688 w 1710"/>
                <a:gd name="T33" fmla="*/ 1052 h 1713"/>
                <a:gd name="T34" fmla="*/ 1661 w 1710"/>
                <a:gd name="T35" fmla="*/ 1146 h 1713"/>
                <a:gd name="T36" fmla="*/ 1624 w 1710"/>
                <a:gd name="T37" fmla="*/ 1232 h 1713"/>
                <a:gd name="T38" fmla="*/ 1577 w 1710"/>
                <a:gd name="T39" fmla="*/ 1315 h 1713"/>
                <a:gd name="T40" fmla="*/ 1522 w 1710"/>
                <a:gd name="T41" fmla="*/ 1391 h 1713"/>
                <a:gd name="T42" fmla="*/ 1461 w 1710"/>
                <a:gd name="T43" fmla="*/ 1462 h 1713"/>
                <a:gd name="T44" fmla="*/ 1390 w 1710"/>
                <a:gd name="T45" fmla="*/ 1525 h 1713"/>
                <a:gd name="T46" fmla="*/ 1314 w 1710"/>
                <a:gd name="T47" fmla="*/ 1579 h 1713"/>
                <a:gd name="T48" fmla="*/ 1232 w 1710"/>
                <a:gd name="T49" fmla="*/ 1625 h 1713"/>
                <a:gd name="T50" fmla="*/ 1143 w 1710"/>
                <a:gd name="T51" fmla="*/ 1662 h 1713"/>
                <a:gd name="T52" fmla="*/ 1051 w 1710"/>
                <a:gd name="T53" fmla="*/ 1689 h 1713"/>
                <a:gd name="T54" fmla="*/ 955 w 1710"/>
                <a:gd name="T55" fmla="*/ 1707 h 1713"/>
                <a:gd name="T56" fmla="*/ 855 w 1710"/>
                <a:gd name="T57" fmla="*/ 1713 h 1713"/>
                <a:gd name="T58" fmla="*/ 755 w 1710"/>
                <a:gd name="T59" fmla="*/ 1707 h 1713"/>
                <a:gd name="T60" fmla="*/ 659 w 1710"/>
                <a:gd name="T61" fmla="*/ 1689 h 1713"/>
                <a:gd name="T62" fmla="*/ 567 w 1710"/>
                <a:gd name="T63" fmla="*/ 1662 h 1713"/>
                <a:gd name="T64" fmla="*/ 478 w 1710"/>
                <a:gd name="T65" fmla="*/ 1625 h 1713"/>
                <a:gd name="T66" fmla="*/ 396 w 1710"/>
                <a:gd name="T67" fmla="*/ 1579 h 1713"/>
                <a:gd name="T68" fmla="*/ 320 w 1710"/>
                <a:gd name="T69" fmla="*/ 1525 h 1713"/>
                <a:gd name="T70" fmla="*/ 251 w 1710"/>
                <a:gd name="T71" fmla="*/ 1462 h 1713"/>
                <a:gd name="T72" fmla="*/ 188 w 1710"/>
                <a:gd name="T73" fmla="*/ 1391 h 1713"/>
                <a:gd name="T74" fmla="*/ 133 w 1710"/>
                <a:gd name="T75" fmla="*/ 1315 h 1713"/>
                <a:gd name="T76" fmla="*/ 86 w 1710"/>
                <a:gd name="T77" fmla="*/ 1232 h 1713"/>
                <a:gd name="T78" fmla="*/ 51 w 1710"/>
                <a:gd name="T79" fmla="*/ 1146 h 1713"/>
                <a:gd name="T80" fmla="*/ 23 w 1710"/>
                <a:gd name="T81" fmla="*/ 1052 h 1713"/>
                <a:gd name="T82" fmla="*/ 6 w 1710"/>
                <a:gd name="T83" fmla="*/ 956 h 1713"/>
                <a:gd name="T84" fmla="*/ 0 w 1710"/>
                <a:gd name="T85" fmla="*/ 856 h 1713"/>
                <a:gd name="T86" fmla="*/ 6 w 1710"/>
                <a:gd name="T87" fmla="*/ 757 h 1713"/>
                <a:gd name="T88" fmla="*/ 23 w 1710"/>
                <a:gd name="T89" fmla="*/ 659 h 1713"/>
                <a:gd name="T90" fmla="*/ 51 w 1710"/>
                <a:gd name="T91" fmla="*/ 567 h 1713"/>
                <a:gd name="T92" fmla="*/ 86 w 1710"/>
                <a:gd name="T93" fmla="*/ 481 h 1713"/>
                <a:gd name="T94" fmla="*/ 133 w 1710"/>
                <a:gd name="T95" fmla="*/ 398 h 1713"/>
                <a:gd name="T96" fmla="*/ 188 w 1710"/>
                <a:gd name="T97" fmla="*/ 322 h 1713"/>
                <a:gd name="T98" fmla="*/ 251 w 1710"/>
                <a:gd name="T99" fmla="*/ 251 h 1713"/>
                <a:gd name="T100" fmla="*/ 320 w 1710"/>
                <a:gd name="T101" fmla="*/ 189 h 1713"/>
                <a:gd name="T102" fmla="*/ 396 w 1710"/>
                <a:gd name="T103" fmla="*/ 134 h 1713"/>
                <a:gd name="T104" fmla="*/ 478 w 1710"/>
                <a:gd name="T105" fmla="*/ 88 h 1713"/>
                <a:gd name="T106" fmla="*/ 567 w 1710"/>
                <a:gd name="T107" fmla="*/ 51 h 1713"/>
                <a:gd name="T108" fmla="*/ 659 w 1710"/>
                <a:gd name="T109" fmla="*/ 24 h 1713"/>
                <a:gd name="T110" fmla="*/ 755 w 1710"/>
                <a:gd name="T111" fmla="*/ 6 h 1713"/>
                <a:gd name="T112" fmla="*/ 855 w 1710"/>
                <a:gd name="T113" fmla="*/ 0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0" h="1713">
                  <a:moveTo>
                    <a:pt x="855" y="0"/>
                  </a:moveTo>
                  <a:lnTo>
                    <a:pt x="955" y="6"/>
                  </a:lnTo>
                  <a:lnTo>
                    <a:pt x="1051" y="24"/>
                  </a:lnTo>
                  <a:lnTo>
                    <a:pt x="1143" y="51"/>
                  </a:lnTo>
                  <a:lnTo>
                    <a:pt x="1232" y="88"/>
                  </a:lnTo>
                  <a:lnTo>
                    <a:pt x="1314" y="134"/>
                  </a:lnTo>
                  <a:lnTo>
                    <a:pt x="1390" y="189"/>
                  </a:lnTo>
                  <a:lnTo>
                    <a:pt x="1461" y="251"/>
                  </a:lnTo>
                  <a:lnTo>
                    <a:pt x="1522" y="322"/>
                  </a:lnTo>
                  <a:lnTo>
                    <a:pt x="1577" y="398"/>
                  </a:lnTo>
                  <a:lnTo>
                    <a:pt x="1624" y="481"/>
                  </a:lnTo>
                  <a:lnTo>
                    <a:pt x="1661" y="567"/>
                  </a:lnTo>
                  <a:lnTo>
                    <a:pt x="1688" y="659"/>
                  </a:lnTo>
                  <a:lnTo>
                    <a:pt x="1704" y="757"/>
                  </a:lnTo>
                  <a:lnTo>
                    <a:pt x="1710" y="856"/>
                  </a:lnTo>
                  <a:lnTo>
                    <a:pt x="1704" y="956"/>
                  </a:lnTo>
                  <a:lnTo>
                    <a:pt x="1688" y="1052"/>
                  </a:lnTo>
                  <a:lnTo>
                    <a:pt x="1661" y="1146"/>
                  </a:lnTo>
                  <a:lnTo>
                    <a:pt x="1624" y="1232"/>
                  </a:lnTo>
                  <a:lnTo>
                    <a:pt x="1577" y="1315"/>
                  </a:lnTo>
                  <a:lnTo>
                    <a:pt x="1522" y="1391"/>
                  </a:lnTo>
                  <a:lnTo>
                    <a:pt x="1461" y="1462"/>
                  </a:lnTo>
                  <a:lnTo>
                    <a:pt x="1390" y="1525"/>
                  </a:lnTo>
                  <a:lnTo>
                    <a:pt x="1314" y="1579"/>
                  </a:lnTo>
                  <a:lnTo>
                    <a:pt x="1232" y="1625"/>
                  </a:lnTo>
                  <a:lnTo>
                    <a:pt x="1143" y="1662"/>
                  </a:lnTo>
                  <a:lnTo>
                    <a:pt x="1051" y="1689"/>
                  </a:lnTo>
                  <a:lnTo>
                    <a:pt x="955" y="1707"/>
                  </a:lnTo>
                  <a:lnTo>
                    <a:pt x="855" y="1713"/>
                  </a:lnTo>
                  <a:lnTo>
                    <a:pt x="755" y="1707"/>
                  </a:lnTo>
                  <a:lnTo>
                    <a:pt x="659" y="1689"/>
                  </a:lnTo>
                  <a:lnTo>
                    <a:pt x="567" y="1662"/>
                  </a:lnTo>
                  <a:lnTo>
                    <a:pt x="478" y="1625"/>
                  </a:lnTo>
                  <a:lnTo>
                    <a:pt x="396" y="1579"/>
                  </a:lnTo>
                  <a:lnTo>
                    <a:pt x="320" y="1525"/>
                  </a:lnTo>
                  <a:lnTo>
                    <a:pt x="251" y="1462"/>
                  </a:lnTo>
                  <a:lnTo>
                    <a:pt x="188" y="1391"/>
                  </a:lnTo>
                  <a:lnTo>
                    <a:pt x="133" y="1315"/>
                  </a:lnTo>
                  <a:lnTo>
                    <a:pt x="86" y="1232"/>
                  </a:lnTo>
                  <a:lnTo>
                    <a:pt x="51" y="1146"/>
                  </a:lnTo>
                  <a:lnTo>
                    <a:pt x="23" y="1052"/>
                  </a:lnTo>
                  <a:lnTo>
                    <a:pt x="6" y="956"/>
                  </a:lnTo>
                  <a:lnTo>
                    <a:pt x="0" y="856"/>
                  </a:lnTo>
                  <a:lnTo>
                    <a:pt x="6" y="757"/>
                  </a:lnTo>
                  <a:lnTo>
                    <a:pt x="23" y="659"/>
                  </a:lnTo>
                  <a:lnTo>
                    <a:pt x="51" y="567"/>
                  </a:lnTo>
                  <a:lnTo>
                    <a:pt x="86" y="481"/>
                  </a:lnTo>
                  <a:lnTo>
                    <a:pt x="133" y="398"/>
                  </a:lnTo>
                  <a:lnTo>
                    <a:pt x="188" y="322"/>
                  </a:lnTo>
                  <a:lnTo>
                    <a:pt x="251" y="251"/>
                  </a:lnTo>
                  <a:lnTo>
                    <a:pt x="320" y="189"/>
                  </a:lnTo>
                  <a:lnTo>
                    <a:pt x="396" y="134"/>
                  </a:lnTo>
                  <a:lnTo>
                    <a:pt x="478" y="88"/>
                  </a:lnTo>
                  <a:lnTo>
                    <a:pt x="567" y="51"/>
                  </a:lnTo>
                  <a:lnTo>
                    <a:pt x="659" y="24"/>
                  </a:lnTo>
                  <a:lnTo>
                    <a:pt x="755" y="6"/>
                  </a:lnTo>
                  <a:lnTo>
                    <a:pt x="855"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1613">
              <a:extLst>
                <a:ext uri="{FF2B5EF4-FFF2-40B4-BE49-F238E27FC236}">
                  <a16:creationId xmlns:a16="http://schemas.microsoft.com/office/drawing/2014/main" id="{FB2CED28-1FF1-0541-8997-993CE2364AB0}"/>
                </a:ext>
              </a:extLst>
            </p:cNvPr>
            <p:cNvSpPr>
              <a:spLocks noEditPoints="1"/>
            </p:cNvSpPr>
            <p:nvPr/>
          </p:nvSpPr>
          <p:spPr bwMode="auto">
            <a:xfrm>
              <a:off x="4166292" y="4477723"/>
              <a:ext cx="1212850" cy="1212850"/>
            </a:xfrm>
            <a:custGeom>
              <a:avLst/>
              <a:gdLst>
                <a:gd name="T0" fmla="*/ 620 w 1528"/>
                <a:gd name="T1" fmla="*/ 98 h 1529"/>
                <a:gd name="T2" fmla="*/ 435 w 1528"/>
                <a:gd name="T3" fmla="*/ 167 h 1529"/>
                <a:gd name="T4" fmla="*/ 333 w 1528"/>
                <a:gd name="T5" fmla="*/ 236 h 1529"/>
                <a:gd name="T6" fmla="*/ 194 w 1528"/>
                <a:gd name="T7" fmla="*/ 389 h 1529"/>
                <a:gd name="T8" fmla="*/ 135 w 1528"/>
                <a:gd name="T9" fmla="*/ 499 h 1529"/>
                <a:gd name="T10" fmla="*/ 86 w 1528"/>
                <a:gd name="T11" fmla="*/ 689 h 1529"/>
                <a:gd name="T12" fmla="*/ 98 w 1528"/>
                <a:gd name="T13" fmla="*/ 909 h 1529"/>
                <a:gd name="T14" fmla="*/ 167 w 1528"/>
                <a:gd name="T15" fmla="*/ 1093 h 1529"/>
                <a:gd name="T16" fmla="*/ 235 w 1528"/>
                <a:gd name="T17" fmla="*/ 1195 h 1529"/>
                <a:gd name="T18" fmla="*/ 388 w 1528"/>
                <a:gd name="T19" fmla="*/ 1334 h 1529"/>
                <a:gd name="T20" fmla="*/ 498 w 1528"/>
                <a:gd name="T21" fmla="*/ 1393 h 1529"/>
                <a:gd name="T22" fmla="*/ 633 w 1528"/>
                <a:gd name="T23" fmla="*/ 1434 h 1529"/>
                <a:gd name="T24" fmla="*/ 837 w 1528"/>
                <a:gd name="T25" fmla="*/ 1442 h 1529"/>
                <a:gd name="T26" fmla="*/ 963 w 1528"/>
                <a:gd name="T27" fmla="*/ 1417 h 1529"/>
                <a:gd name="T28" fmla="*/ 1138 w 1528"/>
                <a:gd name="T29" fmla="*/ 1334 h 1529"/>
                <a:gd name="T30" fmla="*/ 1245 w 1528"/>
                <a:gd name="T31" fmla="*/ 1246 h 1529"/>
                <a:gd name="T32" fmla="*/ 1334 w 1528"/>
                <a:gd name="T33" fmla="*/ 1138 h 1529"/>
                <a:gd name="T34" fmla="*/ 1416 w 1528"/>
                <a:gd name="T35" fmla="*/ 964 h 1529"/>
                <a:gd name="T36" fmla="*/ 1442 w 1528"/>
                <a:gd name="T37" fmla="*/ 838 h 1529"/>
                <a:gd name="T38" fmla="*/ 1434 w 1528"/>
                <a:gd name="T39" fmla="*/ 634 h 1529"/>
                <a:gd name="T40" fmla="*/ 1393 w 1528"/>
                <a:gd name="T41" fmla="*/ 499 h 1529"/>
                <a:gd name="T42" fmla="*/ 1334 w 1528"/>
                <a:gd name="T43" fmla="*/ 389 h 1529"/>
                <a:gd name="T44" fmla="*/ 1194 w 1528"/>
                <a:gd name="T45" fmla="*/ 236 h 1529"/>
                <a:gd name="T46" fmla="*/ 1092 w 1528"/>
                <a:gd name="T47" fmla="*/ 167 h 1529"/>
                <a:gd name="T48" fmla="*/ 908 w 1528"/>
                <a:gd name="T49" fmla="*/ 98 h 1529"/>
                <a:gd name="T50" fmla="*/ 763 w 1528"/>
                <a:gd name="T51" fmla="*/ 0 h 1529"/>
                <a:gd name="T52" fmla="*/ 924 w 1528"/>
                <a:gd name="T53" fmla="*/ 18 h 1529"/>
                <a:gd name="T54" fmla="*/ 1124 w 1528"/>
                <a:gd name="T55" fmla="*/ 91 h 1529"/>
                <a:gd name="T56" fmla="*/ 1253 w 1528"/>
                <a:gd name="T57" fmla="*/ 177 h 1529"/>
                <a:gd name="T58" fmla="*/ 1393 w 1528"/>
                <a:gd name="T59" fmla="*/ 330 h 1529"/>
                <a:gd name="T60" fmla="*/ 1469 w 1528"/>
                <a:gd name="T61" fmla="*/ 467 h 1529"/>
                <a:gd name="T62" fmla="*/ 1514 w 1528"/>
                <a:gd name="T63" fmla="*/ 618 h 1529"/>
                <a:gd name="T64" fmla="*/ 1524 w 1528"/>
                <a:gd name="T65" fmla="*/ 838 h 1529"/>
                <a:gd name="T66" fmla="*/ 1469 w 1528"/>
                <a:gd name="T67" fmla="*/ 1062 h 1529"/>
                <a:gd name="T68" fmla="*/ 1393 w 1528"/>
                <a:gd name="T69" fmla="*/ 1197 h 1529"/>
                <a:gd name="T70" fmla="*/ 1253 w 1528"/>
                <a:gd name="T71" fmla="*/ 1352 h 1529"/>
                <a:gd name="T72" fmla="*/ 1124 w 1528"/>
                <a:gd name="T73" fmla="*/ 1438 h 1529"/>
                <a:gd name="T74" fmla="*/ 908 w 1528"/>
                <a:gd name="T75" fmla="*/ 1515 h 1529"/>
                <a:gd name="T76" fmla="*/ 688 w 1528"/>
                <a:gd name="T77" fmla="*/ 1525 h 1529"/>
                <a:gd name="T78" fmla="*/ 533 w 1528"/>
                <a:gd name="T79" fmla="*/ 1493 h 1529"/>
                <a:gd name="T80" fmla="*/ 343 w 1528"/>
                <a:gd name="T81" fmla="*/ 1403 h 1529"/>
                <a:gd name="T82" fmla="*/ 224 w 1528"/>
                <a:gd name="T83" fmla="*/ 1305 h 1529"/>
                <a:gd name="T84" fmla="*/ 126 w 1528"/>
                <a:gd name="T85" fmla="*/ 1183 h 1529"/>
                <a:gd name="T86" fmla="*/ 35 w 1528"/>
                <a:gd name="T87" fmla="*/ 995 h 1529"/>
                <a:gd name="T88" fmla="*/ 4 w 1528"/>
                <a:gd name="T89" fmla="*/ 838 h 1529"/>
                <a:gd name="T90" fmla="*/ 16 w 1528"/>
                <a:gd name="T91" fmla="*/ 618 h 1529"/>
                <a:gd name="T92" fmla="*/ 59 w 1528"/>
                <a:gd name="T93" fmla="*/ 467 h 1529"/>
                <a:gd name="T94" fmla="*/ 135 w 1528"/>
                <a:gd name="T95" fmla="*/ 330 h 1529"/>
                <a:gd name="T96" fmla="*/ 275 w 1528"/>
                <a:gd name="T97" fmla="*/ 177 h 1529"/>
                <a:gd name="T98" fmla="*/ 404 w 1528"/>
                <a:gd name="T99" fmla="*/ 91 h 1529"/>
                <a:gd name="T100" fmla="*/ 602 w 1528"/>
                <a:gd name="T101" fmla="*/ 18 h 1529"/>
                <a:gd name="T102" fmla="*/ 763 w 1528"/>
                <a:gd name="T103" fmla="*/ 0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28" h="1529">
                  <a:moveTo>
                    <a:pt x="763" y="83"/>
                  </a:moveTo>
                  <a:lnTo>
                    <a:pt x="688" y="87"/>
                  </a:lnTo>
                  <a:lnTo>
                    <a:pt x="620" y="98"/>
                  </a:lnTo>
                  <a:lnTo>
                    <a:pt x="565" y="112"/>
                  </a:lnTo>
                  <a:lnTo>
                    <a:pt x="498" y="136"/>
                  </a:lnTo>
                  <a:lnTo>
                    <a:pt x="435" y="167"/>
                  </a:lnTo>
                  <a:lnTo>
                    <a:pt x="388" y="195"/>
                  </a:lnTo>
                  <a:lnTo>
                    <a:pt x="388" y="195"/>
                  </a:lnTo>
                  <a:lnTo>
                    <a:pt x="333" y="236"/>
                  </a:lnTo>
                  <a:lnTo>
                    <a:pt x="282" y="283"/>
                  </a:lnTo>
                  <a:lnTo>
                    <a:pt x="235" y="334"/>
                  </a:lnTo>
                  <a:lnTo>
                    <a:pt x="194" y="389"/>
                  </a:lnTo>
                  <a:lnTo>
                    <a:pt x="194" y="389"/>
                  </a:lnTo>
                  <a:lnTo>
                    <a:pt x="167" y="436"/>
                  </a:lnTo>
                  <a:lnTo>
                    <a:pt x="135" y="499"/>
                  </a:lnTo>
                  <a:lnTo>
                    <a:pt x="112" y="565"/>
                  </a:lnTo>
                  <a:lnTo>
                    <a:pt x="98" y="620"/>
                  </a:lnTo>
                  <a:lnTo>
                    <a:pt x="86" y="689"/>
                  </a:lnTo>
                  <a:lnTo>
                    <a:pt x="82" y="764"/>
                  </a:lnTo>
                  <a:lnTo>
                    <a:pt x="86" y="838"/>
                  </a:lnTo>
                  <a:lnTo>
                    <a:pt x="98" y="909"/>
                  </a:lnTo>
                  <a:lnTo>
                    <a:pt x="112" y="964"/>
                  </a:lnTo>
                  <a:lnTo>
                    <a:pt x="135" y="1030"/>
                  </a:lnTo>
                  <a:lnTo>
                    <a:pt x="167" y="1093"/>
                  </a:lnTo>
                  <a:lnTo>
                    <a:pt x="194" y="1138"/>
                  </a:lnTo>
                  <a:lnTo>
                    <a:pt x="194" y="1138"/>
                  </a:lnTo>
                  <a:lnTo>
                    <a:pt x="235" y="1195"/>
                  </a:lnTo>
                  <a:lnTo>
                    <a:pt x="282" y="1246"/>
                  </a:lnTo>
                  <a:lnTo>
                    <a:pt x="333" y="1293"/>
                  </a:lnTo>
                  <a:lnTo>
                    <a:pt x="388" y="1334"/>
                  </a:lnTo>
                  <a:lnTo>
                    <a:pt x="388" y="1334"/>
                  </a:lnTo>
                  <a:lnTo>
                    <a:pt x="435" y="1362"/>
                  </a:lnTo>
                  <a:lnTo>
                    <a:pt x="498" y="1393"/>
                  </a:lnTo>
                  <a:lnTo>
                    <a:pt x="565" y="1417"/>
                  </a:lnTo>
                  <a:lnTo>
                    <a:pt x="633" y="1434"/>
                  </a:lnTo>
                  <a:lnTo>
                    <a:pt x="633" y="1434"/>
                  </a:lnTo>
                  <a:lnTo>
                    <a:pt x="688" y="1442"/>
                  </a:lnTo>
                  <a:lnTo>
                    <a:pt x="763" y="1446"/>
                  </a:lnTo>
                  <a:lnTo>
                    <a:pt x="837" y="1442"/>
                  </a:lnTo>
                  <a:lnTo>
                    <a:pt x="892" y="1434"/>
                  </a:lnTo>
                  <a:lnTo>
                    <a:pt x="892" y="1434"/>
                  </a:lnTo>
                  <a:lnTo>
                    <a:pt x="963" y="1417"/>
                  </a:lnTo>
                  <a:lnTo>
                    <a:pt x="1030" y="1393"/>
                  </a:lnTo>
                  <a:lnTo>
                    <a:pt x="1092" y="1362"/>
                  </a:lnTo>
                  <a:lnTo>
                    <a:pt x="1138" y="1334"/>
                  </a:lnTo>
                  <a:lnTo>
                    <a:pt x="1138" y="1334"/>
                  </a:lnTo>
                  <a:lnTo>
                    <a:pt x="1194" y="1293"/>
                  </a:lnTo>
                  <a:lnTo>
                    <a:pt x="1245" y="1246"/>
                  </a:lnTo>
                  <a:lnTo>
                    <a:pt x="1292" y="1195"/>
                  </a:lnTo>
                  <a:lnTo>
                    <a:pt x="1334" y="1138"/>
                  </a:lnTo>
                  <a:lnTo>
                    <a:pt x="1334" y="1138"/>
                  </a:lnTo>
                  <a:lnTo>
                    <a:pt x="1361" y="1093"/>
                  </a:lnTo>
                  <a:lnTo>
                    <a:pt x="1393" y="1030"/>
                  </a:lnTo>
                  <a:lnTo>
                    <a:pt x="1416" y="964"/>
                  </a:lnTo>
                  <a:lnTo>
                    <a:pt x="1434" y="893"/>
                  </a:lnTo>
                  <a:lnTo>
                    <a:pt x="1434" y="893"/>
                  </a:lnTo>
                  <a:lnTo>
                    <a:pt x="1442" y="838"/>
                  </a:lnTo>
                  <a:lnTo>
                    <a:pt x="1445" y="764"/>
                  </a:lnTo>
                  <a:lnTo>
                    <a:pt x="1442" y="689"/>
                  </a:lnTo>
                  <a:lnTo>
                    <a:pt x="1434" y="634"/>
                  </a:lnTo>
                  <a:lnTo>
                    <a:pt x="1434" y="634"/>
                  </a:lnTo>
                  <a:lnTo>
                    <a:pt x="1416" y="565"/>
                  </a:lnTo>
                  <a:lnTo>
                    <a:pt x="1393" y="499"/>
                  </a:lnTo>
                  <a:lnTo>
                    <a:pt x="1361" y="436"/>
                  </a:lnTo>
                  <a:lnTo>
                    <a:pt x="1334" y="389"/>
                  </a:lnTo>
                  <a:lnTo>
                    <a:pt x="1334" y="389"/>
                  </a:lnTo>
                  <a:lnTo>
                    <a:pt x="1292" y="334"/>
                  </a:lnTo>
                  <a:lnTo>
                    <a:pt x="1245" y="283"/>
                  </a:lnTo>
                  <a:lnTo>
                    <a:pt x="1194" y="236"/>
                  </a:lnTo>
                  <a:lnTo>
                    <a:pt x="1138" y="195"/>
                  </a:lnTo>
                  <a:lnTo>
                    <a:pt x="1138" y="195"/>
                  </a:lnTo>
                  <a:lnTo>
                    <a:pt x="1092" y="167"/>
                  </a:lnTo>
                  <a:lnTo>
                    <a:pt x="1030" y="136"/>
                  </a:lnTo>
                  <a:lnTo>
                    <a:pt x="963" y="112"/>
                  </a:lnTo>
                  <a:lnTo>
                    <a:pt x="908" y="98"/>
                  </a:lnTo>
                  <a:lnTo>
                    <a:pt x="837" y="87"/>
                  </a:lnTo>
                  <a:lnTo>
                    <a:pt x="763" y="83"/>
                  </a:lnTo>
                  <a:close/>
                  <a:moveTo>
                    <a:pt x="763" y="0"/>
                  </a:moveTo>
                  <a:lnTo>
                    <a:pt x="837" y="4"/>
                  </a:lnTo>
                  <a:lnTo>
                    <a:pt x="908" y="16"/>
                  </a:lnTo>
                  <a:lnTo>
                    <a:pt x="924" y="18"/>
                  </a:lnTo>
                  <a:lnTo>
                    <a:pt x="994" y="36"/>
                  </a:lnTo>
                  <a:lnTo>
                    <a:pt x="1061" y="59"/>
                  </a:lnTo>
                  <a:lnTo>
                    <a:pt x="1124" y="91"/>
                  </a:lnTo>
                  <a:lnTo>
                    <a:pt x="1183" y="126"/>
                  </a:lnTo>
                  <a:lnTo>
                    <a:pt x="1196" y="136"/>
                  </a:lnTo>
                  <a:lnTo>
                    <a:pt x="1253" y="177"/>
                  </a:lnTo>
                  <a:lnTo>
                    <a:pt x="1304" y="224"/>
                  </a:lnTo>
                  <a:lnTo>
                    <a:pt x="1351" y="275"/>
                  </a:lnTo>
                  <a:lnTo>
                    <a:pt x="1393" y="330"/>
                  </a:lnTo>
                  <a:lnTo>
                    <a:pt x="1402" y="344"/>
                  </a:lnTo>
                  <a:lnTo>
                    <a:pt x="1438" y="405"/>
                  </a:lnTo>
                  <a:lnTo>
                    <a:pt x="1469" y="467"/>
                  </a:lnTo>
                  <a:lnTo>
                    <a:pt x="1493" y="534"/>
                  </a:lnTo>
                  <a:lnTo>
                    <a:pt x="1510" y="603"/>
                  </a:lnTo>
                  <a:lnTo>
                    <a:pt x="1514" y="618"/>
                  </a:lnTo>
                  <a:lnTo>
                    <a:pt x="1524" y="689"/>
                  </a:lnTo>
                  <a:lnTo>
                    <a:pt x="1528" y="764"/>
                  </a:lnTo>
                  <a:lnTo>
                    <a:pt x="1524" y="838"/>
                  </a:lnTo>
                  <a:lnTo>
                    <a:pt x="1514" y="909"/>
                  </a:lnTo>
                  <a:lnTo>
                    <a:pt x="1493" y="995"/>
                  </a:lnTo>
                  <a:lnTo>
                    <a:pt x="1469" y="1062"/>
                  </a:lnTo>
                  <a:lnTo>
                    <a:pt x="1438" y="1125"/>
                  </a:lnTo>
                  <a:lnTo>
                    <a:pt x="1402" y="1183"/>
                  </a:lnTo>
                  <a:lnTo>
                    <a:pt x="1393" y="1197"/>
                  </a:lnTo>
                  <a:lnTo>
                    <a:pt x="1351" y="1254"/>
                  </a:lnTo>
                  <a:lnTo>
                    <a:pt x="1304" y="1305"/>
                  </a:lnTo>
                  <a:lnTo>
                    <a:pt x="1253" y="1352"/>
                  </a:lnTo>
                  <a:lnTo>
                    <a:pt x="1196" y="1393"/>
                  </a:lnTo>
                  <a:lnTo>
                    <a:pt x="1183" y="1403"/>
                  </a:lnTo>
                  <a:lnTo>
                    <a:pt x="1124" y="1438"/>
                  </a:lnTo>
                  <a:lnTo>
                    <a:pt x="1061" y="1470"/>
                  </a:lnTo>
                  <a:lnTo>
                    <a:pt x="994" y="1493"/>
                  </a:lnTo>
                  <a:lnTo>
                    <a:pt x="908" y="1515"/>
                  </a:lnTo>
                  <a:lnTo>
                    <a:pt x="837" y="1525"/>
                  </a:lnTo>
                  <a:lnTo>
                    <a:pt x="763" y="1529"/>
                  </a:lnTo>
                  <a:lnTo>
                    <a:pt x="688" y="1525"/>
                  </a:lnTo>
                  <a:lnTo>
                    <a:pt x="618" y="1515"/>
                  </a:lnTo>
                  <a:lnTo>
                    <a:pt x="602" y="1511"/>
                  </a:lnTo>
                  <a:lnTo>
                    <a:pt x="533" y="1493"/>
                  </a:lnTo>
                  <a:lnTo>
                    <a:pt x="467" y="1470"/>
                  </a:lnTo>
                  <a:lnTo>
                    <a:pt x="404" y="1438"/>
                  </a:lnTo>
                  <a:lnTo>
                    <a:pt x="343" y="1403"/>
                  </a:lnTo>
                  <a:lnTo>
                    <a:pt x="329" y="1393"/>
                  </a:lnTo>
                  <a:lnTo>
                    <a:pt x="275" y="1352"/>
                  </a:lnTo>
                  <a:lnTo>
                    <a:pt x="224" y="1305"/>
                  </a:lnTo>
                  <a:lnTo>
                    <a:pt x="177" y="1254"/>
                  </a:lnTo>
                  <a:lnTo>
                    <a:pt x="135" y="1197"/>
                  </a:lnTo>
                  <a:lnTo>
                    <a:pt x="126" y="1183"/>
                  </a:lnTo>
                  <a:lnTo>
                    <a:pt x="90" y="1125"/>
                  </a:lnTo>
                  <a:lnTo>
                    <a:pt x="59" y="1062"/>
                  </a:lnTo>
                  <a:lnTo>
                    <a:pt x="35" y="995"/>
                  </a:lnTo>
                  <a:lnTo>
                    <a:pt x="18" y="924"/>
                  </a:lnTo>
                  <a:lnTo>
                    <a:pt x="16" y="909"/>
                  </a:lnTo>
                  <a:lnTo>
                    <a:pt x="4" y="838"/>
                  </a:lnTo>
                  <a:lnTo>
                    <a:pt x="0" y="764"/>
                  </a:lnTo>
                  <a:lnTo>
                    <a:pt x="4" y="689"/>
                  </a:lnTo>
                  <a:lnTo>
                    <a:pt x="16" y="618"/>
                  </a:lnTo>
                  <a:lnTo>
                    <a:pt x="18" y="603"/>
                  </a:lnTo>
                  <a:lnTo>
                    <a:pt x="35" y="534"/>
                  </a:lnTo>
                  <a:lnTo>
                    <a:pt x="59" y="467"/>
                  </a:lnTo>
                  <a:lnTo>
                    <a:pt x="90" y="405"/>
                  </a:lnTo>
                  <a:lnTo>
                    <a:pt x="126" y="344"/>
                  </a:lnTo>
                  <a:lnTo>
                    <a:pt x="135" y="330"/>
                  </a:lnTo>
                  <a:lnTo>
                    <a:pt x="177" y="275"/>
                  </a:lnTo>
                  <a:lnTo>
                    <a:pt x="224" y="224"/>
                  </a:lnTo>
                  <a:lnTo>
                    <a:pt x="275" y="177"/>
                  </a:lnTo>
                  <a:lnTo>
                    <a:pt x="329" y="136"/>
                  </a:lnTo>
                  <a:lnTo>
                    <a:pt x="343" y="126"/>
                  </a:lnTo>
                  <a:lnTo>
                    <a:pt x="404" y="91"/>
                  </a:lnTo>
                  <a:lnTo>
                    <a:pt x="467" y="59"/>
                  </a:lnTo>
                  <a:lnTo>
                    <a:pt x="533" y="36"/>
                  </a:lnTo>
                  <a:lnTo>
                    <a:pt x="602" y="18"/>
                  </a:lnTo>
                  <a:lnTo>
                    <a:pt x="618" y="16"/>
                  </a:lnTo>
                  <a:lnTo>
                    <a:pt x="688" y="4"/>
                  </a:lnTo>
                  <a:lnTo>
                    <a:pt x="7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1614">
              <a:extLst>
                <a:ext uri="{FF2B5EF4-FFF2-40B4-BE49-F238E27FC236}">
                  <a16:creationId xmlns:a16="http://schemas.microsoft.com/office/drawing/2014/main" id="{302FA82D-DB29-3949-81C2-85AB814D286A}"/>
                </a:ext>
              </a:extLst>
            </p:cNvPr>
            <p:cNvSpPr>
              <a:spLocks/>
            </p:cNvSpPr>
            <p:nvPr/>
          </p:nvSpPr>
          <p:spPr bwMode="auto">
            <a:xfrm>
              <a:off x="4099617" y="2091711"/>
              <a:ext cx="1346200" cy="1346200"/>
            </a:xfrm>
            <a:custGeom>
              <a:avLst/>
              <a:gdLst>
                <a:gd name="T0" fmla="*/ 847 w 1694"/>
                <a:gd name="T1" fmla="*/ 0 h 1695"/>
                <a:gd name="T2" fmla="*/ 947 w 1694"/>
                <a:gd name="T3" fmla="*/ 6 h 1695"/>
                <a:gd name="T4" fmla="*/ 1041 w 1694"/>
                <a:gd name="T5" fmla="*/ 23 h 1695"/>
                <a:gd name="T6" fmla="*/ 1133 w 1694"/>
                <a:gd name="T7" fmla="*/ 51 h 1695"/>
                <a:gd name="T8" fmla="*/ 1220 w 1694"/>
                <a:gd name="T9" fmla="*/ 86 h 1695"/>
                <a:gd name="T10" fmla="*/ 1302 w 1694"/>
                <a:gd name="T11" fmla="*/ 133 h 1695"/>
                <a:gd name="T12" fmla="*/ 1376 w 1694"/>
                <a:gd name="T13" fmla="*/ 186 h 1695"/>
                <a:gd name="T14" fmla="*/ 1447 w 1694"/>
                <a:gd name="T15" fmla="*/ 249 h 1695"/>
                <a:gd name="T16" fmla="*/ 1508 w 1694"/>
                <a:gd name="T17" fmla="*/ 318 h 1695"/>
                <a:gd name="T18" fmla="*/ 1563 w 1694"/>
                <a:gd name="T19" fmla="*/ 394 h 1695"/>
                <a:gd name="T20" fmla="*/ 1608 w 1694"/>
                <a:gd name="T21" fmla="*/ 475 h 1695"/>
                <a:gd name="T22" fmla="*/ 1645 w 1694"/>
                <a:gd name="T23" fmla="*/ 563 h 1695"/>
                <a:gd name="T24" fmla="*/ 1673 w 1694"/>
                <a:gd name="T25" fmla="*/ 653 h 1695"/>
                <a:gd name="T26" fmla="*/ 1688 w 1694"/>
                <a:gd name="T27" fmla="*/ 749 h 1695"/>
                <a:gd name="T28" fmla="*/ 1694 w 1694"/>
                <a:gd name="T29" fmla="*/ 847 h 1695"/>
                <a:gd name="T30" fmla="*/ 1688 w 1694"/>
                <a:gd name="T31" fmla="*/ 947 h 1695"/>
                <a:gd name="T32" fmla="*/ 1673 w 1694"/>
                <a:gd name="T33" fmla="*/ 1042 h 1695"/>
                <a:gd name="T34" fmla="*/ 1645 w 1694"/>
                <a:gd name="T35" fmla="*/ 1134 h 1695"/>
                <a:gd name="T36" fmla="*/ 1608 w 1694"/>
                <a:gd name="T37" fmla="*/ 1220 h 1695"/>
                <a:gd name="T38" fmla="*/ 1563 w 1694"/>
                <a:gd name="T39" fmla="*/ 1303 h 1695"/>
                <a:gd name="T40" fmla="*/ 1508 w 1694"/>
                <a:gd name="T41" fmla="*/ 1377 h 1695"/>
                <a:gd name="T42" fmla="*/ 1447 w 1694"/>
                <a:gd name="T43" fmla="*/ 1448 h 1695"/>
                <a:gd name="T44" fmla="*/ 1376 w 1694"/>
                <a:gd name="T45" fmla="*/ 1509 h 1695"/>
                <a:gd name="T46" fmla="*/ 1302 w 1694"/>
                <a:gd name="T47" fmla="*/ 1563 h 1695"/>
                <a:gd name="T48" fmla="*/ 1220 w 1694"/>
                <a:gd name="T49" fmla="*/ 1609 h 1695"/>
                <a:gd name="T50" fmla="*/ 1133 w 1694"/>
                <a:gd name="T51" fmla="*/ 1646 h 1695"/>
                <a:gd name="T52" fmla="*/ 1041 w 1694"/>
                <a:gd name="T53" fmla="*/ 1673 h 1695"/>
                <a:gd name="T54" fmla="*/ 947 w 1694"/>
                <a:gd name="T55" fmla="*/ 1689 h 1695"/>
                <a:gd name="T56" fmla="*/ 847 w 1694"/>
                <a:gd name="T57" fmla="*/ 1695 h 1695"/>
                <a:gd name="T58" fmla="*/ 749 w 1694"/>
                <a:gd name="T59" fmla="*/ 1689 h 1695"/>
                <a:gd name="T60" fmla="*/ 653 w 1694"/>
                <a:gd name="T61" fmla="*/ 1673 h 1695"/>
                <a:gd name="T62" fmla="*/ 563 w 1694"/>
                <a:gd name="T63" fmla="*/ 1646 h 1695"/>
                <a:gd name="T64" fmla="*/ 474 w 1694"/>
                <a:gd name="T65" fmla="*/ 1609 h 1695"/>
                <a:gd name="T66" fmla="*/ 394 w 1694"/>
                <a:gd name="T67" fmla="*/ 1563 h 1695"/>
                <a:gd name="T68" fmla="*/ 317 w 1694"/>
                <a:gd name="T69" fmla="*/ 1509 h 1695"/>
                <a:gd name="T70" fmla="*/ 249 w 1694"/>
                <a:gd name="T71" fmla="*/ 1448 h 1695"/>
                <a:gd name="T72" fmla="*/ 186 w 1694"/>
                <a:gd name="T73" fmla="*/ 1377 h 1695"/>
                <a:gd name="T74" fmla="*/ 131 w 1694"/>
                <a:gd name="T75" fmla="*/ 1303 h 1695"/>
                <a:gd name="T76" fmla="*/ 86 w 1694"/>
                <a:gd name="T77" fmla="*/ 1220 h 1695"/>
                <a:gd name="T78" fmla="*/ 49 w 1694"/>
                <a:gd name="T79" fmla="*/ 1134 h 1695"/>
                <a:gd name="T80" fmla="*/ 23 w 1694"/>
                <a:gd name="T81" fmla="*/ 1042 h 1695"/>
                <a:gd name="T82" fmla="*/ 6 w 1694"/>
                <a:gd name="T83" fmla="*/ 947 h 1695"/>
                <a:gd name="T84" fmla="*/ 0 w 1694"/>
                <a:gd name="T85" fmla="*/ 847 h 1695"/>
                <a:gd name="T86" fmla="*/ 6 w 1694"/>
                <a:gd name="T87" fmla="*/ 749 h 1695"/>
                <a:gd name="T88" fmla="*/ 23 w 1694"/>
                <a:gd name="T89" fmla="*/ 653 h 1695"/>
                <a:gd name="T90" fmla="*/ 49 w 1694"/>
                <a:gd name="T91" fmla="*/ 563 h 1695"/>
                <a:gd name="T92" fmla="*/ 86 w 1694"/>
                <a:gd name="T93" fmla="*/ 475 h 1695"/>
                <a:gd name="T94" fmla="*/ 131 w 1694"/>
                <a:gd name="T95" fmla="*/ 394 h 1695"/>
                <a:gd name="T96" fmla="*/ 186 w 1694"/>
                <a:gd name="T97" fmla="*/ 318 h 1695"/>
                <a:gd name="T98" fmla="*/ 249 w 1694"/>
                <a:gd name="T99" fmla="*/ 249 h 1695"/>
                <a:gd name="T100" fmla="*/ 317 w 1694"/>
                <a:gd name="T101" fmla="*/ 186 h 1695"/>
                <a:gd name="T102" fmla="*/ 394 w 1694"/>
                <a:gd name="T103" fmla="*/ 133 h 1695"/>
                <a:gd name="T104" fmla="*/ 474 w 1694"/>
                <a:gd name="T105" fmla="*/ 86 h 1695"/>
                <a:gd name="T106" fmla="*/ 563 w 1694"/>
                <a:gd name="T107" fmla="*/ 51 h 1695"/>
                <a:gd name="T108" fmla="*/ 653 w 1694"/>
                <a:gd name="T109" fmla="*/ 23 h 1695"/>
                <a:gd name="T110" fmla="*/ 749 w 1694"/>
                <a:gd name="T111" fmla="*/ 6 h 1695"/>
                <a:gd name="T112" fmla="*/ 847 w 1694"/>
                <a:gd name="T113" fmla="*/ 0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4" h="1695">
                  <a:moveTo>
                    <a:pt x="847" y="0"/>
                  </a:moveTo>
                  <a:lnTo>
                    <a:pt x="947" y="6"/>
                  </a:lnTo>
                  <a:lnTo>
                    <a:pt x="1041" y="23"/>
                  </a:lnTo>
                  <a:lnTo>
                    <a:pt x="1133" y="51"/>
                  </a:lnTo>
                  <a:lnTo>
                    <a:pt x="1220" y="86"/>
                  </a:lnTo>
                  <a:lnTo>
                    <a:pt x="1302" y="133"/>
                  </a:lnTo>
                  <a:lnTo>
                    <a:pt x="1376" y="186"/>
                  </a:lnTo>
                  <a:lnTo>
                    <a:pt x="1447" y="249"/>
                  </a:lnTo>
                  <a:lnTo>
                    <a:pt x="1508" y="318"/>
                  </a:lnTo>
                  <a:lnTo>
                    <a:pt x="1563" y="394"/>
                  </a:lnTo>
                  <a:lnTo>
                    <a:pt x="1608" y="475"/>
                  </a:lnTo>
                  <a:lnTo>
                    <a:pt x="1645" y="563"/>
                  </a:lnTo>
                  <a:lnTo>
                    <a:pt x="1673" y="653"/>
                  </a:lnTo>
                  <a:lnTo>
                    <a:pt x="1688" y="749"/>
                  </a:lnTo>
                  <a:lnTo>
                    <a:pt x="1694" y="847"/>
                  </a:lnTo>
                  <a:lnTo>
                    <a:pt x="1688" y="947"/>
                  </a:lnTo>
                  <a:lnTo>
                    <a:pt x="1673" y="1042"/>
                  </a:lnTo>
                  <a:lnTo>
                    <a:pt x="1645" y="1134"/>
                  </a:lnTo>
                  <a:lnTo>
                    <a:pt x="1608" y="1220"/>
                  </a:lnTo>
                  <a:lnTo>
                    <a:pt x="1563" y="1303"/>
                  </a:lnTo>
                  <a:lnTo>
                    <a:pt x="1508" y="1377"/>
                  </a:lnTo>
                  <a:lnTo>
                    <a:pt x="1447" y="1448"/>
                  </a:lnTo>
                  <a:lnTo>
                    <a:pt x="1376" y="1509"/>
                  </a:lnTo>
                  <a:lnTo>
                    <a:pt x="1302" y="1563"/>
                  </a:lnTo>
                  <a:lnTo>
                    <a:pt x="1220" y="1609"/>
                  </a:lnTo>
                  <a:lnTo>
                    <a:pt x="1133" y="1646"/>
                  </a:lnTo>
                  <a:lnTo>
                    <a:pt x="1041" y="1673"/>
                  </a:lnTo>
                  <a:lnTo>
                    <a:pt x="947" y="1689"/>
                  </a:lnTo>
                  <a:lnTo>
                    <a:pt x="847" y="1695"/>
                  </a:lnTo>
                  <a:lnTo>
                    <a:pt x="749" y="1689"/>
                  </a:lnTo>
                  <a:lnTo>
                    <a:pt x="653" y="1673"/>
                  </a:lnTo>
                  <a:lnTo>
                    <a:pt x="563" y="1646"/>
                  </a:lnTo>
                  <a:lnTo>
                    <a:pt x="474" y="1609"/>
                  </a:lnTo>
                  <a:lnTo>
                    <a:pt x="394" y="1563"/>
                  </a:lnTo>
                  <a:lnTo>
                    <a:pt x="317" y="1509"/>
                  </a:lnTo>
                  <a:lnTo>
                    <a:pt x="249" y="1448"/>
                  </a:lnTo>
                  <a:lnTo>
                    <a:pt x="186" y="1377"/>
                  </a:lnTo>
                  <a:lnTo>
                    <a:pt x="131" y="1303"/>
                  </a:lnTo>
                  <a:lnTo>
                    <a:pt x="86" y="1220"/>
                  </a:lnTo>
                  <a:lnTo>
                    <a:pt x="49" y="1134"/>
                  </a:lnTo>
                  <a:lnTo>
                    <a:pt x="23" y="1042"/>
                  </a:lnTo>
                  <a:lnTo>
                    <a:pt x="6" y="947"/>
                  </a:lnTo>
                  <a:lnTo>
                    <a:pt x="0" y="847"/>
                  </a:lnTo>
                  <a:lnTo>
                    <a:pt x="6" y="749"/>
                  </a:lnTo>
                  <a:lnTo>
                    <a:pt x="23" y="653"/>
                  </a:lnTo>
                  <a:lnTo>
                    <a:pt x="49" y="563"/>
                  </a:lnTo>
                  <a:lnTo>
                    <a:pt x="86" y="475"/>
                  </a:lnTo>
                  <a:lnTo>
                    <a:pt x="131" y="394"/>
                  </a:lnTo>
                  <a:lnTo>
                    <a:pt x="186" y="318"/>
                  </a:lnTo>
                  <a:lnTo>
                    <a:pt x="249" y="249"/>
                  </a:lnTo>
                  <a:lnTo>
                    <a:pt x="317" y="186"/>
                  </a:lnTo>
                  <a:lnTo>
                    <a:pt x="394" y="133"/>
                  </a:lnTo>
                  <a:lnTo>
                    <a:pt x="474" y="86"/>
                  </a:lnTo>
                  <a:lnTo>
                    <a:pt x="563" y="51"/>
                  </a:lnTo>
                  <a:lnTo>
                    <a:pt x="653" y="23"/>
                  </a:lnTo>
                  <a:lnTo>
                    <a:pt x="749" y="6"/>
                  </a:lnTo>
                  <a:lnTo>
                    <a:pt x="847"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1615">
              <a:extLst>
                <a:ext uri="{FF2B5EF4-FFF2-40B4-BE49-F238E27FC236}">
                  <a16:creationId xmlns:a16="http://schemas.microsoft.com/office/drawing/2014/main" id="{F1B668ED-E91D-6C48-9DAB-DE20D6388740}"/>
                </a:ext>
              </a:extLst>
            </p:cNvPr>
            <p:cNvSpPr>
              <a:spLocks noEditPoints="1"/>
            </p:cNvSpPr>
            <p:nvPr/>
          </p:nvSpPr>
          <p:spPr bwMode="auto">
            <a:xfrm>
              <a:off x="4174229" y="2167911"/>
              <a:ext cx="1198563" cy="1196975"/>
            </a:xfrm>
            <a:custGeom>
              <a:avLst/>
              <a:gdLst>
                <a:gd name="T0" fmla="*/ 682 w 1508"/>
                <a:gd name="T1" fmla="*/ 114 h 1509"/>
                <a:gd name="T2" fmla="*/ 557 w 1508"/>
                <a:gd name="T3" fmla="*/ 141 h 1509"/>
                <a:gd name="T4" fmla="*/ 394 w 1508"/>
                <a:gd name="T5" fmla="*/ 220 h 1509"/>
                <a:gd name="T6" fmla="*/ 253 w 1508"/>
                <a:gd name="T7" fmla="*/ 347 h 1509"/>
                <a:gd name="T8" fmla="*/ 161 w 1508"/>
                <a:gd name="T9" fmla="*/ 502 h 1509"/>
                <a:gd name="T10" fmla="*/ 123 w 1508"/>
                <a:gd name="T11" fmla="*/ 624 h 1509"/>
                <a:gd name="T12" fmla="*/ 110 w 1508"/>
                <a:gd name="T13" fmla="*/ 753 h 1509"/>
                <a:gd name="T14" fmla="*/ 141 w 1508"/>
                <a:gd name="T15" fmla="*/ 948 h 1509"/>
                <a:gd name="T16" fmla="*/ 219 w 1508"/>
                <a:gd name="T17" fmla="*/ 1114 h 1509"/>
                <a:gd name="T18" fmla="*/ 347 w 1508"/>
                <a:gd name="T19" fmla="*/ 1254 h 1509"/>
                <a:gd name="T20" fmla="*/ 502 w 1508"/>
                <a:gd name="T21" fmla="*/ 1348 h 1509"/>
                <a:gd name="T22" fmla="*/ 623 w 1508"/>
                <a:gd name="T23" fmla="*/ 1385 h 1509"/>
                <a:gd name="T24" fmla="*/ 753 w 1508"/>
                <a:gd name="T25" fmla="*/ 1399 h 1509"/>
                <a:gd name="T26" fmla="*/ 947 w 1508"/>
                <a:gd name="T27" fmla="*/ 1367 h 1509"/>
                <a:gd name="T28" fmla="*/ 1112 w 1508"/>
                <a:gd name="T29" fmla="*/ 1289 h 1509"/>
                <a:gd name="T30" fmla="*/ 1253 w 1508"/>
                <a:gd name="T31" fmla="*/ 1159 h 1509"/>
                <a:gd name="T32" fmla="*/ 1347 w 1508"/>
                <a:gd name="T33" fmla="*/ 1005 h 1509"/>
                <a:gd name="T34" fmla="*/ 1394 w 1508"/>
                <a:gd name="T35" fmla="*/ 826 h 1509"/>
                <a:gd name="T36" fmla="*/ 1394 w 1508"/>
                <a:gd name="T37" fmla="*/ 683 h 1509"/>
                <a:gd name="T38" fmla="*/ 1367 w 1508"/>
                <a:gd name="T39" fmla="*/ 557 h 1509"/>
                <a:gd name="T40" fmla="*/ 1290 w 1508"/>
                <a:gd name="T41" fmla="*/ 396 h 1509"/>
                <a:gd name="T42" fmla="*/ 1159 w 1508"/>
                <a:gd name="T43" fmla="*/ 253 h 1509"/>
                <a:gd name="T44" fmla="*/ 1004 w 1508"/>
                <a:gd name="T45" fmla="*/ 161 h 1509"/>
                <a:gd name="T46" fmla="*/ 826 w 1508"/>
                <a:gd name="T47" fmla="*/ 114 h 1509"/>
                <a:gd name="T48" fmla="*/ 826 w 1508"/>
                <a:gd name="T49" fmla="*/ 4 h 1509"/>
                <a:gd name="T50" fmla="*/ 973 w 1508"/>
                <a:gd name="T51" fmla="*/ 33 h 1509"/>
                <a:gd name="T52" fmla="*/ 1108 w 1508"/>
                <a:gd name="T53" fmla="*/ 88 h 1509"/>
                <a:gd name="T54" fmla="*/ 1237 w 1508"/>
                <a:gd name="T55" fmla="*/ 175 h 1509"/>
                <a:gd name="T56" fmla="*/ 1373 w 1508"/>
                <a:gd name="T57" fmla="*/ 324 h 1509"/>
                <a:gd name="T58" fmla="*/ 1449 w 1508"/>
                <a:gd name="T59" fmla="*/ 459 h 1509"/>
                <a:gd name="T60" fmla="*/ 1492 w 1508"/>
                <a:gd name="T61" fmla="*/ 602 h 1509"/>
                <a:gd name="T62" fmla="*/ 1508 w 1508"/>
                <a:gd name="T63" fmla="*/ 753 h 1509"/>
                <a:gd name="T64" fmla="*/ 1492 w 1508"/>
                <a:gd name="T65" fmla="*/ 904 h 1509"/>
                <a:gd name="T66" fmla="*/ 1449 w 1508"/>
                <a:gd name="T67" fmla="*/ 1048 h 1509"/>
                <a:gd name="T68" fmla="*/ 1373 w 1508"/>
                <a:gd name="T69" fmla="*/ 1185 h 1509"/>
                <a:gd name="T70" fmla="*/ 1237 w 1508"/>
                <a:gd name="T71" fmla="*/ 1332 h 1509"/>
                <a:gd name="T72" fmla="*/ 1108 w 1508"/>
                <a:gd name="T73" fmla="*/ 1420 h 1509"/>
                <a:gd name="T74" fmla="*/ 973 w 1508"/>
                <a:gd name="T75" fmla="*/ 1475 h 1509"/>
                <a:gd name="T76" fmla="*/ 826 w 1508"/>
                <a:gd name="T77" fmla="*/ 1505 h 1509"/>
                <a:gd name="T78" fmla="*/ 671 w 1508"/>
                <a:gd name="T79" fmla="*/ 1505 h 1509"/>
                <a:gd name="T80" fmla="*/ 523 w 1508"/>
                <a:gd name="T81" fmla="*/ 1473 h 1509"/>
                <a:gd name="T82" fmla="*/ 341 w 1508"/>
                <a:gd name="T83" fmla="*/ 1385 h 1509"/>
                <a:gd name="T84" fmla="*/ 219 w 1508"/>
                <a:gd name="T85" fmla="*/ 1287 h 1509"/>
                <a:gd name="T86" fmla="*/ 123 w 1508"/>
                <a:gd name="T87" fmla="*/ 1167 h 1509"/>
                <a:gd name="T88" fmla="*/ 35 w 1508"/>
                <a:gd name="T89" fmla="*/ 983 h 1509"/>
                <a:gd name="T90" fmla="*/ 4 w 1508"/>
                <a:gd name="T91" fmla="*/ 836 h 1509"/>
                <a:gd name="T92" fmla="*/ 4 w 1508"/>
                <a:gd name="T93" fmla="*/ 683 h 1509"/>
                <a:gd name="T94" fmla="*/ 33 w 1508"/>
                <a:gd name="T95" fmla="*/ 536 h 1509"/>
                <a:gd name="T96" fmla="*/ 88 w 1508"/>
                <a:gd name="T97" fmla="*/ 398 h 1509"/>
                <a:gd name="T98" fmla="*/ 174 w 1508"/>
                <a:gd name="T99" fmla="*/ 269 h 1509"/>
                <a:gd name="T100" fmla="*/ 323 w 1508"/>
                <a:gd name="T101" fmla="*/ 135 h 1509"/>
                <a:gd name="T102" fmla="*/ 459 w 1508"/>
                <a:gd name="T103" fmla="*/ 59 h 1509"/>
                <a:gd name="T104" fmla="*/ 602 w 1508"/>
                <a:gd name="T105" fmla="*/ 16 h 1509"/>
                <a:gd name="T106" fmla="*/ 753 w 1508"/>
                <a:gd name="T107" fmla="*/ 0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08" h="1509">
                  <a:moveTo>
                    <a:pt x="753" y="110"/>
                  </a:moveTo>
                  <a:lnTo>
                    <a:pt x="682" y="114"/>
                  </a:lnTo>
                  <a:lnTo>
                    <a:pt x="682" y="114"/>
                  </a:lnTo>
                  <a:lnTo>
                    <a:pt x="623" y="124"/>
                  </a:lnTo>
                  <a:lnTo>
                    <a:pt x="557" y="141"/>
                  </a:lnTo>
                  <a:lnTo>
                    <a:pt x="557" y="141"/>
                  </a:lnTo>
                  <a:lnTo>
                    <a:pt x="502" y="161"/>
                  </a:lnTo>
                  <a:lnTo>
                    <a:pt x="441" y="190"/>
                  </a:lnTo>
                  <a:lnTo>
                    <a:pt x="394" y="220"/>
                  </a:lnTo>
                  <a:lnTo>
                    <a:pt x="347" y="253"/>
                  </a:lnTo>
                  <a:lnTo>
                    <a:pt x="298" y="298"/>
                  </a:lnTo>
                  <a:lnTo>
                    <a:pt x="253" y="347"/>
                  </a:lnTo>
                  <a:lnTo>
                    <a:pt x="219" y="394"/>
                  </a:lnTo>
                  <a:lnTo>
                    <a:pt x="190" y="441"/>
                  </a:lnTo>
                  <a:lnTo>
                    <a:pt x="161" y="502"/>
                  </a:lnTo>
                  <a:lnTo>
                    <a:pt x="141" y="557"/>
                  </a:lnTo>
                  <a:lnTo>
                    <a:pt x="141" y="557"/>
                  </a:lnTo>
                  <a:lnTo>
                    <a:pt x="123" y="624"/>
                  </a:lnTo>
                  <a:lnTo>
                    <a:pt x="114" y="683"/>
                  </a:lnTo>
                  <a:lnTo>
                    <a:pt x="114" y="683"/>
                  </a:lnTo>
                  <a:lnTo>
                    <a:pt x="110" y="753"/>
                  </a:lnTo>
                  <a:lnTo>
                    <a:pt x="114" y="826"/>
                  </a:lnTo>
                  <a:lnTo>
                    <a:pt x="123" y="883"/>
                  </a:lnTo>
                  <a:lnTo>
                    <a:pt x="141" y="948"/>
                  </a:lnTo>
                  <a:lnTo>
                    <a:pt x="161" y="1005"/>
                  </a:lnTo>
                  <a:lnTo>
                    <a:pt x="190" y="1065"/>
                  </a:lnTo>
                  <a:lnTo>
                    <a:pt x="219" y="1114"/>
                  </a:lnTo>
                  <a:lnTo>
                    <a:pt x="253" y="1159"/>
                  </a:lnTo>
                  <a:lnTo>
                    <a:pt x="298" y="1209"/>
                  </a:lnTo>
                  <a:lnTo>
                    <a:pt x="347" y="1254"/>
                  </a:lnTo>
                  <a:lnTo>
                    <a:pt x="396" y="1291"/>
                  </a:lnTo>
                  <a:lnTo>
                    <a:pt x="441" y="1318"/>
                  </a:lnTo>
                  <a:lnTo>
                    <a:pt x="502" y="1348"/>
                  </a:lnTo>
                  <a:lnTo>
                    <a:pt x="557" y="1367"/>
                  </a:lnTo>
                  <a:lnTo>
                    <a:pt x="557" y="1367"/>
                  </a:lnTo>
                  <a:lnTo>
                    <a:pt x="623" y="1385"/>
                  </a:lnTo>
                  <a:lnTo>
                    <a:pt x="682" y="1395"/>
                  </a:lnTo>
                  <a:lnTo>
                    <a:pt x="682" y="1395"/>
                  </a:lnTo>
                  <a:lnTo>
                    <a:pt x="753" y="1399"/>
                  </a:lnTo>
                  <a:lnTo>
                    <a:pt x="826" y="1395"/>
                  </a:lnTo>
                  <a:lnTo>
                    <a:pt x="882" y="1385"/>
                  </a:lnTo>
                  <a:lnTo>
                    <a:pt x="947" y="1367"/>
                  </a:lnTo>
                  <a:lnTo>
                    <a:pt x="1004" y="1348"/>
                  </a:lnTo>
                  <a:lnTo>
                    <a:pt x="1065" y="1318"/>
                  </a:lnTo>
                  <a:lnTo>
                    <a:pt x="1112" y="1289"/>
                  </a:lnTo>
                  <a:lnTo>
                    <a:pt x="1159" y="1254"/>
                  </a:lnTo>
                  <a:lnTo>
                    <a:pt x="1208" y="1209"/>
                  </a:lnTo>
                  <a:lnTo>
                    <a:pt x="1253" y="1159"/>
                  </a:lnTo>
                  <a:lnTo>
                    <a:pt x="1288" y="1112"/>
                  </a:lnTo>
                  <a:lnTo>
                    <a:pt x="1318" y="1065"/>
                  </a:lnTo>
                  <a:lnTo>
                    <a:pt x="1347" y="1005"/>
                  </a:lnTo>
                  <a:lnTo>
                    <a:pt x="1367" y="948"/>
                  </a:lnTo>
                  <a:lnTo>
                    <a:pt x="1384" y="883"/>
                  </a:lnTo>
                  <a:lnTo>
                    <a:pt x="1394" y="826"/>
                  </a:lnTo>
                  <a:lnTo>
                    <a:pt x="1398" y="753"/>
                  </a:lnTo>
                  <a:lnTo>
                    <a:pt x="1394" y="683"/>
                  </a:lnTo>
                  <a:lnTo>
                    <a:pt x="1394" y="683"/>
                  </a:lnTo>
                  <a:lnTo>
                    <a:pt x="1384" y="624"/>
                  </a:lnTo>
                  <a:lnTo>
                    <a:pt x="1367" y="557"/>
                  </a:lnTo>
                  <a:lnTo>
                    <a:pt x="1367" y="557"/>
                  </a:lnTo>
                  <a:lnTo>
                    <a:pt x="1347" y="502"/>
                  </a:lnTo>
                  <a:lnTo>
                    <a:pt x="1318" y="441"/>
                  </a:lnTo>
                  <a:lnTo>
                    <a:pt x="1290" y="396"/>
                  </a:lnTo>
                  <a:lnTo>
                    <a:pt x="1253" y="347"/>
                  </a:lnTo>
                  <a:lnTo>
                    <a:pt x="1208" y="298"/>
                  </a:lnTo>
                  <a:lnTo>
                    <a:pt x="1159" y="253"/>
                  </a:lnTo>
                  <a:lnTo>
                    <a:pt x="1114" y="220"/>
                  </a:lnTo>
                  <a:lnTo>
                    <a:pt x="1065" y="190"/>
                  </a:lnTo>
                  <a:lnTo>
                    <a:pt x="1004" y="161"/>
                  </a:lnTo>
                  <a:lnTo>
                    <a:pt x="947" y="141"/>
                  </a:lnTo>
                  <a:lnTo>
                    <a:pt x="882" y="124"/>
                  </a:lnTo>
                  <a:lnTo>
                    <a:pt x="826" y="114"/>
                  </a:lnTo>
                  <a:lnTo>
                    <a:pt x="753" y="110"/>
                  </a:lnTo>
                  <a:close/>
                  <a:moveTo>
                    <a:pt x="753" y="0"/>
                  </a:moveTo>
                  <a:lnTo>
                    <a:pt x="826" y="4"/>
                  </a:lnTo>
                  <a:lnTo>
                    <a:pt x="835" y="4"/>
                  </a:lnTo>
                  <a:lnTo>
                    <a:pt x="904" y="16"/>
                  </a:lnTo>
                  <a:lnTo>
                    <a:pt x="973" y="33"/>
                  </a:lnTo>
                  <a:lnTo>
                    <a:pt x="982" y="35"/>
                  </a:lnTo>
                  <a:lnTo>
                    <a:pt x="1047" y="59"/>
                  </a:lnTo>
                  <a:lnTo>
                    <a:pt x="1108" y="88"/>
                  </a:lnTo>
                  <a:lnTo>
                    <a:pt x="1167" y="124"/>
                  </a:lnTo>
                  <a:lnTo>
                    <a:pt x="1184" y="135"/>
                  </a:lnTo>
                  <a:lnTo>
                    <a:pt x="1237" y="175"/>
                  </a:lnTo>
                  <a:lnTo>
                    <a:pt x="1286" y="220"/>
                  </a:lnTo>
                  <a:lnTo>
                    <a:pt x="1332" y="269"/>
                  </a:lnTo>
                  <a:lnTo>
                    <a:pt x="1373" y="324"/>
                  </a:lnTo>
                  <a:lnTo>
                    <a:pt x="1384" y="341"/>
                  </a:lnTo>
                  <a:lnTo>
                    <a:pt x="1420" y="398"/>
                  </a:lnTo>
                  <a:lnTo>
                    <a:pt x="1449" y="459"/>
                  </a:lnTo>
                  <a:lnTo>
                    <a:pt x="1473" y="524"/>
                  </a:lnTo>
                  <a:lnTo>
                    <a:pt x="1475" y="536"/>
                  </a:lnTo>
                  <a:lnTo>
                    <a:pt x="1492" y="602"/>
                  </a:lnTo>
                  <a:lnTo>
                    <a:pt x="1504" y="671"/>
                  </a:lnTo>
                  <a:lnTo>
                    <a:pt x="1504" y="683"/>
                  </a:lnTo>
                  <a:lnTo>
                    <a:pt x="1508" y="753"/>
                  </a:lnTo>
                  <a:lnTo>
                    <a:pt x="1504" y="826"/>
                  </a:lnTo>
                  <a:lnTo>
                    <a:pt x="1504" y="836"/>
                  </a:lnTo>
                  <a:lnTo>
                    <a:pt x="1492" y="904"/>
                  </a:lnTo>
                  <a:lnTo>
                    <a:pt x="1475" y="973"/>
                  </a:lnTo>
                  <a:lnTo>
                    <a:pt x="1473" y="983"/>
                  </a:lnTo>
                  <a:lnTo>
                    <a:pt x="1449" y="1048"/>
                  </a:lnTo>
                  <a:lnTo>
                    <a:pt x="1420" y="1108"/>
                  </a:lnTo>
                  <a:lnTo>
                    <a:pt x="1384" y="1167"/>
                  </a:lnTo>
                  <a:lnTo>
                    <a:pt x="1373" y="1185"/>
                  </a:lnTo>
                  <a:lnTo>
                    <a:pt x="1332" y="1238"/>
                  </a:lnTo>
                  <a:lnTo>
                    <a:pt x="1286" y="1287"/>
                  </a:lnTo>
                  <a:lnTo>
                    <a:pt x="1237" y="1332"/>
                  </a:lnTo>
                  <a:lnTo>
                    <a:pt x="1184" y="1373"/>
                  </a:lnTo>
                  <a:lnTo>
                    <a:pt x="1167" y="1385"/>
                  </a:lnTo>
                  <a:lnTo>
                    <a:pt x="1108" y="1420"/>
                  </a:lnTo>
                  <a:lnTo>
                    <a:pt x="1047" y="1450"/>
                  </a:lnTo>
                  <a:lnTo>
                    <a:pt x="982" y="1473"/>
                  </a:lnTo>
                  <a:lnTo>
                    <a:pt x="973" y="1475"/>
                  </a:lnTo>
                  <a:lnTo>
                    <a:pt x="904" y="1493"/>
                  </a:lnTo>
                  <a:lnTo>
                    <a:pt x="835" y="1505"/>
                  </a:lnTo>
                  <a:lnTo>
                    <a:pt x="826" y="1505"/>
                  </a:lnTo>
                  <a:lnTo>
                    <a:pt x="753" y="1509"/>
                  </a:lnTo>
                  <a:lnTo>
                    <a:pt x="682" y="1505"/>
                  </a:lnTo>
                  <a:lnTo>
                    <a:pt x="671" y="1505"/>
                  </a:lnTo>
                  <a:lnTo>
                    <a:pt x="602" y="1493"/>
                  </a:lnTo>
                  <a:lnTo>
                    <a:pt x="535" y="1475"/>
                  </a:lnTo>
                  <a:lnTo>
                    <a:pt x="523" y="1473"/>
                  </a:lnTo>
                  <a:lnTo>
                    <a:pt x="459" y="1450"/>
                  </a:lnTo>
                  <a:lnTo>
                    <a:pt x="398" y="1420"/>
                  </a:lnTo>
                  <a:lnTo>
                    <a:pt x="341" y="1385"/>
                  </a:lnTo>
                  <a:lnTo>
                    <a:pt x="323" y="1373"/>
                  </a:lnTo>
                  <a:lnTo>
                    <a:pt x="268" y="1332"/>
                  </a:lnTo>
                  <a:lnTo>
                    <a:pt x="219" y="1287"/>
                  </a:lnTo>
                  <a:lnTo>
                    <a:pt x="174" y="1238"/>
                  </a:lnTo>
                  <a:lnTo>
                    <a:pt x="135" y="1185"/>
                  </a:lnTo>
                  <a:lnTo>
                    <a:pt x="123" y="1167"/>
                  </a:lnTo>
                  <a:lnTo>
                    <a:pt x="88" y="1108"/>
                  </a:lnTo>
                  <a:lnTo>
                    <a:pt x="59" y="1048"/>
                  </a:lnTo>
                  <a:lnTo>
                    <a:pt x="35" y="983"/>
                  </a:lnTo>
                  <a:lnTo>
                    <a:pt x="33" y="973"/>
                  </a:lnTo>
                  <a:lnTo>
                    <a:pt x="15" y="904"/>
                  </a:lnTo>
                  <a:lnTo>
                    <a:pt x="4" y="836"/>
                  </a:lnTo>
                  <a:lnTo>
                    <a:pt x="4" y="826"/>
                  </a:lnTo>
                  <a:lnTo>
                    <a:pt x="0" y="753"/>
                  </a:lnTo>
                  <a:lnTo>
                    <a:pt x="4" y="683"/>
                  </a:lnTo>
                  <a:lnTo>
                    <a:pt x="4" y="671"/>
                  </a:lnTo>
                  <a:lnTo>
                    <a:pt x="15" y="602"/>
                  </a:lnTo>
                  <a:lnTo>
                    <a:pt x="33" y="536"/>
                  </a:lnTo>
                  <a:lnTo>
                    <a:pt x="35" y="524"/>
                  </a:lnTo>
                  <a:lnTo>
                    <a:pt x="59" y="459"/>
                  </a:lnTo>
                  <a:lnTo>
                    <a:pt x="88" y="398"/>
                  </a:lnTo>
                  <a:lnTo>
                    <a:pt x="123" y="341"/>
                  </a:lnTo>
                  <a:lnTo>
                    <a:pt x="135" y="324"/>
                  </a:lnTo>
                  <a:lnTo>
                    <a:pt x="174" y="269"/>
                  </a:lnTo>
                  <a:lnTo>
                    <a:pt x="219" y="220"/>
                  </a:lnTo>
                  <a:lnTo>
                    <a:pt x="268" y="175"/>
                  </a:lnTo>
                  <a:lnTo>
                    <a:pt x="323" y="135"/>
                  </a:lnTo>
                  <a:lnTo>
                    <a:pt x="341" y="124"/>
                  </a:lnTo>
                  <a:lnTo>
                    <a:pt x="398" y="88"/>
                  </a:lnTo>
                  <a:lnTo>
                    <a:pt x="459" y="59"/>
                  </a:lnTo>
                  <a:lnTo>
                    <a:pt x="523" y="35"/>
                  </a:lnTo>
                  <a:lnTo>
                    <a:pt x="535" y="33"/>
                  </a:lnTo>
                  <a:lnTo>
                    <a:pt x="602" y="16"/>
                  </a:lnTo>
                  <a:lnTo>
                    <a:pt x="671" y="4"/>
                  </a:lnTo>
                  <a:lnTo>
                    <a:pt x="682" y="4"/>
                  </a:lnTo>
                  <a:lnTo>
                    <a:pt x="753" y="0"/>
                  </a:lnTo>
                  <a:close/>
                </a:path>
              </a:pathLst>
            </a:custGeom>
            <a:solidFill>
              <a:schemeClr val="accent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1616">
              <a:extLst>
                <a:ext uri="{FF2B5EF4-FFF2-40B4-BE49-F238E27FC236}">
                  <a16:creationId xmlns:a16="http://schemas.microsoft.com/office/drawing/2014/main" id="{EE583D2A-AA95-3346-8883-20A1DFA4E6DB}"/>
                </a:ext>
              </a:extLst>
            </p:cNvPr>
            <p:cNvSpPr>
              <a:spLocks/>
            </p:cNvSpPr>
            <p:nvPr/>
          </p:nvSpPr>
          <p:spPr bwMode="auto">
            <a:xfrm>
              <a:off x="2764529" y="970936"/>
              <a:ext cx="1322388" cy="1323975"/>
            </a:xfrm>
            <a:custGeom>
              <a:avLst/>
              <a:gdLst>
                <a:gd name="T0" fmla="*/ 833 w 1667"/>
                <a:gd name="T1" fmla="*/ 0 h 1668"/>
                <a:gd name="T2" fmla="*/ 930 w 1667"/>
                <a:gd name="T3" fmla="*/ 6 h 1668"/>
                <a:gd name="T4" fmla="*/ 1024 w 1667"/>
                <a:gd name="T5" fmla="*/ 22 h 1668"/>
                <a:gd name="T6" fmla="*/ 1114 w 1667"/>
                <a:gd name="T7" fmla="*/ 47 h 1668"/>
                <a:gd name="T8" fmla="*/ 1200 w 1667"/>
                <a:gd name="T9" fmla="*/ 85 h 1668"/>
                <a:gd name="T10" fmla="*/ 1281 w 1667"/>
                <a:gd name="T11" fmla="*/ 130 h 1668"/>
                <a:gd name="T12" fmla="*/ 1355 w 1667"/>
                <a:gd name="T13" fmla="*/ 183 h 1668"/>
                <a:gd name="T14" fmla="*/ 1422 w 1667"/>
                <a:gd name="T15" fmla="*/ 244 h 1668"/>
                <a:gd name="T16" fmla="*/ 1483 w 1667"/>
                <a:gd name="T17" fmla="*/ 312 h 1668"/>
                <a:gd name="T18" fmla="*/ 1538 w 1667"/>
                <a:gd name="T19" fmla="*/ 387 h 1668"/>
                <a:gd name="T20" fmla="*/ 1583 w 1667"/>
                <a:gd name="T21" fmla="*/ 467 h 1668"/>
                <a:gd name="T22" fmla="*/ 1618 w 1667"/>
                <a:gd name="T23" fmla="*/ 552 h 1668"/>
                <a:gd name="T24" fmla="*/ 1645 w 1667"/>
                <a:gd name="T25" fmla="*/ 642 h 1668"/>
                <a:gd name="T26" fmla="*/ 1661 w 1667"/>
                <a:gd name="T27" fmla="*/ 736 h 1668"/>
                <a:gd name="T28" fmla="*/ 1667 w 1667"/>
                <a:gd name="T29" fmla="*/ 834 h 1668"/>
                <a:gd name="T30" fmla="*/ 1661 w 1667"/>
                <a:gd name="T31" fmla="*/ 930 h 1668"/>
                <a:gd name="T32" fmla="*/ 1645 w 1667"/>
                <a:gd name="T33" fmla="*/ 1024 h 1668"/>
                <a:gd name="T34" fmla="*/ 1618 w 1667"/>
                <a:gd name="T35" fmla="*/ 1115 h 1668"/>
                <a:gd name="T36" fmla="*/ 1583 w 1667"/>
                <a:gd name="T37" fmla="*/ 1201 h 1668"/>
                <a:gd name="T38" fmla="*/ 1538 w 1667"/>
                <a:gd name="T39" fmla="*/ 1279 h 1668"/>
                <a:gd name="T40" fmla="*/ 1483 w 1667"/>
                <a:gd name="T41" fmla="*/ 1354 h 1668"/>
                <a:gd name="T42" fmla="*/ 1422 w 1667"/>
                <a:gd name="T43" fmla="*/ 1423 h 1668"/>
                <a:gd name="T44" fmla="*/ 1355 w 1667"/>
                <a:gd name="T45" fmla="*/ 1484 h 1668"/>
                <a:gd name="T46" fmla="*/ 1281 w 1667"/>
                <a:gd name="T47" fmla="*/ 1536 h 1668"/>
                <a:gd name="T48" fmla="*/ 1200 w 1667"/>
                <a:gd name="T49" fmla="*/ 1582 h 1668"/>
                <a:gd name="T50" fmla="*/ 1114 w 1667"/>
                <a:gd name="T51" fmla="*/ 1619 h 1668"/>
                <a:gd name="T52" fmla="*/ 1024 w 1667"/>
                <a:gd name="T53" fmla="*/ 1644 h 1668"/>
                <a:gd name="T54" fmla="*/ 930 w 1667"/>
                <a:gd name="T55" fmla="*/ 1662 h 1668"/>
                <a:gd name="T56" fmla="*/ 833 w 1667"/>
                <a:gd name="T57" fmla="*/ 1668 h 1668"/>
                <a:gd name="T58" fmla="*/ 735 w 1667"/>
                <a:gd name="T59" fmla="*/ 1662 h 1668"/>
                <a:gd name="T60" fmla="*/ 641 w 1667"/>
                <a:gd name="T61" fmla="*/ 1644 h 1668"/>
                <a:gd name="T62" fmla="*/ 551 w 1667"/>
                <a:gd name="T63" fmla="*/ 1619 h 1668"/>
                <a:gd name="T64" fmla="*/ 467 w 1667"/>
                <a:gd name="T65" fmla="*/ 1582 h 1668"/>
                <a:gd name="T66" fmla="*/ 386 w 1667"/>
                <a:gd name="T67" fmla="*/ 1536 h 1668"/>
                <a:gd name="T68" fmla="*/ 312 w 1667"/>
                <a:gd name="T69" fmla="*/ 1484 h 1668"/>
                <a:gd name="T70" fmla="*/ 243 w 1667"/>
                <a:gd name="T71" fmla="*/ 1423 h 1668"/>
                <a:gd name="T72" fmla="*/ 182 w 1667"/>
                <a:gd name="T73" fmla="*/ 1354 h 1668"/>
                <a:gd name="T74" fmla="*/ 129 w 1667"/>
                <a:gd name="T75" fmla="*/ 1279 h 1668"/>
                <a:gd name="T76" fmla="*/ 84 w 1667"/>
                <a:gd name="T77" fmla="*/ 1201 h 1668"/>
                <a:gd name="T78" fmla="*/ 49 w 1667"/>
                <a:gd name="T79" fmla="*/ 1115 h 1668"/>
                <a:gd name="T80" fmla="*/ 21 w 1667"/>
                <a:gd name="T81" fmla="*/ 1024 h 1668"/>
                <a:gd name="T82" fmla="*/ 6 w 1667"/>
                <a:gd name="T83" fmla="*/ 930 h 1668"/>
                <a:gd name="T84" fmla="*/ 0 w 1667"/>
                <a:gd name="T85" fmla="*/ 834 h 1668"/>
                <a:gd name="T86" fmla="*/ 6 w 1667"/>
                <a:gd name="T87" fmla="*/ 736 h 1668"/>
                <a:gd name="T88" fmla="*/ 21 w 1667"/>
                <a:gd name="T89" fmla="*/ 642 h 1668"/>
                <a:gd name="T90" fmla="*/ 49 w 1667"/>
                <a:gd name="T91" fmla="*/ 552 h 1668"/>
                <a:gd name="T92" fmla="*/ 84 w 1667"/>
                <a:gd name="T93" fmla="*/ 467 h 1668"/>
                <a:gd name="T94" fmla="*/ 129 w 1667"/>
                <a:gd name="T95" fmla="*/ 387 h 1668"/>
                <a:gd name="T96" fmla="*/ 182 w 1667"/>
                <a:gd name="T97" fmla="*/ 312 h 1668"/>
                <a:gd name="T98" fmla="*/ 243 w 1667"/>
                <a:gd name="T99" fmla="*/ 244 h 1668"/>
                <a:gd name="T100" fmla="*/ 312 w 1667"/>
                <a:gd name="T101" fmla="*/ 183 h 1668"/>
                <a:gd name="T102" fmla="*/ 386 w 1667"/>
                <a:gd name="T103" fmla="*/ 130 h 1668"/>
                <a:gd name="T104" fmla="*/ 467 w 1667"/>
                <a:gd name="T105" fmla="*/ 85 h 1668"/>
                <a:gd name="T106" fmla="*/ 551 w 1667"/>
                <a:gd name="T107" fmla="*/ 47 h 1668"/>
                <a:gd name="T108" fmla="*/ 641 w 1667"/>
                <a:gd name="T109" fmla="*/ 22 h 1668"/>
                <a:gd name="T110" fmla="*/ 735 w 1667"/>
                <a:gd name="T111" fmla="*/ 6 h 1668"/>
                <a:gd name="T112" fmla="*/ 833 w 1667"/>
                <a:gd name="T113" fmla="*/ 0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67" h="1668">
                  <a:moveTo>
                    <a:pt x="833" y="0"/>
                  </a:moveTo>
                  <a:lnTo>
                    <a:pt x="930" y="6"/>
                  </a:lnTo>
                  <a:lnTo>
                    <a:pt x="1024" y="22"/>
                  </a:lnTo>
                  <a:lnTo>
                    <a:pt x="1114" y="47"/>
                  </a:lnTo>
                  <a:lnTo>
                    <a:pt x="1200" y="85"/>
                  </a:lnTo>
                  <a:lnTo>
                    <a:pt x="1281" y="130"/>
                  </a:lnTo>
                  <a:lnTo>
                    <a:pt x="1355" y="183"/>
                  </a:lnTo>
                  <a:lnTo>
                    <a:pt x="1422" y="244"/>
                  </a:lnTo>
                  <a:lnTo>
                    <a:pt x="1483" y="312"/>
                  </a:lnTo>
                  <a:lnTo>
                    <a:pt x="1538" y="387"/>
                  </a:lnTo>
                  <a:lnTo>
                    <a:pt x="1583" y="467"/>
                  </a:lnTo>
                  <a:lnTo>
                    <a:pt x="1618" y="552"/>
                  </a:lnTo>
                  <a:lnTo>
                    <a:pt x="1645" y="642"/>
                  </a:lnTo>
                  <a:lnTo>
                    <a:pt x="1661" y="736"/>
                  </a:lnTo>
                  <a:lnTo>
                    <a:pt x="1667" y="834"/>
                  </a:lnTo>
                  <a:lnTo>
                    <a:pt x="1661" y="930"/>
                  </a:lnTo>
                  <a:lnTo>
                    <a:pt x="1645" y="1024"/>
                  </a:lnTo>
                  <a:lnTo>
                    <a:pt x="1618" y="1115"/>
                  </a:lnTo>
                  <a:lnTo>
                    <a:pt x="1583" y="1201"/>
                  </a:lnTo>
                  <a:lnTo>
                    <a:pt x="1538" y="1279"/>
                  </a:lnTo>
                  <a:lnTo>
                    <a:pt x="1483" y="1354"/>
                  </a:lnTo>
                  <a:lnTo>
                    <a:pt x="1422" y="1423"/>
                  </a:lnTo>
                  <a:lnTo>
                    <a:pt x="1355" y="1484"/>
                  </a:lnTo>
                  <a:lnTo>
                    <a:pt x="1281" y="1536"/>
                  </a:lnTo>
                  <a:lnTo>
                    <a:pt x="1200" y="1582"/>
                  </a:lnTo>
                  <a:lnTo>
                    <a:pt x="1114" y="1619"/>
                  </a:lnTo>
                  <a:lnTo>
                    <a:pt x="1024" y="1644"/>
                  </a:lnTo>
                  <a:lnTo>
                    <a:pt x="930" y="1662"/>
                  </a:lnTo>
                  <a:lnTo>
                    <a:pt x="833" y="1668"/>
                  </a:lnTo>
                  <a:lnTo>
                    <a:pt x="735" y="1662"/>
                  </a:lnTo>
                  <a:lnTo>
                    <a:pt x="641" y="1644"/>
                  </a:lnTo>
                  <a:lnTo>
                    <a:pt x="551" y="1619"/>
                  </a:lnTo>
                  <a:lnTo>
                    <a:pt x="467" y="1582"/>
                  </a:lnTo>
                  <a:lnTo>
                    <a:pt x="386" y="1536"/>
                  </a:lnTo>
                  <a:lnTo>
                    <a:pt x="312" y="1484"/>
                  </a:lnTo>
                  <a:lnTo>
                    <a:pt x="243" y="1423"/>
                  </a:lnTo>
                  <a:lnTo>
                    <a:pt x="182" y="1354"/>
                  </a:lnTo>
                  <a:lnTo>
                    <a:pt x="129" y="1279"/>
                  </a:lnTo>
                  <a:lnTo>
                    <a:pt x="84" y="1201"/>
                  </a:lnTo>
                  <a:lnTo>
                    <a:pt x="49" y="1115"/>
                  </a:lnTo>
                  <a:lnTo>
                    <a:pt x="21" y="1024"/>
                  </a:lnTo>
                  <a:lnTo>
                    <a:pt x="6" y="930"/>
                  </a:lnTo>
                  <a:lnTo>
                    <a:pt x="0" y="834"/>
                  </a:lnTo>
                  <a:lnTo>
                    <a:pt x="6" y="736"/>
                  </a:lnTo>
                  <a:lnTo>
                    <a:pt x="21" y="642"/>
                  </a:lnTo>
                  <a:lnTo>
                    <a:pt x="49" y="552"/>
                  </a:lnTo>
                  <a:lnTo>
                    <a:pt x="84" y="467"/>
                  </a:lnTo>
                  <a:lnTo>
                    <a:pt x="129" y="387"/>
                  </a:lnTo>
                  <a:lnTo>
                    <a:pt x="182" y="312"/>
                  </a:lnTo>
                  <a:lnTo>
                    <a:pt x="243" y="244"/>
                  </a:lnTo>
                  <a:lnTo>
                    <a:pt x="312" y="183"/>
                  </a:lnTo>
                  <a:lnTo>
                    <a:pt x="386" y="130"/>
                  </a:lnTo>
                  <a:lnTo>
                    <a:pt x="467" y="85"/>
                  </a:lnTo>
                  <a:lnTo>
                    <a:pt x="551" y="47"/>
                  </a:lnTo>
                  <a:lnTo>
                    <a:pt x="641" y="22"/>
                  </a:lnTo>
                  <a:lnTo>
                    <a:pt x="735" y="6"/>
                  </a:lnTo>
                  <a:lnTo>
                    <a:pt x="833" y="0"/>
                  </a:lnTo>
                  <a:close/>
                </a:path>
              </a:pathLst>
            </a:custGeom>
            <a:solidFill>
              <a:schemeClr val="accent3"/>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1617">
              <a:extLst>
                <a:ext uri="{FF2B5EF4-FFF2-40B4-BE49-F238E27FC236}">
                  <a16:creationId xmlns:a16="http://schemas.microsoft.com/office/drawing/2014/main" id="{25906E3F-E283-C34B-AA95-3B37C6D9CCF8}"/>
                </a:ext>
              </a:extLst>
            </p:cNvPr>
            <p:cNvSpPr>
              <a:spLocks noEditPoints="1"/>
            </p:cNvSpPr>
            <p:nvPr/>
          </p:nvSpPr>
          <p:spPr bwMode="auto">
            <a:xfrm>
              <a:off x="2812154" y="1020148"/>
              <a:ext cx="1227138" cy="1227137"/>
            </a:xfrm>
            <a:custGeom>
              <a:avLst/>
              <a:gdLst>
                <a:gd name="T0" fmla="*/ 631 w 1545"/>
                <a:gd name="T1" fmla="*/ 104 h 1546"/>
                <a:gd name="T2" fmla="*/ 443 w 1545"/>
                <a:gd name="T3" fmla="*/ 175 h 1546"/>
                <a:gd name="T4" fmla="*/ 290 w 1545"/>
                <a:gd name="T5" fmla="*/ 291 h 1546"/>
                <a:gd name="T6" fmla="*/ 174 w 1545"/>
                <a:gd name="T7" fmla="*/ 444 h 1546"/>
                <a:gd name="T8" fmla="*/ 104 w 1545"/>
                <a:gd name="T9" fmla="*/ 632 h 1546"/>
                <a:gd name="T10" fmla="*/ 94 w 1545"/>
                <a:gd name="T11" fmla="*/ 848 h 1546"/>
                <a:gd name="T12" fmla="*/ 145 w 1545"/>
                <a:gd name="T13" fmla="*/ 1038 h 1546"/>
                <a:gd name="T14" fmla="*/ 243 w 1545"/>
                <a:gd name="T15" fmla="*/ 1203 h 1546"/>
                <a:gd name="T16" fmla="*/ 386 w 1545"/>
                <a:gd name="T17" fmla="*/ 1332 h 1546"/>
                <a:gd name="T18" fmla="*/ 574 w 1545"/>
                <a:gd name="T19" fmla="*/ 1424 h 1546"/>
                <a:gd name="T20" fmla="*/ 772 w 1545"/>
                <a:gd name="T21" fmla="*/ 1454 h 1546"/>
                <a:gd name="T22" fmla="*/ 970 w 1545"/>
                <a:gd name="T23" fmla="*/ 1424 h 1546"/>
                <a:gd name="T24" fmla="*/ 1147 w 1545"/>
                <a:gd name="T25" fmla="*/ 1340 h 1546"/>
                <a:gd name="T26" fmla="*/ 1300 w 1545"/>
                <a:gd name="T27" fmla="*/ 1203 h 1546"/>
                <a:gd name="T28" fmla="*/ 1398 w 1545"/>
                <a:gd name="T29" fmla="*/ 1038 h 1546"/>
                <a:gd name="T30" fmla="*/ 1449 w 1545"/>
                <a:gd name="T31" fmla="*/ 848 h 1546"/>
                <a:gd name="T32" fmla="*/ 1439 w 1545"/>
                <a:gd name="T33" fmla="*/ 632 h 1546"/>
                <a:gd name="T34" fmla="*/ 1369 w 1545"/>
                <a:gd name="T35" fmla="*/ 444 h 1546"/>
                <a:gd name="T36" fmla="*/ 1253 w 1545"/>
                <a:gd name="T37" fmla="*/ 291 h 1546"/>
                <a:gd name="T38" fmla="*/ 1100 w 1545"/>
                <a:gd name="T39" fmla="*/ 175 h 1546"/>
                <a:gd name="T40" fmla="*/ 914 w 1545"/>
                <a:gd name="T41" fmla="*/ 104 h 1546"/>
                <a:gd name="T42" fmla="*/ 772 w 1545"/>
                <a:gd name="T43" fmla="*/ 0 h 1546"/>
                <a:gd name="T44" fmla="*/ 937 w 1545"/>
                <a:gd name="T45" fmla="*/ 18 h 1546"/>
                <a:gd name="T46" fmla="*/ 1135 w 1545"/>
                <a:gd name="T47" fmla="*/ 90 h 1546"/>
                <a:gd name="T48" fmla="*/ 1267 w 1545"/>
                <a:gd name="T49" fmla="*/ 179 h 1546"/>
                <a:gd name="T50" fmla="*/ 1406 w 1545"/>
                <a:gd name="T51" fmla="*/ 334 h 1546"/>
                <a:gd name="T52" fmla="*/ 1482 w 1545"/>
                <a:gd name="T53" fmla="*/ 473 h 1546"/>
                <a:gd name="T54" fmla="*/ 1529 w 1545"/>
                <a:gd name="T55" fmla="*/ 626 h 1546"/>
                <a:gd name="T56" fmla="*/ 1541 w 1545"/>
                <a:gd name="T57" fmla="*/ 848 h 1546"/>
                <a:gd name="T58" fmla="*/ 1508 w 1545"/>
                <a:gd name="T59" fmla="*/ 1007 h 1546"/>
                <a:gd name="T60" fmla="*/ 1416 w 1545"/>
                <a:gd name="T61" fmla="*/ 1197 h 1546"/>
                <a:gd name="T62" fmla="*/ 1318 w 1545"/>
                <a:gd name="T63" fmla="*/ 1319 h 1546"/>
                <a:gd name="T64" fmla="*/ 1196 w 1545"/>
                <a:gd name="T65" fmla="*/ 1417 h 1546"/>
                <a:gd name="T66" fmla="*/ 1006 w 1545"/>
                <a:gd name="T67" fmla="*/ 1509 h 1546"/>
                <a:gd name="T68" fmla="*/ 847 w 1545"/>
                <a:gd name="T69" fmla="*/ 1542 h 1546"/>
                <a:gd name="T70" fmla="*/ 625 w 1545"/>
                <a:gd name="T71" fmla="*/ 1530 h 1546"/>
                <a:gd name="T72" fmla="*/ 472 w 1545"/>
                <a:gd name="T73" fmla="*/ 1483 h 1546"/>
                <a:gd name="T74" fmla="*/ 333 w 1545"/>
                <a:gd name="T75" fmla="*/ 1407 h 1546"/>
                <a:gd name="T76" fmla="*/ 178 w 1545"/>
                <a:gd name="T77" fmla="*/ 1268 h 1546"/>
                <a:gd name="T78" fmla="*/ 90 w 1545"/>
                <a:gd name="T79" fmla="*/ 1136 h 1546"/>
                <a:gd name="T80" fmla="*/ 17 w 1545"/>
                <a:gd name="T81" fmla="*/ 938 h 1546"/>
                <a:gd name="T82" fmla="*/ 0 w 1545"/>
                <a:gd name="T83" fmla="*/ 773 h 1546"/>
                <a:gd name="T84" fmla="*/ 17 w 1545"/>
                <a:gd name="T85" fmla="*/ 608 h 1546"/>
                <a:gd name="T86" fmla="*/ 90 w 1545"/>
                <a:gd name="T87" fmla="*/ 408 h 1546"/>
                <a:gd name="T88" fmla="*/ 178 w 1545"/>
                <a:gd name="T89" fmla="*/ 277 h 1546"/>
                <a:gd name="T90" fmla="*/ 333 w 1545"/>
                <a:gd name="T91" fmla="*/ 138 h 1546"/>
                <a:gd name="T92" fmla="*/ 472 w 1545"/>
                <a:gd name="T93" fmla="*/ 61 h 1546"/>
                <a:gd name="T94" fmla="*/ 625 w 1545"/>
                <a:gd name="T95" fmla="*/ 14 h 1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5" h="1546">
                  <a:moveTo>
                    <a:pt x="772" y="92"/>
                  </a:moveTo>
                  <a:lnTo>
                    <a:pt x="698" y="94"/>
                  </a:lnTo>
                  <a:lnTo>
                    <a:pt x="631" y="104"/>
                  </a:lnTo>
                  <a:lnTo>
                    <a:pt x="574" y="120"/>
                  </a:lnTo>
                  <a:lnTo>
                    <a:pt x="508" y="145"/>
                  </a:lnTo>
                  <a:lnTo>
                    <a:pt x="443" y="175"/>
                  </a:lnTo>
                  <a:lnTo>
                    <a:pt x="386" y="212"/>
                  </a:lnTo>
                  <a:lnTo>
                    <a:pt x="341" y="243"/>
                  </a:lnTo>
                  <a:lnTo>
                    <a:pt x="290" y="291"/>
                  </a:lnTo>
                  <a:lnTo>
                    <a:pt x="243" y="342"/>
                  </a:lnTo>
                  <a:lnTo>
                    <a:pt x="211" y="387"/>
                  </a:lnTo>
                  <a:lnTo>
                    <a:pt x="174" y="444"/>
                  </a:lnTo>
                  <a:lnTo>
                    <a:pt x="145" y="508"/>
                  </a:lnTo>
                  <a:lnTo>
                    <a:pt x="119" y="575"/>
                  </a:lnTo>
                  <a:lnTo>
                    <a:pt x="104" y="632"/>
                  </a:lnTo>
                  <a:lnTo>
                    <a:pt x="94" y="699"/>
                  </a:lnTo>
                  <a:lnTo>
                    <a:pt x="92" y="773"/>
                  </a:lnTo>
                  <a:lnTo>
                    <a:pt x="94" y="848"/>
                  </a:lnTo>
                  <a:lnTo>
                    <a:pt x="104" y="914"/>
                  </a:lnTo>
                  <a:lnTo>
                    <a:pt x="119" y="971"/>
                  </a:lnTo>
                  <a:lnTo>
                    <a:pt x="145" y="1038"/>
                  </a:lnTo>
                  <a:lnTo>
                    <a:pt x="174" y="1101"/>
                  </a:lnTo>
                  <a:lnTo>
                    <a:pt x="204" y="1148"/>
                  </a:lnTo>
                  <a:lnTo>
                    <a:pt x="243" y="1203"/>
                  </a:lnTo>
                  <a:lnTo>
                    <a:pt x="290" y="1254"/>
                  </a:lnTo>
                  <a:lnTo>
                    <a:pt x="341" y="1301"/>
                  </a:lnTo>
                  <a:lnTo>
                    <a:pt x="386" y="1332"/>
                  </a:lnTo>
                  <a:lnTo>
                    <a:pt x="443" y="1370"/>
                  </a:lnTo>
                  <a:lnTo>
                    <a:pt x="508" y="1399"/>
                  </a:lnTo>
                  <a:lnTo>
                    <a:pt x="574" y="1424"/>
                  </a:lnTo>
                  <a:lnTo>
                    <a:pt x="631" y="1440"/>
                  </a:lnTo>
                  <a:lnTo>
                    <a:pt x="698" y="1450"/>
                  </a:lnTo>
                  <a:lnTo>
                    <a:pt x="772" y="1454"/>
                  </a:lnTo>
                  <a:lnTo>
                    <a:pt x="847" y="1450"/>
                  </a:lnTo>
                  <a:lnTo>
                    <a:pt x="914" y="1440"/>
                  </a:lnTo>
                  <a:lnTo>
                    <a:pt x="970" y="1424"/>
                  </a:lnTo>
                  <a:lnTo>
                    <a:pt x="1037" y="1399"/>
                  </a:lnTo>
                  <a:lnTo>
                    <a:pt x="1100" y="1370"/>
                  </a:lnTo>
                  <a:lnTo>
                    <a:pt x="1147" y="1340"/>
                  </a:lnTo>
                  <a:lnTo>
                    <a:pt x="1202" y="1301"/>
                  </a:lnTo>
                  <a:lnTo>
                    <a:pt x="1253" y="1254"/>
                  </a:lnTo>
                  <a:lnTo>
                    <a:pt x="1300" y="1203"/>
                  </a:lnTo>
                  <a:lnTo>
                    <a:pt x="1339" y="1148"/>
                  </a:lnTo>
                  <a:lnTo>
                    <a:pt x="1369" y="1101"/>
                  </a:lnTo>
                  <a:lnTo>
                    <a:pt x="1398" y="1038"/>
                  </a:lnTo>
                  <a:lnTo>
                    <a:pt x="1424" y="971"/>
                  </a:lnTo>
                  <a:lnTo>
                    <a:pt x="1439" y="914"/>
                  </a:lnTo>
                  <a:lnTo>
                    <a:pt x="1449" y="848"/>
                  </a:lnTo>
                  <a:lnTo>
                    <a:pt x="1453" y="773"/>
                  </a:lnTo>
                  <a:lnTo>
                    <a:pt x="1449" y="699"/>
                  </a:lnTo>
                  <a:lnTo>
                    <a:pt x="1439" y="632"/>
                  </a:lnTo>
                  <a:lnTo>
                    <a:pt x="1424" y="575"/>
                  </a:lnTo>
                  <a:lnTo>
                    <a:pt x="1398" y="508"/>
                  </a:lnTo>
                  <a:lnTo>
                    <a:pt x="1369" y="444"/>
                  </a:lnTo>
                  <a:lnTo>
                    <a:pt x="1331" y="387"/>
                  </a:lnTo>
                  <a:lnTo>
                    <a:pt x="1300" y="342"/>
                  </a:lnTo>
                  <a:lnTo>
                    <a:pt x="1253" y="291"/>
                  </a:lnTo>
                  <a:lnTo>
                    <a:pt x="1202" y="243"/>
                  </a:lnTo>
                  <a:lnTo>
                    <a:pt x="1147" y="204"/>
                  </a:lnTo>
                  <a:lnTo>
                    <a:pt x="1100" y="175"/>
                  </a:lnTo>
                  <a:lnTo>
                    <a:pt x="1037" y="145"/>
                  </a:lnTo>
                  <a:lnTo>
                    <a:pt x="970" y="120"/>
                  </a:lnTo>
                  <a:lnTo>
                    <a:pt x="914" y="104"/>
                  </a:lnTo>
                  <a:lnTo>
                    <a:pt x="847" y="94"/>
                  </a:lnTo>
                  <a:lnTo>
                    <a:pt x="772" y="92"/>
                  </a:lnTo>
                  <a:close/>
                  <a:moveTo>
                    <a:pt x="772" y="0"/>
                  </a:moveTo>
                  <a:lnTo>
                    <a:pt x="847" y="2"/>
                  </a:lnTo>
                  <a:lnTo>
                    <a:pt x="920" y="14"/>
                  </a:lnTo>
                  <a:lnTo>
                    <a:pt x="937" y="18"/>
                  </a:lnTo>
                  <a:lnTo>
                    <a:pt x="1006" y="36"/>
                  </a:lnTo>
                  <a:lnTo>
                    <a:pt x="1072" y="61"/>
                  </a:lnTo>
                  <a:lnTo>
                    <a:pt x="1135" y="90"/>
                  </a:lnTo>
                  <a:lnTo>
                    <a:pt x="1196" y="128"/>
                  </a:lnTo>
                  <a:lnTo>
                    <a:pt x="1210" y="138"/>
                  </a:lnTo>
                  <a:lnTo>
                    <a:pt x="1267" y="179"/>
                  </a:lnTo>
                  <a:lnTo>
                    <a:pt x="1318" y="226"/>
                  </a:lnTo>
                  <a:lnTo>
                    <a:pt x="1365" y="277"/>
                  </a:lnTo>
                  <a:lnTo>
                    <a:pt x="1406" y="334"/>
                  </a:lnTo>
                  <a:lnTo>
                    <a:pt x="1416" y="349"/>
                  </a:lnTo>
                  <a:lnTo>
                    <a:pt x="1453" y="408"/>
                  </a:lnTo>
                  <a:lnTo>
                    <a:pt x="1482" y="473"/>
                  </a:lnTo>
                  <a:lnTo>
                    <a:pt x="1508" y="540"/>
                  </a:lnTo>
                  <a:lnTo>
                    <a:pt x="1526" y="608"/>
                  </a:lnTo>
                  <a:lnTo>
                    <a:pt x="1529" y="626"/>
                  </a:lnTo>
                  <a:lnTo>
                    <a:pt x="1541" y="699"/>
                  </a:lnTo>
                  <a:lnTo>
                    <a:pt x="1545" y="773"/>
                  </a:lnTo>
                  <a:lnTo>
                    <a:pt x="1541" y="848"/>
                  </a:lnTo>
                  <a:lnTo>
                    <a:pt x="1529" y="920"/>
                  </a:lnTo>
                  <a:lnTo>
                    <a:pt x="1526" y="938"/>
                  </a:lnTo>
                  <a:lnTo>
                    <a:pt x="1508" y="1007"/>
                  </a:lnTo>
                  <a:lnTo>
                    <a:pt x="1482" y="1073"/>
                  </a:lnTo>
                  <a:lnTo>
                    <a:pt x="1453" y="1136"/>
                  </a:lnTo>
                  <a:lnTo>
                    <a:pt x="1416" y="1197"/>
                  </a:lnTo>
                  <a:lnTo>
                    <a:pt x="1406" y="1211"/>
                  </a:lnTo>
                  <a:lnTo>
                    <a:pt x="1365" y="1268"/>
                  </a:lnTo>
                  <a:lnTo>
                    <a:pt x="1318" y="1319"/>
                  </a:lnTo>
                  <a:lnTo>
                    <a:pt x="1267" y="1366"/>
                  </a:lnTo>
                  <a:lnTo>
                    <a:pt x="1210" y="1407"/>
                  </a:lnTo>
                  <a:lnTo>
                    <a:pt x="1196" y="1417"/>
                  </a:lnTo>
                  <a:lnTo>
                    <a:pt x="1135" y="1454"/>
                  </a:lnTo>
                  <a:lnTo>
                    <a:pt x="1072" y="1483"/>
                  </a:lnTo>
                  <a:lnTo>
                    <a:pt x="1006" y="1509"/>
                  </a:lnTo>
                  <a:lnTo>
                    <a:pt x="937" y="1526"/>
                  </a:lnTo>
                  <a:lnTo>
                    <a:pt x="920" y="1530"/>
                  </a:lnTo>
                  <a:lnTo>
                    <a:pt x="847" y="1542"/>
                  </a:lnTo>
                  <a:lnTo>
                    <a:pt x="772" y="1546"/>
                  </a:lnTo>
                  <a:lnTo>
                    <a:pt x="698" y="1542"/>
                  </a:lnTo>
                  <a:lnTo>
                    <a:pt x="625" y="1530"/>
                  </a:lnTo>
                  <a:lnTo>
                    <a:pt x="608" y="1526"/>
                  </a:lnTo>
                  <a:lnTo>
                    <a:pt x="539" y="1509"/>
                  </a:lnTo>
                  <a:lnTo>
                    <a:pt x="472" y="1483"/>
                  </a:lnTo>
                  <a:lnTo>
                    <a:pt x="408" y="1454"/>
                  </a:lnTo>
                  <a:lnTo>
                    <a:pt x="349" y="1417"/>
                  </a:lnTo>
                  <a:lnTo>
                    <a:pt x="333" y="1407"/>
                  </a:lnTo>
                  <a:lnTo>
                    <a:pt x="276" y="1366"/>
                  </a:lnTo>
                  <a:lnTo>
                    <a:pt x="225" y="1319"/>
                  </a:lnTo>
                  <a:lnTo>
                    <a:pt x="178" y="1268"/>
                  </a:lnTo>
                  <a:lnTo>
                    <a:pt x="137" y="1211"/>
                  </a:lnTo>
                  <a:lnTo>
                    <a:pt x="127" y="1197"/>
                  </a:lnTo>
                  <a:lnTo>
                    <a:pt x="90" y="1136"/>
                  </a:lnTo>
                  <a:lnTo>
                    <a:pt x="60" y="1073"/>
                  </a:lnTo>
                  <a:lnTo>
                    <a:pt x="35" y="1007"/>
                  </a:lnTo>
                  <a:lnTo>
                    <a:pt x="17" y="938"/>
                  </a:lnTo>
                  <a:lnTo>
                    <a:pt x="13" y="920"/>
                  </a:lnTo>
                  <a:lnTo>
                    <a:pt x="2" y="848"/>
                  </a:lnTo>
                  <a:lnTo>
                    <a:pt x="0" y="773"/>
                  </a:lnTo>
                  <a:lnTo>
                    <a:pt x="2" y="699"/>
                  </a:lnTo>
                  <a:lnTo>
                    <a:pt x="13" y="626"/>
                  </a:lnTo>
                  <a:lnTo>
                    <a:pt x="17" y="608"/>
                  </a:lnTo>
                  <a:lnTo>
                    <a:pt x="35" y="540"/>
                  </a:lnTo>
                  <a:lnTo>
                    <a:pt x="60" y="473"/>
                  </a:lnTo>
                  <a:lnTo>
                    <a:pt x="90" y="408"/>
                  </a:lnTo>
                  <a:lnTo>
                    <a:pt x="127" y="349"/>
                  </a:lnTo>
                  <a:lnTo>
                    <a:pt x="137" y="334"/>
                  </a:lnTo>
                  <a:lnTo>
                    <a:pt x="178" y="277"/>
                  </a:lnTo>
                  <a:lnTo>
                    <a:pt x="225" y="226"/>
                  </a:lnTo>
                  <a:lnTo>
                    <a:pt x="276" y="179"/>
                  </a:lnTo>
                  <a:lnTo>
                    <a:pt x="333" y="138"/>
                  </a:lnTo>
                  <a:lnTo>
                    <a:pt x="349" y="128"/>
                  </a:lnTo>
                  <a:lnTo>
                    <a:pt x="408" y="90"/>
                  </a:lnTo>
                  <a:lnTo>
                    <a:pt x="472" y="61"/>
                  </a:lnTo>
                  <a:lnTo>
                    <a:pt x="539" y="36"/>
                  </a:lnTo>
                  <a:lnTo>
                    <a:pt x="608" y="18"/>
                  </a:lnTo>
                  <a:lnTo>
                    <a:pt x="625" y="14"/>
                  </a:lnTo>
                  <a:lnTo>
                    <a:pt x="698" y="2"/>
                  </a:lnTo>
                  <a:lnTo>
                    <a:pt x="772" y="0"/>
                  </a:lnTo>
                  <a:close/>
                </a:path>
              </a:pathLst>
            </a:custGeom>
            <a:solidFill>
              <a:schemeClr val="accent4"/>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1603">
              <a:extLst>
                <a:ext uri="{FF2B5EF4-FFF2-40B4-BE49-F238E27FC236}">
                  <a16:creationId xmlns:a16="http://schemas.microsoft.com/office/drawing/2014/main" id="{06C136B6-9EFF-484C-B676-5312DA20FB6C}"/>
                </a:ext>
              </a:extLst>
            </p:cNvPr>
            <p:cNvSpPr>
              <a:spLocks/>
            </p:cNvSpPr>
            <p:nvPr/>
          </p:nvSpPr>
          <p:spPr bwMode="auto">
            <a:xfrm>
              <a:off x="2648641" y="1627919"/>
              <a:ext cx="49213" cy="49212"/>
            </a:xfrm>
            <a:custGeom>
              <a:avLst/>
              <a:gdLst>
                <a:gd name="T0" fmla="*/ 30 w 61"/>
                <a:gd name="T1" fmla="*/ 0 h 63"/>
                <a:gd name="T2" fmla="*/ 40 w 61"/>
                <a:gd name="T3" fmla="*/ 2 h 63"/>
                <a:gd name="T4" fmla="*/ 46 w 61"/>
                <a:gd name="T5" fmla="*/ 6 h 63"/>
                <a:gd name="T6" fmla="*/ 53 w 61"/>
                <a:gd name="T7" fmla="*/ 10 h 63"/>
                <a:gd name="T8" fmla="*/ 57 w 61"/>
                <a:gd name="T9" fmla="*/ 16 h 63"/>
                <a:gd name="T10" fmla="*/ 61 w 61"/>
                <a:gd name="T11" fmla="*/ 24 h 63"/>
                <a:gd name="T12" fmla="*/ 61 w 61"/>
                <a:gd name="T13" fmla="*/ 31 h 63"/>
                <a:gd name="T14" fmla="*/ 61 w 61"/>
                <a:gd name="T15" fmla="*/ 41 h 63"/>
                <a:gd name="T16" fmla="*/ 57 w 61"/>
                <a:gd name="T17" fmla="*/ 47 h 63"/>
                <a:gd name="T18" fmla="*/ 53 w 61"/>
                <a:gd name="T19" fmla="*/ 55 h 63"/>
                <a:gd name="T20" fmla="*/ 46 w 61"/>
                <a:gd name="T21" fmla="*/ 59 h 63"/>
                <a:gd name="T22" fmla="*/ 40 w 61"/>
                <a:gd name="T23" fmla="*/ 63 h 63"/>
                <a:gd name="T24" fmla="*/ 30 w 61"/>
                <a:gd name="T25" fmla="*/ 63 h 63"/>
                <a:gd name="T26" fmla="*/ 22 w 61"/>
                <a:gd name="T27" fmla="*/ 63 h 63"/>
                <a:gd name="T28" fmla="*/ 14 w 61"/>
                <a:gd name="T29" fmla="*/ 59 h 63"/>
                <a:gd name="T30" fmla="*/ 8 w 61"/>
                <a:gd name="T31" fmla="*/ 55 h 63"/>
                <a:gd name="T32" fmla="*/ 4 w 61"/>
                <a:gd name="T33" fmla="*/ 47 h 63"/>
                <a:gd name="T34" fmla="*/ 0 w 61"/>
                <a:gd name="T35" fmla="*/ 41 h 63"/>
                <a:gd name="T36" fmla="*/ 0 w 61"/>
                <a:gd name="T37" fmla="*/ 31 h 63"/>
                <a:gd name="T38" fmla="*/ 0 w 61"/>
                <a:gd name="T39" fmla="*/ 24 h 63"/>
                <a:gd name="T40" fmla="*/ 4 w 61"/>
                <a:gd name="T41" fmla="*/ 16 h 63"/>
                <a:gd name="T42" fmla="*/ 8 w 61"/>
                <a:gd name="T43" fmla="*/ 10 h 63"/>
                <a:gd name="T44" fmla="*/ 14 w 61"/>
                <a:gd name="T45" fmla="*/ 6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40" y="2"/>
                  </a:lnTo>
                  <a:lnTo>
                    <a:pt x="46" y="6"/>
                  </a:lnTo>
                  <a:lnTo>
                    <a:pt x="53" y="10"/>
                  </a:lnTo>
                  <a:lnTo>
                    <a:pt x="57" y="16"/>
                  </a:lnTo>
                  <a:lnTo>
                    <a:pt x="61" y="24"/>
                  </a:lnTo>
                  <a:lnTo>
                    <a:pt x="61" y="31"/>
                  </a:lnTo>
                  <a:lnTo>
                    <a:pt x="61" y="41"/>
                  </a:lnTo>
                  <a:lnTo>
                    <a:pt x="57" y="47"/>
                  </a:lnTo>
                  <a:lnTo>
                    <a:pt x="53" y="55"/>
                  </a:lnTo>
                  <a:lnTo>
                    <a:pt x="46" y="59"/>
                  </a:lnTo>
                  <a:lnTo>
                    <a:pt x="40" y="63"/>
                  </a:lnTo>
                  <a:lnTo>
                    <a:pt x="30" y="63"/>
                  </a:lnTo>
                  <a:lnTo>
                    <a:pt x="22" y="63"/>
                  </a:lnTo>
                  <a:lnTo>
                    <a:pt x="14" y="59"/>
                  </a:lnTo>
                  <a:lnTo>
                    <a:pt x="8" y="55"/>
                  </a:lnTo>
                  <a:lnTo>
                    <a:pt x="4" y="47"/>
                  </a:lnTo>
                  <a:lnTo>
                    <a:pt x="0" y="41"/>
                  </a:lnTo>
                  <a:lnTo>
                    <a:pt x="0" y="31"/>
                  </a:lnTo>
                  <a:lnTo>
                    <a:pt x="0" y="24"/>
                  </a:lnTo>
                  <a:lnTo>
                    <a:pt x="4" y="16"/>
                  </a:lnTo>
                  <a:lnTo>
                    <a:pt x="8" y="10"/>
                  </a:lnTo>
                  <a:lnTo>
                    <a:pt x="14" y="6"/>
                  </a:lnTo>
                  <a:lnTo>
                    <a:pt x="22" y="2"/>
                  </a:lnTo>
                  <a:lnTo>
                    <a:pt x="3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Rectangle 69">
              <a:extLst>
                <a:ext uri="{FF2B5EF4-FFF2-40B4-BE49-F238E27FC236}">
                  <a16:creationId xmlns:a16="http://schemas.microsoft.com/office/drawing/2014/main" id="{13059305-62C8-D74E-94AC-996B47424921}"/>
                </a:ext>
              </a:extLst>
            </p:cNvPr>
            <p:cNvSpPr/>
            <p:nvPr/>
          </p:nvSpPr>
          <p:spPr>
            <a:xfrm>
              <a:off x="4287737" y="4909606"/>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1" name="Rectangle 70">
              <a:extLst>
                <a:ext uri="{FF2B5EF4-FFF2-40B4-BE49-F238E27FC236}">
                  <a16:creationId xmlns:a16="http://schemas.microsoft.com/office/drawing/2014/main" id="{77B4BBF2-4DEE-6647-B396-461925F04057}"/>
                </a:ext>
              </a:extLst>
            </p:cNvPr>
            <p:cNvSpPr/>
            <p:nvPr/>
          </p:nvSpPr>
          <p:spPr>
            <a:xfrm>
              <a:off x="5642667" y="3837959"/>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2" name="Rectangle 71">
              <a:extLst>
                <a:ext uri="{FF2B5EF4-FFF2-40B4-BE49-F238E27FC236}">
                  <a16:creationId xmlns:a16="http://schemas.microsoft.com/office/drawing/2014/main" id="{8864D490-415D-A044-B1BA-32012EDF8FEB}"/>
                </a:ext>
              </a:extLst>
            </p:cNvPr>
            <p:cNvSpPr/>
            <p:nvPr/>
          </p:nvSpPr>
          <p:spPr>
            <a:xfrm>
              <a:off x="4319079" y="2595534"/>
              <a:ext cx="919975" cy="338554"/>
            </a:xfrm>
            <a:prstGeom prst="rect">
              <a:avLst/>
            </a:prstGeom>
            <a:solidFill>
              <a:schemeClr val="accent1"/>
            </a:solidFill>
          </p:spPr>
          <p:txBody>
            <a:bodyPr wrap="square" lIns="0" tIns="0" rIns="0" bIns="0">
              <a:spAutoFit/>
            </a:bodyPr>
            <a:lstStyle/>
            <a:p>
              <a:pPr algn="ctr"/>
              <a:r>
                <a:rPr lang="en-US" sz="1100" dirty="0">
                  <a:solidFill>
                    <a:schemeClr val="bg1"/>
                  </a:solidFill>
                </a:rPr>
                <a:t>Lorem ipsum dolor</a:t>
              </a:r>
            </a:p>
          </p:txBody>
        </p:sp>
        <p:sp>
          <p:nvSpPr>
            <p:cNvPr id="73" name="Rectangle 72">
              <a:extLst>
                <a:ext uri="{FF2B5EF4-FFF2-40B4-BE49-F238E27FC236}">
                  <a16:creationId xmlns:a16="http://schemas.microsoft.com/office/drawing/2014/main" id="{3072A49E-ABB8-6542-9FE5-75C6E8636ED4}"/>
                </a:ext>
              </a:extLst>
            </p:cNvPr>
            <p:cNvSpPr/>
            <p:nvPr/>
          </p:nvSpPr>
          <p:spPr>
            <a:xfrm>
              <a:off x="5708352" y="1462903"/>
              <a:ext cx="982662" cy="338554"/>
            </a:xfrm>
            <a:prstGeom prst="rect">
              <a:avLst/>
            </a:prstGeom>
          </p:spPr>
          <p:txBody>
            <a:bodyPr wrap="square" lIns="0" tIns="0" rIns="0" bIns="0">
              <a:spAutoFit/>
            </a:bodyPr>
            <a:lstStyle/>
            <a:p>
              <a:pPr algn="ctr"/>
              <a:r>
                <a:rPr lang="en-US" sz="1100" dirty="0"/>
                <a:t>Lorem ipsum dolor</a:t>
              </a:r>
            </a:p>
          </p:txBody>
        </p:sp>
        <p:sp>
          <p:nvSpPr>
            <p:cNvPr id="74" name="Rectangle 73">
              <a:extLst>
                <a:ext uri="{FF2B5EF4-FFF2-40B4-BE49-F238E27FC236}">
                  <a16:creationId xmlns:a16="http://schemas.microsoft.com/office/drawing/2014/main" id="{156EB3EB-848E-6643-8921-B037B92BE5D5}"/>
                </a:ext>
              </a:extLst>
            </p:cNvPr>
            <p:cNvSpPr/>
            <p:nvPr/>
          </p:nvSpPr>
          <p:spPr>
            <a:xfrm>
              <a:off x="2936577" y="1520885"/>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5" name="Rectangle 74">
              <a:extLst>
                <a:ext uri="{FF2B5EF4-FFF2-40B4-BE49-F238E27FC236}">
                  <a16:creationId xmlns:a16="http://schemas.microsoft.com/office/drawing/2014/main" id="{C40F6763-4494-F541-8075-69946E82C541}"/>
                </a:ext>
              </a:extLst>
            </p:cNvPr>
            <p:cNvSpPr/>
            <p:nvPr/>
          </p:nvSpPr>
          <p:spPr>
            <a:xfrm>
              <a:off x="2936577" y="3736359"/>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6" name="Rectangle 75">
              <a:extLst>
                <a:ext uri="{FF2B5EF4-FFF2-40B4-BE49-F238E27FC236}">
                  <a16:creationId xmlns:a16="http://schemas.microsoft.com/office/drawing/2014/main" id="{24441399-6692-9D4B-A40C-F75F7F459BEF}"/>
                </a:ext>
              </a:extLst>
            </p:cNvPr>
            <p:cNvSpPr/>
            <p:nvPr/>
          </p:nvSpPr>
          <p:spPr>
            <a:xfrm>
              <a:off x="2379795" y="5138750"/>
              <a:ext cx="1468438" cy="584775"/>
            </a:xfrm>
            <a:prstGeom prst="rect">
              <a:avLst/>
            </a:prstGeom>
          </p:spPr>
          <p:txBody>
            <a:bodyPr wrap="square">
              <a:spAutoFit/>
            </a:bodyPr>
            <a:lstStyle/>
            <a:p>
              <a:pPr algn="ctr"/>
              <a:r>
                <a:rPr lang="en-US" sz="1600" b="1" dirty="0"/>
                <a:t>Campaign Summary</a:t>
              </a:r>
            </a:p>
          </p:txBody>
        </p:sp>
      </p:grpSp>
      <p:grpSp>
        <p:nvGrpSpPr>
          <p:cNvPr id="38" name="Group 37">
            <a:extLst>
              <a:ext uri="{FF2B5EF4-FFF2-40B4-BE49-F238E27FC236}">
                <a16:creationId xmlns:a16="http://schemas.microsoft.com/office/drawing/2014/main" id="{DDEEE593-D9F4-224D-8B52-37199241C036}"/>
              </a:ext>
            </a:extLst>
          </p:cNvPr>
          <p:cNvGrpSpPr/>
          <p:nvPr/>
        </p:nvGrpSpPr>
        <p:grpSpPr>
          <a:xfrm>
            <a:off x="5919173" y="653822"/>
            <a:ext cx="5990649" cy="5381154"/>
            <a:chOff x="9096344" y="2596283"/>
            <a:chExt cx="5990649" cy="5381154"/>
          </a:xfrm>
        </p:grpSpPr>
        <p:sp>
          <p:nvSpPr>
            <p:cNvPr id="39" name="Rectangle 38">
              <a:extLst>
                <a:ext uri="{FF2B5EF4-FFF2-40B4-BE49-F238E27FC236}">
                  <a16:creationId xmlns:a16="http://schemas.microsoft.com/office/drawing/2014/main" id="{1EE9CA29-9560-B844-BB96-7CC893FE2059}"/>
                </a:ext>
              </a:extLst>
            </p:cNvPr>
            <p:cNvSpPr/>
            <p:nvPr/>
          </p:nvSpPr>
          <p:spPr>
            <a:xfrm>
              <a:off x="9614251" y="7428167"/>
              <a:ext cx="829458" cy="184666"/>
            </a:xfrm>
            <a:prstGeom prst="rect">
              <a:avLst/>
            </a:prstGeom>
          </p:spPr>
          <p:txBody>
            <a:bodyPr wrap="none" lIns="0" tIns="0" rIns="0" bIns="0" numCol="1" spcCol="182880">
              <a:spAutoFit/>
            </a:bodyPr>
            <a:lstStyle/>
            <a:p>
              <a:pPr fontAlgn="base">
                <a:spcBef>
                  <a:spcPts val="1200"/>
                </a:spcBef>
                <a:spcAft>
                  <a:spcPct val="0"/>
                </a:spcAft>
              </a:pPr>
              <a:r>
                <a:rPr lang="en-US" sz="1200" b="1" dirty="0">
                  <a:solidFill>
                    <a:prstClr val="black"/>
                  </a:solidFill>
                  <a:cs typeface="Verdana" panose="020B0604030504040204" pitchFamily="34" charset="0"/>
                </a:rPr>
                <a:t>Lorem ipsum</a:t>
              </a:r>
            </a:p>
          </p:txBody>
        </p:sp>
        <p:sp>
          <p:nvSpPr>
            <p:cNvPr id="40" name="Freeform 6">
              <a:extLst>
                <a:ext uri="{FF2B5EF4-FFF2-40B4-BE49-F238E27FC236}">
                  <a16:creationId xmlns:a16="http://schemas.microsoft.com/office/drawing/2014/main" id="{340BD328-CFF8-244F-8DDB-03A8F2DEAA37}"/>
                </a:ext>
              </a:extLst>
            </p:cNvPr>
            <p:cNvSpPr>
              <a:spLocks/>
            </p:cNvSpPr>
            <p:nvPr/>
          </p:nvSpPr>
          <p:spPr bwMode="auto">
            <a:xfrm>
              <a:off x="11157151" y="3884933"/>
              <a:ext cx="1649782" cy="4081855"/>
            </a:xfrm>
            <a:custGeom>
              <a:avLst/>
              <a:gdLst>
                <a:gd name="T0" fmla="*/ 143 w 287"/>
                <a:gd name="T1" fmla="*/ 710 h 710"/>
                <a:gd name="T2" fmla="*/ 0 w 287"/>
                <a:gd name="T3" fmla="*/ 567 h 710"/>
                <a:gd name="T4" fmla="*/ 36 w 287"/>
                <a:gd name="T5" fmla="*/ 471 h 710"/>
                <a:gd name="T6" fmla="*/ 37 w 287"/>
                <a:gd name="T7" fmla="*/ 471 h 710"/>
                <a:gd name="T8" fmla="*/ 37 w 287"/>
                <a:gd name="T9" fmla="*/ 473 h 710"/>
                <a:gd name="T10" fmla="*/ 2 w 287"/>
                <a:gd name="T11" fmla="*/ 567 h 710"/>
                <a:gd name="T12" fmla="*/ 143 w 287"/>
                <a:gd name="T13" fmla="*/ 708 h 710"/>
                <a:gd name="T14" fmla="*/ 285 w 287"/>
                <a:gd name="T15" fmla="*/ 567 h 710"/>
                <a:gd name="T16" fmla="*/ 151 w 287"/>
                <a:gd name="T17" fmla="*/ 425 h 710"/>
                <a:gd name="T18" fmla="*/ 150 w 287"/>
                <a:gd name="T19" fmla="*/ 424 h 710"/>
                <a:gd name="T20" fmla="*/ 150 w 287"/>
                <a:gd name="T21" fmla="*/ 422 h 710"/>
                <a:gd name="T22" fmla="*/ 150 w 287"/>
                <a:gd name="T23" fmla="*/ 287 h 710"/>
                <a:gd name="T24" fmla="*/ 151 w 287"/>
                <a:gd name="T25" fmla="*/ 286 h 710"/>
                <a:gd name="T26" fmla="*/ 285 w 287"/>
                <a:gd name="T27" fmla="*/ 144 h 710"/>
                <a:gd name="T28" fmla="*/ 143 w 287"/>
                <a:gd name="T29" fmla="*/ 3 h 710"/>
                <a:gd name="T30" fmla="*/ 2 w 287"/>
                <a:gd name="T31" fmla="*/ 144 h 710"/>
                <a:gd name="T32" fmla="*/ 10 w 287"/>
                <a:gd name="T33" fmla="*/ 192 h 710"/>
                <a:gd name="T34" fmla="*/ 9 w 287"/>
                <a:gd name="T35" fmla="*/ 193 h 710"/>
                <a:gd name="T36" fmla="*/ 8 w 287"/>
                <a:gd name="T37" fmla="*/ 192 h 710"/>
                <a:gd name="T38" fmla="*/ 0 w 287"/>
                <a:gd name="T39" fmla="*/ 144 h 710"/>
                <a:gd name="T40" fmla="*/ 143 w 287"/>
                <a:gd name="T41" fmla="*/ 0 h 710"/>
                <a:gd name="T42" fmla="*/ 287 w 287"/>
                <a:gd name="T43" fmla="*/ 144 h 710"/>
                <a:gd name="T44" fmla="*/ 152 w 287"/>
                <a:gd name="T45" fmla="*/ 288 h 710"/>
                <a:gd name="T46" fmla="*/ 152 w 287"/>
                <a:gd name="T47" fmla="*/ 422 h 710"/>
                <a:gd name="T48" fmla="*/ 152 w 287"/>
                <a:gd name="T49" fmla="*/ 423 h 710"/>
                <a:gd name="T50" fmla="*/ 287 w 287"/>
                <a:gd name="T51" fmla="*/ 567 h 710"/>
                <a:gd name="T52" fmla="*/ 143 w 287"/>
                <a:gd name="T53" fmla="*/ 71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7" h="710">
                  <a:moveTo>
                    <a:pt x="143" y="710"/>
                  </a:moveTo>
                  <a:cubicBezTo>
                    <a:pt x="64" y="710"/>
                    <a:pt x="0" y="646"/>
                    <a:pt x="0" y="567"/>
                  </a:cubicBezTo>
                  <a:cubicBezTo>
                    <a:pt x="0" y="531"/>
                    <a:pt x="12" y="498"/>
                    <a:pt x="36" y="471"/>
                  </a:cubicBezTo>
                  <a:cubicBezTo>
                    <a:pt x="36" y="471"/>
                    <a:pt x="37" y="471"/>
                    <a:pt x="37" y="471"/>
                  </a:cubicBezTo>
                  <a:cubicBezTo>
                    <a:pt x="38" y="472"/>
                    <a:pt x="38" y="472"/>
                    <a:pt x="37" y="473"/>
                  </a:cubicBezTo>
                  <a:cubicBezTo>
                    <a:pt x="14" y="499"/>
                    <a:pt x="2" y="532"/>
                    <a:pt x="2" y="567"/>
                  </a:cubicBezTo>
                  <a:cubicBezTo>
                    <a:pt x="2" y="645"/>
                    <a:pt x="65" y="708"/>
                    <a:pt x="143" y="708"/>
                  </a:cubicBezTo>
                  <a:cubicBezTo>
                    <a:pt x="221" y="708"/>
                    <a:pt x="285" y="645"/>
                    <a:pt x="285" y="567"/>
                  </a:cubicBezTo>
                  <a:cubicBezTo>
                    <a:pt x="285" y="491"/>
                    <a:pt x="226" y="429"/>
                    <a:pt x="151" y="425"/>
                  </a:cubicBezTo>
                  <a:cubicBezTo>
                    <a:pt x="150" y="425"/>
                    <a:pt x="150" y="425"/>
                    <a:pt x="150" y="424"/>
                  </a:cubicBezTo>
                  <a:cubicBezTo>
                    <a:pt x="150" y="422"/>
                    <a:pt x="150" y="422"/>
                    <a:pt x="150" y="422"/>
                  </a:cubicBezTo>
                  <a:cubicBezTo>
                    <a:pt x="150" y="287"/>
                    <a:pt x="150" y="287"/>
                    <a:pt x="150" y="287"/>
                  </a:cubicBezTo>
                  <a:cubicBezTo>
                    <a:pt x="150" y="286"/>
                    <a:pt x="150" y="286"/>
                    <a:pt x="151" y="286"/>
                  </a:cubicBezTo>
                  <a:cubicBezTo>
                    <a:pt x="226" y="282"/>
                    <a:pt x="285" y="219"/>
                    <a:pt x="285" y="144"/>
                  </a:cubicBezTo>
                  <a:cubicBezTo>
                    <a:pt x="285" y="66"/>
                    <a:pt x="221" y="3"/>
                    <a:pt x="143" y="3"/>
                  </a:cubicBezTo>
                  <a:cubicBezTo>
                    <a:pt x="65" y="3"/>
                    <a:pt x="2" y="66"/>
                    <a:pt x="2" y="144"/>
                  </a:cubicBezTo>
                  <a:cubicBezTo>
                    <a:pt x="2" y="160"/>
                    <a:pt x="4" y="176"/>
                    <a:pt x="10" y="192"/>
                  </a:cubicBezTo>
                  <a:cubicBezTo>
                    <a:pt x="10" y="192"/>
                    <a:pt x="10" y="193"/>
                    <a:pt x="9" y="193"/>
                  </a:cubicBezTo>
                  <a:cubicBezTo>
                    <a:pt x="9" y="193"/>
                    <a:pt x="8" y="193"/>
                    <a:pt x="8" y="192"/>
                  </a:cubicBezTo>
                  <a:cubicBezTo>
                    <a:pt x="2" y="177"/>
                    <a:pt x="0" y="161"/>
                    <a:pt x="0" y="144"/>
                  </a:cubicBezTo>
                  <a:cubicBezTo>
                    <a:pt x="0" y="65"/>
                    <a:pt x="64" y="0"/>
                    <a:pt x="143" y="0"/>
                  </a:cubicBezTo>
                  <a:cubicBezTo>
                    <a:pt x="223" y="0"/>
                    <a:pt x="287" y="65"/>
                    <a:pt x="287" y="144"/>
                  </a:cubicBezTo>
                  <a:cubicBezTo>
                    <a:pt x="287" y="220"/>
                    <a:pt x="228" y="283"/>
                    <a:pt x="152" y="288"/>
                  </a:cubicBezTo>
                  <a:cubicBezTo>
                    <a:pt x="152" y="422"/>
                    <a:pt x="152" y="422"/>
                    <a:pt x="152" y="422"/>
                  </a:cubicBezTo>
                  <a:cubicBezTo>
                    <a:pt x="152" y="423"/>
                    <a:pt x="152" y="423"/>
                    <a:pt x="152" y="423"/>
                  </a:cubicBezTo>
                  <a:cubicBezTo>
                    <a:pt x="228" y="428"/>
                    <a:pt x="287" y="490"/>
                    <a:pt x="287" y="567"/>
                  </a:cubicBezTo>
                  <a:cubicBezTo>
                    <a:pt x="287" y="646"/>
                    <a:pt x="223" y="710"/>
                    <a:pt x="143" y="71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77" name="Freeform 7">
              <a:extLst>
                <a:ext uri="{FF2B5EF4-FFF2-40B4-BE49-F238E27FC236}">
                  <a16:creationId xmlns:a16="http://schemas.microsoft.com/office/drawing/2014/main" id="{313CCBDF-DB02-4C47-AF2D-1506AC47F630}"/>
                </a:ext>
              </a:extLst>
            </p:cNvPr>
            <p:cNvSpPr>
              <a:spLocks/>
            </p:cNvSpPr>
            <p:nvPr/>
          </p:nvSpPr>
          <p:spPr bwMode="auto">
            <a:xfrm>
              <a:off x="9621615" y="6730419"/>
              <a:ext cx="1345773" cy="1150200"/>
            </a:xfrm>
            <a:custGeom>
              <a:avLst/>
              <a:gdLst>
                <a:gd name="T0" fmla="*/ 218 w 234"/>
                <a:gd name="T1" fmla="*/ 200 h 200"/>
                <a:gd name="T2" fmla="*/ 1 w 234"/>
                <a:gd name="T3" fmla="*/ 200 h 200"/>
                <a:gd name="T4" fmla="*/ 0 w 234"/>
                <a:gd name="T5" fmla="*/ 199 h 200"/>
                <a:gd name="T6" fmla="*/ 1 w 234"/>
                <a:gd name="T7" fmla="*/ 198 h 200"/>
                <a:gd name="T8" fmla="*/ 218 w 234"/>
                <a:gd name="T9" fmla="*/ 198 h 200"/>
                <a:gd name="T10" fmla="*/ 232 w 234"/>
                <a:gd name="T11" fmla="*/ 184 h 200"/>
                <a:gd name="T12" fmla="*/ 232 w 234"/>
                <a:gd name="T13" fmla="*/ 1 h 200"/>
                <a:gd name="T14" fmla="*/ 233 w 234"/>
                <a:gd name="T15" fmla="*/ 0 h 200"/>
                <a:gd name="T16" fmla="*/ 234 w 234"/>
                <a:gd name="T17" fmla="*/ 1 h 200"/>
                <a:gd name="T18" fmla="*/ 234 w 234"/>
                <a:gd name="T19" fmla="*/ 184 h 200"/>
                <a:gd name="T20" fmla="*/ 218 w 234"/>
                <a:gd name="T2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200">
                  <a:moveTo>
                    <a:pt x="218" y="200"/>
                  </a:moveTo>
                  <a:cubicBezTo>
                    <a:pt x="1" y="200"/>
                    <a:pt x="1" y="200"/>
                    <a:pt x="1" y="200"/>
                  </a:cubicBezTo>
                  <a:cubicBezTo>
                    <a:pt x="1" y="200"/>
                    <a:pt x="0" y="199"/>
                    <a:pt x="0" y="199"/>
                  </a:cubicBezTo>
                  <a:cubicBezTo>
                    <a:pt x="0" y="198"/>
                    <a:pt x="1" y="198"/>
                    <a:pt x="1" y="198"/>
                  </a:cubicBezTo>
                  <a:cubicBezTo>
                    <a:pt x="218" y="198"/>
                    <a:pt x="218" y="198"/>
                    <a:pt x="218" y="198"/>
                  </a:cubicBezTo>
                  <a:cubicBezTo>
                    <a:pt x="226" y="198"/>
                    <a:pt x="232" y="191"/>
                    <a:pt x="232" y="184"/>
                  </a:cubicBezTo>
                  <a:cubicBezTo>
                    <a:pt x="232" y="1"/>
                    <a:pt x="232" y="1"/>
                    <a:pt x="232" y="1"/>
                  </a:cubicBezTo>
                  <a:cubicBezTo>
                    <a:pt x="232" y="1"/>
                    <a:pt x="232" y="0"/>
                    <a:pt x="233" y="0"/>
                  </a:cubicBezTo>
                  <a:cubicBezTo>
                    <a:pt x="233" y="0"/>
                    <a:pt x="234" y="1"/>
                    <a:pt x="234" y="1"/>
                  </a:cubicBezTo>
                  <a:cubicBezTo>
                    <a:pt x="234" y="184"/>
                    <a:pt x="234" y="184"/>
                    <a:pt x="234" y="184"/>
                  </a:cubicBezTo>
                  <a:cubicBezTo>
                    <a:pt x="234" y="193"/>
                    <a:pt x="227" y="200"/>
                    <a:pt x="218" y="200"/>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78" name="Freeform 8">
              <a:extLst>
                <a:ext uri="{FF2B5EF4-FFF2-40B4-BE49-F238E27FC236}">
                  <a16:creationId xmlns:a16="http://schemas.microsoft.com/office/drawing/2014/main" id="{4A7E338F-FFC7-464F-9B91-F1FCB386AB67}"/>
                </a:ext>
              </a:extLst>
            </p:cNvPr>
            <p:cNvSpPr>
              <a:spLocks/>
            </p:cNvSpPr>
            <p:nvPr/>
          </p:nvSpPr>
          <p:spPr bwMode="auto">
            <a:xfrm>
              <a:off x="12893103" y="4367087"/>
              <a:ext cx="1443559" cy="1610087"/>
            </a:xfrm>
            <a:custGeom>
              <a:avLst/>
              <a:gdLst>
                <a:gd name="T0" fmla="*/ 250 w 251"/>
                <a:gd name="T1" fmla="*/ 280 h 280"/>
                <a:gd name="T2" fmla="*/ 249 w 251"/>
                <a:gd name="T3" fmla="*/ 279 h 280"/>
                <a:gd name="T4" fmla="*/ 87 w 251"/>
                <a:gd name="T5" fmla="*/ 118 h 280"/>
                <a:gd name="T6" fmla="*/ 2 w 251"/>
                <a:gd name="T7" fmla="*/ 142 h 280"/>
                <a:gd name="T8" fmla="*/ 1 w 251"/>
                <a:gd name="T9" fmla="*/ 142 h 280"/>
                <a:gd name="T10" fmla="*/ 0 w 251"/>
                <a:gd name="T11" fmla="*/ 142 h 280"/>
                <a:gd name="T12" fmla="*/ 0 w 251"/>
                <a:gd name="T13" fmla="*/ 141 h 280"/>
                <a:gd name="T14" fmla="*/ 0 w 251"/>
                <a:gd name="T15" fmla="*/ 96 h 280"/>
                <a:gd name="T16" fmla="*/ 16 w 251"/>
                <a:gd name="T17" fmla="*/ 80 h 280"/>
                <a:gd name="T18" fmla="*/ 101 w 251"/>
                <a:gd name="T19" fmla="*/ 80 h 280"/>
                <a:gd name="T20" fmla="*/ 115 w 251"/>
                <a:gd name="T21" fmla="*/ 66 h 280"/>
                <a:gd name="T22" fmla="*/ 115 w 251"/>
                <a:gd name="T23" fmla="*/ 1 h 280"/>
                <a:gd name="T24" fmla="*/ 116 w 251"/>
                <a:gd name="T25" fmla="*/ 0 h 280"/>
                <a:gd name="T26" fmla="*/ 117 w 251"/>
                <a:gd name="T27" fmla="*/ 1 h 280"/>
                <a:gd name="T28" fmla="*/ 117 w 251"/>
                <a:gd name="T29" fmla="*/ 66 h 280"/>
                <a:gd name="T30" fmla="*/ 101 w 251"/>
                <a:gd name="T31" fmla="*/ 82 h 280"/>
                <a:gd name="T32" fmla="*/ 16 w 251"/>
                <a:gd name="T33" fmla="*/ 82 h 280"/>
                <a:gd name="T34" fmla="*/ 2 w 251"/>
                <a:gd name="T35" fmla="*/ 96 h 280"/>
                <a:gd name="T36" fmla="*/ 2 w 251"/>
                <a:gd name="T37" fmla="*/ 139 h 280"/>
                <a:gd name="T38" fmla="*/ 87 w 251"/>
                <a:gd name="T39" fmla="*/ 115 h 280"/>
                <a:gd name="T40" fmla="*/ 251 w 251"/>
                <a:gd name="T41" fmla="*/ 279 h 280"/>
                <a:gd name="T42" fmla="*/ 250 w 251"/>
                <a:gd name="T43"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280">
                  <a:moveTo>
                    <a:pt x="250" y="280"/>
                  </a:moveTo>
                  <a:cubicBezTo>
                    <a:pt x="249" y="280"/>
                    <a:pt x="249" y="280"/>
                    <a:pt x="249" y="279"/>
                  </a:cubicBezTo>
                  <a:cubicBezTo>
                    <a:pt x="249" y="190"/>
                    <a:pt x="176" y="118"/>
                    <a:pt x="87" y="118"/>
                  </a:cubicBezTo>
                  <a:cubicBezTo>
                    <a:pt x="57" y="118"/>
                    <a:pt x="27" y="126"/>
                    <a:pt x="2" y="142"/>
                  </a:cubicBezTo>
                  <a:cubicBezTo>
                    <a:pt x="2" y="142"/>
                    <a:pt x="1" y="142"/>
                    <a:pt x="1" y="142"/>
                  </a:cubicBezTo>
                  <a:cubicBezTo>
                    <a:pt x="1" y="142"/>
                    <a:pt x="0" y="142"/>
                    <a:pt x="0" y="142"/>
                  </a:cubicBezTo>
                  <a:cubicBezTo>
                    <a:pt x="0" y="142"/>
                    <a:pt x="0" y="141"/>
                    <a:pt x="0" y="141"/>
                  </a:cubicBezTo>
                  <a:cubicBezTo>
                    <a:pt x="0" y="96"/>
                    <a:pt x="0" y="96"/>
                    <a:pt x="0" y="96"/>
                  </a:cubicBezTo>
                  <a:cubicBezTo>
                    <a:pt x="0" y="87"/>
                    <a:pt x="7" y="80"/>
                    <a:pt x="16" y="80"/>
                  </a:cubicBezTo>
                  <a:cubicBezTo>
                    <a:pt x="101" y="80"/>
                    <a:pt x="101" y="80"/>
                    <a:pt x="101" y="80"/>
                  </a:cubicBezTo>
                  <a:cubicBezTo>
                    <a:pt x="108" y="80"/>
                    <a:pt x="115" y="74"/>
                    <a:pt x="115" y="66"/>
                  </a:cubicBezTo>
                  <a:cubicBezTo>
                    <a:pt x="115" y="1"/>
                    <a:pt x="115" y="1"/>
                    <a:pt x="115" y="1"/>
                  </a:cubicBezTo>
                  <a:cubicBezTo>
                    <a:pt x="115" y="0"/>
                    <a:pt x="115" y="0"/>
                    <a:pt x="116" y="0"/>
                  </a:cubicBezTo>
                  <a:cubicBezTo>
                    <a:pt x="116" y="0"/>
                    <a:pt x="117" y="0"/>
                    <a:pt x="117" y="1"/>
                  </a:cubicBezTo>
                  <a:cubicBezTo>
                    <a:pt x="117" y="66"/>
                    <a:pt x="117" y="66"/>
                    <a:pt x="117" y="66"/>
                  </a:cubicBezTo>
                  <a:cubicBezTo>
                    <a:pt x="117" y="75"/>
                    <a:pt x="110" y="82"/>
                    <a:pt x="101" y="82"/>
                  </a:cubicBezTo>
                  <a:cubicBezTo>
                    <a:pt x="16" y="82"/>
                    <a:pt x="16" y="82"/>
                    <a:pt x="16" y="82"/>
                  </a:cubicBezTo>
                  <a:cubicBezTo>
                    <a:pt x="8" y="82"/>
                    <a:pt x="2" y="88"/>
                    <a:pt x="2" y="96"/>
                  </a:cubicBezTo>
                  <a:cubicBezTo>
                    <a:pt x="2" y="139"/>
                    <a:pt x="2" y="139"/>
                    <a:pt x="2" y="139"/>
                  </a:cubicBezTo>
                  <a:cubicBezTo>
                    <a:pt x="28" y="124"/>
                    <a:pt x="57" y="115"/>
                    <a:pt x="87" y="115"/>
                  </a:cubicBezTo>
                  <a:cubicBezTo>
                    <a:pt x="178" y="115"/>
                    <a:pt x="251" y="189"/>
                    <a:pt x="251" y="279"/>
                  </a:cubicBezTo>
                  <a:cubicBezTo>
                    <a:pt x="251" y="280"/>
                    <a:pt x="251" y="280"/>
                    <a:pt x="250" y="28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79" name="Freeform 9">
              <a:extLst>
                <a:ext uri="{FF2B5EF4-FFF2-40B4-BE49-F238E27FC236}">
                  <a16:creationId xmlns:a16="http://schemas.microsoft.com/office/drawing/2014/main" id="{7C1171DB-727D-4749-8BA7-DCABBB04D7DC}"/>
                </a:ext>
              </a:extLst>
            </p:cNvPr>
            <p:cNvSpPr>
              <a:spLocks/>
            </p:cNvSpPr>
            <p:nvPr/>
          </p:nvSpPr>
          <p:spPr bwMode="auto">
            <a:xfrm>
              <a:off x="9615806" y="2660183"/>
              <a:ext cx="4703428" cy="5317254"/>
            </a:xfrm>
            <a:custGeom>
              <a:avLst/>
              <a:gdLst>
                <a:gd name="T0" fmla="*/ 2 w 818"/>
                <a:gd name="T1" fmla="*/ 925 h 925"/>
                <a:gd name="T2" fmla="*/ 0 w 818"/>
                <a:gd name="T3" fmla="*/ 922 h 925"/>
                <a:gd name="T4" fmla="*/ 2 w 818"/>
                <a:gd name="T5" fmla="*/ 920 h 925"/>
                <a:gd name="T6" fmla="*/ 233 w 818"/>
                <a:gd name="T7" fmla="*/ 920 h 925"/>
                <a:gd name="T8" fmla="*/ 248 w 818"/>
                <a:gd name="T9" fmla="*/ 905 h 925"/>
                <a:gd name="T10" fmla="*/ 248 w 818"/>
                <a:gd name="T11" fmla="*/ 780 h 925"/>
                <a:gd name="T12" fmla="*/ 401 w 818"/>
                <a:gd name="T13" fmla="*/ 616 h 925"/>
                <a:gd name="T14" fmla="*/ 401 w 818"/>
                <a:gd name="T15" fmla="*/ 521 h 925"/>
                <a:gd name="T16" fmla="*/ 400 w 818"/>
                <a:gd name="T17" fmla="*/ 520 h 925"/>
                <a:gd name="T18" fmla="*/ 292 w 818"/>
                <a:gd name="T19" fmla="*/ 469 h 925"/>
                <a:gd name="T20" fmla="*/ 248 w 818"/>
                <a:gd name="T21" fmla="*/ 357 h 925"/>
                <a:gd name="T22" fmla="*/ 411 w 818"/>
                <a:gd name="T23" fmla="*/ 193 h 925"/>
                <a:gd name="T24" fmla="*/ 575 w 818"/>
                <a:gd name="T25" fmla="*/ 355 h 925"/>
                <a:gd name="T26" fmla="*/ 651 w 818"/>
                <a:gd name="T27" fmla="*/ 355 h 925"/>
                <a:gd name="T28" fmla="*/ 664 w 818"/>
                <a:gd name="T29" fmla="*/ 342 h 925"/>
                <a:gd name="T30" fmla="*/ 664 w 818"/>
                <a:gd name="T31" fmla="*/ 301 h 925"/>
                <a:gd name="T32" fmla="*/ 563 w 818"/>
                <a:gd name="T33" fmla="*/ 257 h 925"/>
                <a:gd name="T34" fmla="*/ 517 w 818"/>
                <a:gd name="T35" fmla="*/ 151 h 925"/>
                <a:gd name="T36" fmla="*/ 668 w 818"/>
                <a:gd name="T37" fmla="*/ 0 h 925"/>
                <a:gd name="T38" fmla="*/ 818 w 818"/>
                <a:gd name="T39" fmla="*/ 151 h 925"/>
                <a:gd name="T40" fmla="*/ 816 w 818"/>
                <a:gd name="T41" fmla="*/ 153 h 925"/>
                <a:gd name="T42" fmla="*/ 814 w 818"/>
                <a:gd name="T43" fmla="*/ 151 h 925"/>
                <a:gd name="T44" fmla="*/ 668 w 818"/>
                <a:gd name="T45" fmla="*/ 5 h 925"/>
                <a:gd name="T46" fmla="*/ 522 w 818"/>
                <a:gd name="T47" fmla="*/ 151 h 925"/>
                <a:gd name="T48" fmla="*/ 666 w 818"/>
                <a:gd name="T49" fmla="*/ 297 h 925"/>
                <a:gd name="T50" fmla="*/ 666 w 818"/>
                <a:gd name="T51" fmla="*/ 297 h 925"/>
                <a:gd name="T52" fmla="*/ 669 w 818"/>
                <a:gd name="T53" fmla="*/ 299 h 925"/>
                <a:gd name="T54" fmla="*/ 669 w 818"/>
                <a:gd name="T55" fmla="*/ 342 h 925"/>
                <a:gd name="T56" fmla="*/ 651 w 818"/>
                <a:gd name="T57" fmla="*/ 360 h 925"/>
                <a:gd name="T58" fmla="*/ 573 w 818"/>
                <a:gd name="T59" fmla="*/ 360 h 925"/>
                <a:gd name="T60" fmla="*/ 570 w 818"/>
                <a:gd name="T61" fmla="*/ 357 h 925"/>
                <a:gd name="T62" fmla="*/ 411 w 818"/>
                <a:gd name="T63" fmla="*/ 198 h 925"/>
                <a:gd name="T64" fmla="*/ 252 w 818"/>
                <a:gd name="T65" fmla="*/ 357 h 925"/>
                <a:gd name="T66" fmla="*/ 400 w 818"/>
                <a:gd name="T67" fmla="*/ 516 h 925"/>
                <a:gd name="T68" fmla="*/ 404 w 818"/>
                <a:gd name="T69" fmla="*/ 516 h 925"/>
                <a:gd name="T70" fmla="*/ 406 w 818"/>
                <a:gd name="T71" fmla="*/ 518 h 925"/>
                <a:gd name="T72" fmla="*/ 406 w 818"/>
                <a:gd name="T73" fmla="*/ 618 h 925"/>
                <a:gd name="T74" fmla="*/ 404 w 818"/>
                <a:gd name="T75" fmla="*/ 621 h 925"/>
                <a:gd name="T76" fmla="*/ 402 w 818"/>
                <a:gd name="T77" fmla="*/ 621 h 925"/>
                <a:gd name="T78" fmla="*/ 252 w 818"/>
                <a:gd name="T79" fmla="*/ 780 h 925"/>
                <a:gd name="T80" fmla="*/ 252 w 818"/>
                <a:gd name="T81" fmla="*/ 905 h 925"/>
                <a:gd name="T82" fmla="*/ 233 w 818"/>
                <a:gd name="T83" fmla="*/ 925 h 925"/>
                <a:gd name="T84" fmla="*/ 2 w 818"/>
                <a:gd name="T85" fmla="*/ 925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8" h="925">
                  <a:moveTo>
                    <a:pt x="2" y="925"/>
                  </a:moveTo>
                  <a:cubicBezTo>
                    <a:pt x="1" y="925"/>
                    <a:pt x="0" y="924"/>
                    <a:pt x="0" y="922"/>
                  </a:cubicBezTo>
                  <a:cubicBezTo>
                    <a:pt x="0" y="921"/>
                    <a:pt x="1" y="920"/>
                    <a:pt x="2" y="920"/>
                  </a:cubicBezTo>
                  <a:cubicBezTo>
                    <a:pt x="233" y="920"/>
                    <a:pt x="233" y="920"/>
                    <a:pt x="233" y="920"/>
                  </a:cubicBezTo>
                  <a:cubicBezTo>
                    <a:pt x="241" y="920"/>
                    <a:pt x="248" y="913"/>
                    <a:pt x="248" y="905"/>
                  </a:cubicBezTo>
                  <a:cubicBezTo>
                    <a:pt x="248" y="780"/>
                    <a:pt x="248" y="780"/>
                    <a:pt x="248" y="780"/>
                  </a:cubicBezTo>
                  <a:cubicBezTo>
                    <a:pt x="248" y="693"/>
                    <a:pt x="315" y="621"/>
                    <a:pt x="401" y="616"/>
                  </a:cubicBezTo>
                  <a:cubicBezTo>
                    <a:pt x="401" y="521"/>
                    <a:pt x="401" y="521"/>
                    <a:pt x="401" y="521"/>
                  </a:cubicBezTo>
                  <a:cubicBezTo>
                    <a:pt x="400" y="520"/>
                    <a:pt x="400" y="520"/>
                    <a:pt x="400" y="520"/>
                  </a:cubicBezTo>
                  <a:cubicBezTo>
                    <a:pt x="358" y="518"/>
                    <a:pt x="320" y="499"/>
                    <a:pt x="292" y="469"/>
                  </a:cubicBezTo>
                  <a:cubicBezTo>
                    <a:pt x="263" y="439"/>
                    <a:pt x="248" y="399"/>
                    <a:pt x="248" y="357"/>
                  </a:cubicBezTo>
                  <a:cubicBezTo>
                    <a:pt x="248" y="267"/>
                    <a:pt x="321" y="193"/>
                    <a:pt x="411" y="193"/>
                  </a:cubicBezTo>
                  <a:cubicBezTo>
                    <a:pt x="501" y="193"/>
                    <a:pt x="574" y="266"/>
                    <a:pt x="575" y="355"/>
                  </a:cubicBezTo>
                  <a:cubicBezTo>
                    <a:pt x="651" y="355"/>
                    <a:pt x="651" y="355"/>
                    <a:pt x="651" y="355"/>
                  </a:cubicBezTo>
                  <a:cubicBezTo>
                    <a:pt x="658" y="355"/>
                    <a:pt x="664" y="349"/>
                    <a:pt x="664" y="342"/>
                  </a:cubicBezTo>
                  <a:cubicBezTo>
                    <a:pt x="664" y="301"/>
                    <a:pt x="664" y="301"/>
                    <a:pt x="664" y="301"/>
                  </a:cubicBezTo>
                  <a:cubicBezTo>
                    <a:pt x="628" y="301"/>
                    <a:pt x="591" y="285"/>
                    <a:pt x="563" y="257"/>
                  </a:cubicBezTo>
                  <a:cubicBezTo>
                    <a:pt x="533" y="228"/>
                    <a:pt x="517" y="190"/>
                    <a:pt x="517" y="151"/>
                  </a:cubicBezTo>
                  <a:cubicBezTo>
                    <a:pt x="517" y="68"/>
                    <a:pt x="585" y="0"/>
                    <a:pt x="668" y="0"/>
                  </a:cubicBezTo>
                  <a:cubicBezTo>
                    <a:pt x="751" y="0"/>
                    <a:pt x="818" y="68"/>
                    <a:pt x="818" y="151"/>
                  </a:cubicBezTo>
                  <a:cubicBezTo>
                    <a:pt x="818" y="152"/>
                    <a:pt x="817" y="153"/>
                    <a:pt x="816" y="153"/>
                  </a:cubicBezTo>
                  <a:cubicBezTo>
                    <a:pt x="815" y="153"/>
                    <a:pt x="814" y="152"/>
                    <a:pt x="814" y="151"/>
                  </a:cubicBezTo>
                  <a:cubicBezTo>
                    <a:pt x="814" y="70"/>
                    <a:pt x="748" y="5"/>
                    <a:pt x="668" y="5"/>
                  </a:cubicBezTo>
                  <a:cubicBezTo>
                    <a:pt x="587" y="5"/>
                    <a:pt x="522" y="70"/>
                    <a:pt x="522" y="151"/>
                  </a:cubicBezTo>
                  <a:cubicBezTo>
                    <a:pt x="522" y="227"/>
                    <a:pt x="590" y="296"/>
                    <a:pt x="666" y="297"/>
                  </a:cubicBezTo>
                  <a:cubicBezTo>
                    <a:pt x="666" y="297"/>
                    <a:pt x="666" y="297"/>
                    <a:pt x="666" y="297"/>
                  </a:cubicBezTo>
                  <a:cubicBezTo>
                    <a:pt x="668" y="297"/>
                    <a:pt x="669" y="298"/>
                    <a:pt x="669" y="299"/>
                  </a:cubicBezTo>
                  <a:cubicBezTo>
                    <a:pt x="669" y="342"/>
                    <a:pt x="669" y="342"/>
                    <a:pt x="669" y="342"/>
                  </a:cubicBezTo>
                  <a:cubicBezTo>
                    <a:pt x="669" y="352"/>
                    <a:pt x="661" y="360"/>
                    <a:pt x="651" y="360"/>
                  </a:cubicBezTo>
                  <a:cubicBezTo>
                    <a:pt x="573" y="360"/>
                    <a:pt x="573" y="360"/>
                    <a:pt x="573" y="360"/>
                  </a:cubicBezTo>
                  <a:cubicBezTo>
                    <a:pt x="571" y="360"/>
                    <a:pt x="570" y="358"/>
                    <a:pt x="570" y="357"/>
                  </a:cubicBezTo>
                  <a:cubicBezTo>
                    <a:pt x="570" y="270"/>
                    <a:pt x="499" y="198"/>
                    <a:pt x="411" y="198"/>
                  </a:cubicBezTo>
                  <a:cubicBezTo>
                    <a:pt x="324" y="198"/>
                    <a:pt x="252" y="270"/>
                    <a:pt x="252" y="357"/>
                  </a:cubicBezTo>
                  <a:cubicBezTo>
                    <a:pt x="252" y="440"/>
                    <a:pt x="317" y="510"/>
                    <a:pt x="400" y="516"/>
                  </a:cubicBezTo>
                  <a:cubicBezTo>
                    <a:pt x="404" y="516"/>
                    <a:pt x="404" y="516"/>
                    <a:pt x="404" y="516"/>
                  </a:cubicBezTo>
                  <a:cubicBezTo>
                    <a:pt x="405" y="516"/>
                    <a:pt x="406" y="517"/>
                    <a:pt x="406" y="518"/>
                  </a:cubicBezTo>
                  <a:cubicBezTo>
                    <a:pt x="406" y="618"/>
                    <a:pt x="406" y="618"/>
                    <a:pt x="406" y="618"/>
                  </a:cubicBezTo>
                  <a:cubicBezTo>
                    <a:pt x="406" y="619"/>
                    <a:pt x="405" y="620"/>
                    <a:pt x="404" y="621"/>
                  </a:cubicBezTo>
                  <a:cubicBezTo>
                    <a:pt x="402" y="621"/>
                    <a:pt x="402" y="621"/>
                    <a:pt x="402" y="621"/>
                  </a:cubicBezTo>
                  <a:cubicBezTo>
                    <a:pt x="318" y="626"/>
                    <a:pt x="252" y="696"/>
                    <a:pt x="252" y="780"/>
                  </a:cubicBezTo>
                  <a:cubicBezTo>
                    <a:pt x="252" y="905"/>
                    <a:pt x="252" y="905"/>
                    <a:pt x="252" y="905"/>
                  </a:cubicBezTo>
                  <a:cubicBezTo>
                    <a:pt x="252" y="916"/>
                    <a:pt x="244" y="925"/>
                    <a:pt x="233" y="925"/>
                  </a:cubicBezTo>
                  <a:lnTo>
                    <a:pt x="2" y="925"/>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0" name="Freeform 10">
              <a:extLst>
                <a:ext uri="{FF2B5EF4-FFF2-40B4-BE49-F238E27FC236}">
                  <a16:creationId xmlns:a16="http://schemas.microsoft.com/office/drawing/2014/main" id="{AC268F13-1073-204A-BCDF-FB4B4973A401}"/>
                </a:ext>
              </a:extLst>
            </p:cNvPr>
            <p:cNvSpPr>
              <a:spLocks/>
            </p:cNvSpPr>
            <p:nvPr/>
          </p:nvSpPr>
          <p:spPr bwMode="auto">
            <a:xfrm>
              <a:off x="12744002" y="2815092"/>
              <a:ext cx="1419355" cy="1258636"/>
            </a:xfrm>
            <a:custGeom>
              <a:avLst/>
              <a:gdLst>
                <a:gd name="T0" fmla="*/ 202 w 247"/>
                <a:gd name="T1" fmla="*/ 219 h 219"/>
                <a:gd name="T2" fmla="*/ 201 w 247"/>
                <a:gd name="T3" fmla="*/ 219 h 219"/>
                <a:gd name="T4" fmla="*/ 202 w 247"/>
                <a:gd name="T5" fmla="*/ 217 h 219"/>
                <a:gd name="T6" fmla="*/ 245 w 247"/>
                <a:gd name="T7" fmla="*/ 124 h 219"/>
                <a:gd name="T8" fmla="*/ 124 w 247"/>
                <a:gd name="T9" fmla="*/ 2 h 219"/>
                <a:gd name="T10" fmla="*/ 2 w 247"/>
                <a:gd name="T11" fmla="*/ 124 h 219"/>
                <a:gd name="T12" fmla="*/ 1 w 247"/>
                <a:gd name="T13" fmla="*/ 125 h 219"/>
                <a:gd name="T14" fmla="*/ 0 w 247"/>
                <a:gd name="T15" fmla="*/ 124 h 219"/>
                <a:gd name="T16" fmla="*/ 124 w 247"/>
                <a:gd name="T17" fmla="*/ 0 h 219"/>
                <a:gd name="T18" fmla="*/ 247 w 247"/>
                <a:gd name="T19" fmla="*/ 124 h 219"/>
                <a:gd name="T20" fmla="*/ 203 w 247"/>
                <a:gd name="T21" fmla="*/ 219 h 219"/>
                <a:gd name="T22" fmla="*/ 202 w 247"/>
                <a:gd name="T23"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7" h="219">
                  <a:moveTo>
                    <a:pt x="202" y="219"/>
                  </a:moveTo>
                  <a:cubicBezTo>
                    <a:pt x="202" y="219"/>
                    <a:pt x="202" y="219"/>
                    <a:pt x="201" y="219"/>
                  </a:cubicBezTo>
                  <a:cubicBezTo>
                    <a:pt x="201" y="218"/>
                    <a:pt x="201" y="218"/>
                    <a:pt x="202" y="217"/>
                  </a:cubicBezTo>
                  <a:cubicBezTo>
                    <a:pt x="229" y="194"/>
                    <a:pt x="245" y="160"/>
                    <a:pt x="245" y="124"/>
                  </a:cubicBezTo>
                  <a:cubicBezTo>
                    <a:pt x="245" y="57"/>
                    <a:pt x="191" y="2"/>
                    <a:pt x="124" y="2"/>
                  </a:cubicBezTo>
                  <a:cubicBezTo>
                    <a:pt x="57" y="2"/>
                    <a:pt x="2" y="57"/>
                    <a:pt x="2" y="124"/>
                  </a:cubicBezTo>
                  <a:cubicBezTo>
                    <a:pt x="2" y="124"/>
                    <a:pt x="2" y="125"/>
                    <a:pt x="1" y="125"/>
                  </a:cubicBezTo>
                  <a:cubicBezTo>
                    <a:pt x="0" y="125"/>
                    <a:pt x="0" y="124"/>
                    <a:pt x="0" y="124"/>
                  </a:cubicBezTo>
                  <a:cubicBezTo>
                    <a:pt x="0" y="56"/>
                    <a:pt x="55" y="0"/>
                    <a:pt x="124" y="0"/>
                  </a:cubicBezTo>
                  <a:cubicBezTo>
                    <a:pt x="192" y="0"/>
                    <a:pt x="247" y="56"/>
                    <a:pt x="247" y="124"/>
                  </a:cubicBezTo>
                  <a:cubicBezTo>
                    <a:pt x="247" y="161"/>
                    <a:pt x="231" y="195"/>
                    <a:pt x="203" y="219"/>
                  </a:cubicBezTo>
                  <a:cubicBezTo>
                    <a:pt x="203" y="219"/>
                    <a:pt x="202" y="219"/>
                    <a:pt x="202" y="219"/>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1" name="Freeform 11">
              <a:extLst>
                <a:ext uri="{FF2B5EF4-FFF2-40B4-BE49-F238E27FC236}">
                  <a16:creationId xmlns:a16="http://schemas.microsoft.com/office/drawing/2014/main" id="{424D0771-6076-7542-9B17-5C2EB3D293E1}"/>
                </a:ext>
              </a:extLst>
            </p:cNvPr>
            <p:cNvSpPr>
              <a:spLocks/>
            </p:cNvSpPr>
            <p:nvPr/>
          </p:nvSpPr>
          <p:spPr bwMode="auto">
            <a:xfrm>
              <a:off x="12611361" y="5137760"/>
              <a:ext cx="1621705" cy="1673018"/>
            </a:xfrm>
            <a:custGeom>
              <a:avLst/>
              <a:gdLst>
                <a:gd name="T0" fmla="*/ 136 w 282"/>
                <a:gd name="T1" fmla="*/ 291 h 291"/>
                <a:gd name="T2" fmla="*/ 0 w 282"/>
                <a:gd name="T3" fmla="*/ 196 h 291"/>
                <a:gd name="T4" fmla="*/ 0 w 282"/>
                <a:gd name="T5" fmla="*/ 194 h 291"/>
                <a:gd name="T6" fmla="*/ 1 w 282"/>
                <a:gd name="T7" fmla="*/ 193 h 291"/>
                <a:gd name="T8" fmla="*/ 2 w 282"/>
                <a:gd name="T9" fmla="*/ 193 h 291"/>
                <a:gd name="T10" fmla="*/ 4 w 282"/>
                <a:gd name="T11" fmla="*/ 195 h 291"/>
                <a:gd name="T12" fmla="*/ 136 w 282"/>
                <a:gd name="T13" fmla="*/ 286 h 291"/>
                <a:gd name="T14" fmla="*/ 277 w 282"/>
                <a:gd name="T15" fmla="*/ 145 h 291"/>
                <a:gd name="T16" fmla="*/ 136 w 282"/>
                <a:gd name="T17" fmla="*/ 5 h 291"/>
                <a:gd name="T18" fmla="*/ 18 w 282"/>
                <a:gd name="T19" fmla="*/ 70 h 291"/>
                <a:gd name="T20" fmla="*/ 16 w 282"/>
                <a:gd name="T21" fmla="*/ 71 h 291"/>
                <a:gd name="T22" fmla="*/ 14 w 282"/>
                <a:gd name="T23" fmla="*/ 70 h 291"/>
                <a:gd name="T24" fmla="*/ 14 w 282"/>
                <a:gd name="T25" fmla="*/ 67 h 291"/>
                <a:gd name="T26" fmla="*/ 136 w 282"/>
                <a:gd name="T27" fmla="*/ 0 h 291"/>
                <a:gd name="T28" fmla="*/ 282 w 282"/>
                <a:gd name="T29" fmla="*/ 145 h 291"/>
                <a:gd name="T30" fmla="*/ 136 w 282"/>
                <a:gd name="T31"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2" h="291">
                  <a:moveTo>
                    <a:pt x="136" y="291"/>
                  </a:moveTo>
                  <a:cubicBezTo>
                    <a:pt x="76" y="291"/>
                    <a:pt x="21" y="253"/>
                    <a:pt x="0" y="196"/>
                  </a:cubicBezTo>
                  <a:cubicBezTo>
                    <a:pt x="0" y="196"/>
                    <a:pt x="0" y="195"/>
                    <a:pt x="0" y="194"/>
                  </a:cubicBezTo>
                  <a:cubicBezTo>
                    <a:pt x="0" y="194"/>
                    <a:pt x="1" y="193"/>
                    <a:pt x="1" y="193"/>
                  </a:cubicBezTo>
                  <a:cubicBezTo>
                    <a:pt x="2" y="193"/>
                    <a:pt x="2" y="193"/>
                    <a:pt x="2" y="193"/>
                  </a:cubicBezTo>
                  <a:cubicBezTo>
                    <a:pt x="3" y="193"/>
                    <a:pt x="4" y="194"/>
                    <a:pt x="4" y="195"/>
                  </a:cubicBezTo>
                  <a:cubicBezTo>
                    <a:pt x="25" y="249"/>
                    <a:pt x="78" y="286"/>
                    <a:pt x="136" y="286"/>
                  </a:cubicBezTo>
                  <a:cubicBezTo>
                    <a:pt x="214" y="286"/>
                    <a:pt x="277" y="223"/>
                    <a:pt x="277" y="145"/>
                  </a:cubicBezTo>
                  <a:cubicBezTo>
                    <a:pt x="277" y="68"/>
                    <a:pt x="214" y="5"/>
                    <a:pt x="136" y="5"/>
                  </a:cubicBezTo>
                  <a:cubicBezTo>
                    <a:pt x="88" y="5"/>
                    <a:pt x="44" y="29"/>
                    <a:pt x="18" y="70"/>
                  </a:cubicBezTo>
                  <a:cubicBezTo>
                    <a:pt x="17" y="70"/>
                    <a:pt x="16" y="71"/>
                    <a:pt x="16" y="71"/>
                  </a:cubicBezTo>
                  <a:cubicBezTo>
                    <a:pt x="15" y="71"/>
                    <a:pt x="15" y="71"/>
                    <a:pt x="14" y="70"/>
                  </a:cubicBezTo>
                  <a:cubicBezTo>
                    <a:pt x="13" y="70"/>
                    <a:pt x="13" y="68"/>
                    <a:pt x="14" y="67"/>
                  </a:cubicBezTo>
                  <a:cubicBezTo>
                    <a:pt x="41" y="25"/>
                    <a:pt x="86" y="0"/>
                    <a:pt x="136" y="0"/>
                  </a:cubicBezTo>
                  <a:cubicBezTo>
                    <a:pt x="216" y="0"/>
                    <a:pt x="282" y="65"/>
                    <a:pt x="282" y="145"/>
                  </a:cubicBezTo>
                  <a:cubicBezTo>
                    <a:pt x="282" y="226"/>
                    <a:pt x="216" y="291"/>
                    <a:pt x="136" y="291"/>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2" name="Freeform 12">
              <a:extLst>
                <a:ext uri="{FF2B5EF4-FFF2-40B4-BE49-F238E27FC236}">
                  <a16:creationId xmlns:a16="http://schemas.microsoft.com/office/drawing/2014/main" id="{BC16B0AF-99D6-AB41-8606-933FA3C9D77C}"/>
                </a:ext>
              </a:extLst>
            </p:cNvPr>
            <p:cNvSpPr>
              <a:spLocks/>
            </p:cNvSpPr>
            <p:nvPr/>
          </p:nvSpPr>
          <p:spPr bwMode="auto">
            <a:xfrm>
              <a:off x="9771684" y="2728924"/>
              <a:ext cx="1592660" cy="3811732"/>
            </a:xfrm>
            <a:custGeom>
              <a:avLst/>
              <a:gdLst>
                <a:gd name="T0" fmla="*/ 139 w 277"/>
                <a:gd name="T1" fmla="*/ 663 h 663"/>
                <a:gd name="T2" fmla="*/ 24 w 277"/>
                <a:gd name="T3" fmla="*/ 548 h 663"/>
                <a:gd name="T4" fmla="*/ 138 w 277"/>
                <a:gd name="T5" fmla="*/ 433 h 663"/>
                <a:gd name="T6" fmla="*/ 138 w 277"/>
                <a:gd name="T7" fmla="*/ 276 h 663"/>
                <a:gd name="T8" fmla="*/ 139 w 277"/>
                <a:gd name="T9" fmla="*/ 275 h 663"/>
                <a:gd name="T10" fmla="*/ 275 w 277"/>
                <a:gd name="T11" fmla="*/ 139 h 663"/>
                <a:gd name="T12" fmla="*/ 139 w 277"/>
                <a:gd name="T13" fmla="*/ 2 h 663"/>
                <a:gd name="T14" fmla="*/ 3 w 277"/>
                <a:gd name="T15" fmla="*/ 139 h 663"/>
                <a:gd name="T16" fmla="*/ 1 w 277"/>
                <a:gd name="T17" fmla="*/ 140 h 663"/>
                <a:gd name="T18" fmla="*/ 0 w 277"/>
                <a:gd name="T19" fmla="*/ 139 h 663"/>
                <a:gd name="T20" fmla="*/ 139 w 277"/>
                <a:gd name="T21" fmla="*/ 0 h 663"/>
                <a:gd name="T22" fmla="*/ 277 w 277"/>
                <a:gd name="T23" fmla="*/ 139 h 663"/>
                <a:gd name="T24" fmla="*/ 140 w 277"/>
                <a:gd name="T25" fmla="*/ 277 h 663"/>
                <a:gd name="T26" fmla="*/ 140 w 277"/>
                <a:gd name="T27" fmla="*/ 434 h 663"/>
                <a:gd name="T28" fmla="*/ 139 w 277"/>
                <a:gd name="T29" fmla="*/ 435 h 663"/>
                <a:gd name="T30" fmla="*/ 26 w 277"/>
                <a:gd name="T31" fmla="*/ 548 h 663"/>
                <a:gd name="T32" fmla="*/ 139 w 277"/>
                <a:gd name="T33" fmla="*/ 661 h 663"/>
                <a:gd name="T34" fmla="*/ 252 w 277"/>
                <a:gd name="T35" fmla="*/ 548 h 663"/>
                <a:gd name="T36" fmla="*/ 253 w 277"/>
                <a:gd name="T37" fmla="*/ 547 h 663"/>
                <a:gd name="T38" fmla="*/ 254 w 277"/>
                <a:gd name="T39" fmla="*/ 548 h 663"/>
                <a:gd name="T40" fmla="*/ 139 w 277"/>
                <a:gd name="T41" fmla="*/ 663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7" h="663">
                  <a:moveTo>
                    <a:pt x="139" y="663"/>
                  </a:moveTo>
                  <a:cubicBezTo>
                    <a:pt x="75" y="663"/>
                    <a:pt x="24" y="612"/>
                    <a:pt x="24" y="548"/>
                  </a:cubicBezTo>
                  <a:cubicBezTo>
                    <a:pt x="24" y="485"/>
                    <a:pt x="75" y="434"/>
                    <a:pt x="138" y="433"/>
                  </a:cubicBezTo>
                  <a:cubicBezTo>
                    <a:pt x="138" y="276"/>
                    <a:pt x="138" y="276"/>
                    <a:pt x="138" y="276"/>
                  </a:cubicBezTo>
                  <a:cubicBezTo>
                    <a:pt x="138" y="276"/>
                    <a:pt x="138" y="275"/>
                    <a:pt x="139" y="275"/>
                  </a:cubicBezTo>
                  <a:cubicBezTo>
                    <a:pt x="214" y="275"/>
                    <a:pt x="275" y="214"/>
                    <a:pt x="275" y="139"/>
                  </a:cubicBezTo>
                  <a:cubicBezTo>
                    <a:pt x="275" y="64"/>
                    <a:pt x="214" y="2"/>
                    <a:pt x="139" y="2"/>
                  </a:cubicBezTo>
                  <a:cubicBezTo>
                    <a:pt x="64" y="2"/>
                    <a:pt x="3" y="64"/>
                    <a:pt x="3" y="139"/>
                  </a:cubicBezTo>
                  <a:cubicBezTo>
                    <a:pt x="3" y="139"/>
                    <a:pt x="2" y="140"/>
                    <a:pt x="1" y="140"/>
                  </a:cubicBezTo>
                  <a:cubicBezTo>
                    <a:pt x="1" y="140"/>
                    <a:pt x="0" y="139"/>
                    <a:pt x="0" y="139"/>
                  </a:cubicBezTo>
                  <a:cubicBezTo>
                    <a:pt x="0" y="62"/>
                    <a:pt x="63" y="0"/>
                    <a:pt x="139" y="0"/>
                  </a:cubicBezTo>
                  <a:cubicBezTo>
                    <a:pt x="215" y="0"/>
                    <a:pt x="277" y="62"/>
                    <a:pt x="277" y="139"/>
                  </a:cubicBezTo>
                  <a:cubicBezTo>
                    <a:pt x="277" y="215"/>
                    <a:pt x="216" y="277"/>
                    <a:pt x="140" y="277"/>
                  </a:cubicBezTo>
                  <a:cubicBezTo>
                    <a:pt x="140" y="434"/>
                    <a:pt x="140" y="434"/>
                    <a:pt x="140" y="434"/>
                  </a:cubicBezTo>
                  <a:cubicBezTo>
                    <a:pt x="140" y="435"/>
                    <a:pt x="139" y="435"/>
                    <a:pt x="139" y="435"/>
                  </a:cubicBezTo>
                  <a:cubicBezTo>
                    <a:pt x="77" y="435"/>
                    <a:pt x="26" y="486"/>
                    <a:pt x="26" y="548"/>
                  </a:cubicBezTo>
                  <a:cubicBezTo>
                    <a:pt x="26" y="610"/>
                    <a:pt x="77" y="661"/>
                    <a:pt x="139" y="661"/>
                  </a:cubicBezTo>
                  <a:cubicBezTo>
                    <a:pt x="201" y="661"/>
                    <a:pt x="252" y="610"/>
                    <a:pt x="252" y="548"/>
                  </a:cubicBezTo>
                  <a:cubicBezTo>
                    <a:pt x="252" y="548"/>
                    <a:pt x="252" y="547"/>
                    <a:pt x="253" y="547"/>
                  </a:cubicBezTo>
                  <a:cubicBezTo>
                    <a:pt x="253" y="547"/>
                    <a:pt x="254" y="548"/>
                    <a:pt x="254" y="548"/>
                  </a:cubicBezTo>
                  <a:cubicBezTo>
                    <a:pt x="254" y="612"/>
                    <a:pt x="202" y="663"/>
                    <a:pt x="139" y="663"/>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3" name="Freeform 13">
              <a:extLst>
                <a:ext uri="{FF2B5EF4-FFF2-40B4-BE49-F238E27FC236}">
                  <a16:creationId xmlns:a16="http://schemas.microsoft.com/office/drawing/2014/main" id="{BB50300C-81CA-DD4F-BF68-06B132CB39D0}"/>
                </a:ext>
              </a:extLst>
            </p:cNvPr>
            <p:cNvSpPr>
              <a:spLocks/>
            </p:cNvSpPr>
            <p:nvPr/>
          </p:nvSpPr>
          <p:spPr bwMode="auto">
            <a:xfrm>
              <a:off x="9639042" y="2596283"/>
              <a:ext cx="1856973" cy="1598468"/>
            </a:xfrm>
            <a:custGeom>
              <a:avLst/>
              <a:gdLst>
                <a:gd name="T0" fmla="*/ 50 w 323"/>
                <a:gd name="T1" fmla="*/ 278 h 278"/>
                <a:gd name="T2" fmla="*/ 49 w 323"/>
                <a:gd name="T3" fmla="*/ 277 h 278"/>
                <a:gd name="T4" fmla="*/ 0 w 323"/>
                <a:gd name="T5" fmla="*/ 162 h 278"/>
                <a:gd name="T6" fmla="*/ 162 w 323"/>
                <a:gd name="T7" fmla="*/ 0 h 278"/>
                <a:gd name="T8" fmla="*/ 323 w 323"/>
                <a:gd name="T9" fmla="*/ 162 h 278"/>
                <a:gd name="T10" fmla="*/ 321 w 323"/>
                <a:gd name="T11" fmla="*/ 164 h 278"/>
                <a:gd name="T12" fmla="*/ 319 w 323"/>
                <a:gd name="T13" fmla="*/ 162 h 278"/>
                <a:gd name="T14" fmla="*/ 162 w 323"/>
                <a:gd name="T15" fmla="*/ 5 h 278"/>
                <a:gd name="T16" fmla="*/ 5 w 323"/>
                <a:gd name="T17" fmla="*/ 162 h 278"/>
                <a:gd name="T18" fmla="*/ 52 w 323"/>
                <a:gd name="T19" fmla="*/ 274 h 278"/>
                <a:gd name="T20" fmla="*/ 52 w 323"/>
                <a:gd name="T21" fmla="*/ 277 h 278"/>
                <a:gd name="T22" fmla="*/ 50 w 323"/>
                <a:gd name="T23"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3" h="278">
                  <a:moveTo>
                    <a:pt x="50" y="278"/>
                  </a:moveTo>
                  <a:cubicBezTo>
                    <a:pt x="50" y="278"/>
                    <a:pt x="49" y="277"/>
                    <a:pt x="49" y="277"/>
                  </a:cubicBezTo>
                  <a:cubicBezTo>
                    <a:pt x="17" y="246"/>
                    <a:pt x="0" y="205"/>
                    <a:pt x="0" y="162"/>
                  </a:cubicBezTo>
                  <a:cubicBezTo>
                    <a:pt x="0" y="73"/>
                    <a:pt x="73" y="0"/>
                    <a:pt x="162" y="0"/>
                  </a:cubicBezTo>
                  <a:cubicBezTo>
                    <a:pt x="251" y="0"/>
                    <a:pt x="323" y="73"/>
                    <a:pt x="323" y="162"/>
                  </a:cubicBezTo>
                  <a:cubicBezTo>
                    <a:pt x="323" y="163"/>
                    <a:pt x="322" y="164"/>
                    <a:pt x="321" y="164"/>
                  </a:cubicBezTo>
                  <a:cubicBezTo>
                    <a:pt x="320" y="164"/>
                    <a:pt x="319" y="163"/>
                    <a:pt x="319" y="162"/>
                  </a:cubicBezTo>
                  <a:cubicBezTo>
                    <a:pt x="319" y="75"/>
                    <a:pt x="248" y="5"/>
                    <a:pt x="162" y="5"/>
                  </a:cubicBezTo>
                  <a:cubicBezTo>
                    <a:pt x="75" y="5"/>
                    <a:pt x="5" y="75"/>
                    <a:pt x="5" y="162"/>
                  </a:cubicBezTo>
                  <a:cubicBezTo>
                    <a:pt x="5" y="204"/>
                    <a:pt x="22" y="244"/>
                    <a:pt x="52" y="274"/>
                  </a:cubicBezTo>
                  <a:cubicBezTo>
                    <a:pt x="53" y="275"/>
                    <a:pt x="53" y="276"/>
                    <a:pt x="52" y="277"/>
                  </a:cubicBezTo>
                  <a:cubicBezTo>
                    <a:pt x="52" y="277"/>
                    <a:pt x="51" y="278"/>
                    <a:pt x="50" y="27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4" name="Freeform 14">
              <a:extLst>
                <a:ext uri="{FF2B5EF4-FFF2-40B4-BE49-F238E27FC236}">
                  <a16:creationId xmlns:a16="http://schemas.microsoft.com/office/drawing/2014/main" id="{D7284B29-2BDA-D24D-BAAB-64CB7E0CEBB4}"/>
                </a:ext>
              </a:extLst>
            </p:cNvPr>
            <p:cNvSpPr>
              <a:spLocks/>
            </p:cNvSpPr>
            <p:nvPr/>
          </p:nvSpPr>
          <p:spPr bwMode="auto">
            <a:xfrm>
              <a:off x="9765874" y="5092256"/>
              <a:ext cx="661269" cy="1373850"/>
            </a:xfrm>
            <a:custGeom>
              <a:avLst/>
              <a:gdLst>
                <a:gd name="T0" fmla="*/ 45 w 115"/>
                <a:gd name="T1" fmla="*/ 239 h 239"/>
                <a:gd name="T2" fmla="*/ 43 w 115"/>
                <a:gd name="T3" fmla="*/ 238 h 239"/>
                <a:gd name="T4" fmla="*/ 0 w 115"/>
                <a:gd name="T5" fmla="*/ 137 h 239"/>
                <a:gd name="T6" fmla="*/ 112 w 115"/>
                <a:gd name="T7" fmla="*/ 0 h 239"/>
                <a:gd name="T8" fmla="*/ 112 w 115"/>
                <a:gd name="T9" fmla="*/ 0 h 239"/>
                <a:gd name="T10" fmla="*/ 115 w 115"/>
                <a:gd name="T11" fmla="*/ 2 h 239"/>
                <a:gd name="T12" fmla="*/ 113 w 115"/>
                <a:gd name="T13" fmla="*/ 5 h 239"/>
                <a:gd name="T14" fmla="*/ 5 w 115"/>
                <a:gd name="T15" fmla="*/ 137 h 239"/>
                <a:gd name="T16" fmla="*/ 47 w 115"/>
                <a:gd name="T17" fmla="*/ 235 h 239"/>
                <a:gd name="T18" fmla="*/ 47 w 115"/>
                <a:gd name="T19" fmla="*/ 238 h 239"/>
                <a:gd name="T20" fmla="*/ 45 w 115"/>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239">
                  <a:moveTo>
                    <a:pt x="45" y="239"/>
                  </a:moveTo>
                  <a:cubicBezTo>
                    <a:pt x="44" y="239"/>
                    <a:pt x="44" y="239"/>
                    <a:pt x="43" y="238"/>
                  </a:cubicBezTo>
                  <a:cubicBezTo>
                    <a:pt x="15" y="212"/>
                    <a:pt x="0" y="176"/>
                    <a:pt x="0" y="137"/>
                  </a:cubicBezTo>
                  <a:cubicBezTo>
                    <a:pt x="0" y="71"/>
                    <a:pt x="47" y="13"/>
                    <a:pt x="112" y="0"/>
                  </a:cubicBezTo>
                  <a:cubicBezTo>
                    <a:pt x="112" y="0"/>
                    <a:pt x="112" y="0"/>
                    <a:pt x="112" y="0"/>
                  </a:cubicBezTo>
                  <a:cubicBezTo>
                    <a:pt x="113" y="0"/>
                    <a:pt x="114" y="1"/>
                    <a:pt x="115" y="2"/>
                  </a:cubicBezTo>
                  <a:cubicBezTo>
                    <a:pt x="115" y="3"/>
                    <a:pt x="114" y="5"/>
                    <a:pt x="113" y="5"/>
                  </a:cubicBezTo>
                  <a:cubicBezTo>
                    <a:pt x="50" y="18"/>
                    <a:pt x="5" y="73"/>
                    <a:pt x="5" y="137"/>
                  </a:cubicBezTo>
                  <a:cubicBezTo>
                    <a:pt x="5" y="174"/>
                    <a:pt x="20" y="209"/>
                    <a:pt x="47" y="235"/>
                  </a:cubicBezTo>
                  <a:cubicBezTo>
                    <a:pt x="48" y="236"/>
                    <a:pt x="48" y="237"/>
                    <a:pt x="47" y="238"/>
                  </a:cubicBezTo>
                  <a:cubicBezTo>
                    <a:pt x="46" y="239"/>
                    <a:pt x="46" y="239"/>
                    <a:pt x="45" y="239"/>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5" name="Oval 15">
              <a:extLst>
                <a:ext uri="{FF2B5EF4-FFF2-40B4-BE49-F238E27FC236}">
                  <a16:creationId xmlns:a16="http://schemas.microsoft.com/office/drawing/2014/main" id="{AF5E3FA7-DBA4-514E-962D-22AD56E9F779}"/>
                </a:ext>
              </a:extLst>
            </p:cNvPr>
            <p:cNvSpPr>
              <a:spLocks noChangeArrowheads="1"/>
            </p:cNvSpPr>
            <p:nvPr/>
          </p:nvSpPr>
          <p:spPr bwMode="auto">
            <a:xfrm>
              <a:off x="13531134" y="4344819"/>
              <a:ext cx="52282" cy="51314"/>
            </a:xfrm>
            <a:prstGeom prst="ellipse">
              <a:avLst/>
            </a:pr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6" name="Oval 16">
              <a:extLst>
                <a:ext uri="{FF2B5EF4-FFF2-40B4-BE49-F238E27FC236}">
                  <a16:creationId xmlns:a16="http://schemas.microsoft.com/office/drawing/2014/main" id="{94A24FBB-6C6D-3D47-BE85-D87D60381241}"/>
                </a:ext>
              </a:extLst>
            </p:cNvPr>
            <p:cNvSpPr>
              <a:spLocks noChangeArrowheads="1"/>
            </p:cNvSpPr>
            <p:nvPr/>
          </p:nvSpPr>
          <p:spPr bwMode="auto">
            <a:xfrm>
              <a:off x="12669452" y="5517287"/>
              <a:ext cx="51314" cy="51314"/>
            </a:xfrm>
            <a:prstGeom prst="ellipse">
              <a:avLst/>
            </a:pr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7" name="Oval 17">
              <a:extLst>
                <a:ext uri="{FF2B5EF4-FFF2-40B4-BE49-F238E27FC236}">
                  <a16:creationId xmlns:a16="http://schemas.microsoft.com/office/drawing/2014/main" id="{1AC97E8F-D8D8-D24C-9C16-5B00D81A00D7}"/>
                </a:ext>
              </a:extLst>
            </p:cNvPr>
            <p:cNvSpPr>
              <a:spLocks noChangeArrowheads="1"/>
            </p:cNvSpPr>
            <p:nvPr/>
          </p:nvSpPr>
          <p:spPr bwMode="auto">
            <a:xfrm>
              <a:off x="9903356" y="4155055"/>
              <a:ext cx="52282" cy="51314"/>
            </a:xfrm>
            <a:prstGeom prst="ellipse">
              <a:avLst/>
            </a:prstGeom>
            <a:solidFill>
              <a:srgbClr val="62B5E5"/>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8" name="Oval 18">
              <a:extLst>
                <a:ext uri="{FF2B5EF4-FFF2-40B4-BE49-F238E27FC236}">
                  <a16:creationId xmlns:a16="http://schemas.microsoft.com/office/drawing/2014/main" id="{436C6F5E-DBC7-454A-A78A-65AE0B9D80B1}"/>
                </a:ext>
              </a:extLst>
            </p:cNvPr>
            <p:cNvSpPr>
              <a:spLocks noChangeArrowheads="1"/>
            </p:cNvSpPr>
            <p:nvPr/>
          </p:nvSpPr>
          <p:spPr bwMode="auto">
            <a:xfrm>
              <a:off x="11196847" y="4988659"/>
              <a:ext cx="52282" cy="51314"/>
            </a:xfrm>
            <a:prstGeom prst="ellipse">
              <a:avLst/>
            </a:pr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9" name="Oval 19">
              <a:extLst>
                <a:ext uri="{FF2B5EF4-FFF2-40B4-BE49-F238E27FC236}">
                  <a16:creationId xmlns:a16="http://schemas.microsoft.com/office/drawing/2014/main" id="{8DECF92E-B256-0642-B2BE-50D95EE90B24}"/>
                </a:ext>
              </a:extLst>
            </p:cNvPr>
            <p:cNvSpPr>
              <a:spLocks noChangeArrowheads="1"/>
            </p:cNvSpPr>
            <p:nvPr/>
          </p:nvSpPr>
          <p:spPr bwMode="auto">
            <a:xfrm>
              <a:off x="11196847" y="5856150"/>
              <a:ext cx="52282" cy="52282"/>
            </a:xfrm>
            <a:prstGeom prst="ellipse">
              <a:avLst/>
            </a:prstGeom>
            <a:solidFill>
              <a:srgbClr val="43B02A"/>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0" name="Oval 20">
              <a:extLst>
                <a:ext uri="{FF2B5EF4-FFF2-40B4-BE49-F238E27FC236}">
                  <a16:creationId xmlns:a16="http://schemas.microsoft.com/office/drawing/2014/main" id="{8DF7AE96-BA5F-514E-9812-EBCA8EC6D021}"/>
                </a:ext>
              </a:extLst>
            </p:cNvPr>
            <p:cNvSpPr>
              <a:spLocks noChangeArrowheads="1"/>
            </p:cNvSpPr>
            <p:nvPr/>
          </p:nvSpPr>
          <p:spPr bwMode="auto">
            <a:xfrm>
              <a:off x="11341107" y="6569701"/>
              <a:ext cx="51314" cy="51314"/>
            </a:xfrm>
            <a:prstGeom prst="ellipse">
              <a:avLst/>
            </a:pr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17" name="Freeform 25">
              <a:extLst>
                <a:ext uri="{FF2B5EF4-FFF2-40B4-BE49-F238E27FC236}">
                  <a16:creationId xmlns:a16="http://schemas.microsoft.com/office/drawing/2014/main" id="{80E85D0E-3A8D-FF4A-BF14-711B4213854D}"/>
                </a:ext>
              </a:extLst>
            </p:cNvPr>
            <p:cNvSpPr>
              <a:spLocks noEditPoints="1"/>
            </p:cNvSpPr>
            <p:nvPr/>
          </p:nvSpPr>
          <p:spPr bwMode="auto">
            <a:xfrm>
              <a:off x="10006952" y="5315905"/>
              <a:ext cx="1126964" cy="1126964"/>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15" name="Freeform 25">
              <a:extLst>
                <a:ext uri="{FF2B5EF4-FFF2-40B4-BE49-F238E27FC236}">
                  <a16:creationId xmlns:a16="http://schemas.microsoft.com/office/drawing/2014/main" id="{5A83E8E3-B2E2-5145-A71B-2141B0A06F2F}"/>
                </a:ext>
              </a:extLst>
            </p:cNvPr>
            <p:cNvSpPr>
              <a:spLocks noEditPoints="1"/>
            </p:cNvSpPr>
            <p:nvPr/>
          </p:nvSpPr>
          <p:spPr bwMode="auto">
            <a:xfrm>
              <a:off x="9967040" y="2924497"/>
              <a:ext cx="1207539" cy="1207539"/>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94" name="Freeform 25">
              <a:extLst>
                <a:ext uri="{FF2B5EF4-FFF2-40B4-BE49-F238E27FC236}">
                  <a16:creationId xmlns:a16="http://schemas.microsoft.com/office/drawing/2014/main" id="{DD916D98-DD27-8F40-9D11-E80AE661D499}"/>
                </a:ext>
              </a:extLst>
            </p:cNvPr>
            <p:cNvSpPr>
              <a:spLocks noEditPoints="1"/>
            </p:cNvSpPr>
            <p:nvPr/>
          </p:nvSpPr>
          <p:spPr bwMode="auto">
            <a:xfrm>
              <a:off x="11391461" y="4131819"/>
              <a:ext cx="1168586" cy="1168586"/>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13" name="Freeform 25">
              <a:extLst>
                <a:ext uri="{FF2B5EF4-FFF2-40B4-BE49-F238E27FC236}">
                  <a16:creationId xmlns:a16="http://schemas.microsoft.com/office/drawing/2014/main" id="{F554C07B-0E9F-804F-AD90-F98499C4B09E}"/>
                </a:ext>
              </a:extLst>
            </p:cNvPr>
            <p:cNvSpPr>
              <a:spLocks noEditPoints="1"/>
            </p:cNvSpPr>
            <p:nvPr/>
          </p:nvSpPr>
          <p:spPr bwMode="auto">
            <a:xfrm>
              <a:off x="11375745" y="6534630"/>
              <a:ext cx="1207539" cy="1207539"/>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7" name="Freeform 25">
              <a:extLst>
                <a:ext uri="{FF2B5EF4-FFF2-40B4-BE49-F238E27FC236}">
                  <a16:creationId xmlns:a16="http://schemas.microsoft.com/office/drawing/2014/main" id="{06FFC5BA-57ED-F643-88D9-C8D4490E50EF}"/>
                </a:ext>
              </a:extLst>
            </p:cNvPr>
            <p:cNvSpPr>
              <a:spLocks noEditPoints="1"/>
            </p:cNvSpPr>
            <p:nvPr/>
          </p:nvSpPr>
          <p:spPr bwMode="auto">
            <a:xfrm>
              <a:off x="12767765" y="5350760"/>
              <a:ext cx="1246492" cy="1246492"/>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9" name="Freeform 25">
              <a:extLst>
                <a:ext uri="{FF2B5EF4-FFF2-40B4-BE49-F238E27FC236}">
                  <a16:creationId xmlns:a16="http://schemas.microsoft.com/office/drawing/2014/main" id="{73061ED5-B281-4B49-BEAF-84CEAD024050}"/>
                </a:ext>
              </a:extLst>
            </p:cNvPr>
            <p:cNvSpPr>
              <a:spLocks noEditPoints="1"/>
            </p:cNvSpPr>
            <p:nvPr/>
          </p:nvSpPr>
          <p:spPr bwMode="auto">
            <a:xfrm>
              <a:off x="12857289" y="2953542"/>
              <a:ext cx="1168586" cy="1168586"/>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0" name="Freeform 589">
              <a:extLst>
                <a:ext uri="{FF2B5EF4-FFF2-40B4-BE49-F238E27FC236}">
                  <a16:creationId xmlns:a16="http://schemas.microsoft.com/office/drawing/2014/main" id="{00863FD3-C03A-1442-A6AF-B02421A96E15}"/>
                </a:ext>
              </a:extLst>
            </p:cNvPr>
            <p:cNvSpPr>
              <a:spLocks noChangeAspect="1" noEditPoints="1"/>
            </p:cNvSpPr>
            <p:nvPr/>
          </p:nvSpPr>
          <p:spPr bwMode="auto">
            <a:xfrm>
              <a:off x="10297763" y="5606717"/>
              <a:ext cx="545340" cy="545340"/>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01" name="Rectangle 100">
              <a:extLst>
                <a:ext uri="{FF2B5EF4-FFF2-40B4-BE49-F238E27FC236}">
                  <a16:creationId xmlns:a16="http://schemas.microsoft.com/office/drawing/2014/main" id="{3E032633-AAF7-6A44-9A65-0DC42EB1AE5F}"/>
                </a:ext>
              </a:extLst>
            </p:cNvPr>
            <p:cNvSpPr/>
            <p:nvPr/>
          </p:nvSpPr>
          <p:spPr>
            <a:xfrm>
              <a:off x="9613113" y="6650102"/>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2" name="Freeform 109">
              <a:extLst>
                <a:ext uri="{FF2B5EF4-FFF2-40B4-BE49-F238E27FC236}">
                  <a16:creationId xmlns:a16="http://schemas.microsoft.com/office/drawing/2014/main" id="{071D9A38-1A94-A648-B45F-DEBF132AC649}"/>
                </a:ext>
              </a:extLst>
            </p:cNvPr>
            <p:cNvSpPr>
              <a:spLocks noChangeAspect="1" noEditPoints="1"/>
            </p:cNvSpPr>
            <p:nvPr/>
          </p:nvSpPr>
          <p:spPr bwMode="auto">
            <a:xfrm>
              <a:off x="10296489" y="3253946"/>
              <a:ext cx="548640" cy="548640"/>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3" name="Rectangle 102">
              <a:extLst>
                <a:ext uri="{FF2B5EF4-FFF2-40B4-BE49-F238E27FC236}">
                  <a16:creationId xmlns:a16="http://schemas.microsoft.com/office/drawing/2014/main" id="{D42A48D9-3555-494D-8AB3-B198F39466CF}"/>
                </a:ext>
              </a:extLst>
            </p:cNvPr>
            <p:cNvSpPr/>
            <p:nvPr/>
          </p:nvSpPr>
          <p:spPr>
            <a:xfrm>
              <a:off x="9096344" y="4371160"/>
              <a:ext cx="1248052" cy="169277"/>
            </a:xfrm>
            <a:prstGeom prst="rect">
              <a:avLst/>
            </a:prstGeom>
            <a:noFill/>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4" name="Rectangle 103">
              <a:extLst>
                <a:ext uri="{FF2B5EF4-FFF2-40B4-BE49-F238E27FC236}">
                  <a16:creationId xmlns:a16="http://schemas.microsoft.com/office/drawing/2014/main" id="{D1CB914F-68DC-3143-B965-7ACE2216159A}"/>
                </a:ext>
              </a:extLst>
            </p:cNvPr>
            <p:cNvSpPr/>
            <p:nvPr/>
          </p:nvSpPr>
          <p:spPr>
            <a:xfrm>
              <a:off x="11383424" y="3288351"/>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5" name="Freeform 364">
              <a:extLst>
                <a:ext uri="{FF2B5EF4-FFF2-40B4-BE49-F238E27FC236}">
                  <a16:creationId xmlns:a16="http://schemas.microsoft.com/office/drawing/2014/main" id="{C69F7EF7-C414-1444-A750-BE12D8F6DEB2}"/>
                </a:ext>
              </a:extLst>
            </p:cNvPr>
            <p:cNvSpPr>
              <a:spLocks noChangeAspect="1" noEditPoints="1"/>
            </p:cNvSpPr>
            <p:nvPr/>
          </p:nvSpPr>
          <p:spPr bwMode="auto">
            <a:xfrm>
              <a:off x="11698117" y="4444803"/>
              <a:ext cx="550253" cy="548640"/>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6" name="Rectangle 105">
              <a:extLst>
                <a:ext uri="{FF2B5EF4-FFF2-40B4-BE49-F238E27FC236}">
                  <a16:creationId xmlns:a16="http://schemas.microsoft.com/office/drawing/2014/main" id="{C37F5B01-9097-0D45-A4A6-10B4AF411D5B}"/>
                </a:ext>
              </a:extLst>
            </p:cNvPr>
            <p:cNvSpPr/>
            <p:nvPr/>
          </p:nvSpPr>
          <p:spPr>
            <a:xfrm>
              <a:off x="13838941" y="4371160"/>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7" name="Freeform 783">
              <a:extLst>
                <a:ext uri="{FF2B5EF4-FFF2-40B4-BE49-F238E27FC236}">
                  <a16:creationId xmlns:a16="http://schemas.microsoft.com/office/drawing/2014/main" id="{D6A7FC5F-4C03-A546-88B7-24A41B2FF0AF}"/>
                </a:ext>
              </a:extLst>
            </p:cNvPr>
            <p:cNvSpPr>
              <a:spLocks noChangeAspect="1" noEditPoints="1"/>
            </p:cNvSpPr>
            <p:nvPr/>
          </p:nvSpPr>
          <p:spPr bwMode="auto">
            <a:xfrm>
              <a:off x="13164752" y="3266526"/>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8" name="Rectangle 107">
              <a:extLst>
                <a:ext uri="{FF2B5EF4-FFF2-40B4-BE49-F238E27FC236}">
                  <a16:creationId xmlns:a16="http://schemas.microsoft.com/office/drawing/2014/main" id="{B9DE7099-CBB0-3A4C-92A3-40135E693816}"/>
                </a:ext>
              </a:extLst>
            </p:cNvPr>
            <p:cNvSpPr/>
            <p:nvPr/>
          </p:nvSpPr>
          <p:spPr>
            <a:xfrm>
              <a:off x="13830271" y="6650102"/>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9" name="Freeform 841">
              <a:extLst>
                <a:ext uri="{FF2B5EF4-FFF2-40B4-BE49-F238E27FC236}">
                  <a16:creationId xmlns:a16="http://schemas.microsoft.com/office/drawing/2014/main" id="{BE61C4CA-76EC-BF42-910C-6A3B2263329A}"/>
                </a:ext>
              </a:extLst>
            </p:cNvPr>
            <p:cNvSpPr>
              <a:spLocks noChangeAspect="1" noEditPoints="1"/>
            </p:cNvSpPr>
            <p:nvPr/>
          </p:nvSpPr>
          <p:spPr bwMode="auto">
            <a:xfrm>
              <a:off x="13114014" y="5702898"/>
              <a:ext cx="548640" cy="548640"/>
            </a:xfrm>
            <a:custGeom>
              <a:avLst/>
              <a:gdLst>
                <a:gd name="T0" fmla="*/ 213 w 512"/>
                <a:gd name="T1" fmla="*/ 128 h 512"/>
                <a:gd name="T2" fmla="*/ 202 w 512"/>
                <a:gd name="T3" fmla="*/ 138 h 512"/>
                <a:gd name="T4" fmla="*/ 192 w 512"/>
                <a:gd name="T5" fmla="*/ 128 h 512"/>
                <a:gd name="T6" fmla="*/ 202 w 512"/>
                <a:gd name="T7" fmla="*/ 117 h 512"/>
                <a:gd name="T8" fmla="*/ 213 w 512"/>
                <a:gd name="T9" fmla="*/ 128 h 512"/>
                <a:gd name="T10" fmla="*/ 309 w 512"/>
                <a:gd name="T11" fmla="*/ 373 h 512"/>
                <a:gd name="T12" fmla="*/ 298 w 512"/>
                <a:gd name="T13" fmla="*/ 384 h 512"/>
                <a:gd name="T14" fmla="*/ 309 w 512"/>
                <a:gd name="T15" fmla="*/ 394 h 512"/>
                <a:gd name="T16" fmla="*/ 320 w 512"/>
                <a:gd name="T17" fmla="*/ 384 h 512"/>
                <a:gd name="T18" fmla="*/ 309 w 512"/>
                <a:gd name="T19" fmla="*/ 373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20 w 512"/>
                <a:gd name="T31" fmla="*/ 354 h 512"/>
                <a:gd name="T32" fmla="*/ 320 w 512"/>
                <a:gd name="T33" fmla="*/ 158 h 512"/>
                <a:gd name="T34" fmla="*/ 341 w 512"/>
                <a:gd name="T35" fmla="*/ 128 h 512"/>
                <a:gd name="T36" fmla="*/ 309 w 512"/>
                <a:gd name="T37" fmla="*/ 96 h 512"/>
                <a:gd name="T38" fmla="*/ 277 w 512"/>
                <a:gd name="T39" fmla="*/ 128 h 512"/>
                <a:gd name="T40" fmla="*/ 298 w 512"/>
                <a:gd name="T41" fmla="*/ 158 h 512"/>
                <a:gd name="T42" fmla="*/ 298 w 512"/>
                <a:gd name="T43" fmla="*/ 245 h 512"/>
                <a:gd name="T44" fmla="*/ 234 w 512"/>
                <a:gd name="T45" fmla="*/ 245 h 512"/>
                <a:gd name="T46" fmla="*/ 213 w 512"/>
                <a:gd name="T47" fmla="*/ 224 h 512"/>
                <a:gd name="T48" fmla="*/ 213 w 512"/>
                <a:gd name="T49" fmla="*/ 158 h 512"/>
                <a:gd name="T50" fmla="*/ 234 w 512"/>
                <a:gd name="T51" fmla="*/ 128 h 512"/>
                <a:gd name="T52" fmla="*/ 202 w 512"/>
                <a:gd name="T53" fmla="*/ 96 h 512"/>
                <a:gd name="T54" fmla="*/ 170 w 512"/>
                <a:gd name="T55" fmla="*/ 128 h 512"/>
                <a:gd name="T56" fmla="*/ 192 w 512"/>
                <a:gd name="T57" fmla="*/ 158 h 512"/>
                <a:gd name="T58" fmla="*/ 192 w 512"/>
                <a:gd name="T59" fmla="*/ 224 h 512"/>
                <a:gd name="T60" fmla="*/ 234 w 512"/>
                <a:gd name="T61" fmla="*/ 266 h 512"/>
                <a:gd name="T62" fmla="*/ 298 w 512"/>
                <a:gd name="T63" fmla="*/ 266 h 512"/>
                <a:gd name="T64" fmla="*/ 298 w 512"/>
                <a:gd name="T65" fmla="*/ 354 h 512"/>
                <a:gd name="T66" fmla="*/ 277 w 512"/>
                <a:gd name="T67" fmla="*/ 384 h 512"/>
                <a:gd name="T68" fmla="*/ 309 w 512"/>
                <a:gd name="T69" fmla="*/ 416 h 512"/>
                <a:gd name="T70" fmla="*/ 341 w 512"/>
                <a:gd name="T71" fmla="*/ 384 h 512"/>
                <a:gd name="T72" fmla="*/ 320 w 512"/>
                <a:gd name="T73" fmla="*/ 354 h 512"/>
                <a:gd name="T74" fmla="*/ 309 w 512"/>
                <a:gd name="T75" fmla="*/ 117 h 512"/>
                <a:gd name="T76" fmla="*/ 298 w 512"/>
                <a:gd name="T77" fmla="*/ 128 h 512"/>
                <a:gd name="T78" fmla="*/ 309 w 512"/>
                <a:gd name="T79" fmla="*/ 138 h 512"/>
                <a:gd name="T80" fmla="*/ 320 w 512"/>
                <a:gd name="T81" fmla="*/ 128 h 512"/>
                <a:gd name="T82" fmla="*/ 309 w 512"/>
                <a:gd name="T83"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13" y="128"/>
                  </a:moveTo>
                  <a:cubicBezTo>
                    <a:pt x="213" y="134"/>
                    <a:pt x="208" y="138"/>
                    <a:pt x="202" y="138"/>
                  </a:cubicBezTo>
                  <a:cubicBezTo>
                    <a:pt x="196" y="138"/>
                    <a:pt x="192" y="134"/>
                    <a:pt x="192" y="128"/>
                  </a:cubicBezTo>
                  <a:cubicBezTo>
                    <a:pt x="192" y="122"/>
                    <a:pt x="196" y="117"/>
                    <a:pt x="202" y="117"/>
                  </a:cubicBezTo>
                  <a:cubicBezTo>
                    <a:pt x="208" y="117"/>
                    <a:pt x="213" y="122"/>
                    <a:pt x="213" y="128"/>
                  </a:cubicBezTo>
                  <a:close/>
                  <a:moveTo>
                    <a:pt x="309" y="373"/>
                  </a:moveTo>
                  <a:cubicBezTo>
                    <a:pt x="303" y="373"/>
                    <a:pt x="298" y="378"/>
                    <a:pt x="298" y="384"/>
                  </a:cubicBezTo>
                  <a:cubicBezTo>
                    <a:pt x="298" y="390"/>
                    <a:pt x="303" y="394"/>
                    <a:pt x="309" y="394"/>
                  </a:cubicBezTo>
                  <a:cubicBezTo>
                    <a:pt x="315" y="394"/>
                    <a:pt x="320" y="390"/>
                    <a:pt x="320" y="384"/>
                  </a:cubicBezTo>
                  <a:cubicBezTo>
                    <a:pt x="320" y="378"/>
                    <a:pt x="315" y="373"/>
                    <a:pt x="309"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0" y="354"/>
                  </a:moveTo>
                  <a:cubicBezTo>
                    <a:pt x="320" y="158"/>
                    <a:pt x="320" y="158"/>
                    <a:pt x="320" y="158"/>
                  </a:cubicBezTo>
                  <a:cubicBezTo>
                    <a:pt x="332" y="153"/>
                    <a:pt x="341" y="142"/>
                    <a:pt x="341" y="128"/>
                  </a:cubicBezTo>
                  <a:cubicBezTo>
                    <a:pt x="341" y="110"/>
                    <a:pt x="327" y="96"/>
                    <a:pt x="309" y="96"/>
                  </a:cubicBezTo>
                  <a:cubicBezTo>
                    <a:pt x="291" y="96"/>
                    <a:pt x="277" y="110"/>
                    <a:pt x="277" y="128"/>
                  </a:cubicBezTo>
                  <a:cubicBezTo>
                    <a:pt x="277" y="142"/>
                    <a:pt x="286" y="153"/>
                    <a:pt x="298" y="158"/>
                  </a:cubicBezTo>
                  <a:cubicBezTo>
                    <a:pt x="298" y="245"/>
                    <a:pt x="298" y="245"/>
                    <a:pt x="298" y="245"/>
                  </a:cubicBezTo>
                  <a:cubicBezTo>
                    <a:pt x="234" y="245"/>
                    <a:pt x="234" y="245"/>
                    <a:pt x="234" y="245"/>
                  </a:cubicBezTo>
                  <a:cubicBezTo>
                    <a:pt x="231" y="245"/>
                    <a:pt x="213" y="244"/>
                    <a:pt x="213" y="224"/>
                  </a:cubicBezTo>
                  <a:cubicBezTo>
                    <a:pt x="213" y="158"/>
                    <a:pt x="213" y="158"/>
                    <a:pt x="213" y="158"/>
                  </a:cubicBezTo>
                  <a:cubicBezTo>
                    <a:pt x="225" y="153"/>
                    <a:pt x="234" y="142"/>
                    <a:pt x="234" y="128"/>
                  </a:cubicBezTo>
                  <a:cubicBezTo>
                    <a:pt x="234" y="110"/>
                    <a:pt x="220" y="96"/>
                    <a:pt x="202" y="96"/>
                  </a:cubicBezTo>
                  <a:cubicBezTo>
                    <a:pt x="185" y="96"/>
                    <a:pt x="170" y="110"/>
                    <a:pt x="170" y="128"/>
                  </a:cubicBezTo>
                  <a:cubicBezTo>
                    <a:pt x="170" y="142"/>
                    <a:pt x="179" y="153"/>
                    <a:pt x="192" y="158"/>
                  </a:cubicBezTo>
                  <a:cubicBezTo>
                    <a:pt x="192" y="224"/>
                    <a:pt x="192" y="224"/>
                    <a:pt x="192" y="224"/>
                  </a:cubicBezTo>
                  <a:cubicBezTo>
                    <a:pt x="192" y="255"/>
                    <a:pt x="217" y="266"/>
                    <a:pt x="234" y="266"/>
                  </a:cubicBezTo>
                  <a:cubicBezTo>
                    <a:pt x="298" y="266"/>
                    <a:pt x="298" y="266"/>
                    <a:pt x="298" y="266"/>
                  </a:cubicBezTo>
                  <a:cubicBezTo>
                    <a:pt x="298" y="354"/>
                    <a:pt x="298" y="354"/>
                    <a:pt x="298" y="354"/>
                  </a:cubicBezTo>
                  <a:cubicBezTo>
                    <a:pt x="286" y="358"/>
                    <a:pt x="277" y="370"/>
                    <a:pt x="277" y="384"/>
                  </a:cubicBezTo>
                  <a:cubicBezTo>
                    <a:pt x="277" y="401"/>
                    <a:pt x="291" y="416"/>
                    <a:pt x="309" y="416"/>
                  </a:cubicBezTo>
                  <a:cubicBezTo>
                    <a:pt x="327" y="416"/>
                    <a:pt x="341" y="401"/>
                    <a:pt x="341" y="384"/>
                  </a:cubicBezTo>
                  <a:cubicBezTo>
                    <a:pt x="341" y="370"/>
                    <a:pt x="332" y="358"/>
                    <a:pt x="320" y="354"/>
                  </a:cubicBezTo>
                  <a:close/>
                  <a:moveTo>
                    <a:pt x="309" y="117"/>
                  </a:moveTo>
                  <a:cubicBezTo>
                    <a:pt x="303" y="117"/>
                    <a:pt x="298" y="122"/>
                    <a:pt x="298" y="128"/>
                  </a:cubicBezTo>
                  <a:cubicBezTo>
                    <a:pt x="298" y="134"/>
                    <a:pt x="303" y="138"/>
                    <a:pt x="309" y="138"/>
                  </a:cubicBezTo>
                  <a:cubicBezTo>
                    <a:pt x="315" y="138"/>
                    <a:pt x="320" y="134"/>
                    <a:pt x="320" y="128"/>
                  </a:cubicBezTo>
                  <a:cubicBezTo>
                    <a:pt x="320" y="122"/>
                    <a:pt x="315" y="117"/>
                    <a:pt x="309" y="117"/>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10" name="Rectangle 109">
              <a:extLst>
                <a:ext uri="{FF2B5EF4-FFF2-40B4-BE49-F238E27FC236}">
                  <a16:creationId xmlns:a16="http://schemas.microsoft.com/office/drawing/2014/main" id="{DCF44299-1C51-014E-9270-0C5F52E78DF3}"/>
                </a:ext>
              </a:extLst>
            </p:cNvPr>
            <p:cNvSpPr/>
            <p:nvPr/>
          </p:nvSpPr>
          <p:spPr>
            <a:xfrm>
              <a:off x="12826701" y="7290795"/>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11" name="Freeform 976">
              <a:extLst>
                <a:ext uri="{FF2B5EF4-FFF2-40B4-BE49-F238E27FC236}">
                  <a16:creationId xmlns:a16="http://schemas.microsoft.com/office/drawing/2014/main" id="{42FF6633-767F-F84D-BF75-D0A4C4416988}"/>
                </a:ext>
              </a:extLst>
            </p:cNvPr>
            <p:cNvSpPr>
              <a:spLocks noChangeAspect="1" noEditPoints="1"/>
            </p:cNvSpPr>
            <p:nvPr/>
          </p:nvSpPr>
          <p:spPr bwMode="auto">
            <a:xfrm>
              <a:off x="11705194" y="6864079"/>
              <a:ext cx="548641"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grpSp>
    </p:spTree>
    <p:custDataLst>
      <p:tags r:id="rId1"/>
    </p:custDataLst>
    <p:extLst>
      <p:ext uri="{BB962C8B-B14F-4D97-AF65-F5344CB8AC3E}">
        <p14:creationId xmlns:p14="http://schemas.microsoft.com/office/powerpoint/2010/main" val="1466408262"/>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C7880CFC-1488-914D-B7E6-C15F05E738F9}"/>
              </a:ext>
            </a:extLst>
          </p:cNvPr>
          <p:cNvGrpSpPr/>
          <p:nvPr/>
        </p:nvGrpSpPr>
        <p:grpSpPr>
          <a:xfrm>
            <a:off x="5022009" y="2177023"/>
            <a:ext cx="2759917" cy="2759914"/>
            <a:chOff x="3498008" y="2177023"/>
            <a:chExt cx="2759917" cy="2759914"/>
          </a:xfrm>
        </p:grpSpPr>
        <p:sp>
          <p:nvSpPr>
            <p:cNvPr id="43" name="Freeform 893">
              <a:extLst>
                <a:ext uri="{FF2B5EF4-FFF2-40B4-BE49-F238E27FC236}">
                  <a16:creationId xmlns:a16="http://schemas.microsoft.com/office/drawing/2014/main" id="{04475BEF-75B6-914E-9D42-96B053BAD0BC}"/>
                </a:ext>
              </a:extLst>
            </p:cNvPr>
            <p:cNvSpPr>
              <a:spLocks noEditPoints="1"/>
            </p:cNvSpPr>
            <p:nvPr/>
          </p:nvSpPr>
          <p:spPr bwMode="auto">
            <a:xfrm rot="439398">
              <a:off x="3498008" y="2177023"/>
              <a:ext cx="2759917" cy="2759914"/>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accent4"/>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44" name="Group 367">
              <a:extLst>
                <a:ext uri="{FF2B5EF4-FFF2-40B4-BE49-F238E27FC236}">
                  <a16:creationId xmlns:a16="http://schemas.microsoft.com/office/drawing/2014/main" id="{DCF26502-1EF7-2A48-A5F1-DA203DCC0BD6}"/>
                </a:ext>
              </a:extLst>
            </p:cNvPr>
            <p:cNvGrpSpPr>
              <a:grpSpLocks noChangeAspect="1"/>
            </p:cNvGrpSpPr>
            <p:nvPr/>
          </p:nvGrpSpPr>
          <p:grpSpPr bwMode="auto">
            <a:xfrm>
              <a:off x="3852115" y="2447925"/>
              <a:ext cx="1414244" cy="1418402"/>
              <a:chOff x="4383" y="2091"/>
              <a:chExt cx="340" cy="341"/>
            </a:xfrm>
            <a:solidFill>
              <a:schemeClr val="accent4"/>
            </a:solidFill>
          </p:grpSpPr>
          <p:sp>
            <p:nvSpPr>
              <p:cNvPr id="45" name="Freeform 44">
                <a:extLst>
                  <a:ext uri="{FF2B5EF4-FFF2-40B4-BE49-F238E27FC236}">
                    <a16:creationId xmlns:a16="http://schemas.microsoft.com/office/drawing/2014/main" id="{6BBD717E-DC99-554E-9E8F-21AA7ECA2D29}"/>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45">
                <a:extLst>
                  <a:ext uri="{FF2B5EF4-FFF2-40B4-BE49-F238E27FC236}">
                    <a16:creationId xmlns:a16="http://schemas.microsoft.com/office/drawing/2014/main" id="{F1C2A4CD-E528-484F-8507-2820E6CC4074}"/>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7" name="Oval 46">
            <a:extLst>
              <a:ext uri="{FF2B5EF4-FFF2-40B4-BE49-F238E27FC236}">
                <a16:creationId xmlns:a16="http://schemas.microsoft.com/office/drawing/2014/main" id="{32293275-4A35-3648-AB48-C131477D3F7C}"/>
              </a:ext>
            </a:extLst>
          </p:cNvPr>
          <p:cNvSpPr/>
          <p:nvPr/>
        </p:nvSpPr>
        <p:spPr bwMode="gray">
          <a:xfrm>
            <a:off x="7229475" y="2733675"/>
            <a:ext cx="838200" cy="8382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Oval 47">
            <a:extLst>
              <a:ext uri="{FF2B5EF4-FFF2-40B4-BE49-F238E27FC236}">
                <a16:creationId xmlns:a16="http://schemas.microsoft.com/office/drawing/2014/main" id="{970F7406-4ED5-7241-8D6B-9EDDAC85332B}"/>
              </a:ext>
            </a:extLst>
          </p:cNvPr>
          <p:cNvSpPr/>
          <p:nvPr/>
        </p:nvSpPr>
        <p:spPr bwMode="gray">
          <a:xfrm>
            <a:off x="6762750" y="1562100"/>
            <a:ext cx="838200" cy="838200"/>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Oval 48">
            <a:extLst>
              <a:ext uri="{FF2B5EF4-FFF2-40B4-BE49-F238E27FC236}">
                <a16:creationId xmlns:a16="http://schemas.microsoft.com/office/drawing/2014/main" id="{BF53579F-E0CE-DA48-B2B5-E9E6B1B42A43}"/>
              </a:ext>
            </a:extLst>
          </p:cNvPr>
          <p:cNvSpPr/>
          <p:nvPr/>
        </p:nvSpPr>
        <p:spPr bwMode="gray">
          <a:xfrm>
            <a:off x="5619750" y="1095375"/>
            <a:ext cx="838200" cy="838200"/>
          </a:xfrm>
          <a:prstGeom prst="ellips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Oval 49">
            <a:extLst>
              <a:ext uri="{FF2B5EF4-FFF2-40B4-BE49-F238E27FC236}">
                <a16:creationId xmlns:a16="http://schemas.microsoft.com/office/drawing/2014/main" id="{B4893E5A-44A1-0E4A-B241-D3E5AE88C965}"/>
              </a:ext>
            </a:extLst>
          </p:cNvPr>
          <p:cNvSpPr/>
          <p:nvPr/>
        </p:nvSpPr>
        <p:spPr bwMode="gray">
          <a:xfrm>
            <a:off x="4457700" y="1552575"/>
            <a:ext cx="838200" cy="83820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Oval 50">
            <a:extLst>
              <a:ext uri="{FF2B5EF4-FFF2-40B4-BE49-F238E27FC236}">
                <a16:creationId xmlns:a16="http://schemas.microsoft.com/office/drawing/2014/main" id="{4CDEE451-C5CF-034E-B81C-989E905741D7}"/>
              </a:ext>
            </a:extLst>
          </p:cNvPr>
          <p:cNvSpPr/>
          <p:nvPr/>
        </p:nvSpPr>
        <p:spPr bwMode="gray">
          <a:xfrm>
            <a:off x="4010025" y="2714625"/>
            <a:ext cx="838200" cy="8382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Oval 51">
            <a:extLst>
              <a:ext uri="{FF2B5EF4-FFF2-40B4-BE49-F238E27FC236}">
                <a16:creationId xmlns:a16="http://schemas.microsoft.com/office/drawing/2014/main" id="{254355C3-C231-FC4F-8986-6BCA1C515B01}"/>
              </a:ext>
            </a:extLst>
          </p:cNvPr>
          <p:cNvSpPr/>
          <p:nvPr/>
        </p:nvSpPr>
        <p:spPr bwMode="gray">
          <a:xfrm>
            <a:off x="4467225" y="3857625"/>
            <a:ext cx="838200" cy="8382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53" name="Group 52">
            <a:extLst>
              <a:ext uri="{FF2B5EF4-FFF2-40B4-BE49-F238E27FC236}">
                <a16:creationId xmlns:a16="http://schemas.microsoft.com/office/drawing/2014/main" id="{3B27448D-7B4C-3040-8452-230A3A03C2CE}"/>
              </a:ext>
            </a:extLst>
          </p:cNvPr>
          <p:cNvGrpSpPr/>
          <p:nvPr/>
        </p:nvGrpSpPr>
        <p:grpSpPr>
          <a:xfrm>
            <a:off x="6852666" y="1652016"/>
            <a:ext cx="658368" cy="658368"/>
            <a:chOff x="2854325" y="5435600"/>
            <a:chExt cx="506413" cy="506413"/>
          </a:xfrm>
          <a:solidFill>
            <a:schemeClr val="bg1"/>
          </a:solidFill>
        </p:grpSpPr>
        <p:sp>
          <p:nvSpPr>
            <p:cNvPr id="54" name="Freeform 13">
              <a:extLst>
                <a:ext uri="{FF2B5EF4-FFF2-40B4-BE49-F238E27FC236}">
                  <a16:creationId xmlns:a16="http://schemas.microsoft.com/office/drawing/2014/main" id="{ECD302F3-5754-B141-9F88-CBEF709A3C4A}"/>
                </a:ext>
              </a:extLst>
            </p:cNvPr>
            <p:cNvSpPr>
              <a:spLocks noEditPoints="1"/>
            </p:cNvSpPr>
            <p:nvPr/>
          </p:nvSpPr>
          <p:spPr bwMode="auto">
            <a:xfrm>
              <a:off x="2990850" y="5529263"/>
              <a:ext cx="231775" cy="319088"/>
            </a:xfrm>
            <a:custGeom>
              <a:avLst/>
              <a:gdLst>
                <a:gd name="T0" fmla="*/ 93 w 146"/>
                <a:gd name="T1" fmla="*/ 167 h 201"/>
                <a:gd name="T2" fmla="*/ 83 w 146"/>
                <a:gd name="T3" fmla="*/ 173 h 201"/>
                <a:gd name="T4" fmla="*/ 82 w 146"/>
                <a:gd name="T5" fmla="*/ 162 h 201"/>
                <a:gd name="T6" fmla="*/ 64 w 146"/>
                <a:gd name="T7" fmla="*/ 162 h 201"/>
                <a:gd name="T8" fmla="*/ 63 w 146"/>
                <a:gd name="T9" fmla="*/ 173 h 201"/>
                <a:gd name="T10" fmla="*/ 53 w 146"/>
                <a:gd name="T11" fmla="*/ 167 h 201"/>
                <a:gd name="T12" fmla="*/ 34 w 146"/>
                <a:gd name="T13" fmla="*/ 161 h 201"/>
                <a:gd name="T14" fmla="*/ 40 w 146"/>
                <a:gd name="T15" fmla="*/ 170 h 201"/>
                <a:gd name="T16" fmla="*/ 29 w 146"/>
                <a:gd name="T17" fmla="*/ 172 h 201"/>
                <a:gd name="T18" fmla="*/ 31 w 146"/>
                <a:gd name="T19" fmla="*/ 161 h 201"/>
                <a:gd name="T20" fmla="*/ 120 w 146"/>
                <a:gd name="T21" fmla="*/ 138 h 201"/>
                <a:gd name="T22" fmla="*/ 116 w 146"/>
                <a:gd name="T23" fmla="*/ 173 h 201"/>
                <a:gd name="T24" fmla="*/ 106 w 146"/>
                <a:gd name="T25" fmla="*/ 167 h 201"/>
                <a:gd name="T26" fmla="*/ 113 w 146"/>
                <a:gd name="T27" fmla="*/ 133 h 201"/>
                <a:gd name="T28" fmla="*/ 93 w 146"/>
                <a:gd name="T29" fmla="*/ 141 h 201"/>
                <a:gd name="T30" fmla="*/ 83 w 146"/>
                <a:gd name="T31" fmla="*/ 147 h 201"/>
                <a:gd name="T32" fmla="*/ 82 w 146"/>
                <a:gd name="T33" fmla="*/ 136 h 201"/>
                <a:gd name="T34" fmla="*/ 64 w 146"/>
                <a:gd name="T35" fmla="*/ 136 h 201"/>
                <a:gd name="T36" fmla="*/ 63 w 146"/>
                <a:gd name="T37" fmla="*/ 147 h 201"/>
                <a:gd name="T38" fmla="*/ 53 w 146"/>
                <a:gd name="T39" fmla="*/ 141 h 201"/>
                <a:gd name="T40" fmla="*/ 34 w 146"/>
                <a:gd name="T41" fmla="*/ 133 h 201"/>
                <a:gd name="T42" fmla="*/ 40 w 146"/>
                <a:gd name="T43" fmla="*/ 143 h 201"/>
                <a:gd name="T44" fmla="*/ 29 w 146"/>
                <a:gd name="T45" fmla="*/ 145 h 201"/>
                <a:gd name="T46" fmla="*/ 31 w 146"/>
                <a:gd name="T47" fmla="*/ 135 h 201"/>
                <a:gd name="T48" fmla="*/ 120 w 146"/>
                <a:gd name="T49" fmla="*/ 112 h 201"/>
                <a:gd name="T50" fmla="*/ 113 w 146"/>
                <a:gd name="T51" fmla="*/ 120 h 201"/>
                <a:gd name="T52" fmla="*/ 107 w 146"/>
                <a:gd name="T53" fmla="*/ 112 h 201"/>
                <a:gd name="T54" fmla="*/ 89 w 146"/>
                <a:gd name="T55" fmla="*/ 108 h 201"/>
                <a:gd name="T56" fmla="*/ 92 w 146"/>
                <a:gd name="T57" fmla="*/ 119 h 201"/>
                <a:gd name="T58" fmla="*/ 80 w 146"/>
                <a:gd name="T59" fmla="*/ 116 h 201"/>
                <a:gd name="T60" fmla="*/ 87 w 146"/>
                <a:gd name="T61" fmla="*/ 107 h 201"/>
                <a:gd name="T62" fmla="*/ 66 w 146"/>
                <a:gd name="T63" fmla="*/ 114 h 201"/>
                <a:gd name="T64" fmla="*/ 57 w 146"/>
                <a:gd name="T65" fmla="*/ 120 h 201"/>
                <a:gd name="T66" fmla="*/ 56 w 146"/>
                <a:gd name="T67" fmla="*/ 109 h 201"/>
                <a:gd name="T68" fmla="*/ 37 w 146"/>
                <a:gd name="T69" fmla="*/ 109 h 201"/>
                <a:gd name="T70" fmla="*/ 36 w 146"/>
                <a:gd name="T71" fmla="*/ 120 h 201"/>
                <a:gd name="T72" fmla="*/ 27 w 146"/>
                <a:gd name="T73" fmla="*/ 114 h 201"/>
                <a:gd name="T74" fmla="*/ 113 w 146"/>
                <a:gd name="T75" fmla="*/ 80 h 201"/>
                <a:gd name="T76" fmla="*/ 120 w 146"/>
                <a:gd name="T77" fmla="*/ 90 h 201"/>
                <a:gd name="T78" fmla="*/ 109 w 146"/>
                <a:gd name="T79" fmla="*/ 92 h 201"/>
                <a:gd name="T80" fmla="*/ 111 w 146"/>
                <a:gd name="T81" fmla="*/ 81 h 201"/>
                <a:gd name="T82" fmla="*/ 93 w 146"/>
                <a:gd name="T83" fmla="*/ 84 h 201"/>
                <a:gd name="T84" fmla="*/ 87 w 146"/>
                <a:gd name="T85" fmla="*/ 93 h 201"/>
                <a:gd name="T86" fmla="*/ 80 w 146"/>
                <a:gd name="T87" fmla="*/ 84 h 201"/>
                <a:gd name="T88" fmla="*/ 63 w 146"/>
                <a:gd name="T89" fmla="*/ 81 h 201"/>
                <a:gd name="T90" fmla="*/ 64 w 146"/>
                <a:gd name="T91" fmla="*/ 92 h 201"/>
                <a:gd name="T92" fmla="*/ 54 w 146"/>
                <a:gd name="T93" fmla="*/ 90 h 201"/>
                <a:gd name="T94" fmla="*/ 59 w 146"/>
                <a:gd name="T95" fmla="*/ 80 h 201"/>
                <a:gd name="T96" fmla="*/ 40 w 146"/>
                <a:gd name="T97" fmla="*/ 87 h 201"/>
                <a:gd name="T98" fmla="*/ 31 w 146"/>
                <a:gd name="T99" fmla="*/ 93 h 201"/>
                <a:gd name="T100" fmla="*/ 29 w 146"/>
                <a:gd name="T101" fmla="*/ 83 h 201"/>
                <a:gd name="T102" fmla="*/ 106 w 146"/>
                <a:gd name="T103" fmla="*/ 54 h 201"/>
                <a:gd name="T104" fmla="*/ 116 w 146"/>
                <a:gd name="T105" fmla="*/ 28 h 201"/>
                <a:gd name="T106" fmla="*/ 120 w 146"/>
                <a:gd name="T107" fmla="*/ 63 h 201"/>
                <a:gd name="T108" fmla="*/ 31 w 146"/>
                <a:gd name="T109" fmla="*/ 67 h 201"/>
                <a:gd name="T110" fmla="*/ 27 w 146"/>
                <a:gd name="T111" fmla="*/ 32 h 201"/>
                <a:gd name="T112" fmla="*/ 13 w 146"/>
                <a:gd name="T113" fmla="*/ 186 h 201"/>
                <a:gd name="T114" fmla="*/ 140 w 146"/>
                <a:gd name="T115" fmla="*/ 0 h 201"/>
                <a:gd name="T116" fmla="*/ 146 w 146"/>
                <a:gd name="T117" fmla="*/ 194 h 201"/>
                <a:gd name="T118" fmla="*/ 7 w 146"/>
                <a:gd name="T119" fmla="*/ 201 h 201"/>
                <a:gd name="T120" fmla="*/ 0 w 146"/>
                <a:gd name="T121" fmla="*/ 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 h="201">
                  <a:moveTo>
                    <a:pt x="87" y="161"/>
                  </a:moveTo>
                  <a:lnTo>
                    <a:pt x="89" y="161"/>
                  </a:lnTo>
                  <a:lnTo>
                    <a:pt x="92" y="162"/>
                  </a:lnTo>
                  <a:lnTo>
                    <a:pt x="93" y="165"/>
                  </a:lnTo>
                  <a:lnTo>
                    <a:pt x="93" y="167"/>
                  </a:lnTo>
                  <a:lnTo>
                    <a:pt x="93" y="170"/>
                  </a:lnTo>
                  <a:lnTo>
                    <a:pt x="92" y="172"/>
                  </a:lnTo>
                  <a:lnTo>
                    <a:pt x="89" y="173"/>
                  </a:lnTo>
                  <a:lnTo>
                    <a:pt x="87" y="173"/>
                  </a:lnTo>
                  <a:lnTo>
                    <a:pt x="83" y="173"/>
                  </a:lnTo>
                  <a:lnTo>
                    <a:pt x="82" y="172"/>
                  </a:lnTo>
                  <a:lnTo>
                    <a:pt x="80" y="170"/>
                  </a:lnTo>
                  <a:lnTo>
                    <a:pt x="80" y="167"/>
                  </a:lnTo>
                  <a:lnTo>
                    <a:pt x="80" y="165"/>
                  </a:lnTo>
                  <a:lnTo>
                    <a:pt x="82" y="162"/>
                  </a:lnTo>
                  <a:lnTo>
                    <a:pt x="83" y="161"/>
                  </a:lnTo>
                  <a:lnTo>
                    <a:pt x="87" y="161"/>
                  </a:lnTo>
                  <a:close/>
                  <a:moveTo>
                    <a:pt x="59" y="161"/>
                  </a:moveTo>
                  <a:lnTo>
                    <a:pt x="63" y="161"/>
                  </a:lnTo>
                  <a:lnTo>
                    <a:pt x="64" y="162"/>
                  </a:lnTo>
                  <a:lnTo>
                    <a:pt x="66" y="165"/>
                  </a:lnTo>
                  <a:lnTo>
                    <a:pt x="66" y="167"/>
                  </a:lnTo>
                  <a:lnTo>
                    <a:pt x="66" y="170"/>
                  </a:lnTo>
                  <a:lnTo>
                    <a:pt x="64" y="172"/>
                  </a:lnTo>
                  <a:lnTo>
                    <a:pt x="63" y="173"/>
                  </a:lnTo>
                  <a:lnTo>
                    <a:pt x="59" y="173"/>
                  </a:lnTo>
                  <a:lnTo>
                    <a:pt x="57" y="173"/>
                  </a:lnTo>
                  <a:lnTo>
                    <a:pt x="56" y="172"/>
                  </a:lnTo>
                  <a:lnTo>
                    <a:pt x="54" y="170"/>
                  </a:lnTo>
                  <a:lnTo>
                    <a:pt x="53" y="167"/>
                  </a:lnTo>
                  <a:lnTo>
                    <a:pt x="54" y="165"/>
                  </a:lnTo>
                  <a:lnTo>
                    <a:pt x="56" y="162"/>
                  </a:lnTo>
                  <a:lnTo>
                    <a:pt x="57" y="161"/>
                  </a:lnTo>
                  <a:lnTo>
                    <a:pt x="59" y="161"/>
                  </a:lnTo>
                  <a:close/>
                  <a:moveTo>
                    <a:pt x="34" y="161"/>
                  </a:moveTo>
                  <a:lnTo>
                    <a:pt x="36" y="161"/>
                  </a:lnTo>
                  <a:lnTo>
                    <a:pt x="37" y="162"/>
                  </a:lnTo>
                  <a:lnTo>
                    <a:pt x="40" y="165"/>
                  </a:lnTo>
                  <a:lnTo>
                    <a:pt x="40" y="167"/>
                  </a:lnTo>
                  <a:lnTo>
                    <a:pt x="40" y="170"/>
                  </a:lnTo>
                  <a:lnTo>
                    <a:pt x="37" y="172"/>
                  </a:lnTo>
                  <a:lnTo>
                    <a:pt x="36" y="173"/>
                  </a:lnTo>
                  <a:lnTo>
                    <a:pt x="34" y="173"/>
                  </a:lnTo>
                  <a:lnTo>
                    <a:pt x="31" y="173"/>
                  </a:lnTo>
                  <a:lnTo>
                    <a:pt x="29" y="172"/>
                  </a:lnTo>
                  <a:lnTo>
                    <a:pt x="27" y="170"/>
                  </a:lnTo>
                  <a:lnTo>
                    <a:pt x="27" y="167"/>
                  </a:lnTo>
                  <a:lnTo>
                    <a:pt x="27" y="165"/>
                  </a:lnTo>
                  <a:lnTo>
                    <a:pt x="29" y="162"/>
                  </a:lnTo>
                  <a:lnTo>
                    <a:pt x="31" y="161"/>
                  </a:lnTo>
                  <a:lnTo>
                    <a:pt x="34" y="161"/>
                  </a:lnTo>
                  <a:close/>
                  <a:moveTo>
                    <a:pt x="113" y="133"/>
                  </a:moveTo>
                  <a:lnTo>
                    <a:pt x="116" y="135"/>
                  </a:lnTo>
                  <a:lnTo>
                    <a:pt x="118" y="136"/>
                  </a:lnTo>
                  <a:lnTo>
                    <a:pt x="120" y="138"/>
                  </a:lnTo>
                  <a:lnTo>
                    <a:pt x="120" y="141"/>
                  </a:lnTo>
                  <a:lnTo>
                    <a:pt x="120" y="167"/>
                  </a:lnTo>
                  <a:lnTo>
                    <a:pt x="120" y="170"/>
                  </a:lnTo>
                  <a:lnTo>
                    <a:pt x="118" y="172"/>
                  </a:lnTo>
                  <a:lnTo>
                    <a:pt x="116" y="173"/>
                  </a:lnTo>
                  <a:lnTo>
                    <a:pt x="113" y="173"/>
                  </a:lnTo>
                  <a:lnTo>
                    <a:pt x="111" y="173"/>
                  </a:lnTo>
                  <a:lnTo>
                    <a:pt x="109" y="172"/>
                  </a:lnTo>
                  <a:lnTo>
                    <a:pt x="107" y="170"/>
                  </a:lnTo>
                  <a:lnTo>
                    <a:pt x="106" y="167"/>
                  </a:lnTo>
                  <a:lnTo>
                    <a:pt x="106" y="141"/>
                  </a:lnTo>
                  <a:lnTo>
                    <a:pt x="107" y="138"/>
                  </a:lnTo>
                  <a:lnTo>
                    <a:pt x="109" y="136"/>
                  </a:lnTo>
                  <a:lnTo>
                    <a:pt x="111" y="135"/>
                  </a:lnTo>
                  <a:lnTo>
                    <a:pt x="113" y="133"/>
                  </a:lnTo>
                  <a:close/>
                  <a:moveTo>
                    <a:pt x="87" y="133"/>
                  </a:moveTo>
                  <a:lnTo>
                    <a:pt x="89" y="135"/>
                  </a:lnTo>
                  <a:lnTo>
                    <a:pt x="92" y="136"/>
                  </a:lnTo>
                  <a:lnTo>
                    <a:pt x="93" y="138"/>
                  </a:lnTo>
                  <a:lnTo>
                    <a:pt x="93" y="141"/>
                  </a:lnTo>
                  <a:lnTo>
                    <a:pt x="93" y="143"/>
                  </a:lnTo>
                  <a:lnTo>
                    <a:pt x="92" y="145"/>
                  </a:lnTo>
                  <a:lnTo>
                    <a:pt x="89" y="147"/>
                  </a:lnTo>
                  <a:lnTo>
                    <a:pt x="87" y="147"/>
                  </a:lnTo>
                  <a:lnTo>
                    <a:pt x="83" y="147"/>
                  </a:lnTo>
                  <a:lnTo>
                    <a:pt x="82" y="145"/>
                  </a:lnTo>
                  <a:lnTo>
                    <a:pt x="80" y="143"/>
                  </a:lnTo>
                  <a:lnTo>
                    <a:pt x="80" y="141"/>
                  </a:lnTo>
                  <a:lnTo>
                    <a:pt x="80" y="138"/>
                  </a:lnTo>
                  <a:lnTo>
                    <a:pt x="82" y="136"/>
                  </a:lnTo>
                  <a:lnTo>
                    <a:pt x="83" y="135"/>
                  </a:lnTo>
                  <a:lnTo>
                    <a:pt x="87" y="133"/>
                  </a:lnTo>
                  <a:close/>
                  <a:moveTo>
                    <a:pt x="59" y="133"/>
                  </a:moveTo>
                  <a:lnTo>
                    <a:pt x="63" y="135"/>
                  </a:lnTo>
                  <a:lnTo>
                    <a:pt x="64" y="136"/>
                  </a:lnTo>
                  <a:lnTo>
                    <a:pt x="66" y="138"/>
                  </a:lnTo>
                  <a:lnTo>
                    <a:pt x="66" y="141"/>
                  </a:lnTo>
                  <a:lnTo>
                    <a:pt x="66" y="143"/>
                  </a:lnTo>
                  <a:lnTo>
                    <a:pt x="64" y="145"/>
                  </a:lnTo>
                  <a:lnTo>
                    <a:pt x="63" y="147"/>
                  </a:lnTo>
                  <a:lnTo>
                    <a:pt x="59" y="147"/>
                  </a:lnTo>
                  <a:lnTo>
                    <a:pt x="57" y="147"/>
                  </a:lnTo>
                  <a:lnTo>
                    <a:pt x="56" y="145"/>
                  </a:lnTo>
                  <a:lnTo>
                    <a:pt x="54" y="143"/>
                  </a:lnTo>
                  <a:lnTo>
                    <a:pt x="53" y="141"/>
                  </a:lnTo>
                  <a:lnTo>
                    <a:pt x="54" y="138"/>
                  </a:lnTo>
                  <a:lnTo>
                    <a:pt x="56" y="136"/>
                  </a:lnTo>
                  <a:lnTo>
                    <a:pt x="57" y="135"/>
                  </a:lnTo>
                  <a:lnTo>
                    <a:pt x="59" y="133"/>
                  </a:lnTo>
                  <a:close/>
                  <a:moveTo>
                    <a:pt x="34" y="133"/>
                  </a:moveTo>
                  <a:lnTo>
                    <a:pt x="36" y="135"/>
                  </a:lnTo>
                  <a:lnTo>
                    <a:pt x="37" y="136"/>
                  </a:lnTo>
                  <a:lnTo>
                    <a:pt x="40" y="138"/>
                  </a:lnTo>
                  <a:lnTo>
                    <a:pt x="40" y="141"/>
                  </a:lnTo>
                  <a:lnTo>
                    <a:pt x="40" y="143"/>
                  </a:lnTo>
                  <a:lnTo>
                    <a:pt x="37" y="145"/>
                  </a:lnTo>
                  <a:lnTo>
                    <a:pt x="36" y="147"/>
                  </a:lnTo>
                  <a:lnTo>
                    <a:pt x="34" y="147"/>
                  </a:lnTo>
                  <a:lnTo>
                    <a:pt x="31" y="147"/>
                  </a:lnTo>
                  <a:lnTo>
                    <a:pt x="29" y="145"/>
                  </a:lnTo>
                  <a:lnTo>
                    <a:pt x="27" y="143"/>
                  </a:lnTo>
                  <a:lnTo>
                    <a:pt x="27" y="141"/>
                  </a:lnTo>
                  <a:lnTo>
                    <a:pt x="27" y="138"/>
                  </a:lnTo>
                  <a:lnTo>
                    <a:pt x="29" y="136"/>
                  </a:lnTo>
                  <a:lnTo>
                    <a:pt x="31" y="135"/>
                  </a:lnTo>
                  <a:lnTo>
                    <a:pt x="34" y="133"/>
                  </a:lnTo>
                  <a:close/>
                  <a:moveTo>
                    <a:pt x="113" y="107"/>
                  </a:moveTo>
                  <a:lnTo>
                    <a:pt x="116" y="108"/>
                  </a:lnTo>
                  <a:lnTo>
                    <a:pt x="118" y="109"/>
                  </a:lnTo>
                  <a:lnTo>
                    <a:pt x="120" y="112"/>
                  </a:lnTo>
                  <a:lnTo>
                    <a:pt x="120" y="114"/>
                  </a:lnTo>
                  <a:lnTo>
                    <a:pt x="120" y="116"/>
                  </a:lnTo>
                  <a:lnTo>
                    <a:pt x="118" y="119"/>
                  </a:lnTo>
                  <a:lnTo>
                    <a:pt x="116" y="120"/>
                  </a:lnTo>
                  <a:lnTo>
                    <a:pt x="113" y="120"/>
                  </a:lnTo>
                  <a:lnTo>
                    <a:pt x="111" y="120"/>
                  </a:lnTo>
                  <a:lnTo>
                    <a:pt x="109" y="119"/>
                  </a:lnTo>
                  <a:lnTo>
                    <a:pt x="107" y="116"/>
                  </a:lnTo>
                  <a:lnTo>
                    <a:pt x="106" y="114"/>
                  </a:lnTo>
                  <a:lnTo>
                    <a:pt x="107" y="112"/>
                  </a:lnTo>
                  <a:lnTo>
                    <a:pt x="109" y="109"/>
                  </a:lnTo>
                  <a:lnTo>
                    <a:pt x="111" y="108"/>
                  </a:lnTo>
                  <a:lnTo>
                    <a:pt x="113" y="107"/>
                  </a:lnTo>
                  <a:close/>
                  <a:moveTo>
                    <a:pt x="87" y="107"/>
                  </a:moveTo>
                  <a:lnTo>
                    <a:pt x="89" y="108"/>
                  </a:lnTo>
                  <a:lnTo>
                    <a:pt x="92" y="109"/>
                  </a:lnTo>
                  <a:lnTo>
                    <a:pt x="93" y="112"/>
                  </a:lnTo>
                  <a:lnTo>
                    <a:pt x="93" y="114"/>
                  </a:lnTo>
                  <a:lnTo>
                    <a:pt x="93" y="116"/>
                  </a:lnTo>
                  <a:lnTo>
                    <a:pt x="92" y="119"/>
                  </a:lnTo>
                  <a:lnTo>
                    <a:pt x="89" y="120"/>
                  </a:lnTo>
                  <a:lnTo>
                    <a:pt x="87" y="120"/>
                  </a:lnTo>
                  <a:lnTo>
                    <a:pt x="83" y="120"/>
                  </a:lnTo>
                  <a:lnTo>
                    <a:pt x="82" y="119"/>
                  </a:lnTo>
                  <a:lnTo>
                    <a:pt x="80" y="116"/>
                  </a:lnTo>
                  <a:lnTo>
                    <a:pt x="80" y="114"/>
                  </a:lnTo>
                  <a:lnTo>
                    <a:pt x="80" y="112"/>
                  </a:lnTo>
                  <a:lnTo>
                    <a:pt x="82" y="109"/>
                  </a:lnTo>
                  <a:lnTo>
                    <a:pt x="83" y="108"/>
                  </a:lnTo>
                  <a:lnTo>
                    <a:pt x="87" y="107"/>
                  </a:lnTo>
                  <a:close/>
                  <a:moveTo>
                    <a:pt x="59" y="107"/>
                  </a:moveTo>
                  <a:lnTo>
                    <a:pt x="63" y="108"/>
                  </a:lnTo>
                  <a:lnTo>
                    <a:pt x="64" y="109"/>
                  </a:lnTo>
                  <a:lnTo>
                    <a:pt x="66" y="112"/>
                  </a:lnTo>
                  <a:lnTo>
                    <a:pt x="66" y="114"/>
                  </a:lnTo>
                  <a:lnTo>
                    <a:pt x="66" y="116"/>
                  </a:lnTo>
                  <a:lnTo>
                    <a:pt x="64" y="119"/>
                  </a:lnTo>
                  <a:lnTo>
                    <a:pt x="63" y="120"/>
                  </a:lnTo>
                  <a:lnTo>
                    <a:pt x="59" y="120"/>
                  </a:lnTo>
                  <a:lnTo>
                    <a:pt x="57" y="120"/>
                  </a:lnTo>
                  <a:lnTo>
                    <a:pt x="56" y="119"/>
                  </a:lnTo>
                  <a:lnTo>
                    <a:pt x="54" y="116"/>
                  </a:lnTo>
                  <a:lnTo>
                    <a:pt x="53" y="114"/>
                  </a:lnTo>
                  <a:lnTo>
                    <a:pt x="54" y="112"/>
                  </a:lnTo>
                  <a:lnTo>
                    <a:pt x="56" y="109"/>
                  </a:lnTo>
                  <a:lnTo>
                    <a:pt x="57" y="108"/>
                  </a:lnTo>
                  <a:lnTo>
                    <a:pt x="59" y="107"/>
                  </a:lnTo>
                  <a:close/>
                  <a:moveTo>
                    <a:pt x="34" y="107"/>
                  </a:moveTo>
                  <a:lnTo>
                    <a:pt x="36" y="108"/>
                  </a:lnTo>
                  <a:lnTo>
                    <a:pt x="37" y="109"/>
                  </a:lnTo>
                  <a:lnTo>
                    <a:pt x="40" y="112"/>
                  </a:lnTo>
                  <a:lnTo>
                    <a:pt x="40" y="114"/>
                  </a:lnTo>
                  <a:lnTo>
                    <a:pt x="40" y="116"/>
                  </a:lnTo>
                  <a:lnTo>
                    <a:pt x="37" y="119"/>
                  </a:lnTo>
                  <a:lnTo>
                    <a:pt x="36" y="120"/>
                  </a:lnTo>
                  <a:lnTo>
                    <a:pt x="34" y="120"/>
                  </a:lnTo>
                  <a:lnTo>
                    <a:pt x="31" y="120"/>
                  </a:lnTo>
                  <a:lnTo>
                    <a:pt x="29" y="119"/>
                  </a:lnTo>
                  <a:lnTo>
                    <a:pt x="27" y="116"/>
                  </a:lnTo>
                  <a:lnTo>
                    <a:pt x="27" y="114"/>
                  </a:lnTo>
                  <a:lnTo>
                    <a:pt x="27" y="112"/>
                  </a:lnTo>
                  <a:lnTo>
                    <a:pt x="29" y="109"/>
                  </a:lnTo>
                  <a:lnTo>
                    <a:pt x="31" y="108"/>
                  </a:lnTo>
                  <a:lnTo>
                    <a:pt x="34" y="107"/>
                  </a:lnTo>
                  <a:close/>
                  <a:moveTo>
                    <a:pt x="113" y="80"/>
                  </a:moveTo>
                  <a:lnTo>
                    <a:pt x="116" y="81"/>
                  </a:lnTo>
                  <a:lnTo>
                    <a:pt x="118" y="83"/>
                  </a:lnTo>
                  <a:lnTo>
                    <a:pt x="120" y="84"/>
                  </a:lnTo>
                  <a:lnTo>
                    <a:pt x="120" y="87"/>
                  </a:lnTo>
                  <a:lnTo>
                    <a:pt x="120" y="90"/>
                  </a:lnTo>
                  <a:lnTo>
                    <a:pt x="118" y="92"/>
                  </a:lnTo>
                  <a:lnTo>
                    <a:pt x="116" y="93"/>
                  </a:lnTo>
                  <a:lnTo>
                    <a:pt x="113" y="93"/>
                  </a:lnTo>
                  <a:lnTo>
                    <a:pt x="111" y="93"/>
                  </a:lnTo>
                  <a:lnTo>
                    <a:pt x="109" y="92"/>
                  </a:lnTo>
                  <a:lnTo>
                    <a:pt x="107" y="90"/>
                  </a:lnTo>
                  <a:lnTo>
                    <a:pt x="106" y="87"/>
                  </a:lnTo>
                  <a:lnTo>
                    <a:pt x="107" y="84"/>
                  </a:lnTo>
                  <a:lnTo>
                    <a:pt x="109" y="83"/>
                  </a:lnTo>
                  <a:lnTo>
                    <a:pt x="111" y="81"/>
                  </a:lnTo>
                  <a:lnTo>
                    <a:pt x="113" y="80"/>
                  </a:lnTo>
                  <a:close/>
                  <a:moveTo>
                    <a:pt x="87" y="80"/>
                  </a:moveTo>
                  <a:lnTo>
                    <a:pt x="89" y="81"/>
                  </a:lnTo>
                  <a:lnTo>
                    <a:pt x="92" y="83"/>
                  </a:lnTo>
                  <a:lnTo>
                    <a:pt x="93" y="84"/>
                  </a:lnTo>
                  <a:lnTo>
                    <a:pt x="93" y="87"/>
                  </a:lnTo>
                  <a:lnTo>
                    <a:pt x="93" y="90"/>
                  </a:lnTo>
                  <a:lnTo>
                    <a:pt x="92" y="92"/>
                  </a:lnTo>
                  <a:lnTo>
                    <a:pt x="89" y="93"/>
                  </a:lnTo>
                  <a:lnTo>
                    <a:pt x="87" y="93"/>
                  </a:lnTo>
                  <a:lnTo>
                    <a:pt x="83" y="93"/>
                  </a:lnTo>
                  <a:lnTo>
                    <a:pt x="82" y="92"/>
                  </a:lnTo>
                  <a:lnTo>
                    <a:pt x="80" y="90"/>
                  </a:lnTo>
                  <a:lnTo>
                    <a:pt x="80" y="87"/>
                  </a:lnTo>
                  <a:lnTo>
                    <a:pt x="80" y="84"/>
                  </a:lnTo>
                  <a:lnTo>
                    <a:pt x="82" y="83"/>
                  </a:lnTo>
                  <a:lnTo>
                    <a:pt x="83" y="81"/>
                  </a:lnTo>
                  <a:lnTo>
                    <a:pt x="87" y="80"/>
                  </a:lnTo>
                  <a:close/>
                  <a:moveTo>
                    <a:pt x="59" y="80"/>
                  </a:moveTo>
                  <a:lnTo>
                    <a:pt x="63" y="81"/>
                  </a:lnTo>
                  <a:lnTo>
                    <a:pt x="64" y="83"/>
                  </a:lnTo>
                  <a:lnTo>
                    <a:pt x="66" y="84"/>
                  </a:lnTo>
                  <a:lnTo>
                    <a:pt x="66" y="87"/>
                  </a:lnTo>
                  <a:lnTo>
                    <a:pt x="66" y="90"/>
                  </a:lnTo>
                  <a:lnTo>
                    <a:pt x="64" y="92"/>
                  </a:lnTo>
                  <a:lnTo>
                    <a:pt x="63" y="93"/>
                  </a:lnTo>
                  <a:lnTo>
                    <a:pt x="59" y="93"/>
                  </a:lnTo>
                  <a:lnTo>
                    <a:pt x="57" y="93"/>
                  </a:lnTo>
                  <a:lnTo>
                    <a:pt x="56" y="92"/>
                  </a:lnTo>
                  <a:lnTo>
                    <a:pt x="54" y="90"/>
                  </a:lnTo>
                  <a:lnTo>
                    <a:pt x="53" y="87"/>
                  </a:lnTo>
                  <a:lnTo>
                    <a:pt x="54" y="84"/>
                  </a:lnTo>
                  <a:lnTo>
                    <a:pt x="56" y="83"/>
                  </a:lnTo>
                  <a:lnTo>
                    <a:pt x="57" y="81"/>
                  </a:lnTo>
                  <a:lnTo>
                    <a:pt x="59" y="80"/>
                  </a:lnTo>
                  <a:close/>
                  <a:moveTo>
                    <a:pt x="34" y="80"/>
                  </a:moveTo>
                  <a:lnTo>
                    <a:pt x="36" y="81"/>
                  </a:lnTo>
                  <a:lnTo>
                    <a:pt x="37" y="83"/>
                  </a:lnTo>
                  <a:lnTo>
                    <a:pt x="40" y="84"/>
                  </a:lnTo>
                  <a:lnTo>
                    <a:pt x="40" y="87"/>
                  </a:lnTo>
                  <a:lnTo>
                    <a:pt x="40" y="90"/>
                  </a:lnTo>
                  <a:lnTo>
                    <a:pt x="37" y="92"/>
                  </a:lnTo>
                  <a:lnTo>
                    <a:pt x="36" y="93"/>
                  </a:lnTo>
                  <a:lnTo>
                    <a:pt x="34" y="93"/>
                  </a:lnTo>
                  <a:lnTo>
                    <a:pt x="31" y="93"/>
                  </a:lnTo>
                  <a:lnTo>
                    <a:pt x="29" y="92"/>
                  </a:lnTo>
                  <a:lnTo>
                    <a:pt x="27" y="90"/>
                  </a:lnTo>
                  <a:lnTo>
                    <a:pt x="27" y="87"/>
                  </a:lnTo>
                  <a:lnTo>
                    <a:pt x="27" y="84"/>
                  </a:lnTo>
                  <a:lnTo>
                    <a:pt x="29" y="83"/>
                  </a:lnTo>
                  <a:lnTo>
                    <a:pt x="31" y="81"/>
                  </a:lnTo>
                  <a:lnTo>
                    <a:pt x="34" y="80"/>
                  </a:lnTo>
                  <a:close/>
                  <a:moveTo>
                    <a:pt x="40" y="40"/>
                  </a:moveTo>
                  <a:lnTo>
                    <a:pt x="40" y="54"/>
                  </a:lnTo>
                  <a:lnTo>
                    <a:pt x="106" y="54"/>
                  </a:lnTo>
                  <a:lnTo>
                    <a:pt x="106" y="40"/>
                  </a:lnTo>
                  <a:lnTo>
                    <a:pt x="40" y="40"/>
                  </a:lnTo>
                  <a:close/>
                  <a:moveTo>
                    <a:pt x="34" y="27"/>
                  </a:moveTo>
                  <a:lnTo>
                    <a:pt x="113" y="27"/>
                  </a:lnTo>
                  <a:lnTo>
                    <a:pt x="116" y="28"/>
                  </a:lnTo>
                  <a:lnTo>
                    <a:pt x="118" y="29"/>
                  </a:lnTo>
                  <a:lnTo>
                    <a:pt x="120" y="32"/>
                  </a:lnTo>
                  <a:lnTo>
                    <a:pt x="120" y="34"/>
                  </a:lnTo>
                  <a:lnTo>
                    <a:pt x="120" y="61"/>
                  </a:lnTo>
                  <a:lnTo>
                    <a:pt x="120" y="63"/>
                  </a:lnTo>
                  <a:lnTo>
                    <a:pt x="118" y="66"/>
                  </a:lnTo>
                  <a:lnTo>
                    <a:pt x="116" y="67"/>
                  </a:lnTo>
                  <a:lnTo>
                    <a:pt x="113" y="67"/>
                  </a:lnTo>
                  <a:lnTo>
                    <a:pt x="34" y="67"/>
                  </a:lnTo>
                  <a:lnTo>
                    <a:pt x="31" y="67"/>
                  </a:lnTo>
                  <a:lnTo>
                    <a:pt x="29" y="66"/>
                  </a:lnTo>
                  <a:lnTo>
                    <a:pt x="27" y="63"/>
                  </a:lnTo>
                  <a:lnTo>
                    <a:pt x="27" y="61"/>
                  </a:lnTo>
                  <a:lnTo>
                    <a:pt x="27" y="34"/>
                  </a:lnTo>
                  <a:lnTo>
                    <a:pt x="27" y="32"/>
                  </a:lnTo>
                  <a:lnTo>
                    <a:pt x="29" y="29"/>
                  </a:lnTo>
                  <a:lnTo>
                    <a:pt x="31" y="28"/>
                  </a:lnTo>
                  <a:lnTo>
                    <a:pt x="34" y="27"/>
                  </a:lnTo>
                  <a:close/>
                  <a:moveTo>
                    <a:pt x="13" y="14"/>
                  </a:moveTo>
                  <a:lnTo>
                    <a:pt x="13" y="186"/>
                  </a:lnTo>
                  <a:lnTo>
                    <a:pt x="133" y="186"/>
                  </a:lnTo>
                  <a:lnTo>
                    <a:pt x="133" y="14"/>
                  </a:lnTo>
                  <a:lnTo>
                    <a:pt x="13" y="14"/>
                  </a:lnTo>
                  <a:close/>
                  <a:moveTo>
                    <a:pt x="7" y="0"/>
                  </a:moveTo>
                  <a:lnTo>
                    <a:pt x="140" y="0"/>
                  </a:lnTo>
                  <a:lnTo>
                    <a:pt x="142" y="2"/>
                  </a:lnTo>
                  <a:lnTo>
                    <a:pt x="145" y="3"/>
                  </a:lnTo>
                  <a:lnTo>
                    <a:pt x="146" y="4"/>
                  </a:lnTo>
                  <a:lnTo>
                    <a:pt x="146" y="8"/>
                  </a:lnTo>
                  <a:lnTo>
                    <a:pt x="146" y="194"/>
                  </a:lnTo>
                  <a:lnTo>
                    <a:pt x="146" y="196"/>
                  </a:lnTo>
                  <a:lnTo>
                    <a:pt x="145" y="199"/>
                  </a:lnTo>
                  <a:lnTo>
                    <a:pt x="142" y="200"/>
                  </a:lnTo>
                  <a:lnTo>
                    <a:pt x="140" y="201"/>
                  </a:lnTo>
                  <a:lnTo>
                    <a:pt x="7" y="201"/>
                  </a:lnTo>
                  <a:lnTo>
                    <a:pt x="4" y="200"/>
                  </a:lnTo>
                  <a:lnTo>
                    <a:pt x="2" y="199"/>
                  </a:lnTo>
                  <a:lnTo>
                    <a:pt x="0" y="196"/>
                  </a:lnTo>
                  <a:lnTo>
                    <a:pt x="0" y="194"/>
                  </a:lnTo>
                  <a:lnTo>
                    <a:pt x="0" y="8"/>
                  </a:lnTo>
                  <a:lnTo>
                    <a:pt x="0" y="4"/>
                  </a:lnTo>
                  <a:lnTo>
                    <a:pt x="2" y="3"/>
                  </a:lnTo>
                  <a:lnTo>
                    <a:pt x="4" y="2"/>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4">
              <a:extLst>
                <a:ext uri="{FF2B5EF4-FFF2-40B4-BE49-F238E27FC236}">
                  <a16:creationId xmlns:a16="http://schemas.microsoft.com/office/drawing/2014/main" id="{9923C5A9-B166-1C4A-BE93-CE4A1A5729BA}"/>
                </a:ext>
              </a:extLst>
            </p:cNvPr>
            <p:cNvSpPr>
              <a:spLocks noEditPoints="1"/>
            </p:cNvSpPr>
            <p:nvPr/>
          </p:nvSpPr>
          <p:spPr bwMode="auto">
            <a:xfrm>
              <a:off x="2854325" y="5435600"/>
              <a:ext cx="506413" cy="506413"/>
            </a:xfrm>
            <a:custGeom>
              <a:avLst/>
              <a:gdLst>
                <a:gd name="T0" fmla="*/ 131 w 319"/>
                <a:gd name="T1" fmla="*/ 16 h 319"/>
                <a:gd name="T2" fmla="*/ 78 w 319"/>
                <a:gd name="T3" fmla="*/ 39 h 319"/>
                <a:gd name="T4" fmla="*/ 38 w 319"/>
                <a:gd name="T5" fmla="*/ 78 h 319"/>
                <a:gd name="T6" fmla="*/ 16 w 319"/>
                <a:gd name="T7" fmla="*/ 131 h 319"/>
                <a:gd name="T8" fmla="*/ 16 w 319"/>
                <a:gd name="T9" fmla="*/ 189 h 319"/>
                <a:gd name="T10" fmla="*/ 38 w 319"/>
                <a:gd name="T11" fmla="*/ 241 h 319"/>
                <a:gd name="T12" fmla="*/ 78 w 319"/>
                <a:gd name="T13" fmla="*/ 280 h 319"/>
                <a:gd name="T14" fmla="*/ 131 w 319"/>
                <a:gd name="T15" fmla="*/ 302 h 319"/>
                <a:gd name="T16" fmla="*/ 189 w 319"/>
                <a:gd name="T17" fmla="*/ 302 h 319"/>
                <a:gd name="T18" fmla="*/ 242 w 319"/>
                <a:gd name="T19" fmla="*/ 280 h 319"/>
                <a:gd name="T20" fmla="*/ 280 w 319"/>
                <a:gd name="T21" fmla="*/ 241 h 319"/>
                <a:gd name="T22" fmla="*/ 303 w 319"/>
                <a:gd name="T23" fmla="*/ 189 h 319"/>
                <a:gd name="T24" fmla="*/ 303 w 319"/>
                <a:gd name="T25" fmla="*/ 131 h 319"/>
                <a:gd name="T26" fmla="*/ 280 w 319"/>
                <a:gd name="T27" fmla="*/ 78 h 319"/>
                <a:gd name="T28" fmla="*/ 242 w 319"/>
                <a:gd name="T29" fmla="*/ 39 h 319"/>
                <a:gd name="T30" fmla="*/ 189 w 319"/>
                <a:gd name="T31" fmla="*/ 16 h 319"/>
                <a:gd name="T32" fmla="*/ 160 w 319"/>
                <a:gd name="T33" fmla="*/ 0 h 319"/>
                <a:gd name="T34" fmla="*/ 192 w 319"/>
                <a:gd name="T35" fmla="*/ 4 h 319"/>
                <a:gd name="T36" fmla="*/ 249 w 319"/>
                <a:gd name="T37" fmla="*/ 28 h 319"/>
                <a:gd name="T38" fmla="*/ 292 w 319"/>
                <a:gd name="T39" fmla="*/ 70 h 319"/>
                <a:gd name="T40" fmla="*/ 317 w 319"/>
                <a:gd name="T41" fmla="*/ 127 h 319"/>
                <a:gd name="T42" fmla="*/ 319 w 319"/>
                <a:gd name="T43" fmla="*/ 160 h 319"/>
                <a:gd name="T44" fmla="*/ 307 w 319"/>
                <a:gd name="T45" fmla="*/ 221 h 319"/>
                <a:gd name="T46" fmla="*/ 273 w 319"/>
                <a:gd name="T47" fmla="*/ 272 h 319"/>
                <a:gd name="T48" fmla="*/ 222 w 319"/>
                <a:gd name="T49" fmla="*/ 306 h 319"/>
                <a:gd name="T50" fmla="*/ 160 w 319"/>
                <a:gd name="T51" fmla="*/ 319 h 319"/>
                <a:gd name="T52" fmla="*/ 97 w 319"/>
                <a:gd name="T53" fmla="*/ 306 h 319"/>
                <a:gd name="T54" fmla="*/ 46 w 319"/>
                <a:gd name="T55" fmla="*/ 272 h 319"/>
                <a:gd name="T56" fmla="*/ 12 w 319"/>
                <a:gd name="T57" fmla="*/ 221 h 319"/>
                <a:gd name="T58" fmla="*/ 0 w 319"/>
                <a:gd name="T59" fmla="*/ 160 h 319"/>
                <a:gd name="T60" fmla="*/ 3 w 319"/>
                <a:gd name="T61" fmla="*/ 127 h 319"/>
                <a:gd name="T62" fmla="*/ 27 w 319"/>
                <a:gd name="T63" fmla="*/ 70 h 319"/>
                <a:gd name="T64" fmla="*/ 70 w 319"/>
                <a:gd name="T65" fmla="*/ 28 h 319"/>
                <a:gd name="T66" fmla="*/ 127 w 319"/>
                <a:gd name="T67" fmla="*/ 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9" h="319">
                  <a:moveTo>
                    <a:pt x="160" y="14"/>
                  </a:moveTo>
                  <a:lnTo>
                    <a:pt x="131" y="16"/>
                  </a:lnTo>
                  <a:lnTo>
                    <a:pt x="103" y="26"/>
                  </a:lnTo>
                  <a:lnTo>
                    <a:pt x="78" y="39"/>
                  </a:lnTo>
                  <a:lnTo>
                    <a:pt x="56" y="56"/>
                  </a:lnTo>
                  <a:lnTo>
                    <a:pt x="38" y="78"/>
                  </a:lnTo>
                  <a:lnTo>
                    <a:pt x="24" y="103"/>
                  </a:lnTo>
                  <a:lnTo>
                    <a:pt x="16" y="131"/>
                  </a:lnTo>
                  <a:lnTo>
                    <a:pt x="14" y="160"/>
                  </a:lnTo>
                  <a:lnTo>
                    <a:pt x="16" y="189"/>
                  </a:lnTo>
                  <a:lnTo>
                    <a:pt x="24" y="216"/>
                  </a:lnTo>
                  <a:lnTo>
                    <a:pt x="38" y="241"/>
                  </a:lnTo>
                  <a:lnTo>
                    <a:pt x="56" y="262"/>
                  </a:lnTo>
                  <a:lnTo>
                    <a:pt x="78" y="280"/>
                  </a:lnTo>
                  <a:lnTo>
                    <a:pt x="103" y="294"/>
                  </a:lnTo>
                  <a:lnTo>
                    <a:pt x="131" y="302"/>
                  </a:lnTo>
                  <a:lnTo>
                    <a:pt x="160" y="306"/>
                  </a:lnTo>
                  <a:lnTo>
                    <a:pt x="189" y="302"/>
                  </a:lnTo>
                  <a:lnTo>
                    <a:pt x="216" y="294"/>
                  </a:lnTo>
                  <a:lnTo>
                    <a:pt x="242" y="280"/>
                  </a:lnTo>
                  <a:lnTo>
                    <a:pt x="263" y="262"/>
                  </a:lnTo>
                  <a:lnTo>
                    <a:pt x="280" y="241"/>
                  </a:lnTo>
                  <a:lnTo>
                    <a:pt x="295" y="216"/>
                  </a:lnTo>
                  <a:lnTo>
                    <a:pt x="303" y="189"/>
                  </a:lnTo>
                  <a:lnTo>
                    <a:pt x="306" y="160"/>
                  </a:lnTo>
                  <a:lnTo>
                    <a:pt x="303" y="131"/>
                  </a:lnTo>
                  <a:lnTo>
                    <a:pt x="295" y="103"/>
                  </a:lnTo>
                  <a:lnTo>
                    <a:pt x="280" y="78"/>
                  </a:lnTo>
                  <a:lnTo>
                    <a:pt x="263" y="56"/>
                  </a:lnTo>
                  <a:lnTo>
                    <a:pt x="242" y="39"/>
                  </a:lnTo>
                  <a:lnTo>
                    <a:pt x="216" y="26"/>
                  </a:lnTo>
                  <a:lnTo>
                    <a:pt x="189" y="16"/>
                  </a:lnTo>
                  <a:lnTo>
                    <a:pt x="160" y="14"/>
                  </a:lnTo>
                  <a:close/>
                  <a:moveTo>
                    <a:pt x="160" y="0"/>
                  </a:moveTo>
                  <a:lnTo>
                    <a:pt x="160" y="0"/>
                  </a:lnTo>
                  <a:lnTo>
                    <a:pt x="192" y="4"/>
                  </a:lnTo>
                  <a:lnTo>
                    <a:pt x="222" y="12"/>
                  </a:lnTo>
                  <a:lnTo>
                    <a:pt x="249" y="28"/>
                  </a:lnTo>
                  <a:lnTo>
                    <a:pt x="273" y="47"/>
                  </a:lnTo>
                  <a:lnTo>
                    <a:pt x="292" y="70"/>
                  </a:lnTo>
                  <a:lnTo>
                    <a:pt x="307" y="98"/>
                  </a:lnTo>
                  <a:lnTo>
                    <a:pt x="317" y="127"/>
                  </a:lnTo>
                  <a:lnTo>
                    <a:pt x="319" y="160"/>
                  </a:lnTo>
                  <a:lnTo>
                    <a:pt x="319" y="160"/>
                  </a:lnTo>
                  <a:lnTo>
                    <a:pt x="317" y="191"/>
                  </a:lnTo>
                  <a:lnTo>
                    <a:pt x="307" y="221"/>
                  </a:lnTo>
                  <a:lnTo>
                    <a:pt x="292" y="249"/>
                  </a:lnTo>
                  <a:lnTo>
                    <a:pt x="273" y="272"/>
                  </a:lnTo>
                  <a:lnTo>
                    <a:pt x="249" y="291"/>
                  </a:lnTo>
                  <a:lnTo>
                    <a:pt x="222" y="306"/>
                  </a:lnTo>
                  <a:lnTo>
                    <a:pt x="192" y="315"/>
                  </a:lnTo>
                  <a:lnTo>
                    <a:pt x="160" y="319"/>
                  </a:lnTo>
                  <a:lnTo>
                    <a:pt x="127" y="315"/>
                  </a:lnTo>
                  <a:lnTo>
                    <a:pt x="97" y="306"/>
                  </a:lnTo>
                  <a:lnTo>
                    <a:pt x="70" y="291"/>
                  </a:lnTo>
                  <a:lnTo>
                    <a:pt x="46" y="272"/>
                  </a:lnTo>
                  <a:lnTo>
                    <a:pt x="27" y="249"/>
                  </a:lnTo>
                  <a:lnTo>
                    <a:pt x="12" y="221"/>
                  </a:lnTo>
                  <a:lnTo>
                    <a:pt x="3" y="191"/>
                  </a:lnTo>
                  <a:lnTo>
                    <a:pt x="0" y="160"/>
                  </a:lnTo>
                  <a:lnTo>
                    <a:pt x="0" y="160"/>
                  </a:lnTo>
                  <a:lnTo>
                    <a:pt x="3" y="127"/>
                  </a:lnTo>
                  <a:lnTo>
                    <a:pt x="12" y="98"/>
                  </a:lnTo>
                  <a:lnTo>
                    <a:pt x="27" y="70"/>
                  </a:lnTo>
                  <a:lnTo>
                    <a:pt x="46" y="47"/>
                  </a:lnTo>
                  <a:lnTo>
                    <a:pt x="70" y="28"/>
                  </a:lnTo>
                  <a:lnTo>
                    <a:pt x="97" y="12"/>
                  </a:lnTo>
                  <a:lnTo>
                    <a:pt x="127" y="4"/>
                  </a:lnTo>
                  <a:lnTo>
                    <a:pt x="1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6" name="Group 55">
            <a:extLst>
              <a:ext uri="{FF2B5EF4-FFF2-40B4-BE49-F238E27FC236}">
                <a16:creationId xmlns:a16="http://schemas.microsoft.com/office/drawing/2014/main" id="{3E9DF2F6-2E0F-0D4A-8BF5-A894A13B7CCC}"/>
              </a:ext>
            </a:extLst>
          </p:cNvPr>
          <p:cNvGrpSpPr/>
          <p:nvPr/>
        </p:nvGrpSpPr>
        <p:grpSpPr>
          <a:xfrm>
            <a:off x="7320758" y="2824958"/>
            <a:ext cx="655637" cy="655637"/>
            <a:chOff x="5411788" y="2106613"/>
            <a:chExt cx="503238" cy="503238"/>
          </a:xfrm>
          <a:solidFill>
            <a:schemeClr val="bg1"/>
          </a:solidFill>
        </p:grpSpPr>
        <p:sp>
          <p:nvSpPr>
            <p:cNvPr id="57" name="Freeform 21">
              <a:extLst>
                <a:ext uri="{FF2B5EF4-FFF2-40B4-BE49-F238E27FC236}">
                  <a16:creationId xmlns:a16="http://schemas.microsoft.com/office/drawing/2014/main" id="{131B01F9-B0D2-0C4E-8CDF-4D23D2C3D55E}"/>
                </a:ext>
              </a:extLst>
            </p:cNvPr>
            <p:cNvSpPr>
              <a:spLocks noEditPoints="1"/>
            </p:cNvSpPr>
            <p:nvPr/>
          </p:nvSpPr>
          <p:spPr bwMode="auto">
            <a:xfrm>
              <a:off x="5411788" y="2106613"/>
              <a:ext cx="503238" cy="503238"/>
            </a:xfrm>
            <a:custGeom>
              <a:avLst/>
              <a:gdLst>
                <a:gd name="T0" fmla="*/ 129 w 317"/>
                <a:gd name="T1" fmla="*/ 15 h 317"/>
                <a:gd name="T2" fmla="*/ 77 w 317"/>
                <a:gd name="T3" fmla="*/ 37 h 317"/>
                <a:gd name="T4" fmla="*/ 38 w 317"/>
                <a:gd name="T5" fmla="*/ 77 h 317"/>
                <a:gd name="T6" fmla="*/ 17 w 317"/>
                <a:gd name="T7" fmla="*/ 129 h 317"/>
                <a:gd name="T8" fmla="*/ 17 w 317"/>
                <a:gd name="T9" fmla="*/ 187 h 317"/>
                <a:gd name="T10" fmla="*/ 38 w 317"/>
                <a:gd name="T11" fmla="*/ 239 h 317"/>
                <a:gd name="T12" fmla="*/ 77 w 317"/>
                <a:gd name="T13" fmla="*/ 279 h 317"/>
                <a:gd name="T14" fmla="*/ 129 w 317"/>
                <a:gd name="T15" fmla="*/ 300 h 317"/>
                <a:gd name="T16" fmla="*/ 188 w 317"/>
                <a:gd name="T17" fmla="*/ 300 h 317"/>
                <a:gd name="T18" fmla="*/ 240 w 317"/>
                <a:gd name="T19" fmla="*/ 279 h 317"/>
                <a:gd name="T20" fmla="*/ 279 w 317"/>
                <a:gd name="T21" fmla="*/ 239 h 317"/>
                <a:gd name="T22" fmla="*/ 300 w 317"/>
                <a:gd name="T23" fmla="*/ 187 h 317"/>
                <a:gd name="T24" fmla="*/ 300 w 317"/>
                <a:gd name="T25" fmla="*/ 129 h 317"/>
                <a:gd name="T26" fmla="*/ 279 w 317"/>
                <a:gd name="T27" fmla="*/ 77 h 317"/>
                <a:gd name="T28" fmla="*/ 240 w 317"/>
                <a:gd name="T29" fmla="*/ 37 h 317"/>
                <a:gd name="T30" fmla="*/ 188 w 317"/>
                <a:gd name="T31" fmla="*/ 15 h 317"/>
                <a:gd name="T32" fmla="*/ 159 w 317"/>
                <a:gd name="T33" fmla="*/ 0 h 317"/>
                <a:gd name="T34" fmla="*/ 221 w 317"/>
                <a:gd name="T35" fmla="*/ 12 h 317"/>
                <a:gd name="T36" fmla="*/ 270 w 317"/>
                <a:gd name="T37" fmla="*/ 46 h 317"/>
                <a:gd name="T38" fmla="*/ 305 w 317"/>
                <a:gd name="T39" fmla="*/ 96 h 317"/>
                <a:gd name="T40" fmla="*/ 317 w 317"/>
                <a:gd name="T41" fmla="*/ 158 h 317"/>
                <a:gd name="T42" fmla="*/ 305 w 317"/>
                <a:gd name="T43" fmla="*/ 220 h 317"/>
                <a:gd name="T44" fmla="*/ 270 w 317"/>
                <a:gd name="T45" fmla="*/ 270 h 317"/>
                <a:gd name="T46" fmla="*/ 221 w 317"/>
                <a:gd name="T47" fmla="*/ 304 h 317"/>
                <a:gd name="T48" fmla="*/ 159 w 317"/>
                <a:gd name="T49" fmla="*/ 317 h 317"/>
                <a:gd name="T50" fmla="*/ 96 w 317"/>
                <a:gd name="T51" fmla="*/ 304 h 317"/>
                <a:gd name="T52" fmla="*/ 47 w 317"/>
                <a:gd name="T53" fmla="*/ 270 h 317"/>
                <a:gd name="T54" fmla="*/ 13 w 317"/>
                <a:gd name="T55" fmla="*/ 220 h 317"/>
                <a:gd name="T56" fmla="*/ 0 w 317"/>
                <a:gd name="T57" fmla="*/ 158 h 317"/>
                <a:gd name="T58" fmla="*/ 13 w 317"/>
                <a:gd name="T59" fmla="*/ 96 h 317"/>
                <a:gd name="T60" fmla="*/ 47 w 317"/>
                <a:gd name="T61" fmla="*/ 46 h 317"/>
                <a:gd name="T62" fmla="*/ 96 w 317"/>
                <a:gd name="T63" fmla="*/ 12 h 317"/>
                <a:gd name="T64" fmla="*/ 159 w 317"/>
                <a:gd name="T65"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7" h="317">
                  <a:moveTo>
                    <a:pt x="159" y="13"/>
                  </a:moveTo>
                  <a:lnTo>
                    <a:pt x="129" y="15"/>
                  </a:lnTo>
                  <a:lnTo>
                    <a:pt x="102" y="24"/>
                  </a:lnTo>
                  <a:lnTo>
                    <a:pt x="77" y="37"/>
                  </a:lnTo>
                  <a:lnTo>
                    <a:pt x="55" y="55"/>
                  </a:lnTo>
                  <a:lnTo>
                    <a:pt x="38" y="77"/>
                  </a:lnTo>
                  <a:lnTo>
                    <a:pt x="25" y="101"/>
                  </a:lnTo>
                  <a:lnTo>
                    <a:pt x="17" y="129"/>
                  </a:lnTo>
                  <a:lnTo>
                    <a:pt x="13" y="158"/>
                  </a:lnTo>
                  <a:lnTo>
                    <a:pt x="17" y="187"/>
                  </a:lnTo>
                  <a:lnTo>
                    <a:pt x="25" y="215"/>
                  </a:lnTo>
                  <a:lnTo>
                    <a:pt x="38" y="239"/>
                  </a:lnTo>
                  <a:lnTo>
                    <a:pt x="55" y="261"/>
                  </a:lnTo>
                  <a:lnTo>
                    <a:pt x="77" y="279"/>
                  </a:lnTo>
                  <a:lnTo>
                    <a:pt x="102" y="292"/>
                  </a:lnTo>
                  <a:lnTo>
                    <a:pt x="129" y="300"/>
                  </a:lnTo>
                  <a:lnTo>
                    <a:pt x="159" y="303"/>
                  </a:lnTo>
                  <a:lnTo>
                    <a:pt x="188" y="300"/>
                  </a:lnTo>
                  <a:lnTo>
                    <a:pt x="215" y="292"/>
                  </a:lnTo>
                  <a:lnTo>
                    <a:pt x="240" y="279"/>
                  </a:lnTo>
                  <a:lnTo>
                    <a:pt x="261" y="261"/>
                  </a:lnTo>
                  <a:lnTo>
                    <a:pt x="279" y="239"/>
                  </a:lnTo>
                  <a:lnTo>
                    <a:pt x="292" y="215"/>
                  </a:lnTo>
                  <a:lnTo>
                    <a:pt x="300" y="187"/>
                  </a:lnTo>
                  <a:lnTo>
                    <a:pt x="304" y="158"/>
                  </a:lnTo>
                  <a:lnTo>
                    <a:pt x="300" y="129"/>
                  </a:lnTo>
                  <a:lnTo>
                    <a:pt x="292" y="101"/>
                  </a:lnTo>
                  <a:lnTo>
                    <a:pt x="279" y="77"/>
                  </a:lnTo>
                  <a:lnTo>
                    <a:pt x="261" y="55"/>
                  </a:lnTo>
                  <a:lnTo>
                    <a:pt x="240" y="37"/>
                  </a:lnTo>
                  <a:lnTo>
                    <a:pt x="215" y="24"/>
                  </a:lnTo>
                  <a:lnTo>
                    <a:pt x="188" y="15"/>
                  </a:lnTo>
                  <a:lnTo>
                    <a:pt x="159" y="13"/>
                  </a:lnTo>
                  <a:close/>
                  <a:moveTo>
                    <a:pt x="159" y="0"/>
                  </a:moveTo>
                  <a:lnTo>
                    <a:pt x="191" y="3"/>
                  </a:lnTo>
                  <a:lnTo>
                    <a:pt x="221" y="12"/>
                  </a:lnTo>
                  <a:lnTo>
                    <a:pt x="247" y="26"/>
                  </a:lnTo>
                  <a:lnTo>
                    <a:pt x="270" y="46"/>
                  </a:lnTo>
                  <a:lnTo>
                    <a:pt x="290" y="70"/>
                  </a:lnTo>
                  <a:lnTo>
                    <a:pt x="305" y="96"/>
                  </a:lnTo>
                  <a:lnTo>
                    <a:pt x="314" y="127"/>
                  </a:lnTo>
                  <a:lnTo>
                    <a:pt x="317" y="158"/>
                  </a:lnTo>
                  <a:lnTo>
                    <a:pt x="314" y="191"/>
                  </a:lnTo>
                  <a:lnTo>
                    <a:pt x="305" y="220"/>
                  </a:lnTo>
                  <a:lnTo>
                    <a:pt x="290" y="247"/>
                  </a:lnTo>
                  <a:lnTo>
                    <a:pt x="270" y="270"/>
                  </a:lnTo>
                  <a:lnTo>
                    <a:pt x="247" y="290"/>
                  </a:lnTo>
                  <a:lnTo>
                    <a:pt x="221" y="304"/>
                  </a:lnTo>
                  <a:lnTo>
                    <a:pt x="191" y="314"/>
                  </a:lnTo>
                  <a:lnTo>
                    <a:pt x="159" y="317"/>
                  </a:lnTo>
                  <a:lnTo>
                    <a:pt x="127" y="314"/>
                  </a:lnTo>
                  <a:lnTo>
                    <a:pt x="96" y="304"/>
                  </a:lnTo>
                  <a:lnTo>
                    <a:pt x="70" y="290"/>
                  </a:lnTo>
                  <a:lnTo>
                    <a:pt x="47" y="270"/>
                  </a:lnTo>
                  <a:lnTo>
                    <a:pt x="28" y="247"/>
                  </a:lnTo>
                  <a:lnTo>
                    <a:pt x="13" y="220"/>
                  </a:lnTo>
                  <a:lnTo>
                    <a:pt x="3" y="191"/>
                  </a:lnTo>
                  <a:lnTo>
                    <a:pt x="0" y="158"/>
                  </a:lnTo>
                  <a:lnTo>
                    <a:pt x="3" y="127"/>
                  </a:lnTo>
                  <a:lnTo>
                    <a:pt x="13" y="96"/>
                  </a:lnTo>
                  <a:lnTo>
                    <a:pt x="28" y="70"/>
                  </a:lnTo>
                  <a:lnTo>
                    <a:pt x="47" y="46"/>
                  </a:lnTo>
                  <a:lnTo>
                    <a:pt x="70" y="26"/>
                  </a:lnTo>
                  <a:lnTo>
                    <a:pt x="96" y="12"/>
                  </a:lnTo>
                  <a:lnTo>
                    <a:pt x="127" y="3"/>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
              <a:extLst>
                <a:ext uri="{FF2B5EF4-FFF2-40B4-BE49-F238E27FC236}">
                  <a16:creationId xmlns:a16="http://schemas.microsoft.com/office/drawing/2014/main" id="{38EAA6E2-6FF2-8146-A100-3F35D5E98EB9}"/>
                </a:ext>
              </a:extLst>
            </p:cNvPr>
            <p:cNvSpPr>
              <a:spLocks noEditPoints="1"/>
            </p:cNvSpPr>
            <p:nvPr/>
          </p:nvSpPr>
          <p:spPr bwMode="auto">
            <a:xfrm>
              <a:off x="5526088" y="2198688"/>
              <a:ext cx="274638" cy="295275"/>
            </a:xfrm>
            <a:custGeom>
              <a:avLst/>
              <a:gdLst>
                <a:gd name="T0" fmla="*/ 18 w 173"/>
                <a:gd name="T1" fmla="*/ 172 h 186"/>
                <a:gd name="T2" fmla="*/ 149 w 173"/>
                <a:gd name="T3" fmla="*/ 159 h 186"/>
                <a:gd name="T4" fmla="*/ 21 w 173"/>
                <a:gd name="T5" fmla="*/ 146 h 186"/>
                <a:gd name="T6" fmla="*/ 155 w 173"/>
                <a:gd name="T7" fmla="*/ 146 h 186"/>
                <a:gd name="T8" fmla="*/ 158 w 173"/>
                <a:gd name="T9" fmla="*/ 149 h 186"/>
                <a:gd name="T10" fmla="*/ 173 w 173"/>
                <a:gd name="T11" fmla="*/ 178 h 186"/>
                <a:gd name="T12" fmla="*/ 172 w 173"/>
                <a:gd name="T13" fmla="*/ 182 h 186"/>
                <a:gd name="T14" fmla="*/ 168 w 173"/>
                <a:gd name="T15" fmla="*/ 185 h 186"/>
                <a:gd name="T16" fmla="*/ 7 w 173"/>
                <a:gd name="T17" fmla="*/ 186 h 186"/>
                <a:gd name="T18" fmla="*/ 4 w 173"/>
                <a:gd name="T19" fmla="*/ 185 h 186"/>
                <a:gd name="T20" fmla="*/ 1 w 173"/>
                <a:gd name="T21" fmla="*/ 181 h 186"/>
                <a:gd name="T22" fmla="*/ 1 w 173"/>
                <a:gd name="T23" fmla="*/ 176 h 186"/>
                <a:gd name="T24" fmla="*/ 16 w 173"/>
                <a:gd name="T25" fmla="*/ 147 h 186"/>
                <a:gd name="T26" fmla="*/ 21 w 173"/>
                <a:gd name="T27" fmla="*/ 146 h 186"/>
                <a:gd name="T28" fmla="*/ 149 w 173"/>
                <a:gd name="T29" fmla="*/ 66 h 186"/>
                <a:gd name="T30" fmla="*/ 152 w 173"/>
                <a:gd name="T31" fmla="*/ 70 h 186"/>
                <a:gd name="T32" fmla="*/ 152 w 173"/>
                <a:gd name="T33" fmla="*/ 125 h 186"/>
                <a:gd name="T34" fmla="*/ 151 w 173"/>
                <a:gd name="T35" fmla="*/ 130 h 186"/>
                <a:gd name="T36" fmla="*/ 146 w 173"/>
                <a:gd name="T37" fmla="*/ 133 h 186"/>
                <a:gd name="T38" fmla="*/ 141 w 173"/>
                <a:gd name="T39" fmla="*/ 130 h 186"/>
                <a:gd name="T40" fmla="*/ 139 w 173"/>
                <a:gd name="T41" fmla="*/ 125 h 186"/>
                <a:gd name="T42" fmla="*/ 140 w 173"/>
                <a:gd name="T43" fmla="*/ 70 h 186"/>
                <a:gd name="T44" fmla="*/ 144 w 173"/>
                <a:gd name="T45" fmla="*/ 66 h 186"/>
                <a:gd name="T46" fmla="*/ 106 w 173"/>
                <a:gd name="T47" fmla="*/ 66 h 186"/>
                <a:gd name="T48" fmla="*/ 111 w 173"/>
                <a:gd name="T49" fmla="*/ 69 h 186"/>
                <a:gd name="T50" fmla="*/ 112 w 173"/>
                <a:gd name="T51" fmla="*/ 72 h 186"/>
                <a:gd name="T52" fmla="*/ 112 w 173"/>
                <a:gd name="T53" fmla="*/ 129 h 186"/>
                <a:gd name="T54" fmla="*/ 109 w 173"/>
                <a:gd name="T55" fmla="*/ 133 h 186"/>
                <a:gd name="T56" fmla="*/ 104 w 173"/>
                <a:gd name="T57" fmla="*/ 133 h 186"/>
                <a:gd name="T58" fmla="*/ 100 w 173"/>
                <a:gd name="T59" fmla="*/ 129 h 186"/>
                <a:gd name="T60" fmla="*/ 100 w 173"/>
                <a:gd name="T61" fmla="*/ 72 h 186"/>
                <a:gd name="T62" fmla="*/ 102 w 173"/>
                <a:gd name="T63" fmla="*/ 69 h 186"/>
                <a:gd name="T64" fmla="*/ 106 w 173"/>
                <a:gd name="T65" fmla="*/ 66 h 186"/>
                <a:gd name="T66" fmla="*/ 70 w 173"/>
                <a:gd name="T67" fmla="*/ 66 h 186"/>
                <a:gd name="T68" fmla="*/ 73 w 173"/>
                <a:gd name="T69" fmla="*/ 70 h 186"/>
                <a:gd name="T70" fmla="*/ 74 w 173"/>
                <a:gd name="T71" fmla="*/ 125 h 186"/>
                <a:gd name="T72" fmla="*/ 71 w 173"/>
                <a:gd name="T73" fmla="*/ 130 h 186"/>
                <a:gd name="T74" fmla="*/ 67 w 173"/>
                <a:gd name="T75" fmla="*/ 133 h 186"/>
                <a:gd name="T76" fmla="*/ 62 w 173"/>
                <a:gd name="T77" fmla="*/ 130 h 186"/>
                <a:gd name="T78" fmla="*/ 61 w 173"/>
                <a:gd name="T79" fmla="*/ 125 h 186"/>
                <a:gd name="T80" fmla="*/ 61 w 173"/>
                <a:gd name="T81" fmla="*/ 70 h 186"/>
                <a:gd name="T82" fmla="*/ 64 w 173"/>
                <a:gd name="T83" fmla="*/ 66 h 186"/>
                <a:gd name="T84" fmla="*/ 28 w 173"/>
                <a:gd name="T85" fmla="*/ 66 h 186"/>
                <a:gd name="T86" fmla="*/ 32 w 173"/>
                <a:gd name="T87" fmla="*/ 69 h 186"/>
                <a:gd name="T88" fmla="*/ 34 w 173"/>
                <a:gd name="T89" fmla="*/ 72 h 186"/>
                <a:gd name="T90" fmla="*/ 33 w 173"/>
                <a:gd name="T91" fmla="*/ 129 h 186"/>
                <a:gd name="T92" fmla="*/ 30 w 173"/>
                <a:gd name="T93" fmla="*/ 133 h 186"/>
                <a:gd name="T94" fmla="*/ 24 w 173"/>
                <a:gd name="T95" fmla="*/ 133 h 186"/>
                <a:gd name="T96" fmla="*/ 21 w 173"/>
                <a:gd name="T97" fmla="*/ 129 h 186"/>
                <a:gd name="T98" fmla="*/ 21 w 173"/>
                <a:gd name="T99" fmla="*/ 72 h 186"/>
                <a:gd name="T100" fmla="*/ 23 w 173"/>
                <a:gd name="T101" fmla="*/ 69 h 186"/>
                <a:gd name="T102" fmla="*/ 28 w 173"/>
                <a:gd name="T103" fmla="*/ 66 h 186"/>
                <a:gd name="T104" fmla="*/ 40 w 173"/>
                <a:gd name="T105" fmla="*/ 40 h 186"/>
                <a:gd name="T106" fmla="*/ 87 w 173"/>
                <a:gd name="T107" fmla="*/ 14 h 186"/>
                <a:gd name="T108" fmla="*/ 90 w 173"/>
                <a:gd name="T109" fmla="*/ 1 h 186"/>
                <a:gd name="T110" fmla="*/ 164 w 173"/>
                <a:gd name="T111" fmla="*/ 42 h 186"/>
                <a:gd name="T112" fmla="*/ 166 w 173"/>
                <a:gd name="T113" fmla="*/ 48 h 186"/>
                <a:gd name="T114" fmla="*/ 162 w 173"/>
                <a:gd name="T115" fmla="*/ 53 h 186"/>
                <a:gd name="T116" fmla="*/ 14 w 173"/>
                <a:gd name="T117" fmla="*/ 53 h 186"/>
                <a:gd name="T118" fmla="*/ 9 w 173"/>
                <a:gd name="T119" fmla="*/ 50 h 186"/>
                <a:gd name="T120" fmla="*/ 7 w 173"/>
                <a:gd name="T121" fmla="*/ 44 h 186"/>
                <a:gd name="T122" fmla="*/ 11 w 173"/>
                <a:gd name="T123" fmla="*/ 41 h 186"/>
                <a:gd name="T124" fmla="*/ 86 w 173"/>
                <a:gd name="T1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86">
                  <a:moveTo>
                    <a:pt x="26" y="159"/>
                  </a:moveTo>
                  <a:lnTo>
                    <a:pt x="18" y="172"/>
                  </a:lnTo>
                  <a:lnTo>
                    <a:pt x="155" y="172"/>
                  </a:lnTo>
                  <a:lnTo>
                    <a:pt x="149" y="159"/>
                  </a:lnTo>
                  <a:lnTo>
                    <a:pt x="26" y="159"/>
                  </a:lnTo>
                  <a:close/>
                  <a:moveTo>
                    <a:pt x="21" y="146"/>
                  </a:moveTo>
                  <a:lnTo>
                    <a:pt x="152" y="146"/>
                  </a:lnTo>
                  <a:lnTo>
                    <a:pt x="155" y="146"/>
                  </a:lnTo>
                  <a:lnTo>
                    <a:pt x="157" y="147"/>
                  </a:lnTo>
                  <a:lnTo>
                    <a:pt x="158" y="149"/>
                  </a:lnTo>
                  <a:lnTo>
                    <a:pt x="172" y="176"/>
                  </a:lnTo>
                  <a:lnTo>
                    <a:pt x="173" y="178"/>
                  </a:lnTo>
                  <a:lnTo>
                    <a:pt x="173" y="181"/>
                  </a:lnTo>
                  <a:lnTo>
                    <a:pt x="172" y="182"/>
                  </a:lnTo>
                  <a:lnTo>
                    <a:pt x="170" y="185"/>
                  </a:lnTo>
                  <a:lnTo>
                    <a:pt x="168" y="185"/>
                  </a:lnTo>
                  <a:lnTo>
                    <a:pt x="167" y="186"/>
                  </a:lnTo>
                  <a:lnTo>
                    <a:pt x="7" y="186"/>
                  </a:lnTo>
                  <a:lnTo>
                    <a:pt x="5" y="185"/>
                  </a:lnTo>
                  <a:lnTo>
                    <a:pt x="4" y="185"/>
                  </a:lnTo>
                  <a:lnTo>
                    <a:pt x="3" y="182"/>
                  </a:lnTo>
                  <a:lnTo>
                    <a:pt x="1" y="181"/>
                  </a:lnTo>
                  <a:lnTo>
                    <a:pt x="0" y="178"/>
                  </a:lnTo>
                  <a:lnTo>
                    <a:pt x="1" y="176"/>
                  </a:lnTo>
                  <a:lnTo>
                    <a:pt x="15" y="149"/>
                  </a:lnTo>
                  <a:lnTo>
                    <a:pt x="16" y="147"/>
                  </a:lnTo>
                  <a:lnTo>
                    <a:pt x="18" y="146"/>
                  </a:lnTo>
                  <a:lnTo>
                    <a:pt x="21" y="146"/>
                  </a:lnTo>
                  <a:close/>
                  <a:moveTo>
                    <a:pt x="146" y="66"/>
                  </a:moveTo>
                  <a:lnTo>
                    <a:pt x="149" y="66"/>
                  </a:lnTo>
                  <a:lnTo>
                    <a:pt x="151" y="69"/>
                  </a:lnTo>
                  <a:lnTo>
                    <a:pt x="152" y="70"/>
                  </a:lnTo>
                  <a:lnTo>
                    <a:pt x="152" y="72"/>
                  </a:lnTo>
                  <a:lnTo>
                    <a:pt x="152" y="125"/>
                  </a:lnTo>
                  <a:lnTo>
                    <a:pt x="152" y="129"/>
                  </a:lnTo>
                  <a:lnTo>
                    <a:pt x="151" y="130"/>
                  </a:lnTo>
                  <a:lnTo>
                    <a:pt x="149" y="133"/>
                  </a:lnTo>
                  <a:lnTo>
                    <a:pt x="146" y="133"/>
                  </a:lnTo>
                  <a:lnTo>
                    <a:pt x="144" y="133"/>
                  </a:lnTo>
                  <a:lnTo>
                    <a:pt x="141" y="130"/>
                  </a:lnTo>
                  <a:lnTo>
                    <a:pt x="140" y="129"/>
                  </a:lnTo>
                  <a:lnTo>
                    <a:pt x="139" y="125"/>
                  </a:lnTo>
                  <a:lnTo>
                    <a:pt x="139" y="72"/>
                  </a:lnTo>
                  <a:lnTo>
                    <a:pt x="140" y="70"/>
                  </a:lnTo>
                  <a:lnTo>
                    <a:pt x="141" y="69"/>
                  </a:lnTo>
                  <a:lnTo>
                    <a:pt x="144" y="66"/>
                  </a:lnTo>
                  <a:lnTo>
                    <a:pt x="146" y="66"/>
                  </a:lnTo>
                  <a:close/>
                  <a:moveTo>
                    <a:pt x="106" y="66"/>
                  </a:moveTo>
                  <a:lnTo>
                    <a:pt x="109" y="66"/>
                  </a:lnTo>
                  <a:lnTo>
                    <a:pt x="111" y="69"/>
                  </a:lnTo>
                  <a:lnTo>
                    <a:pt x="112" y="70"/>
                  </a:lnTo>
                  <a:lnTo>
                    <a:pt x="112" y="72"/>
                  </a:lnTo>
                  <a:lnTo>
                    <a:pt x="112" y="125"/>
                  </a:lnTo>
                  <a:lnTo>
                    <a:pt x="112" y="129"/>
                  </a:lnTo>
                  <a:lnTo>
                    <a:pt x="111" y="130"/>
                  </a:lnTo>
                  <a:lnTo>
                    <a:pt x="109" y="133"/>
                  </a:lnTo>
                  <a:lnTo>
                    <a:pt x="106" y="133"/>
                  </a:lnTo>
                  <a:lnTo>
                    <a:pt x="104" y="133"/>
                  </a:lnTo>
                  <a:lnTo>
                    <a:pt x="102" y="130"/>
                  </a:lnTo>
                  <a:lnTo>
                    <a:pt x="100" y="129"/>
                  </a:lnTo>
                  <a:lnTo>
                    <a:pt x="100" y="125"/>
                  </a:lnTo>
                  <a:lnTo>
                    <a:pt x="100" y="72"/>
                  </a:lnTo>
                  <a:lnTo>
                    <a:pt x="100" y="70"/>
                  </a:lnTo>
                  <a:lnTo>
                    <a:pt x="102" y="69"/>
                  </a:lnTo>
                  <a:lnTo>
                    <a:pt x="104" y="66"/>
                  </a:lnTo>
                  <a:lnTo>
                    <a:pt x="106" y="66"/>
                  </a:lnTo>
                  <a:close/>
                  <a:moveTo>
                    <a:pt x="67" y="66"/>
                  </a:moveTo>
                  <a:lnTo>
                    <a:pt x="70" y="66"/>
                  </a:lnTo>
                  <a:lnTo>
                    <a:pt x="71" y="69"/>
                  </a:lnTo>
                  <a:lnTo>
                    <a:pt x="73" y="70"/>
                  </a:lnTo>
                  <a:lnTo>
                    <a:pt x="74" y="72"/>
                  </a:lnTo>
                  <a:lnTo>
                    <a:pt x="74" y="125"/>
                  </a:lnTo>
                  <a:lnTo>
                    <a:pt x="73" y="129"/>
                  </a:lnTo>
                  <a:lnTo>
                    <a:pt x="71" y="130"/>
                  </a:lnTo>
                  <a:lnTo>
                    <a:pt x="70" y="133"/>
                  </a:lnTo>
                  <a:lnTo>
                    <a:pt x="67" y="133"/>
                  </a:lnTo>
                  <a:lnTo>
                    <a:pt x="64" y="133"/>
                  </a:lnTo>
                  <a:lnTo>
                    <a:pt x="62" y="130"/>
                  </a:lnTo>
                  <a:lnTo>
                    <a:pt x="61" y="129"/>
                  </a:lnTo>
                  <a:lnTo>
                    <a:pt x="61" y="125"/>
                  </a:lnTo>
                  <a:lnTo>
                    <a:pt x="61" y="72"/>
                  </a:lnTo>
                  <a:lnTo>
                    <a:pt x="61" y="70"/>
                  </a:lnTo>
                  <a:lnTo>
                    <a:pt x="62" y="69"/>
                  </a:lnTo>
                  <a:lnTo>
                    <a:pt x="64" y="66"/>
                  </a:lnTo>
                  <a:lnTo>
                    <a:pt x="67" y="66"/>
                  </a:lnTo>
                  <a:close/>
                  <a:moveTo>
                    <a:pt x="28" y="66"/>
                  </a:moveTo>
                  <a:lnTo>
                    <a:pt x="30" y="66"/>
                  </a:lnTo>
                  <a:lnTo>
                    <a:pt x="32" y="69"/>
                  </a:lnTo>
                  <a:lnTo>
                    <a:pt x="33" y="70"/>
                  </a:lnTo>
                  <a:lnTo>
                    <a:pt x="34" y="72"/>
                  </a:lnTo>
                  <a:lnTo>
                    <a:pt x="34" y="125"/>
                  </a:lnTo>
                  <a:lnTo>
                    <a:pt x="33" y="129"/>
                  </a:lnTo>
                  <a:lnTo>
                    <a:pt x="32" y="130"/>
                  </a:lnTo>
                  <a:lnTo>
                    <a:pt x="30" y="133"/>
                  </a:lnTo>
                  <a:lnTo>
                    <a:pt x="28" y="133"/>
                  </a:lnTo>
                  <a:lnTo>
                    <a:pt x="24" y="133"/>
                  </a:lnTo>
                  <a:lnTo>
                    <a:pt x="23" y="130"/>
                  </a:lnTo>
                  <a:lnTo>
                    <a:pt x="21" y="129"/>
                  </a:lnTo>
                  <a:lnTo>
                    <a:pt x="21" y="125"/>
                  </a:lnTo>
                  <a:lnTo>
                    <a:pt x="21" y="72"/>
                  </a:lnTo>
                  <a:lnTo>
                    <a:pt x="21" y="70"/>
                  </a:lnTo>
                  <a:lnTo>
                    <a:pt x="23" y="69"/>
                  </a:lnTo>
                  <a:lnTo>
                    <a:pt x="24" y="66"/>
                  </a:lnTo>
                  <a:lnTo>
                    <a:pt x="28" y="66"/>
                  </a:lnTo>
                  <a:close/>
                  <a:moveTo>
                    <a:pt x="87" y="14"/>
                  </a:moveTo>
                  <a:lnTo>
                    <a:pt x="40" y="40"/>
                  </a:lnTo>
                  <a:lnTo>
                    <a:pt x="133" y="40"/>
                  </a:lnTo>
                  <a:lnTo>
                    <a:pt x="87" y="14"/>
                  </a:lnTo>
                  <a:close/>
                  <a:moveTo>
                    <a:pt x="88" y="0"/>
                  </a:moveTo>
                  <a:lnTo>
                    <a:pt x="90" y="1"/>
                  </a:lnTo>
                  <a:lnTo>
                    <a:pt x="162" y="41"/>
                  </a:lnTo>
                  <a:lnTo>
                    <a:pt x="164" y="42"/>
                  </a:lnTo>
                  <a:lnTo>
                    <a:pt x="166" y="44"/>
                  </a:lnTo>
                  <a:lnTo>
                    <a:pt x="166" y="48"/>
                  </a:lnTo>
                  <a:lnTo>
                    <a:pt x="164" y="50"/>
                  </a:lnTo>
                  <a:lnTo>
                    <a:pt x="162" y="53"/>
                  </a:lnTo>
                  <a:lnTo>
                    <a:pt x="160" y="53"/>
                  </a:lnTo>
                  <a:lnTo>
                    <a:pt x="14" y="53"/>
                  </a:lnTo>
                  <a:lnTo>
                    <a:pt x="11" y="53"/>
                  </a:lnTo>
                  <a:lnTo>
                    <a:pt x="9" y="50"/>
                  </a:lnTo>
                  <a:lnTo>
                    <a:pt x="7" y="48"/>
                  </a:lnTo>
                  <a:lnTo>
                    <a:pt x="7" y="44"/>
                  </a:lnTo>
                  <a:lnTo>
                    <a:pt x="9" y="42"/>
                  </a:lnTo>
                  <a:lnTo>
                    <a:pt x="11" y="41"/>
                  </a:lnTo>
                  <a:lnTo>
                    <a:pt x="84" y="1"/>
                  </a:lnTo>
                  <a:lnTo>
                    <a:pt x="86" y="0"/>
                  </a:lnTo>
                  <a:lnTo>
                    <a:pt x="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9" name="Group 58">
            <a:extLst>
              <a:ext uri="{FF2B5EF4-FFF2-40B4-BE49-F238E27FC236}">
                <a16:creationId xmlns:a16="http://schemas.microsoft.com/office/drawing/2014/main" id="{90FAB9D9-99BB-FA4D-8F42-8191F801BB8A}"/>
              </a:ext>
            </a:extLst>
          </p:cNvPr>
          <p:cNvGrpSpPr/>
          <p:nvPr/>
        </p:nvGrpSpPr>
        <p:grpSpPr>
          <a:xfrm>
            <a:off x="5709666" y="1185291"/>
            <a:ext cx="658368" cy="658368"/>
            <a:chOff x="2087563" y="5559425"/>
            <a:chExt cx="504825" cy="503238"/>
          </a:xfrm>
          <a:solidFill>
            <a:schemeClr val="bg1"/>
          </a:solidFill>
        </p:grpSpPr>
        <p:sp>
          <p:nvSpPr>
            <p:cNvPr id="60" name="Freeform 39">
              <a:extLst>
                <a:ext uri="{FF2B5EF4-FFF2-40B4-BE49-F238E27FC236}">
                  <a16:creationId xmlns:a16="http://schemas.microsoft.com/office/drawing/2014/main" id="{72C0447B-AF98-CA4B-B57F-7521EC49721A}"/>
                </a:ext>
              </a:extLst>
            </p:cNvPr>
            <p:cNvSpPr>
              <a:spLocks noEditPoints="1"/>
            </p:cNvSpPr>
            <p:nvPr/>
          </p:nvSpPr>
          <p:spPr bwMode="auto">
            <a:xfrm>
              <a:off x="2182813" y="5694363"/>
              <a:ext cx="311150" cy="231775"/>
            </a:xfrm>
            <a:custGeom>
              <a:avLst/>
              <a:gdLst>
                <a:gd name="T0" fmla="*/ 32 w 196"/>
                <a:gd name="T1" fmla="*/ 107 h 146"/>
                <a:gd name="T2" fmla="*/ 99 w 196"/>
                <a:gd name="T3" fmla="*/ 107 h 146"/>
                <a:gd name="T4" fmla="*/ 101 w 196"/>
                <a:gd name="T5" fmla="*/ 107 h 146"/>
                <a:gd name="T6" fmla="*/ 102 w 196"/>
                <a:gd name="T7" fmla="*/ 109 h 146"/>
                <a:gd name="T8" fmla="*/ 105 w 196"/>
                <a:gd name="T9" fmla="*/ 110 h 146"/>
                <a:gd name="T10" fmla="*/ 105 w 196"/>
                <a:gd name="T11" fmla="*/ 114 h 146"/>
                <a:gd name="T12" fmla="*/ 105 w 196"/>
                <a:gd name="T13" fmla="*/ 116 h 146"/>
                <a:gd name="T14" fmla="*/ 102 w 196"/>
                <a:gd name="T15" fmla="*/ 117 h 146"/>
                <a:gd name="T16" fmla="*/ 101 w 196"/>
                <a:gd name="T17" fmla="*/ 119 h 146"/>
                <a:gd name="T18" fmla="*/ 99 w 196"/>
                <a:gd name="T19" fmla="*/ 120 h 146"/>
                <a:gd name="T20" fmla="*/ 32 w 196"/>
                <a:gd name="T21" fmla="*/ 120 h 146"/>
                <a:gd name="T22" fmla="*/ 30 w 196"/>
                <a:gd name="T23" fmla="*/ 119 h 146"/>
                <a:gd name="T24" fmla="*/ 27 w 196"/>
                <a:gd name="T25" fmla="*/ 117 h 146"/>
                <a:gd name="T26" fmla="*/ 26 w 196"/>
                <a:gd name="T27" fmla="*/ 116 h 146"/>
                <a:gd name="T28" fmla="*/ 26 w 196"/>
                <a:gd name="T29" fmla="*/ 114 h 146"/>
                <a:gd name="T30" fmla="*/ 26 w 196"/>
                <a:gd name="T31" fmla="*/ 110 h 146"/>
                <a:gd name="T32" fmla="*/ 27 w 196"/>
                <a:gd name="T33" fmla="*/ 109 h 146"/>
                <a:gd name="T34" fmla="*/ 30 w 196"/>
                <a:gd name="T35" fmla="*/ 107 h 146"/>
                <a:gd name="T36" fmla="*/ 32 w 196"/>
                <a:gd name="T37" fmla="*/ 107 h 146"/>
                <a:gd name="T38" fmla="*/ 13 w 196"/>
                <a:gd name="T39" fmla="*/ 53 h 146"/>
                <a:gd name="T40" fmla="*/ 13 w 196"/>
                <a:gd name="T41" fmla="*/ 133 h 146"/>
                <a:gd name="T42" fmla="*/ 183 w 196"/>
                <a:gd name="T43" fmla="*/ 133 h 146"/>
                <a:gd name="T44" fmla="*/ 183 w 196"/>
                <a:gd name="T45" fmla="*/ 53 h 146"/>
                <a:gd name="T46" fmla="*/ 13 w 196"/>
                <a:gd name="T47" fmla="*/ 53 h 146"/>
                <a:gd name="T48" fmla="*/ 13 w 196"/>
                <a:gd name="T49" fmla="*/ 14 h 146"/>
                <a:gd name="T50" fmla="*/ 13 w 196"/>
                <a:gd name="T51" fmla="*/ 27 h 146"/>
                <a:gd name="T52" fmla="*/ 183 w 196"/>
                <a:gd name="T53" fmla="*/ 27 h 146"/>
                <a:gd name="T54" fmla="*/ 183 w 196"/>
                <a:gd name="T55" fmla="*/ 14 h 146"/>
                <a:gd name="T56" fmla="*/ 13 w 196"/>
                <a:gd name="T57" fmla="*/ 14 h 146"/>
                <a:gd name="T58" fmla="*/ 6 w 196"/>
                <a:gd name="T59" fmla="*/ 0 h 146"/>
                <a:gd name="T60" fmla="*/ 190 w 196"/>
                <a:gd name="T61" fmla="*/ 0 h 146"/>
                <a:gd name="T62" fmla="*/ 193 w 196"/>
                <a:gd name="T63" fmla="*/ 0 h 146"/>
                <a:gd name="T64" fmla="*/ 195 w 196"/>
                <a:gd name="T65" fmla="*/ 3 h 146"/>
                <a:gd name="T66" fmla="*/ 196 w 196"/>
                <a:gd name="T67" fmla="*/ 4 h 146"/>
                <a:gd name="T68" fmla="*/ 196 w 196"/>
                <a:gd name="T69" fmla="*/ 8 h 146"/>
                <a:gd name="T70" fmla="*/ 196 w 196"/>
                <a:gd name="T71" fmla="*/ 139 h 146"/>
                <a:gd name="T72" fmla="*/ 196 w 196"/>
                <a:gd name="T73" fmla="*/ 142 h 146"/>
                <a:gd name="T74" fmla="*/ 195 w 196"/>
                <a:gd name="T75" fmla="*/ 144 h 146"/>
                <a:gd name="T76" fmla="*/ 193 w 196"/>
                <a:gd name="T77" fmla="*/ 145 h 146"/>
                <a:gd name="T78" fmla="*/ 190 w 196"/>
                <a:gd name="T79" fmla="*/ 146 h 146"/>
                <a:gd name="T80" fmla="*/ 6 w 196"/>
                <a:gd name="T81" fmla="*/ 146 h 146"/>
                <a:gd name="T82" fmla="*/ 3 w 196"/>
                <a:gd name="T83" fmla="*/ 145 h 146"/>
                <a:gd name="T84" fmla="*/ 1 w 196"/>
                <a:gd name="T85" fmla="*/ 144 h 146"/>
                <a:gd name="T86" fmla="*/ 0 w 196"/>
                <a:gd name="T87" fmla="*/ 142 h 146"/>
                <a:gd name="T88" fmla="*/ 0 w 196"/>
                <a:gd name="T89" fmla="*/ 139 h 146"/>
                <a:gd name="T90" fmla="*/ 0 w 196"/>
                <a:gd name="T91" fmla="*/ 8 h 146"/>
                <a:gd name="T92" fmla="*/ 0 w 196"/>
                <a:gd name="T93" fmla="*/ 4 h 146"/>
                <a:gd name="T94" fmla="*/ 1 w 196"/>
                <a:gd name="T95" fmla="*/ 3 h 146"/>
                <a:gd name="T96" fmla="*/ 3 w 196"/>
                <a:gd name="T97" fmla="*/ 0 h 146"/>
                <a:gd name="T98" fmla="*/ 6 w 196"/>
                <a:gd name="T9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6" h="146">
                  <a:moveTo>
                    <a:pt x="32" y="107"/>
                  </a:moveTo>
                  <a:lnTo>
                    <a:pt x="99" y="107"/>
                  </a:lnTo>
                  <a:lnTo>
                    <a:pt x="101" y="107"/>
                  </a:lnTo>
                  <a:lnTo>
                    <a:pt x="102" y="109"/>
                  </a:lnTo>
                  <a:lnTo>
                    <a:pt x="105" y="110"/>
                  </a:lnTo>
                  <a:lnTo>
                    <a:pt x="105" y="114"/>
                  </a:lnTo>
                  <a:lnTo>
                    <a:pt x="105" y="116"/>
                  </a:lnTo>
                  <a:lnTo>
                    <a:pt x="102" y="117"/>
                  </a:lnTo>
                  <a:lnTo>
                    <a:pt x="101" y="119"/>
                  </a:lnTo>
                  <a:lnTo>
                    <a:pt x="99" y="120"/>
                  </a:lnTo>
                  <a:lnTo>
                    <a:pt x="32" y="120"/>
                  </a:lnTo>
                  <a:lnTo>
                    <a:pt x="30" y="119"/>
                  </a:lnTo>
                  <a:lnTo>
                    <a:pt x="27" y="117"/>
                  </a:lnTo>
                  <a:lnTo>
                    <a:pt x="26" y="116"/>
                  </a:lnTo>
                  <a:lnTo>
                    <a:pt x="26" y="114"/>
                  </a:lnTo>
                  <a:lnTo>
                    <a:pt x="26" y="110"/>
                  </a:lnTo>
                  <a:lnTo>
                    <a:pt x="27" y="109"/>
                  </a:lnTo>
                  <a:lnTo>
                    <a:pt x="30" y="107"/>
                  </a:lnTo>
                  <a:lnTo>
                    <a:pt x="32" y="107"/>
                  </a:lnTo>
                  <a:close/>
                  <a:moveTo>
                    <a:pt x="13" y="53"/>
                  </a:moveTo>
                  <a:lnTo>
                    <a:pt x="13" y="133"/>
                  </a:lnTo>
                  <a:lnTo>
                    <a:pt x="183" y="133"/>
                  </a:lnTo>
                  <a:lnTo>
                    <a:pt x="183" y="53"/>
                  </a:lnTo>
                  <a:lnTo>
                    <a:pt x="13" y="53"/>
                  </a:lnTo>
                  <a:close/>
                  <a:moveTo>
                    <a:pt x="13" y="14"/>
                  </a:moveTo>
                  <a:lnTo>
                    <a:pt x="13" y="27"/>
                  </a:lnTo>
                  <a:lnTo>
                    <a:pt x="183" y="27"/>
                  </a:lnTo>
                  <a:lnTo>
                    <a:pt x="183" y="14"/>
                  </a:lnTo>
                  <a:lnTo>
                    <a:pt x="13" y="14"/>
                  </a:lnTo>
                  <a:close/>
                  <a:moveTo>
                    <a:pt x="6" y="0"/>
                  </a:moveTo>
                  <a:lnTo>
                    <a:pt x="190" y="0"/>
                  </a:lnTo>
                  <a:lnTo>
                    <a:pt x="193" y="0"/>
                  </a:lnTo>
                  <a:lnTo>
                    <a:pt x="195" y="3"/>
                  </a:lnTo>
                  <a:lnTo>
                    <a:pt x="196" y="4"/>
                  </a:lnTo>
                  <a:lnTo>
                    <a:pt x="196" y="8"/>
                  </a:lnTo>
                  <a:lnTo>
                    <a:pt x="196" y="139"/>
                  </a:lnTo>
                  <a:lnTo>
                    <a:pt x="196" y="142"/>
                  </a:lnTo>
                  <a:lnTo>
                    <a:pt x="195" y="144"/>
                  </a:lnTo>
                  <a:lnTo>
                    <a:pt x="193" y="145"/>
                  </a:lnTo>
                  <a:lnTo>
                    <a:pt x="190" y="146"/>
                  </a:lnTo>
                  <a:lnTo>
                    <a:pt x="6" y="146"/>
                  </a:lnTo>
                  <a:lnTo>
                    <a:pt x="3" y="145"/>
                  </a:lnTo>
                  <a:lnTo>
                    <a:pt x="1" y="144"/>
                  </a:lnTo>
                  <a:lnTo>
                    <a:pt x="0" y="142"/>
                  </a:lnTo>
                  <a:lnTo>
                    <a:pt x="0" y="139"/>
                  </a:lnTo>
                  <a:lnTo>
                    <a:pt x="0" y="8"/>
                  </a:lnTo>
                  <a:lnTo>
                    <a:pt x="0" y="4"/>
                  </a:lnTo>
                  <a:lnTo>
                    <a:pt x="1" y="3"/>
                  </a:lnTo>
                  <a:lnTo>
                    <a:pt x="3" y="0"/>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40">
              <a:extLst>
                <a:ext uri="{FF2B5EF4-FFF2-40B4-BE49-F238E27FC236}">
                  <a16:creationId xmlns:a16="http://schemas.microsoft.com/office/drawing/2014/main" id="{6140BCCF-7D13-9E40-AD11-872619CEC612}"/>
                </a:ext>
              </a:extLst>
            </p:cNvPr>
            <p:cNvSpPr>
              <a:spLocks noEditPoints="1"/>
            </p:cNvSpPr>
            <p:nvPr/>
          </p:nvSpPr>
          <p:spPr bwMode="auto">
            <a:xfrm>
              <a:off x="2087563" y="5559425"/>
              <a:ext cx="504825" cy="503238"/>
            </a:xfrm>
            <a:custGeom>
              <a:avLst/>
              <a:gdLst>
                <a:gd name="T0" fmla="*/ 130 w 318"/>
                <a:gd name="T1" fmla="*/ 15 h 317"/>
                <a:gd name="T2" fmla="*/ 78 w 318"/>
                <a:gd name="T3" fmla="*/ 38 h 317"/>
                <a:gd name="T4" fmla="*/ 38 w 318"/>
                <a:gd name="T5" fmla="*/ 77 h 317"/>
                <a:gd name="T6" fmla="*/ 16 w 318"/>
                <a:gd name="T7" fmla="*/ 129 h 317"/>
                <a:gd name="T8" fmla="*/ 16 w 318"/>
                <a:gd name="T9" fmla="*/ 188 h 317"/>
                <a:gd name="T10" fmla="*/ 38 w 318"/>
                <a:gd name="T11" fmla="*/ 240 h 317"/>
                <a:gd name="T12" fmla="*/ 78 w 318"/>
                <a:gd name="T13" fmla="*/ 279 h 317"/>
                <a:gd name="T14" fmla="*/ 130 w 318"/>
                <a:gd name="T15" fmla="*/ 300 h 317"/>
                <a:gd name="T16" fmla="*/ 188 w 318"/>
                <a:gd name="T17" fmla="*/ 300 h 317"/>
                <a:gd name="T18" fmla="*/ 239 w 318"/>
                <a:gd name="T19" fmla="*/ 279 h 317"/>
                <a:gd name="T20" fmla="*/ 279 w 318"/>
                <a:gd name="T21" fmla="*/ 240 h 317"/>
                <a:gd name="T22" fmla="*/ 301 w 318"/>
                <a:gd name="T23" fmla="*/ 188 h 317"/>
                <a:gd name="T24" fmla="*/ 301 w 318"/>
                <a:gd name="T25" fmla="*/ 129 h 317"/>
                <a:gd name="T26" fmla="*/ 279 w 318"/>
                <a:gd name="T27" fmla="*/ 77 h 317"/>
                <a:gd name="T28" fmla="*/ 239 w 318"/>
                <a:gd name="T29" fmla="*/ 38 h 317"/>
                <a:gd name="T30" fmla="*/ 188 w 318"/>
                <a:gd name="T31" fmla="*/ 15 h 317"/>
                <a:gd name="T32" fmla="*/ 159 w 318"/>
                <a:gd name="T33" fmla="*/ 0 h 317"/>
                <a:gd name="T34" fmla="*/ 220 w 318"/>
                <a:gd name="T35" fmla="*/ 12 h 317"/>
                <a:gd name="T36" fmla="*/ 271 w 318"/>
                <a:gd name="T37" fmla="*/ 47 h 317"/>
                <a:gd name="T38" fmla="*/ 305 w 318"/>
                <a:gd name="T39" fmla="*/ 96 h 317"/>
                <a:gd name="T40" fmla="*/ 318 w 318"/>
                <a:gd name="T41" fmla="*/ 158 h 317"/>
                <a:gd name="T42" fmla="*/ 314 w 318"/>
                <a:gd name="T43" fmla="*/ 190 h 317"/>
                <a:gd name="T44" fmla="*/ 290 w 318"/>
                <a:gd name="T45" fmla="*/ 247 h 317"/>
                <a:gd name="T46" fmla="*/ 248 w 318"/>
                <a:gd name="T47" fmla="*/ 289 h 317"/>
                <a:gd name="T48" fmla="*/ 191 w 318"/>
                <a:gd name="T49" fmla="*/ 314 h 317"/>
                <a:gd name="T50" fmla="*/ 127 w 318"/>
                <a:gd name="T51" fmla="*/ 314 h 317"/>
                <a:gd name="T52" fmla="*/ 70 w 318"/>
                <a:gd name="T53" fmla="*/ 289 h 317"/>
                <a:gd name="T54" fmla="*/ 27 w 318"/>
                <a:gd name="T55" fmla="*/ 247 h 317"/>
                <a:gd name="T56" fmla="*/ 4 w 318"/>
                <a:gd name="T57" fmla="*/ 190 h 317"/>
                <a:gd name="T58" fmla="*/ 0 w 318"/>
                <a:gd name="T59" fmla="*/ 158 h 317"/>
                <a:gd name="T60" fmla="*/ 12 w 318"/>
                <a:gd name="T61" fmla="*/ 96 h 317"/>
                <a:gd name="T62" fmla="*/ 46 w 318"/>
                <a:gd name="T63" fmla="*/ 47 h 317"/>
                <a:gd name="T64" fmla="*/ 97 w 318"/>
                <a:gd name="T65" fmla="*/ 12 h 317"/>
                <a:gd name="T66" fmla="*/ 159 w 318"/>
                <a:gd name="T6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7">
                  <a:moveTo>
                    <a:pt x="159" y="13"/>
                  </a:moveTo>
                  <a:lnTo>
                    <a:pt x="130" y="15"/>
                  </a:lnTo>
                  <a:lnTo>
                    <a:pt x="102" y="24"/>
                  </a:lnTo>
                  <a:lnTo>
                    <a:pt x="78" y="38"/>
                  </a:lnTo>
                  <a:lnTo>
                    <a:pt x="56" y="55"/>
                  </a:lnTo>
                  <a:lnTo>
                    <a:pt x="38" y="77"/>
                  </a:lnTo>
                  <a:lnTo>
                    <a:pt x="25" y="102"/>
                  </a:lnTo>
                  <a:lnTo>
                    <a:pt x="16" y="129"/>
                  </a:lnTo>
                  <a:lnTo>
                    <a:pt x="14" y="158"/>
                  </a:lnTo>
                  <a:lnTo>
                    <a:pt x="16" y="188"/>
                  </a:lnTo>
                  <a:lnTo>
                    <a:pt x="25" y="215"/>
                  </a:lnTo>
                  <a:lnTo>
                    <a:pt x="38" y="240"/>
                  </a:lnTo>
                  <a:lnTo>
                    <a:pt x="56" y="260"/>
                  </a:lnTo>
                  <a:lnTo>
                    <a:pt x="78" y="279"/>
                  </a:lnTo>
                  <a:lnTo>
                    <a:pt x="102" y="292"/>
                  </a:lnTo>
                  <a:lnTo>
                    <a:pt x="130" y="300"/>
                  </a:lnTo>
                  <a:lnTo>
                    <a:pt x="159" y="303"/>
                  </a:lnTo>
                  <a:lnTo>
                    <a:pt x="188" y="300"/>
                  </a:lnTo>
                  <a:lnTo>
                    <a:pt x="215" y="292"/>
                  </a:lnTo>
                  <a:lnTo>
                    <a:pt x="239" y="279"/>
                  </a:lnTo>
                  <a:lnTo>
                    <a:pt x="261" y="260"/>
                  </a:lnTo>
                  <a:lnTo>
                    <a:pt x="279" y="240"/>
                  </a:lnTo>
                  <a:lnTo>
                    <a:pt x="293" y="215"/>
                  </a:lnTo>
                  <a:lnTo>
                    <a:pt x="301" y="188"/>
                  </a:lnTo>
                  <a:lnTo>
                    <a:pt x="303" y="158"/>
                  </a:lnTo>
                  <a:lnTo>
                    <a:pt x="301" y="129"/>
                  </a:lnTo>
                  <a:lnTo>
                    <a:pt x="293" y="102"/>
                  </a:lnTo>
                  <a:lnTo>
                    <a:pt x="279" y="77"/>
                  </a:lnTo>
                  <a:lnTo>
                    <a:pt x="261" y="55"/>
                  </a:lnTo>
                  <a:lnTo>
                    <a:pt x="239" y="38"/>
                  </a:lnTo>
                  <a:lnTo>
                    <a:pt x="215" y="24"/>
                  </a:lnTo>
                  <a:lnTo>
                    <a:pt x="188" y="15"/>
                  </a:lnTo>
                  <a:lnTo>
                    <a:pt x="159" y="13"/>
                  </a:lnTo>
                  <a:close/>
                  <a:moveTo>
                    <a:pt x="159" y="0"/>
                  </a:moveTo>
                  <a:lnTo>
                    <a:pt x="191" y="3"/>
                  </a:lnTo>
                  <a:lnTo>
                    <a:pt x="220" y="12"/>
                  </a:lnTo>
                  <a:lnTo>
                    <a:pt x="248" y="27"/>
                  </a:lnTo>
                  <a:lnTo>
                    <a:pt x="271" y="47"/>
                  </a:lnTo>
                  <a:lnTo>
                    <a:pt x="290" y="70"/>
                  </a:lnTo>
                  <a:lnTo>
                    <a:pt x="305" y="96"/>
                  </a:lnTo>
                  <a:lnTo>
                    <a:pt x="314" y="126"/>
                  </a:lnTo>
                  <a:lnTo>
                    <a:pt x="318" y="158"/>
                  </a:lnTo>
                  <a:lnTo>
                    <a:pt x="318" y="159"/>
                  </a:lnTo>
                  <a:lnTo>
                    <a:pt x="314" y="190"/>
                  </a:lnTo>
                  <a:lnTo>
                    <a:pt x="305" y="219"/>
                  </a:lnTo>
                  <a:lnTo>
                    <a:pt x="290" y="247"/>
                  </a:lnTo>
                  <a:lnTo>
                    <a:pt x="271" y="270"/>
                  </a:lnTo>
                  <a:lnTo>
                    <a:pt x="248" y="289"/>
                  </a:lnTo>
                  <a:lnTo>
                    <a:pt x="220" y="304"/>
                  </a:lnTo>
                  <a:lnTo>
                    <a:pt x="191" y="314"/>
                  </a:lnTo>
                  <a:lnTo>
                    <a:pt x="159" y="317"/>
                  </a:lnTo>
                  <a:lnTo>
                    <a:pt x="127" y="314"/>
                  </a:lnTo>
                  <a:lnTo>
                    <a:pt x="97" y="304"/>
                  </a:lnTo>
                  <a:lnTo>
                    <a:pt x="70" y="289"/>
                  </a:lnTo>
                  <a:lnTo>
                    <a:pt x="46" y="270"/>
                  </a:lnTo>
                  <a:lnTo>
                    <a:pt x="27" y="247"/>
                  </a:lnTo>
                  <a:lnTo>
                    <a:pt x="12" y="219"/>
                  </a:lnTo>
                  <a:lnTo>
                    <a:pt x="4" y="190"/>
                  </a:lnTo>
                  <a:lnTo>
                    <a:pt x="0" y="158"/>
                  </a:lnTo>
                  <a:lnTo>
                    <a:pt x="0" y="158"/>
                  </a:lnTo>
                  <a:lnTo>
                    <a:pt x="4" y="126"/>
                  </a:lnTo>
                  <a:lnTo>
                    <a:pt x="12" y="96"/>
                  </a:lnTo>
                  <a:lnTo>
                    <a:pt x="27" y="70"/>
                  </a:lnTo>
                  <a:lnTo>
                    <a:pt x="46" y="47"/>
                  </a:lnTo>
                  <a:lnTo>
                    <a:pt x="70" y="27"/>
                  </a:lnTo>
                  <a:lnTo>
                    <a:pt x="97" y="12"/>
                  </a:lnTo>
                  <a:lnTo>
                    <a:pt x="127" y="3"/>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2" name="Group 262">
            <a:extLst>
              <a:ext uri="{FF2B5EF4-FFF2-40B4-BE49-F238E27FC236}">
                <a16:creationId xmlns:a16="http://schemas.microsoft.com/office/drawing/2014/main" id="{CA3A47D6-B6E6-B14B-9808-6BFFCD9D20C6}"/>
              </a:ext>
            </a:extLst>
          </p:cNvPr>
          <p:cNvGrpSpPr>
            <a:grpSpLocks noChangeAspect="1"/>
          </p:cNvGrpSpPr>
          <p:nvPr/>
        </p:nvGrpSpPr>
        <p:grpSpPr bwMode="auto">
          <a:xfrm>
            <a:off x="4547616" y="1642491"/>
            <a:ext cx="658368" cy="658368"/>
            <a:chOff x="5035" y="791"/>
            <a:chExt cx="340" cy="340"/>
          </a:xfrm>
          <a:solidFill>
            <a:schemeClr val="bg1"/>
          </a:solidFill>
        </p:grpSpPr>
        <p:sp>
          <p:nvSpPr>
            <p:cNvPr id="63" name="Freeform 263">
              <a:extLst>
                <a:ext uri="{FF2B5EF4-FFF2-40B4-BE49-F238E27FC236}">
                  <a16:creationId xmlns:a16="http://schemas.microsoft.com/office/drawing/2014/main" id="{BD88EAE4-6FD2-5A49-8492-E4E99C39DDAD}"/>
                </a:ext>
              </a:extLst>
            </p:cNvPr>
            <p:cNvSpPr>
              <a:spLocks noEditPoints="1"/>
            </p:cNvSpPr>
            <p:nvPr/>
          </p:nvSpPr>
          <p:spPr bwMode="auto">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64">
              <a:extLst>
                <a:ext uri="{FF2B5EF4-FFF2-40B4-BE49-F238E27FC236}">
                  <a16:creationId xmlns:a16="http://schemas.microsoft.com/office/drawing/2014/main" id="{D361E23C-EA9B-7C43-9BFA-03AF25BCE684}"/>
                </a:ext>
              </a:extLst>
            </p:cNvPr>
            <p:cNvSpPr>
              <a:spLocks noEditPoints="1"/>
            </p:cNvSpPr>
            <p:nvPr/>
          </p:nvSpPr>
          <p:spPr bwMode="auto">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9">
            <a:extLst>
              <a:ext uri="{FF2B5EF4-FFF2-40B4-BE49-F238E27FC236}">
                <a16:creationId xmlns:a16="http://schemas.microsoft.com/office/drawing/2014/main" id="{D1B23442-3405-3647-9729-92CFBFC183C8}"/>
              </a:ext>
            </a:extLst>
          </p:cNvPr>
          <p:cNvGrpSpPr>
            <a:grpSpLocks noChangeAspect="1"/>
          </p:cNvGrpSpPr>
          <p:nvPr/>
        </p:nvGrpSpPr>
        <p:grpSpPr bwMode="auto">
          <a:xfrm>
            <a:off x="4100033" y="2804541"/>
            <a:ext cx="658187" cy="658368"/>
            <a:chOff x="299" y="-289"/>
            <a:chExt cx="3635" cy="3636"/>
          </a:xfrm>
          <a:solidFill>
            <a:schemeClr val="bg1"/>
          </a:solidFill>
        </p:grpSpPr>
        <p:sp>
          <p:nvSpPr>
            <p:cNvPr id="66" name="Freeform 10">
              <a:extLst>
                <a:ext uri="{FF2B5EF4-FFF2-40B4-BE49-F238E27FC236}">
                  <a16:creationId xmlns:a16="http://schemas.microsoft.com/office/drawing/2014/main" id="{C9231503-52D7-E64B-AD28-27CFA3130DB7}"/>
                </a:ext>
              </a:extLst>
            </p:cNvPr>
            <p:cNvSpPr>
              <a:spLocks noEditPoints="1"/>
            </p:cNvSpPr>
            <p:nvPr/>
          </p:nvSpPr>
          <p:spPr bwMode="auto">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1">
              <a:extLst>
                <a:ext uri="{FF2B5EF4-FFF2-40B4-BE49-F238E27FC236}">
                  <a16:creationId xmlns:a16="http://schemas.microsoft.com/office/drawing/2014/main" id="{D29A5AE1-CFF6-7D41-BA09-4FB67C2D4472}"/>
                </a:ext>
              </a:extLst>
            </p:cNvPr>
            <p:cNvSpPr>
              <a:spLocks noEditPoints="1"/>
            </p:cNvSpPr>
            <p:nvPr/>
          </p:nvSpPr>
          <p:spPr bwMode="auto">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 name="Group 913">
            <a:extLst>
              <a:ext uri="{FF2B5EF4-FFF2-40B4-BE49-F238E27FC236}">
                <a16:creationId xmlns:a16="http://schemas.microsoft.com/office/drawing/2014/main" id="{264200C6-4A04-D742-A4AA-56838804C239}"/>
              </a:ext>
            </a:extLst>
          </p:cNvPr>
          <p:cNvGrpSpPr>
            <a:grpSpLocks noChangeAspect="1"/>
          </p:cNvGrpSpPr>
          <p:nvPr/>
        </p:nvGrpSpPr>
        <p:grpSpPr bwMode="auto">
          <a:xfrm>
            <a:off x="4557141" y="3947541"/>
            <a:ext cx="658368" cy="658368"/>
            <a:chOff x="4563" y="3912"/>
            <a:chExt cx="340" cy="340"/>
          </a:xfrm>
          <a:solidFill>
            <a:schemeClr val="bg1"/>
          </a:solidFill>
        </p:grpSpPr>
        <p:sp>
          <p:nvSpPr>
            <p:cNvPr id="69" name="Freeform 914">
              <a:extLst>
                <a:ext uri="{FF2B5EF4-FFF2-40B4-BE49-F238E27FC236}">
                  <a16:creationId xmlns:a16="http://schemas.microsoft.com/office/drawing/2014/main" id="{05109DE4-A1E8-C045-9BF1-BED3DEA48881}"/>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915">
              <a:extLst>
                <a:ext uri="{FF2B5EF4-FFF2-40B4-BE49-F238E27FC236}">
                  <a16:creationId xmlns:a16="http://schemas.microsoft.com/office/drawing/2014/main" id="{020ACF35-38D2-6E46-B53C-1341162D0B20}"/>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ustDataLst>
      <p:tags r:id="rId1"/>
    </p:custDataLst>
    <p:extLst>
      <p:ext uri="{BB962C8B-B14F-4D97-AF65-F5344CB8AC3E}">
        <p14:creationId xmlns:p14="http://schemas.microsoft.com/office/powerpoint/2010/main" val="39563410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4" name="图片 133"/>
          <p:cNvPicPr>
            <a:picLocks noChangeAspect="1"/>
          </p:cNvPicPr>
          <p:nvPr/>
        </p:nvPicPr>
        <p:blipFill>
          <a:blip r:embed="rId4"/>
          <a:stretch>
            <a:fillRect/>
          </a:stretch>
        </p:blipFill>
        <p:spPr>
          <a:xfrm>
            <a:off x="1" y="2270696"/>
            <a:ext cx="12192000" cy="981753"/>
          </a:xfrm>
          <a:prstGeom prst="rect">
            <a:avLst/>
          </a:prstGeom>
        </p:spPr>
      </p:pic>
      <p:sp>
        <p:nvSpPr>
          <p:cNvPr id="2" name="Text Placeholder 1"/>
          <p:cNvSpPr>
            <a:spLocks noGrp="1"/>
          </p:cNvSpPr>
          <p:nvPr>
            <p:ph type="body" sz="quarter" idx="4294967295"/>
          </p:nvPr>
        </p:nvSpPr>
        <p:spPr>
          <a:xfrm>
            <a:off x="469900" y="541338"/>
            <a:ext cx="11252200" cy="269875"/>
          </a:xfrm>
        </p:spPr>
        <p:txBody>
          <a:bodyPr/>
          <a:lstStyle/>
          <a:p>
            <a:pPr algn="ctr">
              <a:spcAft>
                <a:spcPts val="0"/>
              </a:spcAft>
            </a:pPr>
            <a:r>
              <a:rPr lang="da-DK" sz="1600" dirty="0">
                <a:latin typeface="Open Sans" panose="020B0606030504020204" pitchFamily="34" charset="0"/>
                <a:ea typeface="Open Sans" panose="020B0606030504020204" pitchFamily="34" charset="0"/>
                <a:cs typeface="Open Sans" panose="020B0606030504020204" pitchFamily="34" charset="0"/>
              </a:rPr>
              <a:t>Lorem ipsum dolor sit ametLorem ipsum dolor sit amet</a:t>
            </a: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2"/>
          <p:cNvSpPr>
            <a:spLocks noGrp="1"/>
          </p:cNvSpPr>
          <p:nvPr>
            <p:ph type="title" idx="4294967295"/>
          </p:nvPr>
        </p:nvSpPr>
        <p:spPr>
          <a:xfrm>
            <a:off x="469900" y="287338"/>
            <a:ext cx="11252200" cy="333375"/>
          </a:xfrm>
        </p:spPr>
        <p:txBody>
          <a:bodyPr/>
          <a:lstStyle/>
          <a:p>
            <a:pPr algn="ctr">
              <a:spcBef>
                <a:spcPts val="0"/>
              </a:spcBef>
            </a:pPr>
            <a:r>
              <a:rPr lang="da-DK" sz="1600" b="1" dirty="0">
                <a:latin typeface="Open Sans" panose="020B0606030504020204" pitchFamily="34" charset="0"/>
                <a:ea typeface="Open Sans" panose="020B0606030504020204" pitchFamily="34" charset="0"/>
                <a:cs typeface="Open Sans" panose="020B0606030504020204" pitchFamily="34" charset="0"/>
              </a:rPr>
              <a:t>Lorem ipsum dolor sit amet</a:t>
            </a:r>
            <a:endParaRPr lang="en-US" sz="16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椭圆 4"/>
          <p:cNvSpPr/>
          <p:nvPr/>
        </p:nvSpPr>
        <p:spPr bwMode="gray">
          <a:xfrm>
            <a:off x="2811525" y="1294257"/>
            <a:ext cx="609600" cy="609600"/>
          </a:xfrm>
          <a:prstGeom prst="ellips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3" name="Group 493"/>
          <p:cNvGrpSpPr>
            <a:grpSpLocks noChangeAspect="1"/>
          </p:cNvGrpSpPr>
          <p:nvPr/>
        </p:nvGrpSpPr>
        <p:grpSpPr bwMode="auto">
          <a:xfrm>
            <a:off x="2873548" y="1356281"/>
            <a:ext cx="485554" cy="485554"/>
            <a:chOff x="6194" y="1960"/>
            <a:chExt cx="340" cy="340"/>
          </a:xfrm>
          <a:solidFill>
            <a:schemeClr val="bg1"/>
          </a:solidFill>
        </p:grpSpPr>
        <p:sp>
          <p:nvSpPr>
            <p:cNvPr id="64"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66" name="Oval 496"/>
            <p:cNvSpPr>
              <a:spLocks noChangeArrowheads="1"/>
            </p:cNvSpPr>
            <p:nvPr/>
          </p:nvSpPr>
          <p:spPr bwMode="auto">
            <a:xfrm>
              <a:off x="6357" y="2208"/>
              <a:ext cx="14" cy="14"/>
            </a:xfrm>
            <a:prstGeom prst="ellipse">
              <a:avLst/>
            </a:pr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sp>
        <p:nvSpPr>
          <p:cNvPr id="6" name="矩形 5"/>
          <p:cNvSpPr/>
          <p:nvPr/>
        </p:nvSpPr>
        <p:spPr bwMode="gray">
          <a:xfrm>
            <a:off x="3085845" y="1848993"/>
            <a:ext cx="60960" cy="670560"/>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7" name="椭圆 66"/>
          <p:cNvSpPr/>
          <p:nvPr/>
        </p:nvSpPr>
        <p:spPr bwMode="gray">
          <a:xfrm>
            <a:off x="8987283" y="1294260"/>
            <a:ext cx="609599" cy="609601"/>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矩形 71"/>
          <p:cNvSpPr/>
          <p:nvPr/>
        </p:nvSpPr>
        <p:spPr bwMode="gray">
          <a:xfrm>
            <a:off x="9261602" y="1848993"/>
            <a:ext cx="60960" cy="670560"/>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6"/>
          <p:cNvSpPr>
            <a:spLocks noChangeArrowheads="1"/>
          </p:cNvSpPr>
          <p:nvPr/>
        </p:nvSpPr>
        <p:spPr bwMode="auto">
          <a:xfrm>
            <a:off x="8470900" y="2287905"/>
            <a:ext cx="1642364" cy="300758"/>
          </a:xfrm>
          <a:prstGeom prst="rect">
            <a:avLst/>
          </a:prstGeom>
          <a:solidFill>
            <a:schemeClr val="bg1"/>
          </a:solidFill>
          <a:ln w="57150">
            <a:solidFill>
              <a:srgbClr val="000000"/>
            </a:solidFill>
            <a:miter lim="800000"/>
            <a:headEnd/>
            <a:tailEnd/>
          </a:ln>
        </p:spPr>
        <p:txBody>
          <a:bodyPr lIns="36000" tIns="36000" rIns="36000" anchor="ctr"/>
          <a:lstStyle/>
          <a:p>
            <a:pPr marL="0" lvl="2" algn="ctr">
              <a:buSzPct val="100000"/>
              <a:tabLst>
                <a:tab pos="5029200" algn="r"/>
              </a:tabLst>
            </a:pPr>
            <a:r>
              <a:rPr lang="en-GB" sz="1300" b="1" dirty="0">
                <a:latin typeface="Open Sans" panose="020B0606030504020204" pitchFamily="34" charset="0"/>
                <a:ea typeface="Open Sans" panose="020B0606030504020204" pitchFamily="34" charset="0"/>
                <a:cs typeface="Open Sans" panose="020B0606030504020204" pitchFamily="34" charset="0"/>
              </a:rPr>
              <a:t>Lorem </a:t>
            </a:r>
            <a:r>
              <a:rPr lang="en-GB" sz="1300" b="1" dirty="0" err="1">
                <a:latin typeface="Open Sans" panose="020B0606030504020204" pitchFamily="34" charset="0"/>
                <a:ea typeface="Open Sans" panose="020B0606030504020204" pitchFamily="34" charset="0"/>
                <a:cs typeface="Open Sans" panose="020B0606030504020204" pitchFamily="34" charset="0"/>
              </a:rPr>
              <a:t>ipsu</a:t>
            </a:r>
            <a:endParaRPr lang="en-GB" sz="13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6"/>
          <p:cNvSpPr>
            <a:spLocks noChangeArrowheads="1"/>
          </p:cNvSpPr>
          <p:nvPr/>
        </p:nvSpPr>
        <p:spPr bwMode="auto">
          <a:xfrm>
            <a:off x="2421635" y="2287905"/>
            <a:ext cx="1389381" cy="292608"/>
          </a:xfrm>
          <a:prstGeom prst="rect">
            <a:avLst/>
          </a:prstGeom>
          <a:solidFill>
            <a:schemeClr val="bg1"/>
          </a:solidFill>
          <a:ln w="57150">
            <a:solidFill>
              <a:srgbClr val="43B02A"/>
            </a:solidFill>
            <a:miter lim="800000"/>
            <a:headEnd/>
            <a:tailEnd/>
          </a:ln>
        </p:spPr>
        <p:txBody>
          <a:bodyPr lIns="36000" tIns="36000" rIns="36000" anchor="ctr"/>
          <a:lstStyle/>
          <a:p>
            <a:pPr marL="0" lvl="2" algn="ctr">
              <a:buSzPct val="100000"/>
              <a:tabLst>
                <a:tab pos="5029200" algn="r"/>
              </a:tabLst>
            </a:pPr>
            <a:r>
              <a:rPr lang="en-GB" sz="1300" b="1" dirty="0">
                <a:latin typeface="Open Sans" panose="020B0606030504020204" pitchFamily="34" charset="0"/>
                <a:ea typeface="Open Sans" panose="020B0606030504020204" pitchFamily="34" charset="0"/>
                <a:cs typeface="Open Sans" panose="020B0606030504020204" pitchFamily="34" charset="0"/>
              </a:rPr>
              <a:t>Lorem </a:t>
            </a:r>
            <a:r>
              <a:rPr lang="en-GB" sz="1300" b="1" dirty="0" err="1">
                <a:latin typeface="Open Sans" panose="020B0606030504020204" pitchFamily="34" charset="0"/>
                <a:ea typeface="Open Sans" panose="020B0606030504020204" pitchFamily="34" charset="0"/>
                <a:cs typeface="Open Sans" panose="020B0606030504020204" pitchFamily="34" charset="0"/>
              </a:rPr>
              <a:t>ipsu</a:t>
            </a:r>
            <a:endParaRPr lang="en-GB" sz="13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95" name="Rectangle 6"/>
          <p:cNvSpPr>
            <a:spLocks noChangeArrowheads="1"/>
          </p:cNvSpPr>
          <p:nvPr/>
        </p:nvSpPr>
        <p:spPr bwMode="auto">
          <a:xfrm>
            <a:off x="6646908" y="3376698"/>
            <a:ext cx="987070" cy="2781501"/>
          </a:xfrm>
          <a:prstGeom prst="rect">
            <a:avLst/>
          </a:prstGeom>
          <a:solidFill>
            <a:srgbClr val="000000"/>
          </a:solidFill>
          <a:ln w="12700">
            <a:noFill/>
            <a:miter lim="800000"/>
            <a:headEnd/>
            <a:tailEnd/>
          </a:ln>
        </p:spPr>
        <p:txBody>
          <a:bodyPr lIns="72000" tIns="108000" rIns="36000" anchor="t"/>
          <a:lstStyle/>
          <a:p>
            <a:r>
              <a:rPr lang="en-US" altLang="zh-CN" sz="950" dirty="0">
                <a:solidFill>
                  <a:srgbClr val="FFFFFF"/>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endParaRPr lang="en-US" sz="95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Rectangle 6"/>
          <p:cNvSpPr>
            <a:spLocks noChangeArrowheads="1"/>
          </p:cNvSpPr>
          <p:nvPr/>
        </p:nvSpPr>
        <p:spPr bwMode="auto">
          <a:xfrm>
            <a:off x="7698021" y="3635565"/>
            <a:ext cx="987070" cy="2531430"/>
          </a:xfrm>
          <a:prstGeom prst="rect">
            <a:avLst/>
          </a:prstGeom>
          <a:solidFill>
            <a:srgbClr val="53565A"/>
          </a:solidFill>
          <a:ln w="12700">
            <a:noFill/>
            <a:miter lim="800000"/>
            <a:headEnd/>
            <a:tailEnd/>
          </a:ln>
        </p:spPr>
        <p:txBody>
          <a:bodyPr lIns="72000" tIns="108000" rIns="36000" anchor="t"/>
          <a:lstStyle/>
          <a:p>
            <a:r>
              <a:rPr lang="en-US" altLang="zh-CN" sz="950" dirty="0">
                <a:solidFill>
                  <a:srgbClr val="FFFFFF"/>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endParaRPr lang="en-US" sz="95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Rectangle 6"/>
          <p:cNvSpPr>
            <a:spLocks noChangeArrowheads="1"/>
          </p:cNvSpPr>
          <p:nvPr/>
        </p:nvSpPr>
        <p:spPr bwMode="auto">
          <a:xfrm>
            <a:off x="8749134" y="3062541"/>
            <a:ext cx="987070" cy="3098493"/>
          </a:xfrm>
          <a:prstGeom prst="rect">
            <a:avLst/>
          </a:prstGeom>
          <a:solidFill>
            <a:srgbClr val="63666A"/>
          </a:solidFill>
          <a:ln w="12700">
            <a:noFill/>
            <a:miter lim="800000"/>
            <a:headEnd/>
            <a:tailEnd/>
          </a:ln>
        </p:spPr>
        <p:txBody>
          <a:bodyPr lIns="72000" tIns="108000" rIns="36000" anchor="t"/>
          <a:lstStyle/>
          <a:p>
            <a:r>
              <a:rPr lang="en-US" altLang="zh-CN"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endPar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Rectangle 6"/>
          <p:cNvSpPr>
            <a:spLocks noChangeArrowheads="1"/>
          </p:cNvSpPr>
          <p:nvPr/>
        </p:nvSpPr>
        <p:spPr bwMode="auto">
          <a:xfrm>
            <a:off x="9800247" y="4159821"/>
            <a:ext cx="987070" cy="1995934"/>
          </a:xfrm>
          <a:prstGeom prst="rect">
            <a:avLst/>
          </a:prstGeom>
          <a:solidFill>
            <a:srgbClr val="75787B"/>
          </a:solidFill>
          <a:ln w="12700">
            <a:noFill/>
            <a:miter lim="800000"/>
            <a:headEnd/>
            <a:tailEnd/>
          </a:ln>
        </p:spPr>
        <p:txBody>
          <a:bodyPr lIns="72000" tIns="108000" rIns="36000" anchor="t"/>
          <a:lstStyle/>
          <a:p>
            <a:r>
              <a:rPr lang="en-US" altLang="zh-CN"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endPar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9" name="Rectangle 6"/>
          <p:cNvSpPr>
            <a:spLocks noChangeArrowheads="1"/>
          </p:cNvSpPr>
          <p:nvPr/>
        </p:nvSpPr>
        <p:spPr bwMode="auto">
          <a:xfrm>
            <a:off x="10851362" y="3495357"/>
            <a:ext cx="987070" cy="2643631"/>
          </a:xfrm>
          <a:prstGeom prst="rect">
            <a:avLst/>
          </a:prstGeom>
          <a:solidFill>
            <a:srgbClr val="97999B"/>
          </a:solidFill>
          <a:ln w="12700">
            <a:noFill/>
            <a:miter lim="800000"/>
            <a:headEnd/>
            <a:tailEnd/>
          </a:ln>
        </p:spPr>
        <p:txBody>
          <a:bodyPr lIns="72000" tIns="108000" rIns="36000" anchor="t"/>
          <a:lstStyle/>
          <a:p>
            <a:r>
              <a:rPr lang="en-US" altLang="zh-CN"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endPar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Rectangle 6"/>
          <p:cNvSpPr>
            <a:spLocks noChangeArrowheads="1"/>
          </p:cNvSpPr>
          <p:nvPr/>
        </p:nvSpPr>
        <p:spPr bwMode="auto">
          <a:xfrm>
            <a:off x="359077" y="4380015"/>
            <a:ext cx="1161075" cy="1774214"/>
          </a:xfrm>
          <a:prstGeom prst="rect">
            <a:avLst/>
          </a:prstGeom>
          <a:solidFill>
            <a:srgbClr val="046A38"/>
          </a:solidFill>
          <a:ln w="12700">
            <a:noFill/>
            <a:miter lim="800000"/>
            <a:headEnd/>
            <a:tailEnd/>
          </a:ln>
        </p:spPr>
        <p:txBody>
          <a:bodyPr lIns="72000" tIns="108000" rIns="72000" bIns="72000" anchor="t"/>
          <a:lstStyle/>
          <a:p>
            <a:r>
              <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p>
        </p:txBody>
      </p:sp>
      <p:sp>
        <p:nvSpPr>
          <p:cNvPr id="89" name="矩形 88"/>
          <p:cNvSpPr/>
          <p:nvPr/>
        </p:nvSpPr>
        <p:spPr bwMode="gray">
          <a:xfrm>
            <a:off x="533645" y="4086669"/>
            <a:ext cx="811939" cy="294640"/>
          </a:xfrm>
          <a:prstGeom prst="rect">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79" name="椭圆 78"/>
          <p:cNvSpPr/>
          <p:nvPr/>
        </p:nvSpPr>
        <p:spPr bwMode="gray">
          <a:xfrm>
            <a:off x="774323" y="5954077"/>
            <a:ext cx="330582" cy="330582"/>
          </a:xfrm>
          <a:prstGeom prst="ellipse">
            <a:avLst/>
          </a:prstGeom>
          <a:solidFill>
            <a:srgbClr val="046A38"/>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p>
        </p:txBody>
      </p:sp>
      <p:sp>
        <p:nvSpPr>
          <p:cNvPr id="75" name="Rectangle 6"/>
          <p:cNvSpPr>
            <a:spLocks noChangeArrowheads="1"/>
          </p:cNvSpPr>
          <p:nvPr/>
        </p:nvSpPr>
        <p:spPr bwMode="auto">
          <a:xfrm>
            <a:off x="1568685" y="3932302"/>
            <a:ext cx="1161382" cy="2221927"/>
          </a:xfrm>
          <a:prstGeom prst="rect">
            <a:avLst/>
          </a:prstGeom>
          <a:solidFill>
            <a:schemeClr val="accent3"/>
          </a:solidFill>
          <a:ln w="12700">
            <a:noFill/>
            <a:miter lim="800000"/>
            <a:headEnd/>
            <a:tailEnd/>
          </a:ln>
        </p:spPr>
        <p:txBody>
          <a:bodyPr lIns="72000" tIns="108000" rIns="72000" bIns="72000" anchor="t"/>
          <a:lstStyle/>
          <a:p>
            <a:r>
              <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p>
        </p:txBody>
      </p:sp>
      <p:sp>
        <p:nvSpPr>
          <p:cNvPr id="91" name="矩形 90"/>
          <p:cNvSpPr/>
          <p:nvPr/>
        </p:nvSpPr>
        <p:spPr bwMode="gray">
          <a:xfrm>
            <a:off x="1743407" y="3644709"/>
            <a:ext cx="811939" cy="294640"/>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80" name="椭圆 79"/>
          <p:cNvSpPr/>
          <p:nvPr/>
        </p:nvSpPr>
        <p:spPr bwMode="gray">
          <a:xfrm>
            <a:off x="1984085" y="5954077"/>
            <a:ext cx="330582" cy="330582"/>
          </a:xfrm>
          <a:prstGeom prst="ellipse">
            <a:avLst/>
          </a:prstGeom>
          <a:solidFill>
            <a:schemeClr val="accent3"/>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p>
        </p:txBody>
      </p:sp>
      <p:sp>
        <p:nvSpPr>
          <p:cNvPr id="76" name="Rectangle 6"/>
          <p:cNvSpPr>
            <a:spLocks noChangeArrowheads="1"/>
          </p:cNvSpPr>
          <p:nvPr/>
        </p:nvSpPr>
        <p:spPr bwMode="auto">
          <a:xfrm>
            <a:off x="2778600" y="4380015"/>
            <a:ext cx="1214561" cy="1774214"/>
          </a:xfrm>
          <a:prstGeom prst="rect">
            <a:avLst/>
          </a:prstGeom>
          <a:solidFill>
            <a:srgbClr val="009A44"/>
          </a:solidFill>
          <a:ln w="12700">
            <a:noFill/>
            <a:miter lim="800000"/>
            <a:headEnd/>
            <a:tailEnd/>
          </a:ln>
        </p:spPr>
        <p:txBody>
          <a:bodyPr lIns="72000" tIns="108000" rIns="72000" bIns="72000" anchor="t"/>
          <a:lstStyle/>
          <a:p>
            <a:r>
              <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p>
        </p:txBody>
      </p:sp>
      <p:sp>
        <p:nvSpPr>
          <p:cNvPr id="92" name="矩形 91"/>
          <p:cNvSpPr/>
          <p:nvPr/>
        </p:nvSpPr>
        <p:spPr bwMode="gray">
          <a:xfrm>
            <a:off x="2979911" y="4086669"/>
            <a:ext cx="811939" cy="294640"/>
          </a:xfrm>
          <a:prstGeom prst="rect">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81" name="椭圆 80"/>
          <p:cNvSpPr/>
          <p:nvPr/>
        </p:nvSpPr>
        <p:spPr bwMode="gray">
          <a:xfrm>
            <a:off x="3220589" y="5954077"/>
            <a:ext cx="330582" cy="330582"/>
          </a:xfrm>
          <a:prstGeom prst="ellipse">
            <a:avLst/>
          </a:prstGeom>
          <a:solidFill>
            <a:srgbClr val="009A44"/>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3</a:t>
            </a:r>
          </a:p>
        </p:txBody>
      </p:sp>
      <p:sp>
        <p:nvSpPr>
          <p:cNvPr id="77" name="Rectangle 6"/>
          <p:cNvSpPr>
            <a:spLocks noChangeArrowheads="1"/>
          </p:cNvSpPr>
          <p:nvPr/>
        </p:nvSpPr>
        <p:spPr bwMode="auto">
          <a:xfrm>
            <a:off x="4041694" y="3482150"/>
            <a:ext cx="1161382" cy="2672080"/>
          </a:xfrm>
          <a:prstGeom prst="rect">
            <a:avLst/>
          </a:prstGeom>
          <a:solidFill>
            <a:srgbClr val="43B02A"/>
          </a:solidFill>
          <a:ln w="12700">
            <a:noFill/>
            <a:miter lim="800000"/>
            <a:headEnd/>
            <a:tailEnd/>
          </a:ln>
        </p:spPr>
        <p:txBody>
          <a:bodyPr lIns="72000" tIns="108000" rIns="72000" bIns="72000" anchor="t"/>
          <a:lstStyle/>
          <a:p>
            <a:r>
              <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p>
        </p:txBody>
      </p:sp>
      <p:sp>
        <p:nvSpPr>
          <p:cNvPr id="93" name="矩形 92"/>
          <p:cNvSpPr/>
          <p:nvPr/>
        </p:nvSpPr>
        <p:spPr bwMode="gray">
          <a:xfrm>
            <a:off x="4216416" y="3192589"/>
            <a:ext cx="811939" cy="294640"/>
          </a:xfrm>
          <a:prstGeom prst="rect">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83" name="椭圆 82"/>
          <p:cNvSpPr/>
          <p:nvPr/>
        </p:nvSpPr>
        <p:spPr bwMode="gray">
          <a:xfrm>
            <a:off x="4457094" y="5954077"/>
            <a:ext cx="330582" cy="330582"/>
          </a:xfrm>
          <a:prstGeom prst="ellipse">
            <a:avLst/>
          </a:prstGeom>
          <a:solidFill>
            <a:srgbClr val="43B02A"/>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p>
        </p:txBody>
      </p:sp>
      <p:sp>
        <p:nvSpPr>
          <p:cNvPr id="78" name="Rectangle 6"/>
          <p:cNvSpPr>
            <a:spLocks noChangeArrowheads="1"/>
          </p:cNvSpPr>
          <p:nvPr/>
        </p:nvSpPr>
        <p:spPr bwMode="auto">
          <a:xfrm>
            <a:off x="5251610" y="3989643"/>
            <a:ext cx="1161382" cy="2164586"/>
          </a:xfrm>
          <a:prstGeom prst="rect">
            <a:avLst/>
          </a:prstGeom>
          <a:solidFill>
            <a:srgbClr val="86BC25"/>
          </a:solidFill>
          <a:ln w="12700">
            <a:noFill/>
            <a:miter lim="800000"/>
            <a:headEnd/>
            <a:tailEnd/>
          </a:ln>
        </p:spPr>
        <p:txBody>
          <a:bodyPr lIns="72000" tIns="108000" rIns="72000" bIns="72000" anchor="t"/>
          <a:lstStyle/>
          <a:p>
            <a:r>
              <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p>
        </p:txBody>
      </p:sp>
      <p:sp>
        <p:nvSpPr>
          <p:cNvPr id="94" name="矩形 93"/>
          <p:cNvSpPr/>
          <p:nvPr/>
        </p:nvSpPr>
        <p:spPr bwMode="gray">
          <a:xfrm>
            <a:off x="5426332" y="3710749"/>
            <a:ext cx="811939" cy="294640"/>
          </a:xfrm>
          <a:prstGeom prst="rect">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84" name="椭圆 83"/>
          <p:cNvSpPr/>
          <p:nvPr/>
        </p:nvSpPr>
        <p:spPr bwMode="gray">
          <a:xfrm>
            <a:off x="5667010" y="5969887"/>
            <a:ext cx="330582" cy="314771"/>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p>
        </p:txBody>
      </p:sp>
      <p:sp>
        <p:nvSpPr>
          <p:cNvPr id="102" name="矩形 101"/>
          <p:cNvSpPr/>
          <p:nvPr/>
        </p:nvSpPr>
        <p:spPr bwMode="gray">
          <a:xfrm>
            <a:off x="6794885" y="3094608"/>
            <a:ext cx="691117" cy="294640"/>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103" name="矩形 102"/>
          <p:cNvSpPr/>
          <p:nvPr/>
        </p:nvSpPr>
        <p:spPr bwMode="gray">
          <a:xfrm>
            <a:off x="7845998" y="3350640"/>
            <a:ext cx="691117" cy="294640"/>
          </a:xfrm>
          <a:prstGeom prst="rect">
            <a:avLst/>
          </a:pr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104" name="矩形 103"/>
          <p:cNvSpPr/>
          <p:nvPr/>
        </p:nvSpPr>
        <p:spPr bwMode="gray">
          <a:xfrm>
            <a:off x="8897111" y="2767901"/>
            <a:ext cx="691117" cy="294640"/>
          </a:xfrm>
          <a:prstGeom prst="rect">
            <a:avLst/>
          </a:prstGeom>
          <a:solidFill>
            <a:srgbClr val="63666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105" name="矩形 104"/>
          <p:cNvSpPr/>
          <p:nvPr/>
        </p:nvSpPr>
        <p:spPr bwMode="gray">
          <a:xfrm>
            <a:off x="9948224" y="3889628"/>
            <a:ext cx="691117" cy="294640"/>
          </a:xfrm>
          <a:prstGeom prst="rect">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106" name="矩形 105"/>
          <p:cNvSpPr/>
          <p:nvPr/>
        </p:nvSpPr>
        <p:spPr bwMode="gray">
          <a:xfrm>
            <a:off x="10999339" y="3223640"/>
            <a:ext cx="691117" cy="294640"/>
          </a:xfrm>
          <a:prstGeom prst="rect">
            <a:avLst/>
          </a:prstGeom>
          <a:solidFill>
            <a:srgbClr val="97999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112" name="椭圆 111"/>
          <p:cNvSpPr/>
          <p:nvPr/>
        </p:nvSpPr>
        <p:spPr bwMode="gray">
          <a:xfrm>
            <a:off x="6983843" y="5969887"/>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812"/>
          <p:cNvSpPr>
            <a:spLocks noChangeAspect="1" noEditPoints="1"/>
          </p:cNvSpPr>
          <p:nvPr/>
        </p:nvSpPr>
        <p:spPr bwMode="auto">
          <a:xfrm>
            <a:off x="6996865" y="5982561"/>
            <a:ext cx="287157" cy="288000"/>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114" name="椭圆 113"/>
          <p:cNvSpPr/>
          <p:nvPr/>
        </p:nvSpPr>
        <p:spPr bwMode="gray">
          <a:xfrm>
            <a:off x="8034956" y="5969887"/>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705"/>
          <p:cNvSpPr>
            <a:spLocks noChangeAspect="1" noEditPoints="1"/>
          </p:cNvSpPr>
          <p:nvPr/>
        </p:nvSpPr>
        <p:spPr bwMode="auto">
          <a:xfrm>
            <a:off x="8047556" y="5982561"/>
            <a:ext cx="288000" cy="28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14 w 512"/>
              <a:gd name="T11" fmla="*/ 128 h 512"/>
              <a:gd name="T12" fmla="*/ 216 w 512"/>
              <a:gd name="T13" fmla="*/ 124 h 512"/>
              <a:gd name="T14" fmla="*/ 228 w 512"/>
              <a:gd name="T15" fmla="*/ 122 h 512"/>
              <a:gd name="T16" fmla="*/ 231 w 512"/>
              <a:gd name="T17" fmla="*/ 124 h 512"/>
              <a:gd name="T18" fmla="*/ 233 w 512"/>
              <a:gd name="T19" fmla="*/ 128 h 512"/>
              <a:gd name="T20" fmla="*/ 234 w 512"/>
              <a:gd name="T21" fmla="*/ 132 h 512"/>
              <a:gd name="T22" fmla="*/ 231 w 512"/>
              <a:gd name="T23" fmla="*/ 139 h 512"/>
              <a:gd name="T24" fmla="*/ 224 w 512"/>
              <a:gd name="T25" fmla="*/ 142 h 512"/>
              <a:gd name="T26" fmla="*/ 216 w 512"/>
              <a:gd name="T27" fmla="*/ 139 h 512"/>
              <a:gd name="T28" fmla="*/ 213 w 512"/>
              <a:gd name="T29" fmla="*/ 132 h 512"/>
              <a:gd name="T30" fmla="*/ 214 w 512"/>
              <a:gd name="T31" fmla="*/ 128 h 512"/>
              <a:gd name="T32" fmla="*/ 187 w 512"/>
              <a:gd name="T33" fmla="*/ 135 h 512"/>
              <a:gd name="T34" fmla="*/ 201 w 512"/>
              <a:gd name="T35" fmla="*/ 139 h 512"/>
              <a:gd name="T36" fmla="*/ 197 w 512"/>
              <a:gd name="T37" fmla="*/ 154 h 512"/>
              <a:gd name="T38" fmla="*/ 192 w 512"/>
              <a:gd name="T39" fmla="*/ 155 h 512"/>
              <a:gd name="T40" fmla="*/ 183 w 512"/>
              <a:gd name="T41" fmla="*/ 150 h 512"/>
              <a:gd name="T42" fmla="*/ 187 w 512"/>
              <a:gd name="T43" fmla="*/ 135 h 512"/>
              <a:gd name="T44" fmla="*/ 158 w 512"/>
              <a:gd name="T45" fmla="*/ 158 h 512"/>
              <a:gd name="T46" fmla="*/ 173 w 512"/>
              <a:gd name="T47" fmla="*/ 158 h 512"/>
              <a:gd name="T48" fmla="*/ 173 w 512"/>
              <a:gd name="T49" fmla="*/ 173 h 512"/>
              <a:gd name="T50" fmla="*/ 165 w 512"/>
              <a:gd name="T51" fmla="*/ 176 h 512"/>
              <a:gd name="T52" fmla="*/ 158 w 512"/>
              <a:gd name="T53" fmla="*/ 173 h 512"/>
              <a:gd name="T54" fmla="*/ 158 w 512"/>
              <a:gd name="T55" fmla="*/ 158 h 512"/>
              <a:gd name="T56" fmla="*/ 135 w 512"/>
              <a:gd name="T57" fmla="*/ 187 h 512"/>
              <a:gd name="T58" fmla="*/ 150 w 512"/>
              <a:gd name="T59" fmla="*/ 183 h 512"/>
              <a:gd name="T60" fmla="*/ 154 w 512"/>
              <a:gd name="T61" fmla="*/ 197 h 512"/>
              <a:gd name="T62" fmla="*/ 145 w 512"/>
              <a:gd name="T63" fmla="*/ 203 h 512"/>
              <a:gd name="T64" fmla="*/ 139 w 512"/>
              <a:gd name="T65" fmla="*/ 201 h 512"/>
              <a:gd name="T66" fmla="*/ 135 w 512"/>
              <a:gd name="T67" fmla="*/ 187 h 512"/>
              <a:gd name="T68" fmla="*/ 122 w 512"/>
              <a:gd name="T69" fmla="*/ 220 h 512"/>
              <a:gd name="T70" fmla="*/ 124 w 512"/>
              <a:gd name="T71" fmla="*/ 216 h 512"/>
              <a:gd name="T72" fmla="*/ 139 w 512"/>
              <a:gd name="T73" fmla="*/ 216 h 512"/>
              <a:gd name="T74" fmla="*/ 142 w 512"/>
              <a:gd name="T75" fmla="*/ 224 h 512"/>
              <a:gd name="T76" fmla="*/ 142 w 512"/>
              <a:gd name="T77" fmla="*/ 228 h 512"/>
              <a:gd name="T78" fmla="*/ 139 w 512"/>
              <a:gd name="T79" fmla="*/ 231 h 512"/>
              <a:gd name="T80" fmla="*/ 136 w 512"/>
              <a:gd name="T81" fmla="*/ 233 h 512"/>
              <a:gd name="T82" fmla="*/ 132 w 512"/>
              <a:gd name="T83" fmla="*/ 234 h 512"/>
              <a:gd name="T84" fmla="*/ 124 w 512"/>
              <a:gd name="T85" fmla="*/ 231 h 512"/>
              <a:gd name="T86" fmla="*/ 122 w 512"/>
              <a:gd name="T87" fmla="*/ 228 h 512"/>
              <a:gd name="T88" fmla="*/ 121 w 512"/>
              <a:gd name="T89" fmla="*/ 224 h 512"/>
              <a:gd name="T90" fmla="*/ 122 w 512"/>
              <a:gd name="T91" fmla="*/ 220 h 512"/>
              <a:gd name="T92" fmla="*/ 256 w 512"/>
              <a:gd name="T93" fmla="*/ 394 h 512"/>
              <a:gd name="T94" fmla="*/ 117 w 512"/>
              <a:gd name="T95" fmla="*/ 256 h 512"/>
              <a:gd name="T96" fmla="*/ 128 w 512"/>
              <a:gd name="T97" fmla="*/ 245 h 512"/>
              <a:gd name="T98" fmla="*/ 138 w 512"/>
              <a:gd name="T99" fmla="*/ 256 h 512"/>
              <a:gd name="T100" fmla="*/ 256 w 512"/>
              <a:gd name="T101" fmla="*/ 373 h 512"/>
              <a:gd name="T102" fmla="*/ 373 w 512"/>
              <a:gd name="T103" fmla="*/ 256 h 512"/>
              <a:gd name="T104" fmla="*/ 256 w 512"/>
              <a:gd name="T105" fmla="*/ 138 h 512"/>
              <a:gd name="T106" fmla="*/ 245 w 512"/>
              <a:gd name="T107" fmla="*/ 128 h 512"/>
              <a:gd name="T108" fmla="*/ 256 w 512"/>
              <a:gd name="T109" fmla="*/ 117 h 512"/>
              <a:gd name="T110" fmla="*/ 394 w 512"/>
              <a:gd name="T111" fmla="*/ 256 h 512"/>
              <a:gd name="T112" fmla="*/ 256 w 512"/>
              <a:gd name="T11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4" y="128"/>
                </a:moveTo>
                <a:cubicBezTo>
                  <a:pt x="214" y="126"/>
                  <a:pt x="215" y="125"/>
                  <a:pt x="216" y="124"/>
                </a:cubicBezTo>
                <a:cubicBezTo>
                  <a:pt x="219" y="121"/>
                  <a:pt x="224" y="120"/>
                  <a:pt x="228" y="122"/>
                </a:cubicBezTo>
                <a:cubicBezTo>
                  <a:pt x="229" y="122"/>
                  <a:pt x="230" y="123"/>
                  <a:pt x="231" y="124"/>
                </a:cubicBezTo>
                <a:cubicBezTo>
                  <a:pt x="232" y="125"/>
                  <a:pt x="233" y="126"/>
                  <a:pt x="233" y="128"/>
                </a:cubicBezTo>
                <a:cubicBezTo>
                  <a:pt x="234" y="129"/>
                  <a:pt x="234" y="130"/>
                  <a:pt x="234" y="132"/>
                </a:cubicBezTo>
                <a:cubicBezTo>
                  <a:pt x="234" y="135"/>
                  <a:pt x="233" y="137"/>
                  <a:pt x="231" y="139"/>
                </a:cubicBezTo>
                <a:cubicBezTo>
                  <a:pt x="229" y="141"/>
                  <a:pt x="227" y="142"/>
                  <a:pt x="224" y="142"/>
                </a:cubicBezTo>
                <a:cubicBezTo>
                  <a:pt x="221" y="142"/>
                  <a:pt x="218" y="141"/>
                  <a:pt x="216" y="139"/>
                </a:cubicBezTo>
                <a:cubicBezTo>
                  <a:pt x="214" y="137"/>
                  <a:pt x="213" y="135"/>
                  <a:pt x="213" y="132"/>
                </a:cubicBezTo>
                <a:cubicBezTo>
                  <a:pt x="213" y="130"/>
                  <a:pt x="213" y="129"/>
                  <a:pt x="214" y="128"/>
                </a:cubicBezTo>
                <a:close/>
                <a:moveTo>
                  <a:pt x="187" y="135"/>
                </a:moveTo>
                <a:cubicBezTo>
                  <a:pt x="192" y="132"/>
                  <a:pt x="198" y="134"/>
                  <a:pt x="201" y="139"/>
                </a:cubicBezTo>
                <a:cubicBezTo>
                  <a:pt x="204" y="144"/>
                  <a:pt x="203" y="151"/>
                  <a:pt x="197" y="154"/>
                </a:cubicBezTo>
                <a:cubicBezTo>
                  <a:pt x="196" y="155"/>
                  <a:pt x="194" y="155"/>
                  <a:pt x="192" y="155"/>
                </a:cubicBezTo>
                <a:cubicBezTo>
                  <a:pt x="188" y="155"/>
                  <a:pt x="185" y="153"/>
                  <a:pt x="183" y="150"/>
                </a:cubicBezTo>
                <a:cubicBezTo>
                  <a:pt x="180" y="145"/>
                  <a:pt x="182" y="138"/>
                  <a:pt x="187" y="135"/>
                </a:cubicBezTo>
                <a:close/>
                <a:moveTo>
                  <a:pt x="158" y="158"/>
                </a:moveTo>
                <a:cubicBezTo>
                  <a:pt x="162" y="153"/>
                  <a:pt x="169" y="153"/>
                  <a:pt x="173" y="158"/>
                </a:cubicBezTo>
                <a:cubicBezTo>
                  <a:pt x="177" y="162"/>
                  <a:pt x="177" y="169"/>
                  <a:pt x="173" y="173"/>
                </a:cubicBezTo>
                <a:cubicBezTo>
                  <a:pt x="171" y="175"/>
                  <a:pt x="168" y="176"/>
                  <a:pt x="165" y="176"/>
                </a:cubicBezTo>
                <a:cubicBezTo>
                  <a:pt x="162" y="176"/>
                  <a:pt x="160" y="175"/>
                  <a:pt x="158" y="173"/>
                </a:cubicBezTo>
                <a:cubicBezTo>
                  <a:pt x="153" y="169"/>
                  <a:pt x="153" y="162"/>
                  <a:pt x="158" y="158"/>
                </a:cubicBezTo>
                <a:close/>
                <a:moveTo>
                  <a:pt x="135" y="187"/>
                </a:moveTo>
                <a:cubicBezTo>
                  <a:pt x="138" y="182"/>
                  <a:pt x="145" y="180"/>
                  <a:pt x="150" y="183"/>
                </a:cubicBezTo>
                <a:cubicBezTo>
                  <a:pt x="155" y="186"/>
                  <a:pt x="157" y="192"/>
                  <a:pt x="154" y="197"/>
                </a:cubicBezTo>
                <a:cubicBezTo>
                  <a:pt x="152" y="201"/>
                  <a:pt x="148" y="203"/>
                  <a:pt x="145" y="203"/>
                </a:cubicBezTo>
                <a:cubicBezTo>
                  <a:pt x="143" y="203"/>
                  <a:pt x="141" y="202"/>
                  <a:pt x="139" y="201"/>
                </a:cubicBezTo>
                <a:cubicBezTo>
                  <a:pt x="134" y="198"/>
                  <a:pt x="132" y="192"/>
                  <a:pt x="135" y="187"/>
                </a:cubicBezTo>
                <a:close/>
                <a:moveTo>
                  <a:pt x="122" y="220"/>
                </a:moveTo>
                <a:cubicBezTo>
                  <a:pt x="122" y="218"/>
                  <a:pt x="123" y="217"/>
                  <a:pt x="124" y="216"/>
                </a:cubicBezTo>
                <a:cubicBezTo>
                  <a:pt x="128" y="212"/>
                  <a:pt x="135" y="212"/>
                  <a:pt x="139" y="216"/>
                </a:cubicBezTo>
                <a:cubicBezTo>
                  <a:pt x="141" y="218"/>
                  <a:pt x="142" y="221"/>
                  <a:pt x="142" y="224"/>
                </a:cubicBezTo>
                <a:cubicBezTo>
                  <a:pt x="142" y="225"/>
                  <a:pt x="142" y="226"/>
                  <a:pt x="142" y="228"/>
                </a:cubicBezTo>
                <a:cubicBezTo>
                  <a:pt x="141" y="229"/>
                  <a:pt x="140" y="230"/>
                  <a:pt x="139" y="231"/>
                </a:cubicBezTo>
                <a:cubicBezTo>
                  <a:pt x="138" y="232"/>
                  <a:pt x="137" y="233"/>
                  <a:pt x="136" y="233"/>
                </a:cubicBezTo>
                <a:cubicBezTo>
                  <a:pt x="134" y="234"/>
                  <a:pt x="133" y="234"/>
                  <a:pt x="132" y="234"/>
                </a:cubicBezTo>
                <a:cubicBezTo>
                  <a:pt x="129" y="234"/>
                  <a:pt x="126" y="233"/>
                  <a:pt x="124" y="231"/>
                </a:cubicBezTo>
                <a:cubicBezTo>
                  <a:pt x="123" y="230"/>
                  <a:pt x="122" y="229"/>
                  <a:pt x="122" y="228"/>
                </a:cubicBezTo>
                <a:cubicBezTo>
                  <a:pt x="121" y="226"/>
                  <a:pt x="121" y="225"/>
                  <a:pt x="121" y="224"/>
                </a:cubicBezTo>
                <a:cubicBezTo>
                  <a:pt x="121" y="222"/>
                  <a:pt x="121" y="221"/>
                  <a:pt x="122" y="220"/>
                </a:cubicBezTo>
                <a:close/>
                <a:moveTo>
                  <a:pt x="256" y="394"/>
                </a:moveTo>
                <a:cubicBezTo>
                  <a:pt x="179" y="394"/>
                  <a:pt x="117" y="332"/>
                  <a:pt x="117" y="256"/>
                </a:cubicBezTo>
                <a:cubicBezTo>
                  <a:pt x="117" y="250"/>
                  <a:pt x="122" y="245"/>
                  <a:pt x="128" y="245"/>
                </a:cubicBezTo>
                <a:cubicBezTo>
                  <a:pt x="134" y="245"/>
                  <a:pt x="138" y="250"/>
                  <a:pt x="138" y="256"/>
                </a:cubicBezTo>
                <a:cubicBezTo>
                  <a:pt x="138" y="320"/>
                  <a:pt x="191" y="373"/>
                  <a:pt x="256" y="373"/>
                </a:cubicBezTo>
                <a:cubicBezTo>
                  <a:pt x="320" y="373"/>
                  <a:pt x="373" y="320"/>
                  <a:pt x="373" y="256"/>
                </a:cubicBezTo>
                <a:cubicBezTo>
                  <a:pt x="373" y="191"/>
                  <a:pt x="320" y="138"/>
                  <a:pt x="256" y="138"/>
                </a:cubicBezTo>
                <a:cubicBezTo>
                  <a:pt x="250" y="138"/>
                  <a:pt x="245" y="134"/>
                  <a:pt x="245" y="128"/>
                </a:cubicBezTo>
                <a:cubicBezTo>
                  <a:pt x="245" y="122"/>
                  <a:pt x="250" y="117"/>
                  <a:pt x="256" y="117"/>
                </a:cubicBezTo>
                <a:cubicBezTo>
                  <a:pt x="332" y="117"/>
                  <a:pt x="394" y="179"/>
                  <a:pt x="394" y="256"/>
                </a:cubicBezTo>
                <a:cubicBezTo>
                  <a:pt x="394" y="332"/>
                  <a:pt x="332" y="394"/>
                  <a:pt x="256" y="394"/>
                </a:cubicBez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15" name="椭圆 114"/>
          <p:cNvSpPr/>
          <p:nvPr/>
        </p:nvSpPr>
        <p:spPr bwMode="gray">
          <a:xfrm>
            <a:off x="9086069" y="5969887"/>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603"/>
          <p:cNvSpPr>
            <a:spLocks noChangeAspect="1" noEditPoints="1"/>
          </p:cNvSpPr>
          <p:nvPr/>
        </p:nvSpPr>
        <p:spPr bwMode="auto">
          <a:xfrm>
            <a:off x="9098669" y="5982561"/>
            <a:ext cx="288000" cy="28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endParaRPr lang="en-GB"/>
          </a:p>
        </p:txBody>
      </p:sp>
      <p:sp>
        <p:nvSpPr>
          <p:cNvPr id="117" name="椭圆 116"/>
          <p:cNvSpPr/>
          <p:nvPr/>
        </p:nvSpPr>
        <p:spPr bwMode="gray">
          <a:xfrm>
            <a:off x="10137182" y="5969887"/>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0" name="Freeform 787"/>
          <p:cNvSpPr>
            <a:spLocks noChangeAspect="1" noEditPoints="1"/>
          </p:cNvSpPr>
          <p:nvPr/>
        </p:nvSpPr>
        <p:spPr bwMode="auto">
          <a:xfrm>
            <a:off x="10149782" y="5982561"/>
            <a:ext cx="288000" cy="288000"/>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GB"/>
          </a:p>
        </p:txBody>
      </p:sp>
      <p:sp>
        <p:nvSpPr>
          <p:cNvPr id="118" name="椭圆 117"/>
          <p:cNvSpPr/>
          <p:nvPr/>
        </p:nvSpPr>
        <p:spPr bwMode="gray">
          <a:xfrm>
            <a:off x="11188297" y="5969887"/>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122"/>
          <p:cNvSpPr>
            <a:spLocks noChangeAspect="1" noEditPoints="1"/>
          </p:cNvSpPr>
          <p:nvPr/>
        </p:nvSpPr>
        <p:spPr bwMode="auto">
          <a:xfrm>
            <a:off x="11201319" y="5982561"/>
            <a:ext cx="287157" cy="28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09 h 512"/>
              <a:gd name="T12" fmla="*/ 405 w 512"/>
              <a:gd name="T13" fmla="*/ 320 h 512"/>
              <a:gd name="T14" fmla="*/ 132 w 512"/>
              <a:gd name="T15" fmla="*/ 320 h 512"/>
              <a:gd name="T16" fmla="*/ 199 w 512"/>
              <a:gd name="T17" fmla="*/ 387 h 512"/>
              <a:gd name="T18" fmla="*/ 199 w 512"/>
              <a:gd name="T19" fmla="*/ 402 h 512"/>
              <a:gd name="T20" fmla="*/ 192 w 512"/>
              <a:gd name="T21" fmla="*/ 405 h 512"/>
              <a:gd name="T22" fmla="*/ 184 w 512"/>
              <a:gd name="T23" fmla="*/ 402 h 512"/>
              <a:gd name="T24" fmla="*/ 99 w 512"/>
              <a:gd name="T25" fmla="*/ 317 h 512"/>
              <a:gd name="T26" fmla="*/ 96 w 512"/>
              <a:gd name="T27" fmla="*/ 313 h 512"/>
              <a:gd name="T28" fmla="*/ 96 w 512"/>
              <a:gd name="T29" fmla="*/ 305 h 512"/>
              <a:gd name="T30" fmla="*/ 99 w 512"/>
              <a:gd name="T31" fmla="*/ 301 h 512"/>
              <a:gd name="T32" fmla="*/ 184 w 512"/>
              <a:gd name="T33" fmla="*/ 216 h 512"/>
              <a:gd name="T34" fmla="*/ 199 w 512"/>
              <a:gd name="T35" fmla="*/ 216 h 512"/>
              <a:gd name="T36" fmla="*/ 199 w 512"/>
              <a:gd name="T37" fmla="*/ 231 h 512"/>
              <a:gd name="T38" fmla="*/ 132 w 512"/>
              <a:gd name="T39" fmla="*/ 298 h 512"/>
              <a:gd name="T40" fmla="*/ 394 w 512"/>
              <a:gd name="T41" fmla="*/ 298 h 512"/>
              <a:gd name="T42" fmla="*/ 394 w 512"/>
              <a:gd name="T43" fmla="*/ 181 h 512"/>
              <a:gd name="T44" fmla="*/ 405 w 512"/>
              <a:gd name="T45" fmla="*/ 170 h 512"/>
              <a:gd name="T46" fmla="*/ 416 w 512"/>
              <a:gd name="T47" fmla="*/ 181 h 512"/>
              <a:gd name="T48" fmla="*/ 416 w 512"/>
              <a:gd name="T4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09"/>
                </a:moveTo>
                <a:cubicBezTo>
                  <a:pt x="416" y="315"/>
                  <a:pt x="411" y="320"/>
                  <a:pt x="405" y="320"/>
                </a:cubicBezTo>
                <a:cubicBezTo>
                  <a:pt x="132" y="320"/>
                  <a:pt x="132" y="320"/>
                  <a:pt x="132" y="320"/>
                </a:cubicBezTo>
                <a:cubicBezTo>
                  <a:pt x="199" y="387"/>
                  <a:pt x="199" y="387"/>
                  <a:pt x="199" y="387"/>
                </a:cubicBezTo>
                <a:cubicBezTo>
                  <a:pt x="203" y="391"/>
                  <a:pt x="203" y="398"/>
                  <a:pt x="199" y="402"/>
                </a:cubicBezTo>
                <a:cubicBezTo>
                  <a:pt x="197" y="404"/>
                  <a:pt x="194" y="405"/>
                  <a:pt x="192" y="405"/>
                </a:cubicBezTo>
                <a:cubicBezTo>
                  <a:pt x="189" y="405"/>
                  <a:pt x="186" y="404"/>
                  <a:pt x="184" y="402"/>
                </a:cubicBezTo>
                <a:cubicBezTo>
                  <a:pt x="99" y="317"/>
                  <a:pt x="99" y="317"/>
                  <a:pt x="99" y="317"/>
                </a:cubicBezTo>
                <a:cubicBezTo>
                  <a:pt x="98" y="316"/>
                  <a:pt x="97" y="314"/>
                  <a:pt x="96" y="313"/>
                </a:cubicBezTo>
                <a:cubicBezTo>
                  <a:pt x="95" y="310"/>
                  <a:pt x="95" y="308"/>
                  <a:pt x="96" y="305"/>
                </a:cubicBezTo>
                <a:cubicBezTo>
                  <a:pt x="97" y="304"/>
                  <a:pt x="98" y="302"/>
                  <a:pt x="99" y="301"/>
                </a:cubicBezTo>
                <a:cubicBezTo>
                  <a:pt x="184" y="216"/>
                  <a:pt x="184" y="216"/>
                  <a:pt x="184" y="216"/>
                </a:cubicBezTo>
                <a:cubicBezTo>
                  <a:pt x="188" y="212"/>
                  <a:pt x="195" y="212"/>
                  <a:pt x="199" y="216"/>
                </a:cubicBezTo>
                <a:cubicBezTo>
                  <a:pt x="203" y="220"/>
                  <a:pt x="203" y="227"/>
                  <a:pt x="199" y="231"/>
                </a:cubicBezTo>
                <a:cubicBezTo>
                  <a:pt x="132" y="298"/>
                  <a:pt x="132" y="298"/>
                  <a:pt x="132" y="298"/>
                </a:cubicBezTo>
                <a:cubicBezTo>
                  <a:pt x="394" y="298"/>
                  <a:pt x="394" y="298"/>
                  <a:pt x="394" y="298"/>
                </a:cubicBezTo>
                <a:cubicBezTo>
                  <a:pt x="394" y="181"/>
                  <a:pt x="394" y="181"/>
                  <a:pt x="394" y="181"/>
                </a:cubicBezTo>
                <a:cubicBezTo>
                  <a:pt x="394" y="175"/>
                  <a:pt x="399" y="170"/>
                  <a:pt x="405" y="170"/>
                </a:cubicBezTo>
                <a:cubicBezTo>
                  <a:pt x="411" y="170"/>
                  <a:pt x="416" y="175"/>
                  <a:pt x="416" y="181"/>
                </a:cubicBezTo>
                <a:lnTo>
                  <a:pt x="416" y="309"/>
                </a:ln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24" name="Freeform 453"/>
          <p:cNvSpPr>
            <a:spLocks noChangeAspect="1" noEditPoints="1"/>
          </p:cNvSpPr>
          <p:nvPr/>
        </p:nvSpPr>
        <p:spPr bwMode="auto">
          <a:xfrm>
            <a:off x="9049082" y="1357977"/>
            <a:ext cx="486000" cy="486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1 w 512"/>
              <a:gd name="T11" fmla="*/ 411 h 512"/>
              <a:gd name="T12" fmla="*/ 362 w 512"/>
              <a:gd name="T13" fmla="*/ 416 h 512"/>
              <a:gd name="T14" fmla="*/ 149 w 512"/>
              <a:gd name="T15" fmla="*/ 416 h 512"/>
              <a:gd name="T16" fmla="*/ 140 w 512"/>
              <a:gd name="T17" fmla="*/ 411 h 512"/>
              <a:gd name="T18" fmla="*/ 139 w 512"/>
              <a:gd name="T19" fmla="*/ 400 h 512"/>
              <a:gd name="T20" fmla="*/ 224 w 512"/>
              <a:gd name="T21" fmla="*/ 221 h 512"/>
              <a:gd name="T22" fmla="*/ 224 w 512"/>
              <a:gd name="T23" fmla="*/ 117 h 512"/>
              <a:gd name="T24" fmla="*/ 213 w 512"/>
              <a:gd name="T25" fmla="*/ 106 h 512"/>
              <a:gd name="T26" fmla="*/ 224 w 512"/>
              <a:gd name="T27" fmla="*/ 96 h 512"/>
              <a:gd name="T28" fmla="*/ 288 w 512"/>
              <a:gd name="T29" fmla="*/ 96 h 512"/>
              <a:gd name="T30" fmla="*/ 298 w 512"/>
              <a:gd name="T31" fmla="*/ 106 h 512"/>
              <a:gd name="T32" fmla="*/ 288 w 512"/>
              <a:gd name="T33" fmla="*/ 117 h 512"/>
              <a:gd name="T34" fmla="*/ 288 w 512"/>
              <a:gd name="T35" fmla="*/ 221 h 512"/>
              <a:gd name="T36" fmla="*/ 372 w 512"/>
              <a:gd name="T37" fmla="*/ 400 h 512"/>
              <a:gd name="T38" fmla="*/ 371 w 512"/>
              <a:gd name="T39" fmla="*/ 411 h 512"/>
              <a:gd name="T40" fmla="*/ 315 w 512"/>
              <a:gd name="T41" fmla="*/ 330 h 512"/>
              <a:gd name="T42" fmla="*/ 346 w 512"/>
              <a:gd name="T43" fmla="*/ 394 h 512"/>
              <a:gd name="T44" fmla="*/ 166 w 512"/>
              <a:gd name="T45" fmla="*/ 394 h 512"/>
              <a:gd name="T46" fmla="*/ 196 w 512"/>
              <a:gd name="T47" fmla="*/ 330 h 512"/>
              <a:gd name="T48" fmla="*/ 315 w 512"/>
              <a:gd name="T49" fmla="*/ 330 h 512"/>
              <a:gd name="T50" fmla="*/ 305 w 512"/>
              <a:gd name="T51" fmla="*/ 309 h 512"/>
              <a:gd name="T52" fmla="*/ 206 w 512"/>
              <a:gd name="T53" fmla="*/ 309 h 512"/>
              <a:gd name="T54" fmla="*/ 244 w 512"/>
              <a:gd name="T55" fmla="*/ 228 h 512"/>
              <a:gd name="T56" fmla="*/ 245 w 512"/>
              <a:gd name="T57" fmla="*/ 224 h 512"/>
              <a:gd name="T58" fmla="*/ 245 w 512"/>
              <a:gd name="T59" fmla="*/ 117 h 512"/>
              <a:gd name="T60" fmla="*/ 266 w 512"/>
              <a:gd name="T61" fmla="*/ 117 h 512"/>
              <a:gd name="T62" fmla="*/ 266 w 512"/>
              <a:gd name="T63" fmla="*/ 224 h 512"/>
              <a:gd name="T64" fmla="*/ 267 w 512"/>
              <a:gd name="T65" fmla="*/ 228 h 512"/>
              <a:gd name="T66" fmla="*/ 305 w 512"/>
              <a:gd name="T6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1" y="411"/>
                </a:moveTo>
                <a:cubicBezTo>
                  <a:pt x="369" y="414"/>
                  <a:pt x="366" y="416"/>
                  <a:pt x="362" y="416"/>
                </a:cubicBezTo>
                <a:cubicBezTo>
                  <a:pt x="149" y="416"/>
                  <a:pt x="149" y="416"/>
                  <a:pt x="149" y="416"/>
                </a:cubicBezTo>
                <a:cubicBezTo>
                  <a:pt x="145" y="416"/>
                  <a:pt x="142" y="414"/>
                  <a:pt x="140" y="411"/>
                </a:cubicBezTo>
                <a:cubicBezTo>
                  <a:pt x="138" y="408"/>
                  <a:pt x="138" y="404"/>
                  <a:pt x="139" y="400"/>
                </a:cubicBezTo>
                <a:cubicBezTo>
                  <a:pt x="224" y="221"/>
                  <a:pt x="224" y="221"/>
                  <a:pt x="224" y="221"/>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88" y="221"/>
                  <a:pt x="288" y="221"/>
                  <a:pt x="288" y="221"/>
                </a:cubicBezTo>
                <a:cubicBezTo>
                  <a:pt x="372" y="400"/>
                  <a:pt x="372" y="400"/>
                  <a:pt x="372" y="400"/>
                </a:cubicBezTo>
                <a:cubicBezTo>
                  <a:pt x="374" y="404"/>
                  <a:pt x="373" y="408"/>
                  <a:pt x="371" y="411"/>
                </a:cubicBezTo>
                <a:close/>
                <a:moveTo>
                  <a:pt x="315" y="330"/>
                </a:moveTo>
                <a:cubicBezTo>
                  <a:pt x="346" y="394"/>
                  <a:pt x="346" y="394"/>
                  <a:pt x="346" y="394"/>
                </a:cubicBezTo>
                <a:cubicBezTo>
                  <a:pt x="166" y="394"/>
                  <a:pt x="166" y="394"/>
                  <a:pt x="166" y="394"/>
                </a:cubicBezTo>
                <a:cubicBezTo>
                  <a:pt x="196" y="330"/>
                  <a:pt x="196" y="330"/>
                  <a:pt x="196" y="330"/>
                </a:cubicBezTo>
                <a:lnTo>
                  <a:pt x="315" y="330"/>
                </a:lnTo>
                <a:close/>
                <a:moveTo>
                  <a:pt x="305" y="309"/>
                </a:moveTo>
                <a:cubicBezTo>
                  <a:pt x="206" y="309"/>
                  <a:pt x="206" y="309"/>
                  <a:pt x="206" y="309"/>
                </a:cubicBezTo>
                <a:cubicBezTo>
                  <a:pt x="244" y="228"/>
                  <a:pt x="244" y="228"/>
                  <a:pt x="244" y="228"/>
                </a:cubicBezTo>
                <a:cubicBezTo>
                  <a:pt x="245" y="227"/>
                  <a:pt x="245" y="225"/>
                  <a:pt x="245" y="224"/>
                </a:cubicBezTo>
                <a:cubicBezTo>
                  <a:pt x="245" y="117"/>
                  <a:pt x="245" y="117"/>
                  <a:pt x="245" y="117"/>
                </a:cubicBezTo>
                <a:cubicBezTo>
                  <a:pt x="266" y="117"/>
                  <a:pt x="266" y="117"/>
                  <a:pt x="266" y="117"/>
                </a:cubicBezTo>
                <a:cubicBezTo>
                  <a:pt x="266" y="224"/>
                  <a:pt x="266" y="224"/>
                  <a:pt x="266" y="224"/>
                </a:cubicBezTo>
                <a:cubicBezTo>
                  <a:pt x="266" y="225"/>
                  <a:pt x="267" y="227"/>
                  <a:pt x="267" y="228"/>
                </a:cubicBezTo>
                <a:lnTo>
                  <a:pt x="305" y="30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833829466"/>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510B4278-395F-6347-B580-98DA655236D7}"/>
              </a:ext>
            </a:extLst>
          </p:cNvPr>
          <p:cNvGrpSpPr/>
          <p:nvPr/>
        </p:nvGrpSpPr>
        <p:grpSpPr>
          <a:xfrm>
            <a:off x="1647496" y="1399310"/>
            <a:ext cx="8897007" cy="4059379"/>
            <a:chOff x="609257" y="4058090"/>
            <a:chExt cx="7925487" cy="3616110"/>
          </a:xfrm>
        </p:grpSpPr>
        <p:sp>
          <p:nvSpPr>
            <p:cNvPr id="33" name="Freeform 11">
              <a:extLst>
                <a:ext uri="{FF2B5EF4-FFF2-40B4-BE49-F238E27FC236}">
                  <a16:creationId xmlns:a16="http://schemas.microsoft.com/office/drawing/2014/main" id="{0C9776D7-10F0-D645-9C38-EAC6E50F7A92}"/>
                </a:ext>
              </a:extLst>
            </p:cNvPr>
            <p:cNvSpPr>
              <a:spLocks/>
            </p:cNvSpPr>
            <p:nvPr/>
          </p:nvSpPr>
          <p:spPr bwMode="auto">
            <a:xfrm>
              <a:off x="5876375" y="4058090"/>
              <a:ext cx="1722478" cy="1723691"/>
            </a:xfrm>
            <a:custGeom>
              <a:avLst/>
              <a:gdLst>
                <a:gd name="T0" fmla="*/ 1730 w 3218"/>
                <a:gd name="T1" fmla="*/ 3150 h 3217"/>
                <a:gd name="T2" fmla="*/ 1730 w 3218"/>
                <a:gd name="T3" fmla="*/ 3150 h 3217"/>
                <a:gd name="T4" fmla="*/ 1488 w 3218"/>
                <a:gd name="T5" fmla="*/ 3150 h 3217"/>
                <a:gd name="T6" fmla="*/ 67 w 3218"/>
                <a:gd name="T7" fmla="*/ 1729 h 3217"/>
                <a:gd name="T8" fmla="*/ 67 w 3218"/>
                <a:gd name="T9" fmla="*/ 1487 h 3217"/>
                <a:gd name="T10" fmla="*/ 1488 w 3218"/>
                <a:gd name="T11" fmla="*/ 66 h 3217"/>
                <a:gd name="T12" fmla="*/ 1730 w 3218"/>
                <a:gd name="T13" fmla="*/ 66 h 3217"/>
                <a:gd name="T14" fmla="*/ 3151 w 3218"/>
                <a:gd name="T15" fmla="*/ 1487 h 3217"/>
                <a:gd name="T16" fmla="*/ 3151 w 3218"/>
                <a:gd name="T17" fmla="*/ 1729 h 3217"/>
                <a:gd name="T18" fmla="*/ 1730 w 3218"/>
                <a:gd name="T19" fmla="*/ 3150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8" h="3217">
                  <a:moveTo>
                    <a:pt x="1730" y="3150"/>
                  </a:moveTo>
                  <a:lnTo>
                    <a:pt x="1730" y="3150"/>
                  </a:lnTo>
                  <a:cubicBezTo>
                    <a:pt x="1663" y="3217"/>
                    <a:pt x="1555" y="3217"/>
                    <a:pt x="1488" y="3150"/>
                  </a:cubicBezTo>
                  <a:lnTo>
                    <a:pt x="67" y="1729"/>
                  </a:lnTo>
                  <a:cubicBezTo>
                    <a:pt x="0" y="1662"/>
                    <a:pt x="0" y="1554"/>
                    <a:pt x="67" y="1487"/>
                  </a:cubicBezTo>
                  <a:lnTo>
                    <a:pt x="1488" y="66"/>
                  </a:lnTo>
                  <a:cubicBezTo>
                    <a:pt x="1555" y="0"/>
                    <a:pt x="1663" y="0"/>
                    <a:pt x="1730" y="66"/>
                  </a:cubicBezTo>
                  <a:lnTo>
                    <a:pt x="3151" y="1487"/>
                  </a:lnTo>
                  <a:cubicBezTo>
                    <a:pt x="3218" y="1554"/>
                    <a:pt x="3218" y="1662"/>
                    <a:pt x="3151" y="1729"/>
                  </a:cubicBezTo>
                  <a:lnTo>
                    <a:pt x="1730" y="315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4" name="Freeform 12">
              <a:extLst>
                <a:ext uri="{FF2B5EF4-FFF2-40B4-BE49-F238E27FC236}">
                  <a16:creationId xmlns:a16="http://schemas.microsoft.com/office/drawing/2014/main" id="{BCFE152F-4E15-0444-B387-305B81F27BE3}"/>
                </a:ext>
              </a:extLst>
            </p:cNvPr>
            <p:cNvSpPr>
              <a:spLocks/>
            </p:cNvSpPr>
            <p:nvPr/>
          </p:nvSpPr>
          <p:spPr bwMode="auto">
            <a:xfrm>
              <a:off x="5856953" y="5950509"/>
              <a:ext cx="1722478" cy="1723691"/>
            </a:xfrm>
            <a:custGeom>
              <a:avLst/>
              <a:gdLst>
                <a:gd name="T0" fmla="*/ 1487 w 3217"/>
                <a:gd name="T1" fmla="*/ 67 h 3217"/>
                <a:gd name="T2" fmla="*/ 1487 w 3217"/>
                <a:gd name="T3" fmla="*/ 67 h 3217"/>
                <a:gd name="T4" fmla="*/ 1730 w 3217"/>
                <a:gd name="T5" fmla="*/ 67 h 3217"/>
                <a:gd name="T6" fmla="*/ 3150 w 3217"/>
                <a:gd name="T7" fmla="*/ 1487 h 3217"/>
                <a:gd name="T8" fmla="*/ 3150 w 3217"/>
                <a:gd name="T9" fmla="*/ 1730 h 3217"/>
                <a:gd name="T10" fmla="*/ 1730 w 3217"/>
                <a:gd name="T11" fmla="*/ 3150 h 3217"/>
                <a:gd name="T12" fmla="*/ 1487 w 3217"/>
                <a:gd name="T13" fmla="*/ 3150 h 3217"/>
                <a:gd name="T14" fmla="*/ 67 w 3217"/>
                <a:gd name="T15" fmla="*/ 1730 h 3217"/>
                <a:gd name="T16" fmla="*/ 67 w 3217"/>
                <a:gd name="T17" fmla="*/ 1487 h 3217"/>
                <a:gd name="T18" fmla="*/ 1487 w 3217"/>
                <a:gd name="T19" fmla="*/ 67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7">
                  <a:moveTo>
                    <a:pt x="1487" y="67"/>
                  </a:moveTo>
                  <a:lnTo>
                    <a:pt x="1487" y="67"/>
                  </a:lnTo>
                  <a:cubicBezTo>
                    <a:pt x="1554" y="0"/>
                    <a:pt x="1663" y="0"/>
                    <a:pt x="1730" y="67"/>
                  </a:cubicBezTo>
                  <a:lnTo>
                    <a:pt x="3150" y="1487"/>
                  </a:lnTo>
                  <a:cubicBezTo>
                    <a:pt x="3217" y="1554"/>
                    <a:pt x="3217" y="1663"/>
                    <a:pt x="3150" y="1730"/>
                  </a:cubicBezTo>
                  <a:lnTo>
                    <a:pt x="1730" y="3150"/>
                  </a:lnTo>
                  <a:cubicBezTo>
                    <a:pt x="1663" y="3217"/>
                    <a:pt x="1554" y="3217"/>
                    <a:pt x="1487" y="3150"/>
                  </a:cubicBezTo>
                  <a:lnTo>
                    <a:pt x="67" y="1730"/>
                  </a:lnTo>
                  <a:cubicBezTo>
                    <a:pt x="0" y="1663"/>
                    <a:pt x="0" y="1554"/>
                    <a:pt x="67" y="1487"/>
                  </a:cubicBezTo>
                  <a:lnTo>
                    <a:pt x="1487" y="67"/>
                  </a:lnTo>
                  <a:close/>
                </a:path>
              </a:pathLst>
            </a:custGeom>
            <a:solidFill>
              <a:srgbClr val="00ABA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5" name="Freeform 13">
              <a:extLst>
                <a:ext uri="{FF2B5EF4-FFF2-40B4-BE49-F238E27FC236}">
                  <a16:creationId xmlns:a16="http://schemas.microsoft.com/office/drawing/2014/main" id="{37C909BB-9636-6D45-A7CF-A7FA0D794ACC}"/>
                </a:ext>
              </a:extLst>
            </p:cNvPr>
            <p:cNvSpPr>
              <a:spLocks/>
            </p:cNvSpPr>
            <p:nvPr/>
          </p:nvSpPr>
          <p:spPr bwMode="auto">
            <a:xfrm>
              <a:off x="6812266" y="5013403"/>
              <a:ext cx="1722478" cy="1724905"/>
            </a:xfrm>
            <a:custGeom>
              <a:avLst/>
              <a:gdLst>
                <a:gd name="T0" fmla="*/ 67 w 3217"/>
                <a:gd name="T1" fmla="*/ 1730 h 3218"/>
                <a:gd name="T2" fmla="*/ 67 w 3217"/>
                <a:gd name="T3" fmla="*/ 1730 h 3218"/>
                <a:gd name="T4" fmla="*/ 67 w 3217"/>
                <a:gd name="T5" fmla="*/ 1488 h 3218"/>
                <a:gd name="T6" fmla="*/ 1487 w 3217"/>
                <a:gd name="T7" fmla="*/ 67 h 3218"/>
                <a:gd name="T8" fmla="*/ 1730 w 3217"/>
                <a:gd name="T9" fmla="*/ 67 h 3218"/>
                <a:gd name="T10" fmla="*/ 3150 w 3217"/>
                <a:gd name="T11" fmla="*/ 1488 h 3218"/>
                <a:gd name="T12" fmla="*/ 3150 w 3217"/>
                <a:gd name="T13" fmla="*/ 1730 h 3218"/>
                <a:gd name="T14" fmla="*/ 1730 w 3217"/>
                <a:gd name="T15" fmla="*/ 3151 h 3218"/>
                <a:gd name="T16" fmla="*/ 1487 w 3217"/>
                <a:gd name="T17" fmla="*/ 3151 h 3218"/>
                <a:gd name="T18" fmla="*/ 67 w 3217"/>
                <a:gd name="T19" fmla="*/ 1730 h 3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8">
                  <a:moveTo>
                    <a:pt x="67" y="1730"/>
                  </a:moveTo>
                  <a:lnTo>
                    <a:pt x="67" y="1730"/>
                  </a:lnTo>
                  <a:cubicBezTo>
                    <a:pt x="0" y="1663"/>
                    <a:pt x="0" y="1555"/>
                    <a:pt x="67" y="1488"/>
                  </a:cubicBezTo>
                  <a:lnTo>
                    <a:pt x="1487" y="67"/>
                  </a:lnTo>
                  <a:cubicBezTo>
                    <a:pt x="1554" y="0"/>
                    <a:pt x="1663" y="0"/>
                    <a:pt x="1730" y="67"/>
                  </a:cubicBezTo>
                  <a:lnTo>
                    <a:pt x="3150" y="1488"/>
                  </a:lnTo>
                  <a:cubicBezTo>
                    <a:pt x="3217" y="1555"/>
                    <a:pt x="3217" y="1663"/>
                    <a:pt x="3150" y="1730"/>
                  </a:cubicBezTo>
                  <a:lnTo>
                    <a:pt x="1730" y="3151"/>
                  </a:lnTo>
                  <a:cubicBezTo>
                    <a:pt x="1663" y="3218"/>
                    <a:pt x="1554" y="3218"/>
                    <a:pt x="1487" y="3151"/>
                  </a:cubicBezTo>
                  <a:lnTo>
                    <a:pt x="67" y="1730"/>
                  </a:lnTo>
                  <a:close/>
                </a:path>
              </a:pathLst>
            </a:custGeom>
            <a:solidFill>
              <a:srgbClr val="00A3E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6" name="Freeform 14">
              <a:extLst>
                <a:ext uri="{FF2B5EF4-FFF2-40B4-BE49-F238E27FC236}">
                  <a16:creationId xmlns:a16="http://schemas.microsoft.com/office/drawing/2014/main" id="{3CE207E3-8F01-A245-99BD-25239D5E3D46}"/>
                </a:ext>
              </a:extLst>
            </p:cNvPr>
            <p:cNvSpPr>
              <a:spLocks/>
            </p:cNvSpPr>
            <p:nvPr/>
          </p:nvSpPr>
          <p:spPr bwMode="auto">
            <a:xfrm>
              <a:off x="4161180" y="5002479"/>
              <a:ext cx="2482359" cy="1707911"/>
            </a:xfrm>
            <a:custGeom>
              <a:avLst/>
              <a:gdLst>
                <a:gd name="T0" fmla="*/ 4569 w 4636"/>
                <a:gd name="T1" fmla="*/ 1472 h 3187"/>
                <a:gd name="T2" fmla="*/ 4569 w 4636"/>
                <a:gd name="T3" fmla="*/ 1472 h 3187"/>
                <a:gd name="T4" fmla="*/ 3148 w 4636"/>
                <a:gd name="T5" fmla="*/ 52 h 3187"/>
                <a:gd name="T6" fmla="*/ 3019 w 4636"/>
                <a:gd name="T7" fmla="*/ 2 h 3187"/>
                <a:gd name="T8" fmla="*/ 3012 w 4636"/>
                <a:gd name="T9" fmla="*/ 1 h 3187"/>
                <a:gd name="T10" fmla="*/ 171 w 4636"/>
                <a:gd name="T11" fmla="*/ 1 h 3187"/>
                <a:gd name="T12" fmla="*/ 0 w 4636"/>
                <a:gd name="T13" fmla="*/ 173 h 3187"/>
                <a:gd name="T14" fmla="*/ 0 w 4636"/>
                <a:gd name="T15" fmla="*/ 3014 h 3187"/>
                <a:gd name="T16" fmla="*/ 171 w 4636"/>
                <a:gd name="T17" fmla="*/ 3185 h 3187"/>
                <a:gd name="T18" fmla="*/ 3012 w 4636"/>
                <a:gd name="T19" fmla="*/ 3185 h 3187"/>
                <a:gd name="T20" fmla="*/ 3019 w 4636"/>
                <a:gd name="T21" fmla="*/ 3185 h 3187"/>
                <a:gd name="T22" fmla="*/ 3148 w 4636"/>
                <a:gd name="T23" fmla="*/ 3135 h 3187"/>
                <a:gd name="T24" fmla="*/ 4569 w 4636"/>
                <a:gd name="T25" fmla="*/ 1715 h 3187"/>
                <a:gd name="T26" fmla="*/ 4569 w 4636"/>
                <a:gd name="T27" fmla="*/ 1472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6" h="3187">
                  <a:moveTo>
                    <a:pt x="4569" y="1472"/>
                  </a:moveTo>
                  <a:lnTo>
                    <a:pt x="4569" y="1472"/>
                  </a:lnTo>
                  <a:lnTo>
                    <a:pt x="3148" y="52"/>
                  </a:lnTo>
                  <a:cubicBezTo>
                    <a:pt x="3113" y="16"/>
                    <a:pt x="3066" y="0"/>
                    <a:pt x="3019" y="2"/>
                  </a:cubicBezTo>
                  <a:cubicBezTo>
                    <a:pt x="3017" y="2"/>
                    <a:pt x="3015" y="1"/>
                    <a:pt x="3012" y="1"/>
                  </a:cubicBezTo>
                  <a:lnTo>
                    <a:pt x="171" y="1"/>
                  </a:lnTo>
                  <a:cubicBezTo>
                    <a:pt x="76" y="1"/>
                    <a:pt x="0" y="78"/>
                    <a:pt x="0" y="173"/>
                  </a:cubicBezTo>
                  <a:lnTo>
                    <a:pt x="0" y="3014"/>
                  </a:lnTo>
                  <a:cubicBezTo>
                    <a:pt x="0" y="3109"/>
                    <a:pt x="76" y="3185"/>
                    <a:pt x="171" y="3185"/>
                  </a:cubicBezTo>
                  <a:lnTo>
                    <a:pt x="3012" y="3185"/>
                  </a:lnTo>
                  <a:cubicBezTo>
                    <a:pt x="3015" y="3185"/>
                    <a:pt x="3017" y="3185"/>
                    <a:pt x="3019" y="3185"/>
                  </a:cubicBezTo>
                  <a:cubicBezTo>
                    <a:pt x="3066" y="3187"/>
                    <a:pt x="3113" y="3171"/>
                    <a:pt x="3148" y="3135"/>
                  </a:cubicBezTo>
                  <a:lnTo>
                    <a:pt x="4569" y="1715"/>
                  </a:lnTo>
                  <a:cubicBezTo>
                    <a:pt x="4636" y="1648"/>
                    <a:pt x="4636" y="1539"/>
                    <a:pt x="4569" y="147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7" name="Freeform 11">
              <a:extLst>
                <a:ext uri="{FF2B5EF4-FFF2-40B4-BE49-F238E27FC236}">
                  <a16:creationId xmlns:a16="http://schemas.microsoft.com/office/drawing/2014/main" id="{93E6C1AF-997E-3640-A293-A214E373CE7F}"/>
                </a:ext>
              </a:extLst>
            </p:cNvPr>
            <p:cNvSpPr>
              <a:spLocks/>
            </p:cNvSpPr>
            <p:nvPr/>
          </p:nvSpPr>
          <p:spPr bwMode="auto">
            <a:xfrm flipH="1">
              <a:off x="1545148" y="4058090"/>
              <a:ext cx="1722478" cy="1723691"/>
            </a:xfrm>
            <a:custGeom>
              <a:avLst/>
              <a:gdLst>
                <a:gd name="T0" fmla="*/ 1730 w 3218"/>
                <a:gd name="T1" fmla="*/ 3150 h 3217"/>
                <a:gd name="T2" fmla="*/ 1730 w 3218"/>
                <a:gd name="T3" fmla="*/ 3150 h 3217"/>
                <a:gd name="T4" fmla="*/ 1488 w 3218"/>
                <a:gd name="T5" fmla="*/ 3150 h 3217"/>
                <a:gd name="T6" fmla="*/ 67 w 3218"/>
                <a:gd name="T7" fmla="*/ 1729 h 3217"/>
                <a:gd name="T8" fmla="*/ 67 w 3218"/>
                <a:gd name="T9" fmla="*/ 1487 h 3217"/>
                <a:gd name="T10" fmla="*/ 1488 w 3218"/>
                <a:gd name="T11" fmla="*/ 66 h 3217"/>
                <a:gd name="T12" fmla="*/ 1730 w 3218"/>
                <a:gd name="T13" fmla="*/ 66 h 3217"/>
                <a:gd name="T14" fmla="*/ 3151 w 3218"/>
                <a:gd name="T15" fmla="*/ 1487 h 3217"/>
                <a:gd name="T16" fmla="*/ 3151 w 3218"/>
                <a:gd name="T17" fmla="*/ 1729 h 3217"/>
                <a:gd name="T18" fmla="*/ 1730 w 3218"/>
                <a:gd name="T19" fmla="*/ 3150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8" h="3217">
                  <a:moveTo>
                    <a:pt x="1730" y="3150"/>
                  </a:moveTo>
                  <a:lnTo>
                    <a:pt x="1730" y="3150"/>
                  </a:lnTo>
                  <a:cubicBezTo>
                    <a:pt x="1663" y="3217"/>
                    <a:pt x="1555" y="3217"/>
                    <a:pt x="1488" y="3150"/>
                  </a:cubicBezTo>
                  <a:lnTo>
                    <a:pt x="67" y="1729"/>
                  </a:lnTo>
                  <a:cubicBezTo>
                    <a:pt x="0" y="1662"/>
                    <a:pt x="0" y="1554"/>
                    <a:pt x="67" y="1487"/>
                  </a:cubicBezTo>
                  <a:lnTo>
                    <a:pt x="1488" y="66"/>
                  </a:lnTo>
                  <a:cubicBezTo>
                    <a:pt x="1555" y="0"/>
                    <a:pt x="1663" y="0"/>
                    <a:pt x="1730" y="66"/>
                  </a:cubicBezTo>
                  <a:lnTo>
                    <a:pt x="3151" y="1487"/>
                  </a:lnTo>
                  <a:cubicBezTo>
                    <a:pt x="3218" y="1554"/>
                    <a:pt x="3218" y="1662"/>
                    <a:pt x="3151" y="1729"/>
                  </a:cubicBezTo>
                  <a:lnTo>
                    <a:pt x="1730" y="315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8" name="Freeform 12">
              <a:extLst>
                <a:ext uri="{FF2B5EF4-FFF2-40B4-BE49-F238E27FC236}">
                  <a16:creationId xmlns:a16="http://schemas.microsoft.com/office/drawing/2014/main" id="{CDD1EB5B-9C6F-A749-BE0A-DC7D96B5202C}"/>
                </a:ext>
              </a:extLst>
            </p:cNvPr>
            <p:cNvSpPr>
              <a:spLocks/>
            </p:cNvSpPr>
            <p:nvPr/>
          </p:nvSpPr>
          <p:spPr bwMode="auto">
            <a:xfrm flipH="1">
              <a:off x="1564570" y="5950509"/>
              <a:ext cx="1722478" cy="1723691"/>
            </a:xfrm>
            <a:custGeom>
              <a:avLst/>
              <a:gdLst>
                <a:gd name="T0" fmla="*/ 1487 w 3217"/>
                <a:gd name="T1" fmla="*/ 67 h 3217"/>
                <a:gd name="T2" fmla="*/ 1487 w 3217"/>
                <a:gd name="T3" fmla="*/ 67 h 3217"/>
                <a:gd name="T4" fmla="*/ 1730 w 3217"/>
                <a:gd name="T5" fmla="*/ 67 h 3217"/>
                <a:gd name="T6" fmla="*/ 3150 w 3217"/>
                <a:gd name="T7" fmla="*/ 1487 h 3217"/>
                <a:gd name="T8" fmla="*/ 3150 w 3217"/>
                <a:gd name="T9" fmla="*/ 1730 h 3217"/>
                <a:gd name="T10" fmla="*/ 1730 w 3217"/>
                <a:gd name="T11" fmla="*/ 3150 h 3217"/>
                <a:gd name="T12" fmla="*/ 1487 w 3217"/>
                <a:gd name="T13" fmla="*/ 3150 h 3217"/>
                <a:gd name="T14" fmla="*/ 67 w 3217"/>
                <a:gd name="T15" fmla="*/ 1730 h 3217"/>
                <a:gd name="T16" fmla="*/ 67 w 3217"/>
                <a:gd name="T17" fmla="*/ 1487 h 3217"/>
                <a:gd name="T18" fmla="*/ 1487 w 3217"/>
                <a:gd name="T19" fmla="*/ 67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7">
                  <a:moveTo>
                    <a:pt x="1487" y="67"/>
                  </a:moveTo>
                  <a:lnTo>
                    <a:pt x="1487" y="67"/>
                  </a:lnTo>
                  <a:cubicBezTo>
                    <a:pt x="1554" y="0"/>
                    <a:pt x="1663" y="0"/>
                    <a:pt x="1730" y="67"/>
                  </a:cubicBezTo>
                  <a:lnTo>
                    <a:pt x="3150" y="1487"/>
                  </a:lnTo>
                  <a:cubicBezTo>
                    <a:pt x="3217" y="1554"/>
                    <a:pt x="3217" y="1663"/>
                    <a:pt x="3150" y="1730"/>
                  </a:cubicBezTo>
                  <a:lnTo>
                    <a:pt x="1730" y="3150"/>
                  </a:lnTo>
                  <a:cubicBezTo>
                    <a:pt x="1663" y="3217"/>
                    <a:pt x="1554" y="3217"/>
                    <a:pt x="1487" y="3150"/>
                  </a:cubicBezTo>
                  <a:lnTo>
                    <a:pt x="67" y="1730"/>
                  </a:lnTo>
                  <a:cubicBezTo>
                    <a:pt x="0" y="1663"/>
                    <a:pt x="0" y="1554"/>
                    <a:pt x="67" y="1487"/>
                  </a:cubicBezTo>
                  <a:lnTo>
                    <a:pt x="1487" y="67"/>
                  </a:lnTo>
                  <a:close/>
                </a:path>
              </a:pathLst>
            </a:custGeom>
            <a:solidFill>
              <a:srgbClr val="00ABA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9" name="Freeform 13">
              <a:extLst>
                <a:ext uri="{FF2B5EF4-FFF2-40B4-BE49-F238E27FC236}">
                  <a16:creationId xmlns:a16="http://schemas.microsoft.com/office/drawing/2014/main" id="{960F5986-3944-B64E-979E-78EE380C376B}"/>
                </a:ext>
              </a:extLst>
            </p:cNvPr>
            <p:cNvSpPr>
              <a:spLocks/>
            </p:cNvSpPr>
            <p:nvPr/>
          </p:nvSpPr>
          <p:spPr bwMode="auto">
            <a:xfrm flipH="1">
              <a:off x="609257" y="5013403"/>
              <a:ext cx="1722478" cy="1724905"/>
            </a:xfrm>
            <a:custGeom>
              <a:avLst/>
              <a:gdLst>
                <a:gd name="T0" fmla="*/ 67 w 3217"/>
                <a:gd name="T1" fmla="*/ 1730 h 3218"/>
                <a:gd name="T2" fmla="*/ 67 w 3217"/>
                <a:gd name="T3" fmla="*/ 1730 h 3218"/>
                <a:gd name="T4" fmla="*/ 67 w 3217"/>
                <a:gd name="T5" fmla="*/ 1488 h 3218"/>
                <a:gd name="T6" fmla="*/ 1487 w 3217"/>
                <a:gd name="T7" fmla="*/ 67 h 3218"/>
                <a:gd name="T8" fmla="*/ 1730 w 3217"/>
                <a:gd name="T9" fmla="*/ 67 h 3218"/>
                <a:gd name="T10" fmla="*/ 3150 w 3217"/>
                <a:gd name="T11" fmla="*/ 1488 h 3218"/>
                <a:gd name="T12" fmla="*/ 3150 w 3217"/>
                <a:gd name="T13" fmla="*/ 1730 h 3218"/>
                <a:gd name="T14" fmla="*/ 1730 w 3217"/>
                <a:gd name="T15" fmla="*/ 3151 h 3218"/>
                <a:gd name="T16" fmla="*/ 1487 w 3217"/>
                <a:gd name="T17" fmla="*/ 3151 h 3218"/>
                <a:gd name="T18" fmla="*/ 67 w 3217"/>
                <a:gd name="T19" fmla="*/ 1730 h 3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8">
                  <a:moveTo>
                    <a:pt x="67" y="1730"/>
                  </a:moveTo>
                  <a:lnTo>
                    <a:pt x="67" y="1730"/>
                  </a:lnTo>
                  <a:cubicBezTo>
                    <a:pt x="0" y="1663"/>
                    <a:pt x="0" y="1555"/>
                    <a:pt x="67" y="1488"/>
                  </a:cubicBezTo>
                  <a:lnTo>
                    <a:pt x="1487" y="67"/>
                  </a:lnTo>
                  <a:cubicBezTo>
                    <a:pt x="1554" y="0"/>
                    <a:pt x="1663" y="0"/>
                    <a:pt x="1730" y="67"/>
                  </a:cubicBezTo>
                  <a:lnTo>
                    <a:pt x="3150" y="1488"/>
                  </a:lnTo>
                  <a:cubicBezTo>
                    <a:pt x="3217" y="1555"/>
                    <a:pt x="3217" y="1663"/>
                    <a:pt x="3150" y="1730"/>
                  </a:cubicBezTo>
                  <a:lnTo>
                    <a:pt x="1730" y="3151"/>
                  </a:lnTo>
                  <a:cubicBezTo>
                    <a:pt x="1663" y="3218"/>
                    <a:pt x="1554" y="3218"/>
                    <a:pt x="1487" y="3151"/>
                  </a:cubicBezTo>
                  <a:lnTo>
                    <a:pt x="67" y="1730"/>
                  </a:lnTo>
                  <a:close/>
                </a:path>
              </a:pathLst>
            </a:custGeom>
            <a:solidFill>
              <a:srgbClr val="00A3E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40" name="Freeform 14">
              <a:extLst>
                <a:ext uri="{FF2B5EF4-FFF2-40B4-BE49-F238E27FC236}">
                  <a16:creationId xmlns:a16="http://schemas.microsoft.com/office/drawing/2014/main" id="{A1387DBC-6607-A844-A5A2-0044061185B0}"/>
                </a:ext>
              </a:extLst>
            </p:cNvPr>
            <p:cNvSpPr>
              <a:spLocks/>
            </p:cNvSpPr>
            <p:nvPr/>
          </p:nvSpPr>
          <p:spPr bwMode="auto">
            <a:xfrm flipH="1">
              <a:off x="2500462" y="5002479"/>
              <a:ext cx="2482359" cy="1707911"/>
            </a:xfrm>
            <a:custGeom>
              <a:avLst/>
              <a:gdLst>
                <a:gd name="T0" fmla="*/ 4569 w 4636"/>
                <a:gd name="T1" fmla="*/ 1472 h 3187"/>
                <a:gd name="T2" fmla="*/ 4569 w 4636"/>
                <a:gd name="T3" fmla="*/ 1472 h 3187"/>
                <a:gd name="T4" fmla="*/ 3148 w 4636"/>
                <a:gd name="T5" fmla="*/ 52 h 3187"/>
                <a:gd name="T6" fmla="*/ 3019 w 4636"/>
                <a:gd name="T7" fmla="*/ 2 h 3187"/>
                <a:gd name="T8" fmla="*/ 3012 w 4636"/>
                <a:gd name="T9" fmla="*/ 1 h 3187"/>
                <a:gd name="T10" fmla="*/ 171 w 4636"/>
                <a:gd name="T11" fmla="*/ 1 h 3187"/>
                <a:gd name="T12" fmla="*/ 0 w 4636"/>
                <a:gd name="T13" fmla="*/ 173 h 3187"/>
                <a:gd name="T14" fmla="*/ 0 w 4636"/>
                <a:gd name="T15" fmla="*/ 3014 h 3187"/>
                <a:gd name="T16" fmla="*/ 171 w 4636"/>
                <a:gd name="T17" fmla="*/ 3185 h 3187"/>
                <a:gd name="T18" fmla="*/ 3012 w 4636"/>
                <a:gd name="T19" fmla="*/ 3185 h 3187"/>
                <a:gd name="T20" fmla="*/ 3019 w 4636"/>
                <a:gd name="T21" fmla="*/ 3185 h 3187"/>
                <a:gd name="T22" fmla="*/ 3148 w 4636"/>
                <a:gd name="T23" fmla="*/ 3135 h 3187"/>
                <a:gd name="T24" fmla="*/ 4569 w 4636"/>
                <a:gd name="T25" fmla="*/ 1715 h 3187"/>
                <a:gd name="T26" fmla="*/ 4569 w 4636"/>
                <a:gd name="T27" fmla="*/ 1472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6" h="3187">
                  <a:moveTo>
                    <a:pt x="4569" y="1472"/>
                  </a:moveTo>
                  <a:lnTo>
                    <a:pt x="4569" y="1472"/>
                  </a:lnTo>
                  <a:lnTo>
                    <a:pt x="3148" y="52"/>
                  </a:lnTo>
                  <a:cubicBezTo>
                    <a:pt x="3113" y="16"/>
                    <a:pt x="3066" y="0"/>
                    <a:pt x="3019" y="2"/>
                  </a:cubicBezTo>
                  <a:cubicBezTo>
                    <a:pt x="3017" y="2"/>
                    <a:pt x="3015" y="1"/>
                    <a:pt x="3012" y="1"/>
                  </a:cubicBezTo>
                  <a:lnTo>
                    <a:pt x="171" y="1"/>
                  </a:lnTo>
                  <a:cubicBezTo>
                    <a:pt x="76" y="1"/>
                    <a:pt x="0" y="78"/>
                    <a:pt x="0" y="173"/>
                  </a:cubicBezTo>
                  <a:lnTo>
                    <a:pt x="0" y="3014"/>
                  </a:lnTo>
                  <a:cubicBezTo>
                    <a:pt x="0" y="3109"/>
                    <a:pt x="76" y="3185"/>
                    <a:pt x="171" y="3185"/>
                  </a:cubicBezTo>
                  <a:lnTo>
                    <a:pt x="3012" y="3185"/>
                  </a:lnTo>
                  <a:cubicBezTo>
                    <a:pt x="3015" y="3185"/>
                    <a:pt x="3017" y="3185"/>
                    <a:pt x="3019" y="3185"/>
                  </a:cubicBezTo>
                  <a:cubicBezTo>
                    <a:pt x="3066" y="3187"/>
                    <a:pt x="3113" y="3171"/>
                    <a:pt x="3148" y="3135"/>
                  </a:cubicBezTo>
                  <a:lnTo>
                    <a:pt x="4569" y="1715"/>
                  </a:lnTo>
                  <a:cubicBezTo>
                    <a:pt x="4636" y="1648"/>
                    <a:pt x="4636" y="1539"/>
                    <a:pt x="4569" y="147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41" name="Rectangle 26">
              <a:extLst>
                <a:ext uri="{FF2B5EF4-FFF2-40B4-BE49-F238E27FC236}">
                  <a16:creationId xmlns:a16="http://schemas.microsoft.com/office/drawing/2014/main" id="{09E5A219-BA70-6649-9E9E-728076119DB5}"/>
                </a:ext>
              </a:extLst>
            </p:cNvPr>
            <p:cNvSpPr>
              <a:spLocks noChangeArrowheads="1"/>
            </p:cNvSpPr>
            <p:nvPr/>
          </p:nvSpPr>
          <p:spPr bwMode="auto">
            <a:xfrm>
              <a:off x="1841066" y="4788040"/>
              <a:ext cx="113064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2" name="Rectangle 26">
              <a:extLst>
                <a:ext uri="{FF2B5EF4-FFF2-40B4-BE49-F238E27FC236}">
                  <a16:creationId xmlns:a16="http://schemas.microsoft.com/office/drawing/2014/main" id="{D1F3E381-466E-AC48-AC98-A4EA133E9127}"/>
                </a:ext>
              </a:extLst>
            </p:cNvPr>
            <p:cNvSpPr>
              <a:spLocks noChangeArrowheads="1"/>
            </p:cNvSpPr>
            <p:nvPr/>
          </p:nvSpPr>
          <p:spPr bwMode="auto">
            <a:xfrm>
              <a:off x="937646" y="5692201"/>
              <a:ext cx="103900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3" name="Rectangle 26">
              <a:extLst>
                <a:ext uri="{FF2B5EF4-FFF2-40B4-BE49-F238E27FC236}">
                  <a16:creationId xmlns:a16="http://schemas.microsoft.com/office/drawing/2014/main" id="{A09EACD0-F99C-EB47-8687-D777E32BDEBD}"/>
                </a:ext>
              </a:extLst>
            </p:cNvPr>
            <p:cNvSpPr>
              <a:spLocks noChangeArrowheads="1"/>
            </p:cNvSpPr>
            <p:nvPr/>
          </p:nvSpPr>
          <p:spPr bwMode="auto">
            <a:xfrm>
              <a:off x="1772967" y="6676056"/>
              <a:ext cx="130568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4" name="Rectangle 26">
              <a:extLst>
                <a:ext uri="{FF2B5EF4-FFF2-40B4-BE49-F238E27FC236}">
                  <a16:creationId xmlns:a16="http://schemas.microsoft.com/office/drawing/2014/main" id="{7CC82D70-8F0A-C043-ACAA-234193E07A6F}"/>
                </a:ext>
              </a:extLst>
            </p:cNvPr>
            <p:cNvSpPr>
              <a:spLocks noChangeArrowheads="1"/>
            </p:cNvSpPr>
            <p:nvPr/>
          </p:nvSpPr>
          <p:spPr bwMode="auto">
            <a:xfrm>
              <a:off x="6159971" y="4788040"/>
              <a:ext cx="115528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5" name="Rectangle 26">
              <a:extLst>
                <a:ext uri="{FF2B5EF4-FFF2-40B4-BE49-F238E27FC236}">
                  <a16:creationId xmlns:a16="http://schemas.microsoft.com/office/drawing/2014/main" id="{33FA042B-45AD-204B-8378-8B633BE12FB6}"/>
                </a:ext>
              </a:extLst>
            </p:cNvPr>
            <p:cNvSpPr>
              <a:spLocks noChangeArrowheads="1"/>
            </p:cNvSpPr>
            <p:nvPr/>
          </p:nvSpPr>
          <p:spPr bwMode="auto">
            <a:xfrm>
              <a:off x="7111768" y="5692201"/>
              <a:ext cx="112347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6" name="Rectangle 26">
              <a:extLst>
                <a:ext uri="{FF2B5EF4-FFF2-40B4-BE49-F238E27FC236}">
                  <a16:creationId xmlns:a16="http://schemas.microsoft.com/office/drawing/2014/main" id="{7045020E-0E25-D34F-B4E8-8E616E811686}"/>
                </a:ext>
              </a:extLst>
            </p:cNvPr>
            <p:cNvSpPr>
              <a:spLocks noChangeArrowheads="1"/>
            </p:cNvSpPr>
            <p:nvPr/>
          </p:nvSpPr>
          <p:spPr bwMode="auto">
            <a:xfrm>
              <a:off x="6139287" y="6676056"/>
              <a:ext cx="115781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7" name="Rectangle 26">
              <a:extLst>
                <a:ext uri="{FF2B5EF4-FFF2-40B4-BE49-F238E27FC236}">
                  <a16:creationId xmlns:a16="http://schemas.microsoft.com/office/drawing/2014/main" id="{3FAD91D3-CB2F-334D-AA7B-18729D5CE4BB}"/>
                </a:ext>
              </a:extLst>
            </p:cNvPr>
            <p:cNvSpPr>
              <a:spLocks noChangeArrowheads="1"/>
            </p:cNvSpPr>
            <p:nvPr/>
          </p:nvSpPr>
          <p:spPr bwMode="auto">
            <a:xfrm>
              <a:off x="4060780" y="5779490"/>
              <a:ext cx="149880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spcBef>
                  <a:spcPts val="0"/>
                </a:spcBef>
                <a:spcAft>
                  <a:spcPts val="0"/>
                </a:spcAft>
              </a:pPr>
              <a:r>
                <a:rPr lang="da-DK" altLang="en-US" sz="1000" b="1" dirty="0">
                  <a:solidFill>
                    <a:schemeClr val="bg1"/>
                  </a:solidFill>
                  <a:latin typeface="+mj-lt"/>
                </a:rPr>
                <a:t>Lorem ipsum dolor sit amet,</a:t>
              </a:r>
              <a:endParaRPr lang="en-US" altLang="en-US" sz="1000" b="1" dirty="0">
                <a:solidFill>
                  <a:schemeClr val="bg1"/>
                </a:solidFill>
                <a:latin typeface="+mj-lt"/>
              </a:endParaRPr>
            </a:p>
          </p:txBody>
        </p:sp>
        <p:grpSp>
          <p:nvGrpSpPr>
            <p:cNvPr id="48" name="Group 503">
              <a:extLst>
                <a:ext uri="{FF2B5EF4-FFF2-40B4-BE49-F238E27FC236}">
                  <a16:creationId xmlns:a16="http://schemas.microsoft.com/office/drawing/2014/main" id="{517D1A38-1D9E-DF40-9DE4-58B459E20F8A}"/>
                </a:ext>
              </a:extLst>
            </p:cNvPr>
            <p:cNvGrpSpPr>
              <a:grpSpLocks noChangeAspect="1"/>
            </p:cNvGrpSpPr>
            <p:nvPr/>
          </p:nvGrpSpPr>
          <p:grpSpPr bwMode="auto">
            <a:xfrm>
              <a:off x="3302097" y="5536394"/>
              <a:ext cx="640080" cy="640080"/>
              <a:chOff x="1920" y="2027"/>
              <a:chExt cx="340" cy="340"/>
            </a:xfrm>
            <a:solidFill>
              <a:schemeClr val="bg1"/>
            </a:solidFill>
          </p:grpSpPr>
          <p:sp>
            <p:nvSpPr>
              <p:cNvPr id="49" name="Freeform 504">
                <a:extLst>
                  <a:ext uri="{FF2B5EF4-FFF2-40B4-BE49-F238E27FC236}">
                    <a16:creationId xmlns:a16="http://schemas.microsoft.com/office/drawing/2014/main" id="{87DEED61-5C08-494D-A1C4-F2ECC678332D}"/>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505">
                <a:extLst>
                  <a:ext uri="{FF2B5EF4-FFF2-40B4-BE49-F238E27FC236}">
                    <a16:creationId xmlns:a16="http://schemas.microsoft.com/office/drawing/2014/main" id="{8C76B4D5-36FC-D24A-859F-31E1193494B0}"/>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custDataLst>
      <p:tags r:id="rId1"/>
    </p:custDataLst>
    <p:extLst>
      <p:ext uri="{BB962C8B-B14F-4D97-AF65-F5344CB8AC3E}">
        <p14:creationId xmlns:p14="http://schemas.microsoft.com/office/powerpoint/2010/main" val="1307883203"/>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9B2D900-89B7-4626-8B3D-B9AD29DDE1C0}"/>
              </a:ext>
            </a:extLst>
          </p:cNvPr>
          <p:cNvGrpSpPr/>
          <p:nvPr/>
        </p:nvGrpSpPr>
        <p:grpSpPr>
          <a:xfrm>
            <a:off x="4250471" y="872943"/>
            <a:ext cx="3691057" cy="5112114"/>
            <a:chOff x="4752909" y="1967287"/>
            <a:chExt cx="2667000" cy="3693795"/>
          </a:xfrm>
        </p:grpSpPr>
        <p:grpSp>
          <p:nvGrpSpPr>
            <p:cNvPr id="71" name="Group 70">
              <a:extLst>
                <a:ext uri="{FF2B5EF4-FFF2-40B4-BE49-F238E27FC236}">
                  <a16:creationId xmlns:a16="http://schemas.microsoft.com/office/drawing/2014/main" id="{E6B70D91-2163-EB4A-843A-2AE71FA981A3}"/>
                </a:ext>
              </a:extLst>
            </p:cNvPr>
            <p:cNvGrpSpPr/>
            <p:nvPr/>
          </p:nvGrpSpPr>
          <p:grpSpPr>
            <a:xfrm>
              <a:off x="4752909" y="1967287"/>
              <a:ext cx="2667000" cy="3693795"/>
              <a:chOff x="4167187" y="2622868"/>
              <a:chExt cx="2667000" cy="3693795"/>
            </a:xfrm>
          </p:grpSpPr>
          <p:grpSp>
            <p:nvGrpSpPr>
              <p:cNvPr id="72" name="Group 71">
                <a:extLst>
                  <a:ext uri="{FF2B5EF4-FFF2-40B4-BE49-F238E27FC236}">
                    <a16:creationId xmlns:a16="http://schemas.microsoft.com/office/drawing/2014/main" id="{3F7596A7-A689-D340-A386-7B8E7A961368}"/>
                  </a:ext>
                </a:extLst>
              </p:cNvPr>
              <p:cNvGrpSpPr/>
              <p:nvPr/>
            </p:nvGrpSpPr>
            <p:grpSpPr>
              <a:xfrm>
                <a:off x="4167187" y="2622868"/>
                <a:ext cx="2667000" cy="3693795"/>
                <a:chOff x="2849563" y="2339975"/>
                <a:chExt cx="2857500" cy="3957638"/>
              </a:xfrm>
            </p:grpSpPr>
            <p:sp>
              <p:nvSpPr>
                <p:cNvPr id="80" name="Freeform 5">
                  <a:extLst>
                    <a:ext uri="{FF2B5EF4-FFF2-40B4-BE49-F238E27FC236}">
                      <a16:creationId xmlns:a16="http://schemas.microsoft.com/office/drawing/2014/main" id="{76752102-E4C1-D547-8260-AE22624FD9D5}"/>
                    </a:ext>
                  </a:extLst>
                </p:cNvPr>
                <p:cNvSpPr>
                  <a:spLocks/>
                </p:cNvSpPr>
                <p:nvPr/>
              </p:nvSpPr>
              <p:spPr bwMode="auto">
                <a:xfrm>
                  <a:off x="2860675" y="3773488"/>
                  <a:ext cx="869950" cy="969963"/>
                </a:xfrm>
                <a:custGeom>
                  <a:avLst/>
                  <a:gdLst>
                    <a:gd name="T0" fmla="*/ 36 w 77"/>
                    <a:gd name="T1" fmla="*/ 86 h 86"/>
                    <a:gd name="T2" fmla="*/ 77 w 77"/>
                    <a:gd name="T3" fmla="*/ 47 h 86"/>
                    <a:gd name="T4" fmla="*/ 59 w 77"/>
                    <a:gd name="T5" fmla="*/ 7 h 86"/>
                    <a:gd name="T6" fmla="*/ 59 w 77"/>
                    <a:gd name="T7" fmla="*/ 0 h 86"/>
                    <a:gd name="T8" fmla="*/ 1 w 77"/>
                    <a:gd name="T9" fmla="*/ 1 h 86"/>
                    <a:gd name="T10" fmla="*/ 36 w 77"/>
                    <a:gd name="T11" fmla="*/ 86 h 86"/>
                  </a:gdLst>
                  <a:ahLst/>
                  <a:cxnLst>
                    <a:cxn ang="0">
                      <a:pos x="T0" y="T1"/>
                    </a:cxn>
                    <a:cxn ang="0">
                      <a:pos x="T2" y="T3"/>
                    </a:cxn>
                    <a:cxn ang="0">
                      <a:pos x="T4" y="T5"/>
                    </a:cxn>
                    <a:cxn ang="0">
                      <a:pos x="T6" y="T7"/>
                    </a:cxn>
                    <a:cxn ang="0">
                      <a:pos x="T8" y="T9"/>
                    </a:cxn>
                    <a:cxn ang="0">
                      <a:pos x="T10" y="T11"/>
                    </a:cxn>
                  </a:cxnLst>
                  <a:rect l="0" t="0" r="r" b="b"/>
                  <a:pathLst>
                    <a:path w="77" h="86">
                      <a:moveTo>
                        <a:pt x="36" y="86"/>
                      </a:moveTo>
                      <a:cubicBezTo>
                        <a:pt x="77" y="47"/>
                        <a:pt x="77" y="47"/>
                        <a:pt x="77" y="47"/>
                      </a:cubicBezTo>
                      <a:cubicBezTo>
                        <a:pt x="77" y="47"/>
                        <a:pt x="60" y="29"/>
                        <a:pt x="59" y="7"/>
                      </a:cubicBezTo>
                      <a:cubicBezTo>
                        <a:pt x="59" y="5"/>
                        <a:pt x="59" y="2"/>
                        <a:pt x="59" y="0"/>
                      </a:cubicBezTo>
                      <a:cubicBezTo>
                        <a:pt x="1" y="1"/>
                        <a:pt x="1" y="1"/>
                        <a:pt x="1" y="1"/>
                      </a:cubicBezTo>
                      <a:cubicBezTo>
                        <a:pt x="1" y="1"/>
                        <a:pt x="0" y="49"/>
                        <a:pt x="36" y="86"/>
                      </a:cubicBezTo>
                      <a:close/>
                    </a:path>
                  </a:pathLst>
                </a:custGeom>
                <a:solidFill>
                  <a:schemeClr val="tx2"/>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6">
                  <a:extLst>
                    <a:ext uri="{FF2B5EF4-FFF2-40B4-BE49-F238E27FC236}">
                      <a16:creationId xmlns:a16="http://schemas.microsoft.com/office/drawing/2014/main" id="{43BD7800-47BD-C543-BDCC-525D3CBD2335}"/>
                    </a:ext>
                  </a:extLst>
                </p:cNvPr>
                <p:cNvSpPr>
                  <a:spLocks/>
                </p:cNvSpPr>
                <p:nvPr/>
              </p:nvSpPr>
              <p:spPr bwMode="auto">
                <a:xfrm>
                  <a:off x="2849563" y="2801938"/>
                  <a:ext cx="881063" cy="982663"/>
                </a:xfrm>
                <a:custGeom>
                  <a:avLst/>
                  <a:gdLst>
                    <a:gd name="T0" fmla="*/ 78 w 78"/>
                    <a:gd name="T1" fmla="*/ 40 h 87"/>
                    <a:gd name="T2" fmla="*/ 37 w 78"/>
                    <a:gd name="T3" fmla="*/ 0 h 87"/>
                    <a:gd name="T4" fmla="*/ 2 w 78"/>
                    <a:gd name="T5" fmla="*/ 87 h 87"/>
                    <a:gd name="T6" fmla="*/ 60 w 78"/>
                    <a:gd name="T7" fmla="*/ 86 h 87"/>
                    <a:gd name="T8" fmla="*/ 78 w 78"/>
                    <a:gd name="T9" fmla="*/ 40 h 87"/>
                  </a:gdLst>
                  <a:ahLst/>
                  <a:cxnLst>
                    <a:cxn ang="0">
                      <a:pos x="T0" y="T1"/>
                    </a:cxn>
                    <a:cxn ang="0">
                      <a:pos x="T2" y="T3"/>
                    </a:cxn>
                    <a:cxn ang="0">
                      <a:pos x="T4" y="T5"/>
                    </a:cxn>
                    <a:cxn ang="0">
                      <a:pos x="T6" y="T7"/>
                    </a:cxn>
                    <a:cxn ang="0">
                      <a:pos x="T8" y="T9"/>
                    </a:cxn>
                  </a:cxnLst>
                  <a:rect l="0" t="0" r="r" b="b"/>
                  <a:pathLst>
                    <a:path w="78" h="87">
                      <a:moveTo>
                        <a:pt x="78" y="40"/>
                      </a:moveTo>
                      <a:cubicBezTo>
                        <a:pt x="37" y="0"/>
                        <a:pt x="37" y="0"/>
                        <a:pt x="37" y="0"/>
                      </a:cubicBezTo>
                      <a:cubicBezTo>
                        <a:pt x="37" y="0"/>
                        <a:pt x="0" y="34"/>
                        <a:pt x="2" y="87"/>
                      </a:cubicBezTo>
                      <a:cubicBezTo>
                        <a:pt x="60" y="86"/>
                        <a:pt x="60" y="86"/>
                        <a:pt x="60" y="86"/>
                      </a:cubicBezTo>
                      <a:cubicBezTo>
                        <a:pt x="60" y="86"/>
                        <a:pt x="60" y="60"/>
                        <a:pt x="78" y="40"/>
                      </a:cubicBezTo>
                      <a:close/>
                    </a:path>
                  </a:pathLst>
                </a:custGeom>
                <a:solidFill>
                  <a:schemeClr val="accent2"/>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7">
                  <a:extLst>
                    <a:ext uri="{FF2B5EF4-FFF2-40B4-BE49-F238E27FC236}">
                      <a16:creationId xmlns:a16="http://schemas.microsoft.com/office/drawing/2014/main" id="{26CFBAC2-9003-264C-A232-48CC0E322E56}"/>
                    </a:ext>
                  </a:extLst>
                </p:cNvPr>
                <p:cNvSpPr>
                  <a:spLocks/>
                </p:cNvSpPr>
                <p:nvPr/>
              </p:nvSpPr>
              <p:spPr bwMode="auto">
                <a:xfrm>
                  <a:off x="3267075" y="2339975"/>
                  <a:ext cx="971550" cy="914400"/>
                </a:xfrm>
                <a:custGeom>
                  <a:avLst/>
                  <a:gdLst>
                    <a:gd name="T0" fmla="*/ 86 w 86"/>
                    <a:gd name="T1" fmla="*/ 60 h 81"/>
                    <a:gd name="T2" fmla="*/ 86 w 86"/>
                    <a:gd name="T3" fmla="*/ 3 h 81"/>
                    <a:gd name="T4" fmla="*/ 0 w 86"/>
                    <a:gd name="T5" fmla="*/ 41 h 81"/>
                    <a:gd name="T6" fmla="*/ 41 w 86"/>
                    <a:gd name="T7" fmla="*/ 81 h 81"/>
                    <a:gd name="T8" fmla="*/ 86 w 86"/>
                    <a:gd name="T9" fmla="*/ 60 h 81"/>
                  </a:gdLst>
                  <a:ahLst/>
                  <a:cxnLst>
                    <a:cxn ang="0">
                      <a:pos x="T0" y="T1"/>
                    </a:cxn>
                    <a:cxn ang="0">
                      <a:pos x="T2" y="T3"/>
                    </a:cxn>
                    <a:cxn ang="0">
                      <a:pos x="T4" y="T5"/>
                    </a:cxn>
                    <a:cxn ang="0">
                      <a:pos x="T6" y="T7"/>
                    </a:cxn>
                    <a:cxn ang="0">
                      <a:pos x="T8" y="T9"/>
                    </a:cxn>
                  </a:cxnLst>
                  <a:rect l="0" t="0" r="r" b="b"/>
                  <a:pathLst>
                    <a:path w="86" h="81">
                      <a:moveTo>
                        <a:pt x="86" y="60"/>
                      </a:moveTo>
                      <a:cubicBezTo>
                        <a:pt x="86" y="3"/>
                        <a:pt x="86" y="3"/>
                        <a:pt x="86" y="3"/>
                      </a:cubicBezTo>
                      <a:cubicBezTo>
                        <a:pt x="86" y="3"/>
                        <a:pt x="43" y="0"/>
                        <a:pt x="0" y="41"/>
                      </a:cubicBezTo>
                      <a:cubicBezTo>
                        <a:pt x="41" y="81"/>
                        <a:pt x="41" y="81"/>
                        <a:pt x="41" y="81"/>
                      </a:cubicBezTo>
                      <a:cubicBezTo>
                        <a:pt x="41" y="81"/>
                        <a:pt x="54" y="64"/>
                        <a:pt x="86" y="60"/>
                      </a:cubicBezTo>
                      <a:close/>
                    </a:path>
                  </a:pathLst>
                </a:custGeom>
                <a:solidFill>
                  <a:schemeClr val="accent3"/>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8">
                  <a:extLst>
                    <a:ext uri="{FF2B5EF4-FFF2-40B4-BE49-F238E27FC236}">
                      <a16:creationId xmlns:a16="http://schemas.microsoft.com/office/drawing/2014/main" id="{1DAC8832-69A5-8A49-B10D-F1DF0693FF48}"/>
                    </a:ext>
                  </a:extLst>
                </p:cNvPr>
                <p:cNvSpPr>
                  <a:spLocks/>
                </p:cNvSpPr>
                <p:nvPr/>
              </p:nvSpPr>
              <p:spPr bwMode="auto">
                <a:xfrm>
                  <a:off x="4238625" y="2373313"/>
                  <a:ext cx="1028700" cy="857250"/>
                </a:xfrm>
                <a:custGeom>
                  <a:avLst/>
                  <a:gdLst>
                    <a:gd name="T0" fmla="*/ 50 w 91"/>
                    <a:gd name="T1" fmla="*/ 76 h 76"/>
                    <a:gd name="T2" fmla="*/ 91 w 91"/>
                    <a:gd name="T3" fmla="*/ 35 h 76"/>
                    <a:gd name="T4" fmla="*/ 0 w 91"/>
                    <a:gd name="T5" fmla="*/ 0 h 76"/>
                    <a:gd name="T6" fmla="*/ 0 w 91"/>
                    <a:gd name="T7" fmla="*/ 57 h 76"/>
                    <a:gd name="T8" fmla="*/ 50 w 91"/>
                    <a:gd name="T9" fmla="*/ 76 h 76"/>
                  </a:gdLst>
                  <a:ahLst/>
                  <a:cxnLst>
                    <a:cxn ang="0">
                      <a:pos x="T0" y="T1"/>
                    </a:cxn>
                    <a:cxn ang="0">
                      <a:pos x="T2" y="T3"/>
                    </a:cxn>
                    <a:cxn ang="0">
                      <a:pos x="T4" y="T5"/>
                    </a:cxn>
                    <a:cxn ang="0">
                      <a:pos x="T6" y="T7"/>
                    </a:cxn>
                    <a:cxn ang="0">
                      <a:pos x="T8" y="T9"/>
                    </a:cxn>
                  </a:cxnLst>
                  <a:rect l="0" t="0" r="r" b="b"/>
                  <a:pathLst>
                    <a:path w="91" h="76">
                      <a:moveTo>
                        <a:pt x="50" y="76"/>
                      </a:moveTo>
                      <a:cubicBezTo>
                        <a:pt x="91" y="35"/>
                        <a:pt x="91" y="35"/>
                        <a:pt x="91" y="35"/>
                      </a:cubicBezTo>
                      <a:cubicBezTo>
                        <a:pt x="91" y="35"/>
                        <a:pt x="61" y="0"/>
                        <a:pt x="0" y="0"/>
                      </a:cubicBezTo>
                      <a:cubicBezTo>
                        <a:pt x="0" y="57"/>
                        <a:pt x="0" y="57"/>
                        <a:pt x="0" y="57"/>
                      </a:cubicBezTo>
                      <a:cubicBezTo>
                        <a:pt x="0" y="57"/>
                        <a:pt x="27" y="54"/>
                        <a:pt x="50" y="76"/>
                      </a:cubicBezTo>
                      <a:close/>
                    </a:path>
                  </a:pathLst>
                </a:custGeom>
                <a:solidFill>
                  <a:schemeClr val="accent4"/>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9">
                  <a:extLst>
                    <a:ext uri="{FF2B5EF4-FFF2-40B4-BE49-F238E27FC236}">
                      <a16:creationId xmlns:a16="http://schemas.microsoft.com/office/drawing/2014/main" id="{60E0F0C8-DCE1-2D4B-8A1F-540E5791FA7C}"/>
                    </a:ext>
                  </a:extLst>
                </p:cNvPr>
                <p:cNvSpPr>
                  <a:spLocks/>
                </p:cNvSpPr>
                <p:nvPr/>
              </p:nvSpPr>
              <p:spPr bwMode="auto">
                <a:xfrm>
                  <a:off x="4803775" y="2768600"/>
                  <a:ext cx="903288" cy="1016000"/>
                </a:xfrm>
                <a:custGeom>
                  <a:avLst/>
                  <a:gdLst>
                    <a:gd name="T0" fmla="*/ 20 w 80"/>
                    <a:gd name="T1" fmla="*/ 90 h 90"/>
                    <a:gd name="T2" fmla="*/ 78 w 80"/>
                    <a:gd name="T3" fmla="*/ 90 h 90"/>
                    <a:gd name="T4" fmla="*/ 41 w 80"/>
                    <a:gd name="T5" fmla="*/ 0 h 90"/>
                    <a:gd name="T6" fmla="*/ 0 w 80"/>
                    <a:gd name="T7" fmla="*/ 41 h 90"/>
                    <a:gd name="T8" fmla="*/ 20 w 80"/>
                    <a:gd name="T9" fmla="*/ 90 h 90"/>
                  </a:gdLst>
                  <a:ahLst/>
                  <a:cxnLst>
                    <a:cxn ang="0">
                      <a:pos x="T0" y="T1"/>
                    </a:cxn>
                    <a:cxn ang="0">
                      <a:pos x="T2" y="T3"/>
                    </a:cxn>
                    <a:cxn ang="0">
                      <a:pos x="T4" y="T5"/>
                    </a:cxn>
                    <a:cxn ang="0">
                      <a:pos x="T6" y="T7"/>
                    </a:cxn>
                    <a:cxn ang="0">
                      <a:pos x="T8" y="T9"/>
                    </a:cxn>
                  </a:cxnLst>
                  <a:rect l="0" t="0" r="r" b="b"/>
                  <a:pathLst>
                    <a:path w="80" h="90">
                      <a:moveTo>
                        <a:pt x="20" y="90"/>
                      </a:moveTo>
                      <a:cubicBezTo>
                        <a:pt x="78" y="90"/>
                        <a:pt x="78" y="90"/>
                        <a:pt x="78" y="90"/>
                      </a:cubicBezTo>
                      <a:cubicBezTo>
                        <a:pt x="78" y="90"/>
                        <a:pt x="80" y="35"/>
                        <a:pt x="41" y="0"/>
                      </a:cubicBezTo>
                      <a:cubicBezTo>
                        <a:pt x="0" y="41"/>
                        <a:pt x="0" y="41"/>
                        <a:pt x="0" y="41"/>
                      </a:cubicBezTo>
                      <a:cubicBezTo>
                        <a:pt x="0" y="41"/>
                        <a:pt x="22" y="61"/>
                        <a:pt x="20" y="90"/>
                      </a:cubicBezTo>
                      <a:close/>
                    </a:path>
                  </a:pathLst>
                </a:custGeom>
                <a:solidFill>
                  <a:schemeClr val="accent6"/>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10">
                  <a:extLst>
                    <a:ext uri="{FF2B5EF4-FFF2-40B4-BE49-F238E27FC236}">
                      <a16:creationId xmlns:a16="http://schemas.microsoft.com/office/drawing/2014/main" id="{93BBD707-2C66-BA4E-BB34-E5876ABE0EB7}"/>
                    </a:ext>
                  </a:extLst>
                </p:cNvPr>
                <p:cNvSpPr>
                  <a:spLocks/>
                </p:cNvSpPr>
                <p:nvPr/>
              </p:nvSpPr>
              <p:spPr bwMode="auto">
                <a:xfrm>
                  <a:off x="4781550" y="3784600"/>
                  <a:ext cx="903288" cy="1027113"/>
                </a:xfrm>
                <a:custGeom>
                  <a:avLst/>
                  <a:gdLst>
                    <a:gd name="T0" fmla="*/ 0 w 80"/>
                    <a:gd name="T1" fmla="*/ 48 h 91"/>
                    <a:gd name="T2" fmla="*/ 41 w 80"/>
                    <a:gd name="T3" fmla="*/ 91 h 91"/>
                    <a:gd name="T4" fmla="*/ 80 w 80"/>
                    <a:gd name="T5" fmla="*/ 0 h 91"/>
                    <a:gd name="T6" fmla="*/ 22 w 80"/>
                    <a:gd name="T7" fmla="*/ 0 h 91"/>
                    <a:gd name="T8" fmla="*/ 0 w 80"/>
                    <a:gd name="T9" fmla="*/ 48 h 91"/>
                  </a:gdLst>
                  <a:ahLst/>
                  <a:cxnLst>
                    <a:cxn ang="0">
                      <a:pos x="T0" y="T1"/>
                    </a:cxn>
                    <a:cxn ang="0">
                      <a:pos x="T2" y="T3"/>
                    </a:cxn>
                    <a:cxn ang="0">
                      <a:pos x="T4" y="T5"/>
                    </a:cxn>
                    <a:cxn ang="0">
                      <a:pos x="T6" y="T7"/>
                    </a:cxn>
                    <a:cxn ang="0">
                      <a:pos x="T8" y="T9"/>
                    </a:cxn>
                  </a:cxnLst>
                  <a:rect l="0" t="0" r="r" b="b"/>
                  <a:pathLst>
                    <a:path w="80" h="91">
                      <a:moveTo>
                        <a:pt x="0" y="48"/>
                      </a:moveTo>
                      <a:cubicBezTo>
                        <a:pt x="41" y="91"/>
                        <a:pt x="41" y="91"/>
                        <a:pt x="41" y="91"/>
                      </a:cubicBezTo>
                      <a:cubicBezTo>
                        <a:pt x="41" y="91"/>
                        <a:pt x="78" y="63"/>
                        <a:pt x="80" y="0"/>
                      </a:cubicBezTo>
                      <a:cubicBezTo>
                        <a:pt x="22" y="0"/>
                        <a:pt x="22" y="0"/>
                        <a:pt x="22" y="0"/>
                      </a:cubicBezTo>
                      <a:cubicBezTo>
                        <a:pt x="22" y="0"/>
                        <a:pt x="23" y="33"/>
                        <a:pt x="0" y="48"/>
                      </a:cubicBezTo>
                      <a:close/>
                    </a:path>
                  </a:pathLst>
                </a:custGeom>
                <a:solidFill>
                  <a:schemeClr val="accent5"/>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11">
                  <a:extLst>
                    <a:ext uri="{FF2B5EF4-FFF2-40B4-BE49-F238E27FC236}">
                      <a16:creationId xmlns:a16="http://schemas.microsoft.com/office/drawing/2014/main" id="{5E080CCF-FE52-2E4C-812A-D461DC21198A}"/>
                    </a:ext>
                  </a:extLst>
                </p:cNvPr>
                <p:cNvSpPr>
                  <a:spLocks/>
                </p:cNvSpPr>
                <p:nvPr/>
              </p:nvSpPr>
              <p:spPr bwMode="auto">
                <a:xfrm>
                  <a:off x="3900488" y="4325938"/>
                  <a:ext cx="1343025" cy="1084263"/>
                </a:xfrm>
                <a:custGeom>
                  <a:avLst/>
                  <a:gdLst>
                    <a:gd name="T0" fmla="*/ 0 w 119"/>
                    <a:gd name="T1" fmla="*/ 51 h 96"/>
                    <a:gd name="T2" fmla="*/ 0 w 119"/>
                    <a:gd name="T3" fmla="*/ 87 h 96"/>
                    <a:gd name="T4" fmla="*/ 8 w 119"/>
                    <a:gd name="T5" fmla="*/ 96 h 96"/>
                    <a:gd name="T6" fmla="*/ 60 w 119"/>
                    <a:gd name="T7" fmla="*/ 96 h 96"/>
                    <a:gd name="T8" fmla="*/ 67 w 119"/>
                    <a:gd name="T9" fmla="*/ 87 h 96"/>
                    <a:gd name="T10" fmla="*/ 67 w 119"/>
                    <a:gd name="T11" fmla="*/ 71 h 96"/>
                    <a:gd name="T12" fmla="*/ 119 w 119"/>
                    <a:gd name="T13" fmla="*/ 43 h 96"/>
                    <a:gd name="T14" fmla="*/ 78 w 119"/>
                    <a:gd name="T15" fmla="*/ 0 h 96"/>
                    <a:gd name="T16" fmla="*/ 41 w 119"/>
                    <a:gd name="T17" fmla="*/ 19 h 96"/>
                    <a:gd name="T18" fmla="*/ 38 w 119"/>
                    <a:gd name="T19" fmla="*/ 20 h 96"/>
                    <a:gd name="T20" fmla="*/ 35 w 119"/>
                    <a:gd name="T21" fmla="*/ 21 h 96"/>
                    <a:gd name="T22" fmla="*/ 8 w 119"/>
                    <a:gd name="T23" fmla="*/ 34 h 96"/>
                    <a:gd name="T24" fmla="*/ 0 w 119"/>
                    <a:gd name="T25" fmla="*/ 5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96">
                      <a:moveTo>
                        <a:pt x="0" y="51"/>
                      </a:moveTo>
                      <a:cubicBezTo>
                        <a:pt x="0" y="87"/>
                        <a:pt x="0" y="87"/>
                        <a:pt x="0" y="87"/>
                      </a:cubicBezTo>
                      <a:cubicBezTo>
                        <a:pt x="0" y="87"/>
                        <a:pt x="0" y="96"/>
                        <a:pt x="8" y="96"/>
                      </a:cubicBezTo>
                      <a:cubicBezTo>
                        <a:pt x="15" y="95"/>
                        <a:pt x="60" y="96"/>
                        <a:pt x="60" y="96"/>
                      </a:cubicBezTo>
                      <a:cubicBezTo>
                        <a:pt x="60" y="96"/>
                        <a:pt x="66" y="96"/>
                        <a:pt x="67" y="87"/>
                      </a:cubicBezTo>
                      <a:cubicBezTo>
                        <a:pt x="67" y="71"/>
                        <a:pt x="67" y="71"/>
                        <a:pt x="67" y="71"/>
                      </a:cubicBezTo>
                      <a:cubicBezTo>
                        <a:pt x="67" y="71"/>
                        <a:pt x="86" y="71"/>
                        <a:pt x="119" y="43"/>
                      </a:cubicBezTo>
                      <a:cubicBezTo>
                        <a:pt x="78" y="0"/>
                        <a:pt x="78" y="0"/>
                        <a:pt x="78" y="0"/>
                      </a:cubicBezTo>
                      <a:cubicBezTo>
                        <a:pt x="78" y="0"/>
                        <a:pt x="69" y="8"/>
                        <a:pt x="41" y="19"/>
                      </a:cubicBezTo>
                      <a:cubicBezTo>
                        <a:pt x="40" y="20"/>
                        <a:pt x="39" y="20"/>
                        <a:pt x="38" y="20"/>
                      </a:cubicBezTo>
                      <a:cubicBezTo>
                        <a:pt x="37" y="20"/>
                        <a:pt x="36" y="20"/>
                        <a:pt x="35" y="21"/>
                      </a:cubicBezTo>
                      <a:cubicBezTo>
                        <a:pt x="30" y="24"/>
                        <a:pt x="17" y="26"/>
                        <a:pt x="8" y="34"/>
                      </a:cubicBezTo>
                      <a:cubicBezTo>
                        <a:pt x="3" y="38"/>
                        <a:pt x="0" y="45"/>
                        <a:pt x="0" y="51"/>
                      </a:cubicBezTo>
                      <a:close/>
                    </a:path>
                  </a:pathLst>
                </a:custGeom>
                <a:solidFill>
                  <a:schemeClr val="tx2">
                    <a:lumMod val="40000"/>
                    <a:lumOff val="60000"/>
                  </a:schemeClr>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102">
                  <a:extLst>
                    <a:ext uri="{FF2B5EF4-FFF2-40B4-BE49-F238E27FC236}">
                      <a16:creationId xmlns:a16="http://schemas.microsoft.com/office/drawing/2014/main" id="{AEC8BBA2-2685-0A42-A142-C00F992AF5CB}"/>
                    </a:ext>
                  </a:extLst>
                </p:cNvPr>
                <p:cNvSpPr/>
                <p:nvPr/>
              </p:nvSpPr>
              <p:spPr>
                <a:xfrm>
                  <a:off x="3858577" y="5535613"/>
                  <a:ext cx="760095" cy="762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3" name="Isosceles Triangle 10">
                <a:extLst>
                  <a:ext uri="{FF2B5EF4-FFF2-40B4-BE49-F238E27FC236}">
                    <a16:creationId xmlns:a16="http://schemas.microsoft.com/office/drawing/2014/main" id="{2ED1D9FC-25F5-EE41-B5A8-EB3350C63E25}"/>
                  </a:ext>
                </a:extLst>
              </p:cNvPr>
              <p:cNvSpPr/>
              <p:nvPr/>
            </p:nvSpPr>
            <p:spPr>
              <a:xfrm rot="15003001">
                <a:off x="4178578" y="4401671"/>
                <a:ext cx="152400" cy="97664"/>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Isosceles Triangle 11">
                <a:extLst>
                  <a:ext uri="{FF2B5EF4-FFF2-40B4-BE49-F238E27FC236}">
                    <a16:creationId xmlns:a16="http://schemas.microsoft.com/office/drawing/2014/main" id="{25A807B7-FB75-CF4E-98C0-D19167FF13A3}"/>
                  </a:ext>
                </a:extLst>
              </p:cNvPr>
              <p:cNvSpPr/>
              <p:nvPr/>
            </p:nvSpPr>
            <p:spPr>
              <a:xfrm rot="17531582">
                <a:off x="4194418" y="3367447"/>
                <a:ext cx="152400" cy="976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Isosceles Triangle 12">
                <a:extLst>
                  <a:ext uri="{FF2B5EF4-FFF2-40B4-BE49-F238E27FC236}">
                    <a16:creationId xmlns:a16="http://schemas.microsoft.com/office/drawing/2014/main" id="{747216B7-8CB9-DD45-8B35-F6DD36CC6A63}"/>
                  </a:ext>
                </a:extLst>
              </p:cNvPr>
              <p:cNvSpPr/>
              <p:nvPr/>
            </p:nvSpPr>
            <p:spPr>
              <a:xfrm rot="20136305">
                <a:off x="4844091" y="2706001"/>
                <a:ext cx="152400" cy="9766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Isosceles Triangle 13">
                <a:extLst>
                  <a:ext uri="{FF2B5EF4-FFF2-40B4-BE49-F238E27FC236}">
                    <a16:creationId xmlns:a16="http://schemas.microsoft.com/office/drawing/2014/main" id="{CEA97D88-CF35-0441-990A-A9CD512EECE1}"/>
                  </a:ext>
                </a:extLst>
              </p:cNvPr>
              <p:cNvSpPr/>
              <p:nvPr/>
            </p:nvSpPr>
            <p:spPr>
              <a:xfrm rot="1433652">
                <a:off x="5929885" y="2667487"/>
                <a:ext cx="152400" cy="9766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Isosceles Triangle 14">
                <a:extLst>
                  <a:ext uri="{FF2B5EF4-FFF2-40B4-BE49-F238E27FC236}">
                    <a16:creationId xmlns:a16="http://schemas.microsoft.com/office/drawing/2014/main" id="{0C00F508-B888-CD43-8100-E8DD1A181672}"/>
                  </a:ext>
                </a:extLst>
              </p:cNvPr>
              <p:cNvSpPr/>
              <p:nvPr/>
            </p:nvSpPr>
            <p:spPr>
              <a:xfrm rot="4263110">
                <a:off x="6687059" y="3442524"/>
                <a:ext cx="152400" cy="9766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Isosceles Triangle 15">
                <a:extLst>
                  <a:ext uri="{FF2B5EF4-FFF2-40B4-BE49-F238E27FC236}">
                    <a16:creationId xmlns:a16="http://schemas.microsoft.com/office/drawing/2014/main" id="{2ED3C158-0039-7640-A985-E3FB68381CC1}"/>
                  </a:ext>
                </a:extLst>
              </p:cNvPr>
              <p:cNvSpPr/>
              <p:nvPr/>
            </p:nvSpPr>
            <p:spPr>
              <a:xfrm rot="6884037">
                <a:off x="6675851" y="4432372"/>
                <a:ext cx="152400" cy="97664"/>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Isosceles Triangle 16">
                <a:extLst>
                  <a:ext uri="{FF2B5EF4-FFF2-40B4-BE49-F238E27FC236}">
                    <a16:creationId xmlns:a16="http://schemas.microsoft.com/office/drawing/2014/main" id="{45469153-B381-874B-A385-52F06D118073}"/>
                  </a:ext>
                </a:extLst>
              </p:cNvPr>
              <p:cNvSpPr/>
              <p:nvPr/>
            </p:nvSpPr>
            <p:spPr>
              <a:xfrm rot="9095194">
                <a:off x="6023247" y="5135776"/>
                <a:ext cx="152400" cy="97664"/>
              </a:xfrm>
              <a:prstGeom prs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4" name="Group 934">
              <a:extLst>
                <a:ext uri="{FF2B5EF4-FFF2-40B4-BE49-F238E27FC236}">
                  <a16:creationId xmlns:a16="http://schemas.microsoft.com/office/drawing/2014/main" id="{62B33CD6-7AC4-8F48-88B5-5D03C0E74DF9}"/>
                </a:ext>
              </a:extLst>
            </p:cNvPr>
            <p:cNvGrpSpPr>
              <a:grpSpLocks noChangeAspect="1"/>
            </p:cNvGrpSpPr>
            <p:nvPr/>
          </p:nvGrpSpPr>
          <p:grpSpPr bwMode="auto">
            <a:xfrm>
              <a:off x="5485465" y="2191930"/>
              <a:ext cx="369021" cy="369021"/>
              <a:chOff x="1155" y="3472"/>
              <a:chExt cx="340" cy="340"/>
            </a:xfrm>
            <a:solidFill>
              <a:schemeClr val="bg1"/>
            </a:solidFill>
          </p:grpSpPr>
          <p:sp>
            <p:nvSpPr>
              <p:cNvPr id="105" name="Freeform 935">
                <a:extLst>
                  <a:ext uri="{FF2B5EF4-FFF2-40B4-BE49-F238E27FC236}">
                    <a16:creationId xmlns:a16="http://schemas.microsoft.com/office/drawing/2014/main" id="{87D12269-3AAE-1C4B-9BF5-54C34399D295}"/>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6" name="Freeform 936">
                <a:extLst>
                  <a:ext uri="{FF2B5EF4-FFF2-40B4-BE49-F238E27FC236}">
                    <a16:creationId xmlns:a16="http://schemas.microsoft.com/office/drawing/2014/main" id="{6CADD485-DC8B-8D49-A272-435DBB9DC0BD}"/>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7" name="Group 892">
              <a:extLst>
                <a:ext uri="{FF2B5EF4-FFF2-40B4-BE49-F238E27FC236}">
                  <a16:creationId xmlns:a16="http://schemas.microsoft.com/office/drawing/2014/main" id="{D5A71527-1187-574C-B4CC-BFFA4818DB4B}"/>
                </a:ext>
              </a:extLst>
            </p:cNvPr>
            <p:cNvGrpSpPr>
              <a:grpSpLocks noChangeAspect="1"/>
            </p:cNvGrpSpPr>
            <p:nvPr/>
          </p:nvGrpSpPr>
          <p:grpSpPr bwMode="auto">
            <a:xfrm>
              <a:off x="4967135" y="3474342"/>
              <a:ext cx="369021" cy="370106"/>
              <a:chOff x="4270" y="3457"/>
              <a:chExt cx="340" cy="341"/>
            </a:xfrm>
            <a:solidFill>
              <a:schemeClr val="bg1"/>
            </a:solidFill>
          </p:grpSpPr>
          <p:sp>
            <p:nvSpPr>
              <p:cNvPr id="108" name="Freeform 893">
                <a:extLst>
                  <a:ext uri="{FF2B5EF4-FFF2-40B4-BE49-F238E27FC236}">
                    <a16:creationId xmlns:a16="http://schemas.microsoft.com/office/drawing/2014/main" id="{B8883E3E-4EE8-A240-A7A6-B08CD19F2410}"/>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894">
                <a:extLst>
                  <a:ext uri="{FF2B5EF4-FFF2-40B4-BE49-F238E27FC236}">
                    <a16:creationId xmlns:a16="http://schemas.microsoft.com/office/drawing/2014/main" id="{0188FF3B-B77C-F949-8BC3-ACFF0AB28DAD}"/>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0" name="Group 29">
              <a:extLst>
                <a:ext uri="{FF2B5EF4-FFF2-40B4-BE49-F238E27FC236}">
                  <a16:creationId xmlns:a16="http://schemas.microsoft.com/office/drawing/2014/main" id="{710552DC-3EA5-4342-9239-3337696746F1}"/>
                </a:ext>
              </a:extLst>
            </p:cNvPr>
            <p:cNvGrpSpPr>
              <a:grpSpLocks noChangeAspect="1"/>
            </p:cNvGrpSpPr>
            <p:nvPr/>
          </p:nvGrpSpPr>
          <p:grpSpPr bwMode="auto">
            <a:xfrm>
              <a:off x="4959772" y="2739887"/>
              <a:ext cx="367631" cy="367631"/>
              <a:chOff x="2899" y="653"/>
              <a:chExt cx="340" cy="340"/>
            </a:xfrm>
            <a:solidFill>
              <a:schemeClr val="bg1"/>
            </a:solidFill>
          </p:grpSpPr>
          <p:sp>
            <p:nvSpPr>
              <p:cNvPr id="111" name="Freeform 30">
                <a:extLst>
                  <a:ext uri="{FF2B5EF4-FFF2-40B4-BE49-F238E27FC236}">
                    <a16:creationId xmlns:a16="http://schemas.microsoft.com/office/drawing/2014/main" id="{8AB3F344-9B0A-2A48-B359-6C1F149927BD}"/>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2" name="Freeform 31">
                <a:extLst>
                  <a:ext uri="{FF2B5EF4-FFF2-40B4-BE49-F238E27FC236}">
                    <a16:creationId xmlns:a16="http://schemas.microsoft.com/office/drawing/2014/main" id="{72314721-DF36-9C47-9B29-4C9DBD756F2E}"/>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32">
                <a:extLst>
                  <a:ext uri="{FF2B5EF4-FFF2-40B4-BE49-F238E27FC236}">
                    <a16:creationId xmlns:a16="http://schemas.microsoft.com/office/drawing/2014/main" id="{5F0A1510-2BCF-CB44-8DA8-B5B9B797A638}"/>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4" name="Group 749">
              <a:extLst>
                <a:ext uri="{FF2B5EF4-FFF2-40B4-BE49-F238E27FC236}">
                  <a16:creationId xmlns:a16="http://schemas.microsoft.com/office/drawing/2014/main" id="{0D210CB7-58AD-E848-8ED7-F806FB639EE1}"/>
                </a:ext>
              </a:extLst>
            </p:cNvPr>
            <p:cNvGrpSpPr>
              <a:grpSpLocks noChangeAspect="1"/>
            </p:cNvGrpSpPr>
            <p:nvPr/>
          </p:nvGrpSpPr>
          <p:grpSpPr bwMode="auto">
            <a:xfrm>
              <a:off x="6824649" y="2738863"/>
              <a:ext cx="369676" cy="369676"/>
              <a:chOff x="3520" y="2686"/>
              <a:chExt cx="340" cy="340"/>
            </a:xfrm>
            <a:solidFill>
              <a:schemeClr val="bg1"/>
            </a:solidFill>
          </p:grpSpPr>
          <p:sp>
            <p:nvSpPr>
              <p:cNvPr id="115" name="Freeform 750">
                <a:extLst>
                  <a:ext uri="{FF2B5EF4-FFF2-40B4-BE49-F238E27FC236}">
                    <a16:creationId xmlns:a16="http://schemas.microsoft.com/office/drawing/2014/main" id="{50F416D7-FB9A-374E-846A-AC688BFDEFEE}"/>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6" name="Freeform 751">
                <a:extLst>
                  <a:ext uri="{FF2B5EF4-FFF2-40B4-BE49-F238E27FC236}">
                    <a16:creationId xmlns:a16="http://schemas.microsoft.com/office/drawing/2014/main" id="{818AE87A-BDB1-8740-9B91-3F589F016790}"/>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752">
                <a:extLst>
                  <a:ext uri="{FF2B5EF4-FFF2-40B4-BE49-F238E27FC236}">
                    <a16:creationId xmlns:a16="http://schemas.microsoft.com/office/drawing/2014/main" id="{C820BB09-8ECB-4445-A0AB-9F197126BE85}"/>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8" name="Freeform 79">
              <a:extLst>
                <a:ext uri="{FF2B5EF4-FFF2-40B4-BE49-F238E27FC236}">
                  <a16:creationId xmlns:a16="http://schemas.microsoft.com/office/drawing/2014/main" id="{3BB94968-1E27-5844-87C9-73ED0C47AC03}"/>
                </a:ext>
              </a:extLst>
            </p:cNvPr>
            <p:cNvSpPr>
              <a:spLocks noChangeAspect="1" noEditPoints="1"/>
            </p:cNvSpPr>
            <p:nvPr/>
          </p:nvSpPr>
          <p:spPr bwMode="auto">
            <a:xfrm>
              <a:off x="6259156" y="2173149"/>
              <a:ext cx="367631" cy="367631"/>
            </a:xfrm>
            <a:custGeom>
              <a:avLst/>
              <a:gdLst>
                <a:gd name="T0" fmla="*/ 341 w 512"/>
                <a:gd name="T1" fmla="*/ 277 h 512"/>
                <a:gd name="T2" fmla="*/ 341 w 512"/>
                <a:gd name="T3" fmla="*/ 256 h 512"/>
                <a:gd name="T4" fmla="*/ 297 w 512"/>
                <a:gd name="T5" fmla="*/ 217 h 512"/>
                <a:gd name="T6" fmla="*/ 266 w 512"/>
                <a:gd name="T7" fmla="*/ 123 h 512"/>
                <a:gd name="T8" fmla="*/ 256 w 512"/>
                <a:gd name="T9" fmla="*/ 96 h 512"/>
                <a:gd name="T10" fmla="*/ 245 w 512"/>
                <a:gd name="T11" fmla="*/ 123 h 512"/>
                <a:gd name="T12" fmla="*/ 214 w 512"/>
                <a:gd name="T13" fmla="*/ 217 h 512"/>
                <a:gd name="T14" fmla="*/ 170 w 512"/>
                <a:gd name="T15" fmla="*/ 256 h 512"/>
                <a:gd name="T16" fmla="*/ 170 w 512"/>
                <a:gd name="T17" fmla="*/ 277 h 512"/>
                <a:gd name="T18" fmla="*/ 139 w 512"/>
                <a:gd name="T19" fmla="*/ 401 h 512"/>
                <a:gd name="T20" fmla="*/ 149 w 512"/>
                <a:gd name="T21" fmla="*/ 416 h 512"/>
                <a:gd name="T22" fmla="*/ 213 w 512"/>
                <a:gd name="T23" fmla="*/ 277 h 512"/>
                <a:gd name="T24" fmla="*/ 245 w 512"/>
                <a:gd name="T25" fmla="*/ 288 h 512"/>
                <a:gd name="T26" fmla="*/ 266 w 512"/>
                <a:gd name="T27" fmla="*/ 288 h 512"/>
                <a:gd name="T28" fmla="*/ 298 w 512"/>
                <a:gd name="T29" fmla="*/ 277 h 512"/>
                <a:gd name="T30" fmla="*/ 362 w 512"/>
                <a:gd name="T31" fmla="*/ 416 h 512"/>
                <a:gd name="T32" fmla="*/ 372 w 512"/>
                <a:gd name="T33" fmla="*/ 401 h 512"/>
                <a:gd name="T34" fmla="*/ 266 w 512"/>
                <a:gd name="T35" fmla="*/ 256 h 512"/>
                <a:gd name="T36" fmla="*/ 256 w 512"/>
                <a:gd name="T37" fmla="*/ 234 h 512"/>
                <a:gd name="T38" fmla="*/ 245 w 512"/>
                <a:gd name="T39" fmla="*/ 256 h 512"/>
                <a:gd name="T40" fmla="*/ 244 w 512"/>
                <a:gd name="T41" fmla="*/ 200 h 512"/>
                <a:gd name="T42" fmla="*/ 224 w 512"/>
                <a:gd name="T43" fmla="*/ 192 h 512"/>
                <a:gd name="T44" fmla="*/ 220 w 512"/>
                <a:gd name="T45" fmla="*/ 178 h 512"/>
                <a:gd name="T46" fmla="*/ 291 w 512"/>
                <a:gd name="T47" fmla="*/ 178 h 512"/>
                <a:gd name="T48" fmla="*/ 287 w 512"/>
                <a:gd name="T49" fmla="*/ 192 h 512"/>
                <a:gd name="T50" fmla="*/ 267 w 512"/>
                <a:gd name="T51" fmla="*/ 200 h 512"/>
                <a:gd name="T52" fmla="*/ 266 w 512"/>
                <a:gd name="T53" fmla="*/ 256 h 512"/>
                <a:gd name="T54" fmla="*/ 0 w 512"/>
                <a:gd name="T55" fmla="*/ 256 h 512"/>
                <a:gd name="T56" fmla="*/ 512 w 512"/>
                <a:gd name="T57" fmla="*/ 256 h 512"/>
                <a:gd name="T58" fmla="*/ 256 w 512"/>
                <a:gd name="T59" fmla="*/ 490 h 512"/>
                <a:gd name="T60" fmla="*/ 256 w 512"/>
                <a:gd name="T61" fmla="*/ 21 h 512"/>
                <a:gd name="T62" fmla="*/ 256 w 512"/>
                <a:gd name="T63"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1" y="277"/>
                  </a:moveTo>
                  <a:cubicBezTo>
                    <a:pt x="341" y="277"/>
                    <a:pt x="341" y="277"/>
                    <a:pt x="341" y="277"/>
                  </a:cubicBezTo>
                  <a:cubicBezTo>
                    <a:pt x="347" y="277"/>
                    <a:pt x="352" y="272"/>
                    <a:pt x="352" y="266"/>
                  </a:cubicBezTo>
                  <a:cubicBezTo>
                    <a:pt x="352" y="260"/>
                    <a:pt x="347" y="256"/>
                    <a:pt x="341" y="256"/>
                  </a:cubicBezTo>
                  <a:cubicBezTo>
                    <a:pt x="313" y="256"/>
                    <a:pt x="313" y="256"/>
                    <a:pt x="313" y="256"/>
                  </a:cubicBezTo>
                  <a:cubicBezTo>
                    <a:pt x="297" y="217"/>
                    <a:pt x="297" y="217"/>
                    <a:pt x="297" y="217"/>
                  </a:cubicBezTo>
                  <a:cubicBezTo>
                    <a:pt x="307" y="207"/>
                    <a:pt x="312" y="193"/>
                    <a:pt x="312" y="178"/>
                  </a:cubicBezTo>
                  <a:cubicBezTo>
                    <a:pt x="312" y="151"/>
                    <a:pt x="293" y="128"/>
                    <a:pt x="266" y="123"/>
                  </a:cubicBezTo>
                  <a:cubicBezTo>
                    <a:pt x="266" y="106"/>
                    <a:pt x="266" y="106"/>
                    <a:pt x="266" y="106"/>
                  </a:cubicBezTo>
                  <a:cubicBezTo>
                    <a:pt x="266" y="100"/>
                    <a:pt x="262" y="96"/>
                    <a:pt x="256" y="96"/>
                  </a:cubicBezTo>
                  <a:cubicBezTo>
                    <a:pt x="250" y="96"/>
                    <a:pt x="245" y="100"/>
                    <a:pt x="245" y="106"/>
                  </a:cubicBezTo>
                  <a:cubicBezTo>
                    <a:pt x="245" y="123"/>
                    <a:pt x="245" y="123"/>
                    <a:pt x="245" y="123"/>
                  </a:cubicBezTo>
                  <a:cubicBezTo>
                    <a:pt x="219" y="128"/>
                    <a:pt x="199" y="151"/>
                    <a:pt x="199" y="178"/>
                  </a:cubicBezTo>
                  <a:cubicBezTo>
                    <a:pt x="199" y="193"/>
                    <a:pt x="204" y="207"/>
                    <a:pt x="214" y="217"/>
                  </a:cubicBezTo>
                  <a:cubicBezTo>
                    <a:pt x="199" y="256"/>
                    <a:pt x="199" y="256"/>
                    <a:pt x="199" y="256"/>
                  </a:cubicBezTo>
                  <a:cubicBezTo>
                    <a:pt x="170" y="256"/>
                    <a:pt x="170" y="256"/>
                    <a:pt x="170" y="256"/>
                  </a:cubicBezTo>
                  <a:cubicBezTo>
                    <a:pt x="164" y="256"/>
                    <a:pt x="160" y="260"/>
                    <a:pt x="160" y="266"/>
                  </a:cubicBezTo>
                  <a:cubicBezTo>
                    <a:pt x="160" y="272"/>
                    <a:pt x="164" y="277"/>
                    <a:pt x="170" y="277"/>
                  </a:cubicBezTo>
                  <a:cubicBezTo>
                    <a:pt x="190" y="277"/>
                    <a:pt x="190" y="277"/>
                    <a:pt x="190" y="277"/>
                  </a:cubicBezTo>
                  <a:cubicBezTo>
                    <a:pt x="139" y="401"/>
                    <a:pt x="139" y="401"/>
                    <a:pt x="139" y="401"/>
                  </a:cubicBezTo>
                  <a:cubicBezTo>
                    <a:pt x="137" y="406"/>
                    <a:pt x="140" y="413"/>
                    <a:pt x="145" y="415"/>
                  </a:cubicBezTo>
                  <a:cubicBezTo>
                    <a:pt x="146" y="415"/>
                    <a:pt x="148" y="416"/>
                    <a:pt x="149" y="416"/>
                  </a:cubicBezTo>
                  <a:cubicBezTo>
                    <a:pt x="153" y="416"/>
                    <a:pt x="157" y="413"/>
                    <a:pt x="159" y="409"/>
                  </a:cubicBezTo>
                  <a:cubicBezTo>
                    <a:pt x="213" y="277"/>
                    <a:pt x="213" y="277"/>
                    <a:pt x="213" y="277"/>
                  </a:cubicBezTo>
                  <a:cubicBezTo>
                    <a:pt x="245" y="277"/>
                    <a:pt x="245" y="277"/>
                    <a:pt x="245" y="277"/>
                  </a:cubicBezTo>
                  <a:cubicBezTo>
                    <a:pt x="245" y="288"/>
                    <a:pt x="245" y="288"/>
                    <a:pt x="245" y="288"/>
                  </a:cubicBezTo>
                  <a:cubicBezTo>
                    <a:pt x="245" y="294"/>
                    <a:pt x="250" y="298"/>
                    <a:pt x="256" y="298"/>
                  </a:cubicBezTo>
                  <a:cubicBezTo>
                    <a:pt x="262" y="298"/>
                    <a:pt x="266" y="294"/>
                    <a:pt x="266" y="288"/>
                  </a:cubicBezTo>
                  <a:cubicBezTo>
                    <a:pt x="266" y="277"/>
                    <a:pt x="266" y="277"/>
                    <a:pt x="266" y="277"/>
                  </a:cubicBezTo>
                  <a:cubicBezTo>
                    <a:pt x="298" y="277"/>
                    <a:pt x="298" y="277"/>
                    <a:pt x="298" y="277"/>
                  </a:cubicBezTo>
                  <a:cubicBezTo>
                    <a:pt x="352" y="409"/>
                    <a:pt x="352" y="409"/>
                    <a:pt x="352" y="409"/>
                  </a:cubicBezTo>
                  <a:cubicBezTo>
                    <a:pt x="354" y="413"/>
                    <a:pt x="358" y="416"/>
                    <a:pt x="362" y="416"/>
                  </a:cubicBezTo>
                  <a:cubicBezTo>
                    <a:pt x="364" y="416"/>
                    <a:pt x="365" y="415"/>
                    <a:pt x="366" y="415"/>
                  </a:cubicBezTo>
                  <a:cubicBezTo>
                    <a:pt x="372" y="413"/>
                    <a:pt x="374" y="406"/>
                    <a:pt x="372" y="401"/>
                  </a:cubicBezTo>
                  <a:lnTo>
                    <a:pt x="321" y="277"/>
                  </a:lnTo>
                  <a:close/>
                  <a:moveTo>
                    <a:pt x="266" y="256"/>
                  </a:moveTo>
                  <a:cubicBezTo>
                    <a:pt x="266" y="245"/>
                    <a:pt x="266" y="245"/>
                    <a:pt x="266" y="245"/>
                  </a:cubicBezTo>
                  <a:cubicBezTo>
                    <a:pt x="266" y="239"/>
                    <a:pt x="262" y="234"/>
                    <a:pt x="256" y="234"/>
                  </a:cubicBezTo>
                  <a:cubicBezTo>
                    <a:pt x="250" y="234"/>
                    <a:pt x="245" y="239"/>
                    <a:pt x="245" y="245"/>
                  </a:cubicBezTo>
                  <a:cubicBezTo>
                    <a:pt x="245" y="256"/>
                    <a:pt x="245" y="256"/>
                    <a:pt x="245" y="256"/>
                  </a:cubicBezTo>
                  <a:cubicBezTo>
                    <a:pt x="222" y="256"/>
                    <a:pt x="222" y="256"/>
                    <a:pt x="222" y="256"/>
                  </a:cubicBezTo>
                  <a:cubicBezTo>
                    <a:pt x="244" y="200"/>
                    <a:pt x="244" y="200"/>
                    <a:pt x="244" y="200"/>
                  </a:cubicBezTo>
                  <a:cubicBezTo>
                    <a:pt x="246" y="195"/>
                    <a:pt x="244" y="189"/>
                    <a:pt x="238" y="187"/>
                  </a:cubicBezTo>
                  <a:cubicBezTo>
                    <a:pt x="233" y="184"/>
                    <a:pt x="227" y="187"/>
                    <a:pt x="224" y="192"/>
                  </a:cubicBezTo>
                  <a:cubicBezTo>
                    <a:pt x="224" y="194"/>
                    <a:pt x="224" y="194"/>
                    <a:pt x="224" y="194"/>
                  </a:cubicBezTo>
                  <a:cubicBezTo>
                    <a:pt x="222" y="189"/>
                    <a:pt x="220" y="184"/>
                    <a:pt x="220" y="178"/>
                  </a:cubicBezTo>
                  <a:cubicBezTo>
                    <a:pt x="220" y="159"/>
                    <a:pt x="236" y="143"/>
                    <a:pt x="256" y="143"/>
                  </a:cubicBezTo>
                  <a:cubicBezTo>
                    <a:pt x="275" y="143"/>
                    <a:pt x="291" y="159"/>
                    <a:pt x="291" y="178"/>
                  </a:cubicBezTo>
                  <a:cubicBezTo>
                    <a:pt x="291" y="184"/>
                    <a:pt x="290" y="189"/>
                    <a:pt x="287" y="194"/>
                  </a:cubicBezTo>
                  <a:cubicBezTo>
                    <a:pt x="287" y="192"/>
                    <a:pt x="287" y="192"/>
                    <a:pt x="287" y="192"/>
                  </a:cubicBezTo>
                  <a:cubicBezTo>
                    <a:pt x="285" y="187"/>
                    <a:pt x="278" y="184"/>
                    <a:pt x="273" y="187"/>
                  </a:cubicBezTo>
                  <a:cubicBezTo>
                    <a:pt x="268" y="189"/>
                    <a:pt x="265" y="195"/>
                    <a:pt x="267" y="200"/>
                  </a:cubicBezTo>
                  <a:cubicBezTo>
                    <a:pt x="290" y="256"/>
                    <a:pt x="290" y="256"/>
                    <a:pt x="290" y="256"/>
                  </a:cubicBezTo>
                  <a:lnTo>
                    <a:pt x="266"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9" name="Group 902">
              <a:extLst>
                <a:ext uri="{FF2B5EF4-FFF2-40B4-BE49-F238E27FC236}">
                  <a16:creationId xmlns:a16="http://schemas.microsoft.com/office/drawing/2014/main" id="{A1C5CFAC-304C-F94A-BF5D-18BC37E2A9CD}"/>
                </a:ext>
              </a:extLst>
            </p:cNvPr>
            <p:cNvGrpSpPr>
              <a:grpSpLocks noChangeAspect="1"/>
            </p:cNvGrpSpPr>
            <p:nvPr/>
          </p:nvGrpSpPr>
          <p:grpSpPr bwMode="auto">
            <a:xfrm>
              <a:off x="6842967" y="3523708"/>
              <a:ext cx="370106" cy="369021"/>
              <a:chOff x="3456" y="3471"/>
              <a:chExt cx="341" cy="340"/>
            </a:xfrm>
            <a:solidFill>
              <a:schemeClr val="bg1"/>
            </a:solidFill>
          </p:grpSpPr>
          <p:sp>
            <p:nvSpPr>
              <p:cNvPr id="120" name="Freeform 903">
                <a:extLst>
                  <a:ext uri="{FF2B5EF4-FFF2-40B4-BE49-F238E27FC236}">
                    <a16:creationId xmlns:a16="http://schemas.microsoft.com/office/drawing/2014/main" id="{283FD863-816D-BC41-9F87-F3B0A378835E}"/>
                  </a:ext>
                </a:extLst>
              </p:cNvPr>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1" name="Freeform 904">
                <a:extLst>
                  <a:ext uri="{FF2B5EF4-FFF2-40B4-BE49-F238E27FC236}">
                    <a16:creationId xmlns:a16="http://schemas.microsoft.com/office/drawing/2014/main" id="{609C0A38-ECFE-0848-8B49-5A087FEB69EA}"/>
                  </a:ext>
                </a:extLst>
              </p:cNvPr>
              <p:cNvSpPr>
                <a:spLocks noEditPoints="1"/>
              </p:cNvSpPr>
              <p:nvPr/>
            </p:nvSpPr>
            <p:spPr bwMode="auto">
              <a:xfrm>
                <a:off x="3520" y="3546"/>
                <a:ext cx="214" cy="173"/>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22" name="Group 360">
              <a:extLst>
                <a:ext uri="{FF2B5EF4-FFF2-40B4-BE49-F238E27FC236}">
                  <a16:creationId xmlns:a16="http://schemas.microsoft.com/office/drawing/2014/main" id="{30CAB807-A396-5C4D-811A-504BB4300FDB}"/>
                </a:ext>
              </a:extLst>
            </p:cNvPr>
            <p:cNvGrpSpPr>
              <a:grpSpLocks noChangeAspect="1"/>
            </p:cNvGrpSpPr>
            <p:nvPr/>
          </p:nvGrpSpPr>
          <p:grpSpPr bwMode="auto">
            <a:xfrm>
              <a:off x="6269307" y="4032994"/>
              <a:ext cx="367631" cy="367631"/>
              <a:chOff x="5799" y="1235"/>
              <a:chExt cx="340" cy="340"/>
            </a:xfrm>
            <a:solidFill>
              <a:schemeClr val="bg1"/>
            </a:solidFill>
          </p:grpSpPr>
          <p:sp>
            <p:nvSpPr>
              <p:cNvPr id="123" name="Freeform 361">
                <a:extLst>
                  <a:ext uri="{FF2B5EF4-FFF2-40B4-BE49-F238E27FC236}">
                    <a16:creationId xmlns:a16="http://schemas.microsoft.com/office/drawing/2014/main" id="{9C9C372C-FD5B-A64C-BC0E-D28E484D746A}"/>
                  </a:ext>
                </a:extLst>
              </p:cNvPr>
              <p:cNvSpPr>
                <a:spLocks noEditPoints="1"/>
              </p:cNvSpPr>
              <p:nvPr/>
            </p:nvSpPr>
            <p:spPr bwMode="auto">
              <a:xfrm>
                <a:off x="5891" y="1299"/>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4" name="Freeform 362">
                <a:extLst>
                  <a:ext uri="{FF2B5EF4-FFF2-40B4-BE49-F238E27FC236}">
                    <a16:creationId xmlns:a16="http://schemas.microsoft.com/office/drawing/2014/main" id="{891C0039-8D06-4C45-B365-9A69F47E9F50}"/>
                  </a:ext>
                </a:extLst>
              </p:cNvPr>
              <p:cNvSpPr>
                <a:spLocks noEditPoints="1"/>
              </p:cNvSpPr>
              <p:nvPr/>
            </p:nvSpPr>
            <p:spPr bwMode="auto">
              <a:xfrm>
                <a:off x="5799" y="12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custDataLst>
      <p:tags r:id="rId1"/>
    </p:custDataLst>
    <p:extLst>
      <p:ext uri="{BB962C8B-B14F-4D97-AF65-F5344CB8AC3E}">
        <p14:creationId xmlns:p14="http://schemas.microsoft.com/office/powerpoint/2010/main" val="3163271354"/>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08056E8-EBC0-4C79-B40D-DBFC28505EAE}"/>
              </a:ext>
            </a:extLst>
          </p:cNvPr>
          <p:cNvGrpSpPr/>
          <p:nvPr/>
        </p:nvGrpSpPr>
        <p:grpSpPr>
          <a:xfrm>
            <a:off x="1003388" y="1318161"/>
            <a:ext cx="10149596" cy="3577597"/>
            <a:chOff x="1850568" y="2020574"/>
            <a:chExt cx="8638340" cy="3044898"/>
          </a:xfrm>
        </p:grpSpPr>
        <p:cxnSp>
          <p:nvCxnSpPr>
            <p:cNvPr id="5" name="Straight Connector 73">
              <a:extLst>
                <a:ext uri="{FF2B5EF4-FFF2-40B4-BE49-F238E27FC236}">
                  <a16:creationId xmlns:a16="http://schemas.microsoft.com/office/drawing/2014/main" id="{74AAA5C3-571F-4248-92DC-29CFC2CF5199}"/>
                </a:ext>
              </a:extLst>
            </p:cNvPr>
            <p:cNvCxnSpPr/>
            <p:nvPr/>
          </p:nvCxnSpPr>
          <p:spPr>
            <a:xfrm>
              <a:off x="4031566" y="3684398"/>
              <a:ext cx="92049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74">
              <a:extLst>
                <a:ext uri="{FF2B5EF4-FFF2-40B4-BE49-F238E27FC236}">
                  <a16:creationId xmlns:a16="http://schemas.microsoft.com/office/drawing/2014/main" id="{007BC21D-B3CE-4BF3-BCD5-CCCBB4DC9FF7}"/>
                </a:ext>
              </a:extLst>
            </p:cNvPr>
            <p:cNvCxnSpPr/>
            <p:nvPr/>
          </p:nvCxnSpPr>
          <p:spPr>
            <a:xfrm>
              <a:off x="4096055" y="4796950"/>
              <a:ext cx="161800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77">
              <a:extLst>
                <a:ext uri="{FF2B5EF4-FFF2-40B4-BE49-F238E27FC236}">
                  <a16:creationId xmlns:a16="http://schemas.microsoft.com/office/drawing/2014/main" id="{F2CD534C-1D39-44E5-B840-E38AE0DBE98F}"/>
                </a:ext>
              </a:extLst>
            </p:cNvPr>
            <p:cNvCxnSpPr/>
            <p:nvPr/>
          </p:nvCxnSpPr>
          <p:spPr>
            <a:xfrm>
              <a:off x="5295970" y="2349504"/>
              <a:ext cx="189490" cy="24238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Freeform 5">
              <a:extLst>
                <a:ext uri="{FF2B5EF4-FFF2-40B4-BE49-F238E27FC236}">
                  <a16:creationId xmlns:a16="http://schemas.microsoft.com/office/drawing/2014/main" id="{D94F49BE-6D31-4BA6-9CAC-D2AE87AAB6E7}"/>
                </a:ext>
              </a:extLst>
            </p:cNvPr>
            <p:cNvSpPr>
              <a:spLocks/>
            </p:cNvSpPr>
            <p:nvPr/>
          </p:nvSpPr>
          <p:spPr bwMode="auto">
            <a:xfrm>
              <a:off x="4875860" y="2893266"/>
              <a:ext cx="1219200" cy="1402079"/>
            </a:xfrm>
            <a:custGeom>
              <a:avLst/>
              <a:gdLst>
                <a:gd name="T0" fmla="*/ 0 w 600"/>
                <a:gd name="T1" fmla="*/ 690 h 690"/>
                <a:gd name="T2" fmla="*/ 600 w 600"/>
                <a:gd name="T3" fmla="*/ 368 h 690"/>
                <a:gd name="T4" fmla="*/ 2 w 600"/>
                <a:gd name="T5" fmla="*/ 0 h 690"/>
                <a:gd name="T6" fmla="*/ 0 w 600"/>
                <a:gd name="T7" fmla="*/ 690 h 690"/>
              </a:gdLst>
              <a:ahLst/>
              <a:cxnLst>
                <a:cxn ang="0">
                  <a:pos x="T0" y="T1"/>
                </a:cxn>
                <a:cxn ang="0">
                  <a:pos x="T2" y="T3"/>
                </a:cxn>
                <a:cxn ang="0">
                  <a:pos x="T4" y="T5"/>
                </a:cxn>
                <a:cxn ang="0">
                  <a:pos x="T6" y="T7"/>
                </a:cxn>
              </a:cxnLst>
              <a:rect l="0" t="0" r="r" b="b"/>
              <a:pathLst>
                <a:path w="600" h="690">
                  <a:moveTo>
                    <a:pt x="0" y="690"/>
                  </a:moveTo>
                  <a:lnTo>
                    <a:pt x="600" y="368"/>
                  </a:lnTo>
                  <a:lnTo>
                    <a:pt x="2" y="0"/>
                  </a:lnTo>
                  <a:lnTo>
                    <a:pt x="0" y="690"/>
                  </a:lnTo>
                  <a:close/>
                </a:path>
              </a:pathLst>
            </a:custGeom>
            <a:solidFill>
              <a:srgbClr val="43B02A"/>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C7387B8D-E7C8-48FA-88FA-BAF6C7A69918}"/>
                </a:ext>
              </a:extLst>
            </p:cNvPr>
            <p:cNvSpPr>
              <a:spLocks/>
            </p:cNvSpPr>
            <p:nvPr/>
          </p:nvSpPr>
          <p:spPr bwMode="auto">
            <a:xfrm>
              <a:off x="6095060" y="2893266"/>
              <a:ext cx="1219200" cy="1402079"/>
            </a:xfrm>
            <a:custGeom>
              <a:avLst/>
              <a:gdLst>
                <a:gd name="T0" fmla="*/ 600 w 600"/>
                <a:gd name="T1" fmla="*/ 690 h 690"/>
                <a:gd name="T2" fmla="*/ 0 w 600"/>
                <a:gd name="T3" fmla="*/ 368 h 690"/>
                <a:gd name="T4" fmla="*/ 597 w 600"/>
                <a:gd name="T5" fmla="*/ 0 h 690"/>
                <a:gd name="T6" fmla="*/ 600 w 600"/>
                <a:gd name="T7" fmla="*/ 690 h 690"/>
              </a:gdLst>
              <a:ahLst/>
              <a:cxnLst>
                <a:cxn ang="0">
                  <a:pos x="T0" y="T1"/>
                </a:cxn>
                <a:cxn ang="0">
                  <a:pos x="T2" y="T3"/>
                </a:cxn>
                <a:cxn ang="0">
                  <a:pos x="T4" y="T5"/>
                </a:cxn>
                <a:cxn ang="0">
                  <a:pos x="T6" y="T7"/>
                </a:cxn>
              </a:cxnLst>
              <a:rect l="0" t="0" r="r" b="b"/>
              <a:pathLst>
                <a:path w="600" h="690">
                  <a:moveTo>
                    <a:pt x="600" y="690"/>
                  </a:moveTo>
                  <a:lnTo>
                    <a:pt x="0" y="368"/>
                  </a:lnTo>
                  <a:lnTo>
                    <a:pt x="597" y="0"/>
                  </a:lnTo>
                  <a:lnTo>
                    <a:pt x="600" y="690"/>
                  </a:lnTo>
                  <a:close/>
                </a:path>
              </a:pathLst>
            </a:custGeom>
            <a:solidFill>
              <a:schemeClr val="accent3"/>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7">
              <a:extLst>
                <a:ext uri="{FF2B5EF4-FFF2-40B4-BE49-F238E27FC236}">
                  <a16:creationId xmlns:a16="http://schemas.microsoft.com/office/drawing/2014/main" id="{16C27730-D95A-452D-AF16-96351B4CFAD3}"/>
                </a:ext>
              </a:extLst>
            </p:cNvPr>
            <p:cNvSpPr>
              <a:spLocks/>
            </p:cNvSpPr>
            <p:nvPr/>
          </p:nvSpPr>
          <p:spPr bwMode="auto">
            <a:xfrm>
              <a:off x="6095060" y="2218642"/>
              <a:ext cx="1213104" cy="1422399"/>
            </a:xfrm>
            <a:custGeom>
              <a:avLst/>
              <a:gdLst>
                <a:gd name="T0" fmla="*/ 597 w 597"/>
                <a:gd name="T1" fmla="*/ 332 h 700"/>
                <a:gd name="T2" fmla="*/ 0 w 597"/>
                <a:gd name="T3" fmla="*/ 700 h 700"/>
                <a:gd name="T4" fmla="*/ 0 w 597"/>
                <a:gd name="T5" fmla="*/ 0 h 700"/>
                <a:gd name="T6" fmla="*/ 597 w 597"/>
                <a:gd name="T7" fmla="*/ 332 h 700"/>
              </a:gdLst>
              <a:ahLst/>
              <a:cxnLst>
                <a:cxn ang="0">
                  <a:pos x="T0" y="T1"/>
                </a:cxn>
                <a:cxn ang="0">
                  <a:pos x="T2" y="T3"/>
                </a:cxn>
                <a:cxn ang="0">
                  <a:pos x="T4" y="T5"/>
                </a:cxn>
                <a:cxn ang="0">
                  <a:pos x="T6" y="T7"/>
                </a:cxn>
              </a:cxnLst>
              <a:rect l="0" t="0" r="r" b="b"/>
              <a:pathLst>
                <a:path w="597" h="700">
                  <a:moveTo>
                    <a:pt x="597" y="332"/>
                  </a:moveTo>
                  <a:lnTo>
                    <a:pt x="0" y="700"/>
                  </a:lnTo>
                  <a:lnTo>
                    <a:pt x="0" y="0"/>
                  </a:lnTo>
                  <a:lnTo>
                    <a:pt x="597" y="332"/>
                  </a:lnTo>
                  <a:close/>
                </a:path>
              </a:pathLst>
            </a:custGeom>
            <a:solidFill>
              <a:srgbClr val="43B02A"/>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EB53303B-A498-42DA-BA2F-F023CB3E304F}"/>
                </a:ext>
              </a:extLst>
            </p:cNvPr>
            <p:cNvSpPr>
              <a:spLocks/>
            </p:cNvSpPr>
            <p:nvPr/>
          </p:nvSpPr>
          <p:spPr bwMode="auto">
            <a:xfrm>
              <a:off x="4879924" y="2218642"/>
              <a:ext cx="1215136" cy="1422399"/>
            </a:xfrm>
            <a:custGeom>
              <a:avLst/>
              <a:gdLst>
                <a:gd name="T0" fmla="*/ 0 w 598"/>
                <a:gd name="T1" fmla="*/ 332 h 700"/>
                <a:gd name="T2" fmla="*/ 598 w 598"/>
                <a:gd name="T3" fmla="*/ 700 h 700"/>
                <a:gd name="T4" fmla="*/ 597 w 598"/>
                <a:gd name="T5" fmla="*/ 0 h 700"/>
                <a:gd name="T6" fmla="*/ 0 w 598"/>
                <a:gd name="T7" fmla="*/ 332 h 700"/>
              </a:gdLst>
              <a:ahLst/>
              <a:cxnLst>
                <a:cxn ang="0">
                  <a:pos x="T0" y="T1"/>
                </a:cxn>
                <a:cxn ang="0">
                  <a:pos x="T2" y="T3"/>
                </a:cxn>
                <a:cxn ang="0">
                  <a:pos x="T4" y="T5"/>
                </a:cxn>
                <a:cxn ang="0">
                  <a:pos x="T6" y="T7"/>
                </a:cxn>
              </a:cxnLst>
              <a:rect l="0" t="0" r="r" b="b"/>
              <a:pathLst>
                <a:path w="598" h="700">
                  <a:moveTo>
                    <a:pt x="0" y="332"/>
                  </a:moveTo>
                  <a:lnTo>
                    <a:pt x="598" y="700"/>
                  </a:lnTo>
                  <a:lnTo>
                    <a:pt x="597" y="0"/>
                  </a:lnTo>
                  <a:lnTo>
                    <a:pt x="0" y="332"/>
                  </a:lnTo>
                  <a:close/>
                </a:path>
              </a:pathLst>
            </a:custGeom>
            <a:solidFill>
              <a:schemeClr val="accent3"/>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9">
              <a:extLst>
                <a:ext uri="{FF2B5EF4-FFF2-40B4-BE49-F238E27FC236}">
                  <a16:creationId xmlns:a16="http://schemas.microsoft.com/office/drawing/2014/main" id="{CBC97707-2D38-41A2-98D2-52A7B40CEA45}"/>
                </a:ext>
              </a:extLst>
            </p:cNvPr>
            <p:cNvSpPr>
              <a:spLocks/>
            </p:cNvSpPr>
            <p:nvPr/>
          </p:nvSpPr>
          <p:spPr bwMode="auto">
            <a:xfrm>
              <a:off x="6095060" y="3639009"/>
              <a:ext cx="1219200" cy="1426463"/>
            </a:xfrm>
            <a:custGeom>
              <a:avLst/>
              <a:gdLst>
                <a:gd name="T0" fmla="*/ 600 w 600"/>
                <a:gd name="T1" fmla="*/ 323 h 702"/>
                <a:gd name="T2" fmla="*/ 0 w 600"/>
                <a:gd name="T3" fmla="*/ 702 h 702"/>
                <a:gd name="T4" fmla="*/ 0 w 600"/>
                <a:gd name="T5" fmla="*/ 0 h 702"/>
                <a:gd name="T6" fmla="*/ 600 w 600"/>
                <a:gd name="T7" fmla="*/ 323 h 702"/>
              </a:gdLst>
              <a:ahLst/>
              <a:cxnLst>
                <a:cxn ang="0">
                  <a:pos x="T0" y="T1"/>
                </a:cxn>
                <a:cxn ang="0">
                  <a:pos x="T2" y="T3"/>
                </a:cxn>
                <a:cxn ang="0">
                  <a:pos x="T4" y="T5"/>
                </a:cxn>
                <a:cxn ang="0">
                  <a:pos x="T6" y="T7"/>
                </a:cxn>
              </a:cxnLst>
              <a:rect l="0" t="0" r="r" b="b"/>
              <a:pathLst>
                <a:path w="600" h="702">
                  <a:moveTo>
                    <a:pt x="600" y="323"/>
                  </a:moveTo>
                  <a:lnTo>
                    <a:pt x="0" y="702"/>
                  </a:lnTo>
                  <a:lnTo>
                    <a:pt x="0" y="0"/>
                  </a:lnTo>
                  <a:lnTo>
                    <a:pt x="600" y="323"/>
                  </a:lnTo>
                  <a:close/>
                </a:path>
              </a:pathLst>
            </a:custGeom>
            <a:solidFill>
              <a:srgbClr val="43B02A"/>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0">
              <a:extLst>
                <a:ext uri="{FF2B5EF4-FFF2-40B4-BE49-F238E27FC236}">
                  <a16:creationId xmlns:a16="http://schemas.microsoft.com/office/drawing/2014/main" id="{7EC5AC17-75AB-409A-A2FB-94C598C890B9}"/>
                </a:ext>
              </a:extLst>
            </p:cNvPr>
            <p:cNvSpPr>
              <a:spLocks/>
            </p:cNvSpPr>
            <p:nvPr/>
          </p:nvSpPr>
          <p:spPr bwMode="auto">
            <a:xfrm>
              <a:off x="4875860" y="3639009"/>
              <a:ext cx="1219200" cy="1426463"/>
            </a:xfrm>
            <a:custGeom>
              <a:avLst/>
              <a:gdLst>
                <a:gd name="T0" fmla="*/ 0 w 600"/>
                <a:gd name="T1" fmla="*/ 323 h 702"/>
                <a:gd name="T2" fmla="*/ 600 w 600"/>
                <a:gd name="T3" fmla="*/ 702 h 702"/>
                <a:gd name="T4" fmla="*/ 599 w 600"/>
                <a:gd name="T5" fmla="*/ 0 h 702"/>
                <a:gd name="T6" fmla="*/ 0 w 600"/>
                <a:gd name="T7" fmla="*/ 323 h 702"/>
              </a:gdLst>
              <a:ahLst/>
              <a:cxnLst>
                <a:cxn ang="0">
                  <a:pos x="T0" y="T1"/>
                </a:cxn>
                <a:cxn ang="0">
                  <a:pos x="T2" y="T3"/>
                </a:cxn>
                <a:cxn ang="0">
                  <a:pos x="T4" y="T5"/>
                </a:cxn>
                <a:cxn ang="0">
                  <a:pos x="T6" y="T7"/>
                </a:cxn>
              </a:cxnLst>
              <a:rect l="0" t="0" r="r" b="b"/>
              <a:pathLst>
                <a:path w="600" h="702">
                  <a:moveTo>
                    <a:pt x="0" y="323"/>
                  </a:moveTo>
                  <a:lnTo>
                    <a:pt x="600" y="702"/>
                  </a:lnTo>
                  <a:lnTo>
                    <a:pt x="599" y="0"/>
                  </a:lnTo>
                  <a:lnTo>
                    <a:pt x="0" y="323"/>
                  </a:lnTo>
                  <a:close/>
                </a:path>
              </a:pathLst>
            </a:custGeom>
            <a:solidFill>
              <a:schemeClr val="accent3"/>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1">
              <a:extLst>
                <a:ext uri="{FF2B5EF4-FFF2-40B4-BE49-F238E27FC236}">
                  <a16:creationId xmlns:a16="http://schemas.microsoft.com/office/drawing/2014/main" id="{69B3C8A7-2D84-4626-B0CD-094E04CCE407}"/>
                </a:ext>
              </a:extLst>
            </p:cNvPr>
            <p:cNvSpPr>
              <a:spLocks/>
            </p:cNvSpPr>
            <p:nvPr/>
          </p:nvSpPr>
          <p:spPr bwMode="auto">
            <a:xfrm>
              <a:off x="5601283" y="3340305"/>
              <a:ext cx="493776" cy="562864"/>
            </a:xfrm>
            <a:custGeom>
              <a:avLst/>
              <a:gdLst>
                <a:gd name="T0" fmla="*/ 0 w 243"/>
                <a:gd name="T1" fmla="*/ 277 h 277"/>
                <a:gd name="T2" fmla="*/ 243 w 243"/>
                <a:gd name="T3" fmla="*/ 148 h 277"/>
                <a:gd name="T4" fmla="*/ 2 w 243"/>
                <a:gd name="T5" fmla="*/ 0 h 277"/>
                <a:gd name="T6" fmla="*/ 0 w 243"/>
                <a:gd name="T7" fmla="*/ 277 h 277"/>
              </a:gdLst>
              <a:ahLst/>
              <a:cxnLst>
                <a:cxn ang="0">
                  <a:pos x="T0" y="T1"/>
                </a:cxn>
                <a:cxn ang="0">
                  <a:pos x="T2" y="T3"/>
                </a:cxn>
                <a:cxn ang="0">
                  <a:pos x="T4" y="T5"/>
                </a:cxn>
                <a:cxn ang="0">
                  <a:pos x="T6" y="T7"/>
                </a:cxn>
              </a:cxnLst>
              <a:rect l="0" t="0" r="r" b="b"/>
              <a:pathLst>
                <a:path w="243" h="277">
                  <a:moveTo>
                    <a:pt x="0" y="277"/>
                  </a:moveTo>
                  <a:lnTo>
                    <a:pt x="243" y="148"/>
                  </a:lnTo>
                  <a:lnTo>
                    <a:pt x="2" y="0"/>
                  </a:lnTo>
                  <a:lnTo>
                    <a:pt x="0" y="277"/>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2">
              <a:extLst>
                <a:ext uri="{FF2B5EF4-FFF2-40B4-BE49-F238E27FC236}">
                  <a16:creationId xmlns:a16="http://schemas.microsoft.com/office/drawing/2014/main" id="{AD33B8E2-DF25-482A-99CF-D1F5CF25C864}"/>
                </a:ext>
              </a:extLst>
            </p:cNvPr>
            <p:cNvSpPr>
              <a:spLocks/>
            </p:cNvSpPr>
            <p:nvPr/>
          </p:nvSpPr>
          <p:spPr bwMode="auto">
            <a:xfrm>
              <a:off x="6095060" y="3340305"/>
              <a:ext cx="491744" cy="562864"/>
            </a:xfrm>
            <a:custGeom>
              <a:avLst/>
              <a:gdLst>
                <a:gd name="T0" fmla="*/ 242 w 242"/>
                <a:gd name="T1" fmla="*/ 277 h 277"/>
                <a:gd name="T2" fmla="*/ 0 w 242"/>
                <a:gd name="T3" fmla="*/ 148 h 277"/>
                <a:gd name="T4" fmla="*/ 241 w 242"/>
                <a:gd name="T5" fmla="*/ 0 h 277"/>
                <a:gd name="T6" fmla="*/ 242 w 242"/>
                <a:gd name="T7" fmla="*/ 277 h 277"/>
              </a:gdLst>
              <a:ahLst/>
              <a:cxnLst>
                <a:cxn ang="0">
                  <a:pos x="T0" y="T1"/>
                </a:cxn>
                <a:cxn ang="0">
                  <a:pos x="T2" y="T3"/>
                </a:cxn>
                <a:cxn ang="0">
                  <a:pos x="T4" y="T5"/>
                </a:cxn>
                <a:cxn ang="0">
                  <a:pos x="T6" y="T7"/>
                </a:cxn>
              </a:cxnLst>
              <a:rect l="0" t="0" r="r" b="b"/>
              <a:pathLst>
                <a:path w="242" h="277">
                  <a:moveTo>
                    <a:pt x="242" y="277"/>
                  </a:moveTo>
                  <a:lnTo>
                    <a:pt x="0" y="148"/>
                  </a:lnTo>
                  <a:lnTo>
                    <a:pt x="241" y="0"/>
                  </a:lnTo>
                  <a:lnTo>
                    <a:pt x="242" y="277"/>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a:extLst>
                <a:ext uri="{FF2B5EF4-FFF2-40B4-BE49-F238E27FC236}">
                  <a16:creationId xmlns:a16="http://schemas.microsoft.com/office/drawing/2014/main" id="{D413846A-B362-491B-99A9-242637D7E527}"/>
                </a:ext>
              </a:extLst>
            </p:cNvPr>
            <p:cNvSpPr>
              <a:spLocks/>
            </p:cNvSpPr>
            <p:nvPr/>
          </p:nvSpPr>
          <p:spPr bwMode="auto">
            <a:xfrm>
              <a:off x="6095060" y="3068018"/>
              <a:ext cx="489712" cy="573024"/>
            </a:xfrm>
            <a:custGeom>
              <a:avLst/>
              <a:gdLst>
                <a:gd name="T0" fmla="*/ 241 w 241"/>
                <a:gd name="T1" fmla="*/ 134 h 282"/>
                <a:gd name="T2" fmla="*/ 0 w 241"/>
                <a:gd name="T3" fmla="*/ 282 h 282"/>
                <a:gd name="T4" fmla="*/ 0 w 241"/>
                <a:gd name="T5" fmla="*/ 0 h 282"/>
                <a:gd name="T6" fmla="*/ 241 w 241"/>
                <a:gd name="T7" fmla="*/ 134 h 282"/>
              </a:gdLst>
              <a:ahLst/>
              <a:cxnLst>
                <a:cxn ang="0">
                  <a:pos x="T0" y="T1"/>
                </a:cxn>
                <a:cxn ang="0">
                  <a:pos x="T2" y="T3"/>
                </a:cxn>
                <a:cxn ang="0">
                  <a:pos x="T4" y="T5"/>
                </a:cxn>
                <a:cxn ang="0">
                  <a:pos x="T6" y="T7"/>
                </a:cxn>
              </a:cxnLst>
              <a:rect l="0" t="0" r="r" b="b"/>
              <a:pathLst>
                <a:path w="241" h="282">
                  <a:moveTo>
                    <a:pt x="241" y="134"/>
                  </a:moveTo>
                  <a:lnTo>
                    <a:pt x="0" y="282"/>
                  </a:lnTo>
                  <a:lnTo>
                    <a:pt x="0" y="0"/>
                  </a:lnTo>
                  <a:lnTo>
                    <a:pt x="241" y="134"/>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AEF28E90-B8CB-4DA7-A6DC-E0B6526D9FC4}"/>
                </a:ext>
              </a:extLst>
            </p:cNvPr>
            <p:cNvSpPr>
              <a:spLocks/>
            </p:cNvSpPr>
            <p:nvPr/>
          </p:nvSpPr>
          <p:spPr bwMode="auto">
            <a:xfrm>
              <a:off x="5605347" y="3068018"/>
              <a:ext cx="489712" cy="573024"/>
            </a:xfrm>
            <a:custGeom>
              <a:avLst/>
              <a:gdLst>
                <a:gd name="T0" fmla="*/ 0 w 241"/>
                <a:gd name="T1" fmla="*/ 134 h 282"/>
                <a:gd name="T2" fmla="*/ 241 w 241"/>
                <a:gd name="T3" fmla="*/ 282 h 282"/>
                <a:gd name="T4" fmla="*/ 240 w 241"/>
                <a:gd name="T5" fmla="*/ 0 h 282"/>
                <a:gd name="T6" fmla="*/ 0 w 241"/>
                <a:gd name="T7" fmla="*/ 134 h 282"/>
              </a:gdLst>
              <a:ahLst/>
              <a:cxnLst>
                <a:cxn ang="0">
                  <a:pos x="T0" y="T1"/>
                </a:cxn>
                <a:cxn ang="0">
                  <a:pos x="T2" y="T3"/>
                </a:cxn>
                <a:cxn ang="0">
                  <a:pos x="T4" y="T5"/>
                </a:cxn>
                <a:cxn ang="0">
                  <a:pos x="T6" y="T7"/>
                </a:cxn>
              </a:cxnLst>
              <a:rect l="0" t="0" r="r" b="b"/>
              <a:pathLst>
                <a:path w="241" h="282">
                  <a:moveTo>
                    <a:pt x="0" y="134"/>
                  </a:moveTo>
                  <a:lnTo>
                    <a:pt x="241" y="282"/>
                  </a:lnTo>
                  <a:lnTo>
                    <a:pt x="240" y="0"/>
                  </a:lnTo>
                  <a:lnTo>
                    <a:pt x="0" y="134"/>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295788AB-3344-4A40-A8EC-97991DBF43C2}"/>
                </a:ext>
              </a:extLst>
            </p:cNvPr>
            <p:cNvSpPr>
              <a:spLocks/>
            </p:cNvSpPr>
            <p:nvPr/>
          </p:nvSpPr>
          <p:spPr bwMode="auto">
            <a:xfrm>
              <a:off x="6095060" y="3641041"/>
              <a:ext cx="491744" cy="573024"/>
            </a:xfrm>
            <a:custGeom>
              <a:avLst/>
              <a:gdLst>
                <a:gd name="T0" fmla="*/ 242 w 242"/>
                <a:gd name="T1" fmla="*/ 129 h 282"/>
                <a:gd name="T2" fmla="*/ 0 w 242"/>
                <a:gd name="T3" fmla="*/ 282 h 282"/>
                <a:gd name="T4" fmla="*/ 0 w 242"/>
                <a:gd name="T5" fmla="*/ 0 h 282"/>
                <a:gd name="T6" fmla="*/ 242 w 242"/>
                <a:gd name="T7" fmla="*/ 129 h 282"/>
              </a:gdLst>
              <a:ahLst/>
              <a:cxnLst>
                <a:cxn ang="0">
                  <a:pos x="T0" y="T1"/>
                </a:cxn>
                <a:cxn ang="0">
                  <a:pos x="T2" y="T3"/>
                </a:cxn>
                <a:cxn ang="0">
                  <a:pos x="T4" y="T5"/>
                </a:cxn>
                <a:cxn ang="0">
                  <a:pos x="T6" y="T7"/>
                </a:cxn>
              </a:cxnLst>
              <a:rect l="0" t="0" r="r" b="b"/>
              <a:pathLst>
                <a:path w="242" h="282">
                  <a:moveTo>
                    <a:pt x="242" y="129"/>
                  </a:moveTo>
                  <a:lnTo>
                    <a:pt x="0" y="282"/>
                  </a:lnTo>
                  <a:lnTo>
                    <a:pt x="0" y="0"/>
                  </a:lnTo>
                  <a:lnTo>
                    <a:pt x="242" y="129"/>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3DE6DA77-31BB-47F8-9D27-DA542838968C}"/>
                </a:ext>
              </a:extLst>
            </p:cNvPr>
            <p:cNvSpPr>
              <a:spLocks/>
            </p:cNvSpPr>
            <p:nvPr/>
          </p:nvSpPr>
          <p:spPr bwMode="auto">
            <a:xfrm>
              <a:off x="5601283" y="3641041"/>
              <a:ext cx="493776" cy="573024"/>
            </a:xfrm>
            <a:custGeom>
              <a:avLst/>
              <a:gdLst>
                <a:gd name="T0" fmla="*/ 0 w 243"/>
                <a:gd name="T1" fmla="*/ 129 h 282"/>
                <a:gd name="T2" fmla="*/ 243 w 243"/>
                <a:gd name="T3" fmla="*/ 282 h 282"/>
                <a:gd name="T4" fmla="*/ 242 w 243"/>
                <a:gd name="T5" fmla="*/ 0 h 282"/>
                <a:gd name="T6" fmla="*/ 0 w 243"/>
                <a:gd name="T7" fmla="*/ 129 h 282"/>
              </a:gdLst>
              <a:ahLst/>
              <a:cxnLst>
                <a:cxn ang="0">
                  <a:pos x="T0" y="T1"/>
                </a:cxn>
                <a:cxn ang="0">
                  <a:pos x="T2" y="T3"/>
                </a:cxn>
                <a:cxn ang="0">
                  <a:pos x="T4" y="T5"/>
                </a:cxn>
                <a:cxn ang="0">
                  <a:pos x="T6" y="T7"/>
                </a:cxn>
              </a:cxnLst>
              <a:rect l="0" t="0" r="r" b="b"/>
              <a:pathLst>
                <a:path w="243" h="282">
                  <a:moveTo>
                    <a:pt x="0" y="129"/>
                  </a:moveTo>
                  <a:lnTo>
                    <a:pt x="243" y="282"/>
                  </a:lnTo>
                  <a:lnTo>
                    <a:pt x="242" y="0"/>
                  </a:lnTo>
                  <a:lnTo>
                    <a:pt x="0" y="129"/>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2" name="Group 21">
              <a:extLst>
                <a:ext uri="{FF2B5EF4-FFF2-40B4-BE49-F238E27FC236}">
                  <a16:creationId xmlns:a16="http://schemas.microsoft.com/office/drawing/2014/main" id="{1059EFCA-3ADB-4290-A4C1-D96EF152AC95}"/>
                </a:ext>
              </a:extLst>
            </p:cNvPr>
            <p:cNvGrpSpPr/>
            <p:nvPr/>
          </p:nvGrpSpPr>
          <p:grpSpPr>
            <a:xfrm>
              <a:off x="5852406" y="3473148"/>
              <a:ext cx="499408" cy="370614"/>
              <a:chOff x="5129089" y="3156352"/>
              <a:chExt cx="474198" cy="351905"/>
            </a:xfrm>
            <a:solidFill>
              <a:schemeClr val="bg1"/>
            </a:solidFill>
          </p:grpSpPr>
          <p:sp>
            <p:nvSpPr>
              <p:cNvPr id="23" name="Freeform 66">
                <a:extLst>
                  <a:ext uri="{FF2B5EF4-FFF2-40B4-BE49-F238E27FC236}">
                    <a16:creationId xmlns:a16="http://schemas.microsoft.com/office/drawing/2014/main" id="{969447E5-6FBE-41A6-B0E3-9B001CC42DF9}"/>
                  </a:ext>
                </a:extLst>
              </p:cNvPr>
              <p:cNvSpPr>
                <a:spLocks noEditPoints="1"/>
              </p:cNvSpPr>
              <p:nvPr/>
            </p:nvSpPr>
            <p:spPr bwMode="auto">
              <a:xfrm>
                <a:off x="5139073" y="3156352"/>
                <a:ext cx="459224" cy="279527"/>
              </a:xfrm>
              <a:custGeom>
                <a:avLst/>
                <a:gdLst>
                  <a:gd name="T0" fmla="*/ 184 w 184"/>
                  <a:gd name="T1" fmla="*/ 0 h 112"/>
                  <a:gd name="T2" fmla="*/ 0 w 184"/>
                  <a:gd name="T3" fmla="*/ 0 h 112"/>
                  <a:gd name="T4" fmla="*/ 0 w 184"/>
                  <a:gd name="T5" fmla="*/ 112 h 112"/>
                  <a:gd name="T6" fmla="*/ 184 w 184"/>
                  <a:gd name="T7" fmla="*/ 112 h 112"/>
                  <a:gd name="T8" fmla="*/ 184 w 184"/>
                  <a:gd name="T9" fmla="*/ 0 h 112"/>
                  <a:gd name="T10" fmla="*/ 176 w 184"/>
                  <a:gd name="T11" fmla="*/ 102 h 112"/>
                  <a:gd name="T12" fmla="*/ 8 w 184"/>
                  <a:gd name="T13" fmla="*/ 102 h 112"/>
                  <a:gd name="T14" fmla="*/ 8 w 184"/>
                  <a:gd name="T15" fmla="*/ 8 h 112"/>
                  <a:gd name="T16" fmla="*/ 176 w 184"/>
                  <a:gd name="T17" fmla="*/ 8 h 112"/>
                  <a:gd name="T18" fmla="*/ 176 w 184"/>
                  <a:gd name="T19" fmla="*/ 10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12">
                    <a:moveTo>
                      <a:pt x="184" y="0"/>
                    </a:moveTo>
                    <a:lnTo>
                      <a:pt x="0" y="0"/>
                    </a:lnTo>
                    <a:lnTo>
                      <a:pt x="0" y="112"/>
                    </a:lnTo>
                    <a:lnTo>
                      <a:pt x="184" y="112"/>
                    </a:lnTo>
                    <a:lnTo>
                      <a:pt x="184" y="0"/>
                    </a:lnTo>
                    <a:close/>
                    <a:moveTo>
                      <a:pt x="176" y="102"/>
                    </a:moveTo>
                    <a:lnTo>
                      <a:pt x="8" y="102"/>
                    </a:lnTo>
                    <a:lnTo>
                      <a:pt x="8" y="8"/>
                    </a:lnTo>
                    <a:lnTo>
                      <a:pt x="176" y="8"/>
                    </a:lnTo>
                    <a:lnTo>
                      <a:pt x="176" y="10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67">
                <a:extLst>
                  <a:ext uri="{FF2B5EF4-FFF2-40B4-BE49-F238E27FC236}">
                    <a16:creationId xmlns:a16="http://schemas.microsoft.com/office/drawing/2014/main" id="{19B975A4-2A94-48AD-BB30-3D2856AC4381}"/>
                  </a:ext>
                </a:extLst>
              </p:cNvPr>
              <p:cNvSpPr>
                <a:spLocks/>
              </p:cNvSpPr>
              <p:nvPr/>
            </p:nvSpPr>
            <p:spPr bwMode="auto">
              <a:xfrm>
                <a:off x="5129089" y="3448358"/>
                <a:ext cx="474198" cy="59899"/>
              </a:xfrm>
              <a:custGeom>
                <a:avLst/>
                <a:gdLst>
                  <a:gd name="T0" fmla="*/ 190 w 190"/>
                  <a:gd name="T1" fmla="*/ 16 h 24"/>
                  <a:gd name="T2" fmla="*/ 188 w 190"/>
                  <a:gd name="T3" fmla="*/ 0 h 24"/>
                  <a:gd name="T4" fmla="*/ 3 w 190"/>
                  <a:gd name="T5" fmla="*/ 0 h 24"/>
                  <a:gd name="T6" fmla="*/ 0 w 190"/>
                  <a:gd name="T7" fmla="*/ 16 h 24"/>
                  <a:gd name="T8" fmla="*/ 0 w 190"/>
                  <a:gd name="T9" fmla="*/ 16 h 24"/>
                  <a:gd name="T10" fmla="*/ 0 w 190"/>
                  <a:gd name="T11" fmla="*/ 24 h 24"/>
                  <a:gd name="T12" fmla="*/ 190 w 190"/>
                  <a:gd name="T13" fmla="*/ 24 h 24"/>
                  <a:gd name="T14" fmla="*/ 190 w 190"/>
                  <a:gd name="T15" fmla="*/ 16 h 24"/>
                  <a:gd name="T16" fmla="*/ 190 w 190"/>
                  <a:gd name="T1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4">
                    <a:moveTo>
                      <a:pt x="190" y="16"/>
                    </a:moveTo>
                    <a:lnTo>
                      <a:pt x="188" y="0"/>
                    </a:lnTo>
                    <a:lnTo>
                      <a:pt x="3" y="0"/>
                    </a:lnTo>
                    <a:lnTo>
                      <a:pt x="0" y="16"/>
                    </a:lnTo>
                    <a:lnTo>
                      <a:pt x="0" y="16"/>
                    </a:lnTo>
                    <a:lnTo>
                      <a:pt x="0" y="24"/>
                    </a:lnTo>
                    <a:lnTo>
                      <a:pt x="190" y="24"/>
                    </a:lnTo>
                    <a:lnTo>
                      <a:pt x="190" y="16"/>
                    </a:lnTo>
                    <a:lnTo>
                      <a:pt x="190" y="1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42" name="Text Box 10">
              <a:extLst>
                <a:ext uri="{FF2B5EF4-FFF2-40B4-BE49-F238E27FC236}">
                  <a16:creationId xmlns:a16="http://schemas.microsoft.com/office/drawing/2014/main" id="{8D312937-8E11-492E-A2D0-8B07B12B450E}"/>
                </a:ext>
              </a:extLst>
            </p:cNvPr>
            <p:cNvSpPr txBox="1">
              <a:spLocks noChangeArrowheads="1"/>
            </p:cNvSpPr>
            <p:nvPr/>
          </p:nvSpPr>
          <p:spPr bwMode="auto">
            <a:xfrm>
              <a:off x="8832809" y="2020574"/>
              <a:ext cx="1656099" cy="766201"/>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sz="1200" b="1" dirty="0">
                  <a:solidFill>
                    <a:srgbClr val="43B02A"/>
                  </a:solidFill>
                  <a:latin typeface="Open Sans" pitchFamily="34" charset="0"/>
                  <a:ea typeface="Open Sans" pitchFamily="34" charset="0"/>
                  <a:cs typeface="Open Sans" pitchFamily="34" charset="0"/>
                </a:rPr>
                <a:t>Lorem ipsum dolor</a:t>
              </a:r>
            </a:p>
            <a:p>
              <a:pP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43" name="Oval 42">
              <a:extLst>
                <a:ext uri="{FF2B5EF4-FFF2-40B4-BE49-F238E27FC236}">
                  <a16:creationId xmlns:a16="http://schemas.microsoft.com/office/drawing/2014/main" id="{DADAB17D-6D67-435E-BB2D-F315B962B74A}"/>
                </a:ext>
              </a:extLst>
            </p:cNvPr>
            <p:cNvSpPr/>
            <p:nvPr/>
          </p:nvSpPr>
          <p:spPr>
            <a:xfrm>
              <a:off x="8507795" y="2219352"/>
              <a:ext cx="258815" cy="260300"/>
            </a:xfrm>
            <a:prstGeom prst="ellipse">
              <a:avLst/>
            </a:prstGeom>
            <a:solidFill>
              <a:srgbClr val="43B02A"/>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endParaRPr>
            </a:p>
          </p:txBody>
        </p:sp>
        <p:cxnSp>
          <p:nvCxnSpPr>
            <p:cNvPr id="44" name="Straight Arrow Connector 43">
              <a:extLst>
                <a:ext uri="{FF2B5EF4-FFF2-40B4-BE49-F238E27FC236}">
                  <a16:creationId xmlns:a16="http://schemas.microsoft.com/office/drawing/2014/main" id="{51386BD7-0155-4ECD-BD66-5FF8D2058B9B}"/>
                </a:ext>
              </a:extLst>
            </p:cNvPr>
            <p:cNvCxnSpPr/>
            <p:nvPr/>
          </p:nvCxnSpPr>
          <p:spPr>
            <a:xfrm flipV="1">
              <a:off x="8310674" y="3493291"/>
              <a:ext cx="179004" cy="198858"/>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D4F0286-5900-423F-B5AA-5135C9965FC9}"/>
                </a:ext>
              </a:extLst>
            </p:cNvPr>
            <p:cNvCxnSpPr/>
            <p:nvPr/>
          </p:nvCxnSpPr>
          <p:spPr>
            <a:xfrm flipH="1" flipV="1">
              <a:off x="7314260" y="3692149"/>
              <a:ext cx="996415" cy="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6" name="Text Box 10">
              <a:extLst>
                <a:ext uri="{FF2B5EF4-FFF2-40B4-BE49-F238E27FC236}">
                  <a16:creationId xmlns:a16="http://schemas.microsoft.com/office/drawing/2014/main" id="{E355350E-1C06-49EA-B491-E2A11384E049}"/>
                </a:ext>
              </a:extLst>
            </p:cNvPr>
            <p:cNvSpPr txBox="1">
              <a:spLocks noChangeArrowheads="1"/>
            </p:cNvSpPr>
            <p:nvPr/>
          </p:nvSpPr>
          <p:spPr bwMode="auto">
            <a:xfrm>
              <a:off x="8832805" y="3133042"/>
              <a:ext cx="1656099" cy="766201"/>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sz="1200" b="1" dirty="0">
                  <a:solidFill>
                    <a:schemeClr val="accent3"/>
                  </a:solidFill>
                  <a:latin typeface="Open Sans" pitchFamily="34" charset="0"/>
                  <a:ea typeface="Open Sans" pitchFamily="34" charset="0"/>
                  <a:cs typeface="Open Sans" pitchFamily="34" charset="0"/>
                </a:rPr>
                <a:t>Lorem ipsum dolor</a:t>
              </a:r>
            </a:p>
            <a:p>
              <a:pP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47" name="Oval 46">
              <a:extLst>
                <a:ext uri="{FF2B5EF4-FFF2-40B4-BE49-F238E27FC236}">
                  <a16:creationId xmlns:a16="http://schemas.microsoft.com/office/drawing/2014/main" id="{53C4366B-E5AB-4F6E-89E5-7688350EEBB6}"/>
                </a:ext>
              </a:extLst>
            </p:cNvPr>
            <p:cNvSpPr/>
            <p:nvPr/>
          </p:nvSpPr>
          <p:spPr>
            <a:xfrm>
              <a:off x="8507794" y="3300632"/>
              <a:ext cx="258815" cy="260300"/>
            </a:xfrm>
            <a:prstGeom prst="ellipse">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endParaRPr>
            </a:p>
          </p:txBody>
        </p:sp>
        <p:sp>
          <p:nvSpPr>
            <p:cNvPr id="48" name="Text Box 10">
              <a:extLst>
                <a:ext uri="{FF2B5EF4-FFF2-40B4-BE49-F238E27FC236}">
                  <a16:creationId xmlns:a16="http://schemas.microsoft.com/office/drawing/2014/main" id="{94412F05-FE2E-412C-96DA-57BFBF3EBA05}"/>
                </a:ext>
              </a:extLst>
            </p:cNvPr>
            <p:cNvSpPr txBox="1">
              <a:spLocks noChangeArrowheads="1"/>
            </p:cNvSpPr>
            <p:nvPr/>
          </p:nvSpPr>
          <p:spPr bwMode="auto">
            <a:xfrm>
              <a:off x="8832806" y="4184650"/>
              <a:ext cx="1656099" cy="766201"/>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sz="1200" b="1" dirty="0">
                  <a:solidFill>
                    <a:srgbClr val="43B02A"/>
                  </a:solidFill>
                  <a:latin typeface="Open Sans" pitchFamily="34" charset="0"/>
                  <a:ea typeface="Open Sans" pitchFamily="34" charset="0"/>
                  <a:cs typeface="Open Sans" pitchFamily="34" charset="0"/>
                </a:rPr>
                <a:t>Lorem ipsum dolor</a:t>
              </a:r>
            </a:p>
            <a:p>
              <a:pP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49" name="Oval 48">
              <a:extLst>
                <a:ext uri="{FF2B5EF4-FFF2-40B4-BE49-F238E27FC236}">
                  <a16:creationId xmlns:a16="http://schemas.microsoft.com/office/drawing/2014/main" id="{DED9215C-5E39-445C-9C2A-EE38C715D9A6}"/>
                </a:ext>
              </a:extLst>
            </p:cNvPr>
            <p:cNvSpPr/>
            <p:nvPr/>
          </p:nvSpPr>
          <p:spPr>
            <a:xfrm>
              <a:off x="8507793" y="4352240"/>
              <a:ext cx="258815" cy="260300"/>
            </a:xfrm>
            <a:prstGeom prst="ellipse">
              <a:avLst/>
            </a:prstGeom>
            <a:solidFill>
              <a:srgbClr val="43B02A"/>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endParaRPr>
            </a:p>
          </p:txBody>
        </p:sp>
        <p:sp>
          <p:nvSpPr>
            <p:cNvPr id="50" name="Text Box 10">
              <a:extLst>
                <a:ext uri="{FF2B5EF4-FFF2-40B4-BE49-F238E27FC236}">
                  <a16:creationId xmlns:a16="http://schemas.microsoft.com/office/drawing/2014/main" id="{BFBBAD39-A179-4944-8894-1B324ED6990F}"/>
                </a:ext>
              </a:extLst>
            </p:cNvPr>
            <p:cNvSpPr txBox="1">
              <a:spLocks noChangeArrowheads="1"/>
            </p:cNvSpPr>
            <p:nvPr/>
          </p:nvSpPr>
          <p:spPr bwMode="auto">
            <a:xfrm>
              <a:off x="1850570" y="2052113"/>
              <a:ext cx="1656099" cy="766201"/>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sz="1200" b="1" dirty="0">
                  <a:solidFill>
                    <a:schemeClr val="accent3"/>
                  </a:solidFill>
                  <a:latin typeface="Open Sans" pitchFamily="34" charset="0"/>
                  <a:ea typeface="Open Sans" pitchFamily="34" charset="0"/>
                  <a:cs typeface="Open Sans" pitchFamily="34" charset="0"/>
                </a:rPr>
                <a:t>Lorem ipsum dolor </a:t>
              </a:r>
            </a:p>
            <a:p>
              <a:pPr algn="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51" name="Oval 50">
              <a:extLst>
                <a:ext uri="{FF2B5EF4-FFF2-40B4-BE49-F238E27FC236}">
                  <a16:creationId xmlns:a16="http://schemas.microsoft.com/office/drawing/2014/main" id="{F3938178-97D3-444C-9AD2-83AD429939D6}"/>
                </a:ext>
              </a:extLst>
            </p:cNvPr>
            <p:cNvSpPr/>
            <p:nvPr/>
          </p:nvSpPr>
          <p:spPr>
            <a:xfrm>
              <a:off x="3575911" y="2219703"/>
              <a:ext cx="258815" cy="260300"/>
            </a:xfrm>
            <a:prstGeom prst="ellipse">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r"/>
              <a:endParaRPr lang="en-US" sz="8800">
                <a:solidFill>
                  <a:schemeClr val="bg1"/>
                </a:solidFill>
              </a:endParaRPr>
            </a:p>
          </p:txBody>
        </p:sp>
        <p:sp>
          <p:nvSpPr>
            <p:cNvPr id="52" name="Text Box 10">
              <a:extLst>
                <a:ext uri="{FF2B5EF4-FFF2-40B4-BE49-F238E27FC236}">
                  <a16:creationId xmlns:a16="http://schemas.microsoft.com/office/drawing/2014/main" id="{C39667DB-6F56-4822-BFD3-9E1F23ED6145}"/>
                </a:ext>
              </a:extLst>
            </p:cNvPr>
            <p:cNvSpPr txBox="1">
              <a:spLocks noChangeArrowheads="1"/>
            </p:cNvSpPr>
            <p:nvPr/>
          </p:nvSpPr>
          <p:spPr bwMode="auto">
            <a:xfrm>
              <a:off x="1850569" y="3133393"/>
              <a:ext cx="1656099" cy="766201"/>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sz="1200" b="1" dirty="0">
                  <a:solidFill>
                    <a:srgbClr val="43B02A"/>
                  </a:solidFill>
                  <a:latin typeface="Open Sans" pitchFamily="34" charset="0"/>
                  <a:ea typeface="Open Sans" pitchFamily="34" charset="0"/>
                  <a:cs typeface="Open Sans" pitchFamily="34" charset="0"/>
                </a:rPr>
                <a:t>Lorem ipsum dolor</a:t>
              </a:r>
            </a:p>
            <a:p>
              <a:pPr algn="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53" name="Oval 52">
              <a:extLst>
                <a:ext uri="{FF2B5EF4-FFF2-40B4-BE49-F238E27FC236}">
                  <a16:creationId xmlns:a16="http://schemas.microsoft.com/office/drawing/2014/main" id="{D7D54C40-AB36-4CCC-AC24-AB0B4EC25BE6}"/>
                </a:ext>
              </a:extLst>
            </p:cNvPr>
            <p:cNvSpPr/>
            <p:nvPr/>
          </p:nvSpPr>
          <p:spPr>
            <a:xfrm>
              <a:off x="3575911" y="3300983"/>
              <a:ext cx="258815" cy="260300"/>
            </a:xfrm>
            <a:prstGeom prst="ellipse">
              <a:avLst/>
            </a:prstGeom>
            <a:solidFill>
              <a:srgbClr val="43B02A"/>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r"/>
              <a:endParaRPr lang="en-US" sz="8800">
                <a:solidFill>
                  <a:schemeClr val="bg1"/>
                </a:solidFill>
              </a:endParaRPr>
            </a:p>
          </p:txBody>
        </p:sp>
        <p:sp>
          <p:nvSpPr>
            <p:cNvPr id="54" name="Text Box 10">
              <a:extLst>
                <a:ext uri="{FF2B5EF4-FFF2-40B4-BE49-F238E27FC236}">
                  <a16:creationId xmlns:a16="http://schemas.microsoft.com/office/drawing/2014/main" id="{B5E5E8B4-A866-4B16-A707-D7D0539093A8}"/>
                </a:ext>
              </a:extLst>
            </p:cNvPr>
            <p:cNvSpPr txBox="1">
              <a:spLocks noChangeArrowheads="1"/>
            </p:cNvSpPr>
            <p:nvPr/>
          </p:nvSpPr>
          <p:spPr bwMode="auto">
            <a:xfrm>
              <a:off x="1850568" y="4185001"/>
              <a:ext cx="1656099" cy="766201"/>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sz="1200" b="1" dirty="0">
                  <a:solidFill>
                    <a:schemeClr val="accent3"/>
                  </a:solidFill>
                  <a:latin typeface="Open Sans" pitchFamily="34" charset="0"/>
                  <a:ea typeface="Open Sans" pitchFamily="34" charset="0"/>
                  <a:cs typeface="Open Sans" pitchFamily="34" charset="0"/>
                </a:rPr>
                <a:t>Lorem ipsum dolor</a:t>
              </a:r>
            </a:p>
            <a:p>
              <a:pPr algn="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55" name="Oval 54">
              <a:extLst>
                <a:ext uri="{FF2B5EF4-FFF2-40B4-BE49-F238E27FC236}">
                  <a16:creationId xmlns:a16="http://schemas.microsoft.com/office/drawing/2014/main" id="{5FF35CB7-37D6-443E-BFFB-D95D3F344328}"/>
                </a:ext>
              </a:extLst>
            </p:cNvPr>
            <p:cNvSpPr/>
            <p:nvPr/>
          </p:nvSpPr>
          <p:spPr>
            <a:xfrm>
              <a:off x="3575911" y="4352591"/>
              <a:ext cx="258815" cy="260300"/>
            </a:xfrm>
            <a:prstGeom prst="ellipse">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r"/>
              <a:endParaRPr lang="en-US" sz="8800">
                <a:solidFill>
                  <a:schemeClr val="bg1"/>
                </a:solidFill>
              </a:endParaRPr>
            </a:p>
          </p:txBody>
        </p:sp>
        <p:cxnSp>
          <p:nvCxnSpPr>
            <p:cNvPr id="56" name="Straight Connector 57">
              <a:extLst>
                <a:ext uri="{FF2B5EF4-FFF2-40B4-BE49-F238E27FC236}">
                  <a16:creationId xmlns:a16="http://schemas.microsoft.com/office/drawing/2014/main" id="{AFE93744-5031-4098-8112-55116F520913}"/>
                </a:ext>
              </a:extLst>
            </p:cNvPr>
            <p:cNvCxnSpPr/>
            <p:nvPr/>
          </p:nvCxnSpPr>
          <p:spPr>
            <a:xfrm flipH="1">
              <a:off x="6484337" y="4804701"/>
              <a:ext cx="174432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Arrow Connector 58">
              <a:extLst>
                <a:ext uri="{FF2B5EF4-FFF2-40B4-BE49-F238E27FC236}">
                  <a16:creationId xmlns:a16="http://schemas.microsoft.com/office/drawing/2014/main" id="{5F84BAB7-1A1B-4602-B0FE-88BA92AADAD7}"/>
                </a:ext>
              </a:extLst>
            </p:cNvPr>
            <p:cNvCxnSpPr/>
            <p:nvPr/>
          </p:nvCxnSpPr>
          <p:spPr>
            <a:xfrm flipV="1">
              <a:off x="8228660" y="4513464"/>
              <a:ext cx="261018" cy="289966"/>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66">
              <a:extLst>
                <a:ext uri="{FF2B5EF4-FFF2-40B4-BE49-F238E27FC236}">
                  <a16:creationId xmlns:a16="http://schemas.microsoft.com/office/drawing/2014/main" id="{34061910-1C99-4DD3-9154-1EBB3A490E51}"/>
                </a:ext>
              </a:extLst>
            </p:cNvPr>
            <p:cNvCxnSpPr/>
            <p:nvPr/>
          </p:nvCxnSpPr>
          <p:spPr>
            <a:xfrm>
              <a:off x="6997910" y="2357253"/>
              <a:ext cx="1459350" cy="0"/>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9" name="Straight Connector 68">
              <a:extLst>
                <a:ext uri="{FF2B5EF4-FFF2-40B4-BE49-F238E27FC236}">
                  <a16:creationId xmlns:a16="http://schemas.microsoft.com/office/drawing/2014/main" id="{7D9955C4-EC07-4E93-9879-C5B5A8305311}"/>
                </a:ext>
              </a:extLst>
            </p:cNvPr>
            <p:cNvCxnSpPr/>
            <p:nvPr/>
          </p:nvCxnSpPr>
          <p:spPr>
            <a:xfrm flipH="1">
              <a:off x="6773752" y="2357255"/>
              <a:ext cx="224159" cy="24238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Arrow Connector 72">
              <a:extLst>
                <a:ext uri="{FF2B5EF4-FFF2-40B4-BE49-F238E27FC236}">
                  <a16:creationId xmlns:a16="http://schemas.microsoft.com/office/drawing/2014/main" id="{E19F140C-CF92-47BC-BBA8-035EC3DC83DD}"/>
                </a:ext>
              </a:extLst>
            </p:cNvPr>
            <p:cNvCxnSpPr/>
            <p:nvPr/>
          </p:nvCxnSpPr>
          <p:spPr>
            <a:xfrm flipH="1" flipV="1">
              <a:off x="3852562" y="3485540"/>
              <a:ext cx="179004" cy="198858"/>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75">
              <a:extLst>
                <a:ext uri="{FF2B5EF4-FFF2-40B4-BE49-F238E27FC236}">
                  <a16:creationId xmlns:a16="http://schemas.microsoft.com/office/drawing/2014/main" id="{A25A4986-14AC-4DEA-885F-E0786A4B4587}"/>
                </a:ext>
              </a:extLst>
            </p:cNvPr>
            <p:cNvCxnSpPr/>
            <p:nvPr/>
          </p:nvCxnSpPr>
          <p:spPr>
            <a:xfrm flipH="1" flipV="1">
              <a:off x="3852562" y="4505713"/>
              <a:ext cx="261018" cy="289966"/>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2" name="Straight Arrow Connector 76">
              <a:extLst>
                <a:ext uri="{FF2B5EF4-FFF2-40B4-BE49-F238E27FC236}">
                  <a16:creationId xmlns:a16="http://schemas.microsoft.com/office/drawing/2014/main" id="{5A9B5D5E-E4E2-4100-8E69-EF5875170434}"/>
                </a:ext>
              </a:extLst>
            </p:cNvPr>
            <p:cNvCxnSpPr/>
            <p:nvPr/>
          </p:nvCxnSpPr>
          <p:spPr>
            <a:xfrm flipH="1">
              <a:off x="3864546" y="2349502"/>
              <a:ext cx="1443274" cy="0"/>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grpSp>
          <p:nvGrpSpPr>
            <p:cNvPr id="63" name="Group 58">
              <a:extLst>
                <a:ext uri="{FF2B5EF4-FFF2-40B4-BE49-F238E27FC236}">
                  <a16:creationId xmlns:a16="http://schemas.microsoft.com/office/drawing/2014/main" id="{7242C5A4-8921-4B68-ABF6-6785E2CAC7FF}"/>
                </a:ext>
              </a:extLst>
            </p:cNvPr>
            <p:cNvGrpSpPr>
              <a:grpSpLocks noChangeAspect="1"/>
            </p:cNvGrpSpPr>
            <p:nvPr/>
          </p:nvGrpSpPr>
          <p:grpSpPr bwMode="auto">
            <a:xfrm>
              <a:off x="5474866" y="2664751"/>
              <a:ext cx="368254" cy="368152"/>
              <a:chOff x="1785" y="567"/>
              <a:chExt cx="3636" cy="3635"/>
            </a:xfrm>
            <a:solidFill>
              <a:schemeClr val="bg1"/>
            </a:solidFill>
          </p:grpSpPr>
          <p:sp>
            <p:nvSpPr>
              <p:cNvPr id="64" name="Freeform 257">
                <a:extLst>
                  <a:ext uri="{FF2B5EF4-FFF2-40B4-BE49-F238E27FC236}">
                    <a16:creationId xmlns:a16="http://schemas.microsoft.com/office/drawing/2014/main" id="{4D577833-3BDF-49EB-93D0-2AEB9583A11A}"/>
                  </a:ext>
                </a:extLst>
              </p:cNvPr>
              <p:cNvSpPr>
                <a:spLocks noEditPoints="1"/>
              </p:cNvSpPr>
              <p:nvPr/>
            </p:nvSpPr>
            <p:spPr bwMode="auto">
              <a:xfrm>
                <a:off x="1785" y="567"/>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258">
                <a:extLst>
                  <a:ext uri="{FF2B5EF4-FFF2-40B4-BE49-F238E27FC236}">
                    <a16:creationId xmlns:a16="http://schemas.microsoft.com/office/drawing/2014/main" id="{03758C9C-C418-4E18-ABB2-44C962FCE6A1}"/>
                  </a:ext>
                </a:extLst>
              </p:cNvPr>
              <p:cNvSpPr>
                <a:spLocks noEditPoints="1"/>
              </p:cNvSpPr>
              <p:nvPr/>
            </p:nvSpPr>
            <p:spPr bwMode="auto">
              <a:xfrm>
                <a:off x="2602" y="1248"/>
                <a:ext cx="1995" cy="2272"/>
              </a:xfrm>
              <a:custGeom>
                <a:avLst/>
                <a:gdLst>
                  <a:gd name="T0" fmla="*/ 278 w 281"/>
                  <a:gd name="T1" fmla="*/ 251 h 320"/>
                  <a:gd name="T2" fmla="*/ 268 w 281"/>
                  <a:gd name="T3" fmla="*/ 230 h 320"/>
                  <a:gd name="T4" fmla="*/ 258 w 281"/>
                  <a:gd name="T5" fmla="*/ 224 h 320"/>
                  <a:gd name="T6" fmla="*/ 237 w 281"/>
                  <a:gd name="T7" fmla="*/ 224 h 320"/>
                  <a:gd name="T8" fmla="*/ 226 w 281"/>
                  <a:gd name="T9" fmla="*/ 234 h 320"/>
                  <a:gd name="T10" fmla="*/ 237 w 281"/>
                  <a:gd name="T11" fmla="*/ 245 h 320"/>
                  <a:gd name="T12" fmla="*/ 239 w 281"/>
                  <a:gd name="T13" fmla="*/ 245 h 320"/>
                  <a:gd name="T14" fmla="*/ 151 w 281"/>
                  <a:gd name="T15" fmla="*/ 298 h 320"/>
                  <a:gd name="T16" fmla="*/ 151 w 281"/>
                  <a:gd name="T17" fmla="*/ 138 h 320"/>
                  <a:gd name="T18" fmla="*/ 173 w 281"/>
                  <a:gd name="T19" fmla="*/ 138 h 320"/>
                  <a:gd name="T20" fmla="*/ 183 w 281"/>
                  <a:gd name="T21" fmla="*/ 128 h 320"/>
                  <a:gd name="T22" fmla="*/ 173 w 281"/>
                  <a:gd name="T23" fmla="*/ 117 h 320"/>
                  <a:gd name="T24" fmla="*/ 151 w 281"/>
                  <a:gd name="T25" fmla="*/ 117 h 320"/>
                  <a:gd name="T26" fmla="*/ 151 w 281"/>
                  <a:gd name="T27" fmla="*/ 83 h 320"/>
                  <a:gd name="T28" fmla="*/ 183 w 281"/>
                  <a:gd name="T29" fmla="*/ 42 h 320"/>
                  <a:gd name="T30" fmla="*/ 141 w 281"/>
                  <a:gd name="T31" fmla="*/ 0 h 320"/>
                  <a:gd name="T32" fmla="*/ 98 w 281"/>
                  <a:gd name="T33" fmla="*/ 42 h 320"/>
                  <a:gd name="T34" fmla="*/ 130 w 281"/>
                  <a:gd name="T35" fmla="*/ 83 h 320"/>
                  <a:gd name="T36" fmla="*/ 130 w 281"/>
                  <a:gd name="T37" fmla="*/ 117 h 320"/>
                  <a:gd name="T38" fmla="*/ 109 w 281"/>
                  <a:gd name="T39" fmla="*/ 117 h 320"/>
                  <a:gd name="T40" fmla="*/ 98 w 281"/>
                  <a:gd name="T41" fmla="*/ 128 h 320"/>
                  <a:gd name="T42" fmla="*/ 109 w 281"/>
                  <a:gd name="T43" fmla="*/ 138 h 320"/>
                  <a:gd name="T44" fmla="*/ 130 w 281"/>
                  <a:gd name="T45" fmla="*/ 138 h 320"/>
                  <a:gd name="T46" fmla="*/ 130 w 281"/>
                  <a:gd name="T47" fmla="*/ 298 h 320"/>
                  <a:gd name="T48" fmla="*/ 42 w 281"/>
                  <a:gd name="T49" fmla="*/ 245 h 320"/>
                  <a:gd name="T50" fmla="*/ 45 w 281"/>
                  <a:gd name="T51" fmla="*/ 245 h 320"/>
                  <a:gd name="T52" fmla="*/ 55 w 281"/>
                  <a:gd name="T53" fmla="*/ 234 h 320"/>
                  <a:gd name="T54" fmla="*/ 45 w 281"/>
                  <a:gd name="T55" fmla="*/ 224 h 320"/>
                  <a:gd name="T56" fmla="*/ 24 w 281"/>
                  <a:gd name="T57" fmla="*/ 224 h 320"/>
                  <a:gd name="T58" fmla="*/ 24 w 281"/>
                  <a:gd name="T59" fmla="*/ 224 h 320"/>
                  <a:gd name="T60" fmla="*/ 23 w 281"/>
                  <a:gd name="T61" fmla="*/ 224 h 320"/>
                  <a:gd name="T62" fmla="*/ 14 w 281"/>
                  <a:gd name="T63" fmla="*/ 230 h 320"/>
                  <a:gd name="T64" fmla="*/ 3 w 281"/>
                  <a:gd name="T65" fmla="*/ 251 h 320"/>
                  <a:gd name="T66" fmla="*/ 8 w 281"/>
                  <a:gd name="T67" fmla="*/ 265 h 320"/>
                  <a:gd name="T68" fmla="*/ 13 w 281"/>
                  <a:gd name="T69" fmla="*/ 266 h 320"/>
                  <a:gd name="T70" fmla="*/ 22 w 281"/>
                  <a:gd name="T71" fmla="*/ 260 h 320"/>
                  <a:gd name="T72" fmla="*/ 24 w 281"/>
                  <a:gd name="T73" fmla="*/ 256 h 320"/>
                  <a:gd name="T74" fmla="*/ 141 w 281"/>
                  <a:gd name="T75" fmla="*/ 320 h 320"/>
                  <a:gd name="T76" fmla="*/ 257 w 281"/>
                  <a:gd name="T77" fmla="*/ 256 h 320"/>
                  <a:gd name="T78" fmla="*/ 259 w 281"/>
                  <a:gd name="T79" fmla="*/ 260 h 320"/>
                  <a:gd name="T80" fmla="*/ 269 w 281"/>
                  <a:gd name="T81" fmla="*/ 266 h 320"/>
                  <a:gd name="T82" fmla="*/ 273 w 281"/>
                  <a:gd name="T83" fmla="*/ 265 h 320"/>
                  <a:gd name="T84" fmla="*/ 278 w 281"/>
                  <a:gd name="T85" fmla="*/ 251 h 320"/>
                  <a:gd name="T86" fmla="*/ 119 w 281"/>
                  <a:gd name="T87" fmla="*/ 42 h 320"/>
                  <a:gd name="T88" fmla="*/ 141 w 281"/>
                  <a:gd name="T89" fmla="*/ 21 h 320"/>
                  <a:gd name="T90" fmla="*/ 162 w 281"/>
                  <a:gd name="T91" fmla="*/ 42 h 320"/>
                  <a:gd name="T92" fmla="*/ 141 w 281"/>
                  <a:gd name="T93" fmla="*/ 64 h 320"/>
                  <a:gd name="T94" fmla="*/ 119 w 281"/>
                  <a:gd name="T95" fmla="*/ 4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1" h="320">
                    <a:moveTo>
                      <a:pt x="278" y="251"/>
                    </a:moveTo>
                    <a:cubicBezTo>
                      <a:pt x="268" y="230"/>
                      <a:pt x="268" y="230"/>
                      <a:pt x="268" y="230"/>
                    </a:cubicBezTo>
                    <a:cubicBezTo>
                      <a:pt x="266" y="226"/>
                      <a:pt x="262" y="224"/>
                      <a:pt x="258" y="224"/>
                    </a:cubicBezTo>
                    <a:cubicBezTo>
                      <a:pt x="237" y="224"/>
                      <a:pt x="237" y="224"/>
                      <a:pt x="237" y="224"/>
                    </a:cubicBezTo>
                    <a:cubicBezTo>
                      <a:pt x="231" y="224"/>
                      <a:pt x="226" y="228"/>
                      <a:pt x="226" y="234"/>
                    </a:cubicBezTo>
                    <a:cubicBezTo>
                      <a:pt x="226" y="240"/>
                      <a:pt x="231" y="245"/>
                      <a:pt x="237" y="245"/>
                    </a:cubicBezTo>
                    <a:cubicBezTo>
                      <a:pt x="239" y="245"/>
                      <a:pt x="239" y="245"/>
                      <a:pt x="239" y="245"/>
                    </a:cubicBezTo>
                    <a:cubicBezTo>
                      <a:pt x="219" y="275"/>
                      <a:pt x="187" y="294"/>
                      <a:pt x="151" y="298"/>
                    </a:cubicBezTo>
                    <a:cubicBezTo>
                      <a:pt x="151" y="138"/>
                      <a:pt x="151" y="138"/>
                      <a:pt x="151" y="138"/>
                    </a:cubicBezTo>
                    <a:cubicBezTo>
                      <a:pt x="173" y="138"/>
                      <a:pt x="173" y="138"/>
                      <a:pt x="173" y="138"/>
                    </a:cubicBezTo>
                    <a:cubicBezTo>
                      <a:pt x="179" y="138"/>
                      <a:pt x="183" y="134"/>
                      <a:pt x="183" y="128"/>
                    </a:cubicBezTo>
                    <a:cubicBezTo>
                      <a:pt x="183" y="122"/>
                      <a:pt x="179" y="117"/>
                      <a:pt x="173" y="117"/>
                    </a:cubicBezTo>
                    <a:cubicBezTo>
                      <a:pt x="151" y="117"/>
                      <a:pt x="151" y="117"/>
                      <a:pt x="151" y="117"/>
                    </a:cubicBezTo>
                    <a:cubicBezTo>
                      <a:pt x="151" y="83"/>
                      <a:pt x="151" y="83"/>
                      <a:pt x="151" y="83"/>
                    </a:cubicBezTo>
                    <a:cubicBezTo>
                      <a:pt x="170" y="79"/>
                      <a:pt x="183" y="62"/>
                      <a:pt x="183" y="42"/>
                    </a:cubicBezTo>
                    <a:cubicBezTo>
                      <a:pt x="183" y="19"/>
                      <a:pt x="164" y="0"/>
                      <a:pt x="141" y="0"/>
                    </a:cubicBezTo>
                    <a:cubicBezTo>
                      <a:pt x="117" y="0"/>
                      <a:pt x="98" y="19"/>
                      <a:pt x="98" y="42"/>
                    </a:cubicBezTo>
                    <a:cubicBezTo>
                      <a:pt x="98" y="62"/>
                      <a:pt x="111" y="79"/>
                      <a:pt x="130" y="83"/>
                    </a:cubicBezTo>
                    <a:cubicBezTo>
                      <a:pt x="130" y="117"/>
                      <a:pt x="130" y="117"/>
                      <a:pt x="130" y="117"/>
                    </a:cubicBezTo>
                    <a:cubicBezTo>
                      <a:pt x="109" y="117"/>
                      <a:pt x="109" y="117"/>
                      <a:pt x="109" y="117"/>
                    </a:cubicBezTo>
                    <a:cubicBezTo>
                      <a:pt x="103" y="117"/>
                      <a:pt x="98" y="122"/>
                      <a:pt x="98" y="128"/>
                    </a:cubicBezTo>
                    <a:cubicBezTo>
                      <a:pt x="98" y="134"/>
                      <a:pt x="103" y="138"/>
                      <a:pt x="109" y="138"/>
                    </a:cubicBezTo>
                    <a:cubicBezTo>
                      <a:pt x="130" y="138"/>
                      <a:pt x="130" y="138"/>
                      <a:pt x="130" y="138"/>
                    </a:cubicBezTo>
                    <a:cubicBezTo>
                      <a:pt x="130" y="298"/>
                      <a:pt x="130" y="298"/>
                      <a:pt x="130" y="298"/>
                    </a:cubicBezTo>
                    <a:cubicBezTo>
                      <a:pt x="94" y="294"/>
                      <a:pt x="62" y="275"/>
                      <a:pt x="42" y="245"/>
                    </a:cubicBezTo>
                    <a:cubicBezTo>
                      <a:pt x="45" y="245"/>
                      <a:pt x="45" y="245"/>
                      <a:pt x="45" y="245"/>
                    </a:cubicBezTo>
                    <a:cubicBezTo>
                      <a:pt x="51" y="245"/>
                      <a:pt x="55" y="240"/>
                      <a:pt x="55" y="234"/>
                    </a:cubicBezTo>
                    <a:cubicBezTo>
                      <a:pt x="55" y="228"/>
                      <a:pt x="51" y="224"/>
                      <a:pt x="45" y="224"/>
                    </a:cubicBezTo>
                    <a:cubicBezTo>
                      <a:pt x="24" y="224"/>
                      <a:pt x="24" y="224"/>
                      <a:pt x="24" y="224"/>
                    </a:cubicBezTo>
                    <a:cubicBezTo>
                      <a:pt x="24" y="224"/>
                      <a:pt x="24" y="224"/>
                      <a:pt x="24" y="224"/>
                    </a:cubicBezTo>
                    <a:cubicBezTo>
                      <a:pt x="23" y="224"/>
                      <a:pt x="23" y="224"/>
                      <a:pt x="23" y="224"/>
                    </a:cubicBezTo>
                    <a:cubicBezTo>
                      <a:pt x="19" y="224"/>
                      <a:pt x="16" y="226"/>
                      <a:pt x="14" y="230"/>
                    </a:cubicBezTo>
                    <a:cubicBezTo>
                      <a:pt x="3" y="251"/>
                      <a:pt x="3" y="251"/>
                      <a:pt x="3" y="251"/>
                    </a:cubicBezTo>
                    <a:cubicBezTo>
                      <a:pt x="0" y="256"/>
                      <a:pt x="3" y="263"/>
                      <a:pt x="8" y="265"/>
                    </a:cubicBezTo>
                    <a:cubicBezTo>
                      <a:pt x="9" y="266"/>
                      <a:pt x="11" y="266"/>
                      <a:pt x="13" y="266"/>
                    </a:cubicBezTo>
                    <a:cubicBezTo>
                      <a:pt x="17" y="266"/>
                      <a:pt x="20" y="264"/>
                      <a:pt x="22" y="260"/>
                    </a:cubicBezTo>
                    <a:cubicBezTo>
                      <a:pt x="24" y="256"/>
                      <a:pt x="24" y="256"/>
                      <a:pt x="24" y="256"/>
                    </a:cubicBezTo>
                    <a:cubicBezTo>
                      <a:pt x="50" y="295"/>
                      <a:pt x="93" y="320"/>
                      <a:pt x="141" y="320"/>
                    </a:cubicBezTo>
                    <a:cubicBezTo>
                      <a:pt x="188" y="320"/>
                      <a:pt x="232" y="295"/>
                      <a:pt x="257" y="256"/>
                    </a:cubicBezTo>
                    <a:cubicBezTo>
                      <a:pt x="259" y="260"/>
                      <a:pt x="259" y="260"/>
                      <a:pt x="259" y="260"/>
                    </a:cubicBezTo>
                    <a:cubicBezTo>
                      <a:pt x="261" y="264"/>
                      <a:pt x="265" y="266"/>
                      <a:pt x="269" y="266"/>
                    </a:cubicBezTo>
                    <a:cubicBezTo>
                      <a:pt x="270" y="266"/>
                      <a:pt x="272" y="266"/>
                      <a:pt x="273" y="265"/>
                    </a:cubicBezTo>
                    <a:cubicBezTo>
                      <a:pt x="279" y="263"/>
                      <a:pt x="281" y="256"/>
                      <a:pt x="278" y="251"/>
                    </a:cubicBezTo>
                    <a:close/>
                    <a:moveTo>
                      <a:pt x="119" y="42"/>
                    </a:moveTo>
                    <a:cubicBezTo>
                      <a:pt x="119" y="31"/>
                      <a:pt x="129" y="21"/>
                      <a:pt x="141" y="21"/>
                    </a:cubicBezTo>
                    <a:cubicBezTo>
                      <a:pt x="152" y="21"/>
                      <a:pt x="162" y="31"/>
                      <a:pt x="162" y="42"/>
                    </a:cubicBezTo>
                    <a:cubicBezTo>
                      <a:pt x="162" y="54"/>
                      <a:pt x="152" y="64"/>
                      <a:pt x="141" y="64"/>
                    </a:cubicBezTo>
                    <a:cubicBezTo>
                      <a:pt x="129" y="64"/>
                      <a:pt x="119" y="54"/>
                      <a:pt x="119" y="4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6" name="Group 465">
              <a:extLst>
                <a:ext uri="{FF2B5EF4-FFF2-40B4-BE49-F238E27FC236}">
                  <a16:creationId xmlns:a16="http://schemas.microsoft.com/office/drawing/2014/main" id="{1821BB6A-5B9D-4025-AB9B-488D77E88642}"/>
                </a:ext>
              </a:extLst>
            </p:cNvPr>
            <p:cNvGrpSpPr>
              <a:grpSpLocks noChangeAspect="1"/>
            </p:cNvGrpSpPr>
            <p:nvPr/>
          </p:nvGrpSpPr>
          <p:grpSpPr bwMode="auto">
            <a:xfrm>
              <a:off x="5062277" y="3448606"/>
              <a:ext cx="367982" cy="367982"/>
              <a:chOff x="3968" y="2701"/>
              <a:chExt cx="340" cy="340"/>
            </a:xfrm>
            <a:solidFill>
              <a:schemeClr val="bg1"/>
            </a:solidFill>
          </p:grpSpPr>
          <p:sp>
            <p:nvSpPr>
              <p:cNvPr id="67" name="Freeform 466">
                <a:extLst>
                  <a:ext uri="{FF2B5EF4-FFF2-40B4-BE49-F238E27FC236}">
                    <a16:creationId xmlns:a16="http://schemas.microsoft.com/office/drawing/2014/main" id="{C86CBD29-4E08-403F-A26A-6FA9EEE3DC84}"/>
                  </a:ext>
                </a:extLst>
              </p:cNvPr>
              <p:cNvSpPr>
                <a:spLocks noEditPoints="1"/>
              </p:cNvSpPr>
              <p:nvPr/>
            </p:nvSpPr>
            <p:spPr bwMode="auto">
              <a:xfrm>
                <a:off x="3968" y="27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467">
                <a:extLst>
                  <a:ext uri="{FF2B5EF4-FFF2-40B4-BE49-F238E27FC236}">
                    <a16:creationId xmlns:a16="http://schemas.microsoft.com/office/drawing/2014/main" id="{A0241DDF-CCF3-42E9-8F73-8CA185221C81}"/>
                  </a:ext>
                </a:extLst>
              </p:cNvPr>
              <p:cNvSpPr>
                <a:spLocks noEditPoints="1"/>
              </p:cNvSpPr>
              <p:nvPr/>
            </p:nvSpPr>
            <p:spPr bwMode="auto">
              <a:xfrm>
                <a:off x="4046" y="2821"/>
                <a:ext cx="184" cy="99"/>
              </a:xfrm>
              <a:custGeom>
                <a:avLst/>
                <a:gdLst>
                  <a:gd name="T0" fmla="*/ 96 w 277"/>
                  <a:gd name="T1" fmla="*/ 43 h 149"/>
                  <a:gd name="T2" fmla="*/ 64 w 277"/>
                  <a:gd name="T3" fmla="*/ 11 h 149"/>
                  <a:gd name="T4" fmla="*/ 32 w 277"/>
                  <a:gd name="T5" fmla="*/ 43 h 149"/>
                  <a:gd name="T6" fmla="*/ 64 w 277"/>
                  <a:gd name="T7" fmla="*/ 75 h 149"/>
                  <a:gd name="T8" fmla="*/ 96 w 277"/>
                  <a:gd name="T9" fmla="*/ 43 h 149"/>
                  <a:gd name="T10" fmla="*/ 64 w 277"/>
                  <a:gd name="T11" fmla="*/ 53 h 149"/>
                  <a:gd name="T12" fmla="*/ 53 w 277"/>
                  <a:gd name="T13" fmla="*/ 43 h 149"/>
                  <a:gd name="T14" fmla="*/ 64 w 277"/>
                  <a:gd name="T15" fmla="*/ 32 h 149"/>
                  <a:gd name="T16" fmla="*/ 75 w 277"/>
                  <a:gd name="T17" fmla="*/ 43 h 149"/>
                  <a:gd name="T18" fmla="*/ 64 w 277"/>
                  <a:gd name="T19" fmla="*/ 53 h 149"/>
                  <a:gd name="T20" fmla="*/ 224 w 277"/>
                  <a:gd name="T21" fmla="*/ 32 h 149"/>
                  <a:gd name="T22" fmla="*/ 107 w 277"/>
                  <a:gd name="T23" fmla="*/ 32 h 149"/>
                  <a:gd name="T24" fmla="*/ 96 w 277"/>
                  <a:gd name="T25" fmla="*/ 43 h 149"/>
                  <a:gd name="T26" fmla="*/ 96 w 277"/>
                  <a:gd name="T27" fmla="*/ 75 h 149"/>
                  <a:gd name="T28" fmla="*/ 64 w 277"/>
                  <a:gd name="T29" fmla="*/ 75 h 149"/>
                  <a:gd name="T30" fmla="*/ 21 w 277"/>
                  <a:gd name="T31" fmla="*/ 75 h 149"/>
                  <a:gd name="T32" fmla="*/ 21 w 277"/>
                  <a:gd name="T33" fmla="*/ 11 h 149"/>
                  <a:gd name="T34" fmla="*/ 11 w 277"/>
                  <a:gd name="T35" fmla="*/ 0 h 149"/>
                  <a:gd name="T36" fmla="*/ 0 w 277"/>
                  <a:gd name="T37" fmla="*/ 11 h 149"/>
                  <a:gd name="T38" fmla="*/ 0 w 277"/>
                  <a:gd name="T39" fmla="*/ 139 h 149"/>
                  <a:gd name="T40" fmla="*/ 11 w 277"/>
                  <a:gd name="T41" fmla="*/ 149 h 149"/>
                  <a:gd name="T42" fmla="*/ 21 w 277"/>
                  <a:gd name="T43" fmla="*/ 139 h 149"/>
                  <a:gd name="T44" fmla="*/ 21 w 277"/>
                  <a:gd name="T45" fmla="*/ 96 h 149"/>
                  <a:gd name="T46" fmla="*/ 107 w 277"/>
                  <a:gd name="T47" fmla="*/ 96 h 149"/>
                  <a:gd name="T48" fmla="*/ 256 w 277"/>
                  <a:gd name="T49" fmla="*/ 96 h 149"/>
                  <a:gd name="T50" fmla="*/ 256 w 277"/>
                  <a:gd name="T51" fmla="*/ 139 h 149"/>
                  <a:gd name="T52" fmla="*/ 267 w 277"/>
                  <a:gd name="T53" fmla="*/ 149 h 149"/>
                  <a:gd name="T54" fmla="*/ 277 w 277"/>
                  <a:gd name="T55" fmla="*/ 139 h 149"/>
                  <a:gd name="T56" fmla="*/ 277 w 277"/>
                  <a:gd name="T57" fmla="*/ 85 h 149"/>
                  <a:gd name="T58" fmla="*/ 224 w 277"/>
                  <a:gd name="T59" fmla="*/ 32 h 149"/>
                  <a:gd name="T60" fmla="*/ 117 w 277"/>
                  <a:gd name="T61" fmla="*/ 75 h 149"/>
                  <a:gd name="T62" fmla="*/ 117 w 277"/>
                  <a:gd name="T63" fmla="*/ 53 h 149"/>
                  <a:gd name="T64" fmla="*/ 224 w 277"/>
                  <a:gd name="T65" fmla="*/ 53 h 149"/>
                  <a:gd name="T66" fmla="*/ 255 w 277"/>
                  <a:gd name="T67" fmla="*/ 75 h 149"/>
                  <a:gd name="T68" fmla="*/ 117 w 277"/>
                  <a:gd name="T6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149">
                    <a:moveTo>
                      <a:pt x="96" y="43"/>
                    </a:moveTo>
                    <a:cubicBezTo>
                      <a:pt x="96" y="25"/>
                      <a:pt x="82" y="11"/>
                      <a:pt x="64" y="11"/>
                    </a:cubicBezTo>
                    <a:cubicBezTo>
                      <a:pt x="46" y="11"/>
                      <a:pt x="32" y="25"/>
                      <a:pt x="32" y="43"/>
                    </a:cubicBezTo>
                    <a:cubicBezTo>
                      <a:pt x="32" y="60"/>
                      <a:pt x="46" y="75"/>
                      <a:pt x="64" y="75"/>
                    </a:cubicBezTo>
                    <a:cubicBezTo>
                      <a:pt x="82" y="75"/>
                      <a:pt x="96" y="60"/>
                      <a:pt x="96" y="43"/>
                    </a:cubicBezTo>
                    <a:close/>
                    <a:moveTo>
                      <a:pt x="64" y="53"/>
                    </a:moveTo>
                    <a:cubicBezTo>
                      <a:pt x="58" y="53"/>
                      <a:pt x="53" y="49"/>
                      <a:pt x="53" y="43"/>
                    </a:cubicBezTo>
                    <a:cubicBezTo>
                      <a:pt x="53" y="37"/>
                      <a:pt x="58" y="32"/>
                      <a:pt x="64" y="32"/>
                    </a:cubicBezTo>
                    <a:cubicBezTo>
                      <a:pt x="70" y="32"/>
                      <a:pt x="75" y="37"/>
                      <a:pt x="75" y="43"/>
                    </a:cubicBezTo>
                    <a:cubicBezTo>
                      <a:pt x="75" y="49"/>
                      <a:pt x="70" y="53"/>
                      <a:pt x="64" y="53"/>
                    </a:cubicBezTo>
                    <a:close/>
                    <a:moveTo>
                      <a:pt x="224" y="32"/>
                    </a:moveTo>
                    <a:cubicBezTo>
                      <a:pt x="107" y="32"/>
                      <a:pt x="107" y="32"/>
                      <a:pt x="107" y="32"/>
                    </a:cubicBezTo>
                    <a:cubicBezTo>
                      <a:pt x="101" y="32"/>
                      <a:pt x="96" y="37"/>
                      <a:pt x="96" y="43"/>
                    </a:cubicBezTo>
                    <a:cubicBezTo>
                      <a:pt x="96" y="75"/>
                      <a:pt x="96" y="75"/>
                      <a:pt x="96" y="75"/>
                    </a:cubicBezTo>
                    <a:cubicBezTo>
                      <a:pt x="64" y="75"/>
                      <a:pt x="64" y="75"/>
                      <a:pt x="64" y="75"/>
                    </a:cubicBezTo>
                    <a:cubicBezTo>
                      <a:pt x="21" y="75"/>
                      <a:pt x="21" y="75"/>
                      <a:pt x="21" y="75"/>
                    </a:cubicBezTo>
                    <a:cubicBezTo>
                      <a:pt x="21" y="11"/>
                      <a:pt x="21" y="11"/>
                      <a:pt x="21" y="11"/>
                    </a:cubicBezTo>
                    <a:cubicBezTo>
                      <a:pt x="21" y="5"/>
                      <a:pt x="17" y="0"/>
                      <a:pt x="11" y="0"/>
                    </a:cubicBezTo>
                    <a:cubicBezTo>
                      <a:pt x="5" y="0"/>
                      <a:pt x="0" y="5"/>
                      <a:pt x="0" y="11"/>
                    </a:cubicBezTo>
                    <a:cubicBezTo>
                      <a:pt x="0" y="139"/>
                      <a:pt x="0" y="139"/>
                      <a:pt x="0" y="139"/>
                    </a:cubicBezTo>
                    <a:cubicBezTo>
                      <a:pt x="0" y="145"/>
                      <a:pt x="5" y="149"/>
                      <a:pt x="11" y="149"/>
                    </a:cubicBezTo>
                    <a:cubicBezTo>
                      <a:pt x="17" y="149"/>
                      <a:pt x="21" y="145"/>
                      <a:pt x="21" y="139"/>
                    </a:cubicBezTo>
                    <a:cubicBezTo>
                      <a:pt x="21" y="96"/>
                      <a:pt x="21" y="96"/>
                      <a:pt x="21" y="96"/>
                    </a:cubicBezTo>
                    <a:cubicBezTo>
                      <a:pt x="107" y="96"/>
                      <a:pt x="107" y="96"/>
                      <a:pt x="107" y="96"/>
                    </a:cubicBezTo>
                    <a:cubicBezTo>
                      <a:pt x="256" y="96"/>
                      <a:pt x="256" y="96"/>
                      <a:pt x="256" y="96"/>
                    </a:cubicBezTo>
                    <a:cubicBezTo>
                      <a:pt x="256" y="139"/>
                      <a:pt x="256" y="139"/>
                      <a:pt x="256" y="139"/>
                    </a:cubicBezTo>
                    <a:cubicBezTo>
                      <a:pt x="256" y="145"/>
                      <a:pt x="261" y="149"/>
                      <a:pt x="267" y="149"/>
                    </a:cubicBezTo>
                    <a:cubicBezTo>
                      <a:pt x="273" y="149"/>
                      <a:pt x="277" y="145"/>
                      <a:pt x="277" y="139"/>
                    </a:cubicBezTo>
                    <a:cubicBezTo>
                      <a:pt x="277" y="85"/>
                      <a:pt x="277" y="85"/>
                      <a:pt x="277" y="85"/>
                    </a:cubicBezTo>
                    <a:cubicBezTo>
                      <a:pt x="277" y="44"/>
                      <a:pt x="243" y="32"/>
                      <a:pt x="224" y="32"/>
                    </a:cubicBezTo>
                    <a:close/>
                    <a:moveTo>
                      <a:pt x="117" y="75"/>
                    </a:moveTo>
                    <a:cubicBezTo>
                      <a:pt x="117" y="53"/>
                      <a:pt x="117" y="53"/>
                      <a:pt x="117" y="53"/>
                    </a:cubicBezTo>
                    <a:cubicBezTo>
                      <a:pt x="224" y="53"/>
                      <a:pt x="224" y="53"/>
                      <a:pt x="224" y="53"/>
                    </a:cubicBezTo>
                    <a:cubicBezTo>
                      <a:pt x="228" y="53"/>
                      <a:pt x="249" y="55"/>
                      <a:pt x="255" y="75"/>
                    </a:cubicBezTo>
                    <a:lnTo>
                      <a:pt x="117" y="7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9" name="Group 853">
              <a:extLst>
                <a:ext uri="{FF2B5EF4-FFF2-40B4-BE49-F238E27FC236}">
                  <a16:creationId xmlns:a16="http://schemas.microsoft.com/office/drawing/2014/main" id="{0A7055A9-5628-4D25-B1FF-6376DE44A414}"/>
                </a:ext>
              </a:extLst>
            </p:cNvPr>
            <p:cNvGrpSpPr>
              <a:grpSpLocks noChangeAspect="1"/>
            </p:cNvGrpSpPr>
            <p:nvPr/>
          </p:nvGrpSpPr>
          <p:grpSpPr bwMode="auto">
            <a:xfrm>
              <a:off x="5485460" y="4206241"/>
              <a:ext cx="367982" cy="367982"/>
              <a:chOff x="5046" y="4010"/>
              <a:chExt cx="340" cy="340"/>
            </a:xfrm>
            <a:solidFill>
              <a:schemeClr val="bg1"/>
            </a:solidFill>
          </p:grpSpPr>
          <p:sp>
            <p:nvSpPr>
              <p:cNvPr id="70" name="Freeform 854">
                <a:extLst>
                  <a:ext uri="{FF2B5EF4-FFF2-40B4-BE49-F238E27FC236}">
                    <a16:creationId xmlns:a16="http://schemas.microsoft.com/office/drawing/2014/main" id="{CDEF539B-1AC4-4DB6-8B3E-D42F17DE968F}"/>
                  </a:ext>
                </a:extLst>
              </p:cNvPr>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855">
                <a:extLst>
                  <a:ext uri="{FF2B5EF4-FFF2-40B4-BE49-F238E27FC236}">
                    <a16:creationId xmlns:a16="http://schemas.microsoft.com/office/drawing/2014/main" id="{23AB6125-1809-4E5A-9772-745D37F6B001}"/>
                  </a:ext>
                </a:extLst>
              </p:cNvPr>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2" name="Group 317">
              <a:extLst>
                <a:ext uri="{FF2B5EF4-FFF2-40B4-BE49-F238E27FC236}">
                  <a16:creationId xmlns:a16="http://schemas.microsoft.com/office/drawing/2014/main" id="{71DC1E30-D90B-418C-8479-38FC3E3C39DC}"/>
                </a:ext>
              </a:extLst>
            </p:cNvPr>
            <p:cNvGrpSpPr>
              <a:grpSpLocks noChangeAspect="1"/>
            </p:cNvGrpSpPr>
            <p:nvPr/>
          </p:nvGrpSpPr>
          <p:grpSpPr bwMode="auto">
            <a:xfrm>
              <a:off x="6365038" y="2678599"/>
              <a:ext cx="367041" cy="367041"/>
              <a:chOff x="3039" y="1341"/>
              <a:chExt cx="340" cy="340"/>
            </a:xfrm>
            <a:solidFill>
              <a:schemeClr val="bg1"/>
            </a:solidFill>
          </p:grpSpPr>
          <p:sp>
            <p:nvSpPr>
              <p:cNvPr id="73" name="Freeform 318">
                <a:extLst>
                  <a:ext uri="{FF2B5EF4-FFF2-40B4-BE49-F238E27FC236}">
                    <a16:creationId xmlns:a16="http://schemas.microsoft.com/office/drawing/2014/main" id="{60FB1B8E-F9C9-4BCB-AEE9-6355DB4F9972}"/>
                  </a:ext>
                </a:extLst>
              </p:cNvPr>
              <p:cNvSpPr>
                <a:spLocks noEditPoints="1"/>
              </p:cNvSpPr>
              <p:nvPr/>
            </p:nvSpPr>
            <p:spPr bwMode="auto">
              <a:xfrm>
                <a:off x="3152" y="1490"/>
                <a:ext cx="42" cy="42"/>
              </a:xfrm>
              <a:custGeom>
                <a:avLst/>
                <a:gdLst>
                  <a:gd name="T0" fmla="*/ 54 w 64"/>
                  <a:gd name="T1" fmla="*/ 0 h 64"/>
                  <a:gd name="T2" fmla="*/ 11 w 64"/>
                  <a:gd name="T3" fmla="*/ 0 h 64"/>
                  <a:gd name="T4" fmla="*/ 0 w 64"/>
                  <a:gd name="T5" fmla="*/ 10 h 64"/>
                  <a:gd name="T6" fmla="*/ 0 w 64"/>
                  <a:gd name="T7" fmla="*/ 53 h 64"/>
                  <a:gd name="T8" fmla="*/ 11 w 64"/>
                  <a:gd name="T9" fmla="*/ 64 h 64"/>
                  <a:gd name="T10" fmla="*/ 54 w 64"/>
                  <a:gd name="T11" fmla="*/ 64 h 64"/>
                  <a:gd name="T12" fmla="*/ 64 w 64"/>
                  <a:gd name="T13" fmla="*/ 53 h 64"/>
                  <a:gd name="T14" fmla="*/ 64 w 64"/>
                  <a:gd name="T15" fmla="*/ 10 h 64"/>
                  <a:gd name="T16" fmla="*/ 54 w 64"/>
                  <a:gd name="T17" fmla="*/ 0 h 64"/>
                  <a:gd name="T18" fmla="*/ 43 w 64"/>
                  <a:gd name="T19" fmla="*/ 42 h 64"/>
                  <a:gd name="T20" fmla="*/ 22 w 64"/>
                  <a:gd name="T21" fmla="*/ 42 h 64"/>
                  <a:gd name="T22" fmla="*/ 22 w 64"/>
                  <a:gd name="T23" fmla="*/ 21 h 64"/>
                  <a:gd name="T24" fmla="*/ 43 w 64"/>
                  <a:gd name="T25" fmla="*/ 21 h 64"/>
                  <a:gd name="T26" fmla="*/ 43 w 64"/>
                  <a:gd name="T27"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54" y="0"/>
                    </a:moveTo>
                    <a:cubicBezTo>
                      <a:pt x="11" y="0"/>
                      <a:pt x="11" y="0"/>
                      <a:pt x="11" y="0"/>
                    </a:cubicBezTo>
                    <a:cubicBezTo>
                      <a:pt x="5" y="0"/>
                      <a:pt x="0" y="4"/>
                      <a:pt x="0" y="10"/>
                    </a:cubicBezTo>
                    <a:cubicBezTo>
                      <a:pt x="0" y="53"/>
                      <a:pt x="0" y="53"/>
                      <a:pt x="0" y="53"/>
                    </a:cubicBezTo>
                    <a:cubicBezTo>
                      <a:pt x="0" y="59"/>
                      <a:pt x="5" y="64"/>
                      <a:pt x="11" y="64"/>
                    </a:cubicBezTo>
                    <a:cubicBezTo>
                      <a:pt x="54" y="64"/>
                      <a:pt x="54" y="64"/>
                      <a:pt x="54" y="64"/>
                    </a:cubicBezTo>
                    <a:cubicBezTo>
                      <a:pt x="60" y="64"/>
                      <a:pt x="64" y="59"/>
                      <a:pt x="64" y="53"/>
                    </a:cubicBezTo>
                    <a:cubicBezTo>
                      <a:pt x="64" y="10"/>
                      <a:pt x="64" y="10"/>
                      <a:pt x="64" y="10"/>
                    </a:cubicBezTo>
                    <a:cubicBezTo>
                      <a:pt x="64" y="4"/>
                      <a:pt x="60" y="0"/>
                      <a:pt x="54" y="0"/>
                    </a:cubicBezTo>
                    <a:close/>
                    <a:moveTo>
                      <a:pt x="43" y="42"/>
                    </a:moveTo>
                    <a:cubicBezTo>
                      <a:pt x="22" y="42"/>
                      <a:pt x="22" y="42"/>
                      <a:pt x="22" y="42"/>
                    </a:cubicBezTo>
                    <a:cubicBezTo>
                      <a:pt x="22" y="21"/>
                      <a:pt x="22" y="21"/>
                      <a:pt x="22" y="21"/>
                    </a:cubicBezTo>
                    <a:cubicBezTo>
                      <a:pt x="43" y="21"/>
                      <a:pt x="43" y="21"/>
                      <a:pt x="43" y="21"/>
                    </a:cubicBezTo>
                    <a:lnTo>
                      <a:pt x="43" y="4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319">
                <a:extLst>
                  <a:ext uri="{FF2B5EF4-FFF2-40B4-BE49-F238E27FC236}">
                    <a16:creationId xmlns:a16="http://schemas.microsoft.com/office/drawing/2014/main" id="{B82DD5CB-1171-4C6A-BFA7-8D314625AFA7}"/>
                  </a:ext>
                </a:extLst>
              </p:cNvPr>
              <p:cNvSpPr>
                <a:spLocks noEditPoints="1"/>
              </p:cNvSpPr>
              <p:nvPr/>
            </p:nvSpPr>
            <p:spPr bwMode="auto">
              <a:xfrm>
                <a:off x="3223" y="1490"/>
                <a:ext cx="42" cy="42"/>
              </a:xfrm>
              <a:custGeom>
                <a:avLst/>
                <a:gdLst>
                  <a:gd name="T0" fmla="*/ 11 w 64"/>
                  <a:gd name="T1" fmla="*/ 64 h 64"/>
                  <a:gd name="T2" fmla="*/ 53 w 64"/>
                  <a:gd name="T3" fmla="*/ 64 h 64"/>
                  <a:gd name="T4" fmla="*/ 64 w 64"/>
                  <a:gd name="T5" fmla="*/ 53 h 64"/>
                  <a:gd name="T6" fmla="*/ 64 w 64"/>
                  <a:gd name="T7" fmla="*/ 10 h 64"/>
                  <a:gd name="T8" fmla="*/ 53 w 64"/>
                  <a:gd name="T9" fmla="*/ 0 h 64"/>
                  <a:gd name="T10" fmla="*/ 11 w 64"/>
                  <a:gd name="T11" fmla="*/ 0 h 64"/>
                  <a:gd name="T12" fmla="*/ 0 w 64"/>
                  <a:gd name="T13" fmla="*/ 10 h 64"/>
                  <a:gd name="T14" fmla="*/ 0 w 64"/>
                  <a:gd name="T15" fmla="*/ 53 h 64"/>
                  <a:gd name="T16" fmla="*/ 11 w 64"/>
                  <a:gd name="T17" fmla="*/ 64 h 64"/>
                  <a:gd name="T18" fmla="*/ 21 w 64"/>
                  <a:gd name="T19" fmla="*/ 21 h 64"/>
                  <a:gd name="T20" fmla="*/ 43 w 64"/>
                  <a:gd name="T21" fmla="*/ 21 h 64"/>
                  <a:gd name="T22" fmla="*/ 43 w 64"/>
                  <a:gd name="T23" fmla="*/ 42 h 64"/>
                  <a:gd name="T24" fmla="*/ 21 w 64"/>
                  <a:gd name="T25" fmla="*/ 42 h 64"/>
                  <a:gd name="T26" fmla="*/ 21 w 64"/>
                  <a:gd name="T27"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11" y="64"/>
                    </a:moveTo>
                    <a:cubicBezTo>
                      <a:pt x="53" y="64"/>
                      <a:pt x="53" y="64"/>
                      <a:pt x="53" y="64"/>
                    </a:cubicBezTo>
                    <a:cubicBezTo>
                      <a:pt x="59" y="64"/>
                      <a:pt x="64" y="59"/>
                      <a:pt x="64" y="53"/>
                    </a:cubicBezTo>
                    <a:cubicBezTo>
                      <a:pt x="64" y="10"/>
                      <a:pt x="64" y="10"/>
                      <a:pt x="64" y="10"/>
                    </a:cubicBezTo>
                    <a:cubicBezTo>
                      <a:pt x="64" y="4"/>
                      <a:pt x="59" y="0"/>
                      <a:pt x="53" y="0"/>
                    </a:cubicBezTo>
                    <a:cubicBezTo>
                      <a:pt x="11" y="0"/>
                      <a:pt x="11" y="0"/>
                      <a:pt x="11" y="0"/>
                    </a:cubicBezTo>
                    <a:cubicBezTo>
                      <a:pt x="5" y="0"/>
                      <a:pt x="0" y="4"/>
                      <a:pt x="0" y="10"/>
                    </a:cubicBezTo>
                    <a:cubicBezTo>
                      <a:pt x="0" y="53"/>
                      <a:pt x="0" y="53"/>
                      <a:pt x="0" y="53"/>
                    </a:cubicBezTo>
                    <a:cubicBezTo>
                      <a:pt x="0" y="59"/>
                      <a:pt x="5" y="64"/>
                      <a:pt x="11" y="64"/>
                    </a:cubicBezTo>
                    <a:close/>
                    <a:moveTo>
                      <a:pt x="21" y="21"/>
                    </a:moveTo>
                    <a:cubicBezTo>
                      <a:pt x="43" y="21"/>
                      <a:pt x="43" y="21"/>
                      <a:pt x="43" y="21"/>
                    </a:cubicBezTo>
                    <a:cubicBezTo>
                      <a:pt x="43" y="42"/>
                      <a:pt x="43" y="42"/>
                      <a:pt x="43" y="42"/>
                    </a:cubicBezTo>
                    <a:cubicBezTo>
                      <a:pt x="21" y="42"/>
                      <a:pt x="21" y="42"/>
                      <a:pt x="21" y="42"/>
                    </a:cubicBezTo>
                    <a:lnTo>
                      <a:pt x="2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Freeform 320">
                <a:extLst>
                  <a:ext uri="{FF2B5EF4-FFF2-40B4-BE49-F238E27FC236}">
                    <a16:creationId xmlns:a16="http://schemas.microsoft.com/office/drawing/2014/main" id="{9F7B5F61-6A8C-42C7-A309-0906DE7E392B}"/>
                  </a:ext>
                </a:extLst>
              </p:cNvPr>
              <p:cNvSpPr>
                <a:spLocks noEditPoints="1"/>
              </p:cNvSpPr>
              <p:nvPr/>
            </p:nvSpPr>
            <p:spPr bwMode="auto">
              <a:xfrm>
                <a:off x="3102" y="1404"/>
                <a:ext cx="214" cy="199"/>
              </a:xfrm>
              <a:custGeom>
                <a:avLst/>
                <a:gdLst>
                  <a:gd name="T0" fmla="*/ 317 w 322"/>
                  <a:gd name="T1" fmla="*/ 131 h 299"/>
                  <a:gd name="T2" fmla="*/ 168 w 322"/>
                  <a:gd name="T3" fmla="*/ 3 h 299"/>
                  <a:gd name="T4" fmla="*/ 154 w 322"/>
                  <a:gd name="T5" fmla="*/ 3 h 299"/>
                  <a:gd name="T6" fmla="*/ 4 w 322"/>
                  <a:gd name="T7" fmla="*/ 131 h 299"/>
                  <a:gd name="T8" fmla="*/ 1 w 322"/>
                  <a:gd name="T9" fmla="*/ 143 h 299"/>
                  <a:gd name="T10" fmla="*/ 11 w 322"/>
                  <a:gd name="T11" fmla="*/ 150 h 299"/>
                  <a:gd name="T12" fmla="*/ 33 w 322"/>
                  <a:gd name="T13" fmla="*/ 150 h 299"/>
                  <a:gd name="T14" fmla="*/ 33 w 322"/>
                  <a:gd name="T15" fmla="*/ 289 h 299"/>
                  <a:gd name="T16" fmla="*/ 43 w 322"/>
                  <a:gd name="T17" fmla="*/ 299 h 299"/>
                  <a:gd name="T18" fmla="*/ 139 w 322"/>
                  <a:gd name="T19" fmla="*/ 299 h 299"/>
                  <a:gd name="T20" fmla="*/ 150 w 322"/>
                  <a:gd name="T21" fmla="*/ 289 h 299"/>
                  <a:gd name="T22" fmla="*/ 150 w 322"/>
                  <a:gd name="T23" fmla="*/ 235 h 299"/>
                  <a:gd name="T24" fmla="*/ 171 w 322"/>
                  <a:gd name="T25" fmla="*/ 235 h 299"/>
                  <a:gd name="T26" fmla="*/ 171 w 322"/>
                  <a:gd name="T27" fmla="*/ 289 h 299"/>
                  <a:gd name="T28" fmla="*/ 182 w 322"/>
                  <a:gd name="T29" fmla="*/ 299 h 299"/>
                  <a:gd name="T30" fmla="*/ 278 w 322"/>
                  <a:gd name="T31" fmla="*/ 299 h 299"/>
                  <a:gd name="T32" fmla="*/ 289 w 322"/>
                  <a:gd name="T33" fmla="*/ 289 h 299"/>
                  <a:gd name="T34" fmla="*/ 289 w 322"/>
                  <a:gd name="T35" fmla="*/ 150 h 299"/>
                  <a:gd name="T36" fmla="*/ 310 w 322"/>
                  <a:gd name="T37" fmla="*/ 150 h 299"/>
                  <a:gd name="T38" fmla="*/ 320 w 322"/>
                  <a:gd name="T39" fmla="*/ 143 h 299"/>
                  <a:gd name="T40" fmla="*/ 317 w 322"/>
                  <a:gd name="T41" fmla="*/ 131 h 299"/>
                  <a:gd name="T42" fmla="*/ 278 w 322"/>
                  <a:gd name="T43" fmla="*/ 129 h 299"/>
                  <a:gd name="T44" fmla="*/ 267 w 322"/>
                  <a:gd name="T45" fmla="*/ 139 h 299"/>
                  <a:gd name="T46" fmla="*/ 267 w 322"/>
                  <a:gd name="T47" fmla="*/ 278 h 299"/>
                  <a:gd name="T48" fmla="*/ 193 w 322"/>
                  <a:gd name="T49" fmla="*/ 278 h 299"/>
                  <a:gd name="T50" fmla="*/ 193 w 322"/>
                  <a:gd name="T51" fmla="*/ 225 h 299"/>
                  <a:gd name="T52" fmla="*/ 182 w 322"/>
                  <a:gd name="T53" fmla="*/ 214 h 299"/>
                  <a:gd name="T54" fmla="*/ 139 w 322"/>
                  <a:gd name="T55" fmla="*/ 214 h 299"/>
                  <a:gd name="T56" fmla="*/ 129 w 322"/>
                  <a:gd name="T57" fmla="*/ 225 h 299"/>
                  <a:gd name="T58" fmla="*/ 129 w 322"/>
                  <a:gd name="T59" fmla="*/ 278 h 299"/>
                  <a:gd name="T60" fmla="*/ 54 w 322"/>
                  <a:gd name="T61" fmla="*/ 278 h 299"/>
                  <a:gd name="T62" fmla="*/ 54 w 322"/>
                  <a:gd name="T63" fmla="*/ 139 h 299"/>
                  <a:gd name="T64" fmla="*/ 43 w 322"/>
                  <a:gd name="T65" fmla="*/ 129 h 299"/>
                  <a:gd name="T66" fmla="*/ 40 w 322"/>
                  <a:gd name="T67" fmla="*/ 129 h 299"/>
                  <a:gd name="T68" fmla="*/ 161 w 322"/>
                  <a:gd name="T69" fmla="*/ 25 h 299"/>
                  <a:gd name="T70" fmla="*/ 281 w 322"/>
                  <a:gd name="T71" fmla="*/ 129 h 299"/>
                  <a:gd name="T72" fmla="*/ 278 w 322"/>
                  <a:gd name="T73" fmla="*/ 12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317" y="131"/>
                    </a:moveTo>
                    <a:cubicBezTo>
                      <a:pt x="168" y="3"/>
                      <a:pt x="168" y="3"/>
                      <a:pt x="168" y="3"/>
                    </a:cubicBezTo>
                    <a:cubicBezTo>
                      <a:pt x="164" y="0"/>
                      <a:pt x="158" y="0"/>
                      <a:pt x="154" y="3"/>
                    </a:cubicBezTo>
                    <a:cubicBezTo>
                      <a:pt x="4" y="131"/>
                      <a:pt x="4" y="131"/>
                      <a:pt x="4" y="131"/>
                    </a:cubicBezTo>
                    <a:cubicBezTo>
                      <a:pt x="1" y="134"/>
                      <a:pt x="0" y="139"/>
                      <a:pt x="1" y="143"/>
                    </a:cubicBezTo>
                    <a:cubicBezTo>
                      <a:pt x="3" y="147"/>
                      <a:pt x="7" y="150"/>
                      <a:pt x="11" y="150"/>
                    </a:cubicBezTo>
                    <a:cubicBezTo>
                      <a:pt x="33" y="150"/>
                      <a:pt x="33" y="150"/>
                      <a:pt x="33" y="150"/>
                    </a:cubicBezTo>
                    <a:cubicBezTo>
                      <a:pt x="33" y="289"/>
                      <a:pt x="33" y="289"/>
                      <a:pt x="33" y="289"/>
                    </a:cubicBezTo>
                    <a:cubicBezTo>
                      <a:pt x="33" y="295"/>
                      <a:pt x="37" y="299"/>
                      <a:pt x="43" y="299"/>
                    </a:cubicBezTo>
                    <a:cubicBezTo>
                      <a:pt x="139" y="299"/>
                      <a:pt x="139" y="299"/>
                      <a:pt x="139" y="299"/>
                    </a:cubicBezTo>
                    <a:cubicBezTo>
                      <a:pt x="145" y="299"/>
                      <a:pt x="150" y="295"/>
                      <a:pt x="150" y="289"/>
                    </a:cubicBezTo>
                    <a:cubicBezTo>
                      <a:pt x="150" y="235"/>
                      <a:pt x="150" y="235"/>
                      <a:pt x="150" y="235"/>
                    </a:cubicBezTo>
                    <a:cubicBezTo>
                      <a:pt x="171" y="235"/>
                      <a:pt x="171" y="235"/>
                      <a:pt x="171" y="235"/>
                    </a:cubicBezTo>
                    <a:cubicBezTo>
                      <a:pt x="171" y="289"/>
                      <a:pt x="171" y="289"/>
                      <a:pt x="171" y="289"/>
                    </a:cubicBezTo>
                    <a:cubicBezTo>
                      <a:pt x="171" y="295"/>
                      <a:pt x="176" y="299"/>
                      <a:pt x="182" y="299"/>
                    </a:cubicBezTo>
                    <a:cubicBezTo>
                      <a:pt x="278" y="299"/>
                      <a:pt x="278" y="299"/>
                      <a:pt x="278" y="299"/>
                    </a:cubicBezTo>
                    <a:cubicBezTo>
                      <a:pt x="284" y="299"/>
                      <a:pt x="289" y="295"/>
                      <a:pt x="289" y="289"/>
                    </a:cubicBezTo>
                    <a:cubicBezTo>
                      <a:pt x="289" y="150"/>
                      <a:pt x="289" y="150"/>
                      <a:pt x="289" y="150"/>
                    </a:cubicBezTo>
                    <a:cubicBezTo>
                      <a:pt x="310" y="150"/>
                      <a:pt x="310" y="150"/>
                      <a:pt x="310" y="150"/>
                    </a:cubicBezTo>
                    <a:cubicBezTo>
                      <a:pt x="314" y="150"/>
                      <a:pt x="318" y="147"/>
                      <a:pt x="320" y="143"/>
                    </a:cubicBezTo>
                    <a:cubicBezTo>
                      <a:pt x="322" y="139"/>
                      <a:pt x="320" y="134"/>
                      <a:pt x="317" y="131"/>
                    </a:cubicBezTo>
                    <a:close/>
                    <a:moveTo>
                      <a:pt x="278" y="129"/>
                    </a:moveTo>
                    <a:cubicBezTo>
                      <a:pt x="272" y="129"/>
                      <a:pt x="267" y="133"/>
                      <a:pt x="267" y="139"/>
                    </a:cubicBezTo>
                    <a:cubicBezTo>
                      <a:pt x="267" y="278"/>
                      <a:pt x="267" y="278"/>
                      <a:pt x="267" y="278"/>
                    </a:cubicBezTo>
                    <a:cubicBezTo>
                      <a:pt x="193" y="278"/>
                      <a:pt x="193" y="278"/>
                      <a:pt x="193" y="278"/>
                    </a:cubicBezTo>
                    <a:cubicBezTo>
                      <a:pt x="193" y="225"/>
                      <a:pt x="193" y="225"/>
                      <a:pt x="193" y="225"/>
                    </a:cubicBezTo>
                    <a:cubicBezTo>
                      <a:pt x="193" y="219"/>
                      <a:pt x="188" y="214"/>
                      <a:pt x="182" y="214"/>
                    </a:cubicBezTo>
                    <a:cubicBezTo>
                      <a:pt x="139" y="214"/>
                      <a:pt x="139" y="214"/>
                      <a:pt x="139" y="214"/>
                    </a:cubicBezTo>
                    <a:cubicBezTo>
                      <a:pt x="133" y="214"/>
                      <a:pt x="129" y="219"/>
                      <a:pt x="129" y="225"/>
                    </a:cubicBezTo>
                    <a:cubicBezTo>
                      <a:pt x="129" y="278"/>
                      <a:pt x="129" y="278"/>
                      <a:pt x="129" y="278"/>
                    </a:cubicBezTo>
                    <a:cubicBezTo>
                      <a:pt x="54" y="278"/>
                      <a:pt x="54" y="278"/>
                      <a:pt x="54" y="278"/>
                    </a:cubicBezTo>
                    <a:cubicBezTo>
                      <a:pt x="54" y="139"/>
                      <a:pt x="54" y="139"/>
                      <a:pt x="54" y="139"/>
                    </a:cubicBezTo>
                    <a:cubicBezTo>
                      <a:pt x="54" y="133"/>
                      <a:pt x="49" y="129"/>
                      <a:pt x="43" y="129"/>
                    </a:cubicBezTo>
                    <a:cubicBezTo>
                      <a:pt x="40" y="129"/>
                      <a:pt x="40" y="129"/>
                      <a:pt x="40" y="129"/>
                    </a:cubicBezTo>
                    <a:cubicBezTo>
                      <a:pt x="161" y="25"/>
                      <a:pt x="161" y="25"/>
                      <a:pt x="161" y="25"/>
                    </a:cubicBezTo>
                    <a:cubicBezTo>
                      <a:pt x="281" y="129"/>
                      <a:pt x="281" y="129"/>
                      <a:pt x="281" y="129"/>
                    </a:cubicBezTo>
                    <a:lnTo>
                      <a:pt x="278" y="129"/>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 name="Freeform 321">
                <a:extLst>
                  <a:ext uri="{FF2B5EF4-FFF2-40B4-BE49-F238E27FC236}">
                    <a16:creationId xmlns:a16="http://schemas.microsoft.com/office/drawing/2014/main" id="{19BDDD85-949F-4B90-9541-4DB383F95AFD}"/>
                  </a:ext>
                </a:extLst>
              </p:cNvPr>
              <p:cNvSpPr>
                <a:spLocks noEditPoints="1"/>
              </p:cNvSpPr>
              <p:nvPr/>
            </p:nvSpPr>
            <p:spPr bwMode="auto">
              <a:xfrm>
                <a:off x="3039" y="13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7" name="Group 603">
              <a:extLst>
                <a:ext uri="{FF2B5EF4-FFF2-40B4-BE49-F238E27FC236}">
                  <a16:creationId xmlns:a16="http://schemas.microsoft.com/office/drawing/2014/main" id="{0F5817DC-C641-412D-BFC2-6DAA20300FED}"/>
                </a:ext>
              </a:extLst>
            </p:cNvPr>
            <p:cNvGrpSpPr>
              <a:grpSpLocks noChangeAspect="1"/>
            </p:cNvGrpSpPr>
            <p:nvPr/>
          </p:nvGrpSpPr>
          <p:grpSpPr bwMode="auto">
            <a:xfrm>
              <a:off x="6818683" y="3481643"/>
              <a:ext cx="369021" cy="369021"/>
              <a:chOff x="5044" y="2340"/>
              <a:chExt cx="340" cy="340"/>
            </a:xfrm>
            <a:solidFill>
              <a:schemeClr val="bg1"/>
            </a:solidFill>
          </p:grpSpPr>
          <p:sp>
            <p:nvSpPr>
              <p:cNvPr id="78" name="Freeform 604">
                <a:extLst>
                  <a:ext uri="{FF2B5EF4-FFF2-40B4-BE49-F238E27FC236}">
                    <a16:creationId xmlns:a16="http://schemas.microsoft.com/office/drawing/2014/main" id="{A8D2BFB4-41F3-4233-A440-84D675349809}"/>
                  </a:ext>
                </a:extLst>
              </p:cNvPr>
              <p:cNvSpPr>
                <a:spLocks noEditPoints="1"/>
              </p:cNvSpPr>
              <p:nvPr/>
            </p:nvSpPr>
            <p:spPr bwMode="auto">
              <a:xfrm>
                <a:off x="5044" y="234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 name="Freeform 605">
                <a:extLst>
                  <a:ext uri="{FF2B5EF4-FFF2-40B4-BE49-F238E27FC236}">
                    <a16:creationId xmlns:a16="http://schemas.microsoft.com/office/drawing/2014/main" id="{155C40DD-9953-4A90-944D-5A8DB0D66E8A}"/>
                  </a:ext>
                </a:extLst>
              </p:cNvPr>
              <p:cNvSpPr>
                <a:spLocks noEditPoints="1"/>
              </p:cNvSpPr>
              <p:nvPr/>
            </p:nvSpPr>
            <p:spPr bwMode="auto">
              <a:xfrm>
                <a:off x="5114" y="2410"/>
                <a:ext cx="206" cy="206"/>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0" name="Group 465">
              <a:extLst>
                <a:ext uri="{FF2B5EF4-FFF2-40B4-BE49-F238E27FC236}">
                  <a16:creationId xmlns:a16="http://schemas.microsoft.com/office/drawing/2014/main" id="{8EC2DBB7-E79F-4FDB-A763-090B17999DF2}"/>
                </a:ext>
              </a:extLst>
            </p:cNvPr>
            <p:cNvGrpSpPr>
              <a:grpSpLocks noChangeAspect="1"/>
            </p:cNvGrpSpPr>
            <p:nvPr/>
          </p:nvGrpSpPr>
          <p:grpSpPr bwMode="auto">
            <a:xfrm>
              <a:off x="6355012" y="4206241"/>
              <a:ext cx="367982" cy="367982"/>
              <a:chOff x="3968" y="2701"/>
              <a:chExt cx="340" cy="340"/>
            </a:xfrm>
            <a:solidFill>
              <a:schemeClr val="bg1"/>
            </a:solidFill>
          </p:grpSpPr>
          <p:sp>
            <p:nvSpPr>
              <p:cNvPr id="81" name="Freeform 466">
                <a:extLst>
                  <a:ext uri="{FF2B5EF4-FFF2-40B4-BE49-F238E27FC236}">
                    <a16:creationId xmlns:a16="http://schemas.microsoft.com/office/drawing/2014/main" id="{D444FC2A-C1AD-4CA3-A507-CEB5A3899AAD}"/>
                  </a:ext>
                </a:extLst>
              </p:cNvPr>
              <p:cNvSpPr>
                <a:spLocks noEditPoints="1"/>
              </p:cNvSpPr>
              <p:nvPr/>
            </p:nvSpPr>
            <p:spPr bwMode="auto">
              <a:xfrm>
                <a:off x="3968" y="27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2" name="Freeform 467">
                <a:extLst>
                  <a:ext uri="{FF2B5EF4-FFF2-40B4-BE49-F238E27FC236}">
                    <a16:creationId xmlns:a16="http://schemas.microsoft.com/office/drawing/2014/main" id="{7BD4F825-780C-4CD8-84CA-866CCA4DBC91}"/>
                  </a:ext>
                </a:extLst>
              </p:cNvPr>
              <p:cNvSpPr>
                <a:spLocks noEditPoints="1"/>
              </p:cNvSpPr>
              <p:nvPr/>
            </p:nvSpPr>
            <p:spPr bwMode="auto">
              <a:xfrm>
                <a:off x="4046" y="2821"/>
                <a:ext cx="184" cy="99"/>
              </a:xfrm>
              <a:custGeom>
                <a:avLst/>
                <a:gdLst>
                  <a:gd name="T0" fmla="*/ 96 w 277"/>
                  <a:gd name="T1" fmla="*/ 43 h 149"/>
                  <a:gd name="T2" fmla="*/ 64 w 277"/>
                  <a:gd name="T3" fmla="*/ 11 h 149"/>
                  <a:gd name="T4" fmla="*/ 32 w 277"/>
                  <a:gd name="T5" fmla="*/ 43 h 149"/>
                  <a:gd name="T6" fmla="*/ 64 w 277"/>
                  <a:gd name="T7" fmla="*/ 75 h 149"/>
                  <a:gd name="T8" fmla="*/ 96 w 277"/>
                  <a:gd name="T9" fmla="*/ 43 h 149"/>
                  <a:gd name="T10" fmla="*/ 64 w 277"/>
                  <a:gd name="T11" fmla="*/ 53 h 149"/>
                  <a:gd name="T12" fmla="*/ 53 w 277"/>
                  <a:gd name="T13" fmla="*/ 43 h 149"/>
                  <a:gd name="T14" fmla="*/ 64 w 277"/>
                  <a:gd name="T15" fmla="*/ 32 h 149"/>
                  <a:gd name="T16" fmla="*/ 75 w 277"/>
                  <a:gd name="T17" fmla="*/ 43 h 149"/>
                  <a:gd name="T18" fmla="*/ 64 w 277"/>
                  <a:gd name="T19" fmla="*/ 53 h 149"/>
                  <a:gd name="T20" fmla="*/ 224 w 277"/>
                  <a:gd name="T21" fmla="*/ 32 h 149"/>
                  <a:gd name="T22" fmla="*/ 107 w 277"/>
                  <a:gd name="T23" fmla="*/ 32 h 149"/>
                  <a:gd name="T24" fmla="*/ 96 w 277"/>
                  <a:gd name="T25" fmla="*/ 43 h 149"/>
                  <a:gd name="T26" fmla="*/ 96 w 277"/>
                  <a:gd name="T27" fmla="*/ 75 h 149"/>
                  <a:gd name="T28" fmla="*/ 64 w 277"/>
                  <a:gd name="T29" fmla="*/ 75 h 149"/>
                  <a:gd name="T30" fmla="*/ 21 w 277"/>
                  <a:gd name="T31" fmla="*/ 75 h 149"/>
                  <a:gd name="T32" fmla="*/ 21 w 277"/>
                  <a:gd name="T33" fmla="*/ 11 h 149"/>
                  <a:gd name="T34" fmla="*/ 11 w 277"/>
                  <a:gd name="T35" fmla="*/ 0 h 149"/>
                  <a:gd name="T36" fmla="*/ 0 w 277"/>
                  <a:gd name="T37" fmla="*/ 11 h 149"/>
                  <a:gd name="T38" fmla="*/ 0 w 277"/>
                  <a:gd name="T39" fmla="*/ 139 h 149"/>
                  <a:gd name="T40" fmla="*/ 11 w 277"/>
                  <a:gd name="T41" fmla="*/ 149 h 149"/>
                  <a:gd name="T42" fmla="*/ 21 w 277"/>
                  <a:gd name="T43" fmla="*/ 139 h 149"/>
                  <a:gd name="T44" fmla="*/ 21 w 277"/>
                  <a:gd name="T45" fmla="*/ 96 h 149"/>
                  <a:gd name="T46" fmla="*/ 107 w 277"/>
                  <a:gd name="T47" fmla="*/ 96 h 149"/>
                  <a:gd name="T48" fmla="*/ 256 w 277"/>
                  <a:gd name="T49" fmla="*/ 96 h 149"/>
                  <a:gd name="T50" fmla="*/ 256 w 277"/>
                  <a:gd name="T51" fmla="*/ 139 h 149"/>
                  <a:gd name="T52" fmla="*/ 267 w 277"/>
                  <a:gd name="T53" fmla="*/ 149 h 149"/>
                  <a:gd name="T54" fmla="*/ 277 w 277"/>
                  <a:gd name="T55" fmla="*/ 139 h 149"/>
                  <a:gd name="T56" fmla="*/ 277 w 277"/>
                  <a:gd name="T57" fmla="*/ 85 h 149"/>
                  <a:gd name="T58" fmla="*/ 224 w 277"/>
                  <a:gd name="T59" fmla="*/ 32 h 149"/>
                  <a:gd name="T60" fmla="*/ 117 w 277"/>
                  <a:gd name="T61" fmla="*/ 75 h 149"/>
                  <a:gd name="T62" fmla="*/ 117 w 277"/>
                  <a:gd name="T63" fmla="*/ 53 h 149"/>
                  <a:gd name="T64" fmla="*/ 224 w 277"/>
                  <a:gd name="T65" fmla="*/ 53 h 149"/>
                  <a:gd name="T66" fmla="*/ 255 w 277"/>
                  <a:gd name="T67" fmla="*/ 75 h 149"/>
                  <a:gd name="T68" fmla="*/ 117 w 277"/>
                  <a:gd name="T6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149">
                    <a:moveTo>
                      <a:pt x="96" y="43"/>
                    </a:moveTo>
                    <a:cubicBezTo>
                      <a:pt x="96" y="25"/>
                      <a:pt x="82" y="11"/>
                      <a:pt x="64" y="11"/>
                    </a:cubicBezTo>
                    <a:cubicBezTo>
                      <a:pt x="46" y="11"/>
                      <a:pt x="32" y="25"/>
                      <a:pt x="32" y="43"/>
                    </a:cubicBezTo>
                    <a:cubicBezTo>
                      <a:pt x="32" y="60"/>
                      <a:pt x="46" y="75"/>
                      <a:pt x="64" y="75"/>
                    </a:cubicBezTo>
                    <a:cubicBezTo>
                      <a:pt x="82" y="75"/>
                      <a:pt x="96" y="60"/>
                      <a:pt x="96" y="43"/>
                    </a:cubicBezTo>
                    <a:close/>
                    <a:moveTo>
                      <a:pt x="64" y="53"/>
                    </a:moveTo>
                    <a:cubicBezTo>
                      <a:pt x="58" y="53"/>
                      <a:pt x="53" y="49"/>
                      <a:pt x="53" y="43"/>
                    </a:cubicBezTo>
                    <a:cubicBezTo>
                      <a:pt x="53" y="37"/>
                      <a:pt x="58" y="32"/>
                      <a:pt x="64" y="32"/>
                    </a:cubicBezTo>
                    <a:cubicBezTo>
                      <a:pt x="70" y="32"/>
                      <a:pt x="75" y="37"/>
                      <a:pt x="75" y="43"/>
                    </a:cubicBezTo>
                    <a:cubicBezTo>
                      <a:pt x="75" y="49"/>
                      <a:pt x="70" y="53"/>
                      <a:pt x="64" y="53"/>
                    </a:cubicBezTo>
                    <a:close/>
                    <a:moveTo>
                      <a:pt x="224" y="32"/>
                    </a:moveTo>
                    <a:cubicBezTo>
                      <a:pt x="107" y="32"/>
                      <a:pt x="107" y="32"/>
                      <a:pt x="107" y="32"/>
                    </a:cubicBezTo>
                    <a:cubicBezTo>
                      <a:pt x="101" y="32"/>
                      <a:pt x="96" y="37"/>
                      <a:pt x="96" y="43"/>
                    </a:cubicBezTo>
                    <a:cubicBezTo>
                      <a:pt x="96" y="75"/>
                      <a:pt x="96" y="75"/>
                      <a:pt x="96" y="75"/>
                    </a:cubicBezTo>
                    <a:cubicBezTo>
                      <a:pt x="64" y="75"/>
                      <a:pt x="64" y="75"/>
                      <a:pt x="64" y="75"/>
                    </a:cubicBezTo>
                    <a:cubicBezTo>
                      <a:pt x="21" y="75"/>
                      <a:pt x="21" y="75"/>
                      <a:pt x="21" y="75"/>
                    </a:cubicBezTo>
                    <a:cubicBezTo>
                      <a:pt x="21" y="11"/>
                      <a:pt x="21" y="11"/>
                      <a:pt x="21" y="11"/>
                    </a:cubicBezTo>
                    <a:cubicBezTo>
                      <a:pt x="21" y="5"/>
                      <a:pt x="17" y="0"/>
                      <a:pt x="11" y="0"/>
                    </a:cubicBezTo>
                    <a:cubicBezTo>
                      <a:pt x="5" y="0"/>
                      <a:pt x="0" y="5"/>
                      <a:pt x="0" y="11"/>
                    </a:cubicBezTo>
                    <a:cubicBezTo>
                      <a:pt x="0" y="139"/>
                      <a:pt x="0" y="139"/>
                      <a:pt x="0" y="139"/>
                    </a:cubicBezTo>
                    <a:cubicBezTo>
                      <a:pt x="0" y="145"/>
                      <a:pt x="5" y="149"/>
                      <a:pt x="11" y="149"/>
                    </a:cubicBezTo>
                    <a:cubicBezTo>
                      <a:pt x="17" y="149"/>
                      <a:pt x="21" y="145"/>
                      <a:pt x="21" y="139"/>
                    </a:cubicBezTo>
                    <a:cubicBezTo>
                      <a:pt x="21" y="96"/>
                      <a:pt x="21" y="96"/>
                      <a:pt x="21" y="96"/>
                    </a:cubicBezTo>
                    <a:cubicBezTo>
                      <a:pt x="107" y="96"/>
                      <a:pt x="107" y="96"/>
                      <a:pt x="107" y="96"/>
                    </a:cubicBezTo>
                    <a:cubicBezTo>
                      <a:pt x="256" y="96"/>
                      <a:pt x="256" y="96"/>
                      <a:pt x="256" y="96"/>
                    </a:cubicBezTo>
                    <a:cubicBezTo>
                      <a:pt x="256" y="139"/>
                      <a:pt x="256" y="139"/>
                      <a:pt x="256" y="139"/>
                    </a:cubicBezTo>
                    <a:cubicBezTo>
                      <a:pt x="256" y="145"/>
                      <a:pt x="261" y="149"/>
                      <a:pt x="267" y="149"/>
                    </a:cubicBezTo>
                    <a:cubicBezTo>
                      <a:pt x="273" y="149"/>
                      <a:pt x="277" y="145"/>
                      <a:pt x="277" y="139"/>
                    </a:cubicBezTo>
                    <a:cubicBezTo>
                      <a:pt x="277" y="85"/>
                      <a:pt x="277" y="85"/>
                      <a:pt x="277" y="85"/>
                    </a:cubicBezTo>
                    <a:cubicBezTo>
                      <a:pt x="277" y="44"/>
                      <a:pt x="243" y="32"/>
                      <a:pt x="224" y="32"/>
                    </a:cubicBezTo>
                    <a:close/>
                    <a:moveTo>
                      <a:pt x="117" y="75"/>
                    </a:moveTo>
                    <a:cubicBezTo>
                      <a:pt x="117" y="53"/>
                      <a:pt x="117" y="53"/>
                      <a:pt x="117" y="53"/>
                    </a:cubicBezTo>
                    <a:cubicBezTo>
                      <a:pt x="224" y="53"/>
                      <a:pt x="224" y="53"/>
                      <a:pt x="224" y="53"/>
                    </a:cubicBezTo>
                    <a:cubicBezTo>
                      <a:pt x="228" y="53"/>
                      <a:pt x="249" y="55"/>
                      <a:pt x="255" y="75"/>
                    </a:cubicBezTo>
                    <a:lnTo>
                      <a:pt x="117" y="7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custDataLst>
      <p:tags r:id="rId1"/>
    </p:custDataLst>
    <p:extLst>
      <p:ext uri="{BB962C8B-B14F-4D97-AF65-F5344CB8AC3E}">
        <p14:creationId xmlns:p14="http://schemas.microsoft.com/office/powerpoint/2010/main" val="1861270906"/>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4"/>
          <p:cNvSpPr/>
          <p:nvPr/>
        </p:nvSpPr>
        <p:spPr>
          <a:xfrm rot="6300000">
            <a:off x="4287992" y="2227548"/>
            <a:ext cx="1116959"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rgbClr val="0076A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5" name="任意多边形 5"/>
          <p:cNvSpPr/>
          <p:nvPr/>
        </p:nvSpPr>
        <p:spPr>
          <a:xfrm rot="17100000" flipH="1">
            <a:off x="6146581" y="2725557"/>
            <a:ext cx="1116959"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6" name="任意多边形 8"/>
          <p:cNvSpPr/>
          <p:nvPr/>
        </p:nvSpPr>
        <p:spPr>
          <a:xfrm rot="2700000">
            <a:off x="4536996" y="3156842"/>
            <a:ext cx="1116959"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rgbClr val="00ABA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7" name="任意多边形 9"/>
          <p:cNvSpPr/>
          <p:nvPr/>
        </p:nvSpPr>
        <p:spPr>
          <a:xfrm rot="13500000" flipH="1">
            <a:off x="5897579" y="1796262"/>
            <a:ext cx="1116959"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rgbClr val="43B0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8" name="任意多边形 11"/>
          <p:cNvSpPr/>
          <p:nvPr/>
        </p:nvSpPr>
        <p:spPr>
          <a:xfrm rot="20700000">
            <a:off x="5466289" y="3405846"/>
            <a:ext cx="1116960"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rgbClr val="0097A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9" name="任意多边形 12"/>
          <p:cNvSpPr/>
          <p:nvPr/>
        </p:nvSpPr>
        <p:spPr>
          <a:xfrm rot="9900000" flipH="1">
            <a:off x="4968284" y="1547257"/>
            <a:ext cx="1116960"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rgbClr val="009A4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10" name="矩形 13"/>
          <p:cNvSpPr/>
          <p:nvPr/>
        </p:nvSpPr>
        <p:spPr>
          <a:xfrm>
            <a:off x="2345804" y="1178329"/>
            <a:ext cx="2335610" cy="992066"/>
          </a:xfrm>
          <a:prstGeom prst="rect">
            <a:avLst/>
          </a:prstGeom>
        </p:spPr>
        <p:txBody>
          <a:bodyPr wrap="square">
            <a:spAutoFit/>
          </a:bodyPr>
          <a:lstStyle/>
          <a:p>
            <a:pPr algn="r">
              <a:lnSpc>
                <a:spcPct val="120000"/>
              </a:lnSpc>
              <a:spcBef>
                <a:spcPts val="200"/>
              </a:spcBef>
              <a:spcAft>
                <a:spcPts val="200"/>
              </a:spcAft>
            </a:pPr>
            <a:r>
              <a:rPr lang="en-US" altLang="zh-CN" sz="2400" dirty="0">
                <a:latin typeface="+mj-lt"/>
              </a:rPr>
              <a:t>TEXT</a:t>
            </a:r>
            <a:endParaRPr lang="en-US" altLang="zh-CN" sz="2000" dirty="0">
              <a:latin typeface="+mj-lt"/>
            </a:endParaRPr>
          </a:p>
          <a:p>
            <a:pPr algn="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a:t>
            </a:r>
          </a:p>
        </p:txBody>
      </p:sp>
      <p:sp>
        <p:nvSpPr>
          <p:cNvPr id="11" name="矩形 14"/>
          <p:cNvSpPr/>
          <p:nvPr/>
        </p:nvSpPr>
        <p:spPr>
          <a:xfrm>
            <a:off x="1603261" y="2447605"/>
            <a:ext cx="2335610" cy="992066"/>
          </a:xfrm>
          <a:prstGeom prst="rect">
            <a:avLst/>
          </a:prstGeom>
        </p:spPr>
        <p:txBody>
          <a:bodyPr wrap="square">
            <a:spAutoFit/>
          </a:bodyPr>
          <a:lstStyle/>
          <a:p>
            <a:pPr algn="r">
              <a:lnSpc>
                <a:spcPct val="120000"/>
              </a:lnSpc>
              <a:spcBef>
                <a:spcPts val="200"/>
              </a:spcBef>
              <a:spcAft>
                <a:spcPts val="200"/>
              </a:spcAft>
            </a:pPr>
            <a:r>
              <a:rPr lang="en-US" altLang="zh-CN" sz="2400" dirty="0">
                <a:latin typeface="+mj-lt"/>
              </a:rPr>
              <a:t>TEXT</a:t>
            </a:r>
            <a:endParaRPr lang="en-US" altLang="zh-CN" sz="2000" dirty="0">
              <a:latin typeface="+mj-lt"/>
            </a:endParaRPr>
          </a:p>
          <a:p>
            <a:pPr algn="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endParaRPr lang="en-US" sz="1400" dirty="0"/>
          </a:p>
        </p:txBody>
      </p:sp>
      <p:sp>
        <p:nvSpPr>
          <p:cNvPr id="12" name="矩形 15"/>
          <p:cNvSpPr/>
          <p:nvPr/>
        </p:nvSpPr>
        <p:spPr>
          <a:xfrm>
            <a:off x="1775936" y="3876748"/>
            <a:ext cx="2335610" cy="992066"/>
          </a:xfrm>
          <a:prstGeom prst="rect">
            <a:avLst/>
          </a:prstGeom>
        </p:spPr>
        <p:txBody>
          <a:bodyPr wrap="square">
            <a:spAutoFit/>
          </a:bodyPr>
          <a:lstStyle/>
          <a:p>
            <a:pPr algn="r">
              <a:lnSpc>
                <a:spcPct val="120000"/>
              </a:lnSpc>
              <a:spcBef>
                <a:spcPts val="200"/>
              </a:spcBef>
              <a:spcAft>
                <a:spcPts val="200"/>
              </a:spcAft>
            </a:pPr>
            <a:r>
              <a:rPr lang="en-US" altLang="zh-CN" sz="2400" dirty="0">
                <a:latin typeface="+mj-lt"/>
              </a:rPr>
              <a:t>TEXT</a:t>
            </a:r>
            <a:endParaRPr lang="en-US" altLang="zh-CN" sz="2000" dirty="0">
              <a:latin typeface="+mj-lt"/>
            </a:endParaRPr>
          </a:p>
          <a:p>
            <a:pPr algn="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endParaRPr lang="en-US" sz="1400" dirty="0"/>
          </a:p>
        </p:txBody>
      </p:sp>
      <p:sp>
        <p:nvSpPr>
          <p:cNvPr id="13" name="矩形 16"/>
          <p:cNvSpPr/>
          <p:nvPr/>
        </p:nvSpPr>
        <p:spPr>
          <a:xfrm>
            <a:off x="7468503" y="1637973"/>
            <a:ext cx="2335610" cy="992066"/>
          </a:xfrm>
          <a:prstGeom prst="rect">
            <a:avLst/>
          </a:prstGeom>
        </p:spPr>
        <p:txBody>
          <a:bodyPr wrap="square">
            <a:spAutoFit/>
          </a:bodyPr>
          <a:lstStyle/>
          <a:p>
            <a:pPr>
              <a:lnSpc>
                <a:spcPct val="120000"/>
              </a:lnSpc>
              <a:spcBef>
                <a:spcPts val="200"/>
              </a:spcBef>
              <a:spcAft>
                <a:spcPts val="200"/>
              </a:spcAft>
            </a:pPr>
            <a:r>
              <a:rPr lang="en-US" altLang="zh-CN" sz="2400" dirty="0">
                <a:latin typeface="+mj-lt"/>
              </a:rPr>
              <a:t>TEXT</a:t>
            </a:r>
            <a:endParaRPr lang="en-US" altLang="zh-CN" sz="2000" dirty="0">
              <a:latin typeface="+mj-lt"/>
            </a:endParaRPr>
          </a:p>
          <a:p>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a:t>
            </a:r>
          </a:p>
        </p:txBody>
      </p:sp>
      <p:sp>
        <p:nvSpPr>
          <p:cNvPr id="14" name="矩形 17"/>
          <p:cNvSpPr/>
          <p:nvPr/>
        </p:nvSpPr>
        <p:spPr>
          <a:xfrm>
            <a:off x="7616867" y="2907249"/>
            <a:ext cx="2335610" cy="992066"/>
          </a:xfrm>
          <a:prstGeom prst="rect">
            <a:avLst/>
          </a:prstGeom>
        </p:spPr>
        <p:txBody>
          <a:bodyPr wrap="square">
            <a:spAutoFit/>
          </a:bodyPr>
          <a:lstStyle/>
          <a:p>
            <a:pPr>
              <a:lnSpc>
                <a:spcPct val="120000"/>
              </a:lnSpc>
              <a:spcBef>
                <a:spcPts val="200"/>
              </a:spcBef>
              <a:spcAft>
                <a:spcPts val="200"/>
              </a:spcAft>
            </a:pPr>
            <a:r>
              <a:rPr lang="en-US" altLang="zh-CN" sz="2400" dirty="0">
                <a:latin typeface="+mj-lt"/>
              </a:rPr>
              <a:t>TEXT</a:t>
            </a:r>
            <a:endParaRPr lang="en-US" altLang="zh-CN" sz="2000" dirty="0">
              <a:latin typeface="+mj-lt"/>
            </a:endParaRPr>
          </a:p>
          <a:p>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a:t>
            </a:r>
          </a:p>
        </p:txBody>
      </p:sp>
      <p:sp>
        <p:nvSpPr>
          <p:cNvPr id="15" name="矩形 18"/>
          <p:cNvSpPr/>
          <p:nvPr/>
        </p:nvSpPr>
        <p:spPr>
          <a:xfrm>
            <a:off x="6985429" y="4336392"/>
            <a:ext cx="2335610" cy="992066"/>
          </a:xfrm>
          <a:prstGeom prst="rect">
            <a:avLst/>
          </a:prstGeom>
        </p:spPr>
        <p:txBody>
          <a:bodyPr wrap="square">
            <a:spAutoFit/>
          </a:bodyPr>
          <a:lstStyle/>
          <a:p>
            <a:pPr>
              <a:lnSpc>
                <a:spcPct val="120000"/>
              </a:lnSpc>
              <a:spcBef>
                <a:spcPts val="200"/>
              </a:spcBef>
              <a:spcAft>
                <a:spcPts val="200"/>
              </a:spcAft>
            </a:pPr>
            <a:r>
              <a:rPr lang="en-US" altLang="zh-CN" sz="2400" dirty="0">
                <a:latin typeface="+mj-lt"/>
              </a:rPr>
              <a:t>TEXT</a:t>
            </a:r>
            <a:endParaRPr lang="en-US" altLang="zh-CN" sz="2000" dirty="0">
              <a:latin typeface="+mj-lt"/>
            </a:endParaRPr>
          </a:p>
          <a:p>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a:t>
            </a:r>
          </a:p>
        </p:txBody>
      </p:sp>
      <p:sp>
        <p:nvSpPr>
          <p:cNvPr id="16" name="椭圆 22"/>
          <p:cNvSpPr/>
          <p:nvPr/>
        </p:nvSpPr>
        <p:spPr>
          <a:xfrm>
            <a:off x="5089181" y="1739773"/>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600" dirty="0">
                <a:solidFill>
                  <a:schemeClr val="bg1"/>
                </a:solidFill>
                <a:latin typeface="+mj-lt"/>
              </a:rPr>
              <a:t>1</a:t>
            </a:r>
            <a:endParaRPr lang="zh-CN" altLang="en-US" sz="3600" dirty="0">
              <a:solidFill>
                <a:schemeClr val="bg1"/>
              </a:solidFill>
              <a:latin typeface="+mj-lt"/>
            </a:endParaRPr>
          </a:p>
        </p:txBody>
      </p:sp>
      <p:sp>
        <p:nvSpPr>
          <p:cNvPr id="17" name="椭圆 23"/>
          <p:cNvSpPr/>
          <p:nvPr/>
        </p:nvSpPr>
        <p:spPr>
          <a:xfrm>
            <a:off x="6337250" y="2086907"/>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600" dirty="0">
                <a:solidFill>
                  <a:schemeClr val="bg1"/>
                </a:solidFill>
                <a:latin typeface="+mj-lt"/>
              </a:rPr>
              <a:t>2</a:t>
            </a:r>
            <a:endParaRPr lang="zh-CN" altLang="en-US" sz="3600" dirty="0">
              <a:solidFill>
                <a:schemeClr val="bg1"/>
              </a:solidFill>
              <a:latin typeface="+mj-lt"/>
            </a:endParaRPr>
          </a:p>
        </p:txBody>
      </p:sp>
      <p:sp>
        <p:nvSpPr>
          <p:cNvPr id="18" name="椭圆 34"/>
          <p:cNvSpPr/>
          <p:nvPr/>
        </p:nvSpPr>
        <p:spPr>
          <a:xfrm>
            <a:off x="6668501" y="3339190"/>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Aft>
                <a:spcPts val="200"/>
              </a:spcAft>
            </a:pPr>
            <a:r>
              <a:rPr lang="en-US" altLang="zh-CN" sz="3600" dirty="0">
                <a:solidFill>
                  <a:schemeClr val="bg1"/>
                </a:solidFill>
                <a:latin typeface="+mj-lt"/>
              </a:rPr>
              <a:t>3</a:t>
            </a:r>
            <a:endParaRPr lang="zh-CN" altLang="en-US" sz="3600" dirty="0">
              <a:solidFill>
                <a:schemeClr val="bg1"/>
              </a:solidFill>
              <a:latin typeface="+mj-lt"/>
            </a:endParaRPr>
          </a:p>
        </p:txBody>
      </p:sp>
      <p:sp>
        <p:nvSpPr>
          <p:cNvPr id="19" name="椭圆 35"/>
          <p:cNvSpPr/>
          <p:nvPr/>
        </p:nvSpPr>
        <p:spPr>
          <a:xfrm>
            <a:off x="4186254" y="2673619"/>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600" dirty="0">
                <a:solidFill>
                  <a:schemeClr val="bg1"/>
                </a:solidFill>
                <a:latin typeface="+mj-lt"/>
              </a:rPr>
              <a:t>6</a:t>
            </a:r>
            <a:endParaRPr lang="zh-CN" altLang="en-US" sz="3600" dirty="0">
              <a:solidFill>
                <a:schemeClr val="bg1"/>
              </a:solidFill>
              <a:latin typeface="+mj-lt"/>
            </a:endParaRPr>
          </a:p>
        </p:txBody>
      </p:sp>
      <p:sp>
        <p:nvSpPr>
          <p:cNvPr id="20" name="椭圆 36"/>
          <p:cNvSpPr/>
          <p:nvPr/>
        </p:nvSpPr>
        <p:spPr>
          <a:xfrm>
            <a:off x="4533388" y="3932856"/>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600" dirty="0">
                <a:solidFill>
                  <a:schemeClr val="bg1"/>
                </a:solidFill>
                <a:latin typeface="+mj-lt"/>
              </a:rPr>
              <a:t>5</a:t>
            </a:r>
            <a:endParaRPr lang="zh-CN" altLang="en-US" sz="3600" dirty="0">
              <a:solidFill>
                <a:schemeClr val="bg1"/>
              </a:solidFill>
              <a:latin typeface="+mj-lt"/>
            </a:endParaRPr>
          </a:p>
        </p:txBody>
      </p:sp>
      <p:sp>
        <p:nvSpPr>
          <p:cNvPr id="21" name="椭圆 37"/>
          <p:cNvSpPr/>
          <p:nvPr/>
        </p:nvSpPr>
        <p:spPr>
          <a:xfrm>
            <a:off x="5754259" y="4269812"/>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600" dirty="0">
                <a:solidFill>
                  <a:schemeClr val="bg1"/>
                </a:solidFill>
                <a:latin typeface="+mj-lt"/>
              </a:rPr>
              <a:t>4</a:t>
            </a:r>
            <a:endParaRPr lang="zh-CN" altLang="en-US" sz="3600" dirty="0">
              <a:solidFill>
                <a:schemeClr val="bg1"/>
              </a:solidFill>
              <a:latin typeface="+mj-lt"/>
            </a:endParaRPr>
          </a:p>
        </p:txBody>
      </p:sp>
    </p:spTree>
    <p:custDataLst>
      <p:tags r:id="rId1"/>
    </p:custDataLst>
    <p:extLst>
      <p:ext uri="{BB962C8B-B14F-4D97-AF65-F5344CB8AC3E}">
        <p14:creationId xmlns:p14="http://schemas.microsoft.com/office/powerpoint/2010/main" val="1618788593"/>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ular Callout 17">
            <a:extLst>
              <a:ext uri="{FF2B5EF4-FFF2-40B4-BE49-F238E27FC236}">
                <a16:creationId xmlns:a16="http://schemas.microsoft.com/office/drawing/2014/main" id="{CE39D2A9-B3CB-3D45-AB46-9408A264F881}"/>
              </a:ext>
            </a:extLst>
          </p:cNvPr>
          <p:cNvSpPr/>
          <p:nvPr/>
        </p:nvSpPr>
        <p:spPr bwMode="gray">
          <a:xfrm>
            <a:off x="6556461" y="742547"/>
            <a:ext cx="2374636" cy="563231"/>
          </a:xfrm>
          <a:prstGeom prst="wedgeRectCallout">
            <a:avLst>
              <a:gd name="adj1" fmla="val -60256"/>
              <a:gd name="adj2" fmla="val 39198"/>
            </a:avLst>
          </a:prstGeom>
          <a:noFill/>
          <a:ln w="6350" algn="ctr">
            <a:solidFill>
              <a:schemeClr val="accent1"/>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19" name="Rectangular Callout 18">
            <a:extLst>
              <a:ext uri="{FF2B5EF4-FFF2-40B4-BE49-F238E27FC236}">
                <a16:creationId xmlns:a16="http://schemas.microsoft.com/office/drawing/2014/main" id="{95D90BB6-2179-D443-8225-9523A1242214}"/>
              </a:ext>
            </a:extLst>
          </p:cNvPr>
          <p:cNvSpPr/>
          <p:nvPr/>
        </p:nvSpPr>
        <p:spPr bwMode="gray">
          <a:xfrm>
            <a:off x="7936442" y="1948416"/>
            <a:ext cx="2068916" cy="563231"/>
          </a:xfrm>
          <a:prstGeom prst="wedgeRectCallout">
            <a:avLst>
              <a:gd name="adj1" fmla="val -66671"/>
              <a:gd name="adj2" fmla="val -7275"/>
            </a:avLst>
          </a:prstGeom>
          <a:noFill/>
          <a:ln w="6350" algn="ctr">
            <a:solidFill>
              <a:schemeClr val="accent2"/>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0" name="Rectangular Callout 19">
            <a:extLst>
              <a:ext uri="{FF2B5EF4-FFF2-40B4-BE49-F238E27FC236}">
                <a16:creationId xmlns:a16="http://schemas.microsoft.com/office/drawing/2014/main" id="{EA8E899E-BD2C-BC47-93A6-9C43EEF9E435}"/>
              </a:ext>
            </a:extLst>
          </p:cNvPr>
          <p:cNvSpPr/>
          <p:nvPr/>
        </p:nvSpPr>
        <p:spPr bwMode="gray">
          <a:xfrm>
            <a:off x="8289995" y="3310941"/>
            <a:ext cx="1715999" cy="563231"/>
          </a:xfrm>
          <a:prstGeom prst="wedgeRectCallout">
            <a:avLst>
              <a:gd name="adj1" fmla="val -65289"/>
              <a:gd name="adj2" fmla="val -17249"/>
            </a:avLst>
          </a:prstGeom>
          <a:noFill/>
          <a:ln w="6350" algn="ctr">
            <a:solidFill>
              <a:schemeClr val="accent3"/>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1" name="Rectangular Callout 20">
            <a:extLst>
              <a:ext uri="{FF2B5EF4-FFF2-40B4-BE49-F238E27FC236}">
                <a16:creationId xmlns:a16="http://schemas.microsoft.com/office/drawing/2014/main" id="{5584B9CC-1A88-0548-99C2-B608A818ABBA}"/>
              </a:ext>
            </a:extLst>
          </p:cNvPr>
          <p:cNvSpPr/>
          <p:nvPr/>
        </p:nvSpPr>
        <p:spPr bwMode="gray">
          <a:xfrm>
            <a:off x="7206339" y="5048946"/>
            <a:ext cx="2799654" cy="563231"/>
          </a:xfrm>
          <a:prstGeom prst="wedgeRectCallout">
            <a:avLst>
              <a:gd name="adj1" fmla="val -58915"/>
              <a:gd name="adj2" fmla="val -39733"/>
            </a:avLst>
          </a:prstGeom>
          <a:noFill/>
          <a:ln w="6350" algn="ctr">
            <a:solidFill>
              <a:schemeClr val="accent4"/>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2" name="Rectangular Callout 21">
            <a:extLst>
              <a:ext uri="{FF2B5EF4-FFF2-40B4-BE49-F238E27FC236}">
                <a16:creationId xmlns:a16="http://schemas.microsoft.com/office/drawing/2014/main" id="{DA73F8DB-0C34-5745-8463-19AFD35F4865}"/>
              </a:ext>
            </a:extLst>
          </p:cNvPr>
          <p:cNvSpPr/>
          <p:nvPr/>
        </p:nvSpPr>
        <p:spPr bwMode="gray">
          <a:xfrm>
            <a:off x="1532146" y="5063371"/>
            <a:ext cx="2829209" cy="563231"/>
          </a:xfrm>
          <a:prstGeom prst="wedgeRectCallout">
            <a:avLst>
              <a:gd name="adj1" fmla="val 59724"/>
              <a:gd name="adj2" fmla="val -40042"/>
            </a:avLst>
          </a:prstGeom>
          <a:noFill/>
          <a:ln w="6350" algn="ctr">
            <a:solidFill>
              <a:schemeClr val="accent5"/>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3" name="Rectangular Callout 22">
            <a:extLst>
              <a:ext uri="{FF2B5EF4-FFF2-40B4-BE49-F238E27FC236}">
                <a16:creationId xmlns:a16="http://schemas.microsoft.com/office/drawing/2014/main" id="{3C362B2E-1BE2-0B4E-B884-D413098399D7}"/>
              </a:ext>
            </a:extLst>
          </p:cNvPr>
          <p:cNvSpPr/>
          <p:nvPr/>
        </p:nvSpPr>
        <p:spPr bwMode="gray">
          <a:xfrm>
            <a:off x="1601889" y="2827459"/>
            <a:ext cx="1953162" cy="563231"/>
          </a:xfrm>
          <a:prstGeom prst="wedgeRectCallout">
            <a:avLst>
              <a:gd name="adj1" fmla="val 65675"/>
              <a:gd name="adj2" fmla="val -5801"/>
            </a:avLst>
          </a:prstGeom>
          <a:noFill/>
          <a:ln w="6350" algn="ctr">
            <a:solidFill>
              <a:schemeClr val="accent6"/>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4" name="Rectangular Callout 23">
            <a:extLst>
              <a:ext uri="{FF2B5EF4-FFF2-40B4-BE49-F238E27FC236}">
                <a16:creationId xmlns:a16="http://schemas.microsoft.com/office/drawing/2014/main" id="{4A959F41-54C6-A949-9249-C70C4A7070A5}"/>
              </a:ext>
            </a:extLst>
          </p:cNvPr>
          <p:cNvSpPr/>
          <p:nvPr/>
        </p:nvSpPr>
        <p:spPr bwMode="gray">
          <a:xfrm>
            <a:off x="1630113" y="1317886"/>
            <a:ext cx="2336400" cy="563231"/>
          </a:xfrm>
          <a:prstGeom prst="wedgeRectCallout">
            <a:avLst>
              <a:gd name="adj1" fmla="val 62002"/>
              <a:gd name="adj2" fmla="val -53"/>
            </a:avLst>
          </a:prstGeom>
          <a:noFill/>
          <a:ln w="6350" algn="ctr">
            <a:solidFill>
              <a:schemeClr val="tx2"/>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5" name="Freeform 24">
            <a:extLst>
              <a:ext uri="{FF2B5EF4-FFF2-40B4-BE49-F238E27FC236}">
                <a16:creationId xmlns:a16="http://schemas.microsoft.com/office/drawing/2014/main" id="{E100F2C9-6A8A-8F4F-8C02-B6E72FBB12DA}"/>
              </a:ext>
            </a:extLst>
          </p:cNvPr>
          <p:cNvSpPr/>
          <p:nvPr/>
        </p:nvSpPr>
        <p:spPr>
          <a:xfrm>
            <a:off x="5206021" y="2611564"/>
            <a:ext cx="1186192" cy="1186192"/>
          </a:xfrm>
          <a:custGeom>
            <a:avLst/>
            <a:gdLst>
              <a:gd name="connsiteX0" fmla="*/ 0 w 1069248"/>
              <a:gd name="connsiteY0" fmla="*/ 534624 h 1069248"/>
              <a:gd name="connsiteX1" fmla="*/ 534624 w 1069248"/>
              <a:gd name="connsiteY1" fmla="*/ 0 h 1069248"/>
              <a:gd name="connsiteX2" fmla="*/ 1069248 w 1069248"/>
              <a:gd name="connsiteY2" fmla="*/ 534624 h 1069248"/>
              <a:gd name="connsiteX3" fmla="*/ 534624 w 1069248"/>
              <a:gd name="connsiteY3" fmla="*/ 1069248 h 1069248"/>
              <a:gd name="connsiteX4" fmla="*/ 0 w 1069248"/>
              <a:gd name="connsiteY4" fmla="*/ 534624 h 106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248" h="1069248">
                <a:moveTo>
                  <a:pt x="0" y="534624"/>
                </a:moveTo>
                <a:cubicBezTo>
                  <a:pt x="0" y="239359"/>
                  <a:pt x="239359" y="0"/>
                  <a:pt x="534624" y="0"/>
                </a:cubicBezTo>
                <a:cubicBezTo>
                  <a:pt x="829889" y="0"/>
                  <a:pt x="1069248" y="239359"/>
                  <a:pt x="1069248" y="534624"/>
                </a:cubicBezTo>
                <a:cubicBezTo>
                  <a:pt x="1069248" y="829889"/>
                  <a:pt x="829889" y="1069248"/>
                  <a:pt x="534624" y="1069248"/>
                </a:cubicBezTo>
                <a:cubicBezTo>
                  <a:pt x="239359" y="1069248"/>
                  <a:pt x="0" y="829889"/>
                  <a:pt x="0" y="534624"/>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4528" tIns="184528" rIns="184528" bIns="184528" numCol="1" spcCol="1270" anchor="ctr" anchorCtr="0">
            <a:noAutofit/>
          </a:bodyPr>
          <a:lstStyle/>
          <a:p>
            <a:pPr algn="ctr" defTabSz="977900"/>
            <a:endParaRPr lang="en-US" sz="900">
              <a:solidFill>
                <a:prstClr val="white"/>
              </a:solidFill>
            </a:endParaRPr>
          </a:p>
        </p:txBody>
      </p:sp>
      <p:sp>
        <p:nvSpPr>
          <p:cNvPr id="26" name="Freeform 25">
            <a:extLst>
              <a:ext uri="{FF2B5EF4-FFF2-40B4-BE49-F238E27FC236}">
                <a16:creationId xmlns:a16="http://schemas.microsoft.com/office/drawing/2014/main" id="{6480B827-D956-6C40-A988-04EC41D91BB7}"/>
              </a:ext>
            </a:extLst>
          </p:cNvPr>
          <p:cNvSpPr/>
          <p:nvPr/>
        </p:nvSpPr>
        <p:spPr>
          <a:xfrm rot="16200000">
            <a:off x="5673686" y="2180347"/>
            <a:ext cx="250865" cy="403305"/>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0" y="72709"/>
                </a:moveTo>
                <a:lnTo>
                  <a:pt x="113067" y="72709"/>
                </a:lnTo>
                <a:lnTo>
                  <a:pt x="113067" y="0"/>
                </a:lnTo>
                <a:lnTo>
                  <a:pt x="226133" y="181772"/>
                </a:lnTo>
                <a:lnTo>
                  <a:pt x="113067" y="363544"/>
                </a:lnTo>
                <a:lnTo>
                  <a:pt x="113067" y="290835"/>
                </a:lnTo>
                <a:lnTo>
                  <a:pt x="0" y="290835"/>
                </a:lnTo>
                <a:lnTo>
                  <a:pt x="0" y="72709"/>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72709" rIns="67840" bIns="72708" numCol="1" spcCol="1270" anchor="ctr" anchorCtr="0">
            <a:noAutofit/>
          </a:bodyPr>
          <a:lstStyle/>
          <a:p>
            <a:pPr algn="ctr" defTabSz="711200"/>
            <a:endParaRPr lang="en-US" sz="900">
              <a:solidFill>
                <a:prstClr val="white"/>
              </a:solidFill>
            </a:endParaRPr>
          </a:p>
        </p:txBody>
      </p:sp>
      <p:sp>
        <p:nvSpPr>
          <p:cNvPr id="27" name="Freeform 26">
            <a:extLst>
              <a:ext uri="{FF2B5EF4-FFF2-40B4-BE49-F238E27FC236}">
                <a16:creationId xmlns:a16="http://schemas.microsoft.com/office/drawing/2014/main" id="{93F18452-9092-974D-B6BA-53D555101591}"/>
              </a:ext>
            </a:extLst>
          </p:cNvPr>
          <p:cNvSpPr/>
          <p:nvPr/>
        </p:nvSpPr>
        <p:spPr>
          <a:xfrm>
            <a:off x="5265332" y="1070660"/>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6329" tIns="166329" rIns="166329" bIns="166329" numCol="1" spcCol="1270" anchor="ctr" anchorCtr="0">
            <a:noAutofit/>
          </a:bodyPr>
          <a:lstStyle/>
          <a:p>
            <a:pPr algn="ctr" defTabSz="889000"/>
            <a:endParaRPr lang="en-US" sz="900">
              <a:solidFill>
                <a:prstClr val="white"/>
              </a:solidFill>
            </a:endParaRPr>
          </a:p>
        </p:txBody>
      </p:sp>
      <p:sp>
        <p:nvSpPr>
          <p:cNvPr id="28" name="Freeform 27">
            <a:extLst>
              <a:ext uri="{FF2B5EF4-FFF2-40B4-BE49-F238E27FC236}">
                <a16:creationId xmlns:a16="http://schemas.microsoft.com/office/drawing/2014/main" id="{07658C91-EF14-0A49-BCBD-300A04F31868}"/>
              </a:ext>
            </a:extLst>
          </p:cNvPr>
          <p:cNvSpPr/>
          <p:nvPr/>
        </p:nvSpPr>
        <p:spPr>
          <a:xfrm rot="19285714">
            <a:off x="6316869" y="2490088"/>
            <a:ext cx="250865" cy="403305"/>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0" y="72709"/>
                </a:moveTo>
                <a:lnTo>
                  <a:pt x="113067" y="72709"/>
                </a:lnTo>
                <a:lnTo>
                  <a:pt x="113067" y="0"/>
                </a:lnTo>
                <a:lnTo>
                  <a:pt x="226133" y="181772"/>
                </a:lnTo>
                <a:lnTo>
                  <a:pt x="113067" y="363544"/>
                </a:lnTo>
                <a:lnTo>
                  <a:pt x="113067" y="290835"/>
                </a:lnTo>
                <a:lnTo>
                  <a:pt x="0" y="290835"/>
                </a:lnTo>
                <a:lnTo>
                  <a:pt x="0" y="72709"/>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72709" rIns="67840" bIns="72708" numCol="1" spcCol="1270" anchor="ctr" anchorCtr="0">
            <a:noAutofit/>
          </a:bodyPr>
          <a:lstStyle/>
          <a:p>
            <a:pPr algn="ctr" defTabSz="711200"/>
            <a:endParaRPr lang="en-US" sz="900">
              <a:solidFill>
                <a:prstClr val="white"/>
              </a:solidFill>
            </a:endParaRPr>
          </a:p>
        </p:txBody>
      </p:sp>
      <p:sp>
        <p:nvSpPr>
          <p:cNvPr id="29" name="Freeform 28">
            <a:extLst>
              <a:ext uri="{FF2B5EF4-FFF2-40B4-BE49-F238E27FC236}">
                <a16:creationId xmlns:a16="http://schemas.microsoft.com/office/drawing/2014/main" id="{7445003F-6AF8-8D4B-9341-6DE83EFA9D53}"/>
              </a:ext>
            </a:extLst>
          </p:cNvPr>
          <p:cNvSpPr/>
          <p:nvPr/>
        </p:nvSpPr>
        <p:spPr>
          <a:xfrm>
            <a:off x="6516429" y="1673157"/>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6329" tIns="166329" rIns="166329" bIns="166329" numCol="1" spcCol="1270" anchor="ctr" anchorCtr="0">
            <a:noAutofit/>
          </a:bodyPr>
          <a:lstStyle/>
          <a:p>
            <a:pPr algn="ctr" defTabSz="889000"/>
            <a:endParaRPr lang="en-US" sz="900">
              <a:solidFill>
                <a:prstClr val="white"/>
              </a:solidFill>
            </a:endParaRPr>
          </a:p>
        </p:txBody>
      </p:sp>
      <p:sp>
        <p:nvSpPr>
          <p:cNvPr id="30" name="Freeform 29">
            <a:extLst>
              <a:ext uri="{FF2B5EF4-FFF2-40B4-BE49-F238E27FC236}">
                <a16:creationId xmlns:a16="http://schemas.microsoft.com/office/drawing/2014/main" id="{154E3478-8EC6-D840-8CB9-1D30FAEE7836}"/>
              </a:ext>
            </a:extLst>
          </p:cNvPr>
          <p:cNvSpPr/>
          <p:nvPr/>
        </p:nvSpPr>
        <p:spPr>
          <a:xfrm rot="771429">
            <a:off x="6475722" y="3186068"/>
            <a:ext cx="250865" cy="403305"/>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0" y="72709"/>
                </a:moveTo>
                <a:lnTo>
                  <a:pt x="113067" y="72709"/>
                </a:lnTo>
                <a:lnTo>
                  <a:pt x="113067" y="0"/>
                </a:lnTo>
                <a:lnTo>
                  <a:pt x="226133" y="181772"/>
                </a:lnTo>
                <a:lnTo>
                  <a:pt x="113067" y="363544"/>
                </a:lnTo>
                <a:lnTo>
                  <a:pt x="113067" y="290835"/>
                </a:lnTo>
                <a:lnTo>
                  <a:pt x="0" y="290835"/>
                </a:lnTo>
                <a:lnTo>
                  <a:pt x="0" y="72709"/>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72708" rIns="67840" bIns="72709" numCol="1" spcCol="1270" anchor="ctr" anchorCtr="0">
            <a:noAutofit/>
          </a:bodyPr>
          <a:lstStyle/>
          <a:p>
            <a:pPr algn="ctr" defTabSz="711200"/>
            <a:endParaRPr lang="en-US" sz="900">
              <a:solidFill>
                <a:prstClr val="white"/>
              </a:solidFill>
            </a:endParaRPr>
          </a:p>
        </p:txBody>
      </p:sp>
      <p:sp>
        <p:nvSpPr>
          <p:cNvPr id="31" name="Freeform 30">
            <a:extLst>
              <a:ext uri="{FF2B5EF4-FFF2-40B4-BE49-F238E27FC236}">
                <a16:creationId xmlns:a16="http://schemas.microsoft.com/office/drawing/2014/main" id="{9A2282CF-F731-2040-88DE-CC826B53A5EC}"/>
              </a:ext>
            </a:extLst>
          </p:cNvPr>
          <p:cNvSpPr/>
          <p:nvPr/>
        </p:nvSpPr>
        <p:spPr>
          <a:xfrm>
            <a:off x="6825425" y="3026956"/>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6329" tIns="166329" rIns="166329" bIns="166329" numCol="1" spcCol="1270" anchor="ctr" anchorCtr="0">
            <a:noAutofit/>
          </a:bodyPr>
          <a:lstStyle/>
          <a:p>
            <a:pPr algn="ctr" defTabSz="889000"/>
            <a:endParaRPr lang="en-US" sz="900">
              <a:solidFill>
                <a:prstClr val="white"/>
              </a:solidFill>
            </a:endParaRPr>
          </a:p>
        </p:txBody>
      </p:sp>
      <p:sp>
        <p:nvSpPr>
          <p:cNvPr id="32" name="Freeform 31">
            <a:extLst>
              <a:ext uri="{FF2B5EF4-FFF2-40B4-BE49-F238E27FC236}">
                <a16:creationId xmlns:a16="http://schemas.microsoft.com/office/drawing/2014/main" id="{324CFC61-1DDB-CB4A-8175-206F37BC62F4}"/>
              </a:ext>
            </a:extLst>
          </p:cNvPr>
          <p:cNvSpPr/>
          <p:nvPr/>
        </p:nvSpPr>
        <p:spPr>
          <a:xfrm rot="3857143">
            <a:off x="6030626" y="3744201"/>
            <a:ext cx="250865" cy="403305"/>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0" y="72709"/>
                </a:moveTo>
                <a:lnTo>
                  <a:pt x="113067" y="72709"/>
                </a:lnTo>
                <a:lnTo>
                  <a:pt x="113067" y="0"/>
                </a:lnTo>
                <a:lnTo>
                  <a:pt x="226133" y="181772"/>
                </a:lnTo>
                <a:lnTo>
                  <a:pt x="113067" y="363544"/>
                </a:lnTo>
                <a:lnTo>
                  <a:pt x="113067" y="290835"/>
                </a:lnTo>
                <a:lnTo>
                  <a:pt x="0" y="290835"/>
                </a:lnTo>
                <a:lnTo>
                  <a:pt x="0" y="72709"/>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72708" rIns="67840" bIns="72709" numCol="1" spcCol="1270" anchor="ctr" anchorCtr="0">
            <a:noAutofit/>
          </a:bodyPr>
          <a:lstStyle/>
          <a:p>
            <a:pPr algn="ctr" defTabSz="711200"/>
            <a:endParaRPr lang="en-US" sz="900">
              <a:solidFill>
                <a:prstClr val="white"/>
              </a:solidFill>
            </a:endParaRPr>
          </a:p>
        </p:txBody>
      </p:sp>
      <p:sp>
        <p:nvSpPr>
          <p:cNvPr id="33" name="Freeform 32">
            <a:extLst>
              <a:ext uri="{FF2B5EF4-FFF2-40B4-BE49-F238E27FC236}">
                <a16:creationId xmlns:a16="http://schemas.microsoft.com/office/drawing/2014/main" id="{4F169D3C-6D7C-CD40-968B-4B4E7DEFCA0D}"/>
              </a:ext>
            </a:extLst>
          </p:cNvPr>
          <p:cNvSpPr/>
          <p:nvPr/>
        </p:nvSpPr>
        <p:spPr>
          <a:xfrm>
            <a:off x="5959638" y="4112618"/>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6329" tIns="166329" rIns="166329" bIns="166329" numCol="1" spcCol="1270" anchor="ctr" anchorCtr="0">
            <a:noAutofit/>
          </a:bodyPr>
          <a:lstStyle/>
          <a:p>
            <a:pPr algn="ctr" defTabSz="889000"/>
            <a:endParaRPr lang="en-US" sz="900">
              <a:solidFill>
                <a:prstClr val="white"/>
              </a:solidFill>
            </a:endParaRPr>
          </a:p>
        </p:txBody>
      </p:sp>
      <p:sp>
        <p:nvSpPr>
          <p:cNvPr id="34" name="Freeform 33">
            <a:extLst>
              <a:ext uri="{FF2B5EF4-FFF2-40B4-BE49-F238E27FC236}">
                <a16:creationId xmlns:a16="http://schemas.microsoft.com/office/drawing/2014/main" id="{A07110E7-9D97-F44E-AB57-DA34571CC0E1}"/>
              </a:ext>
            </a:extLst>
          </p:cNvPr>
          <p:cNvSpPr/>
          <p:nvPr/>
        </p:nvSpPr>
        <p:spPr>
          <a:xfrm rot="17742857">
            <a:off x="5316745" y="3744199"/>
            <a:ext cx="250866" cy="403306"/>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226132" y="290835"/>
                </a:moveTo>
                <a:lnTo>
                  <a:pt x="113066" y="290835"/>
                </a:lnTo>
                <a:lnTo>
                  <a:pt x="113066" y="363544"/>
                </a:lnTo>
                <a:lnTo>
                  <a:pt x="1" y="181772"/>
                </a:lnTo>
                <a:lnTo>
                  <a:pt x="113066" y="0"/>
                </a:lnTo>
                <a:lnTo>
                  <a:pt x="113066" y="72709"/>
                </a:lnTo>
                <a:lnTo>
                  <a:pt x="226132" y="72709"/>
                </a:lnTo>
                <a:lnTo>
                  <a:pt x="226132" y="290835"/>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67839" tIns="72708" rIns="1" bIns="72710" numCol="1" spcCol="1270" anchor="ctr" anchorCtr="0">
            <a:noAutofit/>
          </a:bodyPr>
          <a:lstStyle/>
          <a:p>
            <a:pPr algn="ctr" defTabSz="711200"/>
            <a:endParaRPr lang="en-US" sz="900">
              <a:solidFill>
                <a:prstClr val="white"/>
              </a:solidFill>
            </a:endParaRPr>
          </a:p>
        </p:txBody>
      </p:sp>
      <p:sp>
        <p:nvSpPr>
          <p:cNvPr id="35" name="Freeform 34">
            <a:extLst>
              <a:ext uri="{FF2B5EF4-FFF2-40B4-BE49-F238E27FC236}">
                <a16:creationId xmlns:a16="http://schemas.microsoft.com/office/drawing/2014/main" id="{488ABBDE-9680-6340-A98F-DD6E52E94F96}"/>
              </a:ext>
            </a:extLst>
          </p:cNvPr>
          <p:cNvSpPr/>
          <p:nvPr/>
        </p:nvSpPr>
        <p:spPr>
          <a:xfrm>
            <a:off x="4571024" y="4112618"/>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5539" tIns="195539" rIns="195539" bIns="195539" numCol="1" spcCol="1270" anchor="ctr" anchorCtr="0">
            <a:noAutofit/>
          </a:bodyPr>
          <a:lstStyle/>
          <a:p>
            <a:pPr algn="ctr" defTabSz="1911350"/>
            <a:endParaRPr lang="en-US" sz="900">
              <a:solidFill>
                <a:prstClr val="white"/>
              </a:solidFill>
            </a:endParaRPr>
          </a:p>
        </p:txBody>
      </p:sp>
      <p:sp>
        <p:nvSpPr>
          <p:cNvPr id="36" name="Freeform 35">
            <a:extLst>
              <a:ext uri="{FF2B5EF4-FFF2-40B4-BE49-F238E27FC236}">
                <a16:creationId xmlns:a16="http://schemas.microsoft.com/office/drawing/2014/main" id="{2156C443-1614-3240-A0C4-BE10606E2A5A}"/>
              </a:ext>
            </a:extLst>
          </p:cNvPr>
          <p:cNvSpPr/>
          <p:nvPr/>
        </p:nvSpPr>
        <p:spPr>
          <a:xfrm rot="20828571">
            <a:off x="4871649" y="3186066"/>
            <a:ext cx="250865" cy="403306"/>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226132" y="290835"/>
                </a:moveTo>
                <a:lnTo>
                  <a:pt x="113066" y="290835"/>
                </a:lnTo>
                <a:lnTo>
                  <a:pt x="113066" y="363544"/>
                </a:lnTo>
                <a:lnTo>
                  <a:pt x="1" y="181772"/>
                </a:lnTo>
                <a:lnTo>
                  <a:pt x="113066" y="0"/>
                </a:lnTo>
                <a:lnTo>
                  <a:pt x="113066" y="72709"/>
                </a:lnTo>
                <a:lnTo>
                  <a:pt x="226132" y="72709"/>
                </a:lnTo>
                <a:lnTo>
                  <a:pt x="226132" y="290835"/>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67840" tIns="72710" rIns="-1" bIns="72708" numCol="1" spcCol="1270" anchor="ctr" anchorCtr="0">
            <a:noAutofit/>
          </a:bodyPr>
          <a:lstStyle/>
          <a:p>
            <a:pPr algn="ctr" defTabSz="711200"/>
            <a:endParaRPr lang="en-US" sz="900">
              <a:solidFill>
                <a:prstClr val="white"/>
              </a:solidFill>
            </a:endParaRPr>
          </a:p>
        </p:txBody>
      </p:sp>
      <p:sp>
        <p:nvSpPr>
          <p:cNvPr id="37" name="Freeform 36">
            <a:extLst>
              <a:ext uri="{FF2B5EF4-FFF2-40B4-BE49-F238E27FC236}">
                <a16:creationId xmlns:a16="http://schemas.microsoft.com/office/drawing/2014/main" id="{83B88D21-D893-0146-B823-0AD5747D30EB}"/>
              </a:ext>
            </a:extLst>
          </p:cNvPr>
          <p:cNvSpPr/>
          <p:nvPr/>
        </p:nvSpPr>
        <p:spPr>
          <a:xfrm>
            <a:off x="3705238" y="3026956"/>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5539" tIns="195539" rIns="195539" bIns="195539" numCol="1" spcCol="1270" anchor="ctr" anchorCtr="0">
            <a:noAutofit/>
          </a:bodyPr>
          <a:lstStyle/>
          <a:p>
            <a:pPr algn="ctr" defTabSz="1911350"/>
            <a:endParaRPr lang="en-US" sz="900">
              <a:solidFill>
                <a:prstClr val="white"/>
              </a:solidFill>
            </a:endParaRPr>
          </a:p>
        </p:txBody>
      </p:sp>
      <p:sp>
        <p:nvSpPr>
          <p:cNvPr id="38" name="Freeform 37">
            <a:extLst>
              <a:ext uri="{FF2B5EF4-FFF2-40B4-BE49-F238E27FC236}">
                <a16:creationId xmlns:a16="http://schemas.microsoft.com/office/drawing/2014/main" id="{35088E32-5B9A-7746-9003-463274BD7025}"/>
              </a:ext>
            </a:extLst>
          </p:cNvPr>
          <p:cNvSpPr/>
          <p:nvPr/>
        </p:nvSpPr>
        <p:spPr>
          <a:xfrm rot="2314286">
            <a:off x="5030502" y="2490086"/>
            <a:ext cx="250865" cy="403306"/>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226132" y="290835"/>
                </a:moveTo>
                <a:lnTo>
                  <a:pt x="113066" y="290835"/>
                </a:lnTo>
                <a:lnTo>
                  <a:pt x="113066" y="363544"/>
                </a:lnTo>
                <a:lnTo>
                  <a:pt x="1" y="181772"/>
                </a:lnTo>
                <a:lnTo>
                  <a:pt x="113066" y="0"/>
                </a:lnTo>
                <a:lnTo>
                  <a:pt x="113066" y="72709"/>
                </a:lnTo>
                <a:lnTo>
                  <a:pt x="226132" y="72709"/>
                </a:lnTo>
                <a:lnTo>
                  <a:pt x="226132" y="290835"/>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67840" tIns="72709" rIns="-1" bIns="72709" numCol="1" spcCol="1270" anchor="ctr" anchorCtr="0">
            <a:noAutofit/>
          </a:bodyPr>
          <a:lstStyle/>
          <a:p>
            <a:pPr algn="ctr" defTabSz="711200"/>
            <a:endParaRPr lang="en-US" sz="900">
              <a:solidFill>
                <a:prstClr val="white"/>
              </a:solidFill>
            </a:endParaRPr>
          </a:p>
        </p:txBody>
      </p:sp>
      <p:sp>
        <p:nvSpPr>
          <p:cNvPr id="39" name="Freeform 38">
            <a:extLst>
              <a:ext uri="{FF2B5EF4-FFF2-40B4-BE49-F238E27FC236}">
                <a16:creationId xmlns:a16="http://schemas.microsoft.com/office/drawing/2014/main" id="{C788FC95-1B78-7748-9F4E-8AD008A5749E}"/>
              </a:ext>
            </a:extLst>
          </p:cNvPr>
          <p:cNvSpPr/>
          <p:nvPr/>
        </p:nvSpPr>
        <p:spPr>
          <a:xfrm>
            <a:off x="4014234" y="1673157"/>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5539" tIns="195539" rIns="195539" bIns="195539" numCol="1" spcCol="1270" anchor="ctr" anchorCtr="0">
            <a:noAutofit/>
          </a:bodyPr>
          <a:lstStyle/>
          <a:p>
            <a:pPr algn="ctr" defTabSz="1911350"/>
            <a:endParaRPr lang="en-US" sz="900">
              <a:solidFill>
                <a:prstClr val="white"/>
              </a:solidFill>
            </a:endParaRPr>
          </a:p>
        </p:txBody>
      </p:sp>
      <p:sp>
        <p:nvSpPr>
          <p:cNvPr id="40" name="Rectangle 39">
            <a:extLst>
              <a:ext uri="{FF2B5EF4-FFF2-40B4-BE49-F238E27FC236}">
                <a16:creationId xmlns:a16="http://schemas.microsoft.com/office/drawing/2014/main" id="{57A4DFA8-F976-E845-8E52-8BED50521950}"/>
              </a:ext>
            </a:extLst>
          </p:cNvPr>
          <p:cNvSpPr/>
          <p:nvPr/>
        </p:nvSpPr>
        <p:spPr>
          <a:xfrm>
            <a:off x="5486533" y="3135412"/>
            <a:ext cx="625171" cy="138499"/>
          </a:xfrm>
          <a:prstGeom prst="rect">
            <a:avLst/>
          </a:prstGeom>
        </p:spPr>
        <p:txBody>
          <a:bodyPr wrap="none" lIns="0" tIns="0" rIns="0" bIns="0">
            <a:spAutoFit/>
          </a:bodyPr>
          <a:lstStyle/>
          <a:p>
            <a:pPr algn="ctr" defTabSz="913686">
              <a:buSzPct val="100000"/>
            </a:pPr>
            <a:r>
              <a:rPr lang="en-US" sz="900" b="1" dirty="0">
                <a:solidFill>
                  <a:prstClr val="white"/>
                </a:solidFill>
              </a:rPr>
              <a:t>Lorem ipsum</a:t>
            </a:r>
          </a:p>
        </p:txBody>
      </p:sp>
      <p:sp>
        <p:nvSpPr>
          <p:cNvPr id="41" name="Rectangle 40">
            <a:extLst>
              <a:ext uri="{FF2B5EF4-FFF2-40B4-BE49-F238E27FC236}">
                <a16:creationId xmlns:a16="http://schemas.microsoft.com/office/drawing/2014/main" id="{8D77DC8B-DF14-DA48-9E89-3B61589333D4}"/>
              </a:ext>
            </a:extLst>
          </p:cNvPr>
          <p:cNvSpPr/>
          <p:nvPr/>
        </p:nvSpPr>
        <p:spPr>
          <a:xfrm>
            <a:off x="5454071" y="1535197"/>
            <a:ext cx="690092"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2" name="Rectangle 41">
            <a:extLst>
              <a:ext uri="{FF2B5EF4-FFF2-40B4-BE49-F238E27FC236}">
                <a16:creationId xmlns:a16="http://schemas.microsoft.com/office/drawing/2014/main" id="{604983C7-B829-DE49-ABFD-E38081891545}"/>
              </a:ext>
            </a:extLst>
          </p:cNvPr>
          <p:cNvSpPr/>
          <p:nvPr/>
        </p:nvSpPr>
        <p:spPr>
          <a:xfrm>
            <a:off x="6708133" y="2137694"/>
            <a:ext cx="684165"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3" name="Rectangle 42">
            <a:extLst>
              <a:ext uri="{FF2B5EF4-FFF2-40B4-BE49-F238E27FC236}">
                <a16:creationId xmlns:a16="http://schemas.microsoft.com/office/drawing/2014/main" id="{230BDDAD-77F7-9245-9A31-CB0D630FD070}"/>
              </a:ext>
            </a:extLst>
          </p:cNvPr>
          <p:cNvSpPr/>
          <p:nvPr/>
        </p:nvSpPr>
        <p:spPr>
          <a:xfrm>
            <a:off x="7000924" y="3491493"/>
            <a:ext cx="716575"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4" name="Rectangle 43">
            <a:extLst>
              <a:ext uri="{FF2B5EF4-FFF2-40B4-BE49-F238E27FC236}">
                <a16:creationId xmlns:a16="http://schemas.microsoft.com/office/drawing/2014/main" id="{29F88FCE-C287-234C-BE72-3286E65C28AB}"/>
              </a:ext>
            </a:extLst>
          </p:cNvPr>
          <p:cNvSpPr/>
          <p:nvPr/>
        </p:nvSpPr>
        <p:spPr>
          <a:xfrm>
            <a:off x="6091309" y="4577155"/>
            <a:ext cx="804230"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5" name="Rectangle 44">
            <a:extLst>
              <a:ext uri="{FF2B5EF4-FFF2-40B4-BE49-F238E27FC236}">
                <a16:creationId xmlns:a16="http://schemas.microsoft.com/office/drawing/2014/main" id="{26B4A6CB-FFF2-344B-A106-6A842FDEA5FA}"/>
              </a:ext>
            </a:extLst>
          </p:cNvPr>
          <p:cNvSpPr/>
          <p:nvPr/>
        </p:nvSpPr>
        <p:spPr>
          <a:xfrm>
            <a:off x="4727506" y="4577155"/>
            <a:ext cx="754609"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6" name="Rectangle 45">
            <a:extLst>
              <a:ext uri="{FF2B5EF4-FFF2-40B4-BE49-F238E27FC236}">
                <a16:creationId xmlns:a16="http://schemas.microsoft.com/office/drawing/2014/main" id="{EF4A4CFC-00C8-9848-B2A1-233E41E43380}"/>
              </a:ext>
            </a:extLst>
          </p:cNvPr>
          <p:cNvSpPr/>
          <p:nvPr/>
        </p:nvSpPr>
        <p:spPr>
          <a:xfrm>
            <a:off x="3870122" y="3491493"/>
            <a:ext cx="737802"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7" name="Rectangle 46">
            <a:extLst>
              <a:ext uri="{FF2B5EF4-FFF2-40B4-BE49-F238E27FC236}">
                <a16:creationId xmlns:a16="http://schemas.microsoft.com/office/drawing/2014/main" id="{AA74A987-01EA-6140-AF95-CD8F8B71D84C}"/>
              </a:ext>
            </a:extLst>
          </p:cNvPr>
          <p:cNvSpPr/>
          <p:nvPr/>
        </p:nvSpPr>
        <p:spPr>
          <a:xfrm>
            <a:off x="4127233" y="2151706"/>
            <a:ext cx="785659"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Tree>
    <p:custDataLst>
      <p:tags r:id="rId1"/>
    </p:custDataLst>
    <p:extLst>
      <p:ext uri="{BB962C8B-B14F-4D97-AF65-F5344CB8AC3E}">
        <p14:creationId xmlns:p14="http://schemas.microsoft.com/office/powerpoint/2010/main" val="1097805342"/>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4" name="Group 98"/>
          <p:cNvGrpSpPr>
            <a:grpSpLocks/>
          </p:cNvGrpSpPr>
          <p:nvPr/>
        </p:nvGrpSpPr>
        <p:grpSpPr bwMode="auto">
          <a:xfrm>
            <a:off x="4423107" y="1379108"/>
            <a:ext cx="3181350" cy="2647950"/>
            <a:chOff x="0" y="0"/>
            <a:chExt cx="3181693" cy="2647950"/>
          </a:xfrm>
        </p:grpSpPr>
        <p:sp>
          <p:nvSpPr>
            <p:cNvPr id="305" name="圆角矩形 146"/>
            <p:cNvSpPr>
              <a:spLocks noChangeArrowheads="1"/>
            </p:cNvSpPr>
            <p:nvPr/>
          </p:nvSpPr>
          <p:spPr bwMode="auto">
            <a:xfrm>
              <a:off x="0" y="0"/>
              <a:ext cx="3181693" cy="2647950"/>
            </a:xfrm>
            <a:prstGeom prst="roundRect">
              <a:avLst>
                <a:gd name="adj" fmla="val 10551"/>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06" name="矩形 147"/>
            <p:cNvSpPr>
              <a:spLocks noChangeArrowheads="1"/>
            </p:cNvSpPr>
            <p:nvPr/>
          </p:nvSpPr>
          <p:spPr bwMode="auto">
            <a:xfrm>
              <a:off x="295619" y="647700"/>
              <a:ext cx="2647950" cy="17621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07" name="椭圆 148"/>
            <p:cNvSpPr>
              <a:spLocks noChangeArrowheads="1"/>
            </p:cNvSpPr>
            <p:nvPr/>
          </p:nvSpPr>
          <p:spPr bwMode="auto">
            <a:xfrm>
              <a:off x="1833907" y="223060"/>
              <a:ext cx="233362" cy="23336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08" name="椭圆 149"/>
            <p:cNvSpPr>
              <a:spLocks noChangeArrowheads="1"/>
            </p:cNvSpPr>
            <p:nvPr/>
          </p:nvSpPr>
          <p:spPr bwMode="auto">
            <a:xfrm>
              <a:off x="2210147" y="222314"/>
              <a:ext cx="233362" cy="23336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09" name="椭圆 150"/>
            <p:cNvSpPr>
              <a:spLocks noChangeArrowheads="1"/>
            </p:cNvSpPr>
            <p:nvPr/>
          </p:nvSpPr>
          <p:spPr bwMode="auto">
            <a:xfrm>
              <a:off x="2607818" y="215987"/>
              <a:ext cx="233362" cy="23336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10" name="矩形 151"/>
          <p:cNvSpPr>
            <a:spLocks noChangeArrowheads="1"/>
          </p:cNvSpPr>
          <p:nvPr/>
        </p:nvSpPr>
        <p:spPr bwMode="auto">
          <a:xfrm>
            <a:off x="4924757" y="2596721"/>
            <a:ext cx="312738" cy="312737"/>
          </a:xfrm>
          <a:prstGeom prst="rect">
            <a:avLst/>
          </a:prstGeom>
          <a:solidFill>
            <a:schemeClr val="accent2"/>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11" name="矩形 152"/>
          <p:cNvSpPr>
            <a:spLocks noChangeArrowheads="1"/>
          </p:cNvSpPr>
          <p:nvPr/>
        </p:nvSpPr>
        <p:spPr bwMode="auto">
          <a:xfrm>
            <a:off x="5605795" y="2596721"/>
            <a:ext cx="312737" cy="312737"/>
          </a:xfrm>
          <a:prstGeom prst="rect">
            <a:avLst/>
          </a:prstGeom>
          <a:solidFill>
            <a:schemeClr val="accent6"/>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12" name="矩形 153"/>
          <p:cNvSpPr>
            <a:spLocks noChangeArrowheads="1"/>
          </p:cNvSpPr>
          <p:nvPr/>
        </p:nvSpPr>
        <p:spPr bwMode="auto">
          <a:xfrm>
            <a:off x="6051882" y="2596721"/>
            <a:ext cx="312738" cy="312737"/>
          </a:xfrm>
          <a:prstGeom prst="rect">
            <a:avLst/>
          </a:prstGeom>
          <a:solidFill>
            <a:schemeClr val="accent4"/>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13" name="矩形 154"/>
          <p:cNvSpPr>
            <a:spLocks noChangeArrowheads="1"/>
          </p:cNvSpPr>
          <p:nvPr/>
        </p:nvSpPr>
        <p:spPr bwMode="auto">
          <a:xfrm>
            <a:off x="6731332" y="2596721"/>
            <a:ext cx="312738" cy="312737"/>
          </a:xfrm>
          <a:prstGeom prst="rect">
            <a:avLst/>
          </a:prstGeom>
          <a:solidFill>
            <a:srgbClr val="0097A9"/>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14" name="矩形 155"/>
          <p:cNvSpPr>
            <a:spLocks noChangeArrowheads="1"/>
          </p:cNvSpPr>
          <p:nvPr/>
        </p:nvSpPr>
        <p:spPr bwMode="auto">
          <a:xfrm>
            <a:off x="6364620" y="3157108"/>
            <a:ext cx="312737" cy="312738"/>
          </a:xfrm>
          <a:prstGeom prst="rect">
            <a:avLst/>
          </a:prstGeom>
          <a:solidFill>
            <a:schemeClr val="accent1"/>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15" name="矩形 156"/>
          <p:cNvSpPr>
            <a:spLocks noChangeArrowheads="1"/>
          </p:cNvSpPr>
          <p:nvPr/>
        </p:nvSpPr>
        <p:spPr bwMode="auto">
          <a:xfrm>
            <a:off x="5299407" y="3157108"/>
            <a:ext cx="312738" cy="312738"/>
          </a:xfrm>
          <a:prstGeom prst="rect">
            <a:avLst/>
          </a:prstGeom>
          <a:solidFill>
            <a:schemeClr val="accent3"/>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nvGrpSpPr>
          <p:cNvPr id="316" name="Group 110"/>
          <p:cNvGrpSpPr>
            <a:grpSpLocks/>
          </p:cNvGrpSpPr>
          <p:nvPr/>
        </p:nvGrpSpPr>
        <p:grpSpPr bwMode="auto">
          <a:xfrm>
            <a:off x="2980070" y="3898471"/>
            <a:ext cx="2795587" cy="1209675"/>
            <a:chOff x="0" y="0"/>
            <a:chExt cx="2795542" cy="1208895"/>
          </a:xfrm>
        </p:grpSpPr>
        <p:grpSp>
          <p:nvGrpSpPr>
            <p:cNvPr id="317" name="Group 111"/>
            <p:cNvGrpSpPr>
              <a:grpSpLocks/>
            </p:cNvGrpSpPr>
            <p:nvPr/>
          </p:nvGrpSpPr>
          <p:grpSpPr bwMode="auto">
            <a:xfrm>
              <a:off x="0" y="0"/>
              <a:ext cx="2795542" cy="1207171"/>
              <a:chOff x="0" y="0"/>
              <a:chExt cx="2795542" cy="1207171"/>
            </a:xfrm>
          </p:grpSpPr>
          <p:sp>
            <p:nvSpPr>
              <p:cNvPr id="319" name="等腰三角形 27"/>
              <p:cNvSpPr>
                <a:spLocks noChangeArrowheads="1"/>
              </p:cNvSpPr>
              <p:nvPr/>
            </p:nvSpPr>
            <p:spPr bwMode="auto">
              <a:xfrm rot="-2046440">
                <a:off x="729050" y="0"/>
                <a:ext cx="2066492" cy="693804"/>
              </a:xfrm>
              <a:custGeom>
                <a:avLst/>
                <a:gdLst>
                  <a:gd name="T0" fmla="*/ 0 w 2066492"/>
                  <a:gd name="T1" fmla="*/ 693804 h 693804"/>
                  <a:gd name="T2" fmla="*/ 332871 w 2066492"/>
                  <a:gd name="T3" fmla="*/ 195028 h 693804"/>
                  <a:gd name="T4" fmla="*/ 2066492 w 2066492"/>
                  <a:gd name="T5" fmla="*/ 0 h 693804"/>
                  <a:gd name="T6" fmla="*/ 0 w 2066492"/>
                  <a:gd name="T7" fmla="*/ 693804 h 693804"/>
                </a:gdLst>
                <a:ahLst/>
                <a:cxnLst>
                  <a:cxn ang="0">
                    <a:pos x="T0" y="T1"/>
                  </a:cxn>
                  <a:cxn ang="0">
                    <a:pos x="T2" y="T3"/>
                  </a:cxn>
                  <a:cxn ang="0">
                    <a:pos x="T4" y="T5"/>
                  </a:cxn>
                  <a:cxn ang="0">
                    <a:pos x="T6" y="T7"/>
                  </a:cxn>
                </a:cxnLst>
                <a:rect l="0" t="0" r="r" b="b"/>
                <a:pathLst>
                  <a:path w="2066492" h="693804">
                    <a:moveTo>
                      <a:pt x="0" y="693804"/>
                    </a:moveTo>
                    <a:cubicBezTo>
                      <a:pt x="120498" y="518986"/>
                      <a:pt x="225600" y="367299"/>
                      <a:pt x="332871" y="195028"/>
                    </a:cubicBezTo>
                    <a:lnTo>
                      <a:pt x="2066492" y="0"/>
                    </a:lnTo>
                    <a:lnTo>
                      <a:pt x="0" y="693804"/>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anose="020B0604020202020204" pitchFamily="34" charset="0"/>
                  <a:ea typeface="宋体" panose="02010600030101010101" pitchFamily="2" charset="-122"/>
                </a:endParaRPr>
              </a:p>
            </p:txBody>
          </p:sp>
          <p:sp>
            <p:nvSpPr>
              <p:cNvPr id="320" name="矩形 161"/>
              <p:cNvSpPr>
                <a:spLocks noChangeArrowheads="1"/>
              </p:cNvSpPr>
              <p:nvPr/>
            </p:nvSpPr>
            <p:spPr bwMode="auto">
              <a:xfrm>
                <a:off x="0" y="617770"/>
                <a:ext cx="1104900" cy="589401"/>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18" name="文本框 159"/>
            <p:cNvSpPr>
              <a:spLocks noChangeArrowheads="1"/>
            </p:cNvSpPr>
            <p:nvPr/>
          </p:nvSpPr>
          <p:spPr bwMode="auto">
            <a:xfrm>
              <a:off x="101721" y="624120"/>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dirty="0">
                  <a:solidFill>
                    <a:schemeClr val="bg1"/>
                  </a:solidFill>
                  <a:latin typeface="Calibri" panose="020F0502020204030204" pitchFamily="34" charset="0"/>
                  <a:cs typeface="Calibri" panose="020F0502020204030204" pitchFamily="34" charset="0"/>
                  <a:sym typeface="Calibri" panose="020F0502020204030204" pitchFamily="34" charset="0"/>
                </a:rPr>
                <a:t>14%</a:t>
              </a:r>
              <a:endParaRPr lang="zh-CN" altLang="en-US" sz="3200" b="1" dirty="0">
                <a:solidFill>
                  <a:schemeClr val="bg1"/>
                </a:solidFill>
                <a:latin typeface="Calibri" panose="020F0502020204030204" pitchFamily="34" charset="0"/>
                <a:sym typeface="宋体" panose="02010600030101010101" pitchFamily="2" charset="-122"/>
              </a:endParaRPr>
            </a:p>
          </p:txBody>
        </p:sp>
      </p:grpSp>
      <p:grpSp>
        <p:nvGrpSpPr>
          <p:cNvPr id="321" name="Group 115"/>
          <p:cNvGrpSpPr>
            <a:grpSpLocks/>
          </p:cNvGrpSpPr>
          <p:nvPr/>
        </p:nvGrpSpPr>
        <p:grpSpPr bwMode="auto">
          <a:xfrm>
            <a:off x="2986420" y="975883"/>
            <a:ext cx="2789237" cy="1712913"/>
            <a:chOff x="0" y="0"/>
            <a:chExt cx="2788919" cy="1713652"/>
          </a:xfrm>
        </p:grpSpPr>
        <p:grpSp>
          <p:nvGrpSpPr>
            <p:cNvPr id="322" name="Group 116"/>
            <p:cNvGrpSpPr>
              <a:grpSpLocks/>
            </p:cNvGrpSpPr>
            <p:nvPr/>
          </p:nvGrpSpPr>
          <p:grpSpPr bwMode="auto">
            <a:xfrm>
              <a:off x="0" y="0"/>
              <a:ext cx="2788919" cy="1713652"/>
              <a:chOff x="0" y="0"/>
              <a:chExt cx="2788919" cy="1713652"/>
            </a:xfrm>
          </p:grpSpPr>
          <p:sp>
            <p:nvSpPr>
              <p:cNvPr id="324" name="等腰三角形 27"/>
              <p:cNvSpPr>
                <a:spLocks noChangeArrowheads="1"/>
              </p:cNvSpPr>
              <p:nvPr/>
            </p:nvSpPr>
            <p:spPr bwMode="auto">
              <a:xfrm>
                <a:off x="1094680" y="0"/>
                <a:ext cx="1694239" cy="1713652"/>
              </a:xfrm>
              <a:custGeom>
                <a:avLst/>
                <a:gdLst>
                  <a:gd name="T0" fmla="*/ 59 w 1694239"/>
                  <a:gd name="T1" fmla="*/ 586527 h 1713652"/>
                  <a:gd name="T2" fmla="*/ 7044 w 1694239"/>
                  <a:gd name="T3" fmla="*/ 0 h 1713652"/>
                  <a:gd name="T4" fmla="*/ 1694239 w 1694239"/>
                  <a:gd name="T5" fmla="*/ 1713652 h 1713652"/>
                  <a:gd name="T6" fmla="*/ 59 w 1694239"/>
                  <a:gd name="T7" fmla="*/ 586527 h 1713652"/>
                </a:gdLst>
                <a:ahLst/>
                <a:cxnLst>
                  <a:cxn ang="0">
                    <a:pos x="T0" y="T1"/>
                  </a:cxn>
                  <a:cxn ang="0">
                    <a:pos x="T2" y="T3"/>
                  </a:cxn>
                  <a:cxn ang="0">
                    <a:pos x="T4" y="T5"/>
                  </a:cxn>
                  <a:cxn ang="0">
                    <a:pos x="T6" y="T7"/>
                  </a:cxn>
                </a:cxnLst>
                <a:rect l="0" t="0" r="r" b="b"/>
                <a:pathLst>
                  <a:path w="1694239" h="1713652">
                    <a:moveTo>
                      <a:pt x="59" y="586527"/>
                    </a:moveTo>
                    <a:cubicBezTo>
                      <a:pt x="-788" y="387049"/>
                      <a:pt x="7891" y="199478"/>
                      <a:pt x="7044" y="0"/>
                    </a:cubicBezTo>
                    <a:lnTo>
                      <a:pt x="1694239" y="1713652"/>
                    </a:lnTo>
                    <a:lnTo>
                      <a:pt x="59" y="586527"/>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anose="020B0604020202020204" pitchFamily="34" charset="0"/>
                  <a:ea typeface="宋体" panose="02010600030101010101" pitchFamily="2" charset="-122"/>
                </a:endParaRPr>
              </a:p>
            </p:txBody>
          </p:sp>
          <p:sp>
            <p:nvSpPr>
              <p:cNvPr id="325" name="矩形 166"/>
              <p:cNvSpPr>
                <a:spLocks noChangeArrowheads="1"/>
              </p:cNvSpPr>
              <p:nvPr/>
            </p:nvSpPr>
            <p:spPr bwMode="auto">
              <a:xfrm>
                <a:off x="0" y="2841"/>
                <a:ext cx="1104900" cy="589401"/>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23" name="文本框 164"/>
            <p:cNvSpPr>
              <a:spLocks noChangeArrowheads="1"/>
            </p:cNvSpPr>
            <p:nvPr/>
          </p:nvSpPr>
          <p:spPr bwMode="auto">
            <a:xfrm>
              <a:off x="101845" y="6016"/>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a:solidFill>
                    <a:schemeClr val="bg1"/>
                  </a:solidFill>
                  <a:latin typeface="Calibri" panose="020F0502020204030204" pitchFamily="34" charset="0"/>
                  <a:cs typeface="Calibri" panose="020F0502020204030204" pitchFamily="34" charset="0"/>
                  <a:sym typeface="Calibri" panose="020F0502020204030204" pitchFamily="34" charset="0"/>
                </a:rPr>
                <a:t>56%</a:t>
              </a:r>
              <a:endParaRPr lang="zh-CN" altLang="en-US" sz="3200" b="1">
                <a:solidFill>
                  <a:schemeClr val="bg1"/>
                </a:solidFill>
                <a:latin typeface="Calibri" panose="020F0502020204030204" pitchFamily="34" charset="0"/>
                <a:sym typeface="宋体" panose="02010600030101010101" pitchFamily="2" charset="-122"/>
              </a:endParaRPr>
            </a:p>
          </p:txBody>
        </p:sp>
      </p:grpSp>
      <p:grpSp>
        <p:nvGrpSpPr>
          <p:cNvPr id="326" name="Group 120"/>
          <p:cNvGrpSpPr>
            <a:grpSpLocks/>
          </p:cNvGrpSpPr>
          <p:nvPr/>
        </p:nvGrpSpPr>
        <p:grpSpPr bwMode="auto">
          <a:xfrm>
            <a:off x="1973595" y="2703083"/>
            <a:ext cx="3201987" cy="731838"/>
            <a:chOff x="0" y="0"/>
            <a:chExt cx="3202493" cy="731837"/>
          </a:xfrm>
        </p:grpSpPr>
        <p:grpSp>
          <p:nvGrpSpPr>
            <p:cNvPr id="327" name="Group 121"/>
            <p:cNvGrpSpPr>
              <a:grpSpLocks/>
            </p:cNvGrpSpPr>
            <p:nvPr/>
          </p:nvGrpSpPr>
          <p:grpSpPr bwMode="auto">
            <a:xfrm>
              <a:off x="0" y="0"/>
              <a:ext cx="3202493" cy="731837"/>
              <a:chOff x="0" y="0"/>
              <a:chExt cx="3202493" cy="731837"/>
            </a:xfrm>
          </p:grpSpPr>
          <p:sp>
            <p:nvSpPr>
              <p:cNvPr id="329" name="等腰三角形 27"/>
              <p:cNvSpPr>
                <a:spLocks noChangeArrowheads="1"/>
              </p:cNvSpPr>
              <p:nvPr/>
            </p:nvSpPr>
            <p:spPr bwMode="auto">
              <a:xfrm>
                <a:off x="1098550" y="0"/>
                <a:ext cx="2103943" cy="731837"/>
              </a:xfrm>
              <a:custGeom>
                <a:avLst/>
                <a:gdLst>
                  <a:gd name="T0" fmla="*/ 188 w 2103943"/>
                  <a:gd name="T1" fmla="*/ 731837 h 731837"/>
                  <a:gd name="T2" fmla="*/ 823 w 2103943"/>
                  <a:gd name="T3" fmla="*/ 146104 h 731837"/>
                  <a:gd name="T4" fmla="*/ 2103943 w 2103943"/>
                  <a:gd name="T5" fmla="*/ 0 h 731837"/>
                  <a:gd name="T6" fmla="*/ 188 w 2103943"/>
                  <a:gd name="T7" fmla="*/ 731837 h 731837"/>
                </a:gdLst>
                <a:ahLst/>
                <a:cxnLst>
                  <a:cxn ang="0">
                    <a:pos x="T0" y="T1"/>
                  </a:cxn>
                  <a:cxn ang="0">
                    <a:pos x="T2" y="T3"/>
                  </a:cxn>
                  <a:cxn ang="0">
                    <a:pos x="T4" y="T5"/>
                  </a:cxn>
                  <a:cxn ang="0">
                    <a:pos x="T6" y="T7"/>
                  </a:cxn>
                </a:cxnLst>
                <a:rect l="0" t="0" r="r" b="b"/>
                <a:pathLst>
                  <a:path w="2103943" h="731837">
                    <a:moveTo>
                      <a:pt x="188" y="731837"/>
                    </a:moveTo>
                    <a:cubicBezTo>
                      <a:pt x="-659" y="532359"/>
                      <a:pt x="1670" y="345582"/>
                      <a:pt x="823" y="146104"/>
                    </a:cubicBezTo>
                    <a:lnTo>
                      <a:pt x="2103943" y="0"/>
                    </a:lnTo>
                    <a:lnTo>
                      <a:pt x="188" y="731837"/>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anose="020B0604020202020204" pitchFamily="34" charset="0"/>
                  <a:ea typeface="宋体" panose="02010600030101010101" pitchFamily="2" charset="-122"/>
                </a:endParaRPr>
              </a:p>
            </p:txBody>
          </p:sp>
          <p:sp>
            <p:nvSpPr>
              <p:cNvPr id="330" name="矩形 171"/>
              <p:cNvSpPr>
                <a:spLocks noChangeArrowheads="1"/>
              </p:cNvSpPr>
              <p:nvPr/>
            </p:nvSpPr>
            <p:spPr bwMode="auto">
              <a:xfrm>
                <a:off x="0" y="142436"/>
                <a:ext cx="1104900" cy="58940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28" name="文本框 169"/>
            <p:cNvSpPr>
              <a:spLocks noChangeArrowheads="1"/>
            </p:cNvSpPr>
            <p:nvPr/>
          </p:nvSpPr>
          <p:spPr bwMode="auto">
            <a:xfrm>
              <a:off x="80120" y="144748"/>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a:solidFill>
                    <a:schemeClr val="bg1"/>
                  </a:solidFill>
                  <a:latin typeface="Calibri" panose="020F0502020204030204" pitchFamily="34" charset="0"/>
                  <a:cs typeface="Calibri" panose="020F0502020204030204" pitchFamily="34" charset="0"/>
                  <a:sym typeface="Calibri" panose="020F0502020204030204" pitchFamily="34" charset="0"/>
                </a:rPr>
                <a:t>62%</a:t>
              </a:r>
              <a:endParaRPr lang="zh-CN" altLang="en-US" sz="3200" b="1">
                <a:solidFill>
                  <a:schemeClr val="bg1"/>
                </a:solidFill>
                <a:latin typeface="Calibri" panose="020F0502020204030204" pitchFamily="34" charset="0"/>
                <a:sym typeface="宋体" panose="02010600030101010101" pitchFamily="2" charset="-122"/>
              </a:endParaRPr>
            </a:p>
          </p:txBody>
        </p:sp>
      </p:grpSp>
      <p:grpSp>
        <p:nvGrpSpPr>
          <p:cNvPr id="331" name="Group 125"/>
          <p:cNvGrpSpPr>
            <a:grpSpLocks/>
          </p:cNvGrpSpPr>
          <p:nvPr/>
        </p:nvGrpSpPr>
        <p:grpSpPr bwMode="auto">
          <a:xfrm>
            <a:off x="6256670" y="974296"/>
            <a:ext cx="2798762" cy="1706562"/>
            <a:chOff x="0" y="0"/>
            <a:chExt cx="2799238" cy="1706508"/>
          </a:xfrm>
        </p:grpSpPr>
        <p:grpSp>
          <p:nvGrpSpPr>
            <p:cNvPr id="332" name="Group 126"/>
            <p:cNvGrpSpPr>
              <a:grpSpLocks/>
            </p:cNvGrpSpPr>
            <p:nvPr/>
          </p:nvGrpSpPr>
          <p:grpSpPr bwMode="auto">
            <a:xfrm flipH="1">
              <a:off x="0" y="0"/>
              <a:ext cx="2799238" cy="1706508"/>
              <a:chOff x="0" y="0"/>
              <a:chExt cx="2799238" cy="1706508"/>
            </a:xfrm>
          </p:grpSpPr>
          <p:sp>
            <p:nvSpPr>
              <p:cNvPr id="334" name="等腰三角形 27"/>
              <p:cNvSpPr>
                <a:spLocks noChangeArrowheads="1"/>
              </p:cNvSpPr>
              <p:nvPr/>
            </p:nvSpPr>
            <p:spPr bwMode="auto">
              <a:xfrm>
                <a:off x="1102518" y="0"/>
                <a:ext cx="1696720" cy="1706508"/>
              </a:xfrm>
              <a:custGeom>
                <a:avLst/>
                <a:gdLst>
                  <a:gd name="T0" fmla="*/ 2540 w 1696720"/>
                  <a:gd name="T1" fmla="*/ 593671 h 1706508"/>
                  <a:gd name="T2" fmla="*/ 0 w 1696720"/>
                  <a:gd name="T3" fmla="*/ 0 h 1706508"/>
                  <a:gd name="T4" fmla="*/ 1696720 w 1696720"/>
                  <a:gd name="T5" fmla="*/ 1706508 h 1706508"/>
                  <a:gd name="T6" fmla="*/ 2540 w 1696720"/>
                  <a:gd name="T7" fmla="*/ 593671 h 1706508"/>
                </a:gdLst>
                <a:ahLst/>
                <a:cxnLst>
                  <a:cxn ang="0">
                    <a:pos x="T0" y="T1"/>
                  </a:cxn>
                  <a:cxn ang="0">
                    <a:pos x="T2" y="T3"/>
                  </a:cxn>
                  <a:cxn ang="0">
                    <a:pos x="T4" y="T5"/>
                  </a:cxn>
                  <a:cxn ang="0">
                    <a:pos x="T6" y="T7"/>
                  </a:cxn>
                </a:cxnLst>
                <a:rect l="0" t="0" r="r" b="b"/>
                <a:pathLst>
                  <a:path w="1696720" h="1706508">
                    <a:moveTo>
                      <a:pt x="2540" y="593671"/>
                    </a:moveTo>
                    <a:cubicBezTo>
                      <a:pt x="1693" y="394193"/>
                      <a:pt x="847" y="199478"/>
                      <a:pt x="0" y="0"/>
                    </a:cubicBezTo>
                    <a:lnTo>
                      <a:pt x="1696720" y="1706508"/>
                    </a:lnTo>
                    <a:lnTo>
                      <a:pt x="2540" y="593671"/>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anose="020B0604020202020204" pitchFamily="34" charset="0"/>
                  <a:ea typeface="宋体" panose="02010600030101010101" pitchFamily="2" charset="-122"/>
                </a:endParaRPr>
              </a:p>
            </p:txBody>
          </p:sp>
          <p:sp>
            <p:nvSpPr>
              <p:cNvPr id="335" name="矩形 176"/>
              <p:cNvSpPr>
                <a:spLocks noChangeArrowheads="1"/>
              </p:cNvSpPr>
              <p:nvPr/>
            </p:nvSpPr>
            <p:spPr bwMode="auto">
              <a:xfrm>
                <a:off x="0" y="2047"/>
                <a:ext cx="1104900" cy="591864"/>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33" name="文本框 174"/>
            <p:cNvSpPr>
              <a:spLocks noChangeArrowheads="1"/>
            </p:cNvSpPr>
            <p:nvPr/>
          </p:nvSpPr>
          <p:spPr bwMode="auto">
            <a:xfrm>
              <a:off x="1794117" y="7685"/>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dirty="0">
                  <a:solidFill>
                    <a:schemeClr val="bg1"/>
                  </a:solidFill>
                  <a:latin typeface="Calibri" panose="020F0502020204030204" pitchFamily="34" charset="0"/>
                  <a:cs typeface="Calibri" panose="020F0502020204030204" pitchFamily="34" charset="0"/>
                  <a:sym typeface="Calibri" panose="020F0502020204030204" pitchFamily="34" charset="0"/>
                </a:rPr>
                <a:t>76%</a:t>
              </a:r>
              <a:endParaRPr lang="zh-CN" altLang="en-US" sz="3200" b="1" dirty="0">
                <a:solidFill>
                  <a:schemeClr val="bg1"/>
                </a:solidFill>
                <a:latin typeface="Calibri" panose="020F0502020204030204" pitchFamily="34" charset="0"/>
                <a:sym typeface="宋体" panose="02010600030101010101" pitchFamily="2" charset="-122"/>
              </a:endParaRPr>
            </a:p>
          </p:txBody>
        </p:sp>
      </p:grpSp>
      <p:grpSp>
        <p:nvGrpSpPr>
          <p:cNvPr id="336" name="Group 130"/>
          <p:cNvGrpSpPr>
            <a:grpSpLocks/>
          </p:cNvGrpSpPr>
          <p:nvPr/>
        </p:nvGrpSpPr>
        <p:grpSpPr bwMode="auto">
          <a:xfrm>
            <a:off x="6855157" y="2693558"/>
            <a:ext cx="3201988" cy="733425"/>
            <a:chOff x="0" y="0"/>
            <a:chExt cx="3201223" cy="732070"/>
          </a:xfrm>
        </p:grpSpPr>
        <p:grpSp>
          <p:nvGrpSpPr>
            <p:cNvPr id="337" name="Group 131"/>
            <p:cNvGrpSpPr>
              <a:grpSpLocks/>
            </p:cNvGrpSpPr>
            <p:nvPr/>
          </p:nvGrpSpPr>
          <p:grpSpPr bwMode="auto">
            <a:xfrm flipH="1">
              <a:off x="0" y="0"/>
              <a:ext cx="3201223" cy="731837"/>
              <a:chOff x="0" y="0"/>
              <a:chExt cx="3201223" cy="731837"/>
            </a:xfrm>
          </p:grpSpPr>
          <p:sp>
            <p:nvSpPr>
              <p:cNvPr id="339" name="等腰三角形 27"/>
              <p:cNvSpPr>
                <a:spLocks noChangeArrowheads="1"/>
              </p:cNvSpPr>
              <p:nvPr/>
            </p:nvSpPr>
            <p:spPr bwMode="auto">
              <a:xfrm>
                <a:off x="1097280" y="0"/>
                <a:ext cx="2103943" cy="731837"/>
              </a:xfrm>
              <a:custGeom>
                <a:avLst/>
                <a:gdLst>
                  <a:gd name="T0" fmla="*/ 188 w 2103943"/>
                  <a:gd name="T1" fmla="*/ 731837 h 731837"/>
                  <a:gd name="T2" fmla="*/ 823 w 2103943"/>
                  <a:gd name="T3" fmla="*/ 146104 h 731837"/>
                  <a:gd name="T4" fmla="*/ 2103943 w 2103943"/>
                  <a:gd name="T5" fmla="*/ 0 h 731837"/>
                  <a:gd name="T6" fmla="*/ 188 w 2103943"/>
                  <a:gd name="T7" fmla="*/ 731837 h 731837"/>
                </a:gdLst>
                <a:ahLst/>
                <a:cxnLst>
                  <a:cxn ang="0">
                    <a:pos x="T0" y="T1"/>
                  </a:cxn>
                  <a:cxn ang="0">
                    <a:pos x="T2" y="T3"/>
                  </a:cxn>
                  <a:cxn ang="0">
                    <a:pos x="T4" y="T5"/>
                  </a:cxn>
                  <a:cxn ang="0">
                    <a:pos x="T6" y="T7"/>
                  </a:cxn>
                </a:cxnLst>
                <a:rect l="0" t="0" r="r" b="b"/>
                <a:pathLst>
                  <a:path w="2103943" h="731837">
                    <a:moveTo>
                      <a:pt x="188" y="731837"/>
                    </a:moveTo>
                    <a:cubicBezTo>
                      <a:pt x="-659" y="532359"/>
                      <a:pt x="1670" y="345582"/>
                      <a:pt x="823" y="146104"/>
                    </a:cubicBezTo>
                    <a:lnTo>
                      <a:pt x="2103943" y="0"/>
                    </a:lnTo>
                    <a:lnTo>
                      <a:pt x="188" y="731837"/>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p>
            </p:txBody>
          </p:sp>
          <p:sp>
            <p:nvSpPr>
              <p:cNvPr id="340" name="矩形 181"/>
              <p:cNvSpPr>
                <a:spLocks noChangeArrowheads="1"/>
              </p:cNvSpPr>
              <p:nvPr/>
            </p:nvSpPr>
            <p:spPr bwMode="auto">
              <a:xfrm>
                <a:off x="0" y="142436"/>
                <a:ext cx="1104900" cy="589401"/>
              </a:xfrm>
              <a:prstGeom prst="rect">
                <a:avLst/>
              </a:prstGeom>
              <a:solidFill>
                <a:srgbClr val="0097A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38" name="文本框 179"/>
            <p:cNvSpPr>
              <a:spLocks noChangeArrowheads="1"/>
            </p:cNvSpPr>
            <p:nvPr/>
          </p:nvSpPr>
          <p:spPr bwMode="auto">
            <a:xfrm>
              <a:off x="2228115" y="147295"/>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a:solidFill>
                    <a:schemeClr val="bg1"/>
                  </a:solidFill>
                  <a:latin typeface="Calibri" panose="020F0502020204030204" pitchFamily="34" charset="0"/>
                  <a:cs typeface="Calibri" panose="020F0502020204030204" pitchFamily="34" charset="0"/>
                  <a:sym typeface="Calibri" panose="020F0502020204030204" pitchFamily="34" charset="0"/>
                </a:rPr>
                <a:t>92%</a:t>
              </a:r>
              <a:endParaRPr lang="zh-CN" altLang="en-US" sz="3200" b="1">
                <a:solidFill>
                  <a:schemeClr val="bg1"/>
                </a:solidFill>
                <a:latin typeface="Calibri" panose="020F0502020204030204" pitchFamily="34" charset="0"/>
                <a:sym typeface="宋体" panose="02010600030101010101" pitchFamily="2" charset="-122"/>
              </a:endParaRPr>
            </a:p>
          </p:txBody>
        </p:sp>
      </p:grpSp>
      <p:grpSp>
        <p:nvGrpSpPr>
          <p:cNvPr id="341" name="Group 135"/>
          <p:cNvGrpSpPr>
            <a:grpSpLocks/>
          </p:cNvGrpSpPr>
          <p:nvPr/>
        </p:nvGrpSpPr>
        <p:grpSpPr bwMode="auto">
          <a:xfrm>
            <a:off x="6256670" y="3890533"/>
            <a:ext cx="2794000" cy="1212850"/>
            <a:chOff x="0" y="0"/>
            <a:chExt cx="2794272" cy="1213521"/>
          </a:xfrm>
        </p:grpSpPr>
        <p:grpSp>
          <p:nvGrpSpPr>
            <p:cNvPr id="342" name="Group 136"/>
            <p:cNvGrpSpPr>
              <a:grpSpLocks/>
            </p:cNvGrpSpPr>
            <p:nvPr/>
          </p:nvGrpSpPr>
          <p:grpSpPr bwMode="auto">
            <a:xfrm flipH="1">
              <a:off x="0" y="0"/>
              <a:ext cx="2794272" cy="1213521"/>
              <a:chOff x="0" y="0"/>
              <a:chExt cx="2794272" cy="1213521"/>
            </a:xfrm>
          </p:grpSpPr>
          <p:sp>
            <p:nvSpPr>
              <p:cNvPr id="344" name="等腰三角形 27"/>
              <p:cNvSpPr>
                <a:spLocks noChangeArrowheads="1"/>
              </p:cNvSpPr>
              <p:nvPr/>
            </p:nvSpPr>
            <p:spPr bwMode="auto">
              <a:xfrm rot="-2046440">
                <a:off x="727780" y="0"/>
                <a:ext cx="2066492" cy="693804"/>
              </a:xfrm>
              <a:custGeom>
                <a:avLst/>
                <a:gdLst>
                  <a:gd name="T0" fmla="*/ 0 w 2066492"/>
                  <a:gd name="T1" fmla="*/ 693804 h 693804"/>
                  <a:gd name="T2" fmla="*/ 332871 w 2066492"/>
                  <a:gd name="T3" fmla="*/ 195028 h 693804"/>
                  <a:gd name="T4" fmla="*/ 2066492 w 2066492"/>
                  <a:gd name="T5" fmla="*/ 0 h 693804"/>
                  <a:gd name="T6" fmla="*/ 0 w 2066492"/>
                  <a:gd name="T7" fmla="*/ 693804 h 693804"/>
                </a:gdLst>
                <a:ahLst/>
                <a:cxnLst>
                  <a:cxn ang="0">
                    <a:pos x="T0" y="T1"/>
                  </a:cxn>
                  <a:cxn ang="0">
                    <a:pos x="T2" y="T3"/>
                  </a:cxn>
                  <a:cxn ang="0">
                    <a:pos x="T4" y="T5"/>
                  </a:cxn>
                  <a:cxn ang="0">
                    <a:pos x="T6" y="T7"/>
                  </a:cxn>
                </a:cxnLst>
                <a:rect l="0" t="0" r="r" b="b"/>
                <a:pathLst>
                  <a:path w="2066492" h="693804">
                    <a:moveTo>
                      <a:pt x="0" y="693804"/>
                    </a:moveTo>
                    <a:cubicBezTo>
                      <a:pt x="120498" y="518986"/>
                      <a:pt x="225600" y="367299"/>
                      <a:pt x="332871" y="195028"/>
                    </a:cubicBezTo>
                    <a:lnTo>
                      <a:pt x="2066492" y="0"/>
                    </a:lnTo>
                    <a:lnTo>
                      <a:pt x="0" y="693804"/>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anose="020B0604020202020204" pitchFamily="34" charset="0"/>
                  <a:ea typeface="宋体" panose="02010600030101010101" pitchFamily="2" charset="-122"/>
                </a:endParaRPr>
              </a:p>
            </p:txBody>
          </p:sp>
          <p:sp>
            <p:nvSpPr>
              <p:cNvPr id="345" name="矩形 186"/>
              <p:cNvSpPr>
                <a:spLocks noChangeArrowheads="1"/>
              </p:cNvSpPr>
              <p:nvPr/>
            </p:nvSpPr>
            <p:spPr bwMode="auto">
              <a:xfrm>
                <a:off x="0" y="624120"/>
                <a:ext cx="1104900" cy="58940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43" name="文本框 184"/>
            <p:cNvSpPr>
              <a:spLocks noChangeArrowheads="1"/>
            </p:cNvSpPr>
            <p:nvPr/>
          </p:nvSpPr>
          <p:spPr bwMode="auto">
            <a:xfrm>
              <a:off x="1795710" y="623408"/>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a:solidFill>
                    <a:schemeClr val="bg1"/>
                  </a:solidFill>
                  <a:latin typeface="Calibri" panose="020F0502020204030204" pitchFamily="34" charset="0"/>
                  <a:cs typeface="Calibri" panose="020F0502020204030204" pitchFamily="34" charset="0"/>
                  <a:sym typeface="Calibri" panose="020F0502020204030204" pitchFamily="34" charset="0"/>
                </a:rPr>
                <a:t>33%</a:t>
              </a:r>
              <a:endParaRPr lang="zh-CN" altLang="en-US" sz="3200" b="1">
                <a:solidFill>
                  <a:schemeClr val="bg1"/>
                </a:solidFill>
                <a:latin typeface="Calibri" panose="020F0502020204030204" pitchFamily="34" charset="0"/>
                <a:sym typeface="宋体" panose="02010600030101010101" pitchFamily="2" charset="-122"/>
              </a:endParaRPr>
            </a:p>
          </p:txBody>
        </p:sp>
      </p:grpSp>
      <p:sp>
        <p:nvSpPr>
          <p:cNvPr id="346" name="文本框 187"/>
          <p:cNvSpPr>
            <a:spLocks noChangeArrowheads="1"/>
          </p:cNvSpPr>
          <p:nvPr/>
        </p:nvSpPr>
        <p:spPr bwMode="auto">
          <a:xfrm>
            <a:off x="2054557" y="1569608"/>
            <a:ext cx="23034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chemeClr val="accent6"/>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chemeClr val="accent6"/>
              </a:solidFill>
              <a:latin typeface="Calibri" panose="020F0502020204030204" pitchFamily="34" charset="0"/>
              <a:sym typeface="宋体" panose="02010600030101010101" pitchFamily="2" charset="-122"/>
            </a:endParaRPr>
          </a:p>
        </p:txBody>
      </p:sp>
      <p:sp>
        <p:nvSpPr>
          <p:cNvPr id="347" name="文本框 188"/>
          <p:cNvSpPr>
            <a:spLocks noChangeArrowheads="1"/>
          </p:cNvSpPr>
          <p:nvPr/>
        </p:nvSpPr>
        <p:spPr bwMode="auto">
          <a:xfrm>
            <a:off x="1039805" y="3449208"/>
            <a:ext cx="23034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chemeClr val="accent2"/>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chemeClr val="accent2"/>
              </a:solidFill>
              <a:latin typeface="Calibri" panose="020F0502020204030204" pitchFamily="34" charset="0"/>
              <a:sym typeface="宋体" panose="02010600030101010101" pitchFamily="2" charset="-122"/>
            </a:endParaRPr>
          </a:p>
        </p:txBody>
      </p:sp>
      <p:sp>
        <p:nvSpPr>
          <p:cNvPr id="348" name="文本框 189"/>
          <p:cNvSpPr>
            <a:spLocks noChangeArrowheads="1"/>
          </p:cNvSpPr>
          <p:nvPr/>
        </p:nvSpPr>
        <p:spPr bwMode="auto">
          <a:xfrm>
            <a:off x="2054557" y="5079571"/>
            <a:ext cx="23034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chemeClr val="accent3"/>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chemeClr val="accent3"/>
              </a:solidFill>
              <a:latin typeface="Calibri" panose="020F0502020204030204" pitchFamily="34" charset="0"/>
              <a:sym typeface="宋体" panose="02010600030101010101" pitchFamily="2" charset="-122"/>
            </a:endParaRPr>
          </a:p>
        </p:txBody>
      </p:sp>
      <p:sp>
        <p:nvSpPr>
          <p:cNvPr id="349" name="文本框 190"/>
          <p:cNvSpPr>
            <a:spLocks noChangeArrowheads="1"/>
          </p:cNvSpPr>
          <p:nvPr/>
        </p:nvSpPr>
        <p:spPr bwMode="auto">
          <a:xfrm>
            <a:off x="7894970" y="5093858"/>
            <a:ext cx="23034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chemeClr val="accent1"/>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chemeClr val="accent1"/>
              </a:solidFill>
              <a:latin typeface="Calibri" panose="020F0502020204030204" pitchFamily="34" charset="0"/>
              <a:sym typeface="宋体" panose="02010600030101010101" pitchFamily="2" charset="-122"/>
            </a:endParaRPr>
          </a:p>
        </p:txBody>
      </p:sp>
      <p:sp>
        <p:nvSpPr>
          <p:cNvPr id="350" name="文本框 191"/>
          <p:cNvSpPr>
            <a:spLocks noChangeArrowheads="1"/>
          </p:cNvSpPr>
          <p:nvPr/>
        </p:nvSpPr>
        <p:spPr bwMode="auto">
          <a:xfrm>
            <a:off x="8848733" y="3449208"/>
            <a:ext cx="23034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rgbClr val="0097A9"/>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rgbClr val="0097A9"/>
              </a:solidFill>
              <a:latin typeface="Calibri" panose="020F0502020204030204" pitchFamily="34" charset="0"/>
              <a:sym typeface="宋体" panose="02010600030101010101" pitchFamily="2" charset="-122"/>
            </a:endParaRPr>
          </a:p>
        </p:txBody>
      </p:sp>
      <p:sp>
        <p:nvSpPr>
          <p:cNvPr id="351" name="文本框 192"/>
          <p:cNvSpPr>
            <a:spLocks noChangeArrowheads="1"/>
          </p:cNvSpPr>
          <p:nvPr/>
        </p:nvSpPr>
        <p:spPr bwMode="auto">
          <a:xfrm>
            <a:off x="7933070" y="1561671"/>
            <a:ext cx="23034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chemeClr val="accent4"/>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chemeClr val="accent4"/>
              </a:solidFill>
              <a:latin typeface="Calibri" panose="020F0502020204030204" pitchFamily="34" charset="0"/>
              <a:sym typeface="宋体" panose="02010600030101010101" pitchFamily="2" charset="-122"/>
            </a:endParaRPr>
          </a:p>
        </p:txBody>
      </p:sp>
    </p:spTree>
    <p:custDataLst>
      <p:tags r:id="rId1"/>
    </p:custDataLst>
    <p:extLst>
      <p:ext uri="{BB962C8B-B14F-4D97-AF65-F5344CB8AC3E}">
        <p14:creationId xmlns:p14="http://schemas.microsoft.com/office/powerpoint/2010/main" val="3482600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6" fill="hold" nodeType="afterEffect">
                                  <p:stCondLst>
                                    <p:cond delay="0"/>
                                  </p:stCondLst>
                                  <p:childTnLst>
                                    <p:set>
                                      <p:cBhvr>
                                        <p:cTn id="6" dur="1" fill="hold">
                                          <p:stCondLst>
                                            <p:cond delay="0"/>
                                          </p:stCondLst>
                                        </p:cTn>
                                        <p:tgtEl>
                                          <p:spTgt spid="304"/>
                                        </p:tgtEl>
                                        <p:attrNameLst>
                                          <p:attrName>style.visibility</p:attrName>
                                        </p:attrNameLst>
                                      </p:cBhvr>
                                      <p:to>
                                        <p:strVal val="visible"/>
                                      </p:to>
                                    </p:set>
                                    <p:anim calcmode="lin" valueType="num">
                                      <p:cBhvr>
                                        <p:cTn id="7" dur="500" fill="hold"/>
                                        <p:tgtEl>
                                          <p:spTgt spid="304"/>
                                        </p:tgtEl>
                                        <p:attrNameLst>
                                          <p:attrName>ppt_w</p:attrName>
                                        </p:attrNameLst>
                                      </p:cBhvr>
                                      <p:tavLst>
                                        <p:tav tm="0">
                                          <p:val>
                                            <p:strVal val="(6*min(max(#ppt_w*#ppt_h,.3),1)-7.4)/-.7*#ppt_w"/>
                                          </p:val>
                                        </p:tav>
                                        <p:tav tm="100000">
                                          <p:val>
                                            <p:strVal val="#ppt_w"/>
                                          </p:val>
                                        </p:tav>
                                      </p:tavLst>
                                    </p:anim>
                                    <p:anim calcmode="lin" valueType="num">
                                      <p:cBhvr>
                                        <p:cTn id="8" dur="500" fill="hold"/>
                                        <p:tgtEl>
                                          <p:spTgt spid="304"/>
                                        </p:tgtEl>
                                        <p:attrNameLst>
                                          <p:attrName>ppt_h</p:attrName>
                                        </p:attrNameLst>
                                      </p:cBhvr>
                                      <p:tavLst>
                                        <p:tav tm="0">
                                          <p:val>
                                            <p:strVal val="(6*min(max(#ppt_w*#ppt_h,.3),1)-7.4)/-.7*#ppt_h"/>
                                          </p:val>
                                        </p:tav>
                                        <p:tav tm="100000">
                                          <p:val>
                                            <p:strVal val="#ppt_h"/>
                                          </p:val>
                                        </p:tav>
                                      </p:tavLst>
                                    </p:anim>
                                    <p:anim calcmode="lin" valueType="num">
                                      <p:cBhvr>
                                        <p:cTn id="9" dur="500" fill="hold"/>
                                        <p:tgtEl>
                                          <p:spTgt spid="304"/>
                                        </p:tgtEl>
                                        <p:attrNameLst>
                                          <p:attrName>ppt_x</p:attrName>
                                        </p:attrNameLst>
                                      </p:cBhvr>
                                      <p:tavLst>
                                        <p:tav tm="0">
                                          <p:val>
                                            <p:fltVal val="0.5"/>
                                          </p:val>
                                        </p:tav>
                                        <p:tav tm="100000">
                                          <p:val>
                                            <p:strVal val="#ppt_x"/>
                                          </p:val>
                                        </p:tav>
                                      </p:tavLst>
                                    </p:anim>
                                    <p:anim calcmode="lin" valueType="num">
                                      <p:cBhvr>
                                        <p:cTn id="10" dur="500" fill="hold"/>
                                        <p:tgtEl>
                                          <p:spTgt spid="304"/>
                                        </p:tgtEl>
                                        <p:attrNameLst>
                                          <p:attrName>ppt_y</p:attrName>
                                        </p:attrNameLst>
                                      </p:cBhvr>
                                      <p:tavLst>
                                        <p:tav tm="0">
                                          <p:val>
                                            <p:strVal val="1+(6*min(max(#ppt_w*#ppt_h,.3),1)-7.4)/-.7*#ppt_h/2"/>
                                          </p:val>
                                        </p:tav>
                                        <p:tav tm="100000">
                                          <p:val>
                                            <p:strVal val="#ppt_y"/>
                                          </p:val>
                                        </p:tav>
                                      </p:tavLst>
                                    </p:anim>
                                  </p:childTnLst>
                                </p:cTn>
                              </p:par>
                              <p:par>
                                <p:cTn id="11" presetID="10" presetClass="entr" presetSubtype="0" fill="hold" grpId="0" nodeType="withEffect">
                                  <p:stCondLst>
                                    <p:cond delay="0"/>
                                  </p:stCondLst>
                                  <p:childTnLst>
                                    <p:set>
                                      <p:cBhvr>
                                        <p:cTn id="12" dur="1" fill="hold">
                                          <p:stCondLst>
                                            <p:cond delay="0"/>
                                          </p:stCondLst>
                                        </p:cTn>
                                        <p:tgtEl>
                                          <p:spTgt spid="310"/>
                                        </p:tgtEl>
                                        <p:attrNameLst>
                                          <p:attrName>style.visibility</p:attrName>
                                        </p:attrNameLst>
                                      </p:cBhvr>
                                      <p:to>
                                        <p:strVal val="visible"/>
                                      </p:to>
                                    </p:set>
                                    <p:anim calcmode="lin" valueType="num">
                                      <p:cBhvr>
                                        <p:cTn id="13" dur="500" fill="hold"/>
                                        <p:tgtEl>
                                          <p:spTgt spid="310"/>
                                        </p:tgtEl>
                                        <p:attrNameLst>
                                          <p:attrName>ppt_w</p:attrName>
                                        </p:attrNameLst>
                                      </p:cBhvr>
                                      <p:tavLst>
                                        <p:tav tm="0">
                                          <p:val>
                                            <p:fltVal val="0"/>
                                          </p:val>
                                        </p:tav>
                                        <p:tav tm="100000">
                                          <p:val>
                                            <p:strVal val="#ppt_w"/>
                                          </p:val>
                                        </p:tav>
                                      </p:tavLst>
                                    </p:anim>
                                    <p:anim calcmode="lin" valueType="num">
                                      <p:cBhvr>
                                        <p:cTn id="14" dur="500" fill="hold"/>
                                        <p:tgtEl>
                                          <p:spTgt spid="310"/>
                                        </p:tgtEl>
                                        <p:attrNameLst>
                                          <p:attrName>ppt_h</p:attrName>
                                        </p:attrNameLst>
                                      </p:cBhvr>
                                      <p:tavLst>
                                        <p:tav tm="0">
                                          <p:val>
                                            <p:fltVal val="0"/>
                                          </p:val>
                                        </p:tav>
                                        <p:tav tm="100000">
                                          <p:val>
                                            <p:strVal val="#ppt_h"/>
                                          </p:val>
                                        </p:tav>
                                      </p:tavLst>
                                    </p:anim>
                                    <p:animEffect filter="fade">
                                      <p:cBhvr>
                                        <p:cTn id="15" dur="500"/>
                                        <p:tgtEl>
                                          <p:spTgt spid="31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11"/>
                                        </p:tgtEl>
                                        <p:attrNameLst>
                                          <p:attrName>style.visibility</p:attrName>
                                        </p:attrNameLst>
                                      </p:cBhvr>
                                      <p:to>
                                        <p:strVal val="visible"/>
                                      </p:to>
                                    </p:set>
                                    <p:anim calcmode="lin" valueType="num">
                                      <p:cBhvr>
                                        <p:cTn id="18" dur="500" fill="hold"/>
                                        <p:tgtEl>
                                          <p:spTgt spid="311"/>
                                        </p:tgtEl>
                                        <p:attrNameLst>
                                          <p:attrName>ppt_w</p:attrName>
                                        </p:attrNameLst>
                                      </p:cBhvr>
                                      <p:tavLst>
                                        <p:tav tm="0">
                                          <p:val>
                                            <p:fltVal val="0"/>
                                          </p:val>
                                        </p:tav>
                                        <p:tav tm="100000">
                                          <p:val>
                                            <p:strVal val="#ppt_w"/>
                                          </p:val>
                                        </p:tav>
                                      </p:tavLst>
                                    </p:anim>
                                    <p:anim calcmode="lin" valueType="num">
                                      <p:cBhvr>
                                        <p:cTn id="19" dur="500" fill="hold"/>
                                        <p:tgtEl>
                                          <p:spTgt spid="311"/>
                                        </p:tgtEl>
                                        <p:attrNameLst>
                                          <p:attrName>ppt_h</p:attrName>
                                        </p:attrNameLst>
                                      </p:cBhvr>
                                      <p:tavLst>
                                        <p:tav tm="0">
                                          <p:val>
                                            <p:fltVal val="0"/>
                                          </p:val>
                                        </p:tav>
                                        <p:tav tm="100000">
                                          <p:val>
                                            <p:strVal val="#ppt_h"/>
                                          </p:val>
                                        </p:tav>
                                      </p:tavLst>
                                    </p:anim>
                                    <p:animEffect filter="fade">
                                      <p:cBhvr>
                                        <p:cTn id="20" dur="500"/>
                                        <p:tgtEl>
                                          <p:spTgt spid="31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12"/>
                                        </p:tgtEl>
                                        <p:attrNameLst>
                                          <p:attrName>style.visibility</p:attrName>
                                        </p:attrNameLst>
                                      </p:cBhvr>
                                      <p:to>
                                        <p:strVal val="visible"/>
                                      </p:to>
                                    </p:set>
                                    <p:anim calcmode="lin" valueType="num">
                                      <p:cBhvr>
                                        <p:cTn id="23" dur="500" fill="hold"/>
                                        <p:tgtEl>
                                          <p:spTgt spid="312"/>
                                        </p:tgtEl>
                                        <p:attrNameLst>
                                          <p:attrName>ppt_w</p:attrName>
                                        </p:attrNameLst>
                                      </p:cBhvr>
                                      <p:tavLst>
                                        <p:tav tm="0">
                                          <p:val>
                                            <p:fltVal val="0"/>
                                          </p:val>
                                        </p:tav>
                                        <p:tav tm="100000">
                                          <p:val>
                                            <p:strVal val="#ppt_w"/>
                                          </p:val>
                                        </p:tav>
                                      </p:tavLst>
                                    </p:anim>
                                    <p:anim calcmode="lin" valueType="num">
                                      <p:cBhvr>
                                        <p:cTn id="24" dur="500" fill="hold"/>
                                        <p:tgtEl>
                                          <p:spTgt spid="312"/>
                                        </p:tgtEl>
                                        <p:attrNameLst>
                                          <p:attrName>ppt_h</p:attrName>
                                        </p:attrNameLst>
                                      </p:cBhvr>
                                      <p:tavLst>
                                        <p:tav tm="0">
                                          <p:val>
                                            <p:fltVal val="0"/>
                                          </p:val>
                                        </p:tav>
                                        <p:tav tm="100000">
                                          <p:val>
                                            <p:strVal val="#ppt_h"/>
                                          </p:val>
                                        </p:tav>
                                      </p:tavLst>
                                    </p:anim>
                                    <p:animEffect filter="fade">
                                      <p:cBhvr>
                                        <p:cTn id="25" dur="500"/>
                                        <p:tgtEl>
                                          <p:spTgt spid="3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13"/>
                                        </p:tgtEl>
                                        <p:attrNameLst>
                                          <p:attrName>style.visibility</p:attrName>
                                        </p:attrNameLst>
                                      </p:cBhvr>
                                      <p:to>
                                        <p:strVal val="visible"/>
                                      </p:to>
                                    </p:set>
                                    <p:anim calcmode="lin" valueType="num">
                                      <p:cBhvr>
                                        <p:cTn id="28" dur="500" fill="hold"/>
                                        <p:tgtEl>
                                          <p:spTgt spid="313"/>
                                        </p:tgtEl>
                                        <p:attrNameLst>
                                          <p:attrName>ppt_w</p:attrName>
                                        </p:attrNameLst>
                                      </p:cBhvr>
                                      <p:tavLst>
                                        <p:tav tm="0">
                                          <p:val>
                                            <p:fltVal val="0"/>
                                          </p:val>
                                        </p:tav>
                                        <p:tav tm="100000">
                                          <p:val>
                                            <p:strVal val="#ppt_w"/>
                                          </p:val>
                                        </p:tav>
                                      </p:tavLst>
                                    </p:anim>
                                    <p:anim calcmode="lin" valueType="num">
                                      <p:cBhvr>
                                        <p:cTn id="29" dur="500" fill="hold"/>
                                        <p:tgtEl>
                                          <p:spTgt spid="313"/>
                                        </p:tgtEl>
                                        <p:attrNameLst>
                                          <p:attrName>ppt_h</p:attrName>
                                        </p:attrNameLst>
                                      </p:cBhvr>
                                      <p:tavLst>
                                        <p:tav tm="0">
                                          <p:val>
                                            <p:fltVal val="0"/>
                                          </p:val>
                                        </p:tav>
                                        <p:tav tm="100000">
                                          <p:val>
                                            <p:strVal val="#ppt_h"/>
                                          </p:val>
                                        </p:tav>
                                      </p:tavLst>
                                    </p:anim>
                                    <p:animEffect filter="fade">
                                      <p:cBhvr>
                                        <p:cTn id="30" dur="500"/>
                                        <p:tgtEl>
                                          <p:spTgt spid="31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15"/>
                                        </p:tgtEl>
                                        <p:attrNameLst>
                                          <p:attrName>style.visibility</p:attrName>
                                        </p:attrNameLst>
                                      </p:cBhvr>
                                      <p:to>
                                        <p:strVal val="visible"/>
                                      </p:to>
                                    </p:set>
                                    <p:anim calcmode="lin" valueType="num">
                                      <p:cBhvr>
                                        <p:cTn id="33" dur="500" fill="hold"/>
                                        <p:tgtEl>
                                          <p:spTgt spid="315"/>
                                        </p:tgtEl>
                                        <p:attrNameLst>
                                          <p:attrName>ppt_w</p:attrName>
                                        </p:attrNameLst>
                                      </p:cBhvr>
                                      <p:tavLst>
                                        <p:tav tm="0">
                                          <p:val>
                                            <p:fltVal val="0"/>
                                          </p:val>
                                        </p:tav>
                                        <p:tav tm="100000">
                                          <p:val>
                                            <p:strVal val="#ppt_w"/>
                                          </p:val>
                                        </p:tav>
                                      </p:tavLst>
                                    </p:anim>
                                    <p:anim calcmode="lin" valueType="num">
                                      <p:cBhvr>
                                        <p:cTn id="34" dur="500" fill="hold"/>
                                        <p:tgtEl>
                                          <p:spTgt spid="315"/>
                                        </p:tgtEl>
                                        <p:attrNameLst>
                                          <p:attrName>ppt_h</p:attrName>
                                        </p:attrNameLst>
                                      </p:cBhvr>
                                      <p:tavLst>
                                        <p:tav tm="0">
                                          <p:val>
                                            <p:fltVal val="0"/>
                                          </p:val>
                                        </p:tav>
                                        <p:tav tm="100000">
                                          <p:val>
                                            <p:strVal val="#ppt_h"/>
                                          </p:val>
                                        </p:tav>
                                      </p:tavLst>
                                    </p:anim>
                                    <p:animEffect filter="fade">
                                      <p:cBhvr>
                                        <p:cTn id="35" dur="500"/>
                                        <p:tgtEl>
                                          <p:spTgt spid="31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14"/>
                                        </p:tgtEl>
                                        <p:attrNameLst>
                                          <p:attrName>style.visibility</p:attrName>
                                        </p:attrNameLst>
                                      </p:cBhvr>
                                      <p:to>
                                        <p:strVal val="visible"/>
                                      </p:to>
                                    </p:set>
                                    <p:anim calcmode="lin" valueType="num">
                                      <p:cBhvr>
                                        <p:cTn id="38" dur="500" fill="hold"/>
                                        <p:tgtEl>
                                          <p:spTgt spid="314"/>
                                        </p:tgtEl>
                                        <p:attrNameLst>
                                          <p:attrName>ppt_w</p:attrName>
                                        </p:attrNameLst>
                                      </p:cBhvr>
                                      <p:tavLst>
                                        <p:tav tm="0">
                                          <p:val>
                                            <p:fltVal val="0"/>
                                          </p:val>
                                        </p:tav>
                                        <p:tav tm="100000">
                                          <p:val>
                                            <p:strVal val="#ppt_w"/>
                                          </p:val>
                                        </p:tav>
                                      </p:tavLst>
                                    </p:anim>
                                    <p:anim calcmode="lin" valueType="num">
                                      <p:cBhvr>
                                        <p:cTn id="39" dur="500" fill="hold"/>
                                        <p:tgtEl>
                                          <p:spTgt spid="314"/>
                                        </p:tgtEl>
                                        <p:attrNameLst>
                                          <p:attrName>ppt_h</p:attrName>
                                        </p:attrNameLst>
                                      </p:cBhvr>
                                      <p:tavLst>
                                        <p:tav tm="0">
                                          <p:val>
                                            <p:fltVal val="0"/>
                                          </p:val>
                                        </p:tav>
                                        <p:tav tm="100000">
                                          <p:val>
                                            <p:strVal val="#ppt_h"/>
                                          </p:val>
                                        </p:tav>
                                      </p:tavLst>
                                    </p:anim>
                                    <p:animEffect filter="fade">
                                      <p:cBhvr>
                                        <p:cTn id="40" dur="500"/>
                                        <p:tgtEl>
                                          <p:spTgt spid="314"/>
                                        </p:tgtEl>
                                      </p:cBhvr>
                                    </p:animEffect>
                                  </p:childTnLst>
                                </p:cTn>
                              </p:par>
                            </p:childTnLst>
                          </p:cTn>
                        </p:par>
                        <p:par>
                          <p:cTn id="41" fill="hold">
                            <p:stCondLst>
                              <p:cond delay="500"/>
                            </p:stCondLst>
                            <p:childTnLst>
                              <p:par>
                                <p:cTn id="42" presetID="22" presetClass="entr" presetSubtype="8" fill="hold" nodeType="afterEffect">
                                  <p:stCondLst>
                                    <p:cond delay="0"/>
                                  </p:stCondLst>
                                  <p:childTnLst>
                                    <p:set>
                                      <p:cBhvr>
                                        <p:cTn id="43" dur="1" fill="hold">
                                          <p:stCondLst>
                                            <p:cond delay="0"/>
                                          </p:stCondLst>
                                        </p:cTn>
                                        <p:tgtEl>
                                          <p:spTgt spid="331"/>
                                        </p:tgtEl>
                                        <p:attrNameLst>
                                          <p:attrName>style.visibility</p:attrName>
                                        </p:attrNameLst>
                                      </p:cBhvr>
                                      <p:to>
                                        <p:strVal val="visible"/>
                                      </p:to>
                                    </p:set>
                                    <p:animEffect filter="wipe(left)">
                                      <p:cBhvr>
                                        <p:cTn id="44" dur="500"/>
                                        <p:tgtEl>
                                          <p:spTgt spid="331"/>
                                        </p:tgtEl>
                                      </p:cBhvr>
                                    </p:animEffect>
                                  </p:childTnLst>
                                </p:cTn>
                              </p:par>
                              <p:par>
                                <p:cTn id="45" presetID="22" presetClass="entr" presetSubtype="8" fill="hold" nodeType="withEffect">
                                  <p:stCondLst>
                                    <p:cond delay="0"/>
                                  </p:stCondLst>
                                  <p:childTnLst>
                                    <p:set>
                                      <p:cBhvr>
                                        <p:cTn id="46" dur="1" fill="hold">
                                          <p:stCondLst>
                                            <p:cond delay="0"/>
                                          </p:stCondLst>
                                        </p:cTn>
                                        <p:tgtEl>
                                          <p:spTgt spid="336"/>
                                        </p:tgtEl>
                                        <p:attrNameLst>
                                          <p:attrName>style.visibility</p:attrName>
                                        </p:attrNameLst>
                                      </p:cBhvr>
                                      <p:to>
                                        <p:strVal val="visible"/>
                                      </p:to>
                                    </p:set>
                                    <p:animEffect filter="wipe(left)">
                                      <p:cBhvr>
                                        <p:cTn id="47" dur="500"/>
                                        <p:tgtEl>
                                          <p:spTgt spid="336"/>
                                        </p:tgtEl>
                                      </p:cBhvr>
                                    </p:animEffect>
                                  </p:childTnLst>
                                </p:cTn>
                              </p:par>
                              <p:par>
                                <p:cTn id="48" presetID="22" presetClass="entr" presetSubtype="8" fill="hold" nodeType="withEffect">
                                  <p:stCondLst>
                                    <p:cond delay="0"/>
                                  </p:stCondLst>
                                  <p:childTnLst>
                                    <p:set>
                                      <p:cBhvr>
                                        <p:cTn id="49" dur="1" fill="hold">
                                          <p:stCondLst>
                                            <p:cond delay="0"/>
                                          </p:stCondLst>
                                        </p:cTn>
                                        <p:tgtEl>
                                          <p:spTgt spid="341"/>
                                        </p:tgtEl>
                                        <p:attrNameLst>
                                          <p:attrName>style.visibility</p:attrName>
                                        </p:attrNameLst>
                                      </p:cBhvr>
                                      <p:to>
                                        <p:strVal val="visible"/>
                                      </p:to>
                                    </p:set>
                                    <p:animEffect filter="wipe(left)">
                                      <p:cBhvr>
                                        <p:cTn id="50" dur="500"/>
                                        <p:tgtEl>
                                          <p:spTgt spid="341"/>
                                        </p:tgtEl>
                                      </p:cBhvr>
                                    </p:animEffect>
                                  </p:childTnLst>
                                </p:cTn>
                              </p:par>
                              <p:par>
                                <p:cTn id="51" presetID="22" presetClass="entr" presetSubtype="2" fill="hold" nodeType="withEffect">
                                  <p:stCondLst>
                                    <p:cond delay="0"/>
                                  </p:stCondLst>
                                  <p:childTnLst>
                                    <p:set>
                                      <p:cBhvr>
                                        <p:cTn id="52" dur="1" fill="hold">
                                          <p:stCondLst>
                                            <p:cond delay="0"/>
                                          </p:stCondLst>
                                        </p:cTn>
                                        <p:tgtEl>
                                          <p:spTgt spid="321"/>
                                        </p:tgtEl>
                                        <p:attrNameLst>
                                          <p:attrName>style.visibility</p:attrName>
                                        </p:attrNameLst>
                                      </p:cBhvr>
                                      <p:to>
                                        <p:strVal val="visible"/>
                                      </p:to>
                                    </p:set>
                                    <p:animEffect filter="wipe(right)">
                                      <p:cBhvr>
                                        <p:cTn id="53" dur="500"/>
                                        <p:tgtEl>
                                          <p:spTgt spid="321"/>
                                        </p:tgtEl>
                                      </p:cBhvr>
                                    </p:animEffect>
                                  </p:childTnLst>
                                </p:cTn>
                              </p:par>
                              <p:par>
                                <p:cTn id="54" presetID="22" presetClass="entr" presetSubtype="2" fill="hold" nodeType="withEffect">
                                  <p:stCondLst>
                                    <p:cond delay="0"/>
                                  </p:stCondLst>
                                  <p:childTnLst>
                                    <p:set>
                                      <p:cBhvr>
                                        <p:cTn id="55" dur="1" fill="hold">
                                          <p:stCondLst>
                                            <p:cond delay="0"/>
                                          </p:stCondLst>
                                        </p:cTn>
                                        <p:tgtEl>
                                          <p:spTgt spid="326"/>
                                        </p:tgtEl>
                                        <p:attrNameLst>
                                          <p:attrName>style.visibility</p:attrName>
                                        </p:attrNameLst>
                                      </p:cBhvr>
                                      <p:to>
                                        <p:strVal val="visible"/>
                                      </p:to>
                                    </p:set>
                                    <p:animEffect filter="wipe(right)">
                                      <p:cBhvr>
                                        <p:cTn id="56" dur="500"/>
                                        <p:tgtEl>
                                          <p:spTgt spid="326"/>
                                        </p:tgtEl>
                                      </p:cBhvr>
                                    </p:animEffect>
                                  </p:childTnLst>
                                </p:cTn>
                              </p:par>
                              <p:par>
                                <p:cTn id="57" presetID="22" presetClass="entr" presetSubtype="2" fill="hold" nodeType="withEffect">
                                  <p:stCondLst>
                                    <p:cond delay="0"/>
                                  </p:stCondLst>
                                  <p:childTnLst>
                                    <p:set>
                                      <p:cBhvr>
                                        <p:cTn id="58" dur="1" fill="hold">
                                          <p:stCondLst>
                                            <p:cond delay="0"/>
                                          </p:stCondLst>
                                        </p:cTn>
                                        <p:tgtEl>
                                          <p:spTgt spid="316"/>
                                        </p:tgtEl>
                                        <p:attrNameLst>
                                          <p:attrName>style.visibility</p:attrName>
                                        </p:attrNameLst>
                                      </p:cBhvr>
                                      <p:to>
                                        <p:strVal val="visible"/>
                                      </p:to>
                                    </p:set>
                                    <p:animEffect filter="wipe(right)">
                                      <p:cBhvr>
                                        <p:cTn id="59" dur="500"/>
                                        <p:tgtEl>
                                          <p:spTgt spid="316"/>
                                        </p:tgtEl>
                                      </p:cBhvr>
                                    </p:animEffect>
                                  </p:childTnLst>
                                </p:cTn>
                              </p:par>
                            </p:childTnLst>
                          </p:cTn>
                        </p:par>
                        <p:par>
                          <p:cTn id="60" fill="hold">
                            <p:stCondLst>
                              <p:cond delay="1000"/>
                            </p:stCondLst>
                            <p:childTnLst>
                              <p:par>
                                <p:cTn id="61" presetID="12" presetClass="entr" presetSubtype="1" fill="hold" grpId="0" nodeType="afterEffect">
                                  <p:stCondLst>
                                    <p:cond delay="0"/>
                                  </p:stCondLst>
                                  <p:childTnLst>
                                    <p:set>
                                      <p:cBhvr>
                                        <p:cTn id="62" dur="1" fill="hold">
                                          <p:stCondLst>
                                            <p:cond delay="0"/>
                                          </p:stCondLst>
                                        </p:cTn>
                                        <p:tgtEl>
                                          <p:spTgt spid="351"/>
                                        </p:tgtEl>
                                        <p:attrNameLst>
                                          <p:attrName>style.visibility</p:attrName>
                                        </p:attrNameLst>
                                      </p:cBhvr>
                                      <p:to>
                                        <p:strVal val="visible"/>
                                      </p:to>
                                    </p:set>
                                    <p:anim calcmode="lin" valueType="num">
                                      <p:cBhvr>
                                        <p:cTn id="63" dur="500"/>
                                        <p:tgtEl>
                                          <p:spTgt spid="351"/>
                                        </p:tgtEl>
                                        <p:attrNameLst>
                                          <p:attrName>ppt_y</p:attrName>
                                        </p:attrNameLst>
                                      </p:cBhvr>
                                      <p:tavLst>
                                        <p:tav tm="0">
                                          <p:val>
                                            <p:strVal val="#ppt_y-#ppt_h*1.125000"/>
                                          </p:val>
                                        </p:tav>
                                        <p:tav tm="100000">
                                          <p:val>
                                            <p:strVal val="#ppt_y"/>
                                          </p:val>
                                        </p:tav>
                                      </p:tavLst>
                                    </p:anim>
                                    <p:animEffect filter="wipe(down)">
                                      <p:cBhvr>
                                        <p:cTn id="64" dur="500"/>
                                        <p:tgtEl>
                                          <p:spTgt spid="351"/>
                                        </p:tgtEl>
                                      </p:cBhvr>
                                    </p:animEffect>
                                  </p:childTnLst>
                                </p:cTn>
                              </p:par>
                              <p:par>
                                <p:cTn id="65" presetID="12" presetClass="entr" presetSubtype="1" fill="hold" grpId="0" nodeType="withEffect">
                                  <p:stCondLst>
                                    <p:cond delay="0"/>
                                  </p:stCondLst>
                                  <p:childTnLst>
                                    <p:set>
                                      <p:cBhvr>
                                        <p:cTn id="66" dur="1" fill="hold">
                                          <p:stCondLst>
                                            <p:cond delay="0"/>
                                          </p:stCondLst>
                                        </p:cTn>
                                        <p:tgtEl>
                                          <p:spTgt spid="346"/>
                                        </p:tgtEl>
                                        <p:attrNameLst>
                                          <p:attrName>style.visibility</p:attrName>
                                        </p:attrNameLst>
                                      </p:cBhvr>
                                      <p:to>
                                        <p:strVal val="visible"/>
                                      </p:to>
                                    </p:set>
                                    <p:anim calcmode="lin" valueType="num">
                                      <p:cBhvr>
                                        <p:cTn id="67" dur="500"/>
                                        <p:tgtEl>
                                          <p:spTgt spid="346"/>
                                        </p:tgtEl>
                                        <p:attrNameLst>
                                          <p:attrName>ppt_y</p:attrName>
                                        </p:attrNameLst>
                                      </p:cBhvr>
                                      <p:tavLst>
                                        <p:tav tm="0">
                                          <p:val>
                                            <p:strVal val="#ppt_y-#ppt_h*1.125000"/>
                                          </p:val>
                                        </p:tav>
                                        <p:tav tm="100000">
                                          <p:val>
                                            <p:strVal val="#ppt_y"/>
                                          </p:val>
                                        </p:tav>
                                      </p:tavLst>
                                    </p:anim>
                                    <p:animEffect filter="wipe(down)">
                                      <p:cBhvr>
                                        <p:cTn id="68" dur="500"/>
                                        <p:tgtEl>
                                          <p:spTgt spid="346"/>
                                        </p:tgtEl>
                                      </p:cBhvr>
                                    </p:animEffect>
                                  </p:childTnLst>
                                </p:cTn>
                              </p:par>
                              <p:par>
                                <p:cTn id="69" presetID="12" presetClass="entr" presetSubtype="1" fill="hold" grpId="0" nodeType="withEffect">
                                  <p:stCondLst>
                                    <p:cond delay="0"/>
                                  </p:stCondLst>
                                  <p:childTnLst>
                                    <p:set>
                                      <p:cBhvr>
                                        <p:cTn id="70" dur="1" fill="hold">
                                          <p:stCondLst>
                                            <p:cond delay="0"/>
                                          </p:stCondLst>
                                        </p:cTn>
                                        <p:tgtEl>
                                          <p:spTgt spid="347"/>
                                        </p:tgtEl>
                                        <p:attrNameLst>
                                          <p:attrName>style.visibility</p:attrName>
                                        </p:attrNameLst>
                                      </p:cBhvr>
                                      <p:to>
                                        <p:strVal val="visible"/>
                                      </p:to>
                                    </p:set>
                                    <p:anim calcmode="lin" valueType="num">
                                      <p:cBhvr>
                                        <p:cTn id="71" dur="500"/>
                                        <p:tgtEl>
                                          <p:spTgt spid="347"/>
                                        </p:tgtEl>
                                        <p:attrNameLst>
                                          <p:attrName>ppt_y</p:attrName>
                                        </p:attrNameLst>
                                      </p:cBhvr>
                                      <p:tavLst>
                                        <p:tav tm="0">
                                          <p:val>
                                            <p:strVal val="#ppt_y-#ppt_h*1.125000"/>
                                          </p:val>
                                        </p:tav>
                                        <p:tav tm="100000">
                                          <p:val>
                                            <p:strVal val="#ppt_y"/>
                                          </p:val>
                                        </p:tav>
                                      </p:tavLst>
                                    </p:anim>
                                    <p:animEffect filter="wipe(down)">
                                      <p:cBhvr>
                                        <p:cTn id="72" dur="500"/>
                                        <p:tgtEl>
                                          <p:spTgt spid="347"/>
                                        </p:tgtEl>
                                      </p:cBhvr>
                                    </p:animEffect>
                                  </p:childTnLst>
                                </p:cTn>
                              </p:par>
                              <p:par>
                                <p:cTn id="73" presetID="12" presetClass="entr" presetSubtype="1" fill="hold" grpId="0" nodeType="withEffect">
                                  <p:stCondLst>
                                    <p:cond delay="0"/>
                                  </p:stCondLst>
                                  <p:childTnLst>
                                    <p:set>
                                      <p:cBhvr>
                                        <p:cTn id="74" dur="1" fill="hold">
                                          <p:stCondLst>
                                            <p:cond delay="0"/>
                                          </p:stCondLst>
                                        </p:cTn>
                                        <p:tgtEl>
                                          <p:spTgt spid="350"/>
                                        </p:tgtEl>
                                        <p:attrNameLst>
                                          <p:attrName>style.visibility</p:attrName>
                                        </p:attrNameLst>
                                      </p:cBhvr>
                                      <p:to>
                                        <p:strVal val="visible"/>
                                      </p:to>
                                    </p:set>
                                    <p:anim calcmode="lin" valueType="num">
                                      <p:cBhvr>
                                        <p:cTn id="75" dur="500"/>
                                        <p:tgtEl>
                                          <p:spTgt spid="350"/>
                                        </p:tgtEl>
                                        <p:attrNameLst>
                                          <p:attrName>ppt_y</p:attrName>
                                        </p:attrNameLst>
                                      </p:cBhvr>
                                      <p:tavLst>
                                        <p:tav tm="0">
                                          <p:val>
                                            <p:strVal val="#ppt_y-#ppt_h*1.125000"/>
                                          </p:val>
                                        </p:tav>
                                        <p:tav tm="100000">
                                          <p:val>
                                            <p:strVal val="#ppt_y"/>
                                          </p:val>
                                        </p:tav>
                                      </p:tavLst>
                                    </p:anim>
                                    <p:animEffect filter="wipe(down)">
                                      <p:cBhvr>
                                        <p:cTn id="76" dur="500"/>
                                        <p:tgtEl>
                                          <p:spTgt spid="350"/>
                                        </p:tgtEl>
                                      </p:cBhvr>
                                    </p:animEffect>
                                  </p:childTnLst>
                                </p:cTn>
                              </p:par>
                              <p:par>
                                <p:cTn id="77" presetID="12" presetClass="entr" presetSubtype="1" fill="hold" grpId="0" nodeType="withEffect">
                                  <p:stCondLst>
                                    <p:cond delay="0"/>
                                  </p:stCondLst>
                                  <p:childTnLst>
                                    <p:set>
                                      <p:cBhvr>
                                        <p:cTn id="78" dur="1" fill="hold">
                                          <p:stCondLst>
                                            <p:cond delay="0"/>
                                          </p:stCondLst>
                                        </p:cTn>
                                        <p:tgtEl>
                                          <p:spTgt spid="349"/>
                                        </p:tgtEl>
                                        <p:attrNameLst>
                                          <p:attrName>style.visibility</p:attrName>
                                        </p:attrNameLst>
                                      </p:cBhvr>
                                      <p:to>
                                        <p:strVal val="visible"/>
                                      </p:to>
                                    </p:set>
                                    <p:anim calcmode="lin" valueType="num">
                                      <p:cBhvr>
                                        <p:cTn id="79" dur="500"/>
                                        <p:tgtEl>
                                          <p:spTgt spid="349"/>
                                        </p:tgtEl>
                                        <p:attrNameLst>
                                          <p:attrName>ppt_y</p:attrName>
                                        </p:attrNameLst>
                                      </p:cBhvr>
                                      <p:tavLst>
                                        <p:tav tm="0">
                                          <p:val>
                                            <p:strVal val="#ppt_y-#ppt_h*1.125000"/>
                                          </p:val>
                                        </p:tav>
                                        <p:tav tm="100000">
                                          <p:val>
                                            <p:strVal val="#ppt_y"/>
                                          </p:val>
                                        </p:tav>
                                      </p:tavLst>
                                    </p:anim>
                                    <p:animEffect filter="wipe(down)">
                                      <p:cBhvr>
                                        <p:cTn id="80" dur="500"/>
                                        <p:tgtEl>
                                          <p:spTgt spid="349"/>
                                        </p:tgtEl>
                                      </p:cBhvr>
                                    </p:animEffect>
                                  </p:childTnLst>
                                </p:cTn>
                              </p:par>
                              <p:par>
                                <p:cTn id="81" presetID="12" presetClass="entr" presetSubtype="1" fill="hold" grpId="0" nodeType="withEffect">
                                  <p:stCondLst>
                                    <p:cond delay="0"/>
                                  </p:stCondLst>
                                  <p:childTnLst>
                                    <p:set>
                                      <p:cBhvr>
                                        <p:cTn id="82" dur="1" fill="hold">
                                          <p:stCondLst>
                                            <p:cond delay="0"/>
                                          </p:stCondLst>
                                        </p:cTn>
                                        <p:tgtEl>
                                          <p:spTgt spid="348"/>
                                        </p:tgtEl>
                                        <p:attrNameLst>
                                          <p:attrName>style.visibility</p:attrName>
                                        </p:attrNameLst>
                                      </p:cBhvr>
                                      <p:to>
                                        <p:strVal val="visible"/>
                                      </p:to>
                                    </p:set>
                                    <p:anim calcmode="lin" valueType="num">
                                      <p:cBhvr>
                                        <p:cTn id="83" dur="500"/>
                                        <p:tgtEl>
                                          <p:spTgt spid="348"/>
                                        </p:tgtEl>
                                        <p:attrNameLst>
                                          <p:attrName>ppt_y</p:attrName>
                                        </p:attrNameLst>
                                      </p:cBhvr>
                                      <p:tavLst>
                                        <p:tav tm="0">
                                          <p:val>
                                            <p:strVal val="#ppt_y-#ppt_h*1.125000"/>
                                          </p:val>
                                        </p:tav>
                                        <p:tav tm="100000">
                                          <p:val>
                                            <p:strVal val="#ppt_y"/>
                                          </p:val>
                                        </p:tav>
                                      </p:tavLst>
                                    </p:anim>
                                    <p:animEffect filter="wipe(down)">
                                      <p:cBhvr>
                                        <p:cTn id="84" dur="500"/>
                                        <p:tgtEl>
                                          <p:spTgt spid="3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0" grpId="0" bldLvl="0" animBg="1"/>
      <p:bldP spid="311" grpId="0" bldLvl="0" animBg="1"/>
      <p:bldP spid="312" grpId="0" bldLvl="0" animBg="1"/>
      <p:bldP spid="313" grpId="0" bldLvl="0" animBg="1"/>
      <p:bldP spid="314" grpId="0" bldLvl="0" animBg="1"/>
      <p:bldP spid="315" grpId="0" bldLvl="0" animBg="1"/>
      <p:bldP spid="346" grpId="0" bldLvl="0"/>
      <p:bldP spid="347" grpId="0" bldLvl="0"/>
      <p:bldP spid="348" grpId="0" bldLvl="0"/>
      <p:bldP spid="349" grpId="0" bldLvl="0"/>
      <p:bldP spid="350" grpId="0" bldLvl="0"/>
      <p:bldP spid="351" grpId="0" bldLvl="0"/>
    </p:bld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Freeform 17">
            <a:extLst>
              <a:ext uri="{FF2B5EF4-FFF2-40B4-BE49-F238E27FC236}">
                <a16:creationId xmlns:a16="http://schemas.microsoft.com/office/drawing/2014/main" id="{FD94740C-1546-49C6-BB88-F28816D9DA09}"/>
              </a:ext>
            </a:extLst>
          </p:cNvPr>
          <p:cNvSpPr>
            <a:spLocks/>
          </p:cNvSpPr>
          <p:nvPr/>
        </p:nvSpPr>
        <p:spPr bwMode="auto">
          <a:xfrm flipH="1" flipV="1">
            <a:off x="6116948" y="3722436"/>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102" name="Freeform 17">
            <a:extLst>
              <a:ext uri="{FF2B5EF4-FFF2-40B4-BE49-F238E27FC236}">
                <a16:creationId xmlns:a16="http://schemas.microsoft.com/office/drawing/2014/main" id="{D1475B24-BEB9-4CD7-82CE-2CF25C49D425}"/>
              </a:ext>
            </a:extLst>
          </p:cNvPr>
          <p:cNvSpPr>
            <a:spLocks/>
          </p:cNvSpPr>
          <p:nvPr/>
        </p:nvSpPr>
        <p:spPr bwMode="auto">
          <a:xfrm rot="2751159">
            <a:off x="4727560" y="1484964"/>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103" name="Freeform 17">
            <a:extLst>
              <a:ext uri="{FF2B5EF4-FFF2-40B4-BE49-F238E27FC236}">
                <a16:creationId xmlns:a16="http://schemas.microsoft.com/office/drawing/2014/main" id="{93DA456A-A3A4-4EFF-AE0E-30FB484717F4}"/>
              </a:ext>
            </a:extLst>
          </p:cNvPr>
          <p:cNvSpPr>
            <a:spLocks/>
          </p:cNvSpPr>
          <p:nvPr/>
        </p:nvSpPr>
        <p:spPr bwMode="auto">
          <a:xfrm rot="18848841" flipH="1">
            <a:off x="5183147" y="1493891"/>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101" name="Freeform 17">
            <a:extLst>
              <a:ext uri="{FF2B5EF4-FFF2-40B4-BE49-F238E27FC236}">
                <a16:creationId xmlns:a16="http://schemas.microsoft.com/office/drawing/2014/main" id="{B4D0D6FD-A778-4FD6-A7DD-5A79D1002524}"/>
              </a:ext>
            </a:extLst>
          </p:cNvPr>
          <p:cNvSpPr>
            <a:spLocks/>
          </p:cNvSpPr>
          <p:nvPr/>
        </p:nvSpPr>
        <p:spPr bwMode="auto">
          <a:xfrm flipV="1">
            <a:off x="3787423" y="3713281"/>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rgbClr val="C4D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99" name="Freeform 17">
            <a:extLst>
              <a:ext uri="{FF2B5EF4-FFF2-40B4-BE49-F238E27FC236}">
                <a16:creationId xmlns:a16="http://schemas.microsoft.com/office/drawing/2014/main" id="{B1503AE6-0BE0-4639-8B8D-F623F0C19408}"/>
              </a:ext>
            </a:extLst>
          </p:cNvPr>
          <p:cNvSpPr>
            <a:spLocks/>
          </p:cNvSpPr>
          <p:nvPr/>
        </p:nvSpPr>
        <p:spPr bwMode="auto">
          <a:xfrm>
            <a:off x="3793551" y="2052474"/>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100" name="Freeform 17">
            <a:extLst>
              <a:ext uri="{FF2B5EF4-FFF2-40B4-BE49-F238E27FC236}">
                <a16:creationId xmlns:a16="http://schemas.microsoft.com/office/drawing/2014/main" id="{8EB87AAD-F7D5-49E4-843B-5039C8D1BA6F}"/>
              </a:ext>
            </a:extLst>
          </p:cNvPr>
          <p:cNvSpPr>
            <a:spLocks/>
          </p:cNvSpPr>
          <p:nvPr/>
        </p:nvSpPr>
        <p:spPr bwMode="auto">
          <a:xfrm flipH="1">
            <a:off x="6112042" y="2052474"/>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108" name="Oval 107">
            <a:extLst>
              <a:ext uri="{FF2B5EF4-FFF2-40B4-BE49-F238E27FC236}">
                <a16:creationId xmlns:a16="http://schemas.microsoft.com/office/drawing/2014/main" id="{C25EBD95-6FD0-EB46-B057-68B81D1772C0}"/>
              </a:ext>
            </a:extLst>
          </p:cNvPr>
          <p:cNvSpPr/>
          <p:nvPr/>
        </p:nvSpPr>
        <p:spPr bwMode="gray">
          <a:xfrm>
            <a:off x="4580238" y="2217884"/>
            <a:ext cx="3047982" cy="3047981"/>
          </a:xfrm>
          <a:prstGeom prst="ellipse">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900" b="1" dirty="0">
              <a:solidFill>
                <a:schemeClr val="bg1"/>
              </a:solidFill>
            </a:endParaRPr>
          </a:p>
        </p:txBody>
      </p:sp>
      <p:sp>
        <p:nvSpPr>
          <p:cNvPr id="110" name="Rectangle 109">
            <a:extLst>
              <a:ext uri="{FF2B5EF4-FFF2-40B4-BE49-F238E27FC236}">
                <a16:creationId xmlns:a16="http://schemas.microsoft.com/office/drawing/2014/main" id="{30B4C240-C0CB-5C4D-BA6E-11A27FCAADA6}"/>
              </a:ext>
            </a:extLst>
          </p:cNvPr>
          <p:cNvSpPr/>
          <p:nvPr/>
        </p:nvSpPr>
        <p:spPr>
          <a:xfrm>
            <a:off x="1043647" y="1603011"/>
            <a:ext cx="3480491"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sp>
        <p:nvSpPr>
          <p:cNvPr id="111" name="Rectangle 110">
            <a:extLst>
              <a:ext uri="{FF2B5EF4-FFF2-40B4-BE49-F238E27FC236}">
                <a16:creationId xmlns:a16="http://schemas.microsoft.com/office/drawing/2014/main" id="{739B26CA-0F51-3A47-B064-DD458974C80B}"/>
              </a:ext>
            </a:extLst>
          </p:cNvPr>
          <p:cNvSpPr/>
          <p:nvPr/>
        </p:nvSpPr>
        <p:spPr>
          <a:xfrm>
            <a:off x="1027943" y="2824140"/>
            <a:ext cx="2726466"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sp>
        <p:nvSpPr>
          <p:cNvPr id="112" name="Rectangle 111">
            <a:extLst>
              <a:ext uri="{FF2B5EF4-FFF2-40B4-BE49-F238E27FC236}">
                <a16:creationId xmlns:a16="http://schemas.microsoft.com/office/drawing/2014/main" id="{93236D1A-2094-5A4B-9A8A-A1EBE8BABE35}"/>
              </a:ext>
            </a:extLst>
          </p:cNvPr>
          <p:cNvSpPr/>
          <p:nvPr/>
        </p:nvSpPr>
        <p:spPr>
          <a:xfrm>
            <a:off x="1058090" y="3991813"/>
            <a:ext cx="2588200"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sp>
        <p:nvSpPr>
          <p:cNvPr id="113" name="Rectangle 112">
            <a:extLst>
              <a:ext uri="{FF2B5EF4-FFF2-40B4-BE49-F238E27FC236}">
                <a16:creationId xmlns:a16="http://schemas.microsoft.com/office/drawing/2014/main" id="{8C1DA5BD-5D4F-DB4C-8F44-65BDAF2BAE17}"/>
              </a:ext>
            </a:extLst>
          </p:cNvPr>
          <p:cNvSpPr/>
          <p:nvPr/>
        </p:nvSpPr>
        <p:spPr>
          <a:xfrm>
            <a:off x="8592223" y="1562657"/>
            <a:ext cx="3087861"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sp>
        <p:nvSpPr>
          <p:cNvPr id="114" name="Rectangle 113">
            <a:extLst>
              <a:ext uri="{FF2B5EF4-FFF2-40B4-BE49-F238E27FC236}">
                <a16:creationId xmlns:a16="http://schemas.microsoft.com/office/drawing/2014/main" id="{BCA85CBE-57AD-544A-90F5-0FB2F2A58AED}"/>
              </a:ext>
            </a:extLst>
          </p:cNvPr>
          <p:cNvSpPr/>
          <p:nvPr/>
        </p:nvSpPr>
        <p:spPr>
          <a:xfrm>
            <a:off x="8617884" y="2824140"/>
            <a:ext cx="3062200"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sp>
        <p:nvSpPr>
          <p:cNvPr id="115" name="Rectangle 114">
            <a:extLst>
              <a:ext uri="{FF2B5EF4-FFF2-40B4-BE49-F238E27FC236}">
                <a16:creationId xmlns:a16="http://schemas.microsoft.com/office/drawing/2014/main" id="{58CA937C-A5F5-914F-ABF1-DC6722858633}"/>
              </a:ext>
            </a:extLst>
          </p:cNvPr>
          <p:cNvSpPr/>
          <p:nvPr/>
        </p:nvSpPr>
        <p:spPr>
          <a:xfrm>
            <a:off x="8668831" y="3991813"/>
            <a:ext cx="2705022"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grpSp>
        <p:nvGrpSpPr>
          <p:cNvPr id="119" name="Group 4">
            <a:extLst>
              <a:ext uri="{FF2B5EF4-FFF2-40B4-BE49-F238E27FC236}">
                <a16:creationId xmlns:a16="http://schemas.microsoft.com/office/drawing/2014/main" id="{963FC0A6-408E-D840-949F-EC528DAE5D44}"/>
              </a:ext>
            </a:extLst>
          </p:cNvPr>
          <p:cNvGrpSpPr>
            <a:grpSpLocks noChangeAspect="1"/>
          </p:cNvGrpSpPr>
          <p:nvPr/>
        </p:nvGrpSpPr>
        <p:grpSpPr bwMode="auto">
          <a:xfrm>
            <a:off x="4832419" y="2421904"/>
            <a:ext cx="2614360" cy="2614360"/>
            <a:chOff x="2882" y="1918"/>
            <a:chExt cx="1475" cy="1475"/>
          </a:xfrm>
        </p:grpSpPr>
        <p:sp>
          <p:nvSpPr>
            <p:cNvPr id="120" name="Oval 119">
              <a:extLst>
                <a:ext uri="{FF2B5EF4-FFF2-40B4-BE49-F238E27FC236}">
                  <a16:creationId xmlns:a16="http://schemas.microsoft.com/office/drawing/2014/main" id="{15A78155-DF09-6E42-9D80-FEDC5152FCB3}"/>
                </a:ext>
              </a:extLst>
            </p:cNvPr>
            <p:cNvSpPr>
              <a:spLocks noChangeArrowheads="1"/>
            </p:cNvSpPr>
            <p:nvPr/>
          </p:nvSpPr>
          <p:spPr bwMode="auto">
            <a:xfrm>
              <a:off x="2882" y="1918"/>
              <a:ext cx="1475" cy="14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2000"/>
            </a:p>
          </p:txBody>
        </p:sp>
        <p:sp>
          <p:nvSpPr>
            <p:cNvPr id="121" name="Freeform 6">
              <a:extLst>
                <a:ext uri="{FF2B5EF4-FFF2-40B4-BE49-F238E27FC236}">
                  <a16:creationId xmlns:a16="http://schemas.microsoft.com/office/drawing/2014/main" id="{81CCC7C7-0654-514E-9EAF-3E8E8C476518}"/>
                </a:ext>
              </a:extLst>
            </p:cNvPr>
            <p:cNvSpPr>
              <a:spLocks noEditPoints="1"/>
            </p:cNvSpPr>
            <p:nvPr/>
          </p:nvSpPr>
          <p:spPr bwMode="auto">
            <a:xfrm>
              <a:off x="2958" y="1994"/>
              <a:ext cx="1323" cy="1323"/>
            </a:xfrm>
            <a:custGeom>
              <a:avLst/>
              <a:gdLst>
                <a:gd name="T0" fmla="*/ 219 w 438"/>
                <a:gd name="T1" fmla="*/ 0 h 438"/>
                <a:gd name="T2" fmla="*/ 219 w 438"/>
                <a:gd name="T3" fmla="*/ 438 h 438"/>
                <a:gd name="T4" fmla="*/ 80 w 438"/>
                <a:gd name="T5" fmla="*/ 211 h 438"/>
                <a:gd name="T6" fmla="*/ 32 w 438"/>
                <a:gd name="T7" fmla="*/ 203 h 438"/>
                <a:gd name="T8" fmla="*/ 32 w 438"/>
                <a:gd name="T9" fmla="*/ 218 h 438"/>
                <a:gd name="T10" fmla="*/ 80 w 438"/>
                <a:gd name="T11" fmla="*/ 211 h 438"/>
                <a:gd name="T12" fmla="*/ 310 w 438"/>
                <a:gd name="T13" fmla="*/ 386 h 438"/>
                <a:gd name="T14" fmla="*/ 310 w 438"/>
                <a:gd name="T15" fmla="*/ 369 h 438"/>
                <a:gd name="T16" fmla="*/ 139 w 438"/>
                <a:gd name="T17" fmla="*/ 377 h 438"/>
                <a:gd name="T18" fmla="*/ 122 w 438"/>
                <a:gd name="T19" fmla="*/ 377 h 438"/>
                <a:gd name="T20" fmla="*/ 139 w 438"/>
                <a:gd name="T21" fmla="*/ 377 h 438"/>
                <a:gd name="T22" fmla="*/ 375 w 438"/>
                <a:gd name="T23" fmla="*/ 317 h 438"/>
                <a:gd name="T24" fmla="*/ 375 w 438"/>
                <a:gd name="T25" fmla="*/ 299 h 438"/>
                <a:gd name="T26" fmla="*/ 82 w 438"/>
                <a:gd name="T27" fmla="*/ 308 h 438"/>
                <a:gd name="T28" fmla="*/ 64 w 438"/>
                <a:gd name="T29" fmla="*/ 308 h 438"/>
                <a:gd name="T30" fmla="*/ 82 w 438"/>
                <a:gd name="T31" fmla="*/ 308 h 438"/>
                <a:gd name="T32" fmla="*/ 309 w 438"/>
                <a:gd name="T33" fmla="*/ 70 h 438"/>
                <a:gd name="T34" fmla="*/ 309 w 438"/>
                <a:gd name="T35" fmla="*/ 52 h 438"/>
                <a:gd name="T36" fmla="*/ 139 w 438"/>
                <a:gd name="T37" fmla="*/ 61 h 438"/>
                <a:gd name="T38" fmla="*/ 121 w 438"/>
                <a:gd name="T39" fmla="*/ 61 h 438"/>
                <a:gd name="T40" fmla="*/ 139 w 438"/>
                <a:gd name="T41" fmla="*/ 61 h 438"/>
                <a:gd name="T42" fmla="*/ 374 w 438"/>
                <a:gd name="T43" fmla="*/ 139 h 438"/>
                <a:gd name="T44" fmla="*/ 374 w 438"/>
                <a:gd name="T45" fmla="*/ 122 h 438"/>
                <a:gd name="T46" fmla="*/ 81 w 438"/>
                <a:gd name="T47" fmla="*/ 130 h 438"/>
                <a:gd name="T48" fmla="*/ 64 w 438"/>
                <a:gd name="T49" fmla="*/ 130 h 438"/>
                <a:gd name="T50" fmla="*/ 81 w 438"/>
                <a:gd name="T51" fmla="*/ 130 h 438"/>
                <a:gd name="T52" fmla="*/ 212 w 438"/>
                <a:gd name="T53" fmla="*/ 366 h 438"/>
                <a:gd name="T54" fmla="*/ 219 w 438"/>
                <a:gd name="T55" fmla="*/ 414 h 438"/>
                <a:gd name="T56" fmla="*/ 227 w 438"/>
                <a:gd name="T57" fmla="*/ 366 h 438"/>
                <a:gd name="T58" fmla="*/ 219 w 438"/>
                <a:gd name="T59" fmla="*/ 80 h 438"/>
                <a:gd name="T60" fmla="*/ 227 w 438"/>
                <a:gd name="T61" fmla="*/ 32 h 438"/>
                <a:gd name="T62" fmla="*/ 212 w 438"/>
                <a:gd name="T63" fmla="*/ 32 h 438"/>
                <a:gd name="T64" fmla="*/ 219 w 438"/>
                <a:gd name="T65" fmla="*/ 80 h 438"/>
                <a:gd name="T66" fmla="*/ 365 w 438"/>
                <a:gd name="T67" fmla="*/ 218 h 438"/>
                <a:gd name="T68" fmla="*/ 413 w 438"/>
                <a:gd name="T69" fmla="*/ 211 h 438"/>
                <a:gd name="T70" fmla="*/ 365 w 438"/>
                <a:gd name="T71" fmla="*/ 203 h 438"/>
                <a:gd name="T72" fmla="*/ 325 w 438"/>
                <a:gd name="T73" fmla="*/ 218 h 438"/>
                <a:gd name="T74" fmla="*/ 214 w 438"/>
                <a:gd name="T75" fmla="*/ 205 h 438"/>
                <a:gd name="T76" fmla="*/ 144 w 438"/>
                <a:gd name="T77" fmla="*/ 135 h 438"/>
                <a:gd name="T78" fmla="*/ 131 w 438"/>
                <a:gd name="T79" fmla="*/ 147 h 438"/>
                <a:gd name="T80" fmla="*/ 196 w 438"/>
                <a:gd name="T81" fmla="*/ 221 h 438"/>
                <a:gd name="T82" fmla="*/ 150 w 438"/>
                <a:gd name="T83" fmla="*/ 317 h 438"/>
                <a:gd name="T84" fmla="*/ 207 w 438"/>
                <a:gd name="T85" fmla="*/ 237 h 438"/>
                <a:gd name="T86" fmla="*/ 227 w 438"/>
                <a:gd name="T87" fmla="*/ 231 h 438"/>
                <a:gd name="T88" fmla="*/ 333 w 438"/>
                <a:gd name="T89" fmla="*/ 227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8" h="438">
                  <a:moveTo>
                    <a:pt x="438" y="219"/>
                  </a:moveTo>
                  <a:cubicBezTo>
                    <a:pt x="438" y="98"/>
                    <a:pt x="340" y="0"/>
                    <a:pt x="219" y="0"/>
                  </a:cubicBezTo>
                  <a:cubicBezTo>
                    <a:pt x="98" y="0"/>
                    <a:pt x="0" y="98"/>
                    <a:pt x="0" y="219"/>
                  </a:cubicBezTo>
                  <a:cubicBezTo>
                    <a:pt x="0" y="340"/>
                    <a:pt x="98" y="438"/>
                    <a:pt x="219" y="438"/>
                  </a:cubicBezTo>
                  <a:cubicBezTo>
                    <a:pt x="340" y="438"/>
                    <a:pt x="438" y="340"/>
                    <a:pt x="438" y="219"/>
                  </a:cubicBezTo>
                  <a:close/>
                  <a:moveTo>
                    <a:pt x="80" y="211"/>
                  </a:moveTo>
                  <a:cubicBezTo>
                    <a:pt x="80" y="206"/>
                    <a:pt x="77" y="203"/>
                    <a:pt x="72" y="203"/>
                  </a:cubicBezTo>
                  <a:cubicBezTo>
                    <a:pt x="32" y="203"/>
                    <a:pt x="32" y="203"/>
                    <a:pt x="32" y="203"/>
                  </a:cubicBezTo>
                  <a:cubicBezTo>
                    <a:pt x="28" y="203"/>
                    <a:pt x="25" y="206"/>
                    <a:pt x="25" y="211"/>
                  </a:cubicBezTo>
                  <a:cubicBezTo>
                    <a:pt x="25" y="215"/>
                    <a:pt x="28" y="218"/>
                    <a:pt x="32" y="218"/>
                  </a:cubicBezTo>
                  <a:cubicBezTo>
                    <a:pt x="72" y="218"/>
                    <a:pt x="72" y="218"/>
                    <a:pt x="72" y="218"/>
                  </a:cubicBezTo>
                  <a:cubicBezTo>
                    <a:pt x="77" y="218"/>
                    <a:pt x="80" y="215"/>
                    <a:pt x="80" y="211"/>
                  </a:cubicBezTo>
                  <a:close/>
                  <a:moveTo>
                    <a:pt x="319" y="377"/>
                  </a:moveTo>
                  <a:cubicBezTo>
                    <a:pt x="319" y="382"/>
                    <a:pt x="315" y="386"/>
                    <a:pt x="310" y="386"/>
                  </a:cubicBezTo>
                  <a:cubicBezTo>
                    <a:pt x="305" y="386"/>
                    <a:pt x="301" y="382"/>
                    <a:pt x="301" y="377"/>
                  </a:cubicBezTo>
                  <a:cubicBezTo>
                    <a:pt x="301" y="373"/>
                    <a:pt x="305" y="369"/>
                    <a:pt x="310" y="369"/>
                  </a:cubicBezTo>
                  <a:cubicBezTo>
                    <a:pt x="315" y="369"/>
                    <a:pt x="319" y="373"/>
                    <a:pt x="319" y="377"/>
                  </a:cubicBezTo>
                  <a:close/>
                  <a:moveTo>
                    <a:pt x="139" y="377"/>
                  </a:moveTo>
                  <a:cubicBezTo>
                    <a:pt x="139" y="382"/>
                    <a:pt x="135" y="386"/>
                    <a:pt x="130" y="386"/>
                  </a:cubicBezTo>
                  <a:cubicBezTo>
                    <a:pt x="126" y="386"/>
                    <a:pt x="122" y="382"/>
                    <a:pt x="122" y="377"/>
                  </a:cubicBezTo>
                  <a:cubicBezTo>
                    <a:pt x="122" y="373"/>
                    <a:pt x="126" y="369"/>
                    <a:pt x="130" y="369"/>
                  </a:cubicBezTo>
                  <a:cubicBezTo>
                    <a:pt x="135" y="369"/>
                    <a:pt x="139" y="373"/>
                    <a:pt x="139" y="377"/>
                  </a:cubicBezTo>
                  <a:close/>
                  <a:moveTo>
                    <a:pt x="384" y="308"/>
                  </a:moveTo>
                  <a:cubicBezTo>
                    <a:pt x="384" y="313"/>
                    <a:pt x="380" y="317"/>
                    <a:pt x="375" y="317"/>
                  </a:cubicBezTo>
                  <a:cubicBezTo>
                    <a:pt x="370" y="317"/>
                    <a:pt x="366" y="313"/>
                    <a:pt x="366" y="308"/>
                  </a:cubicBezTo>
                  <a:cubicBezTo>
                    <a:pt x="366" y="303"/>
                    <a:pt x="370" y="299"/>
                    <a:pt x="375" y="299"/>
                  </a:cubicBezTo>
                  <a:cubicBezTo>
                    <a:pt x="380" y="299"/>
                    <a:pt x="384" y="303"/>
                    <a:pt x="384" y="308"/>
                  </a:cubicBezTo>
                  <a:close/>
                  <a:moveTo>
                    <a:pt x="82" y="308"/>
                  </a:moveTo>
                  <a:cubicBezTo>
                    <a:pt x="82" y="313"/>
                    <a:pt x="78" y="317"/>
                    <a:pt x="73" y="317"/>
                  </a:cubicBezTo>
                  <a:cubicBezTo>
                    <a:pt x="68" y="317"/>
                    <a:pt x="64" y="313"/>
                    <a:pt x="64" y="308"/>
                  </a:cubicBezTo>
                  <a:cubicBezTo>
                    <a:pt x="64" y="303"/>
                    <a:pt x="68" y="299"/>
                    <a:pt x="73" y="299"/>
                  </a:cubicBezTo>
                  <a:cubicBezTo>
                    <a:pt x="78" y="299"/>
                    <a:pt x="82" y="303"/>
                    <a:pt x="82" y="308"/>
                  </a:cubicBezTo>
                  <a:close/>
                  <a:moveTo>
                    <a:pt x="318" y="61"/>
                  </a:moveTo>
                  <a:cubicBezTo>
                    <a:pt x="318" y="66"/>
                    <a:pt x="314" y="70"/>
                    <a:pt x="309" y="70"/>
                  </a:cubicBezTo>
                  <a:cubicBezTo>
                    <a:pt x="304" y="70"/>
                    <a:pt x="300" y="66"/>
                    <a:pt x="300" y="61"/>
                  </a:cubicBezTo>
                  <a:cubicBezTo>
                    <a:pt x="300" y="56"/>
                    <a:pt x="304" y="52"/>
                    <a:pt x="309" y="52"/>
                  </a:cubicBezTo>
                  <a:cubicBezTo>
                    <a:pt x="314" y="52"/>
                    <a:pt x="318" y="56"/>
                    <a:pt x="318" y="61"/>
                  </a:cubicBezTo>
                  <a:close/>
                  <a:moveTo>
                    <a:pt x="139" y="61"/>
                  </a:moveTo>
                  <a:cubicBezTo>
                    <a:pt x="139" y="66"/>
                    <a:pt x="135" y="70"/>
                    <a:pt x="130" y="70"/>
                  </a:cubicBezTo>
                  <a:cubicBezTo>
                    <a:pt x="125" y="70"/>
                    <a:pt x="121" y="66"/>
                    <a:pt x="121" y="61"/>
                  </a:cubicBezTo>
                  <a:cubicBezTo>
                    <a:pt x="121" y="56"/>
                    <a:pt x="125" y="52"/>
                    <a:pt x="130" y="52"/>
                  </a:cubicBezTo>
                  <a:cubicBezTo>
                    <a:pt x="135" y="52"/>
                    <a:pt x="139" y="56"/>
                    <a:pt x="139" y="61"/>
                  </a:cubicBezTo>
                  <a:close/>
                  <a:moveTo>
                    <a:pt x="383" y="130"/>
                  </a:moveTo>
                  <a:cubicBezTo>
                    <a:pt x="383" y="135"/>
                    <a:pt x="379" y="139"/>
                    <a:pt x="374" y="139"/>
                  </a:cubicBezTo>
                  <a:cubicBezTo>
                    <a:pt x="369" y="139"/>
                    <a:pt x="365" y="135"/>
                    <a:pt x="365" y="130"/>
                  </a:cubicBezTo>
                  <a:cubicBezTo>
                    <a:pt x="365" y="126"/>
                    <a:pt x="369" y="122"/>
                    <a:pt x="374" y="122"/>
                  </a:cubicBezTo>
                  <a:cubicBezTo>
                    <a:pt x="379" y="122"/>
                    <a:pt x="383" y="126"/>
                    <a:pt x="383" y="130"/>
                  </a:cubicBezTo>
                  <a:close/>
                  <a:moveTo>
                    <a:pt x="81" y="130"/>
                  </a:moveTo>
                  <a:cubicBezTo>
                    <a:pt x="81" y="135"/>
                    <a:pt x="77" y="139"/>
                    <a:pt x="72" y="139"/>
                  </a:cubicBezTo>
                  <a:cubicBezTo>
                    <a:pt x="68" y="139"/>
                    <a:pt x="64" y="135"/>
                    <a:pt x="64" y="130"/>
                  </a:cubicBezTo>
                  <a:cubicBezTo>
                    <a:pt x="64" y="126"/>
                    <a:pt x="68" y="122"/>
                    <a:pt x="72" y="122"/>
                  </a:cubicBezTo>
                  <a:cubicBezTo>
                    <a:pt x="77" y="122"/>
                    <a:pt x="81" y="126"/>
                    <a:pt x="81" y="130"/>
                  </a:cubicBezTo>
                  <a:close/>
                  <a:moveTo>
                    <a:pt x="219" y="359"/>
                  </a:moveTo>
                  <a:cubicBezTo>
                    <a:pt x="215" y="359"/>
                    <a:pt x="212" y="362"/>
                    <a:pt x="212" y="366"/>
                  </a:cubicBezTo>
                  <a:cubicBezTo>
                    <a:pt x="212" y="406"/>
                    <a:pt x="212" y="406"/>
                    <a:pt x="212" y="406"/>
                  </a:cubicBezTo>
                  <a:cubicBezTo>
                    <a:pt x="212" y="411"/>
                    <a:pt x="215" y="414"/>
                    <a:pt x="219" y="414"/>
                  </a:cubicBezTo>
                  <a:cubicBezTo>
                    <a:pt x="224" y="414"/>
                    <a:pt x="227" y="411"/>
                    <a:pt x="227" y="406"/>
                  </a:cubicBezTo>
                  <a:cubicBezTo>
                    <a:pt x="227" y="366"/>
                    <a:pt x="227" y="366"/>
                    <a:pt x="227" y="366"/>
                  </a:cubicBezTo>
                  <a:cubicBezTo>
                    <a:pt x="227" y="362"/>
                    <a:pt x="224" y="359"/>
                    <a:pt x="219" y="359"/>
                  </a:cubicBezTo>
                  <a:close/>
                  <a:moveTo>
                    <a:pt x="219" y="80"/>
                  </a:moveTo>
                  <a:cubicBezTo>
                    <a:pt x="224" y="80"/>
                    <a:pt x="227" y="77"/>
                    <a:pt x="227" y="73"/>
                  </a:cubicBezTo>
                  <a:cubicBezTo>
                    <a:pt x="227" y="32"/>
                    <a:pt x="227" y="32"/>
                    <a:pt x="227" y="32"/>
                  </a:cubicBezTo>
                  <a:cubicBezTo>
                    <a:pt x="227" y="28"/>
                    <a:pt x="224" y="25"/>
                    <a:pt x="219" y="25"/>
                  </a:cubicBezTo>
                  <a:cubicBezTo>
                    <a:pt x="215" y="25"/>
                    <a:pt x="212" y="28"/>
                    <a:pt x="212" y="32"/>
                  </a:cubicBezTo>
                  <a:cubicBezTo>
                    <a:pt x="212" y="73"/>
                    <a:pt x="212" y="73"/>
                    <a:pt x="212" y="73"/>
                  </a:cubicBezTo>
                  <a:cubicBezTo>
                    <a:pt x="212" y="77"/>
                    <a:pt x="215" y="80"/>
                    <a:pt x="219" y="80"/>
                  </a:cubicBezTo>
                  <a:close/>
                  <a:moveTo>
                    <a:pt x="358" y="211"/>
                  </a:moveTo>
                  <a:cubicBezTo>
                    <a:pt x="358" y="215"/>
                    <a:pt x="361" y="218"/>
                    <a:pt x="365" y="218"/>
                  </a:cubicBezTo>
                  <a:cubicBezTo>
                    <a:pt x="406" y="218"/>
                    <a:pt x="406" y="218"/>
                    <a:pt x="406" y="218"/>
                  </a:cubicBezTo>
                  <a:cubicBezTo>
                    <a:pt x="410" y="218"/>
                    <a:pt x="413" y="215"/>
                    <a:pt x="413" y="211"/>
                  </a:cubicBezTo>
                  <a:cubicBezTo>
                    <a:pt x="413" y="206"/>
                    <a:pt x="410" y="203"/>
                    <a:pt x="406" y="203"/>
                  </a:cubicBezTo>
                  <a:cubicBezTo>
                    <a:pt x="365" y="203"/>
                    <a:pt x="365" y="203"/>
                    <a:pt x="365" y="203"/>
                  </a:cubicBezTo>
                  <a:cubicBezTo>
                    <a:pt x="361" y="203"/>
                    <a:pt x="358" y="206"/>
                    <a:pt x="358" y="211"/>
                  </a:cubicBezTo>
                  <a:close/>
                  <a:moveTo>
                    <a:pt x="325" y="218"/>
                  </a:moveTo>
                  <a:cubicBezTo>
                    <a:pt x="227" y="213"/>
                    <a:pt x="227" y="213"/>
                    <a:pt x="227" y="213"/>
                  </a:cubicBezTo>
                  <a:cubicBezTo>
                    <a:pt x="225" y="208"/>
                    <a:pt x="220" y="205"/>
                    <a:pt x="214" y="205"/>
                  </a:cubicBezTo>
                  <a:cubicBezTo>
                    <a:pt x="212" y="205"/>
                    <a:pt x="210" y="205"/>
                    <a:pt x="208" y="205"/>
                  </a:cubicBezTo>
                  <a:cubicBezTo>
                    <a:pt x="144" y="135"/>
                    <a:pt x="144" y="135"/>
                    <a:pt x="144" y="135"/>
                  </a:cubicBezTo>
                  <a:cubicBezTo>
                    <a:pt x="141" y="132"/>
                    <a:pt x="135" y="131"/>
                    <a:pt x="132" y="134"/>
                  </a:cubicBezTo>
                  <a:cubicBezTo>
                    <a:pt x="128" y="138"/>
                    <a:pt x="128" y="143"/>
                    <a:pt x="131" y="147"/>
                  </a:cubicBezTo>
                  <a:cubicBezTo>
                    <a:pt x="197" y="219"/>
                    <a:pt x="197" y="219"/>
                    <a:pt x="197" y="219"/>
                  </a:cubicBezTo>
                  <a:cubicBezTo>
                    <a:pt x="196" y="219"/>
                    <a:pt x="196" y="220"/>
                    <a:pt x="196" y="221"/>
                  </a:cubicBezTo>
                  <a:cubicBezTo>
                    <a:pt x="196" y="226"/>
                    <a:pt x="198" y="231"/>
                    <a:pt x="202" y="234"/>
                  </a:cubicBezTo>
                  <a:cubicBezTo>
                    <a:pt x="150" y="317"/>
                    <a:pt x="150" y="317"/>
                    <a:pt x="150" y="317"/>
                  </a:cubicBezTo>
                  <a:cubicBezTo>
                    <a:pt x="155" y="320"/>
                    <a:pt x="155" y="320"/>
                    <a:pt x="155" y="320"/>
                  </a:cubicBezTo>
                  <a:cubicBezTo>
                    <a:pt x="207" y="237"/>
                    <a:pt x="207" y="237"/>
                    <a:pt x="207" y="237"/>
                  </a:cubicBezTo>
                  <a:cubicBezTo>
                    <a:pt x="208" y="238"/>
                    <a:pt x="210" y="238"/>
                    <a:pt x="212" y="238"/>
                  </a:cubicBezTo>
                  <a:cubicBezTo>
                    <a:pt x="218" y="239"/>
                    <a:pt x="223" y="236"/>
                    <a:pt x="227" y="231"/>
                  </a:cubicBezTo>
                  <a:cubicBezTo>
                    <a:pt x="324" y="235"/>
                    <a:pt x="324" y="235"/>
                    <a:pt x="324" y="235"/>
                  </a:cubicBezTo>
                  <a:cubicBezTo>
                    <a:pt x="329" y="236"/>
                    <a:pt x="333" y="232"/>
                    <a:pt x="333" y="227"/>
                  </a:cubicBezTo>
                  <a:cubicBezTo>
                    <a:pt x="333" y="222"/>
                    <a:pt x="329" y="218"/>
                    <a:pt x="325" y="2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2000"/>
            </a:p>
          </p:txBody>
        </p:sp>
      </p:grpSp>
      <p:grpSp>
        <p:nvGrpSpPr>
          <p:cNvPr id="134" name="Group 349">
            <a:extLst>
              <a:ext uri="{FF2B5EF4-FFF2-40B4-BE49-F238E27FC236}">
                <a16:creationId xmlns:a16="http://schemas.microsoft.com/office/drawing/2014/main" id="{55EEFE47-38D8-1246-8786-4EB9BA9700B3}"/>
              </a:ext>
            </a:extLst>
          </p:cNvPr>
          <p:cNvGrpSpPr>
            <a:grpSpLocks noChangeAspect="1"/>
          </p:cNvGrpSpPr>
          <p:nvPr/>
        </p:nvGrpSpPr>
        <p:grpSpPr bwMode="auto">
          <a:xfrm>
            <a:off x="5188672" y="1730983"/>
            <a:ext cx="408454" cy="408454"/>
            <a:chOff x="5018" y="1229"/>
            <a:chExt cx="340" cy="340"/>
          </a:xfrm>
          <a:solidFill>
            <a:schemeClr val="bg1"/>
          </a:solidFill>
        </p:grpSpPr>
        <p:sp>
          <p:nvSpPr>
            <p:cNvPr id="135" name="Freeform 350">
              <a:extLst>
                <a:ext uri="{FF2B5EF4-FFF2-40B4-BE49-F238E27FC236}">
                  <a16:creationId xmlns:a16="http://schemas.microsoft.com/office/drawing/2014/main" id="{B90C9B82-850D-2249-95D6-7991FC9BCA87}"/>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36" name="Freeform 351">
              <a:extLst>
                <a:ext uri="{FF2B5EF4-FFF2-40B4-BE49-F238E27FC236}">
                  <a16:creationId xmlns:a16="http://schemas.microsoft.com/office/drawing/2014/main" id="{C39684FE-AFBD-6246-A555-479A3407819F}"/>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grpSp>
      <p:grpSp>
        <p:nvGrpSpPr>
          <p:cNvPr id="137" name="Group 521">
            <a:extLst>
              <a:ext uri="{FF2B5EF4-FFF2-40B4-BE49-F238E27FC236}">
                <a16:creationId xmlns:a16="http://schemas.microsoft.com/office/drawing/2014/main" id="{F2C59128-A2DE-344A-AD7E-BCC33BD48A41}"/>
              </a:ext>
            </a:extLst>
          </p:cNvPr>
          <p:cNvGrpSpPr>
            <a:grpSpLocks noChangeAspect="1"/>
          </p:cNvGrpSpPr>
          <p:nvPr/>
        </p:nvGrpSpPr>
        <p:grpSpPr bwMode="auto">
          <a:xfrm>
            <a:off x="4125407" y="4212397"/>
            <a:ext cx="408454" cy="408454"/>
            <a:chOff x="3476" y="2032"/>
            <a:chExt cx="340" cy="340"/>
          </a:xfrm>
          <a:solidFill>
            <a:schemeClr val="bg1"/>
          </a:solidFill>
        </p:grpSpPr>
        <p:sp>
          <p:nvSpPr>
            <p:cNvPr id="138" name="Freeform 522">
              <a:extLst>
                <a:ext uri="{FF2B5EF4-FFF2-40B4-BE49-F238E27FC236}">
                  <a16:creationId xmlns:a16="http://schemas.microsoft.com/office/drawing/2014/main" id="{EFA7EFE5-88D0-8841-B294-483ED3FE68CA}"/>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39" name="Freeform 523">
              <a:extLst>
                <a:ext uri="{FF2B5EF4-FFF2-40B4-BE49-F238E27FC236}">
                  <a16:creationId xmlns:a16="http://schemas.microsoft.com/office/drawing/2014/main" id="{10E3DC20-BC03-BB4F-B0F2-CC31D84E6132}"/>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40" name="Freeform 524">
              <a:extLst>
                <a:ext uri="{FF2B5EF4-FFF2-40B4-BE49-F238E27FC236}">
                  <a16:creationId xmlns:a16="http://schemas.microsoft.com/office/drawing/2014/main" id="{A14C017C-2FF2-8644-8CBB-AC4FEBB7CAFD}"/>
                </a:ext>
              </a:extLst>
            </p:cNvPr>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grpSp>
      <p:grpSp>
        <p:nvGrpSpPr>
          <p:cNvPr id="141" name="Group 492">
            <a:extLst>
              <a:ext uri="{FF2B5EF4-FFF2-40B4-BE49-F238E27FC236}">
                <a16:creationId xmlns:a16="http://schemas.microsoft.com/office/drawing/2014/main" id="{114B2E73-B028-D941-9632-958BA23363B6}"/>
              </a:ext>
            </a:extLst>
          </p:cNvPr>
          <p:cNvGrpSpPr>
            <a:grpSpLocks noChangeAspect="1"/>
          </p:cNvGrpSpPr>
          <p:nvPr/>
        </p:nvGrpSpPr>
        <p:grpSpPr bwMode="auto">
          <a:xfrm>
            <a:off x="6653681" y="1738978"/>
            <a:ext cx="408454" cy="408454"/>
            <a:chOff x="4513" y="3037"/>
            <a:chExt cx="340" cy="340"/>
          </a:xfrm>
          <a:solidFill>
            <a:schemeClr val="bg1"/>
          </a:solidFill>
        </p:grpSpPr>
        <p:sp>
          <p:nvSpPr>
            <p:cNvPr id="142" name="Freeform 493">
              <a:extLst>
                <a:ext uri="{FF2B5EF4-FFF2-40B4-BE49-F238E27FC236}">
                  <a16:creationId xmlns:a16="http://schemas.microsoft.com/office/drawing/2014/main" id="{AA33C6E4-6EEB-7E4F-AE4D-B5EBB386B905}"/>
                </a:ext>
              </a:extLst>
            </p:cNvPr>
            <p:cNvSpPr>
              <a:spLocks noEditPoints="1"/>
            </p:cNvSpPr>
            <p:nvPr/>
          </p:nvSpPr>
          <p:spPr bwMode="auto">
            <a:xfrm>
              <a:off x="4513" y="30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43" name="Freeform 494">
              <a:extLst>
                <a:ext uri="{FF2B5EF4-FFF2-40B4-BE49-F238E27FC236}">
                  <a16:creationId xmlns:a16="http://schemas.microsoft.com/office/drawing/2014/main" id="{C4B8A6F5-F024-984A-897D-833FAAA07EB3}"/>
                </a:ext>
              </a:extLst>
            </p:cNvPr>
            <p:cNvSpPr>
              <a:spLocks noEditPoints="1"/>
            </p:cNvSpPr>
            <p:nvPr/>
          </p:nvSpPr>
          <p:spPr bwMode="auto">
            <a:xfrm>
              <a:off x="4604" y="3101"/>
              <a:ext cx="157" cy="212"/>
            </a:xfrm>
            <a:custGeom>
              <a:avLst/>
              <a:gdLst>
                <a:gd name="T0" fmla="*/ 235 w 236"/>
                <a:gd name="T1" fmla="*/ 252 h 320"/>
                <a:gd name="T2" fmla="*/ 215 w 236"/>
                <a:gd name="T3" fmla="*/ 138 h 320"/>
                <a:gd name="T4" fmla="*/ 147 w 236"/>
                <a:gd name="T5" fmla="*/ 46 h 320"/>
                <a:gd name="T6" fmla="*/ 151 w 236"/>
                <a:gd name="T7" fmla="*/ 32 h 320"/>
                <a:gd name="T8" fmla="*/ 119 w 236"/>
                <a:gd name="T9" fmla="*/ 0 h 320"/>
                <a:gd name="T10" fmla="*/ 87 w 236"/>
                <a:gd name="T11" fmla="*/ 32 h 320"/>
                <a:gd name="T12" fmla="*/ 90 w 236"/>
                <a:gd name="T13" fmla="*/ 46 h 320"/>
                <a:gd name="T14" fmla="*/ 23 w 236"/>
                <a:gd name="T15" fmla="*/ 138 h 320"/>
                <a:gd name="T16" fmla="*/ 2 w 236"/>
                <a:gd name="T17" fmla="*/ 252 h 320"/>
                <a:gd name="T18" fmla="*/ 7 w 236"/>
                <a:gd name="T19" fmla="*/ 265 h 320"/>
                <a:gd name="T20" fmla="*/ 77 w 236"/>
                <a:gd name="T21" fmla="*/ 283 h 320"/>
                <a:gd name="T22" fmla="*/ 119 w 236"/>
                <a:gd name="T23" fmla="*/ 320 h 320"/>
                <a:gd name="T24" fmla="*/ 161 w 236"/>
                <a:gd name="T25" fmla="*/ 281 h 320"/>
                <a:gd name="T26" fmla="*/ 229 w 236"/>
                <a:gd name="T27" fmla="*/ 266 h 320"/>
                <a:gd name="T28" fmla="*/ 235 w 236"/>
                <a:gd name="T29" fmla="*/ 261 h 320"/>
                <a:gd name="T30" fmla="*/ 235 w 236"/>
                <a:gd name="T31" fmla="*/ 252 h 320"/>
                <a:gd name="T32" fmla="*/ 108 w 236"/>
                <a:gd name="T33" fmla="*/ 32 h 320"/>
                <a:gd name="T34" fmla="*/ 119 w 236"/>
                <a:gd name="T35" fmla="*/ 21 h 320"/>
                <a:gd name="T36" fmla="*/ 129 w 236"/>
                <a:gd name="T37" fmla="*/ 32 h 320"/>
                <a:gd name="T38" fmla="*/ 119 w 236"/>
                <a:gd name="T39" fmla="*/ 42 h 320"/>
                <a:gd name="T40" fmla="*/ 108 w 236"/>
                <a:gd name="T41" fmla="*/ 32 h 320"/>
                <a:gd name="T42" fmla="*/ 119 w 236"/>
                <a:gd name="T43" fmla="*/ 298 h 320"/>
                <a:gd name="T44" fmla="*/ 99 w 236"/>
                <a:gd name="T45" fmla="*/ 284 h 320"/>
                <a:gd name="T46" fmla="*/ 112 w 236"/>
                <a:gd name="T47" fmla="*/ 285 h 320"/>
                <a:gd name="T48" fmla="*/ 139 w 236"/>
                <a:gd name="T49" fmla="*/ 283 h 320"/>
                <a:gd name="T50" fmla="*/ 119 w 236"/>
                <a:gd name="T51" fmla="*/ 298 h 320"/>
                <a:gd name="T52" fmla="*/ 25 w 236"/>
                <a:gd name="T53" fmla="*/ 249 h 320"/>
                <a:gd name="T54" fmla="*/ 44 w 236"/>
                <a:gd name="T55" fmla="*/ 138 h 320"/>
                <a:gd name="T56" fmla="*/ 119 w 236"/>
                <a:gd name="T57" fmla="*/ 64 h 320"/>
                <a:gd name="T58" fmla="*/ 193 w 236"/>
                <a:gd name="T59" fmla="*/ 138 h 320"/>
                <a:gd name="T60" fmla="*/ 212 w 236"/>
                <a:gd name="T61" fmla="*/ 249 h 320"/>
                <a:gd name="T62" fmla="*/ 25 w 236"/>
                <a:gd name="T63" fmla="*/ 2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6" h="320">
                  <a:moveTo>
                    <a:pt x="235" y="252"/>
                  </a:moveTo>
                  <a:cubicBezTo>
                    <a:pt x="235" y="252"/>
                    <a:pt x="215" y="190"/>
                    <a:pt x="215" y="138"/>
                  </a:cubicBezTo>
                  <a:cubicBezTo>
                    <a:pt x="215" y="93"/>
                    <a:pt x="187" y="57"/>
                    <a:pt x="147" y="46"/>
                  </a:cubicBezTo>
                  <a:cubicBezTo>
                    <a:pt x="149" y="42"/>
                    <a:pt x="151" y="37"/>
                    <a:pt x="151" y="32"/>
                  </a:cubicBezTo>
                  <a:cubicBezTo>
                    <a:pt x="151" y="14"/>
                    <a:pt x="136" y="0"/>
                    <a:pt x="119" y="0"/>
                  </a:cubicBezTo>
                  <a:cubicBezTo>
                    <a:pt x="101" y="0"/>
                    <a:pt x="87" y="14"/>
                    <a:pt x="87" y="32"/>
                  </a:cubicBezTo>
                  <a:cubicBezTo>
                    <a:pt x="87" y="37"/>
                    <a:pt x="88" y="42"/>
                    <a:pt x="90" y="46"/>
                  </a:cubicBezTo>
                  <a:cubicBezTo>
                    <a:pt x="50" y="57"/>
                    <a:pt x="23" y="93"/>
                    <a:pt x="23" y="138"/>
                  </a:cubicBezTo>
                  <a:cubicBezTo>
                    <a:pt x="23" y="190"/>
                    <a:pt x="2" y="252"/>
                    <a:pt x="2" y="252"/>
                  </a:cubicBezTo>
                  <a:cubicBezTo>
                    <a:pt x="0" y="257"/>
                    <a:pt x="2" y="263"/>
                    <a:pt x="7" y="265"/>
                  </a:cubicBezTo>
                  <a:cubicBezTo>
                    <a:pt x="9" y="266"/>
                    <a:pt x="34" y="278"/>
                    <a:pt x="77" y="283"/>
                  </a:cubicBezTo>
                  <a:cubicBezTo>
                    <a:pt x="79" y="303"/>
                    <a:pt x="97" y="320"/>
                    <a:pt x="119" y="320"/>
                  </a:cubicBezTo>
                  <a:cubicBezTo>
                    <a:pt x="141" y="320"/>
                    <a:pt x="159" y="303"/>
                    <a:pt x="161" y="281"/>
                  </a:cubicBezTo>
                  <a:cubicBezTo>
                    <a:pt x="182" y="278"/>
                    <a:pt x="204" y="273"/>
                    <a:pt x="229" y="266"/>
                  </a:cubicBezTo>
                  <a:cubicBezTo>
                    <a:pt x="231" y="265"/>
                    <a:pt x="234" y="263"/>
                    <a:pt x="235" y="261"/>
                  </a:cubicBezTo>
                  <a:cubicBezTo>
                    <a:pt x="236" y="258"/>
                    <a:pt x="236" y="255"/>
                    <a:pt x="235" y="252"/>
                  </a:cubicBezTo>
                  <a:close/>
                  <a:moveTo>
                    <a:pt x="108" y="32"/>
                  </a:moveTo>
                  <a:cubicBezTo>
                    <a:pt x="108" y="26"/>
                    <a:pt x="113" y="21"/>
                    <a:pt x="119" y="21"/>
                  </a:cubicBezTo>
                  <a:cubicBezTo>
                    <a:pt x="125" y="21"/>
                    <a:pt x="129" y="26"/>
                    <a:pt x="129" y="32"/>
                  </a:cubicBezTo>
                  <a:cubicBezTo>
                    <a:pt x="129" y="38"/>
                    <a:pt x="125" y="42"/>
                    <a:pt x="119" y="42"/>
                  </a:cubicBezTo>
                  <a:cubicBezTo>
                    <a:pt x="113" y="42"/>
                    <a:pt x="108" y="38"/>
                    <a:pt x="108" y="32"/>
                  </a:cubicBezTo>
                  <a:close/>
                  <a:moveTo>
                    <a:pt x="119" y="298"/>
                  </a:moveTo>
                  <a:cubicBezTo>
                    <a:pt x="109" y="298"/>
                    <a:pt x="102" y="292"/>
                    <a:pt x="99" y="284"/>
                  </a:cubicBezTo>
                  <a:cubicBezTo>
                    <a:pt x="103" y="284"/>
                    <a:pt x="107" y="285"/>
                    <a:pt x="112" y="285"/>
                  </a:cubicBezTo>
                  <a:cubicBezTo>
                    <a:pt x="120" y="285"/>
                    <a:pt x="129" y="284"/>
                    <a:pt x="139" y="283"/>
                  </a:cubicBezTo>
                  <a:cubicBezTo>
                    <a:pt x="136" y="292"/>
                    <a:pt x="128" y="298"/>
                    <a:pt x="119" y="298"/>
                  </a:cubicBezTo>
                  <a:close/>
                  <a:moveTo>
                    <a:pt x="25" y="249"/>
                  </a:moveTo>
                  <a:cubicBezTo>
                    <a:pt x="31" y="229"/>
                    <a:pt x="44" y="182"/>
                    <a:pt x="44" y="138"/>
                  </a:cubicBezTo>
                  <a:cubicBezTo>
                    <a:pt x="44" y="94"/>
                    <a:pt x="75" y="64"/>
                    <a:pt x="119" y="64"/>
                  </a:cubicBezTo>
                  <a:cubicBezTo>
                    <a:pt x="163" y="64"/>
                    <a:pt x="193" y="94"/>
                    <a:pt x="193" y="138"/>
                  </a:cubicBezTo>
                  <a:cubicBezTo>
                    <a:pt x="193" y="181"/>
                    <a:pt x="206" y="228"/>
                    <a:pt x="212" y="249"/>
                  </a:cubicBezTo>
                  <a:cubicBezTo>
                    <a:pt x="116" y="276"/>
                    <a:pt x="48" y="258"/>
                    <a:pt x="25" y="24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grpSp>
      <p:grpSp>
        <p:nvGrpSpPr>
          <p:cNvPr id="144" name="Group 144">
            <a:extLst>
              <a:ext uri="{FF2B5EF4-FFF2-40B4-BE49-F238E27FC236}">
                <a16:creationId xmlns:a16="http://schemas.microsoft.com/office/drawing/2014/main" id="{6BD0129A-A4EB-8142-8AD9-61E944CD90D9}"/>
              </a:ext>
            </a:extLst>
          </p:cNvPr>
          <p:cNvGrpSpPr>
            <a:grpSpLocks noChangeAspect="1"/>
          </p:cNvGrpSpPr>
          <p:nvPr/>
        </p:nvGrpSpPr>
        <p:grpSpPr bwMode="auto">
          <a:xfrm>
            <a:off x="7701033" y="2766980"/>
            <a:ext cx="408454" cy="408454"/>
            <a:chOff x="2963" y="1300"/>
            <a:chExt cx="340" cy="340"/>
          </a:xfrm>
          <a:solidFill>
            <a:schemeClr val="bg1"/>
          </a:solidFill>
        </p:grpSpPr>
        <p:sp>
          <p:nvSpPr>
            <p:cNvPr id="145" name="Freeform 145">
              <a:extLst>
                <a:ext uri="{FF2B5EF4-FFF2-40B4-BE49-F238E27FC236}">
                  <a16:creationId xmlns:a16="http://schemas.microsoft.com/office/drawing/2014/main" id="{5D265364-6D71-F542-BA88-2F3568854C6D}"/>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dirty="0"/>
            </a:p>
          </p:txBody>
        </p:sp>
        <p:sp>
          <p:nvSpPr>
            <p:cNvPr id="146" name="Freeform 146">
              <a:extLst>
                <a:ext uri="{FF2B5EF4-FFF2-40B4-BE49-F238E27FC236}">
                  <a16:creationId xmlns:a16="http://schemas.microsoft.com/office/drawing/2014/main" id="{CF15544E-49DE-E842-8626-E56D2E3835FF}"/>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dirty="0"/>
            </a:p>
          </p:txBody>
        </p:sp>
      </p:grpSp>
      <p:grpSp>
        <p:nvGrpSpPr>
          <p:cNvPr id="147" name="Group 245">
            <a:extLst>
              <a:ext uri="{FF2B5EF4-FFF2-40B4-BE49-F238E27FC236}">
                <a16:creationId xmlns:a16="http://schemas.microsoft.com/office/drawing/2014/main" id="{CABF7854-8C9F-4347-B2B1-7A59FE6CBF10}"/>
              </a:ext>
            </a:extLst>
          </p:cNvPr>
          <p:cNvGrpSpPr>
            <a:grpSpLocks noChangeAspect="1"/>
          </p:cNvGrpSpPr>
          <p:nvPr/>
        </p:nvGrpSpPr>
        <p:grpSpPr bwMode="auto">
          <a:xfrm>
            <a:off x="4123673" y="2774085"/>
            <a:ext cx="408454" cy="408454"/>
            <a:chOff x="3480" y="792"/>
            <a:chExt cx="340" cy="340"/>
          </a:xfrm>
          <a:solidFill>
            <a:schemeClr val="bg1"/>
          </a:solidFill>
        </p:grpSpPr>
        <p:sp>
          <p:nvSpPr>
            <p:cNvPr id="148" name="Freeform 246">
              <a:extLst>
                <a:ext uri="{FF2B5EF4-FFF2-40B4-BE49-F238E27FC236}">
                  <a16:creationId xmlns:a16="http://schemas.microsoft.com/office/drawing/2014/main" id="{F61A6A8F-5E4A-8744-9FC3-8C305D458908}"/>
                </a:ext>
              </a:extLst>
            </p:cNvPr>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49" name="Freeform 247">
              <a:extLst>
                <a:ext uri="{FF2B5EF4-FFF2-40B4-BE49-F238E27FC236}">
                  <a16:creationId xmlns:a16="http://schemas.microsoft.com/office/drawing/2014/main" id="{5D304E96-7795-2B4B-A3C7-EBB50F3BBC30}"/>
                </a:ext>
              </a:extLst>
            </p:cNvPr>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50" name="Freeform 248">
              <a:extLst>
                <a:ext uri="{FF2B5EF4-FFF2-40B4-BE49-F238E27FC236}">
                  <a16:creationId xmlns:a16="http://schemas.microsoft.com/office/drawing/2014/main" id="{3E1392CF-B478-D443-82B8-314B30C72D15}"/>
                </a:ext>
              </a:extLst>
            </p:cNvPr>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51" name="Freeform 249">
              <a:extLst>
                <a:ext uri="{FF2B5EF4-FFF2-40B4-BE49-F238E27FC236}">
                  <a16:creationId xmlns:a16="http://schemas.microsoft.com/office/drawing/2014/main" id="{0C69117C-3E5B-C549-834A-7CC174676C20}"/>
                </a:ext>
              </a:extLst>
            </p:cNvPr>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52" name="Freeform 250">
              <a:extLst>
                <a:ext uri="{FF2B5EF4-FFF2-40B4-BE49-F238E27FC236}">
                  <a16:creationId xmlns:a16="http://schemas.microsoft.com/office/drawing/2014/main" id="{2A18787B-C325-1144-AF85-3AE7F76B0667}"/>
                </a:ext>
              </a:extLst>
            </p:cNvPr>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grpSp>
      <p:grpSp>
        <p:nvGrpSpPr>
          <p:cNvPr id="153" name="Group 799">
            <a:extLst>
              <a:ext uri="{FF2B5EF4-FFF2-40B4-BE49-F238E27FC236}">
                <a16:creationId xmlns:a16="http://schemas.microsoft.com/office/drawing/2014/main" id="{A1F7D1B4-0B7F-AA40-9D52-2C7A0ABCC422}"/>
              </a:ext>
            </a:extLst>
          </p:cNvPr>
          <p:cNvGrpSpPr>
            <a:grpSpLocks noChangeAspect="1"/>
          </p:cNvGrpSpPr>
          <p:nvPr/>
        </p:nvGrpSpPr>
        <p:grpSpPr bwMode="auto">
          <a:xfrm>
            <a:off x="7755546" y="4197310"/>
            <a:ext cx="408454" cy="408454"/>
            <a:chOff x="5187" y="3469"/>
            <a:chExt cx="340" cy="340"/>
          </a:xfrm>
          <a:solidFill>
            <a:schemeClr val="bg1"/>
          </a:solidFill>
        </p:grpSpPr>
        <p:sp>
          <p:nvSpPr>
            <p:cNvPr id="154" name="Freeform 800">
              <a:extLst>
                <a:ext uri="{FF2B5EF4-FFF2-40B4-BE49-F238E27FC236}">
                  <a16:creationId xmlns:a16="http://schemas.microsoft.com/office/drawing/2014/main" id="{41CC6D22-0FE1-C249-8CC0-B7BEAC755F0C}"/>
                </a:ext>
              </a:extLst>
            </p:cNvPr>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dirty="0"/>
            </a:p>
          </p:txBody>
        </p:sp>
        <p:sp>
          <p:nvSpPr>
            <p:cNvPr id="155" name="Freeform 801">
              <a:extLst>
                <a:ext uri="{FF2B5EF4-FFF2-40B4-BE49-F238E27FC236}">
                  <a16:creationId xmlns:a16="http://schemas.microsoft.com/office/drawing/2014/main" id="{459B8339-F21F-5F4C-9FF1-3C46419B63AF}"/>
                </a:ext>
              </a:extLst>
            </p:cNvPr>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grpSp>
    </p:spTree>
    <p:custDataLst>
      <p:tags r:id="rId1"/>
    </p:custDataLst>
    <p:extLst>
      <p:ext uri="{BB962C8B-B14F-4D97-AF65-F5344CB8AC3E}">
        <p14:creationId xmlns:p14="http://schemas.microsoft.com/office/powerpoint/2010/main" val="4227777925"/>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4350901" y="1108042"/>
            <a:ext cx="3490197" cy="4641915"/>
            <a:chOff x="4263723" y="1700213"/>
            <a:chExt cx="3490197" cy="4641915"/>
          </a:xfrm>
        </p:grpSpPr>
        <p:grpSp>
          <p:nvGrpSpPr>
            <p:cNvPr id="41" name="กลุ่ม 197"/>
            <p:cNvGrpSpPr/>
            <p:nvPr/>
          </p:nvGrpSpPr>
          <p:grpSpPr>
            <a:xfrm>
              <a:off x="6613978" y="5224524"/>
              <a:ext cx="1139942" cy="1117604"/>
              <a:chOff x="13047663" y="9696450"/>
              <a:chExt cx="2532476" cy="2482850"/>
            </a:xfrm>
          </p:grpSpPr>
          <p:sp>
            <p:nvSpPr>
              <p:cNvPr id="42" name="Freeform 19"/>
              <p:cNvSpPr>
                <a:spLocks/>
              </p:cNvSpPr>
              <p:nvPr/>
            </p:nvSpPr>
            <p:spPr bwMode="auto">
              <a:xfrm>
                <a:off x="13047663" y="9696450"/>
                <a:ext cx="2463800" cy="2482850"/>
              </a:xfrm>
              <a:custGeom>
                <a:avLst/>
                <a:gdLst>
                  <a:gd name="T0" fmla="*/ 136 w 136"/>
                  <a:gd name="T1" fmla="*/ 137 h 137"/>
                  <a:gd name="T2" fmla="*/ 136 w 136"/>
                  <a:gd name="T3" fmla="*/ 0 h 137"/>
                  <a:gd name="T4" fmla="*/ 0 w 136"/>
                  <a:gd name="T5" fmla="*/ 0 h 137"/>
                  <a:gd name="T6" fmla="*/ 136 w 136"/>
                  <a:gd name="T7" fmla="*/ 137 h 137"/>
                </a:gdLst>
                <a:ahLst/>
                <a:cxnLst>
                  <a:cxn ang="0">
                    <a:pos x="T0" y="T1"/>
                  </a:cxn>
                  <a:cxn ang="0">
                    <a:pos x="T2" y="T3"/>
                  </a:cxn>
                  <a:cxn ang="0">
                    <a:pos x="T4" y="T5"/>
                  </a:cxn>
                  <a:cxn ang="0">
                    <a:pos x="T6" y="T7"/>
                  </a:cxn>
                </a:cxnLst>
                <a:rect l="0" t="0" r="r" b="b"/>
                <a:pathLst>
                  <a:path w="136" h="137">
                    <a:moveTo>
                      <a:pt x="136" y="137"/>
                    </a:moveTo>
                    <a:cubicBezTo>
                      <a:pt x="136" y="0"/>
                      <a:pt x="136" y="0"/>
                      <a:pt x="136" y="0"/>
                    </a:cubicBezTo>
                    <a:cubicBezTo>
                      <a:pt x="0" y="0"/>
                      <a:pt x="0" y="0"/>
                      <a:pt x="0" y="0"/>
                    </a:cubicBezTo>
                    <a:cubicBezTo>
                      <a:pt x="0" y="76"/>
                      <a:pt x="61" y="137"/>
                      <a:pt x="136" y="137"/>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43" name="TextBox 31"/>
              <p:cNvSpPr txBox="1">
                <a:spLocks noChangeArrowheads="1"/>
              </p:cNvSpPr>
              <p:nvPr/>
            </p:nvSpPr>
            <p:spPr bwMode="auto">
              <a:xfrm>
                <a:off x="13390353" y="10185736"/>
                <a:ext cx="2189786"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6</a:t>
                </a:r>
                <a:endParaRPr lang="id-ID" sz="2800" b="1" dirty="0">
                  <a:solidFill>
                    <a:schemeClr val="bg1"/>
                  </a:solidFill>
                  <a:latin typeface="+mn-lt"/>
                  <a:ea typeface="Lato Black" pitchFamily="34" charset="0"/>
                  <a:cs typeface="Lato Black" pitchFamily="34" charset="0"/>
                </a:endParaRPr>
              </a:p>
            </p:txBody>
          </p:sp>
        </p:grpSp>
        <p:grpSp>
          <p:nvGrpSpPr>
            <p:cNvPr id="44" name="กลุ่ม 200"/>
            <p:cNvGrpSpPr/>
            <p:nvPr/>
          </p:nvGrpSpPr>
          <p:grpSpPr>
            <a:xfrm>
              <a:off x="6605403" y="4049754"/>
              <a:ext cx="1117604" cy="1117604"/>
              <a:chOff x="13028613" y="7086600"/>
              <a:chExt cx="2482850" cy="2482850"/>
            </a:xfrm>
          </p:grpSpPr>
          <p:sp>
            <p:nvSpPr>
              <p:cNvPr id="45" name="Freeform 20"/>
              <p:cNvSpPr>
                <a:spLocks/>
              </p:cNvSpPr>
              <p:nvPr/>
            </p:nvSpPr>
            <p:spPr bwMode="auto">
              <a:xfrm>
                <a:off x="13028613" y="7086600"/>
                <a:ext cx="2482850" cy="2482850"/>
              </a:xfrm>
              <a:custGeom>
                <a:avLst/>
                <a:gdLst>
                  <a:gd name="T0" fmla="*/ 137 w 137"/>
                  <a:gd name="T1" fmla="*/ 137 h 137"/>
                  <a:gd name="T2" fmla="*/ 0 w 137"/>
                  <a:gd name="T3" fmla="*/ 0 h 137"/>
                  <a:gd name="T4" fmla="*/ 0 w 137"/>
                  <a:gd name="T5" fmla="*/ 137 h 137"/>
                  <a:gd name="T6" fmla="*/ 137 w 137"/>
                  <a:gd name="T7" fmla="*/ 137 h 137"/>
                </a:gdLst>
                <a:ahLst/>
                <a:cxnLst>
                  <a:cxn ang="0">
                    <a:pos x="T0" y="T1"/>
                  </a:cxn>
                  <a:cxn ang="0">
                    <a:pos x="T2" y="T3"/>
                  </a:cxn>
                  <a:cxn ang="0">
                    <a:pos x="T4" y="T5"/>
                  </a:cxn>
                  <a:cxn ang="0">
                    <a:pos x="T6" y="T7"/>
                  </a:cxn>
                </a:cxnLst>
                <a:rect l="0" t="0" r="r" b="b"/>
                <a:pathLst>
                  <a:path w="137" h="137">
                    <a:moveTo>
                      <a:pt x="137" y="137"/>
                    </a:moveTo>
                    <a:cubicBezTo>
                      <a:pt x="137" y="61"/>
                      <a:pt x="76" y="0"/>
                      <a:pt x="0" y="0"/>
                    </a:cubicBezTo>
                    <a:cubicBezTo>
                      <a:pt x="0" y="137"/>
                      <a:pt x="0" y="137"/>
                      <a:pt x="0" y="137"/>
                    </a:cubicBezTo>
                    <a:lnTo>
                      <a:pt x="137" y="137"/>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46" name="TextBox 31"/>
              <p:cNvSpPr txBox="1">
                <a:spLocks noChangeArrowheads="1"/>
              </p:cNvSpPr>
              <p:nvPr/>
            </p:nvSpPr>
            <p:spPr bwMode="auto">
              <a:xfrm>
                <a:off x="13145115" y="8103272"/>
                <a:ext cx="2189788"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5</a:t>
                </a:r>
                <a:endParaRPr lang="id-ID" sz="2800" b="1" dirty="0">
                  <a:solidFill>
                    <a:schemeClr val="bg1"/>
                  </a:solidFill>
                  <a:latin typeface="+mn-lt"/>
                  <a:ea typeface="Lato Black" pitchFamily="34" charset="0"/>
                  <a:cs typeface="Lato Black" pitchFamily="34" charset="0"/>
                </a:endParaRPr>
              </a:p>
            </p:txBody>
          </p:sp>
        </p:grpSp>
        <p:grpSp>
          <p:nvGrpSpPr>
            <p:cNvPr id="47" name="กลุ่ม 203"/>
            <p:cNvGrpSpPr/>
            <p:nvPr/>
          </p:nvGrpSpPr>
          <p:grpSpPr>
            <a:xfrm>
              <a:off x="5438493" y="4049754"/>
              <a:ext cx="1127029" cy="1117604"/>
              <a:chOff x="10436225" y="7086600"/>
              <a:chExt cx="2503790" cy="2482850"/>
            </a:xfrm>
          </p:grpSpPr>
          <p:sp>
            <p:nvSpPr>
              <p:cNvPr id="48" name="Freeform 15"/>
              <p:cNvSpPr>
                <a:spLocks/>
              </p:cNvSpPr>
              <p:nvPr/>
            </p:nvSpPr>
            <p:spPr bwMode="auto">
              <a:xfrm>
                <a:off x="10436225" y="7086600"/>
                <a:ext cx="2465388" cy="2482850"/>
              </a:xfrm>
              <a:custGeom>
                <a:avLst/>
                <a:gdLst>
                  <a:gd name="T0" fmla="*/ 136 w 136"/>
                  <a:gd name="T1" fmla="*/ 137 h 137"/>
                  <a:gd name="T2" fmla="*/ 136 w 136"/>
                  <a:gd name="T3" fmla="*/ 0 h 137"/>
                  <a:gd name="T4" fmla="*/ 0 w 136"/>
                  <a:gd name="T5" fmla="*/ 0 h 137"/>
                  <a:gd name="T6" fmla="*/ 136 w 136"/>
                  <a:gd name="T7" fmla="*/ 137 h 137"/>
                </a:gdLst>
                <a:ahLst/>
                <a:cxnLst>
                  <a:cxn ang="0">
                    <a:pos x="T0" y="T1"/>
                  </a:cxn>
                  <a:cxn ang="0">
                    <a:pos x="T2" y="T3"/>
                  </a:cxn>
                  <a:cxn ang="0">
                    <a:pos x="T4" y="T5"/>
                  </a:cxn>
                  <a:cxn ang="0">
                    <a:pos x="T6" y="T7"/>
                  </a:cxn>
                </a:cxnLst>
                <a:rect l="0" t="0" r="r" b="b"/>
                <a:pathLst>
                  <a:path w="136" h="137">
                    <a:moveTo>
                      <a:pt x="136" y="137"/>
                    </a:moveTo>
                    <a:cubicBezTo>
                      <a:pt x="136" y="0"/>
                      <a:pt x="136" y="0"/>
                      <a:pt x="136" y="0"/>
                    </a:cubicBezTo>
                    <a:cubicBezTo>
                      <a:pt x="0" y="0"/>
                      <a:pt x="0" y="0"/>
                      <a:pt x="0" y="0"/>
                    </a:cubicBezTo>
                    <a:cubicBezTo>
                      <a:pt x="0" y="76"/>
                      <a:pt x="61" y="137"/>
                      <a:pt x="136" y="137"/>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49" name="TextBox 31"/>
              <p:cNvSpPr txBox="1">
                <a:spLocks noChangeArrowheads="1"/>
              </p:cNvSpPr>
              <p:nvPr/>
            </p:nvSpPr>
            <p:spPr bwMode="auto">
              <a:xfrm>
                <a:off x="10750228" y="7518736"/>
                <a:ext cx="2189787"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4</a:t>
                </a:r>
                <a:endParaRPr lang="id-ID" sz="2800" b="1" dirty="0">
                  <a:solidFill>
                    <a:schemeClr val="bg1"/>
                  </a:solidFill>
                  <a:latin typeface="+mn-lt"/>
                  <a:ea typeface="Lato Black" pitchFamily="34" charset="0"/>
                  <a:cs typeface="Lato Black" pitchFamily="34" charset="0"/>
                </a:endParaRPr>
              </a:p>
            </p:txBody>
          </p:sp>
        </p:grpSp>
        <p:grpSp>
          <p:nvGrpSpPr>
            <p:cNvPr id="50" name="กลุ่ม 206"/>
            <p:cNvGrpSpPr/>
            <p:nvPr/>
          </p:nvGrpSpPr>
          <p:grpSpPr>
            <a:xfrm>
              <a:off x="5438493" y="2874983"/>
              <a:ext cx="1117604" cy="1117604"/>
              <a:chOff x="10436225" y="4476750"/>
              <a:chExt cx="2482850" cy="2482850"/>
            </a:xfrm>
            <a:solidFill>
              <a:srgbClr val="012169"/>
            </a:solidFill>
          </p:grpSpPr>
          <p:sp>
            <p:nvSpPr>
              <p:cNvPr id="51" name="Freeform 16"/>
              <p:cNvSpPr>
                <a:spLocks/>
              </p:cNvSpPr>
              <p:nvPr/>
            </p:nvSpPr>
            <p:spPr bwMode="auto">
              <a:xfrm>
                <a:off x="10436225" y="4476750"/>
                <a:ext cx="2482850" cy="2482850"/>
              </a:xfrm>
              <a:custGeom>
                <a:avLst/>
                <a:gdLst>
                  <a:gd name="T0" fmla="*/ 137 w 137"/>
                  <a:gd name="T1" fmla="*/ 137 h 137"/>
                  <a:gd name="T2" fmla="*/ 0 w 137"/>
                  <a:gd name="T3" fmla="*/ 0 h 137"/>
                  <a:gd name="T4" fmla="*/ 0 w 137"/>
                  <a:gd name="T5" fmla="*/ 137 h 137"/>
                  <a:gd name="T6" fmla="*/ 137 w 137"/>
                  <a:gd name="T7" fmla="*/ 137 h 137"/>
                </a:gdLst>
                <a:ahLst/>
                <a:cxnLst>
                  <a:cxn ang="0">
                    <a:pos x="T0" y="T1"/>
                  </a:cxn>
                  <a:cxn ang="0">
                    <a:pos x="T2" y="T3"/>
                  </a:cxn>
                  <a:cxn ang="0">
                    <a:pos x="T4" y="T5"/>
                  </a:cxn>
                  <a:cxn ang="0">
                    <a:pos x="T6" y="T7"/>
                  </a:cxn>
                </a:cxnLst>
                <a:rect l="0" t="0" r="r" b="b"/>
                <a:pathLst>
                  <a:path w="137" h="137">
                    <a:moveTo>
                      <a:pt x="137" y="137"/>
                    </a:moveTo>
                    <a:cubicBezTo>
                      <a:pt x="137" y="61"/>
                      <a:pt x="76" y="0"/>
                      <a:pt x="0" y="0"/>
                    </a:cubicBezTo>
                    <a:cubicBezTo>
                      <a:pt x="0" y="137"/>
                      <a:pt x="0" y="137"/>
                      <a:pt x="0" y="137"/>
                    </a:cubicBezTo>
                    <a:lnTo>
                      <a:pt x="137" y="13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52" name="TextBox 31"/>
              <p:cNvSpPr txBox="1">
                <a:spLocks noChangeArrowheads="1"/>
              </p:cNvSpPr>
              <p:nvPr/>
            </p:nvSpPr>
            <p:spPr bwMode="auto">
              <a:xfrm>
                <a:off x="10439831" y="5588674"/>
                <a:ext cx="2189788"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3</a:t>
                </a:r>
                <a:endParaRPr lang="id-ID" sz="2800" b="1" dirty="0">
                  <a:solidFill>
                    <a:schemeClr val="bg1"/>
                  </a:solidFill>
                  <a:latin typeface="+mn-lt"/>
                  <a:ea typeface="Lato Black" pitchFamily="34" charset="0"/>
                  <a:cs typeface="Lato Black" pitchFamily="34" charset="0"/>
                </a:endParaRPr>
              </a:p>
            </p:txBody>
          </p:sp>
        </p:grpSp>
        <p:grpSp>
          <p:nvGrpSpPr>
            <p:cNvPr id="57" name="กลุ่ม 209"/>
            <p:cNvGrpSpPr/>
            <p:nvPr/>
          </p:nvGrpSpPr>
          <p:grpSpPr>
            <a:xfrm>
              <a:off x="4263723" y="2874983"/>
              <a:ext cx="1126409" cy="1117604"/>
              <a:chOff x="7826375" y="4476750"/>
              <a:chExt cx="2502412" cy="2482850"/>
            </a:xfrm>
          </p:grpSpPr>
          <p:sp>
            <p:nvSpPr>
              <p:cNvPr id="58" name="Freeform 17"/>
              <p:cNvSpPr>
                <a:spLocks/>
              </p:cNvSpPr>
              <p:nvPr/>
            </p:nvSpPr>
            <p:spPr bwMode="auto">
              <a:xfrm>
                <a:off x="7826375" y="4476750"/>
                <a:ext cx="2482850" cy="2482850"/>
              </a:xfrm>
              <a:custGeom>
                <a:avLst/>
                <a:gdLst>
                  <a:gd name="T0" fmla="*/ 137 w 137"/>
                  <a:gd name="T1" fmla="*/ 137 h 137"/>
                  <a:gd name="T2" fmla="*/ 137 w 137"/>
                  <a:gd name="T3" fmla="*/ 0 h 137"/>
                  <a:gd name="T4" fmla="*/ 0 w 137"/>
                  <a:gd name="T5" fmla="*/ 0 h 137"/>
                  <a:gd name="T6" fmla="*/ 137 w 137"/>
                  <a:gd name="T7" fmla="*/ 137 h 137"/>
                </a:gdLst>
                <a:ahLst/>
                <a:cxnLst>
                  <a:cxn ang="0">
                    <a:pos x="T0" y="T1"/>
                  </a:cxn>
                  <a:cxn ang="0">
                    <a:pos x="T2" y="T3"/>
                  </a:cxn>
                  <a:cxn ang="0">
                    <a:pos x="T4" y="T5"/>
                  </a:cxn>
                  <a:cxn ang="0">
                    <a:pos x="T6" y="T7"/>
                  </a:cxn>
                </a:cxnLst>
                <a:rect l="0" t="0" r="r" b="b"/>
                <a:pathLst>
                  <a:path w="137" h="137">
                    <a:moveTo>
                      <a:pt x="137" y="137"/>
                    </a:moveTo>
                    <a:cubicBezTo>
                      <a:pt x="137" y="0"/>
                      <a:pt x="137" y="0"/>
                      <a:pt x="137" y="0"/>
                    </a:cubicBezTo>
                    <a:cubicBezTo>
                      <a:pt x="0" y="0"/>
                      <a:pt x="0" y="0"/>
                      <a:pt x="0" y="0"/>
                    </a:cubicBezTo>
                    <a:cubicBezTo>
                      <a:pt x="0" y="76"/>
                      <a:pt x="61" y="137"/>
                      <a:pt x="137" y="137"/>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59" name="TextBox 31"/>
              <p:cNvSpPr txBox="1">
                <a:spLocks noChangeArrowheads="1"/>
              </p:cNvSpPr>
              <p:nvPr/>
            </p:nvSpPr>
            <p:spPr bwMode="auto">
              <a:xfrm>
                <a:off x="8139001" y="4999473"/>
                <a:ext cx="2189786"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2</a:t>
                </a:r>
                <a:endParaRPr lang="id-ID" sz="2800" b="1" dirty="0">
                  <a:solidFill>
                    <a:schemeClr val="bg1"/>
                  </a:solidFill>
                  <a:latin typeface="+mn-lt"/>
                  <a:ea typeface="Lato Black" pitchFamily="34" charset="0"/>
                  <a:cs typeface="Lato Black" pitchFamily="34" charset="0"/>
                </a:endParaRPr>
              </a:p>
            </p:txBody>
          </p:sp>
        </p:grpSp>
        <p:grpSp>
          <p:nvGrpSpPr>
            <p:cNvPr id="60" name="กลุ่ม 212"/>
            <p:cNvGrpSpPr/>
            <p:nvPr/>
          </p:nvGrpSpPr>
          <p:grpSpPr>
            <a:xfrm>
              <a:off x="4263723" y="1700213"/>
              <a:ext cx="1109743" cy="1117604"/>
              <a:chOff x="7826375" y="1866900"/>
              <a:chExt cx="2465388" cy="2482850"/>
            </a:xfrm>
          </p:grpSpPr>
          <p:sp>
            <p:nvSpPr>
              <p:cNvPr id="61" name="Freeform 18"/>
              <p:cNvSpPr>
                <a:spLocks/>
              </p:cNvSpPr>
              <p:nvPr/>
            </p:nvSpPr>
            <p:spPr bwMode="auto">
              <a:xfrm>
                <a:off x="7826375" y="1866900"/>
                <a:ext cx="2465388" cy="2482850"/>
              </a:xfrm>
              <a:custGeom>
                <a:avLst/>
                <a:gdLst>
                  <a:gd name="T0" fmla="*/ 136 w 136"/>
                  <a:gd name="T1" fmla="*/ 137 h 137"/>
                  <a:gd name="T2" fmla="*/ 0 w 136"/>
                  <a:gd name="T3" fmla="*/ 0 h 137"/>
                  <a:gd name="T4" fmla="*/ 0 w 136"/>
                  <a:gd name="T5" fmla="*/ 137 h 137"/>
                  <a:gd name="T6" fmla="*/ 136 w 136"/>
                  <a:gd name="T7" fmla="*/ 137 h 137"/>
                </a:gdLst>
                <a:ahLst/>
                <a:cxnLst>
                  <a:cxn ang="0">
                    <a:pos x="T0" y="T1"/>
                  </a:cxn>
                  <a:cxn ang="0">
                    <a:pos x="T2" y="T3"/>
                  </a:cxn>
                  <a:cxn ang="0">
                    <a:pos x="T4" y="T5"/>
                  </a:cxn>
                  <a:cxn ang="0">
                    <a:pos x="T6" y="T7"/>
                  </a:cxn>
                </a:cxnLst>
                <a:rect l="0" t="0" r="r" b="b"/>
                <a:pathLst>
                  <a:path w="136" h="137">
                    <a:moveTo>
                      <a:pt x="136" y="137"/>
                    </a:moveTo>
                    <a:cubicBezTo>
                      <a:pt x="136" y="61"/>
                      <a:pt x="75" y="0"/>
                      <a:pt x="0" y="0"/>
                    </a:cubicBezTo>
                    <a:cubicBezTo>
                      <a:pt x="0" y="137"/>
                      <a:pt x="0" y="137"/>
                      <a:pt x="0" y="137"/>
                    </a:cubicBezTo>
                    <a:lnTo>
                      <a:pt x="136" y="137"/>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2" name="TextBox 31"/>
              <p:cNvSpPr txBox="1">
                <a:spLocks noChangeArrowheads="1"/>
              </p:cNvSpPr>
              <p:nvPr/>
            </p:nvSpPr>
            <p:spPr bwMode="auto">
              <a:xfrm>
                <a:off x="7894635" y="3171238"/>
                <a:ext cx="2189787"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1</a:t>
                </a:r>
                <a:endParaRPr lang="id-ID" sz="2800" b="1" dirty="0">
                  <a:solidFill>
                    <a:schemeClr val="bg1"/>
                  </a:solidFill>
                  <a:latin typeface="+mn-lt"/>
                  <a:ea typeface="Lato Black" pitchFamily="34" charset="0"/>
                  <a:cs typeface="Lato Black" pitchFamily="34" charset="0"/>
                </a:endParaRPr>
              </a:p>
            </p:txBody>
          </p:sp>
        </p:grpSp>
      </p:grpSp>
      <p:grpSp>
        <p:nvGrpSpPr>
          <p:cNvPr id="4" name="组合 3"/>
          <p:cNvGrpSpPr/>
          <p:nvPr/>
        </p:nvGrpSpPr>
        <p:grpSpPr>
          <a:xfrm>
            <a:off x="1982358" y="1502157"/>
            <a:ext cx="1837758" cy="3831295"/>
            <a:chOff x="2193926" y="2067442"/>
            <a:chExt cx="1837758" cy="3831295"/>
          </a:xfrm>
        </p:grpSpPr>
        <p:sp>
          <p:nvSpPr>
            <p:cNvPr id="64" name="TextBox 216"/>
            <p:cNvSpPr txBox="1"/>
            <p:nvPr/>
          </p:nvSpPr>
          <p:spPr>
            <a:xfrm>
              <a:off x="2193926" y="2067442"/>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sp>
          <p:nvSpPr>
            <p:cNvPr id="77" name="TextBox 221"/>
            <p:cNvSpPr txBox="1"/>
            <p:nvPr/>
          </p:nvSpPr>
          <p:spPr>
            <a:xfrm>
              <a:off x="2193926" y="3764587"/>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sp>
          <p:nvSpPr>
            <p:cNvPr id="90" name="TextBox 226"/>
            <p:cNvSpPr txBox="1"/>
            <p:nvPr/>
          </p:nvSpPr>
          <p:spPr>
            <a:xfrm>
              <a:off x="2193926" y="5461731"/>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grpSp>
      <p:grpSp>
        <p:nvGrpSpPr>
          <p:cNvPr id="3" name="组合 2"/>
          <p:cNvGrpSpPr/>
          <p:nvPr/>
        </p:nvGrpSpPr>
        <p:grpSpPr>
          <a:xfrm>
            <a:off x="10193866" y="1313418"/>
            <a:ext cx="671580" cy="4095797"/>
            <a:chOff x="8125763" y="2203403"/>
            <a:chExt cx="671580" cy="4095797"/>
          </a:xfrm>
        </p:grpSpPr>
        <p:sp>
          <p:nvSpPr>
            <p:cNvPr id="131" name="Freeform 36"/>
            <p:cNvSpPr>
              <a:spLocks noChangeAspect="1" noEditPoints="1"/>
            </p:cNvSpPr>
            <p:nvPr/>
          </p:nvSpPr>
          <p:spPr bwMode="auto">
            <a:xfrm>
              <a:off x="8125763" y="2203403"/>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32" name="Freeform 36"/>
            <p:cNvSpPr>
              <a:spLocks noChangeAspect="1" noEditPoints="1"/>
            </p:cNvSpPr>
            <p:nvPr/>
          </p:nvSpPr>
          <p:spPr bwMode="auto">
            <a:xfrm>
              <a:off x="8125763" y="3915512"/>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33" name="Freeform 36"/>
            <p:cNvSpPr>
              <a:spLocks noChangeAspect="1" noEditPoints="1"/>
            </p:cNvSpPr>
            <p:nvPr/>
          </p:nvSpPr>
          <p:spPr bwMode="auto">
            <a:xfrm>
              <a:off x="8125763" y="5627620"/>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grpSp>
      <p:grpSp>
        <p:nvGrpSpPr>
          <p:cNvPr id="134" name="组合 133"/>
          <p:cNvGrpSpPr/>
          <p:nvPr/>
        </p:nvGrpSpPr>
        <p:grpSpPr>
          <a:xfrm>
            <a:off x="1319919" y="1313418"/>
            <a:ext cx="671580" cy="4095797"/>
            <a:chOff x="8125763" y="2203403"/>
            <a:chExt cx="671580" cy="4095797"/>
          </a:xfrm>
        </p:grpSpPr>
        <p:sp>
          <p:nvSpPr>
            <p:cNvPr id="135" name="Freeform 36"/>
            <p:cNvSpPr>
              <a:spLocks noChangeAspect="1" noEditPoints="1"/>
            </p:cNvSpPr>
            <p:nvPr/>
          </p:nvSpPr>
          <p:spPr bwMode="auto">
            <a:xfrm>
              <a:off x="8125763" y="2203403"/>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36" name="Freeform 36"/>
            <p:cNvSpPr>
              <a:spLocks noChangeAspect="1" noEditPoints="1"/>
            </p:cNvSpPr>
            <p:nvPr/>
          </p:nvSpPr>
          <p:spPr bwMode="auto">
            <a:xfrm>
              <a:off x="8125763" y="3915512"/>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37" name="Freeform 36"/>
            <p:cNvSpPr>
              <a:spLocks noChangeAspect="1" noEditPoints="1"/>
            </p:cNvSpPr>
            <p:nvPr/>
          </p:nvSpPr>
          <p:spPr bwMode="auto">
            <a:xfrm>
              <a:off x="8125763" y="5627620"/>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grpSp>
      <p:grpSp>
        <p:nvGrpSpPr>
          <p:cNvPr id="138" name="组合 137"/>
          <p:cNvGrpSpPr/>
          <p:nvPr/>
        </p:nvGrpSpPr>
        <p:grpSpPr>
          <a:xfrm>
            <a:off x="8371884" y="1457225"/>
            <a:ext cx="1837758" cy="3831295"/>
            <a:chOff x="2193926" y="2067442"/>
            <a:chExt cx="1837758" cy="3831295"/>
          </a:xfrm>
        </p:grpSpPr>
        <p:sp>
          <p:nvSpPr>
            <p:cNvPr id="139" name="TextBox 216"/>
            <p:cNvSpPr txBox="1"/>
            <p:nvPr/>
          </p:nvSpPr>
          <p:spPr>
            <a:xfrm>
              <a:off x="2193926" y="2067442"/>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sp>
          <p:nvSpPr>
            <p:cNvPr id="140" name="TextBox 221"/>
            <p:cNvSpPr txBox="1"/>
            <p:nvPr/>
          </p:nvSpPr>
          <p:spPr>
            <a:xfrm>
              <a:off x="2193926" y="3764587"/>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sp>
          <p:nvSpPr>
            <p:cNvPr id="141" name="TextBox 226"/>
            <p:cNvSpPr txBox="1"/>
            <p:nvPr/>
          </p:nvSpPr>
          <p:spPr>
            <a:xfrm>
              <a:off x="2193926" y="5461731"/>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grpSp>
    </p:spTree>
    <p:custDataLst>
      <p:tags r:id="rId1"/>
    </p:custDataLst>
    <p:extLst>
      <p:ext uri="{BB962C8B-B14F-4D97-AF65-F5344CB8AC3E}">
        <p14:creationId xmlns:p14="http://schemas.microsoft.com/office/powerpoint/2010/main" val="3820500076"/>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4EB297-48F4-4DC5-8E6A-00634AD3CA19}"/>
              </a:ext>
            </a:extLst>
          </p:cNvPr>
          <p:cNvGrpSpPr/>
          <p:nvPr/>
        </p:nvGrpSpPr>
        <p:grpSpPr>
          <a:xfrm>
            <a:off x="1570592" y="1026695"/>
            <a:ext cx="9424413" cy="4471371"/>
            <a:chOff x="2241244" y="1666189"/>
            <a:chExt cx="8144161" cy="3863961"/>
          </a:xfrm>
        </p:grpSpPr>
        <p:sp>
          <p:nvSpPr>
            <p:cNvPr id="37" name="Rounded Rectangle 36">
              <a:extLst>
                <a:ext uri="{FF2B5EF4-FFF2-40B4-BE49-F238E27FC236}">
                  <a16:creationId xmlns:a16="http://schemas.microsoft.com/office/drawing/2014/main" id="{3735FD84-32EF-CA40-A611-ADAB11489D3D}"/>
                </a:ext>
              </a:extLst>
            </p:cNvPr>
            <p:cNvSpPr/>
            <p:nvPr/>
          </p:nvSpPr>
          <p:spPr>
            <a:xfrm>
              <a:off x="5366206" y="4019180"/>
              <a:ext cx="1510970" cy="1510970"/>
            </a:xfrm>
            <a:prstGeom prst="roundRect">
              <a:avLst/>
            </a:prstGeom>
            <a:solidFill>
              <a:schemeClr val="accent6"/>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Rounded Rectangle 37">
              <a:extLst>
                <a:ext uri="{FF2B5EF4-FFF2-40B4-BE49-F238E27FC236}">
                  <a16:creationId xmlns:a16="http://schemas.microsoft.com/office/drawing/2014/main" id="{01828D8A-D35F-6544-A213-31A6D9AA67D2}"/>
                </a:ext>
              </a:extLst>
            </p:cNvPr>
            <p:cNvSpPr/>
            <p:nvPr/>
          </p:nvSpPr>
          <p:spPr>
            <a:xfrm>
              <a:off x="5366206" y="3627014"/>
              <a:ext cx="1510970" cy="1510970"/>
            </a:xfrm>
            <a:prstGeom prst="roundRect">
              <a:avLst/>
            </a:prstGeom>
            <a:solidFill>
              <a:schemeClr val="accent5"/>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ounded Rectangle 38">
              <a:extLst>
                <a:ext uri="{FF2B5EF4-FFF2-40B4-BE49-F238E27FC236}">
                  <a16:creationId xmlns:a16="http://schemas.microsoft.com/office/drawing/2014/main" id="{B0CEF117-C44C-7E41-9B00-78B213BEA3A5}"/>
                </a:ext>
              </a:extLst>
            </p:cNvPr>
            <p:cNvSpPr/>
            <p:nvPr/>
          </p:nvSpPr>
          <p:spPr>
            <a:xfrm>
              <a:off x="5366206" y="3234849"/>
              <a:ext cx="1510970" cy="1510970"/>
            </a:xfrm>
            <a:prstGeom prst="roundRect">
              <a:avLst/>
            </a:prstGeom>
            <a:solidFill>
              <a:schemeClr val="accent3"/>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ounded Rectangle 39">
              <a:extLst>
                <a:ext uri="{FF2B5EF4-FFF2-40B4-BE49-F238E27FC236}">
                  <a16:creationId xmlns:a16="http://schemas.microsoft.com/office/drawing/2014/main" id="{25CF612A-8215-2B46-B84B-925B9031C92A}"/>
                </a:ext>
              </a:extLst>
            </p:cNvPr>
            <p:cNvSpPr/>
            <p:nvPr/>
          </p:nvSpPr>
          <p:spPr>
            <a:xfrm>
              <a:off x="5366206" y="2842684"/>
              <a:ext cx="1510970" cy="1510970"/>
            </a:xfrm>
            <a:prstGeom prst="roundRect">
              <a:avLst/>
            </a:prstGeom>
            <a:solidFill>
              <a:schemeClr val="accent2"/>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ounded Rectangle 40">
              <a:extLst>
                <a:ext uri="{FF2B5EF4-FFF2-40B4-BE49-F238E27FC236}">
                  <a16:creationId xmlns:a16="http://schemas.microsoft.com/office/drawing/2014/main" id="{BAC3746E-B29D-1447-8409-A1F36F66713B}"/>
                </a:ext>
              </a:extLst>
            </p:cNvPr>
            <p:cNvSpPr/>
            <p:nvPr/>
          </p:nvSpPr>
          <p:spPr>
            <a:xfrm>
              <a:off x="5366206" y="2450519"/>
              <a:ext cx="1510970" cy="1510970"/>
            </a:xfrm>
            <a:prstGeom prst="roundRect">
              <a:avLst/>
            </a:prstGeom>
            <a:solidFill>
              <a:schemeClr val="accent1"/>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ounded Rectangle 41">
              <a:extLst>
                <a:ext uri="{FF2B5EF4-FFF2-40B4-BE49-F238E27FC236}">
                  <a16:creationId xmlns:a16="http://schemas.microsoft.com/office/drawing/2014/main" id="{477EBB22-1222-5D45-8039-60B177B84A58}"/>
                </a:ext>
              </a:extLst>
            </p:cNvPr>
            <p:cNvSpPr/>
            <p:nvPr/>
          </p:nvSpPr>
          <p:spPr>
            <a:xfrm>
              <a:off x="5366206" y="2058354"/>
              <a:ext cx="1510970" cy="1510970"/>
            </a:xfrm>
            <a:prstGeom prst="roundRect">
              <a:avLst/>
            </a:prstGeom>
            <a:solidFill>
              <a:schemeClr val="tx2"/>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Rounded Rectangle 42">
              <a:extLst>
                <a:ext uri="{FF2B5EF4-FFF2-40B4-BE49-F238E27FC236}">
                  <a16:creationId xmlns:a16="http://schemas.microsoft.com/office/drawing/2014/main" id="{2DB46522-AE15-A849-9F54-36C01B53F514}"/>
                </a:ext>
              </a:extLst>
            </p:cNvPr>
            <p:cNvSpPr/>
            <p:nvPr/>
          </p:nvSpPr>
          <p:spPr>
            <a:xfrm>
              <a:off x="5366206" y="1666189"/>
              <a:ext cx="1510970" cy="1510970"/>
            </a:xfrm>
            <a:prstGeom prst="roundRect">
              <a:avLst/>
            </a:prstGeom>
            <a:solidFill>
              <a:schemeClr val="tx1"/>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44" name="Group 43">
              <a:extLst>
                <a:ext uri="{FF2B5EF4-FFF2-40B4-BE49-F238E27FC236}">
                  <a16:creationId xmlns:a16="http://schemas.microsoft.com/office/drawing/2014/main" id="{B5973143-A898-7F49-890C-91B816DEC881}"/>
                </a:ext>
              </a:extLst>
            </p:cNvPr>
            <p:cNvGrpSpPr/>
            <p:nvPr/>
          </p:nvGrpSpPr>
          <p:grpSpPr>
            <a:xfrm>
              <a:off x="4249033" y="2858257"/>
              <a:ext cx="1117173" cy="1524242"/>
              <a:chOff x="2146630" y="2858257"/>
              <a:chExt cx="1695576" cy="1524242"/>
            </a:xfrm>
          </p:grpSpPr>
          <p:cxnSp>
            <p:nvCxnSpPr>
              <p:cNvPr id="45" name="Straight Connector 44">
                <a:extLst>
                  <a:ext uri="{FF2B5EF4-FFF2-40B4-BE49-F238E27FC236}">
                    <a16:creationId xmlns:a16="http://schemas.microsoft.com/office/drawing/2014/main" id="{8D008D5D-F885-024F-A63A-0F3382B190BA}"/>
                  </a:ext>
                </a:extLst>
              </p:cNvPr>
              <p:cNvCxnSpPr/>
              <p:nvPr/>
            </p:nvCxnSpPr>
            <p:spPr>
              <a:xfrm flipH="1">
                <a:off x="2146630" y="2858257"/>
                <a:ext cx="1695576"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F18E9AE-DAAF-D347-A023-2F8A387897CF}"/>
                  </a:ext>
                </a:extLst>
              </p:cNvPr>
              <p:cNvCxnSpPr/>
              <p:nvPr/>
            </p:nvCxnSpPr>
            <p:spPr>
              <a:xfrm flipH="1">
                <a:off x="2146630" y="3627014"/>
                <a:ext cx="1695576" cy="0"/>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EE434B1-D1FB-5E41-B362-C1B4E5FD21B0}"/>
                  </a:ext>
                </a:extLst>
              </p:cNvPr>
              <p:cNvCxnSpPr/>
              <p:nvPr/>
            </p:nvCxnSpPr>
            <p:spPr>
              <a:xfrm flipH="1">
                <a:off x="2146630" y="4382499"/>
                <a:ext cx="1695576" cy="0"/>
              </a:xfrm>
              <a:prstGeom prst="line">
                <a:avLst/>
              </a:prstGeom>
              <a:ln>
                <a:solidFill>
                  <a:schemeClr val="accent5"/>
                </a:solidFill>
                <a:tailEnd type="oval"/>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B9A93F55-B9A4-AF49-8306-47F447C324B2}"/>
                </a:ext>
              </a:extLst>
            </p:cNvPr>
            <p:cNvGrpSpPr/>
            <p:nvPr/>
          </p:nvGrpSpPr>
          <p:grpSpPr>
            <a:xfrm>
              <a:off x="6880114" y="3189270"/>
              <a:ext cx="953852" cy="1524242"/>
              <a:chOff x="5356114" y="3189270"/>
              <a:chExt cx="1741084" cy="1524242"/>
            </a:xfrm>
          </p:grpSpPr>
          <p:cxnSp>
            <p:nvCxnSpPr>
              <p:cNvPr id="72" name="Straight Connector 71">
                <a:extLst>
                  <a:ext uri="{FF2B5EF4-FFF2-40B4-BE49-F238E27FC236}">
                    <a16:creationId xmlns:a16="http://schemas.microsoft.com/office/drawing/2014/main" id="{96EB8F33-CBFD-F74C-8DDF-43365828A123}"/>
                  </a:ext>
                </a:extLst>
              </p:cNvPr>
              <p:cNvCxnSpPr/>
              <p:nvPr/>
            </p:nvCxnSpPr>
            <p:spPr>
              <a:xfrm>
                <a:off x="5401622" y="3189270"/>
                <a:ext cx="1695576" cy="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E25E4DE0-1D17-B243-A1BC-EB14C23774EE}"/>
                  </a:ext>
                </a:extLst>
              </p:cNvPr>
              <p:cNvCxnSpPr/>
              <p:nvPr/>
            </p:nvCxnSpPr>
            <p:spPr>
              <a:xfrm>
                <a:off x="5356114" y="3958027"/>
                <a:ext cx="1695576"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EF8167A-83B5-7744-B067-60663E5037BB}"/>
                  </a:ext>
                </a:extLst>
              </p:cNvPr>
              <p:cNvCxnSpPr/>
              <p:nvPr/>
            </p:nvCxnSpPr>
            <p:spPr>
              <a:xfrm>
                <a:off x="5356114" y="4713512"/>
                <a:ext cx="1695576" cy="0"/>
              </a:xfrm>
              <a:prstGeom prst="line">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grpSp>
          <p:nvGrpSpPr>
            <p:cNvPr id="75" name="Group 578">
              <a:extLst>
                <a:ext uri="{FF2B5EF4-FFF2-40B4-BE49-F238E27FC236}">
                  <a16:creationId xmlns:a16="http://schemas.microsoft.com/office/drawing/2014/main" id="{9F761CCC-9A32-3542-BBBD-5F404510E717}"/>
                </a:ext>
              </a:extLst>
            </p:cNvPr>
            <p:cNvGrpSpPr>
              <a:grpSpLocks noChangeAspect="1"/>
            </p:cNvGrpSpPr>
            <p:nvPr/>
          </p:nvGrpSpPr>
          <p:grpSpPr bwMode="auto">
            <a:xfrm>
              <a:off x="5788656" y="2074475"/>
              <a:ext cx="666071" cy="666071"/>
              <a:chOff x="1932" y="2478"/>
              <a:chExt cx="340" cy="340"/>
            </a:xfrm>
            <a:solidFill>
              <a:schemeClr val="bg1"/>
            </a:solidFill>
          </p:grpSpPr>
          <p:sp>
            <p:nvSpPr>
              <p:cNvPr id="76" name="Freeform 579">
                <a:extLst>
                  <a:ext uri="{FF2B5EF4-FFF2-40B4-BE49-F238E27FC236}">
                    <a16:creationId xmlns:a16="http://schemas.microsoft.com/office/drawing/2014/main" id="{1DBF843E-C87D-2B4D-BF66-29796115DFC3}"/>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580">
                <a:extLst>
                  <a:ext uri="{FF2B5EF4-FFF2-40B4-BE49-F238E27FC236}">
                    <a16:creationId xmlns:a16="http://schemas.microsoft.com/office/drawing/2014/main" id="{A08ABCA8-2F3C-0143-97E7-74A342034FDF}"/>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8" name="Rectangle 77">
              <a:extLst>
                <a:ext uri="{FF2B5EF4-FFF2-40B4-BE49-F238E27FC236}">
                  <a16:creationId xmlns:a16="http://schemas.microsoft.com/office/drawing/2014/main" id="{3464799F-2F23-DB49-9C55-87D2C276F300}"/>
                </a:ext>
              </a:extLst>
            </p:cNvPr>
            <p:cNvSpPr/>
            <p:nvPr/>
          </p:nvSpPr>
          <p:spPr>
            <a:xfrm>
              <a:off x="2241244" y="2669435"/>
              <a:ext cx="2330757"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sp>
          <p:nvSpPr>
            <p:cNvPr id="79" name="Rectangle 78">
              <a:extLst>
                <a:ext uri="{FF2B5EF4-FFF2-40B4-BE49-F238E27FC236}">
                  <a16:creationId xmlns:a16="http://schemas.microsoft.com/office/drawing/2014/main" id="{216D69F7-EF18-7142-9C23-4566BF396363}"/>
                </a:ext>
              </a:extLst>
            </p:cNvPr>
            <p:cNvSpPr/>
            <p:nvPr/>
          </p:nvSpPr>
          <p:spPr>
            <a:xfrm>
              <a:off x="2262788" y="3478602"/>
              <a:ext cx="1816689"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sp>
          <p:nvSpPr>
            <p:cNvPr id="80" name="Rectangle 79">
              <a:extLst>
                <a:ext uri="{FF2B5EF4-FFF2-40B4-BE49-F238E27FC236}">
                  <a16:creationId xmlns:a16="http://schemas.microsoft.com/office/drawing/2014/main" id="{019D77BB-3F33-C64C-9DAE-09CE2DCF8D7B}"/>
                </a:ext>
              </a:extLst>
            </p:cNvPr>
            <p:cNvSpPr/>
            <p:nvPr/>
          </p:nvSpPr>
          <p:spPr>
            <a:xfrm>
              <a:off x="2262788" y="4125136"/>
              <a:ext cx="1816689"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sp>
          <p:nvSpPr>
            <p:cNvPr id="81" name="Rectangle 80">
              <a:extLst>
                <a:ext uri="{FF2B5EF4-FFF2-40B4-BE49-F238E27FC236}">
                  <a16:creationId xmlns:a16="http://schemas.microsoft.com/office/drawing/2014/main" id="{FF8E3A00-3EA2-6844-9523-4CC9626A956C}"/>
                </a:ext>
              </a:extLst>
            </p:cNvPr>
            <p:cNvSpPr/>
            <p:nvPr/>
          </p:nvSpPr>
          <p:spPr>
            <a:xfrm>
              <a:off x="8054648" y="2980812"/>
              <a:ext cx="2330757"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sp>
          <p:nvSpPr>
            <p:cNvPr id="82" name="Rectangle 81">
              <a:extLst>
                <a:ext uri="{FF2B5EF4-FFF2-40B4-BE49-F238E27FC236}">
                  <a16:creationId xmlns:a16="http://schemas.microsoft.com/office/drawing/2014/main" id="{97D4BFC2-B808-9540-8DF7-5E82F89C313F}"/>
                </a:ext>
              </a:extLst>
            </p:cNvPr>
            <p:cNvSpPr/>
            <p:nvPr/>
          </p:nvSpPr>
          <p:spPr>
            <a:xfrm>
              <a:off x="8076192" y="3773361"/>
              <a:ext cx="1816689"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sp>
          <p:nvSpPr>
            <p:cNvPr id="83" name="Rectangle 82">
              <a:extLst>
                <a:ext uri="{FF2B5EF4-FFF2-40B4-BE49-F238E27FC236}">
                  <a16:creationId xmlns:a16="http://schemas.microsoft.com/office/drawing/2014/main" id="{D7DE9759-8D79-3043-8808-398E48E0DE1B}"/>
                </a:ext>
              </a:extLst>
            </p:cNvPr>
            <p:cNvSpPr/>
            <p:nvPr/>
          </p:nvSpPr>
          <p:spPr>
            <a:xfrm>
              <a:off x="8076192" y="4494468"/>
              <a:ext cx="1816689"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grpSp>
    </p:spTree>
    <p:custDataLst>
      <p:tags r:id="rId1"/>
    </p:custDataLst>
    <p:extLst>
      <p:ext uri="{BB962C8B-B14F-4D97-AF65-F5344CB8AC3E}">
        <p14:creationId xmlns:p14="http://schemas.microsoft.com/office/powerpoint/2010/main" val="2794682507"/>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932E012B-D599-47A1-9CA3-8BD1B544BD2E}"/>
              </a:ext>
            </a:extLst>
          </p:cNvPr>
          <p:cNvSpPr/>
          <p:nvPr/>
        </p:nvSpPr>
        <p:spPr bwMode="gray">
          <a:xfrm>
            <a:off x="5106625" y="6149320"/>
            <a:ext cx="1555749" cy="129476"/>
          </a:xfrm>
          <a:prstGeom prst="ellipse">
            <a:avLst/>
          </a:prstGeom>
          <a:solidFill>
            <a:srgbClr val="A7A8A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7" name="Oval 46">
            <a:extLst>
              <a:ext uri="{FF2B5EF4-FFF2-40B4-BE49-F238E27FC236}">
                <a16:creationId xmlns:a16="http://schemas.microsoft.com/office/drawing/2014/main" id="{76B5B1ED-F183-4010-B8CF-FE9D24AAC347}"/>
              </a:ext>
            </a:extLst>
          </p:cNvPr>
          <p:cNvSpPr/>
          <p:nvPr/>
        </p:nvSpPr>
        <p:spPr bwMode="gray">
          <a:xfrm>
            <a:off x="4674500" y="2336500"/>
            <a:ext cx="2843001" cy="2843001"/>
          </a:xfrm>
          <a:prstGeom prst="ellipse">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Oval 1">
            <a:extLst>
              <a:ext uri="{FF2B5EF4-FFF2-40B4-BE49-F238E27FC236}">
                <a16:creationId xmlns:a16="http://schemas.microsoft.com/office/drawing/2014/main" id="{8C14570C-EB6B-443F-B753-40213B5E4EE8}"/>
              </a:ext>
            </a:extLst>
          </p:cNvPr>
          <p:cNvSpPr/>
          <p:nvPr/>
        </p:nvSpPr>
        <p:spPr bwMode="gray">
          <a:xfrm>
            <a:off x="4751388" y="2346025"/>
            <a:ext cx="2702882" cy="2702880"/>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3" name="Rectangle 42">
            <a:extLst>
              <a:ext uri="{FF2B5EF4-FFF2-40B4-BE49-F238E27FC236}">
                <a16:creationId xmlns:a16="http://schemas.microsoft.com/office/drawing/2014/main" id="{5AD088C8-C45F-BF4E-8F8D-CE447F644A9C}"/>
              </a:ext>
            </a:extLst>
          </p:cNvPr>
          <p:cNvSpPr/>
          <p:nvPr/>
        </p:nvSpPr>
        <p:spPr>
          <a:xfrm>
            <a:off x="2844142" y="5661026"/>
            <a:ext cx="1183654" cy="307777"/>
          </a:xfrm>
          <a:prstGeom prst="rect">
            <a:avLst/>
          </a:prstGeom>
        </p:spPr>
        <p:txBody>
          <a:bodyPr wrap="square">
            <a:spAutoFit/>
          </a:bodyPr>
          <a:lstStyle/>
          <a:p>
            <a:pPr lvl="0" algn="ctr"/>
            <a:r>
              <a:rPr lang="en-US" sz="1400" dirty="0"/>
              <a:t>Lorem</a:t>
            </a:r>
          </a:p>
        </p:txBody>
      </p:sp>
      <p:grpSp>
        <p:nvGrpSpPr>
          <p:cNvPr id="3" name="Group 2">
            <a:extLst>
              <a:ext uri="{FF2B5EF4-FFF2-40B4-BE49-F238E27FC236}">
                <a16:creationId xmlns:a16="http://schemas.microsoft.com/office/drawing/2014/main" id="{51BD9A7D-83A6-47A9-8583-950840D562E1}"/>
              </a:ext>
            </a:extLst>
          </p:cNvPr>
          <p:cNvGrpSpPr/>
          <p:nvPr/>
        </p:nvGrpSpPr>
        <p:grpSpPr>
          <a:xfrm>
            <a:off x="5540013" y="2962276"/>
            <a:ext cx="1139825" cy="3260725"/>
            <a:chOff x="4033838" y="2962275"/>
            <a:chExt cx="1139825" cy="3260725"/>
          </a:xfrm>
          <a:solidFill>
            <a:schemeClr val="tx1">
              <a:lumMod val="75000"/>
              <a:lumOff val="25000"/>
            </a:schemeClr>
          </a:solidFill>
        </p:grpSpPr>
        <p:sp>
          <p:nvSpPr>
            <p:cNvPr id="6" name="Freeform 5">
              <a:extLst>
                <a:ext uri="{FF2B5EF4-FFF2-40B4-BE49-F238E27FC236}">
                  <a16:creationId xmlns:a16="http://schemas.microsoft.com/office/drawing/2014/main" id="{12C091FF-75D1-42DE-BA30-0B7D169630D5}"/>
                </a:ext>
              </a:extLst>
            </p:cNvPr>
            <p:cNvSpPr>
              <a:spLocks/>
            </p:cNvSpPr>
            <p:nvPr/>
          </p:nvSpPr>
          <p:spPr bwMode="auto">
            <a:xfrm>
              <a:off x="4033838" y="2962275"/>
              <a:ext cx="1139825" cy="3260725"/>
            </a:xfrm>
            <a:custGeom>
              <a:avLst/>
              <a:gdLst>
                <a:gd name="T0" fmla="*/ 120 w 129"/>
                <a:gd name="T1" fmla="*/ 371 h 371"/>
                <a:gd name="T2" fmla="*/ 127 w 129"/>
                <a:gd name="T3" fmla="*/ 365 h 371"/>
                <a:gd name="T4" fmla="*/ 118 w 129"/>
                <a:gd name="T5" fmla="*/ 358 h 371"/>
                <a:gd name="T6" fmla="*/ 108 w 129"/>
                <a:gd name="T7" fmla="*/ 314 h 371"/>
                <a:gd name="T8" fmla="*/ 104 w 129"/>
                <a:gd name="T9" fmla="*/ 301 h 371"/>
                <a:gd name="T10" fmla="*/ 85 w 129"/>
                <a:gd name="T11" fmla="*/ 246 h 371"/>
                <a:gd name="T12" fmla="*/ 100 w 129"/>
                <a:gd name="T13" fmla="*/ 162 h 371"/>
                <a:gd name="T14" fmla="*/ 104 w 129"/>
                <a:gd name="T15" fmla="*/ 156 h 371"/>
                <a:gd name="T16" fmla="*/ 96 w 129"/>
                <a:gd name="T17" fmla="*/ 152 h 371"/>
                <a:gd name="T18" fmla="*/ 93 w 129"/>
                <a:gd name="T19" fmla="*/ 145 h 371"/>
                <a:gd name="T20" fmla="*/ 87 w 129"/>
                <a:gd name="T21" fmla="*/ 131 h 371"/>
                <a:gd name="T22" fmla="*/ 92 w 129"/>
                <a:gd name="T23" fmla="*/ 129 h 371"/>
                <a:gd name="T24" fmla="*/ 90 w 129"/>
                <a:gd name="T25" fmla="*/ 127 h 371"/>
                <a:gd name="T26" fmla="*/ 87 w 129"/>
                <a:gd name="T27" fmla="*/ 124 h 371"/>
                <a:gd name="T28" fmla="*/ 107 w 129"/>
                <a:gd name="T29" fmla="*/ 72 h 371"/>
                <a:gd name="T30" fmla="*/ 79 w 129"/>
                <a:gd name="T31" fmla="*/ 66 h 371"/>
                <a:gd name="T32" fmla="*/ 75 w 129"/>
                <a:gd name="T33" fmla="*/ 60 h 371"/>
                <a:gd name="T34" fmla="*/ 73 w 129"/>
                <a:gd name="T35" fmla="*/ 44 h 371"/>
                <a:gd name="T36" fmla="*/ 90 w 129"/>
                <a:gd name="T37" fmla="*/ 25 h 371"/>
                <a:gd name="T38" fmla="*/ 80 w 129"/>
                <a:gd name="T39" fmla="*/ 14 h 371"/>
                <a:gd name="T40" fmla="*/ 65 w 129"/>
                <a:gd name="T41" fmla="*/ 0 h 371"/>
                <a:gd name="T42" fmla="*/ 61 w 129"/>
                <a:gd name="T43" fmla="*/ 10 h 371"/>
                <a:gd name="T44" fmla="*/ 55 w 129"/>
                <a:gd name="T45" fmla="*/ 30 h 371"/>
                <a:gd name="T46" fmla="*/ 39 w 129"/>
                <a:gd name="T47" fmla="*/ 49 h 371"/>
                <a:gd name="T48" fmla="*/ 49 w 129"/>
                <a:gd name="T49" fmla="*/ 60 h 371"/>
                <a:gd name="T50" fmla="*/ 54 w 129"/>
                <a:gd name="T51" fmla="*/ 63 h 371"/>
                <a:gd name="T52" fmla="*/ 54 w 129"/>
                <a:gd name="T53" fmla="*/ 72 h 371"/>
                <a:gd name="T54" fmla="*/ 20 w 129"/>
                <a:gd name="T55" fmla="*/ 75 h 371"/>
                <a:gd name="T56" fmla="*/ 42 w 129"/>
                <a:gd name="T57" fmla="*/ 127 h 371"/>
                <a:gd name="T58" fmla="*/ 37 w 129"/>
                <a:gd name="T59" fmla="*/ 129 h 371"/>
                <a:gd name="T60" fmla="*/ 39 w 129"/>
                <a:gd name="T61" fmla="*/ 131 h 371"/>
                <a:gd name="T62" fmla="*/ 42 w 129"/>
                <a:gd name="T63" fmla="*/ 145 h 371"/>
                <a:gd name="T64" fmla="*/ 33 w 129"/>
                <a:gd name="T65" fmla="*/ 147 h 371"/>
                <a:gd name="T66" fmla="*/ 29 w 129"/>
                <a:gd name="T67" fmla="*/ 152 h 371"/>
                <a:gd name="T68" fmla="*/ 25 w 129"/>
                <a:gd name="T69" fmla="*/ 158 h 371"/>
                <a:gd name="T70" fmla="*/ 40 w 129"/>
                <a:gd name="T71" fmla="*/ 162 h 371"/>
                <a:gd name="T72" fmla="*/ 29 w 129"/>
                <a:gd name="T73" fmla="*/ 301 h 371"/>
                <a:gd name="T74" fmla="*/ 24 w 129"/>
                <a:gd name="T75" fmla="*/ 302 h 371"/>
                <a:gd name="T76" fmla="*/ 0 w 129"/>
                <a:gd name="T77" fmla="*/ 343 h 371"/>
                <a:gd name="T78" fmla="*/ 9 w 129"/>
                <a:gd name="T79" fmla="*/ 358 h 371"/>
                <a:gd name="T80" fmla="*/ 2 w 129"/>
                <a:gd name="T81" fmla="*/ 365 h 371"/>
                <a:gd name="T82" fmla="*/ 64 w 129"/>
                <a:gd name="T83" fmla="*/ 371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9" h="371">
                  <a:moveTo>
                    <a:pt x="65" y="371"/>
                  </a:moveTo>
                  <a:cubicBezTo>
                    <a:pt x="120" y="371"/>
                    <a:pt x="120" y="371"/>
                    <a:pt x="120" y="371"/>
                  </a:cubicBezTo>
                  <a:cubicBezTo>
                    <a:pt x="124" y="371"/>
                    <a:pt x="127" y="368"/>
                    <a:pt x="127" y="365"/>
                  </a:cubicBezTo>
                  <a:cubicBezTo>
                    <a:pt x="127" y="365"/>
                    <a:pt x="127" y="365"/>
                    <a:pt x="127" y="365"/>
                  </a:cubicBezTo>
                  <a:cubicBezTo>
                    <a:pt x="127" y="361"/>
                    <a:pt x="124" y="358"/>
                    <a:pt x="120" y="358"/>
                  </a:cubicBezTo>
                  <a:cubicBezTo>
                    <a:pt x="118" y="358"/>
                    <a:pt x="118" y="358"/>
                    <a:pt x="118" y="358"/>
                  </a:cubicBezTo>
                  <a:cubicBezTo>
                    <a:pt x="118" y="358"/>
                    <a:pt x="129" y="356"/>
                    <a:pt x="129" y="343"/>
                  </a:cubicBezTo>
                  <a:cubicBezTo>
                    <a:pt x="129" y="330"/>
                    <a:pt x="113" y="325"/>
                    <a:pt x="108" y="314"/>
                  </a:cubicBezTo>
                  <a:cubicBezTo>
                    <a:pt x="105" y="307"/>
                    <a:pt x="105" y="304"/>
                    <a:pt x="105" y="302"/>
                  </a:cubicBezTo>
                  <a:cubicBezTo>
                    <a:pt x="105" y="302"/>
                    <a:pt x="104" y="301"/>
                    <a:pt x="104" y="301"/>
                  </a:cubicBezTo>
                  <a:cubicBezTo>
                    <a:pt x="100" y="301"/>
                    <a:pt x="100" y="301"/>
                    <a:pt x="100" y="301"/>
                  </a:cubicBezTo>
                  <a:cubicBezTo>
                    <a:pt x="100" y="301"/>
                    <a:pt x="87" y="279"/>
                    <a:pt x="85" y="246"/>
                  </a:cubicBezTo>
                  <a:cubicBezTo>
                    <a:pt x="84" y="213"/>
                    <a:pt x="83" y="188"/>
                    <a:pt x="89" y="162"/>
                  </a:cubicBezTo>
                  <a:cubicBezTo>
                    <a:pt x="100" y="162"/>
                    <a:pt x="100" y="162"/>
                    <a:pt x="100" y="162"/>
                  </a:cubicBezTo>
                  <a:cubicBezTo>
                    <a:pt x="102" y="162"/>
                    <a:pt x="104" y="160"/>
                    <a:pt x="104" y="158"/>
                  </a:cubicBezTo>
                  <a:cubicBezTo>
                    <a:pt x="104" y="156"/>
                    <a:pt x="104" y="156"/>
                    <a:pt x="104" y="156"/>
                  </a:cubicBezTo>
                  <a:cubicBezTo>
                    <a:pt x="104" y="154"/>
                    <a:pt x="102" y="152"/>
                    <a:pt x="100" y="152"/>
                  </a:cubicBezTo>
                  <a:cubicBezTo>
                    <a:pt x="96" y="152"/>
                    <a:pt x="96" y="152"/>
                    <a:pt x="96" y="152"/>
                  </a:cubicBezTo>
                  <a:cubicBezTo>
                    <a:pt x="96" y="147"/>
                    <a:pt x="96" y="147"/>
                    <a:pt x="96" y="147"/>
                  </a:cubicBezTo>
                  <a:cubicBezTo>
                    <a:pt x="96" y="146"/>
                    <a:pt x="95" y="145"/>
                    <a:pt x="93" y="145"/>
                  </a:cubicBezTo>
                  <a:cubicBezTo>
                    <a:pt x="87" y="145"/>
                    <a:pt x="87" y="145"/>
                    <a:pt x="87" y="145"/>
                  </a:cubicBezTo>
                  <a:cubicBezTo>
                    <a:pt x="87" y="131"/>
                    <a:pt x="87" y="131"/>
                    <a:pt x="87" y="131"/>
                  </a:cubicBezTo>
                  <a:cubicBezTo>
                    <a:pt x="90" y="131"/>
                    <a:pt x="90" y="131"/>
                    <a:pt x="90" y="131"/>
                  </a:cubicBezTo>
                  <a:cubicBezTo>
                    <a:pt x="91" y="131"/>
                    <a:pt x="92" y="130"/>
                    <a:pt x="92" y="129"/>
                  </a:cubicBezTo>
                  <a:cubicBezTo>
                    <a:pt x="92" y="129"/>
                    <a:pt x="92" y="129"/>
                    <a:pt x="92" y="129"/>
                  </a:cubicBezTo>
                  <a:cubicBezTo>
                    <a:pt x="92" y="127"/>
                    <a:pt x="91" y="127"/>
                    <a:pt x="90" y="127"/>
                  </a:cubicBezTo>
                  <a:cubicBezTo>
                    <a:pt x="87" y="127"/>
                    <a:pt x="87" y="127"/>
                    <a:pt x="87" y="127"/>
                  </a:cubicBezTo>
                  <a:cubicBezTo>
                    <a:pt x="87" y="124"/>
                    <a:pt x="87" y="124"/>
                    <a:pt x="87" y="124"/>
                  </a:cubicBezTo>
                  <a:cubicBezTo>
                    <a:pt x="109" y="75"/>
                    <a:pt x="109" y="75"/>
                    <a:pt x="109" y="75"/>
                  </a:cubicBezTo>
                  <a:cubicBezTo>
                    <a:pt x="110" y="74"/>
                    <a:pt x="109" y="72"/>
                    <a:pt x="107" y="72"/>
                  </a:cubicBezTo>
                  <a:cubicBezTo>
                    <a:pt x="75" y="72"/>
                    <a:pt x="75" y="72"/>
                    <a:pt x="75" y="72"/>
                  </a:cubicBezTo>
                  <a:cubicBezTo>
                    <a:pt x="75" y="72"/>
                    <a:pt x="79" y="69"/>
                    <a:pt x="79" y="66"/>
                  </a:cubicBezTo>
                  <a:cubicBezTo>
                    <a:pt x="79" y="62"/>
                    <a:pt x="75" y="63"/>
                    <a:pt x="75" y="63"/>
                  </a:cubicBezTo>
                  <a:cubicBezTo>
                    <a:pt x="75" y="60"/>
                    <a:pt x="75" y="60"/>
                    <a:pt x="75" y="60"/>
                  </a:cubicBezTo>
                  <a:cubicBezTo>
                    <a:pt x="80" y="60"/>
                    <a:pt x="80" y="60"/>
                    <a:pt x="80" y="60"/>
                  </a:cubicBezTo>
                  <a:cubicBezTo>
                    <a:pt x="73" y="44"/>
                    <a:pt x="73" y="44"/>
                    <a:pt x="73" y="44"/>
                  </a:cubicBezTo>
                  <a:cubicBezTo>
                    <a:pt x="90" y="49"/>
                    <a:pt x="90" y="49"/>
                    <a:pt x="90" y="49"/>
                  </a:cubicBezTo>
                  <a:cubicBezTo>
                    <a:pt x="90" y="25"/>
                    <a:pt x="90" y="25"/>
                    <a:pt x="90" y="25"/>
                  </a:cubicBezTo>
                  <a:cubicBezTo>
                    <a:pt x="74" y="30"/>
                    <a:pt x="74" y="30"/>
                    <a:pt x="74" y="30"/>
                  </a:cubicBezTo>
                  <a:cubicBezTo>
                    <a:pt x="80" y="14"/>
                    <a:pt x="80" y="14"/>
                    <a:pt x="80" y="14"/>
                  </a:cubicBezTo>
                  <a:cubicBezTo>
                    <a:pt x="80" y="14"/>
                    <a:pt x="80" y="10"/>
                    <a:pt x="68" y="10"/>
                  </a:cubicBezTo>
                  <a:cubicBezTo>
                    <a:pt x="68" y="10"/>
                    <a:pt x="78" y="0"/>
                    <a:pt x="65" y="0"/>
                  </a:cubicBezTo>
                  <a:cubicBezTo>
                    <a:pt x="64" y="0"/>
                    <a:pt x="64" y="0"/>
                    <a:pt x="64" y="0"/>
                  </a:cubicBezTo>
                  <a:cubicBezTo>
                    <a:pt x="51" y="0"/>
                    <a:pt x="61" y="10"/>
                    <a:pt x="61" y="10"/>
                  </a:cubicBezTo>
                  <a:cubicBezTo>
                    <a:pt x="49" y="10"/>
                    <a:pt x="49" y="14"/>
                    <a:pt x="49" y="14"/>
                  </a:cubicBezTo>
                  <a:cubicBezTo>
                    <a:pt x="55" y="30"/>
                    <a:pt x="55" y="30"/>
                    <a:pt x="55" y="30"/>
                  </a:cubicBezTo>
                  <a:cubicBezTo>
                    <a:pt x="39" y="25"/>
                    <a:pt x="39" y="25"/>
                    <a:pt x="39" y="25"/>
                  </a:cubicBezTo>
                  <a:cubicBezTo>
                    <a:pt x="39" y="49"/>
                    <a:pt x="39" y="49"/>
                    <a:pt x="39" y="49"/>
                  </a:cubicBezTo>
                  <a:cubicBezTo>
                    <a:pt x="55" y="44"/>
                    <a:pt x="55" y="44"/>
                    <a:pt x="55" y="44"/>
                  </a:cubicBezTo>
                  <a:cubicBezTo>
                    <a:pt x="49" y="60"/>
                    <a:pt x="49" y="60"/>
                    <a:pt x="49" y="60"/>
                  </a:cubicBezTo>
                  <a:cubicBezTo>
                    <a:pt x="54" y="60"/>
                    <a:pt x="54" y="60"/>
                    <a:pt x="54" y="60"/>
                  </a:cubicBezTo>
                  <a:cubicBezTo>
                    <a:pt x="54" y="63"/>
                    <a:pt x="54" y="63"/>
                    <a:pt x="54" y="63"/>
                  </a:cubicBezTo>
                  <a:cubicBezTo>
                    <a:pt x="54" y="63"/>
                    <a:pt x="50" y="62"/>
                    <a:pt x="50" y="66"/>
                  </a:cubicBezTo>
                  <a:cubicBezTo>
                    <a:pt x="50" y="69"/>
                    <a:pt x="54" y="72"/>
                    <a:pt x="54" y="72"/>
                  </a:cubicBezTo>
                  <a:cubicBezTo>
                    <a:pt x="22" y="72"/>
                    <a:pt x="22" y="72"/>
                    <a:pt x="22" y="72"/>
                  </a:cubicBezTo>
                  <a:cubicBezTo>
                    <a:pt x="20" y="72"/>
                    <a:pt x="19" y="74"/>
                    <a:pt x="20" y="75"/>
                  </a:cubicBezTo>
                  <a:cubicBezTo>
                    <a:pt x="42" y="124"/>
                    <a:pt x="42" y="124"/>
                    <a:pt x="42" y="124"/>
                  </a:cubicBezTo>
                  <a:cubicBezTo>
                    <a:pt x="42" y="127"/>
                    <a:pt x="42" y="127"/>
                    <a:pt x="42" y="127"/>
                  </a:cubicBezTo>
                  <a:cubicBezTo>
                    <a:pt x="39" y="127"/>
                    <a:pt x="39" y="127"/>
                    <a:pt x="39" y="127"/>
                  </a:cubicBezTo>
                  <a:cubicBezTo>
                    <a:pt x="38" y="127"/>
                    <a:pt x="37" y="127"/>
                    <a:pt x="37" y="129"/>
                  </a:cubicBezTo>
                  <a:cubicBezTo>
                    <a:pt x="37" y="129"/>
                    <a:pt x="37" y="129"/>
                    <a:pt x="37" y="129"/>
                  </a:cubicBezTo>
                  <a:cubicBezTo>
                    <a:pt x="37" y="130"/>
                    <a:pt x="38" y="131"/>
                    <a:pt x="39" y="131"/>
                  </a:cubicBezTo>
                  <a:cubicBezTo>
                    <a:pt x="42" y="131"/>
                    <a:pt x="42" y="131"/>
                    <a:pt x="42" y="131"/>
                  </a:cubicBezTo>
                  <a:cubicBezTo>
                    <a:pt x="42" y="145"/>
                    <a:pt x="42" y="145"/>
                    <a:pt x="42" y="145"/>
                  </a:cubicBezTo>
                  <a:cubicBezTo>
                    <a:pt x="35" y="145"/>
                    <a:pt x="35" y="145"/>
                    <a:pt x="35" y="145"/>
                  </a:cubicBezTo>
                  <a:cubicBezTo>
                    <a:pt x="34" y="145"/>
                    <a:pt x="33" y="146"/>
                    <a:pt x="33" y="147"/>
                  </a:cubicBezTo>
                  <a:cubicBezTo>
                    <a:pt x="33" y="152"/>
                    <a:pt x="33" y="152"/>
                    <a:pt x="33" y="152"/>
                  </a:cubicBezTo>
                  <a:cubicBezTo>
                    <a:pt x="29" y="152"/>
                    <a:pt x="29" y="152"/>
                    <a:pt x="29" y="152"/>
                  </a:cubicBezTo>
                  <a:cubicBezTo>
                    <a:pt x="26" y="152"/>
                    <a:pt x="25" y="154"/>
                    <a:pt x="25" y="156"/>
                  </a:cubicBezTo>
                  <a:cubicBezTo>
                    <a:pt x="25" y="158"/>
                    <a:pt x="25" y="158"/>
                    <a:pt x="25" y="158"/>
                  </a:cubicBezTo>
                  <a:cubicBezTo>
                    <a:pt x="25" y="160"/>
                    <a:pt x="26" y="162"/>
                    <a:pt x="29" y="162"/>
                  </a:cubicBezTo>
                  <a:cubicBezTo>
                    <a:pt x="40" y="162"/>
                    <a:pt x="40" y="162"/>
                    <a:pt x="40" y="162"/>
                  </a:cubicBezTo>
                  <a:cubicBezTo>
                    <a:pt x="46" y="188"/>
                    <a:pt x="45" y="213"/>
                    <a:pt x="43" y="246"/>
                  </a:cubicBezTo>
                  <a:cubicBezTo>
                    <a:pt x="42" y="279"/>
                    <a:pt x="29" y="301"/>
                    <a:pt x="29" y="301"/>
                  </a:cubicBezTo>
                  <a:cubicBezTo>
                    <a:pt x="25" y="301"/>
                    <a:pt x="25" y="301"/>
                    <a:pt x="25" y="301"/>
                  </a:cubicBezTo>
                  <a:cubicBezTo>
                    <a:pt x="25" y="301"/>
                    <a:pt x="24" y="302"/>
                    <a:pt x="24" y="302"/>
                  </a:cubicBezTo>
                  <a:cubicBezTo>
                    <a:pt x="24" y="304"/>
                    <a:pt x="24" y="307"/>
                    <a:pt x="20" y="314"/>
                  </a:cubicBezTo>
                  <a:cubicBezTo>
                    <a:pt x="15" y="325"/>
                    <a:pt x="0" y="330"/>
                    <a:pt x="0" y="343"/>
                  </a:cubicBezTo>
                  <a:cubicBezTo>
                    <a:pt x="0" y="356"/>
                    <a:pt x="11" y="358"/>
                    <a:pt x="11" y="358"/>
                  </a:cubicBezTo>
                  <a:cubicBezTo>
                    <a:pt x="9" y="358"/>
                    <a:pt x="9" y="358"/>
                    <a:pt x="9" y="358"/>
                  </a:cubicBezTo>
                  <a:cubicBezTo>
                    <a:pt x="5" y="358"/>
                    <a:pt x="2" y="361"/>
                    <a:pt x="2" y="365"/>
                  </a:cubicBezTo>
                  <a:cubicBezTo>
                    <a:pt x="2" y="365"/>
                    <a:pt x="2" y="365"/>
                    <a:pt x="2" y="365"/>
                  </a:cubicBezTo>
                  <a:cubicBezTo>
                    <a:pt x="2" y="368"/>
                    <a:pt x="5" y="371"/>
                    <a:pt x="9" y="371"/>
                  </a:cubicBezTo>
                  <a:cubicBezTo>
                    <a:pt x="64" y="371"/>
                    <a:pt x="64" y="371"/>
                    <a:pt x="64" y="371"/>
                  </a:cubicBezTo>
                  <a:lnTo>
                    <a:pt x="65" y="371"/>
                  </a:lnTo>
                  <a:close/>
                </a:path>
              </a:pathLst>
            </a:custGeom>
            <a:grpFill/>
            <a:ln w="6350" cap="rnd">
              <a:solidFill>
                <a:schemeClr val="bg1">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14F6DDE4-7BC6-4011-B7F8-C54CC60C31D3}"/>
                </a:ext>
              </a:extLst>
            </p:cNvPr>
            <p:cNvSpPr>
              <a:spLocks/>
            </p:cNvSpPr>
            <p:nvPr/>
          </p:nvSpPr>
          <p:spPr bwMode="auto">
            <a:xfrm>
              <a:off x="4175125" y="6118225"/>
              <a:ext cx="857250" cy="0"/>
            </a:xfrm>
            <a:custGeom>
              <a:avLst/>
              <a:gdLst>
                <a:gd name="T0" fmla="*/ 540 w 540"/>
                <a:gd name="T1" fmla="*/ 0 w 540"/>
                <a:gd name="T2" fmla="*/ 540 w 540"/>
              </a:gdLst>
              <a:ahLst/>
              <a:cxnLst>
                <a:cxn ang="0">
                  <a:pos x="T0" y="0"/>
                </a:cxn>
                <a:cxn ang="0">
                  <a:pos x="T1" y="0"/>
                </a:cxn>
                <a:cxn ang="0">
                  <a:pos x="T2" y="0"/>
                </a:cxn>
              </a:cxnLst>
              <a:rect l="0" t="0" r="r" b="b"/>
              <a:pathLst>
                <a:path w="540">
                  <a:moveTo>
                    <a:pt x="540" y="0"/>
                  </a:moveTo>
                  <a:lnTo>
                    <a:pt x="0" y="0"/>
                  </a:lnTo>
                  <a:lnTo>
                    <a:pt x="54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8">
              <a:extLst>
                <a:ext uri="{FF2B5EF4-FFF2-40B4-BE49-F238E27FC236}">
                  <a16:creationId xmlns:a16="http://schemas.microsoft.com/office/drawing/2014/main" id="{D4D5EF77-E277-4065-831E-DFF98D42B820}"/>
                </a:ext>
              </a:extLst>
            </p:cNvPr>
            <p:cNvSpPr>
              <a:spLocks/>
            </p:cNvSpPr>
            <p:nvPr/>
          </p:nvSpPr>
          <p:spPr bwMode="auto">
            <a:xfrm>
              <a:off x="4316413" y="5616575"/>
              <a:ext cx="574675" cy="0"/>
            </a:xfrm>
            <a:custGeom>
              <a:avLst/>
              <a:gdLst>
                <a:gd name="T0" fmla="*/ 0 w 362"/>
                <a:gd name="T1" fmla="*/ 362 w 362"/>
                <a:gd name="T2" fmla="*/ 0 w 362"/>
              </a:gdLst>
              <a:ahLst/>
              <a:cxnLst>
                <a:cxn ang="0">
                  <a:pos x="T0" y="0"/>
                </a:cxn>
                <a:cxn ang="0">
                  <a:pos x="T1" y="0"/>
                </a:cxn>
                <a:cxn ang="0">
                  <a:pos x="T2" y="0"/>
                </a:cxn>
              </a:cxnLst>
              <a:rect l="0" t="0" r="r" b="b"/>
              <a:pathLst>
                <a:path w="362">
                  <a:moveTo>
                    <a:pt x="0" y="0"/>
                  </a:moveTo>
                  <a:lnTo>
                    <a:pt x="362" y="0"/>
                  </a:lnTo>
                  <a:lnTo>
                    <a:pt x="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0">
              <a:extLst>
                <a:ext uri="{FF2B5EF4-FFF2-40B4-BE49-F238E27FC236}">
                  <a16:creationId xmlns:a16="http://schemas.microsoft.com/office/drawing/2014/main" id="{EA3383FB-6E01-4AD6-BF82-9D7C211D2D89}"/>
                </a:ext>
              </a:extLst>
            </p:cNvPr>
            <p:cNvSpPr>
              <a:spLocks/>
            </p:cNvSpPr>
            <p:nvPr/>
          </p:nvSpPr>
          <p:spPr bwMode="auto">
            <a:xfrm>
              <a:off x="4378325" y="5661025"/>
              <a:ext cx="450850" cy="0"/>
            </a:xfrm>
            <a:custGeom>
              <a:avLst/>
              <a:gdLst>
                <a:gd name="T0" fmla="*/ 0 w 284"/>
                <a:gd name="T1" fmla="*/ 284 w 284"/>
                <a:gd name="T2" fmla="*/ 0 w 284"/>
              </a:gdLst>
              <a:ahLst/>
              <a:cxnLst>
                <a:cxn ang="0">
                  <a:pos x="T0" y="0"/>
                </a:cxn>
                <a:cxn ang="0">
                  <a:pos x="T1" y="0"/>
                </a:cxn>
                <a:cxn ang="0">
                  <a:pos x="T2" y="0"/>
                </a:cxn>
              </a:cxnLst>
              <a:rect l="0" t="0" r="r" b="b"/>
              <a:pathLst>
                <a:path w="284">
                  <a:moveTo>
                    <a:pt x="0" y="0"/>
                  </a:moveTo>
                  <a:lnTo>
                    <a:pt x="284" y="0"/>
                  </a:lnTo>
                  <a:lnTo>
                    <a:pt x="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12">
              <a:extLst>
                <a:ext uri="{FF2B5EF4-FFF2-40B4-BE49-F238E27FC236}">
                  <a16:creationId xmlns:a16="http://schemas.microsoft.com/office/drawing/2014/main" id="{B9DC4784-5F65-4B5D-B961-495F64FE7C3A}"/>
                </a:ext>
              </a:extLst>
            </p:cNvPr>
            <p:cNvSpPr>
              <a:spLocks/>
            </p:cNvSpPr>
            <p:nvPr/>
          </p:nvSpPr>
          <p:spPr bwMode="auto">
            <a:xfrm>
              <a:off x="4378325" y="4297363"/>
              <a:ext cx="450850" cy="0"/>
            </a:xfrm>
            <a:custGeom>
              <a:avLst/>
              <a:gdLst>
                <a:gd name="T0" fmla="*/ 0 w 284"/>
                <a:gd name="T1" fmla="*/ 284 w 284"/>
                <a:gd name="T2" fmla="*/ 0 w 284"/>
              </a:gdLst>
              <a:ahLst/>
              <a:cxnLst>
                <a:cxn ang="0">
                  <a:pos x="T0" y="0"/>
                </a:cxn>
                <a:cxn ang="0">
                  <a:pos x="T1" y="0"/>
                </a:cxn>
                <a:cxn ang="0">
                  <a:pos x="T2" y="0"/>
                </a:cxn>
              </a:cxnLst>
              <a:rect l="0" t="0" r="r" b="b"/>
              <a:pathLst>
                <a:path w="284">
                  <a:moveTo>
                    <a:pt x="0" y="0"/>
                  </a:moveTo>
                  <a:lnTo>
                    <a:pt x="284" y="0"/>
                  </a:lnTo>
                  <a:lnTo>
                    <a:pt x="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14">
              <a:extLst>
                <a:ext uri="{FF2B5EF4-FFF2-40B4-BE49-F238E27FC236}">
                  <a16:creationId xmlns:a16="http://schemas.microsoft.com/office/drawing/2014/main" id="{25F6D8A4-58E9-4A7D-A700-65102B32FB48}"/>
                </a:ext>
              </a:extLst>
            </p:cNvPr>
            <p:cNvSpPr>
              <a:spLocks/>
            </p:cNvSpPr>
            <p:nvPr/>
          </p:nvSpPr>
          <p:spPr bwMode="auto">
            <a:xfrm>
              <a:off x="4440238" y="4376738"/>
              <a:ext cx="327025" cy="0"/>
            </a:xfrm>
            <a:custGeom>
              <a:avLst/>
              <a:gdLst>
                <a:gd name="T0" fmla="*/ 0 w 206"/>
                <a:gd name="T1" fmla="*/ 206 w 206"/>
                <a:gd name="T2" fmla="*/ 0 w 206"/>
              </a:gdLst>
              <a:ahLst/>
              <a:cxnLst>
                <a:cxn ang="0">
                  <a:pos x="T0" y="0"/>
                </a:cxn>
                <a:cxn ang="0">
                  <a:pos x="T1" y="0"/>
                </a:cxn>
                <a:cxn ang="0">
                  <a:pos x="T2" y="0"/>
                </a:cxn>
              </a:cxnLst>
              <a:rect l="0" t="0" r="r" b="b"/>
              <a:pathLst>
                <a:path w="206">
                  <a:moveTo>
                    <a:pt x="0" y="0"/>
                  </a:moveTo>
                  <a:lnTo>
                    <a:pt x="206" y="0"/>
                  </a:lnTo>
                  <a:lnTo>
                    <a:pt x="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6">
              <a:extLst>
                <a:ext uri="{FF2B5EF4-FFF2-40B4-BE49-F238E27FC236}">
                  <a16:creationId xmlns:a16="http://schemas.microsoft.com/office/drawing/2014/main" id="{2FCBC234-9DB4-47C9-8AFF-E6B62B9CBB13}"/>
                </a:ext>
              </a:extLst>
            </p:cNvPr>
            <p:cNvSpPr>
              <a:spLocks/>
            </p:cNvSpPr>
            <p:nvPr/>
          </p:nvSpPr>
          <p:spPr bwMode="auto">
            <a:xfrm>
              <a:off x="4440238" y="4095750"/>
              <a:ext cx="327025" cy="0"/>
            </a:xfrm>
            <a:custGeom>
              <a:avLst/>
              <a:gdLst>
                <a:gd name="T0" fmla="*/ 0 w 206"/>
                <a:gd name="T1" fmla="*/ 206 w 206"/>
                <a:gd name="T2" fmla="*/ 0 w 206"/>
              </a:gdLst>
              <a:ahLst/>
              <a:cxnLst>
                <a:cxn ang="0">
                  <a:pos x="T0" y="0"/>
                </a:cxn>
                <a:cxn ang="0">
                  <a:pos x="T1" y="0"/>
                </a:cxn>
                <a:cxn ang="0">
                  <a:pos x="T2" y="0"/>
                </a:cxn>
              </a:cxnLst>
              <a:rect l="0" t="0" r="r" b="b"/>
              <a:pathLst>
                <a:path w="206">
                  <a:moveTo>
                    <a:pt x="0" y="0"/>
                  </a:moveTo>
                  <a:lnTo>
                    <a:pt x="206" y="0"/>
                  </a:lnTo>
                  <a:lnTo>
                    <a:pt x="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8" name="Rectangle 47">
            <a:extLst>
              <a:ext uri="{FF2B5EF4-FFF2-40B4-BE49-F238E27FC236}">
                <a16:creationId xmlns:a16="http://schemas.microsoft.com/office/drawing/2014/main" id="{01823632-45D9-4B46-B65F-44D1CCB19847}"/>
              </a:ext>
            </a:extLst>
          </p:cNvPr>
          <p:cNvSpPr/>
          <p:nvPr/>
        </p:nvSpPr>
        <p:spPr>
          <a:xfrm>
            <a:off x="1826806" y="3702344"/>
            <a:ext cx="1615537" cy="307777"/>
          </a:xfrm>
          <a:prstGeom prst="rect">
            <a:avLst/>
          </a:prstGeom>
        </p:spPr>
        <p:txBody>
          <a:bodyPr wrap="square">
            <a:spAutoFit/>
          </a:bodyPr>
          <a:lstStyle/>
          <a:p>
            <a:pPr lvl="0" algn="ctr"/>
            <a:r>
              <a:rPr lang="en-US" sz="1400" dirty="0"/>
              <a:t>Lorem ipsum</a:t>
            </a:r>
          </a:p>
        </p:txBody>
      </p:sp>
      <p:sp>
        <p:nvSpPr>
          <p:cNvPr id="49" name="Rectangle 48">
            <a:extLst>
              <a:ext uri="{FF2B5EF4-FFF2-40B4-BE49-F238E27FC236}">
                <a16:creationId xmlns:a16="http://schemas.microsoft.com/office/drawing/2014/main" id="{CACD086B-93A8-4B33-BFE0-DDB9EED56FD8}"/>
              </a:ext>
            </a:extLst>
          </p:cNvPr>
          <p:cNvSpPr/>
          <p:nvPr/>
        </p:nvSpPr>
        <p:spPr>
          <a:xfrm>
            <a:off x="2366741" y="1249052"/>
            <a:ext cx="1445193" cy="523220"/>
          </a:xfrm>
          <a:prstGeom prst="rect">
            <a:avLst/>
          </a:prstGeom>
        </p:spPr>
        <p:txBody>
          <a:bodyPr wrap="square">
            <a:spAutoFit/>
          </a:bodyPr>
          <a:lstStyle/>
          <a:p>
            <a:pPr lvl="0" algn="r"/>
            <a:r>
              <a:rPr lang="en-US" sz="1400" dirty="0"/>
              <a:t>Lorem ipsum dolor sit </a:t>
            </a:r>
            <a:r>
              <a:rPr lang="en-US" sz="1400" dirty="0" err="1"/>
              <a:t>ame</a:t>
            </a:r>
            <a:endParaRPr lang="en-US" sz="1400" dirty="0"/>
          </a:p>
        </p:txBody>
      </p:sp>
      <p:sp>
        <p:nvSpPr>
          <p:cNvPr id="52" name="Rectangle 51">
            <a:extLst>
              <a:ext uri="{FF2B5EF4-FFF2-40B4-BE49-F238E27FC236}">
                <a16:creationId xmlns:a16="http://schemas.microsoft.com/office/drawing/2014/main" id="{CF20471F-6A8D-423F-A766-94CD7C602522}"/>
              </a:ext>
            </a:extLst>
          </p:cNvPr>
          <p:cNvSpPr/>
          <p:nvPr/>
        </p:nvSpPr>
        <p:spPr>
          <a:xfrm>
            <a:off x="8247684" y="1339795"/>
            <a:ext cx="1073809" cy="307777"/>
          </a:xfrm>
          <a:prstGeom prst="rect">
            <a:avLst/>
          </a:prstGeom>
        </p:spPr>
        <p:txBody>
          <a:bodyPr wrap="square">
            <a:spAutoFit/>
          </a:bodyPr>
          <a:lstStyle/>
          <a:p>
            <a:pPr lvl="0" algn="r"/>
            <a:r>
              <a:rPr lang="en-US" sz="1400" dirty="0"/>
              <a:t>Lorem</a:t>
            </a:r>
          </a:p>
        </p:txBody>
      </p:sp>
      <p:sp>
        <p:nvSpPr>
          <p:cNvPr id="53" name="Rectangle 52">
            <a:extLst>
              <a:ext uri="{FF2B5EF4-FFF2-40B4-BE49-F238E27FC236}">
                <a16:creationId xmlns:a16="http://schemas.microsoft.com/office/drawing/2014/main" id="{0395634A-3810-4BDC-9786-19E1F11D3616}"/>
              </a:ext>
            </a:extLst>
          </p:cNvPr>
          <p:cNvSpPr/>
          <p:nvPr/>
        </p:nvSpPr>
        <p:spPr>
          <a:xfrm>
            <a:off x="8818033" y="3702344"/>
            <a:ext cx="1327670" cy="307777"/>
          </a:xfrm>
          <a:prstGeom prst="rect">
            <a:avLst/>
          </a:prstGeom>
        </p:spPr>
        <p:txBody>
          <a:bodyPr wrap="square">
            <a:spAutoFit/>
          </a:bodyPr>
          <a:lstStyle/>
          <a:p>
            <a:pPr lvl="0" algn="r"/>
            <a:r>
              <a:rPr lang="en-US" sz="1400" dirty="0"/>
              <a:t>Lorem ipsum</a:t>
            </a:r>
          </a:p>
        </p:txBody>
      </p:sp>
      <p:sp>
        <p:nvSpPr>
          <p:cNvPr id="54" name="Rectangle 53">
            <a:extLst>
              <a:ext uri="{FF2B5EF4-FFF2-40B4-BE49-F238E27FC236}">
                <a16:creationId xmlns:a16="http://schemas.microsoft.com/office/drawing/2014/main" id="{58C36E2E-5B42-4BBC-BFB2-07656F256F71}"/>
              </a:ext>
            </a:extLst>
          </p:cNvPr>
          <p:cNvSpPr/>
          <p:nvPr/>
        </p:nvSpPr>
        <p:spPr>
          <a:xfrm>
            <a:off x="8038353" y="5661026"/>
            <a:ext cx="1416594" cy="307777"/>
          </a:xfrm>
          <a:prstGeom prst="rect">
            <a:avLst/>
          </a:prstGeom>
        </p:spPr>
        <p:txBody>
          <a:bodyPr wrap="square">
            <a:spAutoFit/>
          </a:bodyPr>
          <a:lstStyle/>
          <a:p>
            <a:pPr lvl="0" algn="ctr"/>
            <a:r>
              <a:rPr lang="en-US" sz="1400" dirty="0"/>
              <a:t>Lorem</a:t>
            </a:r>
          </a:p>
        </p:txBody>
      </p:sp>
      <p:sp>
        <p:nvSpPr>
          <p:cNvPr id="62" name="Oval 61">
            <a:extLst>
              <a:ext uri="{FF2B5EF4-FFF2-40B4-BE49-F238E27FC236}">
                <a16:creationId xmlns:a16="http://schemas.microsoft.com/office/drawing/2014/main" id="{D6B9A83F-3663-4D9C-8D4A-51A208E8FAF7}"/>
              </a:ext>
            </a:extLst>
          </p:cNvPr>
          <p:cNvSpPr/>
          <p:nvPr/>
        </p:nvSpPr>
        <p:spPr bwMode="gray">
          <a:xfrm>
            <a:off x="2193988" y="2642554"/>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29" name="Straight Connector 28">
            <a:extLst>
              <a:ext uri="{FF2B5EF4-FFF2-40B4-BE49-F238E27FC236}">
                <a16:creationId xmlns:a16="http://schemas.microsoft.com/office/drawing/2014/main" id="{543EA49B-3ABF-4BC2-A839-69F3E64F3D6F}"/>
              </a:ext>
            </a:extLst>
          </p:cNvPr>
          <p:cNvCxnSpPr>
            <a:cxnSpLocks/>
          </p:cNvCxnSpPr>
          <p:nvPr/>
        </p:nvCxnSpPr>
        <p:spPr>
          <a:xfrm flipH="1">
            <a:off x="3973994" y="4511559"/>
            <a:ext cx="951444" cy="398847"/>
          </a:xfrm>
          <a:prstGeom prst="line">
            <a:avLst/>
          </a:prstGeom>
          <a:noFill/>
          <a:ln w="19050" cap="rnd" algn="ctr">
            <a:solidFill>
              <a:srgbClr val="63666A"/>
            </a:solidFill>
            <a:prstDash val="sysDot"/>
            <a:round/>
            <a:headEnd/>
            <a:tailEnd/>
          </a:ln>
        </p:spPr>
      </p:cxnSp>
      <p:sp>
        <p:nvSpPr>
          <p:cNvPr id="70" name="Oval 69">
            <a:extLst>
              <a:ext uri="{FF2B5EF4-FFF2-40B4-BE49-F238E27FC236}">
                <a16:creationId xmlns:a16="http://schemas.microsoft.com/office/drawing/2014/main" id="{F14E6CE2-4FA0-485F-A620-7749DC9B6DF9}"/>
              </a:ext>
            </a:extLst>
          </p:cNvPr>
          <p:cNvSpPr/>
          <p:nvPr/>
        </p:nvSpPr>
        <p:spPr bwMode="gray">
          <a:xfrm>
            <a:off x="3007798" y="4598842"/>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71" name="Straight Connector 70">
            <a:extLst>
              <a:ext uri="{FF2B5EF4-FFF2-40B4-BE49-F238E27FC236}">
                <a16:creationId xmlns:a16="http://schemas.microsoft.com/office/drawing/2014/main" id="{D032805A-4FD4-4A53-A878-4E659A804FAA}"/>
              </a:ext>
            </a:extLst>
          </p:cNvPr>
          <p:cNvCxnSpPr>
            <a:cxnSpLocks/>
          </p:cNvCxnSpPr>
          <p:nvPr/>
        </p:nvCxnSpPr>
        <p:spPr>
          <a:xfrm flipH="1" flipV="1">
            <a:off x="3165232" y="3221503"/>
            <a:ext cx="1560971" cy="203101"/>
          </a:xfrm>
          <a:prstGeom prst="line">
            <a:avLst/>
          </a:prstGeom>
          <a:noFill/>
          <a:ln w="19050" cap="rnd" algn="ctr">
            <a:solidFill>
              <a:srgbClr val="63666A"/>
            </a:solidFill>
            <a:prstDash val="sysDot"/>
            <a:round/>
            <a:headEnd/>
            <a:tailEnd/>
          </a:ln>
        </p:spPr>
      </p:cxnSp>
      <p:sp>
        <p:nvSpPr>
          <p:cNvPr id="78" name="Oval 77">
            <a:extLst>
              <a:ext uri="{FF2B5EF4-FFF2-40B4-BE49-F238E27FC236}">
                <a16:creationId xmlns:a16="http://schemas.microsoft.com/office/drawing/2014/main" id="{F24C7E90-27D8-4DBA-AC46-EA479B18F517}"/>
              </a:ext>
            </a:extLst>
          </p:cNvPr>
          <p:cNvSpPr/>
          <p:nvPr/>
        </p:nvSpPr>
        <p:spPr bwMode="gray">
          <a:xfrm>
            <a:off x="3836416" y="1029636"/>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9" name="Oval 78">
            <a:extLst>
              <a:ext uri="{FF2B5EF4-FFF2-40B4-BE49-F238E27FC236}">
                <a16:creationId xmlns:a16="http://schemas.microsoft.com/office/drawing/2014/main" id="{8CCCFE55-04E5-47BB-B176-5B4673DE04D1}"/>
              </a:ext>
            </a:extLst>
          </p:cNvPr>
          <p:cNvSpPr/>
          <p:nvPr/>
        </p:nvSpPr>
        <p:spPr bwMode="gray">
          <a:xfrm>
            <a:off x="7379396" y="1009651"/>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0" name="Oval 79">
            <a:extLst>
              <a:ext uri="{FF2B5EF4-FFF2-40B4-BE49-F238E27FC236}">
                <a16:creationId xmlns:a16="http://schemas.microsoft.com/office/drawing/2014/main" id="{D983EF4C-2AB6-499F-B8DE-0B97FD47DA85}"/>
              </a:ext>
            </a:extLst>
          </p:cNvPr>
          <p:cNvSpPr/>
          <p:nvPr/>
        </p:nvSpPr>
        <p:spPr bwMode="gray">
          <a:xfrm>
            <a:off x="8977434" y="2642554"/>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1" name="Oval 80">
            <a:extLst>
              <a:ext uri="{FF2B5EF4-FFF2-40B4-BE49-F238E27FC236}">
                <a16:creationId xmlns:a16="http://schemas.microsoft.com/office/drawing/2014/main" id="{553C9CE5-19C6-4359-B3A8-81AE266569A1}"/>
              </a:ext>
            </a:extLst>
          </p:cNvPr>
          <p:cNvSpPr/>
          <p:nvPr/>
        </p:nvSpPr>
        <p:spPr bwMode="gray">
          <a:xfrm>
            <a:off x="8258555" y="4598842"/>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82" name="Straight Connector 81">
            <a:extLst>
              <a:ext uri="{FF2B5EF4-FFF2-40B4-BE49-F238E27FC236}">
                <a16:creationId xmlns:a16="http://schemas.microsoft.com/office/drawing/2014/main" id="{FC2EFF4D-1ABF-4CE4-87FA-6104978D48C4}"/>
              </a:ext>
            </a:extLst>
          </p:cNvPr>
          <p:cNvCxnSpPr>
            <a:cxnSpLocks/>
            <a:endCxn id="78" idx="5"/>
          </p:cNvCxnSpPr>
          <p:nvPr/>
        </p:nvCxnSpPr>
        <p:spPr>
          <a:xfrm flipH="1" flipV="1">
            <a:off x="4669646" y="1862866"/>
            <a:ext cx="568680" cy="721908"/>
          </a:xfrm>
          <a:prstGeom prst="line">
            <a:avLst/>
          </a:prstGeom>
          <a:noFill/>
          <a:ln w="19050" cap="rnd" algn="ctr">
            <a:solidFill>
              <a:srgbClr val="63666A"/>
            </a:solidFill>
            <a:prstDash val="sysDot"/>
            <a:round/>
            <a:headEnd/>
            <a:tailEnd/>
          </a:ln>
        </p:spPr>
      </p:cxnSp>
      <p:cxnSp>
        <p:nvCxnSpPr>
          <p:cNvPr id="86" name="Straight Connector 85">
            <a:extLst>
              <a:ext uri="{FF2B5EF4-FFF2-40B4-BE49-F238E27FC236}">
                <a16:creationId xmlns:a16="http://schemas.microsoft.com/office/drawing/2014/main" id="{208200F3-FE18-4C63-8E35-E0F3F5E32A81}"/>
              </a:ext>
            </a:extLst>
          </p:cNvPr>
          <p:cNvCxnSpPr>
            <a:cxnSpLocks/>
          </p:cNvCxnSpPr>
          <p:nvPr/>
        </p:nvCxnSpPr>
        <p:spPr>
          <a:xfrm flipV="1">
            <a:off x="6974008" y="1877035"/>
            <a:ext cx="568679" cy="721908"/>
          </a:xfrm>
          <a:prstGeom prst="line">
            <a:avLst/>
          </a:prstGeom>
          <a:noFill/>
          <a:ln w="19050" cap="rnd" algn="ctr">
            <a:solidFill>
              <a:srgbClr val="63666A"/>
            </a:solidFill>
            <a:prstDash val="sysDot"/>
            <a:round/>
            <a:headEnd/>
            <a:tailEnd/>
          </a:ln>
        </p:spPr>
      </p:cxnSp>
      <p:cxnSp>
        <p:nvCxnSpPr>
          <p:cNvPr id="87" name="Straight Connector 86">
            <a:extLst>
              <a:ext uri="{FF2B5EF4-FFF2-40B4-BE49-F238E27FC236}">
                <a16:creationId xmlns:a16="http://schemas.microsoft.com/office/drawing/2014/main" id="{F09DA796-0A57-4B37-AD57-B5D3644C6893}"/>
              </a:ext>
            </a:extLst>
          </p:cNvPr>
          <p:cNvCxnSpPr>
            <a:cxnSpLocks/>
          </p:cNvCxnSpPr>
          <p:nvPr/>
        </p:nvCxnSpPr>
        <p:spPr>
          <a:xfrm flipV="1">
            <a:off x="7466983" y="3265660"/>
            <a:ext cx="1560971" cy="203101"/>
          </a:xfrm>
          <a:prstGeom prst="line">
            <a:avLst/>
          </a:prstGeom>
          <a:noFill/>
          <a:ln w="19050" cap="rnd" algn="ctr">
            <a:solidFill>
              <a:srgbClr val="63666A"/>
            </a:solidFill>
            <a:prstDash val="sysDot"/>
            <a:round/>
            <a:headEnd/>
            <a:tailEnd/>
          </a:ln>
        </p:spPr>
      </p:cxnSp>
      <p:cxnSp>
        <p:nvCxnSpPr>
          <p:cNvPr id="88" name="Straight Connector 87">
            <a:extLst>
              <a:ext uri="{FF2B5EF4-FFF2-40B4-BE49-F238E27FC236}">
                <a16:creationId xmlns:a16="http://schemas.microsoft.com/office/drawing/2014/main" id="{3BE2DE5C-9C6E-454A-B4AA-177F94FD6A30}"/>
              </a:ext>
            </a:extLst>
          </p:cNvPr>
          <p:cNvCxnSpPr>
            <a:cxnSpLocks/>
          </p:cNvCxnSpPr>
          <p:nvPr/>
        </p:nvCxnSpPr>
        <p:spPr>
          <a:xfrm>
            <a:off x="7345048" y="4466031"/>
            <a:ext cx="951444" cy="398847"/>
          </a:xfrm>
          <a:prstGeom prst="line">
            <a:avLst/>
          </a:prstGeom>
          <a:noFill/>
          <a:ln w="19050" cap="rnd" algn="ctr">
            <a:solidFill>
              <a:srgbClr val="63666A"/>
            </a:solidFill>
            <a:prstDash val="sysDot"/>
            <a:round/>
            <a:headEnd/>
            <a:tailEnd/>
          </a:ln>
        </p:spPr>
      </p:cxnSp>
      <p:cxnSp>
        <p:nvCxnSpPr>
          <p:cNvPr id="199" name="Straight Connector 198">
            <a:extLst>
              <a:ext uri="{FF2B5EF4-FFF2-40B4-BE49-F238E27FC236}">
                <a16:creationId xmlns:a16="http://schemas.microsoft.com/office/drawing/2014/main" id="{A0963813-E2A8-4911-B077-4EDC95DCF30F}"/>
              </a:ext>
            </a:extLst>
          </p:cNvPr>
          <p:cNvCxnSpPr/>
          <p:nvPr/>
        </p:nvCxnSpPr>
        <p:spPr>
          <a:xfrm flipH="1">
            <a:off x="2872280" y="1810579"/>
            <a:ext cx="821376"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4EE4785D-025D-4360-AB9F-FB4BBC079158}"/>
              </a:ext>
            </a:extLst>
          </p:cNvPr>
          <p:cNvCxnSpPr/>
          <p:nvPr/>
        </p:nvCxnSpPr>
        <p:spPr>
          <a:xfrm flipH="1">
            <a:off x="3067077" y="5979657"/>
            <a:ext cx="82137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20EB75B7-7A96-4F00-B4DD-F1899ADD10BC}"/>
              </a:ext>
            </a:extLst>
          </p:cNvPr>
          <p:cNvCxnSpPr/>
          <p:nvPr/>
        </p:nvCxnSpPr>
        <p:spPr>
          <a:xfrm flipH="1">
            <a:off x="2245701" y="4033627"/>
            <a:ext cx="821376" cy="0"/>
          </a:xfrm>
          <a:prstGeom prst="line">
            <a:avLst/>
          </a:prstGeom>
          <a:ln w="19050">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0893F129-877F-48B2-AC80-D24853E90420}"/>
              </a:ext>
            </a:extLst>
          </p:cNvPr>
          <p:cNvCxnSpPr/>
          <p:nvPr/>
        </p:nvCxnSpPr>
        <p:spPr>
          <a:xfrm flipH="1">
            <a:off x="9071180" y="4033627"/>
            <a:ext cx="821376" cy="0"/>
          </a:xfrm>
          <a:prstGeom prst="line">
            <a:avLst/>
          </a:prstGeom>
          <a:ln w="19050">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8BFD312E-0067-4198-A4A2-5F512733E26B}"/>
              </a:ext>
            </a:extLst>
          </p:cNvPr>
          <p:cNvCxnSpPr/>
          <p:nvPr/>
        </p:nvCxnSpPr>
        <p:spPr>
          <a:xfrm flipH="1">
            <a:off x="8335962" y="5979657"/>
            <a:ext cx="821376"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1BE1A686-1CB4-43AB-B551-F922408BE6D9}"/>
              </a:ext>
            </a:extLst>
          </p:cNvPr>
          <p:cNvCxnSpPr/>
          <p:nvPr/>
        </p:nvCxnSpPr>
        <p:spPr>
          <a:xfrm flipH="1">
            <a:off x="8413369" y="1710740"/>
            <a:ext cx="821376" cy="0"/>
          </a:xfrm>
          <a:prstGeom prst="line">
            <a:avLst/>
          </a:prstGeom>
          <a:ln w="19050">
            <a:solidFill>
              <a:srgbClr val="005587"/>
            </a:solidFill>
          </a:ln>
        </p:spPr>
        <p:style>
          <a:lnRef idx="1">
            <a:schemeClr val="accent1"/>
          </a:lnRef>
          <a:fillRef idx="0">
            <a:schemeClr val="accent1"/>
          </a:fillRef>
          <a:effectRef idx="0">
            <a:schemeClr val="accent1"/>
          </a:effectRef>
          <a:fontRef idx="minor">
            <a:schemeClr val="tx1"/>
          </a:fontRef>
        </p:style>
      </p:cxnSp>
      <p:sp>
        <p:nvSpPr>
          <p:cNvPr id="205" name="Arc 204">
            <a:extLst>
              <a:ext uri="{FF2B5EF4-FFF2-40B4-BE49-F238E27FC236}">
                <a16:creationId xmlns:a16="http://schemas.microsoft.com/office/drawing/2014/main" id="{0FD227FE-DEE2-4A41-8A0A-C188162BE738}"/>
              </a:ext>
            </a:extLst>
          </p:cNvPr>
          <p:cNvSpPr/>
          <p:nvPr/>
        </p:nvSpPr>
        <p:spPr bwMode="gray">
          <a:xfrm>
            <a:off x="7355316" y="935969"/>
            <a:ext cx="1073809" cy="1073809"/>
          </a:xfrm>
          <a:prstGeom prst="arc">
            <a:avLst>
              <a:gd name="adj1" fmla="val 16200000"/>
              <a:gd name="adj2" fmla="val 20360437"/>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6" name="Arc 205">
            <a:extLst>
              <a:ext uri="{FF2B5EF4-FFF2-40B4-BE49-F238E27FC236}">
                <a16:creationId xmlns:a16="http://schemas.microsoft.com/office/drawing/2014/main" id="{8B567FD7-751E-4C78-9740-F12E7E34D6D6}"/>
              </a:ext>
            </a:extLst>
          </p:cNvPr>
          <p:cNvSpPr/>
          <p:nvPr/>
        </p:nvSpPr>
        <p:spPr bwMode="gray">
          <a:xfrm>
            <a:off x="8916830" y="2590032"/>
            <a:ext cx="1073809" cy="1073809"/>
          </a:xfrm>
          <a:prstGeom prst="arc">
            <a:avLst>
              <a:gd name="adj1" fmla="val 11098550"/>
              <a:gd name="adj2" fmla="val 15060813"/>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7" name="Arc 206">
            <a:extLst>
              <a:ext uri="{FF2B5EF4-FFF2-40B4-BE49-F238E27FC236}">
                <a16:creationId xmlns:a16="http://schemas.microsoft.com/office/drawing/2014/main" id="{7A47FD25-8365-40BF-8172-0606736C3380}"/>
              </a:ext>
            </a:extLst>
          </p:cNvPr>
          <p:cNvSpPr/>
          <p:nvPr/>
        </p:nvSpPr>
        <p:spPr bwMode="gray">
          <a:xfrm>
            <a:off x="8230161" y="4544220"/>
            <a:ext cx="1073809" cy="1073809"/>
          </a:xfrm>
          <a:prstGeom prst="arc">
            <a:avLst>
              <a:gd name="adj1" fmla="val 16321871"/>
              <a:gd name="adj2" fmla="val 20165974"/>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8" name="Arc 207">
            <a:extLst>
              <a:ext uri="{FF2B5EF4-FFF2-40B4-BE49-F238E27FC236}">
                <a16:creationId xmlns:a16="http://schemas.microsoft.com/office/drawing/2014/main" id="{E3FB08F2-93D5-43B4-98CA-134D12DD8069}"/>
              </a:ext>
            </a:extLst>
          </p:cNvPr>
          <p:cNvSpPr/>
          <p:nvPr/>
        </p:nvSpPr>
        <p:spPr bwMode="gray">
          <a:xfrm>
            <a:off x="2979385" y="4512001"/>
            <a:ext cx="1073809" cy="1073809"/>
          </a:xfrm>
          <a:prstGeom prst="arc">
            <a:avLst>
              <a:gd name="adj1" fmla="val 16321871"/>
              <a:gd name="adj2" fmla="val 20165974"/>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9" name="Arc 208">
            <a:extLst>
              <a:ext uri="{FF2B5EF4-FFF2-40B4-BE49-F238E27FC236}">
                <a16:creationId xmlns:a16="http://schemas.microsoft.com/office/drawing/2014/main" id="{98291959-D683-4060-9179-EE9613235784}"/>
              </a:ext>
            </a:extLst>
          </p:cNvPr>
          <p:cNvSpPr/>
          <p:nvPr/>
        </p:nvSpPr>
        <p:spPr bwMode="gray">
          <a:xfrm>
            <a:off x="2120888" y="2610347"/>
            <a:ext cx="1073809" cy="1073809"/>
          </a:xfrm>
          <a:prstGeom prst="arc">
            <a:avLst>
              <a:gd name="adj1" fmla="val 7479452"/>
              <a:gd name="adj2" fmla="val 11546729"/>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10" name="Arc 209">
            <a:extLst>
              <a:ext uri="{FF2B5EF4-FFF2-40B4-BE49-F238E27FC236}">
                <a16:creationId xmlns:a16="http://schemas.microsoft.com/office/drawing/2014/main" id="{473C4FBA-A1AF-4282-AB8D-125B4EAD64F6}"/>
              </a:ext>
            </a:extLst>
          </p:cNvPr>
          <p:cNvSpPr/>
          <p:nvPr/>
        </p:nvSpPr>
        <p:spPr bwMode="gray">
          <a:xfrm>
            <a:off x="3815915" y="986045"/>
            <a:ext cx="1073809" cy="1073809"/>
          </a:xfrm>
          <a:prstGeom prst="arc">
            <a:avLst>
              <a:gd name="adj1" fmla="val 19858915"/>
              <a:gd name="adj2" fmla="val 1918266"/>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11" name="Arc 210">
            <a:extLst>
              <a:ext uri="{FF2B5EF4-FFF2-40B4-BE49-F238E27FC236}">
                <a16:creationId xmlns:a16="http://schemas.microsoft.com/office/drawing/2014/main" id="{D2AD5D3D-0112-4002-9097-F8D0050CC89D}"/>
              </a:ext>
            </a:extLst>
          </p:cNvPr>
          <p:cNvSpPr/>
          <p:nvPr/>
        </p:nvSpPr>
        <p:spPr bwMode="gray">
          <a:xfrm>
            <a:off x="4829679" y="2428054"/>
            <a:ext cx="2531986" cy="2531986"/>
          </a:xfrm>
          <a:prstGeom prst="arc">
            <a:avLst>
              <a:gd name="adj1" fmla="val 6426288"/>
              <a:gd name="adj2" fmla="val 20165974"/>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121" name="Straight Connector 120">
            <a:extLst>
              <a:ext uri="{FF2B5EF4-FFF2-40B4-BE49-F238E27FC236}">
                <a16:creationId xmlns:a16="http://schemas.microsoft.com/office/drawing/2014/main" id="{FEFC139F-7DE1-4A3F-94DA-A48208FA9329}"/>
              </a:ext>
            </a:extLst>
          </p:cNvPr>
          <p:cNvCxnSpPr>
            <a:cxnSpLocks/>
          </p:cNvCxnSpPr>
          <p:nvPr/>
        </p:nvCxnSpPr>
        <p:spPr>
          <a:xfrm flipV="1">
            <a:off x="7419524" y="2371627"/>
            <a:ext cx="1159340" cy="609645"/>
          </a:xfrm>
          <a:prstGeom prst="line">
            <a:avLst/>
          </a:prstGeom>
          <a:noFill/>
          <a:ln w="9525" cap="rnd" algn="ctr">
            <a:solidFill>
              <a:srgbClr val="A7A8AA"/>
            </a:solidFill>
            <a:prstDash val="lgDashDot"/>
            <a:round/>
            <a:headEnd/>
            <a:tailEnd/>
          </a:ln>
        </p:spPr>
      </p:cxnSp>
      <p:cxnSp>
        <p:nvCxnSpPr>
          <p:cNvPr id="124" name="Straight Connector 123">
            <a:extLst>
              <a:ext uri="{FF2B5EF4-FFF2-40B4-BE49-F238E27FC236}">
                <a16:creationId xmlns:a16="http://schemas.microsoft.com/office/drawing/2014/main" id="{D4FC7428-E002-416B-A745-40690138D4EC}"/>
              </a:ext>
            </a:extLst>
          </p:cNvPr>
          <p:cNvCxnSpPr>
            <a:cxnSpLocks/>
          </p:cNvCxnSpPr>
          <p:nvPr/>
        </p:nvCxnSpPr>
        <p:spPr>
          <a:xfrm>
            <a:off x="7614813" y="3962608"/>
            <a:ext cx="643743" cy="147270"/>
          </a:xfrm>
          <a:prstGeom prst="line">
            <a:avLst/>
          </a:prstGeom>
          <a:noFill/>
          <a:ln w="9525" cap="rnd" algn="ctr">
            <a:solidFill>
              <a:srgbClr val="A7A8AA"/>
            </a:solidFill>
            <a:prstDash val="lgDashDot"/>
            <a:round/>
            <a:headEnd/>
            <a:tailEnd/>
          </a:ln>
        </p:spPr>
      </p:cxnSp>
      <p:cxnSp>
        <p:nvCxnSpPr>
          <p:cNvPr id="127" name="Straight Connector 126">
            <a:extLst>
              <a:ext uri="{FF2B5EF4-FFF2-40B4-BE49-F238E27FC236}">
                <a16:creationId xmlns:a16="http://schemas.microsoft.com/office/drawing/2014/main" id="{EC711AEC-5851-4E15-B641-30EAFB70D0E5}"/>
              </a:ext>
            </a:extLst>
          </p:cNvPr>
          <p:cNvCxnSpPr>
            <a:cxnSpLocks/>
          </p:cNvCxnSpPr>
          <p:nvPr/>
        </p:nvCxnSpPr>
        <p:spPr>
          <a:xfrm flipH="1">
            <a:off x="3961007" y="3962608"/>
            <a:ext cx="529113" cy="133142"/>
          </a:xfrm>
          <a:prstGeom prst="line">
            <a:avLst/>
          </a:prstGeom>
          <a:noFill/>
          <a:ln w="9525" cap="rnd" algn="ctr">
            <a:solidFill>
              <a:srgbClr val="A7A8AA"/>
            </a:solidFill>
            <a:prstDash val="lgDashDot"/>
            <a:round/>
            <a:headEnd/>
            <a:tailEnd/>
          </a:ln>
        </p:spPr>
      </p:cxnSp>
      <p:cxnSp>
        <p:nvCxnSpPr>
          <p:cNvPr id="129" name="Straight Connector 128">
            <a:extLst>
              <a:ext uri="{FF2B5EF4-FFF2-40B4-BE49-F238E27FC236}">
                <a16:creationId xmlns:a16="http://schemas.microsoft.com/office/drawing/2014/main" id="{4D5E9694-EC37-46BC-972B-1B4DC80080C3}"/>
              </a:ext>
            </a:extLst>
          </p:cNvPr>
          <p:cNvCxnSpPr>
            <a:cxnSpLocks/>
          </p:cNvCxnSpPr>
          <p:nvPr/>
        </p:nvCxnSpPr>
        <p:spPr>
          <a:xfrm flipH="1" flipV="1">
            <a:off x="3603510" y="2421634"/>
            <a:ext cx="1066136" cy="472730"/>
          </a:xfrm>
          <a:prstGeom prst="line">
            <a:avLst/>
          </a:prstGeom>
          <a:noFill/>
          <a:ln w="9525" cap="rnd" algn="ctr">
            <a:solidFill>
              <a:srgbClr val="A7A8AA"/>
            </a:solidFill>
            <a:prstDash val="lgDashDot"/>
            <a:round/>
            <a:headEnd/>
            <a:tailEnd/>
          </a:ln>
        </p:spPr>
      </p:cxnSp>
      <p:cxnSp>
        <p:nvCxnSpPr>
          <p:cNvPr id="137" name="Straight Connector 136">
            <a:extLst>
              <a:ext uri="{FF2B5EF4-FFF2-40B4-BE49-F238E27FC236}">
                <a16:creationId xmlns:a16="http://schemas.microsoft.com/office/drawing/2014/main" id="{5920F527-1739-469A-8910-2802F1218F64}"/>
              </a:ext>
            </a:extLst>
          </p:cNvPr>
          <p:cNvCxnSpPr>
            <a:cxnSpLocks/>
          </p:cNvCxnSpPr>
          <p:nvPr/>
        </p:nvCxnSpPr>
        <p:spPr>
          <a:xfrm flipV="1">
            <a:off x="6074933" y="1009651"/>
            <a:ext cx="21068" cy="1133476"/>
          </a:xfrm>
          <a:prstGeom prst="line">
            <a:avLst/>
          </a:prstGeom>
          <a:noFill/>
          <a:ln w="9525" cap="rnd" algn="ctr">
            <a:solidFill>
              <a:srgbClr val="A7A8AA"/>
            </a:solidFill>
            <a:prstDash val="lgDashDot"/>
            <a:round/>
            <a:headEnd/>
            <a:tailEnd/>
          </a:ln>
        </p:spPr>
      </p:cxnSp>
      <p:cxnSp>
        <p:nvCxnSpPr>
          <p:cNvPr id="144" name="Straight Connector 143">
            <a:extLst>
              <a:ext uri="{FF2B5EF4-FFF2-40B4-BE49-F238E27FC236}">
                <a16:creationId xmlns:a16="http://schemas.microsoft.com/office/drawing/2014/main" id="{4132BE0D-951B-4C5F-BA94-198CC6581F46}"/>
              </a:ext>
            </a:extLst>
          </p:cNvPr>
          <p:cNvCxnSpPr>
            <a:cxnSpLocks/>
          </p:cNvCxnSpPr>
          <p:nvPr/>
        </p:nvCxnSpPr>
        <p:spPr>
          <a:xfrm>
            <a:off x="7004625" y="5040568"/>
            <a:ext cx="289787" cy="344472"/>
          </a:xfrm>
          <a:prstGeom prst="line">
            <a:avLst/>
          </a:prstGeom>
          <a:noFill/>
          <a:ln w="9525" cap="rnd" algn="ctr">
            <a:solidFill>
              <a:srgbClr val="A7A8AA"/>
            </a:solidFill>
            <a:prstDash val="lgDashDot"/>
            <a:round/>
            <a:headEnd/>
            <a:tailEnd/>
          </a:ln>
        </p:spPr>
      </p:cxnSp>
      <p:cxnSp>
        <p:nvCxnSpPr>
          <p:cNvPr id="145" name="Straight Connector 144">
            <a:extLst>
              <a:ext uri="{FF2B5EF4-FFF2-40B4-BE49-F238E27FC236}">
                <a16:creationId xmlns:a16="http://schemas.microsoft.com/office/drawing/2014/main" id="{E74E014D-25FC-4FFF-999B-534BFDD1EE20}"/>
              </a:ext>
            </a:extLst>
          </p:cNvPr>
          <p:cNvCxnSpPr>
            <a:cxnSpLocks/>
          </p:cNvCxnSpPr>
          <p:nvPr/>
        </p:nvCxnSpPr>
        <p:spPr>
          <a:xfrm flipH="1">
            <a:off x="4909375" y="5070482"/>
            <a:ext cx="289787" cy="344472"/>
          </a:xfrm>
          <a:prstGeom prst="line">
            <a:avLst/>
          </a:prstGeom>
          <a:noFill/>
          <a:ln w="9525" cap="rnd" algn="ctr">
            <a:solidFill>
              <a:srgbClr val="A7A8AA"/>
            </a:solidFill>
            <a:prstDash val="lgDashDot"/>
            <a:round/>
            <a:headEnd/>
            <a:tailEnd/>
          </a:ln>
        </p:spPr>
      </p:cxnSp>
      <p:grpSp>
        <p:nvGrpSpPr>
          <p:cNvPr id="128" name="Group 325">
            <a:extLst>
              <a:ext uri="{FF2B5EF4-FFF2-40B4-BE49-F238E27FC236}">
                <a16:creationId xmlns:a16="http://schemas.microsoft.com/office/drawing/2014/main" id="{8429C16D-985C-47ED-A023-842FD548048E}"/>
              </a:ext>
            </a:extLst>
          </p:cNvPr>
          <p:cNvGrpSpPr>
            <a:grpSpLocks noChangeAspect="1"/>
          </p:cNvGrpSpPr>
          <p:nvPr/>
        </p:nvGrpSpPr>
        <p:grpSpPr bwMode="auto">
          <a:xfrm>
            <a:off x="3919193" y="1100427"/>
            <a:ext cx="820547" cy="822960"/>
            <a:chOff x="5044" y="1157"/>
            <a:chExt cx="340" cy="341"/>
          </a:xfrm>
          <a:solidFill>
            <a:schemeClr val="accent4"/>
          </a:solidFill>
        </p:grpSpPr>
        <p:sp>
          <p:nvSpPr>
            <p:cNvPr id="130" name="Freeform 326">
              <a:extLst>
                <a:ext uri="{FF2B5EF4-FFF2-40B4-BE49-F238E27FC236}">
                  <a16:creationId xmlns:a16="http://schemas.microsoft.com/office/drawing/2014/main" id="{D63E85C5-5213-4796-8842-432EC9AB9F8E}"/>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1" name="Freeform 327">
              <a:extLst>
                <a:ext uri="{FF2B5EF4-FFF2-40B4-BE49-F238E27FC236}">
                  <a16:creationId xmlns:a16="http://schemas.microsoft.com/office/drawing/2014/main" id="{419792E7-CE9B-475C-95E7-20E28A50B155}"/>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2" name="Group 118">
            <a:extLst>
              <a:ext uri="{FF2B5EF4-FFF2-40B4-BE49-F238E27FC236}">
                <a16:creationId xmlns:a16="http://schemas.microsoft.com/office/drawing/2014/main" id="{42BCE610-F184-4F0C-9107-27A164282831}"/>
              </a:ext>
            </a:extLst>
          </p:cNvPr>
          <p:cNvGrpSpPr>
            <a:grpSpLocks noChangeAspect="1"/>
          </p:cNvGrpSpPr>
          <p:nvPr/>
        </p:nvGrpSpPr>
        <p:grpSpPr bwMode="auto">
          <a:xfrm>
            <a:off x="2271133" y="2729947"/>
            <a:ext cx="822961" cy="822960"/>
            <a:chOff x="1926" y="383"/>
            <a:chExt cx="341" cy="341"/>
          </a:xfrm>
          <a:solidFill>
            <a:schemeClr val="accent2"/>
          </a:solidFill>
        </p:grpSpPr>
        <p:sp>
          <p:nvSpPr>
            <p:cNvPr id="134" name="Freeform 119">
              <a:extLst>
                <a:ext uri="{FF2B5EF4-FFF2-40B4-BE49-F238E27FC236}">
                  <a16:creationId xmlns:a16="http://schemas.microsoft.com/office/drawing/2014/main" id="{0C06EBF0-A0B9-48B7-AC72-79E86EE115F7}"/>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5" name="Freeform 120">
              <a:extLst>
                <a:ext uri="{FF2B5EF4-FFF2-40B4-BE49-F238E27FC236}">
                  <a16:creationId xmlns:a16="http://schemas.microsoft.com/office/drawing/2014/main" id="{7BA85D47-173F-48A0-9686-443B9ABC6406}"/>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7" name="Group 349">
            <a:extLst>
              <a:ext uri="{FF2B5EF4-FFF2-40B4-BE49-F238E27FC236}">
                <a16:creationId xmlns:a16="http://schemas.microsoft.com/office/drawing/2014/main" id="{5186CBE1-5C2D-419A-BB92-76239788AF48}"/>
              </a:ext>
            </a:extLst>
          </p:cNvPr>
          <p:cNvGrpSpPr>
            <a:grpSpLocks noChangeAspect="1"/>
          </p:cNvGrpSpPr>
          <p:nvPr/>
        </p:nvGrpSpPr>
        <p:grpSpPr bwMode="auto">
          <a:xfrm>
            <a:off x="3079416" y="4683599"/>
            <a:ext cx="822960" cy="822960"/>
            <a:chOff x="5018" y="1229"/>
            <a:chExt cx="340" cy="340"/>
          </a:xfrm>
          <a:solidFill>
            <a:schemeClr val="accent4"/>
          </a:solidFill>
        </p:grpSpPr>
        <p:sp>
          <p:nvSpPr>
            <p:cNvPr id="198" name="Freeform 350">
              <a:extLst>
                <a:ext uri="{FF2B5EF4-FFF2-40B4-BE49-F238E27FC236}">
                  <a16:creationId xmlns:a16="http://schemas.microsoft.com/office/drawing/2014/main" id="{AE49B4CC-47A1-4F04-BD77-8519C65179C6}"/>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2" name="Freeform 351">
              <a:extLst>
                <a:ext uri="{FF2B5EF4-FFF2-40B4-BE49-F238E27FC236}">
                  <a16:creationId xmlns:a16="http://schemas.microsoft.com/office/drawing/2014/main" id="{74F9E028-83A7-401D-A2E3-3B6CC120F3CC}"/>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13" name="Group 493">
            <a:extLst>
              <a:ext uri="{FF2B5EF4-FFF2-40B4-BE49-F238E27FC236}">
                <a16:creationId xmlns:a16="http://schemas.microsoft.com/office/drawing/2014/main" id="{E22B2DF8-962A-43CC-8714-FCE2E6B5AA39}"/>
              </a:ext>
            </a:extLst>
          </p:cNvPr>
          <p:cNvGrpSpPr>
            <a:grpSpLocks noChangeAspect="1"/>
          </p:cNvGrpSpPr>
          <p:nvPr/>
        </p:nvGrpSpPr>
        <p:grpSpPr bwMode="auto">
          <a:xfrm>
            <a:off x="8343046" y="4689423"/>
            <a:ext cx="822960" cy="822960"/>
            <a:chOff x="1195" y="2027"/>
            <a:chExt cx="340" cy="340"/>
          </a:xfrm>
          <a:solidFill>
            <a:schemeClr val="accent6"/>
          </a:solidFill>
        </p:grpSpPr>
        <p:sp>
          <p:nvSpPr>
            <p:cNvPr id="214" name="Freeform 494">
              <a:extLst>
                <a:ext uri="{FF2B5EF4-FFF2-40B4-BE49-F238E27FC236}">
                  <a16:creationId xmlns:a16="http://schemas.microsoft.com/office/drawing/2014/main" id="{D86AF550-B552-4B1C-B2AD-3BECCBDEBA8F}"/>
                </a:ext>
              </a:extLst>
            </p:cNvPr>
            <p:cNvSpPr>
              <a:spLocks noEditPoints="1"/>
            </p:cNvSpPr>
            <p:nvPr/>
          </p:nvSpPr>
          <p:spPr bwMode="auto">
            <a:xfrm>
              <a:off x="1195"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5" name="Freeform 495">
              <a:extLst>
                <a:ext uri="{FF2B5EF4-FFF2-40B4-BE49-F238E27FC236}">
                  <a16:creationId xmlns:a16="http://schemas.microsoft.com/office/drawing/2014/main" id="{1CCF2123-ADF1-443A-B190-843A8E865060}"/>
                </a:ext>
              </a:extLst>
            </p:cNvPr>
            <p:cNvSpPr>
              <a:spLocks noEditPoints="1"/>
            </p:cNvSpPr>
            <p:nvPr/>
          </p:nvSpPr>
          <p:spPr bwMode="auto">
            <a:xfrm>
              <a:off x="1279" y="2115"/>
              <a:ext cx="171" cy="160"/>
            </a:xfrm>
            <a:custGeom>
              <a:avLst/>
              <a:gdLst>
                <a:gd name="T0" fmla="*/ 254 w 257"/>
                <a:gd name="T1" fmla="*/ 78 h 241"/>
                <a:gd name="T2" fmla="*/ 257 w 257"/>
                <a:gd name="T3" fmla="*/ 70 h 241"/>
                <a:gd name="T4" fmla="*/ 254 w 257"/>
                <a:gd name="T5" fmla="*/ 63 h 241"/>
                <a:gd name="T6" fmla="*/ 194 w 257"/>
                <a:gd name="T7" fmla="*/ 4 h 241"/>
                <a:gd name="T8" fmla="*/ 179 w 257"/>
                <a:gd name="T9" fmla="*/ 4 h 241"/>
                <a:gd name="T10" fmla="*/ 4 w 257"/>
                <a:gd name="T11" fmla="*/ 179 h 241"/>
                <a:gd name="T12" fmla="*/ 4 w 257"/>
                <a:gd name="T13" fmla="*/ 194 h 241"/>
                <a:gd name="T14" fmla="*/ 46 w 257"/>
                <a:gd name="T15" fmla="*/ 238 h 241"/>
                <a:gd name="T16" fmla="*/ 46 w 257"/>
                <a:gd name="T17" fmla="*/ 238 h 241"/>
                <a:gd name="T18" fmla="*/ 50 w 257"/>
                <a:gd name="T19" fmla="*/ 240 h 241"/>
                <a:gd name="T20" fmla="*/ 54 w 257"/>
                <a:gd name="T21" fmla="*/ 241 h 241"/>
                <a:gd name="T22" fmla="*/ 86 w 257"/>
                <a:gd name="T23" fmla="*/ 241 h 241"/>
                <a:gd name="T24" fmla="*/ 225 w 257"/>
                <a:gd name="T25" fmla="*/ 241 h 241"/>
                <a:gd name="T26" fmla="*/ 235 w 257"/>
                <a:gd name="T27" fmla="*/ 230 h 241"/>
                <a:gd name="T28" fmla="*/ 225 w 257"/>
                <a:gd name="T29" fmla="*/ 220 h 241"/>
                <a:gd name="T30" fmla="*/ 112 w 257"/>
                <a:gd name="T31" fmla="*/ 220 h 241"/>
                <a:gd name="T32" fmla="*/ 254 w 257"/>
                <a:gd name="T33" fmla="*/ 78 h 241"/>
                <a:gd name="T34" fmla="*/ 187 w 257"/>
                <a:gd name="T35" fmla="*/ 26 h 241"/>
                <a:gd name="T36" fmla="*/ 231 w 257"/>
                <a:gd name="T37" fmla="*/ 70 h 241"/>
                <a:gd name="T38" fmla="*/ 150 w 257"/>
                <a:gd name="T39" fmla="*/ 151 h 241"/>
                <a:gd name="T40" fmla="*/ 106 w 257"/>
                <a:gd name="T41" fmla="*/ 107 h 241"/>
                <a:gd name="T42" fmla="*/ 187 w 257"/>
                <a:gd name="T43" fmla="*/ 26 h 241"/>
                <a:gd name="T44" fmla="*/ 58 w 257"/>
                <a:gd name="T45" fmla="*/ 220 h 241"/>
                <a:gd name="T46" fmla="*/ 26 w 257"/>
                <a:gd name="T47" fmla="*/ 187 h 241"/>
                <a:gd name="T48" fmla="*/ 91 w 257"/>
                <a:gd name="T49" fmla="*/ 122 h 241"/>
                <a:gd name="T50" fmla="*/ 135 w 257"/>
                <a:gd name="T51" fmla="*/ 166 h 241"/>
                <a:gd name="T52" fmla="*/ 82 w 257"/>
                <a:gd name="T53" fmla="*/ 220 h 241"/>
                <a:gd name="T54" fmla="*/ 58 w 257"/>
                <a:gd name="T55" fmla="*/ 2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7" h="241">
                  <a:moveTo>
                    <a:pt x="254" y="78"/>
                  </a:moveTo>
                  <a:cubicBezTo>
                    <a:pt x="256" y="76"/>
                    <a:pt x="257" y="73"/>
                    <a:pt x="257" y="70"/>
                  </a:cubicBezTo>
                  <a:cubicBezTo>
                    <a:pt x="257" y="67"/>
                    <a:pt x="256" y="65"/>
                    <a:pt x="254" y="63"/>
                  </a:cubicBezTo>
                  <a:cubicBezTo>
                    <a:pt x="194" y="4"/>
                    <a:pt x="194" y="4"/>
                    <a:pt x="194" y="4"/>
                  </a:cubicBezTo>
                  <a:cubicBezTo>
                    <a:pt x="190" y="0"/>
                    <a:pt x="184" y="0"/>
                    <a:pt x="179" y="4"/>
                  </a:cubicBezTo>
                  <a:cubicBezTo>
                    <a:pt x="4" y="179"/>
                    <a:pt x="4" y="179"/>
                    <a:pt x="4" y="179"/>
                  </a:cubicBezTo>
                  <a:cubicBezTo>
                    <a:pt x="0" y="184"/>
                    <a:pt x="0" y="190"/>
                    <a:pt x="4" y="194"/>
                  </a:cubicBezTo>
                  <a:cubicBezTo>
                    <a:pt x="46" y="238"/>
                    <a:pt x="46" y="238"/>
                    <a:pt x="46" y="238"/>
                  </a:cubicBezTo>
                  <a:cubicBezTo>
                    <a:pt x="46" y="238"/>
                    <a:pt x="46" y="238"/>
                    <a:pt x="46" y="238"/>
                  </a:cubicBezTo>
                  <a:cubicBezTo>
                    <a:pt x="47" y="239"/>
                    <a:pt x="49" y="240"/>
                    <a:pt x="50" y="240"/>
                  </a:cubicBezTo>
                  <a:cubicBezTo>
                    <a:pt x="51" y="241"/>
                    <a:pt x="53" y="241"/>
                    <a:pt x="54" y="241"/>
                  </a:cubicBezTo>
                  <a:cubicBezTo>
                    <a:pt x="86" y="241"/>
                    <a:pt x="86" y="241"/>
                    <a:pt x="86" y="241"/>
                  </a:cubicBezTo>
                  <a:cubicBezTo>
                    <a:pt x="225" y="241"/>
                    <a:pt x="225" y="241"/>
                    <a:pt x="225" y="241"/>
                  </a:cubicBezTo>
                  <a:cubicBezTo>
                    <a:pt x="231" y="241"/>
                    <a:pt x="235" y="236"/>
                    <a:pt x="235" y="230"/>
                  </a:cubicBezTo>
                  <a:cubicBezTo>
                    <a:pt x="235" y="224"/>
                    <a:pt x="231" y="220"/>
                    <a:pt x="225" y="220"/>
                  </a:cubicBezTo>
                  <a:cubicBezTo>
                    <a:pt x="112" y="220"/>
                    <a:pt x="112" y="220"/>
                    <a:pt x="112" y="220"/>
                  </a:cubicBezTo>
                  <a:lnTo>
                    <a:pt x="254" y="78"/>
                  </a:lnTo>
                  <a:close/>
                  <a:moveTo>
                    <a:pt x="187" y="26"/>
                  </a:moveTo>
                  <a:cubicBezTo>
                    <a:pt x="231" y="70"/>
                    <a:pt x="231" y="70"/>
                    <a:pt x="231" y="70"/>
                  </a:cubicBezTo>
                  <a:cubicBezTo>
                    <a:pt x="150" y="151"/>
                    <a:pt x="150" y="151"/>
                    <a:pt x="150" y="151"/>
                  </a:cubicBezTo>
                  <a:cubicBezTo>
                    <a:pt x="106" y="107"/>
                    <a:pt x="106" y="107"/>
                    <a:pt x="106" y="107"/>
                  </a:cubicBezTo>
                  <a:lnTo>
                    <a:pt x="187" y="26"/>
                  </a:lnTo>
                  <a:close/>
                  <a:moveTo>
                    <a:pt x="58" y="220"/>
                  </a:moveTo>
                  <a:cubicBezTo>
                    <a:pt x="26" y="187"/>
                    <a:pt x="26" y="187"/>
                    <a:pt x="26" y="187"/>
                  </a:cubicBezTo>
                  <a:cubicBezTo>
                    <a:pt x="91" y="122"/>
                    <a:pt x="91" y="122"/>
                    <a:pt x="91" y="122"/>
                  </a:cubicBezTo>
                  <a:cubicBezTo>
                    <a:pt x="135" y="166"/>
                    <a:pt x="135" y="166"/>
                    <a:pt x="135" y="166"/>
                  </a:cubicBezTo>
                  <a:cubicBezTo>
                    <a:pt x="82" y="220"/>
                    <a:pt x="82" y="220"/>
                    <a:pt x="82" y="220"/>
                  </a:cubicBezTo>
                  <a:lnTo>
                    <a:pt x="58" y="22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16" name="Group 601">
            <a:extLst>
              <a:ext uri="{FF2B5EF4-FFF2-40B4-BE49-F238E27FC236}">
                <a16:creationId xmlns:a16="http://schemas.microsoft.com/office/drawing/2014/main" id="{DE173295-293B-4193-9399-B49A18D97988}"/>
              </a:ext>
            </a:extLst>
          </p:cNvPr>
          <p:cNvGrpSpPr>
            <a:grpSpLocks noChangeAspect="1"/>
          </p:cNvGrpSpPr>
          <p:nvPr/>
        </p:nvGrpSpPr>
        <p:grpSpPr bwMode="auto">
          <a:xfrm>
            <a:off x="9052839" y="2723031"/>
            <a:ext cx="825380" cy="822960"/>
            <a:chOff x="7347" y="2263"/>
            <a:chExt cx="341" cy="340"/>
          </a:xfrm>
          <a:solidFill>
            <a:schemeClr val="accent1"/>
          </a:solidFill>
        </p:grpSpPr>
        <p:sp>
          <p:nvSpPr>
            <p:cNvPr id="217" name="Freeform 602">
              <a:extLst>
                <a:ext uri="{FF2B5EF4-FFF2-40B4-BE49-F238E27FC236}">
                  <a16:creationId xmlns:a16="http://schemas.microsoft.com/office/drawing/2014/main" id="{756A9249-F99C-4FAD-9A66-03CF93D87BE8}"/>
                </a:ext>
              </a:extLst>
            </p:cNvPr>
            <p:cNvSpPr>
              <a:spLocks noEditPoints="1"/>
            </p:cNvSpPr>
            <p:nvPr/>
          </p:nvSpPr>
          <p:spPr bwMode="auto">
            <a:xfrm>
              <a:off x="7439" y="2327"/>
              <a:ext cx="156" cy="212"/>
            </a:xfrm>
            <a:custGeom>
              <a:avLst/>
              <a:gdLst>
                <a:gd name="T0" fmla="*/ 224 w 235"/>
                <a:gd name="T1" fmla="*/ 149 h 320"/>
                <a:gd name="T2" fmla="*/ 43 w 235"/>
                <a:gd name="T3" fmla="*/ 149 h 320"/>
                <a:gd name="T4" fmla="*/ 43 w 235"/>
                <a:gd name="T5" fmla="*/ 96 h 320"/>
                <a:gd name="T6" fmla="*/ 118 w 235"/>
                <a:gd name="T7" fmla="*/ 21 h 320"/>
                <a:gd name="T8" fmla="*/ 192 w 235"/>
                <a:gd name="T9" fmla="*/ 96 h 320"/>
                <a:gd name="T10" fmla="*/ 192 w 235"/>
                <a:gd name="T11" fmla="*/ 106 h 320"/>
                <a:gd name="T12" fmla="*/ 203 w 235"/>
                <a:gd name="T13" fmla="*/ 117 h 320"/>
                <a:gd name="T14" fmla="*/ 214 w 235"/>
                <a:gd name="T15" fmla="*/ 106 h 320"/>
                <a:gd name="T16" fmla="*/ 214 w 235"/>
                <a:gd name="T17" fmla="*/ 96 h 320"/>
                <a:gd name="T18" fmla="*/ 118 w 235"/>
                <a:gd name="T19" fmla="*/ 0 h 320"/>
                <a:gd name="T20" fmla="*/ 22 w 235"/>
                <a:gd name="T21" fmla="*/ 96 h 320"/>
                <a:gd name="T22" fmla="*/ 22 w 235"/>
                <a:gd name="T23" fmla="*/ 149 h 320"/>
                <a:gd name="T24" fmla="*/ 11 w 235"/>
                <a:gd name="T25" fmla="*/ 149 h 320"/>
                <a:gd name="T26" fmla="*/ 0 w 235"/>
                <a:gd name="T27" fmla="*/ 160 h 320"/>
                <a:gd name="T28" fmla="*/ 0 w 235"/>
                <a:gd name="T29" fmla="*/ 309 h 320"/>
                <a:gd name="T30" fmla="*/ 11 w 235"/>
                <a:gd name="T31" fmla="*/ 320 h 320"/>
                <a:gd name="T32" fmla="*/ 224 w 235"/>
                <a:gd name="T33" fmla="*/ 320 h 320"/>
                <a:gd name="T34" fmla="*/ 235 w 235"/>
                <a:gd name="T35" fmla="*/ 309 h 320"/>
                <a:gd name="T36" fmla="*/ 235 w 235"/>
                <a:gd name="T37" fmla="*/ 160 h 320"/>
                <a:gd name="T38" fmla="*/ 224 w 235"/>
                <a:gd name="T39" fmla="*/ 149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43" y="149"/>
                    <a:pt x="43" y="149"/>
                    <a:pt x="43" y="149"/>
                  </a:cubicBezTo>
                  <a:cubicBezTo>
                    <a:pt x="43" y="96"/>
                    <a:pt x="43" y="96"/>
                    <a:pt x="43" y="96"/>
                  </a:cubicBezTo>
                  <a:cubicBezTo>
                    <a:pt x="43" y="54"/>
                    <a:pt x="76" y="21"/>
                    <a:pt x="118" y="21"/>
                  </a:cubicBezTo>
                  <a:cubicBezTo>
                    <a:pt x="159" y="21"/>
                    <a:pt x="192" y="54"/>
                    <a:pt x="192" y="96"/>
                  </a:cubicBezTo>
                  <a:cubicBezTo>
                    <a:pt x="192" y="106"/>
                    <a:pt x="192" y="106"/>
                    <a:pt x="192" y="106"/>
                  </a:cubicBezTo>
                  <a:cubicBezTo>
                    <a:pt x="192" y="112"/>
                    <a:pt x="197" y="117"/>
                    <a:pt x="203" y="117"/>
                  </a:cubicBezTo>
                  <a:cubicBezTo>
                    <a:pt x="209" y="117"/>
                    <a:pt x="214" y="112"/>
                    <a:pt x="214" y="106"/>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8" name="Freeform 603">
              <a:extLst>
                <a:ext uri="{FF2B5EF4-FFF2-40B4-BE49-F238E27FC236}">
                  <a16:creationId xmlns:a16="http://schemas.microsoft.com/office/drawing/2014/main" id="{2AB797B1-FABE-41DB-8FA5-3F9C80FD1138}"/>
                </a:ext>
              </a:extLst>
            </p:cNvPr>
            <p:cNvSpPr>
              <a:spLocks noEditPoints="1"/>
            </p:cNvSpPr>
            <p:nvPr/>
          </p:nvSpPr>
          <p:spPr bwMode="auto">
            <a:xfrm>
              <a:off x="7347" y="226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19" name="Group 423">
            <a:extLst>
              <a:ext uri="{FF2B5EF4-FFF2-40B4-BE49-F238E27FC236}">
                <a16:creationId xmlns:a16="http://schemas.microsoft.com/office/drawing/2014/main" id="{6C4D094B-9188-4C97-8ACE-C26F4AE48E50}"/>
              </a:ext>
            </a:extLst>
          </p:cNvPr>
          <p:cNvGrpSpPr>
            <a:grpSpLocks noChangeAspect="1"/>
          </p:cNvGrpSpPr>
          <p:nvPr/>
        </p:nvGrpSpPr>
        <p:grpSpPr bwMode="auto">
          <a:xfrm>
            <a:off x="7454270" y="1080887"/>
            <a:ext cx="822960" cy="822960"/>
            <a:chOff x="4285" y="1550"/>
            <a:chExt cx="340" cy="340"/>
          </a:xfrm>
          <a:solidFill>
            <a:schemeClr val="accent5"/>
          </a:solidFill>
        </p:grpSpPr>
        <p:sp>
          <p:nvSpPr>
            <p:cNvPr id="220" name="Freeform 424">
              <a:extLst>
                <a:ext uri="{FF2B5EF4-FFF2-40B4-BE49-F238E27FC236}">
                  <a16:creationId xmlns:a16="http://schemas.microsoft.com/office/drawing/2014/main" id="{34CC521A-3D90-483A-A1CB-B18F500E5AA5}"/>
                </a:ext>
              </a:extLst>
            </p:cNvPr>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1" name="Freeform 425">
              <a:extLst>
                <a:ext uri="{FF2B5EF4-FFF2-40B4-BE49-F238E27FC236}">
                  <a16:creationId xmlns:a16="http://schemas.microsoft.com/office/drawing/2014/main" id="{CB96B146-EB82-4A9D-97D8-95BD948E4B17}"/>
                </a:ext>
              </a:extLst>
            </p:cNvPr>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ustDataLst>
      <p:tags r:id="rId1"/>
    </p:custDataLst>
    <p:extLst>
      <p:ext uri="{BB962C8B-B14F-4D97-AF65-F5344CB8AC3E}">
        <p14:creationId xmlns:p14="http://schemas.microsoft.com/office/powerpoint/2010/main" val="309977452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099593" y="1714500"/>
            <a:ext cx="5992814" cy="2746365"/>
            <a:chOff x="2951792" y="1653540"/>
            <a:chExt cx="6125834" cy="2807325"/>
          </a:xfrm>
        </p:grpSpPr>
        <p:sp>
          <p:nvSpPr>
            <p:cNvPr id="85" name="Freeform 6"/>
            <p:cNvSpPr>
              <a:spLocks noEditPoints="1"/>
            </p:cNvSpPr>
            <p:nvPr/>
          </p:nvSpPr>
          <p:spPr bwMode="auto">
            <a:xfrm>
              <a:off x="4607608" y="2939036"/>
              <a:ext cx="651539" cy="1521829"/>
            </a:xfrm>
            <a:custGeom>
              <a:avLst/>
              <a:gdLst>
                <a:gd name="T0" fmla="*/ 0 w 761"/>
                <a:gd name="T1" fmla="*/ 191 h 2389"/>
                <a:gd name="T2" fmla="*/ 507 w 761"/>
                <a:gd name="T3" fmla="*/ 191 h 2389"/>
                <a:gd name="T4" fmla="*/ 666 w 761"/>
                <a:gd name="T5" fmla="*/ 561 h 2389"/>
                <a:gd name="T6" fmla="*/ 666 w 761"/>
                <a:gd name="T7" fmla="*/ 761 h 2389"/>
                <a:gd name="T8" fmla="*/ 571 w 761"/>
                <a:gd name="T9" fmla="*/ 920 h 2389"/>
                <a:gd name="T10" fmla="*/ 571 w 761"/>
                <a:gd name="T11" fmla="*/ 920 h 2389"/>
                <a:gd name="T12" fmla="*/ 571 w 761"/>
                <a:gd name="T13" fmla="*/ 1174 h 2389"/>
                <a:gd name="T14" fmla="*/ 666 w 761"/>
                <a:gd name="T15" fmla="*/ 1332 h 2389"/>
                <a:gd name="T16" fmla="*/ 666 w 761"/>
                <a:gd name="T17" fmla="*/ 1374 h 2389"/>
                <a:gd name="T18" fmla="*/ 571 w 761"/>
                <a:gd name="T19" fmla="*/ 1533 h 2389"/>
                <a:gd name="T20" fmla="*/ 571 w 761"/>
                <a:gd name="T21" fmla="*/ 1533 h 2389"/>
                <a:gd name="T22" fmla="*/ 571 w 761"/>
                <a:gd name="T23" fmla="*/ 1797 h 2389"/>
                <a:gd name="T24" fmla="*/ 666 w 761"/>
                <a:gd name="T25" fmla="*/ 2104 h 2389"/>
                <a:gd name="T26" fmla="*/ 74 w 761"/>
                <a:gd name="T27" fmla="*/ 2104 h 2389"/>
                <a:gd name="T28" fmla="*/ 190 w 761"/>
                <a:gd name="T29" fmla="*/ 1956 h 2389"/>
                <a:gd name="T30" fmla="*/ 190 w 761"/>
                <a:gd name="T31" fmla="*/ 1956 h 2389"/>
                <a:gd name="T32" fmla="*/ 190 w 761"/>
                <a:gd name="T33" fmla="*/ 1533 h 2389"/>
                <a:gd name="T34" fmla="*/ 74 w 761"/>
                <a:gd name="T35" fmla="*/ 1374 h 2389"/>
                <a:gd name="T36" fmla="*/ 74 w 761"/>
                <a:gd name="T37" fmla="*/ 1332 h 2389"/>
                <a:gd name="T38" fmla="*/ 190 w 761"/>
                <a:gd name="T39" fmla="*/ 1174 h 2389"/>
                <a:gd name="T40" fmla="*/ 190 w 761"/>
                <a:gd name="T41" fmla="*/ 1174 h 2389"/>
                <a:gd name="T42" fmla="*/ 190 w 761"/>
                <a:gd name="T43" fmla="*/ 761 h 2389"/>
                <a:gd name="T44" fmla="*/ 74 w 761"/>
                <a:gd name="T45" fmla="*/ 603 h 2389"/>
                <a:gd name="T46" fmla="*/ 74 w 761"/>
                <a:gd name="T47" fmla="*/ 561 h 2389"/>
                <a:gd name="T48" fmla="*/ 338 w 761"/>
                <a:gd name="T49" fmla="*/ 1956 h 2389"/>
                <a:gd name="T50" fmla="*/ 338 w 761"/>
                <a:gd name="T51" fmla="*/ 1956 h 2389"/>
                <a:gd name="T52" fmla="*/ 338 w 761"/>
                <a:gd name="T53" fmla="*/ 1691 h 2389"/>
                <a:gd name="T54" fmla="*/ 254 w 761"/>
                <a:gd name="T55" fmla="*/ 1533 h 2389"/>
                <a:gd name="T56" fmla="*/ 254 w 761"/>
                <a:gd name="T57" fmla="*/ 1491 h 2389"/>
                <a:gd name="T58" fmla="*/ 338 w 761"/>
                <a:gd name="T59" fmla="*/ 1332 h 2389"/>
                <a:gd name="T60" fmla="*/ 338 w 761"/>
                <a:gd name="T61" fmla="*/ 1332 h 2389"/>
                <a:gd name="T62" fmla="*/ 338 w 761"/>
                <a:gd name="T63" fmla="*/ 1068 h 2389"/>
                <a:gd name="T64" fmla="*/ 254 w 761"/>
                <a:gd name="T65" fmla="*/ 920 h 2389"/>
                <a:gd name="T66" fmla="*/ 254 w 761"/>
                <a:gd name="T67" fmla="*/ 867 h 2389"/>
                <a:gd name="T68" fmla="*/ 338 w 761"/>
                <a:gd name="T69" fmla="*/ 561 h 2389"/>
                <a:gd name="T70" fmla="*/ 338 w 761"/>
                <a:gd name="T71" fmla="*/ 561 h 2389"/>
                <a:gd name="T72" fmla="*/ 507 w 761"/>
                <a:gd name="T73" fmla="*/ 1998 h 2389"/>
                <a:gd name="T74" fmla="*/ 423 w 761"/>
                <a:gd name="T75" fmla="*/ 1839 h 2389"/>
                <a:gd name="T76" fmla="*/ 423 w 761"/>
                <a:gd name="T77" fmla="*/ 1797 h 2389"/>
                <a:gd name="T78" fmla="*/ 507 w 761"/>
                <a:gd name="T79" fmla="*/ 1639 h 2389"/>
                <a:gd name="T80" fmla="*/ 507 w 761"/>
                <a:gd name="T81" fmla="*/ 1639 h 2389"/>
                <a:gd name="T82" fmla="*/ 507 w 761"/>
                <a:gd name="T83" fmla="*/ 1226 h 2389"/>
                <a:gd name="T84" fmla="*/ 423 w 761"/>
                <a:gd name="T85" fmla="*/ 1068 h 2389"/>
                <a:gd name="T86" fmla="*/ 423 w 761"/>
                <a:gd name="T87" fmla="*/ 1026 h 2389"/>
                <a:gd name="T88" fmla="*/ 507 w 761"/>
                <a:gd name="T89" fmla="*/ 867 h 2389"/>
                <a:gd name="T90" fmla="*/ 507 w 761"/>
                <a:gd name="T91" fmla="*/ 867 h 2389"/>
                <a:gd name="T92" fmla="*/ 507 w 761"/>
                <a:gd name="T93" fmla="*/ 603 h 2389"/>
                <a:gd name="T94" fmla="*/ 423 w 761"/>
                <a:gd name="T95" fmla="*/ 455 h 2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61" h="2389">
                  <a:moveTo>
                    <a:pt x="507" y="0"/>
                  </a:moveTo>
                  <a:lnTo>
                    <a:pt x="74" y="0"/>
                  </a:lnTo>
                  <a:lnTo>
                    <a:pt x="74" y="191"/>
                  </a:lnTo>
                  <a:lnTo>
                    <a:pt x="0" y="191"/>
                  </a:lnTo>
                  <a:lnTo>
                    <a:pt x="0" y="2389"/>
                  </a:lnTo>
                  <a:lnTo>
                    <a:pt x="761" y="2389"/>
                  </a:lnTo>
                  <a:lnTo>
                    <a:pt x="761" y="191"/>
                  </a:lnTo>
                  <a:lnTo>
                    <a:pt x="507" y="191"/>
                  </a:lnTo>
                  <a:lnTo>
                    <a:pt x="507" y="0"/>
                  </a:lnTo>
                  <a:close/>
                  <a:moveTo>
                    <a:pt x="571" y="455"/>
                  </a:moveTo>
                  <a:lnTo>
                    <a:pt x="666" y="455"/>
                  </a:lnTo>
                  <a:lnTo>
                    <a:pt x="666" y="561"/>
                  </a:lnTo>
                  <a:lnTo>
                    <a:pt x="571" y="561"/>
                  </a:lnTo>
                  <a:lnTo>
                    <a:pt x="571" y="455"/>
                  </a:lnTo>
                  <a:close/>
                  <a:moveTo>
                    <a:pt x="571" y="761"/>
                  </a:moveTo>
                  <a:lnTo>
                    <a:pt x="666" y="761"/>
                  </a:lnTo>
                  <a:lnTo>
                    <a:pt x="666" y="867"/>
                  </a:lnTo>
                  <a:lnTo>
                    <a:pt x="571" y="867"/>
                  </a:lnTo>
                  <a:lnTo>
                    <a:pt x="571" y="761"/>
                  </a:lnTo>
                  <a:close/>
                  <a:moveTo>
                    <a:pt x="571" y="920"/>
                  </a:moveTo>
                  <a:lnTo>
                    <a:pt x="666" y="920"/>
                  </a:lnTo>
                  <a:lnTo>
                    <a:pt x="666" y="1026"/>
                  </a:lnTo>
                  <a:lnTo>
                    <a:pt x="571" y="1026"/>
                  </a:lnTo>
                  <a:lnTo>
                    <a:pt x="571" y="920"/>
                  </a:lnTo>
                  <a:close/>
                  <a:moveTo>
                    <a:pt x="571" y="1068"/>
                  </a:moveTo>
                  <a:lnTo>
                    <a:pt x="666" y="1068"/>
                  </a:lnTo>
                  <a:lnTo>
                    <a:pt x="666" y="1174"/>
                  </a:lnTo>
                  <a:lnTo>
                    <a:pt x="571" y="1174"/>
                  </a:lnTo>
                  <a:lnTo>
                    <a:pt x="571" y="1068"/>
                  </a:lnTo>
                  <a:close/>
                  <a:moveTo>
                    <a:pt x="571" y="1226"/>
                  </a:moveTo>
                  <a:lnTo>
                    <a:pt x="666" y="1226"/>
                  </a:lnTo>
                  <a:lnTo>
                    <a:pt x="666" y="1332"/>
                  </a:lnTo>
                  <a:lnTo>
                    <a:pt x="571" y="1332"/>
                  </a:lnTo>
                  <a:lnTo>
                    <a:pt x="571" y="1226"/>
                  </a:lnTo>
                  <a:close/>
                  <a:moveTo>
                    <a:pt x="571" y="1374"/>
                  </a:moveTo>
                  <a:lnTo>
                    <a:pt x="666" y="1374"/>
                  </a:lnTo>
                  <a:lnTo>
                    <a:pt x="666" y="1491"/>
                  </a:lnTo>
                  <a:lnTo>
                    <a:pt x="571" y="1491"/>
                  </a:lnTo>
                  <a:lnTo>
                    <a:pt x="571" y="1374"/>
                  </a:lnTo>
                  <a:close/>
                  <a:moveTo>
                    <a:pt x="571" y="1533"/>
                  </a:moveTo>
                  <a:lnTo>
                    <a:pt x="666" y="1533"/>
                  </a:lnTo>
                  <a:lnTo>
                    <a:pt x="666" y="1639"/>
                  </a:lnTo>
                  <a:lnTo>
                    <a:pt x="571" y="1639"/>
                  </a:lnTo>
                  <a:lnTo>
                    <a:pt x="571" y="1533"/>
                  </a:lnTo>
                  <a:close/>
                  <a:moveTo>
                    <a:pt x="571" y="1691"/>
                  </a:moveTo>
                  <a:lnTo>
                    <a:pt x="666" y="1691"/>
                  </a:lnTo>
                  <a:lnTo>
                    <a:pt x="666" y="1797"/>
                  </a:lnTo>
                  <a:lnTo>
                    <a:pt x="571" y="1797"/>
                  </a:lnTo>
                  <a:lnTo>
                    <a:pt x="571" y="1691"/>
                  </a:lnTo>
                  <a:close/>
                  <a:moveTo>
                    <a:pt x="571" y="1998"/>
                  </a:moveTo>
                  <a:lnTo>
                    <a:pt x="666" y="1998"/>
                  </a:lnTo>
                  <a:lnTo>
                    <a:pt x="666" y="2104"/>
                  </a:lnTo>
                  <a:lnTo>
                    <a:pt x="571" y="2104"/>
                  </a:lnTo>
                  <a:lnTo>
                    <a:pt x="571" y="1998"/>
                  </a:lnTo>
                  <a:close/>
                  <a:moveTo>
                    <a:pt x="190" y="2104"/>
                  </a:moveTo>
                  <a:lnTo>
                    <a:pt x="74" y="2104"/>
                  </a:lnTo>
                  <a:lnTo>
                    <a:pt x="74" y="1998"/>
                  </a:lnTo>
                  <a:lnTo>
                    <a:pt x="190" y="1998"/>
                  </a:lnTo>
                  <a:lnTo>
                    <a:pt x="190" y="2104"/>
                  </a:lnTo>
                  <a:close/>
                  <a:moveTo>
                    <a:pt x="190" y="1956"/>
                  </a:moveTo>
                  <a:lnTo>
                    <a:pt x="74" y="1956"/>
                  </a:lnTo>
                  <a:lnTo>
                    <a:pt x="74" y="1839"/>
                  </a:lnTo>
                  <a:lnTo>
                    <a:pt x="190" y="1839"/>
                  </a:lnTo>
                  <a:lnTo>
                    <a:pt x="190" y="1956"/>
                  </a:lnTo>
                  <a:close/>
                  <a:moveTo>
                    <a:pt x="190" y="1639"/>
                  </a:moveTo>
                  <a:lnTo>
                    <a:pt x="74" y="1639"/>
                  </a:lnTo>
                  <a:lnTo>
                    <a:pt x="74" y="1533"/>
                  </a:lnTo>
                  <a:lnTo>
                    <a:pt x="190" y="1533"/>
                  </a:lnTo>
                  <a:lnTo>
                    <a:pt x="190" y="1639"/>
                  </a:lnTo>
                  <a:close/>
                  <a:moveTo>
                    <a:pt x="190" y="1491"/>
                  </a:moveTo>
                  <a:lnTo>
                    <a:pt x="74" y="1491"/>
                  </a:lnTo>
                  <a:lnTo>
                    <a:pt x="74" y="1374"/>
                  </a:lnTo>
                  <a:lnTo>
                    <a:pt x="190" y="1374"/>
                  </a:lnTo>
                  <a:lnTo>
                    <a:pt x="190" y="1491"/>
                  </a:lnTo>
                  <a:close/>
                  <a:moveTo>
                    <a:pt x="190" y="1332"/>
                  </a:moveTo>
                  <a:lnTo>
                    <a:pt x="74" y="1332"/>
                  </a:lnTo>
                  <a:lnTo>
                    <a:pt x="74" y="1226"/>
                  </a:lnTo>
                  <a:lnTo>
                    <a:pt x="190" y="1226"/>
                  </a:lnTo>
                  <a:lnTo>
                    <a:pt x="190" y="1332"/>
                  </a:lnTo>
                  <a:close/>
                  <a:moveTo>
                    <a:pt x="190" y="1174"/>
                  </a:moveTo>
                  <a:lnTo>
                    <a:pt x="74" y="1174"/>
                  </a:lnTo>
                  <a:lnTo>
                    <a:pt x="74" y="1068"/>
                  </a:lnTo>
                  <a:lnTo>
                    <a:pt x="190" y="1068"/>
                  </a:lnTo>
                  <a:lnTo>
                    <a:pt x="190" y="1174"/>
                  </a:lnTo>
                  <a:close/>
                  <a:moveTo>
                    <a:pt x="190" y="867"/>
                  </a:moveTo>
                  <a:lnTo>
                    <a:pt x="74" y="867"/>
                  </a:lnTo>
                  <a:lnTo>
                    <a:pt x="74" y="761"/>
                  </a:lnTo>
                  <a:lnTo>
                    <a:pt x="190" y="761"/>
                  </a:lnTo>
                  <a:lnTo>
                    <a:pt x="190" y="867"/>
                  </a:lnTo>
                  <a:close/>
                  <a:moveTo>
                    <a:pt x="190" y="719"/>
                  </a:moveTo>
                  <a:lnTo>
                    <a:pt x="74" y="719"/>
                  </a:lnTo>
                  <a:lnTo>
                    <a:pt x="74" y="603"/>
                  </a:lnTo>
                  <a:lnTo>
                    <a:pt x="190" y="603"/>
                  </a:lnTo>
                  <a:lnTo>
                    <a:pt x="190" y="719"/>
                  </a:lnTo>
                  <a:close/>
                  <a:moveTo>
                    <a:pt x="190" y="561"/>
                  </a:moveTo>
                  <a:lnTo>
                    <a:pt x="74" y="561"/>
                  </a:lnTo>
                  <a:lnTo>
                    <a:pt x="74" y="455"/>
                  </a:lnTo>
                  <a:lnTo>
                    <a:pt x="190" y="455"/>
                  </a:lnTo>
                  <a:lnTo>
                    <a:pt x="190" y="561"/>
                  </a:lnTo>
                  <a:close/>
                  <a:moveTo>
                    <a:pt x="338" y="1956"/>
                  </a:moveTo>
                  <a:lnTo>
                    <a:pt x="254" y="1956"/>
                  </a:lnTo>
                  <a:lnTo>
                    <a:pt x="254" y="1839"/>
                  </a:lnTo>
                  <a:lnTo>
                    <a:pt x="338" y="1839"/>
                  </a:lnTo>
                  <a:lnTo>
                    <a:pt x="338" y="1956"/>
                  </a:lnTo>
                  <a:close/>
                  <a:moveTo>
                    <a:pt x="338" y="1797"/>
                  </a:moveTo>
                  <a:lnTo>
                    <a:pt x="254" y="1797"/>
                  </a:lnTo>
                  <a:lnTo>
                    <a:pt x="254" y="1691"/>
                  </a:lnTo>
                  <a:lnTo>
                    <a:pt x="338" y="1691"/>
                  </a:lnTo>
                  <a:lnTo>
                    <a:pt x="338" y="1797"/>
                  </a:lnTo>
                  <a:close/>
                  <a:moveTo>
                    <a:pt x="338" y="1639"/>
                  </a:moveTo>
                  <a:lnTo>
                    <a:pt x="254" y="1639"/>
                  </a:lnTo>
                  <a:lnTo>
                    <a:pt x="254" y="1533"/>
                  </a:lnTo>
                  <a:lnTo>
                    <a:pt x="338" y="1533"/>
                  </a:lnTo>
                  <a:lnTo>
                    <a:pt x="338" y="1639"/>
                  </a:lnTo>
                  <a:close/>
                  <a:moveTo>
                    <a:pt x="338" y="1491"/>
                  </a:moveTo>
                  <a:lnTo>
                    <a:pt x="254" y="1491"/>
                  </a:lnTo>
                  <a:lnTo>
                    <a:pt x="254" y="1374"/>
                  </a:lnTo>
                  <a:lnTo>
                    <a:pt x="338" y="1374"/>
                  </a:lnTo>
                  <a:lnTo>
                    <a:pt x="338" y="1491"/>
                  </a:lnTo>
                  <a:close/>
                  <a:moveTo>
                    <a:pt x="338" y="1332"/>
                  </a:moveTo>
                  <a:lnTo>
                    <a:pt x="254" y="1332"/>
                  </a:lnTo>
                  <a:lnTo>
                    <a:pt x="254" y="1226"/>
                  </a:lnTo>
                  <a:lnTo>
                    <a:pt x="338" y="1226"/>
                  </a:lnTo>
                  <a:lnTo>
                    <a:pt x="338" y="1332"/>
                  </a:lnTo>
                  <a:close/>
                  <a:moveTo>
                    <a:pt x="338" y="1174"/>
                  </a:moveTo>
                  <a:lnTo>
                    <a:pt x="254" y="1174"/>
                  </a:lnTo>
                  <a:lnTo>
                    <a:pt x="254" y="1068"/>
                  </a:lnTo>
                  <a:lnTo>
                    <a:pt x="338" y="1068"/>
                  </a:lnTo>
                  <a:lnTo>
                    <a:pt x="338" y="1174"/>
                  </a:lnTo>
                  <a:close/>
                  <a:moveTo>
                    <a:pt x="338" y="1026"/>
                  </a:moveTo>
                  <a:lnTo>
                    <a:pt x="254" y="1026"/>
                  </a:lnTo>
                  <a:lnTo>
                    <a:pt x="254" y="920"/>
                  </a:lnTo>
                  <a:lnTo>
                    <a:pt x="338" y="920"/>
                  </a:lnTo>
                  <a:lnTo>
                    <a:pt x="338" y="1026"/>
                  </a:lnTo>
                  <a:close/>
                  <a:moveTo>
                    <a:pt x="338" y="867"/>
                  </a:moveTo>
                  <a:lnTo>
                    <a:pt x="254" y="867"/>
                  </a:lnTo>
                  <a:lnTo>
                    <a:pt x="254" y="761"/>
                  </a:lnTo>
                  <a:lnTo>
                    <a:pt x="338" y="761"/>
                  </a:lnTo>
                  <a:lnTo>
                    <a:pt x="338" y="867"/>
                  </a:lnTo>
                  <a:close/>
                  <a:moveTo>
                    <a:pt x="338" y="561"/>
                  </a:moveTo>
                  <a:lnTo>
                    <a:pt x="254" y="561"/>
                  </a:lnTo>
                  <a:lnTo>
                    <a:pt x="254" y="455"/>
                  </a:lnTo>
                  <a:lnTo>
                    <a:pt x="338" y="455"/>
                  </a:lnTo>
                  <a:lnTo>
                    <a:pt x="338" y="561"/>
                  </a:lnTo>
                  <a:close/>
                  <a:moveTo>
                    <a:pt x="507" y="2104"/>
                  </a:moveTo>
                  <a:lnTo>
                    <a:pt x="423" y="2104"/>
                  </a:lnTo>
                  <a:lnTo>
                    <a:pt x="423" y="1998"/>
                  </a:lnTo>
                  <a:lnTo>
                    <a:pt x="507" y="1998"/>
                  </a:lnTo>
                  <a:lnTo>
                    <a:pt x="507" y="2104"/>
                  </a:lnTo>
                  <a:close/>
                  <a:moveTo>
                    <a:pt x="507" y="1956"/>
                  </a:moveTo>
                  <a:lnTo>
                    <a:pt x="423" y="1956"/>
                  </a:lnTo>
                  <a:lnTo>
                    <a:pt x="423" y="1839"/>
                  </a:lnTo>
                  <a:lnTo>
                    <a:pt x="507" y="1839"/>
                  </a:lnTo>
                  <a:lnTo>
                    <a:pt x="507" y="1956"/>
                  </a:lnTo>
                  <a:close/>
                  <a:moveTo>
                    <a:pt x="507" y="1797"/>
                  </a:moveTo>
                  <a:lnTo>
                    <a:pt x="423" y="1797"/>
                  </a:lnTo>
                  <a:lnTo>
                    <a:pt x="423" y="1691"/>
                  </a:lnTo>
                  <a:lnTo>
                    <a:pt x="507" y="1691"/>
                  </a:lnTo>
                  <a:lnTo>
                    <a:pt x="507" y="1797"/>
                  </a:lnTo>
                  <a:close/>
                  <a:moveTo>
                    <a:pt x="507" y="1639"/>
                  </a:moveTo>
                  <a:lnTo>
                    <a:pt x="423" y="1639"/>
                  </a:lnTo>
                  <a:lnTo>
                    <a:pt x="423" y="1533"/>
                  </a:lnTo>
                  <a:lnTo>
                    <a:pt x="507" y="1533"/>
                  </a:lnTo>
                  <a:lnTo>
                    <a:pt x="507" y="1639"/>
                  </a:lnTo>
                  <a:close/>
                  <a:moveTo>
                    <a:pt x="507" y="1332"/>
                  </a:moveTo>
                  <a:lnTo>
                    <a:pt x="423" y="1332"/>
                  </a:lnTo>
                  <a:lnTo>
                    <a:pt x="423" y="1226"/>
                  </a:lnTo>
                  <a:lnTo>
                    <a:pt x="507" y="1226"/>
                  </a:lnTo>
                  <a:lnTo>
                    <a:pt x="507" y="1332"/>
                  </a:lnTo>
                  <a:close/>
                  <a:moveTo>
                    <a:pt x="507" y="1174"/>
                  </a:moveTo>
                  <a:lnTo>
                    <a:pt x="423" y="1174"/>
                  </a:lnTo>
                  <a:lnTo>
                    <a:pt x="423" y="1068"/>
                  </a:lnTo>
                  <a:lnTo>
                    <a:pt x="507" y="1068"/>
                  </a:lnTo>
                  <a:lnTo>
                    <a:pt x="507" y="1174"/>
                  </a:lnTo>
                  <a:close/>
                  <a:moveTo>
                    <a:pt x="507" y="1026"/>
                  </a:moveTo>
                  <a:lnTo>
                    <a:pt x="423" y="1026"/>
                  </a:lnTo>
                  <a:lnTo>
                    <a:pt x="423" y="920"/>
                  </a:lnTo>
                  <a:lnTo>
                    <a:pt x="507" y="920"/>
                  </a:lnTo>
                  <a:lnTo>
                    <a:pt x="507" y="1026"/>
                  </a:lnTo>
                  <a:close/>
                  <a:moveTo>
                    <a:pt x="507" y="867"/>
                  </a:moveTo>
                  <a:lnTo>
                    <a:pt x="423" y="867"/>
                  </a:lnTo>
                  <a:lnTo>
                    <a:pt x="423" y="761"/>
                  </a:lnTo>
                  <a:lnTo>
                    <a:pt x="507" y="761"/>
                  </a:lnTo>
                  <a:lnTo>
                    <a:pt x="507" y="867"/>
                  </a:lnTo>
                  <a:close/>
                  <a:moveTo>
                    <a:pt x="507" y="719"/>
                  </a:moveTo>
                  <a:lnTo>
                    <a:pt x="423" y="719"/>
                  </a:lnTo>
                  <a:lnTo>
                    <a:pt x="423" y="603"/>
                  </a:lnTo>
                  <a:lnTo>
                    <a:pt x="507" y="603"/>
                  </a:lnTo>
                  <a:lnTo>
                    <a:pt x="507" y="719"/>
                  </a:lnTo>
                  <a:close/>
                  <a:moveTo>
                    <a:pt x="507" y="561"/>
                  </a:moveTo>
                  <a:lnTo>
                    <a:pt x="423" y="561"/>
                  </a:lnTo>
                  <a:lnTo>
                    <a:pt x="423" y="455"/>
                  </a:lnTo>
                  <a:lnTo>
                    <a:pt x="507" y="455"/>
                  </a:lnTo>
                  <a:lnTo>
                    <a:pt x="507" y="561"/>
                  </a:ln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6" name="Freeform 7"/>
            <p:cNvSpPr>
              <a:spLocks noEditPoints="1"/>
            </p:cNvSpPr>
            <p:nvPr/>
          </p:nvSpPr>
          <p:spPr bwMode="auto">
            <a:xfrm>
              <a:off x="6688936" y="2898904"/>
              <a:ext cx="651539" cy="1561961"/>
            </a:xfrm>
            <a:custGeom>
              <a:avLst/>
              <a:gdLst>
                <a:gd name="T0" fmla="*/ 423 w 761"/>
                <a:gd name="T1" fmla="*/ 0 h 2452"/>
                <a:gd name="T2" fmla="*/ 127 w 761"/>
                <a:gd name="T3" fmla="*/ 317 h 2452"/>
                <a:gd name="T4" fmla="*/ 0 w 761"/>
                <a:gd name="T5" fmla="*/ 2452 h 2452"/>
                <a:gd name="T6" fmla="*/ 655 w 761"/>
                <a:gd name="T7" fmla="*/ 560 h 2452"/>
                <a:gd name="T8" fmla="*/ 63 w 761"/>
                <a:gd name="T9" fmla="*/ 2198 h 2452"/>
                <a:gd name="T10" fmla="*/ 137 w 761"/>
                <a:gd name="T11" fmla="*/ 2198 h 2452"/>
                <a:gd name="T12" fmla="*/ 63 w 761"/>
                <a:gd name="T13" fmla="*/ 1818 h 2452"/>
                <a:gd name="T14" fmla="*/ 137 w 761"/>
                <a:gd name="T15" fmla="*/ 1733 h 2452"/>
                <a:gd name="T16" fmla="*/ 137 w 761"/>
                <a:gd name="T17" fmla="*/ 1585 h 2452"/>
                <a:gd name="T18" fmla="*/ 63 w 761"/>
                <a:gd name="T19" fmla="*/ 1501 h 2452"/>
                <a:gd name="T20" fmla="*/ 137 w 761"/>
                <a:gd name="T21" fmla="*/ 1501 h 2452"/>
                <a:gd name="T22" fmla="*/ 63 w 761"/>
                <a:gd name="T23" fmla="*/ 1120 h 2452"/>
                <a:gd name="T24" fmla="*/ 137 w 761"/>
                <a:gd name="T25" fmla="*/ 1036 h 2452"/>
                <a:gd name="T26" fmla="*/ 137 w 761"/>
                <a:gd name="T27" fmla="*/ 888 h 2452"/>
                <a:gd name="T28" fmla="*/ 63 w 761"/>
                <a:gd name="T29" fmla="*/ 803 h 2452"/>
                <a:gd name="T30" fmla="*/ 137 w 761"/>
                <a:gd name="T31" fmla="*/ 803 h 2452"/>
                <a:gd name="T32" fmla="*/ 201 w 761"/>
                <a:gd name="T33" fmla="*/ 2050 h 2452"/>
                <a:gd name="T34" fmla="*/ 275 w 761"/>
                <a:gd name="T35" fmla="*/ 1966 h 2452"/>
                <a:gd name="T36" fmla="*/ 275 w 761"/>
                <a:gd name="T37" fmla="*/ 1818 h 2452"/>
                <a:gd name="T38" fmla="*/ 201 w 761"/>
                <a:gd name="T39" fmla="*/ 1501 h 2452"/>
                <a:gd name="T40" fmla="*/ 275 w 761"/>
                <a:gd name="T41" fmla="*/ 1501 h 2452"/>
                <a:gd name="T42" fmla="*/ 201 w 761"/>
                <a:gd name="T43" fmla="*/ 888 h 2452"/>
                <a:gd name="T44" fmla="*/ 275 w 761"/>
                <a:gd name="T45" fmla="*/ 803 h 2452"/>
                <a:gd name="T46" fmla="*/ 275 w 761"/>
                <a:gd name="T47" fmla="*/ 655 h 2452"/>
                <a:gd name="T48" fmla="*/ 201 w 761"/>
                <a:gd name="T49" fmla="*/ 550 h 2452"/>
                <a:gd name="T50" fmla="*/ 275 w 761"/>
                <a:gd name="T51" fmla="*/ 550 h 2452"/>
                <a:gd name="T52" fmla="*/ 338 w 761"/>
                <a:gd name="T53" fmla="*/ 2050 h 2452"/>
                <a:gd name="T54" fmla="*/ 423 w 761"/>
                <a:gd name="T55" fmla="*/ 1733 h 2452"/>
                <a:gd name="T56" fmla="*/ 423 w 761"/>
                <a:gd name="T57" fmla="*/ 1585 h 2452"/>
                <a:gd name="T58" fmla="*/ 338 w 761"/>
                <a:gd name="T59" fmla="*/ 1501 h 2452"/>
                <a:gd name="T60" fmla="*/ 423 w 761"/>
                <a:gd name="T61" fmla="*/ 1501 h 2452"/>
                <a:gd name="T62" fmla="*/ 338 w 761"/>
                <a:gd name="T63" fmla="*/ 1120 h 2452"/>
                <a:gd name="T64" fmla="*/ 423 w 761"/>
                <a:gd name="T65" fmla="*/ 1036 h 2452"/>
                <a:gd name="T66" fmla="*/ 423 w 761"/>
                <a:gd name="T67" fmla="*/ 888 h 2452"/>
                <a:gd name="T68" fmla="*/ 338 w 761"/>
                <a:gd name="T69" fmla="*/ 803 h 2452"/>
                <a:gd name="T70" fmla="*/ 423 w 761"/>
                <a:gd name="T71" fmla="*/ 803 h 2452"/>
                <a:gd name="T72" fmla="*/ 338 w 761"/>
                <a:gd name="T73" fmla="*/ 550 h 2452"/>
                <a:gd name="T74" fmla="*/ 423 w 761"/>
                <a:gd name="T75" fmla="*/ 391 h 2452"/>
                <a:gd name="T76" fmla="*/ 476 w 761"/>
                <a:gd name="T77" fmla="*/ 2198 h 2452"/>
                <a:gd name="T78" fmla="*/ 560 w 761"/>
                <a:gd name="T79" fmla="*/ 2198 h 2452"/>
                <a:gd name="T80" fmla="*/ 476 w 761"/>
                <a:gd name="T81" fmla="*/ 1818 h 2452"/>
                <a:gd name="T82" fmla="*/ 560 w 761"/>
                <a:gd name="T83" fmla="*/ 1733 h 2452"/>
                <a:gd name="T84" fmla="*/ 560 w 761"/>
                <a:gd name="T85" fmla="*/ 1585 h 2452"/>
                <a:gd name="T86" fmla="*/ 476 w 761"/>
                <a:gd name="T87" fmla="*/ 1501 h 2452"/>
                <a:gd name="T88" fmla="*/ 560 w 761"/>
                <a:gd name="T89" fmla="*/ 1501 h 2452"/>
                <a:gd name="T90" fmla="*/ 476 w 761"/>
                <a:gd name="T91" fmla="*/ 1120 h 2452"/>
                <a:gd name="T92" fmla="*/ 560 w 761"/>
                <a:gd name="T93" fmla="*/ 803 h 2452"/>
                <a:gd name="T94" fmla="*/ 560 w 761"/>
                <a:gd name="T95" fmla="*/ 655 h 2452"/>
                <a:gd name="T96" fmla="*/ 476 w 761"/>
                <a:gd name="T97" fmla="*/ 550 h 2452"/>
                <a:gd name="T98" fmla="*/ 560 w 761"/>
                <a:gd name="T99" fmla="*/ 550 h 2452"/>
                <a:gd name="T100" fmla="*/ 624 w 761"/>
                <a:gd name="T101" fmla="*/ 2050 h 2452"/>
                <a:gd name="T102" fmla="*/ 698 w 761"/>
                <a:gd name="T103" fmla="*/ 1966 h 2452"/>
                <a:gd name="T104" fmla="*/ 698 w 761"/>
                <a:gd name="T105" fmla="*/ 1818 h 2452"/>
                <a:gd name="T106" fmla="*/ 624 w 761"/>
                <a:gd name="T107" fmla="*/ 1733 h 2452"/>
                <a:gd name="T108" fmla="*/ 698 w 761"/>
                <a:gd name="T109" fmla="*/ 1733 h 2452"/>
                <a:gd name="T110" fmla="*/ 624 w 761"/>
                <a:gd name="T111" fmla="*/ 1353 h 2452"/>
                <a:gd name="T112" fmla="*/ 698 w 761"/>
                <a:gd name="T113" fmla="*/ 1268 h 2452"/>
                <a:gd name="T114" fmla="*/ 698 w 761"/>
                <a:gd name="T115" fmla="*/ 1120 h 2452"/>
                <a:gd name="T116" fmla="*/ 624 w 761"/>
                <a:gd name="T117" fmla="*/ 1036 h 2452"/>
                <a:gd name="T118" fmla="*/ 698 w 761"/>
                <a:gd name="T119" fmla="*/ 1036 h 2452"/>
                <a:gd name="T120" fmla="*/ 624 w 761"/>
                <a:gd name="T121" fmla="*/ 803 h 2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61" h="2452">
                  <a:moveTo>
                    <a:pt x="655" y="317"/>
                  </a:moveTo>
                  <a:lnTo>
                    <a:pt x="423" y="317"/>
                  </a:lnTo>
                  <a:lnTo>
                    <a:pt x="423" y="0"/>
                  </a:lnTo>
                  <a:lnTo>
                    <a:pt x="338" y="0"/>
                  </a:lnTo>
                  <a:lnTo>
                    <a:pt x="338" y="317"/>
                  </a:lnTo>
                  <a:lnTo>
                    <a:pt x="127" y="317"/>
                  </a:lnTo>
                  <a:lnTo>
                    <a:pt x="127" y="560"/>
                  </a:lnTo>
                  <a:lnTo>
                    <a:pt x="0" y="560"/>
                  </a:lnTo>
                  <a:lnTo>
                    <a:pt x="0" y="2452"/>
                  </a:lnTo>
                  <a:lnTo>
                    <a:pt x="761" y="2452"/>
                  </a:lnTo>
                  <a:lnTo>
                    <a:pt x="761" y="560"/>
                  </a:lnTo>
                  <a:lnTo>
                    <a:pt x="655" y="560"/>
                  </a:lnTo>
                  <a:lnTo>
                    <a:pt x="655" y="317"/>
                  </a:lnTo>
                  <a:close/>
                  <a:moveTo>
                    <a:pt x="137" y="2198"/>
                  </a:moveTo>
                  <a:lnTo>
                    <a:pt x="63" y="2198"/>
                  </a:lnTo>
                  <a:lnTo>
                    <a:pt x="63" y="2050"/>
                  </a:lnTo>
                  <a:lnTo>
                    <a:pt x="137" y="2050"/>
                  </a:lnTo>
                  <a:lnTo>
                    <a:pt x="137" y="2198"/>
                  </a:lnTo>
                  <a:close/>
                  <a:moveTo>
                    <a:pt x="137" y="1966"/>
                  </a:moveTo>
                  <a:lnTo>
                    <a:pt x="63" y="1966"/>
                  </a:lnTo>
                  <a:lnTo>
                    <a:pt x="63" y="1818"/>
                  </a:lnTo>
                  <a:lnTo>
                    <a:pt x="137" y="1818"/>
                  </a:lnTo>
                  <a:lnTo>
                    <a:pt x="137" y="1966"/>
                  </a:lnTo>
                  <a:close/>
                  <a:moveTo>
                    <a:pt x="137" y="1733"/>
                  </a:moveTo>
                  <a:lnTo>
                    <a:pt x="63" y="1733"/>
                  </a:lnTo>
                  <a:lnTo>
                    <a:pt x="63" y="1585"/>
                  </a:lnTo>
                  <a:lnTo>
                    <a:pt x="137" y="1585"/>
                  </a:lnTo>
                  <a:lnTo>
                    <a:pt x="137" y="1733"/>
                  </a:lnTo>
                  <a:close/>
                  <a:moveTo>
                    <a:pt x="137" y="1501"/>
                  </a:moveTo>
                  <a:lnTo>
                    <a:pt x="63" y="1501"/>
                  </a:lnTo>
                  <a:lnTo>
                    <a:pt x="63" y="1353"/>
                  </a:lnTo>
                  <a:lnTo>
                    <a:pt x="137" y="1353"/>
                  </a:lnTo>
                  <a:lnTo>
                    <a:pt x="137" y="1501"/>
                  </a:lnTo>
                  <a:close/>
                  <a:moveTo>
                    <a:pt x="137" y="1268"/>
                  </a:moveTo>
                  <a:lnTo>
                    <a:pt x="63" y="1268"/>
                  </a:lnTo>
                  <a:lnTo>
                    <a:pt x="63" y="1120"/>
                  </a:lnTo>
                  <a:lnTo>
                    <a:pt x="137" y="1120"/>
                  </a:lnTo>
                  <a:lnTo>
                    <a:pt x="137" y="1268"/>
                  </a:lnTo>
                  <a:close/>
                  <a:moveTo>
                    <a:pt x="137" y="1036"/>
                  </a:moveTo>
                  <a:lnTo>
                    <a:pt x="63" y="1036"/>
                  </a:lnTo>
                  <a:lnTo>
                    <a:pt x="63" y="888"/>
                  </a:lnTo>
                  <a:lnTo>
                    <a:pt x="137" y="888"/>
                  </a:lnTo>
                  <a:lnTo>
                    <a:pt x="137" y="1036"/>
                  </a:lnTo>
                  <a:close/>
                  <a:moveTo>
                    <a:pt x="137" y="803"/>
                  </a:moveTo>
                  <a:lnTo>
                    <a:pt x="63" y="803"/>
                  </a:lnTo>
                  <a:lnTo>
                    <a:pt x="63" y="655"/>
                  </a:lnTo>
                  <a:lnTo>
                    <a:pt x="137" y="655"/>
                  </a:lnTo>
                  <a:lnTo>
                    <a:pt x="137" y="803"/>
                  </a:lnTo>
                  <a:close/>
                  <a:moveTo>
                    <a:pt x="275" y="2198"/>
                  </a:moveTo>
                  <a:lnTo>
                    <a:pt x="201" y="2198"/>
                  </a:lnTo>
                  <a:lnTo>
                    <a:pt x="201" y="2050"/>
                  </a:lnTo>
                  <a:lnTo>
                    <a:pt x="275" y="2050"/>
                  </a:lnTo>
                  <a:lnTo>
                    <a:pt x="275" y="2198"/>
                  </a:lnTo>
                  <a:close/>
                  <a:moveTo>
                    <a:pt x="275" y="1966"/>
                  </a:moveTo>
                  <a:lnTo>
                    <a:pt x="201" y="1966"/>
                  </a:lnTo>
                  <a:lnTo>
                    <a:pt x="201" y="1818"/>
                  </a:lnTo>
                  <a:lnTo>
                    <a:pt x="275" y="1818"/>
                  </a:lnTo>
                  <a:lnTo>
                    <a:pt x="275" y="1966"/>
                  </a:lnTo>
                  <a:close/>
                  <a:moveTo>
                    <a:pt x="275" y="1501"/>
                  </a:moveTo>
                  <a:lnTo>
                    <a:pt x="201" y="1501"/>
                  </a:lnTo>
                  <a:lnTo>
                    <a:pt x="201" y="1353"/>
                  </a:lnTo>
                  <a:lnTo>
                    <a:pt x="275" y="1353"/>
                  </a:lnTo>
                  <a:lnTo>
                    <a:pt x="275" y="1501"/>
                  </a:lnTo>
                  <a:close/>
                  <a:moveTo>
                    <a:pt x="275" y="1036"/>
                  </a:moveTo>
                  <a:lnTo>
                    <a:pt x="201" y="1036"/>
                  </a:lnTo>
                  <a:lnTo>
                    <a:pt x="201" y="888"/>
                  </a:lnTo>
                  <a:lnTo>
                    <a:pt x="275" y="888"/>
                  </a:lnTo>
                  <a:lnTo>
                    <a:pt x="275" y="1036"/>
                  </a:lnTo>
                  <a:close/>
                  <a:moveTo>
                    <a:pt x="275" y="803"/>
                  </a:moveTo>
                  <a:lnTo>
                    <a:pt x="201" y="803"/>
                  </a:lnTo>
                  <a:lnTo>
                    <a:pt x="201" y="655"/>
                  </a:lnTo>
                  <a:lnTo>
                    <a:pt x="275" y="655"/>
                  </a:lnTo>
                  <a:lnTo>
                    <a:pt x="275" y="803"/>
                  </a:lnTo>
                  <a:close/>
                  <a:moveTo>
                    <a:pt x="275" y="550"/>
                  </a:moveTo>
                  <a:lnTo>
                    <a:pt x="201" y="550"/>
                  </a:lnTo>
                  <a:lnTo>
                    <a:pt x="201" y="391"/>
                  </a:lnTo>
                  <a:lnTo>
                    <a:pt x="275" y="391"/>
                  </a:lnTo>
                  <a:lnTo>
                    <a:pt x="275" y="550"/>
                  </a:lnTo>
                  <a:close/>
                  <a:moveTo>
                    <a:pt x="423" y="2198"/>
                  </a:moveTo>
                  <a:lnTo>
                    <a:pt x="338" y="2198"/>
                  </a:lnTo>
                  <a:lnTo>
                    <a:pt x="338" y="2050"/>
                  </a:lnTo>
                  <a:lnTo>
                    <a:pt x="423" y="2050"/>
                  </a:lnTo>
                  <a:lnTo>
                    <a:pt x="423" y="2198"/>
                  </a:lnTo>
                  <a:close/>
                  <a:moveTo>
                    <a:pt x="423" y="1733"/>
                  </a:moveTo>
                  <a:lnTo>
                    <a:pt x="338" y="1733"/>
                  </a:lnTo>
                  <a:lnTo>
                    <a:pt x="338" y="1585"/>
                  </a:lnTo>
                  <a:lnTo>
                    <a:pt x="423" y="1585"/>
                  </a:lnTo>
                  <a:lnTo>
                    <a:pt x="423" y="1733"/>
                  </a:lnTo>
                  <a:close/>
                  <a:moveTo>
                    <a:pt x="423" y="1501"/>
                  </a:moveTo>
                  <a:lnTo>
                    <a:pt x="338" y="1501"/>
                  </a:lnTo>
                  <a:lnTo>
                    <a:pt x="338" y="1353"/>
                  </a:lnTo>
                  <a:lnTo>
                    <a:pt x="423" y="1353"/>
                  </a:lnTo>
                  <a:lnTo>
                    <a:pt x="423" y="1501"/>
                  </a:lnTo>
                  <a:close/>
                  <a:moveTo>
                    <a:pt x="423" y="1268"/>
                  </a:moveTo>
                  <a:lnTo>
                    <a:pt x="338" y="1268"/>
                  </a:lnTo>
                  <a:lnTo>
                    <a:pt x="338" y="1120"/>
                  </a:lnTo>
                  <a:lnTo>
                    <a:pt x="423" y="1120"/>
                  </a:lnTo>
                  <a:lnTo>
                    <a:pt x="423" y="1268"/>
                  </a:lnTo>
                  <a:close/>
                  <a:moveTo>
                    <a:pt x="423" y="1036"/>
                  </a:moveTo>
                  <a:lnTo>
                    <a:pt x="338" y="1036"/>
                  </a:lnTo>
                  <a:lnTo>
                    <a:pt x="338" y="888"/>
                  </a:lnTo>
                  <a:lnTo>
                    <a:pt x="423" y="888"/>
                  </a:lnTo>
                  <a:lnTo>
                    <a:pt x="423" y="1036"/>
                  </a:lnTo>
                  <a:close/>
                  <a:moveTo>
                    <a:pt x="423" y="803"/>
                  </a:moveTo>
                  <a:lnTo>
                    <a:pt x="338" y="803"/>
                  </a:lnTo>
                  <a:lnTo>
                    <a:pt x="338" y="655"/>
                  </a:lnTo>
                  <a:lnTo>
                    <a:pt x="423" y="655"/>
                  </a:lnTo>
                  <a:lnTo>
                    <a:pt x="423" y="803"/>
                  </a:lnTo>
                  <a:close/>
                  <a:moveTo>
                    <a:pt x="423" y="518"/>
                  </a:moveTo>
                  <a:lnTo>
                    <a:pt x="423" y="550"/>
                  </a:lnTo>
                  <a:lnTo>
                    <a:pt x="338" y="550"/>
                  </a:lnTo>
                  <a:lnTo>
                    <a:pt x="338" y="518"/>
                  </a:lnTo>
                  <a:lnTo>
                    <a:pt x="338" y="391"/>
                  </a:lnTo>
                  <a:lnTo>
                    <a:pt x="423" y="391"/>
                  </a:lnTo>
                  <a:lnTo>
                    <a:pt x="423" y="518"/>
                  </a:lnTo>
                  <a:close/>
                  <a:moveTo>
                    <a:pt x="560" y="2198"/>
                  </a:moveTo>
                  <a:lnTo>
                    <a:pt x="476" y="2198"/>
                  </a:lnTo>
                  <a:lnTo>
                    <a:pt x="476" y="2050"/>
                  </a:lnTo>
                  <a:lnTo>
                    <a:pt x="560" y="2050"/>
                  </a:lnTo>
                  <a:lnTo>
                    <a:pt x="560" y="2198"/>
                  </a:lnTo>
                  <a:close/>
                  <a:moveTo>
                    <a:pt x="560" y="1966"/>
                  </a:moveTo>
                  <a:lnTo>
                    <a:pt x="476" y="1966"/>
                  </a:lnTo>
                  <a:lnTo>
                    <a:pt x="476" y="1818"/>
                  </a:lnTo>
                  <a:lnTo>
                    <a:pt x="560" y="1818"/>
                  </a:lnTo>
                  <a:lnTo>
                    <a:pt x="560" y="1966"/>
                  </a:lnTo>
                  <a:close/>
                  <a:moveTo>
                    <a:pt x="560" y="1733"/>
                  </a:moveTo>
                  <a:lnTo>
                    <a:pt x="476" y="1733"/>
                  </a:lnTo>
                  <a:lnTo>
                    <a:pt x="476" y="1585"/>
                  </a:lnTo>
                  <a:lnTo>
                    <a:pt x="560" y="1585"/>
                  </a:lnTo>
                  <a:lnTo>
                    <a:pt x="560" y="1733"/>
                  </a:lnTo>
                  <a:close/>
                  <a:moveTo>
                    <a:pt x="560" y="1501"/>
                  </a:moveTo>
                  <a:lnTo>
                    <a:pt x="476" y="1501"/>
                  </a:lnTo>
                  <a:lnTo>
                    <a:pt x="476" y="1353"/>
                  </a:lnTo>
                  <a:lnTo>
                    <a:pt x="560" y="1353"/>
                  </a:lnTo>
                  <a:lnTo>
                    <a:pt x="560" y="1501"/>
                  </a:lnTo>
                  <a:close/>
                  <a:moveTo>
                    <a:pt x="560" y="1268"/>
                  </a:moveTo>
                  <a:lnTo>
                    <a:pt x="476" y="1268"/>
                  </a:lnTo>
                  <a:lnTo>
                    <a:pt x="476" y="1120"/>
                  </a:lnTo>
                  <a:lnTo>
                    <a:pt x="560" y="1120"/>
                  </a:lnTo>
                  <a:lnTo>
                    <a:pt x="560" y="1268"/>
                  </a:lnTo>
                  <a:close/>
                  <a:moveTo>
                    <a:pt x="560" y="803"/>
                  </a:moveTo>
                  <a:lnTo>
                    <a:pt x="476" y="803"/>
                  </a:lnTo>
                  <a:lnTo>
                    <a:pt x="476" y="655"/>
                  </a:lnTo>
                  <a:lnTo>
                    <a:pt x="560" y="655"/>
                  </a:lnTo>
                  <a:lnTo>
                    <a:pt x="560" y="803"/>
                  </a:lnTo>
                  <a:close/>
                  <a:moveTo>
                    <a:pt x="560" y="550"/>
                  </a:moveTo>
                  <a:lnTo>
                    <a:pt x="476" y="550"/>
                  </a:lnTo>
                  <a:lnTo>
                    <a:pt x="476" y="391"/>
                  </a:lnTo>
                  <a:lnTo>
                    <a:pt x="560" y="391"/>
                  </a:lnTo>
                  <a:lnTo>
                    <a:pt x="560" y="550"/>
                  </a:lnTo>
                  <a:close/>
                  <a:moveTo>
                    <a:pt x="698" y="2198"/>
                  </a:moveTo>
                  <a:lnTo>
                    <a:pt x="624" y="2198"/>
                  </a:lnTo>
                  <a:lnTo>
                    <a:pt x="624" y="2050"/>
                  </a:lnTo>
                  <a:lnTo>
                    <a:pt x="698" y="2050"/>
                  </a:lnTo>
                  <a:lnTo>
                    <a:pt x="698" y="2198"/>
                  </a:lnTo>
                  <a:close/>
                  <a:moveTo>
                    <a:pt x="698" y="1966"/>
                  </a:moveTo>
                  <a:lnTo>
                    <a:pt x="624" y="1966"/>
                  </a:lnTo>
                  <a:lnTo>
                    <a:pt x="624" y="1818"/>
                  </a:lnTo>
                  <a:lnTo>
                    <a:pt x="698" y="1818"/>
                  </a:lnTo>
                  <a:lnTo>
                    <a:pt x="698" y="1966"/>
                  </a:lnTo>
                  <a:close/>
                  <a:moveTo>
                    <a:pt x="698" y="1733"/>
                  </a:moveTo>
                  <a:lnTo>
                    <a:pt x="624" y="1733"/>
                  </a:lnTo>
                  <a:lnTo>
                    <a:pt x="624" y="1585"/>
                  </a:lnTo>
                  <a:lnTo>
                    <a:pt x="698" y="1585"/>
                  </a:lnTo>
                  <a:lnTo>
                    <a:pt x="698" y="1733"/>
                  </a:lnTo>
                  <a:close/>
                  <a:moveTo>
                    <a:pt x="698" y="1501"/>
                  </a:moveTo>
                  <a:lnTo>
                    <a:pt x="624" y="1501"/>
                  </a:lnTo>
                  <a:lnTo>
                    <a:pt x="624" y="1353"/>
                  </a:lnTo>
                  <a:lnTo>
                    <a:pt x="698" y="1353"/>
                  </a:lnTo>
                  <a:lnTo>
                    <a:pt x="698" y="1501"/>
                  </a:lnTo>
                  <a:close/>
                  <a:moveTo>
                    <a:pt x="698" y="1268"/>
                  </a:moveTo>
                  <a:lnTo>
                    <a:pt x="624" y="1268"/>
                  </a:lnTo>
                  <a:lnTo>
                    <a:pt x="624" y="1120"/>
                  </a:lnTo>
                  <a:lnTo>
                    <a:pt x="698" y="1120"/>
                  </a:lnTo>
                  <a:lnTo>
                    <a:pt x="698" y="1268"/>
                  </a:lnTo>
                  <a:close/>
                  <a:moveTo>
                    <a:pt x="698" y="1036"/>
                  </a:moveTo>
                  <a:lnTo>
                    <a:pt x="624" y="1036"/>
                  </a:lnTo>
                  <a:lnTo>
                    <a:pt x="624" y="888"/>
                  </a:lnTo>
                  <a:lnTo>
                    <a:pt x="698" y="888"/>
                  </a:lnTo>
                  <a:lnTo>
                    <a:pt x="698" y="1036"/>
                  </a:lnTo>
                  <a:close/>
                  <a:moveTo>
                    <a:pt x="698" y="655"/>
                  </a:moveTo>
                  <a:lnTo>
                    <a:pt x="698" y="803"/>
                  </a:lnTo>
                  <a:lnTo>
                    <a:pt x="624" y="803"/>
                  </a:lnTo>
                  <a:lnTo>
                    <a:pt x="624" y="655"/>
                  </a:lnTo>
                  <a:lnTo>
                    <a:pt x="698" y="655"/>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7" name="Freeform 8"/>
            <p:cNvSpPr>
              <a:spLocks noEditPoints="1"/>
            </p:cNvSpPr>
            <p:nvPr/>
          </p:nvSpPr>
          <p:spPr bwMode="auto">
            <a:xfrm>
              <a:off x="3486036" y="3551844"/>
              <a:ext cx="470033" cy="909021"/>
            </a:xfrm>
            <a:custGeom>
              <a:avLst/>
              <a:gdLst>
                <a:gd name="T0" fmla="*/ 169 w 549"/>
                <a:gd name="T1" fmla="*/ 0 h 1427"/>
                <a:gd name="T2" fmla="*/ 84 w 549"/>
                <a:gd name="T3" fmla="*/ 0 h 1427"/>
                <a:gd name="T4" fmla="*/ 84 w 549"/>
                <a:gd name="T5" fmla="*/ 137 h 1427"/>
                <a:gd name="T6" fmla="*/ 0 w 549"/>
                <a:gd name="T7" fmla="*/ 137 h 1427"/>
                <a:gd name="T8" fmla="*/ 0 w 549"/>
                <a:gd name="T9" fmla="*/ 1427 h 1427"/>
                <a:gd name="T10" fmla="*/ 549 w 549"/>
                <a:gd name="T11" fmla="*/ 1427 h 1427"/>
                <a:gd name="T12" fmla="*/ 549 w 549"/>
                <a:gd name="T13" fmla="*/ 137 h 1427"/>
                <a:gd name="T14" fmla="*/ 169 w 549"/>
                <a:gd name="T15" fmla="*/ 137 h 1427"/>
                <a:gd name="T16" fmla="*/ 169 w 549"/>
                <a:gd name="T17" fmla="*/ 0 h 1427"/>
                <a:gd name="T18" fmla="*/ 486 w 549"/>
                <a:gd name="T19" fmla="*/ 1131 h 1427"/>
                <a:gd name="T20" fmla="*/ 52 w 549"/>
                <a:gd name="T21" fmla="*/ 1131 h 1427"/>
                <a:gd name="T22" fmla="*/ 52 w 549"/>
                <a:gd name="T23" fmla="*/ 1088 h 1427"/>
                <a:gd name="T24" fmla="*/ 486 w 549"/>
                <a:gd name="T25" fmla="*/ 1088 h 1427"/>
                <a:gd name="T26" fmla="*/ 486 w 549"/>
                <a:gd name="T27" fmla="*/ 1131 h 1427"/>
                <a:gd name="T28" fmla="*/ 486 w 549"/>
                <a:gd name="T29" fmla="*/ 1004 h 1427"/>
                <a:gd name="T30" fmla="*/ 52 w 549"/>
                <a:gd name="T31" fmla="*/ 1004 h 1427"/>
                <a:gd name="T32" fmla="*/ 52 w 549"/>
                <a:gd name="T33" fmla="*/ 962 h 1427"/>
                <a:gd name="T34" fmla="*/ 486 w 549"/>
                <a:gd name="T35" fmla="*/ 962 h 1427"/>
                <a:gd name="T36" fmla="*/ 486 w 549"/>
                <a:gd name="T37" fmla="*/ 1004 h 1427"/>
                <a:gd name="T38" fmla="*/ 486 w 549"/>
                <a:gd name="T39" fmla="*/ 888 h 1427"/>
                <a:gd name="T40" fmla="*/ 52 w 549"/>
                <a:gd name="T41" fmla="*/ 888 h 1427"/>
                <a:gd name="T42" fmla="*/ 52 w 549"/>
                <a:gd name="T43" fmla="*/ 835 h 1427"/>
                <a:gd name="T44" fmla="*/ 486 w 549"/>
                <a:gd name="T45" fmla="*/ 835 h 1427"/>
                <a:gd name="T46" fmla="*/ 486 w 549"/>
                <a:gd name="T47" fmla="*/ 888 h 1427"/>
                <a:gd name="T48" fmla="*/ 486 w 549"/>
                <a:gd name="T49" fmla="*/ 761 h 1427"/>
                <a:gd name="T50" fmla="*/ 52 w 549"/>
                <a:gd name="T51" fmla="*/ 761 h 1427"/>
                <a:gd name="T52" fmla="*/ 52 w 549"/>
                <a:gd name="T53" fmla="*/ 708 h 1427"/>
                <a:gd name="T54" fmla="*/ 486 w 549"/>
                <a:gd name="T55" fmla="*/ 708 h 1427"/>
                <a:gd name="T56" fmla="*/ 486 w 549"/>
                <a:gd name="T57" fmla="*/ 761 h 1427"/>
                <a:gd name="T58" fmla="*/ 486 w 549"/>
                <a:gd name="T59" fmla="*/ 634 h 1427"/>
                <a:gd name="T60" fmla="*/ 52 w 549"/>
                <a:gd name="T61" fmla="*/ 634 h 1427"/>
                <a:gd name="T62" fmla="*/ 52 w 549"/>
                <a:gd name="T63" fmla="*/ 592 h 1427"/>
                <a:gd name="T64" fmla="*/ 486 w 549"/>
                <a:gd name="T65" fmla="*/ 592 h 1427"/>
                <a:gd name="T66" fmla="*/ 486 w 549"/>
                <a:gd name="T67" fmla="*/ 634 h 1427"/>
                <a:gd name="T68" fmla="*/ 486 w 549"/>
                <a:gd name="T69" fmla="*/ 507 h 1427"/>
                <a:gd name="T70" fmla="*/ 52 w 549"/>
                <a:gd name="T71" fmla="*/ 507 h 1427"/>
                <a:gd name="T72" fmla="*/ 52 w 549"/>
                <a:gd name="T73" fmla="*/ 465 h 1427"/>
                <a:gd name="T74" fmla="*/ 486 w 549"/>
                <a:gd name="T75" fmla="*/ 465 h 1427"/>
                <a:gd name="T76" fmla="*/ 486 w 549"/>
                <a:gd name="T77" fmla="*/ 507 h 1427"/>
                <a:gd name="T78" fmla="*/ 486 w 549"/>
                <a:gd name="T79" fmla="*/ 391 h 1427"/>
                <a:gd name="T80" fmla="*/ 52 w 549"/>
                <a:gd name="T81" fmla="*/ 391 h 1427"/>
                <a:gd name="T82" fmla="*/ 52 w 549"/>
                <a:gd name="T83" fmla="*/ 338 h 1427"/>
                <a:gd name="T84" fmla="*/ 486 w 549"/>
                <a:gd name="T85" fmla="*/ 338 h 1427"/>
                <a:gd name="T86" fmla="*/ 486 w 549"/>
                <a:gd name="T87" fmla="*/ 391 h 1427"/>
                <a:gd name="T88" fmla="*/ 486 w 549"/>
                <a:gd name="T89" fmla="*/ 222 h 1427"/>
                <a:gd name="T90" fmla="*/ 486 w 549"/>
                <a:gd name="T91" fmla="*/ 264 h 1427"/>
                <a:gd name="T92" fmla="*/ 52 w 549"/>
                <a:gd name="T93" fmla="*/ 264 h 1427"/>
                <a:gd name="T94" fmla="*/ 52 w 549"/>
                <a:gd name="T95" fmla="*/ 222 h 1427"/>
                <a:gd name="T96" fmla="*/ 486 w 549"/>
                <a:gd name="T97" fmla="*/ 222 h 1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9" h="1427">
                  <a:moveTo>
                    <a:pt x="169" y="0"/>
                  </a:moveTo>
                  <a:lnTo>
                    <a:pt x="84" y="0"/>
                  </a:lnTo>
                  <a:lnTo>
                    <a:pt x="84" y="137"/>
                  </a:lnTo>
                  <a:lnTo>
                    <a:pt x="0" y="137"/>
                  </a:lnTo>
                  <a:lnTo>
                    <a:pt x="0" y="1427"/>
                  </a:lnTo>
                  <a:lnTo>
                    <a:pt x="549" y="1427"/>
                  </a:lnTo>
                  <a:lnTo>
                    <a:pt x="549" y="137"/>
                  </a:lnTo>
                  <a:lnTo>
                    <a:pt x="169" y="137"/>
                  </a:lnTo>
                  <a:lnTo>
                    <a:pt x="169" y="0"/>
                  </a:lnTo>
                  <a:close/>
                  <a:moveTo>
                    <a:pt x="486" y="1131"/>
                  </a:moveTo>
                  <a:lnTo>
                    <a:pt x="52" y="1131"/>
                  </a:lnTo>
                  <a:lnTo>
                    <a:pt x="52" y="1088"/>
                  </a:lnTo>
                  <a:lnTo>
                    <a:pt x="486" y="1088"/>
                  </a:lnTo>
                  <a:lnTo>
                    <a:pt x="486" y="1131"/>
                  </a:lnTo>
                  <a:close/>
                  <a:moveTo>
                    <a:pt x="486" y="1004"/>
                  </a:moveTo>
                  <a:lnTo>
                    <a:pt x="52" y="1004"/>
                  </a:lnTo>
                  <a:lnTo>
                    <a:pt x="52" y="962"/>
                  </a:lnTo>
                  <a:lnTo>
                    <a:pt x="486" y="962"/>
                  </a:lnTo>
                  <a:lnTo>
                    <a:pt x="486" y="1004"/>
                  </a:lnTo>
                  <a:close/>
                  <a:moveTo>
                    <a:pt x="486" y="888"/>
                  </a:moveTo>
                  <a:lnTo>
                    <a:pt x="52" y="888"/>
                  </a:lnTo>
                  <a:lnTo>
                    <a:pt x="52" y="835"/>
                  </a:lnTo>
                  <a:lnTo>
                    <a:pt x="486" y="835"/>
                  </a:lnTo>
                  <a:lnTo>
                    <a:pt x="486" y="888"/>
                  </a:lnTo>
                  <a:close/>
                  <a:moveTo>
                    <a:pt x="486" y="761"/>
                  </a:moveTo>
                  <a:lnTo>
                    <a:pt x="52" y="761"/>
                  </a:lnTo>
                  <a:lnTo>
                    <a:pt x="52" y="708"/>
                  </a:lnTo>
                  <a:lnTo>
                    <a:pt x="486" y="708"/>
                  </a:lnTo>
                  <a:lnTo>
                    <a:pt x="486" y="761"/>
                  </a:lnTo>
                  <a:close/>
                  <a:moveTo>
                    <a:pt x="486" y="634"/>
                  </a:moveTo>
                  <a:lnTo>
                    <a:pt x="52" y="634"/>
                  </a:lnTo>
                  <a:lnTo>
                    <a:pt x="52" y="592"/>
                  </a:lnTo>
                  <a:lnTo>
                    <a:pt x="486" y="592"/>
                  </a:lnTo>
                  <a:lnTo>
                    <a:pt x="486" y="634"/>
                  </a:lnTo>
                  <a:close/>
                  <a:moveTo>
                    <a:pt x="486" y="507"/>
                  </a:moveTo>
                  <a:lnTo>
                    <a:pt x="52" y="507"/>
                  </a:lnTo>
                  <a:lnTo>
                    <a:pt x="52" y="465"/>
                  </a:lnTo>
                  <a:lnTo>
                    <a:pt x="486" y="465"/>
                  </a:lnTo>
                  <a:lnTo>
                    <a:pt x="486" y="507"/>
                  </a:lnTo>
                  <a:close/>
                  <a:moveTo>
                    <a:pt x="486" y="391"/>
                  </a:moveTo>
                  <a:lnTo>
                    <a:pt x="52" y="391"/>
                  </a:lnTo>
                  <a:lnTo>
                    <a:pt x="52" y="338"/>
                  </a:lnTo>
                  <a:lnTo>
                    <a:pt x="486" y="338"/>
                  </a:lnTo>
                  <a:lnTo>
                    <a:pt x="486" y="391"/>
                  </a:lnTo>
                  <a:close/>
                  <a:moveTo>
                    <a:pt x="486" y="222"/>
                  </a:moveTo>
                  <a:lnTo>
                    <a:pt x="486" y="264"/>
                  </a:lnTo>
                  <a:lnTo>
                    <a:pt x="52" y="264"/>
                  </a:lnTo>
                  <a:lnTo>
                    <a:pt x="52" y="222"/>
                  </a:lnTo>
                  <a:lnTo>
                    <a:pt x="486" y="222"/>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8" name="Freeform 9"/>
            <p:cNvSpPr>
              <a:spLocks noEditPoints="1"/>
            </p:cNvSpPr>
            <p:nvPr/>
          </p:nvSpPr>
          <p:spPr bwMode="auto">
            <a:xfrm>
              <a:off x="7946637" y="3511075"/>
              <a:ext cx="588183" cy="949790"/>
            </a:xfrm>
            <a:custGeom>
              <a:avLst/>
              <a:gdLst>
                <a:gd name="T0" fmla="*/ 370 w 687"/>
                <a:gd name="T1" fmla="*/ 85 h 1491"/>
                <a:gd name="T2" fmla="*/ 296 w 687"/>
                <a:gd name="T3" fmla="*/ 201 h 1491"/>
                <a:gd name="T4" fmla="*/ 254 w 687"/>
                <a:gd name="T5" fmla="*/ 0 h 1491"/>
                <a:gd name="T6" fmla="*/ 169 w 687"/>
                <a:gd name="T7" fmla="*/ 201 h 1491"/>
                <a:gd name="T8" fmla="*/ 0 w 687"/>
                <a:gd name="T9" fmla="*/ 1491 h 1491"/>
                <a:gd name="T10" fmla="*/ 687 w 687"/>
                <a:gd name="T11" fmla="*/ 201 h 1491"/>
                <a:gd name="T12" fmla="*/ 370 w 687"/>
                <a:gd name="T13" fmla="*/ 1385 h 1491"/>
                <a:gd name="T14" fmla="*/ 317 w 687"/>
                <a:gd name="T15" fmla="*/ 1300 h 1491"/>
                <a:gd name="T16" fmla="*/ 370 w 687"/>
                <a:gd name="T17" fmla="*/ 1385 h 1491"/>
                <a:gd name="T18" fmla="*/ 317 w 687"/>
                <a:gd name="T19" fmla="*/ 1269 h 1491"/>
                <a:gd name="T20" fmla="*/ 370 w 687"/>
                <a:gd name="T21" fmla="*/ 1195 h 1491"/>
                <a:gd name="T22" fmla="*/ 370 w 687"/>
                <a:gd name="T23" fmla="*/ 1163 h 1491"/>
                <a:gd name="T24" fmla="*/ 317 w 687"/>
                <a:gd name="T25" fmla="*/ 1089 h 1491"/>
                <a:gd name="T26" fmla="*/ 370 w 687"/>
                <a:gd name="T27" fmla="*/ 1163 h 1491"/>
                <a:gd name="T28" fmla="*/ 317 w 687"/>
                <a:gd name="T29" fmla="*/ 1057 h 1491"/>
                <a:gd name="T30" fmla="*/ 370 w 687"/>
                <a:gd name="T31" fmla="*/ 983 h 1491"/>
                <a:gd name="T32" fmla="*/ 370 w 687"/>
                <a:gd name="T33" fmla="*/ 952 h 1491"/>
                <a:gd name="T34" fmla="*/ 317 w 687"/>
                <a:gd name="T35" fmla="*/ 867 h 1491"/>
                <a:gd name="T36" fmla="*/ 370 w 687"/>
                <a:gd name="T37" fmla="*/ 952 h 1491"/>
                <a:gd name="T38" fmla="*/ 317 w 687"/>
                <a:gd name="T39" fmla="*/ 835 h 1491"/>
                <a:gd name="T40" fmla="*/ 370 w 687"/>
                <a:gd name="T41" fmla="*/ 761 h 1491"/>
                <a:gd name="T42" fmla="*/ 370 w 687"/>
                <a:gd name="T43" fmla="*/ 730 h 1491"/>
                <a:gd name="T44" fmla="*/ 317 w 687"/>
                <a:gd name="T45" fmla="*/ 656 h 1491"/>
                <a:gd name="T46" fmla="*/ 370 w 687"/>
                <a:gd name="T47" fmla="*/ 730 h 1491"/>
                <a:gd name="T48" fmla="*/ 317 w 687"/>
                <a:gd name="T49" fmla="*/ 624 h 1491"/>
                <a:gd name="T50" fmla="*/ 370 w 687"/>
                <a:gd name="T51" fmla="*/ 539 h 1491"/>
                <a:gd name="T52" fmla="*/ 370 w 687"/>
                <a:gd name="T53" fmla="*/ 518 h 1491"/>
                <a:gd name="T54" fmla="*/ 317 w 687"/>
                <a:gd name="T55" fmla="*/ 434 h 1491"/>
                <a:gd name="T56" fmla="*/ 370 w 687"/>
                <a:gd name="T57" fmla="*/ 518 h 1491"/>
                <a:gd name="T58" fmla="*/ 317 w 687"/>
                <a:gd name="T59" fmla="*/ 402 h 1491"/>
                <a:gd name="T60" fmla="*/ 370 w 687"/>
                <a:gd name="T61" fmla="*/ 328 h 1491"/>
                <a:gd name="T62" fmla="*/ 497 w 687"/>
                <a:gd name="T63" fmla="*/ 1385 h 1491"/>
                <a:gd name="T64" fmla="*/ 433 w 687"/>
                <a:gd name="T65" fmla="*/ 1300 h 1491"/>
                <a:gd name="T66" fmla="*/ 497 w 687"/>
                <a:gd name="T67" fmla="*/ 1385 h 1491"/>
                <a:gd name="T68" fmla="*/ 433 w 687"/>
                <a:gd name="T69" fmla="*/ 1269 h 1491"/>
                <a:gd name="T70" fmla="*/ 497 w 687"/>
                <a:gd name="T71" fmla="*/ 1195 h 1491"/>
                <a:gd name="T72" fmla="*/ 497 w 687"/>
                <a:gd name="T73" fmla="*/ 1163 h 1491"/>
                <a:gd name="T74" fmla="*/ 433 w 687"/>
                <a:gd name="T75" fmla="*/ 1089 h 1491"/>
                <a:gd name="T76" fmla="*/ 497 w 687"/>
                <a:gd name="T77" fmla="*/ 1163 h 1491"/>
                <a:gd name="T78" fmla="*/ 433 w 687"/>
                <a:gd name="T79" fmla="*/ 1057 h 1491"/>
                <a:gd name="T80" fmla="*/ 497 w 687"/>
                <a:gd name="T81" fmla="*/ 983 h 1491"/>
                <a:gd name="T82" fmla="*/ 497 w 687"/>
                <a:gd name="T83" fmla="*/ 952 h 1491"/>
                <a:gd name="T84" fmla="*/ 433 w 687"/>
                <a:gd name="T85" fmla="*/ 867 h 1491"/>
                <a:gd name="T86" fmla="*/ 497 w 687"/>
                <a:gd name="T87" fmla="*/ 952 h 1491"/>
                <a:gd name="T88" fmla="*/ 433 w 687"/>
                <a:gd name="T89" fmla="*/ 835 h 1491"/>
                <a:gd name="T90" fmla="*/ 497 w 687"/>
                <a:gd name="T91" fmla="*/ 761 h 1491"/>
                <a:gd name="T92" fmla="*/ 497 w 687"/>
                <a:gd name="T93" fmla="*/ 730 h 1491"/>
                <a:gd name="T94" fmla="*/ 433 w 687"/>
                <a:gd name="T95" fmla="*/ 656 h 1491"/>
                <a:gd name="T96" fmla="*/ 497 w 687"/>
                <a:gd name="T97" fmla="*/ 730 h 1491"/>
                <a:gd name="T98" fmla="*/ 433 w 687"/>
                <a:gd name="T99" fmla="*/ 624 h 1491"/>
                <a:gd name="T100" fmla="*/ 497 w 687"/>
                <a:gd name="T101" fmla="*/ 539 h 1491"/>
                <a:gd name="T102" fmla="*/ 497 w 687"/>
                <a:gd name="T103" fmla="*/ 518 h 1491"/>
                <a:gd name="T104" fmla="*/ 433 w 687"/>
                <a:gd name="T105" fmla="*/ 434 h 1491"/>
                <a:gd name="T106" fmla="*/ 497 w 687"/>
                <a:gd name="T107" fmla="*/ 518 h 1491"/>
                <a:gd name="T108" fmla="*/ 433 w 687"/>
                <a:gd name="T109" fmla="*/ 402 h 1491"/>
                <a:gd name="T110" fmla="*/ 497 w 687"/>
                <a:gd name="T111" fmla="*/ 328 h 1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7" h="1491">
                  <a:moveTo>
                    <a:pt x="370" y="201"/>
                  </a:moveTo>
                  <a:lnTo>
                    <a:pt x="370" y="85"/>
                  </a:lnTo>
                  <a:lnTo>
                    <a:pt x="296" y="85"/>
                  </a:lnTo>
                  <a:lnTo>
                    <a:pt x="296" y="201"/>
                  </a:lnTo>
                  <a:lnTo>
                    <a:pt x="254" y="201"/>
                  </a:lnTo>
                  <a:lnTo>
                    <a:pt x="254" y="0"/>
                  </a:lnTo>
                  <a:lnTo>
                    <a:pt x="169" y="0"/>
                  </a:lnTo>
                  <a:lnTo>
                    <a:pt x="169" y="201"/>
                  </a:lnTo>
                  <a:lnTo>
                    <a:pt x="0" y="201"/>
                  </a:lnTo>
                  <a:lnTo>
                    <a:pt x="0" y="1491"/>
                  </a:lnTo>
                  <a:lnTo>
                    <a:pt x="687" y="1491"/>
                  </a:lnTo>
                  <a:lnTo>
                    <a:pt x="687" y="201"/>
                  </a:lnTo>
                  <a:lnTo>
                    <a:pt x="370" y="201"/>
                  </a:lnTo>
                  <a:close/>
                  <a:moveTo>
                    <a:pt x="370" y="1385"/>
                  </a:moveTo>
                  <a:lnTo>
                    <a:pt x="317" y="1385"/>
                  </a:lnTo>
                  <a:lnTo>
                    <a:pt x="317" y="1300"/>
                  </a:lnTo>
                  <a:lnTo>
                    <a:pt x="370" y="1300"/>
                  </a:lnTo>
                  <a:lnTo>
                    <a:pt x="370" y="1385"/>
                  </a:lnTo>
                  <a:close/>
                  <a:moveTo>
                    <a:pt x="370" y="1269"/>
                  </a:moveTo>
                  <a:lnTo>
                    <a:pt x="317" y="1269"/>
                  </a:lnTo>
                  <a:lnTo>
                    <a:pt x="317" y="1195"/>
                  </a:lnTo>
                  <a:lnTo>
                    <a:pt x="370" y="1195"/>
                  </a:lnTo>
                  <a:lnTo>
                    <a:pt x="370" y="1269"/>
                  </a:lnTo>
                  <a:close/>
                  <a:moveTo>
                    <a:pt x="370" y="1163"/>
                  </a:moveTo>
                  <a:lnTo>
                    <a:pt x="317" y="1163"/>
                  </a:lnTo>
                  <a:lnTo>
                    <a:pt x="317" y="1089"/>
                  </a:lnTo>
                  <a:lnTo>
                    <a:pt x="370" y="1089"/>
                  </a:lnTo>
                  <a:lnTo>
                    <a:pt x="370" y="1163"/>
                  </a:lnTo>
                  <a:close/>
                  <a:moveTo>
                    <a:pt x="370" y="1057"/>
                  </a:moveTo>
                  <a:lnTo>
                    <a:pt x="317" y="1057"/>
                  </a:lnTo>
                  <a:lnTo>
                    <a:pt x="317" y="983"/>
                  </a:lnTo>
                  <a:lnTo>
                    <a:pt x="370" y="983"/>
                  </a:lnTo>
                  <a:lnTo>
                    <a:pt x="370" y="1057"/>
                  </a:lnTo>
                  <a:close/>
                  <a:moveTo>
                    <a:pt x="370" y="952"/>
                  </a:moveTo>
                  <a:lnTo>
                    <a:pt x="317" y="952"/>
                  </a:lnTo>
                  <a:lnTo>
                    <a:pt x="317" y="867"/>
                  </a:lnTo>
                  <a:lnTo>
                    <a:pt x="370" y="867"/>
                  </a:lnTo>
                  <a:lnTo>
                    <a:pt x="370" y="952"/>
                  </a:lnTo>
                  <a:close/>
                  <a:moveTo>
                    <a:pt x="370" y="835"/>
                  </a:moveTo>
                  <a:lnTo>
                    <a:pt x="317" y="835"/>
                  </a:lnTo>
                  <a:lnTo>
                    <a:pt x="317" y="761"/>
                  </a:lnTo>
                  <a:lnTo>
                    <a:pt x="370" y="761"/>
                  </a:lnTo>
                  <a:lnTo>
                    <a:pt x="370" y="835"/>
                  </a:lnTo>
                  <a:close/>
                  <a:moveTo>
                    <a:pt x="370" y="730"/>
                  </a:moveTo>
                  <a:lnTo>
                    <a:pt x="317" y="730"/>
                  </a:lnTo>
                  <a:lnTo>
                    <a:pt x="317" y="656"/>
                  </a:lnTo>
                  <a:lnTo>
                    <a:pt x="370" y="656"/>
                  </a:lnTo>
                  <a:lnTo>
                    <a:pt x="370" y="730"/>
                  </a:lnTo>
                  <a:close/>
                  <a:moveTo>
                    <a:pt x="370" y="624"/>
                  </a:moveTo>
                  <a:lnTo>
                    <a:pt x="317" y="624"/>
                  </a:lnTo>
                  <a:lnTo>
                    <a:pt x="317" y="539"/>
                  </a:lnTo>
                  <a:lnTo>
                    <a:pt x="370" y="539"/>
                  </a:lnTo>
                  <a:lnTo>
                    <a:pt x="370" y="624"/>
                  </a:lnTo>
                  <a:close/>
                  <a:moveTo>
                    <a:pt x="370" y="518"/>
                  </a:moveTo>
                  <a:lnTo>
                    <a:pt x="317" y="518"/>
                  </a:lnTo>
                  <a:lnTo>
                    <a:pt x="317" y="434"/>
                  </a:lnTo>
                  <a:lnTo>
                    <a:pt x="370" y="434"/>
                  </a:lnTo>
                  <a:lnTo>
                    <a:pt x="370" y="518"/>
                  </a:lnTo>
                  <a:close/>
                  <a:moveTo>
                    <a:pt x="370" y="402"/>
                  </a:moveTo>
                  <a:lnTo>
                    <a:pt x="317" y="402"/>
                  </a:lnTo>
                  <a:lnTo>
                    <a:pt x="317" y="328"/>
                  </a:lnTo>
                  <a:lnTo>
                    <a:pt x="370" y="328"/>
                  </a:lnTo>
                  <a:lnTo>
                    <a:pt x="370" y="402"/>
                  </a:lnTo>
                  <a:close/>
                  <a:moveTo>
                    <a:pt x="497" y="1385"/>
                  </a:moveTo>
                  <a:lnTo>
                    <a:pt x="433" y="1385"/>
                  </a:lnTo>
                  <a:lnTo>
                    <a:pt x="433" y="1300"/>
                  </a:lnTo>
                  <a:lnTo>
                    <a:pt x="497" y="1300"/>
                  </a:lnTo>
                  <a:lnTo>
                    <a:pt x="497" y="1385"/>
                  </a:lnTo>
                  <a:close/>
                  <a:moveTo>
                    <a:pt x="497" y="1269"/>
                  </a:moveTo>
                  <a:lnTo>
                    <a:pt x="433" y="1269"/>
                  </a:lnTo>
                  <a:lnTo>
                    <a:pt x="433" y="1195"/>
                  </a:lnTo>
                  <a:lnTo>
                    <a:pt x="497" y="1195"/>
                  </a:lnTo>
                  <a:lnTo>
                    <a:pt x="497" y="1269"/>
                  </a:lnTo>
                  <a:close/>
                  <a:moveTo>
                    <a:pt x="497" y="1163"/>
                  </a:moveTo>
                  <a:lnTo>
                    <a:pt x="433" y="1163"/>
                  </a:lnTo>
                  <a:lnTo>
                    <a:pt x="433" y="1089"/>
                  </a:lnTo>
                  <a:lnTo>
                    <a:pt x="497" y="1089"/>
                  </a:lnTo>
                  <a:lnTo>
                    <a:pt x="497" y="1163"/>
                  </a:lnTo>
                  <a:close/>
                  <a:moveTo>
                    <a:pt x="497" y="1057"/>
                  </a:moveTo>
                  <a:lnTo>
                    <a:pt x="433" y="1057"/>
                  </a:lnTo>
                  <a:lnTo>
                    <a:pt x="433" y="983"/>
                  </a:lnTo>
                  <a:lnTo>
                    <a:pt x="497" y="983"/>
                  </a:lnTo>
                  <a:lnTo>
                    <a:pt x="497" y="1057"/>
                  </a:lnTo>
                  <a:close/>
                  <a:moveTo>
                    <a:pt x="497" y="952"/>
                  </a:moveTo>
                  <a:lnTo>
                    <a:pt x="433" y="952"/>
                  </a:lnTo>
                  <a:lnTo>
                    <a:pt x="433" y="867"/>
                  </a:lnTo>
                  <a:lnTo>
                    <a:pt x="497" y="867"/>
                  </a:lnTo>
                  <a:lnTo>
                    <a:pt x="497" y="952"/>
                  </a:lnTo>
                  <a:close/>
                  <a:moveTo>
                    <a:pt x="497" y="835"/>
                  </a:moveTo>
                  <a:lnTo>
                    <a:pt x="433" y="835"/>
                  </a:lnTo>
                  <a:lnTo>
                    <a:pt x="433" y="761"/>
                  </a:lnTo>
                  <a:lnTo>
                    <a:pt x="497" y="761"/>
                  </a:lnTo>
                  <a:lnTo>
                    <a:pt x="497" y="835"/>
                  </a:lnTo>
                  <a:close/>
                  <a:moveTo>
                    <a:pt x="497" y="730"/>
                  </a:moveTo>
                  <a:lnTo>
                    <a:pt x="433" y="730"/>
                  </a:lnTo>
                  <a:lnTo>
                    <a:pt x="433" y="656"/>
                  </a:lnTo>
                  <a:lnTo>
                    <a:pt x="497" y="656"/>
                  </a:lnTo>
                  <a:lnTo>
                    <a:pt x="497" y="730"/>
                  </a:lnTo>
                  <a:close/>
                  <a:moveTo>
                    <a:pt x="497" y="624"/>
                  </a:moveTo>
                  <a:lnTo>
                    <a:pt x="433" y="624"/>
                  </a:lnTo>
                  <a:lnTo>
                    <a:pt x="433" y="539"/>
                  </a:lnTo>
                  <a:lnTo>
                    <a:pt x="497" y="539"/>
                  </a:lnTo>
                  <a:lnTo>
                    <a:pt x="497" y="624"/>
                  </a:lnTo>
                  <a:close/>
                  <a:moveTo>
                    <a:pt x="497" y="518"/>
                  </a:moveTo>
                  <a:lnTo>
                    <a:pt x="433" y="518"/>
                  </a:lnTo>
                  <a:lnTo>
                    <a:pt x="433" y="434"/>
                  </a:lnTo>
                  <a:lnTo>
                    <a:pt x="497" y="434"/>
                  </a:lnTo>
                  <a:lnTo>
                    <a:pt x="497" y="518"/>
                  </a:lnTo>
                  <a:close/>
                  <a:moveTo>
                    <a:pt x="497" y="402"/>
                  </a:moveTo>
                  <a:lnTo>
                    <a:pt x="433" y="402"/>
                  </a:lnTo>
                  <a:lnTo>
                    <a:pt x="433" y="328"/>
                  </a:lnTo>
                  <a:lnTo>
                    <a:pt x="497" y="328"/>
                  </a:lnTo>
                  <a:lnTo>
                    <a:pt x="497" y="402"/>
                  </a:ln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9" name="Freeform 10"/>
            <p:cNvSpPr>
              <a:spLocks noEditPoints="1"/>
            </p:cNvSpPr>
            <p:nvPr/>
          </p:nvSpPr>
          <p:spPr bwMode="auto">
            <a:xfrm>
              <a:off x="5322503" y="1653540"/>
              <a:ext cx="588183" cy="2807325"/>
            </a:xfrm>
            <a:custGeom>
              <a:avLst/>
              <a:gdLst>
                <a:gd name="T0" fmla="*/ 687 w 687"/>
                <a:gd name="T1" fmla="*/ 4407 h 4407"/>
                <a:gd name="T2" fmla="*/ 433 w 687"/>
                <a:gd name="T3" fmla="*/ 4302 h 4407"/>
                <a:gd name="T4" fmla="*/ 624 w 687"/>
                <a:gd name="T5" fmla="*/ 3667 h 4407"/>
                <a:gd name="T6" fmla="*/ 507 w 687"/>
                <a:gd name="T7" fmla="*/ 444 h 4407"/>
                <a:gd name="T8" fmla="*/ 507 w 687"/>
                <a:gd name="T9" fmla="*/ 740 h 4407"/>
                <a:gd name="T10" fmla="*/ 581 w 687"/>
                <a:gd name="T11" fmla="*/ 972 h 4407"/>
                <a:gd name="T12" fmla="*/ 581 w 687"/>
                <a:gd name="T13" fmla="*/ 1247 h 4407"/>
                <a:gd name="T14" fmla="*/ 507 w 687"/>
                <a:gd name="T15" fmla="*/ 1480 h 4407"/>
                <a:gd name="T16" fmla="*/ 507 w 687"/>
                <a:gd name="T17" fmla="*/ 1638 h 4407"/>
                <a:gd name="T18" fmla="*/ 507 w 687"/>
                <a:gd name="T19" fmla="*/ 1934 h 4407"/>
                <a:gd name="T20" fmla="*/ 581 w 687"/>
                <a:gd name="T21" fmla="*/ 2251 h 4407"/>
                <a:gd name="T22" fmla="*/ 581 w 687"/>
                <a:gd name="T23" fmla="*/ 2515 h 4407"/>
                <a:gd name="T24" fmla="*/ 507 w 687"/>
                <a:gd name="T25" fmla="*/ 2759 h 4407"/>
                <a:gd name="T26" fmla="*/ 507 w 687"/>
                <a:gd name="T27" fmla="*/ 2917 h 4407"/>
                <a:gd name="T28" fmla="*/ 507 w 687"/>
                <a:gd name="T29" fmla="*/ 3202 h 4407"/>
                <a:gd name="T30" fmla="*/ 486 w 687"/>
                <a:gd name="T31" fmla="*/ 497 h 4407"/>
                <a:gd name="T32" fmla="*/ 486 w 687"/>
                <a:gd name="T33" fmla="*/ 687 h 4407"/>
                <a:gd name="T34" fmla="*/ 402 w 687"/>
                <a:gd name="T35" fmla="*/ 930 h 4407"/>
                <a:gd name="T36" fmla="*/ 402 w 687"/>
                <a:gd name="T37" fmla="*/ 1089 h 4407"/>
                <a:gd name="T38" fmla="*/ 402 w 687"/>
                <a:gd name="T39" fmla="*/ 1533 h 4407"/>
                <a:gd name="T40" fmla="*/ 486 w 687"/>
                <a:gd name="T41" fmla="*/ 1850 h 4407"/>
                <a:gd name="T42" fmla="*/ 486 w 687"/>
                <a:gd name="T43" fmla="*/ 2124 h 4407"/>
                <a:gd name="T44" fmla="*/ 402 w 687"/>
                <a:gd name="T45" fmla="*/ 2441 h 4407"/>
                <a:gd name="T46" fmla="*/ 402 w 687"/>
                <a:gd name="T47" fmla="*/ 2674 h 4407"/>
                <a:gd name="T48" fmla="*/ 402 w 687"/>
                <a:gd name="T49" fmla="*/ 3044 h 4407"/>
                <a:gd name="T50" fmla="*/ 381 w 687"/>
                <a:gd name="T51" fmla="*/ 412 h 4407"/>
                <a:gd name="T52" fmla="*/ 381 w 687"/>
                <a:gd name="T53" fmla="*/ 602 h 4407"/>
                <a:gd name="T54" fmla="*/ 307 w 687"/>
                <a:gd name="T55" fmla="*/ 930 h 4407"/>
                <a:gd name="T56" fmla="*/ 307 w 687"/>
                <a:gd name="T57" fmla="*/ 1089 h 4407"/>
                <a:gd name="T58" fmla="*/ 307 w 687"/>
                <a:gd name="T59" fmla="*/ 1374 h 4407"/>
                <a:gd name="T60" fmla="*/ 381 w 687"/>
                <a:gd name="T61" fmla="*/ 1607 h 4407"/>
                <a:gd name="T62" fmla="*/ 381 w 687"/>
                <a:gd name="T63" fmla="*/ 1797 h 4407"/>
                <a:gd name="T64" fmla="*/ 307 w 687"/>
                <a:gd name="T65" fmla="*/ 2040 h 4407"/>
                <a:gd name="T66" fmla="*/ 307 w 687"/>
                <a:gd name="T67" fmla="*/ 2198 h 4407"/>
                <a:gd name="T68" fmla="*/ 307 w 687"/>
                <a:gd name="T69" fmla="*/ 2484 h 4407"/>
                <a:gd name="T70" fmla="*/ 381 w 687"/>
                <a:gd name="T71" fmla="*/ 2727 h 4407"/>
                <a:gd name="T72" fmla="*/ 381 w 687"/>
                <a:gd name="T73" fmla="*/ 2917 h 4407"/>
                <a:gd name="T74" fmla="*/ 307 w 687"/>
                <a:gd name="T75" fmla="*/ 3160 h 4407"/>
                <a:gd name="T76" fmla="*/ 211 w 687"/>
                <a:gd name="T77" fmla="*/ 444 h 4407"/>
                <a:gd name="T78" fmla="*/ 211 w 687"/>
                <a:gd name="T79" fmla="*/ 740 h 4407"/>
                <a:gd name="T80" fmla="*/ 285 w 687"/>
                <a:gd name="T81" fmla="*/ 1057 h 4407"/>
                <a:gd name="T82" fmla="*/ 285 w 687"/>
                <a:gd name="T83" fmla="*/ 1247 h 4407"/>
                <a:gd name="T84" fmla="*/ 211 w 687"/>
                <a:gd name="T85" fmla="*/ 1480 h 4407"/>
                <a:gd name="T86" fmla="*/ 211 w 687"/>
                <a:gd name="T87" fmla="*/ 1638 h 4407"/>
                <a:gd name="T88" fmla="*/ 211 w 687"/>
                <a:gd name="T89" fmla="*/ 1934 h 4407"/>
                <a:gd name="T90" fmla="*/ 285 w 687"/>
                <a:gd name="T91" fmla="*/ 2251 h 4407"/>
                <a:gd name="T92" fmla="*/ 285 w 687"/>
                <a:gd name="T93" fmla="*/ 2515 h 4407"/>
                <a:gd name="T94" fmla="*/ 211 w 687"/>
                <a:gd name="T95" fmla="*/ 2759 h 4407"/>
                <a:gd name="T96" fmla="*/ 211 w 687"/>
                <a:gd name="T97" fmla="*/ 2991 h 4407"/>
                <a:gd name="T98" fmla="*/ 190 w 687"/>
                <a:gd name="T99" fmla="*/ 3667 h 4407"/>
                <a:gd name="T100" fmla="*/ 190 w 687"/>
                <a:gd name="T101" fmla="*/ 497 h 4407"/>
                <a:gd name="T102" fmla="*/ 190 w 687"/>
                <a:gd name="T103" fmla="*/ 687 h 4407"/>
                <a:gd name="T104" fmla="*/ 116 w 687"/>
                <a:gd name="T105" fmla="*/ 930 h 4407"/>
                <a:gd name="T106" fmla="*/ 116 w 687"/>
                <a:gd name="T107" fmla="*/ 1163 h 4407"/>
                <a:gd name="T108" fmla="*/ 116 w 687"/>
                <a:gd name="T109" fmla="*/ 1448 h 4407"/>
                <a:gd name="T110" fmla="*/ 190 w 687"/>
                <a:gd name="T111" fmla="*/ 1776 h 4407"/>
                <a:gd name="T112" fmla="*/ 190 w 687"/>
                <a:gd name="T113" fmla="*/ 1966 h 4407"/>
                <a:gd name="T114" fmla="*/ 116 w 687"/>
                <a:gd name="T115" fmla="*/ 2198 h 4407"/>
                <a:gd name="T116" fmla="*/ 116 w 687"/>
                <a:gd name="T117" fmla="*/ 2357 h 4407"/>
                <a:gd name="T118" fmla="*/ 116 w 687"/>
                <a:gd name="T119" fmla="*/ 2642 h 4407"/>
                <a:gd name="T120" fmla="*/ 190 w 687"/>
                <a:gd name="T121" fmla="*/ 2885 h 4407"/>
                <a:gd name="T122" fmla="*/ 190 w 687"/>
                <a:gd name="T123" fmla="*/ 3160 h 4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7" h="4407">
                  <a:moveTo>
                    <a:pt x="0" y="4407"/>
                  </a:moveTo>
                  <a:lnTo>
                    <a:pt x="190" y="4407"/>
                  </a:lnTo>
                  <a:lnTo>
                    <a:pt x="190" y="4365"/>
                  </a:lnTo>
                  <a:lnTo>
                    <a:pt x="254" y="4365"/>
                  </a:lnTo>
                  <a:lnTo>
                    <a:pt x="254" y="4407"/>
                  </a:lnTo>
                  <a:lnTo>
                    <a:pt x="317" y="4407"/>
                  </a:lnTo>
                  <a:lnTo>
                    <a:pt x="317" y="4365"/>
                  </a:lnTo>
                  <a:lnTo>
                    <a:pt x="370" y="4365"/>
                  </a:lnTo>
                  <a:lnTo>
                    <a:pt x="370" y="4407"/>
                  </a:lnTo>
                  <a:lnTo>
                    <a:pt x="560" y="4407"/>
                  </a:lnTo>
                  <a:lnTo>
                    <a:pt x="560" y="4365"/>
                  </a:lnTo>
                  <a:lnTo>
                    <a:pt x="624" y="4365"/>
                  </a:lnTo>
                  <a:lnTo>
                    <a:pt x="624" y="4407"/>
                  </a:lnTo>
                  <a:lnTo>
                    <a:pt x="687" y="4407"/>
                  </a:lnTo>
                  <a:lnTo>
                    <a:pt x="687" y="3213"/>
                  </a:lnTo>
                  <a:lnTo>
                    <a:pt x="687" y="3213"/>
                  </a:lnTo>
                  <a:lnTo>
                    <a:pt x="687" y="0"/>
                  </a:lnTo>
                  <a:lnTo>
                    <a:pt x="0" y="233"/>
                  </a:lnTo>
                  <a:lnTo>
                    <a:pt x="0" y="3213"/>
                  </a:lnTo>
                  <a:lnTo>
                    <a:pt x="0" y="3213"/>
                  </a:lnTo>
                  <a:lnTo>
                    <a:pt x="0" y="4407"/>
                  </a:lnTo>
                  <a:close/>
                  <a:moveTo>
                    <a:pt x="370" y="3995"/>
                  </a:moveTo>
                  <a:lnTo>
                    <a:pt x="317" y="3995"/>
                  </a:lnTo>
                  <a:lnTo>
                    <a:pt x="317" y="3731"/>
                  </a:lnTo>
                  <a:lnTo>
                    <a:pt x="370" y="3731"/>
                  </a:lnTo>
                  <a:lnTo>
                    <a:pt x="370" y="3995"/>
                  </a:lnTo>
                  <a:close/>
                  <a:moveTo>
                    <a:pt x="497" y="4302"/>
                  </a:moveTo>
                  <a:lnTo>
                    <a:pt x="433" y="4302"/>
                  </a:lnTo>
                  <a:lnTo>
                    <a:pt x="433" y="4037"/>
                  </a:lnTo>
                  <a:lnTo>
                    <a:pt x="497" y="4037"/>
                  </a:lnTo>
                  <a:lnTo>
                    <a:pt x="497" y="4302"/>
                  </a:lnTo>
                  <a:close/>
                  <a:moveTo>
                    <a:pt x="624" y="4302"/>
                  </a:moveTo>
                  <a:lnTo>
                    <a:pt x="560" y="4302"/>
                  </a:lnTo>
                  <a:lnTo>
                    <a:pt x="560" y="4037"/>
                  </a:lnTo>
                  <a:lnTo>
                    <a:pt x="624" y="4037"/>
                  </a:lnTo>
                  <a:lnTo>
                    <a:pt x="624" y="4302"/>
                  </a:lnTo>
                  <a:close/>
                  <a:moveTo>
                    <a:pt x="624" y="3995"/>
                  </a:moveTo>
                  <a:lnTo>
                    <a:pt x="560" y="3995"/>
                  </a:lnTo>
                  <a:lnTo>
                    <a:pt x="560" y="3731"/>
                  </a:lnTo>
                  <a:lnTo>
                    <a:pt x="624" y="3731"/>
                  </a:lnTo>
                  <a:lnTo>
                    <a:pt x="624" y="3995"/>
                  </a:lnTo>
                  <a:close/>
                  <a:moveTo>
                    <a:pt x="624" y="3667"/>
                  </a:moveTo>
                  <a:lnTo>
                    <a:pt x="560" y="3667"/>
                  </a:lnTo>
                  <a:lnTo>
                    <a:pt x="560" y="3403"/>
                  </a:lnTo>
                  <a:lnTo>
                    <a:pt x="624" y="3403"/>
                  </a:lnTo>
                  <a:lnTo>
                    <a:pt x="624" y="3667"/>
                  </a:lnTo>
                  <a:close/>
                  <a:moveTo>
                    <a:pt x="507" y="370"/>
                  </a:moveTo>
                  <a:lnTo>
                    <a:pt x="581" y="370"/>
                  </a:lnTo>
                  <a:lnTo>
                    <a:pt x="581" y="412"/>
                  </a:lnTo>
                  <a:lnTo>
                    <a:pt x="507" y="412"/>
                  </a:lnTo>
                  <a:lnTo>
                    <a:pt x="507" y="370"/>
                  </a:lnTo>
                  <a:close/>
                  <a:moveTo>
                    <a:pt x="507" y="444"/>
                  </a:moveTo>
                  <a:lnTo>
                    <a:pt x="581" y="444"/>
                  </a:lnTo>
                  <a:lnTo>
                    <a:pt x="581" y="497"/>
                  </a:lnTo>
                  <a:lnTo>
                    <a:pt x="507" y="497"/>
                  </a:lnTo>
                  <a:lnTo>
                    <a:pt x="507" y="444"/>
                  </a:lnTo>
                  <a:close/>
                  <a:moveTo>
                    <a:pt x="507" y="529"/>
                  </a:moveTo>
                  <a:lnTo>
                    <a:pt x="581" y="529"/>
                  </a:lnTo>
                  <a:lnTo>
                    <a:pt x="581" y="571"/>
                  </a:lnTo>
                  <a:lnTo>
                    <a:pt x="507" y="571"/>
                  </a:lnTo>
                  <a:lnTo>
                    <a:pt x="507" y="529"/>
                  </a:lnTo>
                  <a:close/>
                  <a:moveTo>
                    <a:pt x="507" y="602"/>
                  </a:moveTo>
                  <a:lnTo>
                    <a:pt x="581" y="602"/>
                  </a:lnTo>
                  <a:lnTo>
                    <a:pt x="581" y="655"/>
                  </a:lnTo>
                  <a:lnTo>
                    <a:pt x="507" y="655"/>
                  </a:lnTo>
                  <a:lnTo>
                    <a:pt x="507" y="602"/>
                  </a:lnTo>
                  <a:close/>
                  <a:moveTo>
                    <a:pt x="507" y="687"/>
                  </a:moveTo>
                  <a:lnTo>
                    <a:pt x="581" y="687"/>
                  </a:lnTo>
                  <a:lnTo>
                    <a:pt x="581" y="740"/>
                  </a:lnTo>
                  <a:lnTo>
                    <a:pt x="507" y="740"/>
                  </a:lnTo>
                  <a:lnTo>
                    <a:pt x="507" y="687"/>
                  </a:lnTo>
                  <a:close/>
                  <a:moveTo>
                    <a:pt x="507" y="761"/>
                  </a:moveTo>
                  <a:lnTo>
                    <a:pt x="581" y="761"/>
                  </a:lnTo>
                  <a:lnTo>
                    <a:pt x="581" y="814"/>
                  </a:lnTo>
                  <a:lnTo>
                    <a:pt x="507" y="814"/>
                  </a:lnTo>
                  <a:lnTo>
                    <a:pt x="507" y="761"/>
                  </a:lnTo>
                  <a:close/>
                  <a:moveTo>
                    <a:pt x="507" y="846"/>
                  </a:moveTo>
                  <a:lnTo>
                    <a:pt x="581" y="846"/>
                  </a:lnTo>
                  <a:lnTo>
                    <a:pt x="581" y="898"/>
                  </a:lnTo>
                  <a:lnTo>
                    <a:pt x="507" y="898"/>
                  </a:lnTo>
                  <a:lnTo>
                    <a:pt x="507" y="846"/>
                  </a:lnTo>
                  <a:close/>
                  <a:moveTo>
                    <a:pt x="507" y="930"/>
                  </a:moveTo>
                  <a:lnTo>
                    <a:pt x="581" y="930"/>
                  </a:lnTo>
                  <a:lnTo>
                    <a:pt x="581" y="972"/>
                  </a:lnTo>
                  <a:lnTo>
                    <a:pt x="507" y="972"/>
                  </a:lnTo>
                  <a:lnTo>
                    <a:pt x="507" y="930"/>
                  </a:lnTo>
                  <a:close/>
                  <a:moveTo>
                    <a:pt x="507" y="1004"/>
                  </a:moveTo>
                  <a:lnTo>
                    <a:pt x="581" y="1004"/>
                  </a:lnTo>
                  <a:lnTo>
                    <a:pt x="581" y="1057"/>
                  </a:lnTo>
                  <a:lnTo>
                    <a:pt x="507" y="1057"/>
                  </a:lnTo>
                  <a:lnTo>
                    <a:pt x="507" y="1004"/>
                  </a:lnTo>
                  <a:close/>
                  <a:moveTo>
                    <a:pt x="507" y="1163"/>
                  </a:moveTo>
                  <a:lnTo>
                    <a:pt x="581" y="1163"/>
                  </a:lnTo>
                  <a:lnTo>
                    <a:pt x="581" y="1215"/>
                  </a:lnTo>
                  <a:lnTo>
                    <a:pt x="507" y="1215"/>
                  </a:lnTo>
                  <a:lnTo>
                    <a:pt x="507" y="1163"/>
                  </a:lnTo>
                  <a:close/>
                  <a:moveTo>
                    <a:pt x="507" y="1247"/>
                  </a:moveTo>
                  <a:lnTo>
                    <a:pt x="581" y="1247"/>
                  </a:lnTo>
                  <a:lnTo>
                    <a:pt x="581" y="1289"/>
                  </a:lnTo>
                  <a:lnTo>
                    <a:pt x="507" y="1289"/>
                  </a:lnTo>
                  <a:lnTo>
                    <a:pt x="507" y="1247"/>
                  </a:lnTo>
                  <a:close/>
                  <a:moveTo>
                    <a:pt x="507" y="1321"/>
                  </a:moveTo>
                  <a:lnTo>
                    <a:pt x="581" y="1321"/>
                  </a:lnTo>
                  <a:lnTo>
                    <a:pt x="581" y="1374"/>
                  </a:lnTo>
                  <a:lnTo>
                    <a:pt x="507" y="1374"/>
                  </a:lnTo>
                  <a:lnTo>
                    <a:pt x="507" y="1321"/>
                  </a:lnTo>
                  <a:close/>
                  <a:moveTo>
                    <a:pt x="507" y="1406"/>
                  </a:moveTo>
                  <a:lnTo>
                    <a:pt x="581" y="1406"/>
                  </a:lnTo>
                  <a:lnTo>
                    <a:pt x="581" y="1448"/>
                  </a:lnTo>
                  <a:lnTo>
                    <a:pt x="507" y="1448"/>
                  </a:lnTo>
                  <a:lnTo>
                    <a:pt x="507" y="1406"/>
                  </a:lnTo>
                  <a:close/>
                  <a:moveTo>
                    <a:pt x="507" y="1480"/>
                  </a:moveTo>
                  <a:lnTo>
                    <a:pt x="581" y="1480"/>
                  </a:lnTo>
                  <a:lnTo>
                    <a:pt x="581" y="1533"/>
                  </a:lnTo>
                  <a:lnTo>
                    <a:pt x="507" y="1533"/>
                  </a:lnTo>
                  <a:lnTo>
                    <a:pt x="507" y="1480"/>
                  </a:lnTo>
                  <a:close/>
                  <a:moveTo>
                    <a:pt x="507" y="1564"/>
                  </a:moveTo>
                  <a:lnTo>
                    <a:pt x="581" y="1564"/>
                  </a:lnTo>
                  <a:lnTo>
                    <a:pt x="581" y="1607"/>
                  </a:lnTo>
                  <a:lnTo>
                    <a:pt x="507" y="1607"/>
                  </a:lnTo>
                  <a:lnTo>
                    <a:pt x="507" y="1564"/>
                  </a:lnTo>
                  <a:close/>
                  <a:moveTo>
                    <a:pt x="507" y="1638"/>
                  </a:moveTo>
                  <a:lnTo>
                    <a:pt x="581" y="1638"/>
                  </a:lnTo>
                  <a:lnTo>
                    <a:pt x="581" y="1691"/>
                  </a:lnTo>
                  <a:lnTo>
                    <a:pt x="507" y="1691"/>
                  </a:lnTo>
                  <a:lnTo>
                    <a:pt x="507" y="1638"/>
                  </a:lnTo>
                  <a:close/>
                  <a:moveTo>
                    <a:pt x="507" y="1723"/>
                  </a:moveTo>
                  <a:lnTo>
                    <a:pt x="581" y="1723"/>
                  </a:lnTo>
                  <a:lnTo>
                    <a:pt x="581" y="1776"/>
                  </a:lnTo>
                  <a:lnTo>
                    <a:pt x="507" y="1776"/>
                  </a:lnTo>
                  <a:lnTo>
                    <a:pt x="507" y="1723"/>
                  </a:lnTo>
                  <a:close/>
                  <a:moveTo>
                    <a:pt x="507" y="1797"/>
                  </a:moveTo>
                  <a:lnTo>
                    <a:pt x="581" y="1797"/>
                  </a:lnTo>
                  <a:lnTo>
                    <a:pt x="581" y="1850"/>
                  </a:lnTo>
                  <a:lnTo>
                    <a:pt x="507" y="1850"/>
                  </a:lnTo>
                  <a:lnTo>
                    <a:pt x="507" y="1797"/>
                  </a:lnTo>
                  <a:close/>
                  <a:moveTo>
                    <a:pt x="507" y="1881"/>
                  </a:moveTo>
                  <a:lnTo>
                    <a:pt x="581" y="1881"/>
                  </a:lnTo>
                  <a:lnTo>
                    <a:pt x="581" y="1934"/>
                  </a:lnTo>
                  <a:lnTo>
                    <a:pt x="507" y="1934"/>
                  </a:lnTo>
                  <a:lnTo>
                    <a:pt x="507" y="1881"/>
                  </a:lnTo>
                  <a:close/>
                  <a:moveTo>
                    <a:pt x="507" y="1966"/>
                  </a:moveTo>
                  <a:lnTo>
                    <a:pt x="581" y="1966"/>
                  </a:lnTo>
                  <a:lnTo>
                    <a:pt x="581" y="2008"/>
                  </a:lnTo>
                  <a:lnTo>
                    <a:pt x="507" y="2008"/>
                  </a:lnTo>
                  <a:lnTo>
                    <a:pt x="507" y="1966"/>
                  </a:lnTo>
                  <a:close/>
                  <a:moveTo>
                    <a:pt x="507" y="2040"/>
                  </a:moveTo>
                  <a:lnTo>
                    <a:pt x="581" y="2040"/>
                  </a:lnTo>
                  <a:lnTo>
                    <a:pt x="581" y="2093"/>
                  </a:lnTo>
                  <a:lnTo>
                    <a:pt x="507" y="2093"/>
                  </a:lnTo>
                  <a:lnTo>
                    <a:pt x="507" y="2040"/>
                  </a:lnTo>
                  <a:close/>
                  <a:moveTo>
                    <a:pt x="507" y="2198"/>
                  </a:moveTo>
                  <a:lnTo>
                    <a:pt x="581" y="2198"/>
                  </a:lnTo>
                  <a:lnTo>
                    <a:pt x="581" y="2251"/>
                  </a:lnTo>
                  <a:lnTo>
                    <a:pt x="507" y="2251"/>
                  </a:lnTo>
                  <a:lnTo>
                    <a:pt x="507" y="2198"/>
                  </a:lnTo>
                  <a:close/>
                  <a:moveTo>
                    <a:pt x="507" y="2283"/>
                  </a:moveTo>
                  <a:lnTo>
                    <a:pt x="581" y="2283"/>
                  </a:lnTo>
                  <a:lnTo>
                    <a:pt x="581" y="2325"/>
                  </a:lnTo>
                  <a:lnTo>
                    <a:pt x="507" y="2325"/>
                  </a:lnTo>
                  <a:lnTo>
                    <a:pt x="507" y="2283"/>
                  </a:lnTo>
                  <a:close/>
                  <a:moveTo>
                    <a:pt x="507" y="2441"/>
                  </a:moveTo>
                  <a:lnTo>
                    <a:pt x="581" y="2441"/>
                  </a:lnTo>
                  <a:lnTo>
                    <a:pt x="581" y="2484"/>
                  </a:lnTo>
                  <a:lnTo>
                    <a:pt x="507" y="2484"/>
                  </a:lnTo>
                  <a:lnTo>
                    <a:pt x="507" y="2441"/>
                  </a:lnTo>
                  <a:close/>
                  <a:moveTo>
                    <a:pt x="507" y="2515"/>
                  </a:moveTo>
                  <a:lnTo>
                    <a:pt x="581" y="2515"/>
                  </a:lnTo>
                  <a:lnTo>
                    <a:pt x="581" y="2568"/>
                  </a:lnTo>
                  <a:lnTo>
                    <a:pt x="507" y="2568"/>
                  </a:lnTo>
                  <a:lnTo>
                    <a:pt x="507" y="2515"/>
                  </a:lnTo>
                  <a:close/>
                  <a:moveTo>
                    <a:pt x="507" y="2600"/>
                  </a:moveTo>
                  <a:lnTo>
                    <a:pt x="581" y="2600"/>
                  </a:lnTo>
                  <a:lnTo>
                    <a:pt x="581" y="2642"/>
                  </a:lnTo>
                  <a:lnTo>
                    <a:pt x="507" y="2642"/>
                  </a:lnTo>
                  <a:lnTo>
                    <a:pt x="507" y="2600"/>
                  </a:lnTo>
                  <a:close/>
                  <a:moveTo>
                    <a:pt x="507" y="2674"/>
                  </a:moveTo>
                  <a:lnTo>
                    <a:pt x="581" y="2674"/>
                  </a:lnTo>
                  <a:lnTo>
                    <a:pt x="581" y="2727"/>
                  </a:lnTo>
                  <a:lnTo>
                    <a:pt x="507" y="2727"/>
                  </a:lnTo>
                  <a:lnTo>
                    <a:pt x="507" y="2674"/>
                  </a:lnTo>
                  <a:close/>
                  <a:moveTo>
                    <a:pt x="507" y="2759"/>
                  </a:moveTo>
                  <a:lnTo>
                    <a:pt x="581" y="2759"/>
                  </a:lnTo>
                  <a:lnTo>
                    <a:pt x="581" y="2801"/>
                  </a:lnTo>
                  <a:lnTo>
                    <a:pt x="507" y="2801"/>
                  </a:lnTo>
                  <a:lnTo>
                    <a:pt x="507" y="2759"/>
                  </a:lnTo>
                  <a:close/>
                  <a:moveTo>
                    <a:pt x="507" y="2833"/>
                  </a:moveTo>
                  <a:lnTo>
                    <a:pt x="581" y="2833"/>
                  </a:lnTo>
                  <a:lnTo>
                    <a:pt x="581" y="2885"/>
                  </a:lnTo>
                  <a:lnTo>
                    <a:pt x="507" y="2885"/>
                  </a:lnTo>
                  <a:lnTo>
                    <a:pt x="507" y="2833"/>
                  </a:lnTo>
                  <a:close/>
                  <a:moveTo>
                    <a:pt x="507" y="2917"/>
                  </a:moveTo>
                  <a:lnTo>
                    <a:pt x="581" y="2917"/>
                  </a:lnTo>
                  <a:lnTo>
                    <a:pt x="581" y="2970"/>
                  </a:lnTo>
                  <a:lnTo>
                    <a:pt x="507" y="2970"/>
                  </a:lnTo>
                  <a:lnTo>
                    <a:pt x="507" y="2917"/>
                  </a:lnTo>
                  <a:close/>
                  <a:moveTo>
                    <a:pt x="507" y="2991"/>
                  </a:moveTo>
                  <a:lnTo>
                    <a:pt x="581" y="2991"/>
                  </a:lnTo>
                  <a:lnTo>
                    <a:pt x="581" y="3044"/>
                  </a:lnTo>
                  <a:lnTo>
                    <a:pt x="507" y="3044"/>
                  </a:lnTo>
                  <a:lnTo>
                    <a:pt x="507" y="2991"/>
                  </a:lnTo>
                  <a:close/>
                  <a:moveTo>
                    <a:pt x="507" y="3076"/>
                  </a:moveTo>
                  <a:lnTo>
                    <a:pt x="581" y="3076"/>
                  </a:lnTo>
                  <a:lnTo>
                    <a:pt x="581" y="3128"/>
                  </a:lnTo>
                  <a:lnTo>
                    <a:pt x="507" y="3128"/>
                  </a:lnTo>
                  <a:lnTo>
                    <a:pt x="507" y="3076"/>
                  </a:lnTo>
                  <a:close/>
                  <a:moveTo>
                    <a:pt x="507" y="3160"/>
                  </a:moveTo>
                  <a:lnTo>
                    <a:pt x="581" y="3160"/>
                  </a:lnTo>
                  <a:lnTo>
                    <a:pt x="581" y="3202"/>
                  </a:lnTo>
                  <a:lnTo>
                    <a:pt x="507" y="3202"/>
                  </a:lnTo>
                  <a:lnTo>
                    <a:pt x="507" y="3160"/>
                  </a:lnTo>
                  <a:close/>
                  <a:moveTo>
                    <a:pt x="497" y="3667"/>
                  </a:moveTo>
                  <a:lnTo>
                    <a:pt x="433" y="3667"/>
                  </a:lnTo>
                  <a:lnTo>
                    <a:pt x="433" y="3403"/>
                  </a:lnTo>
                  <a:lnTo>
                    <a:pt x="497" y="3403"/>
                  </a:lnTo>
                  <a:lnTo>
                    <a:pt x="497" y="3667"/>
                  </a:lnTo>
                  <a:close/>
                  <a:moveTo>
                    <a:pt x="402" y="370"/>
                  </a:moveTo>
                  <a:lnTo>
                    <a:pt x="486" y="370"/>
                  </a:lnTo>
                  <a:lnTo>
                    <a:pt x="486" y="412"/>
                  </a:lnTo>
                  <a:lnTo>
                    <a:pt x="402" y="412"/>
                  </a:lnTo>
                  <a:lnTo>
                    <a:pt x="402" y="370"/>
                  </a:lnTo>
                  <a:close/>
                  <a:moveTo>
                    <a:pt x="402" y="444"/>
                  </a:moveTo>
                  <a:lnTo>
                    <a:pt x="486" y="444"/>
                  </a:lnTo>
                  <a:lnTo>
                    <a:pt x="486" y="497"/>
                  </a:lnTo>
                  <a:lnTo>
                    <a:pt x="402" y="497"/>
                  </a:lnTo>
                  <a:lnTo>
                    <a:pt x="402" y="444"/>
                  </a:lnTo>
                  <a:close/>
                  <a:moveTo>
                    <a:pt x="402" y="529"/>
                  </a:moveTo>
                  <a:lnTo>
                    <a:pt x="486" y="529"/>
                  </a:lnTo>
                  <a:lnTo>
                    <a:pt x="486" y="571"/>
                  </a:lnTo>
                  <a:lnTo>
                    <a:pt x="402" y="571"/>
                  </a:lnTo>
                  <a:lnTo>
                    <a:pt x="402" y="529"/>
                  </a:lnTo>
                  <a:close/>
                  <a:moveTo>
                    <a:pt x="402" y="602"/>
                  </a:moveTo>
                  <a:lnTo>
                    <a:pt x="486" y="602"/>
                  </a:lnTo>
                  <a:lnTo>
                    <a:pt x="486" y="655"/>
                  </a:lnTo>
                  <a:lnTo>
                    <a:pt x="402" y="655"/>
                  </a:lnTo>
                  <a:lnTo>
                    <a:pt x="402" y="602"/>
                  </a:lnTo>
                  <a:close/>
                  <a:moveTo>
                    <a:pt x="402" y="687"/>
                  </a:moveTo>
                  <a:lnTo>
                    <a:pt x="486" y="687"/>
                  </a:lnTo>
                  <a:lnTo>
                    <a:pt x="486" y="740"/>
                  </a:lnTo>
                  <a:lnTo>
                    <a:pt x="402" y="740"/>
                  </a:lnTo>
                  <a:lnTo>
                    <a:pt x="402" y="687"/>
                  </a:lnTo>
                  <a:close/>
                  <a:moveTo>
                    <a:pt x="402" y="761"/>
                  </a:moveTo>
                  <a:lnTo>
                    <a:pt x="486" y="761"/>
                  </a:lnTo>
                  <a:lnTo>
                    <a:pt x="486" y="814"/>
                  </a:lnTo>
                  <a:lnTo>
                    <a:pt x="402" y="814"/>
                  </a:lnTo>
                  <a:lnTo>
                    <a:pt x="402" y="761"/>
                  </a:lnTo>
                  <a:close/>
                  <a:moveTo>
                    <a:pt x="402" y="846"/>
                  </a:moveTo>
                  <a:lnTo>
                    <a:pt x="486" y="846"/>
                  </a:lnTo>
                  <a:lnTo>
                    <a:pt x="486" y="898"/>
                  </a:lnTo>
                  <a:lnTo>
                    <a:pt x="402" y="898"/>
                  </a:lnTo>
                  <a:lnTo>
                    <a:pt x="402" y="846"/>
                  </a:lnTo>
                  <a:close/>
                  <a:moveTo>
                    <a:pt x="402" y="930"/>
                  </a:moveTo>
                  <a:lnTo>
                    <a:pt x="486" y="930"/>
                  </a:lnTo>
                  <a:lnTo>
                    <a:pt x="486" y="972"/>
                  </a:lnTo>
                  <a:lnTo>
                    <a:pt x="402" y="972"/>
                  </a:lnTo>
                  <a:lnTo>
                    <a:pt x="402" y="930"/>
                  </a:lnTo>
                  <a:close/>
                  <a:moveTo>
                    <a:pt x="402" y="1004"/>
                  </a:moveTo>
                  <a:lnTo>
                    <a:pt x="486" y="1004"/>
                  </a:lnTo>
                  <a:lnTo>
                    <a:pt x="486" y="1057"/>
                  </a:lnTo>
                  <a:lnTo>
                    <a:pt x="402" y="1057"/>
                  </a:lnTo>
                  <a:lnTo>
                    <a:pt x="402" y="1004"/>
                  </a:lnTo>
                  <a:close/>
                  <a:moveTo>
                    <a:pt x="402" y="1089"/>
                  </a:moveTo>
                  <a:lnTo>
                    <a:pt x="486" y="1089"/>
                  </a:lnTo>
                  <a:lnTo>
                    <a:pt x="486" y="1131"/>
                  </a:lnTo>
                  <a:lnTo>
                    <a:pt x="402" y="1131"/>
                  </a:lnTo>
                  <a:lnTo>
                    <a:pt x="402" y="1089"/>
                  </a:lnTo>
                  <a:close/>
                  <a:moveTo>
                    <a:pt x="402" y="1163"/>
                  </a:moveTo>
                  <a:lnTo>
                    <a:pt x="486" y="1163"/>
                  </a:lnTo>
                  <a:lnTo>
                    <a:pt x="486" y="1215"/>
                  </a:lnTo>
                  <a:lnTo>
                    <a:pt x="402" y="1215"/>
                  </a:lnTo>
                  <a:lnTo>
                    <a:pt x="402" y="1163"/>
                  </a:lnTo>
                  <a:close/>
                  <a:moveTo>
                    <a:pt x="402" y="1321"/>
                  </a:moveTo>
                  <a:lnTo>
                    <a:pt x="486" y="1321"/>
                  </a:lnTo>
                  <a:lnTo>
                    <a:pt x="486" y="1374"/>
                  </a:lnTo>
                  <a:lnTo>
                    <a:pt x="402" y="1374"/>
                  </a:lnTo>
                  <a:lnTo>
                    <a:pt x="402" y="1321"/>
                  </a:lnTo>
                  <a:close/>
                  <a:moveTo>
                    <a:pt x="402" y="1480"/>
                  </a:moveTo>
                  <a:lnTo>
                    <a:pt x="486" y="1480"/>
                  </a:lnTo>
                  <a:lnTo>
                    <a:pt x="486" y="1533"/>
                  </a:lnTo>
                  <a:lnTo>
                    <a:pt x="402" y="1533"/>
                  </a:lnTo>
                  <a:lnTo>
                    <a:pt x="402" y="1480"/>
                  </a:lnTo>
                  <a:close/>
                  <a:moveTo>
                    <a:pt x="402" y="1564"/>
                  </a:moveTo>
                  <a:lnTo>
                    <a:pt x="486" y="1564"/>
                  </a:lnTo>
                  <a:lnTo>
                    <a:pt x="486" y="1607"/>
                  </a:lnTo>
                  <a:lnTo>
                    <a:pt x="402" y="1607"/>
                  </a:lnTo>
                  <a:lnTo>
                    <a:pt x="402" y="1564"/>
                  </a:lnTo>
                  <a:close/>
                  <a:moveTo>
                    <a:pt x="402" y="1723"/>
                  </a:moveTo>
                  <a:lnTo>
                    <a:pt x="486" y="1723"/>
                  </a:lnTo>
                  <a:lnTo>
                    <a:pt x="486" y="1776"/>
                  </a:lnTo>
                  <a:lnTo>
                    <a:pt x="402" y="1776"/>
                  </a:lnTo>
                  <a:lnTo>
                    <a:pt x="402" y="1723"/>
                  </a:lnTo>
                  <a:close/>
                  <a:moveTo>
                    <a:pt x="402" y="1797"/>
                  </a:moveTo>
                  <a:lnTo>
                    <a:pt x="486" y="1797"/>
                  </a:lnTo>
                  <a:lnTo>
                    <a:pt x="486" y="1850"/>
                  </a:lnTo>
                  <a:lnTo>
                    <a:pt x="402" y="1850"/>
                  </a:lnTo>
                  <a:lnTo>
                    <a:pt x="402" y="1797"/>
                  </a:lnTo>
                  <a:close/>
                  <a:moveTo>
                    <a:pt x="402" y="1881"/>
                  </a:moveTo>
                  <a:lnTo>
                    <a:pt x="486" y="1881"/>
                  </a:lnTo>
                  <a:lnTo>
                    <a:pt x="486" y="1934"/>
                  </a:lnTo>
                  <a:lnTo>
                    <a:pt x="402" y="1934"/>
                  </a:lnTo>
                  <a:lnTo>
                    <a:pt x="402" y="1881"/>
                  </a:lnTo>
                  <a:close/>
                  <a:moveTo>
                    <a:pt x="402" y="2040"/>
                  </a:moveTo>
                  <a:lnTo>
                    <a:pt x="486" y="2040"/>
                  </a:lnTo>
                  <a:lnTo>
                    <a:pt x="486" y="2093"/>
                  </a:lnTo>
                  <a:lnTo>
                    <a:pt x="402" y="2093"/>
                  </a:lnTo>
                  <a:lnTo>
                    <a:pt x="402" y="2040"/>
                  </a:lnTo>
                  <a:close/>
                  <a:moveTo>
                    <a:pt x="402" y="2124"/>
                  </a:moveTo>
                  <a:lnTo>
                    <a:pt x="486" y="2124"/>
                  </a:lnTo>
                  <a:lnTo>
                    <a:pt x="486" y="2167"/>
                  </a:lnTo>
                  <a:lnTo>
                    <a:pt x="402" y="2167"/>
                  </a:lnTo>
                  <a:lnTo>
                    <a:pt x="402" y="2124"/>
                  </a:lnTo>
                  <a:close/>
                  <a:moveTo>
                    <a:pt x="402" y="2283"/>
                  </a:moveTo>
                  <a:lnTo>
                    <a:pt x="486" y="2283"/>
                  </a:lnTo>
                  <a:lnTo>
                    <a:pt x="486" y="2325"/>
                  </a:lnTo>
                  <a:lnTo>
                    <a:pt x="402" y="2325"/>
                  </a:lnTo>
                  <a:lnTo>
                    <a:pt x="402" y="2283"/>
                  </a:lnTo>
                  <a:close/>
                  <a:moveTo>
                    <a:pt x="402" y="2357"/>
                  </a:moveTo>
                  <a:lnTo>
                    <a:pt x="486" y="2357"/>
                  </a:lnTo>
                  <a:lnTo>
                    <a:pt x="486" y="2410"/>
                  </a:lnTo>
                  <a:lnTo>
                    <a:pt x="402" y="2410"/>
                  </a:lnTo>
                  <a:lnTo>
                    <a:pt x="402" y="2357"/>
                  </a:lnTo>
                  <a:close/>
                  <a:moveTo>
                    <a:pt x="402" y="2441"/>
                  </a:moveTo>
                  <a:lnTo>
                    <a:pt x="486" y="2441"/>
                  </a:lnTo>
                  <a:lnTo>
                    <a:pt x="486" y="2484"/>
                  </a:lnTo>
                  <a:lnTo>
                    <a:pt x="402" y="2484"/>
                  </a:lnTo>
                  <a:lnTo>
                    <a:pt x="402" y="2441"/>
                  </a:lnTo>
                  <a:close/>
                  <a:moveTo>
                    <a:pt x="402" y="2600"/>
                  </a:moveTo>
                  <a:lnTo>
                    <a:pt x="486" y="2600"/>
                  </a:lnTo>
                  <a:lnTo>
                    <a:pt x="486" y="2642"/>
                  </a:lnTo>
                  <a:lnTo>
                    <a:pt x="402" y="2642"/>
                  </a:lnTo>
                  <a:lnTo>
                    <a:pt x="402" y="2600"/>
                  </a:lnTo>
                  <a:close/>
                  <a:moveTo>
                    <a:pt x="402" y="2674"/>
                  </a:moveTo>
                  <a:lnTo>
                    <a:pt x="486" y="2674"/>
                  </a:lnTo>
                  <a:lnTo>
                    <a:pt x="486" y="2727"/>
                  </a:lnTo>
                  <a:lnTo>
                    <a:pt x="402" y="2727"/>
                  </a:lnTo>
                  <a:lnTo>
                    <a:pt x="402" y="2674"/>
                  </a:lnTo>
                  <a:close/>
                  <a:moveTo>
                    <a:pt x="402" y="2759"/>
                  </a:moveTo>
                  <a:lnTo>
                    <a:pt x="486" y="2759"/>
                  </a:lnTo>
                  <a:lnTo>
                    <a:pt x="486" y="2801"/>
                  </a:lnTo>
                  <a:lnTo>
                    <a:pt x="402" y="2801"/>
                  </a:lnTo>
                  <a:lnTo>
                    <a:pt x="402" y="2759"/>
                  </a:lnTo>
                  <a:close/>
                  <a:moveTo>
                    <a:pt x="402" y="2833"/>
                  </a:moveTo>
                  <a:lnTo>
                    <a:pt x="486" y="2833"/>
                  </a:lnTo>
                  <a:lnTo>
                    <a:pt x="486" y="2885"/>
                  </a:lnTo>
                  <a:lnTo>
                    <a:pt x="402" y="2885"/>
                  </a:lnTo>
                  <a:lnTo>
                    <a:pt x="402" y="2833"/>
                  </a:lnTo>
                  <a:close/>
                  <a:moveTo>
                    <a:pt x="402" y="2991"/>
                  </a:moveTo>
                  <a:lnTo>
                    <a:pt x="486" y="2991"/>
                  </a:lnTo>
                  <a:lnTo>
                    <a:pt x="486" y="3044"/>
                  </a:lnTo>
                  <a:lnTo>
                    <a:pt x="402" y="3044"/>
                  </a:lnTo>
                  <a:lnTo>
                    <a:pt x="402" y="2991"/>
                  </a:lnTo>
                  <a:close/>
                  <a:moveTo>
                    <a:pt x="402" y="3076"/>
                  </a:moveTo>
                  <a:lnTo>
                    <a:pt x="486" y="3076"/>
                  </a:lnTo>
                  <a:lnTo>
                    <a:pt x="486" y="3128"/>
                  </a:lnTo>
                  <a:lnTo>
                    <a:pt x="402" y="3128"/>
                  </a:lnTo>
                  <a:lnTo>
                    <a:pt x="402" y="3076"/>
                  </a:lnTo>
                  <a:close/>
                  <a:moveTo>
                    <a:pt x="402" y="3160"/>
                  </a:moveTo>
                  <a:lnTo>
                    <a:pt x="486" y="3160"/>
                  </a:lnTo>
                  <a:lnTo>
                    <a:pt x="486" y="3202"/>
                  </a:lnTo>
                  <a:lnTo>
                    <a:pt x="402" y="3202"/>
                  </a:lnTo>
                  <a:lnTo>
                    <a:pt x="402" y="3160"/>
                  </a:lnTo>
                  <a:close/>
                  <a:moveTo>
                    <a:pt x="307" y="370"/>
                  </a:moveTo>
                  <a:lnTo>
                    <a:pt x="381" y="370"/>
                  </a:lnTo>
                  <a:lnTo>
                    <a:pt x="381" y="412"/>
                  </a:lnTo>
                  <a:lnTo>
                    <a:pt x="307" y="412"/>
                  </a:lnTo>
                  <a:lnTo>
                    <a:pt x="307" y="370"/>
                  </a:lnTo>
                  <a:close/>
                  <a:moveTo>
                    <a:pt x="307" y="444"/>
                  </a:moveTo>
                  <a:lnTo>
                    <a:pt x="381" y="444"/>
                  </a:lnTo>
                  <a:lnTo>
                    <a:pt x="381" y="497"/>
                  </a:lnTo>
                  <a:lnTo>
                    <a:pt x="307" y="497"/>
                  </a:lnTo>
                  <a:lnTo>
                    <a:pt x="307" y="444"/>
                  </a:lnTo>
                  <a:close/>
                  <a:moveTo>
                    <a:pt x="307" y="529"/>
                  </a:moveTo>
                  <a:lnTo>
                    <a:pt x="381" y="529"/>
                  </a:lnTo>
                  <a:lnTo>
                    <a:pt x="381" y="571"/>
                  </a:lnTo>
                  <a:lnTo>
                    <a:pt x="307" y="571"/>
                  </a:lnTo>
                  <a:lnTo>
                    <a:pt x="307" y="529"/>
                  </a:lnTo>
                  <a:close/>
                  <a:moveTo>
                    <a:pt x="307" y="602"/>
                  </a:moveTo>
                  <a:lnTo>
                    <a:pt x="381" y="602"/>
                  </a:lnTo>
                  <a:lnTo>
                    <a:pt x="381" y="655"/>
                  </a:lnTo>
                  <a:lnTo>
                    <a:pt x="307" y="655"/>
                  </a:lnTo>
                  <a:lnTo>
                    <a:pt x="307" y="602"/>
                  </a:lnTo>
                  <a:close/>
                  <a:moveTo>
                    <a:pt x="307" y="761"/>
                  </a:moveTo>
                  <a:lnTo>
                    <a:pt x="381" y="761"/>
                  </a:lnTo>
                  <a:lnTo>
                    <a:pt x="381" y="814"/>
                  </a:lnTo>
                  <a:lnTo>
                    <a:pt x="307" y="814"/>
                  </a:lnTo>
                  <a:lnTo>
                    <a:pt x="307" y="761"/>
                  </a:lnTo>
                  <a:close/>
                  <a:moveTo>
                    <a:pt x="307" y="846"/>
                  </a:moveTo>
                  <a:lnTo>
                    <a:pt x="381" y="846"/>
                  </a:lnTo>
                  <a:lnTo>
                    <a:pt x="381" y="898"/>
                  </a:lnTo>
                  <a:lnTo>
                    <a:pt x="307" y="898"/>
                  </a:lnTo>
                  <a:lnTo>
                    <a:pt x="307" y="846"/>
                  </a:lnTo>
                  <a:close/>
                  <a:moveTo>
                    <a:pt x="307" y="930"/>
                  </a:moveTo>
                  <a:lnTo>
                    <a:pt x="381" y="930"/>
                  </a:lnTo>
                  <a:lnTo>
                    <a:pt x="381" y="972"/>
                  </a:lnTo>
                  <a:lnTo>
                    <a:pt x="307" y="972"/>
                  </a:lnTo>
                  <a:lnTo>
                    <a:pt x="307" y="930"/>
                  </a:lnTo>
                  <a:close/>
                  <a:moveTo>
                    <a:pt x="307" y="1004"/>
                  </a:moveTo>
                  <a:lnTo>
                    <a:pt x="381" y="1004"/>
                  </a:lnTo>
                  <a:lnTo>
                    <a:pt x="381" y="1057"/>
                  </a:lnTo>
                  <a:lnTo>
                    <a:pt x="307" y="1057"/>
                  </a:lnTo>
                  <a:lnTo>
                    <a:pt x="307" y="1004"/>
                  </a:lnTo>
                  <a:close/>
                  <a:moveTo>
                    <a:pt x="307" y="1089"/>
                  </a:moveTo>
                  <a:lnTo>
                    <a:pt x="381" y="1089"/>
                  </a:lnTo>
                  <a:lnTo>
                    <a:pt x="381" y="1131"/>
                  </a:lnTo>
                  <a:lnTo>
                    <a:pt x="307" y="1131"/>
                  </a:lnTo>
                  <a:lnTo>
                    <a:pt x="307" y="1089"/>
                  </a:lnTo>
                  <a:close/>
                  <a:moveTo>
                    <a:pt x="307" y="1163"/>
                  </a:moveTo>
                  <a:lnTo>
                    <a:pt x="381" y="1163"/>
                  </a:lnTo>
                  <a:lnTo>
                    <a:pt x="381" y="1215"/>
                  </a:lnTo>
                  <a:lnTo>
                    <a:pt x="307" y="1215"/>
                  </a:lnTo>
                  <a:lnTo>
                    <a:pt x="307" y="1163"/>
                  </a:lnTo>
                  <a:close/>
                  <a:moveTo>
                    <a:pt x="307" y="1247"/>
                  </a:moveTo>
                  <a:lnTo>
                    <a:pt x="381" y="1247"/>
                  </a:lnTo>
                  <a:lnTo>
                    <a:pt x="381" y="1289"/>
                  </a:lnTo>
                  <a:lnTo>
                    <a:pt x="307" y="1289"/>
                  </a:lnTo>
                  <a:lnTo>
                    <a:pt x="307" y="1247"/>
                  </a:lnTo>
                  <a:close/>
                  <a:moveTo>
                    <a:pt x="307" y="1321"/>
                  </a:moveTo>
                  <a:lnTo>
                    <a:pt x="381" y="1321"/>
                  </a:lnTo>
                  <a:lnTo>
                    <a:pt x="381" y="1374"/>
                  </a:lnTo>
                  <a:lnTo>
                    <a:pt x="307" y="1374"/>
                  </a:lnTo>
                  <a:lnTo>
                    <a:pt x="307" y="1321"/>
                  </a:lnTo>
                  <a:close/>
                  <a:moveTo>
                    <a:pt x="307" y="1406"/>
                  </a:moveTo>
                  <a:lnTo>
                    <a:pt x="381" y="1406"/>
                  </a:lnTo>
                  <a:lnTo>
                    <a:pt x="381" y="1448"/>
                  </a:lnTo>
                  <a:lnTo>
                    <a:pt x="307" y="1448"/>
                  </a:lnTo>
                  <a:lnTo>
                    <a:pt x="307" y="1406"/>
                  </a:lnTo>
                  <a:close/>
                  <a:moveTo>
                    <a:pt x="307" y="1480"/>
                  </a:moveTo>
                  <a:lnTo>
                    <a:pt x="381" y="1480"/>
                  </a:lnTo>
                  <a:lnTo>
                    <a:pt x="381" y="1533"/>
                  </a:lnTo>
                  <a:lnTo>
                    <a:pt x="307" y="1533"/>
                  </a:lnTo>
                  <a:lnTo>
                    <a:pt x="307" y="1480"/>
                  </a:lnTo>
                  <a:close/>
                  <a:moveTo>
                    <a:pt x="307" y="1564"/>
                  </a:moveTo>
                  <a:lnTo>
                    <a:pt x="381" y="1564"/>
                  </a:lnTo>
                  <a:lnTo>
                    <a:pt x="381" y="1607"/>
                  </a:lnTo>
                  <a:lnTo>
                    <a:pt x="307" y="1607"/>
                  </a:lnTo>
                  <a:lnTo>
                    <a:pt x="307" y="1564"/>
                  </a:lnTo>
                  <a:close/>
                  <a:moveTo>
                    <a:pt x="307" y="1638"/>
                  </a:moveTo>
                  <a:lnTo>
                    <a:pt x="381" y="1638"/>
                  </a:lnTo>
                  <a:lnTo>
                    <a:pt x="381" y="1691"/>
                  </a:lnTo>
                  <a:lnTo>
                    <a:pt x="307" y="1691"/>
                  </a:lnTo>
                  <a:lnTo>
                    <a:pt x="307" y="1638"/>
                  </a:lnTo>
                  <a:close/>
                  <a:moveTo>
                    <a:pt x="307" y="1723"/>
                  </a:moveTo>
                  <a:lnTo>
                    <a:pt x="381" y="1723"/>
                  </a:lnTo>
                  <a:lnTo>
                    <a:pt x="381" y="1776"/>
                  </a:lnTo>
                  <a:lnTo>
                    <a:pt x="307" y="1776"/>
                  </a:lnTo>
                  <a:lnTo>
                    <a:pt x="307" y="1723"/>
                  </a:lnTo>
                  <a:close/>
                  <a:moveTo>
                    <a:pt x="307" y="1797"/>
                  </a:moveTo>
                  <a:lnTo>
                    <a:pt x="381" y="1797"/>
                  </a:lnTo>
                  <a:lnTo>
                    <a:pt x="381" y="1850"/>
                  </a:lnTo>
                  <a:lnTo>
                    <a:pt x="307" y="1850"/>
                  </a:lnTo>
                  <a:lnTo>
                    <a:pt x="307" y="1797"/>
                  </a:lnTo>
                  <a:close/>
                  <a:moveTo>
                    <a:pt x="307" y="1881"/>
                  </a:moveTo>
                  <a:lnTo>
                    <a:pt x="381" y="1881"/>
                  </a:lnTo>
                  <a:lnTo>
                    <a:pt x="381" y="1934"/>
                  </a:lnTo>
                  <a:lnTo>
                    <a:pt x="307" y="1934"/>
                  </a:lnTo>
                  <a:lnTo>
                    <a:pt x="307" y="1881"/>
                  </a:lnTo>
                  <a:close/>
                  <a:moveTo>
                    <a:pt x="307" y="1966"/>
                  </a:moveTo>
                  <a:lnTo>
                    <a:pt x="381" y="1966"/>
                  </a:lnTo>
                  <a:lnTo>
                    <a:pt x="381" y="2008"/>
                  </a:lnTo>
                  <a:lnTo>
                    <a:pt x="307" y="2008"/>
                  </a:lnTo>
                  <a:lnTo>
                    <a:pt x="307" y="1966"/>
                  </a:lnTo>
                  <a:close/>
                  <a:moveTo>
                    <a:pt x="307" y="2040"/>
                  </a:moveTo>
                  <a:lnTo>
                    <a:pt x="381" y="2040"/>
                  </a:lnTo>
                  <a:lnTo>
                    <a:pt x="381" y="2093"/>
                  </a:lnTo>
                  <a:lnTo>
                    <a:pt x="307" y="2093"/>
                  </a:lnTo>
                  <a:lnTo>
                    <a:pt x="307" y="2040"/>
                  </a:lnTo>
                  <a:close/>
                  <a:moveTo>
                    <a:pt x="307" y="2124"/>
                  </a:moveTo>
                  <a:lnTo>
                    <a:pt x="381" y="2124"/>
                  </a:lnTo>
                  <a:lnTo>
                    <a:pt x="381" y="2167"/>
                  </a:lnTo>
                  <a:lnTo>
                    <a:pt x="307" y="2167"/>
                  </a:lnTo>
                  <a:lnTo>
                    <a:pt x="307" y="2124"/>
                  </a:lnTo>
                  <a:close/>
                  <a:moveTo>
                    <a:pt x="307" y="2198"/>
                  </a:moveTo>
                  <a:lnTo>
                    <a:pt x="381" y="2198"/>
                  </a:lnTo>
                  <a:lnTo>
                    <a:pt x="381" y="2251"/>
                  </a:lnTo>
                  <a:lnTo>
                    <a:pt x="307" y="2251"/>
                  </a:lnTo>
                  <a:lnTo>
                    <a:pt x="307" y="2198"/>
                  </a:lnTo>
                  <a:close/>
                  <a:moveTo>
                    <a:pt x="307" y="2283"/>
                  </a:moveTo>
                  <a:lnTo>
                    <a:pt x="381" y="2283"/>
                  </a:lnTo>
                  <a:lnTo>
                    <a:pt x="381" y="2325"/>
                  </a:lnTo>
                  <a:lnTo>
                    <a:pt x="307" y="2325"/>
                  </a:lnTo>
                  <a:lnTo>
                    <a:pt x="307" y="2283"/>
                  </a:lnTo>
                  <a:close/>
                  <a:moveTo>
                    <a:pt x="307" y="2357"/>
                  </a:moveTo>
                  <a:lnTo>
                    <a:pt x="381" y="2357"/>
                  </a:lnTo>
                  <a:lnTo>
                    <a:pt x="381" y="2410"/>
                  </a:lnTo>
                  <a:lnTo>
                    <a:pt x="307" y="2410"/>
                  </a:lnTo>
                  <a:lnTo>
                    <a:pt x="307" y="2357"/>
                  </a:lnTo>
                  <a:close/>
                  <a:moveTo>
                    <a:pt x="307" y="2441"/>
                  </a:moveTo>
                  <a:lnTo>
                    <a:pt x="381" y="2441"/>
                  </a:lnTo>
                  <a:lnTo>
                    <a:pt x="381" y="2484"/>
                  </a:lnTo>
                  <a:lnTo>
                    <a:pt x="307" y="2484"/>
                  </a:lnTo>
                  <a:lnTo>
                    <a:pt x="307" y="2441"/>
                  </a:lnTo>
                  <a:close/>
                  <a:moveTo>
                    <a:pt x="307" y="2515"/>
                  </a:moveTo>
                  <a:lnTo>
                    <a:pt x="381" y="2515"/>
                  </a:lnTo>
                  <a:lnTo>
                    <a:pt x="381" y="2568"/>
                  </a:lnTo>
                  <a:lnTo>
                    <a:pt x="307" y="2568"/>
                  </a:lnTo>
                  <a:lnTo>
                    <a:pt x="307" y="2515"/>
                  </a:lnTo>
                  <a:close/>
                  <a:moveTo>
                    <a:pt x="307" y="2600"/>
                  </a:moveTo>
                  <a:lnTo>
                    <a:pt x="381" y="2600"/>
                  </a:lnTo>
                  <a:lnTo>
                    <a:pt x="381" y="2642"/>
                  </a:lnTo>
                  <a:lnTo>
                    <a:pt x="307" y="2642"/>
                  </a:lnTo>
                  <a:lnTo>
                    <a:pt x="307" y="2600"/>
                  </a:lnTo>
                  <a:close/>
                  <a:moveTo>
                    <a:pt x="307" y="2674"/>
                  </a:moveTo>
                  <a:lnTo>
                    <a:pt x="381" y="2674"/>
                  </a:lnTo>
                  <a:lnTo>
                    <a:pt x="381" y="2727"/>
                  </a:lnTo>
                  <a:lnTo>
                    <a:pt x="307" y="2727"/>
                  </a:lnTo>
                  <a:lnTo>
                    <a:pt x="307" y="2674"/>
                  </a:lnTo>
                  <a:close/>
                  <a:moveTo>
                    <a:pt x="307" y="2759"/>
                  </a:moveTo>
                  <a:lnTo>
                    <a:pt x="381" y="2759"/>
                  </a:lnTo>
                  <a:lnTo>
                    <a:pt x="381" y="2801"/>
                  </a:lnTo>
                  <a:lnTo>
                    <a:pt x="307" y="2801"/>
                  </a:lnTo>
                  <a:lnTo>
                    <a:pt x="307" y="2759"/>
                  </a:lnTo>
                  <a:close/>
                  <a:moveTo>
                    <a:pt x="307" y="2833"/>
                  </a:moveTo>
                  <a:lnTo>
                    <a:pt x="381" y="2833"/>
                  </a:lnTo>
                  <a:lnTo>
                    <a:pt x="381" y="2885"/>
                  </a:lnTo>
                  <a:lnTo>
                    <a:pt x="307" y="2885"/>
                  </a:lnTo>
                  <a:lnTo>
                    <a:pt x="307" y="2833"/>
                  </a:lnTo>
                  <a:close/>
                  <a:moveTo>
                    <a:pt x="307" y="2917"/>
                  </a:moveTo>
                  <a:lnTo>
                    <a:pt x="381" y="2917"/>
                  </a:lnTo>
                  <a:lnTo>
                    <a:pt x="381" y="2970"/>
                  </a:lnTo>
                  <a:lnTo>
                    <a:pt x="307" y="2970"/>
                  </a:lnTo>
                  <a:lnTo>
                    <a:pt x="307" y="2917"/>
                  </a:lnTo>
                  <a:close/>
                  <a:moveTo>
                    <a:pt x="307" y="2991"/>
                  </a:moveTo>
                  <a:lnTo>
                    <a:pt x="381" y="2991"/>
                  </a:lnTo>
                  <a:lnTo>
                    <a:pt x="381" y="3044"/>
                  </a:lnTo>
                  <a:lnTo>
                    <a:pt x="307" y="3044"/>
                  </a:lnTo>
                  <a:lnTo>
                    <a:pt x="307" y="2991"/>
                  </a:lnTo>
                  <a:close/>
                  <a:moveTo>
                    <a:pt x="307" y="3076"/>
                  </a:moveTo>
                  <a:lnTo>
                    <a:pt x="381" y="3076"/>
                  </a:lnTo>
                  <a:lnTo>
                    <a:pt x="381" y="3128"/>
                  </a:lnTo>
                  <a:lnTo>
                    <a:pt x="307" y="3128"/>
                  </a:lnTo>
                  <a:lnTo>
                    <a:pt x="307" y="3076"/>
                  </a:lnTo>
                  <a:close/>
                  <a:moveTo>
                    <a:pt x="307" y="3160"/>
                  </a:moveTo>
                  <a:lnTo>
                    <a:pt x="381" y="3160"/>
                  </a:lnTo>
                  <a:lnTo>
                    <a:pt x="381" y="3202"/>
                  </a:lnTo>
                  <a:lnTo>
                    <a:pt x="307" y="3202"/>
                  </a:lnTo>
                  <a:lnTo>
                    <a:pt x="307" y="3160"/>
                  </a:lnTo>
                  <a:close/>
                  <a:moveTo>
                    <a:pt x="211" y="370"/>
                  </a:moveTo>
                  <a:lnTo>
                    <a:pt x="285" y="370"/>
                  </a:lnTo>
                  <a:lnTo>
                    <a:pt x="285" y="412"/>
                  </a:lnTo>
                  <a:lnTo>
                    <a:pt x="211" y="412"/>
                  </a:lnTo>
                  <a:lnTo>
                    <a:pt x="211" y="370"/>
                  </a:lnTo>
                  <a:close/>
                  <a:moveTo>
                    <a:pt x="211" y="444"/>
                  </a:moveTo>
                  <a:lnTo>
                    <a:pt x="285" y="444"/>
                  </a:lnTo>
                  <a:lnTo>
                    <a:pt x="285" y="497"/>
                  </a:lnTo>
                  <a:lnTo>
                    <a:pt x="211" y="497"/>
                  </a:lnTo>
                  <a:lnTo>
                    <a:pt x="211" y="444"/>
                  </a:lnTo>
                  <a:close/>
                  <a:moveTo>
                    <a:pt x="211" y="529"/>
                  </a:moveTo>
                  <a:lnTo>
                    <a:pt x="285" y="529"/>
                  </a:lnTo>
                  <a:lnTo>
                    <a:pt x="285" y="571"/>
                  </a:lnTo>
                  <a:lnTo>
                    <a:pt x="211" y="571"/>
                  </a:lnTo>
                  <a:lnTo>
                    <a:pt x="211" y="529"/>
                  </a:lnTo>
                  <a:close/>
                  <a:moveTo>
                    <a:pt x="211" y="602"/>
                  </a:moveTo>
                  <a:lnTo>
                    <a:pt x="285" y="602"/>
                  </a:lnTo>
                  <a:lnTo>
                    <a:pt x="285" y="655"/>
                  </a:lnTo>
                  <a:lnTo>
                    <a:pt x="211" y="655"/>
                  </a:lnTo>
                  <a:lnTo>
                    <a:pt x="211" y="602"/>
                  </a:lnTo>
                  <a:close/>
                  <a:moveTo>
                    <a:pt x="211" y="687"/>
                  </a:moveTo>
                  <a:lnTo>
                    <a:pt x="285" y="687"/>
                  </a:lnTo>
                  <a:lnTo>
                    <a:pt x="285" y="740"/>
                  </a:lnTo>
                  <a:lnTo>
                    <a:pt x="211" y="740"/>
                  </a:lnTo>
                  <a:lnTo>
                    <a:pt x="211" y="687"/>
                  </a:lnTo>
                  <a:close/>
                  <a:moveTo>
                    <a:pt x="211" y="761"/>
                  </a:moveTo>
                  <a:lnTo>
                    <a:pt x="285" y="761"/>
                  </a:lnTo>
                  <a:lnTo>
                    <a:pt x="285" y="814"/>
                  </a:lnTo>
                  <a:lnTo>
                    <a:pt x="211" y="814"/>
                  </a:lnTo>
                  <a:lnTo>
                    <a:pt x="211" y="761"/>
                  </a:lnTo>
                  <a:close/>
                  <a:moveTo>
                    <a:pt x="211" y="930"/>
                  </a:moveTo>
                  <a:lnTo>
                    <a:pt x="285" y="930"/>
                  </a:lnTo>
                  <a:lnTo>
                    <a:pt x="285" y="972"/>
                  </a:lnTo>
                  <a:lnTo>
                    <a:pt x="211" y="972"/>
                  </a:lnTo>
                  <a:lnTo>
                    <a:pt x="211" y="930"/>
                  </a:lnTo>
                  <a:close/>
                  <a:moveTo>
                    <a:pt x="211" y="1004"/>
                  </a:moveTo>
                  <a:lnTo>
                    <a:pt x="285" y="1004"/>
                  </a:lnTo>
                  <a:lnTo>
                    <a:pt x="285" y="1057"/>
                  </a:lnTo>
                  <a:lnTo>
                    <a:pt x="211" y="1057"/>
                  </a:lnTo>
                  <a:lnTo>
                    <a:pt x="211" y="1004"/>
                  </a:lnTo>
                  <a:close/>
                  <a:moveTo>
                    <a:pt x="211" y="1089"/>
                  </a:moveTo>
                  <a:lnTo>
                    <a:pt x="285" y="1089"/>
                  </a:lnTo>
                  <a:lnTo>
                    <a:pt x="285" y="1131"/>
                  </a:lnTo>
                  <a:lnTo>
                    <a:pt x="211" y="1131"/>
                  </a:lnTo>
                  <a:lnTo>
                    <a:pt x="211" y="1089"/>
                  </a:lnTo>
                  <a:close/>
                  <a:moveTo>
                    <a:pt x="211" y="1163"/>
                  </a:moveTo>
                  <a:lnTo>
                    <a:pt x="285" y="1163"/>
                  </a:lnTo>
                  <a:lnTo>
                    <a:pt x="285" y="1215"/>
                  </a:lnTo>
                  <a:lnTo>
                    <a:pt x="211" y="1215"/>
                  </a:lnTo>
                  <a:lnTo>
                    <a:pt x="211" y="1163"/>
                  </a:lnTo>
                  <a:close/>
                  <a:moveTo>
                    <a:pt x="211" y="1247"/>
                  </a:moveTo>
                  <a:lnTo>
                    <a:pt x="285" y="1247"/>
                  </a:lnTo>
                  <a:lnTo>
                    <a:pt x="285" y="1289"/>
                  </a:lnTo>
                  <a:lnTo>
                    <a:pt x="211" y="1289"/>
                  </a:lnTo>
                  <a:lnTo>
                    <a:pt x="211" y="1247"/>
                  </a:lnTo>
                  <a:close/>
                  <a:moveTo>
                    <a:pt x="211" y="1321"/>
                  </a:moveTo>
                  <a:lnTo>
                    <a:pt x="285" y="1321"/>
                  </a:lnTo>
                  <a:lnTo>
                    <a:pt x="285" y="1374"/>
                  </a:lnTo>
                  <a:lnTo>
                    <a:pt x="211" y="1374"/>
                  </a:lnTo>
                  <a:lnTo>
                    <a:pt x="211" y="1321"/>
                  </a:lnTo>
                  <a:close/>
                  <a:moveTo>
                    <a:pt x="211" y="1406"/>
                  </a:moveTo>
                  <a:lnTo>
                    <a:pt x="285" y="1406"/>
                  </a:lnTo>
                  <a:lnTo>
                    <a:pt x="285" y="1448"/>
                  </a:lnTo>
                  <a:lnTo>
                    <a:pt x="211" y="1448"/>
                  </a:lnTo>
                  <a:lnTo>
                    <a:pt x="211" y="1406"/>
                  </a:lnTo>
                  <a:close/>
                  <a:moveTo>
                    <a:pt x="211" y="1480"/>
                  </a:moveTo>
                  <a:lnTo>
                    <a:pt x="285" y="1480"/>
                  </a:lnTo>
                  <a:lnTo>
                    <a:pt x="285" y="1533"/>
                  </a:lnTo>
                  <a:lnTo>
                    <a:pt x="211" y="1533"/>
                  </a:lnTo>
                  <a:lnTo>
                    <a:pt x="211" y="1480"/>
                  </a:lnTo>
                  <a:close/>
                  <a:moveTo>
                    <a:pt x="211" y="1564"/>
                  </a:moveTo>
                  <a:lnTo>
                    <a:pt x="285" y="1564"/>
                  </a:lnTo>
                  <a:lnTo>
                    <a:pt x="285" y="1607"/>
                  </a:lnTo>
                  <a:lnTo>
                    <a:pt x="211" y="1607"/>
                  </a:lnTo>
                  <a:lnTo>
                    <a:pt x="211" y="1564"/>
                  </a:lnTo>
                  <a:close/>
                  <a:moveTo>
                    <a:pt x="211" y="1638"/>
                  </a:moveTo>
                  <a:lnTo>
                    <a:pt x="285" y="1638"/>
                  </a:lnTo>
                  <a:lnTo>
                    <a:pt x="285" y="1691"/>
                  </a:lnTo>
                  <a:lnTo>
                    <a:pt x="211" y="1691"/>
                  </a:lnTo>
                  <a:lnTo>
                    <a:pt x="211" y="1638"/>
                  </a:lnTo>
                  <a:close/>
                  <a:moveTo>
                    <a:pt x="211" y="1723"/>
                  </a:moveTo>
                  <a:lnTo>
                    <a:pt x="285" y="1723"/>
                  </a:lnTo>
                  <a:lnTo>
                    <a:pt x="285" y="1776"/>
                  </a:lnTo>
                  <a:lnTo>
                    <a:pt x="211" y="1776"/>
                  </a:lnTo>
                  <a:lnTo>
                    <a:pt x="211" y="1723"/>
                  </a:lnTo>
                  <a:close/>
                  <a:moveTo>
                    <a:pt x="211" y="1797"/>
                  </a:moveTo>
                  <a:lnTo>
                    <a:pt x="285" y="1797"/>
                  </a:lnTo>
                  <a:lnTo>
                    <a:pt x="285" y="1850"/>
                  </a:lnTo>
                  <a:lnTo>
                    <a:pt x="211" y="1850"/>
                  </a:lnTo>
                  <a:lnTo>
                    <a:pt x="211" y="1797"/>
                  </a:lnTo>
                  <a:close/>
                  <a:moveTo>
                    <a:pt x="211" y="1881"/>
                  </a:moveTo>
                  <a:lnTo>
                    <a:pt x="285" y="1881"/>
                  </a:lnTo>
                  <a:lnTo>
                    <a:pt x="285" y="1934"/>
                  </a:lnTo>
                  <a:lnTo>
                    <a:pt x="211" y="1934"/>
                  </a:lnTo>
                  <a:lnTo>
                    <a:pt x="211" y="1881"/>
                  </a:lnTo>
                  <a:close/>
                  <a:moveTo>
                    <a:pt x="211" y="1966"/>
                  </a:moveTo>
                  <a:lnTo>
                    <a:pt x="285" y="1966"/>
                  </a:lnTo>
                  <a:lnTo>
                    <a:pt x="285" y="2008"/>
                  </a:lnTo>
                  <a:lnTo>
                    <a:pt x="211" y="2008"/>
                  </a:lnTo>
                  <a:lnTo>
                    <a:pt x="211" y="1966"/>
                  </a:lnTo>
                  <a:close/>
                  <a:moveTo>
                    <a:pt x="211" y="2040"/>
                  </a:moveTo>
                  <a:lnTo>
                    <a:pt x="285" y="2040"/>
                  </a:lnTo>
                  <a:lnTo>
                    <a:pt x="285" y="2093"/>
                  </a:lnTo>
                  <a:lnTo>
                    <a:pt x="211" y="2093"/>
                  </a:lnTo>
                  <a:lnTo>
                    <a:pt x="211" y="2040"/>
                  </a:lnTo>
                  <a:close/>
                  <a:moveTo>
                    <a:pt x="211" y="2198"/>
                  </a:moveTo>
                  <a:lnTo>
                    <a:pt x="285" y="2198"/>
                  </a:lnTo>
                  <a:lnTo>
                    <a:pt x="285" y="2251"/>
                  </a:lnTo>
                  <a:lnTo>
                    <a:pt x="211" y="2251"/>
                  </a:lnTo>
                  <a:lnTo>
                    <a:pt x="211" y="2198"/>
                  </a:lnTo>
                  <a:close/>
                  <a:moveTo>
                    <a:pt x="211" y="2283"/>
                  </a:moveTo>
                  <a:lnTo>
                    <a:pt x="285" y="2283"/>
                  </a:lnTo>
                  <a:lnTo>
                    <a:pt x="285" y="2325"/>
                  </a:lnTo>
                  <a:lnTo>
                    <a:pt x="211" y="2325"/>
                  </a:lnTo>
                  <a:lnTo>
                    <a:pt x="211" y="2283"/>
                  </a:lnTo>
                  <a:close/>
                  <a:moveTo>
                    <a:pt x="211" y="2357"/>
                  </a:moveTo>
                  <a:lnTo>
                    <a:pt x="285" y="2357"/>
                  </a:lnTo>
                  <a:lnTo>
                    <a:pt x="285" y="2410"/>
                  </a:lnTo>
                  <a:lnTo>
                    <a:pt x="211" y="2410"/>
                  </a:lnTo>
                  <a:lnTo>
                    <a:pt x="211" y="2357"/>
                  </a:lnTo>
                  <a:close/>
                  <a:moveTo>
                    <a:pt x="211" y="2515"/>
                  </a:moveTo>
                  <a:lnTo>
                    <a:pt x="285" y="2515"/>
                  </a:lnTo>
                  <a:lnTo>
                    <a:pt x="285" y="2568"/>
                  </a:lnTo>
                  <a:lnTo>
                    <a:pt x="211" y="2568"/>
                  </a:lnTo>
                  <a:lnTo>
                    <a:pt x="211" y="2515"/>
                  </a:lnTo>
                  <a:close/>
                  <a:moveTo>
                    <a:pt x="211" y="2600"/>
                  </a:moveTo>
                  <a:lnTo>
                    <a:pt x="285" y="2600"/>
                  </a:lnTo>
                  <a:lnTo>
                    <a:pt x="285" y="2642"/>
                  </a:lnTo>
                  <a:lnTo>
                    <a:pt x="211" y="2642"/>
                  </a:lnTo>
                  <a:lnTo>
                    <a:pt x="211" y="2600"/>
                  </a:lnTo>
                  <a:close/>
                  <a:moveTo>
                    <a:pt x="211" y="2674"/>
                  </a:moveTo>
                  <a:lnTo>
                    <a:pt x="285" y="2674"/>
                  </a:lnTo>
                  <a:lnTo>
                    <a:pt x="285" y="2727"/>
                  </a:lnTo>
                  <a:lnTo>
                    <a:pt x="211" y="2727"/>
                  </a:lnTo>
                  <a:lnTo>
                    <a:pt x="211" y="2674"/>
                  </a:lnTo>
                  <a:close/>
                  <a:moveTo>
                    <a:pt x="211" y="2759"/>
                  </a:moveTo>
                  <a:lnTo>
                    <a:pt x="285" y="2759"/>
                  </a:lnTo>
                  <a:lnTo>
                    <a:pt x="285" y="2801"/>
                  </a:lnTo>
                  <a:lnTo>
                    <a:pt x="211" y="2801"/>
                  </a:lnTo>
                  <a:lnTo>
                    <a:pt x="211" y="2759"/>
                  </a:lnTo>
                  <a:close/>
                  <a:moveTo>
                    <a:pt x="211" y="2833"/>
                  </a:moveTo>
                  <a:lnTo>
                    <a:pt x="285" y="2833"/>
                  </a:lnTo>
                  <a:lnTo>
                    <a:pt x="285" y="2885"/>
                  </a:lnTo>
                  <a:lnTo>
                    <a:pt x="211" y="2885"/>
                  </a:lnTo>
                  <a:lnTo>
                    <a:pt x="211" y="2833"/>
                  </a:lnTo>
                  <a:close/>
                  <a:moveTo>
                    <a:pt x="211" y="2991"/>
                  </a:moveTo>
                  <a:lnTo>
                    <a:pt x="285" y="2991"/>
                  </a:lnTo>
                  <a:lnTo>
                    <a:pt x="285" y="3044"/>
                  </a:lnTo>
                  <a:lnTo>
                    <a:pt x="211" y="3044"/>
                  </a:lnTo>
                  <a:lnTo>
                    <a:pt x="211" y="2991"/>
                  </a:lnTo>
                  <a:close/>
                  <a:moveTo>
                    <a:pt x="211" y="3076"/>
                  </a:moveTo>
                  <a:lnTo>
                    <a:pt x="285" y="3076"/>
                  </a:lnTo>
                  <a:lnTo>
                    <a:pt x="285" y="3128"/>
                  </a:lnTo>
                  <a:lnTo>
                    <a:pt x="211" y="3128"/>
                  </a:lnTo>
                  <a:lnTo>
                    <a:pt x="211" y="3076"/>
                  </a:lnTo>
                  <a:close/>
                  <a:moveTo>
                    <a:pt x="211" y="3160"/>
                  </a:moveTo>
                  <a:lnTo>
                    <a:pt x="285" y="3160"/>
                  </a:lnTo>
                  <a:lnTo>
                    <a:pt x="285" y="3202"/>
                  </a:lnTo>
                  <a:lnTo>
                    <a:pt x="211" y="3202"/>
                  </a:lnTo>
                  <a:lnTo>
                    <a:pt x="211" y="3160"/>
                  </a:lnTo>
                  <a:close/>
                  <a:moveTo>
                    <a:pt x="190" y="3403"/>
                  </a:moveTo>
                  <a:lnTo>
                    <a:pt x="254" y="3403"/>
                  </a:lnTo>
                  <a:lnTo>
                    <a:pt x="254" y="3667"/>
                  </a:lnTo>
                  <a:lnTo>
                    <a:pt x="190" y="3667"/>
                  </a:lnTo>
                  <a:lnTo>
                    <a:pt x="190" y="3403"/>
                  </a:lnTo>
                  <a:close/>
                  <a:moveTo>
                    <a:pt x="190" y="3731"/>
                  </a:moveTo>
                  <a:lnTo>
                    <a:pt x="254" y="3731"/>
                  </a:lnTo>
                  <a:lnTo>
                    <a:pt x="254" y="3995"/>
                  </a:lnTo>
                  <a:lnTo>
                    <a:pt x="190" y="3995"/>
                  </a:lnTo>
                  <a:lnTo>
                    <a:pt x="190" y="3731"/>
                  </a:lnTo>
                  <a:close/>
                  <a:moveTo>
                    <a:pt x="190" y="4037"/>
                  </a:moveTo>
                  <a:lnTo>
                    <a:pt x="254" y="4037"/>
                  </a:lnTo>
                  <a:lnTo>
                    <a:pt x="254" y="4302"/>
                  </a:lnTo>
                  <a:lnTo>
                    <a:pt x="190" y="4302"/>
                  </a:lnTo>
                  <a:lnTo>
                    <a:pt x="190" y="4037"/>
                  </a:lnTo>
                  <a:close/>
                  <a:moveTo>
                    <a:pt x="116" y="444"/>
                  </a:moveTo>
                  <a:lnTo>
                    <a:pt x="190" y="444"/>
                  </a:lnTo>
                  <a:lnTo>
                    <a:pt x="190" y="497"/>
                  </a:lnTo>
                  <a:lnTo>
                    <a:pt x="116" y="497"/>
                  </a:lnTo>
                  <a:lnTo>
                    <a:pt x="116" y="444"/>
                  </a:lnTo>
                  <a:close/>
                  <a:moveTo>
                    <a:pt x="116" y="529"/>
                  </a:moveTo>
                  <a:lnTo>
                    <a:pt x="190" y="529"/>
                  </a:lnTo>
                  <a:lnTo>
                    <a:pt x="190" y="571"/>
                  </a:lnTo>
                  <a:lnTo>
                    <a:pt x="116" y="571"/>
                  </a:lnTo>
                  <a:lnTo>
                    <a:pt x="116" y="529"/>
                  </a:lnTo>
                  <a:close/>
                  <a:moveTo>
                    <a:pt x="116" y="602"/>
                  </a:moveTo>
                  <a:lnTo>
                    <a:pt x="190" y="602"/>
                  </a:lnTo>
                  <a:lnTo>
                    <a:pt x="190" y="655"/>
                  </a:lnTo>
                  <a:lnTo>
                    <a:pt x="116" y="655"/>
                  </a:lnTo>
                  <a:lnTo>
                    <a:pt x="116" y="602"/>
                  </a:lnTo>
                  <a:close/>
                  <a:moveTo>
                    <a:pt x="116" y="687"/>
                  </a:moveTo>
                  <a:lnTo>
                    <a:pt x="190" y="687"/>
                  </a:lnTo>
                  <a:lnTo>
                    <a:pt x="190" y="740"/>
                  </a:lnTo>
                  <a:lnTo>
                    <a:pt x="116" y="740"/>
                  </a:lnTo>
                  <a:lnTo>
                    <a:pt x="116" y="687"/>
                  </a:lnTo>
                  <a:close/>
                  <a:moveTo>
                    <a:pt x="116" y="761"/>
                  </a:moveTo>
                  <a:lnTo>
                    <a:pt x="190" y="761"/>
                  </a:lnTo>
                  <a:lnTo>
                    <a:pt x="190" y="814"/>
                  </a:lnTo>
                  <a:lnTo>
                    <a:pt x="116" y="814"/>
                  </a:lnTo>
                  <a:lnTo>
                    <a:pt x="116" y="761"/>
                  </a:lnTo>
                  <a:close/>
                  <a:moveTo>
                    <a:pt x="116" y="846"/>
                  </a:moveTo>
                  <a:lnTo>
                    <a:pt x="190" y="846"/>
                  </a:lnTo>
                  <a:lnTo>
                    <a:pt x="190" y="898"/>
                  </a:lnTo>
                  <a:lnTo>
                    <a:pt x="116" y="898"/>
                  </a:lnTo>
                  <a:lnTo>
                    <a:pt x="116" y="846"/>
                  </a:lnTo>
                  <a:close/>
                  <a:moveTo>
                    <a:pt x="116" y="930"/>
                  </a:moveTo>
                  <a:lnTo>
                    <a:pt x="190" y="930"/>
                  </a:lnTo>
                  <a:lnTo>
                    <a:pt x="190" y="972"/>
                  </a:lnTo>
                  <a:lnTo>
                    <a:pt x="116" y="972"/>
                  </a:lnTo>
                  <a:lnTo>
                    <a:pt x="116" y="930"/>
                  </a:lnTo>
                  <a:close/>
                  <a:moveTo>
                    <a:pt x="116" y="1089"/>
                  </a:moveTo>
                  <a:lnTo>
                    <a:pt x="190" y="1089"/>
                  </a:lnTo>
                  <a:lnTo>
                    <a:pt x="190" y="1131"/>
                  </a:lnTo>
                  <a:lnTo>
                    <a:pt x="116" y="1131"/>
                  </a:lnTo>
                  <a:lnTo>
                    <a:pt x="116" y="1089"/>
                  </a:lnTo>
                  <a:close/>
                  <a:moveTo>
                    <a:pt x="116" y="1163"/>
                  </a:moveTo>
                  <a:lnTo>
                    <a:pt x="190" y="1163"/>
                  </a:lnTo>
                  <a:lnTo>
                    <a:pt x="190" y="1215"/>
                  </a:lnTo>
                  <a:lnTo>
                    <a:pt x="116" y="1215"/>
                  </a:lnTo>
                  <a:lnTo>
                    <a:pt x="116" y="1163"/>
                  </a:lnTo>
                  <a:close/>
                  <a:moveTo>
                    <a:pt x="116" y="1247"/>
                  </a:moveTo>
                  <a:lnTo>
                    <a:pt x="190" y="1247"/>
                  </a:lnTo>
                  <a:lnTo>
                    <a:pt x="190" y="1289"/>
                  </a:lnTo>
                  <a:lnTo>
                    <a:pt x="116" y="1289"/>
                  </a:lnTo>
                  <a:lnTo>
                    <a:pt x="116" y="1247"/>
                  </a:lnTo>
                  <a:close/>
                  <a:moveTo>
                    <a:pt x="116" y="1321"/>
                  </a:moveTo>
                  <a:lnTo>
                    <a:pt x="190" y="1321"/>
                  </a:lnTo>
                  <a:lnTo>
                    <a:pt x="190" y="1374"/>
                  </a:lnTo>
                  <a:lnTo>
                    <a:pt x="116" y="1374"/>
                  </a:lnTo>
                  <a:lnTo>
                    <a:pt x="116" y="1321"/>
                  </a:lnTo>
                  <a:close/>
                  <a:moveTo>
                    <a:pt x="116" y="1406"/>
                  </a:moveTo>
                  <a:lnTo>
                    <a:pt x="190" y="1406"/>
                  </a:lnTo>
                  <a:lnTo>
                    <a:pt x="190" y="1448"/>
                  </a:lnTo>
                  <a:lnTo>
                    <a:pt x="116" y="1448"/>
                  </a:lnTo>
                  <a:lnTo>
                    <a:pt x="116" y="1406"/>
                  </a:lnTo>
                  <a:close/>
                  <a:moveTo>
                    <a:pt x="116" y="1480"/>
                  </a:moveTo>
                  <a:lnTo>
                    <a:pt x="190" y="1480"/>
                  </a:lnTo>
                  <a:lnTo>
                    <a:pt x="190" y="1533"/>
                  </a:lnTo>
                  <a:lnTo>
                    <a:pt x="116" y="1533"/>
                  </a:lnTo>
                  <a:lnTo>
                    <a:pt x="116" y="1480"/>
                  </a:lnTo>
                  <a:close/>
                  <a:moveTo>
                    <a:pt x="116" y="1564"/>
                  </a:moveTo>
                  <a:lnTo>
                    <a:pt x="190" y="1564"/>
                  </a:lnTo>
                  <a:lnTo>
                    <a:pt x="190" y="1607"/>
                  </a:lnTo>
                  <a:lnTo>
                    <a:pt x="116" y="1607"/>
                  </a:lnTo>
                  <a:lnTo>
                    <a:pt x="116" y="1564"/>
                  </a:lnTo>
                  <a:close/>
                  <a:moveTo>
                    <a:pt x="116" y="1723"/>
                  </a:moveTo>
                  <a:lnTo>
                    <a:pt x="190" y="1723"/>
                  </a:lnTo>
                  <a:lnTo>
                    <a:pt x="190" y="1776"/>
                  </a:lnTo>
                  <a:lnTo>
                    <a:pt x="116" y="1776"/>
                  </a:lnTo>
                  <a:lnTo>
                    <a:pt x="116" y="1723"/>
                  </a:lnTo>
                  <a:close/>
                  <a:moveTo>
                    <a:pt x="116" y="1797"/>
                  </a:moveTo>
                  <a:lnTo>
                    <a:pt x="190" y="1797"/>
                  </a:lnTo>
                  <a:lnTo>
                    <a:pt x="190" y="1850"/>
                  </a:lnTo>
                  <a:lnTo>
                    <a:pt x="116" y="1850"/>
                  </a:lnTo>
                  <a:lnTo>
                    <a:pt x="116" y="1797"/>
                  </a:lnTo>
                  <a:close/>
                  <a:moveTo>
                    <a:pt x="116" y="1881"/>
                  </a:moveTo>
                  <a:lnTo>
                    <a:pt x="190" y="1881"/>
                  </a:lnTo>
                  <a:lnTo>
                    <a:pt x="190" y="1934"/>
                  </a:lnTo>
                  <a:lnTo>
                    <a:pt x="116" y="1934"/>
                  </a:lnTo>
                  <a:lnTo>
                    <a:pt x="116" y="1881"/>
                  </a:lnTo>
                  <a:close/>
                  <a:moveTo>
                    <a:pt x="116" y="1966"/>
                  </a:moveTo>
                  <a:lnTo>
                    <a:pt x="190" y="1966"/>
                  </a:lnTo>
                  <a:lnTo>
                    <a:pt x="190" y="2008"/>
                  </a:lnTo>
                  <a:lnTo>
                    <a:pt x="116" y="2008"/>
                  </a:lnTo>
                  <a:lnTo>
                    <a:pt x="116" y="1966"/>
                  </a:lnTo>
                  <a:close/>
                  <a:moveTo>
                    <a:pt x="116" y="2040"/>
                  </a:moveTo>
                  <a:lnTo>
                    <a:pt x="190" y="2040"/>
                  </a:lnTo>
                  <a:lnTo>
                    <a:pt x="190" y="2093"/>
                  </a:lnTo>
                  <a:lnTo>
                    <a:pt x="116" y="2093"/>
                  </a:lnTo>
                  <a:lnTo>
                    <a:pt x="116" y="2040"/>
                  </a:lnTo>
                  <a:close/>
                  <a:moveTo>
                    <a:pt x="116" y="2124"/>
                  </a:moveTo>
                  <a:lnTo>
                    <a:pt x="190" y="2124"/>
                  </a:lnTo>
                  <a:lnTo>
                    <a:pt x="190" y="2167"/>
                  </a:lnTo>
                  <a:lnTo>
                    <a:pt x="116" y="2167"/>
                  </a:lnTo>
                  <a:lnTo>
                    <a:pt x="116" y="2124"/>
                  </a:lnTo>
                  <a:close/>
                  <a:moveTo>
                    <a:pt x="116" y="2198"/>
                  </a:moveTo>
                  <a:lnTo>
                    <a:pt x="190" y="2198"/>
                  </a:lnTo>
                  <a:lnTo>
                    <a:pt x="190" y="2251"/>
                  </a:lnTo>
                  <a:lnTo>
                    <a:pt x="116" y="2251"/>
                  </a:lnTo>
                  <a:lnTo>
                    <a:pt x="116" y="2198"/>
                  </a:lnTo>
                  <a:close/>
                  <a:moveTo>
                    <a:pt x="116" y="2283"/>
                  </a:moveTo>
                  <a:lnTo>
                    <a:pt x="190" y="2283"/>
                  </a:lnTo>
                  <a:lnTo>
                    <a:pt x="190" y="2325"/>
                  </a:lnTo>
                  <a:lnTo>
                    <a:pt x="116" y="2325"/>
                  </a:lnTo>
                  <a:lnTo>
                    <a:pt x="116" y="2283"/>
                  </a:lnTo>
                  <a:close/>
                  <a:moveTo>
                    <a:pt x="116" y="2357"/>
                  </a:moveTo>
                  <a:lnTo>
                    <a:pt x="190" y="2357"/>
                  </a:lnTo>
                  <a:lnTo>
                    <a:pt x="190" y="2410"/>
                  </a:lnTo>
                  <a:lnTo>
                    <a:pt x="116" y="2410"/>
                  </a:lnTo>
                  <a:lnTo>
                    <a:pt x="116" y="2357"/>
                  </a:lnTo>
                  <a:close/>
                  <a:moveTo>
                    <a:pt x="116" y="2441"/>
                  </a:moveTo>
                  <a:lnTo>
                    <a:pt x="190" y="2441"/>
                  </a:lnTo>
                  <a:lnTo>
                    <a:pt x="190" y="2484"/>
                  </a:lnTo>
                  <a:lnTo>
                    <a:pt x="116" y="2484"/>
                  </a:lnTo>
                  <a:lnTo>
                    <a:pt x="116" y="2441"/>
                  </a:lnTo>
                  <a:close/>
                  <a:moveTo>
                    <a:pt x="116" y="2515"/>
                  </a:moveTo>
                  <a:lnTo>
                    <a:pt x="190" y="2515"/>
                  </a:lnTo>
                  <a:lnTo>
                    <a:pt x="190" y="2568"/>
                  </a:lnTo>
                  <a:lnTo>
                    <a:pt x="116" y="2568"/>
                  </a:lnTo>
                  <a:lnTo>
                    <a:pt x="116" y="2515"/>
                  </a:lnTo>
                  <a:close/>
                  <a:moveTo>
                    <a:pt x="116" y="2600"/>
                  </a:moveTo>
                  <a:lnTo>
                    <a:pt x="190" y="2600"/>
                  </a:lnTo>
                  <a:lnTo>
                    <a:pt x="190" y="2642"/>
                  </a:lnTo>
                  <a:lnTo>
                    <a:pt x="116" y="2642"/>
                  </a:lnTo>
                  <a:lnTo>
                    <a:pt x="116" y="2600"/>
                  </a:lnTo>
                  <a:close/>
                  <a:moveTo>
                    <a:pt x="116" y="2674"/>
                  </a:moveTo>
                  <a:lnTo>
                    <a:pt x="190" y="2674"/>
                  </a:lnTo>
                  <a:lnTo>
                    <a:pt x="190" y="2727"/>
                  </a:lnTo>
                  <a:lnTo>
                    <a:pt x="116" y="2727"/>
                  </a:lnTo>
                  <a:lnTo>
                    <a:pt x="116" y="2674"/>
                  </a:lnTo>
                  <a:close/>
                  <a:moveTo>
                    <a:pt x="116" y="2759"/>
                  </a:moveTo>
                  <a:lnTo>
                    <a:pt x="190" y="2759"/>
                  </a:lnTo>
                  <a:lnTo>
                    <a:pt x="190" y="2801"/>
                  </a:lnTo>
                  <a:lnTo>
                    <a:pt x="116" y="2801"/>
                  </a:lnTo>
                  <a:lnTo>
                    <a:pt x="116" y="2759"/>
                  </a:lnTo>
                  <a:close/>
                  <a:moveTo>
                    <a:pt x="116" y="2833"/>
                  </a:moveTo>
                  <a:lnTo>
                    <a:pt x="190" y="2833"/>
                  </a:lnTo>
                  <a:lnTo>
                    <a:pt x="190" y="2885"/>
                  </a:lnTo>
                  <a:lnTo>
                    <a:pt x="116" y="2885"/>
                  </a:lnTo>
                  <a:lnTo>
                    <a:pt x="116" y="2833"/>
                  </a:lnTo>
                  <a:close/>
                  <a:moveTo>
                    <a:pt x="116" y="2917"/>
                  </a:moveTo>
                  <a:lnTo>
                    <a:pt x="190" y="2917"/>
                  </a:lnTo>
                  <a:lnTo>
                    <a:pt x="190" y="2970"/>
                  </a:lnTo>
                  <a:lnTo>
                    <a:pt x="116" y="2970"/>
                  </a:lnTo>
                  <a:lnTo>
                    <a:pt x="116" y="2917"/>
                  </a:lnTo>
                  <a:close/>
                  <a:moveTo>
                    <a:pt x="116" y="3076"/>
                  </a:moveTo>
                  <a:lnTo>
                    <a:pt x="190" y="3076"/>
                  </a:lnTo>
                  <a:lnTo>
                    <a:pt x="190" y="3128"/>
                  </a:lnTo>
                  <a:lnTo>
                    <a:pt x="116" y="3128"/>
                  </a:lnTo>
                  <a:lnTo>
                    <a:pt x="116" y="3076"/>
                  </a:lnTo>
                  <a:close/>
                  <a:moveTo>
                    <a:pt x="116" y="3160"/>
                  </a:moveTo>
                  <a:lnTo>
                    <a:pt x="190" y="3160"/>
                  </a:lnTo>
                  <a:lnTo>
                    <a:pt x="190" y="3202"/>
                  </a:lnTo>
                  <a:lnTo>
                    <a:pt x="116" y="3202"/>
                  </a:lnTo>
                  <a:lnTo>
                    <a:pt x="116" y="3160"/>
                  </a:ln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0" name="Freeform 11"/>
            <p:cNvSpPr>
              <a:spLocks noEditPoints="1"/>
            </p:cNvSpPr>
            <p:nvPr/>
          </p:nvSpPr>
          <p:spPr bwMode="auto">
            <a:xfrm>
              <a:off x="5974041" y="3060069"/>
              <a:ext cx="651539" cy="1400796"/>
            </a:xfrm>
            <a:custGeom>
              <a:avLst/>
              <a:gdLst>
                <a:gd name="T0" fmla="*/ 761 w 761"/>
                <a:gd name="T1" fmla="*/ 2199 h 2199"/>
                <a:gd name="T2" fmla="*/ 0 w 761"/>
                <a:gd name="T3" fmla="*/ 0 h 2199"/>
                <a:gd name="T4" fmla="*/ 624 w 761"/>
                <a:gd name="T5" fmla="*/ 243 h 2199"/>
                <a:gd name="T6" fmla="*/ 698 w 761"/>
                <a:gd name="T7" fmla="*/ 539 h 2199"/>
                <a:gd name="T8" fmla="*/ 624 w 761"/>
                <a:gd name="T9" fmla="*/ 243 h 2199"/>
                <a:gd name="T10" fmla="*/ 698 w 761"/>
                <a:gd name="T11" fmla="*/ 952 h 2199"/>
                <a:gd name="T12" fmla="*/ 624 w 761"/>
                <a:gd name="T13" fmla="*/ 1247 h 2199"/>
                <a:gd name="T14" fmla="*/ 624 w 761"/>
                <a:gd name="T15" fmla="*/ 1311 h 2199"/>
                <a:gd name="T16" fmla="*/ 698 w 761"/>
                <a:gd name="T17" fmla="*/ 1607 h 2199"/>
                <a:gd name="T18" fmla="*/ 624 w 761"/>
                <a:gd name="T19" fmla="*/ 1311 h 2199"/>
                <a:gd name="T20" fmla="*/ 698 w 761"/>
                <a:gd name="T21" fmla="*/ 1670 h 2199"/>
                <a:gd name="T22" fmla="*/ 624 w 761"/>
                <a:gd name="T23" fmla="*/ 1966 h 2199"/>
                <a:gd name="T24" fmla="*/ 476 w 761"/>
                <a:gd name="T25" fmla="*/ 243 h 2199"/>
                <a:gd name="T26" fmla="*/ 560 w 761"/>
                <a:gd name="T27" fmla="*/ 539 h 2199"/>
                <a:gd name="T28" fmla="*/ 476 w 761"/>
                <a:gd name="T29" fmla="*/ 243 h 2199"/>
                <a:gd name="T30" fmla="*/ 560 w 761"/>
                <a:gd name="T31" fmla="*/ 603 h 2199"/>
                <a:gd name="T32" fmla="*/ 476 w 761"/>
                <a:gd name="T33" fmla="*/ 899 h 2199"/>
                <a:gd name="T34" fmla="*/ 476 w 761"/>
                <a:gd name="T35" fmla="*/ 952 h 2199"/>
                <a:gd name="T36" fmla="*/ 560 w 761"/>
                <a:gd name="T37" fmla="*/ 1247 h 2199"/>
                <a:gd name="T38" fmla="*/ 476 w 761"/>
                <a:gd name="T39" fmla="*/ 952 h 2199"/>
                <a:gd name="T40" fmla="*/ 560 w 761"/>
                <a:gd name="T41" fmla="*/ 1311 h 2199"/>
                <a:gd name="T42" fmla="*/ 476 w 761"/>
                <a:gd name="T43" fmla="*/ 1607 h 2199"/>
                <a:gd name="T44" fmla="*/ 338 w 761"/>
                <a:gd name="T45" fmla="*/ 243 h 2199"/>
                <a:gd name="T46" fmla="*/ 423 w 761"/>
                <a:gd name="T47" fmla="*/ 539 h 2199"/>
                <a:gd name="T48" fmla="*/ 338 w 761"/>
                <a:gd name="T49" fmla="*/ 243 h 2199"/>
                <a:gd name="T50" fmla="*/ 423 w 761"/>
                <a:gd name="T51" fmla="*/ 952 h 2199"/>
                <a:gd name="T52" fmla="*/ 338 w 761"/>
                <a:gd name="T53" fmla="*/ 1247 h 2199"/>
                <a:gd name="T54" fmla="*/ 338 w 761"/>
                <a:gd name="T55" fmla="*/ 1311 h 2199"/>
                <a:gd name="T56" fmla="*/ 423 w 761"/>
                <a:gd name="T57" fmla="*/ 1607 h 2199"/>
                <a:gd name="T58" fmla="*/ 338 w 761"/>
                <a:gd name="T59" fmla="*/ 1311 h 2199"/>
                <a:gd name="T60" fmla="*/ 423 w 761"/>
                <a:gd name="T61" fmla="*/ 1670 h 2199"/>
                <a:gd name="T62" fmla="*/ 338 w 761"/>
                <a:gd name="T63" fmla="*/ 1966 h 2199"/>
                <a:gd name="T64" fmla="*/ 201 w 761"/>
                <a:gd name="T65" fmla="*/ 243 h 2199"/>
                <a:gd name="T66" fmla="*/ 275 w 761"/>
                <a:gd name="T67" fmla="*/ 539 h 2199"/>
                <a:gd name="T68" fmla="*/ 201 w 761"/>
                <a:gd name="T69" fmla="*/ 243 h 2199"/>
                <a:gd name="T70" fmla="*/ 275 w 761"/>
                <a:gd name="T71" fmla="*/ 603 h 2199"/>
                <a:gd name="T72" fmla="*/ 201 w 761"/>
                <a:gd name="T73" fmla="*/ 899 h 2199"/>
                <a:gd name="T74" fmla="*/ 201 w 761"/>
                <a:gd name="T75" fmla="*/ 952 h 2199"/>
                <a:gd name="T76" fmla="*/ 275 w 761"/>
                <a:gd name="T77" fmla="*/ 1247 h 2199"/>
                <a:gd name="T78" fmla="*/ 201 w 761"/>
                <a:gd name="T79" fmla="*/ 952 h 2199"/>
                <a:gd name="T80" fmla="*/ 275 w 761"/>
                <a:gd name="T81" fmla="*/ 1670 h 2199"/>
                <a:gd name="T82" fmla="*/ 201 w 761"/>
                <a:gd name="T83" fmla="*/ 1966 h 2199"/>
                <a:gd name="T84" fmla="*/ 63 w 761"/>
                <a:gd name="T85" fmla="*/ 603 h 2199"/>
                <a:gd name="T86" fmla="*/ 137 w 761"/>
                <a:gd name="T87" fmla="*/ 899 h 2199"/>
                <a:gd name="T88" fmla="*/ 63 w 761"/>
                <a:gd name="T89" fmla="*/ 603 h 2199"/>
                <a:gd name="T90" fmla="*/ 137 w 761"/>
                <a:gd name="T91" fmla="*/ 952 h 2199"/>
                <a:gd name="T92" fmla="*/ 63 w 761"/>
                <a:gd name="T93" fmla="*/ 1247 h 2199"/>
                <a:gd name="T94" fmla="*/ 63 w 761"/>
                <a:gd name="T95" fmla="*/ 1311 h 2199"/>
                <a:gd name="T96" fmla="*/ 137 w 761"/>
                <a:gd name="T97" fmla="*/ 1607 h 2199"/>
                <a:gd name="T98" fmla="*/ 63 w 761"/>
                <a:gd name="T99" fmla="*/ 1311 h 2199"/>
                <a:gd name="T100" fmla="*/ 137 w 761"/>
                <a:gd name="T101" fmla="*/ 1670 h 2199"/>
                <a:gd name="T102" fmla="*/ 63 w 761"/>
                <a:gd name="T103" fmla="*/ 1966 h 2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1" h="2199">
                  <a:moveTo>
                    <a:pt x="0" y="2199"/>
                  </a:moveTo>
                  <a:lnTo>
                    <a:pt x="761" y="2199"/>
                  </a:lnTo>
                  <a:lnTo>
                    <a:pt x="761" y="0"/>
                  </a:lnTo>
                  <a:lnTo>
                    <a:pt x="0" y="0"/>
                  </a:lnTo>
                  <a:lnTo>
                    <a:pt x="0" y="2199"/>
                  </a:lnTo>
                  <a:close/>
                  <a:moveTo>
                    <a:pt x="624" y="243"/>
                  </a:moveTo>
                  <a:lnTo>
                    <a:pt x="698" y="243"/>
                  </a:lnTo>
                  <a:lnTo>
                    <a:pt x="698" y="539"/>
                  </a:lnTo>
                  <a:lnTo>
                    <a:pt x="624" y="539"/>
                  </a:lnTo>
                  <a:lnTo>
                    <a:pt x="624" y="243"/>
                  </a:lnTo>
                  <a:close/>
                  <a:moveTo>
                    <a:pt x="624" y="952"/>
                  </a:moveTo>
                  <a:lnTo>
                    <a:pt x="698" y="952"/>
                  </a:lnTo>
                  <a:lnTo>
                    <a:pt x="698" y="1247"/>
                  </a:lnTo>
                  <a:lnTo>
                    <a:pt x="624" y="1247"/>
                  </a:lnTo>
                  <a:lnTo>
                    <a:pt x="624" y="952"/>
                  </a:lnTo>
                  <a:close/>
                  <a:moveTo>
                    <a:pt x="624" y="1311"/>
                  </a:moveTo>
                  <a:lnTo>
                    <a:pt x="698" y="1311"/>
                  </a:lnTo>
                  <a:lnTo>
                    <a:pt x="698" y="1607"/>
                  </a:lnTo>
                  <a:lnTo>
                    <a:pt x="624" y="1607"/>
                  </a:lnTo>
                  <a:lnTo>
                    <a:pt x="624" y="1311"/>
                  </a:lnTo>
                  <a:close/>
                  <a:moveTo>
                    <a:pt x="624" y="1670"/>
                  </a:moveTo>
                  <a:lnTo>
                    <a:pt x="698" y="1670"/>
                  </a:lnTo>
                  <a:lnTo>
                    <a:pt x="698" y="1966"/>
                  </a:lnTo>
                  <a:lnTo>
                    <a:pt x="624" y="1966"/>
                  </a:lnTo>
                  <a:lnTo>
                    <a:pt x="624" y="1670"/>
                  </a:lnTo>
                  <a:close/>
                  <a:moveTo>
                    <a:pt x="476" y="243"/>
                  </a:moveTo>
                  <a:lnTo>
                    <a:pt x="560" y="243"/>
                  </a:lnTo>
                  <a:lnTo>
                    <a:pt x="560" y="539"/>
                  </a:lnTo>
                  <a:lnTo>
                    <a:pt x="476" y="539"/>
                  </a:lnTo>
                  <a:lnTo>
                    <a:pt x="476" y="243"/>
                  </a:lnTo>
                  <a:close/>
                  <a:moveTo>
                    <a:pt x="476" y="603"/>
                  </a:moveTo>
                  <a:lnTo>
                    <a:pt x="560" y="603"/>
                  </a:lnTo>
                  <a:lnTo>
                    <a:pt x="560" y="899"/>
                  </a:lnTo>
                  <a:lnTo>
                    <a:pt x="476" y="899"/>
                  </a:lnTo>
                  <a:lnTo>
                    <a:pt x="476" y="603"/>
                  </a:lnTo>
                  <a:close/>
                  <a:moveTo>
                    <a:pt x="476" y="952"/>
                  </a:moveTo>
                  <a:lnTo>
                    <a:pt x="560" y="952"/>
                  </a:lnTo>
                  <a:lnTo>
                    <a:pt x="560" y="1247"/>
                  </a:lnTo>
                  <a:lnTo>
                    <a:pt x="476" y="1247"/>
                  </a:lnTo>
                  <a:lnTo>
                    <a:pt x="476" y="952"/>
                  </a:lnTo>
                  <a:close/>
                  <a:moveTo>
                    <a:pt x="476" y="1311"/>
                  </a:moveTo>
                  <a:lnTo>
                    <a:pt x="560" y="1311"/>
                  </a:lnTo>
                  <a:lnTo>
                    <a:pt x="560" y="1607"/>
                  </a:lnTo>
                  <a:lnTo>
                    <a:pt x="476" y="1607"/>
                  </a:lnTo>
                  <a:lnTo>
                    <a:pt x="476" y="1311"/>
                  </a:lnTo>
                  <a:close/>
                  <a:moveTo>
                    <a:pt x="338" y="243"/>
                  </a:moveTo>
                  <a:lnTo>
                    <a:pt x="423" y="243"/>
                  </a:lnTo>
                  <a:lnTo>
                    <a:pt x="423" y="539"/>
                  </a:lnTo>
                  <a:lnTo>
                    <a:pt x="338" y="539"/>
                  </a:lnTo>
                  <a:lnTo>
                    <a:pt x="338" y="243"/>
                  </a:lnTo>
                  <a:close/>
                  <a:moveTo>
                    <a:pt x="338" y="952"/>
                  </a:moveTo>
                  <a:lnTo>
                    <a:pt x="423" y="952"/>
                  </a:lnTo>
                  <a:lnTo>
                    <a:pt x="423" y="1247"/>
                  </a:lnTo>
                  <a:lnTo>
                    <a:pt x="338" y="1247"/>
                  </a:lnTo>
                  <a:lnTo>
                    <a:pt x="338" y="952"/>
                  </a:lnTo>
                  <a:close/>
                  <a:moveTo>
                    <a:pt x="338" y="1311"/>
                  </a:moveTo>
                  <a:lnTo>
                    <a:pt x="423" y="1311"/>
                  </a:lnTo>
                  <a:lnTo>
                    <a:pt x="423" y="1607"/>
                  </a:lnTo>
                  <a:lnTo>
                    <a:pt x="338" y="1607"/>
                  </a:lnTo>
                  <a:lnTo>
                    <a:pt x="338" y="1311"/>
                  </a:lnTo>
                  <a:close/>
                  <a:moveTo>
                    <a:pt x="338" y="1670"/>
                  </a:moveTo>
                  <a:lnTo>
                    <a:pt x="423" y="1670"/>
                  </a:lnTo>
                  <a:lnTo>
                    <a:pt x="423" y="1966"/>
                  </a:lnTo>
                  <a:lnTo>
                    <a:pt x="338" y="1966"/>
                  </a:lnTo>
                  <a:lnTo>
                    <a:pt x="338" y="1670"/>
                  </a:lnTo>
                  <a:close/>
                  <a:moveTo>
                    <a:pt x="201" y="243"/>
                  </a:moveTo>
                  <a:lnTo>
                    <a:pt x="275" y="243"/>
                  </a:lnTo>
                  <a:lnTo>
                    <a:pt x="275" y="539"/>
                  </a:lnTo>
                  <a:lnTo>
                    <a:pt x="201" y="539"/>
                  </a:lnTo>
                  <a:lnTo>
                    <a:pt x="201" y="243"/>
                  </a:lnTo>
                  <a:close/>
                  <a:moveTo>
                    <a:pt x="201" y="603"/>
                  </a:moveTo>
                  <a:lnTo>
                    <a:pt x="275" y="603"/>
                  </a:lnTo>
                  <a:lnTo>
                    <a:pt x="275" y="899"/>
                  </a:lnTo>
                  <a:lnTo>
                    <a:pt x="201" y="899"/>
                  </a:lnTo>
                  <a:lnTo>
                    <a:pt x="201" y="603"/>
                  </a:lnTo>
                  <a:close/>
                  <a:moveTo>
                    <a:pt x="201" y="952"/>
                  </a:moveTo>
                  <a:lnTo>
                    <a:pt x="275" y="952"/>
                  </a:lnTo>
                  <a:lnTo>
                    <a:pt x="275" y="1247"/>
                  </a:lnTo>
                  <a:lnTo>
                    <a:pt x="201" y="1247"/>
                  </a:lnTo>
                  <a:lnTo>
                    <a:pt x="201" y="952"/>
                  </a:lnTo>
                  <a:close/>
                  <a:moveTo>
                    <a:pt x="201" y="1670"/>
                  </a:moveTo>
                  <a:lnTo>
                    <a:pt x="275" y="1670"/>
                  </a:lnTo>
                  <a:lnTo>
                    <a:pt x="275" y="1966"/>
                  </a:lnTo>
                  <a:lnTo>
                    <a:pt x="201" y="1966"/>
                  </a:lnTo>
                  <a:lnTo>
                    <a:pt x="201" y="1670"/>
                  </a:lnTo>
                  <a:close/>
                  <a:moveTo>
                    <a:pt x="63" y="603"/>
                  </a:moveTo>
                  <a:lnTo>
                    <a:pt x="137" y="603"/>
                  </a:lnTo>
                  <a:lnTo>
                    <a:pt x="137" y="899"/>
                  </a:lnTo>
                  <a:lnTo>
                    <a:pt x="63" y="899"/>
                  </a:lnTo>
                  <a:lnTo>
                    <a:pt x="63" y="603"/>
                  </a:lnTo>
                  <a:close/>
                  <a:moveTo>
                    <a:pt x="63" y="952"/>
                  </a:moveTo>
                  <a:lnTo>
                    <a:pt x="137" y="952"/>
                  </a:lnTo>
                  <a:lnTo>
                    <a:pt x="137" y="1247"/>
                  </a:lnTo>
                  <a:lnTo>
                    <a:pt x="63" y="1247"/>
                  </a:lnTo>
                  <a:lnTo>
                    <a:pt x="63" y="952"/>
                  </a:lnTo>
                  <a:close/>
                  <a:moveTo>
                    <a:pt x="63" y="1311"/>
                  </a:moveTo>
                  <a:lnTo>
                    <a:pt x="137" y="1311"/>
                  </a:lnTo>
                  <a:lnTo>
                    <a:pt x="137" y="1607"/>
                  </a:lnTo>
                  <a:lnTo>
                    <a:pt x="63" y="1607"/>
                  </a:lnTo>
                  <a:lnTo>
                    <a:pt x="63" y="1311"/>
                  </a:lnTo>
                  <a:close/>
                  <a:moveTo>
                    <a:pt x="63" y="1670"/>
                  </a:moveTo>
                  <a:lnTo>
                    <a:pt x="137" y="1670"/>
                  </a:lnTo>
                  <a:lnTo>
                    <a:pt x="137" y="1966"/>
                  </a:lnTo>
                  <a:lnTo>
                    <a:pt x="63" y="1966"/>
                  </a:lnTo>
                  <a:lnTo>
                    <a:pt x="63" y="167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1" name="Freeform 12"/>
            <p:cNvSpPr>
              <a:spLocks noEditPoints="1"/>
            </p:cNvSpPr>
            <p:nvPr/>
          </p:nvSpPr>
          <p:spPr bwMode="auto">
            <a:xfrm>
              <a:off x="4028843" y="3342903"/>
              <a:ext cx="515409" cy="1117962"/>
            </a:xfrm>
            <a:custGeom>
              <a:avLst/>
              <a:gdLst>
                <a:gd name="T0" fmla="*/ 0 w 602"/>
                <a:gd name="T1" fmla="*/ 0 h 1755"/>
                <a:gd name="T2" fmla="*/ 549 w 602"/>
                <a:gd name="T3" fmla="*/ 307 h 1755"/>
                <a:gd name="T4" fmla="*/ 549 w 602"/>
                <a:gd name="T5" fmla="*/ 338 h 1755"/>
                <a:gd name="T6" fmla="*/ 507 w 602"/>
                <a:gd name="T7" fmla="*/ 486 h 1755"/>
                <a:gd name="T8" fmla="*/ 507 w 602"/>
                <a:gd name="T9" fmla="*/ 486 h 1755"/>
                <a:gd name="T10" fmla="*/ 507 w 602"/>
                <a:gd name="T11" fmla="*/ 761 h 1755"/>
                <a:gd name="T12" fmla="*/ 549 w 602"/>
                <a:gd name="T13" fmla="*/ 899 h 1755"/>
                <a:gd name="T14" fmla="*/ 549 w 602"/>
                <a:gd name="T15" fmla="*/ 930 h 1755"/>
                <a:gd name="T16" fmla="*/ 507 w 602"/>
                <a:gd name="T17" fmla="*/ 1068 h 1755"/>
                <a:gd name="T18" fmla="*/ 507 w 602"/>
                <a:gd name="T19" fmla="*/ 1068 h 1755"/>
                <a:gd name="T20" fmla="*/ 507 w 602"/>
                <a:gd name="T21" fmla="*/ 1490 h 1755"/>
                <a:gd name="T22" fmla="*/ 549 w 602"/>
                <a:gd name="T23" fmla="*/ 1628 h 1755"/>
                <a:gd name="T24" fmla="*/ 444 w 602"/>
                <a:gd name="T25" fmla="*/ 201 h 1755"/>
                <a:gd name="T26" fmla="*/ 380 w 602"/>
                <a:gd name="T27" fmla="*/ 486 h 1755"/>
                <a:gd name="T28" fmla="*/ 380 w 602"/>
                <a:gd name="T29" fmla="*/ 486 h 1755"/>
                <a:gd name="T30" fmla="*/ 380 w 602"/>
                <a:gd name="T31" fmla="*/ 761 h 1755"/>
                <a:gd name="T32" fmla="*/ 444 w 602"/>
                <a:gd name="T33" fmla="*/ 1057 h 1755"/>
                <a:gd name="T34" fmla="*/ 444 w 602"/>
                <a:gd name="T35" fmla="*/ 1205 h 1755"/>
                <a:gd name="T36" fmla="*/ 380 w 602"/>
                <a:gd name="T37" fmla="*/ 1353 h 1755"/>
                <a:gd name="T38" fmla="*/ 380 w 602"/>
                <a:gd name="T39" fmla="*/ 1353 h 1755"/>
                <a:gd name="T40" fmla="*/ 274 w 602"/>
                <a:gd name="T41" fmla="*/ 307 h 1755"/>
                <a:gd name="T42" fmla="*/ 338 w 602"/>
                <a:gd name="T43" fmla="*/ 465 h 1755"/>
                <a:gd name="T44" fmla="*/ 338 w 602"/>
                <a:gd name="T45" fmla="*/ 486 h 1755"/>
                <a:gd name="T46" fmla="*/ 274 w 602"/>
                <a:gd name="T47" fmla="*/ 634 h 1755"/>
                <a:gd name="T48" fmla="*/ 274 w 602"/>
                <a:gd name="T49" fmla="*/ 634 h 1755"/>
                <a:gd name="T50" fmla="*/ 274 w 602"/>
                <a:gd name="T51" fmla="*/ 899 h 1755"/>
                <a:gd name="T52" fmla="*/ 338 w 602"/>
                <a:gd name="T53" fmla="*/ 1057 h 1755"/>
                <a:gd name="T54" fmla="*/ 338 w 602"/>
                <a:gd name="T55" fmla="*/ 1068 h 1755"/>
                <a:gd name="T56" fmla="*/ 274 w 602"/>
                <a:gd name="T57" fmla="*/ 1205 h 1755"/>
                <a:gd name="T58" fmla="*/ 274 w 602"/>
                <a:gd name="T59" fmla="*/ 1205 h 1755"/>
                <a:gd name="T60" fmla="*/ 274 w 602"/>
                <a:gd name="T61" fmla="*/ 1490 h 1755"/>
                <a:gd name="T62" fmla="*/ 338 w 602"/>
                <a:gd name="T63" fmla="*/ 1628 h 1755"/>
                <a:gd name="T64" fmla="*/ 232 w 602"/>
                <a:gd name="T65" fmla="*/ 338 h 1755"/>
                <a:gd name="T66" fmla="*/ 169 w 602"/>
                <a:gd name="T67" fmla="*/ 634 h 1755"/>
                <a:gd name="T68" fmla="*/ 169 w 602"/>
                <a:gd name="T69" fmla="*/ 634 h 1755"/>
                <a:gd name="T70" fmla="*/ 169 w 602"/>
                <a:gd name="T71" fmla="*/ 1173 h 1755"/>
                <a:gd name="T72" fmla="*/ 232 w 602"/>
                <a:gd name="T73" fmla="*/ 1490 h 1755"/>
                <a:gd name="T74" fmla="*/ 116 w 602"/>
                <a:gd name="T75" fmla="*/ 201 h 1755"/>
                <a:gd name="T76" fmla="*/ 42 w 602"/>
                <a:gd name="T77" fmla="*/ 338 h 1755"/>
                <a:gd name="T78" fmla="*/ 42 w 602"/>
                <a:gd name="T79" fmla="*/ 338 h 1755"/>
                <a:gd name="T80" fmla="*/ 42 w 602"/>
                <a:gd name="T81" fmla="*/ 603 h 1755"/>
                <a:gd name="T82" fmla="*/ 116 w 602"/>
                <a:gd name="T83" fmla="*/ 761 h 1755"/>
                <a:gd name="T84" fmla="*/ 116 w 602"/>
                <a:gd name="T85" fmla="*/ 772 h 1755"/>
                <a:gd name="T86" fmla="*/ 42 w 602"/>
                <a:gd name="T87" fmla="*/ 930 h 1755"/>
                <a:gd name="T88" fmla="*/ 42 w 602"/>
                <a:gd name="T89" fmla="*/ 930 h 1755"/>
                <a:gd name="T90" fmla="*/ 42 w 602"/>
                <a:gd name="T91" fmla="*/ 1173 h 1755"/>
                <a:gd name="T92" fmla="*/ 116 w 602"/>
                <a:gd name="T93" fmla="*/ 1490 h 1755"/>
                <a:gd name="T94" fmla="*/ 116 w 602"/>
                <a:gd name="T95" fmla="*/ 150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02" h="1755">
                  <a:moveTo>
                    <a:pt x="0" y="1755"/>
                  </a:moveTo>
                  <a:lnTo>
                    <a:pt x="602" y="1755"/>
                  </a:lnTo>
                  <a:lnTo>
                    <a:pt x="602" y="0"/>
                  </a:lnTo>
                  <a:lnTo>
                    <a:pt x="0" y="0"/>
                  </a:lnTo>
                  <a:lnTo>
                    <a:pt x="0" y="1755"/>
                  </a:lnTo>
                  <a:close/>
                  <a:moveTo>
                    <a:pt x="507" y="201"/>
                  </a:moveTo>
                  <a:lnTo>
                    <a:pt x="549" y="201"/>
                  </a:lnTo>
                  <a:lnTo>
                    <a:pt x="549" y="307"/>
                  </a:lnTo>
                  <a:lnTo>
                    <a:pt x="507" y="307"/>
                  </a:lnTo>
                  <a:lnTo>
                    <a:pt x="507" y="201"/>
                  </a:lnTo>
                  <a:close/>
                  <a:moveTo>
                    <a:pt x="507" y="338"/>
                  </a:moveTo>
                  <a:lnTo>
                    <a:pt x="549" y="338"/>
                  </a:lnTo>
                  <a:lnTo>
                    <a:pt x="549" y="465"/>
                  </a:lnTo>
                  <a:lnTo>
                    <a:pt x="507" y="465"/>
                  </a:lnTo>
                  <a:lnTo>
                    <a:pt x="507" y="338"/>
                  </a:lnTo>
                  <a:close/>
                  <a:moveTo>
                    <a:pt x="507" y="486"/>
                  </a:moveTo>
                  <a:lnTo>
                    <a:pt x="549" y="486"/>
                  </a:lnTo>
                  <a:lnTo>
                    <a:pt x="549" y="603"/>
                  </a:lnTo>
                  <a:lnTo>
                    <a:pt x="507" y="603"/>
                  </a:lnTo>
                  <a:lnTo>
                    <a:pt x="507" y="486"/>
                  </a:lnTo>
                  <a:close/>
                  <a:moveTo>
                    <a:pt x="507" y="634"/>
                  </a:moveTo>
                  <a:lnTo>
                    <a:pt x="549" y="634"/>
                  </a:lnTo>
                  <a:lnTo>
                    <a:pt x="549" y="761"/>
                  </a:lnTo>
                  <a:lnTo>
                    <a:pt x="507" y="761"/>
                  </a:lnTo>
                  <a:lnTo>
                    <a:pt x="507" y="634"/>
                  </a:lnTo>
                  <a:close/>
                  <a:moveTo>
                    <a:pt x="507" y="772"/>
                  </a:moveTo>
                  <a:lnTo>
                    <a:pt x="549" y="772"/>
                  </a:lnTo>
                  <a:lnTo>
                    <a:pt x="549" y="899"/>
                  </a:lnTo>
                  <a:lnTo>
                    <a:pt x="507" y="899"/>
                  </a:lnTo>
                  <a:lnTo>
                    <a:pt x="507" y="772"/>
                  </a:lnTo>
                  <a:close/>
                  <a:moveTo>
                    <a:pt x="507" y="930"/>
                  </a:moveTo>
                  <a:lnTo>
                    <a:pt x="549" y="930"/>
                  </a:lnTo>
                  <a:lnTo>
                    <a:pt x="549" y="1057"/>
                  </a:lnTo>
                  <a:lnTo>
                    <a:pt x="507" y="1057"/>
                  </a:lnTo>
                  <a:lnTo>
                    <a:pt x="507" y="930"/>
                  </a:lnTo>
                  <a:close/>
                  <a:moveTo>
                    <a:pt x="507" y="1068"/>
                  </a:moveTo>
                  <a:lnTo>
                    <a:pt x="549" y="1068"/>
                  </a:lnTo>
                  <a:lnTo>
                    <a:pt x="549" y="1173"/>
                  </a:lnTo>
                  <a:lnTo>
                    <a:pt x="507" y="1173"/>
                  </a:lnTo>
                  <a:lnTo>
                    <a:pt x="507" y="1068"/>
                  </a:lnTo>
                  <a:close/>
                  <a:moveTo>
                    <a:pt x="507" y="1353"/>
                  </a:moveTo>
                  <a:lnTo>
                    <a:pt x="549" y="1353"/>
                  </a:lnTo>
                  <a:lnTo>
                    <a:pt x="549" y="1490"/>
                  </a:lnTo>
                  <a:lnTo>
                    <a:pt x="507" y="1490"/>
                  </a:lnTo>
                  <a:lnTo>
                    <a:pt x="507" y="1353"/>
                  </a:lnTo>
                  <a:close/>
                  <a:moveTo>
                    <a:pt x="507" y="1501"/>
                  </a:moveTo>
                  <a:lnTo>
                    <a:pt x="549" y="1501"/>
                  </a:lnTo>
                  <a:lnTo>
                    <a:pt x="549" y="1628"/>
                  </a:lnTo>
                  <a:lnTo>
                    <a:pt x="507" y="1628"/>
                  </a:lnTo>
                  <a:lnTo>
                    <a:pt x="507" y="1501"/>
                  </a:lnTo>
                  <a:close/>
                  <a:moveTo>
                    <a:pt x="380" y="201"/>
                  </a:moveTo>
                  <a:lnTo>
                    <a:pt x="444" y="201"/>
                  </a:lnTo>
                  <a:lnTo>
                    <a:pt x="444" y="307"/>
                  </a:lnTo>
                  <a:lnTo>
                    <a:pt x="380" y="307"/>
                  </a:lnTo>
                  <a:lnTo>
                    <a:pt x="380" y="201"/>
                  </a:lnTo>
                  <a:close/>
                  <a:moveTo>
                    <a:pt x="380" y="486"/>
                  </a:moveTo>
                  <a:lnTo>
                    <a:pt x="444" y="486"/>
                  </a:lnTo>
                  <a:lnTo>
                    <a:pt x="444" y="603"/>
                  </a:lnTo>
                  <a:lnTo>
                    <a:pt x="380" y="603"/>
                  </a:lnTo>
                  <a:lnTo>
                    <a:pt x="380" y="486"/>
                  </a:lnTo>
                  <a:close/>
                  <a:moveTo>
                    <a:pt x="380" y="634"/>
                  </a:moveTo>
                  <a:lnTo>
                    <a:pt x="444" y="634"/>
                  </a:lnTo>
                  <a:lnTo>
                    <a:pt x="444" y="761"/>
                  </a:lnTo>
                  <a:lnTo>
                    <a:pt x="380" y="761"/>
                  </a:lnTo>
                  <a:lnTo>
                    <a:pt x="380" y="634"/>
                  </a:lnTo>
                  <a:close/>
                  <a:moveTo>
                    <a:pt x="380" y="930"/>
                  </a:moveTo>
                  <a:lnTo>
                    <a:pt x="444" y="930"/>
                  </a:lnTo>
                  <a:lnTo>
                    <a:pt x="444" y="1057"/>
                  </a:lnTo>
                  <a:lnTo>
                    <a:pt x="380" y="1057"/>
                  </a:lnTo>
                  <a:lnTo>
                    <a:pt x="380" y="930"/>
                  </a:lnTo>
                  <a:close/>
                  <a:moveTo>
                    <a:pt x="380" y="1205"/>
                  </a:moveTo>
                  <a:lnTo>
                    <a:pt x="444" y="1205"/>
                  </a:lnTo>
                  <a:lnTo>
                    <a:pt x="444" y="1332"/>
                  </a:lnTo>
                  <a:lnTo>
                    <a:pt x="380" y="1332"/>
                  </a:lnTo>
                  <a:lnTo>
                    <a:pt x="380" y="1205"/>
                  </a:lnTo>
                  <a:close/>
                  <a:moveTo>
                    <a:pt x="380" y="1353"/>
                  </a:moveTo>
                  <a:lnTo>
                    <a:pt x="444" y="1353"/>
                  </a:lnTo>
                  <a:lnTo>
                    <a:pt x="444" y="1490"/>
                  </a:lnTo>
                  <a:lnTo>
                    <a:pt x="380" y="1490"/>
                  </a:lnTo>
                  <a:lnTo>
                    <a:pt x="380" y="1353"/>
                  </a:lnTo>
                  <a:close/>
                  <a:moveTo>
                    <a:pt x="274" y="201"/>
                  </a:moveTo>
                  <a:lnTo>
                    <a:pt x="338" y="201"/>
                  </a:lnTo>
                  <a:lnTo>
                    <a:pt x="338" y="307"/>
                  </a:lnTo>
                  <a:lnTo>
                    <a:pt x="274" y="307"/>
                  </a:lnTo>
                  <a:lnTo>
                    <a:pt x="274" y="201"/>
                  </a:lnTo>
                  <a:close/>
                  <a:moveTo>
                    <a:pt x="274" y="338"/>
                  </a:moveTo>
                  <a:lnTo>
                    <a:pt x="338" y="338"/>
                  </a:lnTo>
                  <a:lnTo>
                    <a:pt x="338" y="465"/>
                  </a:lnTo>
                  <a:lnTo>
                    <a:pt x="274" y="465"/>
                  </a:lnTo>
                  <a:lnTo>
                    <a:pt x="274" y="338"/>
                  </a:lnTo>
                  <a:close/>
                  <a:moveTo>
                    <a:pt x="274" y="486"/>
                  </a:moveTo>
                  <a:lnTo>
                    <a:pt x="338" y="486"/>
                  </a:lnTo>
                  <a:lnTo>
                    <a:pt x="338" y="603"/>
                  </a:lnTo>
                  <a:lnTo>
                    <a:pt x="274" y="603"/>
                  </a:lnTo>
                  <a:lnTo>
                    <a:pt x="274" y="486"/>
                  </a:lnTo>
                  <a:close/>
                  <a:moveTo>
                    <a:pt x="274" y="634"/>
                  </a:moveTo>
                  <a:lnTo>
                    <a:pt x="338" y="634"/>
                  </a:lnTo>
                  <a:lnTo>
                    <a:pt x="338" y="761"/>
                  </a:lnTo>
                  <a:lnTo>
                    <a:pt x="274" y="761"/>
                  </a:lnTo>
                  <a:lnTo>
                    <a:pt x="274" y="634"/>
                  </a:lnTo>
                  <a:close/>
                  <a:moveTo>
                    <a:pt x="274" y="772"/>
                  </a:moveTo>
                  <a:lnTo>
                    <a:pt x="338" y="772"/>
                  </a:lnTo>
                  <a:lnTo>
                    <a:pt x="338" y="899"/>
                  </a:lnTo>
                  <a:lnTo>
                    <a:pt x="274" y="899"/>
                  </a:lnTo>
                  <a:lnTo>
                    <a:pt x="274" y="772"/>
                  </a:lnTo>
                  <a:close/>
                  <a:moveTo>
                    <a:pt x="274" y="930"/>
                  </a:moveTo>
                  <a:lnTo>
                    <a:pt x="338" y="930"/>
                  </a:lnTo>
                  <a:lnTo>
                    <a:pt x="338" y="1057"/>
                  </a:lnTo>
                  <a:lnTo>
                    <a:pt x="274" y="1057"/>
                  </a:lnTo>
                  <a:lnTo>
                    <a:pt x="274" y="930"/>
                  </a:lnTo>
                  <a:close/>
                  <a:moveTo>
                    <a:pt x="274" y="1068"/>
                  </a:moveTo>
                  <a:lnTo>
                    <a:pt x="338" y="1068"/>
                  </a:lnTo>
                  <a:lnTo>
                    <a:pt x="338" y="1173"/>
                  </a:lnTo>
                  <a:lnTo>
                    <a:pt x="274" y="1173"/>
                  </a:lnTo>
                  <a:lnTo>
                    <a:pt x="274" y="1068"/>
                  </a:lnTo>
                  <a:close/>
                  <a:moveTo>
                    <a:pt x="274" y="1205"/>
                  </a:moveTo>
                  <a:lnTo>
                    <a:pt x="338" y="1205"/>
                  </a:lnTo>
                  <a:lnTo>
                    <a:pt x="338" y="1332"/>
                  </a:lnTo>
                  <a:lnTo>
                    <a:pt x="274" y="1332"/>
                  </a:lnTo>
                  <a:lnTo>
                    <a:pt x="274" y="1205"/>
                  </a:lnTo>
                  <a:close/>
                  <a:moveTo>
                    <a:pt x="274" y="1353"/>
                  </a:moveTo>
                  <a:lnTo>
                    <a:pt x="338" y="1353"/>
                  </a:lnTo>
                  <a:lnTo>
                    <a:pt x="338" y="1490"/>
                  </a:lnTo>
                  <a:lnTo>
                    <a:pt x="274" y="1490"/>
                  </a:lnTo>
                  <a:lnTo>
                    <a:pt x="274" y="1353"/>
                  </a:lnTo>
                  <a:close/>
                  <a:moveTo>
                    <a:pt x="274" y="1501"/>
                  </a:moveTo>
                  <a:lnTo>
                    <a:pt x="338" y="1501"/>
                  </a:lnTo>
                  <a:lnTo>
                    <a:pt x="338" y="1628"/>
                  </a:lnTo>
                  <a:lnTo>
                    <a:pt x="274" y="1628"/>
                  </a:lnTo>
                  <a:lnTo>
                    <a:pt x="274" y="1501"/>
                  </a:lnTo>
                  <a:close/>
                  <a:moveTo>
                    <a:pt x="169" y="338"/>
                  </a:moveTo>
                  <a:lnTo>
                    <a:pt x="232" y="338"/>
                  </a:lnTo>
                  <a:lnTo>
                    <a:pt x="232" y="465"/>
                  </a:lnTo>
                  <a:lnTo>
                    <a:pt x="169" y="465"/>
                  </a:lnTo>
                  <a:lnTo>
                    <a:pt x="169" y="338"/>
                  </a:lnTo>
                  <a:close/>
                  <a:moveTo>
                    <a:pt x="169" y="634"/>
                  </a:moveTo>
                  <a:lnTo>
                    <a:pt x="232" y="634"/>
                  </a:lnTo>
                  <a:lnTo>
                    <a:pt x="232" y="761"/>
                  </a:lnTo>
                  <a:lnTo>
                    <a:pt x="169" y="761"/>
                  </a:lnTo>
                  <a:lnTo>
                    <a:pt x="169" y="634"/>
                  </a:lnTo>
                  <a:close/>
                  <a:moveTo>
                    <a:pt x="169" y="1068"/>
                  </a:moveTo>
                  <a:lnTo>
                    <a:pt x="232" y="1068"/>
                  </a:lnTo>
                  <a:lnTo>
                    <a:pt x="232" y="1173"/>
                  </a:lnTo>
                  <a:lnTo>
                    <a:pt x="169" y="1173"/>
                  </a:lnTo>
                  <a:lnTo>
                    <a:pt x="169" y="1068"/>
                  </a:lnTo>
                  <a:close/>
                  <a:moveTo>
                    <a:pt x="169" y="1353"/>
                  </a:moveTo>
                  <a:lnTo>
                    <a:pt x="232" y="1353"/>
                  </a:lnTo>
                  <a:lnTo>
                    <a:pt x="232" y="1490"/>
                  </a:lnTo>
                  <a:lnTo>
                    <a:pt x="169" y="1490"/>
                  </a:lnTo>
                  <a:lnTo>
                    <a:pt x="169" y="1353"/>
                  </a:lnTo>
                  <a:close/>
                  <a:moveTo>
                    <a:pt x="42" y="201"/>
                  </a:moveTo>
                  <a:lnTo>
                    <a:pt x="116" y="201"/>
                  </a:lnTo>
                  <a:lnTo>
                    <a:pt x="116" y="307"/>
                  </a:lnTo>
                  <a:lnTo>
                    <a:pt x="42" y="307"/>
                  </a:lnTo>
                  <a:lnTo>
                    <a:pt x="42" y="201"/>
                  </a:lnTo>
                  <a:close/>
                  <a:moveTo>
                    <a:pt x="42" y="338"/>
                  </a:moveTo>
                  <a:lnTo>
                    <a:pt x="116" y="338"/>
                  </a:lnTo>
                  <a:lnTo>
                    <a:pt x="116" y="465"/>
                  </a:lnTo>
                  <a:lnTo>
                    <a:pt x="42" y="465"/>
                  </a:lnTo>
                  <a:lnTo>
                    <a:pt x="42" y="338"/>
                  </a:lnTo>
                  <a:close/>
                  <a:moveTo>
                    <a:pt x="42" y="486"/>
                  </a:moveTo>
                  <a:lnTo>
                    <a:pt x="116" y="486"/>
                  </a:lnTo>
                  <a:lnTo>
                    <a:pt x="116" y="603"/>
                  </a:lnTo>
                  <a:lnTo>
                    <a:pt x="42" y="603"/>
                  </a:lnTo>
                  <a:lnTo>
                    <a:pt x="42" y="486"/>
                  </a:lnTo>
                  <a:close/>
                  <a:moveTo>
                    <a:pt x="42" y="634"/>
                  </a:moveTo>
                  <a:lnTo>
                    <a:pt x="116" y="634"/>
                  </a:lnTo>
                  <a:lnTo>
                    <a:pt x="116" y="761"/>
                  </a:lnTo>
                  <a:lnTo>
                    <a:pt x="42" y="761"/>
                  </a:lnTo>
                  <a:lnTo>
                    <a:pt x="42" y="634"/>
                  </a:lnTo>
                  <a:close/>
                  <a:moveTo>
                    <a:pt x="42" y="772"/>
                  </a:moveTo>
                  <a:lnTo>
                    <a:pt x="116" y="772"/>
                  </a:lnTo>
                  <a:lnTo>
                    <a:pt x="116" y="899"/>
                  </a:lnTo>
                  <a:lnTo>
                    <a:pt x="42" y="899"/>
                  </a:lnTo>
                  <a:lnTo>
                    <a:pt x="42" y="772"/>
                  </a:lnTo>
                  <a:close/>
                  <a:moveTo>
                    <a:pt x="42" y="930"/>
                  </a:moveTo>
                  <a:lnTo>
                    <a:pt x="116" y="930"/>
                  </a:lnTo>
                  <a:lnTo>
                    <a:pt x="116" y="1057"/>
                  </a:lnTo>
                  <a:lnTo>
                    <a:pt x="42" y="1057"/>
                  </a:lnTo>
                  <a:lnTo>
                    <a:pt x="42" y="930"/>
                  </a:lnTo>
                  <a:close/>
                  <a:moveTo>
                    <a:pt x="42" y="1068"/>
                  </a:moveTo>
                  <a:lnTo>
                    <a:pt x="116" y="1068"/>
                  </a:lnTo>
                  <a:lnTo>
                    <a:pt x="116" y="1173"/>
                  </a:lnTo>
                  <a:lnTo>
                    <a:pt x="42" y="1173"/>
                  </a:lnTo>
                  <a:lnTo>
                    <a:pt x="42" y="1068"/>
                  </a:lnTo>
                  <a:close/>
                  <a:moveTo>
                    <a:pt x="42" y="1353"/>
                  </a:moveTo>
                  <a:lnTo>
                    <a:pt x="116" y="1353"/>
                  </a:lnTo>
                  <a:lnTo>
                    <a:pt x="116" y="1490"/>
                  </a:lnTo>
                  <a:lnTo>
                    <a:pt x="42" y="1490"/>
                  </a:lnTo>
                  <a:lnTo>
                    <a:pt x="42" y="1353"/>
                  </a:lnTo>
                  <a:close/>
                  <a:moveTo>
                    <a:pt x="42" y="1501"/>
                  </a:moveTo>
                  <a:lnTo>
                    <a:pt x="116" y="1501"/>
                  </a:lnTo>
                  <a:lnTo>
                    <a:pt x="116" y="1628"/>
                  </a:lnTo>
                  <a:lnTo>
                    <a:pt x="42" y="1628"/>
                  </a:lnTo>
                  <a:lnTo>
                    <a:pt x="42" y="1501"/>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2" name="Freeform 13"/>
            <p:cNvSpPr>
              <a:spLocks noEditPoints="1"/>
            </p:cNvSpPr>
            <p:nvPr/>
          </p:nvSpPr>
          <p:spPr bwMode="auto">
            <a:xfrm>
              <a:off x="7403830" y="2326227"/>
              <a:ext cx="461471" cy="2134638"/>
            </a:xfrm>
            <a:custGeom>
              <a:avLst/>
              <a:gdLst>
                <a:gd name="T0" fmla="*/ 539 w 539"/>
                <a:gd name="T1" fmla="*/ 3351 h 3351"/>
                <a:gd name="T2" fmla="*/ 0 w 539"/>
                <a:gd name="T3" fmla="*/ 0 h 3351"/>
                <a:gd name="T4" fmla="*/ 63 w 539"/>
                <a:gd name="T5" fmla="*/ 476 h 3351"/>
                <a:gd name="T6" fmla="*/ 486 w 539"/>
                <a:gd name="T7" fmla="*/ 539 h 3351"/>
                <a:gd name="T8" fmla="*/ 63 w 539"/>
                <a:gd name="T9" fmla="*/ 476 h 3351"/>
                <a:gd name="T10" fmla="*/ 486 w 539"/>
                <a:gd name="T11" fmla="*/ 603 h 3351"/>
                <a:gd name="T12" fmla="*/ 63 w 539"/>
                <a:gd name="T13" fmla="*/ 666 h 3351"/>
                <a:gd name="T14" fmla="*/ 63 w 539"/>
                <a:gd name="T15" fmla="*/ 730 h 3351"/>
                <a:gd name="T16" fmla="*/ 486 w 539"/>
                <a:gd name="T17" fmla="*/ 793 h 3351"/>
                <a:gd name="T18" fmla="*/ 63 w 539"/>
                <a:gd name="T19" fmla="*/ 730 h 3351"/>
                <a:gd name="T20" fmla="*/ 486 w 539"/>
                <a:gd name="T21" fmla="*/ 856 h 3351"/>
                <a:gd name="T22" fmla="*/ 63 w 539"/>
                <a:gd name="T23" fmla="*/ 920 h 3351"/>
                <a:gd name="T24" fmla="*/ 63 w 539"/>
                <a:gd name="T25" fmla="*/ 983 h 3351"/>
                <a:gd name="T26" fmla="*/ 486 w 539"/>
                <a:gd name="T27" fmla="*/ 1047 h 3351"/>
                <a:gd name="T28" fmla="*/ 63 w 539"/>
                <a:gd name="T29" fmla="*/ 983 h 3351"/>
                <a:gd name="T30" fmla="*/ 486 w 539"/>
                <a:gd name="T31" fmla="*/ 1110 h 3351"/>
                <a:gd name="T32" fmla="*/ 63 w 539"/>
                <a:gd name="T33" fmla="*/ 1174 h 3351"/>
                <a:gd name="T34" fmla="*/ 63 w 539"/>
                <a:gd name="T35" fmla="*/ 1226 h 3351"/>
                <a:gd name="T36" fmla="*/ 486 w 539"/>
                <a:gd name="T37" fmla="*/ 1290 h 3351"/>
                <a:gd name="T38" fmla="*/ 63 w 539"/>
                <a:gd name="T39" fmla="*/ 1226 h 3351"/>
                <a:gd name="T40" fmla="*/ 486 w 539"/>
                <a:gd name="T41" fmla="*/ 1353 h 3351"/>
                <a:gd name="T42" fmla="*/ 63 w 539"/>
                <a:gd name="T43" fmla="*/ 1417 h 3351"/>
                <a:gd name="T44" fmla="*/ 63 w 539"/>
                <a:gd name="T45" fmla="*/ 1607 h 3351"/>
                <a:gd name="T46" fmla="*/ 486 w 539"/>
                <a:gd name="T47" fmla="*/ 1670 h 3351"/>
                <a:gd name="T48" fmla="*/ 63 w 539"/>
                <a:gd name="T49" fmla="*/ 1607 h 3351"/>
                <a:gd name="T50" fmla="*/ 486 w 539"/>
                <a:gd name="T51" fmla="*/ 1734 h 3351"/>
                <a:gd name="T52" fmla="*/ 63 w 539"/>
                <a:gd name="T53" fmla="*/ 1797 h 3351"/>
                <a:gd name="T54" fmla="*/ 63 w 539"/>
                <a:gd name="T55" fmla="*/ 1860 h 3351"/>
                <a:gd name="T56" fmla="*/ 486 w 539"/>
                <a:gd name="T57" fmla="*/ 1924 h 3351"/>
                <a:gd name="T58" fmla="*/ 63 w 539"/>
                <a:gd name="T59" fmla="*/ 1860 h 3351"/>
                <a:gd name="T60" fmla="*/ 486 w 539"/>
                <a:gd name="T61" fmla="*/ 1987 h 3351"/>
                <a:gd name="T62" fmla="*/ 63 w 539"/>
                <a:gd name="T63" fmla="*/ 2051 h 3351"/>
                <a:gd name="T64" fmla="*/ 63 w 539"/>
                <a:gd name="T65" fmla="*/ 2114 h 3351"/>
                <a:gd name="T66" fmla="*/ 486 w 539"/>
                <a:gd name="T67" fmla="*/ 2178 h 3351"/>
                <a:gd name="T68" fmla="*/ 63 w 539"/>
                <a:gd name="T69" fmla="*/ 2114 h 3351"/>
                <a:gd name="T70" fmla="*/ 486 w 539"/>
                <a:gd name="T71" fmla="*/ 2241 h 3351"/>
                <a:gd name="T72" fmla="*/ 63 w 539"/>
                <a:gd name="T73" fmla="*/ 2304 h 3351"/>
                <a:gd name="T74" fmla="*/ 63 w 539"/>
                <a:gd name="T75" fmla="*/ 2357 h 3351"/>
                <a:gd name="T76" fmla="*/ 486 w 539"/>
                <a:gd name="T77" fmla="*/ 2421 h 3351"/>
                <a:gd name="T78" fmla="*/ 63 w 539"/>
                <a:gd name="T79" fmla="*/ 2357 h 3351"/>
                <a:gd name="T80" fmla="*/ 486 w 539"/>
                <a:gd name="T81" fmla="*/ 2484 h 3351"/>
                <a:gd name="T82" fmla="*/ 63 w 539"/>
                <a:gd name="T83" fmla="*/ 2547 h 3351"/>
                <a:gd name="T84" fmla="*/ 63 w 539"/>
                <a:gd name="T85" fmla="*/ 2738 h 3351"/>
                <a:gd name="T86" fmla="*/ 486 w 539"/>
                <a:gd name="T87" fmla="*/ 2801 h 3351"/>
                <a:gd name="T88" fmla="*/ 63 w 539"/>
                <a:gd name="T89" fmla="*/ 2738 h 3351"/>
                <a:gd name="T90" fmla="*/ 486 w 539"/>
                <a:gd name="T91" fmla="*/ 2865 h 3351"/>
                <a:gd name="T92" fmla="*/ 63 w 539"/>
                <a:gd name="T93" fmla="*/ 2928 h 3351"/>
                <a:gd name="T94" fmla="*/ 63 w 539"/>
                <a:gd name="T95" fmla="*/ 2991 h 3351"/>
                <a:gd name="T96" fmla="*/ 486 w 539"/>
                <a:gd name="T97" fmla="*/ 3055 h 3351"/>
                <a:gd name="T98" fmla="*/ 63 w 539"/>
                <a:gd name="T99" fmla="*/ 2991 h 3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9" h="3351">
                  <a:moveTo>
                    <a:pt x="0" y="3351"/>
                  </a:moveTo>
                  <a:lnTo>
                    <a:pt x="539" y="3351"/>
                  </a:lnTo>
                  <a:lnTo>
                    <a:pt x="539" y="286"/>
                  </a:lnTo>
                  <a:lnTo>
                    <a:pt x="0" y="0"/>
                  </a:lnTo>
                  <a:lnTo>
                    <a:pt x="0" y="3351"/>
                  </a:lnTo>
                  <a:close/>
                  <a:moveTo>
                    <a:pt x="63" y="476"/>
                  </a:moveTo>
                  <a:lnTo>
                    <a:pt x="486" y="476"/>
                  </a:lnTo>
                  <a:lnTo>
                    <a:pt x="486" y="539"/>
                  </a:lnTo>
                  <a:lnTo>
                    <a:pt x="63" y="539"/>
                  </a:lnTo>
                  <a:lnTo>
                    <a:pt x="63" y="476"/>
                  </a:lnTo>
                  <a:close/>
                  <a:moveTo>
                    <a:pt x="63" y="603"/>
                  </a:moveTo>
                  <a:lnTo>
                    <a:pt x="486" y="603"/>
                  </a:lnTo>
                  <a:lnTo>
                    <a:pt x="486" y="666"/>
                  </a:lnTo>
                  <a:lnTo>
                    <a:pt x="63" y="666"/>
                  </a:lnTo>
                  <a:lnTo>
                    <a:pt x="63" y="603"/>
                  </a:lnTo>
                  <a:close/>
                  <a:moveTo>
                    <a:pt x="63" y="730"/>
                  </a:moveTo>
                  <a:lnTo>
                    <a:pt x="486" y="730"/>
                  </a:lnTo>
                  <a:lnTo>
                    <a:pt x="486" y="793"/>
                  </a:lnTo>
                  <a:lnTo>
                    <a:pt x="63" y="793"/>
                  </a:lnTo>
                  <a:lnTo>
                    <a:pt x="63" y="730"/>
                  </a:lnTo>
                  <a:close/>
                  <a:moveTo>
                    <a:pt x="63" y="856"/>
                  </a:moveTo>
                  <a:lnTo>
                    <a:pt x="486" y="856"/>
                  </a:lnTo>
                  <a:lnTo>
                    <a:pt x="486" y="920"/>
                  </a:lnTo>
                  <a:lnTo>
                    <a:pt x="63" y="920"/>
                  </a:lnTo>
                  <a:lnTo>
                    <a:pt x="63" y="856"/>
                  </a:lnTo>
                  <a:close/>
                  <a:moveTo>
                    <a:pt x="63" y="983"/>
                  </a:moveTo>
                  <a:lnTo>
                    <a:pt x="486" y="983"/>
                  </a:lnTo>
                  <a:lnTo>
                    <a:pt x="486" y="1047"/>
                  </a:lnTo>
                  <a:lnTo>
                    <a:pt x="63" y="1047"/>
                  </a:lnTo>
                  <a:lnTo>
                    <a:pt x="63" y="983"/>
                  </a:lnTo>
                  <a:close/>
                  <a:moveTo>
                    <a:pt x="63" y="1110"/>
                  </a:moveTo>
                  <a:lnTo>
                    <a:pt x="486" y="1110"/>
                  </a:lnTo>
                  <a:lnTo>
                    <a:pt x="486" y="1174"/>
                  </a:lnTo>
                  <a:lnTo>
                    <a:pt x="63" y="1174"/>
                  </a:lnTo>
                  <a:lnTo>
                    <a:pt x="63" y="1110"/>
                  </a:lnTo>
                  <a:close/>
                  <a:moveTo>
                    <a:pt x="63" y="1226"/>
                  </a:moveTo>
                  <a:lnTo>
                    <a:pt x="486" y="1226"/>
                  </a:lnTo>
                  <a:lnTo>
                    <a:pt x="486" y="1290"/>
                  </a:lnTo>
                  <a:lnTo>
                    <a:pt x="63" y="1290"/>
                  </a:lnTo>
                  <a:lnTo>
                    <a:pt x="63" y="1226"/>
                  </a:lnTo>
                  <a:close/>
                  <a:moveTo>
                    <a:pt x="63" y="1353"/>
                  </a:moveTo>
                  <a:lnTo>
                    <a:pt x="486" y="1353"/>
                  </a:lnTo>
                  <a:lnTo>
                    <a:pt x="486" y="1417"/>
                  </a:lnTo>
                  <a:lnTo>
                    <a:pt x="63" y="1417"/>
                  </a:lnTo>
                  <a:lnTo>
                    <a:pt x="63" y="1353"/>
                  </a:lnTo>
                  <a:close/>
                  <a:moveTo>
                    <a:pt x="63" y="1607"/>
                  </a:moveTo>
                  <a:lnTo>
                    <a:pt x="486" y="1607"/>
                  </a:lnTo>
                  <a:lnTo>
                    <a:pt x="486" y="1670"/>
                  </a:lnTo>
                  <a:lnTo>
                    <a:pt x="63" y="1670"/>
                  </a:lnTo>
                  <a:lnTo>
                    <a:pt x="63" y="1607"/>
                  </a:lnTo>
                  <a:close/>
                  <a:moveTo>
                    <a:pt x="63" y="1734"/>
                  </a:moveTo>
                  <a:lnTo>
                    <a:pt x="486" y="1734"/>
                  </a:lnTo>
                  <a:lnTo>
                    <a:pt x="486" y="1797"/>
                  </a:lnTo>
                  <a:lnTo>
                    <a:pt x="63" y="1797"/>
                  </a:lnTo>
                  <a:lnTo>
                    <a:pt x="63" y="1734"/>
                  </a:lnTo>
                  <a:close/>
                  <a:moveTo>
                    <a:pt x="63" y="1860"/>
                  </a:moveTo>
                  <a:lnTo>
                    <a:pt x="486" y="1860"/>
                  </a:lnTo>
                  <a:lnTo>
                    <a:pt x="486" y="1924"/>
                  </a:lnTo>
                  <a:lnTo>
                    <a:pt x="63" y="1924"/>
                  </a:lnTo>
                  <a:lnTo>
                    <a:pt x="63" y="1860"/>
                  </a:lnTo>
                  <a:close/>
                  <a:moveTo>
                    <a:pt x="63" y="1987"/>
                  </a:moveTo>
                  <a:lnTo>
                    <a:pt x="486" y="1987"/>
                  </a:lnTo>
                  <a:lnTo>
                    <a:pt x="486" y="2051"/>
                  </a:lnTo>
                  <a:lnTo>
                    <a:pt x="63" y="2051"/>
                  </a:lnTo>
                  <a:lnTo>
                    <a:pt x="63" y="1987"/>
                  </a:lnTo>
                  <a:close/>
                  <a:moveTo>
                    <a:pt x="63" y="2114"/>
                  </a:moveTo>
                  <a:lnTo>
                    <a:pt x="486" y="2114"/>
                  </a:lnTo>
                  <a:lnTo>
                    <a:pt x="486" y="2178"/>
                  </a:lnTo>
                  <a:lnTo>
                    <a:pt x="63" y="2178"/>
                  </a:lnTo>
                  <a:lnTo>
                    <a:pt x="63" y="2114"/>
                  </a:lnTo>
                  <a:close/>
                  <a:moveTo>
                    <a:pt x="63" y="2241"/>
                  </a:moveTo>
                  <a:lnTo>
                    <a:pt x="486" y="2241"/>
                  </a:lnTo>
                  <a:lnTo>
                    <a:pt x="486" y="2304"/>
                  </a:lnTo>
                  <a:lnTo>
                    <a:pt x="63" y="2304"/>
                  </a:lnTo>
                  <a:lnTo>
                    <a:pt x="63" y="2241"/>
                  </a:lnTo>
                  <a:close/>
                  <a:moveTo>
                    <a:pt x="63" y="2357"/>
                  </a:moveTo>
                  <a:lnTo>
                    <a:pt x="486" y="2357"/>
                  </a:lnTo>
                  <a:lnTo>
                    <a:pt x="486" y="2421"/>
                  </a:lnTo>
                  <a:lnTo>
                    <a:pt x="63" y="2421"/>
                  </a:lnTo>
                  <a:lnTo>
                    <a:pt x="63" y="2357"/>
                  </a:lnTo>
                  <a:close/>
                  <a:moveTo>
                    <a:pt x="63" y="2484"/>
                  </a:moveTo>
                  <a:lnTo>
                    <a:pt x="486" y="2484"/>
                  </a:lnTo>
                  <a:lnTo>
                    <a:pt x="486" y="2547"/>
                  </a:lnTo>
                  <a:lnTo>
                    <a:pt x="63" y="2547"/>
                  </a:lnTo>
                  <a:lnTo>
                    <a:pt x="63" y="2484"/>
                  </a:lnTo>
                  <a:close/>
                  <a:moveTo>
                    <a:pt x="63" y="2738"/>
                  </a:moveTo>
                  <a:lnTo>
                    <a:pt x="486" y="2738"/>
                  </a:lnTo>
                  <a:lnTo>
                    <a:pt x="486" y="2801"/>
                  </a:lnTo>
                  <a:lnTo>
                    <a:pt x="63" y="2801"/>
                  </a:lnTo>
                  <a:lnTo>
                    <a:pt x="63" y="2738"/>
                  </a:lnTo>
                  <a:close/>
                  <a:moveTo>
                    <a:pt x="63" y="2865"/>
                  </a:moveTo>
                  <a:lnTo>
                    <a:pt x="486" y="2865"/>
                  </a:lnTo>
                  <a:lnTo>
                    <a:pt x="486" y="2928"/>
                  </a:lnTo>
                  <a:lnTo>
                    <a:pt x="63" y="2928"/>
                  </a:lnTo>
                  <a:lnTo>
                    <a:pt x="63" y="2865"/>
                  </a:lnTo>
                  <a:close/>
                  <a:moveTo>
                    <a:pt x="63" y="2991"/>
                  </a:moveTo>
                  <a:lnTo>
                    <a:pt x="486" y="2991"/>
                  </a:lnTo>
                  <a:lnTo>
                    <a:pt x="486" y="3055"/>
                  </a:lnTo>
                  <a:lnTo>
                    <a:pt x="63" y="3055"/>
                  </a:lnTo>
                  <a:lnTo>
                    <a:pt x="63" y="2991"/>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3" name="Freeform 14"/>
            <p:cNvSpPr>
              <a:spLocks noEditPoints="1"/>
            </p:cNvSpPr>
            <p:nvPr/>
          </p:nvSpPr>
          <p:spPr bwMode="auto">
            <a:xfrm>
              <a:off x="8598176" y="3754415"/>
              <a:ext cx="479450" cy="706450"/>
            </a:xfrm>
            <a:custGeom>
              <a:avLst/>
              <a:gdLst>
                <a:gd name="T0" fmla="*/ 0 w 560"/>
                <a:gd name="T1" fmla="*/ 1109 h 1109"/>
                <a:gd name="T2" fmla="*/ 560 w 560"/>
                <a:gd name="T3" fmla="*/ 0 h 1109"/>
                <a:gd name="T4" fmla="*/ 243 w 560"/>
                <a:gd name="T5" fmla="*/ 866 h 1109"/>
                <a:gd name="T6" fmla="*/ 63 w 560"/>
                <a:gd name="T7" fmla="*/ 813 h 1109"/>
                <a:gd name="T8" fmla="*/ 243 w 560"/>
                <a:gd name="T9" fmla="*/ 866 h 1109"/>
                <a:gd name="T10" fmla="*/ 63 w 560"/>
                <a:gd name="T11" fmla="*/ 739 h 1109"/>
                <a:gd name="T12" fmla="*/ 243 w 560"/>
                <a:gd name="T13" fmla="*/ 697 h 1109"/>
                <a:gd name="T14" fmla="*/ 243 w 560"/>
                <a:gd name="T15" fmla="*/ 613 h 1109"/>
                <a:gd name="T16" fmla="*/ 63 w 560"/>
                <a:gd name="T17" fmla="*/ 570 h 1109"/>
                <a:gd name="T18" fmla="*/ 243 w 560"/>
                <a:gd name="T19" fmla="*/ 613 h 1109"/>
                <a:gd name="T20" fmla="*/ 63 w 560"/>
                <a:gd name="T21" fmla="*/ 496 h 1109"/>
                <a:gd name="T22" fmla="*/ 243 w 560"/>
                <a:gd name="T23" fmla="*/ 443 h 1109"/>
                <a:gd name="T24" fmla="*/ 243 w 560"/>
                <a:gd name="T25" fmla="*/ 369 h 1109"/>
                <a:gd name="T26" fmla="*/ 63 w 560"/>
                <a:gd name="T27" fmla="*/ 317 h 1109"/>
                <a:gd name="T28" fmla="*/ 243 w 560"/>
                <a:gd name="T29" fmla="*/ 369 h 1109"/>
                <a:gd name="T30" fmla="*/ 63 w 560"/>
                <a:gd name="T31" fmla="*/ 243 h 1109"/>
                <a:gd name="T32" fmla="*/ 243 w 560"/>
                <a:gd name="T33" fmla="*/ 200 h 1109"/>
                <a:gd name="T34" fmla="*/ 243 w 560"/>
                <a:gd name="T35" fmla="*/ 116 h 1109"/>
                <a:gd name="T36" fmla="*/ 63 w 560"/>
                <a:gd name="T37" fmla="*/ 74 h 1109"/>
                <a:gd name="T38" fmla="*/ 243 w 560"/>
                <a:gd name="T39" fmla="*/ 116 h 1109"/>
                <a:gd name="T40" fmla="*/ 317 w 560"/>
                <a:gd name="T41" fmla="*/ 866 h 1109"/>
                <a:gd name="T42" fmla="*/ 497 w 560"/>
                <a:gd name="T43" fmla="*/ 813 h 1109"/>
                <a:gd name="T44" fmla="*/ 497 w 560"/>
                <a:gd name="T45" fmla="*/ 739 h 1109"/>
                <a:gd name="T46" fmla="*/ 317 w 560"/>
                <a:gd name="T47" fmla="*/ 697 h 1109"/>
                <a:gd name="T48" fmla="*/ 497 w 560"/>
                <a:gd name="T49" fmla="*/ 739 h 1109"/>
                <a:gd name="T50" fmla="*/ 317 w 560"/>
                <a:gd name="T51" fmla="*/ 613 h 1109"/>
                <a:gd name="T52" fmla="*/ 497 w 560"/>
                <a:gd name="T53" fmla="*/ 570 h 1109"/>
                <a:gd name="T54" fmla="*/ 497 w 560"/>
                <a:gd name="T55" fmla="*/ 496 h 1109"/>
                <a:gd name="T56" fmla="*/ 317 w 560"/>
                <a:gd name="T57" fmla="*/ 443 h 1109"/>
                <a:gd name="T58" fmla="*/ 497 w 560"/>
                <a:gd name="T59" fmla="*/ 496 h 1109"/>
                <a:gd name="T60" fmla="*/ 317 w 560"/>
                <a:gd name="T61" fmla="*/ 369 h 1109"/>
                <a:gd name="T62" fmla="*/ 497 w 560"/>
                <a:gd name="T63" fmla="*/ 317 h 1109"/>
                <a:gd name="T64" fmla="*/ 497 w 560"/>
                <a:gd name="T65" fmla="*/ 243 h 1109"/>
                <a:gd name="T66" fmla="*/ 317 w 560"/>
                <a:gd name="T67" fmla="*/ 200 h 1109"/>
                <a:gd name="T68" fmla="*/ 497 w 560"/>
                <a:gd name="T69" fmla="*/ 243 h 1109"/>
                <a:gd name="T70" fmla="*/ 317 w 560"/>
                <a:gd name="T71" fmla="*/ 116 h 1109"/>
                <a:gd name="T72" fmla="*/ 497 w 560"/>
                <a:gd name="T73" fmla="*/ 74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0" h="1109">
                  <a:moveTo>
                    <a:pt x="0" y="0"/>
                  </a:moveTo>
                  <a:lnTo>
                    <a:pt x="0" y="1109"/>
                  </a:lnTo>
                  <a:lnTo>
                    <a:pt x="560" y="1109"/>
                  </a:lnTo>
                  <a:lnTo>
                    <a:pt x="560" y="0"/>
                  </a:lnTo>
                  <a:lnTo>
                    <a:pt x="0" y="0"/>
                  </a:lnTo>
                  <a:close/>
                  <a:moveTo>
                    <a:pt x="243" y="866"/>
                  </a:moveTo>
                  <a:lnTo>
                    <a:pt x="63" y="866"/>
                  </a:lnTo>
                  <a:lnTo>
                    <a:pt x="63" y="813"/>
                  </a:lnTo>
                  <a:lnTo>
                    <a:pt x="243" y="813"/>
                  </a:lnTo>
                  <a:lnTo>
                    <a:pt x="243" y="866"/>
                  </a:lnTo>
                  <a:close/>
                  <a:moveTo>
                    <a:pt x="243" y="739"/>
                  </a:moveTo>
                  <a:lnTo>
                    <a:pt x="63" y="739"/>
                  </a:lnTo>
                  <a:lnTo>
                    <a:pt x="63" y="697"/>
                  </a:lnTo>
                  <a:lnTo>
                    <a:pt x="243" y="697"/>
                  </a:lnTo>
                  <a:lnTo>
                    <a:pt x="243" y="739"/>
                  </a:lnTo>
                  <a:close/>
                  <a:moveTo>
                    <a:pt x="243" y="613"/>
                  </a:moveTo>
                  <a:lnTo>
                    <a:pt x="63" y="613"/>
                  </a:lnTo>
                  <a:lnTo>
                    <a:pt x="63" y="570"/>
                  </a:lnTo>
                  <a:lnTo>
                    <a:pt x="243" y="570"/>
                  </a:lnTo>
                  <a:lnTo>
                    <a:pt x="243" y="613"/>
                  </a:lnTo>
                  <a:close/>
                  <a:moveTo>
                    <a:pt x="243" y="496"/>
                  </a:moveTo>
                  <a:lnTo>
                    <a:pt x="63" y="496"/>
                  </a:lnTo>
                  <a:lnTo>
                    <a:pt x="63" y="443"/>
                  </a:lnTo>
                  <a:lnTo>
                    <a:pt x="243" y="443"/>
                  </a:lnTo>
                  <a:lnTo>
                    <a:pt x="243" y="496"/>
                  </a:lnTo>
                  <a:close/>
                  <a:moveTo>
                    <a:pt x="243" y="369"/>
                  </a:moveTo>
                  <a:lnTo>
                    <a:pt x="63" y="369"/>
                  </a:lnTo>
                  <a:lnTo>
                    <a:pt x="63" y="317"/>
                  </a:lnTo>
                  <a:lnTo>
                    <a:pt x="243" y="317"/>
                  </a:lnTo>
                  <a:lnTo>
                    <a:pt x="243" y="369"/>
                  </a:lnTo>
                  <a:close/>
                  <a:moveTo>
                    <a:pt x="243" y="243"/>
                  </a:moveTo>
                  <a:lnTo>
                    <a:pt x="63" y="243"/>
                  </a:lnTo>
                  <a:lnTo>
                    <a:pt x="63" y="200"/>
                  </a:lnTo>
                  <a:lnTo>
                    <a:pt x="243" y="200"/>
                  </a:lnTo>
                  <a:lnTo>
                    <a:pt x="243" y="243"/>
                  </a:lnTo>
                  <a:close/>
                  <a:moveTo>
                    <a:pt x="243" y="116"/>
                  </a:moveTo>
                  <a:lnTo>
                    <a:pt x="63" y="116"/>
                  </a:lnTo>
                  <a:lnTo>
                    <a:pt x="63" y="74"/>
                  </a:lnTo>
                  <a:lnTo>
                    <a:pt x="243" y="74"/>
                  </a:lnTo>
                  <a:lnTo>
                    <a:pt x="243" y="116"/>
                  </a:lnTo>
                  <a:close/>
                  <a:moveTo>
                    <a:pt x="497" y="866"/>
                  </a:moveTo>
                  <a:lnTo>
                    <a:pt x="317" y="866"/>
                  </a:lnTo>
                  <a:lnTo>
                    <a:pt x="317" y="813"/>
                  </a:lnTo>
                  <a:lnTo>
                    <a:pt x="497" y="813"/>
                  </a:lnTo>
                  <a:lnTo>
                    <a:pt x="497" y="866"/>
                  </a:lnTo>
                  <a:close/>
                  <a:moveTo>
                    <a:pt x="497" y="739"/>
                  </a:moveTo>
                  <a:lnTo>
                    <a:pt x="317" y="739"/>
                  </a:lnTo>
                  <a:lnTo>
                    <a:pt x="317" y="697"/>
                  </a:lnTo>
                  <a:lnTo>
                    <a:pt x="497" y="697"/>
                  </a:lnTo>
                  <a:lnTo>
                    <a:pt x="497" y="739"/>
                  </a:lnTo>
                  <a:close/>
                  <a:moveTo>
                    <a:pt x="497" y="613"/>
                  </a:moveTo>
                  <a:lnTo>
                    <a:pt x="317" y="613"/>
                  </a:lnTo>
                  <a:lnTo>
                    <a:pt x="317" y="570"/>
                  </a:lnTo>
                  <a:lnTo>
                    <a:pt x="497" y="570"/>
                  </a:lnTo>
                  <a:lnTo>
                    <a:pt x="497" y="613"/>
                  </a:lnTo>
                  <a:close/>
                  <a:moveTo>
                    <a:pt x="497" y="496"/>
                  </a:moveTo>
                  <a:lnTo>
                    <a:pt x="317" y="496"/>
                  </a:lnTo>
                  <a:lnTo>
                    <a:pt x="317" y="443"/>
                  </a:lnTo>
                  <a:lnTo>
                    <a:pt x="497" y="443"/>
                  </a:lnTo>
                  <a:lnTo>
                    <a:pt x="497" y="496"/>
                  </a:lnTo>
                  <a:close/>
                  <a:moveTo>
                    <a:pt x="497" y="369"/>
                  </a:moveTo>
                  <a:lnTo>
                    <a:pt x="317" y="369"/>
                  </a:lnTo>
                  <a:lnTo>
                    <a:pt x="317" y="317"/>
                  </a:lnTo>
                  <a:lnTo>
                    <a:pt x="497" y="317"/>
                  </a:lnTo>
                  <a:lnTo>
                    <a:pt x="497" y="369"/>
                  </a:lnTo>
                  <a:close/>
                  <a:moveTo>
                    <a:pt x="497" y="243"/>
                  </a:moveTo>
                  <a:lnTo>
                    <a:pt x="317" y="243"/>
                  </a:lnTo>
                  <a:lnTo>
                    <a:pt x="317" y="200"/>
                  </a:lnTo>
                  <a:lnTo>
                    <a:pt x="497" y="200"/>
                  </a:lnTo>
                  <a:lnTo>
                    <a:pt x="497" y="243"/>
                  </a:lnTo>
                  <a:close/>
                  <a:moveTo>
                    <a:pt x="497" y="116"/>
                  </a:moveTo>
                  <a:lnTo>
                    <a:pt x="317" y="116"/>
                  </a:lnTo>
                  <a:lnTo>
                    <a:pt x="317" y="74"/>
                  </a:lnTo>
                  <a:lnTo>
                    <a:pt x="497" y="74"/>
                  </a:lnTo>
                  <a:lnTo>
                    <a:pt x="497" y="116"/>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4" name="Freeform 15"/>
            <p:cNvSpPr>
              <a:spLocks noEditPoints="1"/>
            </p:cNvSpPr>
            <p:nvPr/>
          </p:nvSpPr>
          <p:spPr bwMode="auto">
            <a:xfrm>
              <a:off x="2951792" y="3754415"/>
              <a:ext cx="479450" cy="706450"/>
            </a:xfrm>
            <a:custGeom>
              <a:avLst/>
              <a:gdLst>
                <a:gd name="T0" fmla="*/ 560 w 560"/>
                <a:gd name="T1" fmla="*/ 1109 h 1109"/>
                <a:gd name="T2" fmla="*/ 0 w 560"/>
                <a:gd name="T3" fmla="*/ 0 h 1109"/>
                <a:gd name="T4" fmla="*/ 370 w 560"/>
                <a:gd name="T5" fmla="*/ 74 h 1109"/>
                <a:gd name="T6" fmla="*/ 476 w 560"/>
                <a:gd name="T7" fmla="*/ 116 h 1109"/>
                <a:gd name="T8" fmla="*/ 370 w 560"/>
                <a:gd name="T9" fmla="*/ 74 h 1109"/>
                <a:gd name="T10" fmla="*/ 476 w 560"/>
                <a:gd name="T11" fmla="*/ 200 h 1109"/>
                <a:gd name="T12" fmla="*/ 370 w 560"/>
                <a:gd name="T13" fmla="*/ 243 h 1109"/>
                <a:gd name="T14" fmla="*/ 370 w 560"/>
                <a:gd name="T15" fmla="*/ 443 h 1109"/>
                <a:gd name="T16" fmla="*/ 476 w 560"/>
                <a:gd name="T17" fmla="*/ 496 h 1109"/>
                <a:gd name="T18" fmla="*/ 370 w 560"/>
                <a:gd name="T19" fmla="*/ 443 h 1109"/>
                <a:gd name="T20" fmla="*/ 476 w 560"/>
                <a:gd name="T21" fmla="*/ 570 h 1109"/>
                <a:gd name="T22" fmla="*/ 370 w 560"/>
                <a:gd name="T23" fmla="*/ 613 h 1109"/>
                <a:gd name="T24" fmla="*/ 370 w 560"/>
                <a:gd name="T25" fmla="*/ 697 h 1109"/>
                <a:gd name="T26" fmla="*/ 476 w 560"/>
                <a:gd name="T27" fmla="*/ 739 h 1109"/>
                <a:gd name="T28" fmla="*/ 370 w 560"/>
                <a:gd name="T29" fmla="*/ 697 h 1109"/>
                <a:gd name="T30" fmla="*/ 328 w 560"/>
                <a:gd name="T31" fmla="*/ 74 h 1109"/>
                <a:gd name="T32" fmla="*/ 222 w 560"/>
                <a:gd name="T33" fmla="*/ 116 h 1109"/>
                <a:gd name="T34" fmla="*/ 222 w 560"/>
                <a:gd name="T35" fmla="*/ 200 h 1109"/>
                <a:gd name="T36" fmla="*/ 328 w 560"/>
                <a:gd name="T37" fmla="*/ 243 h 1109"/>
                <a:gd name="T38" fmla="*/ 222 w 560"/>
                <a:gd name="T39" fmla="*/ 200 h 1109"/>
                <a:gd name="T40" fmla="*/ 328 w 560"/>
                <a:gd name="T41" fmla="*/ 317 h 1109"/>
                <a:gd name="T42" fmla="*/ 222 w 560"/>
                <a:gd name="T43" fmla="*/ 369 h 1109"/>
                <a:gd name="T44" fmla="*/ 222 w 560"/>
                <a:gd name="T45" fmla="*/ 443 h 1109"/>
                <a:gd name="T46" fmla="*/ 328 w 560"/>
                <a:gd name="T47" fmla="*/ 496 h 1109"/>
                <a:gd name="T48" fmla="*/ 222 w 560"/>
                <a:gd name="T49" fmla="*/ 443 h 1109"/>
                <a:gd name="T50" fmla="*/ 328 w 560"/>
                <a:gd name="T51" fmla="*/ 570 h 1109"/>
                <a:gd name="T52" fmla="*/ 222 w 560"/>
                <a:gd name="T53" fmla="*/ 613 h 1109"/>
                <a:gd name="T54" fmla="*/ 222 w 560"/>
                <a:gd name="T55" fmla="*/ 697 h 1109"/>
                <a:gd name="T56" fmla="*/ 328 w 560"/>
                <a:gd name="T57" fmla="*/ 739 h 1109"/>
                <a:gd name="T58" fmla="*/ 222 w 560"/>
                <a:gd name="T59" fmla="*/ 697 h 1109"/>
                <a:gd name="T60" fmla="*/ 328 w 560"/>
                <a:gd name="T61" fmla="*/ 813 h 1109"/>
                <a:gd name="T62" fmla="*/ 222 w 560"/>
                <a:gd name="T63" fmla="*/ 866 h 1109"/>
                <a:gd name="T64" fmla="*/ 74 w 560"/>
                <a:gd name="T65" fmla="*/ 74 h 1109"/>
                <a:gd name="T66" fmla="*/ 180 w 560"/>
                <a:gd name="T67" fmla="*/ 116 h 1109"/>
                <a:gd name="T68" fmla="*/ 74 w 560"/>
                <a:gd name="T69" fmla="*/ 74 h 1109"/>
                <a:gd name="T70" fmla="*/ 180 w 560"/>
                <a:gd name="T71" fmla="*/ 317 h 1109"/>
                <a:gd name="T72" fmla="*/ 74 w 560"/>
                <a:gd name="T73" fmla="*/ 369 h 1109"/>
                <a:gd name="T74" fmla="*/ 74 w 560"/>
                <a:gd name="T75" fmla="*/ 443 h 1109"/>
                <a:gd name="T76" fmla="*/ 180 w 560"/>
                <a:gd name="T77" fmla="*/ 496 h 1109"/>
                <a:gd name="T78" fmla="*/ 74 w 560"/>
                <a:gd name="T79" fmla="*/ 443 h 1109"/>
                <a:gd name="T80" fmla="*/ 180 w 560"/>
                <a:gd name="T81" fmla="*/ 697 h 1109"/>
                <a:gd name="T82" fmla="*/ 74 w 560"/>
                <a:gd name="T83" fmla="*/ 739 h 1109"/>
                <a:gd name="T84" fmla="*/ 74 w 560"/>
                <a:gd name="T85" fmla="*/ 813 h 1109"/>
                <a:gd name="T86" fmla="*/ 180 w 560"/>
                <a:gd name="T87" fmla="*/ 866 h 1109"/>
                <a:gd name="T88" fmla="*/ 74 w 560"/>
                <a:gd name="T89" fmla="*/ 813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1109">
                  <a:moveTo>
                    <a:pt x="0" y="1109"/>
                  </a:moveTo>
                  <a:lnTo>
                    <a:pt x="560" y="1109"/>
                  </a:lnTo>
                  <a:lnTo>
                    <a:pt x="560" y="0"/>
                  </a:lnTo>
                  <a:lnTo>
                    <a:pt x="0" y="0"/>
                  </a:lnTo>
                  <a:lnTo>
                    <a:pt x="0" y="1109"/>
                  </a:lnTo>
                  <a:close/>
                  <a:moveTo>
                    <a:pt x="370" y="74"/>
                  </a:moveTo>
                  <a:lnTo>
                    <a:pt x="476" y="74"/>
                  </a:lnTo>
                  <a:lnTo>
                    <a:pt x="476" y="116"/>
                  </a:lnTo>
                  <a:lnTo>
                    <a:pt x="370" y="116"/>
                  </a:lnTo>
                  <a:lnTo>
                    <a:pt x="370" y="74"/>
                  </a:lnTo>
                  <a:close/>
                  <a:moveTo>
                    <a:pt x="370" y="200"/>
                  </a:moveTo>
                  <a:lnTo>
                    <a:pt x="476" y="200"/>
                  </a:lnTo>
                  <a:lnTo>
                    <a:pt x="476" y="243"/>
                  </a:lnTo>
                  <a:lnTo>
                    <a:pt x="370" y="243"/>
                  </a:lnTo>
                  <a:lnTo>
                    <a:pt x="370" y="200"/>
                  </a:lnTo>
                  <a:close/>
                  <a:moveTo>
                    <a:pt x="370" y="443"/>
                  </a:moveTo>
                  <a:lnTo>
                    <a:pt x="476" y="443"/>
                  </a:lnTo>
                  <a:lnTo>
                    <a:pt x="476" y="496"/>
                  </a:lnTo>
                  <a:lnTo>
                    <a:pt x="370" y="496"/>
                  </a:lnTo>
                  <a:lnTo>
                    <a:pt x="370" y="443"/>
                  </a:lnTo>
                  <a:close/>
                  <a:moveTo>
                    <a:pt x="370" y="570"/>
                  </a:moveTo>
                  <a:lnTo>
                    <a:pt x="476" y="570"/>
                  </a:lnTo>
                  <a:lnTo>
                    <a:pt x="476" y="613"/>
                  </a:lnTo>
                  <a:lnTo>
                    <a:pt x="370" y="613"/>
                  </a:lnTo>
                  <a:lnTo>
                    <a:pt x="370" y="570"/>
                  </a:lnTo>
                  <a:close/>
                  <a:moveTo>
                    <a:pt x="370" y="697"/>
                  </a:moveTo>
                  <a:lnTo>
                    <a:pt x="476" y="697"/>
                  </a:lnTo>
                  <a:lnTo>
                    <a:pt x="476" y="739"/>
                  </a:lnTo>
                  <a:lnTo>
                    <a:pt x="370" y="739"/>
                  </a:lnTo>
                  <a:lnTo>
                    <a:pt x="370" y="697"/>
                  </a:lnTo>
                  <a:close/>
                  <a:moveTo>
                    <a:pt x="222" y="74"/>
                  </a:moveTo>
                  <a:lnTo>
                    <a:pt x="328" y="74"/>
                  </a:lnTo>
                  <a:lnTo>
                    <a:pt x="328" y="116"/>
                  </a:lnTo>
                  <a:lnTo>
                    <a:pt x="222" y="116"/>
                  </a:lnTo>
                  <a:lnTo>
                    <a:pt x="222" y="74"/>
                  </a:lnTo>
                  <a:close/>
                  <a:moveTo>
                    <a:pt x="222" y="200"/>
                  </a:moveTo>
                  <a:lnTo>
                    <a:pt x="328" y="200"/>
                  </a:lnTo>
                  <a:lnTo>
                    <a:pt x="328" y="243"/>
                  </a:lnTo>
                  <a:lnTo>
                    <a:pt x="222" y="243"/>
                  </a:lnTo>
                  <a:lnTo>
                    <a:pt x="222" y="200"/>
                  </a:lnTo>
                  <a:close/>
                  <a:moveTo>
                    <a:pt x="222" y="317"/>
                  </a:moveTo>
                  <a:lnTo>
                    <a:pt x="328" y="317"/>
                  </a:lnTo>
                  <a:lnTo>
                    <a:pt x="328" y="369"/>
                  </a:lnTo>
                  <a:lnTo>
                    <a:pt x="222" y="369"/>
                  </a:lnTo>
                  <a:lnTo>
                    <a:pt x="222" y="317"/>
                  </a:lnTo>
                  <a:close/>
                  <a:moveTo>
                    <a:pt x="222" y="443"/>
                  </a:moveTo>
                  <a:lnTo>
                    <a:pt x="328" y="443"/>
                  </a:lnTo>
                  <a:lnTo>
                    <a:pt x="328" y="496"/>
                  </a:lnTo>
                  <a:lnTo>
                    <a:pt x="222" y="496"/>
                  </a:lnTo>
                  <a:lnTo>
                    <a:pt x="222" y="443"/>
                  </a:lnTo>
                  <a:close/>
                  <a:moveTo>
                    <a:pt x="222" y="570"/>
                  </a:moveTo>
                  <a:lnTo>
                    <a:pt x="328" y="570"/>
                  </a:lnTo>
                  <a:lnTo>
                    <a:pt x="328" y="613"/>
                  </a:lnTo>
                  <a:lnTo>
                    <a:pt x="222" y="613"/>
                  </a:lnTo>
                  <a:lnTo>
                    <a:pt x="222" y="570"/>
                  </a:lnTo>
                  <a:close/>
                  <a:moveTo>
                    <a:pt x="222" y="697"/>
                  </a:moveTo>
                  <a:lnTo>
                    <a:pt x="328" y="697"/>
                  </a:lnTo>
                  <a:lnTo>
                    <a:pt x="328" y="739"/>
                  </a:lnTo>
                  <a:lnTo>
                    <a:pt x="222" y="739"/>
                  </a:lnTo>
                  <a:lnTo>
                    <a:pt x="222" y="697"/>
                  </a:lnTo>
                  <a:close/>
                  <a:moveTo>
                    <a:pt x="222" y="813"/>
                  </a:moveTo>
                  <a:lnTo>
                    <a:pt x="328" y="813"/>
                  </a:lnTo>
                  <a:lnTo>
                    <a:pt x="328" y="866"/>
                  </a:lnTo>
                  <a:lnTo>
                    <a:pt x="222" y="866"/>
                  </a:lnTo>
                  <a:lnTo>
                    <a:pt x="222" y="813"/>
                  </a:lnTo>
                  <a:close/>
                  <a:moveTo>
                    <a:pt x="74" y="74"/>
                  </a:moveTo>
                  <a:lnTo>
                    <a:pt x="180" y="74"/>
                  </a:lnTo>
                  <a:lnTo>
                    <a:pt x="180" y="116"/>
                  </a:lnTo>
                  <a:lnTo>
                    <a:pt x="74" y="116"/>
                  </a:lnTo>
                  <a:lnTo>
                    <a:pt x="74" y="74"/>
                  </a:lnTo>
                  <a:close/>
                  <a:moveTo>
                    <a:pt x="74" y="317"/>
                  </a:moveTo>
                  <a:lnTo>
                    <a:pt x="180" y="317"/>
                  </a:lnTo>
                  <a:lnTo>
                    <a:pt x="180" y="369"/>
                  </a:lnTo>
                  <a:lnTo>
                    <a:pt x="74" y="369"/>
                  </a:lnTo>
                  <a:lnTo>
                    <a:pt x="74" y="317"/>
                  </a:lnTo>
                  <a:close/>
                  <a:moveTo>
                    <a:pt x="74" y="443"/>
                  </a:moveTo>
                  <a:lnTo>
                    <a:pt x="180" y="443"/>
                  </a:lnTo>
                  <a:lnTo>
                    <a:pt x="180" y="496"/>
                  </a:lnTo>
                  <a:lnTo>
                    <a:pt x="74" y="496"/>
                  </a:lnTo>
                  <a:lnTo>
                    <a:pt x="74" y="443"/>
                  </a:lnTo>
                  <a:close/>
                  <a:moveTo>
                    <a:pt x="74" y="697"/>
                  </a:moveTo>
                  <a:lnTo>
                    <a:pt x="180" y="697"/>
                  </a:lnTo>
                  <a:lnTo>
                    <a:pt x="180" y="739"/>
                  </a:lnTo>
                  <a:lnTo>
                    <a:pt x="74" y="739"/>
                  </a:lnTo>
                  <a:lnTo>
                    <a:pt x="74" y="697"/>
                  </a:lnTo>
                  <a:close/>
                  <a:moveTo>
                    <a:pt x="74" y="813"/>
                  </a:moveTo>
                  <a:lnTo>
                    <a:pt x="180" y="813"/>
                  </a:lnTo>
                  <a:lnTo>
                    <a:pt x="180" y="866"/>
                  </a:lnTo>
                  <a:lnTo>
                    <a:pt x="74" y="866"/>
                  </a:lnTo>
                  <a:lnTo>
                    <a:pt x="74" y="813"/>
                  </a:ln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grpSp>
      <p:sp>
        <p:nvSpPr>
          <p:cNvPr id="99" name="TextBox 52"/>
          <p:cNvSpPr txBox="1">
            <a:spLocks noChangeArrowheads="1"/>
          </p:cNvSpPr>
          <p:nvPr/>
        </p:nvSpPr>
        <p:spPr bwMode="auto">
          <a:xfrm>
            <a:off x="935476" y="4578200"/>
            <a:ext cx="176249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chemeClr val="accent3"/>
                </a:solidFill>
                <a:latin typeface="+mn-lt"/>
                <a:ea typeface="Lato Black" pitchFamily="34" charset="0"/>
                <a:cs typeface="Lato Black" pitchFamily="34" charset="0"/>
              </a:rPr>
              <a:t>45</a:t>
            </a:r>
            <a:r>
              <a:rPr lang="id-ID" sz="3200" b="1" dirty="0">
                <a:solidFill>
                  <a:schemeClr val="accent3"/>
                </a:solidFill>
                <a:latin typeface="+mn-lt"/>
                <a:ea typeface="Lato Black" pitchFamily="34" charset="0"/>
                <a:cs typeface="Lato Black" pitchFamily="34" charset="0"/>
              </a:rPr>
              <a:t>%</a:t>
            </a:r>
          </a:p>
        </p:txBody>
      </p:sp>
      <p:sp>
        <p:nvSpPr>
          <p:cNvPr id="104" name="TextBox 57"/>
          <p:cNvSpPr txBox="1">
            <a:spLocks noChangeArrowheads="1"/>
          </p:cNvSpPr>
          <p:nvPr/>
        </p:nvSpPr>
        <p:spPr bwMode="auto">
          <a:xfrm>
            <a:off x="3959916" y="4578200"/>
            <a:ext cx="147946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046A38"/>
                </a:solidFill>
                <a:latin typeface="+mn-lt"/>
                <a:ea typeface="Lato Black" pitchFamily="34" charset="0"/>
                <a:cs typeface="Lato Black" pitchFamily="34" charset="0"/>
              </a:rPr>
              <a:t>73</a:t>
            </a:r>
            <a:r>
              <a:rPr lang="id-ID" sz="3200" b="1" dirty="0">
                <a:solidFill>
                  <a:srgbClr val="046A38"/>
                </a:solidFill>
                <a:latin typeface="+mn-lt"/>
                <a:ea typeface="Lato Black" pitchFamily="34" charset="0"/>
                <a:cs typeface="Lato Black" pitchFamily="34" charset="0"/>
              </a:rPr>
              <a:t>%</a:t>
            </a:r>
          </a:p>
        </p:txBody>
      </p:sp>
      <p:sp>
        <p:nvSpPr>
          <p:cNvPr id="109" name="TextBox 62"/>
          <p:cNvSpPr txBox="1">
            <a:spLocks noChangeArrowheads="1"/>
          </p:cNvSpPr>
          <p:nvPr/>
        </p:nvSpPr>
        <p:spPr bwMode="auto">
          <a:xfrm>
            <a:off x="6701325" y="4578200"/>
            <a:ext cx="16171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43B02A"/>
                </a:solidFill>
                <a:latin typeface="+mn-lt"/>
                <a:ea typeface="Lato Black" pitchFamily="34" charset="0"/>
                <a:cs typeface="Lato Black" pitchFamily="34" charset="0"/>
              </a:rPr>
              <a:t>68</a:t>
            </a:r>
            <a:r>
              <a:rPr lang="id-ID" sz="3200" b="1" dirty="0">
                <a:solidFill>
                  <a:srgbClr val="43B02A"/>
                </a:solidFill>
                <a:latin typeface="+mn-lt"/>
                <a:ea typeface="Lato Black" pitchFamily="34" charset="0"/>
                <a:cs typeface="Lato Black" pitchFamily="34" charset="0"/>
              </a:rPr>
              <a:t>%</a:t>
            </a:r>
          </a:p>
        </p:txBody>
      </p:sp>
      <p:sp>
        <p:nvSpPr>
          <p:cNvPr id="114" name="TextBox 67"/>
          <p:cNvSpPr txBox="1">
            <a:spLocks noChangeArrowheads="1"/>
          </p:cNvSpPr>
          <p:nvPr/>
        </p:nvSpPr>
        <p:spPr bwMode="auto">
          <a:xfrm>
            <a:off x="9580420" y="4578200"/>
            <a:ext cx="159252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86BC25"/>
                </a:solidFill>
                <a:latin typeface="+mn-lt"/>
                <a:ea typeface="Lato Black" pitchFamily="34" charset="0"/>
                <a:cs typeface="Lato Black" pitchFamily="34" charset="0"/>
              </a:rPr>
              <a:t>71</a:t>
            </a:r>
            <a:r>
              <a:rPr lang="id-ID" sz="3200" b="1" dirty="0">
                <a:solidFill>
                  <a:srgbClr val="86BC25"/>
                </a:solidFill>
                <a:latin typeface="+mn-lt"/>
                <a:ea typeface="Lato Black" pitchFamily="34" charset="0"/>
                <a:cs typeface="Lato Black" pitchFamily="34" charset="0"/>
              </a:rPr>
              <a:t>%</a:t>
            </a:r>
          </a:p>
        </p:txBody>
      </p:sp>
      <p:sp>
        <p:nvSpPr>
          <p:cNvPr id="97" name="Round Same Side Corner Rectangle 59"/>
          <p:cNvSpPr/>
          <p:nvPr/>
        </p:nvSpPr>
        <p:spPr>
          <a:xfrm>
            <a:off x="472463" y="5086851"/>
            <a:ext cx="2688520" cy="408028"/>
          </a:xfrm>
          <a:prstGeom prst="round2SameRect">
            <a:avLst>
              <a:gd name="adj1" fmla="val 5000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a:solidFill>
                  <a:schemeClr val="bg1"/>
                </a:solidFill>
                <a:cs typeface="Lato Regular"/>
              </a:rPr>
              <a:t>Lorem ipsum</a:t>
            </a:r>
            <a:endParaRPr lang="en-US" sz="1600" b="1" dirty="0">
              <a:solidFill>
                <a:schemeClr val="bg1"/>
              </a:solidFill>
              <a:cs typeface="Lato Regular"/>
            </a:endParaRPr>
          </a:p>
        </p:txBody>
      </p:sp>
      <p:sp>
        <p:nvSpPr>
          <p:cNvPr id="100" name="TextBox 53"/>
          <p:cNvSpPr txBox="1"/>
          <p:nvPr/>
        </p:nvSpPr>
        <p:spPr>
          <a:xfrm>
            <a:off x="472463" y="5617968"/>
            <a:ext cx="2688520" cy="600164"/>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This is dummy text it is not here to be read. The is just text to show where you could insert text. </a:t>
            </a:r>
          </a:p>
        </p:txBody>
      </p:sp>
      <p:sp>
        <p:nvSpPr>
          <p:cNvPr id="36" name="Round Same Side Corner Rectangle 59"/>
          <p:cNvSpPr/>
          <p:nvPr/>
        </p:nvSpPr>
        <p:spPr>
          <a:xfrm>
            <a:off x="3325783" y="5086851"/>
            <a:ext cx="2688520" cy="408028"/>
          </a:xfrm>
          <a:prstGeom prst="round2SameRect">
            <a:avLst>
              <a:gd name="adj1" fmla="val 50000"/>
              <a:gd name="adj2" fmla="val 50000"/>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a:solidFill>
                  <a:schemeClr val="bg1"/>
                </a:solidFill>
                <a:cs typeface="Lato Regular"/>
              </a:rPr>
              <a:t>Lorem ipsum</a:t>
            </a:r>
            <a:endParaRPr lang="en-US" sz="1600" b="1" dirty="0">
              <a:solidFill>
                <a:schemeClr val="bg1"/>
              </a:solidFill>
              <a:cs typeface="Lato Regular"/>
            </a:endParaRPr>
          </a:p>
        </p:txBody>
      </p:sp>
      <p:sp>
        <p:nvSpPr>
          <p:cNvPr id="37" name="TextBox 53"/>
          <p:cNvSpPr txBox="1"/>
          <p:nvPr/>
        </p:nvSpPr>
        <p:spPr>
          <a:xfrm>
            <a:off x="3325783" y="5617968"/>
            <a:ext cx="2688520" cy="600164"/>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This is dummy text it is not here to be read. The is just text to show where you could insert text. </a:t>
            </a:r>
          </a:p>
        </p:txBody>
      </p:sp>
      <p:sp>
        <p:nvSpPr>
          <p:cNvPr id="38" name="Round Same Side Corner Rectangle 59"/>
          <p:cNvSpPr/>
          <p:nvPr/>
        </p:nvSpPr>
        <p:spPr>
          <a:xfrm>
            <a:off x="6179103" y="5086851"/>
            <a:ext cx="2688520" cy="408028"/>
          </a:xfrm>
          <a:prstGeom prst="round2SameRect">
            <a:avLst>
              <a:gd name="adj1" fmla="val 50000"/>
              <a:gd name="adj2" fmla="val 50000"/>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a:solidFill>
                  <a:schemeClr val="bg1"/>
                </a:solidFill>
                <a:cs typeface="Lato Regular"/>
              </a:rPr>
              <a:t>Lorem ipsum</a:t>
            </a:r>
            <a:endParaRPr lang="en-US" sz="1600" b="1" dirty="0">
              <a:solidFill>
                <a:schemeClr val="bg1"/>
              </a:solidFill>
              <a:cs typeface="Lato Regular"/>
            </a:endParaRPr>
          </a:p>
        </p:txBody>
      </p:sp>
      <p:sp>
        <p:nvSpPr>
          <p:cNvPr id="39" name="TextBox 53"/>
          <p:cNvSpPr txBox="1"/>
          <p:nvPr/>
        </p:nvSpPr>
        <p:spPr>
          <a:xfrm>
            <a:off x="6179103" y="5617968"/>
            <a:ext cx="2688520" cy="600164"/>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This is dummy text it is not here to be read. The is just text to show where you could insert text. </a:t>
            </a:r>
          </a:p>
        </p:txBody>
      </p:sp>
      <p:sp>
        <p:nvSpPr>
          <p:cNvPr id="40" name="Round Same Side Corner Rectangle 59"/>
          <p:cNvSpPr/>
          <p:nvPr/>
        </p:nvSpPr>
        <p:spPr>
          <a:xfrm>
            <a:off x="9032424" y="5086851"/>
            <a:ext cx="2688520" cy="408028"/>
          </a:xfrm>
          <a:prstGeom prst="round2SameRect">
            <a:avLst>
              <a:gd name="adj1" fmla="val 50000"/>
              <a:gd name="adj2" fmla="val 50000"/>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a:solidFill>
                  <a:schemeClr val="bg1"/>
                </a:solidFill>
                <a:cs typeface="Lato Regular"/>
              </a:rPr>
              <a:t>Lorem ipsum</a:t>
            </a:r>
            <a:endParaRPr lang="en-US" sz="1600" b="1" dirty="0">
              <a:solidFill>
                <a:schemeClr val="bg1"/>
              </a:solidFill>
              <a:cs typeface="Lato Regular"/>
            </a:endParaRPr>
          </a:p>
        </p:txBody>
      </p:sp>
      <p:sp>
        <p:nvSpPr>
          <p:cNvPr id="41" name="TextBox 53"/>
          <p:cNvSpPr txBox="1"/>
          <p:nvPr/>
        </p:nvSpPr>
        <p:spPr>
          <a:xfrm>
            <a:off x="9032424" y="5617968"/>
            <a:ext cx="2688520" cy="600164"/>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This is dummy text it is not here to be read. The is just text to show where you could insert text. </a:t>
            </a:r>
          </a:p>
        </p:txBody>
      </p:sp>
      <p:sp>
        <p:nvSpPr>
          <p:cNvPr id="95" name="Rectangle 16"/>
          <p:cNvSpPr>
            <a:spLocks noChangeArrowheads="1"/>
          </p:cNvSpPr>
          <p:nvPr/>
        </p:nvSpPr>
        <p:spPr bwMode="auto">
          <a:xfrm>
            <a:off x="472463" y="4413725"/>
            <a:ext cx="11248481" cy="68593"/>
          </a:xfrm>
          <a:prstGeom prst="rect">
            <a:avLst/>
          </a:pr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Tree>
    <p:custDataLst>
      <p:tags r:id="rId1"/>
    </p:custDataLst>
    <p:extLst>
      <p:ext uri="{BB962C8B-B14F-4D97-AF65-F5344CB8AC3E}">
        <p14:creationId xmlns:p14="http://schemas.microsoft.com/office/powerpoint/2010/main" val="3243333925"/>
      </p:ext>
    </p:extLst>
  </p:cSld>
  <p:clrMapOvr>
    <a:masterClrMapping/>
  </p:clrMapOvr>
  <p:transition>
    <p:fade/>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75F2D4F-67E4-4887-973C-3B3E2565B8D4}"/>
              </a:ext>
            </a:extLst>
          </p:cNvPr>
          <p:cNvGrpSpPr/>
          <p:nvPr/>
        </p:nvGrpSpPr>
        <p:grpSpPr>
          <a:xfrm>
            <a:off x="656412" y="1207884"/>
            <a:ext cx="10879175" cy="4441963"/>
            <a:chOff x="1165728" y="1709238"/>
            <a:chExt cx="9914068" cy="4047911"/>
          </a:xfrm>
        </p:grpSpPr>
        <p:sp>
          <p:nvSpPr>
            <p:cNvPr id="55" name="Shape 3764"/>
            <p:cNvSpPr/>
            <p:nvPr/>
          </p:nvSpPr>
          <p:spPr>
            <a:xfrm>
              <a:off x="1165728" y="2745120"/>
              <a:ext cx="2016371" cy="221924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4393"/>
                    <a:pt x="0" y="9813"/>
                  </a:cubicBezTo>
                  <a:cubicBezTo>
                    <a:pt x="0" y="14721"/>
                    <a:pt x="3970" y="18776"/>
                    <a:pt x="9150" y="19499"/>
                  </a:cubicBezTo>
                  <a:lnTo>
                    <a:pt x="10800" y="21600"/>
                  </a:lnTo>
                  <a:lnTo>
                    <a:pt x="12450" y="19499"/>
                  </a:lnTo>
                  <a:cubicBezTo>
                    <a:pt x="17629" y="18776"/>
                    <a:pt x="21600" y="14721"/>
                    <a:pt x="21600" y="9813"/>
                  </a:cubicBezTo>
                  <a:cubicBezTo>
                    <a:pt x="21600" y="4393"/>
                    <a:pt x="16765" y="0"/>
                    <a:pt x="10800" y="0"/>
                  </a:cubicBezTo>
                  <a:close/>
                </a:path>
              </a:pathLst>
            </a:custGeom>
            <a:solidFill>
              <a:srgbClr val="86BC25"/>
            </a:solidFill>
            <a:ln w="12700">
              <a:miter lim="400000"/>
            </a:ln>
          </p:spPr>
          <p:txBody>
            <a:bodyPr lIns="0" tIns="0" rIns="0" bIns="0" anchor="ctr"/>
            <a:lstStyle/>
            <a:p>
              <a:pPr>
                <a:defRPr sz="3200"/>
              </a:pPr>
              <a:endParaRPr sz="1600">
                <a:solidFill>
                  <a:schemeClr val="bg1"/>
                </a:solidFill>
              </a:endParaRPr>
            </a:p>
          </p:txBody>
        </p:sp>
        <p:sp>
          <p:nvSpPr>
            <p:cNvPr id="56" name="Shape 3765"/>
            <p:cNvSpPr/>
            <p:nvPr/>
          </p:nvSpPr>
          <p:spPr>
            <a:xfrm>
              <a:off x="2747006" y="2539988"/>
              <a:ext cx="2016371" cy="222150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9132" y="2124"/>
                  </a:lnTo>
                  <a:cubicBezTo>
                    <a:pt x="3961" y="2854"/>
                    <a:pt x="0" y="6900"/>
                    <a:pt x="0" y="11797"/>
                  </a:cubicBezTo>
                  <a:cubicBezTo>
                    <a:pt x="0" y="17211"/>
                    <a:pt x="4835" y="21600"/>
                    <a:pt x="10800" y="21600"/>
                  </a:cubicBezTo>
                  <a:cubicBezTo>
                    <a:pt x="16765" y="21600"/>
                    <a:pt x="21600" y="17211"/>
                    <a:pt x="21600" y="11797"/>
                  </a:cubicBezTo>
                  <a:cubicBezTo>
                    <a:pt x="21600" y="6900"/>
                    <a:pt x="17639" y="2854"/>
                    <a:pt x="12468" y="2124"/>
                  </a:cubicBezTo>
                  <a:lnTo>
                    <a:pt x="10800" y="0"/>
                  </a:lnTo>
                  <a:close/>
                </a:path>
              </a:pathLst>
            </a:custGeom>
            <a:solidFill>
              <a:schemeClr val="accent2">
                <a:alpha val="90000"/>
              </a:schemeClr>
            </a:solidFill>
            <a:ln w="12700">
              <a:miter lim="400000"/>
            </a:ln>
          </p:spPr>
          <p:txBody>
            <a:bodyPr lIns="0" tIns="0" rIns="0" bIns="0" anchor="ctr"/>
            <a:lstStyle/>
            <a:p>
              <a:pPr>
                <a:defRPr sz="3200"/>
              </a:pPr>
              <a:endParaRPr sz="1600">
                <a:solidFill>
                  <a:schemeClr val="bg1"/>
                </a:solidFill>
              </a:endParaRPr>
            </a:p>
          </p:txBody>
        </p:sp>
        <p:sp>
          <p:nvSpPr>
            <p:cNvPr id="57" name="Shape 3766"/>
            <p:cNvSpPr/>
            <p:nvPr/>
          </p:nvSpPr>
          <p:spPr>
            <a:xfrm>
              <a:off x="4326065" y="2745120"/>
              <a:ext cx="2016371" cy="221924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4393"/>
                    <a:pt x="0" y="9813"/>
                  </a:cubicBezTo>
                  <a:cubicBezTo>
                    <a:pt x="0" y="14720"/>
                    <a:pt x="3971" y="18775"/>
                    <a:pt x="9150" y="19499"/>
                  </a:cubicBezTo>
                  <a:lnTo>
                    <a:pt x="10800" y="21600"/>
                  </a:lnTo>
                  <a:lnTo>
                    <a:pt x="12450" y="19499"/>
                  </a:lnTo>
                  <a:cubicBezTo>
                    <a:pt x="17630" y="18776"/>
                    <a:pt x="21600" y="14721"/>
                    <a:pt x="21600" y="9813"/>
                  </a:cubicBezTo>
                  <a:cubicBezTo>
                    <a:pt x="21600" y="4393"/>
                    <a:pt x="16765" y="0"/>
                    <a:pt x="10800" y="0"/>
                  </a:cubicBezTo>
                  <a:close/>
                </a:path>
              </a:pathLst>
            </a:custGeom>
            <a:solidFill>
              <a:srgbClr val="046A38">
                <a:alpha val="90000"/>
              </a:srgbClr>
            </a:solidFill>
            <a:ln w="12700">
              <a:miter lim="400000"/>
            </a:ln>
          </p:spPr>
          <p:txBody>
            <a:bodyPr lIns="0" tIns="0" rIns="0" bIns="0" anchor="ctr"/>
            <a:lstStyle/>
            <a:p>
              <a:pPr>
                <a:defRPr sz="3200"/>
              </a:pPr>
              <a:endParaRPr sz="1600">
                <a:solidFill>
                  <a:schemeClr val="bg1"/>
                </a:solidFill>
              </a:endParaRPr>
            </a:p>
          </p:txBody>
        </p:sp>
        <p:sp>
          <p:nvSpPr>
            <p:cNvPr id="58" name="Shape 3767"/>
            <p:cNvSpPr/>
            <p:nvPr/>
          </p:nvSpPr>
          <p:spPr>
            <a:xfrm>
              <a:off x="5905310" y="2539988"/>
              <a:ext cx="2016183" cy="2221502"/>
            </a:xfrm>
            <a:custGeom>
              <a:avLst/>
              <a:gdLst/>
              <a:ahLst/>
              <a:cxnLst>
                <a:cxn ang="0">
                  <a:pos x="wd2" y="hd2"/>
                </a:cxn>
                <a:cxn ang="5400000">
                  <a:pos x="wd2" y="hd2"/>
                </a:cxn>
                <a:cxn ang="10800000">
                  <a:pos x="wd2" y="hd2"/>
                </a:cxn>
                <a:cxn ang="16200000">
                  <a:pos x="wd2" y="hd2"/>
                </a:cxn>
              </a:cxnLst>
              <a:rect l="0" t="0" r="r" b="b"/>
              <a:pathLst>
                <a:path w="21600" h="21600" extrusionOk="0">
                  <a:moveTo>
                    <a:pt x="10799" y="0"/>
                  </a:moveTo>
                  <a:lnTo>
                    <a:pt x="9131" y="2124"/>
                  </a:lnTo>
                  <a:cubicBezTo>
                    <a:pt x="3961" y="2854"/>
                    <a:pt x="0" y="6900"/>
                    <a:pt x="0" y="11797"/>
                  </a:cubicBezTo>
                  <a:cubicBezTo>
                    <a:pt x="0" y="17211"/>
                    <a:pt x="4834" y="21600"/>
                    <a:pt x="10799" y="21600"/>
                  </a:cubicBezTo>
                  <a:cubicBezTo>
                    <a:pt x="16764" y="21600"/>
                    <a:pt x="21600" y="17211"/>
                    <a:pt x="21600" y="11797"/>
                  </a:cubicBezTo>
                  <a:cubicBezTo>
                    <a:pt x="21600" y="6900"/>
                    <a:pt x="17639" y="2854"/>
                    <a:pt x="12469" y="2124"/>
                  </a:cubicBezTo>
                  <a:lnTo>
                    <a:pt x="10799" y="0"/>
                  </a:lnTo>
                  <a:close/>
                </a:path>
              </a:pathLst>
            </a:custGeom>
            <a:solidFill>
              <a:schemeClr val="accent3">
                <a:alpha val="90000"/>
              </a:schemeClr>
            </a:solidFill>
            <a:ln w="12700">
              <a:miter lim="400000"/>
            </a:ln>
          </p:spPr>
          <p:txBody>
            <a:bodyPr lIns="0" tIns="0" rIns="0" bIns="0" anchor="ctr"/>
            <a:lstStyle/>
            <a:p>
              <a:pPr>
                <a:defRPr sz="3200"/>
              </a:pPr>
              <a:endParaRPr sz="1600">
                <a:solidFill>
                  <a:schemeClr val="bg1"/>
                </a:solidFill>
              </a:endParaRPr>
            </a:p>
          </p:txBody>
        </p:sp>
        <p:sp>
          <p:nvSpPr>
            <p:cNvPr id="59" name="Shape 3768"/>
            <p:cNvSpPr/>
            <p:nvPr/>
          </p:nvSpPr>
          <p:spPr>
            <a:xfrm>
              <a:off x="7484369" y="2745120"/>
              <a:ext cx="2016183" cy="2219247"/>
            </a:xfrm>
            <a:custGeom>
              <a:avLst/>
              <a:gdLst/>
              <a:ahLst/>
              <a:cxnLst>
                <a:cxn ang="0">
                  <a:pos x="wd2" y="hd2"/>
                </a:cxn>
                <a:cxn ang="5400000">
                  <a:pos x="wd2" y="hd2"/>
                </a:cxn>
                <a:cxn ang="10800000">
                  <a:pos x="wd2" y="hd2"/>
                </a:cxn>
                <a:cxn ang="16200000">
                  <a:pos x="wd2" y="hd2"/>
                </a:cxn>
              </a:cxnLst>
              <a:rect l="0" t="0" r="r" b="b"/>
              <a:pathLst>
                <a:path w="21600" h="21600" extrusionOk="0">
                  <a:moveTo>
                    <a:pt x="10801" y="0"/>
                  </a:moveTo>
                  <a:cubicBezTo>
                    <a:pt x="4836" y="0"/>
                    <a:pt x="0" y="4393"/>
                    <a:pt x="0" y="9813"/>
                  </a:cubicBezTo>
                  <a:cubicBezTo>
                    <a:pt x="0" y="14720"/>
                    <a:pt x="3970" y="18775"/>
                    <a:pt x="9149" y="19499"/>
                  </a:cubicBezTo>
                  <a:lnTo>
                    <a:pt x="10801" y="21600"/>
                  </a:lnTo>
                  <a:lnTo>
                    <a:pt x="12451" y="19499"/>
                  </a:lnTo>
                  <a:cubicBezTo>
                    <a:pt x="17630" y="18775"/>
                    <a:pt x="21600" y="14720"/>
                    <a:pt x="21600" y="9813"/>
                  </a:cubicBezTo>
                  <a:cubicBezTo>
                    <a:pt x="21600" y="4393"/>
                    <a:pt x="16766" y="0"/>
                    <a:pt x="10801" y="0"/>
                  </a:cubicBezTo>
                  <a:close/>
                </a:path>
              </a:pathLst>
            </a:custGeom>
            <a:solidFill>
              <a:schemeClr val="accent5">
                <a:alpha val="90000"/>
              </a:schemeClr>
            </a:solidFill>
            <a:ln w="12700">
              <a:miter lim="400000"/>
            </a:ln>
          </p:spPr>
          <p:txBody>
            <a:bodyPr lIns="0" tIns="0" rIns="0" bIns="0" anchor="ctr"/>
            <a:lstStyle/>
            <a:p>
              <a:pPr>
                <a:defRPr sz="3200"/>
              </a:pPr>
              <a:endParaRPr sz="1600">
                <a:solidFill>
                  <a:schemeClr val="bg1"/>
                </a:solidFill>
              </a:endParaRPr>
            </a:p>
          </p:txBody>
        </p:sp>
        <p:sp>
          <p:nvSpPr>
            <p:cNvPr id="60" name="Shape 3769"/>
            <p:cNvSpPr/>
            <p:nvPr/>
          </p:nvSpPr>
          <p:spPr>
            <a:xfrm>
              <a:off x="9063425" y="2539988"/>
              <a:ext cx="2016371" cy="222150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9132" y="2124"/>
                  </a:lnTo>
                  <a:cubicBezTo>
                    <a:pt x="3961" y="2854"/>
                    <a:pt x="0" y="6900"/>
                    <a:pt x="0" y="11797"/>
                  </a:cubicBezTo>
                  <a:cubicBezTo>
                    <a:pt x="0" y="17211"/>
                    <a:pt x="4835" y="21600"/>
                    <a:pt x="10800" y="21600"/>
                  </a:cubicBezTo>
                  <a:cubicBezTo>
                    <a:pt x="16764" y="21600"/>
                    <a:pt x="21600" y="17211"/>
                    <a:pt x="21600" y="11797"/>
                  </a:cubicBezTo>
                  <a:cubicBezTo>
                    <a:pt x="21600" y="6900"/>
                    <a:pt x="17638" y="2854"/>
                    <a:pt x="12468" y="2124"/>
                  </a:cubicBezTo>
                  <a:lnTo>
                    <a:pt x="10800" y="0"/>
                  </a:lnTo>
                  <a:close/>
                </a:path>
              </a:pathLst>
            </a:custGeom>
            <a:solidFill>
              <a:srgbClr val="00ABAB">
                <a:alpha val="90000"/>
              </a:srgbClr>
            </a:solidFill>
            <a:ln w="12700">
              <a:miter lim="400000"/>
            </a:ln>
          </p:spPr>
          <p:txBody>
            <a:bodyPr lIns="0" tIns="0" rIns="0" bIns="0" anchor="ctr"/>
            <a:lstStyle/>
            <a:p>
              <a:pPr>
                <a:defRPr sz="3200"/>
              </a:pPr>
              <a:endParaRPr sz="1600">
                <a:solidFill>
                  <a:schemeClr val="bg1"/>
                </a:solidFill>
              </a:endParaRPr>
            </a:p>
          </p:txBody>
        </p:sp>
        <p:sp>
          <p:nvSpPr>
            <p:cNvPr id="61" name="Shape 3770"/>
            <p:cNvSpPr/>
            <p:nvPr/>
          </p:nvSpPr>
          <p:spPr>
            <a:xfrm rot="10594">
              <a:off x="1530885" y="5105755"/>
              <a:ext cx="1277250" cy="564039"/>
            </a:xfrm>
            <a:prstGeom prst="rect">
              <a:avLst/>
            </a:prstGeom>
            <a:ln w="12700">
              <a:miter lim="400000"/>
            </a:ln>
            <a:extLst>
              <a:ext uri="{C572A759-6A51-4108-AA02-DFA0A04FC94B}">
                <ma14:wrappingTextBoxFlag xmlns:ma14="http://schemas.microsoft.com/office/mac/drawingml/2011/main" xmlns:p14="http://schemas.microsoft.com/office/powerpoint/2010/main" xmlns:a14="http://schemas.microsoft.com/office/drawing/2010/main" xmlns:a16="http://schemas.microsoft.com/office/drawing/2014/main" xmlns="" val="1"/>
              </a:ext>
            </a:extLst>
          </p:spPr>
          <p:txBody>
            <a:bodyPr lIns="25394" tIns="25394" rIns="25394" bIns="25394" anchor="ctr"/>
            <a:lstStyle>
              <a:lvl1pPr>
                <a:lnSpc>
                  <a:spcPts val="3500"/>
                </a:lnSpc>
                <a:spcBef>
                  <a:spcPts val="600"/>
                </a:spcBef>
                <a:defRPr sz="3500" spc="0">
                  <a:solidFill>
                    <a:srgbClr val="53585F"/>
                  </a:solidFill>
                  <a:latin typeface="Roboto Regular"/>
                  <a:ea typeface="Roboto Regular"/>
                  <a:cs typeface="Roboto Regular"/>
                  <a:sym typeface="Roboto Regular"/>
                </a:defRPr>
              </a:lvl1pPr>
            </a:lstStyle>
            <a:p>
              <a:pPr>
                <a:lnSpc>
                  <a:spcPct val="100000"/>
                </a:lnSpc>
              </a:pPr>
              <a:r>
                <a:rPr lang="en-US" sz="1200" dirty="0">
                  <a:solidFill>
                    <a:schemeClr val="tx1"/>
                  </a:solidFill>
                  <a:latin typeface="+mn-lt"/>
                </a:rPr>
                <a:t>this is dummy text it is not here to be read</a:t>
              </a:r>
            </a:p>
          </p:txBody>
        </p:sp>
        <p:sp>
          <p:nvSpPr>
            <p:cNvPr id="63" name="Shape 3771"/>
            <p:cNvSpPr/>
            <p:nvPr/>
          </p:nvSpPr>
          <p:spPr>
            <a:xfrm rot="10594">
              <a:off x="2956863" y="1709238"/>
              <a:ext cx="1596655" cy="824097"/>
            </a:xfrm>
            <a:prstGeom prst="rect">
              <a:avLst/>
            </a:prstGeom>
            <a:ln w="12700">
              <a:miter lim="400000"/>
            </a:ln>
            <a:extLst>
              <a:ext uri="{C572A759-6A51-4108-AA02-DFA0A04FC94B}">
                <ma14:wrappingTextBoxFlag xmlns:ma14="http://schemas.microsoft.com/office/mac/drawingml/2011/main" xmlns:p14="http://schemas.microsoft.com/office/powerpoint/2010/main" xmlns:a14="http://schemas.microsoft.com/office/drawing/2010/main" xmlns:a16="http://schemas.microsoft.com/office/drawing/2014/main" xmlns="" val="1"/>
              </a:ext>
            </a:extLst>
          </p:spPr>
          <p:txBody>
            <a:bodyPr lIns="25394" tIns="25394" rIns="25394" bIns="25394" anchor="ctr"/>
            <a:lstStyle/>
            <a:p>
              <a:r>
                <a:rPr lang="en-US" sz="1200" dirty="0"/>
                <a:t>this is dummy text it is not here to be read</a:t>
              </a:r>
            </a:p>
          </p:txBody>
        </p:sp>
        <p:sp>
          <p:nvSpPr>
            <p:cNvPr id="64" name="Shape 3772"/>
            <p:cNvSpPr/>
            <p:nvPr/>
          </p:nvSpPr>
          <p:spPr>
            <a:xfrm rot="10594">
              <a:off x="4476281" y="4922239"/>
              <a:ext cx="1755324" cy="834910"/>
            </a:xfrm>
            <a:prstGeom prst="rect">
              <a:avLst/>
            </a:prstGeom>
            <a:ln w="12700">
              <a:miter lim="400000"/>
            </a:ln>
            <a:extLst>
              <a:ext uri="{C572A759-6A51-4108-AA02-DFA0A04FC94B}">
                <ma14:wrappingTextBoxFlag xmlns:ma14="http://schemas.microsoft.com/office/mac/drawingml/2011/main" xmlns:p14="http://schemas.microsoft.com/office/powerpoint/2010/main" xmlns:a14="http://schemas.microsoft.com/office/drawing/2010/main" xmlns:a16="http://schemas.microsoft.com/office/drawing/2014/main" xmlns="" val="1"/>
              </a:ext>
            </a:extLst>
          </p:spPr>
          <p:txBody>
            <a:bodyPr lIns="25394" tIns="25394" rIns="25394" bIns="25394" anchor="ctr"/>
            <a:lstStyle/>
            <a:p>
              <a:r>
                <a:rPr lang="en-US" sz="1200" dirty="0"/>
                <a:t>this is dummy text it is not here to be read</a:t>
              </a:r>
            </a:p>
          </p:txBody>
        </p:sp>
        <p:sp>
          <p:nvSpPr>
            <p:cNvPr id="65" name="Shape 3773"/>
            <p:cNvSpPr/>
            <p:nvPr/>
          </p:nvSpPr>
          <p:spPr>
            <a:xfrm rot="10594">
              <a:off x="6108001" y="1709482"/>
              <a:ext cx="1606469" cy="764184"/>
            </a:xfrm>
            <a:prstGeom prst="rect">
              <a:avLst/>
            </a:prstGeom>
            <a:ln w="12700">
              <a:miter lim="400000"/>
            </a:ln>
            <a:extLst>
              <a:ext uri="{C572A759-6A51-4108-AA02-DFA0A04FC94B}">
                <ma14:wrappingTextBoxFlag xmlns:ma14="http://schemas.microsoft.com/office/mac/drawingml/2011/main" xmlns:p14="http://schemas.microsoft.com/office/powerpoint/2010/main" xmlns:a14="http://schemas.microsoft.com/office/drawing/2010/main" xmlns:a16="http://schemas.microsoft.com/office/drawing/2014/main" xmlns="" val="1"/>
              </a:ext>
            </a:extLst>
          </p:spPr>
          <p:txBody>
            <a:bodyPr lIns="25394" tIns="25394" rIns="25394" bIns="25394" anchor="ctr"/>
            <a:lstStyle>
              <a:lvl1pPr>
                <a:lnSpc>
                  <a:spcPts val="3500"/>
                </a:lnSpc>
                <a:spcBef>
                  <a:spcPts val="600"/>
                </a:spcBef>
                <a:defRPr sz="3500" spc="0">
                  <a:solidFill>
                    <a:srgbClr val="53585F"/>
                  </a:solidFill>
                  <a:latin typeface="Roboto Regular"/>
                  <a:ea typeface="Roboto Regular"/>
                  <a:cs typeface="Roboto Regular"/>
                  <a:sym typeface="Roboto Regular"/>
                </a:defRPr>
              </a:lvl1pPr>
            </a:lstStyle>
            <a:p>
              <a:pPr>
                <a:lnSpc>
                  <a:spcPct val="100000"/>
                </a:lnSpc>
              </a:pPr>
              <a:r>
                <a:rPr lang="en-US" sz="1200" dirty="0">
                  <a:solidFill>
                    <a:schemeClr val="tx1"/>
                  </a:solidFill>
                  <a:latin typeface="+mn-lt"/>
                </a:rPr>
                <a:t>this is dummy text it is not here to be read</a:t>
              </a:r>
            </a:p>
          </p:txBody>
        </p:sp>
        <p:sp>
          <p:nvSpPr>
            <p:cNvPr id="66" name="Shape 3774"/>
            <p:cNvSpPr/>
            <p:nvPr/>
          </p:nvSpPr>
          <p:spPr>
            <a:xfrm rot="10594">
              <a:off x="7527386" y="4922573"/>
              <a:ext cx="1971889" cy="831531"/>
            </a:xfrm>
            <a:prstGeom prst="rect">
              <a:avLst/>
            </a:prstGeom>
            <a:ln w="12700">
              <a:miter lim="400000"/>
            </a:ln>
            <a:extLst>
              <a:ext uri="{C572A759-6A51-4108-AA02-DFA0A04FC94B}">
                <ma14:wrappingTextBoxFlag xmlns:ma14="http://schemas.microsoft.com/office/mac/drawingml/2011/main" xmlns:p14="http://schemas.microsoft.com/office/powerpoint/2010/main" xmlns:a14="http://schemas.microsoft.com/office/drawing/2010/main" xmlns:a16="http://schemas.microsoft.com/office/drawing/2014/main" xmlns="" val="1"/>
              </a:ext>
            </a:extLst>
          </p:spPr>
          <p:txBody>
            <a:bodyPr lIns="25394" tIns="25394" rIns="25394" bIns="25394" anchor="ctr"/>
            <a:lstStyle>
              <a:lvl1pPr>
                <a:lnSpc>
                  <a:spcPts val="3500"/>
                </a:lnSpc>
                <a:spcBef>
                  <a:spcPts val="600"/>
                </a:spcBef>
                <a:defRPr sz="3500" spc="0">
                  <a:solidFill>
                    <a:srgbClr val="53585F"/>
                  </a:solidFill>
                  <a:latin typeface="Roboto Regular"/>
                  <a:ea typeface="Roboto Regular"/>
                  <a:cs typeface="Roboto Regular"/>
                  <a:sym typeface="Roboto Regular"/>
                </a:defRPr>
              </a:lvl1pPr>
            </a:lstStyle>
            <a:p>
              <a:pPr>
                <a:lnSpc>
                  <a:spcPct val="100000"/>
                </a:lnSpc>
              </a:pPr>
              <a:r>
                <a:rPr lang="en-US" sz="1200" dirty="0">
                  <a:solidFill>
                    <a:schemeClr val="tx1"/>
                  </a:solidFill>
                  <a:latin typeface="+mn-lt"/>
                </a:rPr>
                <a:t>this is dummy text it is not here to be read</a:t>
              </a:r>
            </a:p>
          </p:txBody>
        </p:sp>
        <p:sp>
          <p:nvSpPr>
            <p:cNvPr id="67" name="Shape 3775"/>
            <p:cNvSpPr/>
            <p:nvPr/>
          </p:nvSpPr>
          <p:spPr>
            <a:xfrm rot="10594">
              <a:off x="9436613" y="1830524"/>
              <a:ext cx="1608824" cy="504109"/>
            </a:xfrm>
            <a:prstGeom prst="rect">
              <a:avLst/>
            </a:prstGeom>
            <a:ln w="12700">
              <a:miter lim="400000"/>
            </a:ln>
            <a:extLst>
              <a:ext uri="{C572A759-6A51-4108-AA02-DFA0A04FC94B}">
                <ma14:wrappingTextBoxFlag xmlns:ma14="http://schemas.microsoft.com/office/mac/drawingml/2011/main" xmlns:p14="http://schemas.microsoft.com/office/powerpoint/2010/main" xmlns:a14="http://schemas.microsoft.com/office/drawing/2010/main" xmlns:a16="http://schemas.microsoft.com/office/drawing/2014/main" xmlns="" val="1"/>
              </a:ext>
            </a:extLst>
          </p:spPr>
          <p:txBody>
            <a:bodyPr lIns="25394" tIns="25394" rIns="25394" bIns="25394" anchor="ctr"/>
            <a:lstStyle>
              <a:lvl1pPr>
                <a:lnSpc>
                  <a:spcPts val="3500"/>
                </a:lnSpc>
                <a:spcBef>
                  <a:spcPts val="600"/>
                </a:spcBef>
                <a:defRPr sz="3500" spc="0">
                  <a:solidFill>
                    <a:srgbClr val="53585F"/>
                  </a:solidFill>
                  <a:latin typeface="Roboto Regular"/>
                  <a:ea typeface="Roboto Regular"/>
                  <a:cs typeface="Roboto Regular"/>
                  <a:sym typeface="Roboto Regular"/>
                </a:defRPr>
              </a:lvl1pPr>
            </a:lstStyle>
            <a:p>
              <a:pPr>
                <a:lnSpc>
                  <a:spcPct val="100000"/>
                </a:lnSpc>
              </a:pPr>
              <a:r>
                <a:rPr lang="en-US" sz="1200" dirty="0">
                  <a:solidFill>
                    <a:schemeClr val="tx1"/>
                  </a:solidFill>
                  <a:latin typeface="+mn-lt"/>
                </a:rPr>
                <a:t>this is dummy text it is not here to be read</a:t>
              </a:r>
            </a:p>
          </p:txBody>
        </p:sp>
        <p:grpSp>
          <p:nvGrpSpPr>
            <p:cNvPr id="3" name="组合 2"/>
            <p:cNvGrpSpPr/>
            <p:nvPr/>
          </p:nvGrpSpPr>
          <p:grpSpPr>
            <a:xfrm>
              <a:off x="1684928" y="3219535"/>
              <a:ext cx="977971" cy="977971"/>
              <a:chOff x="1665170" y="3219535"/>
              <a:chExt cx="977971" cy="977971"/>
            </a:xfrm>
          </p:grpSpPr>
          <p:sp>
            <p:nvSpPr>
              <p:cNvPr id="74" name="Shape 3784"/>
              <p:cNvSpPr/>
              <p:nvPr/>
            </p:nvSpPr>
            <p:spPr>
              <a:xfrm>
                <a:off x="1665170" y="3219535"/>
                <a:ext cx="977971" cy="97797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a:solidFill>
                  <a:srgbClr val="FFFFFF"/>
                </a:solidFill>
                <a:miter lim="400000"/>
              </a:ln>
            </p:spPr>
            <p:txBody>
              <a:bodyPr lIns="0" tIns="0" rIns="0" bIns="0" anchor="ctr"/>
              <a:lstStyle/>
              <a:p>
                <a:pPr>
                  <a:defRPr sz="3200"/>
                </a:pPr>
                <a:endParaRPr sz="1600">
                  <a:solidFill>
                    <a:schemeClr val="bg1"/>
                  </a:solidFill>
                </a:endParaRPr>
              </a:p>
            </p:txBody>
          </p:sp>
          <p:sp>
            <p:nvSpPr>
              <p:cNvPr id="77" name="Freeform 650"/>
              <p:cNvSpPr>
                <a:spLocks noEditPoints="1"/>
              </p:cNvSpPr>
              <p:nvPr/>
            </p:nvSpPr>
            <p:spPr bwMode="auto">
              <a:xfrm>
                <a:off x="1946041" y="3420185"/>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ma14="http://schemas.microsoft.com/office/mac/drawingml/2011/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78" name="组合 77"/>
            <p:cNvGrpSpPr/>
            <p:nvPr/>
          </p:nvGrpSpPr>
          <p:grpSpPr>
            <a:xfrm>
              <a:off x="4845264" y="3236869"/>
              <a:ext cx="977971" cy="977971"/>
              <a:chOff x="1665170" y="3219535"/>
              <a:chExt cx="977971" cy="977971"/>
            </a:xfrm>
          </p:grpSpPr>
          <p:sp>
            <p:nvSpPr>
              <p:cNvPr id="79" name="Shape 3784"/>
              <p:cNvSpPr/>
              <p:nvPr/>
            </p:nvSpPr>
            <p:spPr>
              <a:xfrm>
                <a:off x="1665170" y="3219535"/>
                <a:ext cx="977971" cy="97797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a:solidFill>
                  <a:srgbClr val="FFFFFF"/>
                </a:solidFill>
                <a:miter lim="400000"/>
              </a:ln>
            </p:spPr>
            <p:txBody>
              <a:bodyPr lIns="0" tIns="0" rIns="0" bIns="0" anchor="ctr"/>
              <a:lstStyle/>
              <a:p>
                <a:pPr>
                  <a:defRPr sz="3200"/>
                </a:pPr>
                <a:endParaRPr sz="1600">
                  <a:solidFill>
                    <a:schemeClr val="bg1"/>
                  </a:solidFill>
                </a:endParaRPr>
              </a:p>
            </p:txBody>
          </p:sp>
          <p:sp>
            <p:nvSpPr>
              <p:cNvPr id="80" name="Freeform 650"/>
              <p:cNvSpPr>
                <a:spLocks noEditPoints="1"/>
              </p:cNvSpPr>
              <p:nvPr/>
            </p:nvSpPr>
            <p:spPr bwMode="auto">
              <a:xfrm>
                <a:off x="1946041" y="3420185"/>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ma14="http://schemas.microsoft.com/office/mac/drawingml/2011/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81" name="组合 80"/>
            <p:cNvGrpSpPr/>
            <p:nvPr/>
          </p:nvGrpSpPr>
          <p:grpSpPr>
            <a:xfrm>
              <a:off x="8003474" y="3219535"/>
              <a:ext cx="977971" cy="977971"/>
              <a:chOff x="1665170" y="3219535"/>
              <a:chExt cx="977971" cy="977971"/>
            </a:xfrm>
          </p:grpSpPr>
          <p:sp>
            <p:nvSpPr>
              <p:cNvPr id="82" name="Shape 3784"/>
              <p:cNvSpPr/>
              <p:nvPr/>
            </p:nvSpPr>
            <p:spPr>
              <a:xfrm>
                <a:off x="1665170" y="3219535"/>
                <a:ext cx="977971" cy="97797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a:solidFill>
                  <a:srgbClr val="FFFFFF"/>
                </a:solidFill>
                <a:miter lim="400000"/>
              </a:ln>
            </p:spPr>
            <p:txBody>
              <a:bodyPr lIns="0" tIns="0" rIns="0" bIns="0" anchor="ctr"/>
              <a:lstStyle/>
              <a:p>
                <a:pPr>
                  <a:defRPr sz="3200"/>
                </a:pPr>
                <a:endParaRPr sz="1600">
                  <a:solidFill>
                    <a:schemeClr val="bg1"/>
                  </a:solidFill>
                </a:endParaRPr>
              </a:p>
            </p:txBody>
          </p:sp>
          <p:sp>
            <p:nvSpPr>
              <p:cNvPr id="83" name="Freeform 650"/>
              <p:cNvSpPr>
                <a:spLocks noEditPoints="1"/>
              </p:cNvSpPr>
              <p:nvPr/>
            </p:nvSpPr>
            <p:spPr bwMode="auto">
              <a:xfrm>
                <a:off x="1946041" y="3420185"/>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ma14="http://schemas.microsoft.com/office/mac/drawingml/2011/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
          <p:nvSpPr>
            <p:cNvPr id="84" name="Freeform 650"/>
            <p:cNvSpPr>
              <a:spLocks noEditPoints="1"/>
            </p:cNvSpPr>
            <p:nvPr/>
          </p:nvSpPr>
          <p:spPr bwMode="auto">
            <a:xfrm>
              <a:off x="3547351" y="3437519"/>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ma14="http://schemas.microsoft.com/office/mac/drawingml/2011/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5" name="Freeform 650"/>
            <p:cNvSpPr>
              <a:spLocks noEditPoints="1"/>
            </p:cNvSpPr>
            <p:nvPr/>
          </p:nvSpPr>
          <p:spPr bwMode="auto">
            <a:xfrm>
              <a:off x="6703121" y="3443445"/>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ma14="http://schemas.microsoft.com/office/mac/drawingml/2011/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6" name="Freeform 650"/>
            <p:cNvSpPr>
              <a:spLocks noEditPoints="1"/>
            </p:cNvSpPr>
            <p:nvPr/>
          </p:nvSpPr>
          <p:spPr bwMode="auto">
            <a:xfrm>
              <a:off x="9873946" y="3443445"/>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ma14="http://schemas.microsoft.com/office/mac/drawingml/2011/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Tree>
    <p:custDataLst>
      <p:tags r:id="rId1"/>
    </p:custDataLst>
    <p:extLst>
      <p:ext uri="{BB962C8B-B14F-4D97-AF65-F5344CB8AC3E}">
        <p14:creationId xmlns:p14="http://schemas.microsoft.com/office/powerpoint/2010/main" val="3856948499"/>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96"/>
          <p:cNvSpPr/>
          <p:nvPr/>
        </p:nvSpPr>
        <p:spPr>
          <a:xfrm rot="10800000">
            <a:off x="1564680" y="3324784"/>
            <a:ext cx="4611797" cy="1237288"/>
          </a:xfrm>
          <a:custGeom>
            <a:avLst/>
            <a:gdLst>
              <a:gd name="connsiteX0" fmla="*/ 0 w 4746171"/>
              <a:gd name="connsiteY0" fmla="*/ 808205 h 2114490"/>
              <a:gd name="connsiteX1" fmla="*/ 2815771 w 4746171"/>
              <a:gd name="connsiteY1" fmla="*/ 53462 h 2114490"/>
              <a:gd name="connsiteX2" fmla="*/ 4746171 w 4746171"/>
              <a:gd name="connsiteY2" fmla="*/ 2114490 h 2114490"/>
            </a:gdLst>
            <a:ahLst/>
            <a:cxnLst>
              <a:cxn ang="0">
                <a:pos x="connsiteX0" y="connsiteY0"/>
              </a:cxn>
              <a:cxn ang="0">
                <a:pos x="connsiteX1" y="connsiteY1"/>
              </a:cxn>
              <a:cxn ang="0">
                <a:pos x="connsiteX2" y="connsiteY2"/>
              </a:cxn>
            </a:cxnLst>
            <a:rect l="l" t="t" r="r" b="b"/>
            <a:pathLst>
              <a:path w="4746171" h="2114490">
                <a:moveTo>
                  <a:pt x="0" y="808205"/>
                </a:moveTo>
                <a:cubicBezTo>
                  <a:pt x="1012371" y="321976"/>
                  <a:pt x="2024742" y="-164252"/>
                  <a:pt x="2815771" y="53462"/>
                </a:cubicBezTo>
                <a:cubicBezTo>
                  <a:pt x="3606800" y="271176"/>
                  <a:pt x="4176485" y="1192833"/>
                  <a:pt x="4746171" y="2114490"/>
                </a:cubicBezTo>
              </a:path>
            </a:pathLst>
          </a:cu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26" name="Freeform 97"/>
          <p:cNvSpPr/>
          <p:nvPr/>
        </p:nvSpPr>
        <p:spPr>
          <a:xfrm rot="10800000">
            <a:off x="2343241" y="3391939"/>
            <a:ext cx="3861134" cy="1240501"/>
          </a:xfrm>
          <a:custGeom>
            <a:avLst/>
            <a:gdLst>
              <a:gd name="connsiteX0" fmla="*/ 0 w 3962400"/>
              <a:gd name="connsiteY0" fmla="*/ 900781 h 2119981"/>
              <a:gd name="connsiteX1" fmla="*/ 1915885 w 3962400"/>
              <a:gd name="connsiteY1" fmla="*/ 44438 h 2119981"/>
              <a:gd name="connsiteX2" fmla="*/ 3962400 w 3962400"/>
              <a:gd name="connsiteY2" fmla="*/ 2119981 h 2119981"/>
            </a:gdLst>
            <a:ahLst/>
            <a:cxnLst>
              <a:cxn ang="0">
                <a:pos x="connsiteX0" y="connsiteY0"/>
              </a:cxn>
              <a:cxn ang="0">
                <a:pos x="connsiteX1" y="connsiteY1"/>
              </a:cxn>
              <a:cxn ang="0">
                <a:pos x="connsiteX2" y="connsiteY2"/>
              </a:cxn>
            </a:cxnLst>
            <a:rect l="l" t="t" r="r" b="b"/>
            <a:pathLst>
              <a:path w="3962400" h="2119981">
                <a:moveTo>
                  <a:pt x="0" y="900781"/>
                </a:moveTo>
                <a:cubicBezTo>
                  <a:pt x="627742" y="371009"/>
                  <a:pt x="1255485" y="-158762"/>
                  <a:pt x="1915885" y="44438"/>
                </a:cubicBezTo>
                <a:cubicBezTo>
                  <a:pt x="2576285" y="247638"/>
                  <a:pt x="3269342" y="1183809"/>
                  <a:pt x="3962400" y="2119981"/>
                </a:cubicBezTo>
              </a:path>
            </a:pathLst>
          </a:cu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27" name="Freeform 98"/>
          <p:cNvSpPr/>
          <p:nvPr/>
        </p:nvSpPr>
        <p:spPr>
          <a:xfrm rot="10800000">
            <a:off x="3453765" y="3671763"/>
            <a:ext cx="2764557" cy="1156850"/>
          </a:xfrm>
          <a:custGeom>
            <a:avLst/>
            <a:gdLst>
              <a:gd name="connsiteX0" fmla="*/ 0 w 2876729"/>
              <a:gd name="connsiteY0" fmla="*/ 1089233 h 1977026"/>
              <a:gd name="connsiteX1" fmla="*/ 1190171 w 2876729"/>
              <a:gd name="connsiteY1" fmla="*/ 15176 h 1977026"/>
              <a:gd name="connsiteX2" fmla="*/ 2728686 w 2876729"/>
              <a:gd name="connsiteY2" fmla="*/ 1800433 h 1977026"/>
              <a:gd name="connsiteX3" fmla="*/ 2728686 w 2876729"/>
              <a:gd name="connsiteY3" fmla="*/ 1814948 h 1977026"/>
            </a:gdLst>
            <a:ahLst/>
            <a:cxnLst>
              <a:cxn ang="0">
                <a:pos x="connsiteX0" y="connsiteY0"/>
              </a:cxn>
              <a:cxn ang="0">
                <a:pos x="connsiteX1" y="connsiteY1"/>
              </a:cxn>
              <a:cxn ang="0">
                <a:pos x="connsiteX2" y="connsiteY2"/>
              </a:cxn>
              <a:cxn ang="0">
                <a:pos x="connsiteX3" y="connsiteY3"/>
              </a:cxn>
            </a:cxnLst>
            <a:rect l="l" t="t" r="r" b="b"/>
            <a:pathLst>
              <a:path w="2876729" h="1977026">
                <a:moveTo>
                  <a:pt x="0" y="1089233"/>
                </a:moveTo>
                <a:cubicBezTo>
                  <a:pt x="367695" y="492938"/>
                  <a:pt x="735390" y="-103357"/>
                  <a:pt x="1190171" y="15176"/>
                </a:cubicBezTo>
                <a:cubicBezTo>
                  <a:pt x="1644952" y="133709"/>
                  <a:pt x="2472267" y="1500471"/>
                  <a:pt x="2728686" y="1800433"/>
                </a:cubicBezTo>
                <a:cubicBezTo>
                  <a:pt x="2985105" y="2100395"/>
                  <a:pt x="2856895" y="1957671"/>
                  <a:pt x="2728686" y="1814948"/>
                </a:cubicBezTo>
              </a:path>
            </a:pathLst>
          </a:cu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37" name="Freeform 76"/>
          <p:cNvSpPr/>
          <p:nvPr/>
        </p:nvSpPr>
        <p:spPr>
          <a:xfrm>
            <a:off x="6117974" y="1957106"/>
            <a:ext cx="4392094" cy="1385708"/>
          </a:xfrm>
          <a:custGeom>
            <a:avLst/>
            <a:gdLst>
              <a:gd name="connsiteX0" fmla="*/ 0 w 4746171"/>
              <a:gd name="connsiteY0" fmla="*/ 808205 h 2114490"/>
              <a:gd name="connsiteX1" fmla="*/ 2815771 w 4746171"/>
              <a:gd name="connsiteY1" fmla="*/ 53462 h 2114490"/>
              <a:gd name="connsiteX2" fmla="*/ 4746171 w 4746171"/>
              <a:gd name="connsiteY2" fmla="*/ 2114490 h 2114490"/>
            </a:gdLst>
            <a:ahLst/>
            <a:cxnLst>
              <a:cxn ang="0">
                <a:pos x="connsiteX0" y="connsiteY0"/>
              </a:cxn>
              <a:cxn ang="0">
                <a:pos x="connsiteX1" y="connsiteY1"/>
              </a:cxn>
              <a:cxn ang="0">
                <a:pos x="connsiteX2" y="connsiteY2"/>
              </a:cxn>
            </a:cxnLst>
            <a:rect l="l" t="t" r="r" b="b"/>
            <a:pathLst>
              <a:path w="4746171" h="2114490">
                <a:moveTo>
                  <a:pt x="0" y="808205"/>
                </a:moveTo>
                <a:cubicBezTo>
                  <a:pt x="1012371" y="321976"/>
                  <a:pt x="2024742" y="-164252"/>
                  <a:pt x="2815771" y="53462"/>
                </a:cubicBezTo>
                <a:cubicBezTo>
                  <a:pt x="3606800" y="271176"/>
                  <a:pt x="4176485" y="1192833"/>
                  <a:pt x="4746171" y="2114490"/>
                </a:cubicBezTo>
              </a:path>
            </a:pathLst>
          </a:cu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38" name="Freeform 75"/>
          <p:cNvSpPr/>
          <p:nvPr/>
        </p:nvSpPr>
        <p:spPr>
          <a:xfrm>
            <a:off x="6091112" y="1886349"/>
            <a:ext cx="3666795" cy="1389307"/>
          </a:xfrm>
          <a:custGeom>
            <a:avLst/>
            <a:gdLst>
              <a:gd name="connsiteX0" fmla="*/ 0 w 3962400"/>
              <a:gd name="connsiteY0" fmla="*/ 900781 h 2119981"/>
              <a:gd name="connsiteX1" fmla="*/ 1915885 w 3962400"/>
              <a:gd name="connsiteY1" fmla="*/ 44438 h 2119981"/>
              <a:gd name="connsiteX2" fmla="*/ 3962400 w 3962400"/>
              <a:gd name="connsiteY2" fmla="*/ 2119981 h 2119981"/>
            </a:gdLst>
            <a:ahLst/>
            <a:cxnLst>
              <a:cxn ang="0">
                <a:pos x="connsiteX0" y="connsiteY0"/>
              </a:cxn>
              <a:cxn ang="0">
                <a:pos x="connsiteX1" y="connsiteY1"/>
              </a:cxn>
              <a:cxn ang="0">
                <a:pos x="connsiteX2" y="connsiteY2"/>
              </a:cxn>
            </a:cxnLst>
            <a:rect l="l" t="t" r="r" b="b"/>
            <a:pathLst>
              <a:path w="3962400" h="2119981">
                <a:moveTo>
                  <a:pt x="0" y="900781"/>
                </a:moveTo>
                <a:cubicBezTo>
                  <a:pt x="627742" y="371009"/>
                  <a:pt x="1255485" y="-158762"/>
                  <a:pt x="1915885" y="44438"/>
                </a:cubicBezTo>
                <a:cubicBezTo>
                  <a:pt x="2576285" y="247638"/>
                  <a:pt x="3269342" y="1183809"/>
                  <a:pt x="3962400" y="2119981"/>
                </a:cubicBezTo>
              </a:path>
            </a:pathLst>
          </a:cu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39" name="Freeform 74"/>
          <p:cNvSpPr/>
          <p:nvPr/>
        </p:nvSpPr>
        <p:spPr>
          <a:xfrm>
            <a:off x="6077680" y="1700213"/>
            <a:ext cx="2662118" cy="1295623"/>
          </a:xfrm>
          <a:custGeom>
            <a:avLst/>
            <a:gdLst>
              <a:gd name="connsiteX0" fmla="*/ 0 w 2876729"/>
              <a:gd name="connsiteY0" fmla="*/ 1089233 h 1977026"/>
              <a:gd name="connsiteX1" fmla="*/ 1190171 w 2876729"/>
              <a:gd name="connsiteY1" fmla="*/ 15176 h 1977026"/>
              <a:gd name="connsiteX2" fmla="*/ 2728686 w 2876729"/>
              <a:gd name="connsiteY2" fmla="*/ 1800433 h 1977026"/>
              <a:gd name="connsiteX3" fmla="*/ 2728686 w 2876729"/>
              <a:gd name="connsiteY3" fmla="*/ 1814948 h 1977026"/>
            </a:gdLst>
            <a:ahLst/>
            <a:cxnLst>
              <a:cxn ang="0">
                <a:pos x="connsiteX0" y="connsiteY0"/>
              </a:cxn>
              <a:cxn ang="0">
                <a:pos x="connsiteX1" y="connsiteY1"/>
              </a:cxn>
              <a:cxn ang="0">
                <a:pos x="connsiteX2" y="connsiteY2"/>
              </a:cxn>
              <a:cxn ang="0">
                <a:pos x="connsiteX3" y="connsiteY3"/>
              </a:cxn>
            </a:cxnLst>
            <a:rect l="l" t="t" r="r" b="b"/>
            <a:pathLst>
              <a:path w="2876729" h="1977026">
                <a:moveTo>
                  <a:pt x="0" y="1089233"/>
                </a:moveTo>
                <a:cubicBezTo>
                  <a:pt x="367695" y="492938"/>
                  <a:pt x="735390" y="-103357"/>
                  <a:pt x="1190171" y="15176"/>
                </a:cubicBezTo>
                <a:cubicBezTo>
                  <a:pt x="1644952" y="133709"/>
                  <a:pt x="2472267" y="1500471"/>
                  <a:pt x="2728686" y="1800433"/>
                </a:cubicBezTo>
                <a:cubicBezTo>
                  <a:pt x="2985105" y="2100395"/>
                  <a:pt x="2856895" y="1957671"/>
                  <a:pt x="2728686" y="1814948"/>
                </a:cubicBezTo>
              </a:path>
            </a:pathLst>
          </a:cu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40" name="Freeform 19"/>
          <p:cNvSpPr/>
          <p:nvPr/>
        </p:nvSpPr>
        <p:spPr>
          <a:xfrm>
            <a:off x="8523825" y="3708081"/>
            <a:ext cx="60305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41" name="Freeform 22"/>
          <p:cNvSpPr/>
          <p:nvPr/>
        </p:nvSpPr>
        <p:spPr>
          <a:xfrm>
            <a:off x="9517501" y="3916437"/>
            <a:ext cx="60305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42" name="Freeform 27"/>
          <p:cNvSpPr/>
          <p:nvPr/>
        </p:nvSpPr>
        <p:spPr>
          <a:xfrm>
            <a:off x="10311948" y="3776640"/>
            <a:ext cx="60305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44" name="Oval 21"/>
          <p:cNvSpPr/>
          <p:nvPr/>
        </p:nvSpPr>
        <p:spPr>
          <a:xfrm>
            <a:off x="10314088" y="3283249"/>
            <a:ext cx="590646" cy="590646"/>
          </a:xfrm>
          <a:prstGeom prst="ellipse">
            <a:avLst/>
          </a:prstGeom>
          <a:solidFill>
            <a:srgbClr val="C4D600"/>
          </a:solidFill>
          <a:ln>
            <a:noFill/>
          </a:ln>
        </p:spPr>
        <p:style>
          <a:lnRef idx="2">
            <a:scrgbClr r="0" g="0" b="0"/>
          </a:lnRef>
          <a:fillRef idx="1">
            <a:scrgbClr r="0" g="0" b="0"/>
          </a:fillRef>
          <a:effectRef idx="0">
            <a:schemeClr val="accent4">
              <a:hueOff val="-623230"/>
              <a:satOff val="-8986"/>
              <a:lumOff val="-1699"/>
              <a:alphaOff val="0"/>
            </a:schemeClr>
          </a:effectRef>
          <a:fontRef idx="minor">
            <a:schemeClr val="lt1"/>
          </a:fontRef>
        </p:style>
      </p:sp>
      <p:sp>
        <p:nvSpPr>
          <p:cNvPr id="55" name="Oval 18"/>
          <p:cNvSpPr/>
          <p:nvPr/>
        </p:nvSpPr>
        <p:spPr>
          <a:xfrm>
            <a:off x="9406016" y="3206388"/>
            <a:ext cx="828937" cy="828937"/>
          </a:xfrm>
          <a:prstGeom prst="ellipse">
            <a:avLst/>
          </a:prstGeom>
          <a:solidFill>
            <a:schemeClr val="bg1">
              <a:lumMod val="85000"/>
            </a:schemeClr>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60" name="Oval 16"/>
          <p:cNvSpPr/>
          <p:nvPr/>
        </p:nvSpPr>
        <p:spPr>
          <a:xfrm>
            <a:off x="8259241" y="2671608"/>
            <a:ext cx="1137908" cy="1137908"/>
          </a:xfrm>
          <a:prstGeom prst="ellipse">
            <a:avLst/>
          </a:prstGeom>
          <a:solidFill>
            <a:schemeClr val="accent5"/>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66" name="Oval 18"/>
          <p:cNvSpPr>
            <a:spLocks noChangeAspect="1" noChangeArrowheads="1"/>
          </p:cNvSpPr>
          <p:nvPr/>
        </p:nvSpPr>
        <p:spPr bwMode="auto">
          <a:xfrm rot="16200000">
            <a:off x="4935433" y="2168623"/>
            <a:ext cx="2321135" cy="2326022"/>
          </a:xfrm>
          <a:prstGeom prst="ellipse">
            <a:avLst/>
          </a:prstGeom>
          <a:solidFill>
            <a:schemeClr val="bg1"/>
          </a:solidFill>
          <a:ln w="190500">
            <a:solidFill>
              <a:schemeClr val="bg1">
                <a:lumMod val="85000"/>
              </a:schemeClr>
            </a:solid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85" name="Freeform 80"/>
          <p:cNvSpPr/>
          <p:nvPr/>
        </p:nvSpPr>
        <p:spPr>
          <a:xfrm flipH="1">
            <a:off x="3055661" y="2331290"/>
            <a:ext cx="60243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87" name="Oval 78"/>
          <p:cNvSpPr/>
          <p:nvPr/>
        </p:nvSpPr>
        <p:spPr>
          <a:xfrm flipH="1">
            <a:off x="1900840" y="2749861"/>
            <a:ext cx="828085" cy="828937"/>
          </a:xfrm>
          <a:prstGeom prst="ellipse">
            <a:avLst/>
          </a:prstGeom>
          <a:solidFill>
            <a:schemeClr val="bg1">
              <a:lumMod val="85000"/>
            </a:schemeClr>
          </a:solidFill>
          <a:ln>
            <a:noFill/>
          </a:ln>
        </p:spPr>
        <p:style>
          <a:lnRef idx="2">
            <a:scrgbClr r="0" g="0" b="0"/>
          </a:lnRef>
          <a:fillRef idx="1">
            <a:scrgbClr r="0" g="0" b="0"/>
          </a:fillRef>
          <a:effectRef idx="0">
            <a:schemeClr val="accent4">
              <a:hueOff val="-1246461"/>
              <a:satOff val="-17972"/>
              <a:lumOff val="-3399"/>
              <a:alphaOff val="0"/>
            </a:schemeClr>
          </a:effectRef>
          <a:fontRef idx="minor">
            <a:schemeClr val="lt1"/>
          </a:fontRef>
        </p:style>
      </p:sp>
      <p:sp>
        <p:nvSpPr>
          <p:cNvPr id="90" name="Oval 79"/>
          <p:cNvSpPr/>
          <p:nvPr/>
        </p:nvSpPr>
        <p:spPr>
          <a:xfrm flipH="1">
            <a:off x="1288026" y="3080221"/>
            <a:ext cx="590039" cy="590646"/>
          </a:xfrm>
          <a:prstGeom prst="ellipse">
            <a:avLst/>
          </a:prstGeom>
          <a:solidFill>
            <a:srgbClr val="00ABAB"/>
          </a:solidFill>
          <a:ln>
            <a:noFill/>
          </a:ln>
        </p:spPr>
        <p:style>
          <a:lnRef idx="2">
            <a:scrgbClr r="0" g="0" b="0"/>
          </a:lnRef>
          <a:fillRef idx="1">
            <a:scrgbClr r="0" g="0" b="0"/>
          </a:fillRef>
          <a:effectRef idx="0">
            <a:schemeClr val="accent4">
              <a:hueOff val="-1869691"/>
              <a:satOff val="-26958"/>
              <a:lumOff val="-5098"/>
              <a:alphaOff val="0"/>
            </a:schemeClr>
          </a:effectRef>
          <a:fontRef idx="minor">
            <a:schemeClr val="lt1"/>
          </a:fontRef>
        </p:style>
      </p:sp>
      <p:sp>
        <p:nvSpPr>
          <p:cNvPr id="102" name="Oval 77"/>
          <p:cNvSpPr/>
          <p:nvPr/>
        </p:nvSpPr>
        <p:spPr>
          <a:xfrm flipH="1">
            <a:off x="2794017" y="2862927"/>
            <a:ext cx="1136739" cy="1137908"/>
          </a:xfrm>
          <a:prstGeom prst="ellipse">
            <a:avLst/>
          </a:prstGeom>
          <a:solidFill>
            <a:schemeClr val="accent2"/>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104" name="Freeform 93"/>
          <p:cNvSpPr/>
          <p:nvPr/>
        </p:nvSpPr>
        <p:spPr>
          <a:xfrm flipH="1">
            <a:off x="2000247" y="2254975"/>
            <a:ext cx="60243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105" name="Freeform 94"/>
          <p:cNvSpPr/>
          <p:nvPr/>
        </p:nvSpPr>
        <p:spPr>
          <a:xfrm flipH="1">
            <a:off x="1266126" y="2580290"/>
            <a:ext cx="60243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106" name="TextBox 101"/>
          <p:cNvSpPr txBox="1"/>
          <p:nvPr/>
        </p:nvSpPr>
        <p:spPr>
          <a:xfrm>
            <a:off x="1266126" y="5092373"/>
            <a:ext cx="9648880" cy="1005848"/>
          </a:xfrm>
          <a:prstGeom prst="rect">
            <a:avLst/>
          </a:prstGeom>
          <a:noFill/>
        </p:spPr>
        <p:txBody>
          <a:bodyPr wrap="square" rIns="144000" bIns="36000" numCol="1" spcCol="360000" rtlCol="0">
            <a:spAutoFit/>
          </a:bodyPr>
          <a:lstStyle/>
          <a:p>
            <a:pPr algn="ctr"/>
            <a:r>
              <a:rPr lang="en-US" sz="1200" dirty="0"/>
              <a:t>this is dummy text it is not here to be read it is here to show how this document will </a:t>
            </a:r>
            <a:r>
              <a:rPr lang="en-US" sz="1200" dirty="0" err="1"/>
              <a:t>lookthis</a:t>
            </a:r>
            <a:r>
              <a:rPr lang="en-US" sz="1200" dirty="0"/>
              <a:t> is dummy text it is not here to be read it is here to show how this document will </a:t>
            </a:r>
            <a:r>
              <a:rPr lang="en-US" sz="1200" dirty="0" err="1"/>
              <a:t>lookthis</a:t>
            </a:r>
            <a:r>
              <a:rPr lang="en-US" sz="1200" dirty="0"/>
              <a:t> is dummy text it is not here to be read it is here to show how this document </a:t>
            </a:r>
          </a:p>
          <a:p>
            <a:pPr algn="ctr"/>
            <a:r>
              <a:rPr lang="en-US" sz="1200" dirty="0"/>
              <a:t>will </a:t>
            </a:r>
            <a:r>
              <a:rPr lang="en-US" sz="1200" dirty="0" err="1"/>
              <a:t>lookthis</a:t>
            </a:r>
            <a:r>
              <a:rPr lang="en-US" sz="1200" dirty="0"/>
              <a:t> is dummy text it is not here to be read it is here to show how this document will </a:t>
            </a:r>
            <a:r>
              <a:rPr lang="en-US" sz="1200" dirty="0" err="1"/>
              <a:t>lookthis</a:t>
            </a:r>
            <a:r>
              <a:rPr lang="en-US" sz="1200" dirty="0"/>
              <a:t> is</a:t>
            </a:r>
          </a:p>
          <a:p>
            <a:pPr algn="ctr"/>
            <a:r>
              <a:rPr lang="en-US" sz="1200" dirty="0"/>
              <a:t> dummy text it is not here to be read it is here to show how this document will look</a:t>
            </a:r>
          </a:p>
        </p:txBody>
      </p:sp>
      <p:sp>
        <p:nvSpPr>
          <p:cNvPr id="107" name="Freeform 650"/>
          <p:cNvSpPr>
            <a:spLocks noEditPoints="1"/>
          </p:cNvSpPr>
          <p:nvPr/>
        </p:nvSpPr>
        <p:spPr bwMode="auto">
          <a:xfrm>
            <a:off x="5745831" y="2814729"/>
            <a:ext cx="705396" cy="956999"/>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accent1"/>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08" name="Freeform 650"/>
          <p:cNvSpPr>
            <a:spLocks noEditPoints="1"/>
          </p:cNvSpPr>
          <p:nvPr/>
        </p:nvSpPr>
        <p:spPr bwMode="auto">
          <a:xfrm>
            <a:off x="2147344" y="2937670"/>
            <a:ext cx="310088" cy="420691"/>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0" name="Freeform 650"/>
          <p:cNvSpPr>
            <a:spLocks noEditPoints="1"/>
          </p:cNvSpPr>
          <p:nvPr/>
        </p:nvSpPr>
        <p:spPr bwMode="auto">
          <a:xfrm>
            <a:off x="9663986" y="3391939"/>
            <a:ext cx="310088" cy="420691"/>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1" name="Freeform 650"/>
          <p:cNvSpPr>
            <a:spLocks noEditPoints="1"/>
          </p:cNvSpPr>
          <p:nvPr/>
        </p:nvSpPr>
        <p:spPr bwMode="auto">
          <a:xfrm>
            <a:off x="3162961" y="3141463"/>
            <a:ext cx="389114" cy="527904"/>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2" name="Freeform 650"/>
          <p:cNvSpPr>
            <a:spLocks noEditPoints="1"/>
          </p:cNvSpPr>
          <p:nvPr/>
        </p:nvSpPr>
        <p:spPr bwMode="auto">
          <a:xfrm>
            <a:off x="8636274" y="2937670"/>
            <a:ext cx="389114" cy="527904"/>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3" name="Freeform 650"/>
          <p:cNvSpPr>
            <a:spLocks noEditPoints="1"/>
          </p:cNvSpPr>
          <p:nvPr/>
        </p:nvSpPr>
        <p:spPr bwMode="auto">
          <a:xfrm>
            <a:off x="1452512" y="3188647"/>
            <a:ext cx="243183" cy="329922"/>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4" name="Freeform 650"/>
          <p:cNvSpPr>
            <a:spLocks noEditPoints="1"/>
          </p:cNvSpPr>
          <p:nvPr/>
        </p:nvSpPr>
        <p:spPr bwMode="auto">
          <a:xfrm>
            <a:off x="10500414" y="3418948"/>
            <a:ext cx="243183" cy="329922"/>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custDataLst>
      <p:tags r:id="rId1"/>
    </p:custDataLst>
    <p:extLst>
      <p:ext uri="{BB962C8B-B14F-4D97-AF65-F5344CB8AC3E}">
        <p14:creationId xmlns:p14="http://schemas.microsoft.com/office/powerpoint/2010/main" val="379773866"/>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a:extLst>
              <a:ext uri="{FF2B5EF4-FFF2-40B4-BE49-F238E27FC236}">
                <a16:creationId xmlns:a16="http://schemas.microsoft.com/office/drawing/2014/main" id="{CF82717B-11BB-6D47-B70A-1F24834D5759}"/>
              </a:ext>
            </a:extLst>
          </p:cNvPr>
          <p:cNvGrpSpPr/>
          <p:nvPr/>
        </p:nvGrpSpPr>
        <p:grpSpPr>
          <a:xfrm>
            <a:off x="731665" y="1362075"/>
            <a:ext cx="10728670" cy="4011120"/>
            <a:chOff x="649432" y="2445051"/>
            <a:chExt cx="7689382" cy="2874824"/>
          </a:xfrm>
        </p:grpSpPr>
        <p:sp>
          <p:nvSpPr>
            <p:cNvPr id="44" name="TextBox 43">
              <a:extLst>
                <a:ext uri="{FF2B5EF4-FFF2-40B4-BE49-F238E27FC236}">
                  <a16:creationId xmlns:a16="http://schemas.microsoft.com/office/drawing/2014/main" id="{7786344F-FD7E-254C-A84F-49AFC7CC26BE}"/>
                </a:ext>
              </a:extLst>
            </p:cNvPr>
            <p:cNvSpPr txBox="1"/>
            <p:nvPr/>
          </p:nvSpPr>
          <p:spPr>
            <a:xfrm>
              <a:off x="1930035" y="2516245"/>
              <a:ext cx="5340927" cy="308823"/>
            </a:xfrm>
            <a:prstGeom prst="rect">
              <a:avLst/>
            </a:prstGeom>
            <a:noFill/>
          </p:spPr>
          <p:txBody>
            <a:bodyPr vert="horz" wrap="square" lIns="0" tIns="0" rIns="0" bIns="0" rtlCol="0">
              <a:spAutoFit/>
            </a:bodyPr>
            <a:lstStyle/>
            <a:p>
              <a:pPr algn="ctr">
                <a:spcBef>
                  <a:spcPts val="200"/>
                </a:spcBef>
                <a:buSzPct val="100000"/>
              </a:pPr>
              <a:r>
                <a:rPr lang="da-DK" sz="2800" b="1" dirty="0">
                  <a:solidFill>
                    <a:schemeClr val="bg1"/>
                  </a:solidFill>
                </a:rPr>
                <a:t>Lorem ipsum dolor sit amet, </a:t>
              </a:r>
              <a:endParaRPr lang="en-US" sz="2800" b="1" dirty="0">
                <a:solidFill>
                  <a:schemeClr val="bg1"/>
                </a:solidFill>
              </a:endParaRPr>
            </a:p>
          </p:txBody>
        </p:sp>
        <p:sp>
          <p:nvSpPr>
            <p:cNvPr id="45" name="Rectangle 44">
              <a:extLst>
                <a:ext uri="{FF2B5EF4-FFF2-40B4-BE49-F238E27FC236}">
                  <a16:creationId xmlns:a16="http://schemas.microsoft.com/office/drawing/2014/main" id="{EE711BA5-0397-F64C-9BD3-D5812BB6B342}"/>
                </a:ext>
              </a:extLst>
            </p:cNvPr>
            <p:cNvSpPr/>
            <p:nvPr/>
          </p:nvSpPr>
          <p:spPr bwMode="gray">
            <a:xfrm rot="18710873">
              <a:off x="1085539" y="3274825"/>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46" name="Rectangle 45">
              <a:extLst>
                <a:ext uri="{FF2B5EF4-FFF2-40B4-BE49-F238E27FC236}">
                  <a16:creationId xmlns:a16="http://schemas.microsoft.com/office/drawing/2014/main" id="{5EE056D3-D2AE-2C45-9DB5-8BA3236C715D}"/>
                </a:ext>
              </a:extLst>
            </p:cNvPr>
            <p:cNvSpPr/>
            <p:nvPr/>
          </p:nvSpPr>
          <p:spPr bwMode="gray">
            <a:xfrm rot="17344638">
              <a:off x="2161459" y="3841592"/>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47" name="Rectangle 46">
              <a:extLst>
                <a:ext uri="{FF2B5EF4-FFF2-40B4-BE49-F238E27FC236}">
                  <a16:creationId xmlns:a16="http://schemas.microsoft.com/office/drawing/2014/main" id="{7A479CFD-5336-3047-8662-5BCD04266ED6}"/>
                </a:ext>
              </a:extLst>
            </p:cNvPr>
            <p:cNvSpPr/>
            <p:nvPr/>
          </p:nvSpPr>
          <p:spPr bwMode="gray">
            <a:xfrm rot="16602696">
              <a:off x="3398004" y="4111006"/>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48" name="Rectangle 47">
              <a:extLst>
                <a:ext uri="{FF2B5EF4-FFF2-40B4-BE49-F238E27FC236}">
                  <a16:creationId xmlns:a16="http://schemas.microsoft.com/office/drawing/2014/main" id="{4A65010C-7ED3-214E-A75B-BA297543B334}"/>
                </a:ext>
              </a:extLst>
            </p:cNvPr>
            <p:cNvSpPr/>
            <p:nvPr/>
          </p:nvSpPr>
          <p:spPr bwMode="gray">
            <a:xfrm rot="15679506">
              <a:off x="4681308" y="4125611"/>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49" name="Rectangle 48">
              <a:extLst>
                <a:ext uri="{FF2B5EF4-FFF2-40B4-BE49-F238E27FC236}">
                  <a16:creationId xmlns:a16="http://schemas.microsoft.com/office/drawing/2014/main" id="{09532649-52CF-7E43-A33E-7C0A30CD8447}"/>
                </a:ext>
              </a:extLst>
            </p:cNvPr>
            <p:cNvSpPr/>
            <p:nvPr/>
          </p:nvSpPr>
          <p:spPr bwMode="gray">
            <a:xfrm rot="15280699">
              <a:off x="5897072" y="3869180"/>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50" name="Rectangle 49">
              <a:extLst>
                <a:ext uri="{FF2B5EF4-FFF2-40B4-BE49-F238E27FC236}">
                  <a16:creationId xmlns:a16="http://schemas.microsoft.com/office/drawing/2014/main" id="{9F22B0B8-CCBF-7849-92DF-A8431DFDCF2F}"/>
                </a:ext>
              </a:extLst>
            </p:cNvPr>
            <p:cNvSpPr/>
            <p:nvPr/>
          </p:nvSpPr>
          <p:spPr bwMode="gray">
            <a:xfrm rot="14304727">
              <a:off x="7019314" y="3352021"/>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51" name="TextBox 50">
              <a:extLst>
                <a:ext uri="{FF2B5EF4-FFF2-40B4-BE49-F238E27FC236}">
                  <a16:creationId xmlns:a16="http://schemas.microsoft.com/office/drawing/2014/main" id="{FED44E45-3504-E344-ABCF-FBBEDC286587}"/>
                </a:ext>
              </a:extLst>
            </p:cNvPr>
            <p:cNvSpPr txBox="1"/>
            <p:nvPr/>
          </p:nvSpPr>
          <p:spPr>
            <a:xfrm rot="1151702">
              <a:off x="1778652" y="4709334"/>
              <a:ext cx="1045001" cy="308823"/>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2" name="TextBox 51">
              <a:extLst>
                <a:ext uri="{FF2B5EF4-FFF2-40B4-BE49-F238E27FC236}">
                  <a16:creationId xmlns:a16="http://schemas.microsoft.com/office/drawing/2014/main" id="{755C39B4-4636-1745-BB0B-FF15A39099A5}"/>
                </a:ext>
              </a:extLst>
            </p:cNvPr>
            <p:cNvSpPr txBox="1"/>
            <p:nvPr/>
          </p:nvSpPr>
          <p:spPr>
            <a:xfrm rot="380953">
              <a:off x="3188352" y="4950059"/>
              <a:ext cx="1045001" cy="308823"/>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3" name="TextBox 52">
              <a:extLst>
                <a:ext uri="{FF2B5EF4-FFF2-40B4-BE49-F238E27FC236}">
                  <a16:creationId xmlns:a16="http://schemas.microsoft.com/office/drawing/2014/main" id="{AA818917-5D19-2E48-A6FF-7CD7E4EDD124}"/>
                </a:ext>
              </a:extLst>
            </p:cNvPr>
            <p:cNvSpPr txBox="1"/>
            <p:nvPr/>
          </p:nvSpPr>
          <p:spPr>
            <a:xfrm rot="21036360">
              <a:off x="4645554" y="5011052"/>
              <a:ext cx="1092069" cy="308823"/>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4" name="TextBox 53">
              <a:extLst>
                <a:ext uri="{FF2B5EF4-FFF2-40B4-BE49-F238E27FC236}">
                  <a16:creationId xmlns:a16="http://schemas.microsoft.com/office/drawing/2014/main" id="{59302010-B3B3-914A-B82B-188735334C17}"/>
                </a:ext>
              </a:extLst>
            </p:cNvPr>
            <p:cNvSpPr txBox="1"/>
            <p:nvPr/>
          </p:nvSpPr>
          <p:spPr>
            <a:xfrm rot="20570304">
              <a:off x="5977322" y="4732229"/>
              <a:ext cx="1092069" cy="308823"/>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5" name="TextBox 54">
              <a:extLst>
                <a:ext uri="{FF2B5EF4-FFF2-40B4-BE49-F238E27FC236}">
                  <a16:creationId xmlns:a16="http://schemas.microsoft.com/office/drawing/2014/main" id="{BC3464A4-287E-C845-BC46-B183DF7BFFE2}"/>
                </a:ext>
              </a:extLst>
            </p:cNvPr>
            <p:cNvSpPr txBox="1"/>
            <p:nvPr/>
          </p:nvSpPr>
          <p:spPr>
            <a:xfrm rot="19630880">
              <a:off x="7246745" y="4136483"/>
              <a:ext cx="1092069" cy="308823"/>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6" name="TextBox 55">
              <a:extLst>
                <a:ext uri="{FF2B5EF4-FFF2-40B4-BE49-F238E27FC236}">
                  <a16:creationId xmlns:a16="http://schemas.microsoft.com/office/drawing/2014/main" id="{47874B0C-F983-BE48-A7DB-8153D537ACBB}"/>
                </a:ext>
              </a:extLst>
            </p:cNvPr>
            <p:cNvSpPr txBox="1"/>
            <p:nvPr/>
          </p:nvSpPr>
          <p:spPr>
            <a:xfrm rot="2505158">
              <a:off x="649432" y="3891762"/>
              <a:ext cx="675409" cy="463234"/>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7" name="Freeform 6">
              <a:extLst>
                <a:ext uri="{FF2B5EF4-FFF2-40B4-BE49-F238E27FC236}">
                  <a16:creationId xmlns:a16="http://schemas.microsoft.com/office/drawing/2014/main" id="{03B5EA44-4B4D-2244-9A36-0C1CE28C14CF}"/>
                </a:ext>
              </a:extLst>
            </p:cNvPr>
            <p:cNvSpPr>
              <a:spLocks/>
            </p:cNvSpPr>
            <p:nvPr/>
          </p:nvSpPr>
          <p:spPr bwMode="auto">
            <a:xfrm>
              <a:off x="1139825" y="2445051"/>
              <a:ext cx="6797675" cy="1519238"/>
            </a:xfrm>
            <a:custGeom>
              <a:avLst/>
              <a:gdLst>
                <a:gd name="T0" fmla="*/ 286 w 4282"/>
                <a:gd name="T1" fmla="*/ 1 h 957"/>
                <a:gd name="T2" fmla="*/ 309 w 4282"/>
                <a:gd name="T3" fmla="*/ 14 h 957"/>
                <a:gd name="T4" fmla="*/ 486 w 4282"/>
                <a:gd name="T5" fmla="*/ 164 h 957"/>
                <a:gd name="T6" fmla="*/ 675 w 4282"/>
                <a:gd name="T7" fmla="*/ 292 h 957"/>
                <a:gd name="T8" fmla="*/ 874 w 4282"/>
                <a:gd name="T9" fmla="*/ 402 h 957"/>
                <a:gd name="T10" fmla="*/ 1083 w 4282"/>
                <a:gd name="T11" fmla="*/ 494 h 957"/>
                <a:gd name="T12" fmla="*/ 1299 w 4282"/>
                <a:gd name="T13" fmla="*/ 575 h 957"/>
                <a:gd name="T14" fmla="*/ 1525 w 4282"/>
                <a:gd name="T15" fmla="*/ 644 h 957"/>
                <a:gd name="T16" fmla="*/ 1755 w 4282"/>
                <a:gd name="T17" fmla="*/ 697 h 957"/>
                <a:gd name="T18" fmla="*/ 1988 w 4282"/>
                <a:gd name="T19" fmla="*/ 725 h 957"/>
                <a:gd name="T20" fmla="*/ 2222 w 4282"/>
                <a:gd name="T21" fmla="*/ 727 h 957"/>
                <a:gd name="T22" fmla="*/ 2518 w 4282"/>
                <a:gd name="T23" fmla="*/ 693 h 957"/>
                <a:gd name="T24" fmla="*/ 2807 w 4282"/>
                <a:gd name="T25" fmla="*/ 630 h 957"/>
                <a:gd name="T26" fmla="*/ 3088 w 4282"/>
                <a:gd name="T27" fmla="*/ 542 h 957"/>
                <a:gd name="T28" fmla="*/ 3362 w 4282"/>
                <a:gd name="T29" fmla="*/ 430 h 957"/>
                <a:gd name="T30" fmla="*/ 3597 w 4282"/>
                <a:gd name="T31" fmla="*/ 313 h 957"/>
                <a:gd name="T32" fmla="*/ 3790 w 4282"/>
                <a:gd name="T33" fmla="*/ 196 h 957"/>
                <a:gd name="T34" fmla="*/ 3972 w 4282"/>
                <a:gd name="T35" fmla="*/ 63 h 957"/>
                <a:gd name="T36" fmla="*/ 4008 w 4282"/>
                <a:gd name="T37" fmla="*/ 48 h 957"/>
                <a:gd name="T38" fmla="*/ 4252 w 4282"/>
                <a:gd name="T39" fmla="*/ 52 h 957"/>
                <a:gd name="T40" fmla="*/ 4269 w 4282"/>
                <a:gd name="T41" fmla="*/ 52 h 957"/>
                <a:gd name="T42" fmla="*/ 4282 w 4282"/>
                <a:gd name="T43" fmla="*/ 59 h 957"/>
                <a:gd name="T44" fmla="*/ 4278 w 4282"/>
                <a:gd name="T45" fmla="*/ 74 h 957"/>
                <a:gd name="T46" fmla="*/ 4264 w 4282"/>
                <a:gd name="T47" fmla="*/ 84 h 957"/>
                <a:gd name="T48" fmla="*/ 4081 w 4282"/>
                <a:gd name="T49" fmla="*/ 243 h 957"/>
                <a:gd name="T50" fmla="*/ 3884 w 4282"/>
                <a:gd name="T51" fmla="*/ 385 h 957"/>
                <a:gd name="T52" fmla="*/ 3676 w 4282"/>
                <a:gd name="T53" fmla="*/ 511 h 957"/>
                <a:gd name="T54" fmla="*/ 3410 w 4282"/>
                <a:gd name="T55" fmla="*/ 647 h 957"/>
                <a:gd name="T56" fmla="*/ 3136 w 4282"/>
                <a:gd name="T57" fmla="*/ 759 h 957"/>
                <a:gd name="T58" fmla="*/ 2854 w 4282"/>
                <a:gd name="T59" fmla="*/ 849 h 957"/>
                <a:gd name="T60" fmla="*/ 2562 w 4282"/>
                <a:gd name="T61" fmla="*/ 917 h 957"/>
                <a:gd name="T62" fmla="*/ 2347 w 4282"/>
                <a:gd name="T63" fmla="*/ 948 h 957"/>
                <a:gd name="T64" fmla="*/ 2127 w 4282"/>
                <a:gd name="T65" fmla="*/ 957 h 957"/>
                <a:gd name="T66" fmla="*/ 1860 w 4282"/>
                <a:gd name="T67" fmla="*/ 941 h 957"/>
                <a:gd name="T68" fmla="*/ 1598 w 4282"/>
                <a:gd name="T69" fmla="*/ 896 h 957"/>
                <a:gd name="T70" fmla="*/ 1340 w 4282"/>
                <a:gd name="T71" fmla="*/ 824 h 957"/>
                <a:gd name="T72" fmla="*/ 1095 w 4282"/>
                <a:gd name="T73" fmla="*/ 735 h 957"/>
                <a:gd name="T74" fmla="*/ 861 w 4282"/>
                <a:gd name="T75" fmla="*/ 636 h 957"/>
                <a:gd name="T76" fmla="*/ 632 w 4282"/>
                <a:gd name="T77" fmla="*/ 523 h 957"/>
                <a:gd name="T78" fmla="*/ 429 w 4282"/>
                <a:gd name="T79" fmla="*/ 400 h 957"/>
                <a:gd name="T80" fmla="*/ 252 w 4282"/>
                <a:gd name="T81" fmla="*/ 270 h 957"/>
                <a:gd name="T82" fmla="*/ 91 w 4282"/>
                <a:gd name="T83" fmla="*/ 123 h 957"/>
                <a:gd name="T84" fmla="*/ 10 w 4282"/>
                <a:gd name="T85" fmla="*/ 37 h 957"/>
                <a:gd name="T86" fmla="*/ 0 w 4282"/>
                <a:gd name="T87" fmla="*/ 24 h 957"/>
                <a:gd name="T88" fmla="*/ 7 w 4282"/>
                <a:gd name="T89" fmla="*/ 11 h 957"/>
                <a:gd name="T90" fmla="*/ 21 w 4282"/>
                <a:gd name="T91" fmla="*/ 9 h 957"/>
                <a:gd name="T92" fmla="*/ 272 w 4282"/>
                <a:gd name="T93" fmla="*/ 0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82" h="957">
                  <a:moveTo>
                    <a:pt x="272" y="0"/>
                  </a:moveTo>
                  <a:lnTo>
                    <a:pt x="286" y="1"/>
                  </a:lnTo>
                  <a:lnTo>
                    <a:pt x="299" y="5"/>
                  </a:lnTo>
                  <a:lnTo>
                    <a:pt x="309" y="14"/>
                  </a:lnTo>
                  <a:lnTo>
                    <a:pt x="397" y="92"/>
                  </a:lnTo>
                  <a:lnTo>
                    <a:pt x="486" y="164"/>
                  </a:lnTo>
                  <a:lnTo>
                    <a:pt x="579" y="231"/>
                  </a:lnTo>
                  <a:lnTo>
                    <a:pt x="675" y="292"/>
                  </a:lnTo>
                  <a:lnTo>
                    <a:pt x="774" y="348"/>
                  </a:lnTo>
                  <a:lnTo>
                    <a:pt x="874" y="402"/>
                  </a:lnTo>
                  <a:lnTo>
                    <a:pt x="978" y="450"/>
                  </a:lnTo>
                  <a:lnTo>
                    <a:pt x="1083" y="494"/>
                  </a:lnTo>
                  <a:lnTo>
                    <a:pt x="1190" y="536"/>
                  </a:lnTo>
                  <a:lnTo>
                    <a:pt x="1299" y="575"/>
                  </a:lnTo>
                  <a:lnTo>
                    <a:pt x="1411" y="611"/>
                  </a:lnTo>
                  <a:lnTo>
                    <a:pt x="1525" y="644"/>
                  </a:lnTo>
                  <a:lnTo>
                    <a:pt x="1639" y="673"/>
                  </a:lnTo>
                  <a:lnTo>
                    <a:pt x="1755" y="697"/>
                  </a:lnTo>
                  <a:lnTo>
                    <a:pt x="1872" y="715"/>
                  </a:lnTo>
                  <a:lnTo>
                    <a:pt x="1988" y="725"/>
                  </a:lnTo>
                  <a:lnTo>
                    <a:pt x="2105" y="729"/>
                  </a:lnTo>
                  <a:lnTo>
                    <a:pt x="2222" y="727"/>
                  </a:lnTo>
                  <a:lnTo>
                    <a:pt x="2371" y="714"/>
                  </a:lnTo>
                  <a:lnTo>
                    <a:pt x="2518" y="693"/>
                  </a:lnTo>
                  <a:lnTo>
                    <a:pt x="2664" y="664"/>
                  </a:lnTo>
                  <a:lnTo>
                    <a:pt x="2807" y="630"/>
                  </a:lnTo>
                  <a:lnTo>
                    <a:pt x="2948" y="589"/>
                  </a:lnTo>
                  <a:lnTo>
                    <a:pt x="3088" y="542"/>
                  </a:lnTo>
                  <a:lnTo>
                    <a:pt x="3225" y="489"/>
                  </a:lnTo>
                  <a:lnTo>
                    <a:pt x="3362" y="430"/>
                  </a:lnTo>
                  <a:lnTo>
                    <a:pt x="3497" y="366"/>
                  </a:lnTo>
                  <a:lnTo>
                    <a:pt x="3597" y="313"/>
                  </a:lnTo>
                  <a:lnTo>
                    <a:pt x="3695" y="257"/>
                  </a:lnTo>
                  <a:lnTo>
                    <a:pt x="3790" y="196"/>
                  </a:lnTo>
                  <a:lnTo>
                    <a:pt x="3882" y="131"/>
                  </a:lnTo>
                  <a:lnTo>
                    <a:pt x="3972" y="63"/>
                  </a:lnTo>
                  <a:lnTo>
                    <a:pt x="3990" y="53"/>
                  </a:lnTo>
                  <a:lnTo>
                    <a:pt x="4008" y="48"/>
                  </a:lnTo>
                  <a:lnTo>
                    <a:pt x="4027" y="46"/>
                  </a:lnTo>
                  <a:lnTo>
                    <a:pt x="4252" y="52"/>
                  </a:lnTo>
                  <a:lnTo>
                    <a:pt x="4260" y="52"/>
                  </a:lnTo>
                  <a:lnTo>
                    <a:pt x="4269" y="52"/>
                  </a:lnTo>
                  <a:lnTo>
                    <a:pt x="4277" y="53"/>
                  </a:lnTo>
                  <a:lnTo>
                    <a:pt x="4282" y="59"/>
                  </a:lnTo>
                  <a:lnTo>
                    <a:pt x="4282" y="67"/>
                  </a:lnTo>
                  <a:lnTo>
                    <a:pt x="4278" y="74"/>
                  </a:lnTo>
                  <a:lnTo>
                    <a:pt x="4272" y="79"/>
                  </a:lnTo>
                  <a:lnTo>
                    <a:pt x="4264" y="84"/>
                  </a:lnTo>
                  <a:lnTo>
                    <a:pt x="4174" y="166"/>
                  </a:lnTo>
                  <a:lnTo>
                    <a:pt x="4081" y="243"/>
                  </a:lnTo>
                  <a:lnTo>
                    <a:pt x="3983" y="316"/>
                  </a:lnTo>
                  <a:lnTo>
                    <a:pt x="3884" y="385"/>
                  </a:lnTo>
                  <a:lnTo>
                    <a:pt x="3782" y="450"/>
                  </a:lnTo>
                  <a:lnTo>
                    <a:pt x="3676" y="511"/>
                  </a:lnTo>
                  <a:lnTo>
                    <a:pt x="3544" y="582"/>
                  </a:lnTo>
                  <a:lnTo>
                    <a:pt x="3410" y="647"/>
                  </a:lnTo>
                  <a:lnTo>
                    <a:pt x="3273" y="706"/>
                  </a:lnTo>
                  <a:lnTo>
                    <a:pt x="3136" y="759"/>
                  </a:lnTo>
                  <a:lnTo>
                    <a:pt x="2995" y="807"/>
                  </a:lnTo>
                  <a:lnTo>
                    <a:pt x="2854" y="849"/>
                  </a:lnTo>
                  <a:lnTo>
                    <a:pt x="2709" y="885"/>
                  </a:lnTo>
                  <a:lnTo>
                    <a:pt x="2562" y="917"/>
                  </a:lnTo>
                  <a:lnTo>
                    <a:pt x="2454" y="935"/>
                  </a:lnTo>
                  <a:lnTo>
                    <a:pt x="2347" y="948"/>
                  </a:lnTo>
                  <a:lnTo>
                    <a:pt x="2237" y="956"/>
                  </a:lnTo>
                  <a:lnTo>
                    <a:pt x="2127" y="957"/>
                  </a:lnTo>
                  <a:lnTo>
                    <a:pt x="1993" y="953"/>
                  </a:lnTo>
                  <a:lnTo>
                    <a:pt x="1860" y="941"/>
                  </a:lnTo>
                  <a:lnTo>
                    <a:pt x="1728" y="922"/>
                  </a:lnTo>
                  <a:lnTo>
                    <a:pt x="1598" y="896"/>
                  </a:lnTo>
                  <a:lnTo>
                    <a:pt x="1469" y="863"/>
                  </a:lnTo>
                  <a:lnTo>
                    <a:pt x="1340" y="824"/>
                  </a:lnTo>
                  <a:lnTo>
                    <a:pt x="1214" y="780"/>
                  </a:lnTo>
                  <a:lnTo>
                    <a:pt x="1095" y="735"/>
                  </a:lnTo>
                  <a:lnTo>
                    <a:pt x="976" y="686"/>
                  </a:lnTo>
                  <a:lnTo>
                    <a:pt x="861" y="636"/>
                  </a:lnTo>
                  <a:lnTo>
                    <a:pt x="745" y="581"/>
                  </a:lnTo>
                  <a:lnTo>
                    <a:pt x="632" y="523"/>
                  </a:lnTo>
                  <a:lnTo>
                    <a:pt x="521" y="459"/>
                  </a:lnTo>
                  <a:lnTo>
                    <a:pt x="429" y="400"/>
                  </a:lnTo>
                  <a:lnTo>
                    <a:pt x="339" y="337"/>
                  </a:lnTo>
                  <a:lnTo>
                    <a:pt x="252" y="270"/>
                  </a:lnTo>
                  <a:lnTo>
                    <a:pt x="170" y="199"/>
                  </a:lnTo>
                  <a:lnTo>
                    <a:pt x="91" y="123"/>
                  </a:lnTo>
                  <a:lnTo>
                    <a:pt x="16" y="43"/>
                  </a:lnTo>
                  <a:lnTo>
                    <a:pt x="10" y="37"/>
                  </a:lnTo>
                  <a:lnTo>
                    <a:pt x="4" y="31"/>
                  </a:lnTo>
                  <a:lnTo>
                    <a:pt x="0" y="24"/>
                  </a:lnTo>
                  <a:lnTo>
                    <a:pt x="1" y="17"/>
                  </a:lnTo>
                  <a:lnTo>
                    <a:pt x="7" y="11"/>
                  </a:lnTo>
                  <a:lnTo>
                    <a:pt x="13" y="9"/>
                  </a:lnTo>
                  <a:lnTo>
                    <a:pt x="21" y="9"/>
                  </a:lnTo>
                  <a:lnTo>
                    <a:pt x="29" y="10"/>
                  </a:lnTo>
                  <a:lnTo>
                    <a:pt x="27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grpSp>
    </p:spTree>
    <p:custDataLst>
      <p:tags r:id="rId1"/>
    </p:custDataLst>
    <p:extLst>
      <p:ext uri="{BB962C8B-B14F-4D97-AF65-F5344CB8AC3E}">
        <p14:creationId xmlns:p14="http://schemas.microsoft.com/office/powerpoint/2010/main" val="1962089428"/>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68969" y="1035329"/>
            <a:ext cx="11994988" cy="4787341"/>
            <a:chOff x="1752526" y="2347697"/>
            <a:chExt cx="7065893" cy="2820081"/>
          </a:xfrm>
        </p:grpSpPr>
        <p:grpSp>
          <p:nvGrpSpPr>
            <p:cNvPr id="50" name="Group 49">
              <a:extLst>
                <a:ext uri="{FF2B5EF4-FFF2-40B4-BE49-F238E27FC236}">
                  <a16:creationId xmlns:a16="http://schemas.microsoft.com/office/drawing/2014/main" id="{636BA568-3BF9-C141-B914-8340B0D758D7}"/>
                </a:ext>
              </a:extLst>
            </p:cNvPr>
            <p:cNvGrpSpPr/>
            <p:nvPr/>
          </p:nvGrpSpPr>
          <p:grpSpPr>
            <a:xfrm>
              <a:off x="1752526" y="2347697"/>
              <a:ext cx="7065893" cy="2820081"/>
              <a:chOff x="294310" y="1810617"/>
              <a:chExt cx="9421190" cy="3760106"/>
            </a:xfrm>
          </p:grpSpPr>
          <p:grpSp>
            <p:nvGrpSpPr>
              <p:cNvPr id="51" name="Group 50">
                <a:extLst>
                  <a:ext uri="{FF2B5EF4-FFF2-40B4-BE49-F238E27FC236}">
                    <a16:creationId xmlns:a16="http://schemas.microsoft.com/office/drawing/2014/main" id="{213E6F62-CFFA-C448-AB70-3EF676BA3DDB}"/>
                  </a:ext>
                </a:extLst>
              </p:cNvPr>
              <p:cNvGrpSpPr/>
              <p:nvPr/>
            </p:nvGrpSpPr>
            <p:grpSpPr>
              <a:xfrm>
                <a:off x="294310" y="1995208"/>
                <a:ext cx="3582864" cy="3572117"/>
                <a:chOff x="872926" y="1679348"/>
                <a:chExt cx="3582864" cy="3572117"/>
              </a:xfrm>
            </p:grpSpPr>
            <p:cxnSp>
              <p:nvCxnSpPr>
                <p:cNvPr id="67" name="Straight Connector 66">
                  <a:extLst>
                    <a:ext uri="{FF2B5EF4-FFF2-40B4-BE49-F238E27FC236}">
                      <a16:creationId xmlns:a16="http://schemas.microsoft.com/office/drawing/2014/main" id="{23C9C5C1-9A95-4C44-B112-3F79079F9342}"/>
                    </a:ext>
                  </a:extLst>
                </p:cNvPr>
                <p:cNvCxnSpPr/>
                <p:nvPr/>
              </p:nvCxnSpPr>
              <p:spPr>
                <a:xfrm flipV="1">
                  <a:off x="3543004" y="2404424"/>
                  <a:ext cx="238211" cy="210169"/>
                </a:xfrm>
                <a:prstGeom prst="line">
                  <a:avLst/>
                </a:prstGeom>
                <a:ln w="19050">
                  <a:solidFill>
                    <a:srgbClr val="00A3E0"/>
                  </a:solidFill>
                  <a:prstDash val="sysDot"/>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641C305-356A-6D4D-B0ED-A33E7FA2D276}"/>
                    </a:ext>
                  </a:extLst>
                </p:cNvPr>
                <p:cNvCxnSpPr/>
                <p:nvPr/>
              </p:nvCxnSpPr>
              <p:spPr>
                <a:xfrm flipV="1">
                  <a:off x="3734523" y="2984482"/>
                  <a:ext cx="356377" cy="92690"/>
                </a:xfrm>
                <a:prstGeom prst="line">
                  <a:avLst/>
                </a:prstGeom>
                <a:ln w="19050">
                  <a:solidFill>
                    <a:srgbClr val="43B02A"/>
                  </a:solidFill>
                  <a:prstDash val="sysDot"/>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64E4B95-872A-BB49-9E12-C2F5D373DE20}"/>
                    </a:ext>
                  </a:extLst>
                </p:cNvPr>
                <p:cNvCxnSpPr/>
                <p:nvPr/>
              </p:nvCxnSpPr>
              <p:spPr>
                <a:xfrm>
                  <a:off x="3762728" y="3621882"/>
                  <a:ext cx="376500" cy="104936"/>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84179A5-44CA-DD42-9FE7-20054DB8B15E}"/>
                    </a:ext>
                  </a:extLst>
                </p:cNvPr>
                <p:cNvCxnSpPr/>
                <p:nvPr/>
              </p:nvCxnSpPr>
              <p:spPr>
                <a:xfrm>
                  <a:off x="3537885" y="4187561"/>
                  <a:ext cx="292119" cy="237086"/>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811F157-6B41-D84A-B168-4AF5C4710512}"/>
                    </a:ext>
                  </a:extLst>
                </p:cNvPr>
                <p:cNvCxnSpPr/>
                <p:nvPr/>
              </p:nvCxnSpPr>
              <p:spPr>
                <a:xfrm>
                  <a:off x="3040945" y="4544491"/>
                  <a:ext cx="204990" cy="385913"/>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5EE3DE2-1C0A-114C-8A49-03B85520D6F8}"/>
                    </a:ext>
                  </a:extLst>
                </p:cNvPr>
                <p:cNvCxnSpPr/>
                <p:nvPr/>
              </p:nvCxnSpPr>
              <p:spPr>
                <a:xfrm flipV="1">
                  <a:off x="3063496" y="1993694"/>
                  <a:ext cx="182439" cy="345766"/>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1A9C2C6E-CC5F-3847-B6F4-9015D29BD7BA}"/>
                    </a:ext>
                  </a:extLst>
                </p:cNvPr>
                <p:cNvSpPr/>
                <p:nvPr/>
              </p:nvSpPr>
              <p:spPr bwMode="gray">
                <a:xfrm>
                  <a:off x="953037" y="1835239"/>
                  <a:ext cx="3206840" cy="3206840"/>
                </a:xfrm>
                <a:prstGeom prst="ellipse">
                  <a:avLst/>
                </a:prstGeom>
                <a:noFill/>
                <a:ln w="19050"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4" name="Oval 73">
                  <a:extLst>
                    <a:ext uri="{FF2B5EF4-FFF2-40B4-BE49-F238E27FC236}">
                      <a16:creationId xmlns:a16="http://schemas.microsoft.com/office/drawing/2014/main" id="{A9CAF664-5540-6B44-A910-A9FAAC714611}"/>
                    </a:ext>
                  </a:extLst>
                </p:cNvPr>
                <p:cNvSpPr/>
                <p:nvPr/>
              </p:nvSpPr>
              <p:spPr bwMode="gray">
                <a:xfrm>
                  <a:off x="1392445" y="2274647"/>
                  <a:ext cx="2381519" cy="2381519"/>
                </a:xfrm>
                <a:prstGeom prst="ellipse">
                  <a:avLst/>
                </a:prstGeom>
                <a:noFill/>
                <a:ln w="76200"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5" name="Oval 74">
                  <a:extLst>
                    <a:ext uri="{FF2B5EF4-FFF2-40B4-BE49-F238E27FC236}">
                      <a16:creationId xmlns:a16="http://schemas.microsoft.com/office/drawing/2014/main" id="{76FFA1E0-BE84-F14C-9E74-CF2E74E5AB41}"/>
                    </a:ext>
                  </a:extLst>
                </p:cNvPr>
                <p:cNvSpPr/>
                <p:nvPr/>
              </p:nvSpPr>
              <p:spPr bwMode="gray">
                <a:xfrm>
                  <a:off x="1470993" y="2353195"/>
                  <a:ext cx="2224422" cy="2224422"/>
                </a:xfrm>
                <a:prstGeom prst="ellipse">
                  <a:avLst/>
                </a:prstGeom>
                <a:noFill/>
                <a:ln w="19050"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6" name="Rectangle 75">
                  <a:extLst>
                    <a:ext uri="{FF2B5EF4-FFF2-40B4-BE49-F238E27FC236}">
                      <a16:creationId xmlns:a16="http://schemas.microsoft.com/office/drawing/2014/main" id="{8C9CB853-32E2-BF4B-8F99-2265176EA13C}"/>
                    </a:ext>
                  </a:extLst>
                </p:cNvPr>
                <p:cNvSpPr/>
                <p:nvPr/>
              </p:nvSpPr>
              <p:spPr bwMode="gray">
                <a:xfrm>
                  <a:off x="872926" y="1700213"/>
                  <a:ext cx="1574060" cy="3441576"/>
                </a:xfrm>
                <a:prstGeom prst="rect">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7" name="Oval 76">
                  <a:extLst>
                    <a:ext uri="{FF2B5EF4-FFF2-40B4-BE49-F238E27FC236}">
                      <a16:creationId xmlns:a16="http://schemas.microsoft.com/office/drawing/2014/main" id="{AA1BBD24-28AC-3147-B021-A855F38AF486}"/>
                    </a:ext>
                  </a:extLst>
                </p:cNvPr>
                <p:cNvSpPr/>
                <p:nvPr/>
              </p:nvSpPr>
              <p:spPr bwMode="gray">
                <a:xfrm>
                  <a:off x="2289320" y="1742438"/>
                  <a:ext cx="199421" cy="199421"/>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8" name="Oval 77">
                  <a:extLst>
                    <a:ext uri="{FF2B5EF4-FFF2-40B4-BE49-F238E27FC236}">
                      <a16:creationId xmlns:a16="http://schemas.microsoft.com/office/drawing/2014/main" id="{D2B8F94F-72D7-4F4B-9DAC-1A74A4FE74D1}"/>
                    </a:ext>
                  </a:extLst>
                </p:cNvPr>
                <p:cNvSpPr/>
                <p:nvPr/>
              </p:nvSpPr>
              <p:spPr bwMode="gray">
                <a:xfrm>
                  <a:off x="2306325" y="2194406"/>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9" name="Oval 78">
                  <a:extLst>
                    <a:ext uri="{FF2B5EF4-FFF2-40B4-BE49-F238E27FC236}">
                      <a16:creationId xmlns:a16="http://schemas.microsoft.com/office/drawing/2014/main" id="{2DFB8D09-125A-3749-B181-93735601046A}"/>
                    </a:ext>
                  </a:extLst>
                </p:cNvPr>
                <p:cNvSpPr/>
                <p:nvPr/>
              </p:nvSpPr>
              <p:spPr bwMode="gray">
                <a:xfrm>
                  <a:off x="2306325" y="4529759"/>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0" name="Oval 79">
                  <a:extLst>
                    <a:ext uri="{FF2B5EF4-FFF2-40B4-BE49-F238E27FC236}">
                      <a16:creationId xmlns:a16="http://schemas.microsoft.com/office/drawing/2014/main" id="{96248E92-4D31-FB47-ACB3-C2EC633B426C}"/>
                    </a:ext>
                  </a:extLst>
                </p:cNvPr>
                <p:cNvSpPr/>
                <p:nvPr/>
              </p:nvSpPr>
              <p:spPr bwMode="gray">
                <a:xfrm>
                  <a:off x="2316218" y="4942368"/>
                  <a:ext cx="199421" cy="199421"/>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1" name="Oval 80">
                  <a:extLst>
                    <a:ext uri="{FF2B5EF4-FFF2-40B4-BE49-F238E27FC236}">
                      <a16:creationId xmlns:a16="http://schemas.microsoft.com/office/drawing/2014/main" id="{58B16ADC-F143-064C-9011-2015D2CF682D}"/>
                    </a:ext>
                  </a:extLst>
                </p:cNvPr>
                <p:cNvSpPr/>
                <p:nvPr/>
              </p:nvSpPr>
              <p:spPr bwMode="gray">
                <a:xfrm>
                  <a:off x="2935345" y="2287625"/>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2" name="Oval 81">
                  <a:extLst>
                    <a:ext uri="{FF2B5EF4-FFF2-40B4-BE49-F238E27FC236}">
                      <a16:creationId xmlns:a16="http://schemas.microsoft.com/office/drawing/2014/main" id="{A903FF30-7121-1F4F-97B9-5F60BB7848C2}"/>
                    </a:ext>
                  </a:extLst>
                </p:cNvPr>
                <p:cNvSpPr/>
                <p:nvPr/>
              </p:nvSpPr>
              <p:spPr bwMode="gray">
                <a:xfrm>
                  <a:off x="3372239" y="2549629"/>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3" name="Oval 82">
                  <a:extLst>
                    <a:ext uri="{FF2B5EF4-FFF2-40B4-BE49-F238E27FC236}">
                      <a16:creationId xmlns:a16="http://schemas.microsoft.com/office/drawing/2014/main" id="{3D619334-FD70-C442-A7B7-A994C0545E71}"/>
                    </a:ext>
                  </a:extLst>
                </p:cNvPr>
                <p:cNvSpPr/>
                <p:nvPr/>
              </p:nvSpPr>
              <p:spPr bwMode="gray">
                <a:xfrm>
                  <a:off x="3599240" y="2973405"/>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4" name="Oval 83">
                  <a:extLst>
                    <a:ext uri="{FF2B5EF4-FFF2-40B4-BE49-F238E27FC236}">
                      <a16:creationId xmlns:a16="http://schemas.microsoft.com/office/drawing/2014/main" id="{777DFB4A-03F9-7E4B-A012-6DF5BA7C75C9}"/>
                    </a:ext>
                  </a:extLst>
                </p:cNvPr>
                <p:cNvSpPr/>
                <p:nvPr/>
              </p:nvSpPr>
              <p:spPr bwMode="gray">
                <a:xfrm>
                  <a:off x="3638468" y="3495279"/>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5" name="Oval 84">
                  <a:extLst>
                    <a:ext uri="{FF2B5EF4-FFF2-40B4-BE49-F238E27FC236}">
                      <a16:creationId xmlns:a16="http://schemas.microsoft.com/office/drawing/2014/main" id="{BE5FF2DA-B4F8-7848-978E-498FBA994C8D}"/>
                    </a:ext>
                  </a:extLst>
                </p:cNvPr>
                <p:cNvSpPr/>
                <p:nvPr/>
              </p:nvSpPr>
              <p:spPr bwMode="gray">
                <a:xfrm>
                  <a:off x="3415596" y="4064951"/>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6" name="Oval 85">
                  <a:extLst>
                    <a:ext uri="{FF2B5EF4-FFF2-40B4-BE49-F238E27FC236}">
                      <a16:creationId xmlns:a16="http://schemas.microsoft.com/office/drawing/2014/main" id="{FD75423B-694F-D141-90E7-1FF655DFF03C}"/>
                    </a:ext>
                  </a:extLst>
                </p:cNvPr>
                <p:cNvSpPr/>
                <p:nvPr/>
              </p:nvSpPr>
              <p:spPr bwMode="gray">
                <a:xfrm>
                  <a:off x="2935345" y="4423223"/>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nvGrpSpPr>
                <p:cNvPr id="87" name="Group 86">
                  <a:extLst>
                    <a:ext uri="{FF2B5EF4-FFF2-40B4-BE49-F238E27FC236}">
                      <a16:creationId xmlns:a16="http://schemas.microsoft.com/office/drawing/2014/main" id="{1094CCBB-4C5E-AA4D-9275-82C5B53CD1B1}"/>
                    </a:ext>
                  </a:extLst>
                </p:cNvPr>
                <p:cNvGrpSpPr/>
                <p:nvPr/>
              </p:nvGrpSpPr>
              <p:grpSpPr>
                <a:xfrm>
                  <a:off x="3048001" y="1679348"/>
                  <a:ext cx="457200" cy="457200"/>
                  <a:chOff x="3048001" y="1679348"/>
                  <a:chExt cx="457200" cy="457200"/>
                </a:xfrm>
              </p:grpSpPr>
              <p:sp>
                <p:nvSpPr>
                  <p:cNvPr id="105" name="Oval 104">
                    <a:extLst>
                      <a:ext uri="{FF2B5EF4-FFF2-40B4-BE49-F238E27FC236}">
                        <a16:creationId xmlns:a16="http://schemas.microsoft.com/office/drawing/2014/main" id="{D1CEF391-4228-6B46-B208-7E04E31CD031}"/>
                      </a:ext>
                    </a:extLst>
                  </p:cNvPr>
                  <p:cNvSpPr/>
                  <p:nvPr/>
                </p:nvSpPr>
                <p:spPr bwMode="gray">
                  <a:xfrm>
                    <a:off x="3149487" y="1809568"/>
                    <a:ext cx="261538" cy="261538"/>
                  </a:xfrm>
                  <a:prstGeom prst="ellipse">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106" name="Oval 105">
                    <a:extLst>
                      <a:ext uri="{FF2B5EF4-FFF2-40B4-BE49-F238E27FC236}">
                        <a16:creationId xmlns:a16="http://schemas.microsoft.com/office/drawing/2014/main" id="{06DFE132-3D7D-D346-BAFA-3FF9B1222DE6}"/>
                      </a:ext>
                    </a:extLst>
                  </p:cNvPr>
                  <p:cNvSpPr/>
                  <p:nvPr/>
                </p:nvSpPr>
                <p:spPr bwMode="gray">
                  <a:xfrm>
                    <a:off x="3048001" y="1679348"/>
                    <a:ext cx="457200" cy="457200"/>
                  </a:xfrm>
                  <a:prstGeom prst="ellipse">
                    <a:avLst/>
                  </a:prstGeom>
                  <a:solidFill>
                    <a:schemeClr val="bg1"/>
                  </a:solidFill>
                  <a:ln w="19050" algn="ctr">
                    <a:solidFill>
                      <a:schemeClr val="accent5"/>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107" name="Freeform 346">
                    <a:extLst>
                      <a:ext uri="{FF2B5EF4-FFF2-40B4-BE49-F238E27FC236}">
                        <a16:creationId xmlns:a16="http://schemas.microsoft.com/office/drawing/2014/main" id="{9A002FE0-073D-E74F-9729-0CB9592DA1CF}"/>
                      </a:ext>
                    </a:extLst>
                  </p:cNvPr>
                  <p:cNvSpPr>
                    <a:spLocks noChangeAspect="1" noEditPoints="1"/>
                  </p:cNvSpPr>
                  <p:nvPr/>
                </p:nvSpPr>
                <p:spPr bwMode="auto">
                  <a:xfrm>
                    <a:off x="3092785" y="1724133"/>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88" name="Group 87">
                  <a:extLst>
                    <a:ext uri="{FF2B5EF4-FFF2-40B4-BE49-F238E27FC236}">
                      <a16:creationId xmlns:a16="http://schemas.microsoft.com/office/drawing/2014/main" id="{3DEFEDC0-2541-8141-B2F8-CF781F54F948}"/>
                    </a:ext>
                  </a:extLst>
                </p:cNvPr>
                <p:cNvGrpSpPr/>
                <p:nvPr/>
              </p:nvGrpSpPr>
              <p:grpSpPr>
                <a:xfrm>
                  <a:off x="3638468" y="2075948"/>
                  <a:ext cx="457200" cy="457200"/>
                  <a:chOff x="3048000" y="1679348"/>
                  <a:chExt cx="457200" cy="457200"/>
                </a:xfrm>
              </p:grpSpPr>
              <p:sp>
                <p:nvSpPr>
                  <p:cNvPr id="103" name="Oval 102">
                    <a:extLst>
                      <a:ext uri="{FF2B5EF4-FFF2-40B4-BE49-F238E27FC236}">
                        <a16:creationId xmlns:a16="http://schemas.microsoft.com/office/drawing/2014/main" id="{C6A49411-EC9C-114A-995D-02AFE6A5389E}"/>
                      </a:ext>
                    </a:extLst>
                  </p:cNvPr>
                  <p:cNvSpPr/>
                  <p:nvPr/>
                </p:nvSpPr>
                <p:spPr bwMode="gray">
                  <a:xfrm>
                    <a:off x="3149487" y="1809568"/>
                    <a:ext cx="261538" cy="261538"/>
                  </a:xfrm>
                  <a:prstGeom prst="ellipse">
                    <a:avLst/>
                  </a:prstGeom>
                  <a:solidFill>
                    <a:schemeClr val="bg1"/>
                  </a:solidFill>
                  <a:ln w="19050" algn="ctr">
                    <a:solidFill>
                      <a:srgbClr val="00A3E0"/>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104" name="Oval 103">
                    <a:extLst>
                      <a:ext uri="{FF2B5EF4-FFF2-40B4-BE49-F238E27FC236}">
                        <a16:creationId xmlns:a16="http://schemas.microsoft.com/office/drawing/2014/main" id="{A0551FE9-E05E-4E44-9DD0-67E83B891CA4}"/>
                      </a:ext>
                    </a:extLst>
                  </p:cNvPr>
                  <p:cNvSpPr/>
                  <p:nvPr/>
                </p:nvSpPr>
                <p:spPr bwMode="gray">
                  <a:xfrm>
                    <a:off x="3048000" y="1679348"/>
                    <a:ext cx="457200" cy="457200"/>
                  </a:xfrm>
                  <a:prstGeom prst="ellipse">
                    <a:avLst/>
                  </a:prstGeom>
                  <a:solidFill>
                    <a:schemeClr val="bg1"/>
                  </a:solidFill>
                  <a:ln w="19050" algn="ctr">
                    <a:solidFill>
                      <a:srgbClr val="00A3E0"/>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grpSp>
              <p:nvGrpSpPr>
                <p:cNvPr id="89" name="Group 88">
                  <a:extLst>
                    <a:ext uri="{FF2B5EF4-FFF2-40B4-BE49-F238E27FC236}">
                      <a16:creationId xmlns:a16="http://schemas.microsoft.com/office/drawing/2014/main" id="{B7FFFE23-6FEC-A94D-B26C-97D899424841}"/>
                    </a:ext>
                  </a:extLst>
                </p:cNvPr>
                <p:cNvGrpSpPr/>
                <p:nvPr/>
              </p:nvGrpSpPr>
              <p:grpSpPr>
                <a:xfrm>
                  <a:off x="3973133" y="2720438"/>
                  <a:ext cx="457200" cy="457200"/>
                  <a:chOff x="3048000" y="1679348"/>
                  <a:chExt cx="457200" cy="457200"/>
                </a:xfrm>
              </p:grpSpPr>
              <p:sp>
                <p:nvSpPr>
                  <p:cNvPr id="101" name="Oval 100">
                    <a:extLst>
                      <a:ext uri="{FF2B5EF4-FFF2-40B4-BE49-F238E27FC236}">
                        <a16:creationId xmlns:a16="http://schemas.microsoft.com/office/drawing/2014/main" id="{1028B762-AB03-1C49-9E75-16C1A8A4A313}"/>
                      </a:ext>
                    </a:extLst>
                  </p:cNvPr>
                  <p:cNvSpPr/>
                  <p:nvPr/>
                </p:nvSpPr>
                <p:spPr bwMode="gray">
                  <a:xfrm>
                    <a:off x="3149487" y="1809568"/>
                    <a:ext cx="261538" cy="261538"/>
                  </a:xfrm>
                  <a:prstGeom prst="ellipse">
                    <a:avLst/>
                  </a:prstGeom>
                  <a:solidFill>
                    <a:schemeClr val="bg1"/>
                  </a:solidFill>
                  <a:ln w="19050" algn="ctr">
                    <a:solidFill>
                      <a:srgbClr val="43B02A"/>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102" name="Oval 101">
                    <a:extLst>
                      <a:ext uri="{FF2B5EF4-FFF2-40B4-BE49-F238E27FC236}">
                        <a16:creationId xmlns:a16="http://schemas.microsoft.com/office/drawing/2014/main" id="{62B61DC1-50FB-1148-B503-60717492131A}"/>
                      </a:ext>
                    </a:extLst>
                  </p:cNvPr>
                  <p:cNvSpPr/>
                  <p:nvPr/>
                </p:nvSpPr>
                <p:spPr bwMode="gray">
                  <a:xfrm>
                    <a:off x="3048000" y="1679348"/>
                    <a:ext cx="457200" cy="457200"/>
                  </a:xfrm>
                  <a:prstGeom prst="ellipse">
                    <a:avLst/>
                  </a:prstGeom>
                  <a:solidFill>
                    <a:schemeClr val="bg1"/>
                  </a:solidFill>
                  <a:ln w="19050" algn="ctr">
                    <a:solidFill>
                      <a:srgbClr val="43B02A"/>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grpSp>
              <p:nvGrpSpPr>
                <p:cNvPr id="90" name="Group 89">
                  <a:extLst>
                    <a:ext uri="{FF2B5EF4-FFF2-40B4-BE49-F238E27FC236}">
                      <a16:creationId xmlns:a16="http://schemas.microsoft.com/office/drawing/2014/main" id="{F332F775-B42C-3A4B-B6C7-571180C29AB6}"/>
                    </a:ext>
                  </a:extLst>
                </p:cNvPr>
                <p:cNvGrpSpPr/>
                <p:nvPr/>
              </p:nvGrpSpPr>
              <p:grpSpPr>
                <a:xfrm>
                  <a:off x="3998590" y="3528506"/>
                  <a:ext cx="457200" cy="457200"/>
                  <a:chOff x="3048000" y="1679348"/>
                  <a:chExt cx="457200" cy="457200"/>
                </a:xfrm>
              </p:grpSpPr>
              <p:sp>
                <p:nvSpPr>
                  <p:cNvPr id="99" name="Oval 98">
                    <a:extLst>
                      <a:ext uri="{FF2B5EF4-FFF2-40B4-BE49-F238E27FC236}">
                        <a16:creationId xmlns:a16="http://schemas.microsoft.com/office/drawing/2014/main" id="{92E5C168-1741-FF4B-AFF8-9E969F757A01}"/>
                      </a:ext>
                    </a:extLst>
                  </p:cNvPr>
                  <p:cNvSpPr/>
                  <p:nvPr/>
                </p:nvSpPr>
                <p:spPr bwMode="gray">
                  <a:xfrm>
                    <a:off x="3149487" y="1809568"/>
                    <a:ext cx="261538" cy="261538"/>
                  </a:xfrm>
                  <a:prstGeom prst="ellipse">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100" name="Oval 99">
                    <a:extLst>
                      <a:ext uri="{FF2B5EF4-FFF2-40B4-BE49-F238E27FC236}">
                        <a16:creationId xmlns:a16="http://schemas.microsoft.com/office/drawing/2014/main" id="{F3DFE1E5-1E3A-6E40-BBD7-7097AACEBFA3}"/>
                      </a:ext>
                    </a:extLst>
                  </p:cNvPr>
                  <p:cNvSpPr/>
                  <p:nvPr/>
                </p:nvSpPr>
                <p:spPr bwMode="gray">
                  <a:xfrm>
                    <a:off x="3048000" y="1679348"/>
                    <a:ext cx="457200" cy="457200"/>
                  </a:xfrm>
                  <a:prstGeom prst="ellipse">
                    <a:avLst/>
                  </a:prstGeom>
                  <a:solidFill>
                    <a:schemeClr val="bg1"/>
                  </a:solidFill>
                  <a:ln w="19050" algn="ctr">
                    <a:solidFill>
                      <a:schemeClr val="accent4"/>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grpSp>
              <p:nvGrpSpPr>
                <p:cNvPr id="91" name="Group 90">
                  <a:extLst>
                    <a:ext uri="{FF2B5EF4-FFF2-40B4-BE49-F238E27FC236}">
                      <a16:creationId xmlns:a16="http://schemas.microsoft.com/office/drawing/2014/main" id="{4ABBBD44-CAE0-F040-A371-1543526F26A9}"/>
                    </a:ext>
                  </a:extLst>
                </p:cNvPr>
                <p:cNvGrpSpPr/>
                <p:nvPr/>
              </p:nvGrpSpPr>
              <p:grpSpPr>
                <a:xfrm>
                  <a:off x="3688070" y="4266445"/>
                  <a:ext cx="457200" cy="457200"/>
                  <a:chOff x="3048000" y="1679348"/>
                  <a:chExt cx="457200" cy="457200"/>
                </a:xfrm>
              </p:grpSpPr>
              <p:sp>
                <p:nvSpPr>
                  <p:cNvPr id="97" name="Oval 96">
                    <a:extLst>
                      <a:ext uri="{FF2B5EF4-FFF2-40B4-BE49-F238E27FC236}">
                        <a16:creationId xmlns:a16="http://schemas.microsoft.com/office/drawing/2014/main" id="{2927F287-D5C4-D24D-BCEE-F1180EFD8CAE}"/>
                      </a:ext>
                    </a:extLst>
                  </p:cNvPr>
                  <p:cNvSpPr/>
                  <p:nvPr/>
                </p:nvSpPr>
                <p:spPr bwMode="gray">
                  <a:xfrm>
                    <a:off x="3149487" y="1809568"/>
                    <a:ext cx="261538" cy="261538"/>
                  </a:xfrm>
                  <a:prstGeom prst="ellipse">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98" name="Oval 97">
                    <a:extLst>
                      <a:ext uri="{FF2B5EF4-FFF2-40B4-BE49-F238E27FC236}">
                        <a16:creationId xmlns:a16="http://schemas.microsoft.com/office/drawing/2014/main" id="{162D487C-E8DC-E740-9ED0-36C9507F126F}"/>
                      </a:ext>
                    </a:extLst>
                  </p:cNvPr>
                  <p:cNvSpPr/>
                  <p:nvPr/>
                </p:nvSpPr>
                <p:spPr bwMode="gray">
                  <a:xfrm>
                    <a:off x="3048000" y="1679348"/>
                    <a:ext cx="457200" cy="457200"/>
                  </a:xfrm>
                  <a:prstGeom prst="ellipse">
                    <a:avLst/>
                  </a:prstGeom>
                  <a:solidFill>
                    <a:schemeClr val="bg1"/>
                  </a:solidFill>
                  <a:ln w="19050" algn="ctr">
                    <a:solidFill>
                      <a:schemeClr val="accent2"/>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grpSp>
              <p:nvGrpSpPr>
                <p:cNvPr id="92" name="Group 91">
                  <a:extLst>
                    <a:ext uri="{FF2B5EF4-FFF2-40B4-BE49-F238E27FC236}">
                      <a16:creationId xmlns:a16="http://schemas.microsoft.com/office/drawing/2014/main" id="{0D071677-72E7-5843-8F07-0F29A12E1FA7}"/>
                    </a:ext>
                  </a:extLst>
                </p:cNvPr>
                <p:cNvGrpSpPr/>
                <p:nvPr/>
              </p:nvGrpSpPr>
              <p:grpSpPr>
                <a:xfrm>
                  <a:off x="3043773" y="4794265"/>
                  <a:ext cx="457200" cy="457200"/>
                  <a:chOff x="3048000" y="1679348"/>
                  <a:chExt cx="457200" cy="457200"/>
                </a:xfrm>
              </p:grpSpPr>
              <p:sp>
                <p:nvSpPr>
                  <p:cNvPr id="95" name="Oval 94">
                    <a:extLst>
                      <a:ext uri="{FF2B5EF4-FFF2-40B4-BE49-F238E27FC236}">
                        <a16:creationId xmlns:a16="http://schemas.microsoft.com/office/drawing/2014/main" id="{AAF034BB-0E38-3B4A-B27D-807659BC226F}"/>
                      </a:ext>
                    </a:extLst>
                  </p:cNvPr>
                  <p:cNvSpPr/>
                  <p:nvPr/>
                </p:nvSpPr>
                <p:spPr bwMode="gray">
                  <a:xfrm>
                    <a:off x="3149487" y="1809568"/>
                    <a:ext cx="261538" cy="261538"/>
                  </a:xfrm>
                  <a:prstGeom prst="ellipse">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96" name="Oval 95">
                    <a:extLst>
                      <a:ext uri="{FF2B5EF4-FFF2-40B4-BE49-F238E27FC236}">
                        <a16:creationId xmlns:a16="http://schemas.microsoft.com/office/drawing/2014/main" id="{0FA440DA-4961-0348-96B2-AF93ED1C5BD3}"/>
                      </a:ext>
                    </a:extLst>
                  </p:cNvPr>
                  <p:cNvSpPr/>
                  <p:nvPr/>
                </p:nvSpPr>
                <p:spPr bwMode="gray">
                  <a:xfrm>
                    <a:off x="3048000" y="1679348"/>
                    <a:ext cx="457200" cy="457200"/>
                  </a:xfrm>
                  <a:prstGeom prst="ellipse">
                    <a:avLst/>
                  </a:prstGeom>
                  <a:solidFill>
                    <a:schemeClr val="bg1"/>
                  </a:solidFill>
                  <a:ln w="19050" algn="ctr">
                    <a:solidFill>
                      <a:schemeClr val="tx1"/>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sp>
              <p:nvSpPr>
                <p:cNvPr id="93" name="Freeform 518">
                  <a:extLst>
                    <a:ext uri="{FF2B5EF4-FFF2-40B4-BE49-F238E27FC236}">
                      <a16:creationId xmlns:a16="http://schemas.microsoft.com/office/drawing/2014/main" id="{839ACDEE-6D02-0143-99B7-3921A2FAC2BA}"/>
                    </a:ext>
                  </a:extLst>
                </p:cNvPr>
                <p:cNvSpPr>
                  <a:spLocks noChangeAspect="1" noEditPoints="1"/>
                </p:cNvSpPr>
                <p:nvPr/>
              </p:nvSpPr>
              <p:spPr bwMode="auto">
                <a:xfrm>
                  <a:off x="4021607" y="2764526"/>
                  <a:ext cx="367631" cy="367631"/>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rgbClr val="43B02A"/>
                </a:solidFill>
                <a:ln>
                  <a:noFill/>
                </a:ln>
              </p:spPr>
              <p:txBody>
                <a:bodyPr vert="horz" wrap="square" lIns="68580" tIns="34290" rIns="68580" bIns="34290" numCol="1" anchor="t" anchorCtr="0" compatLnSpc="1">
                  <a:prstTxWarp prst="textNoShape">
                    <a:avLst/>
                  </a:prstTxWarp>
                </a:bodyPr>
                <a:lstStyle/>
                <a:p>
                  <a:endParaRPr lang="en-GB"/>
                </a:p>
              </p:txBody>
            </p:sp>
            <p:sp>
              <p:nvSpPr>
                <p:cNvPr id="94" name="Freeform 899">
                  <a:extLst>
                    <a:ext uri="{FF2B5EF4-FFF2-40B4-BE49-F238E27FC236}">
                      <a16:creationId xmlns:a16="http://schemas.microsoft.com/office/drawing/2014/main" id="{250DC7B2-921F-D54E-A8AA-96F57B702BE4}"/>
                    </a:ext>
                  </a:extLst>
                </p:cNvPr>
                <p:cNvSpPr>
                  <a:spLocks noChangeAspect="1" noEditPoints="1"/>
                </p:cNvSpPr>
                <p:nvPr/>
              </p:nvSpPr>
              <p:spPr bwMode="auto">
                <a:xfrm>
                  <a:off x="3092434" y="4851752"/>
                  <a:ext cx="367982" cy="367982"/>
                </a:xfrm>
                <a:custGeom>
                  <a:avLst/>
                  <a:gdLst>
                    <a:gd name="T0" fmla="*/ 138 w 512"/>
                    <a:gd name="T1" fmla="*/ 160 h 512"/>
                    <a:gd name="T2" fmla="*/ 341 w 512"/>
                    <a:gd name="T3" fmla="*/ 160 h 512"/>
                    <a:gd name="T4" fmla="*/ 341 w 512"/>
                    <a:gd name="T5" fmla="*/ 212 h 512"/>
                    <a:gd name="T6" fmla="*/ 236 w 512"/>
                    <a:gd name="T7" fmla="*/ 304 h 512"/>
                    <a:gd name="T8" fmla="*/ 189 w 512"/>
                    <a:gd name="T9" fmla="*/ 249 h 512"/>
                    <a:gd name="T10" fmla="*/ 174 w 512"/>
                    <a:gd name="T11" fmla="*/ 247 h 512"/>
                    <a:gd name="T12" fmla="*/ 173 w 512"/>
                    <a:gd name="T13" fmla="*/ 263 h 512"/>
                    <a:gd name="T14" fmla="*/ 226 w 512"/>
                    <a:gd name="T15" fmla="*/ 327 h 512"/>
                    <a:gd name="T16" fmla="*/ 226 w 512"/>
                    <a:gd name="T17" fmla="*/ 327 h 512"/>
                    <a:gd name="T18" fmla="*/ 234 w 512"/>
                    <a:gd name="T19" fmla="*/ 330 h 512"/>
                    <a:gd name="T20" fmla="*/ 241 w 512"/>
                    <a:gd name="T21" fmla="*/ 328 h 512"/>
                    <a:gd name="T22" fmla="*/ 341 w 512"/>
                    <a:gd name="T23" fmla="*/ 241 h 512"/>
                    <a:gd name="T24" fmla="*/ 341 w 512"/>
                    <a:gd name="T25" fmla="*/ 362 h 512"/>
                    <a:gd name="T26" fmla="*/ 138 w 512"/>
                    <a:gd name="T27" fmla="*/ 362 h 512"/>
                    <a:gd name="T28" fmla="*/ 138 w 512"/>
                    <a:gd name="T29" fmla="*/ 16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3 w 512"/>
                    <a:gd name="T41" fmla="*/ 163 h 512"/>
                    <a:gd name="T42" fmla="*/ 398 w 512"/>
                    <a:gd name="T43" fmla="*/ 162 h 512"/>
                    <a:gd name="T44" fmla="*/ 362 w 512"/>
                    <a:gd name="T45" fmla="*/ 193 h 512"/>
                    <a:gd name="T46" fmla="*/ 362 w 512"/>
                    <a:gd name="T47" fmla="*/ 149 h 512"/>
                    <a:gd name="T48" fmla="*/ 352 w 512"/>
                    <a:gd name="T49" fmla="*/ 138 h 512"/>
                    <a:gd name="T50" fmla="*/ 128 w 512"/>
                    <a:gd name="T51" fmla="*/ 138 h 512"/>
                    <a:gd name="T52" fmla="*/ 117 w 512"/>
                    <a:gd name="T53" fmla="*/ 149 h 512"/>
                    <a:gd name="T54" fmla="*/ 117 w 512"/>
                    <a:gd name="T55" fmla="*/ 373 h 512"/>
                    <a:gd name="T56" fmla="*/ 128 w 512"/>
                    <a:gd name="T57" fmla="*/ 384 h 512"/>
                    <a:gd name="T58" fmla="*/ 352 w 512"/>
                    <a:gd name="T59" fmla="*/ 384 h 512"/>
                    <a:gd name="T60" fmla="*/ 362 w 512"/>
                    <a:gd name="T61" fmla="*/ 373 h 512"/>
                    <a:gd name="T62" fmla="*/ 362 w 512"/>
                    <a:gd name="T63" fmla="*/ 222 h 512"/>
                    <a:gd name="T64" fmla="*/ 412 w 512"/>
                    <a:gd name="T65" fmla="*/ 178 h 512"/>
                    <a:gd name="T66" fmla="*/ 413 w 512"/>
                    <a:gd name="T67"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160"/>
                      </a:moveTo>
                      <a:cubicBezTo>
                        <a:pt x="341" y="160"/>
                        <a:pt x="341" y="160"/>
                        <a:pt x="341" y="160"/>
                      </a:cubicBezTo>
                      <a:cubicBezTo>
                        <a:pt x="341" y="212"/>
                        <a:pt x="341" y="212"/>
                        <a:pt x="341" y="212"/>
                      </a:cubicBezTo>
                      <a:cubicBezTo>
                        <a:pt x="236" y="304"/>
                        <a:pt x="236" y="304"/>
                        <a:pt x="236" y="304"/>
                      </a:cubicBezTo>
                      <a:cubicBezTo>
                        <a:pt x="189" y="249"/>
                        <a:pt x="189" y="249"/>
                        <a:pt x="189" y="249"/>
                      </a:cubicBezTo>
                      <a:cubicBezTo>
                        <a:pt x="185" y="244"/>
                        <a:pt x="179" y="244"/>
                        <a:pt x="174" y="247"/>
                      </a:cubicBezTo>
                      <a:cubicBezTo>
                        <a:pt x="170" y="251"/>
                        <a:pt x="169" y="258"/>
                        <a:pt x="173" y="263"/>
                      </a:cubicBezTo>
                      <a:cubicBezTo>
                        <a:pt x="226" y="327"/>
                        <a:pt x="226" y="327"/>
                        <a:pt x="226" y="327"/>
                      </a:cubicBezTo>
                      <a:cubicBezTo>
                        <a:pt x="226" y="327"/>
                        <a:pt x="226" y="327"/>
                        <a:pt x="226" y="327"/>
                      </a:cubicBezTo>
                      <a:cubicBezTo>
                        <a:pt x="228" y="329"/>
                        <a:pt x="231" y="330"/>
                        <a:pt x="234" y="330"/>
                      </a:cubicBezTo>
                      <a:cubicBezTo>
                        <a:pt x="237" y="330"/>
                        <a:pt x="239" y="329"/>
                        <a:pt x="241" y="328"/>
                      </a:cubicBezTo>
                      <a:cubicBezTo>
                        <a:pt x="341" y="241"/>
                        <a:pt x="341" y="241"/>
                        <a:pt x="341" y="241"/>
                      </a:cubicBezTo>
                      <a:cubicBezTo>
                        <a:pt x="341" y="362"/>
                        <a:pt x="341" y="362"/>
                        <a:pt x="341" y="362"/>
                      </a:cubicBezTo>
                      <a:cubicBezTo>
                        <a:pt x="138" y="362"/>
                        <a:pt x="138" y="362"/>
                        <a:pt x="138" y="362"/>
                      </a:cubicBezTo>
                      <a:lnTo>
                        <a:pt x="138"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63"/>
                      </a:moveTo>
                      <a:cubicBezTo>
                        <a:pt x="409" y="159"/>
                        <a:pt x="402" y="158"/>
                        <a:pt x="398" y="162"/>
                      </a:cubicBezTo>
                      <a:cubicBezTo>
                        <a:pt x="362" y="193"/>
                        <a:pt x="362" y="193"/>
                        <a:pt x="362" y="193"/>
                      </a:cubicBezTo>
                      <a:cubicBezTo>
                        <a:pt x="362" y="149"/>
                        <a:pt x="362" y="149"/>
                        <a:pt x="362" y="149"/>
                      </a:cubicBezTo>
                      <a:cubicBezTo>
                        <a:pt x="362" y="143"/>
                        <a:pt x="358" y="138"/>
                        <a:pt x="352" y="138"/>
                      </a:cubicBezTo>
                      <a:cubicBezTo>
                        <a:pt x="128" y="138"/>
                        <a:pt x="128" y="138"/>
                        <a:pt x="128" y="138"/>
                      </a:cubicBezTo>
                      <a:cubicBezTo>
                        <a:pt x="122" y="138"/>
                        <a:pt x="117" y="143"/>
                        <a:pt x="117" y="149"/>
                      </a:cubicBezTo>
                      <a:cubicBezTo>
                        <a:pt x="117" y="373"/>
                        <a:pt x="117" y="373"/>
                        <a:pt x="117" y="373"/>
                      </a:cubicBezTo>
                      <a:cubicBezTo>
                        <a:pt x="117" y="379"/>
                        <a:pt x="122" y="384"/>
                        <a:pt x="128" y="384"/>
                      </a:cubicBezTo>
                      <a:cubicBezTo>
                        <a:pt x="352" y="384"/>
                        <a:pt x="352" y="384"/>
                        <a:pt x="352" y="384"/>
                      </a:cubicBezTo>
                      <a:cubicBezTo>
                        <a:pt x="358" y="384"/>
                        <a:pt x="362" y="379"/>
                        <a:pt x="362" y="373"/>
                      </a:cubicBezTo>
                      <a:cubicBezTo>
                        <a:pt x="362" y="222"/>
                        <a:pt x="362" y="222"/>
                        <a:pt x="362" y="222"/>
                      </a:cubicBezTo>
                      <a:cubicBezTo>
                        <a:pt x="412" y="178"/>
                        <a:pt x="412" y="178"/>
                        <a:pt x="412" y="178"/>
                      </a:cubicBezTo>
                      <a:cubicBezTo>
                        <a:pt x="416" y="174"/>
                        <a:pt x="417" y="168"/>
                        <a:pt x="413" y="163"/>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GB"/>
                </a:p>
              </p:txBody>
            </p:sp>
          </p:grpSp>
          <p:sp>
            <p:nvSpPr>
              <p:cNvPr id="52" name="Rectangle 51">
                <a:extLst>
                  <a:ext uri="{FF2B5EF4-FFF2-40B4-BE49-F238E27FC236}">
                    <a16:creationId xmlns:a16="http://schemas.microsoft.com/office/drawing/2014/main" id="{D50AD0F6-5C80-B041-837A-6D8F25939EBC}"/>
                  </a:ext>
                </a:extLst>
              </p:cNvPr>
              <p:cNvSpPr/>
              <p:nvPr/>
            </p:nvSpPr>
            <p:spPr>
              <a:xfrm>
                <a:off x="3049725" y="1810617"/>
                <a:ext cx="6665775" cy="265909"/>
              </a:xfrm>
              <a:prstGeom prst="rect">
                <a:avLst/>
              </a:prstGeom>
            </p:spPr>
            <p:txBody>
              <a:bodyPr wrap="square">
                <a:spAutoFit/>
              </a:bodyPr>
              <a:lstStyle/>
              <a:p>
                <a:r>
                  <a:rPr lang="en-US" sz="1600" dirty="0"/>
                  <a:t>Timely tax return filing, data collection, and company escalation</a:t>
                </a:r>
              </a:p>
            </p:txBody>
          </p:sp>
          <p:sp>
            <p:nvSpPr>
              <p:cNvPr id="53" name="Rectangle 52">
                <a:extLst>
                  <a:ext uri="{FF2B5EF4-FFF2-40B4-BE49-F238E27FC236}">
                    <a16:creationId xmlns:a16="http://schemas.microsoft.com/office/drawing/2014/main" id="{CB9ABCFE-84C4-E548-B218-A5F1ADC68DFF}"/>
                  </a:ext>
                </a:extLst>
              </p:cNvPr>
              <p:cNvSpPr/>
              <p:nvPr/>
            </p:nvSpPr>
            <p:spPr>
              <a:xfrm>
                <a:off x="3605158" y="2375904"/>
                <a:ext cx="6013084" cy="265909"/>
              </a:xfrm>
              <a:prstGeom prst="rect">
                <a:avLst/>
              </a:prstGeom>
            </p:spPr>
            <p:txBody>
              <a:bodyPr wrap="square">
                <a:spAutoFit/>
              </a:bodyPr>
              <a:lstStyle/>
              <a:p>
                <a:r>
                  <a:rPr lang="en-US" sz="1600" dirty="0"/>
                  <a:t>Timely communication with assignees and with XXX.</a:t>
                </a:r>
              </a:p>
            </p:txBody>
          </p:sp>
          <p:sp>
            <p:nvSpPr>
              <p:cNvPr id="54" name="Rectangle 53">
                <a:extLst>
                  <a:ext uri="{FF2B5EF4-FFF2-40B4-BE49-F238E27FC236}">
                    <a16:creationId xmlns:a16="http://schemas.microsoft.com/office/drawing/2014/main" id="{C6BE5536-D8F6-AD40-B224-28A80FECD9FB}"/>
                  </a:ext>
                </a:extLst>
              </p:cNvPr>
              <p:cNvSpPr/>
              <p:nvPr/>
            </p:nvSpPr>
            <p:spPr>
              <a:xfrm>
                <a:off x="3859097" y="3103653"/>
                <a:ext cx="4750155" cy="265909"/>
              </a:xfrm>
              <a:prstGeom prst="rect">
                <a:avLst/>
              </a:prstGeom>
            </p:spPr>
            <p:txBody>
              <a:bodyPr wrap="square">
                <a:spAutoFit/>
              </a:bodyPr>
              <a:lstStyle/>
              <a:p>
                <a:r>
                  <a:rPr lang="en-US" sz="1600" dirty="0"/>
                  <a:t>Timely equity activity alerts to local payroll</a:t>
                </a:r>
              </a:p>
            </p:txBody>
          </p:sp>
          <p:sp>
            <p:nvSpPr>
              <p:cNvPr id="55" name="Rectangle 54">
                <a:extLst>
                  <a:ext uri="{FF2B5EF4-FFF2-40B4-BE49-F238E27FC236}">
                    <a16:creationId xmlns:a16="http://schemas.microsoft.com/office/drawing/2014/main" id="{2A2DA328-D7DD-914D-A093-4FDC8000E3F1}"/>
                  </a:ext>
                </a:extLst>
              </p:cNvPr>
              <p:cNvSpPr/>
              <p:nvPr/>
            </p:nvSpPr>
            <p:spPr>
              <a:xfrm>
                <a:off x="3926158" y="3899270"/>
                <a:ext cx="5692084" cy="265909"/>
              </a:xfrm>
              <a:prstGeom prst="rect">
                <a:avLst/>
              </a:prstGeom>
            </p:spPr>
            <p:txBody>
              <a:bodyPr wrap="square">
                <a:spAutoFit/>
              </a:bodyPr>
              <a:lstStyle/>
              <a:p>
                <a:r>
                  <a:rPr lang="en-US" sz="1600" dirty="0"/>
                  <a:t>Timely notification of new tax laws and their impact to the assignee population</a:t>
                </a:r>
              </a:p>
            </p:txBody>
          </p:sp>
          <p:sp>
            <p:nvSpPr>
              <p:cNvPr id="56" name="Rectangle 55">
                <a:extLst>
                  <a:ext uri="{FF2B5EF4-FFF2-40B4-BE49-F238E27FC236}">
                    <a16:creationId xmlns:a16="http://schemas.microsoft.com/office/drawing/2014/main" id="{EF557CDA-B28B-2040-80CF-B43B43C4F9B7}"/>
                  </a:ext>
                </a:extLst>
              </p:cNvPr>
              <p:cNvSpPr/>
              <p:nvPr/>
            </p:nvSpPr>
            <p:spPr>
              <a:xfrm>
                <a:off x="3693536" y="4689452"/>
                <a:ext cx="2559675" cy="265909"/>
              </a:xfrm>
              <a:prstGeom prst="rect">
                <a:avLst/>
              </a:prstGeom>
            </p:spPr>
            <p:txBody>
              <a:bodyPr wrap="square">
                <a:spAutoFit/>
              </a:bodyPr>
              <a:lstStyle/>
              <a:p>
                <a:r>
                  <a:rPr lang="en-US" sz="1600" dirty="0"/>
                  <a:t>Compensation</a:t>
                </a:r>
              </a:p>
            </p:txBody>
          </p:sp>
          <p:sp>
            <p:nvSpPr>
              <p:cNvPr id="57" name="Rectangle 56">
                <a:extLst>
                  <a:ext uri="{FF2B5EF4-FFF2-40B4-BE49-F238E27FC236}">
                    <a16:creationId xmlns:a16="http://schemas.microsoft.com/office/drawing/2014/main" id="{1E930CD5-53EA-FC4D-AE52-236D0B8D7881}"/>
                  </a:ext>
                </a:extLst>
              </p:cNvPr>
              <p:cNvSpPr/>
              <p:nvPr/>
            </p:nvSpPr>
            <p:spPr>
              <a:xfrm>
                <a:off x="3020625" y="5304814"/>
                <a:ext cx="2559675" cy="265909"/>
              </a:xfrm>
              <a:prstGeom prst="rect">
                <a:avLst/>
              </a:prstGeom>
            </p:spPr>
            <p:txBody>
              <a:bodyPr wrap="square">
                <a:spAutoFit/>
              </a:bodyPr>
              <a:lstStyle/>
              <a:p>
                <a:r>
                  <a:rPr lang="en-US" sz="1600" dirty="0"/>
                  <a:t>Placeholder text</a:t>
                </a:r>
              </a:p>
            </p:txBody>
          </p:sp>
          <p:grpSp>
            <p:nvGrpSpPr>
              <p:cNvPr id="58" name="Group 4">
                <a:extLst>
                  <a:ext uri="{FF2B5EF4-FFF2-40B4-BE49-F238E27FC236}">
                    <a16:creationId xmlns:a16="http://schemas.microsoft.com/office/drawing/2014/main" id="{515A5969-D2C5-9D44-9AF4-00F1C339ABE4}"/>
                  </a:ext>
                </a:extLst>
              </p:cNvPr>
              <p:cNvGrpSpPr>
                <a:grpSpLocks noChangeAspect="1"/>
              </p:cNvGrpSpPr>
              <p:nvPr/>
            </p:nvGrpSpPr>
            <p:grpSpPr bwMode="auto">
              <a:xfrm>
                <a:off x="1084521" y="2939059"/>
                <a:ext cx="1767239" cy="1767239"/>
                <a:chOff x="2882" y="1918"/>
                <a:chExt cx="1475" cy="1475"/>
              </a:xfrm>
            </p:grpSpPr>
            <p:sp>
              <p:nvSpPr>
                <p:cNvPr id="65" name="Oval 64">
                  <a:extLst>
                    <a:ext uri="{FF2B5EF4-FFF2-40B4-BE49-F238E27FC236}">
                      <a16:creationId xmlns:a16="http://schemas.microsoft.com/office/drawing/2014/main" id="{005C9913-00D6-7145-8D37-171020C5CCB0}"/>
                    </a:ext>
                  </a:extLst>
                </p:cNvPr>
                <p:cNvSpPr>
                  <a:spLocks noChangeArrowheads="1"/>
                </p:cNvSpPr>
                <p:nvPr/>
              </p:nvSpPr>
              <p:spPr bwMode="auto">
                <a:xfrm>
                  <a:off x="2882" y="1918"/>
                  <a:ext cx="1475" cy="147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6" name="Freeform 6">
                  <a:extLst>
                    <a:ext uri="{FF2B5EF4-FFF2-40B4-BE49-F238E27FC236}">
                      <a16:creationId xmlns:a16="http://schemas.microsoft.com/office/drawing/2014/main" id="{83E60850-4D35-8C47-99A8-BF42C161A198}"/>
                    </a:ext>
                  </a:extLst>
                </p:cNvPr>
                <p:cNvSpPr>
                  <a:spLocks noEditPoints="1"/>
                </p:cNvSpPr>
                <p:nvPr/>
              </p:nvSpPr>
              <p:spPr bwMode="auto">
                <a:xfrm>
                  <a:off x="2958" y="1994"/>
                  <a:ext cx="1323" cy="1323"/>
                </a:xfrm>
                <a:custGeom>
                  <a:avLst/>
                  <a:gdLst>
                    <a:gd name="T0" fmla="*/ 219 w 438"/>
                    <a:gd name="T1" fmla="*/ 0 h 438"/>
                    <a:gd name="T2" fmla="*/ 219 w 438"/>
                    <a:gd name="T3" fmla="*/ 438 h 438"/>
                    <a:gd name="T4" fmla="*/ 80 w 438"/>
                    <a:gd name="T5" fmla="*/ 211 h 438"/>
                    <a:gd name="T6" fmla="*/ 32 w 438"/>
                    <a:gd name="T7" fmla="*/ 203 h 438"/>
                    <a:gd name="T8" fmla="*/ 32 w 438"/>
                    <a:gd name="T9" fmla="*/ 218 h 438"/>
                    <a:gd name="T10" fmla="*/ 80 w 438"/>
                    <a:gd name="T11" fmla="*/ 211 h 438"/>
                    <a:gd name="T12" fmla="*/ 310 w 438"/>
                    <a:gd name="T13" fmla="*/ 386 h 438"/>
                    <a:gd name="T14" fmla="*/ 310 w 438"/>
                    <a:gd name="T15" fmla="*/ 369 h 438"/>
                    <a:gd name="T16" fmla="*/ 139 w 438"/>
                    <a:gd name="T17" fmla="*/ 377 h 438"/>
                    <a:gd name="T18" fmla="*/ 122 w 438"/>
                    <a:gd name="T19" fmla="*/ 377 h 438"/>
                    <a:gd name="T20" fmla="*/ 139 w 438"/>
                    <a:gd name="T21" fmla="*/ 377 h 438"/>
                    <a:gd name="T22" fmla="*/ 375 w 438"/>
                    <a:gd name="T23" fmla="*/ 317 h 438"/>
                    <a:gd name="T24" fmla="*/ 375 w 438"/>
                    <a:gd name="T25" fmla="*/ 299 h 438"/>
                    <a:gd name="T26" fmla="*/ 82 w 438"/>
                    <a:gd name="T27" fmla="*/ 308 h 438"/>
                    <a:gd name="T28" fmla="*/ 64 w 438"/>
                    <a:gd name="T29" fmla="*/ 308 h 438"/>
                    <a:gd name="T30" fmla="*/ 82 w 438"/>
                    <a:gd name="T31" fmla="*/ 308 h 438"/>
                    <a:gd name="T32" fmla="*/ 309 w 438"/>
                    <a:gd name="T33" fmla="*/ 70 h 438"/>
                    <a:gd name="T34" fmla="*/ 309 w 438"/>
                    <a:gd name="T35" fmla="*/ 52 h 438"/>
                    <a:gd name="T36" fmla="*/ 139 w 438"/>
                    <a:gd name="T37" fmla="*/ 61 h 438"/>
                    <a:gd name="T38" fmla="*/ 121 w 438"/>
                    <a:gd name="T39" fmla="*/ 61 h 438"/>
                    <a:gd name="T40" fmla="*/ 139 w 438"/>
                    <a:gd name="T41" fmla="*/ 61 h 438"/>
                    <a:gd name="T42" fmla="*/ 374 w 438"/>
                    <a:gd name="T43" fmla="*/ 139 h 438"/>
                    <a:gd name="T44" fmla="*/ 374 w 438"/>
                    <a:gd name="T45" fmla="*/ 122 h 438"/>
                    <a:gd name="T46" fmla="*/ 81 w 438"/>
                    <a:gd name="T47" fmla="*/ 130 h 438"/>
                    <a:gd name="T48" fmla="*/ 64 w 438"/>
                    <a:gd name="T49" fmla="*/ 130 h 438"/>
                    <a:gd name="T50" fmla="*/ 81 w 438"/>
                    <a:gd name="T51" fmla="*/ 130 h 438"/>
                    <a:gd name="T52" fmla="*/ 212 w 438"/>
                    <a:gd name="T53" fmla="*/ 366 h 438"/>
                    <a:gd name="T54" fmla="*/ 219 w 438"/>
                    <a:gd name="T55" fmla="*/ 414 h 438"/>
                    <a:gd name="T56" fmla="*/ 227 w 438"/>
                    <a:gd name="T57" fmla="*/ 366 h 438"/>
                    <a:gd name="T58" fmla="*/ 219 w 438"/>
                    <a:gd name="T59" fmla="*/ 80 h 438"/>
                    <a:gd name="T60" fmla="*/ 227 w 438"/>
                    <a:gd name="T61" fmla="*/ 32 h 438"/>
                    <a:gd name="T62" fmla="*/ 212 w 438"/>
                    <a:gd name="T63" fmla="*/ 32 h 438"/>
                    <a:gd name="T64" fmla="*/ 219 w 438"/>
                    <a:gd name="T65" fmla="*/ 80 h 438"/>
                    <a:gd name="T66" fmla="*/ 365 w 438"/>
                    <a:gd name="T67" fmla="*/ 218 h 438"/>
                    <a:gd name="T68" fmla="*/ 413 w 438"/>
                    <a:gd name="T69" fmla="*/ 211 h 438"/>
                    <a:gd name="T70" fmla="*/ 365 w 438"/>
                    <a:gd name="T71" fmla="*/ 203 h 438"/>
                    <a:gd name="T72" fmla="*/ 325 w 438"/>
                    <a:gd name="T73" fmla="*/ 218 h 438"/>
                    <a:gd name="T74" fmla="*/ 214 w 438"/>
                    <a:gd name="T75" fmla="*/ 205 h 438"/>
                    <a:gd name="T76" fmla="*/ 144 w 438"/>
                    <a:gd name="T77" fmla="*/ 135 h 438"/>
                    <a:gd name="T78" fmla="*/ 131 w 438"/>
                    <a:gd name="T79" fmla="*/ 147 h 438"/>
                    <a:gd name="T80" fmla="*/ 196 w 438"/>
                    <a:gd name="T81" fmla="*/ 221 h 438"/>
                    <a:gd name="T82" fmla="*/ 150 w 438"/>
                    <a:gd name="T83" fmla="*/ 317 h 438"/>
                    <a:gd name="T84" fmla="*/ 207 w 438"/>
                    <a:gd name="T85" fmla="*/ 237 h 438"/>
                    <a:gd name="T86" fmla="*/ 227 w 438"/>
                    <a:gd name="T87" fmla="*/ 231 h 438"/>
                    <a:gd name="T88" fmla="*/ 333 w 438"/>
                    <a:gd name="T89" fmla="*/ 227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8" h="438">
                      <a:moveTo>
                        <a:pt x="438" y="219"/>
                      </a:moveTo>
                      <a:cubicBezTo>
                        <a:pt x="438" y="98"/>
                        <a:pt x="340" y="0"/>
                        <a:pt x="219" y="0"/>
                      </a:cubicBezTo>
                      <a:cubicBezTo>
                        <a:pt x="98" y="0"/>
                        <a:pt x="0" y="98"/>
                        <a:pt x="0" y="219"/>
                      </a:cubicBezTo>
                      <a:cubicBezTo>
                        <a:pt x="0" y="340"/>
                        <a:pt x="98" y="438"/>
                        <a:pt x="219" y="438"/>
                      </a:cubicBezTo>
                      <a:cubicBezTo>
                        <a:pt x="340" y="438"/>
                        <a:pt x="438" y="340"/>
                        <a:pt x="438" y="219"/>
                      </a:cubicBezTo>
                      <a:close/>
                      <a:moveTo>
                        <a:pt x="80" y="211"/>
                      </a:moveTo>
                      <a:cubicBezTo>
                        <a:pt x="80" y="206"/>
                        <a:pt x="77" y="203"/>
                        <a:pt x="72" y="203"/>
                      </a:cubicBezTo>
                      <a:cubicBezTo>
                        <a:pt x="32" y="203"/>
                        <a:pt x="32" y="203"/>
                        <a:pt x="32" y="203"/>
                      </a:cubicBezTo>
                      <a:cubicBezTo>
                        <a:pt x="28" y="203"/>
                        <a:pt x="25" y="206"/>
                        <a:pt x="25" y="211"/>
                      </a:cubicBezTo>
                      <a:cubicBezTo>
                        <a:pt x="25" y="215"/>
                        <a:pt x="28" y="218"/>
                        <a:pt x="32" y="218"/>
                      </a:cubicBezTo>
                      <a:cubicBezTo>
                        <a:pt x="72" y="218"/>
                        <a:pt x="72" y="218"/>
                        <a:pt x="72" y="218"/>
                      </a:cubicBezTo>
                      <a:cubicBezTo>
                        <a:pt x="77" y="218"/>
                        <a:pt x="80" y="215"/>
                        <a:pt x="80" y="211"/>
                      </a:cubicBezTo>
                      <a:close/>
                      <a:moveTo>
                        <a:pt x="319" y="377"/>
                      </a:moveTo>
                      <a:cubicBezTo>
                        <a:pt x="319" y="382"/>
                        <a:pt x="315" y="386"/>
                        <a:pt x="310" y="386"/>
                      </a:cubicBezTo>
                      <a:cubicBezTo>
                        <a:pt x="305" y="386"/>
                        <a:pt x="301" y="382"/>
                        <a:pt x="301" y="377"/>
                      </a:cubicBezTo>
                      <a:cubicBezTo>
                        <a:pt x="301" y="373"/>
                        <a:pt x="305" y="369"/>
                        <a:pt x="310" y="369"/>
                      </a:cubicBezTo>
                      <a:cubicBezTo>
                        <a:pt x="315" y="369"/>
                        <a:pt x="319" y="373"/>
                        <a:pt x="319" y="377"/>
                      </a:cubicBezTo>
                      <a:close/>
                      <a:moveTo>
                        <a:pt x="139" y="377"/>
                      </a:moveTo>
                      <a:cubicBezTo>
                        <a:pt x="139" y="382"/>
                        <a:pt x="135" y="386"/>
                        <a:pt x="130" y="386"/>
                      </a:cubicBezTo>
                      <a:cubicBezTo>
                        <a:pt x="126" y="386"/>
                        <a:pt x="122" y="382"/>
                        <a:pt x="122" y="377"/>
                      </a:cubicBezTo>
                      <a:cubicBezTo>
                        <a:pt x="122" y="373"/>
                        <a:pt x="126" y="369"/>
                        <a:pt x="130" y="369"/>
                      </a:cubicBezTo>
                      <a:cubicBezTo>
                        <a:pt x="135" y="369"/>
                        <a:pt x="139" y="373"/>
                        <a:pt x="139" y="377"/>
                      </a:cubicBezTo>
                      <a:close/>
                      <a:moveTo>
                        <a:pt x="384" y="308"/>
                      </a:moveTo>
                      <a:cubicBezTo>
                        <a:pt x="384" y="313"/>
                        <a:pt x="380" y="317"/>
                        <a:pt x="375" y="317"/>
                      </a:cubicBezTo>
                      <a:cubicBezTo>
                        <a:pt x="370" y="317"/>
                        <a:pt x="366" y="313"/>
                        <a:pt x="366" y="308"/>
                      </a:cubicBezTo>
                      <a:cubicBezTo>
                        <a:pt x="366" y="303"/>
                        <a:pt x="370" y="299"/>
                        <a:pt x="375" y="299"/>
                      </a:cubicBezTo>
                      <a:cubicBezTo>
                        <a:pt x="380" y="299"/>
                        <a:pt x="384" y="303"/>
                        <a:pt x="384" y="308"/>
                      </a:cubicBezTo>
                      <a:close/>
                      <a:moveTo>
                        <a:pt x="82" y="308"/>
                      </a:moveTo>
                      <a:cubicBezTo>
                        <a:pt x="82" y="313"/>
                        <a:pt x="78" y="317"/>
                        <a:pt x="73" y="317"/>
                      </a:cubicBezTo>
                      <a:cubicBezTo>
                        <a:pt x="68" y="317"/>
                        <a:pt x="64" y="313"/>
                        <a:pt x="64" y="308"/>
                      </a:cubicBezTo>
                      <a:cubicBezTo>
                        <a:pt x="64" y="303"/>
                        <a:pt x="68" y="299"/>
                        <a:pt x="73" y="299"/>
                      </a:cubicBezTo>
                      <a:cubicBezTo>
                        <a:pt x="78" y="299"/>
                        <a:pt x="82" y="303"/>
                        <a:pt x="82" y="308"/>
                      </a:cubicBezTo>
                      <a:close/>
                      <a:moveTo>
                        <a:pt x="318" y="61"/>
                      </a:moveTo>
                      <a:cubicBezTo>
                        <a:pt x="318" y="66"/>
                        <a:pt x="314" y="70"/>
                        <a:pt x="309" y="70"/>
                      </a:cubicBezTo>
                      <a:cubicBezTo>
                        <a:pt x="304" y="70"/>
                        <a:pt x="300" y="66"/>
                        <a:pt x="300" y="61"/>
                      </a:cubicBezTo>
                      <a:cubicBezTo>
                        <a:pt x="300" y="56"/>
                        <a:pt x="304" y="52"/>
                        <a:pt x="309" y="52"/>
                      </a:cubicBezTo>
                      <a:cubicBezTo>
                        <a:pt x="314" y="52"/>
                        <a:pt x="318" y="56"/>
                        <a:pt x="318" y="61"/>
                      </a:cubicBezTo>
                      <a:close/>
                      <a:moveTo>
                        <a:pt x="139" y="61"/>
                      </a:moveTo>
                      <a:cubicBezTo>
                        <a:pt x="139" y="66"/>
                        <a:pt x="135" y="70"/>
                        <a:pt x="130" y="70"/>
                      </a:cubicBezTo>
                      <a:cubicBezTo>
                        <a:pt x="125" y="70"/>
                        <a:pt x="121" y="66"/>
                        <a:pt x="121" y="61"/>
                      </a:cubicBezTo>
                      <a:cubicBezTo>
                        <a:pt x="121" y="56"/>
                        <a:pt x="125" y="52"/>
                        <a:pt x="130" y="52"/>
                      </a:cubicBezTo>
                      <a:cubicBezTo>
                        <a:pt x="135" y="52"/>
                        <a:pt x="139" y="56"/>
                        <a:pt x="139" y="61"/>
                      </a:cubicBezTo>
                      <a:close/>
                      <a:moveTo>
                        <a:pt x="383" y="130"/>
                      </a:moveTo>
                      <a:cubicBezTo>
                        <a:pt x="383" y="135"/>
                        <a:pt x="379" y="139"/>
                        <a:pt x="374" y="139"/>
                      </a:cubicBezTo>
                      <a:cubicBezTo>
                        <a:pt x="369" y="139"/>
                        <a:pt x="365" y="135"/>
                        <a:pt x="365" y="130"/>
                      </a:cubicBezTo>
                      <a:cubicBezTo>
                        <a:pt x="365" y="126"/>
                        <a:pt x="369" y="122"/>
                        <a:pt x="374" y="122"/>
                      </a:cubicBezTo>
                      <a:cubicBezTo>
                        <a:pt x="379" y="122"/>
                        <a:pt x="383" y="126"/>
                        <a:pt x="383" y="130"/>
                      </a:cubicBezTo>
                      <a:close/>
                      <a:moveTo>
                        <a:pt x="81" y="130"/>
                      </a:moveTo>
                      <a:cubicBezTo>
                        <a:pt x="81" y="135"/>
                        <a:pt x="77" y="139"/>
                        <a:pt x="72" y="139"/>
                      </a:cubicBezTo>
                      <a:cubicBezTo>
                        <a:pt x="68" y="139"/>
                        <a:pt x="64" y="135"/>
                        <a:pt x="64" y="130"/>
                      </a:cubicBezTo>
                      <a:cubicBezTo>
                        <a:pt x="64" y="126"/>
                        <a:pt x="68" y="122"/>
                        <a:pt x="72" y="122"/>
                      </a:cubicBezTo>
                      <a:cubicBezTo>
                        <a:pt x="77" y="122"/>
                        <a:pt x="81" y="126"/>
                        <a:pt x="81" y="130"/>
                      </a:cubicBezTo>
                      <a:close/>
                      <a:moveTo>
                        <a:pt x="219" y="359"/>
                      </a:moveTo>
                      <a:cubicBezTo>
                        <a:pt x="215" y="359"/>
                        <a:pt x="212" y="362"/>
                        <a:pt x="212" y="366"/>
                      </a:cubicBezTo>
                      <a:cubicBezTo>
                        <a:pt x="212" y="406"/>
                        <a:pt x="212" y="406"/>
                        <a:pt x="212" y="406"/>
                      </a:cubicBezTo>
                      <a:cubicBezTo>
                        <a:pt x="212" y="411"/>
                        <a:pt x="215" y="414"/>
                        <a:pt x="219" y="414"/>
                      </a:cubicBezTo>
                      <a:cubicBezTo>
                        <a:pt x="224" y="414"/>
                        <a:pt x="227" y="411"/>
                        <a:pt x="227" y="406"/>
                      </a:cubicBezTo>
                      <a:cubicBezTo>
                        <a:pt x="227" y="366"/>
                        <a:pt x="227" y="366"/>
                        <a:pt x="227" y="366"/>
                      </a:cubicBezTo>
                      <a:cubicBezTo>
                        <a:pt x="227" y="362"/>
                        <a:pt x="224" y="359"/>
                        <a:pt x="219" y="359"/>
                      </a:cubicBezTo>
                      <a:close/>
                      <a:moveTo>
                        <a:pt x="219" y="80"/>
                      </a:moveTo>
                      <a:cubicBezTo>
                        <a:pt x="224" y="80"/>
                        <a:pt x="227" y="77"/>
                        <a:pt x="227" y="73"/>
                      </a:cubicBezTo>
                      <a:cubicBezTo>
                        <a:pt x="227" y="32"/>
                        <a:pt x="227" y="32"/>
                        <a:pt x="227" y="32"/>
                      </a:cubicBezTo>
                      <a:cubicBezTo>
                        <a:pt x="227" y="28"/>
                        <a:pt x="224" y="25"/>
                        <a:pt x="219" y="25"/>
                      </a:cubicBezTo>
                      <a:cubicBezTo>
                        <a:pt x="215" y="25"/>
                        <a:pt x="212" y="28"/>
                        <a:pt x="212" y="32"/>
                      </a:cubicBezTo>
                      <a:cubicBezTo>
                        <a:pt x="212" y="73"/>
                        <a:pt x="212" y="73"/>
                        <a:pt x="212" y="73"/>
                      </a:cubicBezTo>
                      <a:cubicBezTo>
                        <a:pt x="212" y="77"/>
                        <a:pt x="215" y="80"/>
                        <a:pt x="219" y="80"/>
                      </a:cubicBezTo>
                      <a:close/>
                      <a:moveTo>
                        <a:pt x="358" y="211"/>
                      </a:moveTo>
                      <a:cubicBezTo>
                        <a:pt x="358" y="215"/>
                        <a:pt x="361" y="218"/>
                        <a:pt x="365" y="218"/>
                      </a:cubicBezTo>
                      <a:cubicBezTo>
                        <a:pt x="406" y="218"/>
                        <a:pt x="406" y="218"/>
                        <a:pt x="406" y="218"/>
                      </a:cubicBezTo>
                      <a:cubicBezTo>
                        <a:pt x="410" y="218"/>
                        <a:pt x="413" y="215"/>
                        <a:pt x="413" y="211"/>
                      </a:cubicBezTo>
                      <a:cubicBezTo>
                        <a:pt x="413" y="206"/>
                        <a:pt x="410" y="203"/>
                        <a:pt x="406" y="203"/>
                      </a:cubicBezTo>
                      <a:cubicBezTo>
                        <a:pt x="365" y="203"/>
                        <a:pt x="365" y="203"/>
                        <a:pt x="365" y="203"/>
                      </a:cubicBezTo>
                      <a:cubicBezTo>
                        <a:pt x="361" y="203"/>
                        <a:pt x="358" y="206"/>
                        <a:pt x="358" y="211"/>
                      </a:cubicBezTo>
                      <a:close/>
                      <a:moveTo>
                        <a:pt x="325" y="218"/>
                      </a:moveTo>
                      <a:cubicBezTo>
                        <a:pt x="227" y="213"/>
                        <a:pt x="227" y="213"/>
                        <a:pt x="227" y="213"/>
                      </a:cubicBezTo>
                      <a:cubicBezTo>
                        <a:pt x="225" y="208"/>
                        <a:pt x="220" y="205"/>
                        <a:pt x="214" y="205"/>
                      </a:cubicBezTo>
                      <a:cubicBezTo>
                        <a:pt x="212" y="205"/>
                        <a:pt x="210" y="205"/>
                        <a:pt x="208" y="205"/>
                      </a:cubicBezTo>
                      <a:cubicBezTo>
                        <a:pt x="144" y="135"/>
                        <a:pt x="144" y="135"/>
                        <a:pt x="144" y="135"/>
                      </a:cubicBezTo>
                      <a:cubicBezTo>
                        <a:pt x="141" y="132"/>
                        <a:pt x="135" y="131"/>
                        <a:pt x="132" y="134"/>
                      </a:cubicBezTo>
                      <a:cubicBezTo>
                        <a:pt x="128" y="138"/>
                        <a:pt x="128" y="143"/>
                        <a:pt x="131" y="147"/>
                      </a:cubicBezTo>
                      <a:cubicBezTo>
                        <a:pt x="197" y="219"/>
                        <a:pt x="197" y="219"/>
                        <a:pt x="197" y="219"/>
                      </a:cubicBezTo>
                      <a:cubicBezTo>
                        <a:pt x="196" y="219"/>
                        <a:pt x="196" y="220"/>
                        <a:pt x="196" y="221"/>
                      </a:cubicBezTo>
                      <a:cubicBezTo>
                        <a:pt x="196" y="226"/>
                        <a:pt x="198" y="231"/>
                        <a:pt x="202" y="234"/>
                      </a:cubicBezTo>
                      <a:cubicBezTo>
                        <a:pt x="150" y="317"/>
                        <a:pt x="150" y="317"/>
                        <a:pt x="150" y="317"/>
                      </a:cubicBezTo>
                      <a:cubicBezTo>
                        <a:pt x="155" y="320"/>
                        <a:pt x="155" y="320"/>
                        <a:pt x="155" y="320"/>
                      </a:cubicBezTo>
                      <a:cubicBezTo>
                        <a:pt x="207" y="237"/>
                        <a:pt x="207" y="237"/>
                        <a:pt x="207" y="237"/>
                      </a:cubicBezTo>
                      <a:cubicBezTo>
                        <a:pt x="208" y="238"/>
                        <a:pt x="210" y="238"/>
                        <a:pt x="212" y="238"/>
                      </a:cubicBezTo>
                      <a:cubicBezTo>
                        <a:pt x="218" y="239"/>
                        <a:pt x="223" y="236"/>
                        <a:pt x="227" y="231"/>
                      </a:cubicBezTo>
                      <a:cubicBezTo>
                        <a:pt x="324" y="235"/>
                        <a:pt x="324" y="235"/>
                        <a:pt x="324" y="235"/>
                      </a:cubicBezTo>
                      <a:cubicBezTo>
                        <a:pt x="329" y="236"/>
                        <a:pt x="333" y="232"/>
                        <a:pt x="333" y="227"/>
                      </a:cubicBezTo>
                      <a:cubicBezTo>
                        <a:pt x="333" y="222"/>
                        <a:pt x="329" y="218"/>
                        <a:pt x="325" y="2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sp>
            <p:nvSpPr>
              <p:cNvPr id="59" name="Oval 58">
                <a:extLst>
                  <a:ext uri="{FF2B5EF4-FFF2-40B4-BE49-F238E27FC236}">
                    <a16:creationId xmlns:a16="http://schemas.microsoft.com/office/drawing/2014/main" id="{4FA76EDC-A6FC-704E-AABF-1C5F7D17178F}"/>
                  </a:ext>
                </a:extLst>
              </p:cNvPr>
              <p:cNvSpPr/>
              <p:nvPr/>
            </p:nvSpPr>
            <p:spPr bwMode="gray">
              <a:xfrm>
                <a:off x="2397946" y="2640454"/>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sp>
            <p:nvSpPr>
              <p:cNvPr id="60" name="Oval 59">
                <a:extLst>
                  <a:ext uri="{FF2B5EF4-FFF2-40B4-BE49-F238E27FC236}">
                    <a16:creationId xmlns:a16="http://schemas.microsoft.com/office/drawing/2014/main" id="{59D849F0-926F-A543-8E6F-A94014F72B59}"/>
                  </a:ext>
                </a:extLst>
              </p:cNvPr>
              <p:cNvSpPr/>
              <p:nvPr/>
            </p:nvSpPr>
            <p:spPr bwMode="gray">
              <a:xfrm>
                <a:off x="2834979" y="2904557"/>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sp>
            <p:nvSpPr>
              <p:cNvPr id="61" name="Oval 60">
                <a:extLst>
                  <a:ext uri="{FF2B5EF4-FFF2-40B4-BE49-F238E27FC236}">
                    <a16:creationId xmlns:a16="http://schemas.microsoft.com/office/drawing/2014/main" id="{87FC8436-AA7E-204A-8081-397E1D9BB56F}"/>
                  </a:ext>
                </a:extLst>
              </p:cNvPr>
              <p:cNvSpPr/>
              <p:nvPr/>
            </p:nvSpPr>
            <p:spPr bwMode="gray">
              <a:xfrm>
                <a:off x="3059692" y="3328333"/>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sp>
            <p:nvSpPr>
              <p:cNvPr id="62" name="Oval 61">
                <a:extLst>
                  <a:ext uri="{FF2B5EF4-FFF2-40B4-BE49-F238E27FC236}">
                    <a16:creationId xmlns:a16="http://schemas.microsoft.com/office/drawing/2014/main" id="{FC69ADFF-8AC9-3540-BB48-7C1E5317802E}"/>
                  </a:ext>
                </a:extLst>
              </p:cNvPr>
              <p:cNvSpPr/>
              <p:nvPr/>
            </p:nvSpPr>
            <p:spPr bwMode="gray">
              <a:xfrm>
                <a:off x="3098920" y="3850207"/>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sp>
            <p:nvSpPr>
              <p:cNvPr id="63" name="Oval 62">
                <a:extLst>
                  <a:ext uri="{FF2B5EF4-FFF2-40B4-BE49-F238E27FC236}">
                    <a16:creationId xmlns:a16="http://schemas.microsoft.com/office/drawing/2014/main" id="{F175CC8B-5DDB-EE43-A592-88BD43FE4D77}"/>
                  </a:ext>
                </a:extLst>
              </p:cNvPr>
              <p:cNvSpPr/>
              <p:nvPr/>
            </p:nvSpPr>
            <p:spPr bwMode="gray">
              <a:xfrm>
                <a:off x="2876048" y="4419879"/>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sp>
            <p:nvSpPr>
              <p:cNvPr id="64" name="Oval 63">
                <a:extLst>
                  <a:ext uri="{FF2B5EF4-FFF2-40B4-BE49-F238E27FC236}">
                    <a16:creationId xmlns:a16="http://schemas.microsoft.com/office/drawing/2014/main" id="{2ECE1928-DEC4-BA4F-96AE-E25DD84457B6}"/>
                  </a:ext>
                </a:extLst>
              </p:cNvPr>
              <p:cNvSpPr/>
              <p:nvPr/>
            </p:nvSpPr>
            <p:spPr bwMode="gray">
              <a:xfrm>
                <a:off x="2397511" y="4780423"/>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grpSp>
        <p:sp>
          <p:nvSpPr>
            <p:cNvPr id="156" name="Freeform 489">
              <a:extLst>
                <a:ext uri="{FF2B5EF4-FFF2-40B4-BE49-F238E27FC236}">
                  <a16:creationId xmlns:a16="http://schemas.microsoft.com/office/drawing/2014/main" id="{5B2953CD-FCA9-CD4F-B551-120B17081AFE}"/>
                </a:ext>
              </a:extLst>
            </p:cNvPr>
            <p:cNvSpPr>
              <a:spLocks noChangeAspect="1" noEditPoints="1"/>
            </p:cNvSpPr>
            <p:nvPr/>
          </p:nvSpPr>
          <p:spPr bwMode="auto">
            <a:xfrm>
              <a:off x="4126356" y="3905133"/>
              <a:ext cx="275987" cy="275987"/>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56 w 512"/>
                <a:gd name="T11" fmla="*/ 160 h 512"/>
                <a:gd name="T12" fmla="*/ 181 w 512"/>
                <a:gd name="T13" fmla="*/ 234 h 512"/>
                <a:gd name="T14" fmla="*/ 162 w 512"/>
                <a:gd name="T15" fmla="*/ 345 h 512"/>
                <a:gd name="T16" fmla="*/ 349 w 512"/>
                <a:gd name="T17" fmla="*/ 345 h 512"/>
                <a:gd name="T18" fmla="*/ 330 w 512"/>
                <a:gd name="T19" fmla="*/ 234 h 512"/>
                <a:gd name="T20" fmla="*/ 256 w 512"/>
                <a:gd name="T21" fmla="*/ 160 h 512"/>
                <a:gd name="T22" fmla="*/ 236 w 512"/>
                <a:gd name="T23" fmla="*/ 380 h 512"/>
                <a:gd name="T24" fmla="*/ 256 w 512"/>
                <a:gd name="T25" fmla="*/ 394 h 512"/>
                <a:gd name="T26" fmla="*/ 276 w 512"/>
                <a:gd name="T27" fmla="*/ 379 h 512"/>
                <a:gd name="T28" fmla="*/ 249 w 512"/>
                <a:gd name="T29" fmla="*/ 381 h 512"/>
                <a:gd name="T30" fmla="*/ 236 w 512"/>
                <a:gd name="T31" fmla="*/ 380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2 w 512"/>
                <a:gd name="T43" fmla="*/ 348 h 512"/>
                <a:gd name="T44" fmla="*/ 352 w 512"/>
                <a:gd name="T45" fmla="*/ 234 h 512"/>
                <a:gd name="T46" fmla="*/ 284 w 512"/>
                <a:gd name="T47" fmla="*/ 142 h 512"/>
                <a:gd name="T48" fmla="*/ 288 w 512"/>
                <a:gd name="T49" fmla="*/ 128 h 512"/>
                <a:gd name="T50" fmla="*/ 256 w 512"/>
                <a:gd name="T51" fmla="*/ 96 h 512"/>
                <a:gd name="T52" fmla="*/ 224 w 512"/>
                <a:gd name="T53" fmla="*/ 128 h 512"/>
                <a:gd name="T54" fmla="*/ 227 w 512"/>
                <a:gd name="T55" fmla="*/ 142 h 512"/>
                <a:gd name="T56" fmla="*/ 160 w 512"/>
                <a:gd name="T57" fmla="*/ 234 h 512"/>
                <a:gd name="T58" fmla="*/ 139 w 512"/>
                <a:gd name="T59" fmla="*/ 348 h 512"/>
                <a:gd name="T60" fmla="*/ 144 w 512"/>
                <a:gd name="T61" fmla="*/ 361 h 512"/>
                <a:gd name="T62" fmla="*/ 214 w 512"/>
                <a:gd name="T63" fmla="*/ 379 h 512"/>
                <a:gd name="T64" fmla="*/ 256 w 512"/>
                <a:gd name="T65" fmla="*/ 416 h 512"/>
                <a:gd name="T66" fmla="*/ 298 w 512"/>
                <a:gd name="T67" fmla="*/ 377 h 512"/>
                <a:gd name="T68" fmla="*/ 366 w 512"/>
                <a:gd name="T69" fmla="*/ 362 h 512"/>
                <a:gd name="T70" fmla="*/ 372 w 512"/>
                <a:gd name="T71" fmla="*/ 357 h 512"/>
                <a:gd name="T72" fmla="*/ 372 w 512"/>
                <a:gd name="T73" fmla="*/ 3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56" y="160"/>
                  </a:moveTo>
                  <a:cubicBezTo>
                    <a:pt x="212" y="160"/>
                    <a:pt x="181" y="190"/>
                    <a:pt x="181" y="234"/>
                  </a:cubicBezTo>
                  <a:cubicBezTo>
                    <a:pt x="181" y="278"/>
                    <a:pt x="168" y="325"/>
                    <a:pt x="162" y="345"/>
                  </a:cubicBezTo>
                  <a:cubicBezTo>
                    <a:pt x="185" y="354"/>
                    <a:pt x="253" y="372"/>
                    <a:pt x="349" y="345"/>
                  </a:cubicBezTo>
                  <a:cubicBezTo>
                    <a:pt x="343" y="324"/>
                    <a:pt x="330" y="277"/>
                    <a:pt x="330" y="234"/>
                  </a:cubicBezTo>
                  <a:cubicBezTo>
                    <a:pt x="330" y="190"/>
                    <a:pt x="300" y="160"/>
                    <a:pt x="256" y="160"/>
                  </a:cubicBezTo>
                  <a:close/>
                  <a:moveTo>
                    <a:pt x="236" y="380"/>
                  </a:moveTo>
                  <a:cubicBezTo>
                    <a:pt x="239" y="388"/>
                    <a:pt x="246" y="394"/>
                    <a:pt x="256" y="394"/>
                  </a:cubicBezTo>
                  <a:cubicBezTo>
                    <a:pt x="265" y="394"/>
                    <a:pt x="273" y="388"/>
                    <a:pt x="276" y="379"/>
                  </a:cubicBezTo>
                  <a:cubicBezTo>
                    <a:pt x="266" y="380"/>
                    <a:pt x="257" y="381"/>
                    <a:pt x="249" y="381"/>
                  </a:cubicBezTo>
                  <a:cubicBezTo>
                    <a:pt x="244" y="381"/>
                    <a:pt x="240" y="380"/>
                    <a:pt x="236" y="3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48"/>
                  </a:moveTo>
                  <a:cubicBezTo>
                    <a:pt x="372" y="348"/>
                    <a:pt x="352" y="286"/>
                    <a:pt x="352" y="234"/>
                  </a:cubicBezTo>
                  <a:cubicBezTo>
                    <a:pt x="352" y="189"/>
                    <a:pt x="324" y="153"/>
                    <a:pt x="284" y="142"/>
                  </a:cubicBezTo>
                  <a:cubicBezTo>
                    <a:pt x="286" y="138"/>
                    <a:pt x="288" y="133"/>
                    <a:pt x="288" y="128"/>
                  </a:cubicBezTo>
                  <a:cubicBezTo>
                    <a:pt x="288" y="110"/>
                    <a:pt x="273" y="96"/>
                    <a:pt x="256" y="96"/>
                  </a:cubicBezTo>
                  <a:cubicBezTo>
                    <a:pt x="238" y="96"/>
                    <a:pt x="224" y="110"/>
                    <a:pt x="224" y="128"/>
                  </a:cubicBezTo>
                  <a:cubicBezTo>
                    <a:pt x="224" y="133"/>
                    <a:pt x="225" y="138"/>
                    <a:pt x="227" y="142"/>
                  </a:cubicBezTo>
                  <a:cubicBezTo>
                    <a:pt x="187" y="153"/>
                    <a:pt x="160" y="189"/>
                    <a:pt x="160" y="234"/>
                  </a:cubicBezTo>
                  <a:cubicBezTo>
                    <a:pt x="160" y="286"/>
                    <a:pt x="139" y="348"/>
                    <a:pt x="139" y="348"/>
                  </a:cubicBezTo>
                  <a:cubicBezTo>
                    <a:pt x="137" y="353"/>
                    <a:pt x="139" y="359"/>
                    <a:pt x="144" y="361"/>
                  </a:cubicBezTo>
                  <a:cubicBezTo>
                    <a:pt x="146" y="362"/>
                    <a:pt x="171" y="374"/>
                    <a:pt x="214" y="379"/>
                  </a:cubicBezTo>
                  <a:cubicBezTo>
                    <a:pt x="216" y="399"/>
                    <a:pt x="234" y="416"/>
                    <a:pt x="256" y="416"/>
                  </a:cubicBezTo>
                  <a:cubicBezTo>
                    <a:pt x="278" y="416"/>
                    <a:pt x="296" y="399"/>
                    <a:pt x="298" y="377"/>
                  </a:cubicBezTo>
                  <a:cubicBezTo>
                    <a:pt x="319" y="374"/>
                    <a:pt x="341" y="369"/>
                    <a:pt x="366" y="362"/>
                  </a:cubicBezTo>
                  <a:cubicBezTo>
                    <a:pt x="368" y="361"/>
                    <a:pt x="371" y="359"/>
                    <a:pt x="372" y="357"/>
                  </a:cubicBezTo>
                  <a:cubicBezTo>
                    <a:pt x="373" y="354"/>
                    <a:pt x="373" y="351"/>
                    <a:pt x="372" y="348"/>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a:p>
          </p:txBody>
        </p:sp>
        <p:sp>
          <p:nvSpPr>
            <p:cNvPr id="157" name="Freeform 141">
              <a:extLst>
                <a:ext uri="{FF2B5EF4-FFF2-40B4-BE49-F238E27FC236}">
                  <a16:creationId xmlns:a16="http://schemas.microsoft.com/office/drawing/2014/main" id="{0F6411EC-73D5-A74C-980E-2EF3A2FA593C}"/>
                </a:ext>
              </a:extLst>
            </p:cNvPr>
            <p:cNvSpPr>
              <a:spLocks noChangeAspect="1" noEditPoints="1"/>
            </p:cNvSpPr>
            <p:nvPr/>
          </p:nvSpPr>
          <p:spPr bwMode="auto">
            <a:xfrm>
              <a:off x="3898500" y="4460228"/>
              <a:ext cx="275723" cy="275723"/>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dirty="0"/>
            </a:p>
          </p:txBody>
        </p:sp>
        <p:sp>
          <p:nvSpPr>
            <p:cNvPr id="158" name="Freeform 254">
              <a:extLst>
                <a:ext uri="{FF2B5EF4-FFF2-40B4-BE49-F238E27FC236}">
                  <a16:creationId xmlns:a16="http://schemas.microsoft.com/office/drawing/2014/main" id="{1D2FA7D3-4FBE-9745-A577-EBB758479326}"/>
                </a:ext>
              </a:extLst>
            </p:cNvPr>
            <p:cNvSpPr>
              <a:spLocks noChangeAspect="1" noEditPoints="1"/>
            </p:cNvSpPr>
            <p:nvPr/>
          </p:nvSpPr>
          <p:spPr bwMode="auto">
            <a:xfrm>
              <a:off x="3858081" y="2817440"/>
              <a:ext cx="278072" cy="2772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a:p>
          </p:txBody>
        </p:sp>
      </p:grpSp>
    </p:spTree>
    <p:custDataLst>
      <p:tags r:id="rId1"/>
    </p:custDataLst>
    <p:extLst>
      <p:ext uri="{BB962C8B-B14F-4D97-AF65-F5344CB8AC3E}">
        <p14:creationId xmlns:p14="http://schemas.microsoft.com/office/powerpoint/2010/main" val="1080769283"/>
      </p:ext>
    </p:extLst>
  </p:cSld>
  <p:clrMapOvr>
    <a:masterClrMapping/>
  </p:clrMapOvr>
  <p:transition>
    <p:fade/>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E6C32B1-5E49-CD43-AC5A-5D1D255478D8}"/>
              </a:ext>
            </a:extLst>
          </p:cNvPr>
          <p:cNvGrpSpPr/>
          <p:nvPr/>
        </p:nvGrpSpPr>
        <p:grpSpPr>
          <a:xfrm>
            <a:off x="1208788" y="5231168"/>
            <a:ext cx="925194" cy="135262"/>
            <a:chOff x="1259831" y="5839310"/>
            <a:chExt cx="925194" cy="135262"/>
          </a:xfrm>
          <a:solidFill>
            <a:schemeClr val="tx1"/>
          </a:solidFill>
        </p:grpSpPr>
        <p:sp>
          <p:nvSpPr>
            <p:cNvPr id="24" name="Freeform 11">
              <a:extLst>
                <a:ext uri="{FF2B5EF4-FFF2-40B4-BE49-F238E27FC236}">
                  <a16:creationId xmlns:a16="http://schemas.microsoft.com/office/drawing/2014/main" id="{D74DA875-49BC-8C43-886F-ECB9271FCE41}"/>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25" name="Oval 12">
              <a:extLst>
                <a:ext uri="{FF2B5EF4-FFF2-40B4-BE49-F238E27FC236}">
                  <a16:creationId xmlns:a16="http://schemas.microsoft.com/office/drawing/2014/main" id="{863CB89D-C367-2143-ADAB-73947306A1B8}"/>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grpSp>
        <p:nvGrpSpPr>
          <p:cNvPr id="26" name="Group 25">
            <a:extLst>
              <a:ext uri="{FF2B5EF4-FFF2-40B4-BE49-F238E27FC236}">
                <a16:creationId xmlns:a16="http://schemas.microsoft.com/office/drawing/2014/main" id="{281A1DEF-EB26-A94C-87AC-32CF6E5F51D7}"/>
              </a:ext>
            </a:extLst>
          </p:cNvPr>
          <p:cNvGrpSpPr/>
          <p:nvPr/>
        </p:nvGrpSpPr>
        <p:grpSpPr>
          <a:xfrm>
            <a:off x="1208788" y="4441369"/>
            <a:ext cx="925194" cy="135262"/>
            <a:chOff x="1259831" y="5839310"/>
            <a:chExt cx="925194" cy="135262"/>
          </a:xfrm>
          <a:solidFill>
            <a:schemeClr val="tx1"/>
          </a:solidFill>
        </p:grpSpPr>
        <p:sp>
          <p:nvSpPr>
            <p:cNvPr id="27" name="Freeform 11">
              <a:extLst>
                <a:ext uri="{FF2B5EF4-FFF2-40B4-BE49-F238E27FC236}">
                  <a16:creationId xmlns:a16="http://schemas.microsoft.com/office/drawing/2014/main" id="{76B41294-98D5-BF44-9732-44DA509DE7C0}"/>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28" name="Oval 12">
              <a:extLst>
                <a:ext uri="{FF2B5EF4-FFF2-40B4-BE49-F238E27FC236}">
                  <a16:creationId xmlns:a16="http://schemas.microsoft.com/office/drawing/2014/main" id="{FC045649-CD3F-9B40-9840-AD92BCB9DB4D}"/>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grpSp>
        <p:nvGrpSpPr>
          <p:cNvPr id="29" name="Group 28">
            <a:extLst>
              <a:ext uri="{FF2B5EF4-FFF2-40B4-BE49-F238E27FC236}">
                <a16:creationId xmlns:a16="http://schemas.microsoft.com/office/drawing/2014/main" id="{3160D748-9F86-8C47-A239-83E786A295A0}"/>
              </a:ext>
            </a:extLst>
          </p:cNvPr>
          <p:cNvGrpSpPr/>
          <p:nvPr/>
        </p:nvGrpSpPr>
        <p:grpSpPr>
          <a:xfrm>
            <a:off x="1208788" y="1408828"/>
            <a:ext cx="925194" cy="135262"/>
            <a:chOff x="1259831" y="5839310"/>
            <a:chExt cx="925194" cy="135262"/>
          </a:xfrm>
          <a:solidFill>
            <a:schemeClr val="tx1"/>
          </a:solidFill>
        </p:grpSpPr>
        <p:sp>
          <p:nvSpPr>
            <p:cNvPr id="30" name="Freeform 11">
              <a:extLst>
                <a:ext uri="{FF2B5EF4-FFF2-40B4-BE49-F238E27FC236}">
                  <a16:creationId xmlns:a16="http://schemas.microsoft.com/office/drawing/2014/main" id="{91F318F9-244B-CB4B-ACE6-3DBE61ACC0C0}"/>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31" name="Oval 12">
              <a:extLst>
                <a:ext uri="{FF2B5EF4-FFF2-40B4-BE49-F238E27FC236}">
                  <a16:creationId xmlns:a16="http://schemas.microsoft.com/office/drawing/2014/main" id="{DD5C1EB7-59A8-8D4A-B3B2-7471FF214BED}"/>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grpSp>
        <p:nvGrpSpPr>
          <p:cNvPr id="32" name="Group 31">
            <a:extLst>
              <a:ext uri="{FF2B5EF4-FFF2-40B4-BE49-F238E27FC236}">
                <a16:creationId xmlns:a16="http://schemas.microsoft.com/office/drawing/2014/main" id="{05FF6593-B1A5-3748-8000-4ACF4F1FB7A5}"/>
              </a:ext>
            </a:extLst>
          </p:cNvPr>
          <p:cNvGrpSpPr/>
          <p:nvPr/>
        </p:nvGrpSpPr>
        <p:grpSpPr>
          <a:xfrm>
            <a:off x="1208788" y="2166296"/>
            <a:ext cx="925194" cy="135262"/>
            <a:chOff x="1259831" y="5839310"/>
            <a:chExt cx="925194" cy="135262"/>
          </a:xfrm>
          <a:solidFill>
            <a:schemeClr val="tx1"/>
          </a:solidFill>
        </p:grpSpPr>
        <p:sp>
          <p:nvSpPr>
            <p:cNvPr id="33" name="Freeform 11">
              <a:extLst>
                <a:ext uri="{FF2B5EF4-FFF2-40B4-BE49-F238E27FC236}">
                  <a16:creationId xmlns:a16="http://schemas.microsoft.com/office/drawing/2014/main" id="{101B2E05-1BE8-8245-BD47-89C2E9E3C6D4}"/>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34" name="Oval 12">
              <a:extLst>
                <a:ext uri="{FF2B5EF4-FFF2-40B4-BE49-F238E27FC236}">
                  <a16:creationId xmlns:a16="http://schemas.microsoft.com/office/drawing/2014/main" id="{B09E0199-5B72-9842-92DD-FA39899C4C69}"/>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grpSp>
        <p:nvGrpSpPr>
          <p:cNvPr id="35" name="Group 34">
            <a:extLst>
              <a:ext uri="{FF2B5EF4-FFF2-40B4-BE49-F238E27FC236}">
                <a16:creationId xmlns:a16="http://schemas.microsoft.com/office/drawing/2014/main" id="{474F02BD-A1B5-3144-A7D6-BFBB24D8FF29}"/>
              </a:ext>
            </a:extLst>
          </p:cNvPr>
          <p:cNvGrpSpPr/>
          <p:nvPr/>
        </p:nvGrpSpPr>
        <p:grpSpPr>
          <a:xfrm>
            <a:off x="1208788" y="2923088"/>
            <a:ext cx="925194" cy="135262"/>
            <a:chOff x="1259831" y="5839310"/>
            <a:chExt cx="925194" cy="135262"/>
          </a:xfrm>
          <a:solidFill>
            <a:schemeClr val="tx1"/>
          </a:solidFill>
        </p:grpSpPr>
        <p:sp>
          <p:nvSpPr>
            <p:cNvPr id="36" name="Freeform 11">
              <a:extLst>
                <a:ext uri="{FF2B5EF4-FFF2-40B4-BE49-F238E27FC236}">
                  <a16:creationId xmlns:a16="http://schemas.microsoft.com/office/drawing/2014/main" id="{2073A562-7EE6-7F48-99F6-EBA18DA796C0}"/>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37" name="Oval 12">
              <a:extLst>
                <a:ext uri="{FF2B5EF4-FFF2-40B4-BE49-F238E27FC236}">
                  <a16:creationId xmlns:a16="http://schemas.microsoft.com/office/drawing/2014/main" id="{2337336F-0423-3F4E-90E4-EF77FA9661C0}"/>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grpSp>
        <p:nvGrpSpPr>
          <p:cNvPr id="38" name="Group 37">
            <a:extLst>
              <a:ext uri="{FF2B5EF4-FFF2-40B4-BE49-F238E27FC236}">
                <a16:creationId xmlns:a16="http://schemas.microsoft.com/office/drawing/2014/main" id="{6AFED709-3A8B-184E-8AD7-5DD76206F059}"/>
              </a:ext>
            </a:extLst>
          </p:cNvPr>
          <p:cNvGrpSpPr/>
          <p:nvPr/>
        </p:nvGrpSpPr>
        <p:grpSpPr>
          <a:xfrm>
            <a:off x="1208788" y="3679879"/>
            <a:ext cx="925194" cy="135262"/>
            <a:chOff x="1259831" y="5839310"/>
            <a:chExt cx="925194" cy="135262"/>
          </a:xfrm>
          <a:solidFill>
            <a:schemeClr val="tx1"/>
          </a:solidFill>
        </p:grpSpPr>
        <p:sp>
          <p:nvSpPr>
            <p:cNvPr id="39" name="Freeform 11">
              <a:extLst>
                <a:ext uri="{FF2B5EF4-FFF2-40B4-BE49-F238E27FC236}">
                  <a16:creationId xmlns:a16="http://schemas.microsoft.com/office/drawing/2014/main" id="{672E25C8-6D44-AB49-9D41-20E49D8C1BFF}"/>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0" name="Oval 12">
              <a:extLst>
                <a:ext uri="{FF2B5EF4-FFF2-40B4-BE49-F238E27FC236}">
                  <a16:creationId xmlns:a16="http://schemas.microsoft.com/office/drawing/2014/main" id="{C0DE4586-1E0E-9543-B8CC-33E6DE586500}"/>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sp>
        <p:nvSpPr>
          <p:cNvPr id="41" name="Freeform 18">
            <a:extLst>
              <a:ext uri="{FF2B5EF4-FFF2-40B4-BE49-F238E27FC236}">
                <a16:creationId xmlns:a16="http://schemas.microsoft.com/office/drawing/2014/main" id="{050928DE-3477-1242-93FE-8E5E7ACAA587}"/>
              </a:ext>
            </a:extLst>
          </p:cNvPr>
          <p:cNvSpPr>
            <a:spLocks/>
          </p:cNvSpPr>
          <p:nvPr/>
        </p:nvSpPr>
        <p:spPr bwMode="auto">
          <a:xfrm>
            <a:off x="854403" y="4852435"/>
            <a:ext cx="408491" cy="838625"/>
          </a:xfrm>
          <a:custGeom>
            <a:avLst/>
            <a:gdLst>
              <a:gd name="T0" fmla="*/ 0 w 15"/>
              <a:gd name="T1" fmla="*/ 3 h 31"/>
              <a:gd name="T2" fmla="*/ 12 w 15"/>
              <a:gd name="T3" fmla="*/ 15 h 31"/>
              <a:gd name="T4" fmla="*/ 0 w 15"/>
              <a:gd name="T5" fmla="*/ 28 h 31"/>
              <a:gd name="T6" fmla="*/ 0 w 15"/>
              <a:gd name="T7" fmla="*/ 31 h 31"/>
              <a:gd name="T8" fmla="*/ 15 w 15"/>
              <a:gd name="T9" fmla="*/ 15 h 31"/>
              <a:gd name="T10" fmla="*/ 0 w 15"/>
              <a:gd name="T11" fmla="*/ 0 h 31"/>
              <a:gd name="T12" fmla="*/ 0 w 15"/>
              <a:gd name="T13" fmla="*/ 3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3"/>
                </a:moveTo>
                <a:cubicBezTo>
                  <a:pt x="7" y="3"/>
                  <a:pt x="12" y="9"/>
                  <a:pt x="12" y="15"/>
                </a:cubicBezTo>
                <a:cubicBezTo>
                  <a:pt x="12" y="22"/>
                  <a:pt x="7" y="27"/>
                  <a:pt x="0" y="28"/>
                </a:cubicBezTo>
                <a:cubicBezTo>
                  <a:pt x="0" y="31"/>
                  <a:pt x="0" y="31"/>
                  <a:pt x="0" y="31"/>
                </a:cubicBezTo>
                <a:cubicBezTo>
                  <a:pt x="8" y="31"/>
                  <a:pt x="15" y="24"/>
                  <a:pt x="15" y="15"/>
                </a:cubicBezTo>
                <a:cubicBezTo>
                  <a:pt x="15" y="7"/>
                  <a:pt x="8" y="0"/>
                  <a:pt x="0" y="0"/>
                </a:cubicBezTo>
                <a:lnTo>
                  <a:pt x="0" y="3"/>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2" name="Freeform 19">
            <a:extLst>
              <a:ext uri="{FF2B5EF4-FFF2-40B4-BE49-F238E27FC236}">
                <a16:creationId xmlns:a16="http://schemas.microsoft.com/office/drawing/2014/main" id="{7B4C02CA-E6E2-2E43-9539-AB07461220CD}"/>
              </a:ext>
            </a:extLst>
          </p:cNvPr>
          <p:cNvSpPr>
            <a:spLocks/>
          </p:cNvSpPr>
          <p:nvPr/>
        </p:nvSpPr>
        <p:spPr bwMode="auto">
          <a:xfrm>
            <a:off x="418858" y="4852435"/>
            <a:ext cx="435544" cy="838625"/>
          </a:xfrm>
          <a:custGeom>
            <a:avLst/>
            <a:gdLst>
              <a:gd name="T0" fmla="*/ 16 w 16"/>
              <a:gd name="T1" fmla="*/ 28 h 31"/>
              <a:gd name="T2" fmla="*/ 4 w 16"/>
              <a:gd name="T3" fmla="*/ 15 h 31"/>
              <a:gd name="T4" fmla="*/ 16 w 16"/>
              <a:gd name="T5" fmla="*/ 3 h 31"/>
              <a:gd name="T6" fmla="*/ 16 w 16"/>
              <a:gd name="T7" fmla="*/ 0 h 31"/>
              <a:gd name="T8" fmla="*/ 0 w 16"/>
              <a:gd name="T9" fmla="*/ 15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7"/>
                  <a:pt x="4" y="22"/>
                  <a:pt x="4" y="15"/>
                </a:cubicBezTo>
                <a:cubicBezTo>
                  <a:pt x="4" y="9"/>
                  <a:pt x="9" y="3"/>
                  <a:pt x="16" y="3"/>
                </a:cubicBezTo>
                <a:cubicBezTo>
                  <a:pt x="16" y="0"/>
                  <a:pt x="16" y="0"/>
                  <a:pt x="16" y="0"/>
                </a:cubicBezTo>
                <a:cubicBezTo>
                  <a:pt x="7" y="0"/>
                  <a:pt x="0" y="7"/>
                  <a:pt x="0" y="15"/>
                </a:cubicBezTo>
                <a:cubicBezTo>
                  <a:pt x="0" y="24"/>
                  <a:pt x="7" y="31"/>
                  <a:pt x="16" y="31"/>
                </a:cubicBezTo>
                <a:lnTo>
                  <a:pt x="16" y="2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3" name="Freeform 13">
            <a:extLst>
              <a:ext uri="{FF2B5EF4-FFF2-40B4-BE49-F238E27FC236}">
                <a16:creationId xmlns:a16="http://schemas.microsoft.com/office/drawing/2014/main" id="{F0CD4D79-66AE-6D48-AC67-9C51EF7F877D}"/>
              </a:ext>
            </a:extLst>
          </p:cNvPr>
          <p:cNvSpPr>
            <a:spLocks/>
          </p:cNvSpPr>
          <p:nvPr/>
        </p:nvSpPr>
        <p:spPr bwMode="auto">
          <a:xfrm>
            <a:off x="418858" y="4090364"/>
            <a:ext cx="435544" cy="837272"/>
          </a:xfrm>
          <a:custGeom>
            <a:avLst/>
            <a:gdLst>
              <a:gd name="T0" fmla="*/ 16 w 16"/>
              <a:gd name="T1" fmla="*/ 28 h 31"/>
              <a:gd name="T2" fmla="*/ 4 w 16"/>
              <a:gd name="T3" fmla="*/ 15 h 31"/>
              <a:gd name="T4" fmla="*/ 16 w 16"/>
              <a:gd name="T5" fmla="*/ 3 h 31"/>
              <a:gd name="T6" fmla="*/ 16 w 16"/>
              <a:gd name="T7" fmla="*/ 0 h 31"/>
              <a:gd name="T8" fmla="*/ 0 w 16"/>
              <a:gd name="T9" fmla="*/ 15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8"/>
                  <a:pt x="4" y="22"/>
                  <a:pt x="4" y="15"/>
                </a:cubicBezTo>
                <a:cubicBezTo>
                  <a:pt x="4" y="9"/>
                  <a:pt x="9" y="3"/>
                  <a:pt x="16" y="3"/>
                </a:cubicBezTo>
                <a:cubicBezTo>
                  <a:pt x="16" y="0"/>
                  <a:pt x="16" y="0"/>
                  <a:pt x="16" y="0"/>
                </a:cubicBezTo>
                <a:cubicBezTo>
                  <a:pt x="7" y="0"/>
                  <a:pt x="0" y="7"/>
                  <a:pt x="0" y="15"/>
                </a:cubicBezTo>
                <a:cubicBezTo>
                  <a:pt x="0" y="24"/>
                  <a:pt x="7" y="31"/>
                  <a:pt x="16" y="31"/>
                </a:cubicBezTo>
                <a:lnTo>
                  <a:pt x="16" y="2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4" name="Freeform 20">
            <a:extLst>
              <a:ext uri="{FF2B5EF4-FFF2-40B4-BE49-F238E27FC236}">
                <a16:creationId xmlns:a16="http://schemas.microsoft.com/office/drawing/2014/main" id="{B2960066-89FE-514D-A1BE-195442AF12EB}"/>
              </a:ext>
            </a:extLst>
          </p:cNvPr>
          <p:cNvSpPr>
            <a:spLocks/>
          </p:cNvSpPr>
          <p:nvPr/>
        </p:nvSpPr>
        <p:spPr bwMode="auto">
          <a:xfrm>
            <a:off x="854403" y="4090364"/>
            <a:ext cx="408491" cy="837272"/>
          </a:xfrm>
          <a:custGeom>
            <a:avLst/>
            <a:gdLst>
              <a:gd name="T0" fmla="*/ 0 w 15"/>
              <a:gd name="T1" fmla="*/ 3 h 31"/>
              <a:gd name="T2" fmla="*/ 12 w 15"/>
              <a:gd name="T3" fmla="*/ 15 h 31"/>
              <a:gd name="T4" fmla="*/ 0 w 15"/>
              <a:gd name="T5" fmla="*/ 28 h 31"/>
              <a:gd name="T6" fmla="*/ 0 w 15"/>
              <a:gd name="T7" fmla="*/ 31 h 31"/>
              <a:gd name="T8" fmla="*/ 15 w 15"/>
              <a:gd name="T9" fmla="*/ 15 h 31"/>
              <a:gd name="T10" fmla="*/ 0 w 15"/>
              <a:gd name="T11" fmla="*/ 0 h 31"/>
              <a:gd name="T12" fmla="*/ 0 w 15"/>
              <a:gd name="T13" fmla="*/ 3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3"/>
                </a:moveTo>
                <a:cubicBezTo>
                  <a:pt x="7" y="3"/>
                  <a:pt x="12" y="9"/>
                  <a:pt x="12" y="15"/>
                </a:cubicBezTo>
                <a:cubicBezTo>
                  <a:pt x="12" y="22"/>
                  <a:pt x="7" y="28"/>
                  <a:pt x="0" y="28"/>
                </a:cubicBezTo>
                <a:cubicBezTo>
                  <a:pt x="0" y="31"/>
                  <a:pt x="0" y="31"/>
                  <a:pt x="0" y="31"/>
                </a:cubicBezTo>
                <a:cubicBezTo>
                  <a:pt x="8" y="31"/>
                  <a:pt x="15" y="24"/>
                  <a:pt x="15" y="15"/>
                </a:cubicBezTo>
                <a:cubicBezTo>
                  <a:pt x="15" y="7"/>
                  <a:pt x="8" y="0"/>
                  <a:pt x="0" y="0"/>
                </a:cubicBezTo>
                <a:lnTo>
                  <a:pt x="0" y="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5" name="Freeform 15">
            <a:extLst>
              <a:ext uri="{FF2B5EF4-FFF2-40B4-BE49-F238E27FC236}">
                <a16:creationId xmlns:a16="http://schemas.microsoft.com/office/drawing/2014/main" id="{13BD9B67-43C1-D44C-9A9F-8719FA63A430}"/>
              </a:ext>
            </a:extLst>
          </p:cNvPr>
          <p:cNvSpPr>
            <a:spLocks/>
          </p:cNvSpPr>
          <p:nvPr/>
        </p:nvSpPr>
        <p:spPr bwMode="auto">
          <a:xfrm>
            <a:off x="854403" y="1814616"/>
            <a:ext cx="408491" cy="838625"/>
          </a:xfrm>
          <a:custGeom>
            <a:avLst/>
            <a:gdLst>
              <a:gd name="T0" fmla="*/ 0 w 15"/>
              <a:gd name="T1" fmla="*/ 3 h 31"/>
              <a:gd name="T2" fmla="*/ 12 w 15"/>
              <a:gd name="T3" fmla="*/ 16 h 31"/>
              <a:gd name="T4" fmla="*/ 0 w 15"/>
              <a:gd name="T5" fmla="*/ 28 h 31"/>
              <a:gd name="T6" fmla="*/ 0 w 15"/>
              <a:gd name="T7" fmla="*/ 31 h 31"/>
              <a:gd name="T8" fmla="*/ 15 w 15"/>
              <a:gd name="T9" fmla="*/ 16 h 31"/>
              <a:gd name="T10" fmla="*/ 0 w 15"/>
              <a:gd name="T11" fmla="*/ 0 h 31"/>
              <a:gd name="T12" fmla="*/ 0 w 15"/>
              <a:gd name="T13" fmla="*/ 3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3"/>
                </a:moveTo>
                <a:cubicBezTo>
                  <a:pt x="7" y="4"/>
                  <a:pt x="12" y="9"/>
                  <a:pt x="12" y="16"/>
                </a:cubicBezTo>
                <a:cubicBezTo>
                  <a:pt x="12" y="22"/>
                  <a:pt x="7" y="28"/>
                  <a:pt x="0" y="28"/>
                </a:cubicBezTo>
                <a:cubicBezTo>
                  <a:pt x="0" y="31"/>
                  <a:pt x="0" y="31"/>
                  <a:pt x="0" y="31"/>
                </a:cubicBezTo>
                <a:cubicBezTo>
                  <a:pt x="8" y="31"/>
                  <a:pt x="15" y="24"/>
                  <a:pt x="15" y="16"/>
                </a:cubicBezTo>
                <a:cubicBezTo>
                  <a:pt x="15" y="7"/>
                  <a:pt x="8" y="0"/>
                  <a:pt x="0" y="0"/>
                </a:cubicBezTo>
                <a:lnTo>
                  <a:pt x="0" y="3"/>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6" name="Freeform 16">
            <a:extLst>
              <a:ext uri="{FF2B5EF4-FFF2-40B4-BE49-F238E27FC236}">
                <a16:creationId xmlns:a16="http://schemas.microsoft.com/office/drawing/2014/main" id="{E16B94B1-797B-634D-8894-6863D05D04CA}"/>
              </a:ext>
            </a:extLst>
          </p:cNvPr>
          <p:cNvSpPr>
            <a:spLocks/>
          </p:cNvSpPr>
          <p:nvPr/>
        </p:nvSpPr>
        <p:spPr bwMode="auto">
          <a:xfrm>
            <a:off x="418858" y="1814616"/>
            <a:ext cx="435544" cy="838625"/>
          </a:xfrm>
          <a:custGeom>
            <a:avLst/>
            <a:gdLst>
              <a:gd name="T0" fmla="*/ 16 w 16"/>
              <a:gd name="T1" fmla="*/ 28 h 31"/>
              <a:gd name="T2" fmla="*/ 4 w 16"/>
              <a:gd name="T3" fmla="*/ 16 h 31"/>
              <a:gd name="T4" fmla="*/ 16 w 16"/>
              <a:gd name="T5" fmla="*/ 3 h 31"/>
              <a:gd name="T6" fmla="*/ 16 w 16"/>
              <a:gd name="T7" fmla="*/ 0 h 31"/>
              <a:gd name="T8" fmla="*/ 0 w 16"/>
              <a:gd name="T9" fmla="*/ 16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8"/>
                  <a:pt x="4" y="22"/>
                  <a:pt x="4" y="16"/>
                </a:cubicBezTo>
                <a:cubicBezTo>
                  <a:pt x="4" y="9"/>
                  <a:pt x="9" y="4"/>
                  <a:pt x="16" y="3"/>
                </a:cubicBezTo>
                <a:cubicBezTo>
                  <a:pt x="16" y="0"/>
                  <a:pt x="16" y="0"/>
                  <a:pt x="16" y="0"/>
                </a:cubicBezTo>
                <a:cubicBezTo>
                  <a:pt x="7" y="0"/>
                  <a:pt x="0" y="7"/>
                  <a:pt x="0" y="16"/>
                </a:cubicBezTo>
                <a:cubicBezTo>
                  <a:pt x="0" y="24"/>
                  <a:pt x="7" y="31"/>
                  <a:pt x="16" y="31"/>
                </a:cubicBezTo>
                <a:lnTo>
                  <a:pt x="16" y="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7" name="Freeform 14">
            <a:extLst>
              <a:ext uri="{FF2B5EF4-FFF2-40B4-BE49-F238E27FC236}">
                <a16:creationId xmlns:a16="http://schemas.microsoft.com/office/drawing/2014/main" id="{AAD312F9-E88C-AA43-92DB-50343BC35E77}"/>
              </a:ext>
            </a:extLst>
          </p:cNvPr>
          <p:cNvSpPr>
            <a:spLocks/>
          </p:cNvSpPr>
          <p:nvPr/>
        </p:nvSpPr>
        <p:spPr bwMode="auto">
          <a:xfrm>
            <a:off x="418858" y="1057148"/>
            <a:ext cx="435544" cy="838625"/>
          </a:xfrm>
          <a:custGeom>
            <a:avLst/>
            <a:gdLst>
              <a:gd name="T0" fmla="*/ 16 w 16"/>
              <a:gd name="T1" fmla="*/ 28 h 31"/>
              <a:gd name="T2" fmla="*/ 4 w 16"/>
              <a:gd name="T3" fmla="*/ 16 h 31"/>
              <a:gd name="T4" fmla="*/ 16 w 16"/>
              <a:gd name="T5" fmla="*/ 4 h 31"/>
              <a:gd name="T6" fmla="*/ 16 w 16"/>
              <a:gd name="T7" fmla="*/ 0 h 31"/>
              <a:gd name="T8" fmla="*/ 0 w 16"/>
              <a:gd name="T9" fmla="*/ 16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8"/>
                  <a:pt x="4" y="22"/>
                  <a:pt x="4" y="16"/>
                </a:cubicBezTo>
                <a:cubicBezTo>
                  <a:pt x="4" y="9"/>
                  <a:pt x="9" y="4"/>
                  <a:pt x="16" y="4"/>
                </a:cubicBezTo>
                <a:cubicBezTo>
                  <a:pt x="16" y="0"/>
                  <a:pt x="16" y="0"/>
                  <a:pt x="16" y="0"/>
                </a:cubicBezTo>
                <a:cubicBezTo>
                  <a:pt x="7" y="0"/>
                  <a:pt x="0" y="7"/>
                  <a:pt x="0" y="16"/>
                </a:cubicBezTo>
                <a:cubicBezTo>
                  <a:pt x="0" y="24"/>
                  <a:pt x="7" y="31"/>
                  <a:pt x="16" y="31"/>
                </a:cubicBezTo>
                <a:lnTo>
                  <a:pt x="16" y="2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8" name="Freeform 17">
            <a:extLst>
              <a:ext uri="{FF2B5EF4-FFF2-40B4-BE49-F238E27FC236}">
                <a16:creationId xmlns:a16="http://schemas.microsoft.com/office/drawing/2014/main" id="{69AEF391-141D-5F4E-A7B0-CF282CAB8E9F}"/>
              </a:ext>
            </a:extLst>
          </p:cNvPr>
          <p:cNvSpPr>
            <a:spLocks/>
          </p:cNvSpPr>
          <p:nvPr/>
        </p:nvSpPr>
        <p:spPr bwMode="auto">
          <a:xfrm>
            <a:off x="854403" y="1057148"/>
            <a:ext cx="408491" cy="838625"/>
          </a:xfrm>
          <a:custGeom>
            <a:avLst/>
            <a:gdLst>
              <a:gd name="T0" fmla="*/ 0 w 15"/>
              <a:gd name="T1" fmla="*/ 4 h 31"/>
              <a:gd name="T2" fmla="*/ 12 w 15"/>
              <a:gd name="T3" fmla="*/ 16 h 31"/>
              <a:gd name="T4" fmla="*/ 0 w 15"/>
              <a:gd name="T5" fmla="*/ 28 h 31"/>
              <a:gd name="T6" fmla="*/ 0 w 15"/>
              <a:gd name="T7" fmla="*/ 31 h 31"/>
              <a:gd name="T8" fmla="*/ 15 w 15"/>
              <a:gd name="T9" fmla="*/ 16 h 31"/>
              <a:gd name="T10" fmla="*/ 0 w 15"/>
              <a:gd name="T11" fmla="*/ 0 h 31"/>
              <a:gd name="T12" fmla="*/ 0 w 15"/>
              <a:gd name="T13" fmla="*/ 4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4"/>
                </a:moveTo>
                <a:cubicBezTo>
                  <a:pt x="7" y="4"/>
                  <a:pt x="12" y="9"/>
                  <a:pt x="12" y="16"/>
                </a:cubicBezTo>
                <a:cubicBezTo>
                  <a:pt x="12" y="22"/>
                  <a:pt x="7" y="28"/>
                  <a:pt x="0" y="28"/>
                </a:cubicBezTo>
                <a:cubicBezTo>
                  <a:pt x="0" y="31"/>
                  <a:pt x="0" y="31"/>
                  <a:pt x="0" y="31"/>
                </a:cubicBezTo>
                <a:cubicBezTo>
                  <a:pt x="8" y="31"/>
                  <a:pt x="15" y="24"/>
                  <a:pt x="15" y="16"/>
                </a:cubicBezTo>
                <a:cubicBezTo>
                  <a:pt x="15" y="7"/>
                  <a:pt x="8" y="0"/>
                  <a:pt x="0" y="0"/>
                </a:cubicBezTo>
                <a:lnTo>
                  <a:pt x="0" y="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9" name="Freeform 18">
            <a:extLst>
              <a:ext uri="{FF2B5EF4-FFF2-40B4-BE49-F238E27FC236}">
                <a16:creationId xmlns:a16="http://schemas.microsoft.com/office/drawing/2014/main" id="{CBE8D96B-6A32-8D4C-85CF-612944548D39}"/>
              </a:ext>
            </a:extLst>
          </p:cNvPr>
          <p:cNvSpPr>
            <a:spLocks/>
          </p:cNvSpPr>
          <p:nvPr/>
        </p:nvSpPr>
        <p:spPr bwMode="auto">
          <a:xfrm>
            <a:off x="854403" y="3328199"/>
            <a:ext cx="408491" cy="838625"/>
          </a:xfrm>
          <a:custGeom>
            <a:avLst/>
            <a:gdLst>
              <a:gd name="T0" fmla="*/ 0 w 15"/>
              <a:gd name="T1" fmla="*/ 3 h 31"/>
              <a:gd name="T2" fmla="*/ 12 w 15"/>
              <a:gd name="T3" fmla="*/ 15 h 31"/>
              <a:gd name="T4" fmla="*/ 0 w 15"/>
              <a:gd name="T5" fmla="*/ 28 h 31"/>
              <a:gd name="T6" fmla="*/ 0 w 15"/>
              <a:gd name="T7" fmla="*/ 31 h 31"/>
              <a:gd name="T8" fmla="*/ 15 w 15"/>
              <a:gd name="T9" fmla="*/ 15 h 31"/>
              <a:gd name="T10" fmla="*/ 0 w 15"/>
              <a:gd name="T11" fmla="*/ 0 h 31"/>
              <a:gd name="T12" fmla="*/ 0 w 15"/>
              <a:gd name="T13" fmla="*/ 3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3"/>
                </a:moveTo>
                <a:cubicBezTo>
                  <a:pt x="7" y="3"/>
                  <a:pt x="12" y="9"/>
                  <a:pt x="12" y="15"/>
                </a:cubicBezTo>
                <a:cubicBezTo>
                  <a:pt x="12" y="22"/>
                  <a:pt x="7" y="27"/>
                  <a:pt x="0" y="28"/>
                </a:cubicBezTo>
                <a:cubicBezTo>
                  <a:pt x="0" y="31"/>
                  <a:pt x="0" y="31"/>
                  <a:pt x="0" y="31"/>
                </a:cubicBezTo>
                <a:cubicBezTo>
                  <a:pt x="8" y="31"/>
                  <a:pt x="15" y="24"/>
                  <a:pt x="15" y="15"/>
                </a:cubicBezTo>
                <a:cubicBezTo>
                  <a:pt x="15" y="7"/>
                  <a:pt x="8" y="0"/>
                  <a:pt x="0" y="0"/>
                </a:cubicBezTo>
                <a:lnTo>
                  <a:pt x="0" y="3"/>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50" name="Freeform 19">
            <a:extLst>
              <a:ext uri="{FF2B5EF4-FFF2-40B4-BE49-F238E27FC236}">
                <a16:creationId xmlns:a16="http://schemas.microsoft.com/office/drawing/2014/main" id="{2D0416A5-684F-2041-9047-362880B8F6E6}"/>
              </a:ext>
            </a:extLst>
          </p:cNvPr>
          <p:cNvSpPr>
            <a:spLocks/>
          </p:cNvSpPr>
          <p:nvPr/>
        </p:nvSpPr>
        <p:spPr bwMode="auto">
          <a:xfrm>
            <a:off x="418858" y="3328199"/>
            <a:ext cx="435544" cy="838625"/>
          </a:xfrm>
          <a:custGeom>
            <a:avLst/>
            <a:gdLst>
              <a:gd name="T0" fmla="*/ 16 w 16"/>
              <a:gd name="T1" fmla="*/ 28 h 31"/>
              <a:gd name="T2" fmla="*/ 4 w 16"/>
              <a:gd name="T3" fmla="*/ 15 h 31"/>
              <a:gd name="T4" fmla="*/ 16 w 16"/>
              <a:gd name="T5" fmla="*/ 3 h 31"/>
              <a:gd name="T6" fmla="*/ 16 w 16"/>
              <a:gd name="T7" fmla="*/ 0 h 31"/>
              <a:gd name="T8" fmla="*/ 0 w 16"/>
              <a:gd name="T9" fmla="*/ 15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7"/>
                  <a:pt x="4" y="22"/>
                  <a:pt x="4" y="15"/>
                </a:cubicBezTo>
                <a:cubicBezTo>
                  <a:pt x="4" y="9"/>
                  <a:pt x="9" y="3"/>
                  <a:pt x="16" y="3"/>
                </a:cubicBezTo>
                <a:cubicBezTo>
                  <a:pt x="16" y="0"/>
                  <a:pt x="16" y="0"/>
                  <a:pt x="16" y="0"/>
                </a:cubicBezTo>
                <a:cubicBezTo>
                  <a:pt x="7" y="0"/>
                  <a:pt x="0" y="7"/>
                  <a:pt x="0" y="15"/>
                </a:cubicBezTo>
                <a:cubicBezTo>
                  <a:pt x="0" y="24"/>
                  <a:pt x="7" y="31"/>
                  <a:pt x="16" y="31"/>
                </a:cubicBezTo>
                <a:lnTo>
                  <a:pt x="16" y="2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51" name="Freeform 13">
            <a:extLst>
              <a:ext uri="{FF2B5EF4-FFF2-40B4-BE49-F238E27FC236}">
                <a16:creationId xmlns:a16="http://schemas.microsoft.com/office/drawing/2014/main" id="{E1CF3D91-ECC7-1149-BEAF-BC97C0A7EEA3}"/>
              </a:ext>
            </a:extLst>
          </p:cNvPr>
          <p:cNvSpPr>
            <a:spLocks/>
          </p:cNvSpPr>
          <p:nvPr/>
        </p:nvSpPr>
        <p:spPr bwMode="auto">
          <a:xfrm>
            <a:off x="418858" y="2572083"/>
            <a:ext cx="435544" cy="837272"/>
          </a:xfrm>
          <a:custGeom>
            <a:avLst/>
            <a:gdLst>
              <a:gd name="T0" fmla="*/ 16 w 16"/>
              <a:gd name="T1" fmla="*/ 28 h 31"/>
              <a:gd name="T2" fmla="*/ 4 w 16"/>
              <a:gd name="T3" fmla="*/ 15 h 31"/>
              <a:gd name="T4" fmla="*/ 16 w 16"/>
              <a:gd name="T5" fmla="*/ 3 h 31"/>
              <a:gd name="T6" fmla="*/ 16 w 16"/>
              <a:gd name="T7" fmla="*/ 0 h 31"/>
              <a:gd name="T8" fmla="*/ 0 w 16"/>
              <a:gd name="T9" fmla="*/ 15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8"/>
                  <a:pt x="4" y="22"/>
                  <a:pt x="4" y="15"/>
                </a:cubicBezTo>
                <a:cubicBezTo>
                  <a:pt x="4" y="9"/>
                  <a:pt x="9" y="3"/>
                  <a:pt x="16" y="3"/>
                </a:cubicBezTo>
                <a:cubicBezTo>
                  <a:pt x="16" y="0"/>
                  <a:pt x="16" y="0"/>
                  <a:pt x="16" y="0"/>
                </a:cubicBezTo>
                <a:cubicBezTo>
                  <a:pt x="7" y="0"/>
                  <a:pt x="0" y="7"/>
                  <a:pt x="0" y="15"/>
                </a:cubicBezTo>
                <a:cubicBezTo>
                  <a:pt x="0" y="24"/>
                  <a:pt x="7" y="31"/>
                  <a:pt x="16" y="31"/>
                </a:cubicBezTo>
                <a:lnTo>
                  <a:pt x="16" y="2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52" name="Freeform 20">
            <a:extLst>
              <a:ext uri="{FF2B5EF4-FFF2-40B4-BE49-F238E27FC236}">
                <a16:creationId xmlns:a16="http://schemas.microsoft.com/office/drawing/2014/main" id="{9AC34E59-9605-1046-A253-E6111E49A3F3}"/>
              </a:ext>
            </a:extLst>
          </p:cNvPr>
          <p:cNvSpPr>
            <a:spLocks/>
          </p:cNvSpPr>
          <p:nvPr/>
        </p:nvSpPr>
        <p:spPr bwMode="auto">
          <a:xfrm>
            <a:off x="854403" y="2572083"/>
            <a:ext cx="408491" cy="837272"/>
          </a:xfrm>
          <a:custGeom>
            <a:avLst/>
            <a:gdLst>
              <a:gd name="T0" fmla="*/ 0 w 15"/>
              <a:gd name="T1" fmla="*/ 3 h 31"/>
              <a:gd name="T2" fmla="*/ 12 w 15"/>
              <a:gd name="T3" fmla="*/ 15 h 31"/>
              <a:gd name="T4" fmla="*/ 0 w 15"/>
              <a:gd name="T5" fmla="*/ 28 h 31"/>
              <a:gd name="T6" fmla="*/ 0 w 15"/>
              <a:gd name="T7" fmla="*/ 31 h 31"/>
              <a:gd name="T8" fmla="*/ 15 w 15"/>
              <a:gd name="T9" fmla="*/ 15 h 31"/>
              <a:gd name="T10" fmla="*/ 0 w 15"/>
              <a:gd name="T11" fmla="*/ 0 h 31"/>
              <a:gd name="T12" fmla="*/ 0 w 15"/>
              <a:gd name="T13" fmla="*/ 3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3"/>
                </a:moveTo>
                <a:cubicBezTo>
                  <a:pt x="7" y="3"/>
                  <a:pt x="12" y="9"/>
                  <a:pt x="12" y="15"/>
                </a:cubicBezTo>
                <a:cubicBezTo>
                  <a:pt x="12" y="22"/>
                  <a:pt x="7" y="28"/>
                  <a:pt x="0" y="28"/>
                </a:cubicBezTo>
                <a:cubicBezTo>
                  <a:pt x="0" y="31"/>
                  <a:pt x="0" y="31"/>
                  <a:pt x="0" y="31"/>
                </a:cubicBezTo>
                <a:cubicBezTo>
                  <a:pt x="8" y="31"/>
                  <a:pt x="15" y="24"/>
                  <a:pt x="15" y="15"/>
                </a:cubicBezTo>
                <a:cubicBezTo>
                  <a:pt x="15" y="7"/>
                  <a:pt x="8" y="0"/>
                  <a:pt x="0" y="0"/>
                </a:cubicBezTo>
                <a:lnTo>
                  <a:pt x="0"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53" name="Arc 52">
            <a:extLst>
              <a:ext uri="{FF2B5EF4-FFF2-40B4-BE49-F238E27FC236}">
                <a16:creationId xmlns:a16="http://schemas.microsoft.com/office/drawing/2014/main" id="{0CFD5BE8-9F07-4845-8F9E-76CA06C6174A}"/>
              </a:ext>
            </a:extLst>
          </p:cNvPr>
          <p:cNvSpPr/>
          <p:nvPr/>
        </p:nvSpPr>
        <p:spPr>
          <a:xfrm>
            <a:off x="901457" y="1114509"/>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4" name="Arc 53">
            <a:extLst>
              <a:ext uri="{FF2B5EF4-FFF2-40B4-BE49-F238E27FC236}">
                <a16:creationId xmlns:a16="http://schemas.microsoft.com/office/drawing/2014/main" id="{3BFC53C1-3138-ED44-9106-AD82F72EDD47}"/>
              </a:ext>
            </a:extLst>
          </p:cNvPr>
          <p:cNvSpPr/>
          <p:nvPr/>
        </p:nvSpPr>
        <p:spPr>
          <a:xfrm>
            <a:off x="901457" y="1871977"/>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5" name="Arc 54">
            <a:extLst>
              <a:ext uri="{FF2B5EF4-FFF2-40B4-BE49-F238E27FC236}">
                <a16:creationId xmlns:a16="http://schemas.microsoft.com/office/drawing/2014/main" id="{6B94642D-14A4-2D4E-80DA-EC9086EC31C5}"/>
              </a:ext>
            </a:extLst>
          </p:cNvPr>
          <p:cNvSpPr/>
          <p:nvPr/>
        </p:nvSpPr>
        <p:spPr>
          <a:xfrm>
            <a:off x="901457" y="2628769"/>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6" name="Arc 55">
            <a:extLst>
              <a:ext uri="{FF2B5EF4-FFF2-40B4-BE49-F238E27FC236}">
                <a16:creationId xmlns:a16="http://schemas.microsoft.com/office/drawing/2014/main" id="{8ADBF52D-8F68-464D-81F5-F074F0A63161}"/>
              </a:ext>
            </a:extLst>
          </p:cNvPr>
          <p:cNvSpPr/>
          <p:nvPr/>
        </p:nvSpPr>
        <p:spPr>
          <a:xfrm>
            <a:off x="901457" y="3385560"/>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7" name="Arc 56">
            <a:extLst>
              <a:ext uri="{FF2B5EF4-FFF2-40B4-BE49-F238E27FC236}">
                <a16:creationId xmlns:a16="http://schemas.microsoft.com/office/drawing/2014/main" id="{6D29E18B-95FA-2B49-B116-D9E04945879E}"/>
              </a:ext>
            </a:extLst>
          </p:cNvPr>
          <p:cNvSpPr/>
          <p:nvPr/>
        </p:nvSpPr>
        <p:spPr>
          <a:xfrm>
            <a:off x="901457" y="4147050"/>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8" name="Arc 57">
            <a:extLst>
              <a:ext uri="{FF2B5EF4-FFF2-40B4-BE49-F238E27FC236}">
                <a16:creationId xmlns:a16="http://schemas.microsoft.com/office/drawing/2014/main" id="{6C424D1A-5908-B742-BF48-92C404511AF2}"/>
              </a:ext>
            </a:extLst>
          </p:cNvPr>
          <p:cNvSpPr/>
          <p:nvPr/>
        </p:nvSpPr>
        <p:spPr>
          <a:xfrm>
            <a:off x="901457" y="4909796"/>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9" name="TextBox 58">
            <a:extLst>
              <a:ext uri="{FF2B5EF4-FFF2-40B4-BE49-F238E27FC236}">
                <a16:creationId xmlns:a16="http://schemas.microsoft.com/office/drawing/2014/main" id="{54F2A22C-A07E-FB48-BB01-DB8AA4E256F1}"/>
              </a:ext>
            </a:extLst>
          </p:cNvPr>
          <p:cNvSpPr txBox="1"/>
          <p:nvPr/>
        </p:nvSpPr>
        <p:spPr>
          <a:xfrm>
            <a:off x="2323857" y="1291794"/>
            <a:ext cx="9347200"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0" name="TextBox 59">
            <a:extLst>
              <a:ext uri="{FF2B5EF4-FFF2-40B4-BE49-F238E27FC236}">
                <a16:creationId xmlns:a16="http://schemas.microsoft.com/office/drawing/2014/main" id="{811C4AC4-EC3E-4E4C-B9BE-124300E26C11}"/>
              </a:ext>
            </a:extLst>
          </p:cNvPr>
          <p:cNvSpPr txBox="1"/>
          <p:nvPr/>
        </p:nvSpPr>
        <p:spPr>
          <a:xfrm>
            <a:off x="2323857" y="3470512"/>
            <a:ext cx="9345168"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1" name="TextBox 60">
            <a:extLst>
              <a:ext uri="{FF2B5EF4-FFF2-40B4-BE49-F238E27FC236}">
                <a16:creationId xmlns:a16="http://schemas.microsoft.com/office/drawing/2014/main" id="{93BEA493-15DB-A04F-A070-CC7C4FFA9232}"/>
              </a:ext>
            </a:extLst>
          </p:cNvPr>
          <p:cNvSpPr txBox="1"/>
          <p:nvPr/>
        </p:nvSpPr>
        <p:spPr>
          <a:xfrm>
            <a:off x="2323857" y="4232002"/>
            <a:ext cx="9345168"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2" name="TextBox 61">
            <a:extLst>
              <a:ext uri="{FF2B5EF4-FFF2-40B4-BE49-F238E27FC236}">
                <a16:creationId xmlns:a16="http://schemas.microsoft.com/office/drawing/2014/main" id="{A719A476-8BB8-1B42-B128-2CB37C5B8373}"/>
              </a:ext>
            </a:extLst>
          </p:cNvPr>
          <p:cNvSpPr txBox="1"/>
          <p:nvPr/>
        </p:nvSpPr>
        <p:spPr>
          <a:xfrm>
            <a:off x="2323857" y="5087081"/>
            <a:ext cx="9345168"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3" name="TextBox 62">
            <a:extLst>
              <a:ext uri="{FF2B5EF4-FFF2-40B4-BE49-F238E27FC236}">
                <a16:creationId xmlns:a16="http://schemas.microsoft.com/office/drawing/2014/main" id="{7BAD3B53-5F80-4E4E-9B6E-DA1D9769AC22}"/>
              </a:ext>
            </a:extLst>
          </p:cNvPr>
          <p:cNvSpPr txBox="1"/>
          <p:nvPr/>
        </p:nvSpPr>
        <p:spPr>
          <a:xfrm>
            <a:off x="2323857" y="2049262"/>
            <a:ext cx="9345168"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4" name="TextBox 63">
            <a:extLst>
              <a:ext uri="{FF2B5EF4-FFF2-40B4-BE49-F238E27FC236}">
                <a16:creationId xmlns:a16="http://schemas.microsoft.com/office/drawing/2014/main" id="{5B84D39A-9526-CF41-A980-D835EF9784CB}"/>
              </a:ext>
            </a:extLst>
          </p:cNvPr>
          <p:cNvSpPr txBox="1"/>
          <p:nvPr/>
        </p:nvSpPr>
        <p:spPr>
          <a:xfrm>
            <a:off x="2323857" y="2806054"/>
            <a:ext cx="9345168"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5" name="TextBox 64">
            <a:extLst>
              <a:ext uri="{FF2B5EF4-FFF2-40B4-BE49-F238E27FC236}">
                <a16:creationId xmlns:a16="http://schemas.microsoft.com/office/drawing/2014/main" id="{143DF7BA-B141-0E4B-8267-F863E0950BD4}"/>
              </a:ext>
            </a:extLst>
          </p:cNvPr>
          <p:cNvSpPr txBox="1"/>
          <p:nvPr/>
        </p:nvSpPr>
        <p:spPr>
          <a:xfrm>
            <a:off x="723856" y="1337961"/>
            <a:ext cx="234038" cy="276999"/>
          </a:xfrm>
          <a:prstGeom prst="rect">
            <a:avLst/>
          </a:prstGeom>
          <a:noFill/>
          <a:ln w="34925">
            <a:noFill/>
            <a:round/>
          </a:ln>
        </p:spPr>
        <p:txBody>
          <a:bodyPr wrap="none" lIns="0" tIns="0" rIns="0" bIns="0" rtlCol="0">
            <a:spAutoFit/>
          </a:bodyPr>
          <a:lstStyle/>
          <a:p>
            <a:pPr algn="ctr" defTabSz="913686"/>
            <a:r>
              <a:rPr lang="en-US" dirty="0">
                <a:solidFill>
                  <a:srgbClr val="86BC25"/>
                </a:solidFill>
              </a:rPr>
              <a:t>01</a:t>
            </a:r>
          </a:p>
        </p:txBody>
      </p:sp>
      <p:sp>
        <p:nvSpPr>
          <p:cNvPr id="66" name="TextBox 65">
            <a:extLst>
              <a:ext uri="{FF2B5EF4-FFF2-40B4-BE49-F238E27FC236}">
                <a16:creationId xmlns:a16="http://schemas.microsoft.com/office/drawing/2014/main" id="{26B36423-49E8-EE46-93D8-A982C5FEA625}"/>
              </a:ext>
            </a:extLst>
          </p:cNvPr>
          <p:cNvSpPr txBox="1"/>
          <p:nvPr/>
        </p:nvSpPr>
        <p:spPr>
          <a:xfrm>
            <a:off x="723856" y="2095429"/>
            <a:ext cx="234038" cy="276999"/>
          </a:xfrm>
          <a:prstGeom prst="rect">
            <a:avLst/>
          </a:prstGeom>
          <a:noFill/>
          <a:ln w="34925">
            <a:noFill/>
            <a:round/>
          </a:ln>
        </p:spPr>
        <p:txBody>
          <a:bodyPr wrap="none" lIns="0" tIns="0" rIns="0" bIns="0" rtlCol="0">
            <a:spAutoFit/>
          </a:bodyPr>
          <a:lstStyle/>
          <a:p>
            <a:pPr algn="ctr" defTabSz="913686"/>
            <a:r>
              <a:rPr lang="en-US" dirty="0">
                <a:solidFill>
                  <a:srgbClr val="00A3E0"/>
                </a:solidFill>
              </a:rPr>
              <a:t>02</a:t>
            </a:r>
          </a:p>
        </p:txBody>
      </p:sp>
      <p:sp>
        <p:nvSpPr>
          <p:cNvPr id="67" name="TextBox 66">
            <a:extLst>
              <a:ext uri="{FF2B5EF4-FFF2-40B4-BE49-F238E27FC236}">
                <a16:creationId xmlns:a16="http://schemas.microsoft.com/office/drawing/2014/main" id="{ADD4B134-FF2B-0842-AFF5-47F45E984E68}"/>
              </a:ext>
            </a:extLst>
          </p:cNvPr>
          <p:cNvSpPr txBox="1"/>
          <p:nvPr/>
        </p:nvSpPr>
        <p:spPr>
          <a:xfrm>
            <a:off x="723856" y="2852221"/>
            <a:ext cx="234038" cy="276999"/>
          </a:xfrm>
          <a:prstGeom prst="rect">
            <a:avLst/>
          </a:prstGeom>
          <a:noFill/>
          <a:ln w="34925">
            <a:noFill/>
            <a:round/>
          </a:ln>
        </p:spPr>
        <p:txBody>
          <a:bodyPr wrap="none" lIns="0" tIns="0" rIns="0" bIns="0" rtlCol="0">
            <a:spAutoFit/>
          </a:bodyPr>
          <a:lstStyle/>
          <a:p>
            <a:pPr algn="ctr" defTabSz="913686"/>
            <a:r>
              <a:rPr lang="en-US" dirty="0">
                <a:solidFill>
                  <a:srgbClr val="2C5234"/>
                </a:solidFill>
              </a:rPr>
              <a:t>03</a:t>
            </a:r>
          </a:p>
        </p:txBody>
      </p:sp>
      <p:sp>
        <p:nvSpPr>
          <p:cNvPr id="68" name="TextBox 67">
            <a:extLst>
              <a:ext uri="{FF2B5EF4-FFF2-40B4-BE49-F238E27FC236}">
                <a16:creationId xmlns:a16="http://schemas.microsoft.com/office/drawing/2014/main" id="{73577D64-26B2-DF45-A25E-584BBCA31771}"/>
              </a:ext>
            </a:extLst>
          </p:cNvPr>
          <p:cNvSpPr txBox="1"/>
          <p:nvPr/>
        </p:nvSpPr>
        <p:spPr>
          <a:xfrm>
            <a:off x="723856" y="3609012"/>
            <a:ext cx="234038" cy="276999"/>
          </a:xfrm>
          <a:prstGeom prst="rect">
            <a:avLst/>
          </a:prstGeom>
          <a:noFill/>
          <a:ln w="34925">
            <a:noFill/>
            <a:round/>
          </a:ln>
        </p:spPr>
        <p:txBody>
          <a:bodyPr wrap="none" lIns="0" tIns="0" rIns="0" bIns="0" rtlCol="0">
            <a:spAutoFit/>
          </a:bodyPr>
          <a:lstStyle/>
          <a:p>
            <a:pPr algn="ctr" defTabSz="913686"/>
            <a:r>
              <a:rPr lang="en-US" dirty="0">
                <a:solidFill>
                  <a:srgbClr val="012169"/>
                </a:solidFill>
              </a:rPr>
              <a:t>04</a:t>
            </a:r>
          </a:p>
        </p:txBody>
      </p:sp>
      <p:sp>
        <p:nvSpPr>
          <p:cNvPr id="69" name="TextBox 68">
            <a:extLst>
              <a:ext uri="{FF2B5EF4-FFF2-40B4-BE49-F238E27FC236}">
                <a16:creationId xmlns:a16="http://schemas.microsoft.com/office/drawing/2014/main" id="{04776030-EC7F-0449-9D4D-8F5761E57CDB}"/>
              </a:ext>
            </a:extLst>
          </p:cNvPr>
          <p:cNvSpPr txBox="1"/>
          <p:nvPr/>
        </p:nvSpPr>
        <p:spPr>
          <a:xfrm>
            <a:off x="723856" y="4370502"/>
            <a:ext cx="234038" cy="276999"/>
          </a:xfrm>
          <a:prstGeom prst="rect">
            <a:avLst/>
          </a:prstGeom>
          <a:noFill/>
          <a:ln w="34925">
            <a:noFill/>
            <a:round/>
          </a:ln>
        </p:spPr>
        <p:txBody>
          <a:bodyPr wrap="none" lIns="0" tIns="0" rIns="0" bIns="0" rtlCol="0">
            <a:spAutoFit/>
          </a:bodyPr>
          <a:lstStyle/>
          <a:p>
            <a:pPr algn="ctr" defTabSz="913686"/>
            <a:r>
              <a:rPr lang="en-US" dirty="0">
                <a:solidFill>
                  <a:srgbClr val="0097A9"/>
                </a:solidFill>
              </a:rPr>
              <a:t>05</a:t>
            </a:r>
          </a:p>
        </p:txBody>
      </p:sp>
      <p:sp>
        <p:nvSpPr>
          <p:cNvPr id="70" name="TextBox 69">
            <a:extLst>
              <a:ext uri="{FF2B5EF4-FFF2-40B4-BE49-F238E27FC236}">
                <a16:creationId xmlns:a16="http://schemas.microsoft.com/office/drawing/2014/main" id="{54E804E2-F7D2-E848-A09C-9E31BDD2C46A}"/>
              </a:ext>
            </a:extLst>
          </p:cNvPr>
          <p:cNvSpPr txBox="1"/>
          <p:nvPr/>
        </p:nvSpPr>
        <p:spPr>
          <a:xfrm>
            <a:off x="723856" y="5133248"/>
            <a:ext cx="234038" cy="276999"/>
          </a:xfrm>
          <a:prstGeom prst="rect">
            <a:avLst/>
          </a:prstGeom>
          <a:noFill/>
          <a:ln w="34925">
            <a:noFill/>
            <a:round/>
          </a:ln>
        </p:spPr>
        <p:txBody>
          <a:bodyPr wrap="none" lIns="0" tIns="0" rIns="0" bIns="0" rtlCol="0">
            <a:spAutoFit/>
          </a:bodyPr>
          <a:lstStyle/>
          <a:p>
            <a:pPr algn="ctr" defTabSz="913686"/>
            <a:r>
              <a:rPr lang="en-US" dirty="0">
                <a:solidFill>
                  <a:srgbClr val="44546A"/>
                </a:solidFill>
              </a:rPr>
              <a:t>06</a:t>
            </a:r>
          </a:p>
        </p:txBody>
      </p:sp>
    </p:spTree>
    <p:custDataLst>
      <p:tags r:id="rId1"/>
    </p:custDataLst>
    <p:extLst>
      <p:ext uri="{BB962C8B-B14F-4D97-AF65-F5344CB8AC3E}">
        <p14:creationId xmlns:p14="http://schemas.microsoft.com/office/powerpoint/2010/main" val="4210789090"/>
      </p:ext>
    </p:extLst>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F14A51A-168F-468B-89B1-1E6AA17FB1E8}"/>
              </a:ext>
            </a:extLst>
          </p:cNvPr>
          <p:cNvGrpSpPr/>
          <p:nvPr/>
        </p:nvGrpSpPr>
        <p:grpSpPr>
          <a:xfrm>
            <a:off x="461963" y="1444517"/>
            <a:ext cx="11229975" cy="4193505"/>
            <a:chOff x="376237" y="3258052"/>
            <a:chExt cx="8410387" cy="3140612"/>
          </a:xfrm>
        </p:grpSpPr>
        <p:sp>
          <p:nvSpPr>
            <p:cNvPr id="5" name="Title 1">
              <a:extLst>
                <a:ext uri="{FF2B5EF4-FFF2-40B4-BE49-F238E27FC236}">
                  <a16:creationId xmlns:a16="http://schemas.microsoft.com/office/drawing/2014/main" id="{F777FF5B-F4F4-4975-838E-747273D81A3D}"/>
                </a:ext>
              </a:extLst>
            </p:cNvPr>
            <p:cNvSpPr txBox="1">
              <a:spLocks/>
            </p:cNvSpPr>
            <p:nvPr/>
          </p:nvSpPr>
          <p:spPr bwMode="gray">
            <a:xfrm>
              <a:off x="379953" y="4353490"/>
              <a:ext cx="856849" cy="720316"/>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6" name="Title 1">
              <a:extLst>
                <a:ext uri="{FF2B5EF4-FFF2-40B4-BE49-F238E27FC236}">
                  <a16:creationId xmlns:a16="http://schemas.microsoft.com/office/drawing/2014/main" id="{D1C3EE43-948E-4D40-81C4-06AC7F371817}"/>
                </a:ext>
              </a:extLst>
            </p:cNvPr>
            <p:cNvSpPr txBox="1">
              <a:spLocks/>
            </p:cNvSpPr>
            <p:nvPr/>
          </p:nvSpPr>
          <p:spPr bwMode="gray">
            <a:xfrm>
              <a:off x="1337899" y="5314374"/>
              <a:ext cx="120799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7" name="Title 1">
              <a:extLst>
                <a:ext uri="{FF2B5EF4-FFF2-40B4-BE49-F238E27FC236}">
                  <a16:creationId xmlns:a16="http://schemas.microsoft.com/office/drawing/2014/main" id="{081BF7DC-2A03-408A-8F6F-18123E8BC758}"/>
                </a:ext>
              </a:extLst>
            </p:cNvPr>
            <p:cNvSpPr txBox="1">
              <a:spLocks/>
            </p:cNvSpPr>
            <p:nvPr/>
          </p:nvSpPr>
          <p:spPr bwMode="gray">
            <a:xfrm>
              <a:off x="2907346" y="5908850"/>
              <a:ext cx="1088818"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8" name="Title 1">
              <a:extLst>
                <a:ext uri="{FF2B5EF4-FFF2-40B4-BE49-F238E27FC236}">
                  <a16:creationId xmlns:a16="http://schemas.microsoft.com/office/drawing/2014/main" id="{5DB2C497-35BB-4AB3-941F-6A6CF5F2B381}"/>
                </a:ext>
              </a:extLst>
            </p:cNvPr>
            <p:cNvSpPr txBox="1">
              <a:spLocks/>
            </p:cNvSpPr>
            <p:nvPr/>
          </p:nvSpPr>
          <p:spPr bwMode="gray">
            <a:xfrm>
              <a:off x="4681423" y="5754962"/>
              <a:ext cx="102412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9" name="Title 1">
              <a:extLst>
                <a:ext uri="{FF2B5EF4-FFF2-40B4-BE49-F238E27FC236}">
                  <a16:creationId xmlns:a16="http://schemas.microsoft.com/office/drawing/2014/main" id="{7D7A930A-9846-4D66-A2B0-2892090917C7}"/>
                </a:ext>
              </a:extLst>
            </p:cNvPr>
            <p:cNvSpPr txBox="1">
              <a:spLocks/>
            </p:cNvSpPr>
            <p:nvPr/>
          </p:nvSpPr>
          <p:spPr bwMode="gray">
            <a:xfrm>
              <a:off x="6094421" y="5083541"/>
              <a:ext cx="95591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10" name="Title 1">
              <a:extLst>
                <a:ext uri="{FF2B5EF4-FFF2-40B4-BE49-F238E27FC236}">
                  <a16:creationId xmlns:a16="http://schemas.microsoft.com/office/drawing/2014/main" id="{9B525C87-BEE1-436E-8FCE-E5E65BAA34F2}"/>
                </a:ext>
              </a:extLst>
            </p:cNvPr>
            <p:cNvSpPr txBox="1">
              <a:spLocks/>
            </p:cNvSpPr>
            <p:nvPr/>
          </p:nvSpPr>
          <p:spPr bwMode="gray">
            <a:xfrm>
              <a:off x="7364480" y="4321313"/>
              <a:ext cx="1103301"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11" name="Rectangle 10">
              <a:extLst>
                <a:ext uri="{FF2B5EF4-FFF2-40B4-BE49-F238E27FC236}">
                  <a16:creationId xmlns:a16="http://schemas.microsoft.com/office/drawing/2014/main" id="{4E04AE07-F2A2-419B-BCFD-5C4179EBC545}"/>
                </a:ext>
              </a:extLst>
            </p:cNvPr>
            <p:cNvSpPr/>
            <p:nvPr/>
          </p:nvSpPr>
          <p:spPr bwMode="gray">
            <a:xfrm>
              <a:off x="376237" y="3915570"/>
              <a:ext cx="989332" cy="33410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2" name="Rectangle 11">
              <a:extLst>
                <a:ext uri="{FF2B5EF4-FFF2-40B4-BE49-F238E27FC236}">
                  <a16:creationId xmlns:a16="http://schemas.microsoft.com/office/drawing/2014/main" id="{C8FEADE8-8879-4FC7-8D08-9FC71026802D}"/>
                </a:ext>
              </a:extLst>
            </p:cNvPr>
            <p:cNvSpPr/>
            <p:nvPr/>
          </p:nvSpPr>
          <p:spPr bwMode="gray">
            <a:xfrm>
              <a:off x="1361845" y="4847400"/>
              <a:ext cx="989332" cy="334101"/>
            </a:xfrm>
            <a:prstGeom prst="rect">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tx1">
                      <a:lumMod val="85000"/>
                      <a:lumOff val="15000"/>
                    </a:schemeClr>
                  </a:solidFill>
                </a:rPr>
                <a:t>Lorem ipsum </a:t>
              </a:r>
            </a:p>
          </p:txBody>
        </p:sp>
        <p:sp>
          <p:nvSpPr>
            <p:cNvPr id="13" name="Rectangle 12">
              <a:extLst>
                <a:ext uri="{FF2B5EF4-FFF2-40B4-BE49-F238E27FC236}">
                  <a16:creationId xmlns:a16="http://schemas.microsoft.com/office/drawing/2014/main" id="{DFB59171-21D7-4BEC-BBCD-93944A56ADC0}"/>
                </a:ext>
              </a:extLst>
            </p:cNvPr>
            <p:cNvSpPr/>
            <p:nvPr/>
          </p:nvSpPr>
          <p:spPr bwMode="gray">
            <a:xfrm>
              <a:off x="2910453" y="5450395"/>
              <a:ext cx="989332" cy="334101"/>
            </a:xfrm>
            <a:prstGeom prst="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4" name="Rectangle 13">
              <a:extLst>
                <a:ext uri="{FF2B5EF4-FFF2-40B4-BE49-F238E27FC236}">
                  <a16:creationId xmlns:a16="http://schemas.microsoft.com/office/drawing/2014/main" id="{EBBE48D1-76BC-4C05-866A-54FEF7C8E526}"/>
                </a:ext>
              </a:extLst>
            </p:cNvPr>
            <p:cNvSpPr/>
            <p:nvPr/>
          </p:nvSpPr>
          <p:spPr bwMode="gray">
            <a:xfrm>
              <a:off x="4668597" y="5312661"/>
              <a:ext cx="989332" cy="334101"/>
            </a:xfrm>
            <a:prstGeom prst="rect">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5" name="Rectangle 14">
              <a:extLst>
                <a:ext uri="{FF2B5EF4-FFF2-40B4-BE49-F238E27FC236}">
                  <a16:creationId xmlns:a16="http://schemas.microsoft.com/office/drawing/2014/main" id="{02965545-1DE5-4699-AE75-D8B3EA9FF67B}"/>
                </a:ext>
              </a:extLst>
            </p:cNvPr>
            <p:cNvSpPr/>
            <p:nvPr/>
          </p:nvSpPr>
          <p:spPr bwMode="gray">
            <a:xfrm>
              <a:off x="6102110" y="4625850"/>
              <a:ext cx="989332" cy="334101"/>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6" name="Rectangle 15">
              <a:extLst>
                <a:ext uri="{FF2B5EF4-FFF2-40B4-BE49-F238E27FC236}">
                  <a16:creationId xmlns:a16="http://schemas.microsoft.com/office/drawing/2014/main" id="{30FD7820-7E2F-47F6-B5CB-3A8A1A18BD8C}"/>
                </a:ext>
              </a:extLst>
            </p:cNvPr>
            <p:cNvSpPr/>
            <p:nvPr/>
          </p:nvSpPr>
          <p:spPr bwMode="gray">
            <a:xfrm>
              <a:off x="7222260" y="3915570"/>
              <a:ext cx="1564364" cy="334101"/>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cxnSp>
          <p:nvCxnSpPr>
            <p:cNvPr id="17" name="Straight Connector 16">
              <a:extLst>
                <a:ext uri="{FF2B5EF4-FFF2-40B4-BE49-F238E27FC236}">
                  <a16:creationId xmlns:a16="http://schemas.microsoft.com/office/drawing/2014/main" id="{4055C149-0CB2-4088-8465-87CE4EB791C3}"/>
                </a:ext>
              </a:extLst>
            </p:cNvPr>
            <p:cNvCxnSpPr/>
            <p:nvPr/>
          </p:nvCxnSpPr>
          <p:spPr>
            <a:xfrm flipV="1">
              <a:off x="1365569" y="4082620"/>
              <a:ext cx="1673416" cy="1"/>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41AF2C8-24E3-4675-9FCB-EC41C1877A21}"/>
                </a:ext>
              </a:extLst>
            </p:cNvPr>
            <p:cNvCxnSpPr>
              <a:stCxn id="12" idx="3"/>
            </p:cNvCxnSpPr>
            <p:nvPr/>
          </p:nvCxnSpPr>
          <p:spPr>
            <a:xfrm flipV="1">
              <a:off x="2351177" y="4335792"/>
              <a:ext cx="842679" cy="678659"/>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D51C0AD-85B9-477C-8794-18D8F8B6C409}"/>
                </a:ext>
              </a:extLst>
            </p:cNvPr>
            <p:cNvCxnSpPr>
              <a:cxnSpLocks/>
            </p:cNvCxnSpPr>
            <p:nvPr/>
          </p:nvCxnSpPr>
          <p:spPr>
            <a:xfrm flipV="1">
              <a:off x="3622750" y="4536501"/>
              <a:ext cx="0" cy="891702"/>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E959E7B-335C-4761-8BD9-ECB3FC915950}"/>
                </a:ext>
              </a:extLst>
            </p:cNvPr>
            <p:cNvCxnSpPr>
              <a:cxnSpLocks/>
              <a:endCxn id="14" idx="1"/>
            </p:cNvCxnSpPr>
            <p:nvPr/>
          </p:nvCxnSpPr>
          <p:spPr>
            <a:xfrm>
              <a:off x="4042952" y="4405963"/>
              <a:ext cx="625645" cy="1073749"/>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D275291-4253-467A-B242-FEAA7301C43C}"/>
                </a:ext>
              </a:extLst>
            </p:cNvPr>
            <p:cNvCxnSpPr>
              <a:cxnSpLocks/>
              <a:endCxn id="15" idx="1"/>
            </p:cNvCxnSpPr>
            <p:nvPr/>
          </p:nvCxnSpPr>
          <p:spPr>
            <a:xfrm>
              <a:off x="4150781" y="4214119"/>
              <a:ext cx="1951329" cy="578782"/>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5F6DA9E-C94A-409D-BF6B-277CB671BEDD}"/>
                </a:ext>
              </a:extLst>
            </p:cNvPr>
            <p:cNvCxnSpPr>
              <a:cxnSpLocks/>
              <a:stCxn id="52" idx="0"/>
              <a:endCxn id="16" idx="1"/>
            </p:cNvCxnSpPr>
            <p:nvPr/>
          </p:nvCxnSpPr>
          <p:spPr>
            <a:xfrm>
              <a:off x="4130429" y="4065317"/>
              <a:ext cx="3091831" cy="17304"/>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831CDA09-6996-40A2-8C7D-A5C48F13AA54}"/>
                </a:ext>
              </a:extLst>
            </p:cNvPr>
            <p:cNvGrpSpPr/>
            <p:nvPr/>
          </p:nvGrpSpPr>
          <p:grpSpPr>
            <a:xfrm>
              <a:off x="2887496" y="3258052"/>
              <a:ext cx="1463040" cy="1463040"/>
              <a:chOff x="2887496" y="3258052"/>
              <a:chExt cx="1463040" cy="1463040"/>
            </a:xfrm>
          </p:grpSpPr>
          <p:sp>
            <p:nvSpPr>
              <p:cNvPr id="51" name="Title 1">
                <a:extLst>
                  <a:ext uri="{FF2B5EF4-FFF2-40B4-BE49-F238E27FC236}">
                    <a16:creationId xmlns:a16="http://schemas.microsoft.com/office/drawing/2014/main" id="{A414F220-DA29-4A1E-9E78-BF8E0017D257}"/>
                  </a:ext>
                </a:extLst>
              </p:cNvPr>
              <p:cNvSpPr txBox="1">
                <a:spLocks/>
              </p:cNvSpPr>
              <p:nvPr/>
            </p:nvSpPr>
            <p:spPr bwMode="gray">
              <a:xfrm>
                <a:off x="3141637" y="3491209"/>
                <a:ext cx="989332" cy="987501"/>
              </a:xfrm>
              <a:prstGeom prst="ellipse">
                <a:avLst/>
              </a:prstGeom>
              <a:solidFill>
                <a:schemeClr val="accent5"/>
              </a:solidFill>
              <a:ln w="31750">
                <a:solidFill>
                  <a:schemeClr val="bg1"/>
                </a:solidFill>
              </a:ln>
            </p:spPr>
            <p:txBody>
              <a:bodyPr vert="horz" wrap="none" lIns="0" tIns="0" rIns="0" bIns="0" rtlCol="0" anchor="ctr"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GB" sz="800" b="1" dirty="0">
                    <a:solidFill>
                      <a:schemeClr val="bg1"/>
                    </a:solidFill>
                  </a:rPr>
                  <a:t>Lorem ipsum Lorem </a:t>
                </a:r>
                <a:r>
                  <a:rPr lang="en-GB" sz="800" b="1" dirty="0" err="1">
                    <a:solidFill>
                      <a:schemeClr val="bg1"/>
                    </a:solidFill>
                  </a:rPr>
                  <a:t>ip</a:t>
                </a:r>
                <a:endParaRPr lang="en-GB" sz="800" b="1" dirty="0">
                  <a:solidFill>
                    <a:schemeClr val="bg1"/>
                  </a:solidFill>
                </a:endParaRPr>
              </a:p>
              <a:p>
                <a:pPr algn="ctr"/>
                <a:r>
                  <a:rPr lang="en-GB" sz="800" b="1" dirty="0">
                    <a:solidFill>
                      <a:schemeClr val="bg1"/>
                    </a:solidFill>
                  </a:rPr>
                  <a:t>sum Lorem ipsum </a:t>
                </a:r>
              </a:p>
            </p:txBody>
          </p:sp>
          <p:sp>
            <p:nvSpPr>
              <p:cNvPr id="52" name="Arc 51">
                <a:extLst>
                  <a:ext uri="{FF2B5EF4-FFF2-40B4-BE49-F238E27FC236}">
                    <a16:creationId xmlns:a16="http://schemas.microsoft.com/office/drawing/2014/main" id="{22DB4681-EC38-442F-A2CB-40D54EDA1224}"/>
                  </a:ext>
                </a:extLst>
              </p:cNvPr>
              <p:cNvSpPr>
                <a:spLocks noChangeAspect="1"/>
              </p:cNvSpPr>
              <p:nvPr/>
            </p:nvSpPr>
            <p:spPr>
              <a:xfrm>
                <a:off x="3130194" y="3487521"/>
                <a:ext cx="1005840" cy="1005840"/>
              </a:xfrm>
              <a:prstGeom prst="arc">
                <a:avLst>
                  <a:gd name="adj1" fmla="val 513727"/>
                  <a:gd name="adj2" fmla="val 11800379"/>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Arc 52">
                <a:extLst>
                  <a:ext uri="{FF2B5EF4-FFF2-40B4-BE49-F238E27FC236}">
                    <a16:creationId xmlns:a16="http://schemas.microsoft.com/office/drawing/2014/main" id="{C4CD96D5-CD9D-4793-BD1B-16DCA8E51B69}"/>
                  </a:ext>
                </a:extLst>
              </p:cNvPr>
              <p:cNvSpPr>
                <a:spLocks noChangeAspect="1"/>
              </p:cNvSpPr>
              <p:nvPr/>
            </p:nvSpPr>
            <p:spPr>
              <a:xfrm>
                <a:off x="3077405" y="3447445"/>
                <a:ext cx="1097280" cy="1097280"/>
              </a:xfrm>
              <a:prstGeom prst="arc">
                <a:avLst>
                  <a:gd name="adj1" fmla="val 1223637"/>
                  <a:gd name="adj2" fmla="val 12401778"/>
                </a:avLst>
              </a:prstGeom>
              <a:ln w="38100">
                <a:solidFill>
                  <a:srgbClr val="00A3E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Arc 53">
                <a:extLst>
                  <a:ext uri="{FF2B5EF4-FFF2-40B4-BE49-F238E27FC236}">
                    <a16:creationId xmlns:a16="http://schemas.microsoft.com/office/drawing/2014/main" id="{0F1F1388-1901-4EB3-92E1-5538D17D2C8D}"/>
                  </a:ext>
                </a:extLst>
              </p:cNvPr>
              <p:cNvSpPr>
                <a:spLocks noChangeAspect="1"/>
              </p:cNvSpPr>
              <p:nvPr/>
            </p:nvSpPr>
            <p:spPr>
              <a:xfrm>
                <a:off x="3030307" y="3406538"/>
                <a:ext cx="1188720" cy="1188720"/>
              </a:xfrm>
              <a:prstGeom prst="arc">
                <a:avLst>
                  <a:gd name="adj1" fmla="val 2562022"/>
                  <a:gd name="adj2" fmla="val 12953517"/>
                </a:avLst>
              </a:prstGeom>
              <a:ln w="38100">
                <a:solidFill>
                  <a:srgbClr val="009A4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Arc 54">
                <a:extLst>
                  <a:ext uri="{FF2B5EF4-FFF2-40B4-BE49-F238E27FC236}">
                    <a16:creationId xmlns:a16="http://schemas.microsoft.com/office/drawing/2014/main" id="{FB397226-B9C9-4A15-B944-BDD606E52C56}"/>
                  </a:ext>
                </a:extLst>
              </p:cNvPr>
              <p:cNvSpPr>
                <a:spLocks noChangeAspect="1"/>
              </p:cNvSpPr>
              <p:nvPr/>
            </p:nvSpPr>
            <p:spPr>
              <a:xfrm>
                <a:off x="2983209" y="3365631"/>
                <a:ext cx="1280160" cy="1280160"/>
              </a:xfrm>
              <a:prstGeom prst="arc">
                <a:avLst>
                  <a:gd name="adj1" fmla="val 5359704"/>
                  <a:gd name="adj2" fmla="val 13461762"/>
                </a:avLst>
              </a:prstGeom>
              <a:ln w="38100">
                <a:solidFill>
                  <a:srgbClr val="97999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6" name="Arc 55">
                <a:extLst>
                  <a:ext uri="{FF2B5EF4-FFF2-40B4-BE49-F238E27FC236}">
                    <a16:creationId xmlns:a16="http://schemas.microsoft.com/office/drawing/2014/main" id="{E2B2B19D-A214-4075-A433-F90FE4E6E661}"/>
                  </a:ext>
                </a:extLst>
              </p:cNvPr>
              <p:cNvSpPr>
                <a:spLocks noChangeAspect="1"/>
              </p:cNvSpPr>
              <p:nvPr/>
            </p:nvSpPr>
            <p:spPr>
              <a:xfrm>
                <a:off x="2931348" y="3315198"/>
                <a:ext cx="1371600" cy="1371600"/>
              </a:xfrm>
              <a:prstGeom prst="arc">
                <a:avLst>
                  <a:gd name="adj1" fmla="val 8442504"/>
                  <a:gd name="adj2" fmla="val 14238736"/>
                </a:avLst>
              </a:prstGeom>
              <a:ln w="38100">
                <a:solidFill>
                  <a:srgbClr val="C4D6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Arc 56">
                <a:extLst>
                  <a:ext uri="{FF2B5EF4-FFF2-40B4-BE49-F238E27FC236}">
                    <a16:creationId xmlns:a16="http://schemas.microsoft.com/office/drawing/2014/main" id="{40A96665-D7BF-47E5-A6B8-A9F0B7BD2F43}"/>
                  </a:ext>
                </a:extLst>
              </p:cNvPr>
              <p:cNvSpPr>
                <a:spLocks noChangeAspect="1"/>
              </p:cNvSpPr>
              <p:nvPr/>
            </p:nvSpPr>
            <p:spPr>
              <a:xfrm>
                <a:off x="2887496" y="3258052"/>
                <a:ext cx="1463040" cy="1463040"/>
              </a:xfrm>
              <a:prstGeom prst="arc">
                <a:avLst>
                  <a:gd name="adj1" fmla="val 10405615"/>
                  <a:gd name="adj2" fmla="val 14751918"/>
                </a:avLst>
              </a:pr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4" name="Isosceles Triangle 23">
              <a:extLst>
                <a:ext uri="{FF2B5EF4-FFF2-40B4-BE49-F238E27FC236}">
                  <a16:creationId xmlns:a16="http://schemas.microsoft.com/office/drawing/2014/main" id="{31EE399C-8223-4725-AC14-8EB8481D7B55}"/>
                </a:ext>
              </a:extLst>
            </p:cNvPr>
            <p:cNvSpPr/>
            <p:nvPr/>
          </p:nvSpPr>
          <p:spPr bwMode="gray">
            <a:xfrm>
              <a:off x="376238" y="3811751"/>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5" name="Isosceles Triangle 24">
              <a:extLst>
                <a:ext uri="{FF2B5EF4-FFF2-40B4-BE49-F238E27FC236}">
                  <a16:creationId xmlns:a16="http://schemas.microsoft.com/office/drawing/2014/main" id="{A15EEE33-A8B8-4617-90D0-F6FB1366858F}"/>
                </a:ext>
              </a:extLst>
            </p:cNvPr>
            <p:cNvSpPr/>
            <p:nvPr/>
          </p:nvSpPr>
          <p:spPr bwMode="gray">
            <a:xfrm>
              <a:off x="1361845" y="4744516"/>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6" name="Isosceles Triangle 25">
              <a:extLst>
                <a:ext uri="{FF2B5EF4-FFF2-40B4-BE49-F238E27FC236}">
                  <a16:creationId xmlns:a16="http://schemas.microsoft.com/office/drawing/2014/main" id="{FACD1F33-CE27-49DC-9AC5-4CB61F0134BC}"/>
                </a:ext>
              </a:extLst>
            </p:cNvPr>
            <p:cNvSpPr/>
            <p:nvPr/>
          </p:nvSpPr>
          <p:spPr bwMode="gray">
            <a:xfrm>
              <a:off x="4674920" y="5206061"/>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7" name="Isosceles Triangle 26">
              <a:extLst>
                <a:ext uri="{FF2B5EF4-FFF2-40B4-BE49-F238E27FC236}">
                  <a16:creationId xmlns:a16="http://schemas.microsoft.com/office/drawing/2014/main" id="{2C4BBAF2-9FC8-41E1-97A8-90892825076E}"/>
                </a:ext>
              </a:extLst>
            </p:cNvPr>
            <p:cNvSpPr/>
            <p:nvPr/>
          </p:nvSpPr>
          <p:spPr bwMode="gray">
            <a:xfrm>
              <a:off x="6094421" y="4526614"/>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8" name="Isosceles Triangle 27">
              <a:extLst>
                <a:ext uri="{FF2B5EF4-FFF2-40B4-BE49-F238E27FC236}">
                  <a16:creationId xmlns:a16="http://schemas.microsoft.com/office/drawing/2014/main" id="{31378592-1518-489C-9314-B980332AA212}"/>
                </a:ext>
              </a:extLst>
            </p:cNvPr>
            <p:cNvSpPr/>
            <p:nvPr/>
          </p:nvSpPr>
          <p:spPr bwMode="gray">
            <a:xfrm>
              <a:off x="7216584" y="3817713"/>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29" name="Group 795">
              <a:extLst>
                <a:ext uri="{FF2B5EF4-FFF2-40B4-BE49-F238E27FC236}">
                  <a16:creationId xmlns:a16="http://schemas.microsoft.com/office/drawing/2014/main" id="{8852C4BA-B194-403B-8048-335C5C2936FD}"/>
                </a:ext>
              </a:extLst>
            </p:cNvPr>
            <p:cNvGrpSpPr>
              <a:grpSpLocks noChangeAspect="1"/>
            </p:cNvGrpSpPr>
            <p:nvPr/>
          </p:nvGrpSpPr>
          <p:grpSpPr bwMode="auto">
            <a:xfrm>
              <a:off x="1698889" y="4477848"/>
              <a:ext cx="304976" cy="304976"/>
              <a:chOff x="4288" y="3084"/>
              <a:chExt cx="340" cy="340"/>
            </a:xfrm>
            <a:solidFill>
              <a:srgbClr val="63666A"/>
            </a:solidFill>
          </p:grpSpPr>
          <p:sp>
            <p:nvSpPr>
              <p:cNvPr id="47" name="Freeform 796">
                <a:extLst>
                  <a:ext uri="{FF2B5EF4-FFF2-40B4-BE49-F238E27FC236}">
                    <a16:creationId xmlns:a16="http://schemas.microsoft.com/office/drawing/2014/main" id="{125FF548-867D-4FF6-888E-CA5AD22F59D9}"/>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797">
                <a:extLst>
                  <a:ext uri="{FF2B5EF4-FFF2-40B4-BE49-F238E27FC236}">
                    <a16:creationId xmlns:a16="http://schemas.microsoft.com/office/drawing/2014/main" id="{BBF94E9E-6F07-4B34-B2E7-059A24EBC3F7}"/>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798">
                <a:extLst>
                  <a:ext uri="{FF2B5EF4-FFF2-40B4-BE49-F238E27FC236}">
                    <a16:creationId xmlns:a16="http://schemas.microsoft.com/office/drawing/2014/main" id="{8FBE43F7-DF2D-4CD5-AC47-D083E7BCFC0D}"/>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799">
                <a:extLst>
                  <a:ext uri="{FF2B5EF4-FFF2-40B4-BE49-F238E27FC236}">
                    <a16:creationId xmlns:a16="http://schemas.microsoft.com/office/drawing/2014/main" id="{7B28A479-3819-43A5-8441-F4AB7C42BB97}"/>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 name="Group 317">
              <a:extLst>
                <a:ext uri="{FF2B5EF4-FFF2-40B4-BE49-F238E27FC236}">
                  <a16:creationId xmlns:a16="http://schemas.microsoft.com/office/drawing/2014/main" id="{19FE85DC-11A1-4343-A96C-AA57CDF103EF}"/>
                </a:ext>
              </a:extLst>
            </p:cNvPr>
            <p:cNvGrpSpPr>
              <a:grpSpLocks noChangeAspect="1"/>
            </p:cNvGrpSpPr>
            <p:nvPr/>
          </p:nvGrpSpPr>
          <p:grpSpPr bwMode="auto">
            <a:xfrm>
              <a:off x="716988" y="3542396"/>
              <a:ext cx="303827" cy="303827"/>
              <a:chOff x="2718" y="1165"/>
              <a:chExt cx="340" cy="340"/>
            </a:xfrm>
            <a:solidFill>
              <a:srgbClr val="63666A"/>
            </a:solidFill>
          </p:grpSpPr>
          <p:sp>
            <p:nvSpPr>
              <p:cNvPr id="45" name="Freeform 318">
                <a:extLst>
                  <a:ext uri="{FF2B5EF4-FFF2-40B4-BE49-F238E27FC236}">
                    <a16:creationId xmlns:a16="http://schemas.microsoft.com/office/drawing/2014/main" id="{A55EB3BE-7E0A-4598-8C2E-67C0E86C5BBF}"/>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319">
                <a:extLst>
                  <a:ext uri="{FF2B5EF4-FFF2-40B4-BE49-F238E27FC236}">
                    <a16:creationId xmlns:a16="http://schemas.microsoft.com/office/drawing/2014/main" id="{FCA98D97-05C4-4F9B-9997-BC6272075E91}"/>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Group 282">
              <a:extLst>
                <a:ext uri="{FF2B5EF4-FFF2-40B4-BE49-F238E27FC236}">
                  <a16:creationId xmlns:a16="http://schemas.microsoft.com/office/drawing/2014/main" id="{2CF29668-7457-4797-A797-562F1D8B541A}"/>
                </a:ext>
              </a:extLst>
            </p:cNvPr>
            <p:cNvGrpSpPr>
              <a:grpSpLocks noChangeAspect="1"/>
            </p:cNvGrpSpPr>
            <p:nvPr/>
          </p:nvGrpSpPr>
          <p:grpSpPr bwMode="auto">
            <a:xfrm>
              <a:off x="3256994" y="5075589"/>
              <a:ext cx="303340" cy="303340"/>
              <a:chOff x="7007" y="1580"/>
              <a:chExt cx="340" cy="340"/>
            </a:xfrm>
            <a:solidFill>
              <a:srgbClr val="63666A"/>
            </a:solidFill>
          </p:grpSpPr>
          <p:sp>
            <p:nvSpPr>
              <p:cNvPr id="43" name="Freeform 278">
                <a:extLst>
                  <a:ext uri="{FF2B5EF4-FFF2-40B4-BE49-F238E27FC236}">
                    <a16:creationId xmlns:a16="http://schemas.microsoft.com/office/drawing/2014/main" id="{8F4641F0-EDF2-40FA-8C0B-7D13BC4570D1}"/>
                  </a:ext>
                </a:extLst>
              </p:cNvPr>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79">
                <a:extLst>
                  <a:ext uri="{FF2B5EF4-FFF2-40B4-BE49-F238E27FC236}">
                    <a16:creationId xmlns:a16="http://schemas.microsoft.com/office/drawing/2014/main" id="{ED30F397-F0A2-42AE-B77F-D0DC44528910}"/>
                  </a:ext>
                </a:extLst>
              </p:cNvPr>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 name="Group 620">
              <a:extLst>
                <a:ext uri="{FF2B5EF4-FFF2-40B4-BE49-F238E27FC236}">
                  <a16:creationId xmlns:a16="http://schemas.microsoft.com/office/drawing/2014/main" id="{E44AB4C2-5DD6-4240-8CA7-1761CF8F2496}"/>
                </a:ext>
              </a:extLst>
            </p:cNvPr>
            <p:cNvGrpSpPr>
              <a:grpSpLocks noChangeAspect="1"/>
            </p:cNvGrpSpPr>
            <p:nvPr/>
          </p:nvGrpSpPr>
          <p:grpSpPr bwMode="auto">
            <a:xfrm>
              <a:off x="5018288" y="4926565"/>
              <a:ext cx="305517" cy="305517"/>
              <a:chOff x="5828" y="2247"/>
              <a:chExt cx="340" cy="340"/>
            </a:xfrm>
            <a:solidFill>
              <a:srgbClr val="63666A"/>
            </a:solidFill>
          </p:grpSpPr>
          <p:sp>
            <p:nvSpPr>
              <p:cNvPr id="41" name="Freeform 621">
                <a:extLst>
                  <a:ext uri="{FF2B5EF4-FFF2-40B4-BE49-F238E27FC236}">
                    <a16:creationId xmlns:a16="http://schemas.microsoft.com/office/drawing/2014/main" id="{5980D58F-950E-47BE-8CF1-D2B043C10BB0}"/>
                  </a:ext>
                </a:extLst>
              </p:cNvPr>
              <p:cNvSpPr>
                <a:spLocks noEditPoints="1"/>
              </p:cNvSpPr>
              <p:nvPr/>
            </p:nvSpPr>
            <p:spPr bwMode="auto">
              <a:xfrm>
                <a:off x="5898" y="2311"/>
                <a:ext cx="199" cy="212"/>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622">
                <a:extLst>
                  <a:ext uri="{FF2B5EF4-FFF2-40B4-BE49-F238E27FC236}">
                    <a16:creationId xmlns:a16="http://schemas.microsoft.com/office/drawing/2014/main" id="{095256DA-EBFF-4CB8-9E63-D5530736D886}"/>
                  </a:ext>
                </a:extLst>
              </p:cNvPr>
              <p:cNvSpPr>
                <a:spLocks noEditPoints="1"/>
              </p:cNvSpPr>
              <p:nvPr/>
            </p:nvSpPr>
            <p:spPr bwMode="auto">
              <a:xfrm>
                <a:off x="5828" y="224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Group 638">
              <a:extLst>
                <a:ext uri="{FF2B5EF4-FFF2-40B4-BE49-F238E27FC236}">
                  <a16:creationId xmlns:a16="http://schemas.microsoft.com/office/drawing/2014/main" id="{20D73EBD-5EF8-425C-B285-22077318D91D}"/>
                </a:ext>
              </a:extLst>
            </p:cNvPr>
            <p:cNvGrpSpPr>
              <a:grpSpLocks noChangeAspect="1"/>
            </p:cNvGrpSpPr>
            <p:nvPr/>
          </p:nvGrpSpPr>
          <p:grpSpPr bwMode="auto">
            <a:xfrm>
              <a:off x="6416169" y="4248544"/>
              <a:ext cx="305517" cy="305517"/>
              <a:chOff x="4300" y="2260"/>
              <a:chExt cx="340" cy="340"/>
            </a:xfrm>
            <a:solidFill>
              <a:srgbClr val="63666A"/>
            </a:solidFill>
          </p:grpSpPr>
          <p:sp>
            <p:nvSpPr>
              <p:cNvPr id="38" name="Freeform 639">
                <a:extLst>
                  <a:ext uri="{FF2B5EF4-FFF2-40B4-BE49-F238E27FC236}">
                    <a16:creationId xmlns:a16="http://schemas.microsoft.com/office/drawing/2014/main" id="{C7182034-FCA8-4B19-A671-B661C178449C}"/>
                  </a:ext>
                </a:extLst>
              </p:cNvPr>
              <p:cNvSpPr>
                <a:spLocks/>
              </p:cNvSpPr>
              <p:nvPr/>
            </p:nvSpPr>
            <p:spPr bwMode="auto">
              <a:xfrm>
                <a:off x="4463" y="2437"/>
                <a:ext cx="14" cy="99"/>
              </a:xfrm>
              <a:custGeom>
                <a:avLst/>
                <a:gdLst>
                  <a:gd name="T0" fmla="*/ 11 w 21"/>
                  <a:gd name="T1" fmla="*/ 0 h 150"/>
                  <a:gd name="T2" fmla="*/ 0 w 21"/>
                  <a:gd name="T3" fmla="*/ 11 h 150"/>
                  <a:gd name="T4" fmla="*/ 0 w 21"/>
                  <a:gd name="T5" fmla="*/ 139 h 150"/>
                  <a:gd name="T6" fmla="*/ 11 w 21"/>
                  <a:gd name="T7" fmla="*/ 150 h 150"/>
                  <a:gd name="T8" fmla="*/ 21 w 21"/>
                  <a:gd name="T9" fmla="*/ 139 h 150"/>
                  <a:gd name="T10" fmla="*/ 21 w 21"/>
                  <a:gd name="T11" fmla="*/ 11 h 150"/>
                  <a:gd name="T12" fmla="*/ 11 w 21"/>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21" h="150">
                    <a:moveTo>
                      <a:pt x="11" y="0"/>
                    </a:moveTo>
                    <a:cubicBezTo>
                      <a:pt x="5" y="0"/>
                      <a:pt x="0" y="5"/>
                      <a:pt x="0" y="11"/>
                    </a:cubicBezTo>
                    <a:cubicBezTo>
                      <a:pt x="0" y="139"/>
                      <a:pt x="0" y="139"/>
                      <a:pt x="0" y="139"/>
                    </a:cubicBezTo>
                    <a:cubicBezTo>
                      <a:pt x="0" y="145"/>
                      <a:pt x="5" y="150"/>
                      <a:pt x="11" y="150"/>
                    </a:cubicBezTo>
                    <a:cubicBezTo>
                      <a:pt x="17" y="150"/>
                      <a:pt x="21" y="145"/>
                      <a:pt x="21" y="139"/>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40">
                <a:extLst>
                  <a:ext uri="{FF2B5EF4-FFF2-40B4-BE49-F238E27FC236}">
                    <a16:creationId xmlns:a16="http://schemas.microsoft.com/office/drawing/2014/main" id="{ED7CA201-F49F-4F57-8A10-17BFCFA062CC}"/>
                  </a:ext>
                </a:extLst>
              </p:cNvPr>
              <p:cNvSpPr>
                <a:spLocks noEditPoints="1"/>
              </p:cNvSpPr>
              <p:nvPr/>
            </p:nvSpPr>
            <p:spPr bwMode="auto">
              <a:xfrm>
                <a:off x="4405" y="2330"/>
                <a:ext cx="132" cy="107"/>
              </a:xfrm>
              <a:custGeom>
                <a:avLst/>
                <a:gdLst>
                  <a:gd name="T0" fmla="*/ 192 w 199"/>
                  <a:gd name="T1" fmla="*/ 140 h 160"/>
                  <a:gd name="T2" fmla="*/ 129 w 199"/>
                  <a:gd name="T3" fmla="*/ 105 h 160"/>
                  <a:gd name="T4" fmla="*/ 108 w 199"/>
                  <a:gd name="T5" fmla="*/ 77 h 160"/>
                  <a:gd name="T6" fmla="*/ 108 w 199"/>
                  <a:gd name="T7" fmla="*/ 11 h 160"/>
                  <a:gd name="T8" fmla="*/ 98 w 199"/>
                  <a:gd name="T9" fmla="*/ 0 h 160"/>
                  <a:gd name="T10" fmla="*/ 87 w 199"/>
                  <a:gd name="T11" fmla="*/ 11 h 160"/>
                  <a:gd name="T12" fmla="*/ 87 w 199"/>
                  <a:gd name="T13" fmla="*/ 77 h 160"/>
                  <a:gd name="T14" fmla="*/ 66 w 199"/>
                  <a:gd name="T15" fmla="*/ 107 h 160"/>
                  <a:gd name="T16" fmla="*/ 7 w 199"/>
                  <a:gd name="T17" fmla="*/ 140 h 160"/>
                  <a:gd name="T18" fmla="*/ 3 w 199"/>
                  <a:gd name="T19" fmla="*/ 155 h 160"/>
                  <a:gd name="T20" fmla="*/ 12 w 199"/>
                  <a:gd name="T21" fmla="*/ 160 h 160"/>
                  <a:gd name="T22" fmla="*/ 18 w 199"/>
                  <a:gd name="T23" fmla="*/ 159 h 160"/>
                  <a:gd name="T24" fmla="*/ 73 w 199"/>
                  <a:gd name="T25" fmla="*/ 127 h 160"/>
                  <a:gd name="T26" fmla="*/ 98 w 199"/>
                  <a:gd name="T27" fmla="*/ 139 h 160"/>
                  <a:gd name="T28" fmla="*/ 123 w 199"/>
                  <a:gd name="T29" fmla="*/ 126 h 160"/>
                  <a:gd name="T30" fmla="*/ 181 w 199"/>
                  <a:gd name="T31" fmla="*/ 159 h 160"/>
                  <a:gd name="T32" fmla="*/ 187 w 199"/>
                  <a:gd name="T33" fmla="*/ 160 h 160"/>
                  <a:gd name="T34" fmla="*/ 196 w 199"/>
                  <a:gd name="T35" fmla="*/ 155 h 160"/>
                  <a:gd name="T36" fmla="*/ 192 w 199"/>
                  <a:gd name="T37" fmla="*/ 140 h 160"/>
                  <a:gd name="T38" fmla="*/ 98 w 199"/>
                  <a:gd name="T39" fmla="*/ 118 h 160"/>
                  <a:gd name="T40" fmla="*/ 87 w 199"/>
                  <a:gd name="T41" fmla="*/ 107 h 160"/>
                  <a:gd name="T42" fmla="*/ 98 w 199"/>
                  <a:gd name="T43" fmla="*/ 96 h 160"/>
                  <a:gd name="T44" fmla="*/ 108 w 199"/>
                  <a:gd name="T45" fmla="*/ 107 h 160"/>
                  <a:gd name="T46" fmla="*/ 98 w 199"/>
                  <a:gd name="T47" fmla="*/ 1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9" h="160">
                    <a:moveTo>
                      <a:pt x="192" y="140"/>
                    </a:moveTo>
                    <a:cubicBezTo>
                      <a:pt x="129" y="105"/>
                      <a:pt x="129" y="105"/>
                      <a:pt x="129" y="105"/>
                    </a:cubicBezTo>
                    <a:cubicBezTo>
                      <a:pt x="129" y="92"/>
                      <a:pt x="120" y="81"/>
                      <a:pt x="108" y="77"/>
                    </a:cubicBezTo>
                    <a:cubicBezTo>
                      <a:pt x="108" y="11"/>
                      <a:pt x="108" y="11"/>
                      <a:pt x="108" y="11"/>
                    </a:cubicBezTo>
                    <a:cubicBezTo>
                      <a:pt x="108" y="5"/>
                      <a:pt x="104" y="0"/>
                      <a:pt x="98" y="0"/>
                    </a:cubicBezTo>
                    <a:cubicBezTo>
                      <a:pt x="92" y="0"/>
                      <a:pt x="87" y="5"/>
                      <a:pt x="87" y="11"/>
                    </a:cubicBezTo>
                    <a:cubicBezTo>
                      <a:pt x="87" y="77"/>
                      <a:pt x="87" y="77"/>
                      <a:pt x="87" y="77"/>
                    </a:cubicBezTo>
                    <a:cubicBezTo>
                      <a:pt x="75" y="81"/>
                      <a:pt x="66" y="93"/>
                      <a:pt x="66" y="107"/>
                    </a:cubicBezTo>
                    <a:cubicBezTo>
                      <a:pt x="7" y="140"/>
                      <a:pt x="7" y="140"/>
                      <a:pt x="7" y="140"/>
                    </a:cubicBezTo>
                    <a:cubicBezTo>
                      <a:pt x="2" y="143"/>
                      <a:pt x="0" y="150"/>
                      <a:pt x="3" y="155"/>
                    </a:cubicBezTo>
                    <a:cubicBezTo>
                      <a:pt x="5" y="158"/>
                      <a:pt x="9" y="160"/>
                      <a:pt x="12" y="160"/>
                    </a:cubicBezTo>
                    <a:cubicBezTo>
                      <a:pt x="14" y="160"/>
                      <a:pt x="16" y="160"/>
                      <a:pt x="18" y="159"/>
                    </a:cubicBezTo>
                    <a:cubicBezTo>
                      <a:pt x="73" y="127"/>
                      <a:pt x="73" y="127"/>
                      <a:pt x="73" y="127"/>
                    </a:cubicBezTo>
                    <a:cubicBezTo>
                      <a:pt x="79" y="134"/>
                      <a:pt x="88" y="139"/>
                      <a:pt x="98" y="139"/>
                    </a:cubicBezTo>
                    <a:cubicBezTo>
                      <a:pt x="108" y="139"/>
                      <a:pt x="117" y="134"/>
                      <a:pt x="123" y="126"/>
                    </a:cubicBezTo>
                    <a:cubicBezTo>
                      <a:pt x="181" y="159"/>
                      <a:pt x="181" y="159"/>
                      <a:pt x="181" y="159"/>
                    </a:cubicBezTo>
                    <a:cubicBezTo>
                      <a:pt x="183" y="160"/>
                      <a:pt x="185" y="160"/>
                      <a:pt x="187" y="160"/>
                    </a:cubicBezTo>
                    <a:cubicBezTo>
                      <a:pt x="190" y="160"/>
                      <a:pt x="194" y="158"/>
                      <a:pt x="196" y="155"/>
                    </a:cubicBezTo>
                    <a:cubicBezTo>
                      <a:pt x="199" y="150"/>
                      <a:pt x="197" y="143"/>
                      <a:pt x="192" y="140"/>
                    </a:cubicBezTo>
                    <a:close/>
                    <a:moveTo>
                      <a:pt x="98" y="118"/>
                    </a:moveTo>
                    <a:cubicBezTo>
                      <a:pt x="92" y="118"/>
                      <a:pt x="87" y="113"/>
                      <a:pt x="87" y="107"/>
                    </a:cubicBezTo>
                    <a:cubicBezTo>
                      <a:pt x="87" y="101"/>
                      <a:pt x="92" y="96"/>
                      <a:pt x="98" y="96"/>
                    </a:cubicBezTo>
                    <a:cubicBezTo>
                      <a:pt x="104" y="96"/>
                      <a:pt x="108" y="101"/>
                      <a:pt x="108" y="107"/>
                    </a:cubicBezTo>
                    <a:cubicBezTo>
                      <a:pt x="108" y="113"/>
                      <a:pt x="104" y="118"/>
                      <a:pt x="98" y="11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641">
                <a:extLst>
                  <a:ext uri="{FF2B5EF4-FFF2-40B4-BE49-F238E27FC236}">
                    <a16:creationId xmlns:a16="http://schemas.microsoft.com/office/drawing/2014/main" id="{FF4F8839-678E-4D8C-8B09-A21DA9011F1D}"/>
                  </a:ext>
                </a:extLst>
              </p:cNvPr>
              <p:cNvSpPr>
                <a:spLocks noEditPoints="1"/>
              </p:cNvSpPr>
              <p:nvPr/>
            </p:nvSpPr>
            <p:spPr bwMode="auto">
              <a:xfrm>
                <a:off x="4300" y="22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 name="Group 526">
              <a:extLst>
                <a:ext uri="{FF2B5EF4-FFF2-40B4-BE49-F238E27FC236}">
                  <a16:creationId xmlns:a16="http://schemas.microsoft.com/office/drawing/2014/main" id="{C3FC15FC-7FEF-40FA-8A30-C2C4C51FA914}"/>
                </a:ext>
              </a:extLst>
            </p:cNvPr>
            <p:cNvGrpSpPr>
              <a:grpSpLocks noChangeAspect="1"/>
            </p:cNvGrpSpPr>
            <p:nvPr/>
          </p:nvGrpSpPr>
          <p:grpSpPr bwMode="auto">
            <a:xfrm>
              <a:off x="7547247" y="3527169"/>
              <a:ext cx="304976" cy="304976"/>
              <a:chOff x="3464" y="1974"/>
              <a:chExt cx="340" cy="340"/>
            </a:xfrm>
            <a:solidFill>
              <a:srgbClr val="63666A"/>
            </a:solidFill>
          </p:grpSpPr>
          <p:sp>
            <p:nvSpPr>
              <p:cNvPr id="36" name="Freeform 527">
                <a:extLst>
                  <a:ext uri="{FF2B5EF4-FFF2-40B4-BE49-F238E27FC236}">
                    <a16:creationId xmlns:a16="http://schemas.microsoft.com/office/drawing/2014/main" id="{D75D1012-D8FA-4AEF-A302-0431047D2177}"/>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528">
                <a:extLst>
                  <a:ext uri="{FF2B5EF4-FFF2-40B4-BE49-F238E27FC236}">
                    <a16:creationId xmlns:a16="http://schemas.microsoft.com/office/drawing/2014/main" id="{705E7A3F-BBC0-46DB-BA42-9B48DB30FC16}"/>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 name="Isosceles Triangle 34">
              <a:extLst>
                <a:ext uri="{FF2B5EF4-FFF2-40B4-BE49-F238E27FC236}">
                  <a16:creationId xmlns:a16="http://schemas.microsoft.com/office/drawing/2014/main" id="{1F87DF50-1715-46C1-9261-9AC1CAF781B8}"/>
                </a:ext>
              </a:extLst>
            </p:cNvPr>
            <p:cNvSpPr/>
            <p:nvPr/>
          </p:nvSpPr>
          <p:spPr bwMode="gray">
            <a:xfrm>
              <a:off x="2917352" y="5347511"/>
              <a:ext cx="126935" cy="102884"/>
            </a:xfrm>
            <a:prstGeom prst="triangle">
              <a:avLst>
                <a:gd name="adj" fmla="val 100000"/>
              </a:avLst>
            </a:pr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custDataLst>
      <p:tags r:id="rId1"/>
    </p:custDataLst>
    <p:extLst>
      <p:ext uri="{BB962C8B-B14F-4D97-AF65-F5344CB8AC3E}">
        <p14:creationId xmlns:p14="http://schemas.microsoft.com/office/powerpoint/2010/main" val="2458879749"/>
      </p:ext>
    </p:extLst>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BCB64A-9E3A-4924-9427-62E77874EADF}"/>
              </a:ext>
            </a:extLst>
          </p:cNvPr>
          <p:cNvGrpSpPr/>
          <p:nvPr/>
        </p:nvGrpSpPr>
        <p:grpSpPr>
          <a:xfrm>
            <a:off x="67773" y="657726"/>
            <a:ext cx="12056454" cy="5202717"/>
            <a:chOff x="474453" y="1453551"/>
            <a:chExt cx="11253158" cy="4856071"/>
          </a:xfrm>
        </p:grpSpPr>
        <p:sp>
          <p:nvSpPr>
            <p:cNvPr id="2" name="矩形 1"/>
            <p:cNvSpPr/>
            <p:nvPr/>
          </p:nvSpPr>
          <p:spPr bwMode="gray">
            <a:xfrm>
              <a:off x="2432279" y="4891706"/>
              <a:ext cx="7345764" cy="451079"/>
            </a:xfrm>
            <a:prstGeom prst="rect">
              <a:avLst/>
            </a:prstGeom>
            <a:solidFill>
              <a:srgbClr val="0097A9"/>
            </a:solidFill>
            <a:ln w="19050" algn="ctr">
              <a:noFill/>
              <a:miter lim="800000"/>
              <a:headEnd/>
              <a:tailEnd/>
            </a:ln>
          </p:spPr>
          <p:txBody>
            <a:bodyPr wrap="square" lIns="88900" tIns="88900" rIns="88900" bIns="88900" rtlCol="0" anchor="ctr"/>
            <a:lstStyle/>
            <a:p>
              <a:pPr algn="ctr"/>
              <a:r>
                <a:rPr lang="en-US" sz="1200" b="1" dirty="0">
                  <a:solidFill>
                    <a:schemeClr val="bg1"/>
                  </a:solidFill>
                  <a:cs typeface="Verdana" panose="020B0604030504040204" pitchFamily="34" charset="0"/>
                </a:rPr>
                <a:t>Lorem ipsum dolor sit </a:t>
              </a:r>
              <a:r>
                <a:rPr lang="en-US" sz="1200" b="1" dirty="0" err="1">
                  <a:solidFill>
                    <a:schemeClr val="bg1"/>
                  </a:solidFill>
                  <a:cs typeface="Verdana" panose="020B0604030504040204" pitchFamily="34" charset="0"/>
                </a:rPr>
                <a:t>amet</a:t>
              </a:r>
              <a:r>
                <a:rPr lang="en-US" sz="1200" b="1" dirty="0">
                  <a:solidFill>
                    <a:schemeClr val="bg1"/>
                  </a:solidFill>
                  <a:cs typeface="Verdana" panose="020B0604030504040204" pitchFamily="34" charset="0"/>
                </a:rPr>
                <a:t>, </a:t>
              </a:r>
              <a:r>
                <a:rPr lang="en-US" sz="1200" b="1" dirty="0" err="1">
                  <a:solidFill>
                    <a:schemeClr val="bg1"/>
                  </a:solidFill>
                  <a:cs typeface="Verdana" panose="020B0604030504040204" pitchFamily="34" charset="0"/>
                </a:rPr>
                <a:t>consectetur</a:t>
              </a:r>
              <a:endParaRPr lang="en-US" sz="1200" b="1" dirty="0">
                <a:solidFill>
                  <a:schemeClr val="bg1"/>
                </a:solidFill>
                <a:cs typeface="Verdana" panose="020B0604030504040204" pitchFamily="34" charset="0"/>
              </a:endParaRPr>
            </a:p>
          </p:txBody>
        </p:sp>
        <p:grpSp>
          <p:nvGrpSpPr>
            <p:cNvPr id="81" name="组合 80"/>
            <p:cNvGrpSpPr/>
            <p:nvPr/>
          </p:nvGrpSpPr>
          <p:grpSpPr>
            <a:xfrm>
              <a:off x="2432279" y="5395695"/>
              <a:ext cx="7345764" cy="110232"/>
              <a:chOff x="3482875" y="5046325"/>
              <a:chExt cx="4938863" cy="82903"/>
            </a:xfrm>
            <a:solidFill>
              <a:schemeClr val="tx1">
                <a:lumMod val="65000"/>
                <a:lumOff val="35000"/>
              </a:schemeClr>
            </a:solidFill>
          </p:grpSpPr>
          <p:sp>
            <p:nvSpPr>
              <p:cNvPr id="78" name="Rectangle 2"/>
              <p:cNvSpPr/>
              <p:nvPr/>
            </p:nvSpPr>
            <p:spPr bwMode="gray">
              <a:xfrm>
                <a:off x="5141257"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9" name="Rectangle 2"/>
              <p:cNvSpPr/>
              <p:nvPr/>
            </p:nvSpPr>
            <p:spPr bwMode="gray">
              <a:xfrm>
                <a:off x="3482875"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0" name="Rectangle 2"/>
              <p:cNvSpPr/>
              <p:nvPr/>
            </p:nvSpPr>
            <p:spPr bwMode="gray">
              <a:xfrm>
                <a:off x="6849048"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83" name="Rectangle 2"/>
            <p:cNvSpPr/>
            <p:nvPr/>
          </p:nvSpPr>
          <p:spPr bwMode="gray">
            <a:xfrm>
              <a:off x="4254272"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84" name="Rectangle 2"/>
            <p:cNvSpPr/>
            <p:nvPr/>
          </p:nvSpPr>
          <p:spPr bwMode="gray">
            <a:xfrm>
              <a:off x="479060"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85" name="Rectangle 2"/>
            <p:cNvSpPr/>
            <p:nvPr/>
          </p:nvSpPr>
          <p:spPr bwMode="gray">
            <a:xfrm>
              <a:off x="8141961"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90" name="Arc 2">
              <a:extLst>
                <a:ext uri="{FF2B5EF4-FFF2-40B4-BE49-F238E27FC236}">
                  <a16:creationId xmlns:a16="http://schemas.microsoft.com/office/drawing/2014/main" id="{A79CA17B-A41D-44F9-9AC6-CA33FE22AE3F}"/>
                </a:ext>
              </a:extLst>
            </p:cNvPr>
            <p:cNvSpPr>
              <a:spLocks/>
            </p:cNvSpPr>
            <p:nvPr/>
          </p:nvSpPr>
          <p:spPr bwMode="auto">
            <a:xfrm>
              <a:off x="2758440" y="2187917"/>
              <a:ext cx="6675120" cy="2651760"/>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chemeClr val="bg2"/>
              </a:solidFill>
              <a:round/>
              <a:headEnd/>
              <a:tailEnd/>
            </a:ln>
          </p:spPr>
          <p:txBody>
            <a:bodyPr wrap="square" lIns="0" tIns="0" rIns="0" bIns="0" anchor="ctr"/>
            <a:lstStyle/>
            <a:p>
              <a:pPr algn="ctr">
                <a:defRPr/>
              </a:pPr>
              <a:endParaRPr lang="en-GB" altLang="ja-JP" sz="1400" dirty="0">
                <a:ln>
                  <a:solidFill>
                    <a:srgbClr val="D0D0CE"/>
                  </a:solidFill>
                </a:ln>
                <a:ea typeface="ＭＳ Ｐゴシック" pitchFamily="50" charset="-128"/>
              </a:endParaRPr>
            </a:p>
          </p:txBody>
        </p:sp>
        <p:sp>
          <p:nvSpPr>
            <p:cNvPr id="91" name="AutoShape 4">
              <a:extLst>
                <a:ext uri="{FF2B5EF4-FFF2-40B4-BE49-F238E27FC236}">
                  <a16:creationId xmlns:a16="http://schemas.microsoft.com/office/drawing/2014/main" id="{BFC1C703-6646-4177-975D-1D0C34E4095C}"/>
                </a:ext>
              </a:extLst>
            </p:cNvPr>
            <p:cNvSpPr>
              <a:spLocks noChangeArrowheads="1"/>
            </p:cNvSpPr>
            <p:nvPr/>
          </p:nvSpPr>
          <p:spPr bwMode="auto">
            <a:xfrm flipV="1">
              <a:off x="4846639" y="4283935"/>
              <a:ext cx="2473325" cy="241300"/>
            </a:xfrm>
            <a:prstGeom prst="triangle">
              <a:avLst>
                <a:gd name="adj" fmla="val 50000"/>
              </a:avLst>
            </a:prstGeom>
            <a:solidFill>
              <a:schemeClr val="bg2"/>
            </a:solidFill>
            <a:ln w="6350" algn="ctr">
              <a:noFill/>
              <a:miter lim="800000"/>
              <a:headEnd/>
              <a:tailEnd/>
            </a:ln>
            <a:effectLst/>
          </p:spPr>
          <p:txBody>
            <a:bodyPr vert="horz" wrap="none" lIns="88900" tIns="88900" rIns="88900" bIns="88900" numCol="1" anchor="ctr" anchorCtr="0" compatLnSpc="1">
              <a:prstTxWarp prst="textNoShape">
                <a:avLst/>
              </a:prstTxWarp>
            </a:bodyPr>
            <a:lstStyle/>
            <a:p>
              <a:endParaRPr lang="en-GB" dirty="0"/>
            </a:p>
          </p:txBody>
        </p:sp>
        <p:sp>
          <p:nvSpPr>
            <p:cNvPr id="92" name="Rectangle: Rounded Corners 2">
              <a:extLst>
                <a:ext uri="{FF2B5EF4-FFF2-40B4-BE49-F238E27FC236}">
                  <a16:creationId xmlns:a16="http://schemas.microsoft.com/office/drawing/2014/main" id="{65D88EB5-8D64-4508-826A-A52DDC7375FA}"/>
                </a:ext>
              </a:extLst>
            </p:cNvPr>
            <p:cNvSpPr/>
            <p:nvPr/>
          </p:nvSpPr>
          <p:spPr bwMode="gray">
            <a:xfrm>
              <a:off x="4892040" y="3644054"/>
              <a:ext cx="2382204" cy="534366"/>
            </a:xfrm>
            <a:prstGeom prst="roundRect">
              <a:avLst>
                <a:gd name="adj" fmla="val 0"/>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grpSp>
          <p:nvGrpSpPr>
            <p:cNvPr id="26" name="Group 23"/>
            <p:cNvGrpSpPr/>
            <p:nvPr/>
          </p:nvGrpSpPr>
          <p:grpSpPr>
            <a:xfrm>
              <a:off x="2193925" y="3280180"/>
              <a:ext cx="1394232" cy="1394230"/>
              <a:chOff x="6005512" y="879468"/>
              <a:chExt cx="2523744" cy="2523744"/>
            </a:xfrm>
          </p:grpSpPr>
          <p:sp>
            <p:nvSpPr>
              <p:cNvPr id="47"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dirty="0">
                  <a:solidFill>
                    <a:schemeClr val="tx1"/>
                  </a:solidFill>
                </a:endParaRPr>
              </a:p>
            </p:txBody>
          </p:sp>
          <p:sp>
            <p:nvSpPr>
              <p:cNvPr id="48"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49"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50"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94" name="Group 23"/>
            <p:cNvGrpSpPr/>
            <p:nvPr/>
          </p:nvGrpSpPr>
          <p:grpSpPr>
            <a:xfrm>
              <a:off x="3170128" y="2139664"/>
              <a:ext cx="1394232" cy="1394230"/>
              <a:chOff x="6005512" y="879468"/>
              <a:chExt cx="2523744" cy="2523744"/>
            </a:xfrm>
          </p:grpSpPr>
          <p:sp>
            <p:nvSpPr>
              <p:cNvPr id="9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b="1" dirty="0">
                  <a:solidFill>
                    <a:schemeClr val="tx1"/>
                  </a:solidFill>
                </a:endParaRPr>
              </a:p>
            </p:txBody>
          </p:sp>
          <p:sp>
            <p:nvSpPr>
              <p:cNvPr id="9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9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9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99" name="Group 23"/>
            <p:cNvGrpSpPr/>
            <p:nvPr/>
          </p:nvGrpSpPr>
          <p:grpSpPr>
            <a:xfrm>
              <a:off x="4659989" y="1453551"/>
              <a:ext cx="1394232" cy="1394230"/>
              <a:chOff x="6005512" y="879468"/>
              <a:chExt cx="2523744" cy="2523744"/>
            </a:xfrm>
          </p:grpSpPr>
          <p:sp>
            <p:nvSpPr>
              <p:cNvPr id="100"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dirty="0">
                  <a:solidFill>
                    <a:schemeClr val="tx1"/>
                  </a:solidFill>
                </a:endParaRPr>
              </a:p>
            </p:txBody>
          </p:sp>
          <p:sp>
            <p:nvSpPr>
              <p:cNvPr id="101"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02"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03"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04" name="Group 23"/>
            <p:cNvGrpSpPr/>
            <p:nvPr/>
          </p:nvGrpSpPr>
          <p:grpSpPr>
            <a:xfrm>
              <a:off x="8703479" y="3280180"/>
              <a:ext cx="1394232" cy="1394230"/>
              <a:chOff x="6005512" y="879468"/>
              <a:chExt cx="2523744" cy="2523744"/>
            </a:xfrm>
          </p:grpSpPr>
          <p:sp>
            <p:nvSpPr>
              <p:cNvPr id="10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dirty="0">
                  <a:solidFill>
                    <a:schemeClr val="tx1"/>
                  </a:solidFill>
                </a:endParaRPr>
              </a:p>
            </p:txBody>
          </p:sp>
          <p:sp>
            <p:nvSpPr>
              <p:cNvPr id="10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0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0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09" name="Group 23"/>
            <p:cNvGrpSpPr/>
            <p:nvPr/>
          </p:nvGrpSpPr>
          <p:grpSpPr>
            <a:xfrm>
              <a:off x="7823138" y="2139664"/>
              <a:ext cx="1394232" cy="1394230"/>
              <a:chOff x="6005512" y="879468"/>
              <a:chExt cx="2523744" cy="2523744"/>
            </a:xfrm>
          </p:grpSpPr>
          <p:sp>
            <p:nvSpPr>
              <p:cNvPr id="110" name="Oval 44">
                <a:hlinkClick r:id="" action="ppaction://noaction"/>
              </p:cNvPr>
              <p:cNvSpPr>
                <a:spLocks noChangeAspect="1"/>
              </p:cNvSpPr>
              <p:nvPr/>
            </p:nvSpPr>
            <p:spPr>
              <a:xfrm>
                <a:off x="6184899" y="1058855"/>
                <a:ext cx="2160001"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b="1" dirty="0">
                  <a:solidFill>
                    <a:schemeClr val="tx1"/>
                  </a:solidFill>
                </a:endParaRPr>
              </a:p>
            </p:txBody>
          </p:sp>
          <p:sp>
            <p:nvSpPr>
              <p:cNvPr id="111"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12"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13"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14" name="Group 23"/>
            <p:cNvGrpSpPr/>
            <p:nvPr/>
          </p:nvGrpSpPr>
          <p:grpSpPr>
            <a:xfrm>
              <a:off x="6242936" y="1453551"/>
              <a:ext cx="1394232" cy="1394230"/>
              <a:chOff x="6005512" y="879468"/>
              <a:chExt cx="2523744" cy="2523744"/>
            </a:xfrm>
          </p:grpSpPr>
          <p:sp>
            <p:nvSpPr>
              <p:cNvPr id="11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b="1" dirty="0">
                  <a:solidFill>
                    <a:schemeClr val="tx1"/>
                  </a:solidFill>
                </a:endParaRPr>
              </a:p>
            </p:txBody>
          </p:sp>
          <p:sp>
            <p:nvSpPr>
              <p:cNvPr id="11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1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1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sp>
          <p:nvSpPr>
            <p:cNvPr id="119" name="文本框 118"/>
            <p:cNvSpPr txBox="1"/>
            <p:nvPr/>
          </p:nvSpPr>
          <p:spPr>
            <a:xfrm>
              <a:off x="2406245" y="3785217"/>
              <a:ext cx="965458" cy="415498"/>
            </a:xfrm>
            <a:prstGeom prst="rect">
              <a:avLst/>
            </a:prstGeom>
            <a:noFill/>
          </p:spPr>
          <p:txBody>
            <a:bodyPr wrap="square" lIns="0" tIns="0" rIns="0" bIns="0" rtlCol="0">
              <a:spAutoFit/>
            </a:bodyPr>
            <a:lstStyle/>
            <a:p>
              <a:pPr algn="ctr">
                <a:spcBef>
                  <a:spcPts val="600"/>
                </a:spcBef>
                <a:buSzPct val="100000"/>
              </a:pPr>
              <a:r>
                <a:rPr lang="en-US" sz="900" dirty="0"/>
                <a:t>Lorem ipsum dolor sit </a:t>
              </a:r>
              <a:r>
                <a:rPr lang="en-US" sz="900" dirty="0" err="1"/>
                <a:t>amet</a:t>
              </a:r>
              <a:r>
                <a:rPr lang="en-US" sz="900" dirty="0"/>
                <a:t>, </a:t>
              </a:r>
              <a:r>
                <a:rPr lang="en-US" sz="900" dirty="0" err="1"/>
                <a:t>consectetur</a:t>
              </a:r>
              <a:endParaRPr lang="en-US" sz="900" dirty="0">
                <a:solidFill>
                  <a:srgbClr val="313131"/>
                </a:solidFill>
              </a:endParaRPr>
            </a:p>
          </p:txBody>
        </p:sp>
        <p:sp>
          <p:nvSpPr>
            <p:cNvPr id="120" name="文本框 119"/>
            <p:cNvSpPr txBox="1"/>
            <p:nvPr/>
          </p:nvSpPr>
          <p:spPr>
            <a:xfrm>
              <a:off x="3382448" y="2684016"/>
              <a:ext cx="965458" cy="415498"/>
            </a:xfrm>
            <a:prstGeom prst="rect">
              <a:avLst/>
            </a:prstGeom>
            <a:noFill/>
          </p:spPr>
          <p:txBody>
            <a:bodyPr wrap="square" lIns="0" tIns="0" rIns="0" bIns="0" rtlCol="0">
              <a:spAutoFit/>
            </a:bodyPr>
            <a:lstStyle/>
            <a:p>
              <a:pPr algn="ctr"/>
              <a:r>
                <a:rPr lang="en-US" sz="900" dirty="0"/>
                <a:t>Lorem ipsum dolor sit </a:t>
              </a:r>
              <a:r>
                <a:rPr lang="en-US" sz="900" dirty="0" err="1"/>
                <a:t>amet</a:t>
              </a:r>
              <a:r>
                <a:rPr lang="en-US" sz="900" dirty="0"/>
                <a:t>, </a:t>
              </a:r>
              <a:r>
                <a:rPr lang="en-US" sz="900" dirty="0" err="1"/>
                <a:t>consectetur</a:t>
              </a:r>
              <a:endParaRPr lang="en-US" sz="900" b="1" dirty="0"/>
            </a:p>
          </p:txBody>
        </p:sp>
        <p:sp>
          <p:nvSpPr>
            <p:cNvPr id="121" name="文本框 120"/>
            <p:cNvSpPr txBox="1"/>
            <p:nvPr/>
          </p:nvSpPr>
          <p:spPr>
            <a:xfrm>
              <a:off x="4874376" y="2014658"/>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b="1" dirty="0"/>
                <a:t>Lorem ipsum dolor sit </a:t>
              </a:r>
              <a:r>
                <a:rPr lang="en-US" sz="900" b="1" dirty="0" err="1"/>
                <a:t>amet</a:t>
              </a:r>
              <a:r>
                <a:rPr lang="en-US" sz="900" b="1" dirty="0"/>
                <a:t>, </a:t>
              </a:r>
              <a:r>
                <a:rPr lang="en-US" sz="900" b="1" dirty="0" err="1"/>
                <a:t>consectetur</a:t>
              </a:r>
              <a:endParaRPr lang="en-US" sz="900" dirty="0"/>
            </a:p>
          </p:txBody>
        </p:sp>
        <p:sp>
          <p:nvSpPr>
            <p:cNvPr id="122" name="文本框 121"/>
            <p:cNvSpPr txBox="1"/>
            <p:nvPr/>
          </p:nvSpPr>
          <p:spPr>
            <a:xfrm>
              <a:off x="6462612" y="2014658"/>
              <a:ext cx="965458" cy="415498"/>
            </a:xfrm>
            <a:prstGeom prst="rect">
              <a:avLst/>
            </a:prstGeom>
            <a:noFill/>
          </p:spPr>
          <p:txBody>
            <a:bodyPr wrap="square" lIns="0" tIns="0" rIns="0" bIns="0" rtlCol="0">
              <a:spAutoFit/>
            </a:bodyPr>
            <a:lstStyle/>
            <a:p>
              <a:pPr algn="ctr"/>
              <a:r>
                <a:rPr lang="en-US" sz="900" dirty="0"/>
                <a:t>Lorem ipsum dolor sit </a:t>
              </a:r>
              <a:r>
                <a:rPr lang="en-US" sz="900" dirty="0" err="1"/>
                <a:t>amet</a:t>
              </a:r>
              <a:r>
                <a:rPr lang="en-US" sz="900" dirty="0"/>
                <a:t>, </a:t>
              </a:r>
              <a:r>
                <a:rPr lang="en-US" sz="900" dirty="0" err="1"/>
                <a:t>consectetur</a:t>
              </a:r>
              <a:endParaRPr lang="en-US" sz="900" b="1" dirty="0"/>
            </a:p>
          </p:txBody>
        </p:sp>
        <p:sp>
          <p:nvSpPr>
            <p:cNvPr id="123" name="文本框 122"/>
            <p:cNvSpPr txBox="1"/>
            <p:nvPr/>
          </p:nvSpPr>
          <p:spPr>
            <a:xfrm>
              <a:off x="8078358" y="2684016"/>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dirty="0"/>
                <a:t>Lorem ipsum dolor sit </a:t>
              </a:r>
              <a:r>
                <a:rPr lang="en-US" sz="900" dirty="0" err="1"/>
                <a:t>amet</a:t>
              </a:r>
              <a:r>
                <a:rPr lang="en-US" sz="900" dirty="0"/>
                <a:t>, </a:t>
              </a:r>
              <a:r>
                <a:rPr lang="en-US" sz="900" dirty="0" err="1"/>
                <a:t>consectetur</a:t>
              </a:r>
              <a:endParaRPr lang="en-US" sz="900" b="1" dirty="0"/>
            </a:p>
          </p:txBody>
        </p:sp>
        <p:sp>
          <p:nvSpPr>
            <p:cNvPr id="124" name="文本框 123"/>
            <p:cNvSpPr txBox="1"/>
            <p:nvPr/>
          </p:nvSpPr>
          <p:spPr>
            <a:xfrm>
              <a:off x="8933515" y="3840498"/>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dirty="0"/>
                <a:t>Lorem ipsum dolor sit </a:t>
              </a:r>
              <a:r>
                <a:rPr lang="en-US" sz="900" dirty="0" err="1"/>
                <a:t>amet</a:t>
              </a:r>
              <a:r>
                <a:rPr lang="en-US" sz="900" dirty="0"/>
                <a:t>, </a:t>
              </a:r>
              <a:r>
                <a:rPr lang="en-US" sz="900" dirty="0" err="1"/>
                <a:t>consectetur</a:t>
              </a:r>
              <a:endParaRPr lang="en-US" sz="900" dirty="0"/>
            </a:p>
          </p:txBody>
        </p:sp>
        <p:sp>
          <p:nvSpPr>
            <p:cNvPr id="126" name="任意多边形 125"/>
            <p:cNvSpPr/>
            <p:nvPr/>
          </p:nvSpPr>
          <p:spPr bwMode="gray">
            <a:xfrm>
              <a:off x="474453" y="5503653"/>
              <a:ext cx="4295955" cy="284672"/>
            </a:xfrm>
            <a:custGeom>
              <a:avLst/>
              <a:gdLst>
                <a:gd name="connsiteX0" fmla="*/ 1953883 w 4295955"/>
                <a:gd name="connsiteY0" fmla="*/ 0 h 284672"/>
                <a:gd name="connsiteX1" fmla="*/ 4295955 w 4295955"/>
                <a:gd name="connsiteY1" fmla="*/ 0 h 284672"/>
                <a:gd name="connsiteX2" fmla="*/ 3579962 w 4295955"/>
                <a:gd name="connsiteY2" fmla="*/ 284672 h 284672"/>
                <a:gd name="connsiteX3" fmla="*/ 0 w 4295955"/>
                <a:gd name="connsiteY3" fmla="*/ 284672 h 284672"/>
                <a:gd name="connsiteX4" fmla="*/ 1953883 w 4295955"/>
                <a:gd name="connsiteY4" fmla="*/ 0 h 284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5955" h="284672">
                  <a:moveTo>
                    <a:pt x="1953883" y="0"/>
                  </a:moveTo>
                  <a:lnTo>
                    <a:pt x="4295955" y="0"/>
                  </a:lnTo>
                  <a:lnTo>
                    <a:pt x="3579962" y="284672"/>
                  </a:lnTo>
                  <a:lnTo>
                    <a:pt x="0" y="284672"/>
                  </a:lnTo>
                  <a:lnTo>
                    <a:pt x="1953883"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7" name="任意多边形 126"/>
            <p:cNvSpPr/>
            <p:nvPr/>
          </p:nvSpPr>
          <p:spPr bwMode="gray">
            <a:xfrm>
              <a:off x="4257136" y="5499340"/>
              <a:ext cx="3579962" cy="288985"/>
            </a:xfrm>
            <a:custGeom>
              <a:avLst/>
              <a:gdLst>
                <a:gd name="connsiteX0" fmla="*/ 638355 w 3579962"/>
                <a:gd name="connsiteY0" fmla="*/ 0 h 288985"/>
                <a:gd name="connsiteX1" fmla="*/ 2984739 w 3579962"/>
                <a:gd name="connsiteY1" fmla="*/ 0 h 288985"/>
                <a:gd name="connsiteX2" fmla="*/ 3579962 w 3579962"/>
                <a:gd name="connsiteY2" fmla="*/ 288985 h 288985"/>
                <a:gd name="connsiteX3" fmla="*/ 0 w 3579962"/>
                <a:gd name="connsiteY3" fmla="*/ 288985 h 288985"/>
                <a:gd name="connsiteX4" fmla="*/ 638355 w 3579962"/>
                <a:gd name="connsiteY4" fmla="*/ 0 h 28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962" h="288985">
                  <a:moveTo>
                    <a:pt x="638355" y="0"/>
                  </a:moveTo>
                  <a:lnTo>
                    <a:pt x="2984739" y="0"/>
                  </a:lnTo>
                  <a:lnTo>
                    <a:pt x="3579962" y="288985"/>
                  </a:lnTo>
                  <a:lnTo>
                    <a:pt x="0" y="288985"/>
                  </a:lnTo>
                  <a:lnTo>
                    <a:pt x="638355"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8" name="任意多边形 127"/>
            <p:cNvSpPr/>
            <p:nvPr/>
          </p:nvSpPr>
          <p:spPr bwMode="gray">
            <a:xfrm>
              <a:off x="7435970" y="5503653"/>
              <a:ext cx="4291641" cy="284672"/>
            </a:xfrm>
            <a:custGeom>
              <a:avLst/>
              <a:gdLst>
                <a:gd name="connsiteX0" fmla="*/ 0 w 4291641"/>
                <a:gd name="connsiteY0" fmla="*/ 0 h 284672"/>
                <a:gd name="connsiteX1" fmla="*/ 2346385 w 4291641"/>
                <a:gd name="connsiteY1" fmla="*/ 0 h 284672"/>
                <a:gd name="connsiteX2" fmla="*/ 4291641 w 4291641"/>
                <a:gd name="connsiteY2" fmla="*/ 284672 h 284672"/>
                <a:gd name="connsiteX3" fmla="*/ 711679 w 4291641"/>
                <a:gd name="connsiteY3" fmla="*/ 284672 h 284672"/>
                <a:gd name="connsiteX4" fmla="*/ 0 w 4291641"/>
                <a:gd name="connsiteY4" fmla="*/ 0 h 284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641" h="284672">
                  <a:moveTo>
                    <a:pt x="0" y="0"/>
                  </a:moveTo>
                  <a:lnTo>
                    <a:pt x="2346385" y="0"/>
                  </a:lnTo>
                  <a:lnTo>
                    <a:pt x="4291641" y="284672"/>
                  </a:lnTo>
                  <a:lnTo>
                    <a:pt x="711679" y="284672"/>
                  </a:lnTo>
                  <a:lnTo>
                    <a:pt x="0"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custDataLst>
      <p:tags r:id="rId1"/>
    </p:custDataLst>
    <p:extLst>
      <p:ext uri="{BB962C8B-B14F-4D97-AF65-F5344CB8AC3E}">
        <p14:creationId xmlns:p14="http://schemas.microsoft.com/office/powerpoint/2010/main" val="1734591364"/>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object 9">
            <a:extLst>
              <a:ext uri="{FF2B5EF4-FFF2-40B4-BE49-F238E27FC236}">
                <a16:creationId xmlns:a16="http://schemas.microsoft.com/office/drawing/2014/main" id="{B6A622CD-2570-40B1-A139-EB33BAFCA85D}"/>
              </a:ext>
            </a:extLst>
          </p:cNvPr>
          <p:cNvSpPr/>
          <p:nvPr/>
        </p:nvSpPr>
        <p:spPr>
          <a:xfrm flipV="1">
            <a:off x="8135863" y="4418729"/>
            <a:ext cx="3152371" cy="65718"/>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1" name="object 9">
            <a:extLst>
              <a:ext uri="{FF2B5EF4-FFF2-40B4-BE49-F238E27FC236}">
                <a16:creationId xmlns:a16="http://schemas.microsoft.com/office/drawing/2014/main" id="{ADF74F22-DD4D-4B87-8006-50536C0922B5}"/>
              </a:ext>
            </a:extLst>
          </p:cNvPr>
          <p:cNvSpPr/>
          <p:nvPr/>
        </p:nvSpPr>
        <p:spPr>
          <a:xfrm flipV="1">
            <a:off x="6278047" y="1158525"/>
            <a:ext cx="5010187" cy="129753"/>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40" name="object 9">
            <a:extLst>
              <a:ext uri="{FF2B5EF4-FFF2-40B4-BE49-F238E27FC236}">
                <a16:creationId xmlns:a16="http://schemas.microsoft.com/office/drawing/2014/main" id="{B6A622CD-2570-40B1-A139-EB33BAFCA85D}"/>
              </a:ext>
            </a:extLst>
          </p:cNvPr>
          <p:cNvSpPr/>
          <p:nvPr/>
        </p:nvSpPr>
        <p:spPr>
          <a:xfrm flipV="1">
            <a:off x="8135863" y="3656457"/>
            <a:ext cx="3152371" cy="65718"/>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2" name="object 9">
            <a:extLst>
              <a:ext uri="{FF2B5EF4-FFF2-40B4-BE49-F238E27FC236}">
                <a16:creationId xmlns:a16="http://schemas.microsoft.com/office/drawing/2014/main" id="{B6A622CD-2570-40B1-A139-EB33BAFCA85D}"/>
              </a:ext>
            </a:extLst>
          </p:cNvPr>
          <p:cNvSpPr/>
          <p:nvPr/>
        </p:nvSpPr>
        <p:spPr>
          <a:xfrm flipV="1">
            <a:off x="8169707" y="2530537"/>
            <a:ext cx="3118527" cy="93810"/>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3" name="object 9">
            <a:extLst>
              <a:ext uri="{FF2B5EF4-FFF2-40B4-BE49-F238E27FC236}">
                <a16:creationId xmlns:a16="http://schemas.microsoft.com/office/drawing/2014/main" id="{2736A413-4E51-46BD-AA95-21AA9EC2A5F9}"/>
              </a:ext>
            </a:extLst>
          </p:cNvPr>
          <p:cNvSpPr/>
          <p:nvPr/>
        </p:nvSpPr>
        <p:spPr>
          <a:xfrm flipV="1">
            <a:off x="914400" y="2627435"/>
            <a:ext cx="3079911" cy="115161"/>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55" name="object 9">
            <a:extLst>
              <a:ext uri="{FF2B5EF4-FFF2-40B4-BE49-F238E27FC236}">
                <a16:creationId xmlns:a16="http://schemas.microsoft.com/office/drawing/2014/main" id="{D2F02014-9190-4EAA-A8E6-E76E7C1EB826}"/>
              </a:ext>
            </a:extLst>
          </p:cNvPr>
          <p:cNvSpPr/>
          <p:nvPr/>
        </p:nvSpPr>
        <p:spPr>
          <a:xfrm flipV="1">
            <a:off x="914400" y="1144205"/>
            <a:ext cx="4232681" cy="350517"/>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grpSp>
        <p:nvGrpSpPr>
          <p:cNvPr id="28" name="组合 27"/>
          <p:cNvGrpSpPr/>
          <p:nvPr/>
        </p:nvGrpSpPr>
        <p:grpSpPr>
          <a:xfrm>
            <a:off x="3802223" y="1264817"/>
            <a:ext cx="4587876" cy="4378326"/>
            <a:chOff x="14103350" y="1636713"/>
            <a:chExt cx="4587876" cy="4378326"/>
          </a:xfrm>
        </p:grpSpPr>
        <p:sp>
          <p:nvSpPr>
            <p:cNvPr id="11" name="Freeform 6"/>
            <p:cNvSpPr>
              <a:spLocks/>
            </p:cNvSpPr>
            <p:nvPr/>
          </p:nvSpPr>
          <p:spPr bwMode="auto">
            <a:xfrm>
              <a:off x="15559088" y="1636713"/>
              <a:ext cx="1679575" cy="998538"/>
            </a:xfrm>
            <a:custGeom>
              <a:avLst/>
              <a:gdLst>
                <a:gd name="T0" fmla="*/ 332 w 419"/>
                <a:gd name="T1" fmla="*/ 250 h 250"/>
                <a:gd name="T2" fmla="*/ 419 w 419"/>
                <a:gd name="T3" fmla="*/ 40 h 250"/>
                <a:gd name="T4" fmla="*/ 209 w 419"/>
                <a:gd name="T5" fmla="*/ 0 h 250"/>
                <a:gd name="T6" fmla="*/ 0 w 419"/>
                <a:gd name="T7" fmla="*/ 40 h 250"/>
                <a:gd name="T8" fmla="*/ 87 w 419"/>
                <a:gd name="T9" fmla="*/ 250 h 250"/>
                <a:gd name="T10" fmla="*/ 209 w 419"/>
                <a:gd name="T11" fmla="*/ 227 h 250"/>
                <a:gd name="T12" fmla="*/ 332 w 419"/>
                <a:gd name="T13" fmla="*/ 250 h 250"/>
              </a:gdLst>
              <a:ahLst/>
              <a:cxnLst>
                <a:cxn ang="0">
                  <a:pos x="T0" y="T1"/>
                </a:cxn>
                <a:cxn ang="0">
                  <a:pos x="T2" y="T3"/>
                </a:cxn>
                <a:cxn ang="0">
                  <a:pos x="T4" y="T5"/>
                </a:cxn>
                <a:cxn ang="0">
                  <a:pos x="T6" y="T7"/>
                </a:cxn>
                <a:cxn ang="0">
                  <a:pos x="T8" y="T9"/>
                </a:cxn>
                <a:cxn ang="0">
                  <a:pos x="T10" y="T11"/>
                </a:cxn>
                <a:cxn ang="0">
                  <a:pos x="T12" y="T13"/>
                </a:cxn>
              </a:cxnLst>
              <a:rect l="0" t="0" r="r" b="b"/>
              <a:pathLst>
                <a:path w="419" h="250">
                  <a:moveTo>
                    <a:pt x="332" y="250"/>
                  </a:moveTo>
                  <a:cubicBezTo>
                    <a:pt x="419" y="40"/>
                    <a:pt x="419" y="40"/>
                    <a:pt x="419" y="40"/>
                  </a:cubicBezTo>
                  <a:cubicBezTo>
                    <a:pt x="354" y="14"/>
                    <a:pt x="283" y="0"/>
                    <a:pt x="209" y="0"/>
                  </a:cubicBezTo>
                  <a:cubicBezTo>
                    <a:pt x="135" y="0"/>
                    <a:pt x="65" y="14"/>
                    <a:pt x="0" y="40"/>
                  </a:cubicBezTo>
                  <a:cubicBezTo>
                    <a:pt x="87" y="250"/>
                    <a:pt x="87" y="250"/>
                    <a:pt x="87" y="250"/>
                  </a:cubicBezTo>
                  <a:cubicBezTo>
                    <a:pt x="125" y="235"/>
                    <a:pt x="166" y="227"/>
                    <a:pt x="209" y="227"/>
                  </a:cubicBezTo>
                  <a:cubicBezTo>
                    <a:pt x="253" y="227"/>
                    <a:pt x="294" y="235"/>
                    <a:pt x="332" y="250"/>
                  </a:cubicBezTo>
                  <a:close/>
                </a:path>
              </a:pathLst>
            </a:custGeom>
            <a:solidFill>
              <a:srgbClr val="E3E48D"/>
            </a:solidFill>
            <a:ln w="6350">
              <a:solidFill>
                <a:schemeClr val="accent1"/>
              </a:solidFill>
            </a:ln>
          </p:spPr>
          <p:txBody>
            <a:bodyPr wrap="square" lIns="0" tIns="0" rIns="0" bIns="0" rtlCol="0"/>
            <a:lstStyle/>
            <a:p>
              <a:endParaRPr lang="zh-CN" altLang="en-US"/>
            </a:p>
          </p:txBody>
        </p:sp>
        <p:sp>
          <p:nvSpPr>
            <p:cNvPr id="12" name="Freeform 7"/>
            <p:cNvSpPr>
              <a:spLocks/>
            </p:cNvSpPr>
            <p:nvPr/>
          </p:nvSpPr>
          <p:spPr bwMode="auto">
            <a:xfrm>
              <a:off x="16965613" y="1824038"/>
              <a:ext cx="1536700" cy="1533525"/>
            </a:xfrm>
            <a:custGeom>
              <a:avLst/>
              <a:gdLst>
                <a:gd name="T0" fmla="*/ 173 w 383"/>
                <a:gd name="T1" fmla="*/ 384 h 384"/>
                <a:gd name="T2" fmla="*/ 383 w 383"/>
                <a:gd name="T3" fmla="*/ 297 h 384"/>
                <a:gd name="T4" fmla="*/ 87 w 383"/>
                <a:gd name="T5" fmla="*/ 0 h 384"/>
                <a:gd name="T6" fmla="*/ 0 w 383"/>
                <a:gd name="T7" fmla="*/ 210 h 384"/>
                <a:gd name="T8" fmla="*/ 173 w 383"/>
                <a:gd name="T9" fmla="*/ 384 h 384"/>
              </a:gdLst>
              <a:ahLst/>
              <a:cxnLst>
                <a:cxn ang="0">
                  <a:pos x="T0" y="T1"/>
                </a:cxn>
                <a:cxn ang="0">
                  <a:pos x="T2" y="T3"/>
                </a:cxn>
                <a:cxn ang="0">
                  <a:pos x="T4" y="T5"/>
                </a:cxn>
                <a:cxn ang="0">
                  <a:pos x="T6" y="T7"/>
                </a:cxn>
                <a:cxn ang="0">
                  <a:pos x="T8" y="T9"/>
                </a:cxn>
              </a:cxnLst>
              <a:rect l="0" t="0" r="r" b="b"/>
              <a:pathLst>
                <a:path w="383" h="384">
                  <a:moveTo>
                    <a:pt x="173" y="384"/>
                  </a:moveTo>
                  <a:cubicBezTo>
                    <a:pt x="383" y="297"/>
                    <a:pt x="383" y="297"/>
                    <a:pt x="383" y="297"/>
                  </a:cubicBezTo>
                  <a:cubicBezTo>
                    <a:pt x="325" y="164"/>
                    <a:pt x="219" y="58"/>
                    <a:pt x="87" y="0"/>
                  </a:cubicBezTo>
                  <a:cubicBezTo>
                    <a:pt x="0" y="210"/>
                    <a:pt x="0" y="210"/>
                    <a:pt x="0" y="210"/>
                  </a:cubicBezTo>
                  <a:cubicBezTo>
                    <a:pt x="77" y="245"/>
                    <a:pt x="139" y="307"/>
                    <a:pt x="173" y="384"/>
                  </a:cubicBezTo>
                  <a:close/>
                </a:path>
              </a:pathLst>
            </a:custGeom>
            <a:solidFill>
              <a:srgbClr val="DDEFE8"/>
            </a:solidFill>
            <a:ln w="6350">
              <a:solidFill>
                <a:schemeClr val="accent2"/>
              </a:solidFill>
            </a:ln>
          </p:spPr>
          <p:txBody>
            <a:bodyPr wrap="square" lIns="0" tIns="0" rIns="0" bIns="0" rtlCol="0"/>
            <a:lstStyle/>
            <a:p>
              <a:endParaRPr lang="zh-CN" altLang="en-US"/>
            </a:p>
          </p:txBody>
        </p:sp>
        <p:sp>
          <p:nvSpPr>
            <p:cNvPr id="13" name="Freeform 8"/>
            <p:cNvSpPr>
              <a:spLocks/>
            </p:cNvSpPr>
            <p:nvPr/>
          </p:nvSpPr>
          <p:spPr bwMode="auto">
            <a:xfrm>
              <a:off x="17692688" y="3081338"/>
              <a:ext cx="998538" cy="1676400"/>
            </a:xfrm>
            <a:custGeom>
              <a:avLst/>
              <a:gdLst>
                <a:gd name="T0" fmla="*/ 0 w 249"/>
                <a:gd name="T1" fmla="*/ 333 h 420"/>
                <a:gd name="T2" fmla="*/ 210 w 249"/>
                <a:gd name="T3" fmla="*/ 420 h 420"/>
                <a:gd name="T4" fmla="*/ 249 w 249"/>
                <a:gd name="T5" fmla="*/ 210 h 420"/>
                <a:gd name="T6" fmla="*/ 210 w 249"/>
                <a:gd name="T7" fmla="*/ 0 h 420"/>
                <a:gd name="T8" fmla="*/ 0 w 249"/>
                <a:gd name="T9" fmla="*/ 87 h 420"/>
                <a:gd name="T10" fmla="*/ 22 w 249"/>
                <a:gd name="T11" fmla="*/ 210 h 420"/>
                <a:gd name="T12" fmla="*/ 0 w 249"/>
                <a:gd name="T13" fmla="*/ 333 h 420"/>
              </a:gdLst>
              <a:ahLst/>
              <a:cxnLst>
                <a:cxn ang="0">
                  <a:pos x="T0" y="T1"/>
                </a:cxn>
                <a:cxn ang="0">
                  <a:pos x="T2" y="T3"/>
                </a:cxn>
                <a:cxn ang="0">
                  <a:pos x="T4" y="T5"/>
                </a:cxn>
                <a:cxn ang="0">
                  <a:pos x="T6" y="T7"/>
                </a:cxn>
                <a:cxn ang="0">
                  <a:pos x="T8" y="T9"/>
                </a:cxn>
                <a:cxn ang="0">
                  <a:pos x="T10" y="T11"/>
                </a:cxn>
                <a:cxn ang="0">
                  <a:pos x="T12" y="T13"/>
                </a:cxn>
              </a:cxnLst>
              <a:rect l="0" t="0" r="r" b="b"/>
              <a:pathLst>
                <a:path w="249" h="420">
                  <a:moveTo>
                    <a:pt x="0" y="333"/>
                  </a:moveTo>
                  <a:cubicBezTo>
                    <a:pt x="210" y="420"/>
                    <a:pt x="210" y="420"/>
                    <a:pt x="210" y="420"/>
                  </a:cubicBezTo>
                  <a:cubicBezTo>
                    <a:pt x="235" y="355"/>
                    <a:pt x="249" y="284"/>
                    <a:pt x="249" y="210"/>
                  </a:cubicBezTo>
                  <a:cubicBezTo>
                    <a:pt x="249" y="136"/>
                    <a:pt x="235" y="65"/>
                    <a:pt x="210" y="0"/>
                  </a:cubicBezTo>
                  <a:cubicBezTo>
                    <a:pt x="0" y="87"/>
                    <a:pt x="0" y="87"/>
                    <a:pt x="0" y="87"/>
                  </a:cubicBezTo>
                  <a:cubicBezTo>
                    <a:pt x="14" y="125"/>
                    <a:pt x="22" y="167"/>
                    <a:pt x="22" y="210"/>
                  </a:cubicBezTo>
                  <a:cubicBezTo>
                    <a:pt x="22" y="253"/>
                    <a:pt x="14" y="295"/>
                    <a:pt x="0" y="333"/>
                  </a:cubicBezTo>
                  <a:close/>
                </a:path>
              </a:pathLst>
            </a:custGeom>
            <a:solidFill>
              <a:srgbClr val="9DD4CF"/>
            </a:solidFill>
            <a:ln w="6350">
              <a:solidFill>
                <a:schemeClr val="accent3"/>
              </a:solidFill>
            </a:ln>
          </p:spPr>
          <p:txBody>
            <a:bodyPr wrap="square" lIns="0" tIns="0" rIns="0" bIns="0" rtlCol="0"/>
            <a:lstStyle/>
            <a:p>
              <a:endParaRPr lang="zh-CN" altLang="en-US"/>
            </a:p>
          </p:txBody>
        </p:sp>
        <p:sp>
          <p:nvSpPr>
            <p:cNvPr id="14" name="Freeform 9"/>
            <p:cNvSpPr>
              <a:spLocks/>
            </p:cNvSpPr>
            <p:nvPr/>
          </p:nvSpPr>
          <p:spPr bwMode="auto">
            <a:xfrm>
              <a:off x="14103350" y="3081338"/>
              <a:ext cx="1001713" cy="1676400"/>
            </a:xfrm>
            <a:custGeom>
              <a:avLst/>
              <a:gdLst>
                <a:gd name="T0" fmla="*/ 250 w 250"/>
                <a:gd name="T1" fmla="*/ 87 h 420"/>
                <a:gd name="T2" fmla="*/ 40 w 250"/>
                <a:gd name="T3" fmla="*/ 0 h 420"/>
                <a:gd name="T4" fmla="*/ 0 w 250"/>
                <a:gd name="T5" fmla="*/ 210 h 420"/>
                <a:gd name="T6" fmla="*/ 40 w 250"/>
                <a:gd name="T7" fmla="*/ 420 h 420"/>
                <a:gd name="T8" fmla="*/ 250 w 250"/>
                <a:gd name="T9" fmla="*/ 333 h 420"/>
                <a:gd name="T10" fmla="*/ 227 w 250"/>
                <a:gd name="T11" fmla="*/ 210 h 420"/>
                <a:gd name="T12" fmla="*/ 250 w 250"/>
                <a:gd name="T13" fmla="*/ 87 h 420"/>
              </a:gdLst>
              <a:ahLst/>
              <a:cxnLst>
                <a:cxn ang="0">
                  <a:pos x="T0" y="T1"/>
                </a:cxn>
                <a:cxn ang="0">
                  <a:pos x="T2" y="T3"/>
                </a:cxn>
                <a:cxn ang="0">
                  <a:pos x="T4" y="T5"/>
                </a:cxn>
                <a:cxn ang="0">
                  <a:pos x="T6" y="T7"/>
                </a:cxn>
                <a:cxn ang="0">
                  <a:pos x="T8" y="T9"/>
                </a:cxn>
                <a:cxn ang="0">
                  <a:pos x="T10" y="T11"/>
                </a:cxn>
                <a:cxn ang="0">
                  <a:pos x="T12" y="T13"/>
                </a:cxn>
              </a:cxnLst>
              <a:rect l="0" t="0" r="r" b="b"/>
              <a:pathLst>
                <a:path w="250" h="420">
                  <a:moveTo>
                    <a:pt x="250" y="87"/>
                  </a:moveTo>
                  <a:cubicBezTo>
                    <a:pt x="40" y="0"/>
                    <a:pt x="40" y="0"/>
                    <a:pt x="40" y="0"/>
                  </a:cubicBezTo>
                  <a:cubicBezTo>
                    <a:pt x="15" y="65"/>
                    <a:pt x="0" y="136"/>
                    <a:pt x="0" y="210"/>
                  </a:cubicBezTo>
                  <a:cubicBezTo>
                    <a:pt x="0" y="284"/>
                    <a:pt x="15" y="355"/>
                    <a:pt x="40" y="420"/>
                  </a:cubicBezTo>
                  <a:cubicBezTo>
                    <a:pt x="250" y="333"/>
                    <a:pt x="250" y="333"/>
                    <a:pt x="250" y="333"/>
                  </a:cubicBezTo>
                  <a:cubicBezTo>
                    <a:pt x="235" y="295"/>
                    <a:pt x="227" y="253"/>
                    <a:pt x="227" y="210"/>
                  </a:cubicBezTo>
                  <a:cubicBezTo>
                    <a:pt x="227" y="167"/>
                    <a:pt x="235" y="125"/>
                    <a:pt x="250" y="87"/>
                  </a:cubicBezTo>
                  <a:close/>
                </a:path>
              </a:pathLst>
            </a:custGeom>
            <a:solidFill>
              <a:srgbClr val="D0D0CE"/>
            </a:solidFill>
            <a:ln w="6350">
              <a:solidFill>
                <a:schemeClr val="accent5"/>
              </a:solidFill>
            </a:ln>
          </p:spPr>
          <p:txBody>
            <a:bodyPr wrap="square" lIns="0" tIns="0" rIns="0" bIns="0" rtlCol="0"/>
            <a:lstStyle/>
            <a:p>
              <a:endParaRPr lang="zh-CN" altLang="en-US"/>
            </a:p>
          </p:txBody>
        </p:sp>
        <p:sp>
          <p:nvSpPr>
            <p:cNvPr id="15" name="Freeform 10"/>
            <p:cNvSpPr>
              <a:spLocks/>
            </p:cNvSpPr>
            <p:nvPr/>
          </p:nvSpPr>
          <p:spPr bwMode="auto">
            <a:xfrm>
              <a:off x="16965613" y="4483101"/>
              <a:ext cx="1536700" cy="1531938"/>
            </a:xfrm>
            <a:custGeom>
              <a:avLst/>
              <a:gdLst>
                <a:gd name="T0" fmla="*/ 0 w 383"/>
                <a:gd name="T1" fmla="*/ 174 h 384"/>
                <a:gd name="T2" fmla="*/ 87 w 383"/>
                <a:gd name="T3" fmla="*/ 384 h 384"/>
                <a:gd name="T4" fmla="*/ 383 w 383"/>
                <a:gd name="T5" fmla="*/ 87 h 384"/>
                <a:gd name="T6" fmla="*/ 173 w 383"/>
                <a:gd name="T7" fmla="*/ 0 h 384"/>
                <a:gd name="T8" fmla="*/ 0 w 383"/>
                <a:gd name="T9" fmla="*/ 174 h 384"/>
              </a:gdLst>
              <a:ahLst/>
              <a:cxnLst>
                <a:cxn ang="0">
                  <a:pos x="T0" y="T1"/>
                </a:cxn>
                <a:cxn ang="0">
                  <a:pos x="T2" y="T3"/>
                </a:cxn>
                <a:cxn ang="0">
                  <a:pos x="T4" y="T5"/>
                </a:cxn>
                <a:cxn ang="0">
                  <a:pos x="T6" y="T7"/>
                </a:cxn>
                <a:cxn ang="0">
                  <a:pos x="T8" y="T9"/>
                </a:cxn>
              </a:cxnLst>
              <a:rect l="0" t="0" r="r" b="b"/>
              <a:pathLst>
                <a:path w="383" h="384">
                  <a:moveTo>
                    <a:pt x="0" y="174"/>
                  </a:moveTo>
                  <a:cubicBezTo>
                    <a:pt x="87" y="384"/>
                    <a:pt x="87" y="384"/>
                    <a:pt x="87" y="384"/>
                  </a:cubicBezTo>
                  <a:cubicBezTo>
                    <a:pt x="219" y="326"/>
                    <a:pt x="325" y="220"/>
                    <a:pt x="383" y="87"/>
                  </a:cubicBezTo>
                  <a:cubicBezTo>
                    <a:pt x="173" y="0"/>
                    <a:pt x="173" y="0"/>
                    <a:pt x="173" y="0"/>
                  </a:cubicBezTo>
                  <a:cubicBezTo>
                    <a:pt x="139" y="77"/>
                    <a:pt x="77" y="139"/>
                    <a:pt x="0" y="174"/>
                  </a:cubicBezTo>
                  <a:close/>
                </a:path>
              </a:pathLst>
            </a:custGeom>
            <a:solidFill>
              <a:srgbClr val="D0D0CE"/>
            </a:solidFill>
            <a:ln w="6350">
              <a:solidFill>
                <a:schemeClr val="accent5"/>
              </a:solidFill>
            </a:ln>
          </p:spPr>
          <p:txBody>
            <a:bodyPr wrap="square" lIns="0" tIns="0" rIns="0" bIns="0" rtlCol="0"/>
            <a:lstStyle/>
            <a:p>
              <a:endParaRPr lang="zh-CN" altLang="en-US"/>
            </a:p>
          </p:txBody>
        </p:sp>
        <p:sp>
          <p:nvSpPr>
            <p:cNvPr id="16" name="Freeform 11"/>
            <p:cNvSpPr>
              <a:spLocks/>
            </p:cNvSpPr>
            <p:nvPr/>
          </p:nvSpPr>
          <p:spPr bwMode="auto">
            <a:xfrm>
              <a:off x="14295438" y="1824038"/>
              <a:ext cx="1535113" cy="1533525"/>
            </a:xfrm>
            <a:custGeom>
              <a:avLst/>
              <a:gdLst>
                <a:gd name="T0" fmla="*/ 383 w 383"/>
                <a:gd name="T1" fmla="*/ 210 h 384"/>
                <a:gd name="T2" fmla="*/ 296 w 383"/>
                <a:gd name="T3" fmla="*/ 0 h 384"/>
                <a:gd name="T4" fmla="*/ 0 w 383"/>
                <a:gd name="T5" fmla="*/ 297 h 384"/>
                <a:gd name="T6" fmla="*/ 210 w 383"/>
                <a:gd name="T7" fmla="*/ 384 h 384"/>
                <a:gd name="T8" fmla="*/ 383 w 383"/>
                <a:gd name="T9" fmla="*/ 210 h 384"/>
              </a:gdLst>
              <a:ahLst/>
              <a:cxnLst>
                <a:cxn ang="0">
                  <a:pos x="T0" y="T1"/>
                </a:cxn>
                <a:cxn ang="0">
                  <a:pos x="T2" y="T3"/>
                </a:cxn>
                <a:cxn ang="0">
                  <a:pos x="T4" y="T5"/>
                </a:cxn>
                <a:cxn ang="0">
                  <a:pos x="T6" y="T7"/>
                </a:cxn>
                <a:cxn ang="0">
                  <a:pos x="T8" y="T9"/>
                </a:cxn>
              </a:cxnLst>
              <a:rect l="0" t="0" r="r" b="b"/>
              <a:pathLst>
                <a:path w="383" h="384">
                  <a:moveTo>
                    <a:pt x="383" y="210"/>
                  </a:moveTo>
                  <a:cubicBezTo>
                    <a:pt x="296" y="0"/>
                    <a:pt x="296" y="0"/>
                    <a:pt x="296" y="0"/>
                  </a:cubicBezTo>
                  <a:cubicBezTo>
                    <a:pt x="164" y="58"/>
                    <a:pt x="58" y="164"/>
                    <a:pt x="0" y="297"/>
                  </a:cubicBezTo>
                  <a:cubicBezTo>
                    <a:pt x="210" y="384"/>
                    <a:pt x="210" y="384"/>
                    <a:pt x="210" y="384"/>
                  </a:cubicBezTo>
                  <a:cubicBezTo>
                    <a:pt x="244" y="307"/>
                    <a:pt x="306" y="245"/>
                    <a:pt x="383" y="210"/>
                  </a:cubicBezTo>
                  <a:close/>
                </a:path>
              </a:pathLst>
            </a:custGeom>
            <a:solidFill>
              <a:srgbClr val="A0DCFF"/>
            </a:solidFill>
            <a:ln w="6350">
              <a:solidFill>
                <a:srgbClr val="0070C0"/>
              </a:solidFill>
            </a:ln>
          </p:spPr>
          <p:txBody>
            <a:bodyPr wrap="square" lIns="0" tIns="0" rIns="0" bIns="0" rtlCol="0"/>
            <a:lstStyle/>
            <a:p>
              <a:endParaRPr lang="zh-CN" altLang="en-US"/>
            </a:p>
          </p:txBody>
        </p:sp>
        <p:sp>
          <p:nvSpPr>
            <p:cNvPr id="18" name="Freeform 13"/>
            <p:cNvSpPr>
              <a:spLocks/>
            </p:cNvSpPr>
            <p:nvPr/>
          </p:nvSpPr>
          <p:spPr bwMode="auto">
            <a:xfrm>
              <a:off x="14295438" y="4483101"/>
              <a:ext cx="1535113" cy="1531938"/>
            </a:xfrm>
            <a:custGeom>
              <a:avLst/>
              <a:gdLst>
                <a:gd name="T0" fmla="*/ 210 w 383"/>
                <a:gd name="T1" fmla="*/ 0 h 384"/>
                <a:gd name="T2" fmla="*/ 0 w 383"/>
                <a:gd name="T3" fmla="*/ 87 h 384"/>
                <a:gd name="T4" fmla="*/ 296 w 383"/>
                <a:gd name="T5" fmla="*/ 384 h 384"/>
                <a:gd name="T6" fmla="*/ 383 w 383"/>
                <a:gd name="T7" fmla="*/ 174 h 384"/>
                <a:gd name="T8" fmla="*/ 210 w 383"/>
                <a:gd name="T9" fmla="*/ 0 h 384"/>
              </a:gdLst>
              <a:ahLst/>
              <a:cxnLst>
                <a:cxn ang="0">
                  <a:pos x="T0" y="T1"/>
                </a:cxn>
                <a:cxn ang="0">
                  <a:pos x="T2" y="T3"/>
                </a:cxn>
                <a:cxn ang="0">
                  <a:pos x="T4" y="T5"/>
                </a:cxn>
                <a:cxn ang="0">
                  <a:pos x="T6" y="T7"/>
                </a:cxn>
                <a:cxn ang="0">
                  <a:pos x="T8" y="T9"/>
                </a:cxn>
              </a:cxnLst>
              <a:rect l="0" t="0" r="r" b="b"/>
              <a:pathLst>
                <a:path w="383" h="384">
                  <a:moveTo>
                    <a:pt x="210" y="0"/>
                  </a:moveTo>
                  <a:cubicBezTo>
                    <a:pt x="0" y="87"/>
                    <a:pt x="0" y="87"/>
                    <a:pt x="0" y="87"/>
                  </a:cubicBezTo>
                  <a:cubicBezTo>
                    <a:pt x="58" y="220"/>
                    <a:pt x="164" y="326"/>
                    <a:pt x="296" y="384"/>
                  </a:cubicBezTo>
                  <a:cubicBezTo>
                    <a:pt x="383" y="174"/>
                    <a:pt x="383" y="174"/>
                    <a:pt x="383" y="174"/>
                  </a:cubicBezTo>
                  <a:cubicBezTo>
                    <a:pt x="306" y="139"/>
                    <a:pt x="244" y="77"/>
                    <a:pt x="210" y="0"/>
                  </a:cubicBezTo>
                  <a:close/>
                </a:path>
              </a:pathLst>
            </a:custGeom>
            <a:solidFill>
              <a:srgbClr val="6FC2B4"/>
            </a:solidFill>
            <a:ln w="6350">
              <a:solidFill>
                <a:schemeClr val="accent4"/>
              </a:solidFill>
            </a:ln>
          </p:spPr>
          <p:txBody>
            <a:bodyPr wrap="square" lIns="0" tIns="0" rIns="0" bIns="0" rtlCol="0"/>
            <a:lstStyle/>
            <a:p>
              <a:endParaRPr lang="zh-CN" altLang="en-US" dirty="0"/>
            </a:p>
          </p:txBody>
        </p:sp>
        <p:sp>
          <p:nvSpPr>
            <p:cNvPr id="19" name="Freeform 14"/>
            <p:cNvSpPr>
              <a:spLocks/>
            </p:cNvSpPr>
            <p:nvPr/>
          </p:nvSpPr>
          <p:spPr bwMode="auto">
            <a:xfrm>
              <a:off x="15136813" y="4427538"/>
              <a:ext cx="754063" cy="749300"/>
            </a:xfrm>
            <a:custGeom>
              <a:avLst/>
              <a:gdLst>
                <a:gd name="T0" fmla="*/ 126 w 188"/>
                <a:gd name="T1" fmla="*/ 62 h 188"/>
                <a:gd name="T2" fmla="*/ 82 w 188"/>
                <a:gd name="T3" fmla="*/ 74 h 188"/>
                <a:gd name="T4" fmla="*/ 34 w 188"/>
                <a:gd name="T5" fmla="*/ 0 h 188"/>
                <a:gd name="T6" fmla="*/ 0 w 188"/>
                <a:gd name="T7" fmla="*/ 14 h 188"/>
                <a:gd name="T8" fmla="*/ 173 w 188"/>
                <a:gd name="T9" fmla="*/ 188 h 188"/>
                <a:gd name="T10" fmla="*/ 188 w 188"/>
                <a:gd name="T11" fmla="*/ 153 h 188"/>
                <a:gd name="T12" fmla="*/ 114 w 188"/>
                <a:gd name="T13" fmla="*/ 106 h 188"/>
                <a:gd name="T14" fmla="*/ 126 w 188"/>
                <a:gd name="T15" fmla="*/ 62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88">
                  <a:moveTo>
                    <a:pt x="126" y="62"/>
                  </a:moveTo>
                  <a:cubicBezTo>
                    <a:pt x="82" y="74"/>
                    <a:pt x="82" y="74"/>
                    <a:pt x="82" y="74"/>
                  </a:cubicBezTo>
                  <a:cubicBezTo>
                    <a:pt x="63" y="52"/>
                    <a:pt x="47" y="27"/>
                    <a:pt x="34" y="0"/>
                  </a:cubicBezTo>
                  <a:cubicBezTo>
                    <a:pt x="0" y="14"/>
                    <a:pt x="0" y="14"/>
                    <a:pt x="0" y="14"/>
                  </a:cubicBezTo>
                  <a:cubicBezTo>
                    <a:pt x="34" y="91"/>
                    <a:pt x="96" y="153"/>
                    <a:pt x="173" y="188"/>
                  </a:cubicBezTo>
                  <a:cubicBezTo>
                    <a:pt x="188" y="153"/>
                    <a:pt x="188" y="153"/>
                    <a:pt x="188" y="153"/>
                  </a:cubicBezTo>
                  <a:cubicBezTo>
                    <a:pt x="161" y="141"/>
                    <a:pt x="136" y="125"/>
                    <a:pt x="114" y="106"/>
                  </a:cubicBezTo>
                  <a:lnTo>
                    <a:pt x="126" y="62"/>
                  </a:lnTo>
                  <a:close/>
                </a:path>
              </a:pathLst>
            </a:custGeom>
            <a:solidFill>
              <a:schemeClr val="accent4"/>
            </a:solidFill>
          </p:spPr>
          <p:txBody>
            <a:bodyPr wrap="square" lIns="0" tIns="0" rIns="0" bIns="0" rtlCol="0"/>
            <a:lstStyle/>
            <a:p>
              <a:endParaRPr lang="zh-CN" altLang="en-US"/>
            </a:p>
          </p:txBody>
        </p:sp>
        <p:sp>
          <p:nvSpPr>
            <p:cNvPr id="20" name="Freeform 15"/>
            <p:cNvSpPr>
              <a:spLocks/>
            </p:cNvSpPr>
            <p:nvPr/>
          </p:nvSpPr>
          <p:spPr bwMode="auto">
            <a:xfrm>
              <a:off x="16906875" y="2662238"/>
              <a:ext cx="754063" cy="750888"/>
            </a:xfrm>
            <a:custGeom>
              <a:avLst/>
              <a:gdLst>
                <a:gd name="T0" fmla="*/ 62 w 188"/>
                <a:gd name="T1" fmla="*/ 126 h 188"/>
                <a:gd name="T2" fmla="*/ 106 w 188"/>
                <a:gd name="T3" fmla="*/ 114 h 188"/>
                <a:gd name="T4" fmla="*/ 154 w 188"/>
                <a:gd name="T5" fmla="*/ 188 h 188"/>
                <a:gd name="T6" fmla="*/ 154 w 188"/>
                <a:gd name="T7" fmla="*/ 188 h 188"/>
                <a:gd name="T8" fmla="*/ 188 w 188"/>
                <a:gd name="T9" fmla="*/ 174 h 188"/>
                <a:gd name="T10" fmla="*/ 15 w 188"/>
                <a:gd name="T11" fmla="*/ 0 h 188"/>
                <a:gd name="T12" fmla="*/ 0 w 188"/>
                <a:gd name="T13" fmla="*/ 35 h 188"/>
                <a:gd name="T14" fmla="*/ 74 w 188"/>
                <a:gd name="T15" fmla="*/ 82 h 188"/>
                <a:gd name="T16" fmla="*/ 62 w 188"/>
                <a:gd name="T17" fmla="*/ 12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88">
                  <a:moveTo>
                    <a:pt x="62" y="126"/>
                  </a:moveTo>
                  <a:cubicBezTo>
                    <a:pt x="106" y="114"/>
                    <a:pt x="106" y="114"/>
                    <a:pt x="106" y="114"/>
                  </a:cubicBezTo>
                  <a:cubicBezTo>
                    <a:pt x="125" y="136"/>
                    <a:pt x="141" y="161"/>
                    <a:pt x="154" y="188"/>
                  </a:cubicBezTo>
                  <a:cubicBezTo>
                    <a:pt x="154" y="188"/>
                    <a:pt x="154" y="188"/>
                    <a:pt x="154" y="188"/>
                  </a:cubicBezTo>
                  <a:cubicBezTo>
                    <a:pt x="188" y="174"/>
                    <a:pt x="188" y="174"/>
                    <a:pt x="188" y="174"/>
                  </a:cubicBezTo>
                  <a:cubicBezTo>
                    <a:pt x="154" y="97"/>
                    <a:pt x="92" y="35"/>
                    <a:pt x="15" y="0"/>
                  </a:cubicBezTo>
                  <a:cubicBezTo>
                    <a:pt x="0" y="35"/>
                    <a:pt x="0" y="35"/>
                    <a:pt x="0" y="35"/>
                  </a:cubicBezTo>
                  <a:cubicBezTo>
                    <a:pt x="27" y="47"/>
                    <a:pt x="52" y="63"/>
                    <a:pt x="74" y="82"/>
                  </a:cubicBezTo>
                  <a:lnTo>
                    <a:pt x="62" y="126"/>
                  </a:lnTo>
                  <a:close/>
                </a:path>
              </a:pathLst>
            </a:custGeom>
            <a:solidFill>
              <a:schemeClr val="accent2"/>
            </a:solidFill>
            <a:ln w="6350">
              <a:solidFill>
                <a:schemeClr val="accent2"/>
              </a:solidFill>
            </a:ln>
          </p:spPr>
          <p:txBody>
            <a:bodyPr wrap="square" lIns="0" tIns="0" rIns="0" bIns="0" rtlCol="0"/>
            <a:lstStyle/>
            <a:p>
              <a:endParaRPr lang="zh-CN" altLang="en-US"/>
            </a:p>
          </p:txBody>
        </p:sp>
        <p:sp>
          <p:nvSpPr>
            <p:cNvPr id="21" name="Freeform 16"/>
            <p:cNvSpPr>
              <a:spLocks/>
            </p:cNvSpPr>
            <p:nvPr/>
          </p:nvSpPr>
          <p:spPr bwMode="auto">
            <a:xfrm>
              <a:off x="15906750" y="2543176"/>
              <a:ext cx="982663" cy="311150"/>
            </a:xfrm>
            <a:custGeom>
              <a:avLst/>
              <a:gdLst>
                <a:gd name="T0" fmla="*/ 0 w 245"/>
                <a:gd name="T1" fmla="*/ 23 h 78"/>
                <a:gd name="T2" fmla="*/ 14 w 245"/>
                <a:gd name="T3" fmla="*/ 57 h 78"/>
                <a:gd name="T4" fmla="*/ 14 w 245"/>
                <a:gd name="T5" fmla="*/ 57 h 78"/>
                <a:gd name="T6" fmla="*/ 25 w 245"/>
                <a:gd name="T7" fmla="*/ 53 h 78"/>
                <a:gd name="T8" fmla="*/ 28 w 245"/>
                <a:gd name="T9" fmla="*/ 52 h 78"/>
                <a:gd name="T10" fmla="*/ 38 w 245"/>
                <a:gd name="T11" fmla="*/ 49 h 78"/>
                <a:gd name="T12" fmla="*/ 41 w 245"/>
                <a:gd name="T13" fmla="*/ 48 h 78"/>
                <a:gd name="T14" fmla="*/ 51 w 245"/>
                <a:gd name="T15" fmla="*/ 46 h 78"/>
                <a:gd name="T16" fmla="*/ 56 w 245"/>
                <a:gd name="T17" fmla="*/ 45 h 78"/>
                <a:gd name="T18" fmla="*/ 64 w 245"/>
                <a:gd name="T19" fmla="*/ 43 h 78"/>
                <a:gd name="T20" fmla="*/ 70 w 245"/>
                <a:gd name="T21" fmla="*/ 42 h 78"/>
                <a:gd name="T22" fmla="*/ 78 w 245"/>
                <a:gd name="T23" fmla="*/ 41 h 78"/>
                <a:gd name="T24" fmla="*/ 86 w 245"/>
                <a:gd name="T25" fmla="*/ 40 h 78"/>
                <a:gd name="T26" fmla="*/ 93 w 245"/>
                <a:gd name="T27" fmla="*/ 39 h 78"/>
                <a:gd name="T28" fmla="*/ 100 w 245"/>
                <a:gd name="T29" fmla="*/ 38 h 78"/>
                <a:gd name="T30" fmla="*/ 122 w 245"/>
                <a:gd name="T31" fmla="*/ 78 h 78"/>
                <a:gd name="T32" fmla="*/ 145 w 245"/>
                <a:gd name="T33" fmla="*/ 38 h 78"/>
                <a:gd name="T34" fmla="*/ 152 w 245"/>
                <a:gd name="T35" fmla="*/ 39 h 78"/>
                <a:gd name="T36" fmla="*/ 159 w 245"/>
                <a:gd name="T37" fmla="*/ 40 h 78"/>
                <a:gd name="T38" fmla="*/ 167 w 245"/>
                <a:gd name="T39" fmla="*/ 41 h 78"/>
                <a:gd name="T40" fmla="*/ 175 w 245"/>
                <a:gd name="T41" fmla="*/ 42 h 78"/>
                <a:gd name="T42" fmla="*/ 181 w 245"/>
                <a:gd name="T43" fmla="*/ 43 h 78"/>
                <a:gd name="T44" fmla="*/ 189 w 245"/>
                <a:gd name="T45" fmla="*/ 45 h 78"/>
                <a:gd name="T46" fmla="*/ 194 w 245"/>
                <a:gd name="T47" fmla="*/ 46 h 78"/>
                <a:gd name="T48" fmla="*/ 204 w 245"/>
                <a:gd name="T49" fmla="*/ 48 h 78"/>
                <a:gd name="T50" fmla="*/ 207 w 245"/>
                <a:gd name="T51" fmla="*/ 49 h 78"/>
                <a:gd name="T52" fmla="*/ 217 w 245"/>
                <a:gd name="T53" fmla="*/ 52 h 78"/>
                <a:gd name="T54" fmla="*/ 220 w 245"/>
                <a:gd name="T55" fmla="*/ 53 h 78"/>
                <a:gd name="T56" fmla="*/ 231 w 245"/>
                <a:gd name="T57" fmla="*/ 57 h 78"/>
                <a:gd name="T58" fmla="*/ 245 w 245"/>
                <a:gd name="T59" fmla="*/ 23 h 78"/>
                <a:gd name="T60" fmla="*/ 122 w 245"/>
                <a:gd name="T61" fmla="*/ 0 h 78"/>
                <a:gd name="T62" fmla="*/ 0 w 245"/>
                <a:gd name="T63" fmla="*/ 2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5" h="78">
                  <a:moveTo>
                    <a:pt x="0" y="23"/>
                  </a:moveTo>
                  <a:cubicBezTo>
                    <a:pt x="14" y="57"/>
                    <a:pt x="14" y="57"/>
                    <a:pt x="14" y="57"/>
                  </a:cubicBezTo>
                  <a:cubicBezTo>
                    <a:pt x="14" y="57"/>
                    <a:pt x="14" y="57"/>
                    <a:pt x="14" y="57"/>
                  </a:cubicBezTo>
                  <a:cubicBezTo>
                    <a:pt x="18" y="56"/>
                    <a:pt x="21" y="55"/>
                    <a:pt x="25" y="53"/>
                  </a:cubicBezTo>
                  <a:cubicBezTo>
                    <a:pt x="26" y="53"/>
                    <a:pt x="27" y="53"/>
                    <a:pt x="28" y="52"/>
                  </a:cubicBezTo>
                  <a:cubicBezTo>
                    <a:pt x="31" y="51"/>
                    <a:pt x="34" y="50"/>
                    <a:pt x="38" y="49"/>
                  </a:cubicBezTo>
                  <a:cubicBezTo>
                    <a:pt x="39" y="49"/>
                    <a:pt x="40" y="49"/>
                    <a:pt x="41" y="48"/>
                  </a:cubicBezTo>
                  <a:cubicBezTo>
                    <a:pt x="44" y="48"/>
                    <a:pt x="48" y="47"/>
                    <a:pt x="51" y="46"/>
                  </a:cubicBezTo>
                  <a:cubicBezTo>
                    <a:pt x="52" y="46"/>
                    <a:pt x="54" y="45"/>
                    <a:pt x="56" y="45"/>
                  </a:cubicBezTo>
                  <a:cubicBezTo>
                    <a:pt x="59" y="44"/>
                    <a:pt x="61" y="44"/>
                    <a:pt x="64" y="43"/>
                  </a:cubicBezTo>
                  <a:cubicBezTo>
                    <a:pt x="66" y="43"/>
                    <a:pt x="68" y="42"/>
                    <a:pt x="70" y="42"/>
                  </a:cubicBezTo>
                  <a:cubicBezTo>
                    <a:pt x="73" y="42"/>
                    <a:pt x="76" y="41"/>
                    <a:pt x="78" y="41"/>
                  </a:cubicBezTo>
                  <a:cubicBezTo>
                    <a:pt x="81" y="40"/>
                    <a:pt x="83" y="40"/>
                    <a:pt x="86" y="40"/>
                  </a:cubicBezTo>
                  <a:cubicBezTo>
                    <a:pt x="88" y="39"/>
                    <a:pt x="90" y="39"/>
                    <a:pt x="93" y="39"/>
                  </a:cubicBezTo>
                  <a:cubicBezTo>
                    <a:pt x="95" y="39"/>
                    <a:pt x="97" y="39"/>
                    <a:pt x="100" y="38"/>
                  </a:cubicBezTo>
                  <a:cubicBezTo>
                    <a:pt x="122" y="78"/>
                    <a:pt x="122" y="78"/>
                    <a:pt x="122" y="78"/>
                  </a:cubicBezTo>
                  <a:cubicBezTo>
                    <a:pt x="145" y="38"/>
                    <a:pt x="145" y="38"/>
                    <a:pt x="145" y="38"/>
                  </a:cubicBezTo>
                  <a:cubicBezTo>
                    <a:pt x="148" y="39"/>
                    <a:pt x="150" y="39"/>
                    <a:pt x="152" y="39"/>
                  </a:cubicBezTo>
                  <a:cubicBezTo>
                    <a:pt x="155" y="39"/>
                    <a:pt x="157" y="39"/>
                    <a:pt x="159" y="40"/>
                  </a:cubicBezTo>
                  <a:cubicBezTo>
                    <a:pt x="162" y="40"/>
                    <a:pt x="164" y="40"/>
                    <a:pt x="167" y="41"/>
                  </a:cubicBezTo>
                  <a:cubicBezTo>
                    <a:pt x="169" y="41"/>
                    <a:pt x="172" y="42"/>
                    <a:pt x="175" y="42"/>
                  </a:cubicBezTo>
                  <a:cubicBezTo>
                    <a:pt x="177" y="42"/>
                    <a:pt x="179" y="43"/>
                    <a:pt x="181" y="43"/>
                  </a:cubicBezTo>
                  <a:cubicBezTo>
                    <a:pt x="184" y="44"/>
                    <a:pt x="186" y="44"/>
                    <a:pt x="189" y="45"/>
                  </a:cubicBezTo>
                  <a:cubicBezTo>
                    <a:pt x="191" y="45"/>
                    <a:pt x="193" y="46"/>
                    <a:pt x="194" y="46"/>
                  </a:cubicBezTo>
                  <a:cubicBezTo>
                    <a:pt x="197" y="47"/>
                    <a:pt x="200" y="48"/>
                    <a:pt x="204" y="48"/>
                  </a:cubicBezTo>
                  <a:cubicBezTo>
                    <a:pt x="205" y="49"/>
                    <a:pt x="206" y="49"/>
                    <a:pt x="207" y="49"/>
                  </a:cubicBezTo>
                  <a:cubicBezTo>
                    <a:pt x="211" y="50"/>
                    <a:pt x="214" y="51"/>
                    <a:pt x="217" y="52"/>
                  </a:cubicBezTo>
                  <a:cubicBezTo>
                    <a:pt x="218" y="53"/>
                    <a:pt x="219" y="53"/>
                    <a:pt x="220" y="53"/>
                  </a:cubicBezTo>
                  <a:cubicBezTo>
                    <a:pt x="224" y="55"/>
                    <a:pt x="227" y="56"/>
                    <a:pt x="231" y="57"/>
                  </a:cubicBezTo>
                  <a:cubicBezTo>
                    <a:pt x="245" y="23"/>
                    <a:pt x="245" y="23"/>
                    <a:pt x="245" y="23"/>
                  </a:cubicBezTo>
                  <a:cubicBezTo>
                    <a:pt x="207" y="8"/>
                    <a:pt x="166" y="0"/>
                    <a:pt x="122" y="0"/>
                  </a:cubicBezTo>
                  <a:cubicBezTo>
                    <a:pt x="79" y="0"/>
                    <a:pt x="38" y="8"/>
                    <a:pt x="0" y="23"/>
                  </a:cubicBezTo>
                  <a:close/>
                </a:path>
              </a:pathLst>
            </a:custGeom>
            <a:solidFill>
              <a:schemeClr val="accent1"/>
            </a:solidFill>
            <a:ln w="6350">
              <a:solidFill>
                <a:schemeClr val="accent1"/>
              </a:solidFill>
            </a:ln>
          </p:spPr>
          <p:txBody>
            <a:bodyPr wrap="square" lIns="0" tIns="0" rIns="0" bIns="0" rtlCol="0"/>
            <a:lstStyle/>
            <a:p>
              <a:endParaRPr lang="zh-CN" altLang="en-US"/>
            </a:p>
          </p:txBody>
        </p:sp>
        <p:sp>
          <p:nvSpPr>
            <p:cNvPr id="22" name="Freeform 17"/>
            <p:cNvSpPr>
              <a:spLocks/>
            </p:cNvSpPr>
            <p:nvPr/>
          </p:nvSpPr>
          <p:spPr bwMode="auto">
            <a:xfrm>
              <a:off x="17472025" y="3429001"/>
              <a:ext cx="307975" cy="982663"/>
            </a:xfrm>
            <a:custGeom>
              <a:avLst/>
              <a:gdLst>
                <a:gd name="T0" fmla="*/ 55 w 77"/>
                <a:gd name="T1" fmla="*/ 0 h 246"/>
                <a:gd name="T2" fmla="*/ 20 w 77"/>
                <a:gd name="T3" fmla="*/ 15 h 246"/>
                <a:gd name="T4" fmla="*/ 24 w 77"/>
                <a:gd name="T5" fmla="*/ 26 h 246"/>
                <a:gd name="T6" fmla="*/ 25 w 77"/>
                <a:gd name="T7" fmla="*/ 28 h 246"/>
                <a:gd name="T8" fmla="*/ 28 w 77"/>
                <a:gd name="T9" fmla="*/ 38 h 246"/>
                <a:gd name="T10" fmla="*/ 29 w 77"/>
                <a:gd name="T11" fmla="*/ 42 h 246"/>
                <a:gd name="T12" fmla="*/ 31 w 77"/>
                <a:gd name="T13" fmla="*/ 51 h 246"/>
                <a:gd name="T14" fmla="*/ 33 w 77"/>
                <a:gd name="T15" fmla="*/ 56 h 246"/>
                <a:gd name="T16" fmla="*/ 34 w 77"/>
                <a:gd name="T17" fmla="*/ 65 h 246"/>
                <a:gd name="T18" fmla="*/ 36 w 77"/>
                <a:gd name="T19" fmla="*/ 71 h 246"/>
                <a:gd name="T20" fmla="*/ 37 w 77"/>
                <a:gd name="T21" fmla="*/ 79 h 246"/>
                <a:gd name="T22" fmla="*/ 38 w 77"/>
                <a:gd name="T23" fmla="*/ 86 h 246"/>
                <a:gd name="T24" fmla="*/ 39 w 77"/>
                <a:gd name="T25" fmla="*/ 93 h 246"/>
                <a:gd name="T26" fmla="*/ 39 w 77"/>
                <a:gd name="T27" fmla="*/ 100 h 246"/>
                <a:gd name="T28" fmla="*/ 0 w 77"/>
                <a:gd name="T29" fmla="*/ 123 h 246"/>
                <a:gd name="T30" fmla="*/ 39 w 77"/>
                <a:gd name="T31" fmla="*/ 146 h 246"/>
                <a:gd name="T32" fmla="*/ 39 w 77"/>
                <a:gd name="T33" fmla="*/ 153 h 246"/>
                <a:gd name="T34" fmla="*/ 38 w 77"/>
                <a:gd name="T35" fmla="*/ 160 h 246"/>
                <a:gd name="T36" fmla="*/ 37 w 77"/>
                <a:gd name="T37" fmla="*/ 167 h 246"/>
                <a:gd name="T38" fmla="*/ 36 w 77"/>
                <a:gd name="T39" fmla="*/ 175 h 246"/>
                <a:gd name="T40" fmla="*/ 34 w 77"/>
                <a:gd name="T41" fmla="*/ 181 h 246"/>
                <a:gd name="T42" fmla="*/ 33 w 77"/>
                <a:gd name="T43" fmla="*/ 190 h 246"/>
                <a:gd name="T44" fmla="*/ 31 w 77"/>
                <a:gd name="T45" fmla="*/ 195 h 246"/>
                <a:gd name="T46" fmla="*/ 29 w 77"/>
                <a:gd name="T47" fmla="*/ 204 h 246"/>
                <a:gd name="T48" fmla="*/ 28 w 77"/>
                <a:gd name="T49" fmla="*/ 208 h 246"/>
                <a:gd name="T50" fmla="*/ 25 w 77"/>
                <a:gd name="T51" fmla="*/ 218 h 246"/>
                <a:gd name="T52" fmla="*/ 24 w 77"/>
                <a:gd name="T53" fmla="*/ 220 h 246"/>
                <a:gd name="T54" fmla="*/ 20 w 77"/>
                <a:gd name="T55" fmla="*/ 231 h 246"/>
                <a:gd name="T56" fmla="*/ 55 w 77"/>
                <a:gd name="T57" fmla="*/ 246 h 246"/>
                <a:gd name="T58" fmla="*/ 77 w 77"/>
                <a:gd name="T59" fmla="*/ 123 h 246"/>
                <a:gd name="T60" fmla="*/ 55 w 77"/>
                <a:gd name="T6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246">
                  <a:moveTo>
                    <a:pt x="55" y="0"/>
                  </a:moveTo>
                  <a:cubicBezTo>
                    <a:pt x="20" y="15"/>
                    <a:pt x="20" y="15"/>
                    <a:pt x="20" y="15"/>
                  </a:cubicBezTo>
                  <a:cubicBezTo>
                    <a:pt x="22" y="18"/>
                    <a:pt x="23" y="22"/>
                    <a:pt x="24" y="26"/>
                  </a:cubicBezTo>
                  <a:cubicBezTo>
                    <a:pt x="24" y="26"/>
                    <a:pt x="25" y="27"/>
                    <a:pt x="25" y="28"/>
                  </a:cubicBezTo>
                  <a:cubicBezTo>
                    <a:pt x="26" y="31"/>
                    <a:pt x="27" y="35"/>
                    <a:pt x="28" y="38"/>
                  </a:cubicBezTo>
                  <a:cubicBezTo>
                    <a:pt x="28" y="39"/>
                    <a:pt x="29" y="41"/>
                    <a:pt x="29" y="42"/>
                  </a:cubicBezTo>
                  <a:cubicBezTo>
                    <a:pt x="30" y="45"/>
                    <a:pt x="31" y="48"/>
                    <a:pt x="31" y="51"/>
                  </a:cubicBezTo>
                  <a:cubicBezTo>
                    <a:pt x="32" y="53"/>
                    <a:pt x="32" y="55"/>
                    <a:pt x="33" y="56"/>
                  </a:cubicBezTo>
                  <a:cubicBezTo>
                    <a:pt x="33" y="59"/>
                    <a:pt x="34" y="62"/>
                    <a:pt x="34" y="65"/>
                  </a:cubicBezTo>
                  <a:cubicBezTo>
                    <a:pt x="35" y="67"/>
                    <a:pt x="35" y="69"/>
                    <a:pt x="36" y="71"/>
                  </a:cubicBezTo>
                  <a:cubicBezTo>
                    <a:pt x="36" y="74"/>
                    <a:pt x="36" y="76"/>
                    <a:pt x="37" y="79"/>
                  </a:cubicBezTo>
                  <a:cubicBezTo>
                    <a:pt x="37" y="81"/>
                    <a:pt x="37" y="84"/>
                    <a:pt x="38" y="86"/>
                  </a:cubicBezTo>
                  <a:cubicBezTo>
                    <a:pt x="38" y="89"/>
                    <a:pt x="38" y="91"/>
                    <a:pt x="39" y="93"/>
                  </a:cubicBezTo>
                  <a:cubicBezTo>
                    <a:pt x="39" y="96"/>
                    <a:pt x="39" y="98"/>
                    <a:pt x="39" y="100"/>
                  </a:cubicBezTo>
                  <a:cubicBezTo>
                    <a:pt x="0" y="123"/>
                    <a:pt x="0" y="123"/>
                    <a:pt x="0" y="123"/>
                  </a:cubicBezTo>
                  <a:cubicBezTo>
                    <a:pt x="39" y="146"/>
                    <a:pt x="39" y="146"/>
                    <a:pt x="39" y="146"/>
                  </a:cubicBezTo>
                  <a:cubicBezTo>
                    <a:pt x="39" y="148"/>
                    <a:pt x="39" y="150"/>
                    <a:pt x="39" y="153"/>
                  </a:cubicBezTo>
                  <a:cubicBezTo>
                    <a:pt x="38" y="155"/>
                    <a:pt x="38" y="157"/>
                    <a:pt x="38" y="160"/>
                  </a:cubicBezTo>
                  <a:cubicBezTo>
                    <a:pt x="37" y="162"/>
                    <a:pt x="37" y="165"/>
                    <a:pt x="37" y="167"/>
                  </a:cubicBezTo>
                  <a:cubicBezTo>
                    <a:pt x="36" y="170"/>
                    <a:pt x="36" y="172"/>
                    <a:pt x="36" y="175"/>
                  </a:cubicBezTo>
                  <a:cubicBezTo>
                    <a:pt x="35" y="177"/>
                    <a:pt x="35" y="179"/>
                    <a:pt x="34" y="181"/>
                  </a:cubicBezTo>
                  <a:cubicBezTo>
                    <a:pt x="34" y="184"/>
                    <a:pt x="33" y="187"/>
                    <a:pt x="33" y="190"/>
                  </a:cubicBezTo>
                  <a:cubicBezTo>
                    <a:pt x="32" y="191"/>
                    <a:pt x="32" y="193"/>
                    <a:pt x="31" y="195"/>
                  </a:cubicBezTo>
                  <a:cubicBezTo>
                    <a:pt x="31" y="198"/>
                    <a:pt x="30" y="201"/>
                    <a:pt x="29" y="204"/>
                  </a:cubicBezTo>
                  <a:cubicBezTo>
                    <a:pt x="29" y="205"/>
                    <a:pt x="28" y="207"/>
                    <a:pt x="28" y="208"/>
                  </a:cubicBezTo>
                  <a:cubicBezTo>
                    <a:pt x="27" y="211"/>
                    <a:pt x="26" y="215"/>
                    <a:pt x="25" y="218"/>
                  </a:cubicBezTo>
                  <a:cubicBezTo>
                    <a:pt x="25" y="219"/>
                    <a:pt x="24" y="220"/>
                    <a:pt x="24" y="220"/>
                  </a:cubicBezTo>
                  <a:cubicBezTo>
                    <a:pt x="23" y="224"/>
                    <a:pt x="22" y="228"/>
                    <a:pt x="20" y="231"/>
                  </a:cubicBezTo>
                  <a:cubicBezTo>
                    <a:pt x="55" y="246"/>
                    <a:pt x="55" y="246"/>
                    <a:pt x="55" y="246"/>
                  </a:cubicBezTo>
                  <a:cubicBezTo>
                    <a:pt x="69" y="208"/>
                    <a:pt x="77" y="166"/>
                    <a:pt x="77" y="123"/>
                  </a:cubicBezTo>
                  <a:cubicBezTo>
                    <a:pt x="77" y="80"/>
                    <a:pt x="69" y="38"/>
                    <a:pt x="55" y="0"/>
                  </a:cubicBezTo>
                  <a:close/>
                </a:path>
              </a:pathLst>
            </a:custGeom>
            <a:solidFill>
              <a:schemeClr val="accent3"/>
            </a:solidFill>
            <a:ln w="6350">
              <a:solidFill>
                <a:schemeClr val="accent3"/>
              </a:solidFill>
            </a:ln>
          </p:spPr>
          <p:txBody>
            <a:bodyPr wrap="square" lIns="0" tIns="0" rIns="0" bIns="0" rtlCol="0"/>
            <a:lstStyle/>
            <a:p>
              <a:endParaRPr lang="zh-CN" altLang="en-US"/>
            </a:p>
          </p:txBody>
        </p:sp>
        <p:sp>
          <p:nvSpPr>
            <p:cNvPr id="23" name="Freeform 18"/>
            <p:cNvSpPr>
              <a:spLocks/>
            </p:cNvSpPr>
            <p:nvPr/>
          </p:nvSpPr>
          <p:spPr bwMode="auto">
            <a:xfrm>
              <a:off x="15012988" y="3429001"/>
              <a:ext cx="312738" cy="982663"/>
            </a:xfrm>
            <a:custGeom>
              <a:avLst/>
              <a:gdLst>
                <a:gd name="T0" fmla="*/ 54 w 78"/>
                <a:gd name="T1" fmla="*/ 220 h 246"/>
                <a:gd name="T2" fmla="*/ 53 w 78"/>
                <a:gd name="T3" fmla="*/ 218 h 246"/>
                <a:gd name="T4" fmla="*/ 50 w 78"/>
                <a:gd name="T5" fmla="*/ 208 h 246"/>
                <a:gd name="T6" fmla="*/ 49 w 78"/>
                <a:gd name="T7" fmla="*/ 204 h 246"/>
                <a:gd name="T8" fmla="*/ 46 w 78"/>
                <a:gd name="T9" fmla="*/ 195 h 246"/>
                <a:gd name="T10" fmla="*/ 45 w 78"/>
                <a:gd name="T11" fmla="*/ 190 h 246"/>
                <a:gd name="T12" fmla="*/ 44 w 78"/>
                <a:gd name="T13" fmla="*/ 181 h 246"/>
                <a:gd name="T14" fmla="*/ 42 w 78"/>
                <a:gd name="T15" fmla="*/ 175 h 246"/>
                <a:gd name="T16" fmla="*/ 41 w 78"/>
                <a:gd name="T17" fmla="*/ 167 h 246"/>
                <a:gd name="T18" fmla="*/ 40 w 78"/>
                <a:gd name="T19" fmla="*/ 160 h 246"/>
                <a:gd name="T20" fmla="*/ 39 w 78"/>
                <a:gd name="T21" fmla="*/ 153 h 246"/>
                <a:gd name="T22" fmla="*/ 39 w 78"/>
                <a:gd name="T23" fmla="*/ 146 h 246"/>
                <a:gd name="T24" fmla="*/ 78 w 78"/>
                <a:gd name="T25" fmla="*/ 123 h 246"/>
                <a:gd name="T26" fmla="*/ 39 w 78"/>
                <a:gd name="T27" fmla="*/ 100 h 246"/>
                <a:gd name="T28" fmla="*/ 39 w 78"/>
                <a:gd name="T29" fmla="*/ 93 h 246"/>
                <a:gd name="T30" fmla="*/ 40 w 78"/>
                <a:gd name="T31" fmla="*/ 86 h 246"/>
                <a:gd name="T32" fmla="*/ 41 w 78"/>
                <a:gd name="T33" fmla="*/ 79 h 246"/>
                <a:gd name="T34" fmla="*/ 42 w 78"/>
                <a:gd name="T35" fmla="*/ 71 h 246"/>
                <a:gd name="T36" fmla="*/ 44 w 78"/>
                <a:gd name="T37" fmla="*/ 65 h 246"/>
                <a:gd name="T38" fmla="*/ 45 w 78"/>
                <a:gd name="T39" fmla="*/ 56 h 246"/>
                <a:gd name="T40" fmla="*/ 46 w 78"/>
                <a:gd name="T41" fmla="*/ 51 h 246"/>
                <a:gd name="T42" fmla="*/ 49 w 78"/>
                <a:gd name="T43" fmla="*/ 42 h 246"/>
                <a:gd name="T44" fmla="*/ 50 w 78"/>
                <a:gd name="T45" fmla="*/ 38 h 246"/>
                <a:gd name="T46" fmla="*/ 53 w 78"/>
                <a:gd name="T47" fmla="*/ 28 h 246"/>
                <a:gd name="T48" fmla="*/ 54 w 78"/>
                <a:gd name="T49" fmla="*/ 26 h 246"/>
                <a:gd name="T50" fmla="*/ 58 w 78"/>
                <a:gd name="T51" fmla="*/ 15 h 246"/>
                <a:gd name="T52" fmla="*/ 58 w 78"/>
                <a:gd name="T53" fmla="*/ 15 h 246"/>
                <a:gd name="T54" fmla="*/ 23 w 78"/>
                <a:gd name="T55" fmla="*/ 0 h 246"/>
                <a:gd name="T56" fmla="*/ 0 w 78"/>
                <a:gd name="T57" fmla="*/ 123 h 246"/>
                <a:gd name="T58" fmla="*/ 23 w 78"/>
                <a:gd name="T59" fmla="*/ 246 h 246"/>
                <a:gd name="T60" fmla="*/ 58 w 78"/>
                <a:gd name="T61" fmla="*/ 231 h 246"/>
                <a:gd name="T62" fmla="*/ 54 w 78"/>
                <a:gd name="T63" fmla="*/ 22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246">
                  <a:moveTo>
                    <a:pt x="54" y="220"/>
                  </a:moveTo>
                  <a:cubicBezTo>
                    <a:pt x="54" y="220"/>
                    <a:pt x="53" y="219"/>
                    <a:pt x="53" y="218"/>
                  </a:cubicBezTo>
                  <a:cubicBezTo>
                    <a:pt x="52" y="215"/>
                    <a:pt x="51" y="211"/>
                    <a:pt x="50" y="208"/>
                  </a:cubicBezTo>
                  <a:cubicBezTo>
                    <a:pt x="50" y="207"/>
                    <a:pt x="49" y="205"/>
                    <a:pt x="49" y="204"/>
                  </a:cubicBezTo>
                  <a:cubicBezTo>
                    <a:pt x="48" y="201"/>
                    <a:pt x="47" y="198"/>
                    <a:pt x="46" y="195"/>
                  </a:cubicBezTo>
                  <a:cubicBezTo>
                    <a:pt x="46" y="193"/>
                    <a:pt x="46" y="191"/>
                    <a:pt x="45" y="190"/>
                  </a:cubicBezTo>
                  <a:cubicBezTo>
                    <a:pt x="45" y="187"/>
                    <a:pt x="44" y="184"/>
                    <a:pt x="44" y="181"/>
                  </a:cubicBezTo>
                  <a:cubicBezTo>
                    <a:pt x="43" y="179"/>
                    <a:pt x="43" y="177"/>
                    <a:pt x="42" y="175"/>
                  </a:cubicBezTo>
                  <a:cubicBezTo>
                    <a:pt x="42" y="172"/>
                    <a:pt x="42" y="170"/>
                    <a:pt x="41" y="167"/>
                  </a:cubicBezTo>
                  <a:cubicBezTo>
                    <a:pt x="41" y="165"/>
                    <a:pt x="41" y="162"/>
                    <a:pt x="40" y="160"/>
                  </a:cubicBezTo>
                  <a:cubicBezTo>
                    <a:pt x="40" y="157"/>
                    <a:pt x="40" y="155"/>
                    <a:pt x="39" y="153"/>
                  </a:cubicBezTo>
                  <a:cubicBezTo>
                    <a:pt x="39" y="150"/>
                    <a:pt x="39" y="148"/>
                    <a:pt x="39" y="146"/>
                  </a:cubicBezTo>
                  <a:cubicBezTo>
                    <a:pt x="78" y="123"/>
                    <a:pt x="78" y="123"/>
                    <a:pt x="78" y="123"/>
                  </a:cubicBezTo>
                  <a:cubicBezTo>
                    <a:pt x="39" y="100"/>
                    <a:pt x="39" y="100"/>
                    <a:pt x="39" y="100"/>
                  </a:cubicBezTo>
                  <a:cubicBezTo>
                    <a:pt x="39" y="98"/>
                    <a:pt x="39" y="96"/>
                    <a:pt x="39" y="93"/>
                  </a:cubicBezTo>
                  <a:cubicBezTo>
                    <a:pt x="40" y="91"/>
                    <a:pt x="40" y="89"/>
                    <a:pt x="40" y="86"/>
                  </a:cubicBezTo>
                  <a:cubicBezTo>
                    <a:pt x="41" y="84"/>
                    <a:pt x="41" y="81"/>
                    <a:pt x="41" y="79"/>
                  </a:cubicBezTo>
                  <a:cubicBezTo>
                    <a:pt x="42" y="76"/>
                    <a:pt x="42" y="74"/>
                    <a:pt x="42" y="71"/>
                  </a:cubicBezTo>
                  <a:cubicBezTo>
                    <a:pt x="43" y="69"/>
                    <a:pt x="43" y="67"/>
                    <a:pt x="44" y="65"/>
                  </a:cubicBezTo>
                  <a:cubicBezTo>
                    <a:pt x="44" y="62"/>
                    <a:pt x="45" y="59"/>
                    <a:pt x="45" y="56"/>
                  </a:cubicBezTo>
                  <a:cubicBezTo>
                    <a:pt x="46" y="55"/>
                    <a:pt x="46" y="53"/>
                    <a:pt x="46" y="51"/>
                  </a:cubicBezTo>
                  <a:cubicBezTo>
                    <a:pt x="47" y="48"/>
                    <a:pt x="48" y="45"/>
                    <a:pt x="49" y="42"/>
                  </a:cubicBezTo>
                  <a:cubicBezTo>
                    <a:pt x="49" y="41"/>
                    <a:pt x="50" y="39"/>
                    <a:pt x="50" y="38"/>
                  </a:cubicBezTo>
                  <a:cubicBezTo>
                    <a:pt x="51" y="35"/>
                    <a:pt x="52" y="31"/>
                    <a:pt x="53" y="28"/>
                  </a:cubicBezTo>
                  <a:cubicBezTo>
                    <a:pt x="53" y="27"/>
                    <a:pt x="54" y="26"/>
                    <a:pt x="54" y="26"/>
                  </a:cubicBezTo>
                  <a:cubicBezTo>
                    <a:pt x="55" y="22"/>
                    <a:pt x="56" y="18"/>
                    <a:pt x="58" y="15"/>
                  </a:cubicBezTo>
                  <a:cubicBezTo>
                    <a:pt x="58" y="15"/>
                    <a:pt x="58" y="15"/>
                    <a:pt x="58" y="15"/>
                  </a:cubicBezTo>
                  <a:cubicBezTo>
                    <a:pt x="23" y="0"/>
                    <a:pt x="23" y="0"/>
                    <a:pt x="23" y="0"/>
                  </a:cubicBezTo>
                  <a:cubicBezTo>
                    <a:pt x="8" y="38"/>
                    <a:pt x="0" y="80"/>
                    <a:pt x="0" y="123"/>
                  </a:cubicBezTo>
                  <a:cubicBezTo>
                    <a:pt x="0" y="166"/>
                    <a:pt x="8" y="208"/>
                    <a:pt x="23" y="246"/>
                  </a:cubicBezTo>
                  <a:cubicBezTo>
                    <a:pt x="58" y="231"/>
                    <a:pt x="58" y="231"/>
                    <a:pt x="58" y="231"/>
                  </a:cubicBezTo>
                  <a:cubicBezTo>
                    <a:pt x="56" y="228"/>
                    <a:pt x="55" y="224"/>
                    <a:pt x="54" y="220"/>
                  </a:cubicBezTo>
                  <a:close/>
                </a:path>
              </a:pathLst>
            </a:custGeom>
            <a:solidFill>
              <a:schemeClr val="accent5"/>
            </a:solidFill>
            <a:ln w="6350">
              <a:solidFill>
                <a:schemeClr val="accent5"/>
              </a:solidFill>
            </a:ln>
          </p:spPr>
          <p:txBody>
            <a:bodyPr wrap="square" lIns="0" tIns="0" rIns="0" bIns="0" rtlCol="0"/>
            <a:lstStyle/>
            <a:p>
              <a:endParaRPr lang="zh-CN" altLang="en-US"/>
            </a:p>
          </p:txBody>
        </p:sp>
        <p:sp>
          <p:nvSpPr>
            <p:cNvPr id="24" name="Freeform 19"/>
            <p:cNvSpPr>
              <a:spLocks/>
            </p:cNvSpPr>
            <p:nvPr/>
          </p:nvSpPr>
          <p:spPr bwMode="auto">
            <a:xfrm>
              <a:off x="16906875" y="4427538"/>
              <a:ext cx="754063" cy="749300"/>
            </a:xfrm>
            <a:custGeom>
              <a:avLst/>
              <a:gdLst>
                <a:gd name="T0" fmla="*/ 106 w 188"/>
                <a:gd name="T1" fmla="*/ 74 h 188"/>
                <a:gd name="T2" fmla="*/ 62 w 188"/>
                <a:gd name="T3" fmla="*/ 62 h 188"/>
                <a:gd name="T4" fmla="*/ 74 w 188"/>
                <a:gd name="T5" fmla="*/ 106 h 188"/>
                <a:gd name="T6" fmla="*/ 0 w 188"/>
                <a:gd name="T7" fmla="*/ 153 h 188"/>
                <a:gd name="T8" fmla="*/ 15 w 188"/>
                <a:gd name="T9" fmla="*/ 188 h 188"/>
                <a:gd name="T10" fmla="*/ 188 w 188"/>
                <a:gd name="T11" fmla="*/ 14 h 188"/>
                <a:gd name="T12" fmla="*/ 154 w 188"/>
                <a:gd name="T13" fmla="*/ 0 h 188"/>
                <a:gd name="T14" fmla="*/ 106 w 188"/>
                <a:gd name="T15" fmla="*/ 74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88">
                  <a:moveTo>
                    <a:pt x="106" y="74"/>
                  </a:moveTo>
                  <a:cubicBezTo>
                    <a:pt x="62" y="62"/>
                    <a:pt x="62" y="62"/>
                    <a:pt x="62" y="62"/>
                  </a:cubicBezTo>
                  <a:cubicBezTo>
                    <a:pt x="74" y="106"/>
                    <a:pt x="74" y="106"/>
                    <a:pt x="74" y="106"/>
                  </a:cubicBezTo>
                  <a:cubicBezTo>
                    <a:pt x="52" y="125"/>
                    <a:pt x="27" y="141"/>
                    <a:pt x="0" y="153"/>
                  </a:cubicBezTo>
                  <a:cubicBezTo>
                    <a:pt x="15" y="188"/>
                    <a:pt x="15" y="188"/>
                    <a:pt x="15" y="188"/>
                  </a:cubicBezTo>
                  <a:cubicBezTo>
                    <a:pt x="92" y="153"/>
                    <a:pt x="154" y="91"/>
                    <a:pt x="188" y="14"/>
                  </a:cubicBezTo>
                  <a:cubicBezTo>
                    <a:pt x="154" y="0"/>
                    <a:pt x="154" y="0"/>
                    <a:pt x="154" y="0"/>
                  </a:cubicBezTo>
                  <a:cubicBezTo>
                    <a:pt x="141" y="27"/>
                    <a:pt x="125" y="52"/>
                    <a:pt x="106" y="7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20"/>
            <p:cNvSpPr>
              <a:spLocks/>
            </p:cNvSpPr>
            <p:nvPr/>
          </p:nvSpPr>
          <p:spPr bwMode="auto">
            <a:xfrm>
              <a:off x="15136813" y="2662238"/>
              <a:ext cx="754063" cy="750888"/>
            </a:xfrm>
            <a:custGeom>
              <a:avLst/>
              <a:gdLst>
                <a:gd name="T0" fmla="*/ 34 w 188"/>
                <a:gd name="T1" fmla="*/ 188 h 188"/>
                <a:gd name="T2" fmla="*/ 82 w 188"/>
                <a:gd name="T3" fmla="*/ 114 h 188"/>
                <a:gd name="T4" fmla="*/ 126 w 188"/>
                <a:gd name="T5" fmla="*/ 126 h 188"/>
                <a:gd name="T6" fmla="*/ 114 w 188"/>
                <a:gd name="T7" fmla="*/ 82 h 188"/>
                <a:gd name="T8" fmla="*/ 188 w 188"/>
                <a:gd name="T9" fmla="*/ 35 h 188"/>
                <a:gd name="T10" fmla="*/ 173 w 188"/>
                <a:gd name="T11" fmla="*/ 0 h 188"/>
                <a:gd name="T12" fmla="*/ 0 w 188"/>
                <a:gd name="T13" fmla="*/ 174 h 188"/>
                <a:gd name="T14" fmla="*/ 34 w 188"/>
                <a:gd name="T15" fmla="*/ 188 h 188"/>
                <a:gd name="T16" fmla="*/ 34 w 188"/>
                <a:gd name="T17"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88">
                  <a:moveTo>
                    <a:pt x="34" y="188"/>
                  </a:moveTo>
                  <a:cubicBezTo>
                    <a:pt x="47" y="161"/>
                    <a:pt x="63" y="136"/>
                    <a:pt x="82" y="114"/>
                  </a:cubicBezTo>
                  <a:cubicBezTo>
                    <a:pt x="126" y="126"/>
                    <a:pt x="126" y="126"/>
                    <a:pt x="126" y="126"/>
                  </a:cubicBezTo>
                  <a:cubicBezTo>
                    <a:pt x="114" y="82"/>
                    <a:pt x="114" y="82"/>
                    <a:pt x="114" y="82"/>
                  </a:cubicBezTo>
                  <a:cubicBezTo>
                    <a:pt x="136" y="63"/>
                    <a:pt x="161" y="47"/>
                    <a:pt x="188" y="35"/>
                  </a:cubicBezTo>
                  <a:cubicBezTo>
                    <a:pt x="173" y="0"/>
                    <a:pt x="173" y="0"/>
                    <a:pt x="173" y="0"/>
                  </a:cubicBezTo>
                  <a:cubicBezTo>
                    <a:pt x="96" y="35"/>
                    <a:pt x="34" y="97"/>
                    <a:pt x="0" y="174"/>
                  </a:cubicBezTo>
                  <a:cubicBezTo>
                    <a:pt x="34" y="188"/>
                    <a:pt x="34" y="188"/>
                    <a:pt x="34" y="188"/>
                  </a:cubicBezTo>
                  <a:cubicBezTo>
                    <a:pt x="34" y="188"/>
                    <a:pt x="34" y="188"/>
                    <a:pt x="34" y="188"/>
                  </a:cubicBezTo>
                  <a:close/>
                </a:path>
              </a:pathLst>
            </a:custGeom>
            <a:solidFill>
              <a:srgbClr val="0070C0"/>
            </a:solidFill>
            <a:ln w="6350">
              <a:solidFill>
                <a:srgbClr val="0070C0"/>
              </a:solidFill>
            </a:ln>
          </p:spPr>
          <p:txBody>
            <a:bodyPr wrap="square" lIns="0" tIns="0" rIns="0" bIns="0" rtlCol="0"/>
            <a:lstStyle/>
            <a:p>
              <a:endParaRPr lang="zh-CN" altLang="en-US"/>
            </a:p>
          </p:txBody>
        </p:sp>
      </p:grpSp>
      <p:graphicFrame>
        <p:nvGraphicFramePr>
          <p:cNvPr id="8" name="Object 7"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090" name="think-cell Slide" r:id="rId5" imgW="492" imgH="493" progId="TCLayout.ActiveDocument.1">
                  <p:embed/>
                </p:oleObj>
              </mc:Choice>
              <mc:Fallback>
                <p:oleObj name="think-cell Slide" r:id="rId5" imgW="492" imgH="493" progId="TCLayout.ActiveDocument.1">
                  <p:embed/>
                  <p:pic>
                    <p:nvPicPr>
                      <p:cNvPr id="8" name="Object 7"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78" name="object 39">
            <a:extLst>
              <a:ext uri="{FF2B5EF4-FFF2-40B4-BE49-F238E27FC236}">
                <a16:creationId xmlns:a16="http://schemas.microsoft.com/office/drawing/2014/main" id="{E6FDA1C6-2DF4-4DDC-8301-70F8FCA6C4AC}"/>
              </a:ext>
            </a:extLst>
          </p:cNvPr>
          <p:cNvSpPr txBox="1"/>
          <p:nvPr/>
        </p:nvSpPr>
        <p:spPr>
          <a:xfrm>
            <a:off x="925145" y="4517785"/>
            <a:ext cx="2954927" cy="923330"/>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9" name="object 40">
            <a:extLst>
              <a:ext uri="{FF2B5EF4-FFF2-40B4-BE49-F238E27FC236}">
                <a16:creationId xmlns:a16="http://schemas.microsoft.com/office/drawing/2014/main" id="{E8A8B1A6-70E9-44F5-9EA4-161DDE446AF2}"/>
              </a:ext>
            </a:extLst>
          </p:cNvPr>
          <p:cNvSpPr txBox="1"/>
          <p:nvPr/>
        </p:nvSpPr>
        <p:spPr>
          <a:xfrm>
            <a:off x="915464" y="2817059"/>
            <a:ext cx="2807408" cy="1090042"/>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80" name="object 41">
            <a:extLst>
              <a:ext uri="{FF2B5EF4-FFF2-40B4-BE49-F238E27FC236}">
                <a16:creationId xmlns:a16="http://schemas.microsoft.com/office/drawing/2014/main" id="{DA6533EA-E353-48D7-8B32-FA7FDA8244F9}"/>
              </a:ext>
            </a:extLst>
          </p:cNvPr>
          <p:cNvSpPr txBox="1"/>
          <p:nvPr/>
        </p:nvSpPr>
        <p:spPr>
          <a:xfrm>
            <a:off x="917285" y="1555727"/>
            <a:ext cx="3205614" cy="615553"/>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81" name="object 42">
            <a:extLst>
              <a:ext uri="{FF2B5EF4-FFF2-40B4-BE49-F238E27FC236}">
                <a16:creationId xmlns:a16="http://schemas.microsoft.com/office/drawing/2014/main" id="{85E028FA-1922-45E4-B5FF-E4593DE88E75}"/>
              </a:ext>
            </a:extLst>
          </p:cNvPr>
          <p:cNvSpPr txBox="1"/>
          <p:nvPr/>
        </p:nvSpPr>
        <p:spPr>
          <a:xfrm>
            <a:off x="8565635" y="3802554"/>
            <a:ext cx="2642608" cy="544235"/>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p>
        </p:txBody>
      </p:sp>
      <p:sp>
        <p:nvSpPr>
          <p:cNvPr id="82" name="object 47">
            <a:extLst>
              <a:ext uri="{FF2B5EF4-FFF2-40B4-BE49-F238E27FC236}">
                <a16:creationId xmlns:a16="http://schemas.microsoft.com/office/drawing/2014/main" id="{F9306217-0C59-48BE-ABE0-34C9D20673B1}"/>
              </a:ext>
            </a:extLst>
          </p:cNvPr>
          <p:cNvSpPr txBox="1"/>
          <p:nvPr/>
        </p:nvSpPr>
        <p:spPr>
          <a:xfrm>
            <a:off x="8201186" y="1506778"/>
            <a:ext cx="3201850" cy="769441"/>
          </a:xfrm>
          <a:prstGeom prst="rect">
            <a:avLst/>
          </a:prstGeom>
        </p:spPr>
        <p:txBody>
          <a:bodyPr vert="horz" wrap="square" lIns="0" tIns="0" rIns="0" bIns="0" rtlCol="0" anchor="ctr"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2" name="object 26">
            <a:extLst>
              <a:ext uri="{FF2B5EF4-FFF2-40B4-BE49-F238E27FC236}">
                <a16:creationId xmlns:a16="http://schemas.microsoft.com/office/drawing/2014/main" id="{E88F7A0E-7164-4328-8DD1-29D890B57A30}"/>
              </a:ext>
            </a:extLst>
          </p:cNvPr>
          <p:cNvSpPr txBox="1"/>
          <p:nvPr/>
        </p:nvSpPr>
        <p:spPr>
          <a:xfrm>
            <a:off x="4475864" y="4966154"/>
            <a:ext cx="885377" cy="311871"/>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3" name="object 28">
            <a:extLst>
              <a:ext uri="{FF2B5EF4-FFF2-40B4-BE49-F238E27FC236}">
                <a16:creationId xmlns:a16="http://schemas.microsoft.com/office/drawing/2014/main" id="{B1414392-0F26-4712-BE19-9B24F0C800E6}"/>
              </a:ext>
            </a:extLst>
          </p:cNvPr>
          <p:cNvSpPr txBox="1"/>
          <p:nvPr/>
        </p:nvSpPr>
        <p:spPr>
          <a:xfrm>
            <a:off x="3783380" y="3572862"/>
            <a:ext cx="969551" cy="291555"/>
          </a:xfrm>
          <a:prstGeom prst="rect">
            <a:avLst/>
          </a:prstGeom>
        </p:spPr>
        <p:txBody>
          <a:bodyPr vert="horz" wrap="square" lIns="0" tIns="0" rIns="0" bIns="0" rtlCol="0">
            <a:noAutofit/>
          </a:bodyPr>
          <a:lstStyle/>
          <a:p>
            <a:pPr marR="5080" indent="11113" algn="ctr">
              <a:lnSpc>
                <a:spcPct val="108300"/>
              </a:lnSpc>
              <a:spcBef>
                <a:spcPts val="100"/>
              </a:spcBef>
            </a:pPr>
            <a:r>
              <a:rPr lang="en-US" sz="1000" b="1" spc="-40" dirty="0">
                <a:solidFill>
                  <a:srgbClr val="000000"/>
                </a:solidFill>
                <a:cs typeface="Palatino Linotype"/>
              </a:rPr>
              <a:t>Lorem ipsum dolor</a:t>
            </a:r>
          </a:p>
        </p:txBody>
      </p:sp>
      <p:sp>
        <p:nvSpPr>
          <p:cNvPr id="134" name="object 47">
            <a:extLst>
              <a:ext uri="{FF2B5EF4-FFF2-40B4-BE49-F238E27FC236}">
                <a16:creationId xmlns:a16="http://schemas.microsoft.com/office/drawing/2014/main" id="{348742B7-AC70-4093-81D6-EDF9167FEA31}"/>
              </a:ext>
            </a:extLst>
          </p:cNvPr>
          <p:cNvSpPr txBox="1"/>
          <p:nvPr/>
        </p:nvSpPr>
        <p:spPr>
          <a:xfrm>
            <a:off x="8565635" y="2672187"/>
            <a:ext cx="2722599" cy="792872"/>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grpSp>
        <p:nvGrpSpPr>
          <p:cNvPr id="4" name="组合 3"/>
          <p:cNvGrpSpPr/>
          <p:nvPr/>
        </p:nvGrpSpPr>
        <p:grpSpPr>
          <a:xfrm>
            <a:off x="5408122" y="2821260"/>
            <a:ext cx="1376078" cy="1376076"/>
            <a:chOff x="-2923522" y="3888762"/>
            <a:chExt cx="1430033" cy="1430031"/>
          </a:xfrm>
        </p:grpSpPr>
        <p:sp>
          <p:nvSpPr>
            <p:cNvPr id="84" name="object 49">
              <a:extLst>
                <a:ext uri="{FF2B5EF4-FFF2-40B4-BE49-F238E27FC236}">
                  <a16:creationId xmlns:a16="http://schemas.microsoft.com/office/drawing/2014/main" id="{C866B7E5-1C22-4A5A-BF35-9C53DF1E7330}"/>
                </a:ext>
              </a:extLst>
            </p:cNvPr>
            <p:cNvSpPr/>
            <p:nvPr/>
          </p:nvSpPr>
          <p:spPr>
            <a:xfrm>
              <a:off x="-2894724" y="3917559"/>
              <a:ext cx="1372438" cy="1372437"/>
            </a:xfrm>
            <a:custGeom>
              <a:avLst/>
              <a:gdLst/>
              <a:ahLst/>
              <a:cxnLst/>
              <a:rect l="l" t="t" r="r" b="b"/>
              <a:pathLst>
                <a:path w="1532254" h="1532254">
                  <a:moveTo>
                    <a:pt x="765975" y="0"/>
                  </a:moveTo>
                  <a:lnTo>
                    <a:pt x="717533" y="1506"/>
                  </a:lnTo>
                  <a:lnTo>
                    <a:pt x="669892" y="5968"/>
                  </a:lnTo>
                  <a:lnTo>
                    <a:pt x="623142" y="13293"/>
                  </a:lnTo>
                  <a:lnTo>
                    <a:pt x="577371" y="23393"/>
                  </a:lnTo>
                  <a:lnTo>
                    <a:pt x="532671" y="36178"/>
                  </a:lnTo>
                  <a:lnTo>
                    <a:pt x="489130" y="51558"/>
                  </a:lnTo>
                  <a:lnTo>
                    <a:pt x="446838" y="69444"/>
                  </a:lnTo>
                  <a:lnTo>
                    <a:pt x="405886" y="89745"/>
                  </a:lnTo>
                  <a:lnTo>
                    <a:pt x="366362" y="112373"/>
                  </a:lnTo>
                  <a:lnTo>
                    <a:pt x="328356" y="137237"/>
                  </a:lnTo>
                  <a:lnTo>
                    <a:pt x="291959" y="164247"/>
                  </a:lnTo>
                  <a:lnTo>
                    <a:pt x="257260" y="193314"/>
                  </a:lnTo>
                  <a:lnTo>
                    <a:pt x="224348" y="224348"/>
                  </a:lnTo>
                  <a:lnTo>
                    <a:pt x="193314" y="257260"/>
                  </a:lnTo>
                  <a:lnTo>
                    <a:pt x="164247" y="291959"/>
                  </a:lnTo>
                  <a:lnTo>
                    <a:pt x="137237" y="328356"/>
                  </a:lnTo>
                  <a:lnTo>
                    <a:pt x="112373" y="366362"/>
                  </a:lnTo>
                  <a:lnTo>
                    <a:pt x="89745" y="405886"/>
                  </a:lnTo>
                  <a:lnTo>
                    <a:pt x="69444" y="446838"/>
                  </a:lnTo>
                  <a:lnTo>
                    <a:pt x="51558" y="489130"/>
                  </a:lnTo>
                  <a:lnTo>
                    <a:pt x="36178" y="532671"/>
                  </a:lnTo>
                  <a:lnTo>
                    <a:pt x="23393" y="577371"/>
                  </a:lnTo>
                  <a:lnTo>
                    <a:pt x="13293" y="623142"/>
                  </a:lnTo>
                  <a:lnTo>
                    <a:pt x="5968" y="669892"/>
                  </a:lnTo>
                  <a:lnTo>
                    <a:pt x="1506" y="717533"/>
                  </a:lnTo>
                  <a:lnTo>
                    <a:pt x="0" y="765975"/>
                  </a:lnTo>
                  <a:lnTo>
                    <a:pt x="1506" y="814416"/>
                  </a:lnTo>
                  <a:lnTo>
                    <a:pt x="5968" y="862057"/>
                  </a:lnTo>
                  <a:lnTo>
                    <a:pt x="13293" y="908807"/>
                  </a:lnTo>
                  <a:lnTo>
                    <a:pt x="23393" y="954578"/>
                  </a:lnTo>
                  <a:lnTo>
                    <a:pt x="36178" y="999278"/>
                  </a:lnTo>
                  <a:lnTo>
                    <a:pt x="51558" y="1042819"/>
                  </a:lnTo>
                  <a:lnTo>
                    <a:pt x="69444" y="1085111"/>
                  </a:lnTo>
                  <a:lnTo>
                    <a:pt x="89745" y="1126064"/>
                  </a:lnTo>
                  <a:lnTo>
                    <a:pt x="112373" y="1165588"/>
                  </a:lnTo>
                  <a:lnTo>
                    <a:pt x="137237" y="1203593"/>
                  </a:lnTo>
                  <a:lnTo>
                    <a:pt x="164247" y="1239990"/>
                  </a:lnTo>
                  <a:lnTo>
                    <a:pt x="193314" y="1274689"/>
                  </a:lnTo>
                  <a:lnTo>
                    <a:pt x="224348" y="1307601"/>
                  </a:lnTo>
                  <a:lnTo>
                    <a:pt x="257260" y="1338635"/>
                  </a:lnTo>
                  <a:lnTo>
                    <a:pt x="291959" y="1367702"/>
                  </a:lnTo>
                  <a:lnTo>
                    <a:pt x="328356" y="1394713"/>
                  </a:lnTo>
                  <a:lnTo>
                    <a:pt x="366362" y="1419576"/>
                  </a:lnTo>
                  <a:lnTo>
                    <a:pt x="405886" y="1442204"/>
                  </a:lnTo>
                  <a:lnTo>
                    <a:pt x="446838" y="1462505"/>
                  </a:lnTo>
                  <a:lnTo>
                    <a:pt x="489130" y="1480391"/>
                  </a:lnTo>
                  <a:lnTo>
                    <a:pt x="532671" y="1495771"/>
                  </a:lnTo>
                  <a:lnTo>
                    <a:pt x="577371" y="1508556"/>
                  </a:lnTo>
                  <a:lnTo>
                    <a:pt x="623142" y="1518656"/>
                  </a:lnTo>
                  <a:lnTo>
                    <a:pt x="669892" y="1525982"/>
                  </a:lnTo>
                  <a:lnTo>
                    <a:pt x="717533" y="1530443"/>
                  </a:lnTo>
                  <a:lnTo>
                    <a:pt x="765975" y="1531950"/>
                  </a:lnTo>
                  <a:lnTo>
                    <a:pt x="814416" y="1530443"/>
                  </a:lnTo>
                  <a:lnTo>
                    <a:pt x="862057" y="1525982"/>
                  </a:lnTo>
                  <a:lnTo>
                    <a:pt x="908807" y="1518656"/>
                  </a:lnTo>
                  <a:lnTo>
                    <a:pt x="954578" y="1508556"/>
                  </a:lnTo>
                  <a:lnTo>
                    <a:pt x="999278" y="1495771"/>
                  </a:lnTo>
                  <a:lnTo>
                    <a:pt x="1042819" y="1480391"/>
                  </a:lnTo>
                  <a:lnTo>
                    <a:pt x="1085111" y="1462505"/>
                  </a:lnTo>
                  <a:lnTo>
                    <a:pt x="1126064" y="1442204"/>
                  </a:lnTo>
                  <a:lnTo>
                    <a:pt x="1165588" y="1419576"/>
                  </a:lnTo>
                  <a:lnTo>
                    <a:pt x="1203593" y="1394713"/>
                  </a:lnTo>
                  <a:lnTo>
                    <a:pt x="1239990" y="1367702"/>
                  </a:lnTo>
                  <a:lnTo>
                    <a:pt x="1274689" y="1338635"/>
                  </a:lnTo>
                  <a:lnTo>
                    <a:pt x="1307601" y="1307601"/>
                  </a:lnTo>
                  <a:lnTo>
                    <a:pt x="1338635" y="1274689"/>
                  </a:lnTo>
                  <a:lnTo>
                    <a:pt x="1367702" y="1239990"/>
                  </a:lnTo>
                  <a:lnTo>
                    <a:pt x="1394713" y="1203593"/>
                  </a:lnTo>
                  <a:lnTo>
                    <a:pt x="1419576" y="1165588"/>
                  </a:lnTo>
                  <a:lnTo>
                    <a:pt x="1442204" y="1126064"/>
                  </a:lnTo>
                  <a:lnTo>
                    <a:pt x="1462505" y="1085111"/>
                  </a:lnTo>
                  <a:lnTo>
                    <a:pt x="1480391" y="1042819"/>
                  </a:lnTo>
                  <a:lnTo>
                    <a:pt x="1495771" y="999278"/>
                  </a:lnTo>
                  <a:lnTo>
                    <a:pt x="1508556" y="954578"/>
                  </a:lnTo>
                  <a:lnTo>
                    <a:pt x="1518656" y="908807"/>
                  </a:lnTo>
                  <a:lnTo>
                    <a:pt x="1525982" y="862057"/>
                  </a:lnTo>
                  <a:lnTo>
                    <a:pt x="1530443" y="814416"/>
                  </a:lnTo>
                  <a:lnTo>
                    <a:pt x="1531950" y="765975"/>
                  </a:lnTo>
                  <a:lnTo>
                    <a:pt x="1530443" y="717533"/>
                  </a:lnTo>
                  <a:lnTo>
                    <a:pt x="1525982" y="669892"/>
                  </a:lnTo>
                  <a:lnTo>
                    <a:pt x="1518656" y="623142"/>
                  </a:lnTo>
                  <a:lnTo>
                    <a:pt x="1508556" y="577371"/>
                  </a:lnTo>
                  <a:lnTo>
                    <a:pt x="1495771" y="532671"/>
                  </a:lnTo>
                  <a:lnTo>
                    <a:pt x="1480391" y="489130"/>
                  </a:lnTo>
                  <a:lnTo>
                    <a:pt x="1462505" y="446838"/>
                  </a:lnTo>
                  <a:lnTo>
                    <a:pt x="1442204" y="405886"/>
                  </a:lnTo>
                  <a:lnTo>
                    <a:pt x="1419576" y="366362"/>
                  </a:lnTo>
                  <a:lnTo>
                    <a:pt x="1394713" y="328356"/>
                  </a:lnTo>
                  <a:lnTo>
                    <a:pt x="1367702" y="291959"/>
                  </a:lnTo>
                  <a:lnTo>
                    <a:pt x="1338635" y="257260"/>
                  </a:lnTo>
                  <a:lnTo>
                    <a:pt x="1307601" y="224348"/>
                  </a:lnTo>
                  <a:lnTo>
                    <a:pt x="1274689" y="193314"/>
                  </a:lnTo>
                  <a:lnTo>
                    <a:pt x="1239990" y="164247"/>
                  </a:lnTo>
                  <a:lnTo>
                    <a:pt x="1203593" y="137237"/>
                  </a:lnTo>
                  <a:lnTo>
                    <a:pt x="1165588" y="112373"/>
                  </a:lnTo>
                  <a:lnTo>
                    <a:pt x="1126064" y="89745"/>
                  </a:lnTo>
                  <a:lnTo>
                    <a:pt x="1085111" y="69444"/>
                  </a:lnTo>
                  <a:lnTo>
                    <a:pt x="1042819" y="51558"/>
                  </a:lnTo>
                  <a:lnTo>
                    <a:pt x="999278" y="36178"/>
                  </a:lnTo>
                  <a:lnTo>
                    <a:pt x="954578" y="23393"/>
                  </a:lnTo>
                  <a:lnTo>
                    <a:pt x="908807" y="13293"/>
                  </a:lnTo>
                  <a:lnTo>
                    <a:pt x="862057" y="5968"/>
                  </a:lnTo>
                  <a:lnTo>
                    <a:pt x="814416" y="1506"/>
                  </a:lnTo>
                  <a:lnTo>
                    <a:pt x="765975" y="0"/>
                  </a:lnTo>
                  <a:close/>
                </a:path>
              </a:pathLst>
            </a:custGeom>
            <a:solidFill>
              <a:schemeClr val="bg1">
                <a:lumMod val="85000"/>
              </a:schemeClr>
            </a:solidFill>
          </p:spPr>
          <p:txBody>
            <a:bodyPr wrap="square" lIns="0" tIns="0" rIns="0" bIns="0" rtlCol="0"/>
            <a:lstStyle/>
            <a:p>
              <a:endParaRPr/>
            </a:p>
          </p:txBody>
        </p:sp>
        <p:sp>
          <p:nvSpPr>
            <p:cNvPr id="86" name="object 52">
              <a:extLst>
                <a:ext uri="{FF2B5EF4-FFF2-40B4-BE49-F238E27FC236}">
                  <a16:creationId xmlns:a16="http://schemas.microsoft.com/office/drawing/2014/main" id="{91CA42A3-7B3E-4E0B-80F1-951488D6817B}"/>
                </a:ext>
              </a:extLst>
            </p:cNvPr>
            <p:cNvSpPr/>
            <p:nvPr/>
          </p:nvSpPr>
          <p:spPr>
            <a:xfrm>
              <a:off x="-2923522" y="3888762"/>
              <a:ext cx="1430033" cy="1430031"/>
            </a:xfrm>
            <a:custGeom>
              <a:avLst/>
              <a:gdLst/>
              <a:ahLst/>
              <a:cxnLst/>
              <a:rect l="l" t="t" r="r" b="b"/>
              <a:pathLst>
                <a:path w="1532254" h="1532254">
                  <a:moveTo>
                    <a:pt x="765975" y="1531950"/>
                  </a:moveTo>
                  <a:lnTo>
                    <a:pt x="814416" y="1530443"/>
                  </a:lnTo>
                  <a:lnTo>
                    <a:pt x="862057" y="1525982"/>
                  </a:lnTo>
                  <a:lnTo>
                    <a:pt x="908807" y="1518656"/>
                  </a:lnTo>
                  <a:lnTo>
                    <a:pt x="954578" y="1508556"/>
                  </a:lnTo>
                  <a:lnTo>
                    <a:pt x="999278" y="1495771"/>
                  </a:lnTo>
                  <a:lnTo>
                    <a:pt x="1042819" y="1480391"/>
                  </a:lnTo>
                  <a:lnTo>
                    <a:pt x="1085111" y="1462505"/>
                  </a:lnTo>
                  <a:lnTo>
                    <a:pt x="1126064" y="1442204"/>
                  </a:lnTo>
                  <a:lnTo>
                    <a:pt x="1165588" y="1419576"/>
                  </a:lnTo>
                  <a:lnTo>
                    <a:pt x="1203593" y="1394713"/>
                  </a:lnTo>
                  <a:lnTo>
                    <a:pt x="1239990" y="1367702"/>
                  </a:lnTo>
                  <a:lnTo>
                    <a:pt x="1274689" y="1338635"/>
                  </a:lnTo>
                  <a:lnTo>
                    <a:pt x="1307601" y="1307601"/>
                  </a:lnTo>
                  <a:lnTo>
                    <a:pt x="1338635" y="1274689"/>
                  </a:lnTo>
                  <a:lnTo>
                    <a:pt x="1367702" y="1239990"/>
                  </a:lnTo>
                  <a:lnTo>
                    <a:pt x="1394713" y="1203593"/>
                  </a:lnTo>
                  <a:lnTo>
                    <a:pt x="1419576" y="1165588"/>
                  </a:lnTo>
                  <a:lnTo>
                    <a:pt x="1442204" y="1126064"/>
                  </a:lnTo>
                  <a:lnTo>
                    <a:pt x="1462505" y="1085111"/>
                  </a:lnTo>
                  <a:lnTo>
                    <a:pt x="1480391" y="1042819"/>
                  </a:lnTo>
                  <a:lnTo>
                    <a:pt x="1495771" y="999278"/>
                  </a:lnTo>
                  <a:lnTo>
                    <a:pt x="1508556" y="954578"/>
                  </a:lnTo>
                  <a:lnTo>
                    <a:pt x="1518656" y="908807"/>
                  </a:lnTo>
                  <a:lnTo>
                    <a:pt x="1525982" y="862057"/>
                  </a:lnTo>
                  <a:lnTo>
                    <a:pt x="1530443" y="814416"/>
                  </a:lnTo>
                  <a:lnTo>
                    <a:pt x="1531950" y="765975"/>
                  </a:lnTo>
                  <a:lnTo>
                    <a:pt x="1530443" y="717533"/>
                  </a:lnTo>
                  <a:lnTo>
                    <a:pt x="1525982" y="669892"/>
                  </a:lnTo>
                  <a:lnTo>
                    <a:pt x="1518656" y="623142"/>
                  </a:lnTo>
                  <a:lnTo>
                    <a:pt x="1508556" y="577371"/>
                  </a:lnTo>
                  <a:lnTo>
                    <a:pt x="1495771" y="532671"/>
                  </a:lnTo>
                  <a:lnTo>
                    <a:pt x="1480391" y="489130"/>
                  </a:lnTo>
                  <a:lnTo>
                    <a:pt x="1462505" y="446838"/>
                  </a:lnTo>
                  <a:lnTo>
                    <a:pt x="1442204" y="405886"/>
                  </a:lnTo>
                  <a:lnTo>
                    <a:pt x="1419576" y="366362"/>
                  </a:lnTo>
                  <a:lnTo>
                    <a:pt x="1394713" y="328356"/>
                  </a:lnTo>
                  <a:lnTo>
                    <a:pt x="1367702" y="291959"/>
                  </a:lnTo>
                  <a:lnTo>
                    <a:pt x="1338635" y="257260"/>
                  </a:lnTo>
                  <a:lnTo>
                    <a:pt x="1307601" y="224348"/>
                  </a:lnTo>
                  <a:lnTo>
                    <a:pt x="1274689" y="193314"/>
                  </a:lnTo>
                  <a:lnTo>
                    <a:pt x="1239990" y="164247"/>
                  </a:lnTo>
                  <a:lnTo>
                    <a:pt x="1203593" y="137237"/>
                  </a:lnTo>
                  <a:lnTo>
                    <a:pt x="1165588" y="112373"/>
                  </a:lnTo>
                  <a:lnTo>
                    <a:pt x="1126064" y="89745"/>
                  </a:lnTo>
                  <a:lnTo>
                    <a:pt x="1085111" y="69444"/>
                  </a:lnTo>
                  <a:lnTo>
                    <a:pt x="1042819" y="51558"/>
                  </a:lnTo>
                  <a:lnTo>
                    <a:pt x="999278" y="36178"/>
                  </a:lnTo>
                  <a:lnTo>
                    <a:pt x="954578" y="23393"/>
                  </a:lnTo>
                  <a:lnTo>
                    <a:pt x="908807" y="13293"/>
                  </a:lnTo>
                  <a:lnTo>
                    <a:pt x="862057" y="5968"/>
                  </a:lnTo>
                  <a:lnTo>
                    <a:pt x="814416" y="1506"/>
                  </a:lnTo>
                  <a:lnTo>
                    <a:pt x="765975" y="0"/>
                  </a:lnTo>
                  <a:lnTo>
                    <a:pt x="717533" y="1506"/>
                  </a:lnTo>
                  <a:lnTo>
                    <a:pt x="669892" y="5968"/>
                  </a:lnTo>
                  <a:lnTo>
                    <a:pt x="623142" y="13293"/>
                  </a:lnTo>
                  <a:lnTo>
                    <a:pt x="577371" y="23393"/>
                  </a:lnTo>
                  <a:lnTo>
                    <a:pt x="532671" y="36178"/>
                  </a:lnTo>
                  <a:lnTo>
                    <a:pt x="489130" y="51558"/>
                  </a:lnTo>
                  <a:lnTo>
                    <a:pt x="446838" y="69444"/>
                  </a:lnTo>
                  <a:lnTo>
                    <a:pt x="405886" y="89745"/>
                  </a:lnTo>
                  <a:lnTo>
                    <a:pt x="366362" y="112373"/>
                  </a:lnTo>
                  <a:lnTo>
                    <a:pt x="328356" y="137237"/>
                  </a:lnTo>
                  <a:lnTo>
                    <a:pt x="291959" y="164247"/>
                  </a:lnTo>
                  <a:lnTo>
                    <a:pt x="257260" y="193314"/>
                  </a:lnTo>
                  <a:lnTo>
                    <a:pt x="224348" y="224348"/>
                  </a:lnTo>
                  <a:lnTo>
                    <a:pt x="193314" y="257260"/>
                  </a:lnTo>
                  <a:lnTo>
                    <a:pt x="164247" y="291959"/>
                  </a:lnTo>
                  <a:lnTo>
                    <a:pt x="137237" y="328356"/>
                  </a:lnTo>
                  <a:lnTo>
                    <a:pt x="112373" y="366362"/>
                  </a:lnTo>
                  <a:lnTo>
                    <a:pt x="89745" y="405886"/>
                  </a:lnTo>
                  <a:lnTo>
                    <a:pt x="69444" y="446838"/>
                  </a:lnTo>
                  <a:lnTo>
                    <a:pt x="51558" y="489130"/>
                  </a:lnTo>
                  <a:lnTo>
                    <a:pt x="36178" y="532671"/>
                  </a:lnTo>
                  <a:lnTo>
                    <a:pt x="23393" y="577371"/>
                  </a:lnTo>
                  <a:lnTo>
                    <a:pt x="13293" y="623142"/>
                  </a:lnTo>
                  <a:lnTo>
                    <a:pt x="5968" y="669892"/>
                  </a:lnTo>
                  <a:lnTo>
                    <a:pt x="1506" y="717533"/>
                  </a:lnTo>
                  <a:lnTo>
                    <a:pt x="0" y="765975"/>
                  </a:lnTo>
                  <a:lnTo>
                    <a:pt x="1506" y="814416"/>
                  </a:lnTo>
                  <a:lnTo>
                    <a:pt x="5968" y="862057"/>
                  </a:lnTo>
                  <a:lnTo>
                    <a:pt x="13293" y="908807"/>
                  </a:lnTo>
                  <a:lnTo>
                    <a:pt x="23393" y="954578"/>
                  </a:lnTo>
                  <a:lnTo>
                    <a:pt x="36178" y="999278"/>
                  </a:lnTo>
                  <a:lnTo>
                    <a:pt x="51558" y="1042819"/>
                  </a:lnTo>
                  <a:lnTo>
                    <a:pt x="69444" y="1085111"/>
                  </a:lnTo>
                  <a:lnTo>
                    <a:pt x="89745" y="1126064"/>
                  </a:lnTo>
                  <a:lnTo>
                    <a:pt x="112373" y="1165588"/>
                  </a:lnTo>
                  <a:lnTo>
                    <a:pt x="137237" y="1203593"/>
                  </a:lnTo>
                  <a:lnTo>
                    <a:pt x="164247" y="1239990"/>
                  </a:lnTo>
                  <a:lnTo>
                    <a:pt x="193314" y="1274689"/>
                  </a:lnTo>
                  <a:lnTo>
                    <a:pt x="224348" y="1307601"/>
                  </a:lnTo>
                  <a:lnTo>
                    <a:pt x="257260" y="1338635"/>
                  </a:lnTo>
                  <a:lnTo>
                    <a:pt x="291959" y="1367702"/>
                  </a:lnTo>
                  <a:lnTo>
                    <a:pt x="328356" y="1394713"/>
                  </a:lnTo>
                  <a:lnTo>
                    <a:pt x="366362" y="1419576"/>
                  </a:lnTo>
                  <a:lnTo>
                    <a:pt x="405886" y="1442204"/>
                  </a:lnTo>
                  <a:lnTo>
                    <a:pt x="446838" y="1462505"/>
                  </a:lnTo>
                  <a:lnTo>
                    <a:pt x="489130" y="1480391"/>
                  </a:lnTo>
                  <a:lnTo>
                    <a:pt x="532671" y="1495771"/>
                  </a:lnTo>
                  <a:lnTo>
                    <a:pt x="577371" y="1508556"/>
                  </a:lnTo>
                  <a:lnTo>
                    <a:pt x="623142" y="1518656"/>
                  </a:lnTo>
                  <a:lnTo>
                    <a:pt x="669892" y="1525982"/>
                  </a:lnTo>
                  <a:lnTo>
                    <a:pt x="717533" y="1530443"/>
                  </a:lnTo>
                  <a:lnTo>
                    <a:pt x="765975" y="1531950"/>
                  </a:lnTo>
                  <a:close/>
                </a:path>
              </a:pathLst>
            </a:custGeom>
            <a:ln w="12700">
              <a:solidFill>
                <a:schemeClr val="bg1">
                  <a:lumMod val="85000"/>
                </a:schemeClr>
              </a:solidFill>
            </a:ln>
          </p:spPr>
          <p:txBody>
            <a:bodyPr wrap="square" lIns="0" tIns="0" rIns="0" bIns="0" rtlCol="0"/>
            <a:lstStyle/>
            <a:p>
              <a:endParaRPr/>
            </a:p>
          </p:txBody>
        </p:sp>
        <p:grpSp>
          <p:nvGrpSpPr>
            <p:cNvPr id="135" name="Group 134">
              <a:extLst>
                <a:ext uri="{FF2B5EF4-FFF2-40B4-BE49-F238E27FC236}">
                  <a16:creationId xmlns:a16="http://schemas.microsoft.com/office/drawing/2014/main" id="{2F9C83CD-FD3E-4BC5-8F09-188F5E894EDC}"/>
                </a:ext>
              </a:extLst>
            </p:cNvPr>
            <p:cNvGrpSpPr>
              <a:grpSpLocks noChangeAspect="1"/>
            </p:cNvGrpSpPr>
            <p:nvPr/>
          </p:nvGrpSpPr>
          <p:grpSpPr>
            <a:xfrm>
              <a:off x="-2590846" y="4222599"/>
              <a:ext cx="764683" cy="762357"/>
              <a:chOff x="3198813" y="842963"/>
              <a:chExt cx="522288" cy="520700"/>
            </a:xfrm>
            <a:solidFill>
              <a:schemeClr val="bg1">
                <a:lumMod val="65000"/>
              </a:schemeClr>
            </a:solidFill>
          </p:grpSpPr>
          <p:sp>
            <p:nvSpPr>
              <p:cNvPr id="136" name="Freeform 13">
                <a:extLst>
                  <a:ext uri="{FF2B5EF4-FFF2-40B4-BE49-F238E27FC236}">
                    <a16:creationId xmlns:a16="http://schemas.microsoft.com/office/drawing/2014/main" id="{EA174E26-BEC5-4C8F-BEAA-4A228860BEA3}"/>
                  </a:ext>
                </a:extLst>
              </p:cNvPr>
              <p:cNvSpPr>
                <a:spLocks noEditPoints="1"/>
              </p:cNvSpPr>
              <p:nvPr/>
            </p:nvSpPr>
            <p:spPr bwMode="auto">
              <a:xfrm>
                <a:off x="3198813" y="842963"/>
                <a:ext cx="522288" cy="520700"/>
              </a:xfrm>
              <a:custGeom>
                <a:avLst/>
                <a:gdLst>
                  <a:gd name="T0" fmla="*/ 312 w 659"/>
                  <a:gd name="T1" fmla="*/ 657 h 657"/>
                  <a:gd name="T2" fmla="*/ 262 w 659"/>
                  <a:gd name="T3" fmla="*/ 650 h 657"/>
                  <a:gd name="T4" fmla="*/ 202 w 659"/>
                  <a:gd name="T5" fmla="*/ 631 h 657"/>
                  <a:gd name="T6" fmla="*/ 120 w 659"/>
                  <a:gd name="T7" fmla="*/ 581 h 657"/>
                  <a:gd name="T8" fmla="*/ 57 w 659"/>
                  <a:gd name="T9" fmla="*/ 511 h 657"/>
                  <a:gd name="T10" fmla="*/ 15 w 659"/>
                  <a:gd name="T11" fmla="*/ 425 h 657"/>
                  <a:gd name="T12" fmla="*/ 5 w 659"/>
                  <a:gd name="T13" fmla="*/ 377 h 657"/>
                  <a:gd name="T14" fmla="*/ 0 w 659"/>
                  <a:gd name="T15" fmla="*/ 327 h 657"/>
                  <a:gd name="T16" fmla="*/ 2 w 659"/>
                  <a:gd name="T17" fmla="*/ 294 h 657"/>
                  <a:gd name="T18" fmla="*/ 11 w 659"/>
                  <a:gd name="T19" fmla="*/ 245 h 657"/>
                  <a:gd name="T20" fmla="*/ 41 w 659"/>
                  <a:gd name="T21" fmla="*/ 172 h 657"/>
                  <a:gd name="T22" fmla="*/ 97 w 659"/>
                  <a:gd name="T23" fmla="*/ 95 h 657"/>
                  <a:gd name="T24" fmla="*/ 172 w 659"/>
                  <a:gd name="T25" fmla="*/ 38 h 657"/>
                  <a:gd name="T26" fmla="*/ 248 w 659"/>
                  <a:gd name="T27" fmla="*/ 9 h 657"/>
                  <a:gd name="T28" fmla="*/ 296 w 659"/>
                  <a:gd name="T29" fmla="*/ 1 h 657"/>
                  <a:gd name="T30" fmla="*/ 330 w 659"/>
                  <a:gd name="T31" fmla="*/ 0 h 657"/>
                  <a:gd name="T32" fmla="*/ 379 w 659"/>
                  <a:gd name="T33" fmla="*/ 2 h 657"/>
                  <a:gd name="T34" fmla="*/ 426 w 659"/>
                  <a:gd name="T35" fmla="*/ 14 h 657"/>
                  <a:gd name="T36" fmla="*/ 514 w 659"/>
                  <a:gd name="T37" fmla="*/ 55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5 h 657"/>
                  <a:gd name="T52" fmla="*/ 583 w 659"/>
                  <a:gd name="T53" fmla="*/ 537 h 657"/>
                  <a:gd name="T54" fmla="*/ 514 w 659"/>
                  <a:gd name="T55" fmla="*/ 600 h 657"/>
                  <a:gd name="T56" fmla="*/ 426 w 659"/>
                  <a:gd name="T57" fmla="*/ 642 h 657"/>
                  <a:gd name="T58" fmla="*/ 379 w 659"/>
                  <a:gd name="T59" fmla="*/ 653 h 657"/>
                  <a:gd name="T60" fmla="*/ 330 w 659"/>
                  <a:gd name="T61" fmla="*/ 657 h 657"/>
                  <a:gd name="T62" fmla="*/ 330 w 659"/>
                  <a:gd name="T63" fmla="*/ 37 h 657"/>
                  <a:gd name="T64" fmla="*/ 242 w 659"/>
                  <a:gd name="T65" fmla="*/ 49 h 657"/>
                  <a:gd name="T66" fmla="*/ 167 w 659"/>
                  <a:gd name="T67" fmla="*/ 87 h 657"/>
                  <a:gd name="T68" fmla="*/ 105 w 659"/>
                  <a:gd name="T69" fmla="*/ 142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69 h 657"/>
                  <a:gd name="T82" fmla="*/ 242 w 659"/>
                  <a:gd name="T83" fmla="*/ 605 h 657"/>
                  <a:gd name="T84" fmla="*/ 330 w 659"/>
                  <a:gd name="T85" fmla="*/ 619 h 657"/>
                  <a:gd name="T86" fmla="*/ 387 w 659"/>
                  <a:gd name="T87" fmla="*/ 614 h 657"/>
                  <a:gd name="T88" fmla="*/ 468 w 659"/>
                  <a:gd name="T89" fmla="*/ 584 h 657"/>
                  <a:gd name="T90" fmla="*/ 535 w 659"/>
                  <a:gd name="T91" fmla="*/ 533 h 657"/>
                  <a:gd name="T92" fmla="*/ 585 w 659"/>
                  <a:gd name="T93" fmla="*/ 467 h 657"/>
                  <a:gd name="T94" fmla="*/ 614 w 659"/>
                  <a:gd name="T95" fmla="*/ 386 h 657"/>
                  <a:gd name="T96" fmla="*/ 621 w 659"/>
                  <a:gd name="T97" fmla="*/ 327 h 657"/>
                  <a:gd name="T98" fmla="*/ 608 w 659"/>
                  <a:gd name="T99" fmla="*/ 241 h 657"/>
                  <a:gd name="T100" fmla="*/ 570 w 659"/>
                  <a:gd name="T101" fmla="*/ 165 h 657"/>
                  <a:gd name="T102" fmla="*/ 515 w 659"/>
                  <a:gd name="T103" fmla="*/ 103 h 657"/>
                  <a:gd name="T104" fmla="*/ 442 w 659"/>
                  <a:gd name="T105" fmla="*/ 60 h 657"/>
                  <a:gd name="T106" fmla="*/ 359 w 659"/>
                  <a:gd name="T107" fmla="*/ 38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5"/>
                    </a:lnTo>
                    <a:lnTo>
                      <a:pt x="280" y="653"/>
                    </a:lnTo>
                    <a:lnTo>
                      <a:pt x="262" y="650"/>
                    </a:lnTo>
                    <a:lnTo>
                      <a:pt x="248" y="646"/>
                    </a:lnTo>
                    <a:lnTo>
                      <a:pt x="232" y="642"/>
                    </a:lnTo>
                    <a:lnTo>
                      <a:pt x="202" y="631"/>
                    </a:lnTo>
                    <a:lnTo>
                      <a:pt x="172" y="616"/>
                    </a:lnTo>
                    <a:lnTo>
                      <a:pt x="146" y="600"/>
                    </a:lnTo>
                    <a:lnTo>
                      <a:pt x="120" y="581"/>
                    </a:lnTo>
                    <a:lnTo>
                      <a:pt x="97" y="560"/>
                    </a:lnTo>
                    <a:lnTo>
                      <a:pt x="76" y="537"/>
                    </a:lnTo>
                    <a:lnTo>
                      <a:pt x="57" y="511"/>
                    </a:lnTo>
                    <a:lnTo>
                      <a:pt x="41" y="485"/>
                    </a:lnTo>
                    <a:lnTo>
                      <a:pt x="26" y="455"/>
                    </a:lnTo>
                    <a:lnTo>
                      <a:pt x="15" y="425"/>
                    </a:lnTo>
                    <a:lnTo>
                      <a:pt x="11" y="409"/>
                    </a:lnTo>
                    <a:lnTo>
                      <a:pt x="7" y="395"/>
                    </a:lnTo>
                    <a:lnTo>
                      <a:pt x="5" y="377"/>
                    </a:lnTo>
                    <a:lnTo>
                      <a:pt x="2" y="361"/>
                    </a:lnTo>
                    <a:lnTo>
                      <a:pt x="0" y="345"/>
                    </a:lnTo>
                    <a:lnTo>
                      <a:pt x="0" y="327"/>
                    </a:lnTo>
                    <a:lnTo>
                      <a:pt x="0" y="327"/>
                    </a:lnTo>
                    <a:lnTo>
                      <a:pt x="0" y="311"/>
                    </a:lnTo>
                    <a:lnTo>
                      <a:pt x="2" y="294"/>
                    </a:lnTo>
                    <a:lnTo>
                      <a:pt x="5" y="278"/>
                    </a:lnTo>
                    <a:lnTo>
                      <a:pt x="7" y="262"/>
                    </a:lnTo>
                    <a:lnTo>
                      <a:pt x="11" y="245"/>
                    </a:lnTo>
                    <a:lnTo>
                      <a:pt x="15" y="231"/>
                    </a:lnTo>
                    <a:lnTo>
                      <a:pt x="26" y="200"/>
                    </a:lnTo>
                    <a:lnTo>
                      <a:pt x="41" y="172"/>
                    </a:lnTo>
                    <a:lnTo>
                      <a:pt x="57" y="145"/>
                    </a:lnTo>
                    <a:lnTo>
                      <a:pt x="76" y="119"/>
                    </a:lnTo>
                    <a:lnTo>
                      <a:pt x="97" y="95"/>
                    </a:lnTo>
                    <a:lnTo>
                      <a:pt x="120" y="73"/>
                    </a:lnTo>
                    <a:lnTo>
                      <a:pt x="146" y="55"/>
                    </a:lnTo>
                    <a:lnTo>
                      <a:pt x="172" y="38"/>
                    </a:lnTo>
                    <a:lnTo>
                      <a:pt x="202" y="25"/>
                    </a:lnTo>
                    <a:lnTo>
                      <a:pt x="232" y="14"/>
                    </a:lnTo>
                    <a:lnTo>
                      <a:pt x="248" y="9"/>
                    </a:lnTo>
                    <a:lnTo>
                      <a:pt x="262" y="5"/>
                    </a:lnTo>
                    <a:lnTo>
                      <a:pt x="280" y="2"/>
                    </a:lnTo>
                    <a:lnTo>
                      <a:pt x="296" y="1"/>
                    </a:lnTo>
                    <a:lnTo>
                      <a:pt x="312" y="0"/>
                    </a:lnTo>
                    <a:lnTo>
                      <a:pt x="330" y="0"/>
                    </a:lnTo>
                    <a:lnTo>
                      <a:pt x="330" y="0"/>
                    </a:lnTo>
                    <a:lnTo>
                      <a:pt x="346" y="0"/>
                    </a:lnTo>
                    <a:lnTo>
                      <a:pt x="363" y="1"/>
                    </a:lnTo>
                    <a:lnTo>
                      <a:pt x="379" y="2"/>
                    </a:lnTo>
                    <a:lnTo>
                      <a:pt x="395" y="5"/>
                    </a:lnTo>
                    <a:lnTo>
                      <a:pt x="412" y="9"/>
                    </a:lnTo>
                    <a:lnTo>
                      <a:pt x="426" y="14"/>
                    </a:lnTo>
                    <a:lnTo>
                      <a:pt x="457" y="25"/>
                    </a:lnTo>
                    <a:lnTo>
                      <a:pt x="485" y="38"/>
                    </a:lnTo>
                    <a:lnTo>
                      <a:pt x="514" y="55"/>
                    </a:lnTo>
                    <a:lnTo>
                      <a:pt x="538" y="73"/>
                    </a:lnTo>
                    <a:lnTo>
                      <a:pt x="562" y="95"/>
                    </a:lnTo>
                    <a:lnTo>
                      <a:pt x="583" y="119"/>
                    </a:lnTo>
                    <a:lnTo>
                      <a:pt x="602" y="145"/>
                    </a:lnTo>
                    <a:lnTo>
                      <a:pt x="618" y="172"/>
                    </a:lnTo>
                    <a:lnTo>
                      <a:pt x="632" y="200"/>
                    </a:lnTo>
                    <a:lnTo>
                      <a:pt x="644" y="231"/>
                    </a:lnTo>
                    <a:lnTo>
                      <a:pt x="648" y="245"/>
                    </a:lnTo>
                    <a:lnTo>
                      <a:pt x="652" y="262"/>
                    </a:lnTo>
                    <a:lnTo>
                      <a:pt x="655" y="278"/>
                    </a:lnTo>
                    <a:lnTo>
                      <a:pt x="656" y="294"/>
                    </a:lnTo>
                    <a:lnTo>
                      <a:pt x="657" y="311"/>
                    </a:lnTo>
                    <a:lnTo>
                      <a:pt x="659" y="327"/>
                    </a:lnTo>
                    <a:lnTo>
                      <a:pt x="659" y="327"/>
                    </a:lnTo>
                    <a:lnTo>
                      <a:pt x="657" y="345"/>
                    </a:lnTo>
                    <a:lnTo>
                      <a:pt x="656" y="361"/>
                    </a:lnTo>
                    <a:lnTo>
                      <a:pt x="655" y="377"/>
                    </a:lnTo>
                    <a:lnTo>
                      <a:pt x="652" y="395"/>
                    </a:lnTo>
                    <a:lnTo>
                      <a:pt x="648" y="409"/>
                    </a:lnTo>
                    <a:lnTo>
                      <a:pt x="644" y="425"/>
                    </a:lnTo>
                    <a:lnTo>
                      <a:pt x="632" y="455"/>
                    </a:lnTo>
                    <a:lnTo>
                      <a:pt x="618" y="485"/>
                    </a:lnTo>
                    <a:lnTo>
                      <a:pt x="602" y="511"/>
                    </a:lnTo>
                    <a:lnTo>
                      <a:pt x="583" y="537"/>
                    </a:lnTo>
                    <a:lnTo>
                      <a:pt x="562" y="560"/>
                    </a:lnTo>
                    <a:lnTo>
                      <a:pt x="538" y="581"/>
                    </a:lnTo>
                    <a:lnTo>
                      <a:pt x="514" y="600"/>
                    </a:lnTo>
                    <a:lnTo>
                      <a:pt x="485" y="616"/>
                    </a:lnTo>
                    <a:lnTo>
                      <a:pt x="457" y="631"/>
                    </a:lnTo>
                    <a:lnTo>
                      <a:pt x="426" y="642"/>
                    </a:lnTo>
                    <a:lnTo>
                      <a:pt x="412" y="646"/>
                    </a:lnTo>
                    <a:lnTo>
                      <a:pt x="395" y="650"/>
                    </a:lnTo>
                    <a:lnTo>
                      <a:pt x="379" y="653"/>
                    </a:lnTo>
                    <a:lnTo>
                      <a:pt x="363" y="655"/>
                    </a:lnTo>
                    <a:lnTo>
                      <a:pt x="346" y="657"/>
                    </a:lnTo>
                    <a:lnTo>
                      <a:pt x="330" y="657"/>
                    </a:lnTo>
                    <a:lnTo>
                      <a:pt x="330" y="657"/>
                    </a:lnTo>
                    <a:close/>
                    <a:moveTo>
                      <a:pt x="330" y="37"/>
                    </a:moveTo>
                    <a:lnTo>
                      <a:pt x="330" y="37"/>
                    </a:lnTo>
                    <a:lnTo>
                      <a:pt x="300" y="38"/>
                    </a:lnTo>
                    <a:lnTo>
                      <a:pt x="270" y="43"/>
                    </a:lnTo>
                    <a:lnTo>
                      <a:pt x="242" y="49"/>
                    </a:lnTo>
                    <a:lnTo>
                      <a:pt x="215" y="60"/>
                    </a:lnTo>
                    <a:lnTo>
                      <a:pt x="191" y="72"/>
                    </a:lnTo>
                    <a:lnTo>
                      <a:pt x="167" y="87"/>
                    </a:lnTo>
                    <a:lnTo>
                      <a:pt x="144" y="103"/>
                    </a:lnTo>
                    <a:lnTo>
                      <a:pt x="124" y="122"/>
                    </a:lnTo>
                    <a:lnTo>
                      <a:pt x="105" y="142"/>
                    </a:lnTo>
                    <a:lnTo>
                      <a:pt x="88" y="165"/>
                    </a:lnTo>
                    <a:lnTo>
                      <a:pt x="73" y="189"/>
                    </a:lnTo>
                    <a:lnTo>
                      <a:pt x="61" y="215"/>
                    </a:lnTo>
                    <a:lnTo>
                      <a:pt x="52" y="241"/>
                    </a:lnTo>
                    <a:lnTo>
                      <a:pt x="43" y="270"/>
                    </a:lnTo>
                    <a:lnTo>
                      <a:pt x="39" y="298"/>
                    </a:lnTo>
                    <a:lnTo>
                      <a:pt x="38" y="327"/>
                    </a:lnTo>
                    <a:lnTo>
                      <a:pt x="38" y="327"/>
                    </a:lnTo>
                    <a:lnTo>
                      <a:pt x="39" y="357"/>
                    </a:lnTo>
                    <a:lnTo>
                      <a:pt x="43" y="386"/>
                    </a:lnTo>
                    <a:lnTo>
                      <a:pt x="52" y="415"/>
                    </a:lnTo>
                    <a:lnTo>
                      <a:pt x="61" y="442"/>
                    </a:lnTo>
                    <a:lnTo>
                      <a:pt x="73" y="467"/>
                    </a:lnTo>
                    <a:lnTo>
                      <a:pt x="88" y="490"/>
                    </a:lnTo>
                    <a:lnTo>
                      <a:pt x="105" y="513"/>
                    </a:lnTo>
                    <a:lnTo>
                      <a:pt x="124" y="533"/>
                    </a:lnTo>
                    <a:lnTo>
                      <a:pt x="144" y="552"/>
                    </a:lnTo>
                    <a:lnTo>
                      <a:pt x="167" y="569"/>
                    </a:lnTo>
                    <a:lnTo>
                      <a:pt x="191" y="584"/>
                    </a:lnTo>
                    <a:lnTo>
                      <a:pt x="215" y="596"/>
                    </a:lnTo>
                    <a:lnTo>
                      <a:pt x="242" y="605"/>
                    </a:lnTo>
                    <a:lnTo>
                      <a:pt x="270" y="614"/>
                    </a:lnTo>
                    <a:lnTo>
                      <a:pt x="300" y="618"/>
                    </a:lnTo>
                    <a:lnTo>
                      <a:pt x="330" y="619"/>
                    </a:lnTo>
                    <a:lnTo>
                      <a:pt x="330" y="619"/>
                    </a:lnTo>
                    <a:lnTo>
                      <a:pt x="359" y="618"/>
                    </a:lnTo>
                    <a:lnTo>
                      <a:pt x="387" y="614"/>
                    </a:lnTo>
                    <a:lnTo>
                      <a:pt x="416" y="605"/>
                    </a:lnTo>
                    <a:lnTo>
                      <a:pt x="442" y="596"/>
                    </a:lnTo>
                    <a:lnTo>
                      <a:pt x="468" y="584"/>
                    </a:lnTo>
                    <a:lnTo>
                      <a:pt x="492" y="569"/>
                    </a:lnTo>
                    <a:lnTo>
                      <a:pt x="515" y="552"/>
                    </a:lnTo>
                    <a:lnTo>
                      <a:pt x="535" y="533"/>
                    </a:lnTo>
                    <a:lnTo>
                      <a:pt x="554" y="513"/>
                    </a:lnTo>
                    <a:lnTo>
                      <a:pt x="570" y="490"/>
                    </a:lnTo>
                    <a:lnTo>
                      <a:pt x="585" y="467"/>
                    </a:lnTo>
                    <a:lnTo>
                      <a:pt x="597" y="442"/>
                    </a:lnTo>
                    <a:lnTo>
                      <a:pt x="608" y="415"/>
                    </a:lnTo>
                    <a:lnTo>
                      <a:pt x="614" y="386"/>
                    </a:lnTo>
                    <a:lnTo>
                      <a:pt x="618" y="357"/>
                    </a:lnTo>
                    <a:lnTo>
                      <a:pt x="621" y="327"/>
                    </a:lnTo>
                    <a:lnTo>
                      <a:pt x="621" y="327"/>
                    </a:lnTo>
                    <a:lnTo>
                      <a:pt x="618" y="298"/>
                    </a:lnTo>
                    <a:lnTo>
                      <a:pt x="614" y="270"/>
                    </a:lnTo>
                    <a:lnTo>
                      <a:pt x="608" y="241"/>
                    </a:lnTo>
                    <a:lnTo>
                      <a:pt x="597" y="215"/>
                    </a:lnTo>
                    <a:lnTo>
                      <a:pt x="585" y="189"/>
                    </a:lnTo>
                    <a:lnTo>
                      <a:pt x="570" y="165"/>
                    </a:lnTo>
                    <a:lnTo>
                      <a:pt x="554" y="142"/>
                    </a:lnTo>
                    <a:lnTo>
                      <a:pt x="535" y="122"/>
                    </a:lnTo>
                    <a:lnTo>
                      <a:pt x="515" y="103"/>
                    </a:lnTo>
                    <a:lnTo>
                      <a:pt x="492" y="87"/>
                    </a:lnTo>
                    <a:lnTo>
                      <a:pt x="468" y="72"/>
                    </a:lnTo>
                    <a:lnTo>
                      <a:pt x="442" y="60"/>
                    </a:lnTo>
                    <a:lnTo>
                      <a:pt x="416" y="49"/>
                    </a:lnTo>
                    <a:lnTo>
                      <a:pt x="387" y="43"/>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46">
                <a:extLst>
                  <a:ext uri="{FF2B5EF4-FFF2-40B4-BE49-F238E27FC236}">
                    <a16:creationId xmlns:a16="http://schemas.microsoft.com/office/drawing/2014/main" id="{9CE1746A-112C-429F-A352-D432ECCED1A4}"/>
                  </a:ext>
                </a:extLst>
              </p:cNvPr>
              <p:cNvSpPr>
                <a:spLocks noEditPoints="1"/>
              </p:cNvSpPr>
              <p:nvPr/>
            </p:nvSpPr>
            <p:spPr bwMode="auto">
              <a:xfrm>
                <a:off x="3351213" y="1004888"/>
                <a:ext cx="225425" cy="225425"/>
              </a:xfrm>
              <a:custGeom>
                <a:avLst/>
                <a:gdLst>
                  <a:gd name="T0" fmla="*/ 234 w 282"/>
                  <a:gd name="T1" fmla="*/ 20 h 283"/>
                  <a:gd name="T2" fmla="*/ 234 w 282"/>
                  <a:gd name="T3" fmla="*/ 5 h 283"/>
                  <a:gd name="T4" fmla="*/ 228 w 282"/>
                  <a:gd name="T5" fmla="*/ 0 h 283"/>
                  <a:gd name="T6" fmla="*/ 54 w 282"/>
                  <a:gd name="T7" fmla="*/ 0 h 283"/>
                  <a:gd name="T8" fmla="*/ 48 w 282"/>
                  <a:gd name="T9" fmla="*/ 5 h 283"/>
                  <a:gd name="T10" fmla="*/ 4 w 282"/>
                  <a:gd name="T11" fmla="*/ 20 h 283"/>
                  <a:gd name="T12" fmla="*/ 1 w 282"/>
                  <a:gd name="T13" fmla="*/ 21 h 283"/>
                  <a:gd name="T14" fmla="*/ 0 w 282"/>
                  <a:gd name="T15" fmla="*/ 74 h 283"/>
                  <a:gd name="T16" fmla="*/ 0 w 282"/>
                  <a:gd name="T17" fmla="*/ 84 h 283"/>
                  <a:gd name="T18" fmla="*/ 8 w 282"/>
                  <a:gd name="T19" fmla="*/ 105 h 283"/>
                  <a:gd name="T20" fmla="*/ 23 w 282"/>
                  <a:gd name="T21" fmla="*/ 119 h 283"/>
                  <a:gd name="T22" fmla="*/ 42 w 282"/>
                  <a:gd name="T23" fmla="*/ 130 h 283"/>
                  <a:gd name="T24" fmla="*/ 52 w 282"/>
                  <a:gd name="T25" fmla="*/ 131 h 283"/>
                  <a:gd name="T26" fmla="*/ 64 w 282"/>
                  <a:gd name="T27" fmla="*/ 154 h 283"/>
                  <a:gd name="T28" fmla="*/ 81 w 282"/>
                  <a:gd name="T29" fmla="*/ 173 h 283"/>
                  <a:gd name="T30" fmla="*/ 102 w 282"/>
                  <a:gd name="T31" fmla="*/ 187 h 283"/>
                  <a:gd name="T32" fmla="*/ 126 w 282"/>
                  <a:gd name="T33" fmla="*/ 193 h 283"/>
                  <a:gd name="T34" fmla="*/ 125 w 282"/>
                  <a:gd name="T35" fmla="*/ 203 h 283"/>
                  <a:gd name="T36" fmla="*/ 117 w 282"/>
                  <a:gd name="T37" fmla="*/ 225 h 283"/>
                  <a:gd name="T38" fmla="*/ 107 w 282"/>
                  <a:gd name="T39" fmla="*/ 239 h 283"/>
                  <a:gd name="T40" fmla="*/ 72 w 282"/>
                  <a:gd name="T41" fmla="*/ 239 h 283"/>
                  <a:gd name="T42" fmla="*/ 67 w 282"/>
                  <a:gd name="T43" fmla="*/ 244 h 283"/>
                  <a:gd name="T44" fmla="*/ 67 w 282"/>
                  <a:gd name="T45" fmla="*/ 278 h 283"/>
                  <a:gd name="T46" fmla="*/ 72 w 282"/>
                  <a:gd name="T47" fmla="*/ 283 h 283"/>
                  <a:gd name="T48" fmla="*/ 209 w 282"/>
                  <a:gd name="T49" fmla="*/ 283 h 283"/>
                  <a:gd name="T50" fmla="*/ 214 w 282"/>
                  <a:gd name="T51" fmla="*/ 278 h 283"/>
                  <a:gd name="T52" fmla="*/ 214 w 282"/>
                  <a:gd name="T53" fmla="*/ 244 h 283"/>
                  <a:gd name="T54" fmla="*/ 209 w 282"/>
                  <a:gd name="T55" fmla="*/ 239 h 283"/>
                  <a:gd name="T56" fmla="*/ 175 w 282"/>
                  <a:gd name="T57" fmla="*/ 239 h 283"/>
                  <a:gd name="T58" fmla="*/ 165 w 282"/>
                  <a:gd name="T59" fmla="*/ 225 h 283"/>
                  <a:gd name="T60" fmla="*/ 156 w 282"/>
                  <a:gd name="T61" fmla="*/ 203 h 283"/>
                  <a:gd name="T62" fmla="*/ 156 w 282"/>
                  <a:gd name="T63" fmla="*/ 193 h 283"/>
                  <a:gd name="T64" fmla="*/ 180 w 282"/>
                  <a:gd name="T65" fmla="*/ 187 h 283"/>
                  <a:gd name="T66" fmla="*/ 201 w 282"/>
                  <a:gd name="T67" fmla="*/ 173 h 283"/>
                  <a:gd name="T68" fmla="*/ 218 w 282"/>
                  <a:gd name="T69" fmla="*/ 154 h 283"/>
                  <a:gd name="T70" fmla="*/ 228 w 282"/>
                  <a:gd name="T71" fmla="*/ 131 h 283"/>
                  <a:gd name="T72" fmla="*/ 239 w 282"/>
                  <a:gd name="T73" fmla="*/ 130 h 283"/>
                  <a:gd name="T74" fmla="*/ 258 w 282"/>
                  <a:gd name="T75" fmla="*/ 119 h 283"/>
                  <a:gd name="T76" fmla="*/ 273 w 282"/>
                  <a:gd name="T77" fmla="*/ 105 h 283"/>
                  <a:gd name="T78" fmla="*/ 281 w 282"/>
                  <a:gd name="T79" fmla="*/ 84 h 283"/>
                  <a:gd name="T80" fmla="*/ 282 w 282"/>
                  <a:gd name="T81" fmla="*/ 24 h 283"/>
                  <a:gd name="T82" fmla="*/ 281 w 282"/>
                  <a:gd name="T83" fmla="*/ 21 h 283"/>
                  <a:gd name="T84" fmla="*/ 277 w 282"/>
                  <a:gd name="T85" fmla="*/ 20 h 283"/>
                  <a:gd name="T86" fmla="*/ 9 w 282"/>
                  <a:gd name="T87" fmla="*/ 29 h 283"/>
                  <a:gd name="T88" fmla="*/ 48 w 282"/>
                  <a:gd name="T89" fmla="*/ 102 h 283"/>
                  <a:gd name="T90" fmla="*/ 48 w 282"/>
                  <a:gd name="T91" fmla="*/ 113 h 283"/>
                  <a:gd name="T92" fmla="*/ 50 w 282"/>
                  <a:gd name="T93" fmla="*/ 121 h 283"/>
                  <a:gd name="T94" fmla="*/ 34 w 282"/>
                  <a:gd name="T95" fmla="*/ 115 h 283"/>
                  <a:gd name="T96" fmla="*/ 21 w 282"/>
                  <a:gd name="T97" fmla="*/ 105 h 283"/>
                  <a:gd name="T98" fmla="*/ 12 w 282"/>
                  <a:gd name="T99" fmla="*/ 90 h 283"/>
                  <a:gd name="T100" fmla="*/ 9 w 282"/>
                  <a:gd name="T101" fmla="*/ 74 h 283"/>
                  <a:gd name="T102" fmla="*/ 273 w 282"/>
                  <a:gd name="T103" fmla="*/ 74 h 283"/>
                  <a:gd name="T104" fmla="*/ 271 w 282"/>
                  <a:gd name="T105" fmla="*/ 82 h 283"/>
                  <a:gd name="T106" fmla="*/ 266 w 282"/>
                  <a:gd name="T107" fmla="*/ 98 h 283"/>
                  <a:gd name="T108" fmla="*/ 254 w 282"/>
                  <a:gd name="T109" fmla="*/ 111 h 283"/>
                  <a:gd name="T110" fmla="*/ 239 w 282"/>
                  <a:gd name="T111" fmla="*/ 119 h 283"/>
                  <a:gd name="T112" fmla="*/ 231 w 282"/>
                  <a:gd name="T113" fmla="*/ 121 h 283"/>
                  <a:gd name="T114" fmla="*/ 234 w 282"/>
                  <a:gd name="T115" fmla="*/ 102 h 283"/>
                  <a:gd name="T116" fmla="*/ 273 w 282"/>
                  <a:gd name="T117" fmla="*/ 2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2" h="283">
                    <a:moveTo>
                      <a:pt x="277" y="20"/>
                    </a:moveTo>
                    <a:lnTo>
                      <a:pt x="234" y="20"/>
                    </a:lnTo>
                    <a:lnTo>
                      <a:pt x="234" y="5"/>
                    </a:lnTo>
                    <a:lnTo>
                      <a:pt x="234" y="5"/>
                    </a:lnTo>
                    <a:lnTo>
                      <a:pt x="232" y="1"/>
                    </a:lnTo>
                    <a:lnTo>
                      <a:pt x="228" y="0"/>
                    </a:lnTo>
                    <a:lnTo>
                      <a:pt x="54" y="0"/>
                    </a:lnTo>
                    <a:lnTo>
                      <a:pt x="54" y="0"/>
                    </a:lnTo>
                    <a:lnTo>
                      <a:pt x="50" y="1"/>
                    </a:lnTo>
                    <a:lnTo>
                      <a:pt x="48" y="5"/>
                    </a:lnTo>
                    <a:lnTo>
                      <a:pt x="48" y="20"/>
                    </a:lnTo>
                    <a:lnTo>
                      <a:pt x="4" y="20"/>
                    </a:lnTo>
                    <a:lnTo>
                      <a:pt x="4" y="20"/>
                    </a:lnTo>
                    <a:lnTo>
                      <a:pt x="1" y="21"/>
                    </a:lnTo>
                    <a:lnTo>
                      <a:pt x="0" y="24"/>
                    </a:lnTo>
                    <a:lnTo>
                      <a:pt x="0" y="74"/>
                    </a:lnTo>
                    <a:lnTo>
                      <a:pt x="0" y="74"/>
                    </a:lnTo>
                    <a:lnTo>
                      <a:pt x="0" y="84"/>
                    </a:lnTo>
                    <a:lnTo>
                      <a:pt x="4" y="95"/>
                    </a:lnTo>
                    <a:lnTo>
                      <a:pt x="8" y="105"/>
                    </a:lnTo>
                    <a:lnTo>
                      <a:pt x="15" y="113"/>
                    </a:lnTo>
                    <a:lnTo>
                      <a:pt x="23" y="119"/>
                    </a:lnTo>
                    <a:lnTo>
                      <a:pt x="32" y="126"/>
                    </a:lnTo>
                    <a:lnTo>
                      <a:pt x="42" y="130"/>
                    </a:lnTo>
                    <a:lnTo>
                      <a:pt x="52" y="131"/>
                    </a:lnTo>
                    <a:lnTo>
                      <a:pt x="52" y="131"/>
                    </a:lnTo>
                    <a:lnTo>
                      <a:pt x="58" y="144"/>
                    </a:lnTo>
                    <a:lnTo>
                      <a:pt x="64" y="154"/>
                    </a:lnTo>
                    <a:lnTo>
                      <a:pt x="71" y="164"/>
                    </a:lnTo>
                    <a:lnTo>
                      <a:pt x="81" y="173"/>
                    </a:lnTo>
                    <a:lnTo>
                      <a:pt x="90" y="180"/>
                    </a:lnTo>
                    <a:lnTo>
                      <a:pt x="102" y="187"/>
                    </a:lnTo>
                    <a:lnTo>
                      <a:pt x="114" y="191"/>
                    </a:lnTo>
                    <a:lnTo>
                      <a:pt x="126" y="193"/>
                    </a:lnTo>
                    <a:lnTo>
                      <a:pt x="126" y="193"/>
                    </a:lnTo>
                    <a:lnTo>
                      <a:pt x="125" y="203"/>
                    </a:lnTo>
                    <a:lnTo>
                      <a:pt x="122" y="213"/>
                    </a:lnTo>
                    <a:lnTo>
                      <a:pt x="117" y="225"/>
                    </a:lnTo>
                    <a:lnTo>
                      <a:pt x="113" y="232"/>
                    </a:lnTo>
                    <a:lnTo>
                      <a:pt x="107" y="239"/>
                    </a:lnTo>
                    <a:lnTo>
                      <a:pt x="72" y="239"/>
                    </a:lnTo>
                    <a:lnTo>
                      <a:pt x="72" y="239"/>
                    </a:lnTo>
                    <a:lnTo>
                      <a:pt x="68" y="240"/>
                    </a:lnTo>
                    <a:lnTo>
                      <a:pt x="67" y="244"/>
                    </a:lnTo>
                    <a:lnTo>
                      <a:pt x="67" y="278"/>
                    </a:lnTo>
                    <a:lnTo>
                      <a:pt x="67" y="278"/>
                    </a:lnTo>
                    <a:lnTo>
                      <a:pt x="68" y="282"/>
                    </a:lnTo>
                    <a:lnTo>
                      <a:pt x="72" y="283"/>
                    </a:lnTo>
                    <a:lnTo>
                      <a:pt x="209" y="283"/>
                    </a:lnTo>
                    <a:lnTo>
                      <a:pt x="209" y="283"/>
                    </a:lnTo>
                    <a:lnTo>
                      <a:pt x="212" y="282"/>
                    </a:lnTo>
                    <a:lnTo>
                      <a:pt x="214" y="278"/>
                    </a:lnTo>
                    <a:lnTo>
                      <a:pt x="214" y="244"/>
                    </a:lnTo>
                    <a:lnTo>
                      <a:pt x="214" y="244"/>
                    </a:lnTo>
                    <a:lnTo>
                      <a:pt x="212" y="240"/>
                    </a:lnTo>
                    <a:lnTo>
                      <a:pt x="209" y="239"/>
                    </a:lnTo>
                    <a:lnTo>
                      <a:pt x="175" y="239"/>
                    </a:lnTo>
                    <a:lnTo>
                      <a:pt x="175" y="239"/>
                    </a:lnTo>
                    <a:lnTo>
                      <a:pt x="169" y="232"/>
                    </a:lnTo>
                    <a:lnTo>
                      <a:pt x="165" y="225"/>
                    </a:lnTo>
                    <a:lnTo>
                      <a:pt x="158" y="213"/>
                    </a:lnTo>
                    <a:lnTo>
                      <a:pt x="156" y="203"/>
                    </a:lnTo>
                    <a:lnTo>
                      <a:pt x="156" y="193"/>
                    </a:lnTo>
                    <a:lnTo>
                      <a:pt x="156" y="193"/>
                    </a:lnTo>
                    <a:lnTo>
                      <a:pt x="168" y="191"/>
                    </a:lnTo>
                    <a:lnTo>
                      <a:pt x="180" y="187"/>
                    </a:lnTo>
                    <a:lnTo>
                      <a:pt x="191" y="180"/>
                    </a:lnTo>
                    <a:lnTo>
                      <a:pt x="201" y="173"/>
                    </a:lnTo>
                    <a:lnTo>
                      <a:pt x="209" y="164"/>
                    </a:lnTo>
                    <a:lnTo>
                      <a:pt x="218" y="154"/>
                    </a:lnTo>
                    <a:lnTo>
                      <a:pt x="224" y="144"/>
                    </a:lnTo>
                    <a:lnTo>
                      <a:pt x="228" y="131"/>
                    </a:lnTo>
                    <a:lnTo>
                      <a:pt x="228" y="131"/>
                    </a:lnTo>
                    <a:lnTo>
                      <a:pt x="239" y="130"/>
                    </a:lnTo>
                    <a:lnTo>
                      <a:pt x="250" y="126"/>
                    </a:lnTo>
                    <a:lnTo>
                      <a:pt x="258" y="119"/>
                    </a:lnTo>
                    <a:lnTo>
                      <a:pt x="266" y="113"/>
                    </a:lnTo>
                    <a:lnTo>
                      <a:pt x="273" y="105"/>
                    </a:lnTo>
                    <a:lnTo>
                      <a:pt x="278" y="95"/>
                    </a:lnTo>
                    <a:lnTo>
                      <a:pt x="281" y="84"/>
                    </a:lnTo>
                    <a:lnTo>
                      <a:pt x="282" y="74"/>
                    </a:lnTo>
                    <a:lnTo>
                      <a:pt x="282" y="24"/>
                    </a:lnTo>
                    <a:lnTo>
                      <a:pt x="282" y="24"/>
                    </a:lnTo>
                    <a:lnTo>
                      <a:pt x="281" y="21"/>
                    </a:lnTo>
                    <a:lnTo>
                      <a:pt x="277" y="20"/>
                    </a:lnTo>
                    <a:lnTo>
                      <a:pt x="277" y="20"/>
                    </a:lnTo>
                    <a:close/>
                    <a:moveTo>
                      <a:pt x="9" y="74"/>
                    </a:moveTo>
                    <a:lnTo>
                      <a:pt x="9" y="29"/>
                    </a:lnTo>
                    <a:lnTo>
                      <a:pt x="48" y="29"/>
                    </a:lnTo>
                    <a:lnTo>
                      <a:pt x="48" y="102"/>
                    </a:lnTo>
                    <a:lnTo>
                      <a:pt x="48" y="102"/>
                    </a:lnTo>
                    <a:lnTo>
                      <a:pt x="48" y="113"/>
                    </a:lnTo>
                    <a:lnTo>
                      <a:pt x="50" y="121"/>
                    </a:lnTo>
                    <a:lnTo>
                      <a:pt x="50" y="121"/>
                    </a:lnTo>
                    <a:lnTo>
                      <a:pt x="42" y="119"/>
                    </a:lnTo>
                    <a:lnTo>
                      <a:pt x="34" y="115"/>
                    </a:lnTo>
                    <a:lnTo>
                      <a:pt x="27" y="111"/>
                    </a:lnTo>
                    <a:lnTo>
                      <a:pt x="21" y="105"/>
                    </a:lnTo>
                    <a:lnTo>
                      <a:pt x="16" y="98"/>
                    </a:lnTo>
                    <a:lnTo>
                      <a:pt x="12" y="90"/>
                    </a:lnTo>
                    <a:lnTo>
                      <a:pt x="11" y="82"/>
                    </a:lnTo>
                    <a:lnTo>
                      <a:pt x="9" y="74"/>
                    </a:lnTo>
                    <a:lnTo>
                      <a:pt x="9" y="74"/>
                    </a:lnTo>
                    <a:close/>
                    <a:moveTo>
                      <a:pt x="273" y="74"/>
                    </a:moveTo>
                    <a:lnTo>
                      <a:pt x="273" y="74"/>
                    </a:lnTo>
                    <a:lnTo>
                      <a:pt x="271" y="82"/>
                    </a:lnTo>
                    <a:lnTo>
                      <a:pt x="269" y="90"/>
                    </a:lnTo>
                    <a:lnTo>
                      <a:pt x="266" y="98"/>
                    </a:lnTo>
                    <a:lnTo>
                      <a:pt x="261" y="105"/>
                    </a:lnTo>
                    <a:lnTo>
                      <a:pt x="254" y="111"/>
                    </a:lnTo>
                    <a:lnTo>
                      <a:pt x="247" y="115"/>
                    </a:lnTo>
                    <a:lnTo>
                      <a:pt x="239" y="119"/>
                    </a:lnTo>
                    <a:lnTo>
                      <a:pt x="231" y="121"/>
                    </a:lnTo>
                    <a:lnTo>
                      <a:pt x="231" y="121"/>
                    </a:lnTo>
                    <a:lnTo>
                      <a:pt x="232" y="113"/>
                    </a:lnTo>
                    <a:lnTo>
                      <a:pt x="234" y="102"/>
                    </a:lnTo>
                    <a:lnTo>
                      <a:pt x="234" y="29"/>
                    </a:lnTo>
                    <a:lnTo>
                      <a:pt x="273" y="29"/>
                    </a:lnTo>
                    <a:lnTo>
                      <a:pt x="273" y="74"/>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Rectangle 1">
            <a:extLst>
              <a:ext uri="{FF2B5EF4-FFF2-40B4-BE49-F238E27FC236}">
                <a16:creationId xmlns:a16="http://schemas.microsoft.com/office/drawing/2014/main" id="{1B72D0B3-6CC0-9145-B1E2-128591F3E5A3}"/>
              </a:ext>
            </a:extLst>
          </p:cNvPr>
          <p:cNvSpPr/>
          <p:nvPr/>
        </p:nvSpPr>
        <p:spPr>
          <a:xfrm>
            <a:off x="8565635" y="4554085"/>
            <a:ext cx="2722599" cy="969496"/>
          </a:xfrm>
          <a:prstGeom prst="rect">
            <a:avLst/>
          </a:prstGeom>
        </p:spPr>
        <p:txBody>
          <a:bodyPr wrap="square" lIns="0" tIns="0" rIns="0" bIns="0">
            <a:sp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4" name="object 31">
            <a:extLst>
              <a:ext uri="{FF2B5EF4-FFF2-40B4-BE49-F238E27FC236}">
                <a16:creationId xmlns:a16="http://schemas.microsoft.com/office/drawing/2014/main" id="{A4EFC34F-8B75-4ACF-828F-D58ACDBFDFB9}"/>
              </a:ext>
            </a:extLst>
          </p:cNvPr>
          <p:cNvSpPr txBox="1"/>
          <p:nvPr/>
        </p:nvSpPr>
        <p:spPr>
          <a:xfrm>
            <a:off x="4052346" y="2332245"/>
            <a:ext cx="1094735" cy="238673"/>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5" name="object 33">
            <a:extLst>
              <a:ext uri="{FF2B5EF4-FFF2-40B4-BE49-F238E27FC236}">
                <a16:creationId xmlns:a16="http://schemas.microsoft.com/office/drawing/2014/main" id="{F1753755-0F3B-484B-96ED-D3217B79D7ED}"/>
              </a:ext>
            </a:extLst>
          </p:cNvPr>
          <p:cNvSpPr txBox="1"/>
          <p:nvPr/>
        </p:nvSpPr>
        <p:spPr>
          <a:xfrm>
            <a:off x="5539675" y="1828676"/>
            <a:ext cx="1128155" cy="276999"/>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6" name="object 36">
            <a:extLst>
              <a:ext uri="{FF2B5EF4-FFF2-40B4-BE49-F238E27FC236}">
                <a16:creationId xmlns:a16="http://schemas.microsoft.com/office/drawing/2014/main" id="{BE69B5EB-BC3B-4901-9F11-56B52988AFCF}"/>
              </a:ext>
            </a:extLst>
          </p:cNvPr>
          <p:cNvSpPr txBox="1"/>
          <p:nvPr/>
        </p:nvSpPr>
        <p:spPr>
          <a:xfrm>
            <a:off x="7224503" y="2332245"/>
            <a:ext cx="807795" cy="404384"/>
          </a:xfrm>
          <a:prstGeom prst="rect">
            <a:avLst/>
          </a:prstGeom>
        </p:spPr>
        <p:txBody>
          <a:bodyPr vert="horz" wrap="square" lIns="0" tIns="0" rIns="0" bIns="0" rtlCol="0">
            <a:noAutofit/>
          </a:bodyPr>
          <a:lstStyle/>
          <a:p>
            <a:pPr marR="5080" algn="ctr">
              <a:lnSpc>
                <a:spcPct val="108300"/>
              </a:lnSpc>
              <a:spcBef>
                <a:spcPts val="100"/>
              </a:spcBef>
            </a:pPr>
            <a:r>
              <a:rPr lang="en-US" sz="1000" b="1" dirty="0">
                <a:solidFill>
                  <a:srgbClr val="000000"/>
                </a:solidFill>
                <a:cs typeface="Palatino Linotype"/>
              </a:rPr>
              <a:t>Lorem ipsum dolor</a:t>
            </a:r>
          </a:p>
        </p:txBody>
      </p:sp>
      <p:sp>
        <p:nvSpPr>
          <p:cNvPr id="77" name="object 37">
            <a:extLst>
              <a:ext uri="{FF2B5EF4-FFF2-40B4-BE49-F238E27FC236}">
                <a16:creationId xmlns:a16="http://schemas.microsoft.com/office/drawing/2014/main" id="{D228EBB9-CC46-4428-8EFF-74165F9AE00F}"/>
              </a:ext>
            </a:extLst>
          </p:cNvPr>
          <p:cNvSpPr txBox="1"/>
          <p:nvPr/>
        </p:nvSpPr>
        <p:spPr>
          <a:xfrm>
            <a:off x="7441190" y="3562633"/>
            <a:ext cx="943677" cy="384408"/>
          </a:xfrm>
          <a:prstGeom prst="rect">
            <a:avLst/>
          </a:prstGeom>
        </p:spPr>
        <p:txBody>
          <a:bodyPr vert="horz" wrap="square" lIns="0" tIns="0" rIns="0" bIns="0" rtlCol="0">
            <a:noAutofit/>
          </a:bodyPr>
          <a:lstStyle/>
          <a:p>
            <a:pPr marR="5080" algn="ctr">
              <a:lnSpc>
                <a:spcPct val="108300"/>
              </a:lnSpc>
              <a:spcBef>
                <a:spcPts val="100"/>
              </a:spcBef>
            </a:pPr>
            <a:r>
              <a:rPr lang="en-US" sz="1000" b="1" dirty="0">
                <a:solidFill>
                  <a:srgbClr val="000000"/>
                </a:solidFill>
                <a:cs typeface="Palatino Linotype"/>
              </a:rPr>
              <a:t>Lorem ipsum dolor</a:t>
            </a:r>
          </a:p>
        </p:txBody>
      </p:sp>
      <p:sp>
        <p:nvSpPr>
          <p:cNvPr id="138" name="object 9">
            <a:extLst>
              <a:ext uri="{FF2B5EF4-FFF2-40B4-BE49-F238E27FC236}">
                <a16:creationId xmlns:a16="http://schemas.microsoft.com/office/drawing/2014/main" id="{2736A413-4E51-46BD-AA95-21AA9EC2A5F9}"/>
              </a:ext>
            </a:extLst>
          </p:cNvPr>
          <p:cNvSpPr/>
          <p:nvPr/>
        </p:nvSpPr>
        <p:spPr>
          <a:xfrm flipV="1">
            <a:off x="914400" y="4383673"/>
            <a:ext cx="3079911" cy="115161"/>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47" name="object 26">
            <a:extLst>
              <a:ext uri="{FF2B5EF4-FFF2-40B4-BE49-F238E27FC236}">
                <a16:creationId xmlns:a16="http://schemas.microsoft.com/office/drawing/2014/main" id="{E88F7A0E-7164-4328-8DD1-29D890B57A30}"/>
              </a:ext>
            </a:extLst>
          </p:cNvPr>
          <p:cNvSpPr txBox="1"/>
          <p:nvPr/>
        </p:nvSpPr>
        <p:spPr>
          <a:xfrm>
            <a:off x="6889046" y="4966154"/>
            <a:ext cx="790055" cy="311871"/>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grpSp>
        <p:nvGrpSpPr>
          <p:cNvPr id="139" name="Group 768">
            <a:extLst>
              <a:ext uri="{FF2B5EF4-FFF2-40B4-BE49-F238E27FC236}">
                <a16:creationId xmlns:a16="http://schemas.microsoft.com/office/drawing/2014/main" id="{17AC79EA-853D-44A2-98F9-C6424C1A8CB8}"/>
              </a:ext>
            </a:extLst>
          </p:cNvPr>
          <p:cNvGrpSpPr>
            <a:grpSpLocks noChangeAspect="1"/>
          </p:cNvGrpSpPr>
          <p:nvPr/>
        </p:nvGrpSpPr>
        <p:grpSpPr bwMode="auto">
          <a:xfrm>
            <a:off x="4672543" y="1747527"/>
            <a:ext cx="457200" cy="457200"/>
            <a:chOff x="6591" y="3054"/>
            <a:chExt cx="340" cy="340"/>
          </a:xfrm>
          <a:solidFill>
            <a:schemeClr val="tx1"/>
          </a:solidFill>
        </p:grpSpPr>
        <p:sp>
          <p:nvSpPr>
            <p:cNvPr id="148" name="Freeform 769">
              <a:extLst>
                <a:ext uri="{FF2B5EF4-FFF2-40B4-BE49-F238E27FC236}">
                  <a16:creationId xmlns:a16="http://schemas.microsoft.com/office/drawing/2014/main" id="{8A268BA1-B76F-4334-A9B1-3BDA7E880A50}"/>
                </a:ext>
              </a:extLst>
            </p:cNvPr>
            <p:cNvSpPr>
              <a:spLocks noEditPoints="1"/>
            </p:cNvSpPr>
            <p:nvPr/>
          </p:nvSpPr>
          <p:spPr bwMode="auto">
            <a:xfrm>
              <a:off x="6591" y="305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9" name="Freeform 770">
              <a:extLst>
                <a:ext uri="{FF2B5EF4-FFF2-40B4-BE49-F238E27FC236}">
                  <a16:creationId xmlns:a16="http://schemas.microsoft.com/office/drawing/2014/main" id="{121319F5-B007-416D-970D-EA01D4C5B7E1}"/>
                </a:ext>
              </a:extLst>
            </p:cNvPr>
            <p:cNvSpPr>
              <a:spLocks noEditPoints="1"/>
            </p:cNvSpPr>
            <p:nvPr/>
          </p:nvSpPr>
          <p:spPr bwMode="auto">
            <a:xfrm>
              <a:off x="6690" y="3132"/>
              <a:ext cx="149" cy="198"/>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0" name="Group 459">
            <a:extLst>
              <a:ext uri="{FF2B5EF4-FFF2-40B4-BE49-F238E27FC236}">
                <a16:creationId xmlns:a16="http://schemas.microsoft.com/office/drawing/2014/main" id="{F918C79F-6620-4D8E-8A8F-31909C782850}"/>
              </a:ext>
            </a:extLst>
          </p:cNvPr>
          <p:cNvGrpSpPr>
            <a:grpSpLocks noChangeAspect="1"/>
          </p:cNvGrpSpPr>
          <p:nvPr/>
        </p:nvGrpSpPr>
        <p:grpSpPr bwMode="auto">
          <a:xfrm>
            <a:off x="4107047" y="3018283"/>
            <a:ext cx="457200" cy="457200"/>
            <a:chOff x="1918" y="1565"/>
            <a:chExt cx="340" cy="340"/>
          </a:xfrm>
          <a:solidFill>
            <a:schemeClr val="tx1"/>
          </a:solidFill>
        </p:grpSpPr>
        <p:sp>
          <p:nvSpPr>
            <p:cNvPr id="151" name="Freeform 460">
              <a:extLst>
                <a:ext uri="{FF2B5EF4-FFF2-40B4-BE49-F238E27FC236}">
                  <a16:creationId xmlns:a16="http://schemas.microsoft.com/office/drawing/2014/main" id="{7E2A80ED-2763-4B44-8F41-EAF51E459CD7}"/>
                </a:ext>
              </a:extLst>
            </p:cNvPr>
            <p:cNvSpPr>
              <a:spLocks noEditPoints="1"/>
            </p:cNvSpPr>
            <p:nvPr/>
          </p:nvSpPr>
          <p:spPr bwMode="auto">
            <a:xfrm>
              <a:off x="2010" y="1636"/>
              <a:ext cx="156" cy="199"/>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461">
              <a:extLst>
                <a:ext uri="{FF2B5EF4-FFF2-40B4-BE49-F238E27FC236}">
                  <a16:creationId xmlns:a16="http://schemas.microsoft.com/office/drawing/2014/main" id="{5AD5EF42-EACA-42CB-B154-78702F623485}"/>
                </a:ext>
              </a:extLst>
            </p:cNvPr>
            <p:cNvSpPr>
              <a:spLocks noEditPoints="1"/>
            </p:cNvSpPr>
            <p:nvPr/>
          </p:nvSpPr>
          <p:spPr bwMode="auto">
            <a:xfrm>
              <a:off x="1918" y="156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3" name="Group 152">
            <a:extLst>
              <a:ext uri="{FF2B5EF4-FFF2-40B4-BE49-F238E27FC236}">
                <a16:creationId xmlns:a16="http://schemas.microsoft.com/office/drawing/2014/main" id="{E9602881-1DF4-40EA-AC2D-5343826DFBEB}"/>
              </a:ext>
            </a:extLst>
          </p:cNvPr>
          <p:cNvGrpSpPr>
            <a:grpSpLocks noChangeAspect="1"/>
          </p:cNvGrpSpPr>
          <p:nvPr/>
        </p:nvGrpSpPr>
        <p:grpSpPr bwMode="auto">
          <a:xfrm>
            <a:off x="4556590" y="4416823"/>
            <a:ext cx="458544" cy="457200"/>
            <a:chOff x="3100" y="2384"/>
            <a:chExt cx="341" cy="340"/>
          </a:xfrm>
          <a:solidFill>
            <a:schemeClr val="tx1"/>
          </a:solidFill>
        </p:grpSpPr>
        <p:sp>
          <p:nvSpPr>
            <p:cNvPr id="154" name="Freeform 342">
              <a:extLst>
                <a:ext uri="{FF2B5EF4-FFF2-40B4-BE49-F238E27FC236}">
                  <a16:creationId xmlns:a16="http://schemas.microsoft.com/office/drawing/2014/main" id="{C27E8825-9537-4C80-8F82-D8D67C82F0D8}"/>
                </a:ext>
              </a:extLst>
            </p:cNvPr>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343">
              <a:extLst>
                <a:ext uri="{FF2B5EF4-FFF2-40B4-BE49-F238E27FC236}">
                  <a16:creationId xmlns:a16="http://schemas.microsoft.com/office/drawing/2014/main" id="{B868F1B5-3B53-4F6B-8E6A-7B90539F7E1A}"/>
                </a:ext>
              </a:extLst>
            </p:cNvPr>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6" name="Group 892">
            <a:extLst>
              <a:ext uri="{FF2B5EF4-FFF2-40B4-BE49-F238E27FC236}">
                <a16:creationId xmlns:a16="http://schemas.microsoft.com/office/drawing/2014/main" id="{1E149E51-74D5-48DC-AE2E-BD5E9C0925E7}"/>
              </a:ext>
            </a:extLst>
          </p:cNvPr>
          <p:cNvGrpSpPr>
            <a:grpSpLocks noChangeAspect="1"/>
          </p:cNvGrpSpPr>
          <p:nvPr/>
        </p:nvGrpSpPr>
        <p:grpSpPr bwMode="auto">
          <a:xfrm>
            <a:off x="7235120" y="4441188"/>
            <a:ext cx="455860" cy="457200"/>
            <a:chOff x="4270" y="3457"/>
            <a:chExt cx="340" cy="341"/>
          </a:xfrm>
          <a:solidFill>
            <a:schemeClr val="tx1"/>
          </a:solidFill>
        </p:grpSpPr>
        <p:sp>
          <p:nvSpPr>
            <p:cNvPr id="157" name="Freeform 893">
              <a:extLst>
                <a:ext uri="{FF2B5EF4-FFF2-40B4-BE49-F238E27FC236}">
                  <a16:creationId xmlns:a16="http://schemas.microsoft.com/office/drawing/2014/main" id="{C1B76A1F-0392-481A-9DB2-110BB6C9C4A3}"/>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8" name="Freeform 894">
              <a:extLst>
                <a:ext uri="{FF2B5EF4-FFF2-40B4-BE49-F238E27FC236}">
                  <a16:creationId xmlns:a16="http://schemas.microsoft.com/office/drawing/2014/main" id="{80DE0FF7-105C-4AB3-B987-A51AD50328F8}"/>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9" name="Group 29">
            <a:extLst>
              <a:ext uri="{FF2B5EF4-FFF2-40B4-BE49-F238E27FC236}">
                <a16:creationId xmlns:a16="http://schemas.microsoft.com/office/drawing/2014/main" id="{807E2061-9C77-475F-BBFC-C3E230848D35}"/>
              </a:ext>
            </a:extLst>
          </p:cNvPr>
          <p:cNvGrpSpPr>
            <a:grpSpLocks noChangeAspect="1"/>
          </p:cNvGrpSpPr>
          <p:nvPr/>
        </p:nvGrpSpPr>
        <p:grpSpPr bwMode="auto">
          <a:xfrm>
            <a:off x="7691464" y="3051178"/>
            <a:ext cx="457200" cy="457200"/>
            <a:chOff x="2899" y="653"/>
            <a:chExt cx="340" cy="340"/>
          </a:xfrm>
          <a:solidFill>
            <a:schemeClr val="tx1"/>
          </a:solidFill>
        </p:grpSpPr>
        <p:sp>
          <p:nvSpPr>
            <p:cNvPr id="160" name="Freeform 30">
              <a:extLst>
                <a:ext uri="{FF2B5EF4-FFF2-40B4-BE49-F238E27FC236}">
                  <a16:creationId xmlns:a16="http://schemas.microsoft.com/office/drawing/2014/main" id="{D0D8B92C-57E2-4D00-9DC8-40B52F7F405C}"/>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1" name="Freeform 31">
              <a:extLst>
                <a:ext uri="{FF2B5EF4-FFF2-40B4-BE49-F238E27FC236}">
                  <a16:creationId xmlns:a16="http://schemas.microsoft.com/office/drawing/2014/main" id="{20A4E7D1-9BFC-4C7B-8A65-E77FE1D44355}"/>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2" name="Freeform 32">
              <a:extLst>
                <a:ext uri="{FF2B5EF4-FFF2-40B4-BE49-F238E27FC236}">
                  <a16:creationId xmlns:a16="http://schemas.microsoft.com/office/drawing/2014/main" id="{8E81ED61-9EA5-4755-BB22-0ED6E804F681}"/>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3" name="Group 934">
            <a:extLst>
              <a:ext uri="{FF2B5EF4-FFF2-40B4-BE49-F238E27FC236}">
                <a16:creationId xmlns:a16="http://schemas.microsoft.com/office/drawing/2014/main" id="{1F2C59C4-951F-4964-AE95-A55199397904}"/>
              </a:ext>
            </a:extLst>
          </p:cNvPr>
          <p:cNvGrpSpPr>
            <a:grpSpLocks noChangeAspect="1"/>
          </p:cNvGrpSpPr>
          <p:nvPr/>
        </p:nvGrpSpPr>
        <p:grpSpPr bwMode="auto">
          <a:xfrm>
            <a:off x="7076492" y="1781117"/>
            <a:ext cx="457200" cy="457200"/>
            <a:chOff x="1155" y="3472"/>
            <a:chExt cx="340" cy="340"/>
          </a:xfrm>
          <a:solidFill>
            <a:schemeClr val="tx1"/>
          </a:solidFill>
        </p:grpSpPr>
        <p:sp>
          <p:nvSpPr>
            <p:cNvPr id="164" name="Freeform 935">
              <a:extLst>
                <a:ext uri="{FF2B5EF4-FFF2-40B4-BE49-F238E27FC236}">
                  <a16:creationId xmlns:a16="http://schemas.microsoft.com/office/drawing/2014/main" id="{0A8D1CE3-1AF0-4D36-ACE9-AD48F070873C}"/>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5" name="Freeform 936">
              <a:extLst>
                <a:ext uri="{FF2B5EF4-FFF2-40B4-BE49-F238E27FC236}">
                  <a16:creationId xmlns:a16="http://schemas.microsoft.com/office/drawing/2014/main" id="{DD06F711-F5E5-45D9-BC76-2054817F3BAA}"/>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6" name="Group 777">
            <a:extLst>
              <a:ext uri="{FF2B5EF4-FFF2-40B4-BE49-F238E27FC236}">
                <a16:creationId xmlns:a16="http://schemas.microsoft.com/office/drawing/2014/main" id="{1F290C2D-DD5C-439B-8E9F-8D196AA71A9B}"/>
              </a:ext>
            </a:extLst>
          </p:cNvPr>
          <p:cNvGrpSpPr>
            <a:grpSpLocks noChangeAspect="1"/>
          </p:cNvGrpSpPr>
          <p:nvPr/>
        </p:nvGrpSpPr>
        <p:grpSpPr bwMode="auto">
          <a:xfrm>
            <a:off x="5866728" y="1338630"/>
            <a:ext cx="458544" cy="457200"/>
            <a:chOff x="5818" y="3070"/>
            <a:chExt cx="341" cy="340"/>
          </a:xfrm>
          <a:solidFill>
            <a:schemeClr val="tx1"/>
          </a:solidFill>
        </p:grpSpPr>
        <p:sp>
          <p:nvSpPr>
            <p:cNvPr id="167" name="Freeform 778">
              <a:extLst>
                <a:ext uri="{FF2B5EF4-FFF2-40B4-BE49-F238E27FC236}">
                  <a16:creationId xmlns:a16="http://schemas.microsoft.com/office/drawing/2014/main" id="{D26107A6-0B08-42BD-A35B-06959AB73E25}"/>
                </a:ext>
              </a:extLst>
            </p:cNvPr>
            <p:cNvSpPr>
              <a:spLocks noEditPoints="1"/>
            </p:cNvSpPr>
            <p:nvPr/>
          </p:nvSpPr>
          <p:spPr bwMode="auto">
            <a:xfrm>
              <a:off x="5882" y="3140"/>
              <a:ext cx="213" cy="185"/>
            </a:xfrm>
            <a:custGeom>
              <a:avLst/>
              <a:gdLst>
                <a:gd name="T0" fmla="*/ 309 w 320"/>
                <a:gd name="T1" fmla="*/ 43 h 278"/>
                <a:gd name="T2" fmla="*/ 213 w 320"/>
                <a:gd name="T3" fmla="*/ 43 h 278"/>
                <a:gd name="T4" fmla="*/ 213 w 320"/>
                <a:gd name="T5" fmla="*/ 11 h 278"/>
                <a:gd name="T6" fmla="*/ 202 w 320"/>
                <a:gd name="T7" fmla="*/ 0 h 278"/>
                <a:gd name="T8" fmla="*/ 117 w 320"/>
                <a:gd name="T9" fmla="*/ 0 h 278"/>
                <a:gd name="T10" fmla="*/ 106 w 320"/>
                <a:gd name="T11" fmla="*/ 11 h 278"/>
                <a:gd name="T12" fmla="*/ 106 w 320"/>
                <a:gd name="T13" fmla="*/ 43 h 278"/>
                <a:gd name="T14" fmla="*/ 10 w 320"/>
                <a:gd name="T15" fmla="*/ 43 h 278"/>
                <a:gd name="T16" fmla="*/ 0 w 320"/>
                <a:gd name="T17" fmla="*/ 54 h 278"/>
                <a:gd name="T18" fmla="*/ 0 w 320"/>
                <a:gd name="T19" fmla="*/ 160 h 278"/>
                <a:gd name="T20" fmla="*/ 10 w 320"/>
                <a:gd name="T21" fmla="*/ 171 h 278"/>
                <a:gd name="T22" fmla="*/ 21 w 320"/>
                <a:gd name="T23" fmla="*/ 171 h 278"/>
                <a:gd name="T24" fmla="*/ 21 w 320"/>
                <a:gd name="T25" fmla="*/ 267 h 278"/>
                <a:gd name="T26" fmla="*/ 32 w 320"/>
                <a:gd name="T27" fmla="*/ 278 h 278"/>
                <a:gd name="T28" fmla="*/ 288 w 320"/>
                <a:gd name="T29" fmla="*/ 278 h 278"/>
                <a:gd name="T30" fmla="*/ 298 w 320"/>
                <a:gd name="T31" fmla="*/ 267 h 278"/>
                <a:gd name="T32" fmla="*/ 298 w 320"/>
                <a:gd name="T33" fmla="*/ 171 h 278"/>
                <a:gd name="T34" fmla="*/ 309 w 320"/>
                <a:gd name="T35" fmla="*/ 171 h 278"/>
                <a:gd name="T36" fmla="*/ 320 w 320"/>
                <a:gd name="T37" fmla="*/ 160 h 278"/>
                <a:gd name="T38" fmla="*/ 320 w 320"/>
                <a:gd name="T39" fmla="*/ 54 h 278"/>
                <a:gd name="T40" fmla="*/ 309 w 320"/>
                <a:gd name="T41" fmla="*/ 43 h 278"/>
                <a:gd name="T42" fmla="*/ 128 w 320"/>
                <a:gd name="T43" fmla="*/ 22 h 278"/>
                <a:gd name="T44" fmla="*/ 192 w 320"/>
                <a:gd name="T45" fmla="*/ 22 h 278"/>
                <a:gd name="T46" fmla="*/ 192 w 320"/>
                <a:gd name="T47" fmla="*/ 43 h 278"/>
                <a:gd name="T48" fmla="*/ 128 w 320"/>
                <a:gd name="T49" fmla="*/ 43 h 278"/>
                <a:gd name="T50" fmla="*/ 128 w 320"/>
                <a:gd name="T51" fmla="*/ 22 h 278"/>
                <a:gd name="T52" fmla="*/ 277 w 320"/>
                <a:gd name="T53" fmla="*/ 256 h 278"/>
                <a:gd name="T54" fmla="*/ 42 w 320"/>
                <a:gd name="T55" fmla="*/ 256 h 278"/>
                <a:gd name="T56" fmla="*/ 42 w 320"/>
                <a:gd name="T57" fmla="*/ 171 h 278"/>
                <a:gd name="T58" fmla="*/ 85 w 320"/>
                <a:gd name="T59" fmla="*/ 171 h 278"/>
                <a:gd name="T60" fmla="*/ 85 w 320"/>
                <a:gd name="T61" fmla="*/ 182 h 278"/>
                <a:gd name="T62" fmla="*/ 96 w 320"/>
                <a:gd name="T63" fmla="*/ 192 h 278"/>
                <a:gd name="T64" fmla="*/ 106 w 320"/>
                <a:gd name="T65" fmla="*/ 182 h 278"/>
                <a:gd name="T66" fmla="*/ 106 w 320"/>
                <a:gd name="T67" fmla="*/ 171 h 278"/>
                <a:gd name="T68" fmla="*/ 213 w 320"/>
                <a:gd name="T69" fmla="*/ 171 h 278"/>
                <a:gd name="T70" fmla="*/ 213 w 320"/>
                <a:gd name="T71" fmla="*/ 182 h 278"/>
                <a:gd name="T72" fmla="*/ 224 w 320"/>
                <a:gd name="T73" fmla="*/ 192 h 278"/>
                <a:gd name="T74" fmla="*/ 234 w 320"/>
                <a:gd name="T75" fmla="*/ 182 h 278"/>
                <a:gd name="T76" fmla="*/ 234 w 320"/>
                <a:gd name="T77" fmla="*/ 171 h 278"/>
                <a:gd name="T78" fmla="*/ 277 w 320"/>
                <a:gd name="T79" fmla="*/ 171 h 278"/>
                <a:gd name="T80" fmla="*/ 277 w 320"/>
                <a:gd name="T81" fmla="*/ 256 h 278"/>
                <a:gd name="T82" fmla="*/ 298 w 320"/>
                <a:gd name="T83" fmla="*/ 150 h 278"/>
                <a:gd name="T84" fmla="*/ 234 w 320"/>
                <a:gd name="T85" fmla="*/ 150 h 278"/>
                <a:gd name="T86" fmla="*/ 234 w 320"/>
                <a:gd name="T87" fmla="*/ 139 h 278"/>
                <a:gd name="T88" fmla="*/ 224 w 320"/>
                <a:gd name="T89" fmla="*/ 128 h 278"/>
                <a:gd name="T90" fmla="*/ 213 w 320"/>
                <a:gd name="T91" fmla="*/ 139 h 278"/>
                <a:gd name="T92" fmla="*/ 213 w 320"/>
                <a:gd name="T93" fmla="*/ 150 h 278"/>
                <a:gd name="T94" fmla="*/ 106 w 320"/>
                <a:gd name="T95" fmla="*/ 150 h 278"/>
                <a:gd name="T96" fmla="*/ 106 w 320"/>
                <a:gd name="T97" fmla="*/ 139 h 278"/>
                <a:gd name="T98" fmla="*/ 96 w 320"/>
                <a:gd name="T99" fmla="*/ 128 h 278"/>
                <a:gd name="T100" fmla="*/ 85 w 320"/>
                <a:gd name="T101" fmla="*/ 139 h 278"/>
                <a:gd name="T102" fmla="*/ 85 w 320"/>
                <a:gd name="T103" fmla="*/ 150 h 278"/>
                <a:gd name="T104" fmla="*/ 21 w 320"/>
                <a:gd name="T105" fmla="*/ 150 h 278"/>
                <a:gd name="T106" fmla="*/ 21 w 320"/>
                <a:gd name="T107" fmla="*/ 64 h 278"/>
                <a:gd name="T108" fmla="*/ 298 w 320"/>
                <a:gd name="T109" fmla="*/ 64 h 278"/>
                <a:gd name="T110" fmla="*/ 298 w 320"/>
                <a:gd name="T111" fmla="*/ 15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78">
                  <a:moveTo>
                    <a:pt x="309" y="43"/>
                  </a:moveTo>
                  <a:cubicBezTo>
                    <a:pt x="213" y="43"/>
                    <a:pt x="213" y="43"/>
                    <a:pt x="213" y="43"/>
                  </a:cubicBezTo>
                  <a:cubicBezTo>
                    <a:pt x="213" y="11"/>
                    <a:pt x="213" y="11"/>
                    <a:pt x="213" y="11"/>
                  </a:cubicBezTo>
                  <a:cubicBezTo>
                    <a:pt x="213" y="5"/>
                    <a:pt x="208" y="0"/>
                    <a:pt x="202" y="0"/>
                  </a:cubicBezTo>
                  <a:cubicBezTo>
                    <a:pt x="117" y="0"/>
                    <a:pt x="117" y="0"/>
                    <a:pt x="117" y="0"/>
                  </a:cubicBezTo>
                  <a:cubicBezTo>
                    <a:pt x="111" y="0"/>
                    <a:pt x="106" y="5"/>
                    <a:pt x="106" y="11"/>
                  </a:cubicBezTo>
                  <a:cubicBezTo>
                    <a:pt x="106" y="43"/>
                    <a:pt x="106" y="43"/>
                    <a:pt x="106" y="43"/>
                  </a:cubicBezTo>
                  <a:cubicBezTo>
                    <a:pt x="10" y="43"/>
                    <a:pt x="10" y="43"/>
                    <a:pt x="10" y="43"/>
                  </a:cubicBezTo>
                  <a:cubicBezTo>
                    <a:pt x="4" y="43"/>
                    <a:pt x="0" y="48"/>
                    <a:pt x="0" y="54"/>
                  </a:cubicBezTo>
                  <a:cubicBezTo>
                    <a:pt x="0" y="160"/>
                    <a:pt x="0" y="160"/>
                    <a:pt x="0" y="160"/>
                  </a:cubicBezTo>
                  <a:cubicBezTo>
                    <a:pt x="0" y="166"/>
                    <a:pt x="4" y="171"/>
                    <a:pt x="10" y="171"/>
                  </a:cubicBezTo>
                  <a:cubicBezTo>
                    <a:pt x="21" y="171"/>
                    <a:pt x="21" y="171"/>
                    <a:pt x="21" y="171"/>
                  </a:cubicBezTo>
                  <a:cubicBezTo>
                    <a:pt x="21" y="267"/>
                    <a:pt x="21" y="267"/>
                    <a:pt x="21" y="267"/>
                  </a:cubicBezTo>
                  <a:cubicBezTo>
                    <a:pt x="21" y="273"/>
                    <a:pt x="26" y="278"/>
                    <a:pt x="32" y="278"/>
                  </a:cubicBezTo>
                  <a:cubicBezTo>
                    <a:pt x="288" y="278"/>
                    <a:pt x="288" y="278"/>
                    <a:pt x="288" y="278"/>
                  </a:cubicBezTo>
                  <a:cubicBezTo>
                    <a:pt x="294" y="278"/>
                    <a:pt x="298" y="273"/>
                    <a:pt x="298" y="267"/>
                  </a:cubicBezTo>
                  <a:cubicBezTo>
                    <a:pt x="298" y="171"/>
                    <a:pt x="298" y="171"/>
                    <a:pt x="298" y="171"/>
                  </a:cubicBezTo>
                  <a:cubicBezTo>
                    <a:pt x="309" y="171"/>
                    <a:pt x="309" y="171"/>
                    <a:pt x="309" y="171"/>
                  </a:cubicBezTo>
                  <a:cubicBezTo>
                    <a:pt x="315" y="171"/>
                    <a:pt x="320" y="166"/>
                    <a:pt x="320" y="160"/>
                  </a:cubicBezTo>
                  <a:cubicBezTo>
                    <a:pt x="320" y="54"/>
                    <a:pt x="320" y="54"/>
                    <a:pt x="320" y="54"/>
                  </a:cubicBezTo>
                  <a:cubicBezTo>
                    <a:pt x="320" y="48"/>
                    <a:pt x="315" y="43"/>
                    <a:pt x="309" y="43"/>
                  </a:cubicBezTo>
                  <a:close/>
                  <a:moveTo>
                    <a:pt x="128" y="22"/>
                  </a:moveTo>
                  <a:cubicBezTo>
                    <a:pt x="192" y="22"/>
                    <a:pt x="192" y="22"/>
                    <a:pt x="192" y="22"/>
                  </a:cubicBezTo>
                  <a:cubicBezTo>
                    <a:pt x="192" y="43"/>
                    <a:pt x="192" y="43"/>
                    <a:pt x="192" y="43"/>
                  </a:cubicBezTo>
                  <a:cubicBezTo>
                    <a:pt x="128" y="43"/>
                    <a:pt x="128" y="43"/>
                    <a:pt x="128" y="43"/>
                  </a:cubicBezTo>
                  <a:lnTo>
                    <a:pt x="128" y="22"/>
                  </a:lnTo>
                  <a:close/>
                  <a:moveTo>
                    <a:pt x="277" y="256"/>
                  </a:moveTo>
                  <a:cubicBezTo>
                    <a:pt x="42" y="256"/>
                    <a:pt x="42" y="256"/>
                    <a:pt x="42" y="256"/>
                  </a:cubicBezTo>
                  <a:cubicBezTo>
                    <a:pt x="42" y="171"/>
                    <a:pt x="42" y="171"/>
                    <a:pt x="42" y="171"/>
                  </a:cubicBezTo>
                  <a:cubicBezTo>
                    <a:pt x="85" y="171"/>
                    <a:pt x="85" y="171"/>
                    <a:pt x="85" y="171"/>
                  </a:cubicBezTo>
                  <a:cubicBezTo>
                    <a:pt x="85" y="182"/>
                    <a:pt x="85" y="182"/>
                    <a:pt x="85" y="182"/>
                  </a:cubicBezTo>
                  <a:cubicBezTo>
                    <a:pt x="85" y="188"/>
                    <a:pt x="90" y="192"/>
                    <a:pt x="96" y="192"/>
                  </a:cubicBezTo>
                  <a:cubicBezTo>
                    <a:pt x="102" y="192"/>
                    <a:pt x="106" y="188"/>
                    <a:pt x="106" y="182"/>
                  </a:cubicBezTo>
                  <a:cubicBezTo>
                    <a:pt x="106" y="171"/>
                    <a:pt x="106" y="171"/>
                    <a:pt x="106" y="171"/>
                  </a:cubicBezTo>
                  <a:cubicBezTo>
                    <a:pt x="213" y="171"/>
                    <a:pt x="213" y="171"/>
                    <a:pt x="213" y="171"/>
                  </a:cubicBezTo>
                  <a:cubicBezTo>
                    <a:pt x="213" y="182"/>
                    <a:pt x="213" y="182"/>
                    <a:pt x="213" y="182"/>
                  </a:cubicBezTo>
                  <a:cubicBezTo>
                    <a:pt x="213" y="188"/>
                    <a:pt x="218" y="192"/>
                    <a:pt x="224" y="192"/>
                  </a:cubicBezTo>
                  <a:cubicBezTo>
                    <a:pt x="230" y="192"/>
                    <a:pt x="234" y="188"/>
                    <a:pt x="234" y="182"/>
                  </a:cubicBezTo>
                  <a:cubicBezTo>
                    <a:pt x="234" y="171"/>
                    <a:pt x="234" y="171"/>
                    <a:pt x="234" y="171"/>
                  </a:cubicBezTo>
                  <a:cubicBezTo>
                    <a:pt x="277" y="171"/>
                    <a:pt x="277" y="171"/>
                    <a:pt x="277" y="171"/>
                  </a:cubicBezTo>
                  <a:lnTo>
                    <a:pt x="277" y="256"/>
                  </a:lnTo>
                  <a:close/>
                  <a:moveTo>
                    <a:pt x="298" y="150"/>
                  </a:moveTo>
                  <a:cubicBezTo>
                    <a:pt x="234" y="150"/>
                    <a:pt x="234" y="150"/>
                    <a:pt x="234" y="150"/>
                  </a:cubicBezTo>
                  <a:cubicBezTo>
                    <a:pt x="234" y="139"/>
                    <a:pt x="234" y="139"/>
                    <a:pt x="234" y="139"/>
                  </a:cubicBezTo>
                  <a:cubicBezTo>
                    <a:pt x="234" y="133"/>
                    <a:pt x="230" y="128"/>
                    <a:pt x="224" y="128"/>
                  </a:cubicBezTo>
                  <a:cubicBezTo>
                    <a:pt x="218" y="128"/>
                    <a:pt x="213" y="133"/>
                    <a:pt x="213" y="139"/>
                  </a:cubicBezTo>
                  <a:cubicBezTo>
                    <a:pt x="213" y="150"/>
                    <a:pt x="213" y="150"/>
                    <a:pt x="213" y="150"/>
                  </a:cubicBezTo>
                  <a:cubicBezTo>
                    <a:pt x="106" y="150"/>
                    <a:pt x="106" y="150"/>
                    <a:pt x="106" y="150"/>
                  </a:cubicBezTo>
                  <a:cubicBezTo>
                    <a:pt x="106" y="139"/>
                    <a:pt x="106" y="139"/>
                    <a:pt x="106" y="139"/>
                  </a:cubicBezTo>
                  <a:cubicBezTo>
                    <a:pt x="106" y="133"/>
                    <a:pt x="102" y="128"/>
                    <a:pt x="96" y="128"/>
                  </a:cubicBezTo>
                  <a:cubicBezTo>
                    <a:pt x="90" y="128"/>
                    <a:pt x="85" y="133"/>
                    <a:pt x="85" y="139"/>
                  </a:cubicBezTo>
                  <a:cubicBezTo>
                    <a:pt x="85" y="150"/>
                    <a:pt x="85" y="150"/>
                    <a:pt x="85" y="150"/>
                  </a:cubicBezTo>
                  <a:cubicBezTo>
                    <a:pt x="21" y="150"/>
                    <a:pt x="21" y="150"/>
                    <a:pt x="21" y="150"/>
                  </a:cubicBezTo>
                  <a:cubicBezTo>
                    <a:pt x="21" y="64"/>
                    <a:pt x="21" y="64"/>
                    <a:pt x="21" y="64"/>
                  </a:cubicBezTo>
                  <a:cubicBezTo>
                    <a:pt x="298" y="64"/>
                    <a:pt x="298" y="64"/>
                    <a:pt x="298" y="64"/>
                  </a:cubicBezTo>
                  <a:lnTo>
                    <a:pt x="298" y="150"/>
                  </a:ln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8" name="Freeform 779">
              <a:extLst>
                <a:ext uri="{FF2B5EF4-FFF2-40B4-BE49-F238E27FC236}">
                  <a16:creationId xmlns:a16="http://schemas.microsoft.com/office/drawing/2014/main" id="{5252BEE0-FD9D-479F-91FE-2C73E5599C2C}"/>
                </a:ext>
              </a:extLst>
            </p:cNvPr>
            <p:cNvSpPr>
              <a:spLocks noEditPoints="1"/>
            </p:cNvSpPr>
            <p:nvPr/>
          </p:nvSpPr>
          <p:spPr bwMode="auto">
            <a:xfrm>
              <a:off x="5818" y="307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2321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5748338" y="0"/>
            <a:ext cx="64436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1" name="Group 40">
            <a:extLst>
              <a:ext uri="{FF2B5EF4-FFF2-40B4-BE49-F238E27FC236}">
                <a16:creationId xmlns:a16="http://schemas.microsoft.com/office/drawing/2014/main" id="{B81C30BD-6E0A-5746-A583-22D8F6841F52}"/>
              </a:ext>
            </a:extLst>
          </p:cNvPr>
          <p:cNvGrpSpPr/>
          <p:nvPr/>
        </p:nvGrpSpPr>
        <p:grpSpPr>
          <a:xfrm>
            <a:off x="746538" y="725024"/>
            <a:ext cx="4642410" cy="5135562"/>
            <a:chOff x="2379795" y="745511"/>
            <a:chExt cx="4642410" cy="5135562"/>
          </a:xfrm>
        </p:grpSpPr>
        <p:sp>
          <p:nvSpPr>
            <p:cNvPr id="42" name="Freeform 1591">
              <a:extLst>
                <a:ext uri="{FF2B5EF4-FFF2-40B4-BE49-F238E27FC236}">
                  <a16:creationId xmlns:a16="http://schemas.microsoft.com/office/drawing/2014/main" id="{D89D21A3-25D8-0242-B62E-890E8D7FFE26}"/>
                </a:ext>
              </a:extLst>
            </p:cNvPr>
            <p:cNvSpPr>
              <a:spLocks/>
            </p:cNvSpPr>
            <p:nvPr/>
          </p:nvSpPr>
          <p:spPr bwMode="auto">
            <a:xfrm>
              <a:off x="3983729" y="1975823"/>
              <a:ext cx="1577975" cy="3897312"/>
            </a:xfrm>
            <a:custGeom>
              <a:avLst/>
              <a:gdLst>
                <a:gd name="T0" fmla="*/ 1308 w 1988"/>
                <a:gd name="T1" fmla="*/ 51 h 4910"/>
                <a:gd name="T2" fmla="*/ 1661 w 1988"/>
                <a:gd name="T3" fmla="*/ 257 h 4910"/>
                <a:gd name="T4" fmla="*/ 1900 w 1988"/>
                <a:gd name="T5" fmla="*/ 584 h 4910"/>
                <a:gd name="T6" fmla="*/ 1988 w 1988"/>
                <a:gd name="T7" fmla="*/ 994 h 4910"/>
                <a:gd name="T8" fmla="*/ 1906 w 1988"/>
                <a:gd name="T9" fmla="*/ 1391 h 4910"/>
                <a:gd name="T10" fmla="*/ 1684 w 1988"/>
                <a:gd name="T11" fmla="*/ 1712 h 4910"/>
                <a:gd name="T12" fmla="*/ 1353 w 1988"/>
                <a:gd name="T13" fmla="*/ 1922 h 4910"/>
                <a:gd name="T14" fmla="*/ 1055 w 1988"/>
                <a:gd name="T15" fmla="*/ 2919 h 4910"/>
                <a:gd name="T16" fmla="*/ 1353 w 1988"/>
                <a:gd name="T17" fmla="*/ 2990 h 4910"/>
                <a:gd name="T18" fmla="*/ 1684 w 1988"/>
                <a:gd name="T19" fmla="*/ 3199 h 4910"/>
                <a:gd name="T20" fmla="*/ 1906 w 1988"/>
                <a:gd name="T21" fmla="*/ 3521 h 4910"/>
                <a:gd name="T22" fmla="*/ 1988 w 1988"/>
                <a:gd name="T23" fmla="*/ 3916 h 4910"/>
                <a:gd name="T24" fmla="*/ 1900 w 1988"/>
                <a:gd name="T25" fmla="*/ 4328 h 4910"/>
                <a:gd name="T26" fmla="*/ 1661 w 1988"/>
                <a:gd name="T27" fmla="*/ 4655 h 4910"/>
                <a:gd name="T28" fmla="*/ 1308 w 1988"/>
                <a:gd name="T29" fmla="*/ 4859 h 4910"/>
                <a:gd name="T30" fmla="*/ 886 w 1988"/>
                <a:gd name="T31" fmla="*/ 4904 h 4910"/>
                <a:gd name="T32" fmla="*/ 494 w 1988"/>
                <a:gd name="T33" fmla="*/ 4775 h 4910"/>
                <a:gd name="T34" fmla="*/ 192 w 1988"/>
                <a:gd name="T35" fmla="*/ 4504 h 4910"/>
                <a:gd name="T36" fmla="*/ 23 w 1988"/>
                <a:gd name="T37" fmla="*/ 4129 h 4910"/>
                <a:gd name="T38" fmla="*/ 21 w 1988"/>
                <a:gd name="T39" fmla="*/ 3712 h 4910"/>
                <a:gd name="T40" fmla="*/ 186 w 1988"/>
                <a:gd name="T41" fmla="*/ 3339 h 4910"/>
                <a:gd name="T42" fmla="*/ 260 w 1988"/>
                <a:gd name="T43" fmla="*/ 3258 h 4910"/>
                <a:gd name="T44" fmla="*/ 198 w 1988"/>
                <a:gd name="T45" fmla="*/ 3349 h 4910"/>
                <a:gd name="T46" fmla="*/ 37 w 1988"/>
                <a:gd name="T47" fmla="*/ 3715 h 4910"/>
                <a:gd name="T48" fmla="*/ 37 w 1988"/>
                <a:gd name="T49" fmla="*/ 4125 h 4910"/>
                <a:gd name="T50" fmla="*/ 204 w 1988"/>
                <a:gd name="T51" fmla="*/ 4494 h 4910"/>
                <a:gd name="T52" fmla="*/ 500 w 1988"/>
                <a:gd name="T53" fmla="*/ 4761 h 4910"/>
                <a:gd name="T54" fmla="*/ 888 w 1988"/>
                <a:gd name="T55" fmla="*/ 4891 h 4910"/>
                <a:gd name="T56" fmla="*/ 1304 w 1988"/>
                <a:gd name="T57" fmla="*/ 4845 h 4910"/>
                <a:gd name="T58" fmla="*/ 1651 w 1988"/>
                <a:gd name="T59" fmla="*/ 4643 h 4910"/>
                <a:gd name="T60" fmla="*/ 1886 w 1988"/>
                <a:gd name="T61" fmla="*/ 4320 h 4910"/>
                <a:gd name="T62" fmla="*/ 1973 w 1988"/>
                <a:gd name="T63" fmla="*/ 3916 h 4910"/>
                <a:gd name="T64" fmla="*/ 1892 w 1988"/>
                <a:gd name="T65" fmla="*/ 3525 h 4910"/>
                <a:gd name="T66" fmla="*/ 1671 w 1988"/>
                <a:gd name="T67" fmla="*/ 3207 h 4910"/>
                <a:gd name="T68" fmla="*/ 1343 w 1988"/>
                <a:gd name="T69" fmla="*/ 3001 h 4910"/>
                <a:gd name="T70" fmla="*/ 1043 w 1988"/>
                <a:gd name="T71" fmla="*/ 2937 h 4910"/>
                <a:gd name="T72" fmla="*/ 1041 w 1988"/>
                <a:gd name="T73" fmla="*/ 1981 h 4910"/>
                <a:gd name="T74" fmla="*/ 1149 w 1988"/>
                <a:gd name="T75" fmla="*/ 1962 h 4910"/>
                <a:gd name="T76" fmla="*/ 1518 w 1988"/>
                <a:gd name="T77" fmla="*/ 1822 h 4910"/>
                <a:gd name="T78" fmla="*/ 1796 w 1988"/>
                <a:gd name="T79" fmla="*/ 1555 h 4910"/>
                <a:gd name="T80" fmla="*/ 1953 w 1988"/>
                <a:gd name="T81" fmla="*/ 1198 h 4910"/>
                <a:gd name="T82" fmla="*/ 1951 w 1988"/>
                <a:gd name="T83" fmla="*/ 784 h 4910"/>
                <a:gd name="T84" fmla="*/ 1784 w 1988"/>
                <a:gd name="T85" fmla="*/ 418 h 4910"/>
                <a:gd name="T86" fmla="*/ 1488 w 1988"/>
                <a:gd name="T87" fmla="*/ 149 h 4910"/>
                <a:gd name="T88" fmla="*/ 1102 w 1988"/>
                <a:gd name="T89" fmla="*/ 21 h 4910"/>
                <a:gd name="T90" fmla="*/ 686 w 1988"/>
                <a:gd name="T91" fmla="*/ 66 h 4910"/>
                <a:gd name="T92" fmla="*/ 339 w 1988"/>
                <a:gd name="T93" fmla="*/ 269 h 4910"/>
                <a:gd name="T94" fmla="*/ 102 w 1988"/>
                <a:gd name="T95" fmla="*/ 590 h 4910"/>
                <a:gd name="T96" fmla="*/ 15 w 1988"/>
                <a:gd name="T97" fmla="*/ 994 h 4910"/>
                <a:gd name="T98" fmla="*/ 72 w 1988"/>
                <a:gd name="T99" fmla="*/ 1324 h 4910"/>
                <a:gd name="T100" fmla="*/ 64 w 1988"/>
                <a:gd name="T101" fmla="*/ 1334 h 4910"/>
                <a:gd name="T102" fmla="*/ 15 w 1988"/>
                <a:gd name="T103" fmla="*/ 1165 h 4910"/>
                <a:gd name="T104" fmla="*/ 23 w 1988"/>
                <a:gd name="T105" fmla="*/ 783 h 4910"/>
                <a:gd name="T106" fmla="*/ 192 w 1988"/>
                <a:gd name="T107" fmla="*/ 408 h 4910"/>
                <a:gd name="T108" fmla="*/ 494 w 1988"/>
                <a:gd name="T109" fmla="*/ 137 h 4910"/>
                <a:gd name="T110" fmla="*/ 886 w 1988"/>
                <a:gd name="T111" fmla="*/ 6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8" h="4910">
                  <a:moveTo>
                    <a:pt x="994" y="0"/>
                  </a:moveTo>
                  <a:lnTo>
                    <a:pt x="1102" y="6"/>
                  </a:lnTo>
                  <a:lnTo>
                    <a:pt x="1208" y="23"/>
                  </a:lnTo>
                  <a:lnTo>
                    <a:pt x="1308" y="51"/>
                  </a:lnTo>
                  <a:lnTo>
                    <a:pt x="1404" y="90"/>
                  </a:lnTo>
                  <a:lnTo>
                    <a:pt x="1496" y="137"/>
                  </a:lnTo>
                  <a:lnTo>
                    <a:pt x="1580" y="192"/>
                  </a:lnTo>
                  <a:lnTo>
                    <a:pt x="1661" y="257"/>
                  </a:lnTo>
                  <a:lnTo>
                    <a:pt x="1731" y="329"/>
                  </a:lnTo>
                  <a:lnTo>
                    <a:pt x="1796" y="408"/>
                  </a:lnTo>
                  <a:lnTo>
                    <a:pt x="1853" y="494"/>
                  </a:lnTo>
                  <a:lnTo>
                    <a:pt x="1900" y="584"/>
                  </a:lnTo>
                  <a:lnTo>
                    <a:pt x="1937" y="681"/>
                  </a:lnTo>
                  <a:lnTo>
                    <a:pt x="1965" y="783"/>
                  </a:lnTo>
                  <a:lnTo>
                    <a:pt x="1982" y="887"/>
                  </a:lnTo>
                  <a:lnTo>
                    <a:pt x="1988" y="994"/>
                  </a:lnTo>
                  <a:lnTo>
                    <a:pt x="1982" y="1098"/>
                  </a:lnTo>
                  <a:lnTo>
                    <a:pt x="1967" y="1200"/>
                  </a:lnTo>
                  <a:lnTo>
                    <a:pt x="1941" y="1297"/>
                  </a:lnTo>
                  <a:lnTo>
                    <a:pt x="1906" y="1391"/>
                  </a:lnTo>
                  <a:lnTo>
                    <a:pt x="1863" y="1479"/>
                  </a:lnTo>
                  <a:lnTo>
                    <a:pt x="1810" y="1563"/>
                  </a:lnTo>
                  <a:lnTo>
                    <a:pt x="1751" y="1640"/>
                  </a:lnTo>
                  <a:lnTo>
                    <a:pt x="1684" y="1712"/>
                  </a:lnTo>
                  <a:lnTo>
                    <a:pt x="1610" y="1775"/>
                  </a:lnTo>
                  <a:lnTo>
                    <a:pt x="1529" y="1834"/>
                  </a:lnTo>
                  <a:lnTo>
                    <a:pt x="1445" y="1883"/>
                  </a:lnTo>
                  <a:lnTo>
                    <a:pt x="1353" y="1922"/>
                  </a:lnTo>
                  <a:lnTo>
                    <a:pt x="1259" y="1954"/>
                  </a:lnTo>
                  <a:lnTo>
                    <a:pt x="1159" y="1975"/>
                  </a:lnTo>
                  <a:lnTo>
                    <a:pt x="1055" y="1987"/>
                  </a:lnTo>
                  <a:lnTo>
                    <a:pt x="1055" y="2919"/>
                  </a:lnTo>
                  <a:lnTo>
                    <a:pt x="1055" y="2925"/>
                  </a:lnTo>
                  <a:lnTo>
                    <a:pt x="1159" y="2935"/>
                  </a:lnTo>
                  <a:lnTo>
                    <a:pt x="1257" y="2958"/>
                  </a:lnTo>
                  <a:lnTo>
                    <a:pt x="1353" y="2990"/>
                  </a:lnTo>
                  <a:lnTo>
                    <a:pt x="1443" y="3029"/>
                  </a:lnTo>
                  <a:lnTo>
                    <a:pt x="1529" y="3078"/>
                  </a:lnTo>
                  <a:lnTo>
                    <a:pt x="1610" y="3135"/>
                  </a:lnTo>
                  <a:lnTo>
                    <a:pt x="1684" y="3199"/>
                  </a:lnTo>
                  <a:lnTo>
                    <a:pt x="1751" y="3270"/>
                  </a:lnTo>
                  <a:lnTo>
                    <a:pt x="1810" y="3349"/>
                  </a:lnTo>
                  <a:lnTo>
                    <a:pt x="1863" y="3433"/>
                  </a:lnTo>
                  <a:lnTo>
                    <a:pt x="1906" y="3521"/>
                  </a:lnTo>
                  <a:lnTo>
                    <a:pt x="1941" y="3613"/>
                  </a:lnTo>
                  <a:lnTo>
                    <a:pt x="1967" y="3712"/>
                  </a:lnTo>
                  <a:lnTo>
                    <a:pt x="1982" y="3812"/>
                  </a:lnTo>
                  <a:lnTo>
                    <a:pt x="1988" y="3916"/>
                  </a:lnTo>
                  <a:lnTo>
                    <a:pt x="1982" y="4025"/>
                  </a:lnTo>
                  <a:lnTo>
                    <a:pt x="1965" y="4129"/>
                  </a:lnTo>
                  <a:lnTo>
                    <a:pt x="1937" y="4229"/>
                  </a:lnTo>
                  <a:lnTo>
                    <a:pt x="1900" y="4328"/>
                  </a:lnTo>
                  <a:lnTo>
                    <a:pt x="1853" y="4418"/>
                  </a:lnTo>
                  <a:lnTo>
                    <a:pt x="1796" y="4504"/>
                  </a:lnTo>
                  <a:lnTo>
                    <a:pt x="1731" y="4583"/>
                  </a:lnTo>
                  <a:lnTo>
                    <a:pt x="1661" y="4655"/>
                  </a:lnTo>
                  <a:lnTo>
                    <a:pt x="1580" y="4718"/>
                  </a:lnTo>
                  <a:lnTo>
                    <a:pt x="1496" y="4775"/>
                  </a:lnTo>
                  <a:lnTo>
                    <a:pt x="1404" y="4822"/>
                  </a:lnTo>
                  <a:lnTo>
                    <a:pt x="1308" y="4859"/>
                  </a:lnTo>
                  <a:lnTo>
                    <a:pt x="1208" y="4889"/>
                  </a:lnTo>
                  <a:lnTo>
                    <a:pt x="1102" y="4904"/>
                  </a:lnTo>
                  <a:lnTo>
                    <a:pt x="994" y="4910"/>
                  </a:lnTo>
                  <a:lnTo>
                    <a:pt x="886" y="4904"/>
                  </a:lnTo>
                  <a:lnTo>
                    <a:pt x="782" y="4889"/>
                  </a:lnTo>
                  <a:lnTo>
                    <a:pt x="680" y="4859"/>
                  </a:lnTo>
                  <a:lnTo>
                    <a:pt x="584" y="4822"/>
                  </a:lnTo>
                  <a:lnTo>
                    <a:pt x="494" y="4775"/>
                  </a:lnTo>
                  <a:lnTo>
                    <a:pt x="408" y="4718"/>
                  </a:lnTo>
                  <a:lnTo>
                    <a:pt x="329" y="4655"/>
                  </a:lnTo>
                  <a:lnTo>
                    <a:pt x="256" y="4583"/>
                  </a:lnTo>
                  <a:lnTo>
                    <a:pt x="192" y="4504"/>
                  </a:lnTo>
                  <a:lnTo>
                    <a:pt x="137" y="4418"/>
                  </a:lnTo>
                  <a:lnTo>
                    <a:pt x="90" y="4328"/>
                  </a:lnTo>
                  <a:lnTo>
                    <a:pt x="51" y="4229"/>
                  </a:lnTo>
                  <a:lnTo>
                    <a:pt x="23" y="4129"/>
                  </a:lnTo>
                  <a:lnTo>
                    <a:pt x="5" y="4025"/>
                  </a:lnTo>
                  <a:lnTo>
                    <a:pt x="0" y="3916"/>
                  </a:lnTo>
                  <a:lnTo>
                    <a:pt x="5" y="3814"/>
                  </a:lnTo>
                  <a:lnTo>
                    <a:pt x="21" y="3712"/>
                  </a:lnTo>
                  <a:lnTo>
                    <a:pt x="49" y="3613"/>
                  </a:lnTo>
                  <a:lnTo>
                    <a:pt x="84" y="3517"/>
                  </a:lnTo>
                  <a:lnTo>
                    <a:pt x="129" y="3425"/>
                  </a:lnTo>
                  <a:lnTo>
                    <a:pt x="186" y="3339"/>
                  </a:lnTo>
                  <a:lnTo>
                    <a:pt x="249" y="3258"/>
                  </a:lnTo>
                  <a:lnTo>
                    <a:pt x="253" y="3256"/>
                  </a:lnTo>
                  <a:lnTo>
                    <a:pt x="256" y="3256"/>
                  </a:lnTo>
                  <a:lnTo>
                    <a:pt x="260" y="3258"/>
                  </a:lnTo>
                  <a:lnTo>
                    <a:pt x="262" y="3260"/>
                  </a:lnTo>
                  <a:lnTo>
                    <a:pt x="262" y="3264"/>
                  </a:lnTo>
                  <a:lnTo>
                    <a:pt x="260" y="3268"/>
                  </a:lnTo>
                  <a:lnTo>
                    <a:pt x="198" y="3349"/>
                  </a:lnTo>
                  <a:lnTo>
                    <a:pt x="143" y="3433"/>
                  </a:lnTo>
                  <a:lnTo>
                    <a:pt x="98" y="3523"/>
                  </a:lnTo>
                  <a:lnTo>
                    <a:pt x="62" y="3617"/>
                  </a:lnTo>
                  <a:lnTo>
                    <a:pt x="37" y="3715"/>
                  </a:lnTo>
                  <a:lnTo>
                    <a:pt x="21" y="3815"/>
                  </a:lnTo>
                  <a:lnTo>
                    <a:pt x="15" y="3916"/>
                  </a:lnTo>
                  <a:lnTo>
                    <a:pt x="21" y="4023"/>
                  </a:lnTo>
                  <a:lnTo>
                    <a:pt x="37" y="4125"/>
                  </a:lnTo>
                  <a:lnTo>
                    <a:pt x="64" y="4226"/>
                  </a:lnTo>
                  <a:lnTo>
                    <a:pt x="102" y="4320"/>
                  </a:lnTo>
                  <a:lnTo>
                    <a:pt x="149" y="4410"/>
                  </a:lnTo>
                  <a:lnTo>
                    <a:pt x="204" y="4494"/>
                  </a:lnTo>
                  <a:lnTo>
                    <a:pt x="268" y="4573"/>
                  </a:lnTo>
                  <a:lnTo>
                    <a:pt x="339" y="4643"/>
                  </a:lnTo>
                  <a:lnTo>
                    <a:pt x="417" y="4706"/>
                  </a:lnTo>
                  <a:lnTo>
                    <a:pt x="500" y="4761"/>
                  </a:lnTo>
                  <a:lnTo>
                    <a:pt x="590" y="4808"/>
                  </a:lnTo>
                  <a:lnTo>
                    <a:pt x="686" y="4845"/>
                  </a:lnTo>
                  <a:lnTo>
                    <a:pt x="784" y="4873"/>
                  </a:lnTo>
                  <a:lnTo>
                    <a:pt x="888" y="4891"/>
                  </a:lnTo>
                  <a:lnTo>
                    <a:pt x="994" y="4896"/>
                  </a:lnTo>
                  <a:lnTo>
                    <a:pt x="1102" y="4891"/>
                  </a:lnTo>
                  <a:lnTo>
                    <a:pt x="1204" y="4873"/>
                  </a:lnTo>
                  <a:lnTo>
                    <a:pt x="1304" y="4845"/>
                  </a:lnTo>
                  <a:lnTo>
                    <a:pt x="1398" y="4808"/>
                  </a:lnTo>
                  <a:lnTo>
                    <a:pt x="1488" y="4761"/>
                  </a:lnTo>
                  <a:lnTo>
                    <a:pt x="1573" y="4706"/>
                  </a:lnTo>
                  <a:lnTo>
                    <a:pt x="1651" y="4643"/>
                  </a:lnTo>
                  <a:lnTo>
                    <a:pt x="1722" y="4573"/>
                  </a:lnTo>
                  <a:lnTo>
                    <a:pt x="1784" y="4494"/>
                  </a:lnTo>
                  <a:lnTo>
                    <a:pt x="1839" y="4410"/>
                  </a:lnTo>
                  <a:lnTo>
                    <a:pt x="1886" y="4320"/>
                  </a:lnTo>
                  <a:lnTo>
                    <a:pt x="1924" y="4226"/>
                  </a:lnTo>
                  <a:lnTo>
                    <a:pt x="1951" y="4125"/>
                  </a:lnTo>
                  <a:lnTo>
                    <a:pt x="1969" y="4023"/>
                  </a:lnTo>
                  <a:lnTo>
                    <a:pt x="1973" y="3916"/>
                  </a:lnTo>
                  <a:lnTo>
                    <a:pt x="1969" y="3814"/>
                  </a:lnTo>
                  <a:lnTo>
                    <a:pt x="1953" y="3713"/>
                  </a:lnTo>
                  <a:lnTo>
                    <a:pt x="1928" y="3617"/>
                  </a:lnTo>
                  <a:lnTo>
                    <a:pt x="1892" y="3525"/>
                  </a:lnTo>
                  <a:lnTo>
                    <a:pt x="1849" y="3437"/>
                  </a:lnTo>
                  <a:lnTo>
                    <a:pt x="1796" y="3354"/>
                  </a:lnTo>
                  <a:lnTo>
                    <a:pt x="1737" y="3278"/>
                  </a:lnTo>
                  <a:lnTo>
                    <a:pt x="1671" y="3207"/>
                  </a:lnTo>
                  <a:lnTo>
                    <a:pt x="1598" y="3145"/>
                  </a:lnTo>
                  <a:lnTo>
                    <a:pt x="1518" y="3088"/>
                  </a:lnTo>
                  <a:lnTo>
                    <a:pt x="1433" y="3041"/>
                  </a:lnTo>
                  <a:lnTo>
                    <a:pt x="1343" y="3001"/>
                  </a:lnTo>
                  <a:lnTo>
                    <a:pt x="1247" y="2970"/>
                  </a:lnTo>
                  <a:lnTo>
                    <a:pt x="1149" y="2948"/>
                  </a:lnTo>
                  <a:lnTo>
                    <a:pt x="1047" y="2939"/>
                  </a:lnTo>
                  <a:lnTo>
                    <a:pt x="1043" y="2937"/>
                  </a:lnTo>
                  <a:lnTo>
                    <a:pt x="1041" y="2935"/>
                  </a:lnTo>
                  <a:lnTo>
                    <a:pt x="1039" y="2931"/>
                  </a:lnTo>
                  <a:lnTo>
                    <a:pt x="1041" y="2919"/>
                  </a:lnTo>
                  <a:lnTo>
                    <a:pt x="1041" y="1981"/>
                  </a:lnTo>
                  <a:lnTo>
                    <a:pt x="1041" y="1977"/>
                  </a:lnTo>
                  <a:lnTo>
                    <a:pt x="1043" y="1973"/>
                  </a:lnTo>
                  <a:lnTo>
                    <a:pt x="1047" y="1973"/>
                  </a:lnTo>
                  <a:lnTo>
                    <a:pt x="1149" y="1962"/>
                  </a:lnTo>
                  <a:lnTo>
                    <a:pt x="1249" y="1942"/>
                  </a:lnTo>
                  <a:lnTo>
                    <a:pt x="1343" y="1911"/>
                  </a:lnTo>
                  <a:lnTo>
                    <a:pt x="1433" y="1871"/>
                  </a:lnTo>
                  <a:lnTo>
                    <a:pt x="1518" y="1822"/>
                  </a:lnTo>
                  <a:lnTo>
                    <a:pt x="1598" y="1767"/>
                  </a:lnTo>
                  <a:lnTo>
                    <a:pt x="1671" y="1703"/>
                  </a:lnTo>
                  <a:lnTo>
                    <a:pt x="1737" y="1634"/>
                  </a:lnTo>
                  <a:lnTo>
                    <a:pt x="1796" y="1555"/>
                  </a:lnTo>
                  <a:lnTo>
                    <a:pt x="1849" y="1473"/>
                  </a:lnTo>
                  <a:lnTo>
                    <a:pt x="1892" y="1387"/>
                  </a:lnTo>
                  <a:lnTo>
                    <a:pt x="1928" y="1295"/>
                  </a:lnTo>
                  <a:lnTo>
                    <a:pt x="1953" y="1198"/>
                  </a:lnTo>
                  <a:lnTo>
                    <a:pt x="1969" y="1098"/>
                  </a:lnTo>
                  <a:lnTo>
                    <a:pt x="1973" y="994"/>
                  </a:lnTo>
                  <a:lnTo>
                    <a:pt x="1969" y="888"/>
                  </a:lnTo>
                  <a:lnTo>
                    <a:pt x="1951" y="784"/>
                  </a:lnTo>
                  <a:lnTo>
                    <a:pt x="1924" y="686"/>
                  </a:lnTo>
                  <a:lnTo>
                    <a:pt x="1886" y="590"/>
                  </a:lnTo>
                  <a:lnTo>
                    <a:pt x="1839" y="502"/>
                  </a:lnTo>
                  <a:lnTo>
                    <a:pt x="1784" y="418"/>
                  </a:lnTo>
                  <a:lnTo>
                    <a:pt x="1722" y="339"/>
                  </a:lnTo>
                  <a:lnTo>
                    <a:pt x="1651" y="269"/>
                  </a:lnTo>
                  <a:lnTo>
                    <a:pt x="1573" y="204"/>
                  </a:lnTo>
                  <a:lnTo>
                    <a:pt x="1488" y="149"/>
                  </a:lnTo>
                  <a:lnTo>
                    <a:pt x="1398" y="104"/>
                  </a:lnTo>
                  <a:lnTo>
                    <a:pt x="1304" y="66"/>
                  </a:lnTo>
                  <a:lnTo>
                    <a:pt x="1204" y="39"/>
                  </a:lnTo>
                  <a:lnTo>
                    <a:pt x="1102" y="21"/>
                  </a:lnTo>
                  <a:lnTo>
                    <a:pt x="994" y="15"/>
                  </a:lnTo>
                  <a:lnTo>
                    <a:pt x="888" y="21"/>
                  </a:lnTo>
                  <a:lnTo>
                    <a:pt x="784" y="39"/>
                  </a:lnTo>
                  <a:lnTo>
                    <a:pt x="686" y="66"/>
                  </a:lnTo>
                  <a:lnTo>
                    <a:pt x="590" y="104"/>
                  </a:lnTo>
                  <a:lnTo>
                    <a:pt x="500" y="149"/>
                  </a:lnTo>
                  <a:lnTo>
                    <a:pt x="417" y="204"/>
                  </a:lnTo>
                  <a:lnTo>
                    <a:pt x="339" y="269"/>
                  </a:lnTo>
                  <a:lnTo>
                    <a:pt x="268" y="339"/>
                  </a:lnTo>
                  <a:lnTo>
                    <a:pt x="204" y="418"/>
                  </a:lnTo>
                  <a:lnTo>
                    <a:pt x="149" y="502"/>
                  </a:lnTo>
                  <a:lnTo>
                    <a:pt x="102" y="590"/>
                  </a:lnTo>
                  <a:lnTo>
                    <a:pt x="64" y="686"/>
                  </a:lnTo>
                  <a:lnTo>
                    <a:pt x="37" y="784"/>
                  </a:lnTo>
                  <a:lnTo>
                    <a:pt x="21" y="888"/>
                  </a:lnTo>
                  <a:lnTo>
                    <a:pt x="15" y="994"/>
                  </a:lnTo>
                  <a:lnTo>
                    <a:pt x="19" y="1079"/>
                  </a:lnTo>
                  <a:lnTo>
                    <a:pt x="29" y="1163"/>
                  </a:lnTo>
                  <a:lnTo>
                    <a:pt x="47" y="1244"/>
                  </a:lnTo>
                  <a:lnTo>
                    <a:pt x="72" y="1324"/>
                  </a:lnTo>
                  <a:lnTo>
                    <a:pt x="72" y="1328"/>
                  </a:lnTo>
                  <a:lnTo>
                    <a:pt x="70" y="1332"/>
                  </a:lnTo>
                  <a:lnTo>
                    <a:pt x="68" y="1334"/>
                  </a:lnTo>
                  <a:lnTo>
                    <a:pt x="64" y="1334"/>
                  </a:lnTo>
                  <a:lnTo>
                    <a:pt x="60" y="1332"/>
                  </a:lnTo>
                  <a:lnTo>
                    <a:pt x="58" y="1330"/>
                  </a:lnTo>
                  <a:lnTo>
                    <a:pt x="33" y="1247"/>
                  </a:lnTo>
                  <a:lnTo>
                    <a:pt x="15" y="1165"/>
                  </a:lnTo>
                  <a:lnTo>
                    <a:pt x="3" y="1081"/>
                  </a:lnTo>
                  <a:lnTo>
                    <a:pt x="0" y="994"/>
                  </a:lnTo>
                  <a:lnTo>
                    <a:pt x="5" y="887"/>
                  </a:lnTo>
                  <a:lnTo>
                    <a:pt x="23" y="783"/>
                  </a:lnTo>
                  <a:lnTo>
                    <a:pt x="51" y="681"/>
                  </a:lnTo>
                  <a:lnTo>
                    <a:pt x="90" y="584"/>
                  </a:lnTo>
                  <a:lnTo>
                    <a:pt x="137" y="494"/>
                  </a:lnTo>
                  <a:lnTo>
                    <a:pt x="192" y="408"/>
                  </a:lnTo>
                  <a:lnTo>
                    <a:pt x="256" y="329"/>
                  </a:lnTo>
                  <a:lnTo>
                    <a:pt x="329" y="257"/>
                  </a:lnTo>
                  <a:lnTo>
                    <a:pt x="408" y="192"/>
                  </a:lnTo>
                  <a:lnTo>
                    <a:pt x="494" y="137"/>
                  </a:lnTo>
                  <a:lnTo>
                    <a:pt x="584" y="90"/>
                  </a:lnTo>
                  <a:lnTo>
                    <a:pt x="680" y="51"/>
                  </a:lnTo>
                  <a:lnTo>
                    <a:pt x="782" y="23"/>
                  </a:lnTo>
                  <a:lnTo>
                    <a:pt x="886" y="6"/>
                  </a:lnTo>
                  <a:lnTo>
                    <a:pt x="99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1592">
              <a:extLst>
                <a:ext uri="{FF2B5EF4-FFF2-40B4-BE49-F238E27FC236}">
                  <a16:creationId xmlns:a16="http://schemas.microsoft.com/office/drawing/2014/main" id="{67F13EDD-4DD1-044A-9D48-2AB6506C8AEA}"/>
                </a:ext>
              </a:extLst>
            </p:cNvPr>
            <p:cNvSpPr>
              <a:spLocks/>
            </p:cNvSpPr>
            <p:nvPr/>
          </p:nvSpPr>
          <p:spPr bwMode="auto">
            <a:xfrm>
              <a:off x="2523229" y="4693623"/>
              <a:ext cx="1281113" cy="1093787"/>
            </a:xfrm>
            <a:custGeom>
              <a:avLst/>
              <a:gdLst>
                <a:gd name="T0" fmla="*/ 1606 w 1614"/>
                <a:gd name="T1" fmla="*/ 0 h 1379"/>
                <a:gd name="T2" fmla="*/ 1610 w 1614"/>
                <a:gd name="T3" fmla="*/ 2 h 1379"/>
                <a:gd name="T4" fmla="*/ 1614 w 1614"/>
                <a:gd name="T5" fmla="*/ 4 h 1379"/>
                <a:gd name="T6" fmla="*/ 1614 w 1614"/>
                <a:gd name="T7" fmla="*/ 8 h 1379"/>
                <a:gd name="T8" fmla="*/ 1614 w 1614"/>
                <a:gd name="T9" fmla="*/ 1269 h 1379"/>
                <a:gd name="T10" fmla="*/ 1608 w 1614"/>
                <a:gd name="T11" fmla="*/ 1305 h 1379"/>
                <a:gd name="T12" fmla="*/ 1592 w 1614"/>
                <a:gd name="T13" fmla="*/ 1334 h 1379"/>
                <a:gd name="T14" fmla="*/ 1569 w 1614"/>
                <a:gd name="T15" fmla="*/ 1358 h 1379"/>
                <a:gd name="T16" fmla="*/ 1539 w 1614"/>
                <a:gd name="T17" fmla="*/ 1373 h 1379"/>
                <a:gd name="T18" fmla="*/ 1504 w 1614"/>
                <a:gd name="T19" fmla="*/ 1379 h 1379"/>
                <a:gd name="T20" fmla="*/ 8 w 1614"/>
                <a:gd name="T21" fmla="*/ 1379 h 1379"/>
                <a:gd name="T22" fmla="*/ 4 w 1614"/>
                <a:gd name="T23" fmla="*/ 1379 h 1379"/>
                <a:gd name="T24" fmla="*/ 0 w 1614"/>
                <a:gd name="T25" fmla="*/ 1375 h 1379"/>
                <a:gd name="T26" fmla="*/ 0 w 1614"/>
                <a:gd name="T27" fmla="*/ 1371 h 1379"/>
                <a:gd name="T28" fmla="*/ 0 w 1614"/>
                <a:gd name="T29" fmla="*/ 1369 h 1379"/>
                <a:gd name="T30" fmla="*/ 4 w 1614"/>
                <a:gd name="T31" fmla="*/ 1366 h 1379"/>
                <a:gd name="T32" fmla="*/ 8 w 1614"/>
                <a:gd name="T33" fmla="*/ 1366 h 1379"/>
                <a:gd name="T34" fmla="*/ 1504 w 1614"/>
                <a:gd name="T35" fmla="*/ 1366 h 1379"/>
                <a:gd name="T36" fmla="*/ 1536 w 1614"/>
                <a:gd name="T37" fmla="*/ 1360 h 1379"/>
                <a:gd name="T38" fmla="*/ 1561 w 1614"/>
                <a:gd name="T39" fmla="*/ 1346 h 1379"/>
                <a:gd name="T40" fmla="*/ 1581 w 1614"/>
                <a:gd name="T41" fmla="*/ 1326 h 1379"/>
                <a:gd name="T42" fmla="*/ 1594 w 1614"/>
                <a:gd name="T43" fmla="*/ 1301 h 1379"/>
                <a:gd name="T44" fmla="*/ 1600 w 1614"/>
                <a:gd name="T45" fmla="*/ 1269 h 1379"/>
                <a:gd name="T46" fmla="*/ 1600 w 1614"/>
                <a:gd name="T47" fmla="*/ 8 h 1379"/>
                <a:gd name="T48" fmla="*/ 1600 w 1614"/>
                <a:gd name="T49" fmla="*/ 4 h 1379"/>
                <a:gd name="T50" fmla="*/ 1604 w 1614"/>
                <a:gd name="T51" fmla="*/ 2 h 1379"/>
                <a:gd name="T52" fmla="*/ 1606 w 1614"/>
                <a:gd name="T53"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14" h="1379">
                  <a:moveTo>
                    <a:pt x="1606" y="0"/>
                  </a:moveTo>
                  <a:lnTo>
                    <a:pt x="1610" y="2"/>
                  </a:lnTo>
                  <a:lnTo>
                    <a:pt x="1614" y="4"/>
                  </a:lnTo>
                  <a:lnTo>
                    <a:pt x="1614" y="8"/>
                  </a:lnTo>
                  <a:lnTo>
                    <a:pt x="1614" y="1269"/>
                  </a:lnTo>
                  <a:lnTo>
                    <a:pt x="1608" y="1305"/>
                  </a:lnTo>
                  <a:lnTo>
                    <a:pt x="1592" y="1334"/>
                  </a:lnTo>
                  <a:lnTo>
                    <a:pt x="1569" y="1358"/>
                  </a:lnTo>
                  <a:lnTo>
                    <a:pt x="1539" y="1373"/>
                  </a:lnTo>
                  <a:lnTo>
                    <a:pt x="1504" y="1379"/>
                  </a:lnTo>
                  <a:lnTo>
                    <a:pt x="8" y="1379"/>
                  </a:lnTo>
                  <a:lnTo>
                    <a:pt x="4" y="1379"/>
                  </a:lnTo>
                  <a:lnTo>
                    <a:pt x="0" y="1375"/>
                  </a:lnTo>
                  <a:lnTo>
                    <a:pt x="0" y="1371"/>
                  </a:lnTo>
                  <a:lnTo>
                    <a:pt x="0" y="1369"/>
                  </a:lnTo>
                  <a:lnTo>
                    <a:pt x="4" y="1366"/>
                  </a:lnTo>
                  <a:lnTo>
                    <a:pt x="8" y="1366"/>
                  </a:lnTo>
                  <a:lnTo>
                    <a:pt x="1504" y="1366"/>
                  </a:lnTo>
                  <a:lnTo>
                    <a:pt x="1536" y="1360"/>
                  </a:lnTo>
                  <a:lnTo>
                    <a:pt x="1561" y="1346"/>
                  </a:lnTo>
                  <a:lnTo>
                    <a:pt x="1581" y="1326"/>
                  </a:lnTo>
                  <a:lnTo>
                    <a:pt x="1594" y="1301"/>
                  </a:lnTo>
                  <a:lnTo>
                    <a:pt x="1600" y="1269"/>
                  </a:lnTo>
                  <a:lnTo>
                    <a:pt x="1600" y="8"/>
                  </a:lnTo>
                  <a:lnTo>
                    <a:pt x="1600" y="4"/>
                  </a:lnTo>
                  <a:lnTo>
                    <a:pt x="1604" y="2"/>
                  </a:lnTo>
                  <a:lnTo>
                    <a:pt x="1606" y="0"/>
                  </a:lnTo>
                  <a:close/>
                </a:path>
              </a:pathLst>
            </a:custGeom>
            <a:solidFill>
              <a:schemeClr val="accent6"/>
            </a:solidFill>
            <a:ln w="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1593">
              <a:extLst>
                <a:ext uri="{FF2B5EF4-FFF2-40B4-BE49-F238E27FC236}">
                  <a16:creationId xmlns:a16="http://schemas.microsoft.com/office/drawing/2014/main" id="{3B1FC591-8327-A244-80A5-703114801188}"/>
                </a:ext>
              </a:extLst>
            </p:cNvPr>
            <p:cNvSpPr>
              <a:spLocks/>
            </p:cNvSpPr>
            <p:nvPr/>
          </p:nvSpPr>
          <p:spPr bwMode="auto">
            <a:xfrm>
              <a:off x="5642667" y="2433023"/>
              <a:ext cx="1379538" cy="1541462"/>
            </a:xfrm>
            <a:custGeom>
              <a:avLst/>
              <a:gdLst>
                <a:gd name="T0" fmla="*/ 804 w 1738"/>
                <a:gd name="T1" fmla="*/ 0 h 1942"/>
                <a:gd name="T2" fmla="*/ 808 w 1738"/>
                <a:gd name="T3" fmla="*/ 7 h 1942"/>
                <a:gd name="T4" fmla="*/ 802 w 1738"/>
                <a:gd name="T5" fmla="*/ 494 h 1942"/>
                <a:gd name="T6" fmla="*/ 763 w 1738"/>
                <a:gd name="T7" fmla="*/ 549 h 1942"/>
                <a:gd name="T8" fmla="*/ 699 w 1738"/>
                <a:gd name="T9" fmla="*/ 568 h 1942"/>
                <a:gd name="T10" fmla="*/ 81 w 1738"/>
                <a:gd name="T11" fmla="*/ 574 h 1942"/>
                <a:gd name="T12" fmla="*/ 34 w 1738"/>
                <a:gd name="T13" fmla="*/ 608 h 1942"/>
                <a:gd name="T14" fmla="*/ 16 w 1738"/>
                <a:gd name="T15" fmla="*/ 665 h 1942"/>
                <a:gd name="T16" fmla="*/ 106 w 1738"/>
                <a:gd name="T17" fmla="*/ 916 h 1942"/>
                <a:gd name="T18" fmla="*/ 298 w 1738"/>
                <a:gd name="T19" fmla="*/ 843 h 1942"/>
                <a:gd name="T20" fmla="*/ 500 w 1738"/>
                <a:gd name="T21" fmla="*/ 806 h 1942"/>
                <a:gd name="T22" fmla="*/ 720 w 1738"/>
                <a:gd name="T23" fmla="*/ 806 h 1942"/>
                <a:gd name="T24" fmla="*/ 942 w 1738"/>
                <a:gd name="T25" fmla="*/ 851 h 1942"/>
                <a:gd name="T26" fmla="*/ 1144 w 1738"/>
                <a:gd name="T27" fmla="*/ 937 h 1942"/>
                <a:gd name="T28" fmla="*/ 1324 w 1738"/>
                <a:gd name="T29" fmla="*/ 1059 h 1942"/>
                <a:gd name="T30" fmla="*/ 1479 w 1738"/>
                <a:gd name="T31" fmla="*/ 1214 h 1942"/>
                <a:gd name="T32" fmla="*/ 1601 w 1738"/>
                <a:gd name="T33" fmla="*/ 1394 h 1942"/>
                <a:gd name="T34" fmla="*/ 1687 w 1738"/>
                <a:gd name="T35" fmla="*/ 1598 h 1942"/>
                <a:gd name="T36" fmla="*/ 1732 w 1738"/>
                <a:gd name="T37" fmla="*/ 1818 h 1942"/>
                <a:gd name="T38" fmla="*/ 1736 w 1738"/>
                <a:gd name="T39" fmla="*/ 1938 h 1942"/>
                <a:gd name="T40" fmla="*/ 1730 w 1738"/>
                <a:gd name="T41" fmla="*/ 1942 h 1942"/>
                <a:gd name="T42" fmla="*/ 1724 w 1738"/>
                <a:gd name="T43" fmla="*/ 1938 h 1942"/>
                <a:gd name="T44" fmla="*/ 1716 w 1738"/>
                <a:gd name="T45" fmla="*/ 1820 h 1942"/>
                <a:gd name="T46" fmla="*/ 1673 w 1738"/>
                <a:gd name="T47" fmla="*/ 1602 h 1942"/>
                <a:gd name="T48" fmla="*/ 1587 w 1738"/>
                <a:gd name="T49" fmla="*/ 1402 h 1942"/>
                <a:gd name="T50" fmla="*/ 1467 w 1738"/>
                <a:gd name="T51" fmla="*/ 1224 h 1942"/>
                <a:gd name="T52" fmla="*/ 1316 w 1738"/>
                <a:gd name="T53" fmla="*/ 1071 h 1942"/>
                <a:gd name="T54" fmla="*/ 1138 w 1738"/>
                <a:gd name="T55" fmla="*/ 951 h 1942"/>
                <a:gd name="T56" fmla="*/ 936 w 1738"/>
                <a:gd name="T57" fmla="*/ 867 h 1942"/>
                <a:gd name="T58" fmla="*/ 718 w 1738"/>
                <a:gd name="T59" fmla="*/ 822 h 1942"/>
                <a:gd name="T60" fmla="*/ 500 w 1738"/>
                <a:gd name="T61" fmla="*/ 820 h 1942"/>
                <a:gd name="T62" fmla="*/ 296 w 1738"/>
                <a:gd name="T63" fmla="*/ 859 h 1942"/>
                <a:gd name="T64" fmla="*/ 104 w 1738"/>
                <a:gd name="T65" fmla="*/ 933 h 1942"/>
                <a:gd name="T66" fmla="*/ 10 w 1738"/>
                <a:gd name="T67" fmla="*/ 986 h 1942"/>
                <a:gd name="T68" fmla="*/ 4 w 1738"/>
                <a:gd name="T69" fmla="*/ 986 h 1942"/>
                <a:gd name="T70" fmla="*/ 0 w 1738"/>
                <a:gd name="T71" fmla="*/ 980 h 1942"/>
                <a:gd name="T72" fmla="*/ 0 w 1738"/>
                <a:gd name="T73" fmla="*/ 665 h 1942"/>
                <a:gd name="T74" fmla="*/ 22 w 1738"/>
                <a:gd name="T75" fmla="*/ 600 h 1942"/>
                <a:gd name="T76" fmla="*/ 75 w 1738"/>
                <a:gd name="T77" fmla="*/ 561 h 1942"/>
                <a:gd name="T78" fmla="*/ 699 w 1738"/>
                <a:gd name="T79" fmla="*/ 555 h 1942"/>
                <a:gd name="T80" fmla="*/ 755 w 1738"/>
                <a:gd name="T81" fmla="*/ 537 h 1942"/>
                <a:gd name="T82" fmla="*/ 789 w 1738"/>
                <a:gd name="T83" fmla="*/ 490 h 1942"/>
                <a:gd name="T84" fmla="*/ 795 w 1738"/>
                <a:gd name="T85" fmla="*/ 7 h 1942"/>
                <a:gd name="T86" fmla="*/ 799 w 1738"/>
                <a:gd name="T87" fmla="*/ 0 h 1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8" h="1942">
                  <a:moveTo>
                    <a:pt x="801" y="0"/>
                  </a:moveTo>
                  <a:lnTo>
                    <a:pt x="804" y="0"/>
                  </a:lnTo>
                  <a:lnTo>
                    <a:pt x="808" y="3"/>
                  </a:lnTo>
                  <a:lnTo>
                    <a:pt x="808" y="7"/>
                  </a:lnTo>
                  <a:lnTo>
                    <a:pt x="808" y="461"/>
                  </a:lnTo>
                  <a:lnTo>
                    <a:pt x="802" y="494"/>
                  </a:lnTo>
                  <a:lnTo>
                    <a:pt x="787" y="525"/>
                  </a:lnTo>
                  <a:lnTo>
                    <a:pt x="763" y="549"/>
                  </a:lnTo>
                  <a:lnTo>
                    <a:pt x="734" y="565"/>
                  </a:lnTo>
                  <a:lnTo>
                    <a:pt x="699" y="568"/>
                  </a:lnTo>
                  <a:lnTo>
                    <a:pt x="110" y="568"/>
                  </a:lnTo>
                  <a:lnTo>
                    <a:pt x="81" y="574"/>
                  </a:lnTo>
                  <a:lnTo>
                    <a:pt x="53" y="588"/>
                  </a:lnTo>
                  <a:lnTo>
                    <a:pt x="34" y="608"/>
                  </a:lnTo>
                  <a:lnTo>
                    <a:pt x="20" y="633"/>
                  </a:lnTo>
                  <a:lnTo>
                    <a:pt x="16" y="665"/>
                  </a:lnTo>
                  <a:lnTo>
                    <a:pt x="16" y="967"/>
                  </a:lnTo>
                  <a:lnTo>
                    <a:pt x="106" y="916"/>
                  </a:lnTo>
                  <a:lnTo>
                    <a:pt x="200" y="875"/>
                  </a:lnTo>
                  <a:lnTo>
                    <a:pt x="298" y="843"/>
                  </a:lnTo>
                  <a:lnTo>
                    <a:pt x="398" y="820"/>
                  </a:lnTo>
                  <a:lnTo>
                    <a:pt x="500" y="806"/>
                  </a:lnTo>
                  <a:lnTo>
                    <a:pt x="604" y="800"/>
                  </a:lnTo>
                  <a:lnTo>
                    <a:pt x="720" y="806"/>
                  </a:lnTo>
                  <a:lnTo>
                    <a:pt x="832" y="823"/>
                  </a:lnTo>
                  <a:lnTo>
                    <a:pt x="942" y="851"/>
                  </a:lnTo>
                  <a:lnTo>
                    <a:pt x="1046" y="890"/>
                  </a:lnTo>
                  <a:lnTo>
                    <a:pt x="1144" y="937"/>
                  </a:lnTo>
                  <a:lnTo>
                    <a:pt x="1238" y="994"/>
                  </a:lnTo>
                  <a:lnTo>
                    <a:pt x="1324" y="1059"/>
                  </a:lnTo>
                  <a:lnTo>
                    <a:pt x="1405" y="1133"/>
                  </a:lnTo>
                  <a:lnTo>
                    <a:pt x="1479" y="1214"/>
                  </a:lnTo>
                  <a:lnTo>
                    <a:pt x="1544" y="1300"/>
                  </a:lnTo>
                  <a:lnTo>
                    <a:pt x="1601" y="1394"/>
                  </a:lnTo>
                  <a:lnTo>
                    <a:pt x="1648" y="1492"/>
                  </a:lnTo>
                  <a:lnTo>
                    <a:pt x="1687" y="1598"/>
                  </a:lnTo>
                  <a:lnTo>
                    <a:pt x="1715" y="1706"/>
                  </a:lnTo>
                  <a:lnTo>
                    <a:pt x="1732" y="1818"/>
                  </a:lnTo>
                  <a:lnTo>
                    <a:pt x="1738" y="1934"/>
                  </a:lnTo>
                  <a:lnTo>
                    <a:pt x="1736" y="1938"/>
                  </a:lnTo>
                  <a:lnTo>
                    <a:pt x="1734" y="1940"/>
                  </a:lnTo>
                  <a:lnTo>
                    <a:pt x="1730" y="1942"/>
                  </a:lnTo>
                  <a:lnTo>
                    <a:pt x="1726" y="1940"/>
                  </a:lnTo>
                  <a:lnTo>
                    <a:pt x="1724" y="1938"/>
                  </a:lnTo>
                  <a:lnTo>
                    <a:pt x="1722" y="1934"/>
                  </a:lnTo>
                  <a:lnTo>
                    <a:pt x="1716" y="1820"/>
                  </a:lnTo>
                  <a:lnTo>
                    <a:pt x="1701" y="1708"/>
                  </a:lnTo>
                  <a:lnTo>
                    <a:pt x="1673" y="1602"/>
                  </a:lnTo>
                  <a:lnTo>
                    <a:pt x="1634" y="1498"/>
                  </a:lnTo>
                  <a:lnTo>
                    <a:pt x="1587" y="1402"/>
                  </a:lnTo>
                  <a:lnTo>
                    <a:pt x="1532" y="1310"/>
                  </a:lnTo>
                  <a:lnTo>
                    <a:pt x="1467" y="1224"/>
                  </a:lnTo>
                  <a:lnTo>
                    <a:pt x="1395" y="1143"/>
                  </a:lnTo>
                  <a:lnTo>
                    <a:pt x="1316" y="1071"/>
                  </a:lnTo>
                  <a:lnTo>
                    <a:pt x="1230" y="1006"/>
                  </a:lnTo>
                  <a:lnTo>
                    <a:pt x="1138" y="951"/>
                  </a:lnTo>
                  <a:lnTo>
                    <a:pt x="1040" y="904"/>
                  </a:lnTo>
                  <a:lnTo>
                    <a:pt x="936" y="867"/>
                  </a:lnTo>
                  <a:lnTo>
                    <a:pt x="830" y="839"/>
                  </a:lnTo>
                  <a:lnTo>
                    <a:pt x="718" y="822"/>
                  </a:lnTo>
                  <a:lnTo>
                    <a:pt x="604" y="816"/>
                  </a:lnTo>
                  <a:lnTo>
                    <a:pt x="500" y="820"/>
                  </a:lnTo>
                  <a:lnTo>
                    <a:pt x="397" y="835"/>
                  </a:lnTo>
                  <a:lnTo>
                    <a:pt x="296" y="859"/>
                  </a:lnTo>
                  <a:lnTo>
                    <a:pt x="198" y="892"/>
                  </a:lnTo>
                  <a:lnTo>
                    <a:pt x="104" y="933"/>
                  </a:lnTo>
                  <a:lnTo>
                    <a:pt x="12" y="984"/>
                  </a:lnTo>
                  <a:lnTo>
                    <a:pt x="10" y="986"/>
                  </a:lnTo>
                  <a:lnTo>
                    <a:pt x="6" y="986"/>
                  </a:lnTo>
                  <a:lnTo>
                    <a:pt x="4" y="986"/>
                  </a:lnTo>
                  <a:lnTo>
                    <a:pt x="2" y="984"/>
                  </a:lnTo>
                  <a:lnTo>
                    <a:pt x="0" y="980"/>
                  </a:lnTo>
                  <a:lnTo>
                    <a:pt x="0" y="978"/>
                  </a:lnTo>
                  <a:lnTo>
                    <a:pt x="0" y="665"/>
                  </a:lnTo>
                  <a:lnTo>
                    <a:pt x="6" y="629"/>
                  </a:lnTo>
                  <a:lnTo>
                    <a:pt x="22" y="600"/>
                  </a:lnTo>
                  <a:lnTo>
                    <a:pt x="45" y="576"/>
                  </a:lnTo>
                  <a:lnTo>
                    <a:pt x="75" y="561"/>
                  </a:lnTo>
                  <a:lnTo>
                    <a:pt x="110" y="555"/>
                  </a:lnTo>
                  <a:lnTo>
                    <a:pt x="699" y="555"/>
                  </a:lnTo>
                  <a:lnTo>
                    <a:pt x="730" y="549"/>
                  </a:lnTo>
                  <a:lnTo>
                    <a:pt x="755" y="537"/>
                  </a:lnTo>
                  <a:lnTo>
                    <a:pt x="775" y="515"/>
                  </a:lnTo>
                  <a:lnTo>
                    <a:pt x="789" y="490"/>
                  </a:lnTo>
                  <a:lnTo>
                    <a:pt x="795" y="461"/>
                  </a:lnTo>
                  <a:lnTo>
                    <a:pt x="795" y="7"/>
                  </a:lnTo>
                  <a:lnTo>
                    <a:pt x="795" y="3"/>
                  </a:lnTo>
                  <a:lnTo>
                    <a:pt x="799" y="0"/>
                  </a:lnTo>
                  <a:lnTo>
                    <a:pt x="80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594">
              <a:extLst>
                <a:ext uri="{FF2B5EF4-FFF2-40B4-BE49-F238E27FC236}">
                  <a16:creationId xmlns:a16="http://schemas.microsoft.com/office/drawing/2014/main" id="{DA2104C8-785F-DA46-B982-7D4B12AC5928}"/>
                </a:ext>
              </a:extLst>
            </p:cNvPr>
            <p:cNvSpPr>
              <a:spLocks/>
            </p:cNvSpPr>
            <p:nvPr/>
          </p:nvSpPr>
          <p:spPr bwMode="auto">
            <a:xfrm>
              <a:off x="2515291" y="804248"/>
              <a:ext cx="4491038" cy="5076825"/>
            </a:xfrm>
            <a:custGeom>
              <a:avLst/>
              <a:gdLst>
                <a:gd name="T0" fmla="*/ 5046 w 5658"/>
                <a:gd name="T1" fmla="*/ 95 h 6396"/>
                <a:gd name="T2" fmla="*/ 5456 w 5658"/>
                <a:gd name="T3" fmla="*/ 428 h 6396"/>
                <a:gd name="T4" fmla="*/ 5653 w 5658"/>
                <a:gd name="T5" fmla="*/ 930 h 6396"/>
                <a:gd name="T6" fmla="*/ 5643 w 5658"/>
                <a:gd name="T7" fmla="*/ 1060 h 6396"/>
                <a:gd name="T8" fmla="*/ 5619 w 5658"/>
                <a:gd name="T9" fmla="*/ 934 h 6396"/>
                <a:gd name="T10" fmla="*/ 5431 w 5658"/>
                <a:gd name="T11" fmla="*/ 448 h 6396"/>
                <a:gd name="T12" fmla="*/ 5033 w 5658"/>
                <a:gd name="T13" fmla="*/ 124 h 6396"/>
                <a:gd name="T14" fmla="*/ 4507 w 5658"/>
                <a:gd name="T15" fmla="*/ 40 h 6396"/>
                <a:gd name="T16" fmla="*/ 4021 w 5658"/>
                <a:gd name="T17" fmla="*/ 230 h 6396"/>
                <a:gd name="T18" fmla="*/ 3697 w 5658"/>
                <a:gd name="T19" fmla="*/ 626 h 6396"/>
                <a:gd name="T20" fmla="*/ 3615 w 5658"/>
                <a:gd name="T21" fmla="*/ 1148 h 6396"/>
                <a:gd name="T22" fmla="*/ 3809 w 5658"/>
                <a:gd name="T23" fmla="*/ 1627 h 6396"/>
                <a:gd name="T24" fmla="*/ 4205 w 5658"/>
                <a:gd name="T25" fmla="*/ 1958 h 6396"/>
                <a:gd name="T26" fmla="*/ 4607 w 5658"/>
                <a:gd name="T27" fmla="*/ 2053 h 6396"/>
                <a:gd name="T28" fmla="*/ 4623 w 5658"/>
                <a:gd name="T29" fmla="*/ 2368 h 6396"/>
                <a:gd name="T30" fmla="*/ 4537 w 5658"/>
                <a:gd name="T31" fmla="*/ 2484 h 6396"/>
                <a:gd name="T32" fmla="*/ 3944 w 5658"/>
                <a:gd name="T33" fmla="*/ 2478 h 6396"/>
                <a:gd name="T34" fmla="*/ 3856 w 5658"/>
                <a:gd name="T35" fmla="*/ 2045 h 6396"/>
                <a:gd name="T36" fmla="*/ 3542 w 5658"/>
                <a:gd name="T37" fmla="*/ 1623 h 6396"/>
                <a:gd name="T38" fmla="*/ 3066 w 5658"/>
                <a:gd name="T39" fmla="*/ 1395 h 6396"/>
                <a:gd name="T40" fmla="*/ 2518 w 5658"/>
                <a:gd name="T41" fmla="*/ 1421 h 6396"/>
                <a:gd name="T42" fmla="*/ 2067 w 5658"/>
                <a:gd name="T43" fmla="*/ 1694 h 6396"/>
                <a:gd name="T44" fmla="*/ 1795 w 5658"/>
                <a:gd name="T45" fmla="*/ 2145 h 6396"/>
                <a:gd name="T46" fmla="*/ 1769 w 5658"/>
                <a:gd name="T47" fmla="*/ 2694 h 6396"/>
                <a:gd name="T48" fmla="*/ 2006 w 5658"/>
                <a:gd name="T49" fmla="*/ 3179 h 6396"/>
                <a:gd name="T50" fmla="*/ 2440 w 5658"/>
                <a:gd name="T51" fmla="*/ 3493 h 6396"/>
                <a:gd name="T52" fmla="*/ 2799 w 5658"/>
                <a:gd name="T53" fmla="*/ 3571 h 6396"/>
                <a:gd name="T54" fmla="*/ 2807 w 5658"/>
                <a:gd name="T55" fmla="*/ 4283 h 6396"/>
                <a:gd name="T56" fmla="*/ 2664 w 5658"/>
                <a:gd name="T57" fmla="*/ 4309 h 6396"/>
                <a:gd name="T58" fmla="*/ 2165 w 5658"/>
                <a:gd name="T59" fmla="*/ 4530 h 6396"/>
                <a:gd name="T60" fmla="*/ 1836 w 5658"/>
                <a:gd name="T61" fmla="*/ 4956 h 6396"/>
                <a:gd name="T62" fmla="*/ 1746 w 5658"/>
                <a:gd name="T63" fmla="*/ 6261 h 6396"/>
                <a:gd name="T64" fmla="*/ 1648 w 5658"/>
                <a:gd name="T65" fmla="*/ 6392 h 6396"/>
                <a:gd name="T66" fmla="*/ 2 w 5658"/>
                <a:gd name="T67" fmla="*/ 6386 h 6396"/>
                <a:gd name="T68" fmla="*/ 18 w 5658"/>
                <a:gd name="T69" fmla="*/ 6363 h 6396"/>
                <a:gd name="T70" fmla="*/ 1708 w 5658"/>
                <a:gd name="T71" fmla="*/ 6294 h 6396"/>
                <a:gd name="T72" fmla="*/ 1759 w 5658"/>
                <a:gd name="T73" fmla="*/ 5070 h 6396"/>
                <a:gd name="T74" fmla="*/ 2020 w 5658"/>
                <a:gd name="T75" fmla="*/ 4617 h 6396"/>
                <a:gd name="T76" fmla="*/ 2456 w 5658"/>
                <a:gd name="T77" fmla="*/ 4328 h 6396"/>
                <a:gd name="T78" fmla="*/ 2764 w 5658"/>
                <a:gd name="T79" fmla="*/ 3600 h 6396"/>
                <a:gd name="T80" fmla="*/ 2265 w 5658"/>
                <a:gd name="T81" fmla="*/ 3443 h 6396"/>
                <a:gd name="T82" fmla="*/ 1887 w 5658"/>
                <a:gd name="T83" fmla="*/ 3075 h 6396"/>
                <a:gd name="T84" fmla="*/ 1718 w 5658"/>
                <a:gd name="T85" fmla="*/ 2578 h 6396"/>
                <a:gd name="T86" fmla="*/ 1802 w 5658"/>
                <a:gd name="T87" fmla="*/ 2031 h 6396"/>
                <a:gd name="T88" fmla="*/ 2124 w 5658"/>
                <a:gd name="T89" fmla="*/ 1597 h 6396"/>
                <a:gd name="T90" fmla="*/ 2616 w 5658"/>
                <a:gd name="T91" fmla="*/ 1362 h 6396"/>
                <a:gd name="T92" fmla="*/ 3177 w 5658"/>
                <a:gd name="T93" fmla="*/ 1389 h 6396"/>
                <a:gd name="T94" fmla="*/ 3638 w 5658"/>
                <a:gd name="T95" fmla="*/ 1666 h 6396"/>
                <a:gd name="T96" fmla="*/ 3921 w 5658"/>
                <a:gd name="T97" fmla="*/ 2123 h 6396"/>
                <a:gd name="T98" fmla="*/ 4533 w 5658"/>
                <a:gd name="T99" fmla="*/ 2451 h 6396"/>
                <a:gd name="T100" fmla="*/ 4590 w 5658"/>
                <a:gd name="T101" fmla="*/ 2086 h 6396"/>
                <a:gd name="T102" fmla="*/ 4134 w 5658"/>
                <a:gd name="T103" fmla="*/ 1958 h 6396"/>
                <a:gd name="T104" fmla="*/ 3758 w 5658"/>
                <a:gd name="T105" fmla="*/ 1619 h 6396"/>
                <a:gd name="T106" fmla="*/ 3579 w 5658"/>
                <a:gd name="T107" fmla="*/ 1146 h 6396"/>
                <a:gd name="T108" fmla="*/ 3668 w 5658"/>
                <a:gd name="T109" fmla="*/ 613 h 6396"/>
                <a:gd name="T110" fmla="*/ 4001 w 5658"/>
                <a:gd name="T111" fmla="*/ 203 h 6396"/>
                <a:gd name="T112" fmla="*/ 4503 w 5658"/>
                <a:gd name="T113" fmla="*/ 6 h 6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58" h="6396">
                  <a:moveTo>
                    <a:pt x="4617" y="0"/>
                  </a:moveTo>
                  <a:lnTo>
                    <a:pt x="4731" y="6"/>
                  </a:lnTo>
                  <a:lnTo>
                    <a:pt x="4841" y="26"/>
                  </a:lnTo>
                  <a:lnTo>
                    <a:pt x="4946" y="53"/>
                  </a:lnTo>
                  <a:lnTo>
                    <a:pt x="5046" y="95"/>
                  </a:lnTo>
                  <a:lnTo>
                    <a:pt x="5143" y="144"/>
                  </a:lnTo>
                  <a:lnTo>
                    <a:pt x="5231" y="203"/>
                  </a:lnTo>
                  <a:lnTo>
                    <a:pt x="5315" y="269"/>
                  </a:lnTo>
                  <a:lnTo>
                    <a:pt x="5390" y="346"/>
                  </a:lnTo>
                  <a:lnTo>
                    <a:pt x="5456" y="428"/>
                  </a:lnTo>
                  <a:lnTo>
                    <a:pt x="5515" y="518"/>
                  </a:lnTo>
                  <a:lnTo>
                    <a:pt x="5566" y="613"/>
                  </a:lnTo>
                  <a:lnTo>
                    <a:pt x="5605" y="715"/>
                  </a:lnTo>
                  <a:lnTo>
                    <a:pt x="5635" y="821"/>
                  </a:lnTo>
                  <a:lnTo>
                    <a:pt x="5653" y="930"/>
                  </a:lnTo>
                  <a:lnTo>
                    <a:pt x="5658" y="1044"/>
                  </a:lnTo>
                  <a:lnTo>
                    <a:pt x="5656" y="1050"/>
                  </a:lnTo>
                  <a:lnTo>
                    <a:pt x="5655" y="1056"/>
                  </a:lnTo>
                  <a:lnTo>
                    <a:pt x="5649" y="1058"/>
                  </a:lnTo>
                  <a:lnTo>
                    <a:pt x="5643" y="1060"/>
                  </a:lnTo>
                  <a:lnTo>
                    <a:pt x="5635" y="1058"/>
                  </a:lnTo>
                  <a:lnTo>
                    <a:pt x="5631" y="1056"/>
                  </a:lnTo>
                  <a:lnTo>
                    <a:pt x="5627" y="1050"/>
                  </a:lnTo>
                  <a:lnTo>
                    <a:pt x="5625" y="1044"/>
                  </a:lnTo>
                  <a:lnTo>
                    <a:pt x="5619" y="934"/>
                  </a:lnTo>
                  <a:lnTo>
                    <a:pt x="5602" y="826"/>
                  </a:lnTo>
                  <a:lnTo>
                    <a:pt x="5574" y="724"/>
                  </a:lnTo>
                  <a:lnTo>
                    <a:pt x="5535" y="626"/>
                  </a:lnTo>
                  <a:lnTo>
                    <a:pt x="5488" y="534"/>
                  </a:lnTo>
                  <a:lnTo>
                    <a:pt x="5431" y="448"/>
                  </a:lnTo>
                  <a:lnTo>
                    <a:pt x="5364" y="367"/>
                  </a:lnTo>
                  <a:lnTo>
                    <a:pt x="5292" y="295"/>
                  </a:lnTo>
                  <a:lnTo>
                    <a:pt x="5211" y="230"/>
                  </a:lnTo>
                  <a:lnTo>
                    <a:pt x="5125" y="173"/>
                  </a:lnTo>
                  <a:lnTo>
                    <a:pt x="5033" y="124"/>
                  </a:lnTo>
                  <a:lnTo>
                    <a:pt x="4935" y="87"/>
                  </a:lnTo>
                  <a:lnTo>
                    <a:pt x="4833" y="57"/>
                  </a:lnTo>
                  <a:lnTo>
                    <a:pt x="4727" y="40"/>
                  </a:lnTo>
                  <a:lnTo>
                    <a:pt x="4617" y="34"/>
                  </a:lnTo>
                  <a:lnTo>
                    <a:pt x="4507" y="40"/>
                  </a:lnTo>
                  <a:lnTo>
                    <a:pt x="4401" y="57"/>
                  </a:lnTo>
                  <a:lnTo>
                    <a:pt x="4297" y="87"/>
                  </a:lnTo>
                  <a:lnTo>
                    <a:pt x="4201" y="124"/>
                  </a:lnTo>
                  <a:lnTo>
                    <a:pt x="4107" y="173"/>
                  </a:lnTo>
                  <a:lnTo>
                    <a:pt x="4021" y="230"/>
                  </a:lnTo>
                  <a:lnTo>
                    <a:pt x="3940" y="295"/>
                  </a:lnTo>
                  <a:lnTo>
                    <a:pt x="3868" y="367"/>
                  </a:lnTo>
                  <a:lnTo>
                    <a:pt x="3803" y="448"/>
                  </a:lnTo>
                  <a:lnTo>
                    <a:pt x="3746" y="534"/>
                  </a:lnTo>
                  <a:lnTo>
                    <a:pt x="3697" y="626"/>
                  </a:lnTo>
                  <a:lnTo>
                    <a:pt x="3660" y="724"/>
                  </a:lnTo>
                  <a:lnTo>
                    <a:pt x="3630" y="826"/>
                  </a:lnTo>
                  <a:lnTo>
                    <a:pt x="3613" y="934"/>
                  </a:lnTo>
                  <a:lnTo>
                    <a:pt x="3607" y="1044"/>
                  </a:lnTo>
                  <a:lnTo>
                    <a:pt x="3615" y="1148"/>
                  </a:lnTo>
                  <a:lnTo>
                    <a:pt x="3632" y="1250"/>
                  </a:lnTo>
                  <a:lnTo>
                    <a:pt x="3662" y="1350"/>
                  </a:lnTo>
                  <a:lnTo>
                    <a:pt x="3701" y="1446"/>
                  </a:lnTo>
                  <a:lnTo>
                    <a:pt x="3750" y="1539"/>
                  </a:lnTo>
                  <a:lnTo>
                    <a:pt x="3809" y="1627"/>
                  </a:lnTo>
                  <a:lnTo>
                    <a:pt x="3876" y="1707"/>
                  </a:lnTo>
                  <a:lnTo>
                    <a:pt x="3948" y="1782"/>
                  </a:lnTo>
                  <a:lnTo>
                    <a:pt x="4029" y="1849"/>
                  </a:lnTo>
                  <a:lnTo>
                    <a:pt x="4115" y="1907"/>
                  </a:lnTo>
                  <a:lnTo>
                    <a:pt x="4205" y="1958"/>
                  </a:lnTo>
                  <a:lnTo>
                    <a:pt x="4301" y="1998"/>
                  </a:lnTo>
                  <a:lnTo>
                    <a:pt x="4399" y="2027"/>
                  </a:lnTo>
                  <a:lnTo>
                    <a:pt x="4501" y="2047"/>
                  </a:lnTo>
                  <a:lnTo>
                    <a:pt x="4605" y="2053"/>
                  </a:lnTo>
                  <a:lnTo>
                    <a:pt x="4607" y="2053"/>
                  </a:lnTo>
                  <a:lnTo>
                    <a:pt x="4613" y="2054"/>
                  </a:lnTo>
                  <a:lnTo>
                    <a:pt x="4619" y="2056"/>
                  </a:lnTo>
                  <a:lnTo>
                    <a:pt x="4623" y="2062"/>
                  </a:lnTo>
                  <a:lnTo>
                    <a:pt x="4623" y="2068"/>
                  </a:lnTo>
                  <a:lnTo>
                    <a:pt x="4623" y="2368"/>
                  </a:lnTo>
                  <a:lnTo>
                    <a:pt x="4619" y="2400"/>
                  </a:lnTo>
                  <a:lnTo>
                    <a:pt x="4607" y="2429"/>
                  </a:lnTo>
                  <a:lnTo>
                    <a:pt x="4590" y="2453"/>
                  </a:lnTo>
                  <a:lnTo>
                    <a:pt x="4564" y="2472"/>
                  </a:lnTo>
                  <a:lnTo>
                    <a:pt x="4537" y="2484"/>
                  </a:lnTo>
                  <a:lnTo>
                    <a:pt x="4505" y="2488"/>
                  </a:lnTo>
                  <a:lnTo>
                    <a:pt x="3960" y="2488"/>
                  </a:lnTo>
                  <a:lnTo>
                    <a:pt x="3952" y="2486"/>
                  </a:lnTo>
                  <a:lnTo>
                    <a:pt x="3948" y="2482"/>
                  </a:lnTo>
                  <a:lnTo>
                    <a:pt x="3944" y="2478"/>
                  </a:lnTo>
                  <a:lnTo>
                    <a:pt x="3942" y="2470"/>
                  </a:lnTo>
                  <a:lnTo>
                    <a:pt x="3936" y="2359"/>
                  </a:lnTo>
                  <a:lnTo>
                    <a:pt x="3921" y="2251"/>
                  </a:lnTo>
                  <a:lnTo>
                    <a:pt x="3893" y="2145"/>
                  </a:lnTo>
                  <a:lnTo>
                    <a:pt x="3856" y="2045"/>
                  </a:lnTo>
                  <a:lnTo>
                    <a:pt x="3811" y="1949"/>
                  </a:lnTo>
                  <a:lnTo>
                    <a:pt x="3756" y="1856"/>
                  </a:lnTo>
                  <a:lnTo>
                    <a:pt x="3691" y="1772"/>
                  </a:lnTo>
                  <a:lnTo>
                    <a:pt x="3621" y="1694"/>
                  </a:lnTo>
                  <a:lnTo>
                    <a:pt x="3542" y="1623"/>
                  </a:lnTo>
                  <a:lnTo>
                    <a:pt x="3458" y="1560"/>
                  </a:lnTo>
                  <a:lnTo>
                    <a:pt x="3368" y="1505"/>
                  </a:lnTo>
                  <a:lnTo>
                    <a:pt x="3272" y="1458"/>
                  </a:lnTo>
                  <a:lnTo>
                    <a:pt x="3171" y="1421"/>
                  </a:lnTo>
                  <a:lnTo>
                    <a:pt x="3066" y="1395"/>
                  </a:lnTo>
                  <a:lnTo>
                    <a:pt x="2956" y="1378"/>
                  </a:lnTo>
                  <a:lnTo>
                    <a:pt x="2844" y="1372"/>
                  </a:lnTo>
                  <a:lnTo>
                    <a:pt x="2732" y="1378"/>
                  </a:lnTo>
                  <a:lnTo>
                    <a:pt x="2622" y="1395"/>
                  </a:lnTo>
                  <a:lnTo>
                    <a:pt x="2518" y="1421"/>
                  </a:lnTo>
                  <a:lnTo>
                    <a:pt x="2416" y="1458"/>
                  </a:lnTo>
                  <a:lnTo>
                    <a:pt x="2320" y="1505"/>
                  </a:lnTo>
                  <a:lnTo>
                    <a:pt x="2230" y="1560"/>
                  </a:lnTo>
                  <a:lnTo>
                    <a:pt x="2146" y="1623"/>
                  </a:lnTo>
                  <a:lnTo>
                    <a:pt x="2067" y="1694"/>
                  </a:lnTo>
                  <a:lnTo>
                    <a:pt x="1997" y="1772"/>
                  </a:lnTo>
                  <a:lnTo>
                    <a:pt x="1934" y="1856"/>
                  </a:lnTo>
                  <a:lnTo>
                    <a:pt x="1879" y="1949"/>
                  </a:lnTo>
                  <a:lnTo>
                    <a:pt x="1832" y="2043"/>
                  </a:lnTo>
                  <a:lnTo>
                    <a:pt x="1795" y="2145"/>
                  </a:lnTo>
                  <a:lnTo>
                    <a:pt x="1767" y="2251"/>
                  </a:lnTo>
                  <a:lnTo>
                    <a:pt x="1751" y="2359"/>
                  </a:lnTo>
                  <a:lnTo>
                    <a:pt x="1746" y="2470"/>
                  </a:lnTo>
                  <a:lnTo>
                    <a:pt x="1751" y="2584"/>
                  </a:lnTo>
                  <a:lnTo>
                    <a:pt x="1769" y="2694"/>
                  </a:lnTo>
                  <a:lnTo>
                    <a:pt x="1797" y="2802"/>
                  </a:lnTo>
                  <a:lnTo>
                    <a:pt x="1836" y="2904"/>
                  </a:lnTo>
                  <a:lnTo>
                    <a:pt x="1883" y="3002"/>
                  </a:lnTo>
                  <a:lnTo>
                    <a:pt x="1940" y="3094"/>
                  </a:lnTo>
                  <a:lnTo>
                    <a:pt x="2006" y="3179"/>
                  </a:lnTo>
                  <a:lnTo>
                    <a:pt x="2079" y="3257"/>
                  </a:lnTo>
                  <a:lnTo>
                    <a:pt x="2159" y="3330"/>
                  </a:lnTo>
                  <a:lnTo>
                    <a:pt x="2248" y="3392"/>
                  </a:lnTo>
                  <a:lnTo>
                    <a:pt x="2342" y="3447"/>
                  </a:lnTo>
                  <a:lnTo>
                    <a:pt x="2440" y="3493"/>
                  </a:lnTo>
                  <a:lnTo>
                    <a:pt x="2544" y="3528"/>
                  </a:lnTo>
                  <a:lnTo>
                    <a:pt x="2654" y="3553"/>
                  </a:lnTo>
                  <a:lnTo>
                    <a:pt x="2765" y="3567"/>
                  </a:lnTo>
                  <a:lnTo>
                    <a:pt x="2793" y="3569"/>
                  </a:lnTo>
                  <a:lnTo>
                    <a:pt x="2799" y="3571"/>
                  </a:lnTo>
                  <a:lnTo>
                    <a:pt x="2803" y="3575"/>
                  </a:lnTo>
                  <a:lnTo>
                    <a:pt x="2807" y="3581"/>
                  </a:lnTo>
                  <a:lnTo>
                    <a:pt x="2809" y="3587"/>
                  </a:lnTo>
                  <a:lnTo>
                    <a:pt x="2809" y="4277"/>
                  </a:lnTo>
                  <a:lnTo>
                    <a:pt x="2807" y="4283"/>
                  </a:lnTo>
                  <a:lnTo>
                    <a:pt x="2803" y="4287"/>
                  </a:lnTo>
                  <a:lnTo>
                    <a:pt x="2799" y="4291"/>
                  </a:lnTo>
                  <a:lnTo>
                    <a:pt x="2793" y="4293"/>
                  </a:lnTo>
                  <a:lnTo>
                    <a:pt x="2777" y="4295"/>
                  </a:lnTo>
                  <a:lnTo>
                    <a:pt x="2664" y="4309"/>
                  </a:lnTo>
                  <a:lnTo>
                    <a:pt x="2554" y="4332"/>
                  </a:lnTo>
                  <a:lnTo>
                    <a:pt x="2448" y="4367"/>
                  </a:lnTo>
                  <a:lnTo>
                    <a:pt x="2348" y="4413"/>
                  </a:lnTo>
                  <a:lnTo>
                    <a:pt x="2254" y="4468"/>
                  </a:lnTo>
                  <a:lnTo>
                    <a:pt x="2165" y="4530"/>
                  </a:lnTo>
                  <a:lnTo>
                    <a:pt x="2083" y="4601"/>
                  </a:lnTo>
                  <a:lnTo>
                    <a:pt x="2008" y="4679"/>
                  </a:lnTo>
                  <a:lnTo>
                    <a:pt x="1942" y="4766"/>
                  </a:lnTo>
                  <a:lnTo>
                    <a:pt x="1885" y="4858"/>
                  </a:lnTo>
                  <a:lnTo>
                    <a:pt x="1836" y="4956"/>
                  </a:lnTo>
                  <a:lnTo>
                    <a:pt x="1797" y="5060"/>
                  </a:lnTo>
                  <a:lnTo>
                    <a:pt x="1769" y="5166"/>
                  </a:lnTo>
                  <a:lnTo>
                    <a:pt x="1751" y="5278"/>
                  </a:lnTo>
                  <a:lnTo>
                    <a:pt x="1746" y="5392"/>
                  </a:lnTo>
                  <a:lnTo>
                    <a:pt x="1746" y="6261"/>
                  </a:lnTo>
                  <a:lnTo>
                    <a:pt x="1742" y="6298"/>
                  </a:lnTo>
                  <a:lnTo>
                    <a:pt x="1728" y="6329"/>
                  </a:lnTo>
                  <a:lnTo>
                    <a:pt x="1706" y="6357"/>
                  </a:lnTo>
                  <a:lnTo>
                    <a:pt x="1679" y="6378"/>
                  </a:lnTo>
                  <a:lnTo>
                    <a:pt x="1648" y="6392"/>
                  </a:lnTo>
                  <a:lnTo>
                    <a:pt x="1610" y="6396"/>
                  </a:lnTo>
                  <a:lnTo>
                    <a:pt x="18" y="6396"/>
                  </a:lnTo>
                  <a:lnTo>
                    <a:pt x="10" y="6394"/>
                  </a:lnTo>
                  <a:lnTo>
                    <a:pt x="6" y="6392"/>
                  </a:lnTo>
                  <a:lnTo>
                    <a:pt x="2" y="6386"/>
                  </a:lnTo>
                  <a:lnTo>
                    <a:pt x="0" y="6380"/>
                  </a:lnTo>
                  <a:lnTo>
                    <a:pt x="2" y="6372"/>
                  </a:lnTo>
                  <a:lnTo>
                    <a:pt x="6" y="6369"/>
                  </a:lnTo>
                  <a:lnTo>
                    <a:pt x="10" y="6365"/>
                  </a:lnTo>
                  <a:lnTo>
                    <a:pt x="18" y="6363"/>
                  </a:lnTo>
                  <a:lnTo>
                    <a:pt x="1610" y="6363"/>
                  </a:lnTo>
                  <a:lnTo>
                    <a:pt x="1644" y="6357"/>
                  </a:lnTo>
                  <a:lnTo>
                    <a:pt x="1671" y="6343"/>
                  </a:lnTo>
                  <a:lnTo>
                    <a:pt x="1693" y="6321"/>
                  </a:lnTo>
                  <a:lnTo>
                    <a:pt x="1708" y="6294"/>
                  </a:lnTo>
                  <a:lnTo>
                    <a:pt x="1712" y="6261"/>
                  </a:lnTo>
                  <a:lnTo>
                    <a:pt x="1712" y="5392"/>
                  </a:lnTo>
                  <a:lnTo>
                    <a:pt x="1718" y="5282"/>
                  </a:lnTo>
                  <a:lnTo>
                    <a:pt x="1734" y="5174"/>
                  </a:lnTo>
                  <a:lnTo>
                    <a:pt x="1759" y="5070"/>
                  </a:lnTo>
                  <a:lnTo>
                    <a:pt x="1795" y="4970"/>
                  </a:lnTo>
                  <a:lnTo>
                    <a:pt x="1840" y="4874"/>
                  </a:lnTo>
                  <a:lnTo>
                    <a:pt x="1891" y="4781"/>
                  </a:lnTo>
                  <a:lnTo>
                    <a:pt x="1952" y="4697"/>
                  </a:lnTo>
                  <a:lnTo>
                    <a:pt x="2020" y="4617"/>
                  </a:lnTo>
                  <a:lnTo>
                    <a:pt x="2095" y="4544"/>
                  </a:lnTo>
                  <a:lnTo>
                    <a:pt x="2177" y="4479"/>
                  </a:lnTo>
                  <a:lnTo>
                    <a:pt x="2263" y="4420"/>
                  </a:lnTo>
                  <a:lnTo>
                    <a:pt x="2358" y="4369"/>
                  </a:lnTo>
                  <a:lnTo>
                    <a:pt x="2456" y="4328"/>
                  </a:lnTo>
                  <a:lnTo>
                    <a:pt x="2558" y="4297"/>
                  </a:lnTo>
                  <a:lnTo>
                    <a:pt x="2664" y="4275"/>
                  </a:lnTo>
                  <a:lnTo>
                    <a:pt x="2775" y="4262"/>
                  </a:lnTo>
                  <a:lnTo>
                    <a:pt x="2775" y="3600"/>
                  </a:lnTo>
                  <a:lnTo>
                    <a:pt x="2764" y="3600"/>
                  </a:lnTo>
                  <a:lnTo>
                    <a:pt x="2658" y="3589"/>
                  </a:lnTo>
                  <a:lnTo>
                    <a:pt x="2554" y="3565"/>
                  </a:lnTo>
                  <a:lnTo>
                    <a:pt x="2454" y="3534"/>
                  </a:lnTo>
                  <a:lnTo>
                    <a:pt x="2358" y="3493"/>
                  </a:lnTo>
                  <a:lnTo>
                    <a:pt x="2265" y="3443"/>
                  </a:lnTo>
                  <a:lnTo>
                    <a:pt x="2177" y="3385"/>
                  </a:lnTo>
                  <a:lnTo>
                    <a:pt x="2095" y="3320"/>
                  </a:lnTo>
                  <a:lnTo>
                    <a:pt x="2018" y="3245"/>
                  </a:lnTo>
                  <a:lnTo>
                    <a:pt x="1948" y="3163"/>
                  </a:lnTo>
                  <a:lnTo>
                    <a:pt x="1887" y="3075"/>
                  </a:lnTo>
                  <a:lnTo>
                    <a:pt x="1834" y="2982"/>
                  </a:lnTo>
                  <a:lnTo>
                    <a:pt x="1791" y="2886"/>
                  </a:lnTo>
                  <a:lnTo>
                    <a:pt x="1757" y="2786"/>
                  </a:lnTo>
                  <a:lnTo>
                    <a:pt x="1732" y="2684"/>
                  </a:lnTo>
                  <a:lnTo>
                    <a:pt x="1718" y="2578"/>
                  </a:lnTo>
                  <a:lnTo>
                    <a:pt x="1712" y="2470"/>
                  </a:lnTo>
                  <a:lnTo>
                    <a:pt x="1718" y="2355"/>
                  </a:lnTo>
                  <a:lnTo>
                    <a:pt x="1736" y="2243"/>
                  </a:lnTo>
                  <a:lnTo>
                    <a:pt x="1763" y="2135"/>
                  </a:lnTo>
                  <a:lnTo>
                    <a:pt x="1802" y="2031"/>
                  </a:lnTo>
                  <a:lnTo>
                    <a:pt x="1850" y="1931"/>
                  </a:lnTo>
                  <a:lnTo>
                    <a:pt x="1906" y="1839"/>
                  </a:lnTo>
                  <a:lnTo>
                    <a:pt x="1971" y="1750"/>
                  </a:lnTo>
                  <a:lnTo>
                    <a:pt x="2044" y="1670"/>
                  </a:lnTo>
                  <a:lnTo>
                    <a:pt x="2124" y="1597"/>
                  </a:lnTo>
                  <a:lnTo>
                    <a:pt x="2212" y="1533"/>
                  </a:lnTo>
                  <a:lnTo>
                    <a:pt x="2305" y="1476"/>
                  </a:lnTo>
                  <a:lnTo>
                    <a:pt x="2405" y="1429"/>
                  </a:lnTo>
                  <a:lnTo>
                    <a:pt x="2509" y="1389"/>
                  </a:lnTo>
                  <a:lnTo>
                    <a:pt x="2616" y="1362"/>
                  </a:lnTo>
                  <a:lnTo>
                    <a:pt x="2728" y="1344"/>
                  </a:lnTo>
                  <a:lnTo>
                    <a:pt x="2844" y="1338"/>
                  </a:lnTo>
                  <a:lnTo>
                    <a:pt x="2958" y="1344"/>
                  </a:lnTo>
                  <a:lnTo>
                    <a:pt x="3069" y="1362"/>
                  </a:lnTo>
                  <a:lnTo>
                    <a:pt x="3177" y="1389"/>
                  </a:lnTo>
                  <a:lnTo>
                    <a:pt x="3279" y="1427"/>
                  </a:lnTo>
                  <a:lnTo>
                    <a:pt x="3377" y="1474"/>
                  </a:lnTo>
                  <a:lnTo>
                    <a:pt x="3472" y="1529"/>
                  </a:lnTo>
                  <a:lnTo>
                    <a:pt x="3558" y="1593"/>
                  </a:lnTo>
                  <a:lnTo>
                    <a:pt x="3638" y="1666"/>
                  </a:lnTo>
                  <a:lnTo>
                    <a:pt x="3711" y="1745"/>
                  </a:lnTo>
                  <a:lnTo>
                    <a:pt x="3778" y="1831"/>
                  </a:lnTo>
                  <a:lnTo>
                    <a:pt x="3834" y="1923"/>
                  </a:lnTo>
                  <a:lnTo>
                    <a:pt x="3881" y="2021"/>
                  </a:lnTo>
                  <a:lnTo>
                    <a:pt x="3921" y="2123"/>
                  </a:lnTo>
                  <a:lnTo>
                    <a:pt x="3950" y="2229"/>
                  </a:lnTo>
                  <a:lnTo>
                    <a:pt x="3968" y="2341"/>
                  </a:lnTo>
                  <a:lnTo>
                    <a:pt x="3976" y="2455"/>
                  </a:lnTo>
                  <a:lnTo>
                    <a:pt x="4505" y="2455"/>
                  </a:lnTo>
                  <a:lnTo>
                    <a:pt x="4533" y="2451"/>
                  </a:lnTo>
                  <a:lnTo>
                    <a:pt x="4556" y="2437"/>
                  </a:lnTo>
                  <a:lnTo>
                    <a:pt x="4574" y="2419"/>
                  </a:lnTo>
                  <a:lnTo>
                    <a:pt x="4586" y="2396"/>
                  </a:lnTo>
                  <a:lnTo>
                    <a:pt x="4590" y="2368"/>
                  </a:lnTo>
                  <a:lnTo>
                    <a:pt x="4590" y="2086"/>
                  </a:lnTo>
                  <a:lnTo>
                    <a:pt x="4497" y="2078"/>
                  </a:lnTo>
                  <a:lnTo>
                    <a:pt x="4405" y="2062"/>
                  </a:lnTo>
                  <a:lnTo>
                    <a:pt x="4313" y="2037"/>
                  </a:lnTo>
                  <a:lnTo>
                    <a:pt x="4223" y="2002"/>
                  </a:lnTo>
                  <a:lnTo>
                    <a:pt x="4134" y="1958"/>
                  </a:lnTo>
                  <a:lnTo>
                    <a:pt x="4050" y="1907"/>
                  </a:lnTo>
                  <a:lnTo>
                    <a:pt x="3972" y="1849"/>
                  </a:lnTo>
                  <a:lnTo>
                    <a:pt x="3895" y="1780"/>
                  </a:lnTo>
                  <a:lnTo>
                    <a:pt x="3823" y="1701"/>
                  </a:lnTo>
                  <a:lnTo>
                    <a:pt x="3758" y="1619"/>
                  </a:lnTo>
                  <a:lnTo>
                    <a:pt x="3703" y="1531"/>
                  </a:lnTo>
                  <a:lnTo>
                    <a:pt x="3658" y="1438"/>
                  </a:lnTo>
                  <a:lnTo>
                    <a:pt x="3621" y="1344"/>
                  </a:lnTo>
                  <a:lnTo>
                    <a:pt x="3595" y="1246"/>
                  </a:lnTo>
                  <a:lnTo>
                    <a:pt x="3579" y="1146"/>
                  </a:lnTo>
                  <a:lnTo>
                    <a:pt x="3574" y="1044"/>
                  </a:lnTo>
                  <a:lnTo>
                    <a:pt x="3581" y="930"/>
                  </a:lnTo>
                  <a:lnTo>
                    <a:pt x="3599" y="821"/>
                  </a:lnTo>
                  <a:lnTo>
                    <a:pt x="3628" y="715"/>
                  </a:lnTo>
                  <a:lnTo>
                    <a:pt x="3668" y="613"/>
                  </a:lnTo>
                  <a:lnTo>
                    <a:pt x="3717" y="518"/>
                  </a:lnTo>
                  <a:lnTo>
                    <a:pt x="3776" y="428"/>
                  </a:lnTo>
                  <a:lnTo>
                    <a:pt x="3842" y="346"/>
                  </a:lnTo>
                  <a:lnTo>
                    <a:pt x="3919" y="269"/>
                  </a:lnTo>
                  <a:lnTo>
                    <a:pt x="4001" y="203"/>
                  </a:lnTo>
                  <a:lnTo>
                    <a:pt x="4091" y="144"/>
                  </a:lnTo>
                  <a:lnTo>
                    <a:pt x="4187" y="95"/>
                  </a:lnTo>
                  <a:lnTo>
                    <a:pt x="4287" y="53"/>
                  </a:lnTo>
                  <a:lnTo>
                    <a:pt x="4393" y="26"/>
                  </a:lnTo>
                  <a:lnTo>
                    <a:pt x="4503" y="6"/>
                  </a:lnTo>
                  <a:lnTo>
                    <a:pt x="461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595">
              <a:extLst>
                <a:ext uri="{FF2B5EF4-FFF2-40B4-BE49-F238E27FC236}">
                  <a16:creationId xmlns:a16="http://schemas.microsoft.com/office/drawing/2014/main" id="{11BA1157-5E38-944E-A624-747AB95C4FD5}"/>
                </a:ext>
              </a:extLst>
            </p:cNvPr>
            <p:cNvSpPr>
              <a:spLocks/>
            </p:cNvSpPr>
            <p:nvPr/>
          </p:nvSpPr>
          <p:spPr bwMode="auto">
            <a:xfrm>
              <a:off x="5499792" y="951886"/>
              <a:ext cx="1358900" cy="1204912"/>
            </a:xfrm>
            <a:custGeom>
              <a:avLst/>
              <a:gdLst>
                <a:gd name="T0" fmla="*/ 957 w 1712"/>
                <a:gd name="T1" fmla="*/ 6 h 1516"/>
                <a:gd name="T2" fmla="*/ 1145 w 1712"/>
                <a:gd name="T3" fmla="*/ 51 h 1516"/>
                <a:gd name="T4" fmla="*/ 1314 w 1712"/>
                <a:gd name="T5" fmla="*/ 133 h 1516"/>
                <a:gd name="T6" fmla="*/ 1461 w 1712"/>
                <a:gd name="T7" fmla="*/ 251 h 1516"/>
                <a:gd name="T8" fmla="*/ 1579 w 1712"/>
                <a:gd name="T9" fmla="*/ 398 h 1516"/>
                <a:gd name="T10" fmla="*/ 1663 w 1712"/>
                <a:gd name="T11" fmla="*/ 569 h 1516"/>
                <a:gd name="T12" fmla="*/ 1706 w 1712"/>
                <a:gd name="T13" fmla="*/ 757 h 1516"/>
                <a:gd name="T14" fmla="*/ 1706 w 1712"/>
                <a:gd name="T15" fmla="*/ 951 h 1516"/>
                <a:gd name="T16" fmla="*/ 1667 w 1712"/>
                <a:gd name="T17" fmla="*/ 1134 h 1516"/>
                <a:gd name="T18" fmla="*/ 1589 w 1712"/>
                <a:gd name="T19" fmla="*/ 1301 h 1516"/>
                <a:gd name="T20" fmla="*/ 1475 w 1712"/>
                <a:gd name="T21" fmla="*/ 1450 h 1516"/>
                <a:gd name="T22" fmla="*/ 1402 w 1712"/>
                <a:gd name="T23" fmla="*/ 1514 h 1516"/>
                <a:gd name="T24" fmla="*/ 1396 w 1712"/>
                <a:gd name="T25" fmla="*/ 1514 h 1516"/>
                <a:gd name="T26" fmla="*/ 1392 w 1712"/>
                <a:gd name="T27" fmla="*/ 1510 h 1516"/>
                <a:gd name="T28" fmla="*/ 1394 w 1712"/>
                <a:gd name="T29" fmla="*/ 1503 h 1516"/>
                <a:gd name="T30" fmla="*/ 1524 w 1712"/>
                <a:gd name="T31" fmla="*/ 1369 h 1516"/>
                <a:gd name="T32" fmla="*/ 1618 w 1712"/>
                <a:gd name="T33" fmla="*/ 1212 h 1516"/>
                <a:gd name="T34" fmla="*/ 1677 w 1712"/>
                <a:gd name="T35" fmla="*/ 1040 h 1516"/>
                <a:gd name="T36" fmla="*/ 1698 w 1712"/>
                <a:gd name="T37" fmla="*/ 857 h 1516"/>
                <a:gd name="T38" fmla="*/ 1675 w 1712"/>
                <a:gd name="T39" fmla="*/ 663 h 1516"/>
                <a:gd name="T40" fmla="*/ 1612 w 1712"/>
                <a:gd name="T41" fmla="*/ 486 h 1516"/>
                <a:gd name="T42" fmla="*/ 1512 w 1712"/>
                <a:gd name="T43" fmla="*/ 331 h 1516"/>
                <a:gd name="T44" fmla="*/ 1383 w 1712"/>
                <a:gd name="T45" fmla="*/ 200 h 1516"/>
                <a:gd name="T46" fmla="*/ 1226 w 1712"/>
                <a:gd name="T47" fmla="*/ 102 h 1516"/>
                <a:gd name="T48" fmla="*/ 1049 w 1712"/>
                <a:gd name="T49" fmla="*/ 37 h 1516"/>
                <a:gd name="T50" fmla="*/ 857 w 1712"/>
                <a:gd name="T51" fmla="*/ 16 h 1516"/>
                <a:gd name="T52" fmla="*/ 665 w 1712"/>
                <a:gd name="T53" fmla="*/ 37 h 1516"/>
                <a:gd name="T54" fmla="*/ 486 w 1712"/>
                <a:gd name="T55" fmla="*/ 102 h 1516"/>
                <a:gd name="T56" fmla="*/ 331 w 1712"/>
                <a:gd name="T57" fmla="*/ 200 h 1516"/>
                <a:gd name="T58" fmla="*/ 200 w 1712"/>
                <a:gd name="T59" fmla="*/ 331 h 1516"/>
                <a:gd name="T60" fmla="*/ 102 w 1712"/>
                <a:gd name="T61" fmla="*/ 486 h 1516"/>
                <a:gd name="T62" fmla="*/ 37 w 1712"/>
                <a:gd name="T63" fmla="*/ 663 h 1516"/>
                <a:gd name="T64" fmla="*/ 16 w 1712"/>
                <a:gd name="T65" fmla="*/ 857 h 1516"/>
                <a:gd name="T66" fmla="*/ 12 w 1712"/>
                <a:gd name="T67" fmla="*/ 863 h 1516"/>
                <a:gd name="T68" fmla="*/ 4 w 1712"/>
                <a:gd name="T69" fmla="*/ 863 h 1516"/>
                <a:gd name="T70" fmla="*/ 0 w 1712"/>
                <a:gd name="T71" fmla="*/ 857 h 1516"/>
                <a:gd name="T72" fmla="*/ 23 w 1712"/>
                <a:gd name="T73" fmla="*/ 661 h 1516"/>
                <a:gd name="T74" fmla="*/ 88 w 1712"/>
                <a:gd name="T75" fmla="*/ 480 h 1516"/>
                <a:gd name="T76" fmla="*/ 188 w 1712"/>
                <a:gd name="T77" fmla="*/ 322 h 1516"/>
                <a:gd name="T78" fmla="*/ 322 w 1712"/>
                <a:gd name="T79" fmla="*/ 188 h 1516"/>
                <a:gd name="T80" fmla="*/ 480 w 1712"/>
                <a:gd name="T81" fmla="*/ 88 h 1516"/>
                <a:gd name="T82" fmla="*/ 661 w 1712"/>
                <a:gd name="T83" fmla="*/ 23 h 1516"/>
                <a:gd name="T84" fmla="*/ 857 w 1712"/>
                <a:gd name="T85" fmla="*/ 0 h 1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12" h="1516">
                  <a:moveTo>
                    <a:pt x="857" y="0"/>
                  </a:moveTo>
                  <a:lnTo>
                    <a:pt x="957" y="6"/>
                  </a:lnTo>
                  <a:lnTo>
                    <a:pt x="1053" y="23"/>
                  </a:lnTo>
                  <a:lnTo>
                    <a:pt x="1145" y="51"/>
                  </a:lnTo>
                  <a:lnTo>
                    <a:pt x="1232" y="88"/>
                  </a:lnTo>
                  <a:lnTo>
                    <a:pt x="1314" y="133"/>
                  </a:lnTo>
                  <a:lnTo>
                    <a:pt x="1390" y="188"/>
                  </a:lnTo>
                  <a:lnTo>
                    <a:pt x="1461" y="251"/>
                  </a:lnTo>
                  <a:lnTo>
                    <a:pt x="1524" y="322"/>
                  </a:lnTo>
                  <a:lnTo>
                    <a:pt x="1579" y="398"/>
                  </a:lnTo>
                  <a:lnTo>
                    <a:pt x="1626" y="480"/>
                  </a:lnTo>
                  <a:lnTo>
                    <a:pt x="1663" y="569"/>
                  </a:lnTo>
                  <a:lnTo>
                    <a:pt x="1691" y="661"/>
                  </a:lnTo>
                  <a:lnTo>
                    <a:pt x="1706" y="757"/>
                  </a:lnTo>
                  <a:lnTo>
                    <a:pt x="1712" y="857"/>
                  </a:lnTo>
                  <a:lnTo>
                    <a:pt x="1706" y="951"/>
                  </a:lnTo>
                  <a:lnTo>
                    <a:pt x="1692" y="1044"/>
                  </a:lnTo>
                  <a:lnTo>
                    <a:pt x="1667" y="1134"/>
                  </a:lnTo>
                  <a:lnTo>
                    <a:pt x="1632" y="1220"/>
                  </a:lnTo>
                  <a:lnTo>
                    <a:pt x="1589" y="1301"/>
                  </a:lnTo>
                  <a:lnTo>
                    <a:pt x="1536" y="1379"/>
                  </a:lnTo>
                  <a:lnTo>
                    <a:pt x="1475" y="1450"/>
                  </a:lnTo>
                  <a:lnTo>
                    <a:pt x="1404" y="1514"/>
                  </a:lnTo>
                  <a:lnTo>
                    <a:pt x="1402" y="1514"/>
                  </a:lnTo>
                  <a:lnTo>
                    <a:pt x="1400" y="1516"/>
                  </a:lnTo>
                  <a:lnTo>
                    <a:pt x="1396" y="1514"/>
                  </a:lnTo>
                  <a:lnTo>
                    <a:pt x="1394" y="1512"/>
                  </a:lnTo>
                  <a:lnTo>
                    <a:pt x="1392" y="1510"/>
                  </a:lnTo>
                  <a:lnTo>
                    <a:pt x="1392" y="1507"/>
                  </a:lnTo>
                  <a:lnTo>
                    <a:pt x="1394" y="1503"/>
                  </a:lnTo>
                  <a:lnTo>
                    <a:pt x="1463" y="1440"/>
                  </a:lnTo>
                  <a:lnTo>
                    <a:pt x="1524" y="1369"/>
                  </a:lnTo>
                  <a:lnTo>
                    <a:pt x="1575" y="1293"/>
                  </a:lnTo>
                  <a:lnTo>
                    <a:pt x="1618" y="1212"/>
                  </a:lnTo>
                  <a:lnTo>
                    <a:pt x="1653" y="1128"/>
                  </a:lnTo>
                  <a:lnTo>
                    <a:pt x="1677" y="1040"/>
                  </a:lnTo>
                  <a:lnTo>
                    <a:pt x="1692" y="949"/>
                  </a:lnTo>
                  <a:lnTo>
                    <a:pt x="1698" y="857"/>
                  </a:lnTo>
                  <a:lnTo>
                    <a:pt x="1692" y="759"/>
                  </a:lnTo>
                  <a:lnTo>
                    <a:pt x="1675" y="663"/>
                  </a:lnTo>
                  <a:lnTo>
                    <a:pt x="1649" y="573"/>
                  </a:lnTo>
                  <a:lnTo>
                    <a:pt x="1612" y="486"/>
                  </a:lnTo>
                  <a:lnTo>
                    <a:pt x="1567" y="406"/>
                  </a:lnTo>
                  <a:lnTo>
                    <a:pt x="1512" y="331"/>
                  </a:lnTo>
                  <a:lnTo>
                    <a:pt x="1451" y="263"/>
                  </a:lnTo>
                  <a:lnTo>
                    <a:pt x="1383" y="200"/>
                  </a:lnTo>
                  <a:lnTo>
                    <a:pt x="1306" y="147"/>
                  </a:lnTo>
                  <a:lnTo>
                    <a:pt x="1226" y="102"/>
                  </a:lnTo>
                  <a:lnTo>
                    <a:pt x="1139" y="65"/>
                  </a:lnTo>
                  <a:lnTo>
                    <a:pt x="1049" y="37"/>
                  </a:lnTo>
                  <a:lnTo>
                    <a:pt x="955" y="21"/>
                  </a:lnTo>
                  <a:lnTo>
                    <a:pt x="857" y="16"/>
                  </a:lnTo>
                  <a:lnTo>
                    <a:pt x="759" y="21"/>
                  </a:lnTo>
                  <a:lnTo>
                    <a:pt x="665" y="37"/>
                  </a:lnTo>
                  <a:lnTo>
                    <a:pt x="573" y="65"/>
                  </a:lnTo>
                  <a:lnTo>
                    <a:pt x="486" y="102"/>
                  </a:lnTo>
                  <a:lnTo>
                    <a:pt x="406" y="147"/>
                  </a:lnTo>
                  <a:lnTo>
                    <a:pt x="331" y="200"/>
                  </a:lnTo>
                  <a:lnTo>
                    <a:pt x="263" y="263"/>
                  </a:lnTo>
                  <a:lnTo>
                    <a:pt x="200" y="331"/>
                  </a:lnTo>
                  <a:lnTo>
                    <a:pt x="147" y="406"/>
                  </a:lnTo>
                  <a:lnTo>
                    <a:pt x="102" y="486"/>
                  </a:lnTo>
                  <a:lnTo>
                    <a:pt x="65" y="573"/>
                  </a:lnTo>
                  <a:lnTo>
                    <a:pt x="37" y="663"/>
                  </a:lnTo>
                  <a:lnTo>
                    <a:pt x="21" y="759"/>
                  </a:lnTo>
                  <a:lnTo>
                    <a:pt x="16" y="857"/>
                  </a:lnTo>
                  <a:lnTo>
                    <a:pt x="14" y="861"/>
                  </a:lnTo>
                  <a:lnTo>
                    <a:pt x="12" y="863"/>
                  </a:lnTo>
                  <a:lnTo>
                    <a:pt x="8" y="863"/>
                  </a:lnTo>
                  <a:lnTo>
                    <a:pt x="4" y="863"/>
                  </a:lnTo>
                  <a:lnTo>
                    <a:pt x="2" y="861"/>
                  </a:lnTo>
                  <a:lnTo>
                    <a:pt x="0" y="857"/>
                  </a:lnTo>
                  <a:lnTo>
                    <a:pt x="6" y="757"/>
                  </a:lnTo>
                  <a:lnTo>
                    <a:pt x="23" y="661"/>
                  </a:lnTo>
                  <a:lnTo>
                    <a:pt x="51" y="569"/>
                  </a:lnTo>
                  <a:lnTo>
                    <a:pt x="88" y="480"/>
                  </a:lnTo>
                  <a:lnTo>
                    <a:pt x="133" y="398"/>
                  </a:lnTo>
                  <a:lnTo>
                    <a:pt x="188" y="322"/>
                  </a:lnTo>
                  <a:lnTo>
                    <a:pt x="251" y="251"/>
                  </a:lnTo>
                  <a:lnTo>
                    <a:pt x="322" y="188"/>
                  </a:lnTo>
                  <a:lnTo>
                    <a:pt x="398" y="133"/>
                  </a:lnTo>
                  <a:lnTo>
                    <a:pt x="480" y="88"/>
                  </a:lnTo>
                  <a:lnTo>
                    <a:pt x="569" y="51"/>
                  </a:lnTo>
                  <a:lnTo>
                    <a:pt x="661" y="23"/>
                  </a:lnTo>
                  <a:lnTo>
                    <a:pt x="757" y="6"/>
                  </a:lnTo>
                  <a:lnTo>
                    <a:pt x="857" y="0"/>
                  </a:lnTo>
                  <a:close/>
                </a:path>
              </a:pathLst>
            </a:custGeom>
            <a:solidFill>
              <a:schemeClr val="accent2"/>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1596">
              <a:extLst>
                <a:ext uri="{FF2B5EF4-FFF2-40B4-BE49-F238E27FC236}">
                  <a16:creationId xmlns:a16="http://schemas.microsoft.com/office/drawing/2014/main" id="{B4CC8390-D154-8346-B528-A77940C30BB8}"/>
                </a:ext>
              </a:extLst>
            </p:cNvPr>
            <p:cNvSpPr>
              <a:spLocks/>
            </p:cNvSpPr>
            <p:nvPr/>
          </p:nvSpPr>
          <p:spPr bwMode="auto">
            <a:xfrm>
              <a:off x="5374379" y="3169623"/>
              <a:ext cx="1546225" cy="1598612"/>
            </a:xfrm>
            <a:custGeom>
              <a:avLst/>
              <a:gdLst>
                <a:gd name="T0" fmla="*/ 1053 w 1950"/>
                <a:gd name="T1" fmla="*/ 6 h 2013"/>
                <a:gd name="T2" fmla="*/ 1261 w 1950"/>
                <a:gd name="T3" fmla="*/ 51 h 2013"/>
                <a:gd name="T4" fmla="*/ 1451 w 1950"/>
                <a:gd name="T5" fmla="*/ 138 h 2013"/>
                <a:gd name="T6" fmla="*/ 1618 w 1950"/>
                <a:gd name="T7" fmla="*/ 261 h 2013"/>
                <a:gd name="T8" fmla="*/ 1755 w 1950"/>
                <a:gd name="T9" fmla="*/ 412 h 2013"/>
                <a:gd name="T10" fmla="*/ 1859 w 1950"/>
                <a:gd name="T11" fmla="*/ 593 h 2013"/>
                <a:gd name="T12" fmla="*/ 1926 w 1950"/>
                <a:gd name="T13" fmla="*/ 791 h 2013"/>
                <a:gd name="T14" fmla="*/ 1950 w 1950"/>
                <a:gd name="T15" fmla="*/ 1007 h 2013"/>
                <a:gd name="T16" fmla="*/ 1926 w 1950"/>
                <a:gd name="T17" fmla="*/ 1223 h 2013"/>
                <a:gd name="T18" fmla="*/ 1859 w 1950"/>
                <a:gd name="T19" fmla="*/ 1423 h 2013"/>
                <a:gd name="T20" fmla="*/ 1755 w 1950"/>
                <a:gd name="T21" fmla="*/ 1601 h 2013"/>
                <a:gd name="T22" fmla="*/ 1618 w 1950"/>
                <a:gd name="T23" fmla="*/ 1754 h 2013"/>
                <a:gd name="T24" fmla="*/ 1451 w 1950"/>
                <a:gd name="T25" fmla="*/ 1876 h 2013"/>
                <a:gd name="T26" fmla="*/ 1261 w 1950"/>
                <a:gd name="T27" fmla="*/ 1962 h 2013"/>
                <a:gd name="T28" fmla="*/ 1053 w 1950"/>
                <a:gd name="T29" fmla="*/ 2007 h 2013"/>
                <a:gd name="T30" fmla="*/ 839 w 1950"/>
                <a:gd name="T31" fmla="*/ 2007 h 2013"/>
                <a:gd name="T32" fmla="*/ 641 w 1950"/>
                <a:gd name="T33" fmla="*/ 1966 h 2013"/>
                <a:gd name="T34" fmla="*/ 455 w 1950"/>
                <a:gd name="T35" fmla="*/ 1886 h 2013"/>
                <a:gd name="T36" fmla="*/ 290 w 1950"/>
                <a:gd name="T37" fmla="*/ 1772 h 2013"/>
                <a:gd name="T38" fmla="*/ 151 w 1950"/>
                <a:gd name="T39" fmla="*/ 1627 h 2013"/>
                <a:gd name="T40" fmla="*/ 43 w 1950"/>
                <a:gd name="T41" fmla="*/ 1454 h 2013"/>
                <a:gd name="T42" fmla="*/ 0 w 1950"/>
                <a:gd name="T43" fmla="*/ 1354 h 2013"/>
                <a:gd name="T44" fmla="*/ 6 w 1950"/>
                <a:gd name="T45" fmla="*/ 1342 h 2013"/>
                <a:gd name="T46" fmla="*/ 18 w 1950"/>
                <a:gd name="T47" fmla="*/ 1336 h 2013"/>
                <a:gd name="T48" fmla="*/ 26 w 1950"/>
                <a:gd name="T49" fmla="*/ 1340 h 2013"/>
                <a:gd name="T50" fmla="*/ 31 w 1950"/>
                <a:gd name="T51" fmla="*/ 1348 h 2013"/>
                <a:gd name="T52" fmla="*/ 122 w 1950"/>
                <a:gd name="T53" fmla="*/ 1527 h 2013"/>
                <a:gd name="T54" fmla="*/ 241 w 1950"/>
                <a:gd name="T55" fmla="*/ 1680 h 2013"/>
                <a:gd name="T56" fmla="*/ 390 w 1950"/>
                <a:gd name="T57" fmla="*/ 1805 h 2013"/>
                <a:gd name="T58" fmla="*/ 559 w 1950"/>
                <a:gd name="T59" fmla="*/ 1900 h 2013"/>
                <a:gd name="T60" fmla="*/ 745 w 1950"/>
                <a:gd name="T61" fmla="*/ 1960 h 2013"/>
                <a:gd name="T62" fmla="*/ 943 w 1950"/>
                <a:gd name="T63" fmla="*/ 1980 h 2013"/>
                <a:gd name="T64" fmla="*/ 1151 w 1950"/>
                <a:gd name="T65" fmla="*/ 1958 h 2013"/>
                <a:gd name="T66" fmla="*/ 1345 w 1950"/>
                <a:gd name="T67" fmla="*/ 1894 h 2013"/>
                <a:gd name="T68" fmla="*/ 1518 w 1950"/>
                <a:gd name="T69" fmla="*/ 1792 h 2013"/>
                <a:gd name="T70" fmla="*/ 1665 w 1950"/>
                <a:gd name="T71" fmla="*/ 1658 h 2013"/>
                <a:gd name="T72" fmla="*/ 1783 w 1950"/>
                <a:gd name="T73" fmla="*/ 1497 h 2013"/>
                <a:gd name="T74" fmla="*/ 1867 w 1950"/>
                <a:gd name="T75" fmla="*/ 1315 h 2013"/>
                <a:gd name="T76" fmla="*/ 1910 w 1950"/>
                <a:gd name="T77" fmla="*/ 1113 h 2013"/>
                <a:gd name="T78" fmla="*/ 1910 w 1950"/>
                <a:gd name="T79" fmla="*/ 901 h 2013"/>
                <a:gd name="T80" fmla="*/ 1867 w 1950"/>
                <a:gd name="T81" fmla="*/ 701 h 2013"/>
                <a:gd name="T82" fmla="*/ 1783 w 1950"/>
                <a:gd name="T83" fmla="*/ 516 h 2013"/>
                <a:gd name="T84" fmla="*/ 1665 w 1950"/>
                <a:gd name="T85" fmla="*/ 356 h 2013"/>
                <a:gd name="T86" fmla="*/ 1518 w 1950"/>
                <a:gd name="T87" fmla="*/ 222 h 2013"/>
                <a:gd name="T88" fmla="*/ 1345 w 1950"/>
                <a:gd name="T89" fmla="*/ 120 h 2013"/>
                <a:gd name="T90" fmla="*/ 1151 w 1950"/>
                <a:gd name="T91" fmla="*/ 57 h 2013"/>
                <a:gd name="T92" fmla="*/ 943 w 1950"/>
                <a:gd name="T93" fmla="*/ 34 h 2013"/>
                <a:gd name="T94" fmla="*/ 747 w 1950"/>
                <a:gd name="T95" fmla="*/ 53 h 2013"/>
                <a:gd name="T96" fmla="*/ 563 w 1950"/>
                <a:gd name="T97" fmla="*/ 112 h 2013"/>
                <a:gd name="T98" fmla="*/ 394 w 1950"/>
                <a:gd name="T99" fmla="*/ 205 h 2013"/>
                <a:gd name="T100" fmla="*/ 245 w 1950"/>
                <a:gd name="T101" fmla="*/ 328 h 2013"/>
                <a:gd name="T102" fmla="*/ 124 w 1950"/>
                <a:gd name="T103" fmla="*/ 483 h 2013"/>
                <a:gd name="T104" fmla="*/ 116 w 1950"/>
                <a:gd name="T105" fmla="*/ 491 h 2013"/>
                <a:gd name="T106" fmla="*/ 106 w 1950"/>
                <a:gd name="T107" fmla="*/ 491 h 2013"/>
                <a:gd name="T108" fmla="*/ 96 w 1950"/>
                <a:gd name="T109" fmla="*/ 485 h 2013"/>
                <a:gd name="T110" fmla="*/ 92 w 1950"/>
                <a:gd name="T111" fmla="*/ 475 h 2013"/>
                <a:gd name="T112" fmla="*/ 96 w 1950"/>
                <a:gd name="T113" fmla="*/ 465 h 2013"/>
                <a:gd name="T114" fmla="*/ 222 w 1950"/>
                <a:gd name="T115" fmla="*/ 307 h 2013"/>
                <a:gd name="T116" fmla="*/ 375 w 1950"/>
                <a:gd name="T117" fmla="*/ 177 h 2013"/>
                <a:gd name="T118" fmla="*/ 549 w 1950"/>
                <a:gd name="T119" fmla="*/ 81 h 2013"/>
                <a:gd name="T120" fmla="*/ 741 w 1950"/>
                <a:gd name="T121" fmla="*/ 22 h 2013"/>
                <a:gd name="T122" fmla="*/ 943 w 1950"/>
                <a:gd name="T123" fmla="*/ 0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50" h="2013">
                  <a:moveTo>
                    <a:pt x="943" y="0"/>
                  </a:moveTo>
                  <a:lnTo>
                    <a:pt x="1053" y="6"/>
                  </a:lnTo>
                  <a:lnTo>
                    <a:pt x="1159" y="24"/>
                  </a:lnTo>
                  <a:lnTo>
                    <a:pt x="1261" y="51"/>
                  </a:lnTo>
                  <a:lnTo>
                    <a:pt x="1359" y="91"/>
                  </a:lnTo>
                  <a:lnTo>
                    <a:pt x="1451" y="138"/>
                  </a:lnTo>
                  <a:lnTo>
                    <a:pt x="1538" y="195"/>
                  </a:lnTo>
                  <a:lnTo>
                    <a:pt x="1618" y="261"/>
                  </a:lnTo>
                  <a:lnTo>
                    <a:pt x="1691" y="334"/>
                  </a:lnTo>
                  <a:lnTo>
                    <a:pt x="1755" y="412"/>
                  </a:lnTo>
                  <a:lnTo>
                    <a:pt x="1812" y="501"/>
                  </a:lnTo>
                  <a:lnTo>
                    <a:pt x="1859" y="593"/>
                  </a:lnTo>
                  <a:lnTo>
                    <a:pt x="1899" y="689"/>
                  </a:lnTo>
                  <a:lnTo>
                    <a:pt x="1926" y="791"/>
                  </a:lnTo>
                  <a:lnTo>
                    <a:pt x="1944" y="897"/>
                  </a:lnTo>
                  <a:lnTo>
                    <a:pt x="1950" y="1007"/>
                  </a:lnTo>
                  <a:lnTo>
                    <a:pt x="1944" y="1117"/>
                  </a:lnTo>
                  <a:lnTo>
                    <a:pt x="1926" y="1223"/>
                  </a:lnTo>
                  <a:lnTo>
                    <a:pt x="1899" y="1325"/>
                  </a:lnTo>
                  <a:lnTo>
                    <a:pt x="1859" y="1423"/>
                  </a:lnTo>
                  <a:lnTo>
                    <a:pt x="1812" y="1515"/>
                  </a:lnTo>
                  <a:lnTo>
                    <a:pt x="1755" y="1601"/>
                  </a:lnTo>
                  <a:lnTo>
                    <a:pt x="1691" y="1682"/>
                  </a:lnTo>
                  <a:lnTo>
                    <a:pt x="1618" y="1754"/>
                  </a:lnTo>
                  <a:lnTo>
                    <a:pt x="1538" y="1819"/>
                  </a:lnTo>
                  <a:lnTo>
                    <a:pt x="1451" y="1876"/>
                  </a:lnTo>
                  <a:lnTo>
                    <a:pt x="1359" y="1923"/>
                  </a:lnTo>
                  <a:lnTo>
                    <a:pt x="1261" y="1962"/>
                  </a:lnTo>
                  <a:lnTo>
                    <a:pt x="1159" y="1990"/>
                  </a:lnTo>
                  <a:lnTo>
                    <a:pt x="1053" y="2007"/>
                  </a:lnTo>
                  <a:lnTo>
                    <a:pt x="943" y="2013"/>
                  </a:lnTo>
                  <a:lnTo>
                    <a:pt x="839" y="2007"/>
                  </a:lnTo>
                  <a:lnTo>
                    <a:pt x="739" y="1992"/>
                  </a:lnTo>
                  <a:lnTo>
                    <a:pt x="641" y="1966"/>
                  </a:lnTo>
                  <a:lnTo>
                    <a:pt x="545" y="1931"/>
                  </a:lnTo>
                  <a:lnTo>
                    <a:pt x="455" y="1886"/>
                  </a:lnTo>
                  <a:lnTo>
                    <a:pt x="371" y="1833"/>
                  </a:lnTo>
                  <a:lnTo>
                    <a:pt x="290" y="1772"/>
                  </a:lnTo>
                  <a:lnTo>
                    <a:pt x="218" y="1703"/>
                  </a:lnTo>
                  <a:lnTo>
                    <a:pt x="151" y="1627"/>
                  </a:lnTo>
                  <a:lnTo>
                    <a:pt x="92" y="1544"/>
                  </a:lnTo>
                  <a:lnTo>
                    <a:pt x="43" y="1454"/>
                  </a:lnTo>
                  <a:lnTo>
                    <a:pt x="2" y="1360"/>
                  </a:lnTo>
                  <a:lnTo>
                    <a:pt x="0" y="1354"/>
                  </a:lnTo>
                  <a:lnTo>
                    <a:pt x="2" y="1346"/>
                  </a:lnTo>
                  <a:lnTo>
                    <a:pt x="6" y="1342"/>
                  </a:lnTo>
                  <a:lnTo>
                    <a:pt x="12" y="1338"/>
                  </a:lnTo>
                  <a:lnTo>
                    <a:pt x="18" y="1336"/>
                  </a:lnTo>
                  <a:lnTo>
                    <a:pt x="22" y="1338"/>
                  </a:lnTo>
                  <a:lnTo>
                    <a:pt x="26" y="1340"/>
                  </a:lnTo>
                  <a:lnTo>
                    <a:pt x="29" y="1344"/>
                  </a:lnTo>
                  <a:lnTo>
                    <a:pt x="31" y="1348"/>
                  </a:lnTo>
                  <a:lnTo>
                    <a:pt x="73" y="1440"/>
                  </a:lnTo>
                  <a:lnTo>
                    <a:pt x="122" y="1527"/>
                  </a:lnTo>
                  <a:lnTo>
                    <a:pt x="178" y="1607"/>
                  </a:lnTo>
                  <a:lnTo>
                    <a:pt x="241" y="1680"/>
                  </a:lnTo>
                  <a:lnTo>
                    <a:pt x="312" y="1746"/>
                  </a:lnTo>
                  <a:lnTo>
                    <a:pt x="390" y="1805"/>
                  </a:lnTo>
                  <a:lnTo>
                    <a:pt x="473" y="1856"/>
                  </a:lnTo>
                  <a:lnTo>
                    <a:pt x="559" y="1900"/>
                  </a:lnTo>
                  <a:lnTo>
                    <a:pt x="651" y="1935"/>
                  </a:lnTo>
                  <a:lnTo>
                    <a:pt x="745" y="1960"/>
                  </a:lnTo>
                  <a:lnTo>
                    <a:pt x="843" y="1974"/>
                  </a:lnTo>
                  <a:lnTo>
                    <a:pt x="943" y="1980"/>
                  </a:lnTo>
                  <a:lnTo>
                    <a:pt x="1049" y="1974"/>
                  </a:lnTo>
                  <a:lnTo>
                    <a:pt x="1151" y="1958"/>
                  </a:lnTo>
                  <a:lnTo>
                    <a:pt x="1251" y="1931"/>
                  </a:lnTo>
                  <a:lnTo>
                    <a:pt x="1345" y="1894"/>
                  </a:lnTo>
                  <a:lnTo>
                    <a:pt x="1434" y="1847"/>
                  </a:lnTo>
                  <a:lnTo>
                    <a:pt x="1518" y="1792"/>
                  </a:lnTo>
                  <a:lnTo>
                    <a:pt x="1595" y="1729"/>
                  </a:lnTo>
                  <a:lnTo>
                    <a:pt x="1665" y="1658"/>
                  </a:lnTo>
                  <a:lnTo>
                    <a:pt x="1728" y="1582"/>
                  </a:lnTo>
                  <a:lnTo>
                    <a:pt x="1783" y="1497"/>
                  </a:lnTo>
                  <a:lnTo>
                    <a:pt x="1830" y="1409"/>
                  </a:lnTo>
                  <a:lnTo>
                    <a:pt x="1867" y="1315"/>
                  </a:lnTo>
                  <a:lnTo>
                    <a:pt x="1895" y="1215"/>
                  </a:lnTo>
                  <a:lnTo>
                    <a:pt x="1910" y="1113"/>
                  </a:lnTo>
                  <a:lnTo>
                    <a:pt x="1916" y="1007"/>
                  </a:lnTo>
                  <a:lnTo>
                    <a:pt x="1910" y="901"/>
                  </a:lnTo>
                  <a:lnTo>
                    <a:pt x="1895" y="799"/>
                  </a:lnTo>
                  <a:lnTo>
                    <a:pt x="1867" y="701"/>
                  </a:lnTo>
                  <a:lnTo>
                    <a:pt x="1830" y="607"/>
                  </a:lnTo>
                  <a:lnTo>
                    <a:pt x="1783" y="516"/>
                  </a:lnTo>
                  <a:lnTo>
                    <a:pt x="1728" y="432"/>
                  </a:lnTo>
                  <a:lnTo>
                    <a:pt x="1665" y="356"/>
                  </a:lnTo>
                  <a:lnTo>
                    <a:pt x="1595" y="285"/>
                  </a:lnTo>
                  <a:lnTo>
                    <a:pt x="1518" y="222"/>
                  </a:lnTo>
                  <a:lnTo>
                    <a:pt x="1434" y="167"/>
                  </a:lnTo>
                  <a:lnTo>
                    <a:pt x="1345" y="120"/>
                  </a:lnTo>
                  <a:lnTo>
                    <a:pt x="1251" y="85"/>
                  </a:lnTo>
                  <a:lnTo>
                    <a:pt x="1151" y="57"/>
                  </a:lnTo>
                  <a:lnTo>
                    <a:pt x="1049" y="40"/>
                  </a:lnTo>
                  <a:lnTo>
                    <a:pt x="943" y="34"/>
                  </a:lnTo>
                  <a:lnTo>
                    <a:pt x="845" y="40"/>
                  </a:lnTo>
                  <a:lnTo>
                    <a:pt x="747" y="53"/>
                  </a:lnTo>
                  <a:lnTo>
                    <a:pt x="653" y="79"/>
                  </a:lnTo>
                  <a:lnTo>
                    <a:pt x="563" y="112"/>
                  </a:lnTo>
                  <a:lnTo>
                    <a:pt x="477" y="153"/>
                  </a:lnTo>
                  <a:lnTo>
                    <a:pt x="394" y="205"/>
                  </a:lnTo>
                  <a:lnTo>
                    <a:pt x="318" y="263"/>
                  </a:lnTo>
                  <a:lnTo>
                    <a:pt x="245" y="328"/>
                  </a:lnTo>
                  <a:lnTo>
                    <a:pt x="180" y="403"/>
                  </a:lnTo>
                  <a:lnTo>
                    <a:pt x="124" y="483"/>
                  </a:lnTo>
                  <a:lnTo>
                    <a:pt x="120" y="487"/>
                  </a:lnTo>
                  <a:lnTo>
                    <a:pt x="116" y="491"/>
                  </a:lnTo>
                  <a:lnTo>
                    <a:pt x="110" y="491"/>
                  </a:lnTo>
                  <a:lnTo>
                    <a:pt x="106" y="491"/>
                  </a:lnTo>
                  <a:lnTo>
                    <a:pt x="100" y="489"/>
                  </a:lnTo>
                  <a:lnTo>
                    <a:pt x="96" y="485"/>
                  </a:lnTo>
                  <a:lnTo>
                    <a:pt x="94" y="481"/>
                  </a:lnTo>
                  <a:lnTo>
                    <a:pt x="92" y="475"/>
                  </a:lnTo>
                  <a:lnTo>
                    <a:pt x="94" y="471"/>
                  </a:lnTo>
                  <a:lnTo>
                    <a:pt x="96" y="465"/>
                  </a:lnTo>
                  <a:lnTo>
                    <a:pt x="155" y="381"/>
                  </a:lnTo>
                  <a:lnTo>
                    <a:pt x="222" y="307"/>
                  </a:lnTo>
                  <a:lnTo>
                    <a:pt x="296" y="238"/>
                  </a:lnTo>
                  <a:lnTo>
                    <a:pt x="375" y="177"/>
                  </a:lnTo>
                  <a:lnTo>
                    <a:pt x="461" y="124"/>
                  </a:lnTo>
                  <a:lnTo>
                    <a:pt x="549" y="81"/>
                  </a:lnTo>
                  <a:lnTo>
                    <a:pt x="643" y="46"/>
                  </a:lnTo>
                  <a:lnTo>
                    <a:pt x="741" y="22"/>
                  </a:lnTo>
                  <a:lnTo>
                    <a:pt x="841" y="6"/>
                  </a:lnTo>
                  <a:lnTo>
                    <a:pt x="94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597">
              <a:extLst>
                <a:ext uri="{FF2B5EF4-FFF2-40B4-BE49-F238E27FC236}">
                  <a16:creationId xmlns:a16="http://schemas.microsoft.com/office/drawing/2014/main" id="{822EC67F-18EC-F842-9411-390DEF5DDE40}"/>
                </a:ext>
              </a:extLst>
            </p:cNvPr>
            <p:cNvSpPr>
              <a:spLocks/>
            </p:cNvSpPr>
            <p:nvPr/>
          </p:nvSpPr>
          <p:spPr bwMode="auto">
            <a:xfrm>
              <a:off x="2664517" y="870923"/>
              <a:ext cx="1520825" cy="3640137"/>
            </a:xfrm>
            <a:custGeom>
              <a:avLst/>
              <a:gdLst>
                <a:gd name="T0" fmla="*/ 1163 w 1917"/>
                <a:gd name="T1" fmla="*/ 23 h 4585"/>
                <a:gd name="T2" fmla="*/ 1442 w 1917"/>
                <a:gd name="T3" fmla="*/ 131 h 4585"/>
                <a:gd name="T4" fmla="*/ 1669 w 1917"/>
                <a:gd name="T5" fmla="*/ 318 h 4585"/>
                <a:gd name="T6" fmla="*/ 1832 w 1917"/>
                <a:gd name="T7" fmla="*/ 563 h 4585"/>
                <a:gd name="T8" fmla="*/ 1911 w 1917"/>
                <a:gd name="T9" fmla="*/ 855 h 4585"/>
                <a:gd name="T10" fmla="*/ 1895 w 1917"/>
                <a:gd name="T11" fmla="*/ 1163 h 4585"/>
                <a:gd name="T12" fmla="*/ 1787 w 1917"/>
                <a:gd name="T13" fmla="*/ 1440 h 4585"/>
                <a:gd name="T14" fmla="*/ 1603 w 1917"/>
                <a:gd name="T15" fmla="*/ 1667 h 4585"/>
                <a:gd name="T16" fmla="*/ 1360 w 1917"/>
                <a:gd name="T17" fmla="*/ 1828 h 4585"/>
                <a:gd name="T18" fmla="*/ 1069 w 1917"/>
                <a:gd name="T19" fmla="*/ 1911 h 4585"/>
                <a:gd name="T20" fmla="*/ 965 w 1917"/>
                <a:gd name="T21" fmla="*/ 3005 h 4585"/>
                <a:gd name="T22" fmla="*/ 861 w 1917"/>
                <a:gd name="T23" fmla="*/ 3015 h 4585"/>
                <a:gd name="T24" fmla="*/ 593 w 1917"/>
                <a:gd name="T25" fmla="*/ 3101 h 4585"/>
                <a:gd name="T26" fmla="*/ 375 w 1917"/>
                <a:gd name="T27" fmla="*/ 3272 h 4585"/>
                <a:gd name="T28" fmla="*/ 232 w 1917"/>
                <a:gd name="T29" fmla="*/ 3508 h 4585"/>
                <a:gd name="T30" fmla="*/ 179 w 1917"/>
                <a:gd name="T31" fmla="*/ 3790 h 4585"/>
                <a:gd name="T32" fmla="*/ 232 w 1917"/>
                <a:gd name="T33" fmla="*/ 4073 h 4585"/>
                <a:gd name="T34" fmla="*/ 375 w 1917"/>
                <a:gd name="T35" fmla="*/ 4308 h 4585"/>
                <a:gd name="T36" fmla="*/ 593 w 1917"/>
                <a:gd name="T37" fmla="*/ 4479 h 4585"/>
                <a:gd name="T38" fmla="*/ 861 w 1917"/>
                <a:gd name="T39" fmla="*/ 4565 h 4585"/>
                <a:gd name="T40" fmla="*/ 1152 w 1917"/>
                <a:gd name="T41" fmla="*/ 4547 h 4585"/>
                <a:gd name="T42" fmla="*/ 1405 w 1917"/>
                <a:gd name="T43" fmla="*/ 4430 h 4585"/>
                <a:gd name="T44" fmla="*/ 1599 w 1917"/>
                <a:gd name="T45" fmla="*/ 4235 h 4585"/>
                <a:gd name="T46" fmla="*/ 1715 w 1917"/>
                <a:gd name="T47" fmla="*/ 3982 h 4585"/>
                <a:gd name="T48" fmla="*/ 1740 w 1917"/>
                <a:gd name="T49" fmla="*/ 3786 h 4585"/>
                <a:gd name="T50" fmla="*/ 1750 w 1917"/>
                <a:gd name="T51" fmla="*/ 3784 h 4585"/>
                <a:gd name="T52" fmla="*/ 1748 w 1917"/>
                <a:gd name="T53" fmla="*/ 3890 h 4585"/>
                <a:gd name="T54" fmla="*/ 1662 w 1917"/>
                <a:gd name="T55" fmla="*/ 4163 h 4585"/>
                <a:gd name="T56" fmla="*/ 1487 w 1917"/>
                <a:gd name="T57" fmla="*/ 4384 h 4585"/>
                <a:gd name="T58" fmla="*/ 1246 w 1917"/>
                <a:gd name="T59" fmla="*/ 4532 h 4585"/>
                <a:gd name="T60" fmla="*/ 959 w 1917"/>
                <a:gd name="T61" fmla="*/ 4585 h 4585"/>
                <a:gd name="T62" fmla="*/ 671 w 1917"/>
                <a:gd name="T63" fmla="*/ 4532 h 4585"/>
                <a:gd name="T64" fmla="*/ 432 w 1917"/>
                <a:gd name="T65" fmla="*/ 4384 h 4585"/>
                <a:gd name="T66" fmla="*/ 257 w 1917"/>
                <a:gd name="T67" fmla="*/ 4163 h 4585"/>
                <a:gd name="T68" fmla="*/ 171 w 1917"/>
                <a:gd name="T69" fmla="*/ 3890 h 4585"/>
                <a:gd name="T70" fmla="*/ 189 w 1917"/>
                <a:gd name="T71" fmla="*/ 3596 h 4585"/>
                <a:gd name="T72" fmla="*/ 304 w 1917"/>
                <a:gd name="T73" fmla="*/ 3339 h 4585"/>
                <a:gd name="T74" fmla="*/ 502 w 1917"/>
                <a:gd name="T75" fmla="*/ 3141 h 4585"/>
                <a:gd name="T76" fmla="*/ 757 w 1917"/>
                <a:gd name="T77" fmla="*/ 3021 h 4585"/>
                <a:gd name="T78" fmla="*/ 952 w 1917"/>
                <a:gd name="T79" fmla="*/ 1909 h 4585"/>
                <a:gd name="T80" fmla="*/ 959 w 1917"/>
                <a:gd name="T81" fmla="*/ 1901 h 4585"/>
                <a:gd name="T82" fmla="*/ 1258 w 1917"/>
                <a:gd name="T83" fmla="*/ 1854 h 4585"/>
                <a:gd name="T84" fmla="*/ 1516 w 1917"/>
                <a:gd name="T85" fmla="*/ 1720 h 4585"/>
                <a:gd name="T86" fmla="*/ 1720 w 1917"/>
                <a:gd name="T87" fmla="*/ 1514 h 4585"/>
                <a:gd name="T88" fmla="*/ 1854 w 1917"/>
                <a:gd name="T89" fmla="*/ 1255 h 4585"/>
                <a:gd name="T90" fmla="*/ 1903 w 1917"/>
                <a:gd name="T91" fmla="*/ 959 h 4585"/>
                <a:gd name="T92" fmla="*/ 1854 w 1917"/>
                <a:gd name="T93" fmla="*/ 661 h 4585"/>
                <a:gd name="T94" fmla="*/ 1720 w 1917"/>
                <a:gd name="T95" fmla="*/ 402 h 4585"/>
                <a:gd name="T96" fmla="*/ 1516 w 1917"/>
                <a:gd name="T97" fmla="*/ 198 h 4585"/>
                <a:gd name="T98" fmla="*/ 1258 w 1917"/>
                <a:gd name="T99" fmla="*/ 63 h 4585"/>
                <a:gd name="T100" fmla="*/ 959 w 1917"/>
                <a:gd name="T101" fmla="*/ 16 h 4585"/>
                <a:gd name="T102" fmla="*/ 661 w 1917"/>
                <a:gd name="T103" fmla="*/ 63 h 4585"/>
                <a:gd name="T104" fmla="*/ 402 w 1917"/>
                <a:gd name="T105" fmla="*/ 198 h 4585"/>
                <a:gd name="T106" fmla="*/ 198 w 1917"/>
                <a:gd name="T107" fmla="*/ 402 h 4585"/>
                <a:gd name="T108" fmla="*/ 65 w 1917"/>
                <a:gd name="T109" fmla="*/ 661 h 4585"/>
                <a:gd name="T110" fmla="*/ 16 w 1917"/>
                <a:gd name="T111" fmla="*/ 959 h 4585"/>
                <a:gd name="T112" fmla="*/ 8 w 1917"/>
                <a:gd name="T113" fmla="*/ 965 h 4585"/>
                <a:gd name="T114" fmla="*/ 0 w 1917"/>
                <a:gd name="T115" fmla="*/ 959 h 4585"/>
                <a:gd name="T116" fmla="*/ 49 w 1917"/>
                <a:gd name="T117" fmla="*/ 655 h 4585"/>
                <a:gd name="T118" fmla="*/ 187 w 1917"/>
                <a:gd name="T119" fmla="*/ 392 h 4585"/>
                <a:gd name="T120" fmla="*/ 395 w 1917"/>
                <a:gd name="T121" fmla="*/ 186 h 4585"/>
                <a:gd name="T122" fmla="*/ 657 w 1917"/>
                <a:gd name="T123" fmla="*/ 49 h 4585"/>
                <a:gd name="T124" fmla="*/ 959 w 1917"/>
                <a:gd name="T125" fmla="*/ 0 h 4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17" h="4585">
                  <a:moveTo>
                    <a:pt x="959" y="0"/>
                  </a:moveTo>
                  <a:lnTo>
                    <a:pt x="1063" y="6"/>
                  </a:lnTo>
                  <a:lnTo>
                    <a:pt x="1163" y="23"/>
                  </a:lnTo>
                  <a:lnTo>
                    <a:pt x="1261" y="49"/>
                  </a:lnTo>
                  <a:lnTo>
                    <a:pt x="1354" y="86"/>
                  </a:lnTo>
                  <a:lnTo>
                    <a:pt x="1442" y="131"/>
                  </a:lnTo>
                  <a:lnTo>
                    <a:pt x="1524" y="186"/>
                  </a:lnTo>
                  <a:lnTo>
                    <a:pt x="1601" y="247"/>
                  </a:lnTo>
                  <a:lnTo>
                    <a:pt x="1669" y="318"/>
                  </a:lnTo>
                  <a:lnTo>
                    <a:pt x="1732" y="392"/>
                  </a:lnTo>
                  <a:lnTo>
                    <a:pt x="1785" y="475"/>
                  </a:lnTo>
                  <a:lnTo>
                    <a:pt x="1832" y="563"/>
                  </a:lnTo>
                  <a:lnTo>
                    <a:pt x="1867" y="655"/>
                  </a:lnTo>
                  <a:lnTo>
                    <a:pt x="1895" y="753"/>
                  </a:lnTo>
                  <a:lnTo>
                    <a:pt x="1911" y="855"/>
                  </a:lnTo>
                  <a:lnTo>
                    <a:pt x="1917" y="959"/>
                  </a:lnTo>
                  <a:lnTo>
                    <a:pt x="1911" y="1063"/>
                  </a:lnTo>
                  <a:lnTo>
                    <a:pt x="1895" y="1163"/>
                  </a:lnTo>
                  <a:lnTo>
                    <a:pt x="1867" y="1259"/>
                  </a:lnTo>
                  <a:lnTo>
                    <a:pt x="1832" y="1352"/>
                  </a:lnTo>
                  <a:lnTo>
                    <a:pt x="1787" y="1440"/>
                  </a:lnTo>
                  <a:lnTo>
                    <a:pt x="1734" y="1522"/>
                  </a:lnTo>
                  <a:lnTo>
                    <a:pt x="1671" y="1597"/>
                  </a:lnTo>
                  <a:lnTo>
                    <a:pt x="1603" y="1667"/>
                  </a:lnTo>
                  <a:lnTo>
                    <a:pt x="1528" y="1728"/>
                  </a:lnTo>
                  <a:lnTo>
                    <a:pt x="1446" y="1783"/>
                  </a:lnTo>
                  <a:lnTo>
                    <a:pt x="1360" y="1828"/>
                  </a:lnTo>
                  <a:lnTo>
                    <a:pt x="1267" y="1866"/>
                  </a:lnTo>
                  <a:lnTo>
                    <a:pt x="1169" y="1893"/>
                  </a:lnTo>
                  <a:lnTo>
                    <a:pt x="1069" y="1911"/>
                  </a:lnTo>
                  <a:lnTo>
                    <a:pt x="967" y="1917"/>
                  </a:lnTo>
                  <a:lnTo>
                    <a:pt x="967" y="3001"/>
                  </a:lnTo>
                  <a:lnTo>
                    <a:pt x="965" y="3005"/>
                  </a:lnTo>
                  <a:lnTo>
                    <a:pt x="963" y="3009"/>
                  </a:lnTo>
                  <a:lnTo>
                    <a:pt x="959" y="3009"/>
                  </a:lnTo>
                  <a:lnTo>
                    <a:pt x="861" y="3015"/>
                  </a:lnTo>
                  <a:lnTo>
                    <a:pt x="767" y="3033"/>
                  </a:lnTo>
                  <a:lnTo>
                    <a:pt x="677" y="3062"/>
                  </a:lnTo>
                  <a:lnTo>
                    <a:pt x="593" y="3101"/>
                  </a:lnTo>
                  <a:lnTo>
                    <a:pt x="514" y="3149"/>
                  </a:lnTo>
                  <a:lnTo>
                    <a:pt x="442" y="3207"/>
                  </a:lnTo>
                  <a:lnTo>
                    <a:pt x="375" y="3272"/>
                  </a:lnTo>
                  <a:lnTo>
                    <a:pt x="318" y="3345"/>
                  </a:lnTo>
                  <a:lnTo>
                    <a:pt x="271" y="3423"/>
                  </a:lnTo>
                  <a:lnTo>
                    <a:pt x="232" y="3508"/>
                  </a:lnTo>
                  <a:lnTo>
                    <a:pt x="202" y="3598"/>
                  </a:lnTo>
                  <a:lnTo>
                    <a:pt x="185" y="3692"/>
                  </a:lnTo>
                  <a:lnTo>
                    <a:pt x="179" y="3790"/>
                  </a:lnTo>
                  <a:lnTo>
                    <a:pt x="185" y="3888"/>
                  </a:lnTo>
                  <a:lnTo>
                    <a:pt x="202" y="3982"/>
                  </a:lnTo>
                  <a:lnTo>
                    <a:pt x="232" y="4073"/>
                  </a:lnTo>
                  <a:lnTo>
                    <a:pt x="271" y="4157"/>
                  </a:lnTo>
                  <a:lnTo>
                    <a:pt x="318" y="4235"/>
                  </a:lnTo>
                  <a:lnTo>
                    <a:pt x="375" y="4308"/>
                  </a:lnTo>
                  <a:lnTo>
                    <a:pt x="442" y="4373"/>
                  </a:lnTo>
                  <a:lnTo>
                    <a:pt x="514" y="4430"/>
                  </a:lnTo>
                  <a:lnTo>
                    <a:pt x="593" y="4479"/>
                  </a:lnTo>
                  <a:lnTo>
                    <a:pt x="677" y="4518"/>
                  </a:lnTo>
                  <a:lnTo>
                    <a:pt x="767" y="4547"/>
                  </a:lnTo>
                  <a:lnTo>
                    <a:pt x="861" y="4565"/>
                  </a:lnTo>
                  <a:lnTo>
                    <a:pt x="959" y="4571"/>
                  </a:lnTo>
                  <a:lnTo>
                    <a:pt x="1057" y="4565"/>
                  </a:lnTo>
                  <a:lnTo>
                    <a:pt x="1152" y="4547"/>
                  </a:lnTo>
                  <a:lnTo>
                    <a:pt x="1240" y="4518"/>
                  </a:lnTo>
                  <a:lnTo>
                    <a:pt x="1326" y="4479"/>
                  </a:lnTo>
                  <a:lnTo>
                    <a:pt x="1405" y="4430"/>
                  </a:lnTo>
                  <a:lnTo>
                    <a:pt x="1477" y="4373"/>
                  </a:lnTo>
                  <a:lnTo>
                    <a:pt x="1542" y="4308"/>
                  </a:lnTo>
                  <a:lnTo>
                    <a:pt x="1599" y="4235"/>
                  </a:lnTo>
                  <a:lnTo>
                    <a:pt x="1648" y="4157"/>
                  </a:lnTo>
                  <a:lnTo>
                    <a:pt x="1687" y="4073"/>
                  </a:lnTo>
                  <a:lnTo>
                    <a:pt x="1715" y="3982"/>
                  </a:lnTo>
                  <a:lnTo>
                    <a:pt x="1732" y="3888"/>
                  </a:lnTo>
                  <a:lnTo>
                    <a:pt x="1740" y="3790"/>
                  </a:lnTo>
                  <a:lnTo>
                    <a:pt x="1740" y="3786"/>
                  </a:lnTo>
                  <a:lnTo>
                    <a:pt x="1742" y="3784"/>
                  </a:lnTo>
                  <a:lnTo>
                    <a:pt x="1746" y="3782"/>
                  </a:lnTo>
                  <a:lnTo>
                    <a:pt x="1750" y="3784"/>
                  </a:lnTo>
                  <a:lnTo>
                    <a:pt x="1754" y="3786"/>
                  </a:lnTo>
                  <a:lnTo>
                    <a:pt x="1754" y="3790"/>
                  </a:lnTo>
                  <a:lnTo>
                    <a:pt x="1748" y="3890"/>
                  </a:lnTo>
                  <a:lnTo>
                    <a:pt x="1730" y="3986"/>
                  </a:lnTo>
                  <a:lnTo>
                    <a:pt x="1701" y="4076"/>
                  </a:lnTo>
                  <a:lnTo>
                    <a:pt x="1662" y="4163"/>
                  </a:lnTo>
                  <a:lnTo>
                    <a:pt x="1611" y="4243"/>
                  </a:lnTo>
                  <a:lnTo>
                    <a:pt x="1554" y="4318"/>
                  </a:lnTo>
                  <a:lnTo>
                    <a:pt x="1487" y="4384"/>
                  </a:lnTo>
                  <a:lnTo>
                    <a:pt x="1412" y="4443"/>
                  </a:lnTo>
                  <a:lnTo>
                    <a:pt x="1332" y="4492"/>
                  </a:lnTo>
                  <a:lnTo>
                    <a:pt x="1246" y="4532"/>
                  </a:lnTo>
                  <a:lnTo>
                    <a:pt x="1154" y="4561"/>
                  </a:lnTo>
                  <a:lnTo>
                    <a:pt x="1059" y="4579"/>
                  </a:lnTo>
                  <a:lnTo>
                    <a:pt x="959" y="4585"/>
                  </a:lnTo>
                  <a:lnTo>
                    <a:pt x="859" y="4579"/>
                  </a:lnTo>
                  <a:lnTo>
                    <a:pt x="763" y="4561"/>
                  </a:lnTo>
                  <a:lnTo>
                    <a:pt x="671" y="4532"/>
                  </a:lnTo>
                  <a:lnTo>
                    <a:pt x="585" y="4492"/>
                  </a:lnTo>
                  <a:lnTo>
                    <a:pt x="504" y="4443"/>
                  </a:lnTo>
                  <a:lnTo>
                    <a:pt x="432" y="4384"/>
                  </a:lnTo>
                  <a:lnTo>
                    <a:pt x="365" y="4318"/>
                  </a:lnTo>
                  <a:lnTo>
                    <a:pt x="306" y="4243"/>
                  </a:lnTo>
                  <a:lnTo>
                    <a:pt x="257" y="4163"/>
                  </a:lnTo>
                  <a:lnTo>
                    <a:pt x="218" y="4076"/>
                  </a:lnTo>
                  <a:lnTo>
                    <a:pt x="189" y="3986"/>
                  </a:lnTo>
                  <a:lnTo>
                    <a:pt x="171" y="3890"/>
                  </a:lnTo>
                  <a:lnTo>
                    <a:pt x="163" y="3790"/>
                  </a:lnTo>
                  <a:lnTo>
                    <a:pt x="171" y="3690"/>
                  </a:lnTo>
                  <a:lnTo>
                    <a:pt x="189" y="3596"/>
                  </a:lnTo>
                  <a:lnTo>
                    <a:pt x="216" y="3504"/>
                  </a:lnTo>
                  <a:lnTo>
                    <a:pt x="255" y="3417"/>
                  </a:lnTo>
                  <a:lnTo>
                    <a:pt x="304" y="3339"/>
                  </a:lnTo>
                  <a:lnTo>
                    <a:pt x="363" y="3264"/>
                  </a:lnTo>
                  <a:lnTo>
                    <a:pt x="428" y="3198"/>
                  </a:lnTo>
                  <a:lnTo>
                    <a:pt x="502" y="3141"/>
                  </a:lnTo>
                  <a:lnTo>
                    <a:pt x="581" y="3090"/>
                  </a:lnTo>
                  <a:lnTo>
                    <a:pt x="667" y="3050"/>
                  </a:lnTo>
                  <a:lnTo>
                    <a:pt x="757" y="3021"/>
                  </a:lnTo>
                  <a:lnTo>
                    <a:pt x="853" y="3001"/>
                  </a:lnTo>
                  <a:lnTo>
                    <a:pt x="952" y="2996"/>
                  </a:lnTo>
                  <a:lnTo>
                    <a:pt x="952" y="1909"/>
                  </a:lnTo>
                  <a:lnTo>
                    <a:pt x="954" y="1905"/>
                  </a:lnTo>
                  <a:lnTo>
                    <a:pt x="955" y="1903"/>
                  </a:lnTo>
                  <a:lnTo>
                    <a:pt x="959" y="1901"/>
                  </a:lnTo>
                  <a:lnTo>
                    <a:pt x="1061" y="1897"/>
                  </a:lnTo>
                  <a:lnTo>
                    <a:pt x="1161" y="1879"/>
                  </a:lnTo>
                  <a:lnTo>
                    <a:pt x="1258" y="1854"/>
                  </a:lnTo>
                  <a:lnTo>
                    <a:pt x="1348" y="1818"/>
                  </a:lnTo>
                  <a:lnTo>
                    <a:pt x="1434" y="1773"/>
                  </a:lnTo>
                  <a:lnTo>
                    <a:pt x="1516" y="1720"/>
                  </a:lnTo>
                  <a:lnTo>
                    <a:pt x="1591" y="1658"/>
                  </a:lnTo>
                  <a:lnTo>
                    <a:pt x="1660" y="1591"/>
                  </a:lnTo>
                  <a:lnTo>
                    <a:pt x="1720" y="1514"/>
                  </a:lnTo>
                  <a:lnTo>
                    <a:pt x="1773" y="1434"/>
                  </a:lnTo>
                  <a:lnTo>
                    <a:pt x="1818" y="1348"/>
                  </a:lnTo>
                  <a:lnTo>
                    <a:pt x="1854" y="1255"/>
                  </a:lnTo>
                  <a:lnTo>
                    <a:pt x="1879" y="1161"/>
                  </a:lnTo>
                  <a:lnTo>
                    <a:pt x="1897" y="1061"/>
                  </a:lnTo>
                  <a:lnTo>
                    <a:pt x="1903" y="959"/>
                  </a:lnTo>
                  <a:lnTo>
                    <a:pt x="1897" y="855"/>
                  </a:lnTo>
                  <a:lnTo>
                    <a:pt x="1879" y="757"/>
                  </a:lnTo>
                  <a:lnTo>
                    <a:pt x="1854" y="661"/>
                  </a:lnTo>
                  <a:lnTo>
                    <a:pt x="1818" y="569"/>
                  </a:lnTo>
                  <a:lnTo>
                    <a:pt x="1773" y="482"/>
                  </a:lnTo>
                  <a:lnTo>
                    <a:pt x="1720" y="402"/>
                  </a:lnTo>
                  <a:lnTo>
                    <a:pt x="1660" y="327"/>
                  </a:lnTo>
                  <a:lnTo>
                    <a:pt x="1591" y="259"/>
                  </a:lnTo>
                  <a:lnTo>
                    <a:pt x="1516" y="198"/>
                  </a:lnTo>
                  <a:lnTo>
                    <a:pt x="1434" y="145"/>
                  </a:lnTo>
                  <a:lnTo>
                    <a:pt x="1348" y="100"/>
                  </a:lnTo>
                  <a:lnTo>
                    <a:pt x="1258" y="63"/>
                  </a:lnTo>
                  <a:lnTo>
                    <a:pt x="1161" y="37"/>
                  </a:lnTo>
                  <a:lnTo>
                    <a:pt x="1061" y="21"/>
                  </a:lnTo>
                  <a:lnTo>
                    <a:pt x="959" y="16"/>
                  </a:lnTo>
                  <a:lnTo>
                    <a:pt x="855" y="21"/>
                  </a:lnTo>
                  <a:lnTo>
                    <a:pt x="757" y="37"/>
                  </a:lnTo>
                  <a:lnTo>
                    <a:pt x="661" y="63"/>
                  </a:lnTo>
                  <a:lnTo>
                    <a:pt x="569" y="100"/>
                  </a:lnTo>
                  <a:lnTo>
                    <a:pt x="483" y="145"/>
                  </a:lnTo>
                  <a:lnTo>
                    <a:pt x="402" y="198"/>
                  </a:lnTo>
                  <a:lnTo>
                    <a:pt x="328" y="259"/>
                  </a:lnTo>
                  <a:lnTo>
                    <a:pt x="259" y="327"/>
                  </a:lnTo>
                  <a:lnTo>
                    <a:pt x="198" y="402"/>
                  </a:lnTo>
                  <a:lnTo>
                    <a:pt x="145" y="482"/>
                  </a:lnTo>
                  <a:lnTo>
                    <a:pt x="100" y="569"/>
                  </a:lnTo>
                  <a:lnTo>
                    <a:pt x="65" y="661"/>
                  </a:lnTo>
                  <a:lnTo>
                    <a:pt x="38" y="757"/>
                  </a:lnTo>
                  <a:lnTo>
                    <a:pt x="22" y="855"/>
                  </a:lnTo>
                  <a:lnTo>
                    <a:pt x="16" y="959"/>
                  </a:lnTo>
                  <a:lnTo>
                    <a:pt x="16" y="963"/>
                  </a:lnTo>
                  <a:lnTo>
                    <a:pt x="12" y="965"/>
                  </a:lnTo>
                  <a:lnTo>
                    <a:pt x="8" y="965"/>
                  </a:lnTo>
                  <a:lnTo>
                    <a:pt x="4" y="965"/>
                  </a:lnTo>
                  <a:lnTo>
                    <a:pt x="2" y="963"/>
                  </a:lnTo>
                  <a:lnTo>
                    <a:pt x="0" y="959"/>
                  </a:lnTo>
                  <a:lnTo>
                    <a:pt x="6" y="855"/>
                  </a:lnTo>
                  <a:lnTo>
                    <a:pt x="24" y="753"/>
                  </a:lnTo>
                  <a:lnTo>
                    <a:pt x="49" y="655"/>
                  </a:lnTo>
                  <a:lnTo>
                    <a:pt x="87" y="563"/>
                  </a:lnTo>
                  <a:lnTo>
                    <a:pt x="132" y="475"/>
                  </a:lnTo>
                  <a:lnTo>
                    <a:pt x="187" y="392"/>
                  </a:lnTo>
                  <a:lnTo>
                    <a:pt x="247" y="318"/>
                  </a:lnTo>
                  <a:lnTo>
                    <a:pt x="318" y="247"/>
                  </a:lnTo>
                  <a:lnTo>
                    <a:pt x="395" y="186"/>
                  </a:lnTo>
                  <a:lnTo>
                    <a:pt x="477" y="131"/>
                  </a:lnTo>
                  <a:lnTo>
                    <a:pt x="563" y="86"/>
                  </a:lnTo>
                  <a:lnTo>
                    <a:pt x="657" y="49"/>
                  </a:lnTo>
                  <a:lnTo>
                    <a:pt x="753" y="23"/>
                  </a:lnTo>
                  <a:lnTo>
                    <a:pt x="855" y="6"/>
                  </a:lnTo>
                  <a:lnTo>
                    <a:pt x="959" y="0"/>
                  </a:lnTo>
                  <a:close/>
                </a:path>
              </a:pathLst>
            </a:custGeom>
            <a:solidFill>
              <a:schemeClr val="accent3"/>
            </a:solid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1598">
              <a:extLst>
                <a:ext uri="{FF2B5EF4-FFF2-40B4-BE49-F238E27FC236}">
                  <a16:creationId xmlns:a16="http://schemas.microsoft.com/office/drawing/2014/main" id="{D666B8EF-59AE-9A48-B91E-C169C1D67140}"/>
                </a:ext>
              </a:extLst>
            </p:cNvPr>
            <p:cNvSpPr>
              <a:spLocks/>
            </p:cNvSpPr>
            <p:nvPr/>
          </p:nvSpPr>
          <p:spPr bwMode="auto">
            <a:xfrm>
              <a:off x="2539104" y="745511"/>
              <a:ext cx="1773238" cy="1522412"/>
            </a:xfrm>
            <a:custGeom>
              <a:avLst/>
              <a:gdLst>
                <a:gd name="T0" fmla="*/ 1232 w 2234"/>
                <a:gd name="T1" fmla="*/ 6 h 1919"/>
                <a:gd name="T2" fmla="*/ 1450 w 2234"/>
                <a:gd name="T3" fmla="*/ 51 h 1919"/>
                <a:gd name="T4" fmla="*/ 1650 w 2234"/>
                <a:gd name="T5" fmla="*/ 135 h 1919"/>
                <a:gd name="T6" fmla="*/ 1828 w 2234"/>
                <a:gd name="T7" fmla="*/ 255 h 1919"/>
                <a:gd name="T8" fmla="*/ 1979 w 2234"/>
                <a:gd name="T9" fmla="*/ 406 h 1919"/>
                <a:gd name="T10" fmla="*/ 2101 w 2234"/>
                <a:gd name="T11" fmla="*/ 585 h 1919"/>
                <a:gd name="T12" fmla="*/ 2185 w 2234"/>
                <a:gd name="T13" fmla="*/ 785 h 1919"/>
                <a:gd name="T14" fmla="*/ 2230 w 2234"/>
                <a:gd name="T15" fmla="*/ 1002 h 1919"/>
                <a:gd name="T16" fmla="*/ 2234 w 2234"/>
                <a:gd name="T17" fmla="*/ 1124 h 1919"/>
                <a:gd name="T18" fmla="*/ 2225 w 2234"/>
                <a:gd name="T19" fmla="*/ 1132 h 1919"/>
                <a:gd name="T20" fmla="*/ 2213 w 2234"/>
                <a:gd name="T21" fmla="*/ 1132 h 1919"/>
                <a:gd name="T22" fmla="*/ 2203 w 2234"/>
                <a:gd name="T23" fmla="*/ 1124 h 1919"/>
                <a:gd name="T24" fmla="*/ 2197 w 2234"/>
                <a:gd name="T25" fmla="*/ 1006 h 1919"/>
                <a:gd name="T26" fmla="*/ 2154 w 2234"/>
                <a:gd name="T27" fmla="*/ 794 h 1919"/>
                <a:gd name="T28" fmla="*/ 2072 w 2234"/>
                <a:gd name="T29" fmla="*/ 600 h 1919"/>
                <a:gd name="T30" fmla="*/ 1954 w 2234"/>
                <a:gd name="T31" fmla="*/ 428 h 1919"/>
                <a:gd name="T32" fmla="*/ 1807 w 2234"/>
                <a:gd name="T33" fmla="*/ 280 h 1919"/>
                <a:gd name="T34" fmla="*/ 1634 w 2234"/>
                <a:gd name="T35" fmla="*/ 165 h 1919"/>
                <a:gd name="T36" fmla="*/ 1440 w 2234"/>
                <a:gd name="T37" fmla="*/ 82 h 1919"/>
                <a:gd name="T38" fmla="*/ 1228 w 2234"/>
                <a:gd name="T39" fmla="*/ 39 h 1919"/>
                <a:gd name="T40" fmla="*/ 1007 w 2234"/>
                <a:gd name="T41" fmla="*/ 39 h 1919"/>
                <a:gd name="T42" fmla="*/ 797 w 2234"/>
                <a:gd name="T43" fmla="*/ 82 h 1919"/>
                <a:gd name="T44" fmla="*/ 603 w 2234"/>
                <a:gd name="T45" fmla="*/ 165 h 1919"/>
                <a:gd name="T46" fmla="*/ 428 w 2234"/>
                <a:gd name="T47" fmla="*/ 280 h 1919"/>
                <a:gd name="T48" fmla="*/ 281 w 2234"/>
                <a:gd name="T49" fmla="*/ 428 h 1919"/>
                <a:gd name="T50" fmla="*/ 165 w 2234"/>
                <a:gd name="T51" fmla="*/ 600 h 1919"/>
                <a:gd name="T52" fmla="*/ 83 w 2234"/>
                <a:gd name="T53" fmla="*/ 794 h 1919"/>
                <a:gd name="T54" fmla="*/ 40 w 2234"/>
                <a:gd name="T55" fmla="*/ 1006 h 1919"/>
                <a:gd name="T56" fmla="*/ 40 w 2234"/>
                <a:gd name="T57" fmla="*/ 1226 h 1919"/>
                <a:gd name="T58" fmla="*/ 81 w 2234"/>
                <a:gd name="T59" fmla="*/ 1436 h 1919"/>
                <a:gd name="T60" fmla="*/ 163 w 2234"/>
                <a:gd name="T61" fmla="*/ 1634 h 1919"/>
                <a:gd name="T62" fmla="*/ 285 w 2234"/>
                <a:gd name="T63" fmla="*/ 1811 h 1919"/>
                <a:gd name="T64" fmla="*/ 361 w 2234"/>
                <a:gd name="T65" fmla="*/ 1895 h 1919"/>
                <a:gd name="T66" fmla="*/ 363 w 2234"/>
                <a:gd name="T67" fmla="*/ 1905 h 1919"/>
                <a:gd name="T68" fmla="*/ 359 w 2234"/>
                <a:gd name="T69" fmla="*/ 1915 h 1919"/>
                <a:gd name="T70" fmla="*/ 346 w 2234"/>
                <a:gd name="T71" fmla="*/ 1919 h 1919"/>
                <a:gd name="T72" fmla="*/ 336 w 2234"/>
                <a:gd name="T73" fmla="*/ 1915 h 1919"/>
                <a:gd name="T74" fmla="*/ 206 w 2234"/>
                <a:gd name="T75" fmla="*/ 1764 h 1919"/>
                <a:gd name="T76" fmla="*/ 106 w 2234"/>
                <a:gd name="T77" fmla="*/ 1595 h 1919"/>
                <a:gd name="T78" fmla="*/ 40 w 2234"/>
                <a:gd name="T79" fmla="*/ 1410 h 1919"/>
                <a:gd name="T80" fmla="*/ 4 w 2234"/>
                <a:gd name="T81" fmla="*/ 1218 h 1919"/>
                <a:gd name="T82" fmla="*/ 6 w 2234"/>
                <a:gd name="T83" fmla="*/ 1002 h 1919"/>
                <a:gd name="T84" fmla="*/ 51 w 2234"/>
                <a:gd name="T85" fmla="*/ 785 h 1919"/>
                <a:gd name="T86" fmla="*/ 136 w 2234"/>
                <a:gd name="T87" fmla="*/ 585 h 1919"/>
                <a:gd name="T88" fmla="*/ 255 w 2234"/>
                <a:gd name="T89" fmla="*/ 406 h 1919"/>
                <a:gd name="T90" fmla="*/ 408 w 2234"/>
                <a:gd name="T91" fmla="*/ 255 h 1919"/>
                <a:gd name="T92" fmla="*/ 585 w 2234"/>
                <a:gd name="T93" fmla="*/ 135 h 1919"/>
                <a:gd name="T94" fmla="*/ 787 w 2234"/>
                <a:gd name="T95" fmla="*/ 51 h 1919"/>
                <a:gd name="T96" fmla="*/ 1005 w 2234"/>
                <a:gd name="T97" fmla="*/ 6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34" h="1919">
                  <a:moveTo>
                    <a:pt x="1118" y="0"/>
                  </a:moveTo>
                  <a:lnTo>
                    <a:pt x="1232" y="6"/>
                  </a:lnTo>
                  <a:lnTo>
                    <a:pt x="1342" y="23"/>
                  </a:lnTo>
                  <a:lnTo>
                    <a:pt x="1450" y="51"/>
                  </a:lnTo>
                  <a:lnTo>
                    <a:pt x="1552" y="88"/>
                  </a:lnTo>
                  <a:lnTo>
                    <a:pt x="1650" y="135"/>
                  </a:lnTo>
                  <a:lnTo>
                    <a:pt x="1742" y="190"/>
                  </a:lnTo>
                  <a:lnTo>
                    <a:pt x="1828" y="255"/>
                  </a:lnTo>
                  <a:lnTo>
                    <a:pt x="1907" y="328"/>
                  </a:lnTo>
                  <a:lnTo>
                    <a:pt x="1979" y="406"/>
                  </a:lnTo>
                  <a:lnTo>
                    <a:pt x="2044" y="492"/>
                  </a:lnTo>
                  <a:lnTo>
                    <a:pt x="2101" y="585"/>
                  </a:lnTo>
                  <a:lnTo>
                    <a:pt x="2148" y="683"/>
                  </a:lnTo>
                  <a:lnTo>
                    <a:pt x="2185" y="785"/>
                  </a:lnTo>
                  <a:lnTo>
                    <a:pt x="2213" y="893"/>
                  </a:lnTo>
                  <a:lnTo>
                    <a:pt x="2230" y="1002"/>
                  </a:lnTo>
                  <a:lnTo>
                    <a:pt x="2234" y="1118"/>
                  </a:lnTo>
                  <a:lnTo>
                    <a:pt x="2234" y="1124"/>
                  </a:lnTo>
                  <a:lnTo>
                    <a:pt x="2230" y="1130"/>
                  </a:lnTo>
                  <a:lnTo>
                    <a:pt x="2225" y="1132"/>
                  </a:lnTo>
                  <a:lnTo>
                    <a:pt x="2219" y="1134"/>
                  </a:lnTo>
                  <a:lnTo>
                    <a:pt x="2213" y="1132"/>
                  </a:lnTo>
                  <a:lnTo>
                    <a:pt x="2207" y="1130"/>
                  </a:lnTo>
                  <a:lnTo>
                    <a:pt x="2203" y="1124"/>
                  </a:lnTo>
                  <a:lnTo>
                    <a:pt x="2203" y="1118"/>
                  </a:lnTo>
                  <a:lnTo>
                    <a:pt x="2197" y="1006"/>
                  </a:lnTo>
                  <a:lnTo>
                    <a:pt x="2179" y="898"/>
                  </a:lnTo>
                  <a:lnTo>
                    <a:pt x="2154" y="794"/>
                  </a:lnTo>
                  <a:lnTo>
                    <a:pt x="2117" y="696"/>
                  </a:lnTo>
                  <a:lnTo>
                    <a:pt x="2072" y="600"/>
                  </a:lnTo>
                  <a:lnTo>
                    <a:pt x="2017" y="512"/>
                  </a:lnTo>
                  <a:lnTo>
                    <a:pt x="1954" y="428"/>
                  </a:lnTo>
                  <a:lnTo>
                    <a:pt x="1883" y="351"/>
                  </a:lnTo>
                  <a:lnTo>
                    <a:pt x="1807" y="280"/>
                  </a:lnTo>
                  <a:lnTo>
                    <a:pt x="1724" y="218"/>
                  </a:lnTo>
                  <a:lnTo>
                    <a:pt x="1634" y="165"/>
                  </a:lnTo>
                  <a:lnTo>
                    <a:pt x="1540" y="118"/>
                  </a:lnTo>
                  <a:lnTo>
                    <a:pt x="1440" y="82"/>
                  </a:lnTo>
                  <a:lnTo>
                    <a:pt x="1336" y="55"/>
                  </a:lnTo>
                  <a:lnTo>
                    <a:pt x="1228" y="39"/>
                  </a:lnTo>
                  <a:lnTo>
                    <a:pt x="1118" y="33"/>
                  </a:lnTo>
                  <a:lnTo>
                    <a:pt x="1007" y="39"/>
                  </a:lnTo>
                  <a:lnTo>
                    <a:pt x="901" y="55"/>
                  </a:lnTo>
                  <a:lnTo>
                    <a:pt x="797" y="82"/>
                  </a:lnTo>
                  <a:lnTo>
                    <a:pt x="697" y="118"/>
                  </a:lnTo>
                  <a:lnTo>
                    <a:pt x="603" y="165"/>
                  </a:lnTo>
                  <a:lnTo>
                    <a:pt x="512" y="218"/>
                  </a:lnTo>
                  <a:lnTo>
                    <a:pt x="428" y="280"/>
                  </a:lnTo>
                  <a:lnTo>
                    <a:pt x="352" y="351"/>
                  </a:lnTo>
                  <a:lnTo>
                    <a:pt x="281" y="428"/>
                  </a:lnTo>
                  <a:lnTo>
                    <a:pt x="220" y="512"/>
                  </a:lnTo>
                  <a:lnTo>
                    <a:pt x="165" y="600"/>
                  </a:lnTo>
                  <a:lnTo>
                    <a:pt x="120" y="696"/>
                  </a:lnTo>
                  <a:lnTo>
                    <a:pt x="83" y="794"/>
                  </a:lnTo>
                  <a:lnTo>
                    <a:pt x="55" y="898"/>
                  </a:lnTo>
                  <a:lnTo>
                    <a:pt x="40" y="1006"/>
                  </a:lnTo>
                  <a:lnTo>
                    <a:pt x="34" y="1118"/>
                  </a:lnTo>
                  <a:lnTo>
                    <a:pt x="40" y="1226"/>
                  </a:lnTo>
                  <a:lnTo>
                    <a:pt x="55" y="1334"/>
                  </a:lnTo>
                  <a:lnTo>
                    <a:pt x="81" y="1436"/>
                  </a:lnTo>
                  <a:lnTo>
                    <a:pt x="118" y="1538"/>
                  </a:lnTo>
                  <a:lnTo>
                    <a:pt x="163" y="1634"/>
                  </a:lnTo>
                  <a:lnTo>
                    <a:pt x="220" y="1724"/>
                  </a:lnTo>
                  <a:lnTo>
                    <a:pt x="285" y="1811"/>
                  </a:lnTo>
                  <a:lnTo>
                    <a:pt x="357" y="1891"/>
                  </a:lnTo>
                  <a:lnTo>
                    <a:pt x="361" y="1895"/>
                  </a:lnTo>
                  <a:lnTo>
                    <a:pt x="363" y="1901"/>
                  </a:lnTo>
                  <a:lnTo>
                    <a:pt x="363" y="1905"/>
                  </a:lnTo>
                  <a:lnTo>
                    <a:pt x="361" y="1911"/>
                  </a:lnTo>
                  <a:lnTo>
                    <a:pt x="359" y="1915"/>
                  </a:lnTo>
                  <a:lnTo>
                    <a:pt x="353" y="1919"/>
                  </a:lnTo>
                  <a:lnTo>
                    <a:pt x="346" y="1919"/>
                  </a:lnTo>
                  <a:lnTo>
                    <a:pt x="340" y="1919"/>
                  </a:lnTo>
                  <a:lnTo>
                    <a:pt x="336" y="1915"/>
                  </a:lnTo>
                  <a:lnTo>
                    <a:pt x="267" y="1842"/>
                  </a:lnTo>
                  <a:lnTo>
                    <a:pt x="206" y="1764"/>
                  </a:lnTo>
                  <a:lnTo>
                    <a:pt x="151" y="1681"/>
                  </a:lnTo>
                  <a:lnTo>
                    <a:pt x="106" y="1595"/>
                  </a:lnTo>
                  <a:lnTo>
                    <a:pt x="69" y="1505"/>
                  </a:lnTo>
                  <a:lnTo>
                    <a:pt x="40" y="1410"/>
                  </a:lnTo>
                  <a:lnTo>
                    <a:pt x="18" y="1316"/>
                  </a:lnTo>
                  <a:lnTo>
                    <a:pt x="4" y="1218"/>
                  </a:lnTo>
                  <a:lnTo>
                    <a:pt x="0" y="1118"/>
                  </a:lnTo>
                  <a:lnTo>
                    <a:pt x="6" y="1002"/>
                  </a:lnTo>
                  <a:lnTo>
                    <a:pt x="24" y="893"/>
                  </a:lnTo>
                  <a:lnTo>
                    <a:pt x="51" y="785"/>
                  </a:lnTo>
                  <a:lnTo>
                    <a:pt x="89" y="683"/>
                  </a:lnTo>
                  <a:lnTo>
                    <a:pt x="136" y="585"/>
                  </a:lnTo>
                  <a:lnTo>
                    <a:pt x="193" y="492"/>
                  </a:lnTo>
                  <a:lnTo>
                    <a:pt x="255" y="406"/>
                  </a:lnTo>
                  <a:lnTo>
                    <a:pt x="328" y="328"/>
                  </a:lnTo>
                  <a:lnTo>
                    <a:pt x="408" y="255"/>
                  </a:lnTo>
                  <a:lnTo>
                    <a:pt x="493" y="190"/>
                  </a:lnTo>
                  <a:lnTo>
                    <a:pt x="585" y="135"/>
                  </a:lnTo>
                  <a:lnTo>
                    <a:pt x="683" y="88"/>
                  </a:lnTo>
                  <a:lnTo>
                    <a:pt x="787" y="51"/>
                  </a:lnTo>
                  <a:lnTo>
                    <a:pt x="893" y="23"/>
                  </a:lnTo>
                  <a:lnTo>
                    <a:pt x="1005" y="6"/>
                  </a:lnTo>
                  <a:lnTo>
                    <a:pt x="111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1599">
              <a:extLst>
                <a:ext uri="{FF2B5EF4-FFF2-40B4-BE49-F238E27FC236}">
                  <a16:creationId xmlns:a16="http://schemas.microsoft.com/office/drawing/2014/main" id="{CA67B177-F27B-834B-A262-516DACAD7C4D}"/>
                </a:ext>
              </a:extLst>
            </p:cNvPr>
            <p:cNvSpPr>
              <a:spLocks/>
            </p:cNvSpPr>
            <p:nvPr/>
          </p:nvSpPr>
          <p:spPr bwMode="auto">
            <a:xfrm>
              <a:off x="2658167" y="3128348"/>
              <a:ext cx="627063" cy="1311275"/>
            </a:xfrm>
            <a:custGeom>
              <a:avLst/>
              <a:gdLst>
                <a:gd name="T0" fmla="*/ 775 w 791"/>
                <a:gd name="T1" fmla="*/ 0 h 1651"/>
                <a:gd name="T2" fmla="*/ 781 w 791"/>
                <a:gd name="T3" fmla="*/ 0 h 1651"/>
                <a:gd name="T4" fmla="*/ 785 w 791"/>
                <a:gd name="T5" fmla="*/ 3 h 1651"/>
                <a:gd name="T6" fmla="*/ 789 w 791"/>
                <a:gd name="T7" fmla="*/ 7 h 1651"/>
                <a:gd name="T8" fmla="*/ 791 w 791"/>
                <a:gd name="T9" fmla="*/ 13 h 1651"/>
                <a:gd name="T10" fmla="*/ 791 w 791"/>
                <a:gd name="T11" fmla="*/ 19 h 1651"/>
                <a:gd name="T12" fmla="*/ 789 w 791"/>
                <a:gd name="T13" fmla="*/ 25 h 1651"/>
                <a:gd name="T14" fmla="*/ 785 w 791"/>
                <a:gd name="T15" fmla="*/ 29 h 1651"/>
                <a:gd name="T16" fmla="*/ 779 w 791"/>
                <a:gd name="T17" fmla="*/ 33 h 1651"/>
                <a:gd name="T18" fmla="*/ 681 w 791"/>
                <a:gd name="T19" fmla="*/ 58 h 1651"/>
                <a:gd name="T20" fmla="*/ 589 w 791"/>
                <a:gd name="T21" fmla="*/ 94 h 1651"/>
                <a:gd name="T22" fmla="*/ 501 w 791"/>
                <a:gd name="T23" fmla="*/ 137 h 1651"/>
                <a:gd name="T24" fmla="*/ 420 w 791"/>
                <a:gd name="T25" fmla="*/ 190 h 1651"/>
                <a:gd name="T26" fmla="*/ 344 w 791"/>
                <a:gd name="T27" fmla="*/ 253 h 1651"/>
                <a:gd name="T28" fmla="*/ 275 w 791"/>
                <a:gd name="T29" fmla="*/ 319 h 1651"/>
                <a:gd name="T30" fmla="*/ 214 w 791"/>
                <a:gd name="T31" fmla="*/ 396 h 1651"/>
                <a:gd name="T32" fmla="*/ 161 w 791"/>
                <a:gd name="T33" fmla="*/ 476 h 1651"/>
                <a:gd name="T34" fmla="*/ 116 w 791"/>
                <a:gd name="T35" fmla="*/ 563 h 1651"/>
                <a:gd name="T36" fmla="*/ 81 w 791"/>
                <a:gd name="T37" fmla="*/ 653 h 1651"/>
                <a:gd name="T38" fmla="*/ 55 w 791"/>
                <a:gd name="T39" fmla="*/ 747 h 1651"/>
                <a:gd name="T40" fmla="*/ 40 w 791"/>
                <a:gd name="T41" fmla="*/ 847 h 1651"/>
                <a:gd name="T42" fmla="*/ 34 w 791"/>
                <a:gd name="T43" fmla="*/ 947 h 1651"/>
                <a:gd name="T44" fmla="*/ 38 w 791"/>
                <a:gd name="T45" fmla="*/ 1043 h 1651"/>
                <a:gd name="T46" fmla="*/ 51 w 791"/>
                <a:gd name="T47" fmla="*/ 1135 h 1651"/>
                <a:gd name="T48" fmla="*/ 75 w 791"/>
                <a:gd name="T49" fmla="*/ 1228 h 1651"/>
                <a:gd name="T50" fmla="*/ 108 w 791"/>
                <a:gd name="T51" fmla="*/ 1314 h 1651"/>
                <a:gd name="T52" fmla="*/ 150 w 791"/>
                <a:gd name="T53" fmla="*/ 1398 h 1651"/>
                <a:gd name="T54" fmla="*/ 199 w 791"/>
                <a:gd name="T55" fmla="*/ 1477 h 1651"/>
                <a:gd name="T56" fmla="*/ 255 w 791"/>
                <a:gd name="T57" fmla="*/ 1553 h 1651"/>
                <a:gd name="T58" fmla="*/ 322 w 791"/>
                <a:gd name="T59" fmla="*/ 1622 h 1651"/>
                <a:gd name="T60" fmla="*/ 324 w 791"/>
                <a:gd name="T61" fmla="*/ 1626 h 1651"/>
                <a:gd name="T62" fmla="*/ 326 w 791"/>
                <a:gd name="T63" fmla="*/ 1632 h 1651"/>
                <a:gd name="T64" fmla="*/ 326 w 791"/>
                <a:gd name="T65" fmla="*/ 1636 h 1651"/>
                <a:gd name="T66" fmla="*/ 326 w 791"/>
                <a:gd name="T67" fmla="*/ 1642 h 1651"/>
                <a:gd name="T68" fmla="*/ 322 w 791"/>
                <a:gd name="T69" fmla="*/ 1645 h 1651"/>
                <a:gd name="T70" fmla="*/ 318 w 791"/>
                <a:gd name="T71" fmla="*/ 1647 h 1651"/>
                <a:gd name="T72" fmla="*/ 314 w 791"/>
                <a:gd name="T73" fmla="*/ 1649 h 1651"/>
                <a:gd name="T74" fmla="*/ 310 w 791"/>
                <a:gd name="T75" fmla="*/ 1651 h 1651"/>
                <a:gd name="T76" fmla="*/ 304 w 791"/>
                <a:gd name="T77" fmla="*/ 1649 h 1651"/>
                <a:gd name="T78" fmla="*/ 299 w 791"/>
                <a:gd name="T79" fmla="*/ 1645 h 1651"/>
                <a:gd name="T80" fmla="*/ 230 w 791"/>
                <a:gd name="T81" fmla="*/ 1575 h 1651"/>
                <a:gd name="T82" fmla="*/ 171 w 791"/>
                <a:gd name="T83" fmla="*/ 1496 h 1651"/>
                <a:gd name="T84" fmla="*/ 120 w 791"/>
                <a:gd name="T85" fmla="*/ 1414 h 1651"/>
                <a:gd name="T86" fmla="*/ 77 w 791"/>
                <a:gd name="T87" fmla="*/ 1328 h 1651"/>
                <a:gd name="T88" fmla="*/ 44 w 791"/>
                <a:gd name="T89" fmla="*/ 1237 h 1651"/>
                <a:gd name="T90" fmla="*/ 20 w 791"/>
                <a:gd name="T91" fmla="*/ 1143 h 1651"/>
                <a:gd name="T92" fmla="*/ 4 w 791"/>
                <a:gd name="T93" fmla="*/ 1045 h 1651"/>
                <a:gd name="T94" fmla="*/ 0 w 791"/>
                <a:gd name="T95" fmla="*/ 947 h 1651"/>
                <a:gd name="T96" fmla="*/ 6 w 791"/>
                <a:gd name="T97" fmla="*/ 843 h 1651"/>
                <a:gd name="T98" fmla="*/ 22 w 791"/>
                <a:gd name="T99" fmla="*/ 741 h 1651"/>
                <a:gd name="T100" fmla="*/ 50 w 791"/>
                <a:gd name="T101" fmla="*/ 643 h 1651"/>
                <a:gd name="T102" fmla="*/ 87 w 791"/>
                <a:gd name="T103" fmla="*/ 549 h 1651"/>
                <a:gd name="T104" fmla="*/ 132 w 791"/>
                <a:gd name="T105" fmla="*/ 459 h 1651"/>
                <a:gd name="T106" fmla="*/ 187 w 791"/>
                <a:gd name="T107" fmla="*/ 376 h 1651"/>
                <a:gd name="T108" fmla="*/ 252 w 791"/>
                <a:gd name="T109" fmla="*/ 298 h 1651"/>
                <a:gd name="T110" fmla="*/ 322 w 791"/>
                <a:gd name="T111" fmla="*/ 227 h 1651"/>
                <a:gd name="T112" fmla="*/ 401 w 791"/>
                <a:gd name="T113" fmla="*/ 164 h 1651"/>
                <a:gd name="T114" fmla="*/ 485 w 791"/>
                <a:gd name="T115" fmla="*/ 109 h 1651"/>
                <a:gd name="T116" fmla="*/ 575 w 791"/>
                <a:gd name="T117" fmla="*/ 62 h 1651"/>
                <a:gd name="T118" fmla="*/ 671 w 791"/>
                <a:gd name="T119" fmla="*/ 25 h 1651"/>
                <a:gd name="T120" fmla="*/ 771 w 791"/>
                <a:gd name="T121" fmla="*/ 0 h 1651"/>
                <a:gd name="T122" fmla="*/ 775 w 791"/>
                <a:gd name="T123" fmla="*/ 0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1" h="1651">
                  <a:moveTo>
                    <a:pt x="775" y="0"/>
                  </a:moveTo>
                  <a:lnTo>
                    <a:pt x="781" y="0"/>
                  </a:lnTo>
                  <a:lnTo>
                    <a:pt x="785" y="3"/>
                  </a:lnTo>
                  <a:lnTo>
                    <a:pt x="789" y="7"/>
                  </a:lnTo>
                  <a:lnTo>
                    <a:pt x="791" y="13"/>
                  </a:lnTo>
                  <a:lnTo>
                    <a:pt x="791" y="19"/>
                  </a:lnTo>
                  <a:lnTo>
                    <a:pt x="789" y="25"/>
                  </a:lnTo>
                  <a:lnTo>
                    <a:pt x="785" y="29"/>
                  </a:lnTo>
                  <a:lnTo>
                    <a:pt x="779" y="33"/>
                  </a:lnTo>
                  <a:lnTo>
                    <a:pt x="681" y="58"/>
                  </a:lnTo>
                  <a:lnTo>
                    <a:pt x="589" y="94"/>
                  </a:lnTo>
                  <a:lnTo>
                    <a:pt x="501" y="137"/>
                  </a:lnTo>
                  <a:lnTo>
                    <a:pt x="420" y="190"/>
                  </a:lnTo>
                  <a:lnTo>
                    <a:pt x="344" y="253"/>
                  </a:lnTo>
                  <a:lnTo>
                    <a:pt x="275" y="319"/>
                  </a:lnTo>
                  <a:lnTo>
                    <a:pt x="214" y="396"/>
                  </a:lnTo>
                  <a:lnTo>
                    <a:pt x="161" y="476"/>
                  </a:lnTo>
                  <a:lnTo>
                    <a:pt x="116" y="563"/>
                  </a:lnTo>
                  <a:lnTo>
                    <a:pt x="81" y="653"/>
                  </a:lnTo>
                  <a:lnTo>
                    <a:pt x="55" y="747"/>
                  </a:lnTo>
                  <a:lnTo>
                    <a:pt x="40" y="847"/>
                  </a:lnTo>
                  <a:lnTo>
                    <a:pt x="34" y="947"/>
                  </a:lnTo>
                  <a:lnTo>
                    <a:pt x="38" y="1043"/>
                  </a:lnTo>
                  <a:lnTo>
                    <a:pt x="51" y="1135"/>
                  </a:lnTo>
                  <a:lnTo>
                    <a:pt x="75" y="1228"/>
                  </a:lnTo>
                  <a:lnTo>
                    <a:pt x="108" y="1314"/>
                  </a:lnTo>
                  <a:lnTo>
                    <a:pt x="150" y="1398"/>
                  </a:lnTo>
                  <a:lnTo>
                    <a:pt x="199" y="1477"/>
                  </a:lnTo>
                  <a:lnTo>
                    <a:pt x="255" y="1553"/>
                  </a:lnTo>
                  <a:lnTo>
                    <a:pt x="322" y="1622"/>
                  </a:lnTo>
                  <a:lnTo>
                    <a:pt x="324" y="1626"/>
                  </a:lnTo>
                  <a:lnTo>
                    <a:pt x="326" y="1632"/>
                  </a:lnTo>
                  <a:lnTo>
                    <a:pt x="326" y="1636"/>
                  </a:lnTo>
                  <a:lnTo>
                    <a:pt x="326" y="1642"/>
                  </a:lnTo>
                  <a:lnTo>
                    <a:pt x="322" y="1645"/>
                  </a:lnTo>
                  <a:lnTo>
                    <a:pt x="318" y="1647"/>
                  </a:lnTo>
                  <a:lnTo>
                    <a:pt x="314" y="1649"/>
                  </a:lnTo>
                  <a:lnTo>
                    <a:pt x="310" y="1651"/>
                  </a:lnTo>
                  <a:lnTo>
                    <a:pt x="304" y="1649"/>
                  </a:lnTo>
                  <a:lnTo>
                    <a:pt x="299" y="1645"/>
                  </a:lnTo>
                  <a:lnTo>
                    <a:pt x="230" y="1575"/>
                  </a:lnTo>
                  <a:lnTo>
                    <a:pt x="171" y="1496"/>
                  </a:lnTo>
                  <a:lnTo>
                    <a:pt x="120" y="1414"/>
                  </a:lnTo>
                  <a:lnTo>
                    <a:pt x="77" y="1328"/>
                  </a:lnTo>
                  <a:lnTo>
                    <a:pt x="44" y="1237"/>
                  </a:lnTo>
                  <a:lnTo>
                    <a:pt x="20" y="1143"/>
                  </a:lnTo>
                  <a:lnTo>
                    <a:pt x="4" y="1045"/>
                  </a:lnTo>
                  <a:lnTo>
                    <a:pt x="0" y="947"/>
                  </a:lnTo>
                  <a:lnTo>
                    <a:pt x="6" y="843"/>
                  </a:lnTo>
                  <a:lnTo>
                    <a:pt x="22" y="741"/>
                  </a:lnTo>
                  <a:lnTo>
                    <a:pt x="50" y="643"/>
                  </a:lnTo>
                  <a:lnTo>
                    <a:pt x="87" y="549"/>
                  </a:lnTo>
                  <a:lnTo>
                    <a:pt x="132" y="459"/>
                  </a:lnTo>
                  <a:lnTo>
                    <a:pt x="187" y="376"/>
                  </a:lnTo>
                  <a:lnTo>
                    <a:pt x="252" y="298"/>
                  </a:lnTo>
                  <a:lnTo>
                    <a:pt x="322" y="227"/>
                  </a:lnTo>
                  <a:lnTo>
                    <a:pt x="401" y="164"/>
                  </a:lnTo>
                  <a:lnTo>
                    <a:pt x="485" y="109"/>
                  </a:lnTo>
                  <a:lnTo>
                    <a:pt x="575" y="62"/>
                  </a:lnTo>
                  <a:lnTo>
                    <a:pt x="671" y="25"/>
                  </a:lnTo>
                  <a:lnTo>
                    <a:pt x="771" y="0"/>
                  </a:lnTo>
                  <a:lnTo>
                    <a:pt x="775"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1600">
              <a:extLst>
                <a:ext uri="{FF2B5EF4-FFF2-40B4-BE49-F238E27FC236}">
                  <a16:creationId xmlns:a16="http://schemas.microsoft.com/office/drawing/2014/main" id="{18E3ACB1-4052-A042-BA49-1762EC343D91}"/>
                </a:ext>
              </a:extLst>
            </p:cNvPr>
            <p:cNvSpPr>
              <a:spLocks/>
            </p:cNvSpPr>
            <p:nvPr/>
          </p:nvSpPr>
          <p:spPr bwMode="auto">
            <a:xfrm>
              <a:off x="6255442" y="2413973"/>
              <a:ext cx="47625" cy="49212"/>
            </a:xfrm>
            <a:custGeom>
              <a:avLst/>
              <a:gdLst>
                <a:gd name="T0" fmla="*/ 30 w 61"/>
                <a:gd name="T1" fmla="*/ 0 h 61"/>
                <a:gd name="T2" fmla="*/ 39 w 61"/>
                <a:gd name="T3" fmla="*/ 0 h 61"/>
                <a:gd name="T4" fmla="*/ 45 w 61"/>
                <a:gd name="T5" fmla="*/ 4 h 61"/>
                <a:gd name="T6" fmla="*/ 53 w 61"/>
                <a:gd name="T7" fmla="*/ 8 h 61"/>
                <a:gd name="T8" fmla="*/ 57 w 61"/>
                <a:gd name="T9" fmla="*/ 16 h 61"/>
                <a:gd name="T10" fmla="*/ 61 w 61"/>
                <a:gd name="T11" fmla="*/ 22 h 61"/>
                <a:gd name="T12" fmla="*/ 61 w 61"/>
                <a:gd name="T13" fmla="*/ 31 h 61"/>
                <a:gd name="T14" fmla="*/ 61 w 61"/>
                <a:gd name="T15" fmla="*/ 39 h 61"/>
                <a:gd name="T16" fmla="*/ 57 w 61"/>
                <a:gd name="T17" fmla="*/ 47 h 61"/>
                <a:gd name="T18" fmla="*/ 53 w 61"/>
                <a:gd name="T19" fmla="*/ 53 h 61"/>
                <a:gd name="T20" fmla="*/ 45 w 61"/>
                <a:gd name="T21" fmla="*/ 57 h 61"/>
                <a:gd name="T22" fmla="*/ 39 w 61"/>
                <a:gd name="T23" fmla="*/ 61 h 61"/>
                <a:gd name="T24" fmla="*/ 30 w 61"/>
                <a:gd name="T25" fmla="*/ 61 h 61"/>
                <a:gd name="T26" fmla="*/ 22 w 61"/>
                <a:gd name="T27" fmla="*/ 61 h 61"/>
                <a:gd name="T28" fmla="*/ 14 w 61"/>
                <a:gd name="T29" fmla="*/ 57 h 61"/>
                <a:gd name="T30" fmla="*/ 8 w 61"/>
                <a:gd name="T31" fmla="*/ 53 h 61"/>
                <a:gd name="T32" fmla="*/ 4 w 61"/>
                <a:gd name="T33" fmla="*/ 47 h 61"/>
                <a:gd name="T34" fmla="*/ 0 w 61"/>
                <a:gd name="T35" fmla="*/ 39 h 61"/>
                <a:gd name="T36" fmla="*/ 0 w 61"/>
                <a:gd name="T37" fmla="*/ 31 h 61"/>
                <a:gd name="T38" fmla="*/ 0 w 61"/>
                <a:gd name="T39" fmla="*/ 22 h 61"/>
                <a:gd name="T40" fmla="*/ 4 w 61"/>
                <a:gd name="T41" fmla="*/ 16 h 61"/>
                <a:gd name="T42" fmla="*/ 8 w 61"/>
                <a:gd name="T43" fmla="*/ 8 h 61"/>
                <a:gd name="T44" fmla="*/ 14 w 61"/>
                <a:gd name="T45" fmla="*/ 4 h 61"/>
                <a:gd name="T46" fmla="*/ 22 w 61"/>
                <a:gd name="T47" fmla="*/ 0 h 61"/>
                <a:gd name="T48" fmla="*/ 30 w 61"/>
                <a:gd name="T4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1">
                  <a:moveTo>
                    <a:pt x="30" y="0"/>
                  </a:moveTo>
                  <a:lnTo>
                    <a:pt x="39" y="0"/>
                  </a:lnTo>
                  <a:lnTo>
                    <a:pt x="45" y="4"/>
                  </a:lnTo>
                  <a:lnTo>
                    <a:pt x="53" y="8"/>
                  </a:lnTo>
                  <a:lnTo>
                    <a:pt x="57" y="16"/>
                  </a:lnTo>
                  <a:lnTo>
                    <a:pt x="61" y="22"/>
                  </a:lnTo>
                  <a:lnTo>
                    <a:pt x="61" y="31"/>
                  </a:lnTo>
                  <a:lnTo>
                    <a:pt x="61" y="39"/>
                  </a:lnTo>
                  <a:lnTo>
                    <a:pt x="57" y="47"/>
                  </a:lnTo>
                  <a:lnTo>
                    <a:pt x="53" y="53"/>
                  </a:lnTo>
                  <a:lnTo>
                    <a:pt x="45" y="57"/>
                  </a:lnTo>
                  <a:lnTo>
                    <a:pt x="39" y="61"/>
                  </a:lnTo>
                  <a:lnTo>
                    <a:pt x="30" y="61"/>
                  </a:lnTo>
                  <a:lnTo>
                    <a:pt x="22" y="61"/>
                  </a:lnTo>
                  <a:lnTo>
                    <a:pt x="14" y="57"/>
                  </a:lnTo>
                  <a:lnTo>
                    <a:pt x="8" y="53"/>
                  </a:lnTo>
                  <a:lnTo>
                    <a:pt x="4" y="47"/>
                  </a:lnTo>
                  <a:lnTo>
                    <a:pt x="0" y="39"/>
                  </a:lnTo>
                  <a:lnTo>
                    <a:pt x="0" y="31"/>
                  </a:lnTo>
                  <a:lnTo>
                    <a:pt x="0" y="22"/>
                  </a:lnTo>
                  <a:lnTo>
                    <a:pt x="4" y="16"/>
                  </a:lnTo>
                  <a:lnTo>
                    <a:pt x="8" y="8"/>
                  </a:lnTo>
                  <a:lnTo>
                    <a:pt x="14" y="4"/>
                  </a:lnTo>
                  <a:lnTo>
                    <a:pt x="22" y="0"/>
                  </a:lnTo>
                  <a:lnTo>
                    <a:pt x="30" y="0"/>
                  </a:lnTo>
                  <a:close/>
                </a:path>
              </a:pathLst>
            </a:custGeom>
            <a:solidFill>
              <a:schemeClr val="accent2"/>
            </a:solidFill>
            <a:ln w="0">
              <a:solidFill>
                <a:srgbClr val="96FF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1601">
              <a:extLst>
                <a:ext uri="{FF2B5EF4-FFF2-40B4-BE49-F238E27FC236}">
                  <a16:creationId xmlns:a16="http://schemas.microsoft.com/office/drawing/2014/main" id="{35EA5BD4-683C-A949-AA43-3A3396C9A1B7}"/>
                </a:ext>
              </a:extLst>
            </p:cNvPr>
            <p:cNvSpPr>
              <a:spLocks/>
            </p:cNvSpPr>
            <p:nvPr/>
          </p:nvSpPr>
          <p:spPr bwMode="auto">
            <a:xfrm>
              <a:off x="5426767" y="3534748"/>
              <a:ext cx="49213" cy="49212"/>
            </a:xfrm>
            <a:custGeom>
              <a:avLst/>
              <a:gdLst>
                <a:gd name="T0" fmla="*/ 31 w 62"/>
                <a:gd name="T1" fmla="*/ 0 h 62"/>
                <a:gd name="T2" fmla="*/ 39 w 62"/>
                <a:gd name="T3" fmla="*/ 2 h 62"/>
                <a:gd name="T4" fmla="*/ 47 w 62"/>
                <a:gd name="T5" fmla="*/ 5 h 62"/>
                <a:gd name="T6" fmla="*/ 53 w 62"/>
                <a:gd name="T7" fmla="*/ 9 h 62"/>
                <a:gd name="T8" fmla="*/ 59 w 62"/>
                <a:gd name="T9" fmla="*/ 15 h 62"/>
                <a:gd name="T10" fmla="*/ 62 w 62"/>
                <a:gd name="T11" fmla="*/ 23 h 62"/>
                <a:gd name="T12" fmla="*/ 62 w 62"/>
                <a:gd name="T13" fmla="*/ 31 h 62"/>
                <a:gd name="T14" fmla="*/ 62 w 62"/>
                <a:gd name="T15" fmla="*/ 39 h 62"/>
                <a:gd name="T16" fmla="*/ 59 w 62"/>
                <a:gd name="T17" fmla="*/ 47 h 62"/>
                <a:gd name="T18" fmla="*/ 53 w 62"/>
                <a:gd name="T19" fmla="*/ 53 h 62"/>
                <a:gd name="T20" fmla="*/ 47 w 62"/>
                <a:gd name="T21" fmla="*/ 58 h 62"/>
                <a:gd name="T22" fmla="*/ 39 w 62"/>
                <a:gd name="T23" fmla="*/ 62 h 62"/>
                <a:gd name="T24" fmla="*/ 31 w 62"/>
                <a:gd name="T25" fmla="*/ 62 h 62"/>
                <a:gd name="T26" fmla="*/ 23 w 62"/>
                <a:gd name="T27" fmla="*/ 62 h 62"/>
                <a:gd name="T28" fmla="*/ 15 w 62"/>
                <a:gd name="T29" fmla="*/ 58 h 62"/>
                <a:gd name="T30" fmla="*/ 9 w 62"/>
                <a:gd name="T31" fmla="*/ 53 h 62"/>
                <a:gd name="T32" fmla="*/ 6 w 62"/>
                <a:gd name="T33" fmla="*/ 47 h 62"/>
                <a:gd name="T34" fmla="*/ 2 w 62"/>
                <a:gd name="T35" fmla="*/ 39 h 62"/>
                <a:gd name="T36" fmla="*/ 0 w 62"/>
                <a:gd name="T37" fmla="*/ 31 h 62"/>
                <a:gd name="T38" fmla="*/ 2 w 62"/>
                <a:gd name="T39" fmla="*/ 23 h 62"/>
                <a:gd name="T40" fmla="*/ 6 w 62"/>
                <a:gd name="T41" fmla="*/ 15 h 62"/>
                <a:gd name="T42" fmla="*/ 9 w 62"/>
                <a:gd name="T43" fmla="*/ 9 h 62"/>
                <a:gd name="T44" fmla="*/ 15 w 62"/>
                <a:gd name="T45" fmla="*/ 5 h 62"/>
                <a:gd name="T46" fmla="*/ 23 w 62"/>
                <a:gd name="T47" fmla="*/ 2 h 62"/>
                <a:gd name="T48" fmla="*/ 31 w 62"/>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2">
                  <a:moveTo>
                    <a:pt x="31" y="0"/>
                  </a:moveTo>
                  <a:lnTo>
                    <a:pt x="39" y="2"/>
                  </a:lnTo>
                  <a:lnTo>
                    <a:pt x="47" y="5"/>
                  </a:lnTo>
                  <a:lnTo>
                    <a:pt x="53" y="9"/>
                  </a:lnTo>
                  <a:lnTo>
                    <a:pt x="59" y="15"/>
                  </a:lnTo>
                  <a:lnTo>
                    <a:pt x="62" y="23"/>
                  </a:lnTo>
                  <a:lnTo>
                    <a:pt x="62" y="31"/>
                  </a:lnTo>
                  <a:lnTo>
                    <a:pt x="62" y="39"/>
                  </a:lnTo>
                  <a:lnTo>
                    <a:pt x="59" y="47"/>
                  </a:lnTo>
                  <a:lnTo>
                    <a:pt x="53" y="53"/>
                  </a:lnTo>
                  <a:lnTo>
                    <a:pt x="47" y="58"/>
                  </a:lnTo>
                  <a:lnTo>
                    <a:pt x="39" y="62"/>
                  </a:lnTo>
                  <a:lnTo>
                    <a:pt x="31" y="62"/>
                  </a:lnTo>
                  <a:lnTo>
                    <a:pt x="23" y="62"/>
                  </a:lnTo>
                  <a:lnTo>
                    <a:pt x="15" y="58"/>
                  </a:lnTo>
                  <a:lnTo>
                    <a:pt x="9" y="53"/>
                  </a:lnTo>
                  <a:lnTo>
                    <a:pt x="6" y="47"/>
                  </a:lnTo>
                  <a:lnTo>
                    <a:pt x="2" y="39"/>
                  </a:lnTo>
                  <a:lnTo>
                    <a:pt x="0" y="31"/>
                  </a:lnTo>
                  <a:lnTo>
                    <a:pt x="2" y="23"/>
                  </a:lnTo>
                  <a:lnTo>
                    <a:pt x="6" y="15"/>
                  </a:lnTo>
                  <a:lnTo>
                    <a:pt x="9" y="9"/>
                  </a:lnTo>
                  <a:lnTo>
                    <a:pt x="15" y="5"/>
                  </a:lnTo>
                  <a:lnTo>
                    <a:pt x="23" y="2"/>
                  </a:lnTo>
                  <a:lnTo>
                    <a:pt x="31" y="0"/>
                  </a:lnTo>
                  <a:close/>
                </a:path>
              </a:pathLst>
            </a:custGeom>
            <a:solidFill>
              <a:srgbClr val="6FC2B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1602">
              <a:extLst>
                <a:ext uri="{FF2B5EF4-FFF2-40B4-BE49-F238E27FC236}">
                  <a16:creationId xmlns:a16="http://schemas.microsoft.com/office/drawing/2014/main" id="{1D466735-6CCD-174C-8707-E7AC124DE8FE}"/>
                </a:ext>
              </a:extLst>
            </p:cNvPr>
            <p:cNvSpPr>
              <a:spLocks/>
            </p:cNvSpPr>
            <p:nvPr/>
          </p:nvSpPr>
          <p:spPr bwMode="auto">
            <a:xfrm>
              <a:off x="2791517" y="2231411"/>
              <a:ext cx="47625" cy="49212"/>
            </a:xfrm>
            <a:custGeom>
              <a:avLst/>
              <a:gdLst>
                <a:gd name="T0" fmla="*/ 30 w 61"/>
                <a:gd name="T1" fmla="*/ 0 h 63"/>
                <a:gd name="T2" fmla="*/ 39 w 61"/>
                <a:gd name="T3" fmla="*/ 2 h 63"/>
                <a:gd name="T4" fmla="*/ 45 w 61"/>
                <a:gd name="T5" fmla="*/ 4 h 63"/>
                <a:gd name="T6" fmla="*/ 53 w 61"/>
                <a:gd name="T7" fmla="*/ 10 h 63"/>
                <a:gd name="T8" fmla="*/ 57 w 61"/>
                <a:gd name="T9" fmla="*/ 16 h 63"/>
                <a:gd name="T10" fmla="*/ 61 w 61"/>
                <a:gd name="T11" fmla="*/ 24 h 63"/>
                <a:gd name="T12" fmla="*/ 61 w 61"/>
                <a:gd name="T13" fmla="*/ 32 h 63"/>
                <a:gd name="T14" fmla="*/ 61 w 61"/>
                <a:gd name="T15" fmla="*/ 40 h 63"/>
                <a:gd name="T16" fmla="*/ 57 w 61"/>
                <a:gd name="T17" fmla="*/ 48 h 63"/>
                <a:gd name="T18" fmla="*/ 53 w 61"/>
                <a:gd name="T19" fmla="*/ 53 h 63"/>
                <a:gd name="T20" fmla="*/ 45 w 61"/>
                <a:gd name="T21" fmla="*/ 59 h 63"/>
                <a:gd name="T22" fmla="*/ 39 w 61"/>
                <a:gd name="T23" fmla="*/ 61 h 63"/>
                <a:gd name="T24" fmla="*/ 30 w 61"/>
                <a:gd name="T25" fmla="*/ 63 h 63"/>
                <a:gd name="T26" fmla="*/ 22 w 61"/>
                <a:gd name="T27" fmla="*/ 61 h 63"/>
                <a:gd name="T28" fmla="*/ 14 w 61"/>
                <a:gd name="T29" fmla="*/ 59 h 63"/>
                <a:gd name="T30" fmla="*/ 8 w 61"/>
                <a:gd name="T31" fmla="*/ 53 h 63"/>
                <a:gd name="T32" fmla="*/ 4 w 61"/>
                <a:gd name="T33" fmla="*/ 48 h 63"/>
                <a:gd name="T34" fmla="*/ 0 w 61"/>
                <a:gd name="T35" fmla="*/ 40 h 63"/>
                <a:gd name="T36" fmla="*/ 0 w 61"/>
                <a:gd name="T37" fmla="*/ 32 h 63"/>
                <a:gd name="T38" fmla="*/ 0 w 61"/>
                <a:gd name="T39" fmla="*/ 24 h 63"/>
                <a:gd name="T40" fmla="*/ 4 w 61"/>
                <a:gd name="T41" fmla="*/ 16 h 63"/>
                <a:gd name="T42" fmla="*/ 8 w 61"/>
                <a:gd name="T43" fmla="*/ 10 h 63"/>
                <a:gd name="T44" fmla="*/ 14 w 61"/>
                <a:gd name="T45" fmla="*/ 4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39" y="2"/>
                  </a:lnTo>
                  <a:lnTo>
                    <a:pt x="45" y="4"/>
                  </a:lnTo>
                  <a:lnTo>
                    <a:pt x="53" y="10"/>
                  </a:lnTo>
                  <a:lnTo>
                    <a:pt x="57" y="16"/>
                  </a:lnTo>
                  <a:lnTo>
                    <a:pt x="61" y="24"/>
                  </a:lnTo>
                  <a:lnTo>
                    <a:pt x="61" y="32"/>
                  </a:lnTo>
                  <a:lnTo>
                    <a:pt x="61" y="40"/>
                  </a:lnTo>
                  <a:lnTo>
                    <a:pt x="57" y="48"/>
                  </a:lnTo>
                  <a:lnTo>
                    <a:pt x="53" y="53"/>
                  </a:lnTo>
                  <a:lnTo>
                    <a:pt x="45" y="59"/>
                  </a:lnTo>
                  <a:lnTo>
                    <a:pt x="39" y="61"/>
                  </a:lnTo>
                  <a:lnTo>
                    <a:pt x="30" y="63"/>
                  </a:lnTo>
                  <a:lnTo>
                    <a:pt x="22" y="61"/>
                  </a:lnTo>
                  <a:lnTo>
                    <a:pt x="14" y="59"/>
                  </a:lnTo>
                  <a:lnTo>
                    <a:pt x="8" y="53"/>
                  </a:lnTo>
                  <a:lnTo>
                    <a:pt x="4" y="48"/>
                  </a:lnTo>
                  <a:lnTo>
                    <a:pt x="0" y="40"/>
                  </a:lnTo>
                  <a:lnTo>
                    <a:pt x="0" y="32"/>
                  </a:lnTo>
                  <a:lnTo>
                    <a:pt x="0" y="24"/>
                  </a:lnTo>
                  <a:lnTo>
                    <a:pt x="4" y="16"/>
                  </a:lnTo>
                  <a:lnTo>
                    <a:pt x="8" y="10"/>
                  </a:lnTo>
                  <a:lnTo>
                    <a:pt x="14" y="4"/>
                  </a:lnTo>
                  <a:lnTo>
                    <a:pt x="22" y="2"/>
                  </a:lnTo>
                  <a:lnTo>
                    <a:pt x="3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1603">
              <a:extLst>
                <a:ext uri="{FF2B5EF4-FFF2-40B4-BE49-F238E27FC236}">
                  <a16:creationId xmlns:a16="http://schemas.microsoft.com/office/drawing/2014/main" id="{675D17A5-1B0E-1943-88A9-6AEDF3634810}"/>
                </a:ext>
              </a:extLst>
            </p:cNvPr>
            <p:cNvSpPr>
              <a:spLocks/>
            </p:cNvSpPr>
            <p:nvPr/>
          </p:nvSpPr>
          <p:spPr bwMode="auto">
            <a:xfrm>
              <a:off x="4026592" y="3025161"/>
              <a:ext cx="49213" cy="49212"/>
            </a:xfrm>
            <a:custGeom>
              <a:avLst/>
              <a:gdLst>
                <a:gd name="T0" fmla="*/ 30 w 61"/>
                <a:gd name="T1" fmla="*/ 0 h 63"/>
                <a:gd name="T2" fmla="*/ 40 w 61"/>
                <a:gd name="T3" fmla="*/ 2 h 63"/>
                <a:gd name="T4" fmla="*/ 46 w 61"/>
                <a:gd name="T5" fmla="*/ 6 h 63"/>
                <a:gd name="T6" fmla="*/ 53 w 61"/>
                <a:gd name="T7" fmla="*/ 10 h 63"/>
                <a:gd name="T8" fmla="*/ 57 w 61"/>
                <a:gd name="T9" fmla="*/ 16 h 63"/>
                <a:gd name="T10" fmla="*/ 61 w 61"/>
                <a:gd name="T11" fmla="*/ 24 h 63"/>
                <a:gd name="T12" fmla="*/ 61 w 61"/>
                <a:gd name="T13" fmla="*/ 31 h 63"/>
                <a:gd name="T14" fmla="*/ 61 w 61"/>
                <a:gd name="T15" fmla="*/ 41 h 63"/>
                <a:gd name="T16" fmla="*/ 57 w 61"/>
                <a:gd name="T17" fmla="*/ 47 h 63"/>
                <a:gd name="T18" fmla="*/ 53 w 61"/>
                <a:gd name="T19" fmla="*/ 55 h 63"/>
                <a:gd name="T20" fmla="*/ 46 w 61"/>
                <a:gd name="T21" fmla="*/ 59 h 63"/>
                <a:gd name="T22" fmla="*/ 40 w 61"/>
                <a:gd name="T23" fmla="*/ 63 h 63"/>
                <a:gd name="T24" fmla="*/ 30 w 61"/>
                <a:gd name="T25" fmla="*/ 63 h 63"/>
                <a:gd name="T26" fmla="*/ 22 w 61"/>
                <a:gd name="T27" fmla="*/ 63 h 63"/>
                <a:gd name="T28" fmla="*/ 14 w 61"/>
                <a:gd name="T29" fmla="*/ 59 h 63"/>
                <a:gd name="T30" fmla="*/ 8 w 61"/>
                <a:gd name="T31" fmla="*/ 55 h 63"/>
                <a:gd name="T32" fmla="*/ 4 w 61"/>
                <a:gd name="T33" fmla="*/ 47 h 63"/>
                <a:gd name="T34" fmla="*/ 0 w 61"/>
                <a:gd name="T35" fmla="*/ 41 h 63"/>
                <a:gd name="T36" fmla="*/ 0 w 61"/>
                <a:gd name="T37" fmla="*/ 31 h 63"/>
                <a:gd name="T38" fmla="*/ 0 w 61"/>
                <a:gd name="T39" fmla="*/ 24 h 63"/>
                <a:gd name="T40" fmla="*/ 4 w 61"/>
                <a:gd name="T41" fmla="*/ 16 h 63"/>
                <a:gd name="T42" fmla="*/ 8 w 61"/>
                <a:gd name="T43" fmla="*/ 10 h 63"/>
                <a:gd name="T44" fmla="*/ 14 w 61"/>
                <a:gd name="T45" fmla="*/ 6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40" y="2"/>
                  </a:lnTo>
                  <a:lnTo>
                    <a:pt x="46" y="6"/>
                  </a:lnTo>
                  <a:lnTo>
                    <a:pt x="53" y="10"/>
                  </a:lnTo>
                  <a:lnTo>
                    <a:pt x="57" y="16"/>
                  </a:lnTo>
                  <a:lnTo>
                    <a:pt x="61" y="24"/>
                  </a:lnTo>
                  <a:lnTo>
                    <a:pt x="61" y="31"/>
                  </a:lnTo>
                  <a:lnTo>
                    <a:pt x="61" y="41"/>
                  </a:lnTo>
                  <a:lnTo>
                    <a:pt x="57" y="47"/>
                  </a:lnTo>
                  <a:lnTo>
                    <a:pt x="53" y="55"/>
                  </a:lnTo>
                  <a:lnTo>
                    <a:pt x="46" y="59"/>
                  </a:lnTo>
                  <a:lnTo>
                    <a:pt x="40" y="63"/>
                  </a:lnTo>
                  <a:lnTo>
                    <a:pt x="30" y="63"/>
                  </a:lnTo>
                  <a:lnTo>
                    <a:pt x="22" y="63"/>
                  </a:lnTo>
                  <a:lnTo>
                    <a:pt x="14" y="59"/>
                  </a:lnTo>
                  <a:lnTo>
                    <a:pt x="8" y="55"/>
                  </a:lnTo>
                  <a:lnTo>
                    <a:pt x="4" y="47"/>
                  </a:lnTo>
                  <a:lnTo>
                    <a:pt x="0" y="41"/>
                  </a:lnTo>
                  <a:lnTo>
                    <a:pt x="0" y="31"/>
                  </a:lnTo>
                  <a:lnTo>
                    <a:pt x="0" y="24"/>
                  </a:lnTo>
                  <a:lnTo>
                    <a:pt x="4" y="16"/>
                  </a:lnTo>
                  <a:lnTo>
                    <a:pt x="8" y="10"/>
                  </a:lnTo>
                  <a:lnTo>
                    <a:pt x="14" y="6"/>
                  </a:lnTo>
                  <a:lnTo>
                    <a:pt x="22" y="2"/>
                  </a:lnTo>
                  <a:lnTo>
                    <a:pt x="30" y="0"/>
                  </a:lnTo>
                  <a:close/>
                </a:path>
              </a:pathLst>
            </a:custGeom>
            <a:solidFill>
              <a:schemeClr val="accent2"/>
            </a:solidFill>
            <a:ln w="0">
              <a:solidFill>
                <a:srgbClr val="4EDB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1604">
              <a:extLst>
                <a:ext uri="{FF2B5EF4-FFF2-40B4-BE49-F238E27FC236}">
                  <a16:creationId xmlns:a16="http://schemas.microsoft.com/office/drawing/2014/main" id="{547F1957-D8D7-CD4C-BDFC-7D0328E6C529}"/>
                </a:ext>
              </a:extLst>
            </p:cNvPr>
            <p:cNvSpPr>
              <a:spLocks/>
            </p:cNvSpPr>
            <p:nvPr/>
          </p:nvSpPr>
          <p:spPr bwMode="auto">
            <a:xfrm>
              <a:off x="4026592" y="3855423"/>
              <a:ext cx="49213" cy="49212"/>
            </a:xfrm>
            <a:custGeom>
              <a:avLst/>
              <a:gdLst>
                <a:gd name="T0" fmla="*/ 30 w 61"/>
                <a:gd name="T1" fmla="*/ 0 h 62"/>
                <a:gd name="T2" fmla="*/ 40 w 61"/>
                <a:gd name="T3" fmla="*/ 2 h 62"/>
                <a:gd name="T4" fmla="*/ 46 w 61"/>
                <a:gd name="T5" fmla="*/ 4 h 62"/>
                <a:gd name="T6" fmla="*/ 53 w 61"/>
                <a:gd name="T7" fmla="*/ 9 h 62"/>
                <a:gd name="T8" fmla="*/ 57 w 61"/>
                <a:gd name="T9" fmla="*/ 15 h 62"/>
                <a:gd name="T10" fmla="*/ 61 w 61"/>
                <a:gd name="T11" fmla="*/ 23 h 62"/>
                <a:gd name="T12" fmla="*/ 61 w 61"/>
                <a:gd name="T13" fmla="*/ 31 h 62"/>
                <a:gd name="T14" fmla="*/ 61 w 61"/>
                <a:gd name="T15" fmla="*/ 39 h 62"/>
                <a:gd name="T16" fmla="*/ 57 w 61"/>
                <a:gd name="T17" fmla="*/ 47 h 62"/>
                <a:gd name="T18" fmla="*/ 53 w 61"/>
                <a:gd name="T19" fmla="*/ 53 h 62"/>
                <a:gd name="T20" fmla="*/ 46 w 61"/>
                <a:gd name="T21" fmla="*/ 59 h 62"/>
                <a:gd name="T22" fmla="*/ 40 w 61"/>
                <a:gd name="T23" fmla="*/ 60 h 62"/>
                <a:gd name="T24" fmla="*/ 30 w 61"/>
                <a:gd name="T25" fmla="*/ 62 h 62"/>
                <a:gd name="T26" fmla="*/ 22 w 61"/>
                <a:gd name="T27" fmla="*/ 60 h 62"/>
                <a:gd name="T28" fmla="*/ 14 w 61"/>
                <a:gd name="T29" fmla="*/ 59 h 62"/>
                <a:gd name="T30" fmla="*/ 8 w 61"/>
                <a:gd name="T31" fmla="*/ 53 h 62"/>
                <a:gd name="T32" fmla="*/ 4 w 61"/>
                <a:gd name="T33" fmla="*/ 47 h 62"/>
                <a:gd name="T34" fmla="*/ 0 w 61"/>
                <a:gd name="T35" fmla="*/ 39 h 62"/>
                <a:gd name="T36" fmla="*/ 0 w 61"/>
                <a:gd name="T37" fmla="*/ 31 h 62"/>
                <a:gd name="T38" fmla="*/ 0 w 61"/>
                <a:gd name="T39" fmla="*/ 23 h 62"/>
                <a:gd name="T40" fmla="*/ 4 w 61"/>
                <a:gd name="T41" fmla="*/ 15 h 62"/>
                <a:gd name="T42" fmla="*/ 8 w 61"/>
                <a:gd name="T43" fmla="*/ 9 h 62"/>
                <a:gd name="T44" fmla="*/ 14 w 61"/>
                <a:gd name="T45" fmla="*/ 4 h 62"/>
                <a:gd name="T46" fmla="*/ 22 w 61"/>
                <a:gd name="T47" fmla="*/ 2 h 62"/>
                <a:gd name="T48" fmla="*/ 30 w 61"/>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2">
                  <a:moveTo>
                    <a:pt x="30" y="0"/>
                  </a:moveTo>
                  <a:lnTo>
                    <a:pt x="40" y="2"/>
                  </a:lnTo>
                  <a:lnTo>
                    <a:pt x="46" y="4"/>
                  </a:lnTo>
                  <a:lnTo>
                    <a:pt x="53" y="9"/>
                  </a:lnTo>
                  <a:lnTo>
                    <a:pt x="57" y="15"/>
                  </a:lnTo>
                  <a:lnTo>
                    <a:pt x="61" y="23"/>
                  </a:lnTo>
                  <a:lnTo>
                    <a:pt x="61" y="31"/>
                  </a:lnTo>
                  <a:lnTo>
                    <a:pt x="61" y="39"/>
                  </a:lnTo>
                  <a:lnTo>
                    <a:pt x="57" y="47"/>
                  </a:lnTo>
                  <a:lnTo>
                    <a:pt x="53" y="53"/>
                  </a:lnTo>
                  <a:lnTo>
                    <a:pt x="46" y="59"/>
                  </a:lnTo>
                  <a:lnTo>
                    <a:pt x="40" y="60"/>
                  </a:lnTo>
                  <a:lnTo>
                    <a:pt x="30" y="62"/>
                  </a:lnTo>
                  <a:lnTo>
                    <a:pt x="22" y="60"/>
                  </a:lnTo>
                  <a:lnTo>
                    <a:pt x="14" y="59"/>
                  </a:lnTo>
                  <a:lnTo>
                    <a:pt x="8" y="53"/>
                  </a:lnTo>
                  <a:lnTo>
                    <a:pt x="4" y="47"/>
                  </a:lnTo>
                  <a:lnTo>
                    <a:pt x="0" y="39"/>
                  </a:lnTo>
                  <a:lnTo>
                    <a:pt x="0" y="31"/>
                  </a:lnTo>
                  <a:lnTo>
                    <a:pt x="0" y="23"/>
                  </a:lnTo>
                  <a:lnTo>
                    <a:pt x="4" y="15"/>
                  </a:lnTo>
                  <a:lnTo>
                    <a:pt x="8" y="9"/>
                  </a:lnTo>
                  <a:lnTo>
                    <a:pt x="14" y="4"/>
                  </a:lnTo>
                  <a:lnTo>
                    <a:pt x="22" y="2"/>
                  </a:lnTo>
                  <a:lnTo>
                    <a:pt x="3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1605">
              <a:extLst>
                <a:ext uri="{FF2B5EF4-FFF2-40B4-BE49-F238E27FC236}">
                  <a16:creationId xmlns:a16="http://schemas.microsoft.com/office/drawing/2014/main" id="{5FCD89AD-AD72-C246-888D-EC19C6834A69}"/>
                </a:ext>
              </a:extLst>
            </p:cNvPr>
            <p:cNvSpPr>
              <a:spLocks/>
            </p:cNvSpPr>
            <p:nvPr/>
          </p:nvSpPr>
          <p:spPr bwMode="auto">
            <a:xfrm>
              <a:off x="4163117" y="4539636"/>
              <a:ext cx="47625" cy="50800"/>
            </a:xfrm>
            <a:custGeom>
              <a:avLst/>
              <a:gdLst>
                <a:gd name="T0" fmla="*/ 30 w 61"/>
                <a:gd name="T1" fmla="*/ 0 h 63"/>
                <a:gd name="T2" fmla="*/ 39 w 61"/>
                <a:gd name="T3" fmla="*/ 0 h 63"/>
                <a:gd name="T4" fmla="*/ 45 w 61"/>
                <a:gd name="T5" fmla="*/ 4 h 63"/>
                <a:gd name="T6" fmla="*/ 53 w 61"/>
                <a:gd name="T7" fmla="*/ 10 h 63"/>
                <a:gd name="T8" fmla="*/ 57 w 61"/>
                <a:gd name="T9" fmla="*/ 16 h 63"/>
                <a:gd name="T10" fmla="*/ 61 w 61"/>
                <a:gd name="T11" fmla="*/ 23 h 63"/>
                <a:gd name="T12" fmla="*/ 61 w 61"/>
                <a:gd name="T13" fmla="*/ 31 h 63"/>
                <a:gd name="T14" fmla="*/ 61 w 61"/>
                <a:gd name="T15" fmla="*/ 39 h 63"/>
                <a:gd name="T16" fmla="*/ 57 w 61"/>
                <a:gd name="T17" fmla="*/ 47 h 63"/>
                <a:gd name="T18" fmla="*/ 53 w 61"/>
                <a:gd name="T19" fmla="*/ 53 h 63"/>
                <a:gd name="T20" fmla="*/ 45 w 61"/>
                <a:gd name="T21" fmla="*/ 57 h 63"/>
                <a:gd name="T22" fmla="*/ 39 w 61"/>
                <a:gd name="T23" fmla="*/ 61 h 63"/>
                <a:gd name="T24" fmla="*/ 30 w 61"/>
                <a:gd name="T25" fmla="*/ 63 h 63"/>
                <a:gd name="T26" fmla="*/ 22 w 61"/>
                <a:gd name="T27" fmla="*/ 61 h 63"/>
                <a:gd name="T28" fmla="*/ 14 w 61"/>
                <a:gd name="T29" fmla="*/ 57 h 63"/>
                <a:gd name="T30" fmla="*/ 8 w 61"/>
                <a:gd name="T31" fmla="*/ 53 h 63"/>
                <a:gd name="T32" fmla="*/ 4 w 61"/>
                <a:gd name="T33" fmla="*/ 47 h 63"/>
                <a:gd name="T34" fmla="*/ 0 w 61"/>
                <a:gd name="T35" fmla="*/ 39 h 63"/>
                <a:gd name="T36" fmla="*/ 0 w 61"/>
                <a:gd name="T37" fmla="*/ 31 h 63"/>
                <a:gd name="T38" fmla="*/ 0 w 61"/>
                <a:gd name="T39" fmla="*/ 23 h 63"/>
                <a:gd name="T40" fmla="*/ 4 w 61"/>
                <a:gd name="T41" fmla="*/ 16 h 63"/>
                <a:gd name="T42" fmla="*/ 8 w 61"/>
                <a:gd name="T43" fmla="*/ 10 h 63"/>
                <a:gd name="T44" fmla="*/ 14 w 61"/>
                <a:gd name="T45" fmla="*/ 4 h 63"/>
                <a:gd name="T46" fmla="*/ 22 w 61"/>
                <a:gd name="T47" fmla="*/ 0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39" y="0"/>
                  </a:lnTo>
                  <a:lnTo>
                    <a:pt x="45" y="4"/>
                  </a:lnTo>
                  <a:lnTo>
                    <a:pt x="53" y="10"/>
                  </a:lnTo>
                  <a:lnTo>
                    <a:pt x="57" y="16"/>
                  </a:lnTo>
                  <a:lnTo>
                    <a:pt x="61" y="23"/>
                  </a:lnTo>
                  <a:lnTo>
                    <a:pt x="61" y="31"/>
                  </a:lnTo>
                  <a:lnTo>
                    <a:pt x="61" y="39"/>
                  </a:lnTo>
                  <a:lnTo>
                    <a:pt x="57" y="47"/>
                  </a:lnTo>
                  <a:lnTo>
                    <a:pt x="53" y="53"/>
                  </a:lnTo>
                  <a:lnTo>
                    <a:pt x="45" y="57"/>
                  </a:lnTo>
                  <a:lnTo>
                    <a:pt x="39" y="61"/>
                  </a:lnTo>
                  <a:lnTo>
                    <a:pt x="30" y="63"/>
                  </a:lnTo>
                  <a:lnTo>
                    <a:pt x="22" y="61"/>
                  </a:lnTo>
                  <a:lnTo>
                    <a:pt x="14" y="57"/>
                  </a:lnTo>
                  <a:lnTo>
                    <a:pt x="8" y="53"/>
                  </a:lnTo>
                  <a:lnTo>
                    <a:pt x="4" y="47"/>
                  </a:lnTo>
                  <a:lnTo>
                    <a:pt x="0" y="39"/>
                  </a:lnTo>
                  <a:lnTo>
                    <a:pt x="0" y="31"/>
                  </a:lnTo>
                  <a:lnTo>
                    <a:pt x="0" y="23"/>
                  </a:lnTo>
                  <a:lnTo>
                    <a:pt x="4" y="16"/>
                  </a:lnTo>
                  <a:lnTo>
                    <a:pt x="8" y="10"/>
                  </a:lnTo>
                  <a:lnTo>
                    <a:pt x="14" y="4"/>
                  </a:lnTo>
                  <a:lnTo>
                    <a:pt x="22" y="0"/>
                  </a:lnTo>
                  <a:lnTo>
                    <a:pt x="30" y="0"/>
                  </a:lnTo>
                  <a:close/>
                </a:path>
              </a:pathLst>
            </a:custGeom>
            <a:solidFill>
              <a:schemeClr val="tx1"/>
            </a:solidFill>
            <a:ln w="0">
              <a:solidFill>
                <a:srgbClr val="FEC117"/>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1606">
              <a:extLst>
                <a:ext uri="{FF2B5EF4-FFF2-40B4-BE49-F238E27FC236}">
                  <a16:creationId xmlns:a16="http://schemas.microsoft.com/office/drawing/2014/main" id="{95ED25F0-4DDF-1846-9252-5C96250FDD39}"/>
                </a:ext>
              </a:extLst>
            </p:cNvPr>
            <p:cNvSpPr>
              <a:spLocks/>
            </p:cNvSpPr>
            <p:nvPr/>
          </p:nvSpPr>
          <p:spPr bwMode="auto">
            <a:xfrm>
              <a:off x="5452167" y="3298211"/>
              <a:ext cx="1341438" cy="1341437"/>
            </a:xfrm>
            <a:custGeom>
              <a:avLst/>
              <a:gdLst>
                <a:gd name="T0" fmla="*/ 845 w 1691"/>
                <a:gd name="T1" fmla="*/ 0 h 1691"/>
                <a:gd name="T2" fmla="*/ 943 w 1691"/>
                <a:gd name="T3" fmla="*/ 6 h 1691"/>
                <a:gd name="T4" fmla="*/ 1040 w 1691"/>
                <a:gd name="T5" fmla="*/ 24 h 1691"/>
                <a:gd name="T6" fmla="*/ 1130 w 1691"/>
                <a:gd name="T7" fmla="*/ 49 h 1691"/>
                <a:gd name="T8" fmla="*/ 1218 w 1691"/>
                <a:gd name="T9" fmla="*/ 87 h 1691"/>
                <a:gd name="T10" fmla="*/ 1298 w 1691"/>
                <a:gd name="T11" fmla="*/ 132 h 1691"/>
                <a:gd name="T12" fmla="*/ 1375 w 1691"/>
                <a:gd name="T13" fmla="*/ 187 h 1691"/>
                <a:gd name="T14" fmla="*/ 1444 w 1691"/>
                <a:gd name="T15" fmla="*/ 249 h 1691"/>
                <a:gd name="T16" fmla="*/ 1504 w 1691"/>
                <a:gd name="T17" fmla="*/ 318 h 1691"/>
                <a:gd name="T18" fmla="*/ 1559 w 1691"/>
                <a:gd name="T19" fmla="*/ 393 h 1691"/>
                <a:gd name="T20" fmla="*/ 1604 w 1691"/>
                <a:gd name="T21" fmla="*/ 475 h 1691"/>
                <a:gd name="T22" fmla="*/ 1642 w 1691"/>
                <a:gd name="T23" fmla="*/ 561 h 1691"/>
                <a:gd name="T24" fmla="*/ 1669 w 1691"/>
                <a:gd name="T25" fmla="*/ 652 h 1691"/>
                <a:gd name="T26" fmla="*/ 1685 w 1691"/>
                <a:gd name="T27" fmla="*/ 748 h 1691"/>
                <a:gd name="T28" fmla="*/ 1691 w 1691"/>
                <a:gd name="T29" fmla="*/ 846 h 1691"/>
                <a:gd name="T30" fmla="*/ 1685 w 1691"/>
                <a:gd name="T31" fmla="*/ 944 h 1691"/>
                <a:gd name="T32" fmla="*/ 1669 w 1691"/>
                <a:gd name="T33" fmla="*/ 1040 h 1691"/>
                <a:gd name="T34" fmla="*/ 1642 w 1691"/>
                <a:gd name="T35" fmla="*/ 1130 h 1691"/>
                <a:gd name="T36" fmla="*/ 1604 w 1691"/>
                <a:gd name="T37" fmla="*/ 1219 h 1691"/>
                <a:gd name="T38" fmla="*/ 1559 w 1691"/>
                <a:gd name="T39" fmla="*/ 1299 h 1691"/>
                <a:gd name="T40" fmla="*/ 1504 w 1691"/>
                <a:gd name="T41" fmla="*/ 1376 h 1691"/>
                <a:gd name="T42" fmla="*/ 1444 w 1691"/>
                <a:gd name="T43" fmla="*/ 1444 h 1691"/>
                <a:gd name="T44" fmla="*/ 1375 w 1691"/>
                <a:gd name="T45" fmla="*/ 1505 h 1691"/>
                <a:gd name="T46" fmla="*/ 1298 w 1691"/>
                <a:gd name="T47" fmla="*/ 1560 h 1691"/>
                <a:gd name="T48" fmla="*/ 1218 w 1691"/>
                <a:gd name="T49" fmla="*/ 1605 h 1691"/>
                <a:gd name="T50" fmla="*/ 1130 w 1691"/>
                <a:gd name="T51" fmla="*/ 1642 h 1691"/>
                <a:gd name="T52" fmla="*/ 1040 w 1691"/>
                <a:gd name="T53" fmla="*/ 1670 h 1691"/>
                <a:gd name="T54" fmla="*/ 943 w 1691"/>
                <a:gd name="T55" fmla="*/ 1686 h 1691"/>
                <a:gd name="T56" fmla="*/ 845 w 1691"/>
                <a:gd name="T57" fmla="*/ 1691 h 1691"/>
                <a:gd name="T58" fmla="*/ 747 w 1691"/>
                <a:gd name="T59" fmla="*/ 1686 h 1691"/>
                <a:gd name="T60" fmla="*/ 651 w 1691"/>
                <a:gd name="T61" fmla="*/ 1670 h 1691"/>
                <a:gd name="T62" fmla="*/ 561 w 1691"/>
                <a:gd name="T63" fmla="*/ 1642 h 1691"/>
                <a:gd name="T64" fmla="*/ 475 w 1691"/>
                <a:gd name="T65" fmla="*/ 1605 h 1691"/>
                <a:gd name="T66" fmla="*/ 392 w 1691"/>
                <a:gd name="T67" fmla="*/ 1560 h 1691"/>
                <a:gd name="T68" fmla="*/ 318 w 1691"/>
                <a:gd name="T69" fmla="*/ 1505 h 1691"/>
                <a:gd name="T70" fmla="*/ 247 w 1691"/>
                <a:gd name="T71" fmla="*/ 1444 h 1691"/>
                <a:gd name="T72" fmla="*/ 186 w 1691"/>
                <a:gd name="T73" fmla="*/ 1376 h 1691"/>
                <a:gd name="T74" fmla="*/ 131 w 1691"/>
                <a:gd name="T75" fmla="*/ 1299 h 1691"/>
                <a:gd name="T76" fmla="*/ 86 w 1691"/>
                <a:gd name="T77" fmla="*/ 1219 h 1691"/>
                <a:gd name="T78" fmla="*/ 49 w 1691"/>
                <a:gd name="T79" fmla="*/ 1130 h 1691"/>
                <a:gd name="T80" fmla="*/ 24 w 1691"/>
                <a:gd name="T81" fmla="*/ 1040 h 1691"/>
                <a:gd name="T82" fmla="*/ 6 w 1691"/>
                <a:gd name="T83" fmla="*/ 944 h 1691"/>
                <a:gd name="T84" fmla="*/ 0 w 1691"/>
                <a:gd name="T85" fmla="*/ 846 h 1691"/>
                <a:gd name="T86" fmla="*/ 6 w 1691"/>
                <a:gd name="T87" fmla="*/ 748 h 1691"/>
                <a:gd name="T88" fmla="*/ 24 w 1691"/>
                <a:gd name="T89" fmla="*/ 652 h 1691"/>
                <a:gd name="T90" fmla="*/ 49 w 1691"/>
                <a:gd name="T91" fmla="*/ 561 h 1691"/>
                <a:gd name="T92" fmla="*/ 86 w 1691"/>
                <a:gd name="T93" fmla="*/ 475 h 1691"/>
                <a:gd name="T94" fmla="*/ 131 w 1691"/>
                <a:gd name="T95" fmla="*/ 393 h 1691"/>
                <a:gd name="T96" fmla="*/ 186 w 1691"/>
                <a:gd name="T97" fmla="*/ 318 h 1691"/>
                <a:gd name="T98" fmla="*/ 247 w 1691"/>
                <a:gd name="T99" fmla="*/ 249 h 1691"/>
                <a:gd name="T100" fmla="*/ 318 w 1691"/>
                <a:gd name="T101" fmla="*/ 187 h 1691"/>
                <a:gd name="T102" fmla="*/ 392 w 1691"/>
                <a:gd name="T103" fmla="*/ 132 h 1691"/>
                <a:gd name="T104" fmla="*/ 475 w 1691"/>
                <a:gd name="T105" fmla="*/ 87 h 1691"/>
                <a:gd name="T106" fmla="*/ 561 w 1691"/>
                <a:gd name="T107" fmla="*/ 49 h 1691"/>
                <a:gd name="T108" fmla="*/ 651 w 1691"/>
                <a:gd name="T109" fmla="*/ 24 h 1691"/>
                <a:gd name="T110" fmla="*/ 747 w 1691"/>
                <a:gd name="T111" fmla="*/ 6 h 1691"/>
                <a:gd name="T112" fmla="*/ 845 w 1691"/>
                <a:gd name="T113" fmla="*/ 0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1" h="1691">
                  <a:moveTo>
                    <a:pt x="845" y="0"/>
                  </a:moveTo>
                  <a:lnTo>
                    <a:pt x="943" y="6"/>
                  </a:lnTo>
                  <a:lnTo>
                    <a:pt x="1040" y="24"/>
                  </a:lnTo>
                  <a:lnTo>
                    <a:pt x="1130" y="49"/>
                  </a:lnTo>
                  <a:lnTo>
                    <a:pt x="1218" y="87"/>
                  </a:lnTo>
                  <a:lnTo>
                    <a:pt x="1298" y="132"/>
                  </a:lnTo>
                  <a:lnTo>
                    <a:pt x="1375" y="187"/>
                  </a:lnTo>
                  <a:lnTo>
                    <a:pt x="1444" y="249"/>
                  </a:lnTo>
                  <a:lnTo>
                    <a:pt x="1504" y="318"/>
                  </a:lnTo>
                  <a:lnTo>
                    <a:pt x="1559" y="393"/>
                  </a:lnTo>
                  <a:lnTo>
                    <a:pt x="1604" y="475"/>
                  </a:lnTo>
                  <a:lnTo>
                    <a:pt x="1642" y="561"/>
                  </a:lnTo>
                  <a:lnTo>
                    <a:pt x="1669" y="652"/>
                  </a:lnTo>
                  <a:lnTo>
                    <a:pt x="1685" y="748"/>
                  </a:lnTo>
                  <a:lnTo>
                    <a:pt x="1691" y="846"/>
                  </a:lnTo>
                  <a:lnTo>
                    <a:pt x="1685" y="944"/>
                  </a:lnTo>
                  <a:lnTo>
                    <a:pt x="1669" y="1040"/>
                  </a:lnTo>
                  <a:lnTo>
                    <a:pt x="1642" y="1130"/>
                  </a:lnTo>
                  <a:lnTo>
                    <a:pt x="1604" y="1219"/>
                  </a:lnTo>
                  <a:lnTo>
                    <a:pt x="1559" y="1299"/>
                  </a:lnTo>
                  <a:lnTo>
                    <a:pt x="1504" y="1376"/>
                  </a:lnTo>
                  <a:lnTo>
                    <a:pt x="1444" y="1444"/>
                  </a:lnTo>
                  <a:lnTo>
                    <a:pt x="1375" y="1505"/>
                  </a:lnTo>
                  <a:lnTo>
                    <a:pt x="1298" y="1560"/>
                  </a:lnTo>
                  <a:lnTo>
                    <a:pt x="1218" y="1605"/>
                  </a:lnTo>
                  <a:lnTo>
                    <a:pt x="1130" y="1642"/>
                  </a:lnTo>
                  <a:lnTo>
                    <a:pt x="1040" y="1670"/>
                  </a:lnTo>
                  <a:lnTo>
                    <a:pt x="943" y="1686"/>
                  </a:lnTo>
                  <a:lnTo>
                    <a:pt x="845" y="1691"/>
                  </a:lnTo>
                  <a:lnTo>
                    <a:pt x="747" y="1686"/>
                  </a:lnTo>
                  <a:lnTo>
                    <a:pt x="651" y="1670"/>
                  </a:lnTo>
                  <a:lnTo>
                    <a:pt x="561" y="1642"/>
                  </a:lnTo>
                  <a:lnTo>
                    <a:pt x="475" y="1605"/>
                  </a:lnTo>
                  <a:lnTo>
                    <a:pt x="392" y="1560"/>
                  </a:lnTo>
                  <a:lnTo>
                    <a:pt x="318" y="1505"/>
                  </a:lnTo>
                  <a:lnTo>
                    <a:pt x="247" y="1444"/>
                  </a:lnTo>
                  <a:lnTo>
                    <a:pt x="186" y="1376"/>
                  </a:lnTo>
                  <a:lnTo>
                    <a:pt x="131" y="1299"/>
                  </a:lnTo>
                  <a:lnTo>
                    <a:pt x="86" y="1219"/>
                  </a:lnTo>
                  <a:lnTo>
                    <a:pt x="49" y="1130"/>
                  </a:lnTo>
                  <a:lnTo>
                    <a:pt x="24" y="1040"/>
                  </a:lnTo>
                  <a:lnTo>
                    <a:pt x="6" y="944"/>
                  </a:lnTo>
                  <a:lnTo>
                    <a:pt x="0" y="846"/>
                  </a:lnTo>
                  <a:lnTo>
                    <a:pt x="6" y="748"/>
                  </a:lnTo>
                  <a:lnTo>
                    <a:pt x="24" y="652"/>
                  </a:lnTo>
                  <a:lnTo>
                    <a:pt x="49" y="561"/>
                  </a:lnTo>
                  <a:lnTo>
                    <a:pt x="86" y="475"/>
                  </a:lnTo>
                  <a:lnTo>
                    <a:pt x="131" y="393"/>
                  </a:lnTo>
                  <a:lnTo>
                    <a:pt x="186" y="318"/>
                  </a:lnTo>
                  <a:lnTo>
                    <a:pt x="247" y="249"/>
                  </a:lnTo>
                  <a:lnTo>
                    <a:pt x="318" y="187"/>
                  </a:lnTo>
                  <a:lnTo>
                    <a:pt x="392" y="132"/>
                  </a:lnTo>
                  <a:lnTo>
                    <a:pt x="475" y="87"/>
                  </a:lnTo>
                  <a:lnTo>
                    <a:pt x="561" y="49"/>
                  </a:lnTo>
                  <a:lnTo>
                    <a:pt x="651" y="24"/>
                  </a:lnTo>
                  <a:lnTo>
                    <a:pt x="747" y="6"/>
                  </a:lnTo>
                  <a:lnTo>
                    <a:pt x="845" y="0"/>
                  </a:lnTo>
                  <a:close/>
                </a:path>
              </a:pathLst>
            </a:custGeom>
            <a:solidFill>
              <a:srgbClr val="6FC2B4"/>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1607">
              <a:extLst>
                <a:ext uri="{FF2B5EF4-FFF2-40B4-BE49-F238E27FC236}">
                  <a16:creationId xmlns:a16="http://schemas.microsoft.com/office/drawing/2014/main" id="{7F3C1B85-06F1-0F48-AD2C-D2188FCD2064}"/>
                </a:ext>
              </a:extLst>
            </p:cNvPr>
            <p:cNvSpPr>
              <a:spLocks noEditPoints="1"/>
            </p:cNvSpPr>
            <p:nvPr/>
          </p:nvSpPr>
          <p:spPr bwMode="auto">
            <a:xfrm>
              <a:off x="5504554" y="3350598"/>
              <a:ext cx="1238250" cy="1238250"/>
            </a:xfrm>
            <a:custGeom>
              <a:avLst/>
              <a:gdLst>
                <a:gd name="T0" fmla="*/ 639 w 1559"/>
                <a:gd name="T1" fmla="*/ 77 h 1560"/>
                <a:gd name="T2" fmla="*/ 435 w 1559"/>
                <a:gd name="T3" fmla="*/ 151 h 1560"/>
                <a:gd name="T4" fmla="*/ 325 w 1559"/>
                <a:gd name="T5" fmla="*/ 226 h 1560"/>
                <a:gd name="T6" fmla="*/ 182 w 1559"/>
                <a:gd name="T7" fmla="*/ 385 h 1560"/>
                <a:gd name="T8" fmla="*/ 119 w 1559"/>
                <a:gd name="T9" fmla="*/ 500 h 1560"/>
                <a:gd name="T10" fmla="*/ 68 w 1559"/>
                <a:gd name="T11" fmla="*/ 702 h 1560"/>
                <a:gd name="T12" fmla="*/ 68 w 1559"/>
                <a:gd name="T13" fmla="*/ 855 h 1560"/>
                <a:gd name="T14" fmla="*/ 119 w 1559"/>
                <a:gd name="T15" fmla="*/ 1057 h 1560"/>
                <a:gd name="T16" fmla="*/ 225 w 1559"/>
                <a:gd name="T17" fmla="*/ 1232 h 1560"/>
                <a:gd name="T18" fmla="*/ 374 w 1559"/>
                <a:gd name="T19" fmla="*/ 1369 h 1560"/>
                <a:gd name="T20" fmla="*/ 500 w 1559"/>
                <a:gd name="T21" fmla="*/ 1438 h 1560"/>
                <a:gd name="T22" fmla="*/ 641 w 1559"/>
                <a:gd name="T23" fmla="*/ 1481 h 1560"/>
                <a:gd name="T24" fmla="*/ 855 w 1559"/>
                <a:gd name="T25" fmla="*/ 1491 h 1560"/>
                <a:gd name="T26" fmla="*/ 988 w 1559"/>
                <a:gd name="T27" fmla="*/ 1464 h 1560"/>
                <a:gd name="T28" fmla="*/ 1184 w 1559"/>
                <a:gd name="T29" fmla="*/ 1369 h 1560"/>
                <a:gd name="T30" fmla="*/ 1284 w 1559"/>
                <a:gd name="T31" fmla="*/ 1285 h 1560"/>
                <a:gd name="T32" fmla="*/ 1369 w 1559"/>
                <a:gd name="T33" fmla="*/ 1185 h 1560"/>
                <a:gd name="T34" fmla="*/ 1463 w 1559"/>
                <a:gd name="T35" fmla="*/ 989 h 1560"/>
                <a:gd name="T36" fmla="*/ 1490 w 1559"/>
                <a:gd name="T37" fmla="*/ 855 h 1560"/>
                <a:gd name="T38" fmla="*/ 1481 w 1559"/>
                <a:gd name="T39" fmla="*/ 642 h 1560"/>
                <a:gd name="T40" fmla="*/ 1437 w 1559"/>
                <a:gd name="T41" fmla="*/ 500 h 1560"/>
                <a:gd name="T42" fmla="*/ 1369 w 1559"/>
                <a:gd name="T43" fmla="*/ 375 h 1560"/>
                <a:gd name="T44" fmla="*/ 1231 w 1559"/>
                <a:gd name="T45" fmla="*/ 226 h 1560"/>
                <a:gd name="T46" fmla="*/ 1057 w 1559"/>
                <a:gd name="T47" fmla="*/ 120 h 1560"/>
                <a:gd name="T48" fmla="*/ 855 w 1559"/>
                <a:gd name="T49" fmla="*/ 69 h 1560"/>
                <a:gd name="T50" fmla="*/ 739 w 1559"/>
                <a:gd name="T51" fmla="*/ 0 h 1560"/>
                <a:gd name="T52" fmla="*/ 929 w 1559"/>
                <a:gd name="T53" fmla="*/ 14 h 1560"/>
                <a:gd name="T54" fmla="*/ 1082 w 1559"/>
                <a:gd name="T55" fmla="*/ 61 h 1560"/>
                <a:gd name="T56" fmla="*/ 1220 w 1559"/>
                <a:gd name="T57" fmla="*/ 137 h 1560"/>
                <a:gd name="T58" fmla="*/ 1379 w 1559"/>
                <a:gd name="T59" fmla="*/ 281 h 1560"/>
                <a:gd name="T60" fmla="*/ 1465 w 1559"/>
                <a:gd name="T61" fmla="*/ 410 h 1560"/>
                <a:gd name="T62" fmla="*/ 1539 w 1559"/>
                <a:gd name="T63" fmla="*/ 616 h 1560"/>
                <a:gd name="T64" fmla="*/ 1559 w 1559"/>
                <a:gd name="T65" fmla="*/ 779 h 1560"/>
                <a:gd name="T66" fmla="*/ 1539 w 1559"/>
                <a:gd name="T67" fmla="*/ 942 h 1560"/>
                <a:gd name="T68" fmla="*/ 1465 w 1559"/>
                <a:gd name="T69" fmla="*/ 1148 h 1560"/>
                <a:gd name="T70" fmla="*/ 1379 w 1559"/>
                <a:gd name="T71" fmla="*/ 1277 h 1560"/>
                <a:gd name="T72" fmla="*/ 1220 w 1559"/>
                <a:gd name="T73" fmla="*/ 1422 h 1560"/>
                <a:gd name="T74" fmla="*/ 1082 w 1559"/>
                <a:gd name="T75" fmla="*/ 1497 h 1560"/>
                <a:gd name="T76" fmla="*/ 929 w 1559"/>
                <a:gd name="T77" fmla="*/ 1544 h 1560"/>
                <a:gd name="T78" fmla="*/ 702 w 1559"/>
                <a:gd name="T79" fmla="*/ 1556 h 1560"/>
                <a:gd name="T80" fmla="*/ 543 w 1559"/>
                <a:gd name="T81" fmla="*/ 1522 h 1560"/>
                <a:gd name="T82" fmla="*/ 349 w 1559"/>
                <a:gd name="T83" fmla="*/ 1428 h 1560"/>
                <a:gd name="T84" fmla="*/ 227 w 1559"/>
                <a:gd name="T85" fmla="*/ 1330 h 1560"/>
                <a:gd name="T86" fmla="*/ 129 w 1559"/>
                <a:gd name="T87" fmla="*/ 1210 h 1560"/>
                <a:gd name="T88" fmla="*/ 35 w 1559"/>
                <a:gd name="T89" fmla="*/ 1014 h 1560"/>
                <a:gd name="T90" fmla="*/ 4 w 1559"/>
                <a:gd name="T91" fmla="*/ 855 h 1560"/>
                <a:gd name="T92" fmla="*/ 4 w 1559"/>
                <a:gd name="T93" fmla="*/ 702 h 1560"/>
                <a:gd name="T94" fmla="*/ 35 w 1559"/>
                <a:gd name="T95" fmla="*/ 543 h 1560"/>
                <a:gd name="T96" fmla="*/ 129 w 1559"/>
                <a:gd name="T97" fmla="*/ 349 h 1560"/>
                <a:gd name="T98" fmla="*/ 227 w 1559"/>
                <a:gd name="T99" fmla="*/ 228 h 1560"/>
                <a:gd name="T100" fmla="*/ 349 w 1559"/>
                <a:gd name="T101" fmla="*/ 130 h 1560"/>
                <a:gd name="T102" fmla="*/ 543 w 1559"/>
                <a:gd name="T103" fmla="*/ 35 h 1560"/>
                <a:gd name="T104" fmla="*/ 702 w 1559"/>
                <a:gd name="T105" fmla="*/ 4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9" h="1560">
                  <a:moveTo>
                    <a:pt x="739" y="65"/>
                  </a:moveTo>
                  <a:lnTo>
                    <a:pt x="702" y="69"/>
                  </a:lnTo>
                  <a:lnTo>
                    <a:pt x="639" y="77"/>
                  </a:lnTo>
                  <a:lnTo>
                    <a:pt x="569" y="94"/>
                  </a:lnTo>
                  <a:lnTo>
                    <a:pt x="500" y="120"/>
                  </a:lnTo>
                  <a:lnTo>
                    <a:pt x="435" y="151"/>
                  </a:lnTo>
                  <a:lnTo>
                    <a:pt x="384" y="182"/>
                  </a:lnTo>
                  <a:lnTo>
                    <a:pt x="384" y="182"/>
                  </a:lnTo>
                  <a:lnTo>
                    <a:pt x="325" y="226"/>
                  </a:lnTo>
                  <a:lnTo>
                    <a:pt x="272" y="273"/>
                  </a:lnTo>
                  <a:lnTo>
                    <a:pt x="225" y="326"/>
                  </a:lnTo>
                  <a:lnTo>
                    <a:pt x="182" y="385"/>
                  </a:lnTo>
                  <a:lnTo>
                    <a:pt x="182" y="385"/>
                  </a:lnTo>
                  <a:lnTo>
                    <a:pt x="151" y="436"/>
                  </a:lnTo>
                  <a:lnTo>
                    <a:pt x="119" y="500"/>
                  </a:lnTo>
                  <a:lnTo>
                    <a:pt x="94" y="569"/>
                  </a:lnTo>
                  <a:lnTo>
                    <a:pt x="76" y="640"/>
                  </a:lnTo>
                  <a:lnTo>
                    <a:pt x="68" y="702"/>
                  </a:lnTo>
                  <a:lnTo>
                    <a:pt x="64" y="740"/>
                  </a:lnTo>
                  <a:lnTo>
                    <a:pt x="64" y="818"/>
                  </a:lnTo>
                  <a:lnTo>
                    <a:pt x="68" y="855"/>
                  </a:lnTo>
                  <a:lnTo>
                    <a:pt x="76" y="918"/>
                  </a:lnTo>
                  <a:lnTo>
                    <a:pt x="94" y="989"/>
                  </a:lnTo>
                  <a:lnTo>
                    <a:pt x="119" y="1057"/>
                  </a:lnTo>
                  <a:lnTo>
                    <a:pt x="151" y="1122"/>
                  </a:lnTo>
                  <a:lnTo>
                    <a:pt x="182" y="1175"/>
                  </a:lnTo>
                  <a:lnTo>
                    <a:pt x="225" y="1232"/>
                  </a:lnTo>
                  <a:lnTo>
                    <a:pt x="272" y="1285"/>
                  </a:lnTo>
                  <a:lnTo>
                    <a:pt x="325" y="1334"/>
                  </a:lnTo>
                  <a:lnTo>
                    <a:pt x="374" y="1369"/>
                  </a:lnTo>
                  <a:lnTo>
                    <a:pt x="374" y="1369"/>
                  </a:lnTo>
                  <a:lnTo>
                    <a:pt x="435" y="1407"/>
                  </a:lnTo>
                  <a:lnTo>
                    <a:pt x="500" y="1438"/>
                  </a:lnTo>
                  <a:lnTo>
                    <a:pt x="569" y="1464"/>
                  </a:lnTo>
                  <a:lnTo>
                    <a:pt x="641" y="1481"/>
                  </a:lnTo>
                  <a:lnTo>
                    <a:pt x="641" y="1481"/>
                  </a:lnTo>
                  <a:lnTo>
                    <a:pt x="702" y="1491"/>
                  </a:lnTo>
                  <a:lnTo>
                    <a:pt x="778" y="1495"/>
                  </a:lnTo>
                  <a:lnTo>
                    <a:pt x="855" y="1491"/>
                  </a:lnTo>
                  <a:lnTo>
                    <a:pt x="916" y="1481"/>
                  </a:lnTo>
                  <a:lnTo>
                    <a:pt x="916" y="1481"/>
                  </a:lnTo>
                  <a:lnTo>
                    <a:pt x="988" y="1464"/>
                  </a:lnTo>
                  <a:lnTo>
                    <a:pt x="1057" y="1438"/>
                  </a:lnTo>
                  <a:lnTo>
                    <a:pt x="1122" y="1407"/>
                  </a:lnTo>
                  <a:lnTo>
                    <a:pt x="1184" y="1369"/>
                  </a:lnTo>
                  <a:lnTo>
                    <a:pt x="1184" y="1369"/>
                  </a:lnTo>
                  <a:lnTo>
                    <a:pt x="1231" y="1334"/>
                  </a:lnTo>
                  <a:lnTo>
                    <a:pt x="1284" y="1285"/>
                  </a:lnTo>
                  <a:lnTo>
                    <a:pt x="1333" y="1232"/>
                  </a:lnTo>
                  <a:lnTo>
                    <a:pt x="1369" y="1185"/>
                  </a:lnTo>
                  <a:lnTo>
                    <a:pt x="1369" y="1185"/>
                  </a:lnTo>
                  <a:lnTo>
                    <a:pt x="1406" y="1122"/>
                  </a:lnTo>
                  <a:lnTo>
                    <a:pt x="1437" y="1057"/>
                  </a:lnTo>
                  <a:lnTo>
                    <a:pt x="1463" y="989"/>
                  </a:lnTo>
                  <a:lnTo>
                    <a:pt x="1481" y="916"/>
                  </a:lnTo>
                  <a:lnTo>
                    <a:pt x="1481" y="916"/>
                  </a:lnTo>
                  <a:lnTo>
                    <a:pt x="1490" y="855"/>
                  </a:lnTo>
                  <a:lnTo>
                    <a:pt x="1494" y="779"/>
                  </a:lnTo>
                  <a:lnTo>
                    <a:pt x="1490" y="702"/>
                  </a:lnTo>
                  <a:lnTo>
                    <a:pt x="1481" y="642"/>
                  </a:lnTo>
                  <a:lnTo>
                    <a:pt x="1481" y="642"/>
                  </a:lnTo>
                  <a:lnTo>
                    <a:pt x="1463" y="569"/>
                  </a:lnTo>
                  <a:lnTo>
                    <a:pt x="1437" y="500"/>
                  </a:lnTo>
                  <a:lnTo>
                    <a:pt x="1406" y="436"/>
                  </a:lnTo>
                  <a:lnTo>
                    <a:pt x="1369" y="375"/>
                  </a:lnTo>
                  <a:lnTo>
                    <a:pt x="1369" y="375"/>
                  </a:lnTo>
                  <a:lnTo>
                    <a:pt x="1333" y="326"/>
                  </a:lnTo>
                  <a:lnTo>
                    <a:pt x="1284" y="273"/>
                  </a:lnTo>
                  <a:lnTo>
                    <a:pt x="1231" y="226"/>
                  </a:lnTo>
                  <a:lnTo>
                    <a:pt x="1175" y="182"/>
                  </a:lnTo>
                  <a:lnTo>
                    <a:pt x="1122" y="151"/>
                  </a:lnTo>
                  <a:lnTo>
                    <a:pt x="1057" y="120"/>
                  </a:lnTo>
                  <a:lnTo>
                    <a:pt x="988" y="94"/>
                  </a:lnTo>
                  <a:lnTo>
                    <a:pt x="918" y="77"/>
                  </a:lnTo>
                  <a:lnTo>
                    <a:pt x="855" y="69"/>
                  </a:lnTo>
                  <a:lnTo>
                    <a:pt x="818" y="65"/>
                  </a:lnTo>
                  <a:lnTo>
                    <a:pt x="739" y="65"/>
                  </a:lnTo>
                  <a:close/>
                  <a:moveTo>
                    <a:pt x="739" y="0"/>
                  </a:moveTo>
                  <a:lnTo>
                    <a:pt x="818" y="0"/>
                  </a:lnTo>
                  <a:lnTo>
                    <a:pt x="855" y="4"/>
                  </a:lnTo>
                  <a:lnTo>
                    <a:pt x="929" y="14"/>
                  </a:lnTo>
                  <a:lnTo>
                    <a:pt x="941" y="18"/>
                  </a:lnTo>
                  <a:lnTo>
                    <a:pt x="1014" y="35"/>
                  </a:lnTo>
                  <a:lnTo>
                    <a:pt x="1082" y="61"/>
                  </a:lnTo>
                  <a:lnTo>
                    <a:pt x="1147" y="92"/>
                  </a:lnTo>
                  <a:lnTo>
                    <a:pt x="1210" y="130"/>
                  </a:lnTo>
                  <a:lnTo>
                    <a:pt x="1220" y="137"/>
                  </a:lnTo>
                  <a:lnTo>
                    <a:pt x="1277" y="181"/>
                  </a:lnTo>
                  <a:lnTo>
                    <a:pt x="1330" y="228"/>
                  </a:lnTo>
                  <a:lnTo>
                    <a:pt x="1379" y="281"/>
                  </a:lnTo>
                  <a:lnTo>
                    <a:pt x="1422" y="339"/>
                  </a:lnTo>
                  <a:lnTo>
                    <a:pt x="1428" y="349"/>
                  </a:lnTo>
                  <a:lnTo>
                    <a:pt x="1465" y="410"/>
                  </a:lnTo>
                  <a:lnTo>
                    <a:pt x="1496" y="475"/>
                  </a:lnTo>
                  <a:lnTo>
                    <a:pt x="1522" y="543"/>
                  </a:lnTo>
                  <a:lnTo>
                    <a:pt x="1539" y="616"/>
                  </a:lnTo>
                  <a:lnTo>
                    <a:pt x="1543" y="628"/>
                  </a:lnTo>
                  <a:lnTo>
                    <a:pt x="1555" y="702"/>
                  </a:lnTo>
                  <a:lnTo>
                    <a:pt x="1559" y="779"/>
                  </a:lnTo>
                  <a:lnTo>
                    <a:pt x="1555" y="855"/>
                  </a:lnTo>
                  <a:lnTo>
                    <a:pt x="1543" y="930"/>
                  </a:lnTo>
                  <a:lnTo>
                    <a:pt x="1539" y="942"/>
                  </a:lnTo>
                  <a:lnTo>
                    <a:pt x="1522" y="1014"/>
                  </a:lnTo>
                  <a:lnTo>
                    <a:pt x="1496" y="1083"/>
                  </a:lnTo>
                  <a:lnTo>
                    <a:pt x="1465" y="1148"/>
                  </a:lnTo>
                  <a:lnTo>
                    <a:pt x="1428" y="1210"/>
                  </a:lnTo>
                  <a:lnTo>
                    <a:pt x="1422" y="1220"/>
                  </a:lnTo>
                  <a:lnTo>
                    <a:pt x="1379" y="1277"/>
                  </a:lnTo>
                  <a:lnTo>
                    <a:pt x="1330" y="1330"/>
                  </a:lnTo>
                  <a:lnTo>
                    <a:pt x="1277" y="1379"/>
                  </a:lnTo>
                  <a:lnTo>
                    <a:pt x="1220" y="1422"/>
                  </a:lnTo>
                  <a:lnTo>
                    <a:pt x="1210" y="1428"/>
                  </a:lnTo>
                  <a:lnTo>
                    <a:pt x="1147" y="1466"/>
                  </a:lnTo>
                  <a:lnTo>
                    <a:pt x="1082" y="1497"/>
                  </a:lnTo>
                  <a:lnTo>
                    <a:pt x="1014" y="1522"/>
                  </a:lnTo>
                  <a:lnTo>
                    <a:pt x="941" y="1540"/>
                  </a:lnTo>
                  <a:lnTo>
                    <a:pt x="929" y="1544"/>
                  </a:lnTo>
                  <a:lnTo>
                    <a:pt x="855" y="1556"/>
                  </a:lnTo>
                  <a:lnTo>
                    <a:pt x="778" y="1560"/>
                  </a:lnTo>
                  <a:lnTo>
                    <a:pt x="702" y="1556"/>
                  </a:lnTo>
                  <a:lnTo>
                    <a:pt x="627" y="1544"/>
                  </a:lnTo>
                  <a:lnTo>
                    <a:pt x="616" y="1540"/>
                  </a:lnTo>
                  <a:lnTo>
                    <a:pt x="543" y="1522"/>
                  </a:lnTo>
                  <a:lnTo>
                    <a:pt x="474" y="1497"/>
                  </a:lnTo>
                  <a:lnTo>
                    <a:pt x="410" y="1466"/>
                  </a:lnTo>
                  <a:lnTo>
                    <a:pt x="349" y="1428"/>
                  </a:lnTo>
                  <a:lnTo>
                    <a:pt x="339" y="1422"/>
                  </a:lnTo>
                  <a:lnTo>
                    <a:pt x="280" y="1379"/>
                  </a:lnTo>
                  <a:lnTo>
                    <a:pt x="227" y="1330"/>
                  </a:lnTo>
                  <a:lnTo>
                    <a:pt x="180" y="1277"/>
                  </a:lnTo>
                  <a:lnTo>
                    <a:pt x="137" y="1220"/>
                  </a:lnTo>
                  <a:lnTo>
                    <a:pt x="129" y="1210"/>
                  </a:lnTo>
                  <a:lnTo>
                    <a:pt x="92" y="1148"/>
                  </a:lnTo>
                  <a:lnTo>
                    <a:pt x="61" y="1083"/>
                  </a:lnTo>
                  <a:lnTo>
                    <a:pt x="35" y="1014"/>
                  </a:lnTo>
                  <a:lnTo>
                    <a:pt x="17" y="942"/>
                  </a:lnTo>
                  <a:lnTo>
                    <a:pt x="13" y="930"/>
                  </a:lnTo>
                  <a:lnTo>
                    <a:pt x="4" y="855"/>
                  </a:lnTo>
                  <a:lnTo>
                    <a:pt x="0" y="818"/>
                  </a:lnTo>
                  <a:lnTo>
                    <a:pt x="0" y="740"/>
                  </a:lnTo>
                  <a:lnTo>
                    <a:pt x="4" y="702"/>
                  </a:lnTo>
                  <a:lnTo>
                    <a:pt x="13" y="628"/>
                  </a:lnTo>
                  <a:lnTo>
                    <a:pt x="17" y="616"/>
                  </a:lnTo>
                  <a:lnTo>
                    <a:pt x="35" y="543"/>
                  </a:lnTo>
                  <a:lnTo>
                    <a:pt x="61" y="475"/>
                  </a:lnTo>
                  <a:lnTo>
                    <a:pt x="92" y="410"/>
                  </a:lnTo>
                  <a:lnTo>
                    <a:pt x="129" y="349"/>
                  </a:lnTo>
                  <a:lnTo>
                    <a:pt x="137" y="339"/>
                  </a:lnTo>
                  <a:lnTo>
                    <a:pt x="180" y="281"/>
                  </a:lnTo>
                  <a:lnTo>
                    <a:pt x="227" y="228"/>
                  </a:lnTo>
                  <a:lnTo>
                    <a:pt x="280" y="181"/>
                  </a:lnTo>
                  <a:lnTo>
                    <a:pt x="339" y="137"/>
                  </a:lnTo>
                  <a:lnTo>
                    <a:pt x="349" y="130"/>
                  </a:lnTo>
                  <a:lnTo>
                    <a:pt x="410" y="92"/>
                  </a:lnTo>
                  <a:lnTo>
                    <a:pt x="474" y="61"/>
                  </a:lnTo>
                  <a:lnTo>
                    <a:pt x="543" y="35"/>
                  </a:lnTo>
                  <a:lnTo>
                    <a:pt x="616" y="18"/>
                  </a:lnTo>
                  <a:lnTo>
                    <a:pt x="627" y="14"/>
                  </a:lnTo>
                  <a:lnTo>
                    <a:pt x="702" y="4"/>
                  </a:lnTo>
                  <a:lnTo>
                    <a:pt x="739" y="0"/>
                  </a:lnTo>
                  <a:close/>
                </a:path>
              </a:pathLst>
            </a:custGeom>
            <a:solidFill>
              <a:schemeClr val="accent5">
                <a:lumMod val="75000"/>
              </a:schemeClr>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1608">
              <a:extLst>
                <a:ext uri="{FF2B5EF4-FFF2-40B4-BE49-F238E27FC236}">
                  <a16:creationId xmlns:a16="http://schemas.microsoft.com/office/drawing/2014/main" id="{42E1B99E-BBC8-A545-A2FD-1BA54354D60E}"/>
                </a:ext>
              </a:extLst>
            </p:cNvPr>
            <p:cNvSpPr>
              <a:spLocks/>
            </p:cNvSpPr>
            <p:nvPr/>
          </p:nvSpPr>
          <p:spPr bwMode="auto">
            <a:xfrm>
              <a:off x="2893117" y="3347423"/>
              <a:ext cx="1065213" cy="1065212"/>
            </a:xfrm>
            <a:custGeom>
              <a:avLst/>
              <a:gdLst>
                <a:gd name="T0" fmla="*/ 670 w 1341"/>
                <a:gd name="T1" fmla="*/ 0 h 1342"/>
                <a:gd name="T2" fmla="*/ 761 w 1341"/>
                <a:gd name="T3" fmla="*/ 6 h 1342"/>
                <a:gd name="T4" fmla="*/ 849 w 1341"/>
                <a:gd name="T5" fmla="*/ 24 h 1342"/>
                <a:gd name="T6" fmla="*/ 931 w 1341"/>
                <a:gd name="T7" fmla="*/ 53 h 1342"/>
                <a:gd name="T8" fmla="*/ 1008 w 1341"/>
                <a:gd name="T9" fmla="*/ 92 h 1342"/>
                <a:gd name="T10" fmla="*/ 1080 w 1341"/>
                <a:gd name="T11" fmla="*/ 139 h 1342"/>
                <a:gd name="T12" fmla="*/ 1145 w 1341"/>
                <a:gd name="T13" fmla="*/ 196 h 1342"/>
                <a:gd name="T14" fmla="*/ 1200 w 1341"/>
                <a:gd name="T15" fmla="*/ 261 h 1342"/>
                <a:gd name="T16" fmla="*/ 1249 w 1341"/>
                <a:gd name="T17" fmla="*/ 332 h 1342"/>
                <a:gd name="T18" fmla="*/ 1288 w 1341"/>
                <a:gd name="T19" fmla="*/ 410 h 1342"/>
                <a:gd name="T20" fmla="*/ 1316 w 1341"/>
                <a:gd name="T21" fmla="*/ 493 h 1342"/>
                <a:gd name="T22" fmla="*/ 1335 w 1341"/>
                <a:gd name="T23" fmla="*/ 581 h 1342"/>
                <a:gd name="T24" fmla="*/ 1341 w 1341"/>
                <a:gd name="T25" fmla="*/ 671 h 1342"/>
                <a:gd name="T26" fmla="*/ 1335 w 1341"/>
                <a:gd name="T27" fmla="*/ 761 h 1342"/>
                <a:gd name="T28" fmla="*/ 1316 w 1341"/>
                <a:gd name="T29" fmla="*/ 850 h 1342"/>
                <a:gd name="T30" fmla="*/ 1288 w 1341"/>
                <a:gd name="T31" fmla="*/ 932 h 1342"/>
                <a:gd name="T32" fmla="*/ 1249 w 1341"/>
                <a:gd name="T33" fmla="*/ 1008 h 1342"/>
                <a:gd name="T34" fmla="*/ 1200 w 1341"/>
                <a:gd name="T35" fmla="*/ 1081 h 1342"/>
                <a:gd name="T36" fmla="*/ 1145 w 1341"/>
                <a:gd name="T37" fmla="*/ 1146 h 1342"/>
                <a:gd name="T38" fmla="*/ 1080 w 1341"/>
                <a:gd name="T39" fmla="*/ 1203 h 1342"/>
                <a:gd name="T40" fmla="*/ 1008 w 1341"/>
                <a:gd name="T41" fmla="*/ 1250 h 1342"/>
                <a:gd name="T42" fmla="*/ 931 w 1341"/>
                <a:gd name="T43" fmla="*/ 1289 h 1342"/>
                <a:gd name="T44" fmla="*/ 849 w 1341"/>
                <a:gd name="T45" fmla="*/ 1318 h 1342"/>
                <a:gd name="T46" fmla="*/ 761 w 1341"/>
                <a:gd name="T47" fmla="*/ 1336 h 1342"/>
                <a:gd name="T48" fmla="*/ 670 w 1341"/>
                <a:gd name="T49" fmla="*/ 1342 h 1342"/>
                <a:gd name="T50" fmla="*/ 578 w 1341"/>
                <a:gd name="T51" fmla="*/ 1336 h 1342"/>
                <a:gd name="T52" fmla="*/ 492 w 1341"/>
                <a:gd name="T53" fmla="*/ 1318 h 1342"/>
                <a:gd name="T54" fmla="*/ 410 w 1341"/>
                <a:gd name="T55" fmla="*/ 1289 h 1342"/>
                <a:gd name="T56" fmla="*/ 331 w 1341"/>
                <a:gd name="T57" fmla="*/ 1250 h 1342"/>
                <a:gd name="T58" fmla="*/ 260 w 1341"/>
                <a:gd name="T59" fmla="*/ 1203 h 1342"/>
                <a:gd name="T60" fmla="*/ 196 w 1341"/>
                <a:gd name="T61" fmla="*/ 1146 h 1342"/>
                <a:gd name="T62" fmla="*/ 139 w 1341"/>
                <a:gd name="T63" fmla="*/ 1081 h 1342"/>
                <a:gd name="T64" fmla="*/ 92 w 1341"/>
                <a:gd name="T65" fmla="*/ 1008 h 1342"/>
                <a:gd name="T66" fmla="*/ 53 w 1341"/>
                <a:gd name="T67" fmla="*/ 932 h 1342"/>
                <a:gd name="T68" fmla="*/ 23 w 1341"/>
                <a:gd name="T69" fmla="*/ 850 h 1342"/>
                <a:gd name="T70" fmla="*/ 6 w 1341"/>
                <a:gd name="T71" fmla="*/ 761 h 1342"/>
                <a:gd name="T72" fmla="*/ 0 w 1341"/>
                <a:gd name="T73" fmla="*/ 671 h 1342"/>
                <a:gd name="T74" fmla="*/ 6 w 1341"/>
                <a:gd name="T75" fmla="*/ 581 h 1342"/>
                <a:gd name="T76" fmla="*/ 23 w 1341"/>
                <a:gd name="T77" fmla="*/ 493 h 1342"/>
                <a:gd name="T78" fmla="*/ 53 w 1341"/>
                <a:gd name="T79" fmla="*/ 410 h 1342"/>
                <a:gd name="T80" fmla="*/ 92 w 1341"/>
                <a:gd name="T81" fmla="*/ 332 h 1342"/>
                <a:gd name="T82" fmla="*/ 139 w 1341"/>
                <a:gd name="T83" fmla="*/ 261 h 1342"/>
                <a:gd name="T84" fmla="*/ 196 w 1341"/>
                <a:gd name="T85" fmla="*/ 196 h 1342"/>
                <a:gd name="T86" fmla="*/ 260 w 1341"/>
                <a:gd name="T87" fmla="*/ 139 h 1342"/>
                <a:gd name="T88" fmla="*/ 331 w 1341"/>
                <a:gd name="T89" fmla="*/ 92 h 1342"/>
                <a:gd name="T90" fmla="*/ 410 w 1341"/>
                <a:gd name="T91" fmla="*/ 53 h 1342"/>
                <a:gd name="T92" fmla="*/ 492 w 1341"/>
                <a:gd name="T93" fmla="*/ 24 h 1342"/>
                <a:gd name="T94" fmla="*/ 578 w 1341"/>
                <a:gd name="T95" fmla="*/ 6 h 1342"/>
                <a:gd name="T96" fmla="*/ 670 w 1341"/>
                <a:gd name="T97" fmla="*/ 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41" h="1342">
                  <a:moveTo>
                    <a:pt x="670" y="0"/>
                  </a:moveTo>
                  <a:lnTo>
                    <a:pt x="761" y="6"/>
                  </a:lnTo>
                  <a:lnTo>
                    <a:pt x="849" y="24"/>
                  </a:lnTo>
                  <a:lnTo>
                    <a:pt x="931" y="53"/>
                  </a:lnTo>
                  <a:lnTo>
                    <a:pt x="1008" y="92"/>
                  </a:lnTo>
                  <a:lnTo>
                    <a:pt x="1080" y="139"/>
                  </a:lnTo>
                  <a:lnTo>
                    <a:pt x="1145" y="196"/>
                  </a:lnTo>
                  <a:lnTo>
                    <a:pt x="1200" y="261"/>
                  </a:lnTo>
                  <a:lnTo>
                    <a:pt x="1249" y="332"/>
                  </a:lnTo>
                  <a:lnTo>
                    <a:pt x="1288" y="410"/>
                  </a:lnTo>
                  <a:lnTo>
                    <a:pt x="1316" y="493"/>
                  </a:lnTo>
                  <a:lnTo>
                    <a:pt x="1335" y="581"/>
                  </a:lnTo>
                  <a:lnTo>
                    <a:pt x="1341" y="671"/>
                  </a:lnTo>
                  <a:lnTo>
                    <a:pt x="1335" y="761"/>
                  </a:lnTo>
                  <a:lnTo>
                    <a:pt x="1316" y="850"/>
                  </a:lnTo>
                  <a:lnTo>
                    <a:pt x="1288" y="932"/>
                  </a:lnTo>
                  <a:lnTo>
                    <a:pt x="1249" y="1008"/>
                  </a:lnTo>
                  <a:lnTo>
                    <a:pt x="1200" y="1081"/>
                  </a:lnTo>
                  <a:lnTo>
                    <a:pt x="1145" y="1146"/>
                  </a:lnTo>
                  <a:lnTo>
                    <a:pt x="1080" y="1203"/>
                  </a:lnTo>
                  <a:lnTo>
                    <a:pt x="1008" y="1250"/>
                  </a:lnTo>
                  <a:lnTo>
                    <a:pt x="931" y="1289"/>
                  </a:lnTo>
                  <a:lnTo>
                    <a:pt x="849" y="1318"/>
                  </a:lnTo>
                  <a:lnTo>
                    <a:pt x="761" y="1336"/>
                  </a:lnTo>
                  <a:lnTo>
                    <a:pt x="670" y="1342"/>
                  </a:lnTo>
                  <a:lnTo>
                    <a:pt x="578" y="1336"/>
                  </a:lnTo>
                  <a:lnTo>
                    <a:pt x="492" y="1318"/>
                  </a:lnTo>
                  <a:lnTo>
                    <a:pt x="410" y="1289"/>
                  </a:lnTo>
                  <a:lnTo>
                    <a:pt x="331" y="1250"/>
                  </a:lnTo>
                  <a:lnTo>
                    <a:pt x="260" y="1203"/>
                  </a:lnTo>
                  <a:lnTo>
                    <a:pt x="196" y="1146"/>
                  </a:lnTo>
                  <a:lnTo>
                    <a:pt x="139" y="1081"/>
                  </a:lnTo>
                  <a:lnTo>
                    <a:pt x="92" y="1008"/>
                  </a:lnTo>
                  <a:lnTo>
                    <a:pt x="53" y="932"/>
                  </a:lnTo>
                  <a:lnTo>
                    <a:pt x="23" y="850"/>
                  </a:lnTo>
                  <a:lnTo>
                    <a:pt x="6" y="761"/>
                  </a:lnTo>
                  <a:lnTo>
                    <a:pt x="0" y="671"/>
                  </a:lnTo>
                  <a:lnTo>
                    <a:pt x="6" y="581"/>
                  </a:lnTo>
                  <a:lnTo>
                    <a:pt x="23" y="493"/>
                  </a:lnTo>
                  <a:lnTo>
                    <a:pt x="53" y="410"/>
                  </a:lnTo>
                  <a:lnTo>
                    <a:pt x="92" y="332"/>
                  </a:lnTo>
                  <a:lnTo>
                    <a:pt x="139" y="261"/>
                  </a:lnTo>
                  <a:lnTo>
                    <a:pt x="196" y="196"/>
                  </a:lnTo>
                  <a:lnTo>
                    <a:pt x="260" y="139"/>
                  </a:lnTo>
                  <a:lnTo>
                    <a:pt x="331" y="92"/>
                  </a:lnTo>
                  <a:lnTo>
                    <a:pt x="410" y="53"/>
                  </a:lnTo>
                  <a:lnTo>
                    <a:pt x="492" y="24"/>
                  </a:lnTo>
                  <a:lnTo>
                    <a:pt x="578" y="6"/>
                  </a:lnTo>
                  <a:lnTo>
                    <a:pt x="670" y="0"/>
                  </a:lnTo>
                  <a:close/>
                </a:path>
              </a:pathLst>
            </a:custGeom>
            <a:solidFill>
              <a:schemeClr val="accent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1609">
              <a:extLst>
                <a:ext uri="{FF2B5EF4-FFF2-40B4-BE49-F238E27FC236}">
                  <a16:creationId xmlns:a16="http://schemas.microsoft.com/office/drawing/2014/main" id="{31B639D5-B791-DB41-A2FE-4245BEF22FD2}"/>
                </a:ext>
              </a:extLst>
            </p:cNvPr>
            <p:cNvSpPr>
              <a:spLocks noEditPoints="1"/>
            </p:cNvSpPr>
            <p:nvPr/>
          </p:nvSpPr>
          <p:spPr bwMode="auto">
            <a:xfrm>
              <a:off x="2886767" y="3341073"/>
              <a:ext cx="1077913" cy="1077912"/>
            </a:xfrm>
            <a:custGeom>
              <a:avLst/>
              <a:gdLst>
                <a:gd name="T0" fmla="*/ 598 w 1357"/>
                <a:gd name="T1" fmla="*/ 98 h 1358"/>
                <a:gd name="T2" fmla="*/ 449 w 1357"/>
                <a:gd name="T3" fmla="*/ 138 h 1358"/>
                <a:gd name="T4" fmla="*/ 319 w 1357"/>
                <a:gd name="T5" fmla="*/ 214 h 1358"/>
                <a:gd name="T6" fmla="*/ 214 w 1357"/>
                <a:gd name="T7" fmla="*/ 320 h 1358"/>
                <a:gd name="T8" fmla="*/ 137 w 1357"/>
                <a:gd name="T9" fmla="*/ 451 h 1358"/>
                <a:gd name="T10" fmla="*/ 96 w 1357"/>
                <a:gd name="T11" fmla="*/ 599 h 1358"/>
                <a:gd name="T12" fmla="*/ 96 w 1357"/>
                <a:gd name="T13" fmla="*/ 758 h 1358"/>
                <a:gd name="T14" fmla="*/ 137 w 1357"/>
                <a:gd name="T15" fmla="*/ 907 h 1358"/>
                <a:gd name="T16" fmla="*/ 214 w 1357"/>
                <a:gd name="T17" fmla="*/ 1038 h 1358"/>
                <a:gd name="T18" fmla="*/ 319 w 1357"/>
                <a:gd name="T19" fmla="*/ 1144 h 1358"/>
                <a:gd name="T20" fmla="*/ 449 w 1357"/>
                <a:gd name="T21" fmla="*/ 1219 h 1358"/>
                <a:gd name="T22" fmla="*/ 598 w 1357"/>
                <a:gd name="T23" fmla="*/ 1260 h 1358"/>
                <a:gd name="T24" fmla="*/ 757 w 1357"/>
                <a:gd name="T25" fmla="*/ 1260 h 1358"/>
                <a:gd name="T26" fmla="*/ 906 w 1357"/>
                <a:gd name="T27" fmla="*/ 1219 h 1358"/>
                <a:gd name="T28" fmla="*/ 1035 w 1357"/>
                <a:gd name="T29" fmla="*/ 1144 h 1358"/>
                <a:gd name="T30" fmla="*/ 1143 w 1357"/>
                <a:gd name="T31" fmla="*/ 1038 h 1358"/>
                <a:gd name="T32" fmla="*/ 1218 w 1357"/>
                <a:gd name="T33" fmla="*/ 907 h 1358"/>
                <a:gd name="T34" fmla="*/ 1259 w 1357"/>
                <a:gd name="T35" fmla="*/ 758 h 1358"/>
                <a:gd name="T36" fmla="*/ 1259 w 1357"/>
                <a:gd name="T37" fmla="*/ 599 h 1358"/>
                <a:gd name="T38" fmla="*/ 1218 w 1357"/>
                <a:gd name="T39" fmla="*/ 451 h 1358"/>
                <a:gd name="T40" fmla="*/ 1143 w 1357"/>
                <a:gd name="T41" fmla="*/ 320 h 1358"/>
                <a:gd name="T42" fmla="*/ 1035 w 1357"/>
                <a:gd name="T43" fmla="*/ 214 h 1358"/>
                <a:gd name="T44" fmla="*/ 906 w 1357"/>
                <a:gd name="T45" fmla="*/ 138 h 1358"/>
                <a:gd name="T46" fmla="*/ 757 w 1357"/>
                <a:gd name="T47" fmla="*/ 98 h 1358"/>
                <a:gd name="T48" fmla="*/ 678 w 1357"/>
                <a:gd name="T49" fmla="*/ 0 h 1358"/>
                <a:gd name="T50" fmla="*/ 859 w 1357"/>
                <a:gd name="T51" fmla="*/ 24 h 1358"/>
                <a:gd name="T52" fmla="*/ 1020 w 1357"/>
                <a:gd name="T53" fmla="*/ 92 h 1358"/>
                <a:gd name="T54" fmla="*/ 1159 w 1357"/>
                <a:gd name="T55" fmla="*/ 198 h 1358"/>
                <a:gd name="T56" fmla="*/ 1265 w 1357"/>
                <a:gd name="T57" fmla="*/ 336 h 1358"/>
                <a:gd name="T58" fmla="*/ 1333 w 1357"/>
                <a:gd name="T59" fmla="*/ 499 h 1358"/>
                <a:gd name="T60" fmla="*/ 1357 w 1357"/>
                <a:gd name="T61" fmla="*/ 679 h 1358"/>
                <a:gd name="T62" fmla="*/ 1333 w 1357"/>
                <a:gd name="T63" fmla="*/ 860 h 1358"/>
                <a:gd name="T64" fmla="*/ 1265 w 1357"/>
                <a:gd name="T65" fmla="*/ 1022 h 1358"/>
                <a:gd name="T66" fmla="*/ 1159 w 1357"/>
                <a:gd name="T67" fmla="*/ 1160 h 1358"/>
                <a:gd name="T68" fmla="*/ 1020 w 1357"/>
                <a:gd name="T69" fmla="*/ 1266 h 1358"/>
                <a:gd name="T70" fmla="*/ 859 w 1357"/>
                <a:gd name="T71" fmla="*/ 1334 h 1358"/>
                <a:gd name="T72" fmla="*/ 678 w 1357"/>
                <a:gd name="T73" fmla="*/ 1358 h 1358"/>
                <a:gd name="T74" fmla="*/ 498 w 1357"/>
                <a:gd name="T75" fmla="*/ 1334 h 1358"/>
                <a:gd name="T76" fmla="*/ 335 w 1357"/>
                <a:gd name="T77" fmla="*/ 1266 h 1358"/>
                <a:gd name="T78" fmla="*/ 198 w 1357"/>
                <a:gd name="T79" fmla="*/ 1160 h 1358"/>
                <a:gd name="T80" fmla="*/ 92 w 1357"/>
                <a:gd name="T81" fmla="*/ 1022 h 1358"/>
                <a:gd name="T82" fmla="*/ 23 w 1357"/>
                <a:gd name="T83" fmla="*/ 860 h 1358"/>
                <a:gd name="T84" fmla="*/ 0 w 1357"/>
                <a:gd name="T85" fmla="*/ 679 h 1358"/>
                <a:gd name="T86" fmla="*/ 23 w 1357"/>
                <a:gd name="T87" fmla="*/ 499 h 1358"/>
                <a:gd name="T88" fmla="*/ 92 w 1357"/>
                <a:gd name="T89" fmla="*/ 336 h 1358"/>
                <a:gd name="T90" fmla="*/ 198 w 1357"/>
                <a:gd name="T91" fmla="*/ 198 h 1358"/>
                <a:gd name="T92" fmla="*/ 335 w 1357"/>
                <a:gd name="T93" fmla="*/ 92 h 1358"/>
                <a:gd name="T94" fmla="*/ 498 w 1357"/>
                <a:gd name="T95" fmla="*/ 24 h 1358"/>
                <a:gd name="T96" fmla="*/ 678 w 1357"/>
                <a:gd name="T97"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7" h="1358">
                  <a:moveTo>
                    <a:pt x="678" y="92"/>
                  </a:moveTo>
                  <a:lnTo>
                    <a:pt x="598" y="98"/>
                  </a:lnTo>
                  <a:lnTo>
                    <a:pt x="522" y="112"/>
                  </a:lnTo>
                  <a:lnTo>
                    <a:pt x="449" y="138"/>
                  </a:lnTo>
                  <a:lnTo>
                    <a:pt x="382" y="173"/>
                  </a:lnTo>
                  <a:lnTo>
                    <a:pt x="319" y="214"/>
                  </a:lnTo>
                  <a:lnTo>
                    <a:pt x="263" y="265"/>
                  </a:lnTo>
                  <a:lnTo>
                    <a:pt x="214" y="320"/>
                  </a:lnTo>
                  <a:lnTo>
                    <a:pt x="172" y="383"/>
                  </a:lnTo>
                  <a:lnTo>
                    <a:pt x="137" y="451"/>
                  </a:lnTo>
                  <a:lnTo>
                    <a:pt x="112" y="522"/>
                  </a:lnTo>
                  <a:lnTo>
                    <a:pt x="96" y="599"/>
                  </a:lnTo>
                  <a:lnTo>
                    <a:pt x="92" y="679"/>
                  </a:lnTo>
                  <a:lnTo>
                    <a:pt x="96" y="758"/>
                  </a:lnTo>
                  <a:lnTo>
                    <a:pt x="112" y="834"/>
                  </a:lnTo>
                  <a:lnTo>
                    <a:pt x="137" y="907"/>
                  </a:lnTo>
                  <a:lnTo>
                    <a:pt x="172" y="975"/>
                  </a:lnTo>
                  <a:lnTo>
                    <a:pt x="214" y="1038"/>
                  </a:lnTo>
                  <a:lnTo>
                    <a:pt x="263" y="1093"/>
                  </a:lnTo>
                  <a:lnTo>
                    <a:pt x="319" y="1144"/>
                  </a:lnTo>
                  <a:lnTo>
                    <a:pt x="382" y="1185"/>
                  </a:lnTo>
                  <a:lnTo>
                    <a:pt x="449" y="1219"/>
                  </a:lnTo>
                  <a:lnTo>
                    <a:pt x="522" y="1244"/>
                  </a:lnTo>
                  <a:lnTo>
                    <a:pt x="598" y="1260"/>
                  </a:lnTo>
                  <a:lnTo>
                    <a:pt x="678" y="1266"/>
                  </a:lnTo>
                  <a:lnTo>
                    <a:pt x="757" y="1260"/>
                  </a:lnTo>
                  <a:lnTo>
                    <a:pt x="833" y="1244"/>
                  </a:lnTo>
                  <a:lnTo>
                    <a:pt x="906" y="1219"/>
                  </a:lnTo>
                  <a:lnTo>
                    <a:pt x="975" y="1185"/>
                  </a:lnTo>
                  <a:lnTo>
                    <a:pt x="1035" y="1144"/>
                  </a:lnTo>
                  <a:lnTo>
                    <a:pt x="1092" y="1093"/>
                  </a:lnTo>
                  <a:lnTo>
                    <a:pt x="1143" y="1038"/>
                  </a:lnTo>
                  <a:lnTo>
                    <a:pt x="1184" y="975"/>
                  </a:lnTo>
                  <a:lnTo>
                    <a:pt x="1218" y="907"/>
                  </a:lnTo>
                  <a:lnTo>
                    <a:pt x="1243" y="834"/>
                  </a:lnTo>
                  <a:lnTo>
                    <a:pt x="1259" y="758"/>
                  </a:lnTo>
                  <a:lnTo>
                    <a:pt x="1265" y="679"/>
                  </a:lnTo>
                  <a:lnTo>
                    <a:pt x="1259" y="599"/>
                  </a:lnTo>
                  <a:lnTo>
                    <a:pt x="1243" y="522"/>
                  </a:lnTo>
                  <a:lnTo>
                    <a:pt x="1218" y="451"/>
                  </a:lnTo>
                  <a:lnTo>
                    <a:pt x="1184" y="383"/>
                  </a:lnTo>
                  <a:lnTo>
                    <a:pt x="1143" y="320"/>
                  </a:lnTo>
                  <a:lnTo>
                    <a:pt x="1092" y="265"/>
                  </a:lnTo>
                  <a:lnTo>
                    <a:pt x="1035" y="214"/>
                  </a:lnTo>
                  <a:lnTo>
                    <a:pt x="975" y="173"/>
                  </a:lnTo>
                  <a:lnTo>
                    <a:pt x="906" y="138"/>
                  </a:lnTo>
                  <a:lnTo>
                    <a:pt x="833" y="112"/>
                  </a:lnTo>
                  <a:lnTo>
                    <a:pt x="757" y="98"/>
                  </a:lnTo>
                  <a:lnTo>
                    <a:pt x="678" y="92"/>
                  </a:lnTo>
                  <a:close/>
                  <a:moveTo>
                    <a:pt x="678" y="0"/>
                  </a:moveTo>
                  <a:lnTo>
                    <a:pt x="771" y="6"/>
                  </a:lnTo>
                  <a:lnTo>
                    <a:pt x="859" y="24"/>
                  </a:lnTo>
                  <a:lnTo>
                    <a:pt x="943" y="53"/>
                  </a:lnTo>
                  <a:lnTo>
                    <a:pt x="1020" y="92"/>
                  </a:lnTo>
                  <a:lnTo>
                    <a:pt x="1092" y="142"/>
                  </a:lnTo>
                  <a:lnTo>
                    <a:pt x="1159" y="198"/>
                  </a:lnTo>
                  <a:lnTo>
                    <a:pt x="1216" y="263"/>
                  </a:lnTo>
                  <a:lnTo>
                    <a:pt x="1265" y="336"/>
                  </a:lnTo>
                  <a:lnTo>
                    <a:pt x="1304" y="414"/>
                  </a:lnTo>
                  <a:lnTo>
                    <a:pt x="1333" y="499"/>
                  </a:lnTo>
                  <a:lnTo>
                    <a:pt x="1351" y="587"/>
                  </a:lnTo>
                  <a:lnTo>
                    <a:pt x="1357" y="679"/>
                  </a:lnTo>
                  <a:lnTo>
                    <a:pt x="1351" y="771"/>
                  </a:lnTo>
                  <a:lnTo>
                    <a:pt x="1333" y="860"/>
                  </a:lnTo>
                  <a:lnTo>
                    <a:pt x="1304" y="944"/>
                  </a:lnTo>
                  <a:lnTo>
                    <a:pt x="1265" y="1022"/>
                  </a:lnTo>
                  <a:lnTo>
                    <a:pt x="1216" y="1093"/>
                  </a:lnTo>
                  <a:lnTo>
                    <a:pt x="1159" y="1160"/>
                  </a:lnTo>
                  <a:lnTo>
                    <a:pt x="1092" y="1217"/>
                  </a:lnTo>
                  <a:lnTo>
                    <a:pt x="1020" y="1266"/>
                  </a:lnTo>
                  <a:lnTo>
                    <a:pt x="943" y="1305"/>
                  </a:lnTo>
                  <a:lnTo>
                    <a:pt x="859" y="1334"/>
                  </a:lnTo>
                  <a:lnTo>
                    <a:pt x="771" y="1352"/>
                  </a:lnTo>
                  <a:lnTo>
                    <a:pt x="678" y="1358"/>
                  </a:lnTo>
                  <a:lnTo>
                    <a:pt x="586" y="1352"/>
                  </a:lnTo>
                  <a:lnTo>
                    <a:pt x="498" y="1334"/>
                  </a:lnTo>
                  <a:lnTo>
                    <a:pt x="414" y="1305"/>
                  </a:lnTo>
                  <a:lnTo>
                    <a:pt x="335" y="1266"/>
                  </a:lnTo>
                  <a:lnTo>
                    <a:pt x="263" y="1217"/>
                  </a:lnTo>
                  <a:lnTo>
                    <a:pt x="198" y="1160"/>
                  </a:lnTo>
                  <a:lnTo>
                    <a:pt x="141" y="1093"/>
                  </a:lnTo>
                  <a:lnTo>
                    <a:pt x="92" y="1022"/>
                  </a:lnTo>
                  <a:lnTo>
                    <a:pt x="53" y="944"/>
                  </a:lnTo>
                  <a:lnTo>
                    <a:pt x="23" y="860"/>
                  </a:lnTo>
                  <a:lnTo>
                    <a:pt x="6" y="771"/>
                  </a:lnTo>
                  <a:lnTo>
                    <a:pt x="0" y="679"/>
                  </a:lnTo>
                  <a:lnTo>
                    <a:pt x="6" y="587"/>
                  </a:lnTo>
                  <a:lnTo>
                    <a:pt x="23" y="499"/>
                  </a:lnTo>
                  <a:lnTo>
                    <a:pt x="53" y="414"/>
                  </a:lnTo>
                  <a:lnTo>
                    <a:pt x="92" y="336"/>
                  </a:lnTo>
                  <a:lnTo>
                    <a:pt x="141" y="263"/>
                  </a:lnTo>
                  <a:lnTo>
                    <a:pt x="198" y="198"/>
                  </a:lnTo>
                  <a:lnTo>
                    <a:pt x="263" y="142"/>
                  </a:lnTo>
                  <a:lnTo>
                    <a:pt x="335" y="92"/>
                  </a:lnTo>
                  <a:lnTo>
                    <a:pt x="414" y="53"/>
                  </a:lnTo>
                  <a:lnTo>
                    <a:pt x="498" y="24"/>
                  </a:lnTo>
                  <a:lnTo>
                    <a:pt x="586" y="6"/>
                  </a:lnTo>
                  <a:lnTo>
                    <a:pt x="678" y="0"/>
                  </a:lnTo>
                  <a:close/>
                </a:path>
              </a:pathLst>
            </a:custGeom>
            <a:solidFill>
              <a:schemeClr val="accent5"/>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1610">
              <a:extLst>
                <a:ext uri="{FF2B5EF4-FFF2-40B4-BE49-F238E27FC236}">
                  <a16:creationId xmlns:a16="http://schemas.microsoft.com/office/drawing/2014/main" id="{5C40CCA5-6800-5A44-A2EA-669E7D7A77CE}"/>
                </a:ext>
              </a:extLst>
            </p:cNvPr>
            <p:cNvSpPr>
              <a:spLocks/>
            </p:cNvSpPr>
            <p:nvPr/>
          </p:nvSpPr>
          <p:spPr bwMode="auto">
            <a:xfrm>
              <a:off x="5644254" y="1096348"/>
              <a:ext cx="1071563" cy="1073150"/>
            </a:xfrm>
            <a:custGeom>
              <a:avLst/>
              <a:gdLst>
                <a:gd name="T0" fmla="*/ 675 w 1350"/>
                <a:gd name="T1" fmla="*/ 0 h 1352"/>
                <a:gd name="T2" fmla="*/ 765 w 1350"/>
                <a:gd name="T3" fmla="*/ 8 h 1352"/>
                <a:gd name="T4" fmla="*/ 853 w 1350"/>
                <a:gd name="T5" fmla="*/ 26 h 1352"/>
                <a:gd name="T6" fmla="*/ 938 w 1350"/>
                <a:gd name="T7" fmla="*/ 53 h 1352"/>
                <a:gd name="T8" fmla="*/ 1016 w 1350"/>
                <a:gd name="T9" fmla="*/ 93 h 1352"/>
                <a:gd name="T10" fmla="*/ 1087 w 1350"/>
                <a:gd name="T11" fmla="*/ 142 h 1352"/>
                <a:gd name="T12" fmla="*/ 1152 w 1350"/>
                <a:gd name="T13" fmla="*/ 198 h 1352"/>
                <a:gd name="T14" fmla="*/ 1208 w 1350"/>
                <a:gd name="T15" fmla="*/ 263 h 1352"/>
                <a:gd name="T16" fmla="*/ 1257 w 1350"/>
                <a:gd name="T17" fmla="*/ 336 h 1352"/>
                <a:gd name="T18" fmla="*/ 1297 w 1350"/>
                <a:gd name="T19" fmla="*/ 414 h 1352"/>
                <a:gd name="T20" fmla="*/ 1326 w 1350"/>
                <a:gd name="T21" fmla="*/ 497 h 1352"/>
                <a:gd name="T22" fmla="*/ 1344 w 1350"/>
                <a:gd name="T23" fmla="*/ 585 h 1352"/>
                <a:gd name="T24" fmla="*/ 1350 w 1350"/>
                <a:gd name="T25" fmla="*/ 677 h 1352"/>
                <a:gd name="T26" fmla="*/ 1344 w 1350"/>
                <a:gd name="T27" fmla="*/ 767 h 1352"/>
                <a:gd name="T28" fmla="*/ 1326 w 1350"/>
                <a:gd name="T29" fmla="*/ 856 h 1352"/>
                <a:gd name="T30" fmla="*/ 1297 w 1350"/>
                <a:gd name="T31" fmla="*/ 940 h 1352"/>
                <a:gd name="T32" fmla="*/ 1257 w 1350"/>
                <a:gd name="T33" fmla="*/ 1017 h 1352"/>
                <a:gd name="T34" fmla="*/ 1208 w 1350"/>
                <a:gd name="T35" fmla="*/ 1089 h 1352"/>
                <a:gd name="T36" fmla="*/ 1152 w 1350"/>
                <a:gd name="T37" fmla="*/ 1154 h 1352"/>
                <a:gd name="T38" fmla="*/ 1087 w 1350"/>
                <a:gd name="T39" fmla="*/ 1211 h 1352"/>
                <a:gd name="T40" fmla="*/ 1016 w 1350"/>
                <a:gd name="T41" fmla="*/ 1260 h 1352"/>
                <a:gd name="T42" fmla="*/ 938 w 1350"/>
                <a:gd name="T43" fmla="*/ 1299 h 1352"/>
                <a:gd name="T44" fmla="*/ 853 w 1350"/>
                <a:gd name="T45" fmla="*/ 1328 h 1352"/>
                <a:gd name="T46" fmla="*/ 765 w 1350"/>
                <a:gd name="T47" fmla="*/ 1346 h 1352"/>
                <a:gd name="T48" fmla="*/ 675 w 1350"/>
                <a:gd name="T49" fmla="*/ 1352 h 1352"/>
                <a:gd name="T50" fmla="*/ 583 w 1350"/>
                <a:gd name="T51" fmla="*/ 1346 h 1352"/>
                <a:gd name="T52" fmla="*/ 495 w 1350"/>
                <a:gd name="T53" fmla="*/ 1328 h 1352"/>
                <a:gd name="T54" fmla="*/ 412 w 1350"/>
                <a:gd name="T55" fmla="*/ 1299 h 1352"/>
                <a:gd name="T56" fmla="*/ 334 w 1350"/>
                <a:gd name="T57" fmla="*/ 1260 h 1352"/>
                <a:gd name="T58" fmla="*/ 261 w 1350"/>
                <a:gd name="T59" fmla="*/ 1211 h 1352"/>
                <a:gd name="T60" fmla="*/ 196 w 1350"/>
                <a:gd name="T61" fmla="*/ 1154 h 1352"/>
                <a:gd name="T62" fmla="*/ 140 w 1350"/>
                <a:gd name="T63" fmla="*/ 1089 h 1352"/>
                <a:gd name="T64" fmla="*/ 92 w 1350"/>
                <a:gd name="T65" fmla="*/ 1017 h 1352"/>
                <a:gd name="T66" fmla="*/ 53 w 1350"/>
                <a:gd name="T67" fmla="*/ 940 h 1352"/>
                <a:gd name="T68" fmla="*/ 24 w 1350"/>
                <a:gd name="T69" fmla="*/ 856 h 1352"/>
                <a:gd name="T70" fmla="*/ 6 w 1350"/>
                <a:gd name="T71" fmla="*/ 767 h 1352"/>
                <a:gd name="T72" fmla="*/ 0 w 1350"/>
                <a:gd name="T73" fmla="*/ 677 h 1352"/>
                <a:gd name="T74" fmla="*/ 6 w 1350"/>
                <a:gd name="T75" fmla="*/ 585 h 1352"/>
                <a:gd name="T76" fmla="*/ 24 w 1350"/>
                <a:gd name="T77" fmla="*/ 497 h 1352"/>
                <a:gd name="T78" fmla="*/ 53 w 1350"/>
                <a:gd name="T79" fmla="*/ 414 h 1352"/>
                <a:gd name="T80" fmla="*/ 92 w 1350"/>
                <a:gd name="T81" fmla="*/ 336 h 1352"/>
                <a:gd name="T82" fmla="*/ 140 w 1350"/>
                <a:gd name="T83" fmla="*/ 263 h 1352"/>
                <a:gd name="T84" fmla="*/ 196 w 1350"/>
                <a:gd name="T85" fmla="*/ 198 h 1352"/>
                <a:gd name="T86" fmla="*/ 261 w 1350"/>
                <a:gd name="T87" fmla="*/ 142 h 1352"/>
                <a:gd name="T88" fmla="*/ 334 w 1350"/>
                <a:gd name="T89" fmla="*/ 93 h 1352"/>
                <a:gd name="T90" fmla="*/ 412 w 1350"/>
                <a:gd name="T91" fmla="*/ 53 h 1352"/>
                <a:gd name="T92" fmla="*/ 495 w 1350"/>
                <a:gd name="T93" fmla="*/ 26 h 1352"/>
                <a:gd name="T94" fmla="*/ 583 w 1350"/>
                <a:gd name="T95" fmla="*/ 8 h 1352"/>
                <a:gd name="T96" fmla="*/ 675 w 1350"/>
                <a:gd name="T97" fmla="*/ 0 h 1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0" h="1352">
                  <a:moveTo>
                    <a:pt x="675" y="0"/>
                  </a:moveTo>
                  <a:lnTo>
                    <a:pt x="765" y="8"/>
                  </a:lnTo>
                  <a:lnTo>
                    <a:pt x="853" y="26"/>
                  </a:lnTo>
                  <a:lnTo>
                    <a:pt x="938" y="53"/>
                  </a:lnTo>
                  <a:lnTo>
                    <a:pt x="1016" y="93"/>
                  </a:lnTo>
                  <a:lnTo>
                    <a:pt x="1087" y="142"/>
                  </a:lnTo>
                  <a:lnTo>
                    <a:pt x="1152" y="198"/>
                  </a:lnTo>
                  <a:lnTo>
                    <a:pt x="1208" y="263"/>
                  </a:lnTo>
                  <a:lnTo>
                    <a:pt x="1257" y="336"/>
                  </a:lnTo>
                  <a:lnTo>
                    <a:pt x="1297" y="414"/>
                  </a:lnTo>
                  <a:lnTo>
                    <a:pt x="1326" y="497"/>
                  </a:lnTo>
                  <a:lnTo>
                    <a:pt x="1344" y="585"/>
                  </a:lnTo>
                  <a:lnTo>
                    <a:pt x="1350" y="677"/>
                  </a:lnTo>
                  <a:lnTo>
                    <a:pt x="1344" y="767"/>
                  </a:lnTo>
                  <a:lnTo>
                    <a:pt x="1326" y="856"/>
                  </a:lnTo>
                  <a:lnTo>
                    <a:pt x="1297" y="940"/>
                  </a:lnTo>
                  <a:lnTo>
                    <a:pt x="1257" y="1017"/>
                  </a:lnTo>
                  <a:lnTo>
                    <a:pt x="1208" y="1089"/>
                  </a:lnTo>
                  <a:lnTo>
                    <a:pt x="1152" y="1154"/>
                  </a:lnTo>
                  <a:lnTo>
                    <a:pt x="1087" y="1211"/>
                  </a:lnTo>
                  <a:lnTo>
                    <a:pt x="1016" y="1260"/>
                  </a:lnTo>
                  <a:lnTo>
                    <a:pt x="938" y="1299"/>
                  </a:lnTo>
                  <a:lnTo>
                    <a:pt x="853" y="1328"/>
                  </a:lnTo>
                  <a:lnTo>
                    <a:pt x="765" y="1346"/>
                  </a:lnTo>
                  <a:lnTo>
                    <a:pt x="675" y="1352"/>
                  </a:lnTo>
                  <a:lnTo>
                    <a:pt x="583" y="1346"/>
                  </a:lnTo>
                  <a:lnTo>
                    <a:pt x="495" y="1328"/>
                  </a:lnTo>
                  <a:lnTo>
                    <a:pt x="412" y="1299"/>
                  </a:lnTo>
                  <a:lnTo>
                    <a:pt x="334" y="1260"/>
                  </a:lnTo>
                  <a:lnTo>
                    <a:pt x="261" y="1211"/>
                  </a:lnTo>
                  <a:lnTo>
                    <a:pt x="196" y="1154"/>
                  </a:lnTo>
                  <a:lnTo>
                    <a:pt x="140" y="1089"/>
                  </a:lnTo>
                  <a:lnTo>
                    <a:pt x="92" y="1017"/>
                  </a:lnTo>
                  <a:lnTo>
                    <a:pt x="53" y="940"/>
                  </a:lnTo>
                  <a:lnTo>
                    <a:pt x="24" y="856"/>
                  </a:lnTo>
                  <a:lnTo>
                    <a:pt x="6" y="767"/>
                  </a:lnTo>
                  <a:lnTo>
                    <a:pt x="0" y="677"/>
                  </a:lnTo>
                  <a:lnTo>
                    <a:pt x="6" y="585"/>
                  </a:lnTo>
                  <a:lnTo>
                    <a:pt x="24" y="497"/>
                  </a:lnTo>
                  <a:lnTo>
                    <a:pt x="53" y="414"/>
                  </a:lnTo>
                  <a:lnTo>
                    <a:pt x="92" y="336"/>
                  </a:lnTo>
                  <a:lnTo>
                    <a:pt x="140" y="263"/>
                  </a:lnTo>
                  <a:lnTo>
                    <a:pt x="196" y="198"/>
                  </a:lnTo>
                  <a:lnTo>
                    <a:pt x="261" y="142"/>
                  </a:lnTo>
                  <a:lnTo>
                    <a:pt x="334" y="93"/>
                  </a:lnTo>
                  <a:lnTo>
                    <a:pt x="412" y="53"/>
                  </a:lnTo>
                  <a:lnTo>
                    <a:pt x="495" y="26"/>
                  </a:lnTo>
                  <a:lnTo>
                    <a:pt x="583" y="8"/>
                  </a:lnTo>
                  <a:lnTo>
                    <a:pt x="675" y="0"/>
                  </a:lnTo>
                  <a:close/>
                </a:path>
              </a:pathLst>
            </a:custGeom>
            <a:solidFill>
              <a:schemeClr val="accent1">
                <a:lumMod val="60000"/>
                <a:lumOff val="40000"/>
              </a:schemeClr>
            </a:solidFill>
            <a:ln w="0">
              <a:solidFill>
                <a:srgbClr val="96FF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1611">
              <a:extLst>
                <a:ext uri="{FF2B5EF4-FFF2-40B4-BE49-F238E27FC236}">
                  <a16:creationId xmlns:a16="http://schemas.microsoft.com/office/drawing/2014/main" id="{97C531E8-DBC7-DB46-908C-8D3238F8D363}"/>
                </a:ext>
              </a:extLst>
            </p:cNvPr>
            <p:cNvSpPr>
              <a:spLocks noEditPoints="1"/>
            </p:cNvSpPr>
            <p:nvPr/>
          </p:nvSpPr>
          <p:spPr bwMode="auto">
            <a:xfrm>
              <a:off x="5609329" y="1061423"/>
              <a:ext cx="1143000" cy="1144587"/>
            </a:xfrm>
            <a:custGeom>
              <a:avLst/>
              <a:gdLst>
                <a:gd name="T0" fmla="*/ 581 w 1442"/>
                <a:gd name="T1" fmla="*/ 79 h 1442"/>
                <a:gd name="T2" fmla="*/ 465 w 1442"/>
                <a:gd name="T3" fmla="*/ 116 h 1442"/>
                <a:gd name="T4" fmla="*/ 347 w 1442"/>
                <a:gd name="T5" fmla="*/ 179 h 1442"/>
                <a:gd name="T6" fmla="*/ 212 w 1442"/>
                <a:gd name="T7" fmla="*/ 304 h 1442"/>
                <a:gd name="T8" fmla="*/ 143 w 1442"/>
                <a:gd name="T9" fmla="*/ 404 h 1442"/>
                <a:gd name="T10" fmla="*/ 79 w 1442"/>
                <a:gd name="T11" fmla="*/ 581 h 1442"/>
                <a:gd name="T12" fmla="*/ 65 w 1442"/>
                <a:gd name="T13" fmla="*/ 720 h 1442"/>
                <a:gd name="T14" fmla="*/ 79 w 1442"/>
                <a:gd name="T15" fmla="*/ 859 h 1442"/>
                <a:gd name="T16" fmla="*/ 143 w 1442"/>
                <a:gd name="T17" fmla="*/ 1036 h 1442"/>
                <a:gd name="T18" fmla="*/ 212 w 1442"/>
                <a:gd name="T19" fmla="*/ 1136 h 1442"/>
                <a:gd name="T20" fmla="*/ 347 w 1442"/>
                <a:gd name="T21" fmla="*/ 1262 h 1442"/>
                <a:gd name="T22" fmla="*/ 465 w 1442"/>
                <a:gd name="T23" fmla="*/ 1324 h 1442"/>
                <a:gd name="T24" fmla="*/ 581 w 1442"/>
                <a:gd name="T25" fmla="*/ 1362 h 1442"/>
                <a:gd name="T26" fmla="*/ 791 w 1442"/>
                <a:gd name="T27" fmla="*/ 1373 h 1442"/>
                <a:gd name="T28" fmla="*/ 912 w 1442"/>
                <a:gd name="T29" fmla="*/ 1348 h 1442"/>
                <a:gd name="T30" fmla="*/ 1093 w 1442"/>
                <a:gd name="T31" fmla="*/ 1262 h 1442"/>
                <a:gd name="T32" fmla="*/ 1185 w 1442"/>
                <a:gd name="T33" fmla="*/ 1185 h 1442"/>
                <a:gd name="T34" fmla="*/ 1261 w 1442"/>
                <a:gd name="T35" fmla="*/ 1093 h 1442"/>
                <a:gd name="T36" fmla="*/ 1348 w 1442"/>
                <a:gd name="T37" fmla="*/ 912 h 1442"/>
                <a:gd name="T38" fmla="*/ 1373 w 1442"/>
                <a:gd name="T39" fmla="*/ 791 h 1442"/>
                <a:gd name="T40" fmla="*/ 1361 w 1442"/>
                <a:gd name="T41" fmla="*/ 581 h 1442"/>
                <a:gd name="T42" fmla="*/ 1324 w 1442"/>
                <a:gd name="T43" fmla="*/ 465 h 1442"/>
                <a:gd name="T44" fmla="*/ 1261 w 1442"/>
                <a:gd name="T45" fmla="*/ 347 h 1442"/>
                <a:gd name="T46" fmla="*/ 1136 w 1442"/>
                <a:gd name="T47" fmla="*/ 212 h 1442"/>
                <a:gd name="T48" fmla="*/ 1036 w 1442"/>
                <a:gd name="T49" fmla="*/ 143 h 1442"/>
                <a:gd name="T50" fmla="*/ 859 w 1442"/>
                <a:gd name="T51" fmla="*/ 79 h 1442"/>
                <a:gd name="T52" fmla="*/ 720 w 1442"/>
                <a:gd name="T53" fmla="*/ 65 h 1442"/>
                <a:gd name="T54" fmla="*/ 859 w 1442"/>
                <a:gd name="T55" fmla="*/ 14 h 1442"/>
                <a:gd name="T56" fmla="*/ 1000 w 1442"/>
                <a:gd name="T57" fmla="*/ 57 h 1442"/>
                <a:gd name="T58" fmla="*/ 1128 w 1442"/>
                <a:gd name="T59" fmla="*/ 126 h 1442"/>
                <a:gd name="T60" fmla="*/ 1273 w 1442"/>
                <a:gd name="T61" fmla="*/ 259 h 1442"/>
                <a:gd name="T62" fmla="*/ 1355 w 1442"/>
                <a:gd name="T63" fmla="*/ 379 h 1442"/>
                <a:gd name="T64" fmla="*/ 1424 w 1442"/>
                <a:gd name="T65" fmla="*/ 569 h 1442"/>
                <a:gd name="T66" fmla="*/ 1442 w 1442"/>
                <a:gd name="T67" fmla="*/ 720 h 1442"/>
                <a:gd name="T68" fmla="*/ 1424 w 1442"/>
                <a:gd name="T69" fmla="*/ 871 h 1442"/>
                <a:gd name="T70" fmla="*/ 1355 w 1442"/>
                <a:gd name="T71" fmla="*/ 1062 h 1442"/>
                <a:gd name="T72" fmla="*/ 1273 w 1442"/>
                <a:gd name="T73" fmla="*/ 1181 h 1442"/>
                <a:gd name="T74" fmla="*/ 1128 w 1442"/>
                <a:gd name="T75" fmla="*/ 1315 h 1442"/>
                <a:gd name="T76" fmla="*/ 1000 w 1442"/>
                <a:gd name="T77" fmla="*/ 1383 h 1442"/>
                <a:gd name="T78" fmla="*/ 859 w 1442"/>
                <a:gd name="T79" fmla="*/ 1426 h 1442"/>
                <a:gd name="T80" fmla="*/ 649 w 1442"/>
                <a:gd name="T81" fmla="*/ 1438 h 1442"/>
                <a:gd name="T82" fmla="*/ 502 w 1442"/>
                <a:gd name="T83" fmla="*/ 1407 h 1442"/>
                <a:gd name="T84" fmla="*/ 322 w 1442"/>
                <a:gd name="T85" fmla="*/ 1320 h 1442"/>
                <a:gd name="T86" fmla="*/ 210 w 1442"/>
                <a:gd name="T87" fmla="*/ 1230 h 1442"/>
                <a:gd name="T88" fmla="*/ 120 w 1442"/>
                <a:gd name="T89" fmla="*/ 1118 h 1442"/>
                <a:gd name="T90" fmla="*/ 34 w 1442"/>
                <a:gd name="T91" fmla="*/ 938 h 1442"/>
                <a:gd name="T92" fmla="*/ 2 w 1442"/>
                <a:gd name="T93" fmla="*/ 791 h 1442"/>
                <a:gd name="T94" fmla="*/ 14 w 1442"/>
                <a:gd name="T95" fmla="*/ 581 h 1442"/>
                <a:gd name="T96" fmla="*/ 57 w 1442"/>
                <a:gd name="T97" fmla="*/ 440 h 1442"/>
                <a:gd name="T98" fmla="*/ 126 w 1442"/>
                <a:gd name="T99" fmla="*/ 312 h 1442"/>
                <a:gd name="T100" fmla="*/ 259 w 1442"/>
                <a:gd name="T101" fmla="*/ 167 h 1442"/>
                <a:gd name="T102" fmla="*/ 379 w 1442"/>
                <a:gd name="T103" fmla="*/ 85 h 1442"/>
                <a:gd name="T104" fmla="*/ 569 w 1442"/>
                <a:gd name="T105" fmla="*/ 16 h 1442"/>
                <a:gd name="T106" fmla="*/ 720 w 1442"/>
                <a:gd name="T107"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0" y="65"/>
                  </a:moveTo>
                  <a:lnTo>
                    <a:pt x="649" y="67"/>
                  </a:lnTo>
                  <a:lnTo>
                    <a:pt x="581" y="79"/>
                  </a:lnTo>
                  <a:lnTo>
                    <a:pt x="581" y="79"/>
                  </a:lnTo>
                  <a:lnTo>
                    <a:pt x="528" y="92"/>
                  </a:lnTo>
                  <a:lnTo>
                    <a:pt x="465" y="116"/>
                  </a:lnTo>
                  <a:lnTo>
                    <a:pt x="404" y="143"/>
                  </a:lnTo>
                  <a:lnTo>
                    <a:pt x="347" y="179"/>
                  </a:lnTo>
                  <a:lnTo>
                    <a:pt x="347" y="179"/>
                  </a:lnTo>
                  <a:lnTo>
                    <a:pt x="304" y="212"/>
                  </a:lnTo>
                  <a:lnTo>
                    <a:pt x="255" y="255"/>
                  </a:lnTo>
                  <a:lnTo>
                    <a:pt x="212" y="304"/>
                  </a:lnTo>
                  <a:lnTo>
                    <a:pt x="179" y="347"/>
                  </a:lnTo>
                  <a:lnTo>
                    <a:pt x="179" y="347"/>
                  </a:lnTo>
                  <a:lnTo>
                    <a:pt x="143" y="404"/>
                  </a:lnTo>
                  <a:lnTo>
                    <a:pt x="116" y="465"/>
                  </a:lnTo>
                  <a:lnTo>
                    <a:pt x="92" y="528"/>
                  </a:lnTo>
                  <a:lnTo>
                    <a:pt x="79" y="581"/>
                  </a:lnTo>
                  <a:lnTo>
                    <a:pt x="79" y="581"/>
                  </a:lnTo>
                  <a:lnTo>
                    <a:pt x="67" y="650"/>
                  </a:lnTo>
                  <a:lnTo>
                    <a:pt x="65" y="720"/>
                  </a:lnTo>
                  <a:lnTo>
                    <a:pt x="67" y="791"/>
                  </a:lnTo>
                  <a:lnTo>
                    <a:pt x="79" y="859"/>
                  </a:lnTo>
                  <a:lnTo>
                    <a:pt x="79" y="859"/>
                  </a:lnTo>
                  <a:lnTo>
                    <a:pt x="92" y="912"/>
                  </a:lnTo>
                  <a:lnTo>
                    <a:pt x="116" y="975"/>
                  </a:lnTo>
                  <a:lnTo>
                    <a:pt x="143" y="1036"/>
                  </a:lnTo>
                  <a:lnTo>
                    <a:pt x="179" y="1093"/>
                  </a:lnTo>
                  <a:lnTo>
                    <a:pt x="179" y="1093"/>
                  </a:lnTo>
                  <a:lnTo>
                    <a:pt x="212" y="1136"/>
                  </a:lnTo>
                  <a:lnTo>
                    <a:pt x="255" y="1185"/>
                  </a:lnTo>
                  <a:lnTo>
                    <a:pt x="304" y="1228"/>
                  </a:lnTo>
                  <a:lnTo>
                    <a:pt x="347" y="1262"/>
                  </a:lnTo>
                  <a:lnTo>
                    <a:pt x="347" y="1262"/>
                  </a:lnTo>
                  <a:lnTo>
                    <a:pt x="404" y="1297"/>
                  </a:lnTo>
                  <a:lnTo>
                    <a:pt x="465" y="1324"/>
                  </a:lnTo>
                  <a:lnTo>
                    <a:pt x="528" y="1348"/>
                  </a:lnTo>
                  <a:lnTo>
                    <a:pt x="581" y="1362"/>
                  </a:lnTo>
                  <a:lnTo>
                    <a:pt x="581" y="1362"/>
                  </a:lnTo>
                  <a:lnTo>
                    <a:pt x="649" y="1373"/>
                  </a:lnTo>
                  <a:lnTo>
                    <a:pt x="720" y="1377"/>
                  </a:lnTo>
                  <a:lnTo>
                    <a:pt x="791" y="1373"/>
                  </a:lnTo>
                  <a:lnTo>
                    <a:pt x="859" y="1362"/>
                  </a:lnTo>
                  <a:lnTo>
                    <a:pt x="859" y="1362"/>
                  </a:lnTo>
                  <a:lnTo>
                    <a:pt x="912" y="1348"/>
                  </a:lnTo>
                  <a:lnTo>
                    <a:pt x="975" y="1324"/>
                  </a:lnTo>
                  <a:lnTo>
                    <a:pt x="1036" y="1297"/>
                  </a:lnTo>
                  <a:lnTo>
                    <a:pt x="1093" y="1262"/>
                  </a:lnTo>
                  <a:lnTo>
                    <a:pt x="1093" y="1262"/>
                  </a:lnTo>
                  <a:lnTo>
                    <a:pt x="1136" y="1228"/>
                  </a:lnTo>
                  <a:lnTo>
                    <a:pt x="1185" y="1185"/>
                  </a:lnTo>
                  <a:lnTo>
                    <a:pt x="1228" y="1136"/>
                  </a:lnTo>
                  <a:lnTo>
                    <a:pt x="1261" y="1093"/>
                  </a:lnTo>
                  <a:lnTo>
                    <a:pt x="1261" y="1093"/>
                  </a:lnTo>
                  <a:lnTo>
                    <a:pt x="1297" y="1036"/>
                  </a:lnTo>
                  <a:lnTo>
                    <a:pt x="1324" y="975"/>
                  </a:lnTo>
                  <a:lnTo>
                    <a:pt x="1348" y="912"/>
                  </a:lnTo>
                  <a:lnTo>
                    <a:pt x="1361" y="859"/>
                  </a:lnTo>
                  <a:lnTo>
                    <a:pt x="1361" y="859"/>
                  </a:lnTo>
                  <a:lnTo>
                    <a:pt x="1373" y="791"/>
                  </a:lnTo>
                  <a:lnTo>
                    <a:pt x="1377" y="720"/>
                  </a:lnTo>
                  <a:lnTo>
                    <a:pt x="1373" y="650"/>
                  </a:lnTo>
                  <a:lnTo>
                    <a:pt x="1361" y="581"/>
                  </a:lnTo>
                  <a:lnTo>
                    <a:pt x="1361" y="581"/>
                  </a:lnTo>
                  <a:lnTo>
                    <a:pt x="1348" y="528"/>
                  </a:lnTo>
                  <a:lnTo>
                    <a:pt x="1324" y="465"/>
                  </a:lnTo>
                  <a:lnTo>
                    <a:pt x="1297" y="404"/>
                  </a:lnTo>
                  <a:lnTo>
                    <a:pt x="1261" y="347"/>
                  </a:lnTo>
                  <a:lnTo>
                    <a:pt x="1261" y="347"/>
                  </a:lnTo>
                  <a:lnTo>
                    <a:pt x="1228" y="304"/>
                  </a:lnTo>
                  <a:lnTo>
                    <a:pt x="1185" y="255"/>
                  </a:lnTo>
                  <a:lnTo>
                    <a:pt x="1136" y="212"/>
                  </a:lnTo>
                  <a:lnTo>
                    <a:pt x="1093" y="179"/>
                  </a:lnTo>
                  <a:lnTo>
                    <a:pt x="1093" y="179"/>
                  </a:lnTo>
                  <a:lnTo>
                    <a:pt x="1036" y="143"/>
                  </a:lnTo>
                  <a:lnTo>
                    <a:pt x="975" y="116"/>
                  </a:lnTo>
                  <a:lnTo>
                    <a:pt x="912" y="92"/>
                  </a:lnTo>
                  <a:lnTo>
                    <a:pt x="859" y="79"/>
                  </a:lnTo>
                  <a:lnTo>
                    <a:pt x="859" y="79"/>
                  </a:lnTo>
                  <a:lnTo>
                    <a:pt x="791" y="67"/>
                  </a:lnTo>
                  <a:lnTo>
                    <a:pt x="720" y="65"/>
                  </a:lnTo>
                  <a:close/>
                  <a:moveTo>
                    <a:pt x="720" y="0"/>
                  </a:moveTo>
                  <a:lnTo>
                    <a:pt x="791" y="2"/>
                  </a:lnTo>
                  <a:lnTo>
                    <a:pt x="859" y="14"/>
                  </a:lnTo>
                  <a:lnTo>
                    <a:pt x="871" y="16"/>
                  </a:lnTo>
                  <a:lnTo>
                    <a:pt x="938" y="34"/>
                  </a:lnTo>
                  <a:lnTo>
                    <a:pt x="1000" y="57"/>
                  </a:lnTo>
                  <a:lnTo>
                    <a:pt x="1061" y="85"/>
                  </a:lnTo>
                  <a:lnTo>
                    <a:pt x="1118" y="120"/>
                  </a:lnTo>
                  <a:lnTo>
                    <a:pt x="1128" y="126"/>
                  </a:lnTo>
                  <a:lnTo>
                    <a:pt x="1181" y="167"/>
                  </a:lnTo>
                  <a:lnTo>
                    <a:pt x="1230" y="210"/>
                  </a:lnTo>
                  <a:lnTo>
                    <a:pt x="1273" y="259"/>
                  </a:lnTo>
                  <a:lnTo>
                    <a:pt x="1314" y="312"/>
                  </a:lnTo>
                  <a:lnTo>
                    <a:pt x="1320" y="322"/>
                  </a:lnTo>
                  <a:lnTo>
                    <a:pt x="1355" y="379"/>
                  </a:lnTo>
                  <a:lnTo>
                    <a:pt x="1383" y="440"/>
                  </a:lnTo>
                  <a:lnTo>
                    <a:pt x="1406" y="502"/>
                  </a:lnTo>
                  <a:lnTo>
                    <a:pt x="1424" y="569"/>
                  </a:lnTo>
                  <a:lnTo>
                    <a:pt x="1426" y="581"/>
                  </a:lnTo>
                  <a:lnTo>
                    <a:pt x="1438" y="650"/>
                  </a:lnTo>
                  <a:lnTo>
                    <a:pt x="1442" y="720"/>
                  </a:lnTo>
                  <a:lnTo>
                    <a:pt x="1438" y="791"/>
                  </a:lnTo>
                  <a:lnTo>
                    <a:pt x="1426" y="859"/>
                  </a:lnTo>
                  <a:lnTo>
                    <a:pt x="1424" y="871"/>
                  </a:lnTo>
                  <a:lnTo>
                    <a:pt x="1406" y="938"/>
                  </a:lnTo>
                  <a:lnTo>
                    <a:pt x="1383" y="1001"/>
                  </a:lnTo>
                  <a:lnTo>
                    <a:pt x="1355" y="1062"/>
                  </a:lnTo>
                  <a:lnTo>
                    <a:pt x="1320" y="1118"/>
                  </a:lnTo>
                  <a:lnTo>
                    <a:pt x="1314" y="1128"/>
                  </a:lnTo>
                  <a:lnTo>
                    <a:pt x="1273" y="1181"/>
                  </a:lnTo>
                  <a:lnTo>
                    <a:pt x="1230" y="1230"/>
                  </a:lnTo>
                  <a:lnTo>
                    <a:pt x="1181" y="1273"/>
                  </a:lnTo>
                  <a:lnTo>
                    <a:pt x="1128" y="1315"/>
                  </a:lnTo>
                  <a:lnTo>
                    <a:pt x="1118" y="1320"/>
                  </a:lnTo>
                  <a:lnTo>
                    <a:pt x="1061" y="1356"/>
                  </a:lnTo>
                  <a:lnTo>
                    <a:pt x="1000" y="1383"/>
                  </a:lnTo>
                  <a:lnTo>
                    <a:pt x="938" y="1407"/>
                  </a:lnTo>
                  <a:lnTo>
                    <a:pt x="871" y="1424"/>
                  </a:lnTo>
                  <a:lnTo>
                    <a:pt x="859" y="1426"/>
                  </a:lnTo>
                  <a:lnTo>
                    <a:pt x="791" y="1438"/>
                  </a:lnTo>
                  <a:lnTo>
                    <a:pt x="720" y="1442"/>
                  </a:lnTo>
                  <a:lnTo>
                    <a:pt x="649" y="1438"/>
                  </a:lnTo>
                  <a:lnTo>
                    <a:pt x="581" y="1426"/>
                  </a:lnTo>
                  <a:lnTo>
                    <a:pt x="569" y="1424"/>
                  </a:lnTo>
                  <a:lnTo>
                    <a:pt x="502" y="1407"/>
                  </a:lnTo>
                  <a:lnTo>
                    <a:pt x="440" y="1383"/>
                  </a:lnTo>
                  <a:lnTo>
                    <a:pt x="379" y="1356"/>
                  </a:lnTo>
                  <a:lnTo>
                    <a:pt x="322" y="1320"/>
                  </a:lnTo>
                  <a:lnTo>
                    <a:pt x="312" y="1315"/>
                  </a:lnTo>
                  <a:lnTo>
                    <a:pt x="259" y="1273"/>
                  </a:lnTo>
                  <a:lnTo>
                    <a:pt x="210" y="1230"/>
                  </a:lnTo>
                  <a:lnTo>
                    <a:pt x="167" y="1181"/>
                  </a:lnTo>
                  <a:lnTo>
                    <a:pt x="126" y="1128"/>
                  </a:lnTo>
                  <a:lnTo>
                    <a:pt x="120" y="1118"/>
                  </a:lnTo>
                  <a:lnTo>
                    <a:pt x="85" y="1062"/>
                  </a:lnTo>
                  <a:lnTo>
                    <a:pt x="57" y="1001"/>
                  </a:lnTo>
                  <a:lnTo>
                    <a:pt x="34" y="938"/>
                  </a:lnTo>
                  <a:lnTo>
                    <a:pt x="16" y="871"/>
                  </a:lnTo>
                  <a:lnTo>
                    <a:pt x="14" y="859"/>
                  </a:lnTo>
                  <a:lnTo>
                    <a:pt x="2" y="791"/>
                  </a:lnTo>
                  <a:lnTo>
                    <a:pt x="0" y="720"/>
                  </a:lnTo>
                  <a:lnTo>
                    <a:pt x="2" y="650"/>
                  </a:lnTo>
                  <a:lnTo>
                    <a:pt x="14" y="581"/>
                  </a:lnTo>
                  <a:lnTo>
                    <a:pt x="16" y="569"/>
                  </a:lnTo>
                  <a:lnTo>
                    <a:pt x="34" y="502"/>
                  </a:lnTo>
                  <a:lnTo>
                    <a:pt x="57" y="440"/>
                  </a:lnTo>
                  <a:lnTo>
                    <a:pt x="85" y="379"/>
                  </a:lnTo>
                  <a:lnTo>
                    <a:pt x="120" y="322"/>
                  </a:lnTo>
                  <a:lnTo>
                    <a:pt x="126" y="312"/>
                  </a:lnTo>
                  <a:lnTo>
                    <a:pt x="167" y="259"/>
                  </a:lnTo>
                  <a:lnTo>
                    <a:pt x="210" y="210"/>
                  </a:lnTo>
                  <a:lnTo>
                    <a:pt x="259" y="167"/>
                  </a:lnTo>
                  <a:lnTo>
                    <a:pt x="312" y="126"/>
                  </a:lnTo>
                  <a:lnTo>
                    <a:pt x="322" y="120"/>
                  </a:lnTo>
                  <a:lnTo>
                    <a:pt x="379" y="85"/>
                  </a:lnTo>
                  <a:lnTo>
                    <a:pt x="440" y="57"/>
                  </a:lnTo>
                  <a:lnTo>
                    <a:pt x="502" y="34"/>
                  </a:lnTo>
                  <a:lnTo>
                    <a:pt x="569" y="16"/>
                  </a:lnTo>
                  <a:lnTo>
                    <a:pt x="581" y="14"/>
                  </a:lnTo>
                  <a:lnTo>
                    <a:pt x="649" y="2"/>
                  </a:lnTo>
                  <a:lnTo>
                    <a:pt x="720" y="0"/>
                  </a:lnTo>
                  <a:close/>
                </a:path>
              </a:pathLst>
            </a:custGeom>
            <a:solidFill>
              <a:schemeClr val="accent1">
                <a:lumMod val="50000"/>
              </a:schemeClr>
            </a:solidFill>
            <a:ln w="0">
              <a:solidFill>
                <a:srgbClr val="6DD5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1612">
              <a:extLst>
                <a:ext uri="{FF2B5EF4-FFF2-40B4-BE49-F238E27FC236}">
                  <a16:creationId xmlns:a16="http://schemas.microsoft.com/office/drawing/2014/main" id="{E1912C9E-19EA-4F41-AD89-C1E59B830B72}"/>
                </a:ext>
              </a:extLst>
            </p:cNvPr>
            <p:cNvSpPr>
              <a:spLocks/>
            </p:cNvSpPr>
            <p:nvPr/>
          </p:nvSpPr>
          <p:spPr bwMode="auto">
            <a:xfrm>
              <a:off x="4093267" y="4404698"/>
              <a:ext cx="1358900" cy="1358900"/>
            </a:xfrm>
            <a:custGeom>
              <a:avLst/>
              <a:gdLst>
                <a:gd name="T0" fmla="*/ 855 w 1710"/>
                <a:gd name="T1" fmla="*/ 0 h 1713"/>
                <a:gd name="T2" fmla="*/ 955 w 1710"/>
                <a:gd name="T3" fmla="*/ 6 h 1713"/>
                <a:gd name="T4" fmla="*/ 1051 w 1710"/>
                <a:gd name="T5" fmla="*/ 24 h 1713"/>
                <a:gd name="T6" fmla="*/ 1143 w 1710"/>
                <a:gd name="T7" fmla="*/ 51 h 1713"/>
                <a:gd name="T8" fmla="*/ 1232 w 1710"/>
                <a:gd name="T9" fmla="*/ 88 h 1713"/>
                <a:gd name="T10" fmla="*/ 1314 w 1710"/>
                <a:gd name="T11" fmla="*/ 134 h 1713"/>
                <a:gd name="T12" fmla="*/ 1390 w 1710"/>
                <a:gd name="T13" fmla="*/ 189 h 1713"/>
                <a:gd name="T14" fmla="*/ 1461 w 1710"/>
                <a:gd name="T15" fmla="*/ 251 h 1713"/>
                <a:gd name="T16" fmla="*/ 1522 w 1710"/>
                <a:gd name="T17" fmla="*/ 322 h 1713"/>
                <a:gd name="T18" fmla="*/ 1577 w 1710"/>
                <a:gd name="T19" fmla="*/ 398 h 1713"/>
                <a:gd name="T20" fmla="*/ 1624 w 1710"/>
                <a:gd name="T21" fmla="*/ 481 h 1713"/>
                <a:gd name="T22" fmla="*/ 1661 w 1710"/>
                <a:gd name="T23" fmla="*/ 567 h 1713"/>
                <a:gd name="T24" fmla="*/ 1688 w 1710"/>
                <a:gd name="T25" fmla="*/ 659 h 1713"/>
                <a:gd name="T26" fmla="*/ 1704 w 1710"/>
                <a:gd name="T27" fmla="*/ 757 h 1713"/>
                <a:gd name="T28" fmla="*/ 1710 w 1710"/>
                <a:gd name="T29" fmla="*/ 856 h 1713"/>
                <a:gd name="T30" fmla="*/ 1704 w 1710"/>
                <a:gd name="T31" fmla="*/ 956 h 1713"/>
                <a:gd name="T32" fmla="*/ 1688 w 1710"/>
                <a:gd name="T33" fmla="*/ 1052 h 1713"/>
                <a:gd name="T34" fmla="*/ 1661 w 1710"/>
                <a:gd name="T35" fmla="*/ 1146 h 1713"/>
                <a:gd name="T36" fmla="*/ 1624 w 1710"/>
                <a:gd name="T37" fmla="*/ 1232 h 1713"/>
                <a:gd name="T38" fmla="*/ 1577 w 1710"/>
                <a:gd name="T39" fmla="*/ 1315 h 1713"/>
                <a:gd name="T40" fmla="*/ 1522 w 1710"/>
                <a:gd name="T41" fmla="*/ 1391 h 1713"/>
                <a:gd name="T42" fmla="*/ 1461 w 1710"/>
                <a:gd name="T43" fmla="*/ 1462 h 1713"/>
                <a:gd name="T44" fmla="*/ 1390 w 1710"/>
                <a:gd name="T45" fmla="*/ 1525 h 1713"/>
                <a:gd name="T46" fmla="*/ 1314 w 1710"/>
                <a:gd name="T47" fmla="*/ 1579 h 1713"/>
                <a:gd name="T48" fmla="*/ 1232 w 1710"/>
                <a:gd name="T49" fmla="*/ 1625 h 1713"/>
                <a:gd name="T50" fmla="*/ 1143 w 1710"/>
                <a:gd name="T51" fmla="*/ 1662 h 1713"/>
                <a:gd name="T52" fmla="*/ 1051 w 1710"/>
                <a:gd name="T53" fmla="*/ 1689 h 1713"/>
                <a:gd name="T54" fmla="*/ 955 w 1710"/>
                <a:gd name="T55" fmla="*/ 1707 h 1713"/>
                <a:gd name="T56" fmla="*/ 855 w 1710"/>
                <a:gd name="T57" fmla="*/ 1713 h 1713"/>
                <a:gd name="T58" fmla="*/ 755 w 1710"/>
                <a:gd name="T59" fmla="*/ 1707 h 1713"/>
                <a:gd name="T60" fmla="*/ 659 w 1710"/>
                <a:gd name="T61" fmla="*/ 1689 h 1713"/>
                <a:gd name="T62" fmla="*/ 567 w 1710"/>
                <a:gd name="T63" fmla="*/ 1662 h 1713"/>
                <a:gd name="T64" fmla="*/ 478 w 1710"/>
                <a:gd name="T65" fmla="*/ 1625 h 1713"/>
                <a:gd name="T66" fmla="*/ 396 w 1710"/>
                <a:gd name="T67" fmla="*/ 1579 h 1713"/>
                <a:gd name="T68" fmla="*/ 320 w 1710"/>
                <a:gd name="T69" fmla="*/ 1525 h 1713"/>
                <a:gd name="T70" fmla="*/ 251 w 1710"/>
                <a:gd name="T71" fmla="*/ 1462 h 1713"/>
                <a:gd name="T72" fmla="*/ 188 w 1710"/>
                <a:gd name="T73" fmla="*/ 1391 h 1713"/>
                <a:gd name="T74" fmla="*/ 133 w 1710"/>
                <a:gd name="T75" fmla="*/ 1315 h 1713"/>
                <a:gd name="T76" fmla="*/ 86 w 1710"/>
                <a:gd name="T77" fmla="*/ 1232 h 1713"/>
                <a:gd name="T78" fmla="*/ 51 w 1710"/>
                <a:gd name="T79" fmla="*/ 1146 h 1713"/>
                <a:gd name="T80" fmla="*/ 23 w 1710"/>
                <a:gd name="T81" fmla="*/ 1052 h 1713"/>
                <a:gd name="T82" fmla="*/ 6 w 1710"/>
                <a:gd name="T83" fmla="*/ 956 h 1713"/>
                <a:gd name="T84" fmla="*/ 0 w 1710"/>
                <a:gd name="T85" fmla="*/ 856 h 1713"/>
                <a:gd name="T86" fmla="*/ 6 w 1710"/>
                <a:gd name="T87" fmla="*/ 757 h 1713"/>
                <a:gd name="T88" fmla="*/ 23 w 1710"/>
                <a:gd name="T89" fmla="*/ 659 h 1713"/>
                <a:gd name="T90" fmla="*/ 51 w 1710"/>
                <a:gd name="T91" fmla="*/ 567 h 1713"/>
                <a:gd name="T92" fmla="*/ 86 w 1710"/>
                <a:gd name="T93" fmla="*/ 481 h 1713"/>
                <a:gd name="T94" fmla="*/ 133 w 1710"/>
                <a:gd name="T95" fmla="*/ 398 h 1713"/>
                <a:gd name="T96" fmla="*/ 188 w 1710"/>
                <a:gd name="T97" fmla="*/ 322 h 1713"/>
                <a:gd name="T98" fmla="*/ 251 w 1710"/>
                <a:gd name="T99" fmla="*/ 251 h 1713"/>
                <a:gd name="T100" fmla="*/ 320 w 1710"/>
                <a:gd name="T101" fmla="*/ 189 h 1713"/>
                <a:gd name="T102" fmla="*/ 396 w 1710"/>
                <a:gd name="T103" fmla="*/ 134 h 1713"/>
                <a:gd name="T104" fmla="*/ 478 w 1710"/>
                <a:gd name="T105" fmla="*/ 88 h 1713"/>
                <a:gd name="T106" fmla="*/ 567 w 1710"/>
                <a:gd name="T107" fmla="*/ 51 h 1713"/>
                <a:gd name="T108" fmla="*/ 659 w 1710"/>
                <a:gd name="T109" fmla="*/ 24 h 1713"/>
                <a:gd name="T110" fmla="*/ 755 w 1710"/>
                <a:gd name="T111" fmla="*/ 6 h 1713"/>
                <a:gd name="T112" fmla="*/ 855 w 1710"/>
                <a:gd name="T113" fmla="*/ 0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0" h="1713">
                  <a:moveTo>
                    <a:pt x="855" y="0"/>
                  </a:moveTo>
                  <a:lnTo>
                    <a:pt x="955" y="6"/>
                  </a:lnTo>
                  <a:lnTo>
                    <a:pt x="1051" y="24"/>
                  </a:lnTo>
                  <a:lnTo>
                    <a:pt x="1143" y="51"/>
                  </a:lnTo>
                  <a:lnTo>
                    <a:pt x="1232" y="88"/>
                  </a:lnTo>
                  <a:lnTo>
                    <a:pt x="1314" y="134"/>
                  </a:lnTo>
                  <a:lnTo>
                    <a:pt x="1390" y="189"/>
                  </a:lnTo>
                  <a:lnTo>
                    <a:pt x="1461" y="251"/>
                  </a:lnTo>
                  <a:lnTo>
                    <a:pt x="1522" y="322"/>
                  </a:lnTo>
                  <a:lnTo>
                    <a:pt x="1577" y="398"/>
                  </a:lnTo>
                  <a:lnTo>
                    <a:pt x="1624" y="481"/>
                  </a:lnTo>
                  <a:lnTo>
                    <a:pt x="1661" y="567"/>
                  </a:lnTo>
                  <a:lnTo>
                    <a:pt x="1688" y="659"/>
                  </a:lnTo>
                  <a:lnTo>
                    <a:pt x="1704" y="757"/>
                  </a:lnTo>
                  <a:lnTo>
                    <a:pt x="1710" y="856"/>
                  </a:lnTo>
                  <a:lnTo>
                    <a:pt x="1704" y="956"/>
                  </a:lnTo>
                  <a:lnTo>
                    <a:pt x="1688" y="1052"/>
                  </a:lnTo>
                  <a:lnTo>
                    <a:pt x="1661" y="1146"/>
                  </a:lnTo>
                  <a:lnTo>
                    <a:pt x="1624" y="1232"/>
                  </a:lnTo>
                  <a:lnTo>
                    <a:pt x="1577" y="1315"/>
                  </a:lnTo>
                  <a:lnTo>
                    <a:pt x="1522" y="1391"/>
                  </a:lnTo>
                  <a:lnTo>
                    <a:pt x="1461" y="1462"/>
                  </a:lnTo>
                  <a:lnTo>
                    <a:pt x="1390" y="1525"/>
                  </a:lnTo>
                  <a:lnTo>
                    <a:pt x="1314" y="1579"/>
                  </a:lnTo>
                  <a:lnTo>
                    <a:pt x="1232" y="1625"/>
                  </a:lnTo>
                  <a:lnTo>
                    <a:pt x="1143" y="1662"/>
                  </a:lnTo>
                  <a:lnTo>
                    <a:pt x="1051" y="1689"/>
                  </a:lnTo>
                  <a:lnTo>
                    <a:pt x="955" y="1707"/>
                  </a:lnTo>
                  <a:lnTo>
                    <a:pt x="855" y="1713"/>
                  </a:lnTo>
                  <a:lnTo>
                    <a:pt x="755" y="1707"/>
                  </a:lnTo>
                  <a:lnTo>
                    <a:pt x="659" y="1689"/>
                  </a:lnTo>
                  <a:lnTo>
                    <a:pt x="567" y="1662"/>
                  </a:lnTo>
                  <a:lnTo>
                    <a:pt x="478" y="1625"/>
                  </a:lnTo>
                  <a:lnTo>
                    <a:pt x="396" y="1579"/>
                  </a:lnTo>
                  <a:lnTo>
                    <a:pt x="320" y="1525"/>
                  </a:lnTo>
                  <a:lnTo>
                    <a:pt x="251" y="1462"/>
                  </a:lnTo>
                  <a:lnTo>
                    <a:pt x="188" y="1391"/>
                  </a:lnTo>
                  <a:lnTo>
                    <a:pt x="133" y="1315"/>
                  </a:lnTo>
                  <a:lnTo>
                    <a:pt x="86" y="1232"/>
                  </a:lnTo>
                  <a:lnTo>
                    <a:pt x="51" y="1146"/>
                  </a:lnTo>
                  <a:lnTo>
                    <a:pt x="23" y="1052"/>
                  </a:lnTo>
                  <a:lnTo>
                    <a:pt x="6" y="956"/>
                  </a:lnTo>
                  <a:lnTo>
                    <a:pt x="0" y="856"/>
                  </a:lnTo>
                  <a:lnTo>
                    <a:pt x="6" y="757"/>
                  </a:lnTo>
                  <a:lnTo>
                    <a:pt x="23" y="659"/>
                  </a:lnTo>
                  <a:lnTo>
                    <a:pt x="51" y="567"/>
                  </a:lnTo>
                  <a:lnTo>
                    <a:pt x="86" y="481"/>
                  </a:lnTo>
                  <a:lnTo>
                    <a:pt x="133" y="398"/>
                  </a:lnTo>
                  <a:lnTo>
                    <a:pt x="188" y="322"/>
                  </a:lnTo>
                  <a:lnTo>
                    <a:pt x="251" y="251"/>
                  </a:lnTo>
                  <a:lnTo>
                    <a:pt x="320" y="189"/>
                  </a:lnTo>
                  <a:lnTo>
                    <a:pt x="396" y="134"/>
                  </a:lnTo>
                  <a:lnTo>
                    <a:pt x="478" y="88"/>
                  </a:lnTo>
                  <a:lnTo>
                    <a:pt x="567" y="51"/>
                  </a:lnTo>
                  <a:lnTo>
                    <a:pt x="659" y="24"/>
                  </a:lnTo>
                  <a:lnTo>
                    <a:pt x="755" y="6"/>
                  </a:lnTo>
                  <a:lnTo>
                    <a:pt x="855"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1613">
              <a:extLst>
                <a:ext uri="{FF2B5EF4-FFF2-40B4-BE49-F238E27FC236}">
                  <a16:creationId xmlns:a16="http://schemas.microsoft.com/office/drawing/2014/main" id="{FB2CED28-1FF1-0541-8997-993CE2364AB0}"/>
                </a:ext>
              </a:extLst>
            </p:cNvPr>
            <p:cNvSpPr>
              <a:spLocks noEditPoints="1"/>
            </p:cNvSpPr>
            <p:nvPr/>
          </p:nvSpPr>
          <p:spPr bwMode="auto">
            <a:xfrm>
              <a:off x="4166292" y="4477723"/>
              <a:ext cx="1212850" cy="1212850"/>
            </a:xfrm>
            <a:custGeom>
              <a:avLst/>
              <a:gdLst>
                <a:gd name="T0" fmla="*/ 620 w 1528"/>
                <a:gd name="T1" fmla="*/ 98 h 1529"/>
                <a:gd name="T2" fmla="*/ 435 w 1528"/>
                <a:gd name="T3" fmla="*/ 167 h 1529"/>
                <a:gd name="T4" fmla="*/ 333 w 1528"/>
                <a:gd name="T5" fmla="*/ 236 h 1529"/>
                <a:gd name="T6" fmla="*/ 194 w 1528"/>
                <a:gd name="T7" fmla="*/ 389 h 1529"/>
                <a:gd name="T8" fmla="*/ 135 w 1528"/>
                <a:gd name="T9" fmla="*/ 499 h 1529"/>
                <a:gd name="T10" fmla="*/ 86 w 1528"/>
                <a:gd name="T11" fmla="*/ 689 h 1529"/>
                <a:gd name="T12" fmla="*/ 98 w 1528"/>
                <a:gd name="T13" fmla="*/ 909 h 1529"/>
                <a:gd name="T14" fmla="*/ 167 w 1528"/>
                <a:gd name="T15" fmla="*/ 1093 h 1529"/>
                <a:gd name="T16" fmla="*/ 235 w 1528"/>
                <a:gd name="T17" fmla="*/ 1195 h 1529"/>
                <a:gd name="T18" fmla="*/ 388 w 1528"/>
                <a:gd name="T19" fmla="*/ 1334 h 1529"/>
                <a:gd name="T20" fmla="*/ 498 w 1528"/>
                <a:gd name="T21" fmla="*/ 1393 h 1529"/>
                <a:gd name="T22" fmla="*/ 633 w 1528"/>
                <a:gd name="T23" fmla="*/ 1434 h 1529"/>
                <a:gd name="T24" fmla="*/ 837 w 1528"/>
                <a:gd name="T25" fmla="*/ 1442 h 1529"/>
                <a:gd name="T26" fmla="*/ 963 w 1528"/>
                <a:gd name="T27" fmla="*/ 1417 h 1529"/>
                <a:gd name="T28" fmla="*/ 1138 w 1528"/>
                <a:gd name="T29" fmla="*/ 1334 h 1529"/>
                <a:gd name="T30" fmla="*/ 1245 w 1528"/>
                <a:gd name="T31" fmla="*/ 1246 h 1529"/>
                <a:gd name="T32" fmla="*/ 1334 w 1528"/>
                <a:gd name="T33" fmla="*/ 1138 h 1529"/>
                <a:gd name="T34" fmla="*/ 1416 w 1528"/>
                <a:gd name="T35" fmla="*/ 964 h 1529"/>
                <a:gd name="T36" fmla="*/ 1442 w 1528"/>
                <a:gd name="T37" fmla="*/ 838 h 1529"/>
                <a:gd name="T38" fmla="*/ 1434 w 1528"/>
                <a:gd name="T39" fmla="*/ 634 h 1529"/>
                <a:gd name="T40" fmla="*/ 1393 w 1528"/>
                <a:gd name="T41" fmla="*/ 499 h 1529"/>
                <a:gd name="T42" fmla="*/ 1334 w 1528"/>
                <a:gd name="T43" fmla="*/ 389 h 1529"/>
                <a:gd name="T44" fmla="*/ 1194 w 1528"/>
                <a:gd name="T45" fmla="*/ 236 h 1529"/>
                <a:gd name="T46" fmla="*/ 1092 w 1528"/>
                <a:gd name="T47" fmla="*/ 167 h 1529"/>
                <a:gd name="T48" fmla="*/ 908 w 1528"/>
                <a:gd name="T49" fmla="*/ 98 h 1529"/>
                <a:gd name="T50" fmla="*/ 763 w 1528"/>
                <a:gd name="T51" fmla="*/ 0 h 1529"/>
                <a:gd name="T52" fmla="*/ 924 w 1528"/>
                <a:gd name="T53" fmla="*/ 18 h 1529"/>
                <a:gd name="T54" fmla="*/ 1124 w 1528"/>
                <a:gd name="T55" fmla="*/ 91 h 1529"/>
                <a:gd name="T56" fmla="*/ 1253 w 1528"/>
                <a:gd name="T57" fmla="*/ 177 h 1529"/>
                <a:gd name="T58" fmla="*/ 1393 w 1528"/>
                <a:gd name="T59" fmla="*/ 330 h 1529"/>
                <a:gd name="T60" fmla="*/ 1469 w 1528"/>
                <a:gd name="T61" fmla="*/ 467 h 1529"/>
                <a:gd name="T62" fmla="*/ 1514 w 1528"/>
                <a:gd name="T63" fmla="*/ 618 h 1529"/>
                <a:gd name="T64" fmla="*/ 1524 w 1528"/>
                <a:gd name="T65" fmla="*/ 838 h 1529"/>
                <a:gd name="T66" fmla="*/ 1469 w 1528"/>
                <a:gd name="T67" fmla="*/ 1062 h 1529"/>
                <a:gd name="T68" fmla="*/ 1393 w 1528"/>
                <a:gd name="T69" fmla="*/ 1197 h 1529"/>
                <a:gd name="T70" fmla="*/ 1253 w 1528"/>
                <a:gd name="T71" fmla="*/ 1352 h 1529"/>
                <a:gd name="T72" fmla="*/ 1124 w 1528"/>
                <a:gd name="T73" fmla="*/ 1438 h 1529"/>
                <a:gd name="T74" fmla="*/ 908 w 1528"/>
                <a:gd name="T75" fmla="*/ 1515 h 1529"/>
                <a:gd name="T76" fmla="*/ 688 w 1528"/>
                <a:gd name="T77" fmla="*/ 1525 h 1529"/>
                <a:gd name="T78" fmla="*/ 533 w 1528"/>
                <a:gd name="T79" fmla="*/ 1493 h 1529"/>
                <a:gd name="T80" fmla="*/ 343 w 1528"/>
                <a:gd name="T81" fmla="*/ 1403 h 1529"/>
                <a:gd name="T82" fmla="*/ 224 w 1528"/>
                <a:gd name="T83" fmla="*/ 1305 h 1529"/>
                <a:gd name="T84" fmla="*/ 126 w 1528"/>
                <a:gd name="T85" fmla="*/ 1183 h 1529"/>
                <a:gd name="T86" fmla="*/ 35 w 1528"/>
                <a:gd name="T87" fmla="*/ 995 h 1529"/>
                <a:gd name="T88" fmla="*/ 4 w 1528"/>
                <a:gd name="T89" fmla="*/ 838 h 1529"/>
                <a:gd name="T90" fmla="*/ 16 w 1528"/>
                <a:gd name="T91" fmla="*/ 618 h 1529"/>
                <a:gd name="T92" fmla="*/ 59 w 1528"/>
                <a:gd name="T93" fmla="*/ 467 h 1529"/>
                <a:gd name="T94" fmla="*/ 135 w 1528"/>
                <a:gd name="T95" fmla="*/ 330 h 1529"/>
                <a:gd name="T96" fmla="*/ 275 w 1528"/>
                <a:gd name="T97" fmla="*/ 177 h 1529"/>
                <a:gd name="T98" fmla="*/ 404 w 1528"/>
                <a:gd name="T99" fmla="*/ 91 h 1529"/>
                <a:gd name="T100" fmla="*/ 602 w 1528"/>
                <a:gd name="T101" fmla="*/ 18 h 1529"/>
                <a:gd name="T102" fmla="*/ 763 w 1528"/>
                <a:gd name="T103" fmla="*/ 0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28" h="1529">
                  <a:moveTo>
                    <a:pt x="763" y="83"/>
                  </a:moveTo>
                  <a:lnTo>
                    <a:pt x="688" y="87"/>
                  </a:lnTo>
                  <a:lnTo>
                    <a:pt x="620" y="98"/>
                  </a:lnTo>
                  <a:lnTo>
                    <a:pt x="565" y="112"/>
                  </a:lnTo>
                  <a:lnTo>
                    <a:pt x="498" y="136"/>
                  </a:lnTo>
                  <a:lnTo>
                    <a:pt x="435" y="167"/>
                  </a:lnTo>
                  <a:lnTo>
                    <a:pt x="388" y="195"/>
                  </a:lnTo>
                  <a:lnTo>
                    <a:pt x="388" y="195"/>
                  </a:lnTo>
                  <a:lnTo>
                    <a:pt x="333" y="236"/>
                  </a:lnTo>
                  <a:lnTo>
                    <a:pt x="282" y="283"/>
                  </a:lnTo>
                  <a:lnTo>
                    <a:pt x="235" y="334"/>
                  </a:lnTo>
                  <a:lnTo>
                    <a:pt x="194" y="389"/>
                  </a:lnTo>
                  <a:lnTo>
                    <a:pt x="194" y="389"/>
                  </a:lnTo>
                  <a:lnTo>
                    <a:pt x="167" y="436"/>
                  </a:lnTo>
                  <a:lnTo>
                    <a:pt x="135" y="499"/>
                  </a:lnTo>
                  <a:lnTo>
                    <a:pt x="112" y="565"/>
                  </a:lnTo>
                  <a:lnTo>
                    <a:pt x="98" y="620"/>
                  </a:lnTo>
                  <a:lnTo>
                    <a:pt x="86" y="689"/>
                  </a:lnTo>
                  <a:lnTo>
                    <a:pt x="82" y="764"/>
                  </a:lnTo>
                  <a:lnTo>
                    <a:pt x="86" y="838"/>
                  </a:lnTo>
                  <a:lnTo>
                    <a:pt x="98" y="909"/>
                  </a:lnTo>
                  <a:lnTo>
                    <a:pt x="112" y="964"/>
                  </a:lnTo>
                  <a:lnTo>
                    <a:pt x="135" y="1030"/>
                  </a:lnTo>
                  <a:lnTo>
                    <a:pt x="167" y="1093"/>
                  </a:lnTo>
                  <a:lnTo>
                    <a:pt x="194" y="1138"/>
                  </a:lnTo>
                  <a:lnTo>
                    <a:pt x="194" y="1138"/>
                  </a:lnTo>
                  <a:lnTo>
                    <a:pt x="235" y="1195"/>
                  </a:lnTo>
                  <a:lnTo>
                    <a:pt x="282" y="1246"/>
                  </a:lnTo>
                  <a:lnTo>
                    <a:pt x="333" y="1293"/>
                  </a:lnTo>
                  <a:lnTo>
                    <a:pt x="388" y="1334"/>
                  </a:lnTo>
                  <a:lnTo>
                    <a:pt x="388" y="1334"/>
                  </a:lnTo>
                  <a:lnTo>
                    <a:pt x="435" y="1362"/>
                  </a:lnTo>
                  <a:lnTo>
                    <a:pt x="498" y="1393"/>
                  </a:lnTo>
                  <a:lnTo>
                    <a:pt x="565" y="1417"/>
                  </a:lnTo>
                  <a:lnTo>
                    <a:pt x="633" y="1434"/>
                  </a:lnTo>
                  <a:lnTo>
                    <a:pt x="633" y="1434"/>
                  </a:lnTo>
                  <a:lnTo>
                    <a:pt x="688" y="1442"/>
                  </a:lnTo>
                  <a:lnTo>
                    <a:pt x="763" y="1446"/>
                  </a:lnTo>
                  <a:lnTo>
                    <a:pt x="837" y="1442"/>
                  </a:lnTo>
                  <a:lnTo>
                    <a:pt x="892" y="1434"/>
                  </a:lnTo>
                  <a:lnTo>
                    <a:pt x="892" y="1434"/>
                  </a:lnTo>
                  <a:lnTo>
                    <a:pt x="963" y="1417"/>
                  </a:lnTo>
                  <a:lnTo>
                    <a:pt x="1030" y="1393"/>
                  </a:lnTo>
                  <a:lnTo>
                    <a:pt x="1092" y="1362"/>
                  </a:lnTo>
                  <a:lnTo>
                    <a:pt x="1138" y="1334"/>
                  </a:lnTo>
                  <a:lnTo>
                    <a:pt x="1138" y="1334"/>
                  </a:lnTo>
                  <a:lnTo>
                    <a:pt x="1194" y="1293"/>
                  </a:lnTo>
                  <a:lnTo>
                    <a:pt x="1245" y="1246"/>
                  </a:lnTo>
                  <a:lnTo>
                    <a:pt x="1292" y="1195"/>
                  </a:lnTo>
                  <a:lnTo>
                    <a:pt x="1334" y="1138"/>
                  </a:lnTo>
                  <a:lnTo>
                    <a:pt x="1334" y="1138"/>
                  </a:lnTo>
                  <a:lnTo>
                    <a:pt x="1361" y="1093"/>
                  </a:lnTo>
                  <a:lnTo>
                    <a:pt x="1393" y="1030"/>
                  </a:lnTo>
                  <a:lnTo>
                    <a:pt x="1416" y="964"/>
                  </a:lnTo>
                  <a:lnTo>
                    <a:pt x="1434" y="893"/>
                  </a:lnTo>
                  <a:lnTo>
                    <a:pt x="1434" y="893"/>
                  </a:lnTo>
                  <a:lnTo>
                    <a:pt x="1442" y="838"/>
                  </a:lnTo>
                  <a:lnTo>
                    <a:pt x="1445" y="764"/>
                  </a:lnTo>
                  <a:lnTo>
                    <a:pt x="1442" y="689"/>
                  </a:lnTo>
                  <a:lnTo>
                    <a:pt x="1434" y="634"/>
                  </a:lnTo>
                  <a:lnTo>
                    <a:pt x="1434" y="634"/>
                  </a:lnTo>
                  <a:lnTo>
                    <a:pt x="1416" y="565"/>
                  </a:lnTo>
                  <a:lnTo>
                    <a:pt x="1393" y="499"/>
                  </a:lnTo>
                  <a:lnTo>
                    <a:pt x="1361" y="436"/>
                  </a:lnTo>
                  <a:lnTo>
                    <a:pt x="1334" y="389"/>
                  </a:lnTo>
                  <a:lnTo>
                    <a:pt x="1334" y="389"/>
                  </a:lnTo>
                  <a:lnTo>
                    <a:pt x="1292" y="334"/>
                  </a:lnTo>
                  <a:lnTo>
                    <a:pt x="1245" y="283"/>
                  </a:lnTo>
                  <a:lnTo>
                    <a:pt x="1194" y="236"/>
                  </a:lnTo>
                  <a:lnTo>
                    <a:pt x="1138" y="195"/>
                  </a:lnTo>
                  <a:lnTo>
                    <a:pt x="1138" y="195"/>
                  </a:lnTo>
                  <a:lnTo>
                    <a:pt x="1092" y="167"/>
                  </a:lnTo>
                  <a:lnTo>
                    <a:pt x="1030" y="136"/>
                  </a:lnTo>
                  <a:lnTo>
                    <a:pt x="963" y="112"/>
                  </a:lnTo>
                  <a:lnTo>
                    <a:pt x="908" y="98"/>
                  </a:lnTo>
                  <a:lnTo>
                    <a:pt x="837" y="87"/>
                  </a:lnTo>
                  <a:lnTo>
                    <a:pt x="763" y="83"/>
                  </a:lnTo>
                  <a:close/>
                  <a:moveTo>
                    <a:pt x="763" y="0"/>
                  </a:moveTo>
                  <a:lnTo>
                    <a:pt x="837" y="4"/>
                  </a:lnTo>
                  <a:lnTo>
                    <a:pt x="908" y="16"/>
                  </a:lnTo>
                  <a:lnTo>
                    <a:pt x="924" y="18"/>
                  </a:lnTo>
                  <a:lnTo>
                    <a:pt x="994" y="36"/>
                  </a:lnTo>
                  <a:lnTo>
                    <a:pt x="1061" y="59"/>
                  </a:lnTo>
                  <a:lnTo>
                    <a:pt x="1124" y="91"/>
                  </a:lnTo>
                  <a:lnTo>
                    <a:pt x="1183" y="126"/>
                  </a:lnTo>
                  <a:lnTo>
                    <a:pt x="1196" y="136"/>
                  </a:lnTo>
                  <a:lnTo>
                    <a:pt x="1253" y="177"/>
                  </a:lnTo>
                  <a:lnTo>
                    <a:pt x="1304" y="224"/>
                  </a:lnTo>
                  <a:lnTo>
                    <a:pt x="1351" y="275"/>
                  </a:lnTo>
                  <a:lnTo>
                    <a:pt x="1393" y="330"/>
                  </a:lnTo>
                  <a:lnTo>
                    <a:pt x="1402" y="344"/>
                  </a:lnTo>
                  <a:lnTo>
                    <a:pt x="1438" y="405"/>
                  </a:lnTo>
                  <a:lnTo>
                    <a:pt x="1469" y="467"/>
                  </a:lnTo>
                  <a:lnTo>
                    <a:pt x="1493" y="534"/>
                  </a:lnTo>
                  <a:lnTo>
                    <a:pt x="1510" y="603"/>
                  </a:lnTo>
                  <a:lnTo>
                    <a:pt x="1514" y="618"/>
                  </a:lnTo>
                  <a:lnTo>
                    <a:pt x="1524" y="689"/>
                  </a:lnTo>
                  <a:lnTo>
                    <a:pt x="1528" y="764"/>
                  </a:lnTo>
                  <a:lnTo>
                    <a:pt x="1524" y="838"/>
                  </a:lnTo>
                  <a:lnTo>
                    <a:pt x="1514" y="909"/>
                  </a:lnTo>
                  <a:lnTo>
                    <a:pt x="1493" y="995"/>
                  </a:lnTo>
                  <a:lnTo>
                    <a:pt x="1469" y="1062"/>
                  </a:lnTo>
                  <a:lnTo>
                    <a:pt x="1438" y="1125"/>
                  </a:lnTo>
                  <a:lnTo>
                    <a:pt x="1402" y="1183"/>
                  </a:lnTo>
                  <a:lnTo>
                    <a:pt x="1393" y="1197"/>
                  </a:lnTo>
                  <a:lnTo>
                    <a:pt x="1351" y="1254"/>
                  </a:lnTo>
                  <a:lnTo>
                    <a:pt x="1304" y="1305"/>
                  </a:lnTo>
                  <a:lnTo>
                    <a:pt x="1253" y="1352"/>
                  </a:lnTo>
                  <a:lnTo>
                    <a:pt x="1196" y="1393"/>
                  </a:lnTo>
                  <a:lnTo>
                    <a:pt x="1183" y="1403"/>
                  </a:lnTo>
                  <a:lnTo>
                    <a:pt x="1124" y="1438"/>
                  </a:lnTo>
                  <a:lnTo>
                    <a:pt x="1061" y="1470"/>
                  </a:lnTo>
                  <a:lnTo>
                    <a:pt x="994" y="1493"/>
                  </a:lnTo>
                  <a:lnTo>
                    <a:pt x="908" y="1515"/>
                  </a:lnTo>
                  <a:lnTo>
                    <a:pt x="837" y="1525"/>
                  </a:lnTo>
                  <a:lnTo>
                    <a:pt x="763" y="1529"/>
                  </a:lnTo>
                  <a:lnTo>
                    <a:pt x="688" y="1525"/>
                  </a:lnTo>
                  <a:lnTo>
                    <a:pt x="618" y="1515"/>
                  </a:lnTo>
                  <a:lnTo>
                    <a:pt x="602" y="1511"/>
                  </a:lnTo>
                  <a:lnTo>
                    <a:pt x="533" y="1493"/>
                  </a:lnTo>
                  <a:lnTo>
                    <a:pt x="467" y="1470"/>
                  </a:lnTo>
                  <a:lnTo>
                    <a:pt x="404" y="1438"/>
                  </a:lnTo>
                  <a:lnTo>
                    <a:pt x="343" y="1403"/>
                  </a:lnTo>
                  <a:lnTo>
                    <a:pt x="329" y="1393"/>
                  </a:lnTo>
                  <a:lnTo>
                    <a:pt x="275" y="1352"/>
                  </a:lnTo>
                  <a:lnTo>
                    <a:pt x="224" y="1305"/>
                  </a:lnTo>
                  <a:lnTo>
                    <a:pt x="177" y="1254"/>
                  </a:lnTo>
                  <a:lnTo>
                    <a:pt x="135" y="1197"/>
                  </a:lnTo>
                  <a:lnTo>
                    <a:pt x="126" y="1183"/>
                  </a:lnTo>
                  <a:lnTo>
                    <a:pt x="90" y="1125"/>
                  </a:lnTo>
                  <a:lnTo>
                    <a:pt x="59" y="1062"/>
                  </a:lnTo>
                  <a:lnTo>
                    <a:pt x="35" y="995"/>
                  </a:lnTo>
                  <a:lnTo>
                    <a:pt x="18" y="924"/>
                  </a:lnTo>
                  <a:lnTo>
                    <a:pt x="16" y="909"/>
                  </a:lnTo>
                  <a:lnTo>
                    <a:pt x="4" y="838"/>
                  </a:lnTo>
                  <a:lnTo>
                    <a:pt x="0" y="764"/>
                  </a:lnTo>
                  <a:lnTo>
                    <a:pt x="4" y="689"/>
                  </a:lnTo>
                  <a:lnTo>
                    <a:pt x="16" y="618"/>
                  </a:lnTo>
                  <a:lnTo>
                    <a:pt x="18" y="603"/>
                  </a:lnTo>
                  <a:lnTo>
                    <a:pt x="35" y="534"/>
                  </a:lnTo>
                  <a:lnTo>
                    <a:pt x="59" y="467"/>
                  </a:lnTo>
                  <a:lnTo>
                    <a:pt x="90" y="405"/>
                  </a:lnTo>
                  <a:lnTo>
                    <a:pt x="126" y="344"/>
                  </a:lnTo>
                  <a:lnTo>
                    <a:pt x="135" y="330"/>
                  </a:lnTo>
                  <a:lnTo>
                    <a:pt x="177" y="275"/>
                  </a:lnTo>
                  <a:lnTo>
                    <a:pt x="224" y="224"/>
                  </a:lnTo>
                  <a:lnTo>
                    <a:pt x="275" y="177"/>
                  </a:lnTo>
                  <a:lnTo>
                    <a:pt x="329" y="136"/>
                  </a:lnTo>
                  <a:lnTo>
                    <a:pt x="343" y="126"/>
                  </a:lnTo>
                  <a:lnTo>
                    <a:pt x="404" y="91"/>
                  </a:lnTo>
                  <a:lnTo>
                    <a:pt x="467" y="59"/>
                  </a:lnTo>
                  <a:lnTo>
                    <a:pt x="533" y="36"/>
                  </a:lnTo>
                  <a:lnTo>
                    <a:pt x="602" y="18"/>
                  </a:lnTo>
                  <a:lnTo>
                    <a:pt x="618" y="16"/>
                  </a:lnTo>
                  <a:lnTo>
                    <a:pt x="688" y="4"/>
                  </a:lnTo>
                  <a:lnTo>
                    <a:pt x="7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1614">
              <a:extLst>
                <a:ext uri="{FF2B5EF4-FFF2-40B4-BE49-F238E27FC236}">
                  <a16:creationId xmlns:a16="http://schemas.microsoft.com/office/drawing/2014/main" id="{302FA82D-DB29-3949-81C2-85AB814D286A}"/>
                </a:ext>
              </a:extLst>
            </p:cNvPr>
            <p:cNvSpPr>
              <a:spLocks/>
            </p:cNvSpPr>
            <p:nvPr/>
          </p:nvSpPr>
          <p:spPr bwMode="auto">
            <a:xfrm>
              <a:off x="4099617" y="2091711"/>
              <a:ext cx="1346200" cy="1346200"/>
            </a:xfrm>
            <a:custGeom>
              <a:avLst/>
              <a:gdLst>
                <a:gd name="T0" fmla="*/ 847 w 1694"/>
                <a:gd name="T1" fmla="*/ 0 h 1695"/>
                <a:gd name="T2" fmla="*/ 947 w 1694"/>
                <a:gd name="T3" fmla="*/ 6 h 1695"/>
                <a:gd name="T4" fmla="*/ 1041 w 1694"/>
                <a:gd name="T5" fmla="*/ 23 h 1695"/>
                <a:gd name="T6" fmla="*/ 1133 w 1694"/>
                <a:gd name="T7" fmla="*/ 51 h 1695"/>
                <a:gd name="T8" fmla="*/ 1220 w 1694"/>
                <a:gd name="T9" fmla="*/ 86 h 1695"/>
                <a:gd name="T10" fmla="*/ 1302 w 1694"/>
                <a:gd name="T11" fmla="*/ 133 h 1695"/>
                <a:gd name="T12" fmla="*/ 1376 w 1694"/>
                <a:gd name="T13" fmla="*/ 186 h 1695"/>
                <a:gd name="T14" fmla="*/ 1447 w 1694"/>
                <a:gd name="T15" fmla="*/ 249 h 1695"/>
                <a:gd name="T16" fmla="*/ 1508 w 1694"/>
                <a:gd name="T17" fmla="*/ 318 h 1695"/>
                <a:gd name="T18" fmla="*/ 1563 w 1694"/>
                <a:gd name="T19" fmla="*/ 394 h 1695"/>
                <a:gd name="T20" fmla="*/ 1608 w 1694"/>
                <a:gd name="T21" fmla="*/ 475 h 1695"/>
                <a:gd name="T22" fmla="*/ 1645 w 1694"/>
                <a:gd name="T23" fmla="*/ 563 h 1695"/>
                <a:gd name="T24" fmla="*/ 1673 w 1694"/>
                <a:gd name="T25" fmla="*/ 653 h 1695"/>
                <a:gd name="T26" fmla="*/ 1688 w 1694"/>
                <a:gd name="T27" fmla="*/ 749 h 1695"/>
                <a:gd name="T28" fmla="*/ 1694 w 1694"/>
                <a:gd name="T29" fmla="*/ 847 h 1695"/>
                <a:gd name="T30" fmla="*/ 1688 w 1694"/>
                <a:gd name="T31" fmla="*/ 947 h 1695"/>
                <a:gd name="T32" fmla="*/ 1673 w 1694"/>
                <a:gd name="T33" fmla="*/ 1042 h 1695"/>
                <a:gd name="T34" fmla="*/ 1645 w 1694"/>
                <a:gd name="T35" fmla="*/ 1134 h 1695"/>
                <a:gd name="T36" fmla="*/ 1608 w 1694"/>
                <a:gd name="T37" fmla="*/ 1220 h 1695"/>
                <a:gd name="T38" fmla="*/ 1563 w 1694"/>
                <a:gd name="T39" fmla="*/ 1303 h 1695"/>
                <a:gd name="T40" fmla="*/ 1508 w 1694"/>
                <a:gd name="T41" fmla="*/ 1377 h 1695"/>
                <a:gd name="T42" fmla="*/ 1447 w 1694"/>
                <a:gd name="T43" fmla="*/ 1448 h 1695"/>
                <a:gd name="T44" fmla="*/ 1376 w 1694"/>
                <a:gd name="T45" fmla="*/ 1509 h 1695"/>
                <a:gd name="T46" fmla="*/ 1302 w 1694"/>
                <a:gd name="T47" fmla="*/ 1563 h 1695"/>
                <a:gd name="T48" fmla="*/ 1220 w 1694"/>
                <a:gd name="T49" fmla="*/ 1609 h 1695"/>
                <a:gd name="T50" fmla="*/ 1133 w 1694"/>
                <a:gd name="T51" fmla="*/ 1646 h 1695"/>
                <a:gd name="T52" fmla="*/ 1041 w 1694"/>
                <a:gd name="T53" fmla="*/ 1673 h 1695"/>
                <a:gd name="T54" fmla="*/ 947 w 1694"/>
                <a:gd name="T55" fmla="*/ 1689 h 1695"/>
                <a:gd name="T56" fmla="*/ 847 w 1694"/>
                <a:gd name="T57" fmla="*/ 1695 h 1695"/>
                <a:gd name="T58" fmla="*/ 749 w 1694"/>
                <a:gd name="T59" fmla="*/ 1689 h 1695"/>
                <a:gd name="T60" fmla="*/ 653 w 1694"/>
                <a:gd name="T61" fmla="*/ 1673 h 1695"/>
                <a:gd name="T62" fmla="*/ 563 w 1694"/>
                <a:gd name="T63" fmla="*/ 1646 h 1695"/>
                <a:gd name="T64" fmla="*/ 474 w 1694"/>
                <a:gd name="T65" fmla="*/ 1609 h 1695"/>
                <a:gd name="T66" fmla="*/ 394 w 1694"/>
                <a:gd name="T67" fmla="*/ 1563 h 1695"/>
                <a:gd name="T68" fmla="*/ 317 w 1694"/>
                <a:gd name="T69" fmla="*/ 1509 h 1695"/>
                <a:gd name="T70" fmla="*/ 249 w 1694"/>
                <a:gd name="T71" fmla="*/ 1448 h 1695"/>
                <a:gd name="T72" fmla="*/ 186 w 1694"/>
                <a:gd name="T73" fmla="*/ 1377 h 1695"/>
                <a:gd name="T74" fmla="*/ 131 w 1694"/>
                <a:gd name="T75" fmla="*/ 1303 h 1695"/>
                <a:gd name="T76" fmla="*/ 86 w 1694"/>
                <a:gd name="T77" fmla="*/ 1220 h 1695"/>
                <a:gd name="T78" fmla="*/ 49 w 1694"/>
                <a:gd name="T79" fmla="*/ 1134 h 1695"/>
                <a:gd name="T80" fmla="*/ 23 w 1694"/>
                <a:gd name="T81" fmla="*/ 1042 h 1695"/>
                <a:gd name="T82" fmla="*/ 6 w 1694"/>
                <a:gd name="T83" fmla="*/ 947 h 1695"/>
                <a:gd name="T84" fmla="*/ 0 w 1694"/>
                <a:gd name="T85" fmla="*/ 847 h 1695"/>
                <a:gd name="T86" fmla="*/ 6 w 1694"/>
                <a:gd name="T87" fmla="*/ 749 h 1695"/>
                <a:gd name="T88" fmla="*/ 23 w 1694"/>
                <a:gd name="T89" fmla="*/ 653 h 1695"/>
                <a:gd name="T90" fmla="*/ 49 w 1694"/>
                <a:gd name="T91" fmla="*/ 563 h 1695"/>
                <a:gd name="T92" fmla="*/ 86 w 1694"/>
                <a:gd name="T93" fmla="*/ 475 h 1695"/>
                <a:gd name="T94" fmla="*/ 131 w 1694"/>
                <a:gd name="T95" fmla="*/ 394 h 1695"/>
                <a:gd name="T96" fmla="*/ 186 w 1694"/>
                <a:gd name="T97" fmla="*/ 318 h 1695"/>
                <a:gd name="T98" fmla="*/ 249 w 1694"/>
                <a:gd name="T99" fmla="*/ 249 h 1695"/>
                <a:gd name="T100" fmla="*/ 317 w 1694"/>
                <a:gd name="T101" fmla="*/ 186 h 1695"/>
                <a:gd name="T102" fmla="*/ 394 w 1694"/>
                <a:gd name="T103" fmla="*/ 133 h 1695"/>
                <a:gd name="T104" fmla="*/ 474 w 1694"/>
                <a:gd name="T105" fmla="*/ 86 h 1695"/>
                <a:gd name="T106" fmla="*/ 563 w 1694"/>
                <a:gd name="T107" fmla="*/ 51 h 1695"/>
                <a:gd name="T108" fmla="*/ 653 w 1694"/>
                <a:gd name="T109" fmla="*/ 23 h 1695"/>
                <a:gd name="T110" fmla="*/ 749 w 1694"/>
                <a:gd name="T111" fmla="*/ 6 h 1695"/>
                <a:gd name="T112" fmla="*/ 847 w 1694"/>
                <a:gd name="T113" fmla="*/ 0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4" h="1695">
                  <a:moveTo>
                    <a:pt x="847" y="0"/>
                  </a:moveTo>
                  <a:lnTo>
                    <a:pt x="947" y="6"/>
                  </a:lnTo>
                  <a:lnTo>
                    <a:pt x="1041" y="23"/>
                  </a:lnTo>
                  <a:lnTo>
                    <a:pt x="1133" y="51"/>
                  </a:lnTo>
                  <a:lnTo>
                    <a:pt x="1220" y="86"/>
                  </a:lnTo>
                  <a:lnTo>
                    <a:pt x="1302" y="133"/>
                  </a:lnTo>
                  <a:lnTo>
                    <a:pt x="1376" y="186"/>
                  </a:lnTo>
                  <a:lnTo>
                    <a:pt x="1447" y="249"/>
                  </a:lnTo>
                  <a:lnTo>
                    <a:pt x="1508" y="318"/>
                  </a:lnTo>
                  <a:lnTo>
                    <a:pt x="1563" y="394"/>
                  </a:lnTo>
                  <a:lnTo>
                    <a:pt x="1608" y="475"/>
                  </a:lnTo>
                  <a:lnTo>
                    <a:pt x="1645" y="563"/>
                  </a:lnTo>
                  <a:lnTo>
                    <a:pt x="1673" y="653"/>
                  </a:lnTo>
                  <a:lnTo>
                    <a:pt x="1688" y="749"/>
                  </a:lnTo>
                  <a:lnTo>
                    <a:pt x="1694" y="847"/>
                  </a:lnTo>
                  <a:lnTo>
                    <a:pt x="1688" y="947"/>
                  </a:lnTo>
                  <a:lnTo>
                    <a:pt x="1673" y="1042"/>
                  </a:lnTo>
                  <a:lnTo>
                    <a:pt x="1645" y="1134"/>
                  </a:lnTo>
                  <a:lnTo>
                    <a:pt x="1608" y="1220"/>
                  </a:lnTo>
                  <a:lnTo>
                    <a:pt x="1563" y="1303"/>
                  </a:lnTo>
                  <a:lnTo>
                    <a:pt x="1508" y="1377"/>
                  </a:lnTo>
                  <a:lnTo>
                    <a:pt x="1447" y="1448"/>
                  </a:lnTo>
                  <a:lnTo>
                    <a:pt x="1376" y="1509"/>
                  </a:lnTo>
                  <a:lnTo>
                    <a:pt x="1302" y="1563"/>
                  </a:lnTo>
                  <a:lnTo>
                    <a:pt x="1220" y="1609"/>
                  </a:lnTo>
                  <a:lnTo>
                    <a:pt x="1133" y="1646"/>
                  </a:lnTo>
                  <a:lnTo>
                    <a:pt x="1041" y="1673"/>
                  </a:lnTo>
                  <a:lnTo>
                    <a:pt x="947" y="1689"/>
                  </a:lnTo>
                  <a:lnTo>
                    <a:pt x="847" y="1695"/>
                  </a:lnTo>
                  <a:lnTo>
                    <a:pt x="749" y="1689"/>
                  </a:lnTo>
                  <a:lnTo>
                    <a:pt x="653" y="1673"/>
                  </a:lnTo>
                  <a:lnTo>
                    <a:pt x="563" y="1646"/>
                  </a:lnTo>
                  <a:lnTo>
                    <a:pt x="474" y="1609"/>
                  </a:lnTo>
                  <a:lnTo>
                    <a:pt x="394" y="1563"/>
                  </a:lnTo>
                  <a:lnTo>
                    <a:pt x="317" y="1509"/>
                  </a:lnTo>
                  <a:lnTo>
                    <a:pt x="249" y="1448"/>
                  </a:lnTo>
                  <a:lnTo>
                    <a:pt x="186" y="1377"/>
                  </a:lnTo>
                  <a:lnTo>
                    <a:pt x="131" y="1303"/>
                  </a:lnTo>
                  <a:lnTo>
                    <a:pt x="86" y="1220"/>
                  </a:lnTo>
                  <a:lnTo>
                    <a:pt x="49" y="1134"/>
                  </a:lnTo>
                  <a:lnTo>
                    <a:pt x="23" y="1042"/>
                  </a:lnTo>
                  <a:lnTo>
                    <a:pt x="6" y="947"/>
                  </a:lnTo>
                  <a:lnTo>
                    <a:pt x="0" y="847"/>
                  </a:lnTo>
                  <a:lnTo>
                    <a:pt x="6" y="749"/>
                  </a:lnTo>
                  <a:lnTo>
                    <a:pt x="23" y="653"/>
                  </a:lnTo>
                  <a:lnTo>
                    <a:pt x="49" y="563"/>
                  </a:lnTo>
                  <a:lnTo>
                    <a:pt x="86" y="475"/>
                  </a:lnTo>
                  <a:lnTo>
                    <a:pt x="131" y="394"/>
                  </a:lnTo>
                  <a:lnTo>
                    <a:pt x="186" y="318"/>
                  </a:lnTo>
                  <a:lnTo>
                    <a:pt x="249" y="249"/>
                  </a:lnTo>
                  <a:lnTo>
                    <a:pt x="317" y="186"/>
                  </a:lnTo>
                  <a:lnTo>
                    <a:pt x="394" y="133"/>
                  </a:lnTo>
                  <a:lnTo>
                    <a:pt x="474" y="86"/>
                  </a:lnTo>
                  <a:lnTo>
                    <a:pt x="563" y="51"/>
                  </a:lnTo>
                  <a:lnTo>
                    <a:pt x="653" y="23"/>
                  </a:lnTo>
                  <a:lnTo>
                    <a:pt x="749" y="6"/>
                  </a:lnTo>
                  <a:lnTo>
                    <a:pt x="847"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1615">
              <a:extLst>
                <a:ext uri="{FF2B5EF4-FFF2-40B4-BE49-F238E27FC236}">
                  <a16:creationId xmlns:a16="http://schemas.microsoft.com/office/drawing/2014/main" id="{F1B668ED-E91D-6C48-9DAB-DE20D6388740}"/>
                </a:ext>
              </a:extLst>
            </p:cNvPr>
            <p:cNvSpPr>
              <a:spLocks noEditPoints="1"/>
            </p:cNvSpPr>
            <p:nvPr/>
          </p:nvSpPr>
          <p:spPr bwMode="auto">
            <a:xfrm>
              <a:off x="4174229" y="2167911"/>
              <a:ext cx="1198563" cy="1196975"/>
            </a:xfrm>
            <a:custGeom>
              <a:avLst/>
              <a:gdLst>
                <a:gd name="T0" fmla="*/ 682 w 1508"/>
                <a:gd name="T1" fmla="*/ 114 h 1509"/>
                <a:gd name="T2" fmla="*/ 557 w 1508"/>
                <a:gd name="T3" fmla="*/ 141 h 1509"/>
                <a:gd name="T4" fmla="*/ 394 w 1508"/>
                <a:gd name="T5" fmla="*/ 220 h 1509"/>
                <a:gd name="T6" fmla="*/ 253 w 1508"/>
                <a:gd name="T7" fmla="*/ 347 h 1509"/>
                <a:gd name="T8" fmla="*/ 161 w 1508"/>
                <a:gd name="T9" fmla="*/ 502 h 1509"/>
                <a:gd name="T10" fmla="*/ 123 w 1508"/>
                <a:gd name="T11" fmla="*/ 624 h 1509"/>
                <a:gd name="T12" fmla="*/ 110 w 1508"/>
                <a:gd name="T13" fmla="*/ 753 h 1509"/>
                <a:gd name="T14" fmla="*/ 141 w 1508"/>
                <a:gd name="T15" fmla="*/ 948 h 1509"/>
                <a:gd name="T16" fmla="*/ 219 w 1508"/>
                <a:gd name="T17" fmla="*/ 1114 h 1509"/>
                <a:gd name="T18" fmla="*/ 347 w 1508"/>
                <a:gd name="T19" fmla="*/ 1254 h 1509"/>
                <a:gd name="T20" fmla="*/ 502 w 1508"/>
                <a:gd name="T21" fmla="*/ 1348 h 1509"/>
                <a:gd name="T22" fmla="*/ 623 w 1508"/>
                <a:gd name="T23" fmla="*/ 1385 h 1509"/>
                <a:gd name="T24" fmla="*/ 753 w 1508"/>
                <a:gd name="T25" fmla="*/ 1399 h 1509"/>
                <a:gd name="T26" fmla="*/ 947 w 1508"/>
                <a:gd name="T27" fmla="*/ 1367 h 1509"/>
                <a:gd name="T28" fmla="*/ 1112 w 1508"/>
                <a:gd name="T29" fmla="*/ 1289 h 1509"/>
                <a:gd name="T30" fmla="*/ 1253 w 1508"/>
                <a:gd name="T31" fmla="*/ 1159 h 1509"/>
                <a:gd name="T32" fmla="*/ 1347 w 1508"/>
                <a:gd name="T33" fmla="*/ 1005 h 1509"/>
                <a:gd name="T34" fmla="*/ 1394 w 1508"/>
                <a:gd name="T35" fmla="*/ 826 h 1509"/>
                <a:gd name="T36" fmla="*/ 1394 w 1508"/>
                <a:gd name="T37" fmla="*/ 683 h 1509"/>
                <a:gd name="T38" fmla="*/ 1367 w 1508"/>
                <a:gd name="T39" fmla="*/ 557 h 1509"/>
                <a:gd name="T40" fmla="*/ 1290 w 1508"/>
                <a:gd name="T41" fmla="*/ 396 h 1509"/>
                <a:gd name="T42" fmla="*/ 1159 w 1508"/>
                <a:gd name="T43" fmla="*/ 253 h 1509"/>
                <a:gd name="T44" fmla="*/ 1004 w 1508"/>
                <a:gd name="T45" fmla="*/ 161 h 1509"/>
                <a:gd name="T46" fmla="*/ 826 w 1508"/>
                <a:gd name="T47" fmla="*/ 114 h 1509"/>
                <a:gd name="T48" fmla="*/ 826 w 1508"/>
                <a:gd name="T49" fmla="*/ 4 h 1509"/>
                <a:gd name="T50" fmla="*/ 973 w 1508"/>
                <a:gd name="T51" fmla="*/ 33 h 1509"/>
                <a:gd name="T52" fmla="*/ 1108 w 1508"/>
                <a:gd name="T53" fmla="*/ 88 h 1509"/>
                <a:gd name="T54" fmla="*/ 1237 w 1508"/>
                <a:gd name="T55" fmla="*/ 175 h 1509"/>
                <a:gd name="T56" fmla="*/ 1373 w 1508"/>
                <a:gd name="T57" fmla="*/ 324 h 1509"/>
                <a:gd name="T58" fmla="*/ 1449 w 1508"/>
                <a:gd name="T59" fmla="*/ 459 h 1509"/>
                <a:gd name="T60" fmla="*/ 1492 w 1508"/>
                <a:gd name="T61" fmla="*/ 602 h 1509"/>
                <a:gd name="T62" fmla="*/ 1508 w 1508"/>
                <a:gd name="T63" fmla="*/ 753 h 1509"/>
                <a:gd name="T64" fmla="*/ 1492 w 1508"/>
                <a:gd name="T65" fmla="*/ 904 h 1509"/>
                <a:gd name="T66" fmla="*/ 1449 w 1508"/>
                <a:gd name="T67" fmla="*/ 1048 h 1509"/>
                <a:gd name="T68" fmla="*/ 1373 w 1508"/>
                <a:gd name="T69" fmla="*/ 1185 h 1509"/>
                <a:gd name="T70" fmla="*/ 1237 w 1508"/>
                <a:gd name="T71" fmla="*/ 1332 h 1509"/>
                <a:gd name="T72" fmla="*/ 1108 w 1508"/>
                <a:gd name="T73" fmla="*/ 1420 h 1509"/>
                <a:gd name="T74" fmla="*/ 973 w 1508"/>
                <a:gd name="T75" fmla="*/ 1475 h 1509"/>
                <a:gd name="T76" fmla="*/ 826 w 1508"/>
                <a:gd name="T77" fmla="*/ 1505 h 1509"/>
                <a:gd name="T78" fmla="*/ 671 w 1508"/>
                <a:gd name="T79" fmla="*/ 1505 h 1509"/>
                <a:gd name="T80" fmla="*/ 523 w 1508"/>
                <a:gd name="T81" fmla="*/ 1473 h 1509"/>
                <a:gd name="T82" fmla="*/ 341 w 1508"/>
                <a:gd name="T83" fmla="*/ 1385 h 1509"/>
                <a:gd name="T84" fmla="*/ 219 w 1508"/>
                <a:gd name="T85" fmla="*/ 1287 h 1509"/>
                <a:gd name="T86" fmla="*/ 123 w 1508"/>
                <a:gd name="T87" fmla="*/ 1167 h 1509"/>
                <a:gd name="T88" fmla="*/ 35 w 1508"/>
                <a:gd name="T89" fmla="*/ 983 h 1509"/>
                <a:gd name="T90" fmla="*/ 4 w 1508"/>
                <a:gd name="T91" fmla="*/ 836 h 1509"/>
                <a:gd name="T92" fmla="*/ 4 w 1508"/>
                <a:gd name="T93" fmla="*/ 683 h 1509"/>
                <a:gd name="T94" fmla="*/ 33 w 1508"/>
                <a:gd name="T95" fmla="*/ 536 h 1509"/>
                <a:gd name="T96" fmla="*/ 88 w 1508"/>
                <a:gd name="T97" fmla="*/ 398 h 1509"/>
                <a:gd name="T98" fmla="*/ 174 w 1508"/>
                <a:gd name="T99" fmla="*/ 269 h 1509"/>
                <a:gd name="T100" fmla="*/ 323 w 1508"/>
                <a:gd name="T101" fmla="*/ 135 h 1509"/>
                <a:gd name="T102" fmla="*/ 459 w 1508"/>
                <a:gd name="T103" fmla="*/ 59 h 1509"/>
                <a:gd name="T104" fmla="*/ 602 w 1508"/>
                <a:gd name="T105" fmla="*/ 16 h 1509"/>
                <a:gd name="T106" fmla="*/ 753 w 1508"/>
                <a:gd name="T107" fmla="*/ 0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08" h="1509">
                  <a:moveTo>
                    <a:pt x="753" y="110"/>
                  </a:moveTo>
                  <a:lnTo>
                    <a:pt x="682" y="114"/>
                  </a:lnTo>
                  <a:lnTo>
                    <a:pt x="682" y="114"/>
                  </a:lnTo>
                  <a:lnTo>
                    <a:pt x="623" y="124"/>
                  </a:lnTo>
                  <a:lnTo>
                    <a:pt x="557" y="141"/>
                  </a:lnTo>
                  <a:lnTo>
                    <a:pt x="557" y="141"/>
                  </a:lnTo>
                  <a:lnTo>
                    <a:pt x="502" y="161"/>
                  </a:lnTo>
                  <a:lnTo>
                    <a:pt x="441" y="190"/>
                  </a:lnTo>
                  <a:lnTo>
                    <a:pt x="394" y="220"/>
                  </a:lnTo>
                  <a:lnTo>
                    <a:pt x="347" y="253"/>
                  </a:lnTo>
                  <a:lnTo>
                    <a:pt x="298" y="298"/>
                  </a:lnTo>
                  <a:lnTo>
                    <a:pt x="253" y="347"/>
                  </a:lnTo>
                  <a:lnTo>
                    <a:pt x="219" y="394"/>
                  </a:lnTo>
                  <a:lnTo>
                    <a:pt x="190" y="441"/>
                  </a:lnTo>
                  <a:lnTo>
                    <a:pt x="161" y="502"/>
                  </a:lnTo>
                  <a:lnTo>
                    <a:pt x="141" y="557"/>
                  </a:lnTo>
                  <a:lnTo>
                    <a:pt x="141" y="557"/>
                  </a:lnTo>
                  <a:lnTo>
                    <a:pt x="123" y="624"/>
                  </a:lnTo>
                  <a:lnTo>
                    <a:pt x="114" y="683"/>
                  </a:lnTo>
                  <a:lnTo>
                    <a:pt x="114" y="683"/>
                  </a:lnTo>
                  <a:lnTo>
                    <a:pt x="110" y="753"/>
                  </a:lnTo>
                  <a:lnTo>
                    <a:pt x="114" y="826"/>
                  </a:lnTo>
                  <a:lnTo>
                    <a:pt x="123" y="883"/>
                  </a:lnTo>
                  <a:lnTo>
                    <a:pt x="141" y="948"/>
                  </a:lnTo>
                  <a:lnTo>
                    <a:pt x="161" y="1005"/>
                  </a:lnTo>
                  <a:lnTo>
                    <a:pt x="190" y="1065"/>
                  </a:lnTo>
                  <a:lnTo>
                    <a:pt x="219" y="1114"/>
                  </a:lnTo>
                  <a:lnTo>
                    <a:pt x="253" y="1159"/>
                  </a:lnTo>
                  <a:lnTo>
                    <a:pt x="298" y="1209"/>
                  </a:lnTo>
                  <a:lnTo>
                    <a:pt x="347" y="1254"/>
                  </a:lnTo>
                  <a:lnTo>
                    <a:pt x="396" y="1291"/>
                  </a:lnTo>
                  <a:lnTo>
                    <a:pt x="441" y="1318"/>
                  </a:lnTo>
                  <a:lnTo>
                    <a:pt x="502" y="1348"/>
                  </a:lnTo>
                  <a:lnTo>
                    <a:pt x="557" y="1367"/>
                  </a:lnTo>
                  <a:lnTo>
                    <a:pt x="557" y="1367"/>
                  </a:lnTo>
                  <a:lnTo>
                    <a:pt x="623" y="1385"/>
                  </a:lnTo>
                  <a:lnTo>
                    <a:pt x="682" y="1395"/>
                  </a:lnTo>
                  <a:lnTo>
                    <a:pt x="682" y="1395"/>
                  </a:lnTo>
                  <a:lnTo>
                    <a:pt x="753" y="1399"/>
                  </a:lnTo>
                  <a:lnTo>
                    <a:pt x="826" y="1395"/>
                  </a:lnTo>
                  <a:lnTo>
                    <a:pt x="882" y="1385"/>
                  </a:lnTo>
                  <a:lnTo>
                    <a:pt x="947" y="1367"/>
                  </a:lnTo>
                  <a:lnTo>
                    <a:pt x="1004" y="1348"/>
                  </a:lnTo>
                  <a:lnTo>
                    <a:pt x="1065" y="1318"/>
                  </a:lnTo>
                  <a:lnTo>
                    <a:pt x="1112" y="1289"/>
                  </a:lnTo>
                  <a:lnTo>
                    <a:pt x="1159" y="1254"/>
                  </a:lnTo>
                  <a:lnTo>
                    <a:pt x="1208" y="1209"/>
                  </a:lnTo>
                  <a:lnTo>
                    <a:pt x="1253" y="1159"/>
                  </a:lnTo>
                  <a:lnTo>
                    <a:pt x="1288" y="1112"/>
                  </a:lnTo>
                  <a:lnTo>
                    <a:pt x="1318" y="1065"/>
                  </a:lnTo>
                  <a:lnTo>
                    <a:pt x="1347" y="1005"/>
                  </a:lnTo>
                  <a:lnTo>
                    <a:pt x="1367" y="948"/>
                  </a:lnTo>
                  <a:lnTo>
                    <a:pt x="1384" y="883"/>
                  </a:lnTo>
                  <a:lnTo>
                    <a:pt x="1394" y="826"/>
                  </a:lnTo>
                  <a:lnTo>
                    <a:pt x="1398" y="753"/>
                  </a:lnTo>
                  <a:lnTo>
                    <a:pt x="1394" y="683"/>
                  </a:lnTo>
                  <a:lnTo>
                    <a:pt x="1394" y="683"/>
                  </a:lnTo>
                  <a:lnTo>
                    <a:pt x="1384" y="624"/>
                  </a:lnTo>
                  <a:lnTo>
                    <a:pt x="1367" y="557"/>
                  </a:lnTo>
                  <a:lnTo>
                    <a:pt x="1367" y="557"/>
                  </a:lnTo>
                  <a:lnTo>
                    <a:pt x="1347" y="502"/>
                  </a:lnTo>
                  <a:lnTo>
                    <a:pt x="1318" y="441"/>
                  </a:lnTo>
                  <a:lnTo>
                    <a:pt x="1290" y="396"/>
                  </a:lnTo>
                  <a:lnTo>
                    <a:pt x="1253" y="347"/>
                  </a:lnTo>
                  <a:lnTo>
                    <a:pt x="1208" y="298"/>
                  </a:lnTo>
                  <a:lnTo>
                    <a:pt x="1159" y="253"/>
                  </a:lnTo>
                  <a:lnTo>
                    <a:pt x="1114" y="220"/>
                  </a:lnTo>
                  <a:lnTo>
                    <a:pt x="1065" y="190"/>
                  </a:lnTo>
                  <a:lnTo>
                    <a:pt x="1004" y="161"/>
                  </a:lnTo>
                  <a:lnTo>
                    <a:pt x="947" y="141"/>
                  </a:lnTo>
                  <a:lnTo>
                    <a:pt x="882" y="124"/>
                  </a:lnTo>
                  <a:lnTo>
                    <a:pt x="826" y="114"/>
                  </a:lnTo>
                  <a:lnTo>
                    <a:pt x="753" y="110"/>
                  </a:lnTo>
                  <a:close/>
                  <a:moveTo>
                    <a:pt x="753" y="0"/>
                  </a:moveTo>
                  <a:lnTo>
                    <a:pt x="826" y="4"/>
                  </a:lnTo>
                  <a:lnTo>
                    <a:pt x="835" y="4"/>
                  </a:lnTo>
                  <a:lnTo>
                    <a:pt x="904" y="16"/>
                  </a:lnTo>
                  <a:lnTo>
                    <a:pt x="973" y="33"/>
                  </a:lnTo>
                  <a:lnTo>
                    <a:pt x="982" y="35"/>
                  </a:lnTo>
                  <a:lnTo>
                    <a:pt x="1047" y="59"/>
                  </a:lnTo>
                  <a:lnTo>
                    <a:pt x="1108" y="88"/>
                  </a:lnTo>
                  <a:lnTo>
                    <a:pt x="1167" y="124"/>
                  </a:lnTo>
                  <a:lnTo>
                    <a:pt x="1184" y="135"/>
                  </a:lnTo>
                  <a:lnTo>
                    <a:pt x="1237" y="175"/>
                  </a:lnTo>
                  <a:lnTo>
                    <a:pt x="1286" y="220"/>
                  </a:lnTo>
                  <a:lnTo>
                    <a:pt x="1332" y="269"/>
                  </a:lnTo>
                  <a:lnTo>
                    <a:pt x="1373" y="324"/>
                  </a:lnTo>
                  <a:lnTo>
                    <a:pt x="1384" y="341"/>
                  </a:lnTo>
                  <a:lnTo>
                    <a:pt x="1420" y="398"/>
                  </a:lnTo>
                  <a:lnTo>
                    <a:pt x="1449" y="459"/>
                  </a:lnTo>
                  <a:lnTo>
                    <a:pt x="1473" y="524"/>
                  </a:lnTo>
                  <a:lnTo>
                    <a:pt x="1475" y="536"/>
                  </a:lnTo>
                  <a:lnTo>
                    <a:pt x="1492" y="602"/>
                  </a:lnTo>
                  <a:lnTo>
                    <a:pt x="1504" y="671"/>
                  </a:lnTo>
                  <a:lnTo>
                    <a:pt x="1504" y="683"/>
                  </a:lnTo>
                  <a:lnTo>
                    <a:pt x="1508" y="753"/>
                  </a:lnTo>
                  <a:lnTo>
                    <a:pt x="1504" y="826"/>
                  </a:lnTo>
                  <a:lnTo>
                    <a:pt x="1504" y="836"/>
                  </a:lnTo>
                  <a:lnTo>
                    <a:pt x="1492" y="904"/>
                  </a:lnTo>
                  <a:lnTo>
                    <a:pt x="1475" y="973"/>
                  </a:lnTo>
                  <a:lnTo>
                    <a:pt x="1473" y="983"/>
                  </a:lnTo>
                  <a:lnTo>
                    <a:pt x="1449" y="1048"/>
                  </a:lnTo>
                  <a:lnTo>
                    <a:pt x="1420" y="1108"/>
                  </a:lnTo>
                  <a:lnTo>
                    <a:pt x="1384" y="1167"/>
                  </a:lnTo>
                  <a:lnTo>
                    <a:pt x="1373" y="1185"/>
                  </a:lnTo>
                  <a:lnTo>
                    <a:pt x="1332" y="1238"/>
                  </a:lnTo>
                  <a:lnTo>
                    <a:pt x="1286" y="1287"/>
                  </a:lnTo>
                  <a:lnTo>
                    <a:pt x="1237" y="1332"/>
                  </a:lnTo>
                  <a:lnTo>
                    <a:pt x="1184" y="1373"/>
                  </a:lnTo>
                  <a:lnTo>
                    <a:pt x="1167" y="1385"/>
                  </a:lnTo>
                  <a:lnTo>
                    <a:pt x="1108" y="1420"/>
                  </a:lnTo>
                  <a:lnTo>
                    <a:pt x="1047" y="1450"/>
                  </a:lnTo>
                  <a:lnTo>
                    <a:pt x="982" y="1473"/>
                  </a:lnTo>
                  <a:lnTo>
                    <a:pt x="973" y="1475"/>
                  </a:lnTo>
                  <a:lnTo>
                    <a:pt x="904" y="1493"/>
                  </a:lnTo>
                  <a:lnTo>
                    <a:pt x="835" y="1505"/>
                  </a:lnTo>
                  <a:lnTo>
                    <a:pt x="826" y="1505"/>
                  </a:lnTo>
                  <a:lnTo>
                    <a:pt x="753" y="1509"/>
                  </a:lnTo>
                  <a:lnTo>
                    <a:pt x="682" y="1505"/>
                  </a:lnTo>
                  <a:lnTo>
                    <a:pt x="671" y="1505"/>
                  </a:lnTo>
                  <a:lnTo>
                    <a:pt x="602" y="1493"/>
                  </a:lnTo>
                  <a:lnTo>
                    <a:pt x="535" y="1475"/>
                  </a:lnTo>
                  <a:lnTo>
                    <a:pt x="523" y="1473"/>
                  </a:lnTo>
                  <a:lnTo>
                    <a:pt x="459" y="1450"/>
                  </a:lnTo>
                  <a:lnTo>
                    <a:pt x="398" y="1420"/>
                  </a:lnTo>
                  <a:lnTo>
                    <a:pt x="341" y="1385"/>
                  </a:lnTo>
                  <a:lnTo>
                    <a:pt x="323" y="1373"/>
                  </a:lnTo>
                  <a:lnTo>
                    <a:pt x="268" y="1332"/>
                  </a:lnTo>
                  <a:lnTo>
                    <a:pt x="219" y="1287"/>
                  </a:lnTo>
                  <a:lnTo>
                    <a:pt x="174" y="1238"/>
                  </a:lnTo>
                  <a:lnTo>
                    <a:pt x="135" y="1185"/>
                  </a:lnTo>
                  <a:lnTo>
                    <a:pt x="123" y="1167"/>
                  </a:lnTo>
                  <a:lnTo>
                    <a:pt x="88" y="1108"/>
                  </a:lnTo>
                  <a:lnTo>
                    <a:pt x="59" y="1048"/>
                  </a:lnTo>
                  <a:lnTo>
                    <a:pt x="35" y="983"/>
                  </a:lnTo>
                  <a:lnTo>
                    <a:pt x="33" y="973"/>
                  </a:lnTo>
                  <a:lnTo>
                    <a:pt x="15" y="904"/>
                  </a:lnTo>
                  <a:lnTo>
                    <a:pt x="4" y="836"/>
                  </a:lnTo>
                  <a:lnTo>
                    <a:pt x="4" y="826"/>
                  </a:lnTo>
                  <a:lnTo>
                    <a:pt x="0" y="753"/>
                  </a:lnTo>
                  <a:lnTo>
                    <a:pt x="4" y="683"/>
                  </a:lnTo>
                  <a:lnTo>
                    <a:pt x="4" y="671"/>
                  </a:lnTo>
                  <a:lnTo>
                    <a:pt x="15" y="602"/>
                  </a:lnTo>
                  <a:lnTo>
                    <a:pt x="33" y="536"/>
                  </a:lnTo>
                  <a:lnTo>
                    <a:pt x="35" y="524"/>
                  </a:lnTo>
                  <a:lnTo>
                    <a:pt x="59" y="459"/>
                  </a:lnTo>
                  <a:lnTo>
                    <a:pt x="88" y="398"/>
                  </a:lnTo>
                  <a:lnTo>
                    <a:pt x="123" y="341"/>
                  </a:lnTo>
                  <a:lnTo>
                    <a:pt x="135" y="324"/>
                  </a:lnTo>
                  <a:lnTo>
                    <a:pt x="174" y="269"/>
                  </a:lnTo>
                  <a:lnTo>
                    <a:pt x="219" y="220"/>
                  </a:lnTo>
                  <a:lnTo>
                    <a:pt x="268" y="175"/>
                  </a:lnTo>
                  <a:lnTo>
                    <a:pt x="323" y="135"/>
                  </a:lnTo>
                  <a:lnTo>
                    <a:pt x="341" y="124"/>
                  </a:lnTo>
                  <a:lnTo>
                    <a:pt x="398" y="88"/>
                  </a:lnTo>
                  <a:lnTo>
                    <a:pt x="459" y="59"/>
                  </a:lnTo>
                  <a:lnTo>
                    <a:pt x="523" y="35"/>
                  </a:lnTo>
                  <a:lnTo>
                    <a:pt x="535" y="33"/>
                  </a:lnTo>
                  <a:lnTo>
                    <a:pt x="602" y="16"/>
                  </a:lnTo>
                  <a:lnTo>
                    <a:pt x="671" y="4"/>
                  </a:lnTo>
                  <a:lnTo>
                    <a:pt x="682" y="4"/>
                  </a:lnTo>
                  <a:lnTo>
                    <a:pt x="753" y="0"/>
                  </a:lnTo>
                  <a:close/>
                </a:path>
              </a:pathLst>
            </a:custGeom>
            <a:solidFill>
              <a:schemeClr val="accent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1616">
              <a:extLst>
                <a:ext uri="{FF2B5EF4-FFF2-40B4-BE49-F238E27FC236}">
                  <a16:creationId xmlns:a16="http://schemas.microsoft.com/office/drawing/2014/main" id="{EE583D2A-AA95-3346-8883-20A1DFA4E6DB}"/>
                </a:ext>
              </a:extLst>
            </p:cNvPr>
            <p:cNvSpPr>
              <a:spLocks/>
            </p:cNvSpPr>
            <p:nvPr/>
          </p:nvSpPr>
          <p:spPr bwMode="auto">
            <a:xfrm>
              <a:off x="2764529" y="970936"/>
              <a:ext cx="1322388" cy="1323975"/>
            </a:xfrm>
            <a:custGeom>
              <a:avLst/>
              <a:gdLst>
                <a:gd name="T0" fmla="*/ 833 w 1667"/>
                <a:gd name="T1" fmla="*/ 0 h 1668"/>
                <a:gd name="T2" fmla="*/ 930 w 1667"/>
                <a:gd name="T3" fmla="*/ 6 h 1668"/>
                <a:gd name="T4" fmla="*/ 1024 w 1667"/>
                <a:gd name="T5" fmla="*/ 22 h 1668"/>
                <a:gd name="T6" fmla="*/ 1114 w 1667"/>
                <a:gd name="T7" fmla="*/ 47 h 1668"/>
                <a:gd name="T8" fmla="*/ 1200 w 1667"/>
                <a:gd name="T9" fmla="*/ 85 h 1668"/>
                <a:gd name="T10" fmla="*/ 1281 w 1667"/>
                <a:gd name="T11" fmla="*/ 130 h 1668"/>
                <a:gd name="T12" fmla="*/ 1355 w 1667"/>
                <a:gd name="T13" fmla="*/ 183 h 1668"/>
                <a:gd name="T14" fmla="*/ 1422 w 1667"/>
                <a:gd name="T15" fmla="*/ 244 h 1668"/>
                <a:gd name="T16" fmla="*/ 1483 w 1667"/>
                <a:gd name="T17" fmla="*/ 312 h 1668"/>
                <a:gd name="T18" fmla="*/ 1538 w 1667"/>
                <a:gd name="T19" fmla="*/ 387 h 1668"/>
                <a:gd name="T20" fmla="*/ 1583 w 1667"/>
                <a:gd name="T21" fmla="*/ 467 h 1668"/>
                <a:gd name="T22" fmla="*/ 1618 w 1667"/>
                <a:gd name="T23" fmla="*/ 552 h 1668"/>
                <a:gd name="T24" fmla="*/ 1645 w 1667"/>
                <a:gd name="T25" fmla="*/ 642 h 1668"/>
                <a:gd name="T26" fmla="*/ 1661 w 1667"/>
                <a:gd name="T27" fmla="*/ 736 h 1668"/>
                <a:gd name="T28" fmla="*/ 1667 w 1667"/>
                <a:gd name="T29" fmla="*/ 834 h 1668"/>
                <a:gd name="T30" fmla="*/ 1661 w 1667"/>
                <a:gd name="T31" fmla="*/ 930 h 1668"/>
                <a:gd name="T32" fmla="*/ 1645 w 1667"/>
                <a:gd name="T33" fmla="*/ 1024 h 1668"/>
                <a:gd name="T34" fmla="*/ 1618 w 1667"/>
                <a:gd name="T35" fmla="*/ 1115 h 1668"/>
                <a:gd name="T36" fmla="*/ 1583 w 1667"/>
                <a:gd name="T37" fmla="*/ 1201 h 1668"/>
                <a:gd name="T38" fmla="*/ 1538 w 1667"/>
                <a:gd name="T39" fmla="*/ 1279 h 1668"/>
                <a:gd name="T40" fmla="*/ 1483 w 1667"/>
                <a:gd name="T41" fmla="*/ 1354 h 1668"/>
                <a:gd name="T42" fmla="*/ 1422 w 1667"/>
                <a:gd name="T43" fmla="*/ 1423 h 1668"/>
                <a:gd name="T44" fmla="*/ 1355 w 1667"/>
                <a:gd name="T45" fmla="*/ 1484 h 1668"/>
                <a:gd name="T46" fmla="*/ 1281 w 1667"/>
                <a:gd name="T47" fmla="*/ 1536 h 1668"/>
                <a:gd name="T48" fmla="*/ 1200 w 1667"/>
                <a:gd name="T49" fmla="*/ 1582 h 1668"/>
                <a:gd name="T50" fmla="*/ 1114 w 1667"/>
                <a:gd name="T51" fmla="*/ 1619 h 1668"/>
                <a:gd name="T52" fmla="*/ 1024 w 1667"/>
                <a:gd name="T53" fmla="*/ 1644 h 1668"/>
                <a:gd name="T54" fmla="*/ 930 w 1667"/>
                <a:gd name="T55" fmla="*/ 1662 h 1668"/>
                <a:gd name="T56" fmla="*/ 833 w 1667"/>
                <a:gd name="T57" fmla="*/ 1668 h 1668"/>
                <a:gd name="T58" fmla="*/ 735 w 1667"/>
                <a:gd name="T59" fmla="*/ 1662 h 1668"/>
                <a:gd name="T60" fmla="*/ 641 w 1667"/>
                <a:gd name="T61" fmla="*/ 1644 h 1668"/>
                <a:gd name="T62" fmla="*/ 551 w 1667"/>
                <a:gd name="T63" fmla="*/ 1619 h 1668"/>
                <a:gd name="T64" fmla="*/ 467 w 1667"/>
                <a:gd name="T65" fmla="*/ 1582 h 1668"/>
                <a:gd name="T66" fmla="*/ 386 w 1667"/>
                <a:gd name="T67" fmla="*/ 1536 h 1668"/>
                <a:gd name="T68" fmla="*/ 312 w 1667"/>
                <a:gd name="T69" fmla="*/ 1484 h 1668"/>
                <a:gd name="T70" fmla="*/ 243 w 1667"/>
                <a:gd name="T71" fmla="*/ 1423 h 1668"/>
                <a:gd name="T72" fmla="*/ 182 w 1667"/>
                <a:gd name="T73" fmla="*/ 1354 h 1668"/>
                <a:gd name="T74" fmla="*/ 129 w 1667"/>
                <a:gd name="T75" fmla="*/ 1279 h 1668"/>
                <a:gd name="T76" fmla="*/ 84 w 1667"/>
                <a:gd name="T77" fmla="*/ 1201 h 1668"/>
                <a:gd name="T78" fmla="*/ 49 w 1667"/>
                <a:gd name="T79" fmla="*/ 1115 h 1668"/>
                <a:gd name="T80" fmla="*/ 21 w 1667"/>
                <a:gd name="T81" fmla="*/ 1024 h 1668"/>
                <a:gd name="T82" fmla="*/ 6 w 1667"/>
                <a:gd name="T83" fmla="*/ 930 h 1668"/>
                <a:gd name="T84" fmla="*/ 0 w 1667"/>
                <a:gd name="T85" fmla="*/ 834 h 1668"/>
                <a:gd name="T86" fmla="*/ 6 w 1667"/>
                <a:gd name="T87" fmla="*/ 736 h 1668"/>
                <a:gd name="T88" fmla="*/ 21 w 1667"/>
                <a:gd name="T89" fmla="*/ 642 h 1668"/>
                <a:gd name="T90" fmla="*/ 49 w 1667"/>
                <a:gd name="T91" fmla="*/ 552 h 1668"/>
                <a:gd name="T92" fmla="*/ 84 w 1667"/>
                <a:gd name="T93" fmla="*/ 467 h 1668"/>
                <a:gd name="T94" fmla="*/ 129 w 1667"/>
                <a:gd name="T95" fmla="*/ 387 h 1668"/>
                <a:gd name="T96" fmla="*/ 182 w 1667"/>
                <a:gd name="T97" fmla="*/ 312 h 1668"/>
                <a:gd name="T98" fmla="*/ 243 w 1667"/>
                <a:gd name="T99" fmla="*/ 244 h 1668"/>
                <a:gd name="T100" fmla="*/ 312 w 1667"/>
                <a:gd name="T101" fmla="*/ 183 h 1668"/>
                <a:gd name="T102" fmla="*/ 386 w 1667"/>
                <a:gd name="T103" fmla="*/ 130 h 1668"/>
                <a:gd name="T104" fmla="*/ 467 w 1667"/>
                <a:gd name="T105" fmla="*/ 85 h 1668"/>
                <a:gd name="T106" fmla="*/ 551 w 1667"/>
                <a:gd name="T107" fmla="*/ 47 h 1668"/>
                <a:gd name="T108" fmla="*/ 641 w 1667"/>
                <a:gd name="T109" fmla="*/ 22 h 1668"/>
                <a:gd name="T110" fmla="*/ 735 w 1667"/>
                <a:gd name="T111" fmla="*/ 6 h 1668"/>
                <a:gd name="T112" fmla="*/ 833 w 1667"/>
                <a:gd name="T113" fmla="*/ 0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67" h="1668">
                  <a:moveTo>
                    <a:pt x="833" y="0"/>
                  </a:moveTo>
                  <a:lnTo>
                    <a:pt x="930" y="6"/>
                  </a:lnTo>
                  <a:lnTo>
                    <a:pt x="1024" y="22"/>
                  </a:lnTo>
                  <a:lnTo>
                    <a:pt x="1114" y="47"/>
                  </a:lnTo>
                  <a:lnTo>
                    <a:pt x="1200" y="85"/>
                  </a:lnTo>
                  <a:lnTo>
                    <a:pt x="1281" y="130"/>
                  </a:lnTo>
                  <a:lnTo>
                    <a:pt x="1355" y="183"/>
                  </a:lnTo>
                  <a:lnTo>
                    <a:pt x="1422" y="244"/>
                  </a:lnTo>
                  <a:lnTo>
                    <a:pt x="1483" y="312"/>
                  </a:lnTo>
                  <a:lnTo>
                    <a:pt x="1538" y="387"/>
                  </a:lnTo>
                  <a:lnTo>
                    <a:pt x="1583" y="467"/>
                  </a:lnTo>
                  <a:lnTo>
                    <a:pt x="1618" y="552"/>
                  </a:lnTo>
                  <a:lnTo>
                    <a:pt x="1645" y="642"/>
                  </a:lnTo>
                  <a:lnTo>
                    <a:pt x="1661" y="736"/>
                  </a:lnTo>
                  <a:lnTo>
                    <a:pt x="1667" y="834"/>
                  </a:lnTo>
                  <a:lnTo>
                    <a:pt x="1661" y="930"/>
                  </a:lnTo>
                  <a:lnTo>
                    <a:pt x="1645" y="1024"/>
                  </a:lnTo>
                  <a:lnTo>
                    <a:pt x="1618" y="1115"/>
                  </a:lnTo>
                  <a:lnTo>
                    <a:pt x="1583" y="1201"/>
                  </a:lnTo>
                  <a:lnTo>
                    <a:pt x="1538" y="1279"/>
                  </a:lnTo>
                  <a:lnTo>
                    <a:pt x="1483" y="1354"/>
                  </a:lnTo>
                  <a:lnTo>
                    <a:pt x="1422" y="1423"/>
                  </a:lnTo>
                  <a:lnTo>
                    <a:pt x="1355" y="1484"/>
                  </a:lnTo>
                  <a:lnTo>
                    <a:pt x="1281" y="1536"/>
                  </a:lnTo>
                  <a:lnTo>
                    <a:pt x="1200" y="1582"/>
                  </a:lnTo>
                  <a:lnTo>
                    <a:pt x="1114" y="1619"/>
                  </a:lnTo>
                  <a:lnTo>
                    <a:pt x="1024" y="1644"/>
                  </a:lnTo>
                  <a:lnTo>
                    <a:pt x="930" y="1662"/>
                  </a:lnTo>
                  <a:lnTo>
                    <a:pt x="833" y="1668"/>
                  </a:lnTo>
                  <a:lnTo>
                    <a:pt x="735" y="1662"/>
                  </a:lnTo>
                  <a:lnTo>
                    <a:pt x="641" y="1644"/>
                  </a:lnTo>
                  <a:lnTo>
                    <a:pt x="551" y="1619"/>
                  </a:lnTo>
                  <a:lnTo>
                    <a:pt x="467" y="1582"/>
                  </a:lnTo>
                  <a:lnTo>
                    <a:pt x="386" y="1536"/>
                  </a:lnTo>
                  <a:lnTo>
                    <a:pt x="312" y="1484"/>
                  </a:lnTo>
                  <a:lnTo>
                    <a:pt x="243" y="1423"/>
                  </a:lnTo>
                  <a:lnTo>
                    <a:pt x="182" y="1354"/>
                  </a:lnTo>
                  <a:lnTo>
                    <a:pt x="129" y="1279"/>
                  </a:lnTo>
                  <a:lnTo>
                    <a:pt x="84" y="1201"/>
                  </a:lnTo>
                  <a:lnTo>
                    <a:pt x="49" y="1115"/>
                  </a:lnTo>
                  <a:lnTo>
                    <a:pt x="21" y="1024"/>
                  </a:lnTo>
                  <a:lnTo>
                    <a:pt x="6" y="930"/>
                  </a:lnTo>
                  <a:lnTo>
                    <a:pt x="0" y="834"/>
                  </a:lnTo>
                  <a:lnTo>
                    <a:pt x="6" y="736"/>
                  </a:lnTo>
                  <a:lnTo>
                    <a:pt x="21" y="642"/>
                  </a:lnTo>
                  <a:lnTo>
                    <a:pt x="49" y="552"/>
                  </a:lnTo>
                  <a:lnTo>
                    <a:pt x="84" y="467"/>
                  </a:lnTo>
                  <a:lnTo>
                    <a:pt x="129" y="387"/>
                  </a:lnTo>
                  <a:lnTo>
                    <a:pt x="182" y="312"/>
                  </a:lnTo>
                  <a:lnTo>
                    <a:pt x="243" y="244"/>
                  </a:lnTo>
                  <a:lnTo>
                    <a:pt x="312" y="183"/>
                  </a:lnTo>
                  <a:lnTo>
                    <a:pt x="386" y="130"/>
                  </a:lnTo>
                  <a:lnTo>
                    <a:pt x="467" y="85"/>
                  </a:lnTo>
                  <a:lnTo>
                    <a:pt x="551" y="47"/>
                  </a:lnTo>
                  <a:lnTo>
                    <a:pt x="641" y="22"/>
                  </a:lnTo>
                  <a:lnTo>
                    <a:pt x="735" y="6"/>
                  </a:lnTo>
                  <a:lnTo>
                    <a:pt x="833" y="0"/>
                  </a:lnTo>
                  <a:close/>
                </a:path>
              </a:pathLst>
            </a:custGeom>
            <a:solidFill>
              <a:schemeClr val="accent3"/>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1617">
              <a:extLst>
                <a:ext uri="{FF2B5EF4-FFF2-40B4-BE49-F238E27FC236}">
                  <a16:creationId xmlns:a16="http://schemas.microsoft.com/office/drawing/2014/main" id="{25906E3F-E283-C34B-AA95-3B37C6D9CCF8}"/>
                </a:ext>
              </a:extLst>
            </p:cNvPr>
            <p:cNvSpPr>
              <a:spLocks noEditPoints="1"/>
            </p:cNvSpPr>
            <p:nvPr/>
          </p:nvSpPr>
          <p:spPr bwMode="auto">
            <a:xfrm>
              <a:off x="2812154" y="1020148"/>
              <a:ext cx="1227138" cy="1227137"/>
            </a:xfrm>
            <a:custGeom>
              <a:avLst/>
              <a:gdLst>
                <a:gd name="T0" fmla="*/ 631 w 1545"/>
                <a:gd name="T1" fmla="*/ 104 h 1546"/>
                <a:gd name="T2" fmla="*/ 443 w 1545"/>
                <a:gd name="T3" fmla="*/ 175 h 1546"/>
                <a:gd name="T4" fmla="*/ 290 w 1545"/>
                <a:gd name="T5" fmla="*/ 291 h 1546"/>
                <a:gd name="T6" fmla="*/ 174 w 1545"/>
                <a:gd name="T7" fmla="*/ 444 h 1546"/>
                <a:gd name="T8" fmla="*/ 104 w 1545"/>
                <a:gd name="T9" fmla="*/ 632 h 1546"/>
                <a:gd name="T10" fmla="*/ 94 w 1545"/>
                <a:gd name="T11" fmla="*/ 848 h 1546"/>
                <a:gd name="T12" fmla="*/ 145 w 1545"/>
                <a:gd name="T13" fmla="*/ 1038 h 1546"/>
                <a:gd name="T14" fmla="*/ 243 w 1545"/>
                <a:gd name="T15" fmla="*/ 1203 h 1546"/>
                <a:gd name="T16" fmla="*/ 386 w 1545"/>
                <a:gd name="T17" fmla="*/ 1332 h 1546"/>
                <a:gd name="T18" fmla="*/ 574 w 1545"/>
                <a:gd name="T19" fmla="*/ 1424 h 1546"/>
                <a:gd name="T20" fmla="*/ 772 w 1545"/>
                <a:gd name="T21" fmla="*/ 1454 h 1546"/>
                <a:gd name="T22" fmla="*/ 970 w 1545"/>
                <a:gd name="T23" fmla="*/ 1424 h 1546"/>
                <a:gd name="T24" fmla="*/ 1147 w 1545"/>
                <a:gd name="T25" fmla="*/ 1340 h 1546"/>
                <a:gd name="T26" fmla="*/ 1300 w 1545"/>
                <a:gd name="T27" fmla="*/ 1203 h 1546"/>
                <a:gd name="T28" fmla="*/ 1398 w 1545"/>
                <a:gd name="T29" fmla="*/ 1038 h 1546"/>
                <a:gd name="T30" fmla="*/ 1449 w 1545"/>
                <a:gd name="T31" fmla="*/ 848 h 1546"/>
                <a:gd name="T32" fmla="*/ 1439 w 1545"/>
                <a:gd name="T33" fmla="*/ 632 h 1546"/>
                <a:gd name="T34" fmla="*/ 1369 w 1545"/>
                <a:gd name="T35" fmla="*/ 444 h 1546"/>
                <a:gd name="T36" fmla="*/ 1253 w 1545"/>
                <a:gd name="T37" fmla="*/ 291 h 1546"/>
                <a:gd name="T38" fmla="*/ 1100 w 1545"/>
                <a:gd name="T39" fmla="*/ 175 h 1546"/>
                <a:gd name="T40" fmla="*/ 914 w 1545"/>
                <a:gd name="T41" fmla="*/ 104 h 1546"/>
                <a:gd name="T42" fmla="*/ 772 w 1545"/>
                <a:gd name="T43" fmla="*/ 0 h 1546"/>
                <a:gd name="T44" fmla="*/ 937 w 1545"/>
                <a:gd name="T45" fmla="*/ 18 h 1546"/>
                <a:gd name="T46" fmla="*/ 1135 w 1545"/>
                <a:gd name="T47" fmla="*/ 90 h 1546"/>
                <a:gd name="T48" fmla="*/ 1267 w 1545"/>
                <a:gd name="T49" fmla="*/ 179 h 1546"/>
                <a:gd name="T50" fmla="*/ 1406 w 1545"/>
                <a:gd name="T51" fmla="*/ 334 h 1546"/>
                <a:gd name="T52" fmla="*/ 1482 w 1545"/>
                <a:gd name="T53" fmla="*/ 473 h 1546"/>
                <a:gd name="T54" fmla="*/ 1529 w 1545"/>
                <a:gd name="T55" fmla="*/ 626 h 1546"/>
                <a:gd name="T56" fmla="*/ 1541 w 1545"/>
                <a:gd name="T57" fmla="*/ 848 h 1546"/>
                <a:gd name="T58" fmla="*/ 1508 w 1545"/>
                <a:gd name="T59" fmla="*/ 1007 h 1546"/>
                <a:gd name="T60" fmla="*/ 1416 w 1545"/>
                <a:gd name="T61" fmla="*/ 1197 h 1546"/>
                <a:gd name="T62" fmla="*/ 1318 w 1545"/>
                <a:gd name="T63" fmla="*/ 1319 h 1546"/>
                <a:gd name="T64" fmla="*/ 1196 w 1545"/>
                <a:gd name="T65" fmla="*/ 1417 h 1546"/>
                <a:gd name="T66" fmla="*/ 1006 w 1545"/>
                <a:gd name="T67" fmla="*/ 1509 h 1546"/>
                <a:gd name="T68" fmla="*/ 847 w 1545"/>
                <a:gd name="T69" fmla="*/ 1542 h 1546"/>
                <a:gd name="T70" fmla="*/ 625 w 1545"/>
                <a:gd name="T71" fmla="*/ 1530 h 1546"/>
                <a:gd name="T72" fmla="*/ 472 w 1545"/>
                <a:gd name="T73" fmla="*/ 1483 h 1546"/>
                <a:gd name="T74" fmla="*/ 333 w 1545"/>
                <a:gd name="T75" fmla="*/ 1407 h 1546"/>
                <a:gd name="T76" fmla="*/ 178 w 1545"/>
                <a:gd name="T77" fmla="*/ 1268 h 1546"/>
                <a:gd name="T78" fmla="*/ 90 w 1545"/>
                <a:gd name="T79" fmla="*/ 1136 h 1546"/>
                <a:gd name="T80" fmla="*/ 17 w 1545"/>
                <a:gd name="T81" fmla="*/ 938 h 1546"/>
                <a:gd name="T82" fmla="*/ 0 w 1545"/>
                <a:gd name="T83" fmla="*/ 773 h 1546"/>
                <a:gd name="T84" fmla="*/ 17 w 1545"/>
                <a:gd name="T85" fmla="*/ 608 h 1546"/>
                <a:gd name="T86" fmla="*/ 90 w 1545"/>
                <a:gd name="T87" fmla="*/ 408 h 1546"/>
                <a:gd name="T88" fmla="*/ 178 w 1545"/>
                <a:gd name="T89" fmla="*/ 277 h 1546"/>
                <a:gd name="T90" fmla="*/ 333 w 1545"/>
                <a:gd name="T91" fmla="*/ 138 h 1546"/>
                <a:gd name="T92" fmla="*/ 472 w 1545"/>
                <a:gd name="T93" fmla="*/ 61 h 1546"/>
                <a:gd name="T94" fmla="*/ 625 w 1545"/>
                <a:gd name="T95" fmla="*/ 14 h 1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5" h="1546">
                  <a:moveTo>
                    <a:pt x="772" y="92"/>
                  </a:moveTo>
                  <a:lnTo>
                    <a:pt x="698" y="94"/>
                  </a:lnTo>
                  <a:lnTo>
                    <a:pt x="631" y="104"/>
                  </a:lnTo>
                  <a:lnTo>
                    <a:pt x="574" y="120"/>
                  </a:lnTo>
                  <a:lnTo>
                    <a:pt x="508" y="145"/>
                  </a:lnTo>
                  <a:lnTo>
                    <a:pt x="443" y="175"/>
                  </a:lnTo>
                  <a:lnTo>
                    <a:pt x="386" y="212"/>
                  </a:lnTo>
                  <a:lnTo>
                    <a:pt x="341" y="243"/>
                  </a:lnTo>
                  <a:lnTo>
                    <a:pt x="290" y="291"/>
                  </a:lnTo>
                  <a:lnTo>
                    <a:pt x="243" y="342"/>
                  </a:lnTo>
                  <a:lnTo>
                    <a:pt x="211" y="387"/>
                  </a:lnTo>
                  <a:lnTo>
                    <a:pt x="174" y="444"/>
                  </a:lnTo>
                  <a:lnTo>
                    <a:pt x="145" y="508"/>
                  </a:lnTo>
                  <a:lnTo>
                    <a:pt x="119" y="575"/>
                  </a:lnTo>
                  <a:lnTo>
                    <a:pt x="104" y="632"/>
                  </a:lnTo>
                  <a:lnTo>
                    <a:pt x="94" y="699"/>
                  </a:lnTo>
                  <a:lnTo>
                    <a:pt x="92" y="773"/>
                  </a:lnTo>
                  <a:lnTo>
                    <a:pt x="94" y="848"/>
                  </a:lnTo>
                  <a:lnTo>
                    <a:pt x="104" y="914"/>
                  </a:lnTo>
                  <a:lnTo>
                    <a:pt x="119" y="971"/>
                  </a:lnTo>
                  <a:lnTo>
                    <a:pt x="145" y="1038"/>
                  </a:lnTo>
                  <a:lnTo>
                    <a:pt x="174" y="1101"/>
                  </a:lnTo>
                  <a:lnTo>
                    <a:pt x="204" y="1148"/>
                  </a:lnTo>
                  <a:lnTo>
                    <a:pt x="243" y="1203"/>
                  </a:lnTo>
                  <a:lnTo>
                    <a:pt x="290" y="1254"/>
                  </a:lnTo>
                  <a:lnTo>
                    <a:pt x="341" y="1301"/>
                  </a:lnTo>
                  <a:lnTo>
                    <a:pt x="386" y="1332"/>
                  </a:lnTo>
                  <a:lnTo>
                    <a:pt x="443" y="1370"/>
                  </a:lnTo>
                  <a:lnTo>
                    <a:pt x="508" y="1399"/>
                  </a:lnTo>
                  <a:lnTo>
                    <a:pt x="574" y="1424"/>
                  </a:lnTo>
                  <a:lnTo>
                    <a:pt x="631" y="1440"/>
                  </a:lnTo>
                  <a:lnTo>
                    <a:pt x="698" y="1450"/>
                  </a:lnTo>
                  <a:lnTo>
                    <a:pt x="772" y="1454"/>
                  </a:lnTo>
                  <a:lnTo>
                    <a:pt x="847" y="1450"/>
                  </a:lnTo>
                  <a:lnTo>
                    <a:pt x="914" y="1440"/>
                  </a:lnTo>
                  <a:lnTo>
                    <a:pt x="970" y="1424"/>
                  </a:lnTo>
                  <a:lnTo>
                    <a:pt x="1037" y="1399"/>
                  </a:lnTo>
                  <a:lnTo>
                    <a:pt x="1100" y="1370"/>
                  </a:lnTo>
                  <a:lnTo>
                    <a:pt x="1147" y="1340"/>
                  </a:lnTo>
                  <a:lnTo>
                    <a:pt x="1202" y="1301"/>
                  </a:lnTo>
                  <a:lnTo>
                    <a:pt x="1253" y="1254"/>
                  </a:lnTo>
                  <a:lnTo>
                    <a:pt x="1300" y="1203"/>
                  </a:lnTo>
                  <a:lnTo>
                    <a:pt x="1339" y="1148"/>
                  </a:lnTo>
                  <a:lnTo>
                    <a:pt x="1369" y="1101"/>
                  </a:lnTo>
                  <a:lnTo>
                    <a:pt x="1398" y="1038"/>
                  </a:lnTo>
                  <a:lnTo>
                    <a:pt x="1424" y="971"/>
                  </a:lnTo>
                  <a:lnTo>
                    <a:pt x="1439" y="914"/>
                  </a:lnTo>
                  <a:lnTo>
                    <a:pt x="1449" y="848"/>
                  </a:lnTo>
                  <a:lnTo>
                    <a:pt x="1453" y="773"/>
                  </a:lnTo>
                  <a:lnTo>
                    <a:pt x="1449" y="699"/>
                  </a:lnTo>
                  <a:lnTo>
                    <a:pt x="1439" y="632"/>
                  </a:lnTo>
                  <a:lnTo>
                    <a:pt x="1424" y="575"/>
                  </a:lnTo>
                  <a:lnTo>
                    <a:pt x="1398" y="508"/>
                  </a:lnTo>
                  <a:lnTo>
                    <a:pt x="1369" y="444"/>
                  </a:lnTo>
                  <a:lnTo>
                    <a:pt x="1331" y="387"/>
                  </a:lnTo>
                  <a:lnTo>
                    <a:pt x="1300" y="342"/>
                  </a:lnTo>
                  <a:lnTo>
                    <a:pt x="1253" y="291"/>
                  </a:lnTo>
                  <a:lnTo>
                    <a:pt x="1202" y="243"/>
                  </a:lnTo>
                  <a:lnTo>
                    <a:pt x="1147" y="204"/>
                  </a:lnTo>
                  <a:lnTo>
                    <a:pt x="1100" y="175"/>
                  </a:lnTo>
                  <a:lnTo>
                    <a:pt x="1037" y="145"/>
                  </a:lnTo>
                  <a:lnTo>
                    <a:pt x="970" y="120"/>
                  </a:lnTo>
                  <a:lnTo>
                    <a:pt x="914" y="104"/>
                  </a:lnTo>
                  <a:lnTo>
                    <a:pt x="847" y="94"/>
                  </a:lnTo>
                  <a:lnTo>
                    <a:pt x="772" y="92"/>
                  </a:lnTo>
                  <a:close/>
                  <a:moveTo>
                    <a:pt x="772" y="0"/>
                  </a:moveTo>
                  <a:lnTo>
                    <a:pt x="847" y="2"/>
                  </a:lnTo>
                  <a:lnTo>
                    <a:pt x="920" y="14"/>
                  </a:lnTo>
                  <a:lnTo>
                    <a:pt x="937" y="18"/>
                  </a:lnTo>
                  <a:lnTo>
                    <a:pt x="1006" y="36"/>
                  </a:lnTo>
                  <a:lnTo>
                    <a:pt x="1072" y="61"/>
                  </a:lnTo>
                  <a:lnTo>
                    <a:pt x="1135" y="90"/>
                  </a:lnTo>
                  <a:lnTo>
                    <a:pt x="1196" y="128"/>
                  </a:lnTo>
                  <a:lnTo>
                    <a:pt x="1210" y="138"/>
                  </a:lnTo>
                  <a:lnTo>
                    <a:pt x="1267" y="179"/>
                  </a:lnTo>
                  <a:lnTo>
                    <a:pt x="1318" y="226"/>
                  </a:lnTo>
                  <a:lnTo>
                    <a:pt x="1365" y="277"/>
                  </a:lnTo>
                  <a:lnTo>
                    <a:pt x="1406" y="334"/>
                  </a:lnTo>
                  <a:lnTo>
                    <a:pt x="1416" y="349"/>
                  </a:lnTo>
                  <a:lnTo>
                    <a:pt x="1453" y="408"/>
                  </a:lnTo>
                  <a:lnTo>
                    <a:pt x="1482" y="473"/>
                  </a:lnTo>
                  <a:lnTo>
                    <a:pt x="1508" y="540"/>
                  </a:lnTo>
                  <a:lnTo>
                    <a:pt x="1526" y="608"/>
                  </a:lnTo>
                  <a:lnTo>
                    <a:pt x="1529" y="626"/>
                  </a:lnTo>
                  <a:lnTo>
                    <a:pt x="1541" y="699"/>
                  </a:lnTo>
                  <a:lnTo>
                    <a:pt x="1545" y="773"/>
                  </a:lnTo>
                  <a:lnTo>
                    <a:pt x="1541" y="848"/>
                  </a:lnTo>
                  <a:lnTo>
                    <a:pt x="1529" y="920"/>
                  </a:lnTo>
                  <a:lnTo>
                    <a:pt x="1526" y="938"/>
                  </a:lnTo>
                  <a:lnTo>
                    <a:pt x="1508" y="1007"/>
                  </a:lnTo>
                  <a:lnTo>
                    <a:pt x="1482" y="1073"/>
                  </a:lnTo>
                  <a:lnTo>
                    <a:pt x="1453" y="1136"/>
                  </a:lnTo>
                  <a:lnTo>
                    <a:pt x="1416" y="1197"/>
                  </a:lnTo>
                  <a:lnTo>
                    <a:pt x="1406" y="1211"/>
                  </a:lnTo>
                  <a:lnTo>
                    <a:pt x="1365" y="1268"/>
                  </a:lnTo>
                  <a:lnTo>
                    <a:pt x="1318" y="1319"/>
                  </a:lnTo>
                  <a:lnTo>
                    <a:pt x="1267" y="1366"/>
                  </a:lnTo>
                  <a:lnTo>
                    <a:pt x="1210" y="1407"/>
                  </a:lnTo>
                  <a:lnTo>
                    <a:pt x="1196" y="1417"/>
                  </a:lnTo>
                  <a:lnTo>
                    <a:pt x="1135" y="1454"/>
                  </a:lnTo>
                  <a:lnTo>
                    <a:pt x="1072" y="1483"/>
                  </a:lnTo>
                  <a:lnTo>
                    <a:pt x="1006" y="1509"/>
                  </a:lnTo>
                  <a:lnTo>
                    <a:pt x="937" y="1526"/>
                  </a:lnTo>
                  <a:lnTo>
                    <a:pt x="920" y="1530"/>
                  </a:lnTo>
                  <a:lnTo>
                    <a:pt x="847" y="1542"/>
                  </a:lnTo>
                  <a:lnTo>
                    <a:pt x="772" y="1546"/>
                  </a:lnTo>
                  <a:lnTo>
                    <a:pt x="698" y="1542"/>
                  </a:lnTo>
                  <a:lnTo>
                    <a:pt x="625" y="1530"/>
                  </a:lnTo>
                  <a:lnTo>
                    <a:pt x="608" y="1526"/>
                  </a:lnTo>
                  <a:lnTo>
                    <a:pt x="539" y="1509"/>
                  </a:lnTo>
                  <a:lnTo>
                    <a:pt x="472" y="1483"/>
                  </a:lnTo>
                  <a:lnTo>
                    <a:pt x="408" y="1454"/>
                  </a:lnTo>
                  <a:lnTo>
                    <a:pt x="349" y="1417"/>
                  </a:lnTo>
                  <a:lnTo>
                    <a:pt x="333" y="1407"/>
                  </a:lnTo>
                  <a:lnTo>
                    <a:pt x="276" y="1366"/>
                  </a:lnTo>
                  <a:lnTo>
                    <a:pt x="225" y="1319"/>
                  </a:lnTo>
                  <a:lnTo>
                    <a:pt x="178" y="1268"/>
                  </a:lnTo>
                  <a:lnTo>
                    <a:pt x="137" y="1211"/>
                  </a:lnTo>
                  <a:lnTo>
                    <a:pt x="127" y="1197"/>
                  </a:lnTo>
                  <a:lnTo>
                    <a:pt x="90" y="1136"/>
                  </a:lnTo>
                  <a:lnTo>
                    <a:pt x="60" y="1073"/>
                  </a:lnTo>
                  <a:lnTo>
                    <a:pt x="35" y="1007"/>
                  </a:lnTo>
                  <a:lnTo>
                    <a:pt x="17" y="938"/>
                  </a:lnTo>
                  <a:lnTo>
                    <a:pt x="13" y="920"/>
                  </a:lnTo>
                  <a:lnTo>
                    <a:pt x="2" y="848"/>
                  </a:lnTo>
                  <a:lnTo>
                    <a:pt x="0" y="773"/>
                  </a:lnTo>
                  <a:lnTo>
                    <a:pt x="2" y="699"/>
                  </a:lnTo>
                  <a:lnTo>
                    <a:pt x="13" y="626"/>
                  </a:lnTo>
                  <a:lnTo>
                    <a:pt x="17" y="608"/>
                  </a:lnTo>
                  <a:lnTo>
                    <a:pt x="35" y="540"/>
                  </a:lnTo>
                  <a:lnTo>
                    <a:pt x="60" y="473"/>
                  </a:lnTo>
                  <a:lnTo>
                    <a:pt x="90" y="408"/>
                  </a:lnTo>
                  <a:lnTo>
                    <a:pt x="127" y="349"/>
                  </a:lnTo>
                  <a:lnTo>
                    <a:pt x="137" y="334"/>
                  </a:lnTo>
                  <a:lnTo>
                    <a:pt x="178" y="277"/>
                  </a:lnTo>
                  <a:lnTo>
                    <a:pt x="225" y="226"/>
                  </a:lnTo>
                  <a:lnTo>
                    <a:pt x="276" y="179"/>
                  </a:lnTo>
                  <a:lnTo>
                    <a:pt x="333" y="138"/>
                  </a:lnTo>
                  <a:lnTo>
                    <a:pt x="349" y="128"/>
                  </a:lnTo>
                  <a:lnTo>
                    <a:pt x="408" y="90"/>
                  </a:lnTo>
                  <a:lnTo>
                    <a:pt x="472" y="61"/>
                  </a:lnTo>
                  <a:lnTo>
                    <a:pt x="539" y="36"/>
                  </a:lnTo>
                  <a:lnTo>
                    <a:pt x="608" y="18"/>
                  </a:lnTo>
                  <a:lnTo>
                    <a:pt x="625" y="14"/>
                  </a:lnTo>
                  <a:lnTo>
                    <a:pt x="698" y="2"/>
                  </a:lnTo>
                  <a:lnTo>
                    <a:pt x="772" y="0"/>
                  </a:lnTo>
                  <a:close/>
                </a:path>
              </a:pathLst>
            </a:custGeom>
            <a:solidFill>
              <a:schemeClr val="accent4"/>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1603">
              <a:extLst>
                <a:ext uri="{FF2B5EF4-FFF2-40B4-BE49-F238E27FC236}">
                  <a16:creationId xmlns:a16="http://schemas.microsoft.com/office/drawing/2014/main" id="{06C136B6-9EFF-484C-B676-5312DA20FB6C}"/>
                </a:ext>
              </a:extLst>
            </p:cNvPr>
            <p:cNvSpPr>
              <a:spLocks/>
            </p:cNvSpPr>
            <p:nvPr/>
          </p:nvSpPr>
          <p:spPr bwMode="auto">
            <a:xfrm>
              <a:off x="2648641" y="1627919"/>
              <a:ext cx="49213" cy="49212"/>
            </a:xfrm>
            <a:custGeom>
              <a:avLst/>
              <a:gdLst>
                <a:gd name="T0" fmla="*/ 30 w 61"/>
                <a:gd name="T1" fmla="*/ 0 h 63"/>
                <a:gd name="T2" fmla="*/ 40 w 61"/>
                <a:gd name="T3" fmla="*/ 2 h 63"/>
                <a:gd name="T4" fmla="*/ 46 w 61"/>
                <a:gd name="T5" fmla="*/ 6 h 63"/>
                <a:gd name="T6" fmla="*/ 53 w 61"/>
                <a:gd name="T7" fmla="*/ 10 h 63"/>
                <a:gd name="T8" fmla="*/ 57 w 61"/>
                <a:gd name="T9" fmla="*/ 16 h 63"/>
                <a:gd name="T10" fmla="*/ 61 w 61"/>
                <a:gd name="T11" fmla="*/ 24 h 63"/>
                <a:gd name="T12" fmla="*/ 61 w 61"/>
                <a:gd name="T13" fmla="*/ 31 h 63"/>
                <a:gd name="T14" fmla="*/ 61 w 61"/>
                <a:gd name="T15" fmla="*/ 41 h 63"/>
                <a:gd name="T16" fmla="*/ 57 w 61"/>
                <a:gd name="T17" fmla="*/ 47 h 63"/>
                <a:gd name="T18" fmla="*/ 53 w 61"/>
                <a:gd name="T19" fmla="*/ 55 h 63"/>
                <a:gd name="T20" fmla="*/ 46 w 61"/>
                <a:gd name="T21" fmla="*/ 59 h 63"/>
                <a:gd name="T22" fmla="*/ 40 w 61"/>
                <a:gd name="T23" fmla="*/ 63 h 63"/>
                <a:gd name="T24" fmla="*/ 30 w 61"/>
                <a:gd name="T25" fmla="*/ 63 h 63"/>
                <a:gd name="T26" fmla="*/ 22 w 61"/>
                <a:gd name="T27" fmla="*/ 63 h 63"/>
                <a:gd name="T28" fmla="*/ 14 w 61"/>
                <a:gd name="T29" fmla="*/ 59 h 63"/>
                <a:gd name="T30" fmla="*/ 8 w 61"/>
                <a:gd name="T31" fmla="*/ 55 h 63"/>
                <a:gd name="T32" fmla="*/ 4 w 61"/>
                <a:gd name="T33" fmla="*/ 47 h 63"/>
                <a:gd name="T34" fmla="*/ 0 w 61"/>
                <a:gd name="T35" fmla="*/ 41 h 63"/>
                <a:gd name="T36" fmla="*/ 0 w 61"/>
                <a:gd name="T37" fmla="*/ 31 h 63"/>
                <a:gd name="T38" fmla="*/ 0 w 61"/>
                <a:gd name="T39" fmla="*/ 24 h 63"/>
                <a:gd name="T40" fmla="*/ 4 w 61"/>
                <a:gd name="T41" fmla="*/ 16 h 63"/>
                <a:gd name="T42" fmla="*/ 8 w 61"/>
                <a:gd name="T43" fmla="*/ 10 h 63"/>
                <a:gd name="T44" fmla="*/ 14 w 61"/>
                <a:gd name="T45" fmla="*/ 6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40" y="2"/>
                  </a:lnTo>
                  <a:lnTo>
                    <a:pt x="46" y="6"/>
                  </a:lnTo>
                  <a:lnTo>
                    <a:pt x="53" y="10"/>
                  </a:lnTo>
                  <a:lnTo>
                    <a:pt x="57" y="16"/>
                  </a:lnTo>
                  <a:lnTo>
                    <a:pt x="61" y="24"/>
                  </a:lnTo>
                  <a:lnTo>
                    <a:pt x="61" y="31"/>
                  </a:lnTo>
                  <a:lnTo>
                    <a:pt x="61" y="41"/>
                  </a:lnTo>
                  <a:lnTo>
                    <a:pt x="57" y="47"/>
                  </a:lnTo>
                  <a:lnTo>
                    <a:pt x="53" y="55"/>
                  </a:lnTo>
                  <a:lnTo>
                    <a:pt x="46" y="59"/>
                  </a:lnTo>
                  <a:lnTo>
                    <a:pt x="40" y="63"/>
                  </a:lnTo>
                  <a:lnTo>
                    <a:pt x="30" y="63"/>
                  </a:lnTo>
                  <a:lnTo>
                    <a:pt x="22" y="63"/>
                  </a:lnTo>
                  <a:lnTo>
                    <a:pt x="14" y="59"/>
                  </a:lnTo>
                  <a:lnTo>
                    <a:pt x="8" y="55"/>
                  </a:lnTo>
                  <a:lnTo>
                    <a:pt x="4" y="47"/>
                  </a:lnTo>
                  <a:lnTo>
                    <a:pt x="0" y="41"/>
                  </a:lnTo>
                  <a:lnTo>
                    <a:pt x="0" y="31"/>
                  </a:lnTo>
                  <a:lnTo>
                    <a:pt x="0" y="24"/>
                  </a:lnTo>
                  <a:lnTo>
                    <a:pt x="4" y="16"/>
                  </a:lnTo>
                  <a:lnTo>
                    <a:pt x="8" y="10"/>
                  </a:lnTo>
                  <a:lnTo>
                    <a:pt x="14" y="6"/>
                  </a:lnTo>
                  <a:lnTo>
                    <a:pt x="22" y="2"/>
                  </a:lnTo>
                  <a:lnTo>
                    <a:pt x="3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Rectangle 69">
              <a:extLst>
                <a:ext uri="{FF2B5EF4-FFF2-40B4-BE49-F238E27FC236}">
                  <a16:creationId xmlns:a16="http://schemas.microsoft.com/office/drawing/2014/main" id="{13059305-62C8-D74E-94AC-996B47424921}"/>
                </a:ext>
              </a:extLst>
            </p:cNvPr>
            <p:cNvSpPr/>
            <p:nvPr/>
          </p:nvSpPr>
          <p:spPr>
            <a:xfrm>
              <a:off x="4287737" y="4909606"/>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1" name="Rectangle 70">
              <a:extLst>
                <a:ext uri="{FF2B5EF4-FFF2-40B4-BE49-F238E27FC236}">
                  <a16:creationId xmlns:a16="http://schemas.microsoft.com/office/drawing/2014/main" id="{77B4BBF2-4DEE-6647-B396-461925F04057}"/>
                </a:ext>
              </a:extLst>
            </p:cNvPr>
            <p:cNvSpPr/>
            <p:nvPr/>
          </p:nvSpPr>
          <p:spPr>
            <a:xfrm>
              <a:off x="5642667" y="3837959"/>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2" name="Rectangle 71">
              <a:extLst>
                <a:ext uri="{FF2B5EF4-FFF2-40B4-BE49-F238E27FC236}">
                  <a16:creationId xmlns:a16="http://schemas.microsoft.com/office/drawing/2014/main" id="{8864D490-415D-A044-B1BA-32012EDF8FEB}"/>
                </a:ext>
              </a:extLst>
            </p:cNvPr>
            <p:cNvSpPr/>
            <p:nvPr/>
          </p:nvSpPr>
          <p:spPr>
            <a:xfrm>
              <a:off x="4319079" y="2595534"/>
              <a:ext cx="919975" cy="338554"/>
            </a:xfrm>
            <a:prstGeom prst="rect">
              <a:avLst/>
            </a:prstGeom>
            <a:solidFill>
              <a:schemeClr val="accent1"/>
            </a:solidFill>
          </p:spPr>
          <p:txBody>
            <a:bodyPr wrap="square" lIns="0" tIns="0" rIns="0" bIns="0">
              <a:spAutoFit/>
            </a:bodyPr>
            <a:lstStyle/>
            <a:p>
              <a:pPr algn="ctr"/>
              <a:r>
                <a:rPr lang="en-US" sz="1100" dirty="0">
                  <a:solidFill>
                    <a:schemeClr val="bg1"/>
                  </a:solidFill>
                </a:rPr>
                <a:t>Lorem ipsum dolor</a:t>
              </a:r>
            </a:p>
          </p:txBody>
        </p:sp>
        <p:sp>
          <p:nvSpPr>
            <p:cNvPr id="73" name="Rectangle 72">
              <a:extLst>
                <a:ext uri="{FF2B5EF4-FFF2-40B4-BE49-F238E27FC236}">
                  <a16:creationId xmlns:a16="http://schemas.microsoft.com/office/drawing/2014/main" id="{3072A49E-ABB8-6542-9FE5-75C6E8636ED4}"/>
                </a:ext>
              </a:extLst>
            </p:cNvPr>
            <p:cNvSpPr/>
            <p:nvPr/>
          </p:nvSpPr>
          <p:spPr>
            <a:xfrm>
              <a:off x="5708352" y="1462903"/>
              <a:ext cx="982662" cy="338554"/>
            </a:xfrm>
            <a:prstGeom prst="rect">
              <a:avLst/>
            </a:prstGeom>
          </p:spPr>
          <p:txBody>
            <a:bodyPr wrap="square" lIns="0" tIns="0" rIns="0" bIns="0">
              <a:spAutoFit/>
            </a:bodyPr>
            <a:lstStyle/>
            <a:p>
              <a:pPr algn="ctr"/>
              <a:r>
                <a:rPr lang="en-US" sz="1100" dirty="0"/>
                <a:t>Lorem ipsum dolor</a:t>
              </a:r>
            </a:p>
          </p:txBody>
        </p:sp>
        <p:sp>
          <p:nvSpPr>
            <p:cNvPr id="74" name="Rectangle 73">
              <a:extLst>
                <a:ext uri="{FF2B5EF4-FFF2-40B4-BE49-F238E27FC236}">
                  <a16:creationId xmlns:a16="http://schemas.microsoft.com/office/drawing/2014/main" id="{156EB3EB-848E-6643-8921-B037B92BE5D5}"/>
                </a:ext>
              </a:extLst>
            </p:cNvPr>
            <p:cNvSpPr/>
            <p:nvPr/>
          </p:nvSpPr>
          <p:spPr>
            <a:xfrm>
              <a:off x="2936577" y="1520885"/>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5" name="Rectangle 74">
              <a:extLst>
                <a:ext uri="{FF2B5EF4-FFF2-40B4-BE49-F238E27FC236}">
                  <a16:creationId xmlns:a16="http://schemas.microsoft.com/office/drawing/2014/main" id="{C40F6763-4494-F541-8075-69946E82C541}"/>
                </a:ext>
              </a:extLst>
            </p:cNvPr>
            <p:cNvSpPr/>
            <p:nvPr/>
          </p:nvSpPr>
          <p:spPr>
            <a:xfrm>
              <a:off x="2936577" y="3736359"/>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6" name="Rectangle 75">
              <a:extLst>
                <a:ext uri="{FF2B5EF4-FFF2-40B4-BE49-F238E27FC236}">
                  <a16:creationId xmlns:a16="http://schemas.microsoft.com/office/drawing/2014/main" id="{24441399-6692-9D4B-A40C-F75F7F459BEF}"/>
                </a:ext>
              </a:extLst>
            </p:cNvPr>
            <p:cNvSpPr/>
            <p:nvPr/>
          </p:nvSpPr>
          <p:spPr>
            <a:xfrm>
              <a:off x="2379795" y="5138750"/>
              <a:ext cx="1468438" cy="584775"/>
            </a:xfrm>
            <a:prstGeom prst="rect">
              <a:avLst/>
            </a:prstGeom>
          </p:spPr>
          <p:txBody>
            <a:bodyPr wrap="square">
              <a:spAutoFit/>
            </a:bodyPr>
            <a:lstStyle/>
            <a:p>
              <a:pPr algn="ctr"/>
              <a:r>
                <a:rPr lang="en-US" sz="1600" b="1" dirty="0"/>
                <a:t>Campaign Summary</a:t>
              </a:r>
            </a:p>
          </p:txBody>
        </p:sp>
      </p:grpSp>
      <p:grpSp>
        <p:nvGrpSpPr>
          <p:cNvPr id="38" name="Group 37">
            <a:extLst>
              <a:ext uri="{FF2B5EF4-FFF2-40B4-BE49-F238E27FC236}">
                <a16:creationId xmlns:a16="http://schemas.microsoft.com/office/drawing/2014/main" id="{DDEEE593-D9F4-224D-8B52-37199241C036}"/>
              </a:ext>
            </a:extLst>
          </p:cNvPr>
          <p:cNvGrpSpPr/>
          <p:nvPr/>
        </p:nvGrpSpPr>
        <p:grpSpPr>
          <a:xfrm>
            <a:off x="5919173" y="653822"/>
            <a:ext cx="5990649" cy="5381154"/>
            <a:chOff x="9096344" y="2596283"/>
            <a:chExt cx="5990649" cy="5381154"/>
          </a:xfrm>
        </p:grpSpPr>
        <p:sp>
          <p:nvSpPr>
            <p:cNvPr id="39" name="Rectangle 38">
              <a:extLst>
                <a:ext uri="{FF2B5EF4-FFF2-40B4-BE49-F238E27FC236}">
                  <a16:creationId xmlns:a16="http://schemas.microsoft.com/office/drawing/2014/main" id="{1EE9CA29-9560-B844-BB96-7CC893FE2059}"/>
                </a:ext>
              </a:extLst>
            </p:cNvPr>
            <p:cNvSpPr/>
            <p:nvPr/>
          </p:nvSpPr>
          <p:spPr>
            <a:xfrm>
              <a:off x="9614251" y="7428167"/>
              <a:ext cx="829458" cy="184666"/>
            </a:xfrm>
            <a:prstGeom prst="rect">
              <a:avLst/>
            </a:prstGeom>
          </p:spPr>
          <p:txBody>
            <a:bodyPr wrap="none" lIns="0" tIns="0" rIns="0" bIns="0" numCol="1" spcCol="182880">
              <a:spAutoFit/>
            </a:bodyPr>
            <a:lstStyle/>
            <a:p>
              <a:pPr fontAlgn="base">
                <a:spcBef>
                  <a:spcPts val="1200"/>
                </a:spcBef>
                <a:spcAft>
                  <a:spcPct val="0"/>
                </a:spcAft>
              </a:pPr>
              <a:r>
                <a:rPr lang="en-US" sz="1200" b="1" dirty="0">
                  <a:solidFill>
                    <a:prstClr val="black"/>
                  </a:solidFill>
                  <a:cs typeface="Verdana" panose="020B0604030504040204" pitchFamily="34" charset="0"/>
                </a:rPr>
                <a:t>Lorem ipsum</a:t>
              </a:r>
            </a:p>
          </p:txBody>
        </p:sp>
        <p:sp>
          <p:nvSpPr>
            <p:cNvPr id="40" name="Freeform 6">
              <a:extLst>
                <a:ext uri="{FF2B5EF4-FFF2-40B4-BE49-F238E27FC236}">
                  <a16:creationId xmlns:a16="http://schemas.microsoft.com/office/drawing/2014/main" id="{340BD328-CFF8-244F-8DDB-03A8F2DEAA37}"/>
                </a:ext>
              </a:extLst>
            </p:cNvPr>
            <p:cNvSpPr>
              <a:spLocks/>
            </p:cNvSpPr>
            <p:nvPr/>
          </p:nvSpPr>
          <p:spPr bwMode="auto">
            <a:xfrm>
              <a:off x="11157151" y="3884933"/>
              <a:ext cx="1649782" cy="4081855"/>
            </a:xfrm>
            <a:custGeom>
              <a:avLst/>
              <a:gdLst>
                <a:gd name="T0" fmla="*/ 143 w 287"/>
                <a:gd name="T1" fmla="*/ 710 h 710"/>
                <a:gd name="T2" fmla="*/ 0 w 287"/>
                <a:gd name="T3" fmla="*/ 567 h 710"/>
                <a:gd name="T4" fmla="*/ 36 w 287"/>
                <a:gd name="T5" fmla="*/ 471 h 710"/>
                <a:gd name="T6" fmla="*/ 37 w 287"/>
                <a:gd name="T7" fmla="*/ 471 h 710"/>
                <a:gd name="T8" fmla="*/ 37 w 287"/>
                <a:gd name="T9" fmla="*/ 473 h 710"/>
                <a:gd name="T10" fmla="*/ 2 w 287"/>
                <a:gd name="T11" fmla="*/ 567 h 710"/>
                <a:gd name="T12" fmla="*/ 143 w 287"/>
                <a:gd name="T13" fmla="*/ 708 h 710"/>
                <a:gd name="T14" fmla="*/ 285 w 287"/>
                <a:gd name="T15" fmla="*/ 567 h 710"/>
                <a:gd name="T16" fmla="*/ 151 w 287"/>
                <a:gd name="T17" fmla="*/ 425 h 710"/>
                <a:gd name="T18" fmla="*/ 150 w 287"/>
                <a:gd name="T19" fmla="*/ 424 h 710"/>
                <a:gd name="T20" fmla="*/ 150 w 287"/>
                <a:gd name="T21" fmla="*/ 422 h 710"/>
                <a:gd name="T22" fmla="*/ 150 w 287"/>
                <a:gd name="T23" fmla="*/ 287 h 710"/>
                <a:gd name="T24" fmla="*/ 151 w 287"/>
                <a:gd name="T25" fmla="*/ 286 h 710"/>
                <a:gd name="T26" fmla="*/ 285 w 287"/>
                <a:gd name="T27" fmla="*/ 144 h 710"/>
                <a:gd name="T28" fmla="*/ 143 w 287"/>
                <a:gd name="T29" fmla="*/ 3 h 710"/>
                <a:gd name="T30" fmla="*/ 2 w 287"/>
                <a:gd name="T31" fmla="*/ 144 h 710"/>
                <a:gd name="T32" fmla="*/ 10 w 287"/>
                <a:gd name="T33" fmla="*/ 192 h 710"/>
                <a:gd name="T34" fmla="*/ 9 w 287"/>
                <a:gd name="T35" fmla="*/ 193 h 710"/>
                <a:gd name="T36" fmla="*/ 8 w 287"/>
                <a:gd name="T37" fmla="*/ 192 h 710"/>
                <a:gd name="T38" fmla="*/ 0 w 287"/>
                <a:gd name="T39" fmla="*/ 144 h 710"/>
                <a:gd name="T40" fmla="*/ 143 w 287"/>
                <a:gd name="T41" fmla="*/ 0 h 710"/>
                <a:gd name="T42" fmla="*/ 287 w 287"/>
                <a:gd name="T43" fmla="*/ 144 h 710"/>
                <a:gd name="T44" fmla="*/ 152 w 287"/>
                <a:gd name="T45" fmla="*/ 288 h 710"/>
                <a:gd name="T46" fmla="*/ 152 w 287"/>
                <a:gd name="T47" fmla="*/ 422 h 710"/>
                <a:gd name="T48" fmla="*/ 152 w 287"/>
                <a:gd name="T49" fmla="*/ 423 h 710"/>
                <a:gd name="T50" fmla="*/ 287 w 287"/>
                <a:gd name="T51" fmla="*/ 567 h 710"/>
                <a:gd name="T52" fmla="*/ 143 w 287"/>
                <a:gd name="T53" fmla="*/ 71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7" h="710">
                  <a:moveTo>
                    <a:pt x="143" y="710"/>
                  </a:moveTo>
                  <a:cubicBezTo>
                    <a:pt x="64" y="710"/>
                    <a:pt x="0" y="646"/>
                    <a:pt x="0" y="567"/>
                  </a:cubicBezTo>
                  <a:cubicBezTo>
                    <a:pt x="0" y="531"/>
                    <a:pt x="12" y="498"/>
                    <a:pt x="36" y="471"/>
                  </a:cubicBezTo>
                  <a:cubicBezTo>
                    <a:pt x="36" y="471"/>
                    <a:pt x="37" y="471"/>
                    <a:pt x="37" y="471"/>
                  </a:cubicBezTo>
                  <a:cubicBezTo>
                    <a:pt x="38" y="472"/>
                    <a:pt x="38" y="472"/>
                    <a:pt x="37" y="473"/>
                  </a:cubicBezTo>
                  <a:cubicBezTo>
                    <a:pt x="14" y="499"/>
                    <a:pt x="2" y="532"/>
                    <a:pt x="2" y="567"/>
                  </a:cubicBezTo>
                  <a:cubicBezTo>
                    <a:pt x="2" y="645"/>
                    <a:pt x="65" y="708"/>
                    <a:pt x="143" y="708"/>
                  </a:cubicBezTo>
                  <a:cubicBezTo>
                    <a:pt x="221" y="708"/>
                    <a:pt x="285" y="645"/>
                    <a:pt x="285" y="567"/>
                  </a:cubicBezTo>
                  <a:cubicBezTo>
                    <a:pt x="285" y="491"/>
                    <a:pt x="226" y="429"/>
                    <a:pt x="151" y="425"/>
                  </a:cubicBezTo>
                  <a:cubicBezTo>
                    <a:pt x="150" y="425"/>
                    <a:pt x="150" y="425"/>
                    <a:pt x="150" y="424"/>
                  </a:cubicBezTo>
                  <a:cubicBezTo>
                    <a:pt x="150" y="422"/>
                    <a:pt x="150" y="422"/>
                    <a:pt x="150" y="422"/>
                  </a:cubicBezTo>
                  <a:cubicBezTo>
                    <a:pt x="150" y="287"/>
                    <a:pt x="150" y="287"/>
                    <a:pt x="150" y="287"/>
                  </a:cubicBezTo>
                  <a:cubicBezTo>
                    <a:pt x="150" y="286"/>
                    <a:pt x="150" y="286"/>
                    <a:pt x="151" y="286"/>
                  </a:cubicBezTo>
                  <a:cubicBezTo>
                    <a:pt x="226" y="282"/>
                    <a:pt x="285" y="219"/>
                    <a:pt x="285" y="144"/>
                  </a:cubicBezTo>
                  <a:cubicBezTo>
                    <a:pt x="285" y="66"/>
                    <a:pt x="221" y="3"/>
                    <a:pt x="143" y="3"/>
                  </a:cubicBezTo>
                  <a:cubicBezTo>
                    <a:pt x="65" y="3"/>
                    <a:pt x="2" y="66"/>
                    <a:pt x="2" y="144"/>
                  </a:cubicBezTo>
                  <a:cubicBezTo>
                    <a:pt x="2" y="160"/>
                    <a:pt x="4" y="176"/>
                    <a:pt x="10" y="192"/>
                  </a:cubicBezTo>
                  <a:cubicBezTo>
                    <a:pt x="10" y="192"/>
                    <a:pt x="10" y="193"/>
                    <a:pt x="9" y="193"/>
                  </a:cubicBezTo>
                  <a:cubicBezTo>
                    <a:pt x="9" y="193"/>
                    <a:pt x="8" y="193"/>
                    <a:pt x="8" y="192"/>
                  </a:cubicBezTo>
                  <a:cubicBezTo>
                    <a:pt x="2" y="177"/>
                    <a:pt x="0" y="161"/>
                    <a:pt x="0" y="144"/>
                  </a:cubicBezTo>
                  <a:cubicBezTo>
                    <a:pt x="0" y="65"/>
                    <a:pt x="64" y="0"/>
                    <a:pt x="143" y="0"/>
                  </a:cubicBezTo>
                  <a:cubicBezTo>
                    <a:pt x="223" y="0"/>
                    <a:pt x="287" y="65"/>
                    <a:pt x="287" y="144"/>
                  </a:cubicBezTo>
                  <a:cubicBezTo>
                    <a:pt x="287" y="220"/>
                    <a:pt x="228" y="283"/>
                    <a:pt x="152" y="288"/>
                  </a:cubicBezTo>
                  <a:cubicBezTo>
                    <a:pt x="152" y="422"/>
                    <a:pt x="152" y="422"/>
                    <a:pt x="152" y="422"/>
                  </a:cubicBezTo>
                  <a:cubicBezTo>
                    <a:pt x="152" y="423"/>
                    <a:pt x="152" y="423"/>
                    <a:pt x="152" y="423"/>
                  </a:cubicBezTo>
                  <a:cubicBezTo>
                    <a:pt x="228" y="428"/>
                    <a:pt x="287" y="490"/>
                    <a:pt x="287" y="567"/>
                  </a:cubicBezTo>
                  <a:cubicBezTo>
                    <a:pt x="287" y="646"/>
                    <a:pt x="223" y="710"/>
                    <a:pt x="143" y="71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77" name="Freeform 7">
              <a:extLst>
                <a:ext uri="{FF2B5EF4-FFF2-40B4-BE49-F238E27FC236}">
                  <a16:creationId xmlns:a16="http://schemas.microsoft.com/office/drawing/2014/main" id="{313CCBDF-DB02-4C47-AF2D-1506AC47F630}"/>
                </a:ext>
              </a:extLst>
            </p:cNvPr>
            <p:cNvSpPr>
              <a:spLocks/>
            </p:cNvSpPr>
            <p:nvPr/>
          </p:nvSpPr>
          <p:spPr bwMode="auto">
            <a:xfrm>
              <a:off x="9621615" y="6730419"/>
              <a:ext cx="1345773" cy="1150200"/>
            </a:xfrm>
            <a:custGeom>
              <a:avLst/>
              <a:gdLst>
                <a:gd name="T0" fmla="*/ 218 w 234"/>
                <a:gd name="T1" fmla="*/ 200 h 200"/>
                <a:gd name="T2" fmla="*/ 1 w 234"/>
                <a:gd name="T3" fmla="*/ 200 h 200"/>
                <a:gd name="T4" fmla="*/ 0 w 234"/>
                <a:gd name="T5" fmla="*/ 199 h 200"/>
                <a:gd name="T6" fmla="*/ 1 w 234"/>
                <a:gd name="T7" fmla="*/ 198 h 200"/>
                <a:gd name="T8" fmla="*/ 218 w 234"/>
                <a:gd name="T9" fmla="*/ 198 h 200"/>
                <a:gd name="T10" fmla="*/ 232 w 234"/>
                <a:gd name="T11" fmla="*/ 184 h 200"/>
                <a:gd name="T12" fmla="*/ 232 w 234"/>
                <a:gd name="T13" fmla="*/ 1 h 200"/>
                <a:gd name="T14" fmla="*/ 233 w 234"/>
                <a:gd name="T15" fmla="*/ 0 h 200"/>
                <a:gd name="T16" fmla="*/ 234 w 234"/>
                <a:gd name="T17" fmla="*/ 1 h 200"/>
                <a:gd name="T18" fmla="*/ 234 w 234"/>
                <a:gd name="T19" fmla="*/ 184 h 200"/>
                <a:gd name="T20" fmla="*/ 218 w 234"/>
                <a:gd name="T2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200">
                  <a:moveTo>
                    <a:pt x="218" y="200"/>
                  </a:moveTo>
                  <a:cubicBezTo>
                    <a:pt x="1" y="200"/>
                    <a:pt x="1" y="200"/>
                    <a:pt x="1" y="200"/>
                  </a:cubicBezTo>
                  <a:cubicBezTo>
                    <a:pt x="1" y="200"/>
                    <a:pt x="0" y="199"/>
                    <a:pt x="0" y="199"/>
                  </a:cubicBezTo>
                  <a:cubicBezTo>
                    <a:pt x="0" y="198"/>
                    <a:pt x="1" y="198"/>
                    <a:pt x="1" y="198"/>
                  </a:cubicBezTo>
                  <a:cubicBezTo>
                    <a:pt x="218" y="198"/>
                    <a:pt x="218" y="198"/>
                    <a:pt x="218" y="198"/>
                  </a:cubicBezTo>
                  <a:cubicBezTo>
                    <a:pt x="226" y="198"/>
                    <a:pt x="232" y="191"/>
                    <a:pt x="232" y="184"/>
                  </a:cubicBezTo>
                  <a:cubicBezTo>
                    <a:pt x="232" y="1"/>
                    <a:pt x="232" y="1"/>
                    <a:pt x="232" y="1"/>
                  </a:cubicBezTo>
                  <a:cubicBezTo>
                    <a:pt x="232" y="1"/>
                    <a:pt x="232" y="0"/>
                    <a:pt x="233" y="0"/>
                  </a:cubicBezTo>
                  <a:cubicBezTo>
                    <a:pt x="233" y="0"/>
                    <a:pt x="234" y="1"/>
                    <a:pt x="234" y="1"/>
                  </a:cubicBezTo>
                  <a:cubicBezTo>
                    <a:pt x="234" y="184"/>
                    <a:pt x="234" y="184"/>
                    <a:pt x="234" y="184"/>
                  </a:cubicBezTo>
                  <a:cubicBezTo>
                    <a:pt x="234" y="193"/>
                    <a:pt x="227" y="200"/>
                    <a:pt x="218" y="200"/>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78" name="Freeform 8">
              <a:extLst>
                <a:ext uri="{FF2B5EF4-FFF2-40B4-BE49-F238E27FC236}">
                  <a16:creationId xmlns:a16="http://schemas.microsoft.com/office/drawing/2014/main" id="{4A7E338F-FFC7-464F-9B91-F1FCB386AB67}"/>
                </a:ext>
              </a:extLst>
            </p:cNvPr>
            <p:cNvSpPr>
              <a:spLocks/>
            </p:cNvSpPr>
            <p:nvPr/>
          </p:nvSpPr>
          <p:spPr bwMode="auto">
            <a:xfrm>
              <a:off x="12893103" y="4367087"/>
              <a:ext cx="1443559" cy="1610087"/>
            </a:xfrm>
            <a:custGeom>
              <a:avLst/>
              <a:gdLst>
                <a:gd name="T0" fmla="*/ 250 w 251"/>
                <a:gd name="T1" fmla="*/ 280 h 280"/>
                <a:gd name="T2" fmla="*/ 249 w 251"/>
                <a:gd name="T3" fmla="*/ 279 h 280"/>
                <a:gd name="T4" fmla="*/ 87 w 251"/>
                <a:gd name="T5" fmla="*/ 118 h 280"/>
                <a:gd name="T6" fmla="*/ 2 w 251"/>
                <a:gd name="T7" fmla="*/ 142 h 280"/>
                <a:gd name="T8" fmla="*/ 1 w 251"/>
                <a:gd name="T9" fmla="*/ 142 h 280"/>
                <a:gd name="T10" fmla="*/ 0 w 251"/>
                <a:gd name="T11" fmla="*/ 142 h 280"/>
                <a:gd name="T12" fmla="*/ 0 w 251"/>
                <a:gd name="T13" fmla="*/ 141 h 280"/>
                <a:gd name="T14" fmla="*/ 0 w 251"/>
                <a:gd name="T15" fmla="*/ 96 h 280"/>
                <a:gd name="T16" fmla="*/ 16 w 251"/>
                <a:gd name="T17" fmla="*/ 80 h 280"/>
                <a:gd name="T18" fmla="*/ 101 w 251"/>
                <a:gd name="T19" fmla="*/ 80 h 280"/>
                <a:gd name="T20" fmla="*/ 115 w 251"/>
                <a:gd name="T21" fmla="*/ 66 h 280"/>
                <a:gd name="T22" fmla="*/ 115 w 251"/>
                <a:gd name="T23" fmla="*/ 1 h 280"/>
                <a:gd name="T24" fmla="*/ 116 w 251"/>
                <a:gd name="T25" fmla="*/ 0 h 280"/>
                <a:gd name="T26" fmla="*/ 117 w 251"/>
                <a:gd name="T27" fmla="*/ 1 h 280"/>
                <a:gd name="T28" fmla="*/ 117 w 251"/>
                <a:gd name="T29" fmla="*/ 66 h 280"/>
                <a:gd name="T30" fmla="*/ 101 w 251"/>
                <a:gd name="T31" fmla="*/ 82 h 280"/>
                <a:gd name="T32" fmla="*/ 16 w 251"/>
                <a:gd name="T33" fmla="*/ 82 h 280"/>
                <a:gd name="T34" fmla="*/ 2 w 251"/>
                <a:gd name="T35" fmla="*/ 96 h 280"/>
                <a:gd name="T36" fmla="*/ 2 w 251"/>
                <a:gd name="T37" fmla="*/ 139 h 280"/>
                <a:gd name="T38" fmla="*/ 87 w 251"/>
                <a:gd name="T39" fmla="*/ 115 h 280"/>
                <a:gd name="T40" fmla="*/ 251 w 251"/>
                <a:gd name="T41" fmla="*/ 279 h 280"/>
                <a:gd name="T42" fmla="*/ 250 w 251"/>
                <a:gd name="T43"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280">
                  <a:moveTo>
                    <a:pt x="250" y="280"/>
                  </a:moveTo>
                  <a:cubicBezTo>
                    <a:pt x="249" y="280"/>
                    <a:pt x="249" y="280"/>
                    <a:pt x="249" y="279"/>
                  </a:cubicBezTo>
                  <a:cubicBezTo>
                    <a:pt x="249" y="190"/>
                    <a:pt x="176" y="118"/>
                    <a:pt x="87" y="118"/>
                  </a:cubicBezTo>
                  <a:cubicBezTo>
                    <a:pt x="57" y="118"/>
                    <a:pt x="27" y="126"/>
                    <a:pt x="2" y="142"/>
                  </a:cubicBezTo>
                  <a:cubicBezTo>
                    <a:pt x="2" y="142"/>
                    <a:pt x="1" y="142"/>
                    <a:pt x="1" y="142"/>
                  </a:cubicBezTo>
                  <a:cubicBezTo>
                    <a:pt x="1" y="142"/>
                    <a:pt x="0" y="142"/>
                    <a:pt x="0" y="142"/>
                  </a:cubicBezTo>
                  <a:cubicBezTo>
                    <a:pt x="0" y="142"/>
                    <a:pt x="0" y="141"/>
                    <a:pt x="0" y="141"/>
                  </a:cubicBezTo>
                  <a:cubicBezTo>
                    <a:pt x="0" y="96"/>
                    <a:pt x="0" y="96"/>
                    <a:pt x="0" y="96"/>
                  </a:cubicBezTo>
                  <a:cubicBezTo>
                    <a:pt x="0" y="87"/>
                    <a:pt x="7" y="80"/>
                    <a:pt x="16" y="80"/>
                  </a:cubicBezTo>
                  <a:cubicBezTo>
                    <a:pt x="101" y="80"/>
                    <a:pt x="101" y="80"/>
                    <a:pt x="101" y="80"/>
                  </a:cubicBezTo>
                  <a:cubicBezTo>
                    <a:pt x="108" y="80"/>
                    <a:pt x="115" y="74"/>
                    <a:pt x="115" y="66"/>
                  </a:cubicBezTo>
                  <a:cubicBezTo>
                    <a:pt x="115" y="1"/>
                    <a:pt x="115" y="1"/>
                    <a:pt x="115" y="1"/>
                  </a:cubicBezTo>
                  <a:cubicBezTo>
                    <a:pt x="115" y="0"/>
                    <a:pt x="115" y="0"/>
                    <a:pt x="116" y="0"/>
                  </a:cubicBezTo>
                  <a:cubicBezTo>
                    <a:pt x="116" y="0"/>
                    <a:pt x="117" y="0"/>
                    <a:pt x="117" y="1"/>
                  </a:cubicBezTo>
                  <a:cubicBezTo>
                    <a:pt x="117" y="66"/>
                    <a:pt x="117" y="66"/>
                    <a:pt x="117" y="66"/>
                  </a:cubicBezTo>
                  <a:cubicBezTo>
                    <a:pt x="117" y="75"/>
                    <a:pt x="110" y="82"/>
                    <a:pt x="101" y="82"/>
                  </a:cubicBezTo>
                  <a:cubicBezTo>
                    <a:pt x="16" y="82"/>
                    <a:pt x="16" y="82"/>
                    <a:pt x="16" y="82"/>
                  </a:cubicBezTo>
                  <a:cubicBezTo>
                    <a:pt x="8" y="82"/>
                    <a:pt x="2" y="88"/>
                    <a:pt x="2" y="96"/>
                  </a:cubicBezTo>
                  <a:cubicBezTo>
                    <a:pt x="2" y="139"/>
                    <a:pt x="2" y="139"/>
                    <a:pt x="2" y="139"/>
                  </a:cubicBezTo>
                  <a:cubicBezTo>
                    <a:pt x="28" y="124"/>
                    <a:pt x="57" y="115"/>
                    <a:pt x="87" y="115"/>
                  </a:cubicBezTo>
                  <a:cubicBezTo>
                    <a:pt x="178" y="115"/>
                    <a:pt x="251" y="189"/>
                    <a:pt x="251" y="279"/>
                  </a:cubicBezTo>
                  <a:cubicBezTo>
                    <a:pt x="251" y="280"/>
                    <a:pt x="251" y="280"/>
                    <a:pt x="250" y="28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79" name="Freeform 9">
              <a:extLst>
                <a:ext uri="{FF2B5EF4-FFF2-40B4-BE49-F238E27FC236}">
                  <a16:creationId xmlns:a16="http://schemas.microsoft.com/office/drawing/2014/main" id="{7C1171DB-727D-4749-8BA7-DCABBB04D7DC}"/>
                </a:ext>
              </a:extLst>
            </p:cNvPr>
            <p:cNvSpPr>
              <a:spLocks/>
            </p:cNvSpPr>
            <p:nvPr/>
          </p:nvSpPr>
          <p:spPr bwMode="auto">
            <a:xfrm>
              <a:off x="9615806" y="2660183"/>
              <a:ext cx="4703428" cy="5317254"/>
            </a:xfrm>
            <a:custGeom>
              <a:avLst/>
              <a:gdLst>
                <a:gd name="T0" fmla="*/ 2 w 818"/>
                <a:gd name="T1" fmla="*/ 925 h 925"/>
                <a:gd name="T2" fmla="*/ 0 w 818"/>
                <a:gd name="T3" fmla="*/ 922 h 925"/>
                <a:gd name="T4" fmla="*/ 2 w 818"/>
                <a:gd name="T5" fmla="*/ 920 h 925"/>
                <a:gd name="T6" fmla="*/ 233 w 818"/>
                <a:gd name="T7" fmla="*/ 920 h 925"/>
                <a:gd name="T8" fmla="*/ 248 w 818"/>
                <a:gd name="T9" fmla="*/ 905 h 925"/>
                <a:gd name="T10" fmla="*/ 248 w 818"/>
                <a:gd name="T11" fmla="*/ 780 h 925"/>
                <a:gd name="T12" fmla="*/ 401 w 818"/>
                <a:gd name="T13" fmla="*/ 616 h 925"/>
                <a:gd name="T14" fmla="*/ 401 w 818"/>
                <a:gd name="T15" fmla="*/ 521 h 925"/>
                <a:gd name="T16" fmla="*/ 400 w 818"/>
                <a:gd name="T17" fmla="*/ 520 h 925"/>
                <a:gd name="T18" fmla="*/ 292 w 818"/>
                <a:gd name="T19" fmla="*/ 469 h 925"/>
                <a:gd name="T20" fmla="*/ 248 w 818"/>
                <a:gd name="T21" fmla="*/ 357 h 925"/>
                <a:gd name="T22" fmla="*/ 411 w 818"/>
                <a:gd name="T23" fmla="*/ 193 h 925"/>
                <a:gd name="T24" fmla="*/ 575 w 818"/>
                <a:gd name="T25" fmla="*/ 355 h 925"/>
                <a:gd name="T26" fmla="*/ 651 w 818"/>
                <a:gd name="T27" fmla="*/ 355 h 925"/>
                <a:gd name="T28" fmla="*/ 664 w 818"/>
                <a:gd name="T29" fmla="*/ 342 h 925"/>
                <a:gd name="T30" fmla="*/ 664 w 818"/>
                <a:gd name="T31" fmla="*/ 301 h 925"/>
                <a:gd name="T32" fmla="*/ 563 w 818"/>
                <a:gd name="T33" fmla="*/ 257 h 925"/>
                <a:gd name="T34" fmla="*/ 517 w 818"/>
                <a:gd name="T35" fmla="*/ 151 h 925"/>
                <a:gd name="T36" fmla="*/ 668 w 818"/>
                <a:gd name="T37" fmla="*/ 0 h 925"/>
                <a:gd name="T38" fmla="*/ 818 w 818"/>
                <a:gd name="T39" fmla="*/ 151 h 925"/>
                <a:gd name="T40" fmla="*/ 816 w 818"/>
                <a:gd name="T41" fmla="*/ 153 h 925"/>
                <a:gd name="T42" fmla="*/ 814 w 818"/>
                <a:gd name="T43" fmla="*/ 151 h 925"/>
                <a:gd name="T44" fmla="*/ 668 w 818"/>
                <a:gd name="T45" fmla="*/ 5 h 925"/>
                <a:gd name="T46" fmla="*/ 522 w 818"/>
                <a:gd name="T47" fmla="*/ 151 h 925"/>
                <a:gd name="T48" fmla="*/ 666 w 818"/>
                <a:gd name="T49" fmla="*/ 297 h 925"/>
                <a:gd name="T50" fmla="*/ 666 w 818"/>
                <a:gd name="T51" fmla="*/ 297 h 925"/>
                <a:gd name="T52" fmla="*/ 669 w 818"/>
                <a:gd name="T53" fmla="*/ 299 h 925"/>
                <a:gd name="T54" fmla="*/ 669 w 818"/>
                <a:gd name="T55" fmla="*/ 342 h 925"/>
                <a:gd name="T56" fmla="*/ 651 w 818"/>
                <a:gd name="T57" fmla="*/ 360 h 925"/>
                <a:gd name="T58" fmla="*/ 573 w 818"/>
                <a:gd name="T59" fmla="*/ 360 h 925"/>
                <a:gd name="T60" fmla="*/ 570 w 818"/>
                <a:gd name="T61" fmla="*/ 357 h 925"/>
                <a:gd name="T62" fmla="*/ 411 w 818"/>
                <a:gd name="T63" fmla="*/ 198 h 925"/>
                <a:gd name="T64" fmla="*/ 252 w 818"/>
                <a:gd name="T65" fmla="*/ 357 h 925"/>
                <a:gd name="T66" fmla="*/ 400 w 818"/>
                <a:gd name="T67" fmla="*/ 516 h 925"/>
                <a:gd name="T68" fmla="*/ 404 w 818"/>
                <a:gd name="T69" fmla="*/ 516 h 925"/>
                <a:gd name="T70" fmla="*/ 406 w 818"/>
                <a:gd name="T71" fmla="*/ 518 h 925"/>
                <a:gd name="T72" fmla="*/ 406 w 818"/>
                <a:gd name="T73" fmla="*/ 618 h 925"/>
                <a:gd name="T74" fmla="*/ 404 w 818"/>
                <a:gd name="T75" fmla="*/ 621 h 925"/>
                <a:gd name="T76" fmla="*/ 402 w 818"/>
                <a:gd name="T77" fmla="*/ 621 h 925"/>
                <a:gd name="T78" fmla="*/ 252 w 818"/>
                <a:gd name="T79" fmla="*/ 780 h 925"/>
                <a:gd name="T80" fmla="*/ 252 w 818"/>
                <a:gd name="T81" fmla="*/ 905 h 925"/>
                <a:gd name="T82" fmla="*/ 233 w 818"/>
                <a:gd name="T83" fmla="*/ 925 h 925"/>
                <a:gd name="T84" fmla="*/ 2 w 818"/>
                <a:gd name="T85" fmla="*/ 925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8" h="925">
                  <a:moveTo>
                    <a:pt x="2" y="925"/>
                  </a:moveTo>
                  <a:cubicBezTo>
                    <a:pt x="1" y="925"/>
                    <a:pt x="0" y="924"/>
                    <a:pt x="0" y="922"/>
                  </a:cubicBezTo>
                  <a:cubicBezTo>
                    <a:pt x="0" y="921"/>
                    <a:pt x="1" y="920"/>
                    <a:pt x="2" y="920"/>
                  </a:cubicBezTo>
                  <a:cubicBezTo>
                    <a:pt x="233" y="920"/>
                    <a:pt x="233" y="920"/>
                    <a:pt x="233" y="920"/>
                  </a:cubicBezTo>
                  <a:cubicBezTo>
                    <a:pt x="241" y="920"/>
                    <a:pt x="248" y="913"/>
                    <a:pt x="248" y="905"/>
                  </a:cubicBezTo>
                  <a:cubicBezTo>
                    <a:pt x="248" y="780"/>
                    <a:pt x="248" y="780"/>
                    <a:pt x="248" y="780"/>
                  </a:cubicBezTo>
                  <a:cubicBezTo>
                    <a:pt x="248" y="693"/>
                    <a:pt x="315" y="621"/>
                    <a:pt x="401" y="616"/>
                  </a:cubicBezTo>
                  <a:cubicBezTo>
                    <a:pt x="401" y="521"/>
                    <a:pt x="401" y="521"/>
                    <a:pt x="401" y="521"/>
                  </a:cubicBezTo>
                  <a:cubicBezTo>
                    <a:pt x="400" y="520"/>
                    <a:pt x="400" y="520"/>
                    <a:pt x="400" y="520"/>
                  </a:cubicBezTo>
                  <a:cubicBezTo>
                    <a:pt x="358" y="518"/>
                    <a:pt x="320" y="499"/>
                    <a:pt x="292" y="469"/>
                  </a:cubicBezTo>
                  <a:cubicBezTo>
                    <a:pt x="263" y="439"/>
                    <a:pt x="248" y="399"/>
                    <a:pt x="248" y="357"/>
                  </a:cubicBezTo>
                  <a:cubicBezTo>
                    <a:pt x="248" y="267"/>
                    <a:pt x="321" y="193"/>
                    <a:pt x="411" y="193"/>
                  </a:cubicBezTo>
                  <a:cubicBezTo>
                    <a:pt x="501" y="193"/>
                    <a:pt x="574" y="266"/>
                    <a:pt x="575" y="355"/>
                  </a:cubicBezTo>
                  <a:cubicBezTo>
                    <a:pt x="651" y="355"/>
                    <a:pt x="651" y="355"/>
                    <a:pt x="651" y="355"/>
                  </a:cubicBezTo>
                  <a:cubicBezTo>
                    <a:pt x="658" y="355"/>
                    <a:pt x="664" y="349"/>
                    <a:pt x="664" y="342"/>
                  </a:cubicBezTo>
                  <a:cubicBezTo>
                    <a:pt x="664" y="301"/>
                    <a:pt x="664" y="301"/>
                    <a:pt x="664" y="301"/>
                  </a:cubicBezTo>
                  <a:cubicBezTo>
                    <a:pt x="628" y="301"/>
                    <a:pt x="591" y="285"/>
                    <a:pt x="563" y="257"/>
                  </a:cubicBezTo>
                  <a:cubicBezTo>
                    <a:pt x="533" y="228"/>
                    <a:pt x="517" y="190"/>
                    <a:pt x="517" y="151"/>
                  </a:cubicBezTo>
                  <a:cubicBezTo>
                    <a:pt x="517" y="68"/>
                    <a:pt x="585" y="0"/>
                    <a:pt x="668" y="0"/>
                  </a:cubicBezTo>
                  <a:cubicBezTo>
                    <a:pt x="751" y="0"/>
                    <a:pt x="818" y="68"/>
                    <a:pt x="818" y="151"/>
                  </a:cubicBezTo>
                  <a:cubicBezTo>
                    <a:pt x="818" y="152"/>
                    <a:pt x="817" y="153"/>
                    <a:pt x="816" y="153"/>
                  </a:cubicBezTo>
                  <a:cubicBezTo>
                    <a:pt x="815" y="153"/>
                    <a:pt x="814" y="152"/>
                    <a:pt x="814" y="151"/>
                  </a:cubicBezTo>
                  <a:cubicBezTo>
                    <a:pt x="814" y="70"/>
                    <a:pt x="748" y="5"/>
                    <a:pt x="668" y="5"/>
                  </a:cubicBezTo>
                  <a:cubicBezTo>
                    <a:pt x="587" y="5"/>
                    <a:pt x="522" y="70"/>
                    <a:pt x="522" y="151"/>
                  </a:cubicBezTo>
                  <a:cubicBezTo>
                    <a:pt x="522" y="227"/>
                    <a:pt x="590" y="296"/>
                    <a:pt x="666" y="297"/>
                  </a:cubicBezTo>
                  <a:cubicBezTo>
                    <a:pt x="666" y="297"/>
                    <a:pt x="666" y="297"/>
                    <a:pt x="666" y="297"/>
                  </a:cubicBezTo>
                  <a:cubicBezTo>
                    <a:pt x="668" y="297"/>
                    <a:pt x="669" y="298"/>
                    <a:pt x="669" y="299"/>
                  </a:cubicBezTo>
                  <a:cubicBezTo>
                    <a:pt x="669" y="342"/>
                    <a:pt x="669" y="342"/>
                    <a:pt x="669" y="342"/>
                  </a:cubicBezTo>
                  <a:cubicBezTo>
                    <a:pt x="669" y="352"/>
                    <a:pt x="661" y="360"/>
                    <a:pt x="651" y="360"/>
                  </a:cubicBezTo>
                  <a:cubicBezTo>
                    <a:pt x="573" y="360"/>
                    <a:pt x="573" y="360"/>
                    <a:pt x="573" y="360"/>
                  </a:cubicBezTo>
                  <a:cubicBezTo>
                    <a:pt x="571" y="360"/>
                    <a:pt x="570" y="358"/>
                    <a:pt x="570" y="357"/>
                  </a:cubicBezTo>
                  <a:cubicBezTo>
                    <a:pt x="570" y="270"/>
                    <a:pt x="499" y="198"/>
                    <a:pt x="411" y="198"/>
                  </a:cubicBezTo>
                  <a:cubicBezTo>
                    <a:pt x="324" y="198"/>
                    <a:pt x="252" y="270"/>
                    <a:pt x="252" y="357"/>
                  </a:cubicBezTo>
                  <a:cubicBezTo>
                    <a:pt x="252" y="440"/>
                    <a:pt x="317" y="510"/>
                    <a:pt x="400" y="516"/>
                  </a:cubicBezTo>
                  <a:cubicBezTo>
                    <a:pt x="404" y="516"/>
                    <a:pt x="404" y="516"/>
                    <a:pt x="404" y="516"/>
                  </a:cubicBezTo>
                  <a:cubicBezTo>
                    <a:pt x="405" y="516"/>
                    <a:pt x="406" y="517"/>
                    <a:pt x="406" y="518"/>
                  </a:cubicBezTo>
                  <a:cubicBezTo>
                    <a:pt x="406" y="618"/>
                    <a:pt x="406" y="618"/>
                    <a:pt x="406" y="618"/>
                  </a:cubicBezTo>
                  <a:cubicBezTo>
                    <a:pt x="406" y="619"/>
                    <a:pt x="405" y="620"/>
                    <a:pt x="404" y="621"/>
                  </a:cubicBezTo>
                  <a:cubicBezTo>
                    <a:pt x="402" y="621"/>
                    <a:pt x="402" y="621"/>
                    <a:pt x="402" y="621"/>
                  </a:cubicBezTo>
                  <a:cubicBezTo>
                    <a:pt x="318" y="626"/>
                    <a:pt x="252" y="696"/>
                    <a:pt x="252" y="780"/>
                  </a:cubicBezTo>
                  <a:cubicBezTo>
                    <a:pt x="252" y="905"/>
                    <a:pt x="252" y="905"/>
                    <a:pt x="252" y="905"/>
                  </a:cubicBezTo>
                  <a:cubicBezTo>
                    <a:pt x="252" y="916"/>
                    <a:pt x="244" y="925"/>
                    <a:pt x="233" y="925"/>
                  </a:cubicBezTo>
                  <a:lnTo>
                    <a:pt x="2" y="925"/>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0" name="Freeform 10">
              <a:extLst>
                <a:ext uri="{FF2B5EF4-FFF2-40B4-BE49-F238E27FC236}">
                  <a16:creationId xmlns:a16="http://schemas.microsoft.com/office/drawing/2014/main" id="{AC268F13-1073-204A-BCDF-FB4B4973A401}"/>
                </a:ext>
              </a:extLst>
            </p:cNvPr>
            <p:cNvSpPr>
              <a:spLocks/>
            </p:cNvSpPr>
            <p:nvPr/>
          </p:nvSpPr>
          <p:spPr bwMode="auto">
            <a:xfrm>
              <a:off x="12744002" y="2815092"/>
              <a:ext cx="1419355" cy="1258636"/>
            </a:xfrm>
            <a:custGeom>
              <a:avLst/>
              <a:gdLst>
                <a:gd name="T0" fmla="*/ 202 w 247"/>
                <a:gd name="T1" fmla="*/ 219 h 219"/>
                <a:gd name="T2" fmla="*/ 201 w 247"/>
                <a:gd name="T3" fmla="*/ 219 h 219"/>
                <a:gd name="T4" fmla="*/ 202 w 247"/>
                <a:gd name="T5" fmla="*/ 217 h 219"/>
                <a:gd name="T6" fmla="*/ 245 w 247"/>
                <a:gd name="T7" fmla="*/ 124 h 219"/>
                <a:gd name="T8" fmla="*/ 124 w 247"/>
                <a:gd name="T9" fmla="*/ 2 h 219"/>
                <a:gd name="T10" fmla="*/ 2 w 247"/>
                <a:gd name="T11" fmla="*/ 124 h 219"/>
                <a:gd name="T12" fmla="*/ 1 w 247"/>
                <a:gd name="T13" fmla="*/ 125 h 219"/>
                <a:gd name="T14" fmla="*/ 0 w 247"/>
                <a:gd name="T15" fmla="*/ 124 h 219"/>
                <a:gd name="T16" fmla="*/ 124 w 247"/>
                <a:gd name="T17" fmla="*/ 0 h 219"/>
                <a:gd name="T18" fmla="*/ 247 w 247"/>
                <a:gd name="T19" fmla="*/ 124 h 219"/>
                <a:gd name="T20" fmla="*/ 203 w 247"/>
                <a:gd name="T21" fmla="*/ 219 h 219"/>
                <a:gd name="T22" fmla="*/ 202 w 247"/>
                <a:gd name="T23"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7" h="219">
                  <a:moveTo>
                    <a:pt x="202" y="219"/>
                  </a:moveTo>
                  <a:cubicBezTo>
                    <a:pt x="202" y="219"/>
                    <a:pt x="202" y="219"/>
                    <a:pt x="201" y="219"/>
                  </a:cubicBezTo>
                  <a:cubicBezTo>
                    <a:pt x="201" y="218"/>
                    <a:pt x="201" y="218"/>
                    <a:pt x="202" y="217"/>
                  </a:cubicBezTo>
                  <a:cubicBezTo>
                    <a:pt x="229" y="194"/>
                    <a:pt x="245" y="160"/>
                    <a:pt x="245" y="124"/>
                  </a:cubicBezTo>
                  <a:cubicBezTo>
                    <a:pt x="245" y="57"/>
                    <a:pt x="191" y="2"/>
                    <a:pt x="124" y="2"/>
                  </a:cubicBezTo>
                  <a:cubicBezTo>
                    <a:pt x="57" y="2"/>
                    <a:pt x="2" y="57"/>
                    <a:pt x="2" y="124"/>
                  </a:cubicBezTo>
                  <a:cubicBezTo>
                    <a:pt x="2" y="124"/>
                    <a:pt x="2" y="125"/>
                    <a:pt x="1" y="125"/>
                  </a:cubicBezTo>
                  <a:cubicBezTo>
                    <a:pt x="0" y="125"/>
                    <a:pt x="0" y="124"/>
                    <a:pt x="0" y="124"/>
                  </a:cubicBezTo>
                  <a:cubicBezTo>
                    <a:pt x="0" y="56"/>
                    <a:pt x="55" y="0"/>
                    <a:pt x="124" y="0"/>
                  </a:cubicBezTo>
                  <a:cubicBezTo>
                    <a:pt x="192" y="0"/>
                    <a:pt x="247" y="56"/>
                    <a:pt x="247" y="124"/>
                  </a:cubicBezTo>
                  <a:cubicBezTo>
                    <a:pt x="247" y="161"/>
                    <a:pt x="231" y="195"/>
                    <a:pt x="203" y="219"/>
                  </a:cubicBezTo>
                  <a:cubicBezTo>
                    <a:pt x="203" y="219"/>
                    <a:pt x="202" y="219"/>
                    <a:pt x="202" y="219"/>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1" name="Freeform 11">
              <a:extLst>
                <a:ext uri="{FF2B5EF4-FFF2-40B4-BE49-F238E27FC236}">
                  <a16:creationId xmlns:a16="http://schemas.microsoft.com/office/drawing/2014/main" id="{424D0771-6076-7542-9B17-5C2EB3D293E1}"/>
                </a:ext>
              </a:extLst>
            </p:cNvPr>
            <p:cNvSpPr>
              <a:spLocks/>
            </p:cNvSpPr>
            <p:nvPr/>
          </p:nvSpPr>
          <p:spPr bwMode="auto">
            <a:xfrm>
              <a:off x="12611361" y="5137760"/>
              <a:ext cx="1621705" cy="1673018"/>
            </a:xfrm>
            <a:custGeom>
              <a:avLst/>
              <a:gdLst>
                <a:gd name="T0" fmla="*/ 136 w 282"/>
                <a:gd name="T1" fmla="*/ 291 h 291"/>
                <a:gd name="T2" fmla="*/ 0 w 282"/>
                <a:gd name="T3" fmla="*/ 196 h 291"/>
                <a:gd name="T4" fmla="*/ 0 w 282"/>
                <a:gd name="T5" fmla="*/ 194 h 291"/>
                <a:gd name="T6" fmla="*/ 1 w 282"/>
                <a:gd name="T7" fmla="*/ 193 h 291"/>
                <a:gd name="T8" fmla="*/ 2 w 282"/>
                <a:gd name="T9" fmla="*/ 193 h 291"/>
                <a:gd name="T10" fmla="*/ 4 w 282"/>
                <a:gd name="T11" fmla="*/ 195 h 291"/>
                <a:gd name="T12" fmla="*/ 136 w 282"/>
                <a:gd name="T13" fmla="*/ 286 h 291"/>
                <a:gd name="T14" fmla="*/ 277 w 282"/>
                <a:gd name="T15" fmla="*/ 145 h 291"/>
                <a:gd name="T16" fmla="*/ 136 w 282"/>
                <a:gd name="T17" fmla="*/ 5 h 291"/>
                <a:gd name="T18" fmla="*/ 18 w 282"/>
                <a:gd name="T19" fmla="*/ 70 h 291"/>
                <a:gd name="T20" fmla="*/ 16 w 282"/>
                <a:gd name="T21" fmla="*/ 71 h 291"/>
                <a:gd name="T22" fmla="*/ 14 w 282"/>
                <a:gd name="T23" fmla="*/ 70 h 291"/>
                <a:gd name="T24" fmla="*/ 14 w 282"/>
                <a:gd name="T25" fmla="*/ 67 h 291"/>
                <a:gd name="T26" fmla="*/ 136 w 282"/>
                <a:gd name="T27" fmla="*/ 0 h 291"/>
                <a:gd name="T28" fmla="*/ 282 w 282"/>
                <a:gd name="T29" fmla="*/ 145 h 291"/>
                <a:gd name="T30" fmla="*/ 136 w 282"/>
                <a:gd name="T31"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2" h="291">
                  <a:moveTo>
                    <a:pt x="136" y="291"/>
                  </a:moveTo>
                  <a:cubicBezTo>
                    <a:pt x="76" y="291"/>
                    <a:pt x="21" y="253"/>
                    <a:pt x="0" y="196"/>
                  </a:cubicBezTo>
                  <a:cubicBezTo>
                    <a:pt x="0" y="196"/>
                    <a:pt x="0" y="195"/>
                    <a:pt x="0" y="194"/>
                  </a:cubicBezTo>
                  <a:cubicBezTo>
                    <a:pt x="0" y="194"/>
                    <a:pt x="1" y="193"/>
                    <a:pt x="1" y="193"/>
                  </a:cubicBezTo>
                  <a:cubicBezTo>
                    <a:pt x="2" y="193"/>
                    <a:pt x="2" y="193"/>
                    <a:pt x="2" y="193"/>
                  </a:cubicBezTo>
                  <a:cubicBezTo>
                    <a:pt x="3" y="193"/>
                    <a:pt x="4" y="194"/>
                    <a:pt x="4" y="195"/>
                  </a:cubicBezTo>
                  <a:cubicBezTo>
                    <a:pt x="25" y="249"/>
                    <a:pt x="78" y="286"/>
                    <a:pt x="136" y="286"/>
                  </a:cubicBezTo>
                  <a:cubicBezTo>
                    <a:pt x="214" y="286"/>
                    <a:pt x="277" y="223"/>
                    <a:pt x="277" y="145"/>
                  </a:cubicBezTo>
                  <a:cubicBezTo>
                    <a:pt x="277" y="68"/>
                    <a:pt x="214" y="5"/>
                    <a:pt x="136" y="5"/>
                  </a:cubicBezTo>
                  <a:cubicBezTo>
                    <a:pt x="88" y="5"/>
                    <a:pt x="44" y="29"/>
                    <a:pt x="18" y="70"/>
                  </a:cubicBezTo>
                  <a:cubicBezTo>
                    <a:pt x="17" y="70"/>
                    <a:pt x="16" y="71"/>
                    <a:pt x="16" y="71"/>
                  </a:cubicBezTo>
                  <a:cubicBezTo>
                    <a:pt x="15" y="71"/>
                    <a:pt x="15" y="71"/>
                    <a:pt x="14" y="70"/>
                  </a:cubicBezTo>
                  <a:cubicBezTo>
                    <a:pt x="13" y="70"/>
                    <a:pt x="13" y="68"/>
                    <a:pt x="14" y="67"/>
                  </a:cubicBezTo>
                  <a:cubicBezTo>
                    <a:pt x="41" y="25"/>
                    <a:pt x="86" y="0"/>
                    <a:pt x="136" y="0"/>
                  </a:cubicBezTo>
                  <a:cubicBezTo>
                    <a:pt x="216" y="0"/>
                    <a:pt x="282" y="65"/>
                    <a:pt x="282" y="145"/>
                  </a:cubicBezTo>
                  <a:cubicBezTo>
                    <a:pt x="282" y="226"/>
                    <a:pt x="216" y="291"/>
                    <a:pt x="136" y="291"/>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2" name="Freeform 12">
              <a:extLst>
                <a:ext uri="{FF2B5EF4-FFF2-40B4-BE49-F238E27FC236}">
                  <a16:creationId xmlns:a16="http://schemas.microsoft.com/office/drawing/2014/main" id="{BC16B0AF-99D6-AB41-8606-933FA3C9D77C}"/>
                </a:ext>
              </a:extLst>
            </p:cNvPr>
            <p:cNvSpPr>
              <a:spLocks/>
            </p:cNvSpPr>
            <p:nvPr/>
          </p:nvSpPr>
          <p:spPr bwMode="auto">
            <a:xfrm>
              <a:off x="9771684" y="2728924"/>
              <a:ext cx="1592660" cy="3811732"/>
            </a:xfrm>
            <a:custGeom>
              <a:avLst/>
              <a:gdLst>
                <a:gd name="T0" fmla="*/ 139 w 277"/>
                <a:gd name="T1" fmla="*/ 663 h 663"/>
                <a:gd name="T2" fmla="*/ 24 w 277"/>
                <a:gd name="T3" fmla="*/ 548 h 663"/>
                <a:gd name="T4" fmla="*/ 138 w 277"/>
                <a:gd name="T5" fmla="*/ 433 h 663"/>
                <a:gd name="T6" fmla="*/ 138 w 277"/>
                <a:gd name="T7" fmla="*/ 276 h 663"/>
                <a:gd name="T8" fmla="*/ 139 w 277"/>
                <a:gd name="T9" fmla="*/ 275 h 663"/>
                <a:gd name="T10" fmla="*/ 275 w 277"/>
                <a:gd name="T11" fmla="*/ 139 h 663"/>
                <a:gd name="T12" fmla="*/ 139 w 277"/>
                <a:gd name="T13" fmla="*/ 2 h 663"/>
                <a:gd name="T14" fmla="*/ 3 w 277"/>
                <a:gd name="T15" fmla="*/ 139 h 663"/>
                <a:gd name="T16" fmla="*/ 1 w 277"/>
                <a:gd name="T17" fmla="*/ 140 h 663"/>
                <a:gd name="T18" fmla="*/ 0 w 277"/>
                <a:gd name="T19" fmla="*/ 139 h 663"/>
                <a:gd name="T20" fmla="*/ 139 w 277"/>
                <a:gd name="T21" fmla="*/ 0 h 663"/>
                <a:gd name="T22" fmla="*/ 277 w 277"/>
                <a:gd name="T23" fmla="*/ 139 h 663"/>
                <a:gd name="T24" fmla="*/ 140 w 277"/>
                <a:gd name="T25" fmla="*/ 277 h 663"/>
                <a:gd name="T26" fmla="*/ 140 w 277"/>
                <a:gd name="T27" fmla="*/ 434 h 663"/>
                <a:gd name="T28" fmla="*/ 139 w 277"/>
                <a:gd name="T29" fmla="*/ 435 h 663"/>
                <a:gd name="T30" fmla="*/ 26 w 277"/>
                <a:gd name="T31" fmla="*/ 548 h 663"/>
                <a:gd name="T32" fmla="*/ 139 w 277"/>
                <a:gd name="T33" fmla="*/ 661 h 663"/>
                <a:gd name="T34" fmla="*/ 252 w 277"/>
                <a:gd name="T35" fmla="*/ 548 h 663"/>
                <a:gd name="T36" fmla="*/ 253 w 277"/>
                <a:gd name="T37" fmla="*/ 547 h 663"/>
                <a:gd name="T38" fmla="*/ 254 w 277"/>
                <a:gd name="T39" fmla="*/ 548 h 663"/>
                <a:gd name="T40" fmla="*/ 139 w 277"/>
                <a:gd name="T41" fmla="*/ 663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7" h="663">
                  <a:moveTo>
                    <a:pt x="139" y="663"/>
                  </a:moveTo>
                  <a:cubicBezTo>
                    <a:pt x="75" y="663"/>
                    <a:pt x="24" y="612"/>
                    <a:pt x="24" y="548"/>
                  </a:cubicBezTo>
                  <a:cubicBezTo>
                    <a:pt x="24" y="485"/>
                    <a:pt x="75" y="434"/>
                    <a:pt x="138" y="433"/>
                  </a:cubicBezTo>
                  <a:cubicBezTo>
                    <a:pt x="138" y="276"/>
                    <a:pt x="138" y="276"/>
                    <a:pt x="138" y="276"/>
                  </a:cubicBezTo>
                  <a:cubicBezTo>
                    <a:pt x="138" y="276"/>
                    <a:pt x="138" y="275"/>
                    <a:pt x="139" y="275"/>
                  </a:cubicBezTo>
                  <a:cubicBezTo>
                    <a:pt x="214" y="275"/>
                    <a:pt x="275" y="214"/>
                    <a:pt x="275" y="139"/>
                  </a:cubicBezTo>
                  <a:cubicBezTo>
                    <a:pt x="275" y="64"/>
                    <a:pt x="214" y="2"/>
                    <a:pt x="139" y="2"/>
                  </a:cubicBezTo>
                  <a:cubicBezTo>
                    <a:pt x="64" y="2"/>
                    <a:pt x="3" y="64"/>
                    <a:pt x="3" y="139"/>
                  </a:cubicBezTo>
                  <a:cubicBezTo>
                    <a:pt x="3" y="139"/>
                    <a:pt x="2" y="140"/>
                    <a:pt x="1" y="140"/>
                  </a:cubicBezTo>
                  <a:cubicBezTo>
                    <a:pt x="1" y="140"/>
                    <a:pt x="0" y="139"/>
                    <a:pt x="0" y="139"/>
                  </a:cubicBezTo>
                  <a:cubicBezTo>
                    <a:pt x="0" y="62"/>
                    <a:pt x="63" y="0"/>
                    <a:pt x="139" y="0"/>
                  </a:cubicBezTo>
                  <a:cubicBezTo>
                    <a:pt x="215" y="0"/>
                    <a:pt x="277" y="62"/>
                    <a:pt x="277" y="139"/>
                  </a:cubicBezTo>
                  <a:cubicBezTo>
                    <a:pt x="277" y="215"/>
                    <a:pt x="216" y="277"/>
                    <a:pt x="140" y="277"/>
                  </a:cubicBezTo>
                  <a:cubicBezTo>
                    <a:pt x="140" y="434"/>
                    <a:pt x="140" y="434"/>
                    <a:pt x="140" y="434"/>
                  </a:cubicBezTo>
                  <a:cubicBezTo>
                    <a:pt x="140" y="435"/>
                    <a:pt x="139" y="435"/>
                    <a:pt x="139" y="435"/>
                  </a:cubicBezTo>
                  <a:cubicBezTo>
                    <a:pt x="77" y="435"/>
                    <a:pt x="26" y="486"/>
                    <a:pt x="26" y="548"/>
                  </a:cubicBezTo>
                  <a:cubicBezTo>
                    <a:pt x="26" y="610"/>
                    <a:pt x="77" y="661"/>
                    <a:pt x="139" y="661"/>
                  </a:cubicBezTo>
                  <a:cubicBezTo>
                    <a:pt x="201" y="661"/>
                    <a:pt x="252" y="610"/>
                    <a:pt x="252" y="548"/>
                  </a:cubicBezTo>
                  <a:cubicBezTo>
                    <a:pt x="252" y="548"/>
                    <a:pt x="252" y="547"/>
                    <a:pt x="253" y="547"/>
                  </a:cubicBezTo>
                  <a:cubicBezTo>
                    <a:pt x="253" y="547"/>
                    <a:pt x="254" y="548"/>
                    <a:pt x="254" y="548"/>
                  </a:cubicBezTo>
                  <a:cubicBezTo>
                    <a:pt x="254" y="612"/>
                    <a:pt x="202" y="663"/>
                    <a:pt x="139" y="663"/>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3" name="Freeform 13">
              <a:extLst>
                <a:ext uri="{FF2B5EF4-FFF2-40B4-BE49-F238E27FC236}">
                  <a16:creationId xmlns:a16="http://schemas.microsoft.com/office/drawing/2014/main" id="{BB50300C-81CA-DD4F-BF68-06B132CB39D0}"/>
                </a:ext>
              </a:extLst>
            </p:cNvPr>
            <p:cNvSpPr>
              <a:spLocks/>
            </p:cNvSpPr>
            <p:nvPr/>
          </p:nvSpPr>
          <p:spPr bwMode="auto">
            <a:xfrm>
              <a:off x="9639042" y="2596283"/>
              <a:ext cx="1856973" cy="1598468"/>
            </a:xfrm>
            <a:custGeom>
              <a:avLst/>
              <a:gdLst>
                <a:gd name="T0" fmla="*/ 50 w 323"/>
                <a:gd name="T1" fmla="*/ 278 h 278"/>
                <a:gd name="T2" fmla="*/ 49 w 323"/>
                <a:gd name="T3" fmla="*/ 277 h 278"/>
                <a:gd name="T4" fmla="*/ 0 w 323"/>
                <a:gd name="T5" fmla="*/ 162 h 278"/>
                <a:gd name="T6" fmla="*/ 162 w 323"/>
                <a:gd name="T7" fmla="*/ 0 h 278"/>
                <a:gd name="T8" fmla="*/ 323 w 323"/>
                <a:gd name="T9" fmla="*/ 162 h 278"/>
                <a:gd name="T10" fmla="*/ 321 w 323"/>
                <a:gd name="T11" fmla="*/ 164 h 278"/>
                <a:gd name="T12" fmla="*/ 319 w 323"/>
                <a:gd name="T13" fmla="*/ 162 h 278"/>
                <a:gd name="T14" fmla="*/ 162 w 323"/>
                <a:gd name="T15" fmla="*/ 5 h 278"/>
                <a:gd name="T16" fmla="*/ 5 w 323"/>
                <a:gd name="T17" fmla="*/ 162 h 278"/>
                <a:gd name="T18" fmla="*/ 52 w 323"/>
                <a:gd name="T19" fmla="*/ 274 h 278"/>
                <a:gd name="T20" fmla="*/ 52 w 323"/>
                <a:gd name="T21" fmla="*/ 277 h 278"/>
                <a:gd name="T22" fmla="*/ 50 w 323"/>
                <a:gd name="T23"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3" h="278">
                  <a:moveTo>
                    <a:pt x="50" y="278"/>
                  </a:moveTo>
                  <a:cubicBezTo>
                    <a:pt x="50" y="278"/>
                    <a:pt x="49" y="277"/>
                    <a:pt x="49" y="277"/>
                  </a:cubicBezTo>
                  <a:cubicBezTo>
                    <a:pt x="17" y="246"/>
                    <a:pt x="0" y="205"/>
                    <a:pt x="0" y="162"/>
                  </a:cubicBezTo>
                  <a:cubicBezTo>
                    <a:pt x="0" y="73"/>
                    <a:pt x="73" y="0"/>
                    <a:pt x="162" y="0"/>
                  </a:cubicBezTo>
                  <a:cubicBezTo>
                    <a:pt x="251" y="0"/>
                    <a:pt x="323" y="73"/>
                    <a:pt x="323" y="162"/>
                  </a:cubicBezTo>
                  <a:cubicBezTo>
                    <a:pt x="323" y="163"/>
                    <a:pt x="322" y="164"/>
                    <a:pt x="321" y="164"/>
                  </a:cubicBezTo>
                  <a:cubicBezTo>
                    <a:pt x="320" y="164"/>
                    <a:pt x="319" y="163"/>
                    <a:pt x="319" y="162"/>
                  </a:cubicBezTo>
                  <a:cubicBezTo>
                    <a:pt x="319" y="75"/>
                    <a:pt x="248" y="5"/>
                    <a:pt x="162" y="5"/>
                  </a:cubicBezTo>
                  <a:cubicBezTo>
                    <a:pt x="75" y="5"/>
                    <a:pt x="5" y="75"/>
                    <a:pt x="5" y="162"/>
                  </a:cubicBezTo>
                  <a:cubicBezTo>
                    <a:pt x="5" y="204"/>
                    <a:pt x="22" y="244"/>
                    <a:pt x="52" y="274"/>
                  </a:cubicBezTo>
                  <a:cubicBezTo>
                    <a:pt x="53" y="275"/>
                    <a:pt x="53" y="276"/>
                    <a:pt x="52" y="277"/>
                  </a:cubicBezTo>
                  <a:cubicBezTo>
                    <a:pt x="52" y="277"/>
                    <a:pt x="51" y="278"/>
                    <a:pt x="50" y="27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4" name="Freeform 14">
              <a:extLst>
                <a:ext uri="{FF2B5EF4-FFF2-40B4-BE49-F238E27FC236}">
                  <a16:creationId xmlns:a16="http://schemas.microsoft.com/office/drawing/2014/main" id="{D7284B29-2BDA-D24D-BAAB-64CB7E0CEBB4}"/>
                </a:ext>
              </a:extLst>
            </p:cNvPr>
            <p:cNvSpPr>
              <a:spLocks/>
            </p:cNvSpPr>
            <p:nvPr/>
          </p:nvSpPr>
          <p:spPr bwMode="auto">
            <a:xfrm>
              <a:off x="9765874" y="5092256"/>
              <a:ext cx="661269" cy="1373850"/>
            </a:xfrm>
            <a:custGeom>
              <a:avLst/>
              <a:gdLst>
                <a:gd name="T0" fmla="*/ 45 w 115"/>
                <a:gd name="T1" fmla="*/ 239 h 239"/>
                <a:gd name="T2" fmla="*/ 43 w 115"/>
                <a:gd name="T3" fmla="*/ 238 h 239"/>
                <a:gd name="T4" fmla="*/ 0 w 115"/>
                <a:gd name="T5" fmla="*/ 137 h 239"/>
                <a:gd name="T6" fmla="*/ 112 w 115"/>
                <a:gd name="T7" fmla="*/ 0 h 239"/>
                <a:gd name="T8" fmla="*/ 112 w 115"/>
                <a:gd name="T9" fmla="*/ 0 h 239"/>
                <a:gd name="T10" fmla="*/ 115 w 115"/>
                <a:gd name="T11" fmla="*/ 2 h 239"/>
                <a:gd name="T12" fmla="*/ 113 w 115"/>
                <a:gd name="T13" fmla="*/ 5 h 239"/>
                <a:gd name="T14" fmla="*/ 5 w 115"/>
                <a:gd name="T15" fmla="*/ 137 h 239"/>
                <a:gd name="T16" fmla="*/ 47 w 115"/>
                <a:gd name="T17" fmla="*/ 235 h 239"/>
                <a:gd name="T18" fmla="*/ 47 w 115"/>
                <a:gd name="T19" fmla="*/ 238 h 239"/>
                <a:gd name="T20" fmla="*/ 45 w 115"/>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239">
                  <a:moveTo>
                    <a:pt x="45" y="239"/>
                  </a:moveTo>
                  <a:cubicBezTo>
                    <a:pt x="44" y="239"/>
                    <a:pt x="44" y="239"/>
                    <a:pt x="43" y="238"/>
                  </a:cubicBezTo>
                  <a:cubicBezTo>
                    <a:pt x="15" y="212"/>
                    <a:pt x="0" y="176"/>
                    <a:pt x="0" y="137"/>
                  </a:cubicBezTo>
                  <a:cubicBezTo>
                    <a:pt x="0" y="71"/>
                    <a:pt x="47" y="13"/>
                    <a:pt x="112" y="0"/>
                  </a:cubicBezTo>
                  <a:cubicBezTo>
                    <a:pt x="112" y="0"/>
                    <a:pt x="112" y="0"/>
                    <a:pt x="112" y="0"/>
                  </a:cubicBezTo>
                  <a:cubicBezTo>
                    <a:pt x="113" y="0"/>
                    <a:pt x="114" y="1"/>
                    <a:pt x="115" y="2"/>
                  </a:cubicBezTo>
                  <a:cubicBezTo>
                    <a:pt x="115" y="3"/>
                    <a:pt x="114" y="5"/>
                    <a:pt x="113" y="5"/>
                  </a:cubicBezTo>
                  <a:cubicBezTo>
                    <a:pt x="50" y="18"/>
                    <a:pt x="5" y="73"/>
                    <a:pt x="5" y="137"/>
                  </a:cubicBezTo>
                  <a:cubicBezTo>
                    <a:pt x="5" y="174"/>
                    <a:pt x="20" y="209"/>
                    <a:pt x="47" y="235"/>
                  </a:cubicBezTo>
                  <a:cubicBezTo>
                    <a:pt x="48" y="236"/>
                    <a:pt x="48" y="237"/>
                    <a:pt x="47" y="238"/>
                  </a:cubicBezTo>
                  <a:cubicBezTo>
                    <a:pt x="46" y="239"/>
                    <a:pt x="46" y="239"/>
                    <a:pt x="45" y="239"/>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5" name="Oval 15">
              <a:extLst>
                <a:ext uri="{FF2B5EF4-FFF2-40B4-BE49-F238E27FC236}">
                  <a16:creationId xmlns:a16="http://schemas.microsoft.com/office/drawing/2014/main" id="{AF5E3FA7-DBA4-514E-962D-22AD56E9F779}"/>
                </a:ext>
              </a:extLst>
            </p:cNvPr>
            <p:cNvSpPr>
              <a:spLocks noChangeArrowheads="1"/>
            </p:cNvSpPr>
            <p:nvPr/>
          </p:nvSpPr>
          <p:spPr bwMode="auto">
            <a:xfrm>
              <a:off x="13531134" y="4344819"/>
              <a:ext cx="52282" cy="51314"/>
            </a:xfrm>
            <a:prstGeom prst="ellipse">
              <a:avLst/>
            </a:pr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6" name="Oval 16">
              <a:extLst>
                <a:ext uri="{FF2B5EF4-FFF2-40B4-BE49-F238E27FC236}">
                  <a16:creationId xmlns:a16="http://schemas.microsoft.com/office/drawing/2014/main" id="{94A24FBB-6C6D-3D47-BE85-D87D60381241}"/>
                </a:ext>
              </a:extLst>
            </p:cNvPr>
            <p:cNvSpPr>
              <a:spLocks noChangeArrowheads="1"/>
            </p:cNvSpPr>
            <p:nvPr/>
          </p:nvSpPr>
          <p:spPr bwMode="auto">
            <a:xfrm>
              <a:off x="12669452" y="5517287"/>
              <a:ext cx="51314" cy="51314"/>
            </a:xfrm>
            <a:prstGeom prst="ellipse">
              <a:avLst/>
            </a:pr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7" name="Oval 17">
              <a:extLst>
                <a:ext uri="{FF2B5EF4-FFF2-40B4-BE49-F238E27FC236}">
                  <a16:creationId xmlns:a16="http://schemas.microsoft.com/office/drawing/2014/main" id="{1AC97E8F-D8D8-D24C-9C16-5B00D81A00D7}"/>
                </a:ext>
              </a:extLst>
            </p:cNvPr>
            <p:cNvSpPr>
              <a:spLocks noChangeArrowheads="1"/>
            </p:cNvSpPr>
            <p:nvPr/>
          </p:nvSpPr>
          <p:spPr bwMode="auto">
            <a:xfrm>
              <a:off x="9903356" y="4155055"/>
              <a:ext cx="52282" cy="51314"/>
            </a:xfrm>
            <a:prstGeom prst="ellipse">
              <a:avLst/>
            </a:prstGeom>
            <a:solidFill>
              <a:srgbClr val="62B5E5"/>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8" name="Oval 18">
              <a:extLst>
                <a:ext uri="{FF2B5EF4-FFF2-40B4-BE49-F238E27FC236}">
                  <a16:creationId xmlns:a16="http://schemas.microsoft.com/office/drawing/2014/main" id="{436C6F5E-DBC7-454A-A78A-65AE0B9D80B1}"/>
                </a:ext>
              </a:extLst>
            </p:cNvPr>
            <p:cNvSpPr>
              <a:spLocks noChangeArrowheads="1"/>
            </p:cNvSpPr>
            <p:nvPr/>
          </p:nvSpPr>
          <p:spPr bwMode="auto">
            <a:xfrm>
              <a:off x="11196847" y="4988659"/>
              <a:ext cx="52282" cy="51314"/>
            </a:xfrm>
            <a:prstGeom prst="ellipse">
              <a:avLst/>
            </a:pr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9" name="Oval 19">
              <a:extLst>
                <a:ext uri="{FF2B5EF4-FFF2-40B4-BE49-F238E27FC236}">
                  <a16:creationId xmlns:a16="http://schemas.microsoft.com/office/drawing/2014/main" id="{8DECF92E-B256-0642-B2BE-50D95EE90B24}"/>
                </a:ext>
              </a:extLst>
            </p:cNvPr>
            <p:cNvSpPr>
              <a:spLocks noChangeArrowheads="1"/>
            </p:cNvSpPr>
            <p:nvPr/>
          </p:nvSpPr>
          <p:spPr bwMode="auto">
            <a:xfrm>
              <a:off x="11196847" y="5856150"/>
              <a:ext cx="52282" cy="52282"/>
            </a:xfrm>
            <a:prstGeom prst="ellipse">
              <a:avLst/>
            </a:prstGeom>
            <a:solidFill>
              <a:srgbClr val="43B02A"/>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0" name="Oval 20">
              <a:extLst>
                <a:ext uri="{FF2B5EF4-FFF2-40B4-BE49-F238E27FC236}">
                  <a16:creationId xmlns:a16="http://schemas.microsoft.com/office/drawing/2014/main" id="{8DF7AE96-BA5F-514E-9812-EBCA8EC6D021}"/>
                </a:ext>
              </a:extLst>
            </p:cNvPr>
            <p:cNvSpPr>
              <a:spLocks noChangeArrowheads="1"/>
            </p:cNvSpPr>
            <p:nvPr/>
          </p:nvSpPr>
          <p:spPr bwMode="auto">
            <a:xfrm>
              <a:off x="11341107" y="6569701"/>
              <a:ext cx="51314" cy="51314"/>
            </a:xfrm>
            <a:prstGeom prst="ellipse">
              <a:avLst/>
            </a:pr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17" name="Freeform 25">
              <a:extLst>
                <a:ext uri="{FF2B5EF4-FFF2-40B4-BE49-F238E27FC236}">
                  <a16:creationId xmlns:a16="http://schemas.microsoft.com/office/drawing/2014/main" id="{80E85D0E-3A8D-FF4A-BF14-711B4213854D}"/>
                </a:ext>
              </a:extLst>
            </p:cNvPr>
            <p:cNvSpPr>
              <a:spLocks noEditPoints="1"/>
            </p:cNvSpPr>
            <p:nvPr/>
          </p:nvSpPr>
          <p:spPr bwMode="auto">
            <a:xfrm>
              <a:off x="10006952" y="5315905"/>
              <a:ext cx="1126964" cy="1126964"/>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15" name="Freeform 25">
              <a:extLst>
                <a:ext uri="{FF2B5EF4-FFF2-40B4-BE49-F238E27FC236}">
                  <a16:creationId xmlns:a16="http://schemas.microsoft.com/office/drawing/2014/main" id="{5A83E8E3-B2E2-5145-A71B-2141B0A06F2F}"/>
                </a:ext>
              </a:extLst>
            </p:cNvPr>
            <p:cNvSpPr>
              <a:spLocks noEditPoints="1"/>
            </p:cNvSpPr>
            <p:nvPr/>
          </p:nvSpPr>
          <p:spPr bwMode="auto">
            <a:xfrm>
              <a:off x="9967040" y="2924497"/>
              <a:ext cx="1207539" cy="1207539"/>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94" name="Freeform 25">
              <a:extLst>
                <a:ext uri="{FF2B5EF4-FFF2-40B4-BE49-F238E27FC236}">
                  <a16:creationId xmlns:a16="http://schemas.microsoft.com/office/drawing/2014/main" id="{DD916D98-DD27-8F40-9D11-E80AE661D499}"/>
                </a:ext>
              </a:extLst>
            </p:cNvPr>
            <p:cNvSpPr>
              <a:spLocks noEditPoints="1"/>
            </p:cNvSpPr>
            <p:nvPr/>
          </p:nvSpPr>
          <p:spPr bwMode="auto">
            <a:xfrm>
              <a:off x="11391461" y="4131819"/>
              <a:ext cx="1168586" cy="1168586"/>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13" name="Freeform 25">
              <a:extLst>
                <a:ext uri="{FF2B5EF4-FFF2-40B4-BE49-F238E27FC236}">
                  <a16:creationId xmlns:a16="http://schemas.microsoft.com/office/drawing/2014/main" id="{F554C07B-0E9F-804F-AD90-F98499C4B09E}"/>
                </a:ext>
              </a:extLst>
            </p:cNvPr>
            <p:cNvSpPr>
              <a:spLocks noEditPoints="1"/>
            </p:cNvSpPr>
            <p:nvPr/>
          </p:nvSpPr>
          <p:spPr bwMode="auto">
            <a:xfrm>
              <a:off x="11375745" y="6534630"/>
              <a:ext cx="1207539" cy="1207539"/>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7" name="Freeform 25">
              <a:extLst>
                <a:ext uri="{FF2B5EF4-FFF2-40B4-BE49-F238E27FC236}">
                  <a16:creationId xmlns:a16="http://schemas.microsoft.com/office/drawing/2014/main" id="{06FFC5BA-57ED-F643-88D9-C8D4490E50EF}"/>
                </a:ext>
              </a:extLst>
            </p:cNvPr>
            <p:cNvSpPr>
              <a:spLocks noEditPoints="1"/>
            </p:cNvSpPr>
            <p:nvPr/>
          </p:nvSpPr>
          <p:spPr bwMode="auto">
            <a:xfrm>
              <a:off x="12767765" y="5350760"/>
              <a:ext cx="1246492" cy="1246492"/>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9" name="Freeform 25">
              <a:extLst>
                <a:ext uri="{FF2B5EF4-FFF2-40B4-BE49-F238E27FC236}">
                  <a16:creationId xmlns:a16="http://schemas.microsoft.com/office/drawing/2014/main" id="{73061ED5-B281-4B49-BEAF-84CEAD024050}"/>
                </a:ext>
              </a:extLst>
            </p:cNvPr>
            <p:cNvSpPr>
              <a:spLocks noEditPoints="1"/>
            </p:cNvSpPr>
            <p:nvPr/>
          </p:nvSpPr>
          <p:spPr bwMode="auto">
            <a:xfrm>
              <a:off x="12857289" y="2953542"/>
              <a:ext cx="1168586" cy="1168586"/>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0" name="Freeform 589">
              <a:extLst>
                <a:ext uri="{FF2B5EF4-FFF2-40B4-BE49-F238E27FC236}">
                  <a16:creationId xmlns:a16="http://schemas.microsoft.com/office/drawing/2014/main" id="{00863FD3-C03A-1442-A6AF-B02421A96E15}"/>
                </a:ext>
              </a:extLst>
            </p:cNvPr>
            <p:cNvSpPr>
              <a:spLocks noChangeAspect="1" noEditPoints="1"/>
            </p:cNvSpPr>
            <p:nvPr/>
          </p:nvSpPr>
          <p:spPr bwMode="auto">
            <a:xfrm>
              <a:off x="10297763" y="5606717"/>
              <a:ext cx="545340" cy="545340"/>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01" name="Rectangle 100">
              <a:extLst>
                <a:ext uri="{FF2B5EF4-FFF2-40B4-BE49-F238E27FC236}">
                  <a16:creationId xmlns:a16="http://schemas.microsoft.com/office/drawing/2014/main" id="{3E032633-AAF7-6A44-9A65-0DC42EB1AE5F}"/>
                </a:ext>
              </a:extLst>
            </p:cNvPr>
            <p:cNvSpPr/>
            <p:nvPr/>
          </p:nvSpPr>
          <p:spPr>
            <a:xfrm>
              <a:off x="9613113" y="6650102"/>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2" name="Freeform 109">
              <a:extLst>
                <a:ext uri="{FF2B5EF4-FFF2-40B4-BE49-F238E27FC236}">
                  <a16:creationId xmlns:a16="http://schemas.microsoft.com/office/drawing/2014/main" id="{071D9A38-1A94-A648-B45F-DEBF132AC649}"/>
                </a:ext>
              </a:extLst>
            </p:cNvPr>
            <p:cNvSpPr>
              <a:spLocks noChangeAspect="1" noEditPoints="1"/>
            </p:cNvSpPr>
            <p:nvPr/>
          </p:nvSpPr>
          <p:spPr bwMode="auto">
            <a:xfrm>
              <a:off x="10296489" y="3253946"/>
              <a:ext cx="548640" cy="548640"/>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3" name="Rectangle 102">
              <a:extLst>
                <a:ext uri="{FF2B5EF4-FFF2-40B4-BE49-F238E27FC236}">
                  <a16:creationId xmlns:a16="http://schemas.microsoft.com/office/drawing/2014/main" id="{D42A48D9-3555-494D-8AB3-B198F39466CF}"/>
                </a:ext>
              </a:extLst>
            </p:cNvPr>
            <p:cNvSpPr/>
            <p:nvPr/>
          </p:nvSpPr>
          <p:spPr>
            <a:xfrm>
              <a:off x="9096344" y="4371160"/>
              <a:ext cx="1248052" cy="169277"/>
            </a:xfrm>
            <a:prstGeom prst="rect">
              <a:avLst/>
            </a:prstGeom>
            <a:noFill/>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4" name="Rectangle 103">
              <a:extLst>
                <a:ext uri="{FF2B5EF4-FFF2-40B4-BE49-F238E27FC236}">
                  <a16:creationId xmlns:a16="http://schemas.microsoft.com/office/drawing/2014/main" id="{D1CB914F-68DC-3143-B965-7ACE2216159A}"/>
                </a:ext>
              </a:extLst>
            </p:cNvPr>
            <p:cNvSpPr/>
            <p:nvPr/>
          </p:nvSpPr>
          <p:spPr>
            <a:xfrm>
              <a:off x="11383424" y="3288351"/>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5" name="Freeform 364">
              <a:extLst>
                <a:ext uri="{FF2B5EF4-FFF2-40B4-BE49-F238E27FC236}">
                  <a16:creationId xmlns:a16="http://schemas.microsoft.com/office/drawing/2014/main" id="{C69F7EF7-C414-1444-A750-BE12D8F6DEB2}"/>
                </a:ext>
              </a:extLst>
            </p:cNvPr>
            <p:cNvSpPr>
              <a:spLocks noChangeAspect="1" noEditPoints="1"/>
            </p:cNvSpPr>
            <p:nvPr/>
          </p:nvSpPr>
          <p:spPr bwMode="auto">
            <a:xfrm>
              <a:off x="11698117" y="4444803"/>
              <a:ext cx="550253" cy="548640"/>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6" name="Rectangle 105">
              <a:extLst>
                <a:ext uri="{FF2B5EF4-FFF2-40B4-BE49-F238E27FC236}">
                  <a16:creationId xmlns:a16="http://schemas.microsoft.com/office/drawing/2014/main" id="{C37F5B01-9097-0D45-A4A6-10B4AF411D5B}"/>
                </a:ext>
              </a:extLst>
            </p:cNvPr>
            <p:cNvSpPr/>
            <p:nvPr/>
          </p:nvSpPr>
          <p:spPr>
            <a:xfrm>
              <a:off x="13838941" y="4371160"/>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7" name="Freeform 783">
              <a:extLst>
                <a:ext uri="{FF2B5EF4-FFF2-40B4-BE49-F238E27FC236}">
                  <a16:creationId xmlns:a16="http://schemas.microsoft.com/office/drawing/2014/main" id="{D6A7FC5F-4C03-A546-88B7-24A41B2FF0AF}"/>
                </a:ext>
              </a:extLst>
            </p:cNvPr>
            <p:cNvSpPr>
              <a:spLocks noChangeAspect="1" noEditPoints="1"/>
            </p:cNvSpPr>
            <p:nvPr/>
          </p:nvSpPr>
          <p:spPr bwMode="auto">
            <a:xfrm>
              <a:off x="13164752" y="3266526"/>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8" name="Rectangle 107">
              <a:extLst>
                <a:ext uri="{FF2B5EF4-FFF2-40B4-BE49-F238E27FC236}">
                  <a16:creationId xmlns:a16="http://schemas.microsoft.com/office/drawing/2014/main" id="{B9DE7099-CBB0-3A4C-92A3-40135E693816}"/>
                </a:ext>
              </a:extLst>
            </p:cNvPr>
            <p:cNvSpPr/>
            <p:nvPr/>
          </p:nvSpPr>
          <p:spPr>
            <a:xfrm>
              <a:off x="13830271" y="6650102"/>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9" name="Freeform 841">
              <a:extLst>
                <a:ext uri="{FF2B5EF4-FFF2-40B4-BE49-F238E27FC236}">
                  <a16:creationId xmlns:a16="http://schemas.microsoft.com/office/drawing/2014/main" id="{BE61C4CA-76EC-BF42-910C-6A3B2263329A}"/>
                </a:ext>
              </a:extLst>
            </p:cNvPr>
            <p:cNvSpPr>
              <a:spLocks noChangeAspect="1" noEditPoints="1"/>
            </p:cNvSpPr>
            <p:nvPr/>
          </p:nvSpPr>
          <p:spPr bwMode="auto">
            <a:xfrm>
              <a:off x="13114014" y="5702898"/>
              <a:ext cx="548640" cy="548640"/>
            </a:xfrm>
            <a:custGeom>
              <a:avLst/>
              <a:gdLst>
                <a:gd name="T0" fmla="*/ 213 w 512"/>
                <a:gd name="T1" fmla="*/ 128 h 512"/>
                <a:gd name="T2" fmla="*/ 202 w 512"/>
                <a:gd name="T3" fmla="*/ 138 h 512"/>
                <a:gd name="T4" fmla="*/ 192 w 512"/>
                <a:gd name="T5" fmla="*/ 128 h 512"/>
                <a:gd name="T6" fmla="*/ 202 w 512"/>
                <a:gd name="T7" fmla="*/ 117 h 512"/>
                <a:gd name="T8" fmla="*/ 213 w 512"/>
                <a:gd name="T9" fmla="*/ 128 h 512"/>
                <a:gd name="T10" fmla="*/ 309 w 512"/>
                <a:gd name="T11" fmla="*/ 373 h 512"/>
                <a:gd name="T12" fmla="*/ 298 w 512"/>
                <a:gd name="T13" fmla="*/ 384 h 512"/>
                <a:gd name="T14" fmla="*/ 309 w 512"/>
                <a:gd name="T15" fmla="*/ 394 h 512"/>
                <a:gd name="T16" fmla="*/ 320 w 512"/>
                <a:gd name="T17" fmla="*/ 384 h 512"/>
                <a:gd name="T18" fmla="*/ 309 w 512"/>
                <a:gd name="T19" fmla="*/ 373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20 w 512"/>
                <a:gd name="T31" fmla="*/ 354 h 512"/>
                <a:gd name="T32" fmla="*/ 320 w 512"/>
                <a:gd name="T33" fmla="*/ 158 h 512"/>
                <a:gd name="T34" fmla="*/ 341 w 512"/>
                <a:gd name="T35" fmla="*/ 128 h 512"/>
                <a:gd name="T36" fmla="*/ 309 w 512"/>
                <a:gd name="T37" fmla="*/ 96 h 512"/>
                <a:gd name="T38" fmla="*/ 277 w 512"/>
                <a:gd name="T39" fmla="*/ 128 h 512"/>
                <a:gd name="T40" fmla="*/ 298 w 512"/>
                <a:gd name="T41" fmla="*/ 158 h 512"/>
                <a:gd name="T42" fmla="*/ 298 w 512"/>
                <a:gd name="T43" fmla="*/ 245 h 512"/>
                <a:gd name="T44" fmla="*/ 234 w 512"/>
                <a:gd name="T45" fmla="*/ 245 h 512"/>
                <a:gd name="T46" fmla="*/ 213 w 512"/>
                <a:gd name="T47" fmla="*/ 224 h 512"/>
                <a:gd name="T48" fmla="*/ 213 w 512"/>
                <a:gd name="T49" fmla="*/ 158 h 512"/>
                <a:gd name="T50" fmla="*/ 234 w 512"/>
                <a:gd name="T51" fmla="*/ 128 h 512"/>
                <a:gd name="T52" fmla="*/ 202 w 512"/>
                <a:gd name="T53" fmla="*/ 96 h 512"/>
                <a:gd name="T54" fmla="*/ 170 w 512"/>
                <a:gd name="T55" fmla="*/ 128 h 512"/>
                <a:gd name="T56" fmla="*/ 192 w 512"/>
                <a:gd name="T57" fmla="*/ 158 h 512"/>
                <a:gd name="T58" fmla="*/ 192 w 512"/>
                <a:gd name="T59" fmla="*/ 224 h 512"/>
                <a:gd name="T60" fmla="*/ 234 w 512"/>
                <a:gd name="T61" fmla="*/ 266 h 512"/>
                <a:gd name="T62" fmla="*/ 298 w 512"/>
                <a:gd name="T63" fmla="*/ 266 h 512"/>
                <a:gd name="T64" fmla="*/ 298 w 512"/>
                <a:gd name="T65" fmla="*/ 354 h 512"/>
                <a:gd name="T66" fmla="*/ 277 w 512"/>
                <a:gd name="T67" fmla="*/ 384 h 512"/>
                <a:gd name="T68" fmla="*/ 309 w 512"/>
                <a:gd name="T69" fmla="*/ 416 h 512"/>
                <a:gd name="T70" fmla="*/ 341 w 512"/>
                <a:gd name="T71" fmla="*/ 384 h 512"/>
                <a:gd name="T72" fmla="*/ 320 w 512"/>
                <a:gd name="T73" fmla="*/ 354 h 512"/>
                <a:gd name="T74" fmla="*/ 309 w 512"/>
                <a:gd name="T75" fmla="*/ 117 h 512"/>
                <a:gd name="T76" fmla="*/ 298 w 512"/>
                <a:gd name="T77" fmla="*/ 128 h 512"/>
                <a:gd name="T78" fmla="*/ 309 w 512"/>
                <a:gd name="T79" fmla="*/ 138 h 512"/>
                <a:gd name="T80" fmla="*/ 320 w 512"/>
                <a:gd name="T81" fmla="*/ 128 h 512"/>
                <a:gd name="T82" fmla="*/ 309 w 512"/>
                <a:gd name="T83"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13" y="128"/>
                  </a:moveTo>
                  <a:cubicBezTo>
                    <a:pt x="213" y="134"/>
                    <a:pt x="208" y="138"/>
                    <a:pt x="202" y="138"/>
                  </a:cubicBezTo>
                  <a:cubicBezTo>
                    <a:pt x="196" y="138"/>
                    <a:pt x="192" y="134"/>
                    <a:pt x="192" y="128"/>
                  </a:cubicBezTo>
                  <a:cubicBezTo>
                    <a:pt x="192" y="122"/>
                    <a:pt x="196" y="117"/>
                    <a:pt x="202" y="117"/>
                  </a:cubicBezTo>
                  <a:cubicBezTo>
                    <a:pt x="208" y="117"/>
                    <a:pt x="213" y="122"/>
                    <a:pt x="213" y="128"/>
                  </a:cubicBezTo>
                  <a:close/>
                  <a:moveTo>
                    <a:pt x="309" y="373"/>
                  </a:moveTo>
                  <a:cubicBezTo>
                    <a:pt x="303" y="373"/>
                    <a:pt x="298" y="378"/>
                    <a:pt x="298" y="384"/>
                  </a:cubicBezTo>
                  <a:cubicBezTo>
                    <a:pt x="298" y="390"/>
                    <a:pt x="303" y="394"/>
                    <a:pt x="309" y="394"/>
                  </a:cubicBezTo>
                  <a:cubicBezTo>
                    <a:pt x="315" y="394"/>
                    <a:pt x="320" y="390"/>
                    <a:pt x="320" y="384"/>
                  </a:cubicBezTo>
                  <a:cubicBezTo>
                    <a:pt x="320" y="378"/>
                    <a:pt x="315" y="373"/>
                    <a:pt x="309"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0" y="354"/>
                  </a:moveTo>
                  <a:cubicBezTo>
                    <a:pt x="320" y="158"/>
                    <a:pt x="320" y="158"/>
                    <a:pt x="320" y="158"/>
                  </a:cubicBezTo>
                  <a:cubicBezTo>
                    <a:pt x="332" y="153"/>
                    <a:pt x="341" y="142"/>
                    <a:pt x="341" y="128"/>
                  </a:cubicBezTo>
                  <a:cubicBezTo>
                    <a:pt x="341" y="110"/>
                    <a:pt x="327" y="96"/>
                    <a:pt x="309" y="96"/>
                  </a:cubicBezTo>
                  <a:cubicBezTo>
                    <a:pt x="291" y="96"/>
                    <a:pt x="277" y="110"/>
                    <a:pt x="277" y="128"/>
                  </a:cubicBezTo>
                  <a:cubicBezTo>
                    <a:pt x="277" y="142"/>
                    <a:pt x="286" y="153"/>
                    <a:pt x="298" y="158"/>
                  </a:cubicBezTo>
                  <a:cubicBezTo>
                    <a:pt x="298" y="245"/>
                    <a:pt x="298" y="245"/>
                    <a:pt x="298" y="245"/>
                  </a:cubicBezTo>
                  <a:cubicBezTo>
                    <a:pt x="234" y="245"/>
                    <a:pt x="234" y="245"/>
                    <a:pt x="234" y="245"/>
                  </a:cubicBezTo>
                  <a:cubicBezTo>
                    <a:pt x="231" y="245"/>
                    <a:pt x="213" y="244"/>
                    <a:pt x="213" y="224"/>
                  </a:cubicBezTo>
                  <a:cubicBezTo>
                    <a:pt x="213" y="158"/>
                    <a:pt x="213" y="158"/>
                    <a:pt x="213" y="158"/>
                  </a:cubicBezTo>
                  <a:cubicBezTo>
                    <a:pt x="225" y="153"/>
                    <a:pt x="234" y="142"/>
                    <a:pt x="234" y="128"/>
                  </a:cubicBezTo>
                  <a:cubicBezTo>
                    <a:pt x="234" y="110"/>
                    <a:pt x="220" y="96"/>
                    <a:pt x="202" y="96"/>
                  </a:cubicBezTo>
                  <a:cubicBezTo>
                    <a:pt x="185" y="96"/>
                    <a:pt x="170" y="110"/>
                    <a:pt x="170" y="128"/>
                  </a:cubicBezTo>
                  <a:cubicBezTo>
                    <a:pt x="170" y="142"/>
                    <a:pt x="179" y="153"/>
                    <a:pt x="192" y="158"/>
                  </a:cubicBezTo>
                  <a:cubicBezTo>
                    <a:pt x="192" y="224"/>
                    <a:pt x="192" y="224"/>
                    <a:pt x="192" y="224"/>
                  </a:cubicBezTo>
                  <a:cubicBezTo>
                    <a:pt x="192" y="255"/>
                    <a:pt x="217" y="266"/>
                    <a:pt x="234" y="266"/>
                  </a:cubicBezTo>
                  <a:cubicBezTo>
                    <a:pt x="298" y="266"/>
                    <a:pt x="298" y="266"/>
                    <a:pt x="298" y="266"/>
                  </a:cubicBezTo>
                  <a:cubicBezTo>
                    <a:pt x="298" y="354"/>
                    <a:pt x="298" y="354"/>
                    <a:pt x="298" y="354"/>
                  </a:cubicBezTo>
                  <a:cubicBezTo>
                    <a:pt x="286" y="358"/>
                    <a:pt x="277" y="370"/>
                    <a:pt x="277" y="384"/>
                  </a:cubicBezTo>
                  <a:cubicBezTo>
                    <a:pt x="277" y="401"/>
                    <a:pt x="291" y="416"/>
                    <a:pt x="309" y="416"/>
                  </a:cubicBezTo>
                  <a:cubicBezTo>
                    <a:pt x="327" y="416"/>
                    <a:pt x="341" y="401"/>
                    <a:pt x="341" y="384"/>
                  </a:cubicBezTo>
                  <a:cubicBezTo>
                    <a:pt x="341" y="370"/>
                    <a:pt x="332" y="358"/>
                    <a:pt x="320" y="354"/>
                  </a:cubicBezTo>
                  <a:close/>
                  <a:moveTo>
                    <a:pt x="309" y="117"/>
                  </a:moveTo>
                  <a:cubicBezTo>
                    <a:pt x="303" y="117"/>
                    <a:pt x="298" y="122"/>
                    <a:pt x="298" y="128"/>
                  </a:cubicBezTo>
                  <a:cubicBezTo>
                    <a:pt x="298" y="134"/>
                    <a:pt x="303" y="138"/>
                    <a:pt x="309" y="138"/>
                  </a:cubicBezTo>
                  <a:cubicBezTo>
                    <a:pt x="315" y="138"/>
                    <a:pt x="320" y="134"/>
                    <a:pt x="320" y="128"/>
                  </a:cubicBezTo>
                  <a:cubicBezTo>
                    <a:pt x="320" y="122"/>
                    <a:pt x="315" y="117"/>
                    <a:pt x="309" y="117"/>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10" name="Rectangle 109">
              <a:extLst>
                <a:ext uri="{FF2B5EF4-FFF2-40B4-BE49-F238E27FC236}">
                  <a16:creationId xmlns:a16="http://schemas.microsoft.com/office/drawing/2014/main" id="{DCF44299-1C51-014E-9270-0C5F52E78DF3}"/>
                </a:ext>
              </a:extLst>
            </p:cNvPr>
            <p:cNvSpPr/>
            <p:nvPr/>
          </p:nvSpPr>
          <p:spPr>
            <a:xfrm>
              <a:off x="12826701" y="7290795"/>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11" name="Freeform 976">
              <a:extLst>
                <a:ext uri="{FF2B5EF4-FFF2-40B4-BE49-F238E27FC236}">
                  <a16:creationId xmlns:a16="http://schemas.microsoft.com/office/drawing/2014/main" id="{42FF6633-767F-F84D-BF75-D0A4C4416988}"/>
                </a:ext>
              </a:extLst>
            </p:cNvPr>
            <p:cNvSpPr>
              <a:spLocks noChangeAspect="1" noEditPoints="1"/>
            </p:cNvSpPr>
            <p:nvPr/>
          </p:nvSpPr>
          <p:spPr bwMode="auto">
            <a:xfrm>
              <a:off x="11705194" y="6864079"/>
              <a:ext cx="548641"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grpSp>
    </p:spTree>
    <p:custDataLst>
      <p:tags r:id="rId1"/>
    </p:custDataLst>
    <p:extLst>
      <p:ext uri="{BB962C8B-B14F-4D97-AF65-F5344CB8AC3E}">
        <p14:creationId xmlns:p14="http://schemas.microsoft.com/office/powerpoint/2010/main" val="527612287"/>
      </p:ext>
    </p:extLst>
  </p:cSld>
  <p:clrMapOvr>
    <a:masterClrMapping/>
  </p:clrMapOvr>
  <p:transition>
    <p:fade/>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C7880CFC-1488-914D-B7E6-C15F05E738F9}"/>
              </a:ext>
            </a:extLst>
          </p:cNvPr>
          <p:cNvGrpSpPr/>
          <p:nvPr/>
        </p:nvGrpSpPr>
        <p:grpSpPr>
          <a:xfrm>
            <a:off x="5022009" y="2177023"/>
            <a:ext cx="2759917" cy="2759914"/>
            <a:chOff x="3498008" y="2177023"/>
            <a:chExt cx="2759917" cy="2759914"/>
          </a:xfrm>
        </p:grpSpPr>
        <p:sp>
          <p:nvSpPr>
            <p:cNvPr id="43" name="Freeform 893">
              <a:extLst>
                <a:ext uri="{FF2B5EF4-FFF2-40B4-BE49-F238E27FC236}">
                  <a16:creationId xmlns:a16="http://schemas.microsoft.com/office/drawing/2014/main" id="{04475BEF-75B6-914E-9D42-96B053BAD0BC}"/>
                </a:ext>
              </a:extLst>
            </p:cNvPr>
            <p:cNvSpPr>
              <a:spLocks noEditPoints="1"/>
            </p:cNvSpPr>
            <p:nvPr/>
          </p:nvSpPr>
          <p:spPr bwMode="auto">
            <a:xfrm rot="439398">
              <a:off x="3498008" y="2177023"/>
              <a:ext cx="2759917" cy="2759914"/>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accent4"/>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44" name="Group 367">
              <a:extLst>
                <a:ext uri="{FF2B5EF4-FFF2-40B4-BE49-F238E27FC236}">
                  <a16:creationId xmlns:a16="http://schemas.microsoft.com/office/drawing/2014/main" id="{DCF26502-1EF7-2A48-A5F1-DA203DCC0BD6}"/>
                </a:ext>
              </a:extLst>
            </p:cNvPr>
            <p:cNvGrpSpPr>
              <a:grpSpLocks noChangeAspect="1"/>
            </p:cNvGrpSpPr>
            <p:nvPr/>
          </p:nvGrpSpPr>
          <p:grpSpPr bwMode="auto">
            <a:xfrm>
              <a:off x="3852115" y="2447925"/>
              <a:ext cx="1414244" cy="1418402"/>
              <a:chOff x="4383" y="2091"/>
              <a:chExt cx="340" cy="341"/>
            </a:xfrm>
            <a:solidFill>
              <a:schemeClr val="accent4"/>
            </a:solidFill>
          </p:grpSpPr>
          <p:sp>
            <p:nvSpPr>
              <p:cNvPr id="45" name="Freeform 44">
                <a:extLst>
                  <a:ext uri="{FF2B5EF4-FFF2-40B4-BE49-F238E27FC236}">
                    <a16:creationId xmlns:a16="http://schemas.microsoft.com/office/drawing/2014/main" id="{6BBD717E-DC99-554E-9E8F-21AA7ECA2D29}"/>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45">
                <a:extLst>
                  <a:ext uri="{FF2B5EF4-FFF2-40B4-BE49-F238E27FC236}">
                    <a16:creationId xmlns:a16="http://schemas.microsoft.com/office/drawing/2014/main" id="{F1C2A4CD-E528-484F-8507-2820E6CC4074}"/>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7" name="Oval 46">
            <a:extLst>
              <a:ext uri="{FF2B5EF4-FFF2-40B4-BE49-F238E27FC236}">
                <a16:creationId xmlns:a16="http://schemas.microsoft.com/office/drawing/2014/main" id="{32293275-4A35-3648-AB48-C131477D3F7C}"/>
              </a:ext>
            </a:extLst>
          </p:cNvPr>
          <p:cNvSpPr/>
          <p:nvPr/>
        </p:nvSpPr>
        <p:spPr bwMode="gray">
          <a:xfrm>
            <a:off x="7229475" y="2733675"/>
            <a:ext cx="838200" cy="8382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Oval 47">
            <a:extLst>
              <a:ext uri="{FF2B5EF4-FFF2-40B4-BE49-F238E27FC236}">
                <a16:creationId xmlns:a16="http://schemas.microsoft.com/office/drawing/2014/main" id="{970F7406-4ED5-7241-8D6B-9EDDAC85332B}"/>
              </a:ext>
            </a:extLst>
          </p:cNvPr>
          <p:cNvSpPr/>
          <p:nvPr/>
        </p:nvSpPr>
        <p:spPr bwMode="gray">
          <a:xfrm>
            <a:off x="6762750" y="1562100"/>
            <a:ext cx="838200" cy="838200"/>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Oval 48">
            <a:extLst>
              <a:ext uri="{FF2B5EF4-FFF2-40B4-BE49-F238E27FC236}">
                <a16:creationId xmlns:a16="http://schemas.microsoft.com/office/drawing/2014/main" id="{BF53579F-E0CE-DA48-B2B5-E9E6B1B42A43}"/>
              </a:ext>
            </a:extLst>
          </p:cNvPr>
          <p:cNvSpPr/>
          <p:nvPr/>
        </p:nvSpPr>
        <p:spPr bwMode="gray">
          <a:xfrm>
            <a:off x="5619750" y="1095375"/>
            <a:ext cx="838200" cy="838200"/>
          </a:xfrm>
          <a:prstGeom prst="ellips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Oval 49">
            <a:extLst>
              <a:ext uri="{FF2B5EF4-FFF2-40B4-BE49-F238E27FC236}">
                <a16:creationId xmlns:a16="http://schemas.microsoft.com/office/drawing/2014/main" id="{B4893E5A-44A1-0E4A-B241-D3E5AE88C965}"/>
              </a:ext>
            </a:extLst>
          </p:cNvPr>
          <p:cNvSpPr/>
          <p:nvPr/>
        </p:nvSpPr>
        <p:spPr bwMode="gray">
          <a:xfrm>
            <a:off x="4457700" y="1552575"/>
            <a:ext cx="838200" cy="83820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Oval 50">
            <a:extLst>
              <a:ext uri="{FF2B5EF4-FFF2-40B4-BE49-F238E27FC236}">
                <a16:creationId xmlns:a16="http://schemas.microsoft.com/office/drawing/2014/main" id="{4CDEE451-C5CF-034E-B81C-989E905741D7}"/>
              </a:ext>
            </a:extLst>
          </p:cNvPr>
          <p:cNvSpPr/>
          <p:nvPr/>
        </p:nvSpPr>
        <p:spPr bwMode="gray">
          <a:xfrm>
            <a:off x="4010025" y="2714625"/>
            <a:ext cx="838200" cy="8382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Oval 51">
            <a:extLst>
              <a:ext uri="{FF2B5EF4-FFF2-40B4-BE49-F238E27FC236}">
                <a16:creationId xmlns:a16="http://schemas.microsoft.com/office/drawing/2014/main" id="{254355C3-C231-FC4F-8986-6BCA1C515B01}"/>
              </a:ext>
            </a:extLst>
          </p:cNvPr>
          <p:cNvSpPr/>
          <p:nvPr/>
        </p:nvSpPr>
        <p:spPr bwMode="gray">
          <a:xfrm>
            <a:off x="4467225" y="3857625"/>
            <a:ext cx="838200" cy="8382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53" name="Group 52">
            <a:extLst>
              <a:ext uri="{FF2B5EF4-FFF2-40B4-BE49-F238E27FC236}">
                <a16:creationId xmlns:a16="http://schemas.microsoft.com/office/drawing/2014/main" id="{3B27448D-7B4C-3040-8452-230A3A03C2CE}"/>
              </a:ext>
            </a:extLst>
          </p:cNvPr>
          <p:cNvGrpSpPr/>
          <p:nvPr/>
        </p:nvGrpSpPr>
        <p:grpSpPr>
          <a:xfrm>
            <a:off x="6852666" y="1652016"/>
            <a:ext cx="658368" cy="658368"/>
            <a:chOff x="2854325" y="5435600"/>
            <a:chExt cx="506413" cy="506413"/>
          </a:xfrm>
          <a:solidFill>
            <a:schemeClr val="bg1"/>
          </a:solidFill>
        </p:grpSpPr>
        <p:sp>
          <p:nvSpPr>
            <p:cNvPr id="54" name="Freeform 13">
              <a:extLst>
                <a:ext uri="{FF2B5EF4-FFF2-40B4-BE49-F238E27FC236}">
                  <a16:creationId xmlns:a16="http://schemas.microsoft.com/office/drawing/2014/main" id="{ECD302F3-5754-B141-9F88-CBEF709A3C4A}"/>
                </a:ext>
              </a:extLst>
            </p:cNvPr>
            <p:cNvSpPr>
              <a:spLocks noEditPoints="1"/>
            </p:cNvSpPr>
            <p:nvPr/>
          </p:nvSpPr>
          <p:spPr bwMode="auto">
            <a:xfrm>
              <a:off x="2990850" y="5529263"/>
              <a:ext cx="231775" cy="319088"/>
            </a:xfrm>
            <a:custGeom>
              <a:avLst/>
              <a:gdLst>
                <a:gd name="T0" fmla="*/ 93 w 146"/>
                <a:gd name="T1" fmla="*/ 167 h 201"/>
                <a:gd name="T2" fmla="*/ 83 w 146"/>
                <a:gd name="T3" fmla="*/ 173 h 201"/>
                <a:gd name="T4" fmla="*/ 82 w 146"/>
                <a:gd name="T5" fmla="*/ 162 h 201"/>
                <a:gd name="T6" fmla="*/ 64 w 146"/>
                <a:gd name="T7" fmla="*/ 162 h 201"/>
                <a:gd name="T8" fmla="*/ 63 w 146"/>
                <a:gd name="T9" fmla="*/ 173 h 201"/>
                <a:gd name="T10" fmla="*/ 53 w 146"/>
                <a:gd name="T11" fmla="*/ 167 h 201"/>
                <a:gd name="T12" fmla="*/ 34 w 146"/>
                <a:gd name="T13" fmla="*/ 161 h 201"/>
                <a:gd name="T14" fmla="*/ 40 w 146"/>
                <a:gd name="T15" fmla="*/ 170 h 201"/>
                <a:gd name="T16" fmla="*/ 29 w 146"/>
                <a:gd name="T17" fmla="*/ 172 h 201"/>
                <a:gd name="T18" fmla="*/ 31 w 146"/>
                <a:gd name="T19" fmla="*/ 161 h 201"/>
                <a:gd name="T20" fmla="*/ 120 w 146"/>
                <a:gd name="T21" fmla="*/ 138 h 201"/>
                <a:gd name="T22" fmla="*/ 116 w 146"/>
                <a:gd name="T23" fmla="*/ 173 h 201"/>
                <a:gd name="T24" fmla="*/ 106 w 146"/>
                <a:gd name="T25" fmla="*/ 167 h 201"/>
                <a:gd name="T26" fmla="*/ 113 w 146"/>
                <a:gd name="T27" fmla="*/ 133 h 201"/>
                <a:gd name="T28" fmla="*/ 93 w 146"/>
                <a:gd name="T29" fmla="*/ 141 h 201"/>
                <a:gd name="T30" fmla="*/ 83 w 146"/>
                <a:gd name="T31" fmla="*/ 147 h 201"/>
                <a:gd name="T32" fmla="*/ 82 w 146"/>
                <a:gd name="T33" fmla="*/ 136 h 201"/>
                <a:gd name="T34" fmla="*/ 64 w 146"/>
                <a:gd name="T35" fmla="*/ 136 h 201"/>
                <a:gd name="T36" fmla="*/ 63 w 146"/>
                <a:gd name="T37" fmla="*/ 147 h 201"/>
                <a:gd name="T38" fmla="*/ 53 w 146"/>
                <a:gd name="T39" fmla="*/ 141 h 201"/>
                <a:gd name="T40" fmla="*/ 34 w 146"/>
                <a:gd name="T41" fmla="*/ 133 h 201"/>
                <a:gd name="T42" fmla="*/ 40 w 146"/>
                <a:gd name="T43" fmla="*/ 143 h 201"/>
                <a:gd name="T44" fmla="*/ 29 w 146"/>
                <a:gd name="T45" fmla="*/ 145 h 201"/>
                <a:gd name="T46" fmla="*/ 31 w 146"/>
                <a:gd name="T47" fmla="*/ 135 h 201"/>
                <a:gd name="T48" fmla="*/ 120 w 146"/>
                <a:gd name="T49" fmla="*/ 112 h 201"/>
                <a:gd name="T50" fmla="*/ 113 w 146"/>
                <a:gd name="T51" fmla="*/ 120 h 201"/>
                <a:gd name="T52" fmla="*/ 107 w 146"/>
                <a:gd name="T53" fmla="*/ 112 h 201"/>
                <a:gd name="T54" fmla="*/ 89 w 146"/>
                <a:gd name="T55" fmla="*/ 108 h 201"/>
                <a:gd name="T56" fmla="*/ 92 w 146"/>
                <a:gd name="T57" fmla="*/ 119 h 201"/>
                <a:gd name="T58" fmla="*/ 80 w 146"/>
                <a:gd name="T59" fmla="*/ 116 h 201"/>
                <a:gd name="T60" fmla="*/ 87 w 146"/>
                <a:gd name="T61" fmla="*/ 107 h 201"/>
                <a:gd name="T62" fmla="*/ 66 w 146"/>
                <a:gd name="T63" fmla="*/ 114 h 201"/>
                <a:gd name="T64" fmla="*/ 57 w 146"/>
                <a:gd name="T65" fmla="*/ 120 h 201"/>
                <a:gd name="T66" fmla="*/ 56 w 146"/>
                <a:gd name="T67" fmla="*/ 109 h 201"/>
                <a:gd name="T68" fmla="*/ 37 w 146"/>
                <a:gd name="T69" fmla="*/ 109 h 201"/>
                <a:gd name="T70" fmla="*/ 36 w 146"/>
                <a:gd name="T71" fmla="*/ 120 h 201"/>
                <a:gd name="T72" fmla="*/ 27 w 146"/>
                <a:gd name="T73" fmla="*/ 114 h 201"/>
                <a:gd name="T74" fmla="*/ 113 w 146"/>
                <a:gd name="T75" fmla="*/ 80 h 201"/>
                <a:gd name="T76" fmla="*/ 120 w 146"/>
                <a:gd name="T77" fmla="*/ 90 h 201"/>
                <a:gd name="T78" fmla="*/ 109 w 146"/>
                <a:gd name="T79" fmla="*/ 92 h 201"/>
                <a:gd name="T80" fmla="*/ 111 w 146"/>
                <a:gd name="T81" fmla="*/ 81 h 201"/>
                <a:gd name="T82" fmla="*/ 93 w 146"/>
                <a:gd name="T83" fmla="*/ 84 h 201"/>
                <a:gd name="T84" fmla="*/ 87 w 146"/>
                <a:gd name="T85" fmla="*/ 93 h 201"/>
                <a:gd name="T86" fmla="*/ 80 w 146"/>
                <a:gd name="T87" fmla="*/ 84 h 201"/>
                <a:gd name="T88" fmla="*/ 63 w 146"/>
                <a:gd name="T89" fmla="*/ 81 h 201"/>
                <a:gd name="T90" fmla="*/ 64 w 146"/>
                <a:gd name="T91" fmla="*/ 92 h 201"/>
                <a:gd name="T92" fmla="*/ 54 w 146"/>
                <a:gd name="T93" fmla="*/ 90 h 201"/>
                <a:gd name="T94" fmla="*/ 59 w 146"/>
                <a:gd name="T95" fmla="*/ 80 h 201"/>
                <a:gd name="T96" fmla="*/ 40 w 146"/>
                <a:gd name="T97" fmla="*/ 87 h 201"/>
                <a:gd name="T98" fmla="*/ 31 w 146"/>
                <a:gd name="T99" fmla="*/ 93 h 201"/>
                <a:gd name="T100" fmla="*/ 29 w 146"/>
                <a:gd name="T101" fmla="*/ 83 h 201"/>
                <a:gd name="T102" fmla="*/ 106 w 146"/>
                <a:gd name="T103" fmla="*/ 54 h 201"/>
                <a:gd name="T104" fmla="*/ 116 w 146"/>
                <a:gd name="T105" fmla="*/ 28 h 201"/>
                <a:gd name="T106" fmla="*/ 120 w 146"/>
                <a:gd name="T107" fmla="*/ 63 h 201"/>
                <a:gd name="T108" fmla="*/ 31 w 146"/>
                <a:gd name="T109" fmla="*/ 67 h 201"/>
                <a:gd name="T110" fmla="*/ 27 w 146"/>
                <a:gd name="T111" fmla="*/ 32 h 201"/>
                <a:gd name="T112" fmla="*/ 13 w 146"/>
                <a:gd name="T113" fmla="*/ 186 h 201"/>
                <a:gd name="T114" fmla="*/ 140 w 146"/>
                <a:gd name="T115" fmla="*/ 0 h 201"/>
                <a:gd name="T116" fmla="*/ 146 w 146"/>
                <a:gd name="T117" fmla="*/ 194 h 201"/>
                <a:gd name="T118" fmla="*/ 7 w 146"/>
                <a:gd name="T119" fmla="*/ 201 h 201"/>
                <a:gd name="T120" fmla="*/ 0 w 146"/>
                <a:gd name="T121" fmla="*/ 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 h="201">
                  <a:moveTo>
                    <a:pt x="87" y="161"/>
                  </a:moveTo>
                  <a:lnTo>
                    <a:pt x="89" y="161"/>
                  </a:lnTo>
                  <a:lnTo>
                    <a:pt x="92" y="162"/>
                  </a:lnTo>
                  <a:lnTo>
                    <a:pt x="93" y="165"/>
                  </a:lnTo>
                  <a:lnTo>
                    <a:pt x="93" y="167"/>
                  </a:lnTo>
                  <a:lnTo>
                    <a:pt x="93" y="170"/>
                  </a:lnTo>
                  <a:lnTo>
                    <a:pt x="92" y="172"/>
                  </a:lnTo>
                  <a:lnTo>
                    <a:pt x="89" y="173"/>
                  </a:lnTo>
                  <a:lnTo>
                    <a:pt x="87" y="173"/>
                  </a:lnTo>
                  <a:lnTo>
                    <a:pt x="83" y="173"/>
                  </a:lnTo>
                  <a:lnTo>
                    <a:pt x="82" y="172"/>
                  </a:lnTo>
                  <a:lnTo>
                    <a:pt x="80" y="170"/>
                  </a:lnTo>
                  <a:lnTo>
                    <a:pt x="80" y="167"/>
                  </a:lnTo>
                  <a:lnTo>
                    <a:pt x="80" y="165"/>
                  </a:lnTo>
                  <a:lnTo>
                    <a:pt x="82" y="162"/>
                  </a:lnTo>
                  <a:lnTo>
                    <a:pt x="83" y="161"/>
                  </a:lnTo>
                  <a:lnTo>
                    <a:pt x="87" y="161"/>
                  </a:lnTo>
                  <a:close/>
                  <a:moveTo>
                    <a:pt x="59" y="161"/>
                  </a:moveTo>
                  <a:lnTo>
                    <a:pt x="63" y="161"/>
                  </a:lnTo>
                  <a:lnTo>
                    <a:pt x="64" y="162"/>
                  </a:lnTo>
                  <a:lnTo>
                    <a:pt x="66" y="165"/>
                  </a:lnTo>
                  <a:lnTo>
                    <a:pt x="66" y="167"/>
                  </a:lnTo>
                  <a:lnTo>
                    <a:pt x="66" y="170"/>
                  </a:lnTo>
                  <a:lnTo>
                    <a:pt x="64" y="172"/>
                  </a:lnTo>
                  <a:lnTo>
                    <a:pt x="63" y="173"/>
                  </a:lnTo>
                  <a:lnTo>
                    <a:pt x="59" y="173"/>
                  </a:lnTo>
                  <a:lnTo>
                    <a:pt x="57" y="173"/>
                  </a:lnTo>
                  <a:lnTo>
                    <a:pt x="56" y="172"/>
                  </a:lnTo>
                  <a:lnTo>
                    <a:pt x="54" y="170"/>
                  </a:lnTo>
                  <a:lnTo>
                    <a:pt x="53" y="167"/>
                  </a:lnTo>
                  <a:lnTo>
                    <a:pt x="54" y="165"/>
                  </a:lnTo>
                  <a:lnTo>
                    <a:pt x="56" y="162"/>
                  </a:lnTo>
                  <a:lnTo>
                    <a:pt x="57" y="161"/>
                  </a:lnTo>
                  <a:lnTo>
                    <a:pt x="59" y="161"/>
                  </a:lnTo>
                  <a:close/>
                  <a:moveTo>
                    <a:pt x="34" y="161"/>
                  </a:moveTo>
                  <a:lnTo>
                    <a:pt x="36" y="161"/>
                  </a:lnTo>
                  <a:lnTo>
                    <a:pt x="37" y="162"/>
                  </a:lnTo>
                  <a:lnTo>
                    <a:pt x="40" y="165"/>
                  </a:lnTo>
                  <a:lnTo>
                    <a:pt x="40" y="167"/>
                  </a:lnTo>
                  <a:lnTo>
                    <a:pt x="40" y="170"/>
                  </a:lnTo>
                  <a:lnTo>
                    <a:pt x="37" y="172"/>
                  </a:lnTo>
                  <a:lnTo>
                    <a:pt x="36" y="173"/>
                  </a:lnTo>
                  <a:lnTo>
                    <a:pt x="34" y="173"/>
                  </a:lnTo>
                  <a:lnTo>
                    <a:pt x="31" y="173"/>
                  </a:lnTo>
                  <a:lnTo>
                    <a:pt x="29" y="172"/>
                  </a:lnTo>
                  <a:lnTo>
                    <a:pt x="27" y="170"/>
                  </a:lnTo>
                  <a:lnTo>
                    <a:pt x="27" y="167"/>
                  </a:lnTo>
                  <a:lnTo>
                    <a:pt x="27" y="165"/>
                  </a:lnTo>
                  <a:lnTo>
                    <a:pt x="29" y="162"/>
                  </a:lnTo>
                  <a:lnTo>
                    <a:pt x="31" y="161"/>
                  </a:lnTo>
                  <a:lnTo>
                    <a:pt x="34" y="161"/>
                  </a:lnTo>
                  <a:close/>
                  <a:moveTo>
                    <a:pt x="113" y="133"/>
                  </a:moveTo>
                  <a:lnTo>
                    <a:pt x="116" y="135"/>
                  </a:lnTo>
                  <a:lnTo>
                    <a:pt x="118" y="136"/>
                  </a:lnTo>
                  <a:lnTo>
                    <a:pt x="120" y="138"/>
                  </a:lnTo>
                  <a:lnTo>
                    <a:pt x="120" y="141"/>
                  </a:lnTo>
                  <a:lnTo>
                    <a:pt x="120" y="167"/>
                  </a:lnTo>
                  <a:lnTo>
                    <a:pt x="120" y="170"/>
                  </a:lnTo>
                  <a:lnTo>
                    <a:pt x="118" y="172"/>
                  </a:lnTo>
                  <a:lnTo>
                    <a:pt x="116" y="173"/>
                  </a:lnTo>
                  <a:lnTo>
                    <a:pt x="113" y="173"/>
                  </a:lnTo>
                  <a:lnTo>
                    <a:pt x="111" y="173"/>
                  </a:lnTo>
                  <a:lnTo>
                    <a:pt x="109" y="172"/>
                  </a:lnTo>
                  <a:lnTo>
                    <a:pt x="107" y="170"/>
                  </a:lnTo>
                  <a:lnTo>
                    <a:pt x="106" y="167"/>
                  </a:lnTo>
                  <a:lnTo>
                    <a:pt x="106" y="141"/>
                  </a:lnTo>
                  <a:lnTo>
                    <a:pt x="107" y="138"/>
                  </a:lnTo>
                  <a:lnTo>
                    <a:pt x="109" y="136"/>
                  </a:lnTo>
                  <a:lnTo>
                    <a:pt x="111" y="135"/>
                  </a:lnTo>
                  <a:lnTo>
                    <a:pt x="113" y="133"/>
                  </a:lnTo>
                  <a:close/>
                  <a:moveTo>
                    <a:pt x="87" y="133"/>
                  </a:moveTo>
                  <a:lnTo>
                    <a:pt x="89" y="135"/>
                  </a:lnTo>
                  <a:lnTo>
                    <a:pt x="92" y="136"/>
                  </a:lnTo>
                  <a:lnTo>
                    <a:pt x="93" y="138"/>
                  </a:lnTo>
                  <a:lnTo>
                    <a:pt x="93" y="141"/>
                  </a:lnTo>
                  <a:lnTo>
                    <a:pt x="93" y="143"/>
                  </a:lnTo>
                  <a:lnTo>
                    <a:pt x="92" y="145"/>
                  </a:lnTo>
                  <a:lnTo>
                    <a:pt x="89" y="147"/>
                  </a:lnTo>
                  <a:lnTo>
                    <a:pt x="87" y="147"/>
                  </a:lnTo>
                  <a:lnTo>
                    <a:pt x="83" y="147"/>
                  </a:lnTo>
                  <a:lnTo>
                    <a:pt x="82" y="145"/>
                  </a:lnTo>
                  <a:lnTo>
                    <a:pt x="80" y="143"/>
                  </a:lnTo>
                  <a:lnTo>
                    <a:pt x="80" y="141"/>
                  </a:lnTo>
                  <a:lnTo>
                    <a:pt x="80" y="138"/>
                  </a:lnTo>
                  <a:lnTo>
                    <a:pt x="82" y="136"/>
                  </a:lnTo>
                  <a:lnTo>
                    <a:pt x="83" y="135"/>
                  </a:lnTo>
                  <a:lnTo>
                    <a:pt x="87" y="133"/>
                  </a:lnTo>
                  <a:close/>
                  <a:moveTo>
                    <a:pt x="59" y="133"/>
                  </a:moveTo>
                  <a:lnTo>
                    <a:pt x="63" y="135"/>
                  </a:lnTo>
                  <a:lnTo>
                    <a:pt x="64" y="136"/>
                  </a:lnTo>
                  <a:lnTo>
                    <a:pt x="66" y="138"/>
                  </a:lnTo>
                  <a:lnTo>
                    <a:pt x="66" y="141"/>
                  </a:lnTo>
                  <a:lnTo>
                    <a:pt x="66" y="143"/>
                  </a:lnTo>
                  <a:lnTo>
                    <a:pt x="64" y="145"/>
                  </a:lnTo>
                  <a:lnTo>
                    <a:pt x="63" y="147"/>
                  </a:lnTo>
                  <a:lnTo>
                    <a:pt x="59" y="147"/>
                  </a:lnTo>
                  <a:lnTo>
                    <a:pt x="57" y="147"/>
                  </a:lnTo>
                  <a:lnTo>
                    <a:pt x="56" y="145"/>
                  </a:lnTo>
                  <a:lnTo>
                    <a:pt x="54" y="143"/>
                  </a:lnTo>
                  <a:lnTo>
                    <a:pt x="53" y="141"/>
                  </a:lnTo>
                  <a:lnTo>
                    <a:pt x="54" y="138"/>
                  </a:lnTo>
                  <a:lnTo>
                    <a:pt x="56" y="136"/>
                  </a:lnTo>
                  <a:lnTo>
                    <a:pt x="57" y="135"/>
                  </a:lnTo>
                  <a:lnTo>
                    <a:pt x="59" y="133"/>
                  </a:lnTo>
                  <a:close/>
                  <a:moveTo>
                    <a:pt x="34" y="133"/>
                  </a:moveTo>
                  <a:lnTo>
                    <a:pt x="36" y="135"/>
                  </a:lnTo>
                  <a:lnTo>
                    <a:pt x="37" y="136"/>
                  </a:lnTo>
                  <a:lnTo>
                    <a:pt x="40" y="138"/>
                  </a:lnTo>
                  <a:lnTo>
                    <a:pt x="40" y="141"/>
                  </a:lnTo>
                  <a:lnTo>
                    <a:pt x="40" y="143"/>
                  </a:lnTo>
                  <a:lnTo>
                    <a:pt x="37" y="145"/>
                  </a:lnTo>
                  <a:lnTo>
                    <a:pt x="36" y="147"/>
                  </a:lnTo>
                  <a:lnTo>
                    <a:pt x="34" y="147"/>
                  </a:lnTo>
                  <a:lnTo>
                    <a:pt x="31" y="147"/>
                  </a:lnTo>
                  <a:lnTo>
                    <a:pt x="29" y="145"/>
                  </a:lnTo>
                  <a:lnTo>
                    <a:pt x="27" y="143"/>
                  </a:lnTo>
                  <a:lnTo>
                    <a:pt x="27" y="141"/>
                  </a:lnTo>
                  <a:lnTo>
                    <a:pt x="27" y="138"/>
                  </a:lnTo>
                  <a:lnTo>
                    <a:pt x="29" y="136"/>
                  </a:lnTo>
                  <a:lnTo>
                    <a:pt x="31" y="135"/>
                  </a:lnTo>
                  <a:lnTo>
                    <a:pt x="34" y="133"/>
                  </a:lnTo>
                  <a:close/>
                  <a:moveTo>
                    <a:pt x="113" y="107"/>
                  </a:moveTo>
                  <a:lnTo>
                    <a:pt x="116" y="108"/>
                  </a:lnTo>
                  <a:lnTo>
                    <a:pt x="118" y="109"/>
                  </a:lnTo>
                  <a:lnTo>
                    <a:pt x="120" y="112"/>
                  </a:lnTo>
                  <a:lnTo>
                    <a:pt x="120" y="114"/>
                  </a:lnTo>
                  <a:lnTo>
                    <a:pt x="120" y="116"/>
                  </a:lnTo>
                  <a:lnTo>
                    <a:pt x="118" y="119"/>
                  </a:lnTo>
                  <a:lnTo>
                    <a:pt x="116" y="120"/>
                  </a:lnTo>
                  <a:lnTo>
                    <a:pt x="113" y="120"/>
                  </a:lnTo>
                  <a:lnTo>
                    <a:pt x="111" y="120"/>
                  </a:lnTo>
                  <a:lnTo>
                    <a:pt x="109" y="119"/>
                  </a:lnTo>
                  <a:lnTo>
                    <a:pt x="107" y="116"/>
                  </a:lnTo>
                  <a:lnTo>
                    <a:pt x="106" y="114"/>
                  </a:lnTo>
                  <a:lnTo>
                    <a:pt x="107" y="112"/>
                  </a:lnTo>
                  <a:lnTo>
                    <a:pt x="109" y="109"/>
                  </a:lnTo>
                  <a:lnTo>
                    <a:pt x="111" y="108"/>
                  </a:lnTo>
                  <a:lnTo>
                    <a:pt x="113" y="107"/>
                  </a:lnTo>
                  <a:close/>
                  <a:moveTo>
                    <a:pt x="87" y="107"/>
                  </a:moveTo>
                  <a:lnTo>
                    <a:pt x="89" y="108"/>
                  </a:lnTo>
                  <a:lnTo>
                    <a:pt x="92" y="109"/>
                  </a:lnTo>
                  <a:lnTo>
                    <a:pt x="93" y="112"/>
                  </a:lnTo>
                  <a:lnTo>
                    <a:pt x="93" y="114"/>
                  </a:lnTo>
                  <a:lnTo>
                    <a:pt x="93" y="116"/>
                  </a:lnTo>
                  <a:lnTo>
                    <a:pt x="92" y="119"/>
                  </a:lnTo>
                  <a:lnTo>
                    <a:pt x="89" y="120"/>
                  </a:lnTo>
                  <a:lnTo>
                    <a:pt x="87" y="120"/>
                  </a:lnTo>
                  <a:lnTo>
                    <a:pt x="83" y="120"/>
                  </a:lnTo>
                  <a:lnTo>
                    <a:pt x="82" y="119"/>
                  </a:lnTo>
                  <a:lnTo>
                    <a:pt x="80" y="116"/>
                  </a:lnTo>
                  <a:lnTo>
                    <a:pt x="80" y="114"/>
                  </a:lnTo>
                  <a:lnTo>
                    <a:pt x="80" y="112"/>
                  </a:lnTo>
                  <a:lnTo>
                    <a:pt x="82" y="109"/>
                  </a:lnTo>
                  <a:lnTo>
                    <a:pt x="83" y="108"/>
                  </a:lnTo>
                  <a:lnTo>
                    <a:pt x="87" y="107"/>
                  </a:lnTo>
                  <a:close/>
                  <a:moveTo>
                    <a:pt x="59" y="107"/>
                  </a:moveTo>
                  <a:lnTo>
                    <a:pt x="63" y="108"/>
                  </a:lnTo>
                  <a:lnTo>
                    <a:pt x="64" y="109"/>
                  </a:lnTo>
                  <a:lnTo>
                    <a:pt x="66" y="112"/>
                  </a:lnTo>
                  <a:lnTo>
                    <a:pt x="66" y="114"/>
                  </a:lnTo>
                  <a:lnTo>
                    <a:pt x="66" y="116"/>
                  </a:lnTo>
                  <a:lnTo>
                    <a:pt x="64" y="119"/>
                  </a:lnTo>
                  <a:lnTo>
                    <a:pt x="63" y="120"/>
                  </a:lnTo>
                  <a:lnTo>
                    <a:pt x="59" y="120"/>
                  </a:lnTo>
                  <a:lnTo>
                    <a:pt x="57" y="120"/>
                  </a:lnTo>
                  <a:lnTo>
                    <a:pt x="56" y="119"/>
                  </a:lnTo>
                  <a:lnTo>
                    <a:pt x="54" y="116"/>
                  </a:lnTo>
                  <a:lnTo>
                    <a:pt x="53" y="114"/>
                  </a:lnTo>
                  <a:lnTo>
                    <a:pt x="54" y="112"/>
                  </a:lnTo>
                  <a:lnTo>
                    <a:pt x="56" y="109"/>
                  </a:lnTo>
                  <a:lnTo>
                    <a:pt x="57" y="108"/>
                  </a:lnTo>
                  <a:lnTo>
                    <a:pt x="59" y="107"/>
                  </a:lnTo>
                  <a:close/>
                  <a:moveTo>
                    <a:pt x="34" y="107"/>
                  </a:moveTo>
                  <a:lnTo>
                    <a:pt x="36" y="108"/>
                  </a:lnTo>
                  <a:lnTo>
                    <a:pt x="37" y="109"/>
                  </a:lnTo>
                  <a:lnTo>
                    <a:pt x="40" y="112"/>
                  </a:lnTo>
                  <a:lnTo>
                    <a:pt x="40" y="114"/>
                  </a:lnTo>
                  <a:lnTo>
                    <a:pt x="40" y="116"/>
                  </a:lnTo>
                  <a:lnTo>
                    <a:pt x="37" y="119"/>
                  </a:lnTo>
                  <a:lnTo>
                    <a:pt x="36" y="120"/>
                  </a:lnTo>
                  <a:lnTo>
                    <a:pt x="34" y="120"/>
                  </a:lnTo>
                  <a:lnTo>
                    <a:pt x="31" y="120"/>
                  </a:lnTo>
                  <a:lnTo>
                    <a:pt x="29" y="119"/>
                  </a:lnTo>
                  <a:lnTo>
                    <a:pt x="27" y="116"/>
                  </a:lnTo>
                  <a:lnTo>
                    <a:pt x="27" y="114"/>
                  </a:lnTo>
                  <a:lnTo>
                    <a:pt x="27" y="112"/>
                  </a:lnTo>
                  <a:lnTo>
                    <a:pt x="29" y="109"/>
                  </a:lnTo>
                  <a:lnTo>
                    <a:pt x="31" y="108"/>
                  </a:lnTo>
                  <a:lnTo>
                    <a:pt x="34" y="107"/>
                  </a:lnTo>
                  <a:close/>
                  <a:moveTo>
                    <a:pt x="113" y="80"/>
                  </a:moveTo>
                  <a:lnTo>
                    <a:pt x="116" y="81"/>
                  </a:lnTo>
                  <a:lnTo>
                    <a:pt x="118" y="83"/>
                  </a:lnTo>
                  <a:lnTo>
                    <a:pt x="120" y="84"/>
                  </a:lnTo>
                  <a:lnTo>
                    <a:pt x="120" y="87"/>
                  </a:lnTo>
                  <a:lnTo>
                    <a:pt x="120" y="90"/>
                  </a:lnTo>
                  <a:lnTo>
                    <a:pt x="118" y="92"/>
                  </a:lnTo>
                  <a:lnTo>
                    <a:pt x="116" y="93"/>
                  </a:lnTo>
                  <a:lnTo>
                    <a:pt x="113" y="93"/>
                  </a:lnTo>
                  <a:lnTo>
                    <a:pt x="111" y="93"/>
                  </a:lnTo>
                  <a:lnTo>
                    <a:pt x="109" y="92"/>
                  </a:lnTo>
                  <a:lnTo>
                    <a:pt x="107" y="90"/>
                  </a:lnTo>
                  <a:lnTo>
                    <a:pt x="106" y="87"/>
                  </a:lnTo>
                  <a:lnTo>
                    <a:pt x="107" y="84"/>
                  </a:lnTo>
                  <a:lnTo>
                    <a:pt x="109" y="83"/>
                  </a:lnTo>
                  <a:lnTo>
                    <a:pt x="111" y="81"/>
                  </a:lnTo>
                  <a:lnTo>
                    <a:pt x="113" y="80"/>
                  </a:lnTo>
                  <a:close/>
                  <a:moveTo>
                    <a:pt x="87" y="80"/>
                  </a:moveTo>
                  <a:lnTo>
                    <a:pt x="89" y="81"/>
                  </a:lnTo>
                  <a:lnTo>
                    <a:pt x="92" y="83"/>
                  </a:lnTo>
                  <a:lnTo>
                    <a:pt x="93" y="84"/>
                  </a:lnTo>
                  <a:lnTo>
                    <a:pt x="93" y="87"/>
                  </a:lnTo>
                  <a:lnTo>
                    <a:pt x="93" y="90"/>
                  </a:lnTo>
                  <a:lnTo>
                    <a:pt x="92" y="92"/>
                  </a:lnTo>
                  <a:lnTo>
                    <a:pt x="89" y="93"/>
                  </a:lnTo>
                  <a:lnTo>
                    <a:pt x="87" y="93"/>
                  </a:lnTo>
                  <a:lnTo>
                    <a:pt x="83" y="93"/>
                  </a:lnTo>
                  <a:lnTo>
                    <a:pt x="82" y="92"/>
                  </a:lnTo>
                  <a:lnTo>
                    <a:pt x="80" y="90"/>
                  </a:lnTo>
                  <a:lnTo>
                    <a:pt x="80" y="87"/>
                  </a:lnTo>
                  <a:lnTo>
                    <a:pt x="80" y="84"/>
                  </a:lnTo>
                  <a:lnTo>
                    <a:pt x="82" y="83"/>
                  </a:lnTo>
                  <a:lnTo>
                    <a:pt x="83" y="81"/>
                  </a:lnTo>
                  <a:lnTo>
                    <a:pt x="87" y="80"/>
                  </a:lnTo>
                  <a:close/>
                  <a:moveTo>
                    <a:pt x="59" y="80"/>
                  </a:moveTo>
                  <a:lnTo>
                    <a:pt x="63" y="81"/>
                  </a:lnTo>
                  <a:lnTo>
                    <a:pt x="64" y="83"/>
                  </a:lnTo>
                  <a:lnTo>
                    <a:pt x="66" y="84"/>
                  </a:lnTo>
                  <a:lnTo>
                    <a:pt x="66" y="87"/>
                  </a:lnTo>
                  <a:lnTo>
                    <a:pt x="66" y="90"/>
                  </a:lnTo>
                  <a:lnTo>
                    <a:pt x="64" y="92"/>
                  </a:lnTo>
                  <a:lnTo>
                    <a:pt x="63" y="93"/>
                  </a:lnTo>
                  <a:lnTo>
                    <a:pt x="59" y="93"/>
                  </a:lnTo>
                  <a:lnTo>
                    <a:pt x="57" y="93"/>
                  </a:lnTo>
                  <a:lnTo>
                    <a:pt x="56" y="92"/>
                  </a:lnTo>
                  <a:lnTo>
                    <a:pt x="54" y="90"/>
                  </a:lnTo>
                  <a:lnTo>
                    <a:pt x="53" y="87"/>
                  </a:lnTo>
                  <a:lnTo>
                    <a:pt x="54" y="84"/>
                  </a:lnTo>
                  <a:lnTo>
                    <a:pt x="56" y="83"/>
                  </a:lnTo>
                  <a:lnTo>
                    <a:pt x="57" y="81"/>
                  </a:lnTo>
                  <a:lnTo>
                    <a:pt x="59" y="80"/>
                  </a:lnTo>
                  <a:close/>
                  <a:moveTo>
                    <a:pt x="34" y="80"/>
                  </a:moveTo>
                  <a:lnTo>
                    <a:pt x="36" y="81"/>
                  </a:lnTo>
                  <a:lnTo>
                    <a:pt x="37" y="83"/>
                  </a:lnTo>
                  <a:lnTo>
                    <a:pt x="40" y="84"/>
                  </a:lnTo>
                  <a:lnTo>
                    <a:pt x="40" y="87"/>
                  </a:lnTo>
                  <a:lnTo>
                    <a:pt x="40" y="90"/>
                  </a:lnTo>
                  <a:lnTo>
                    <a:pt x="37" y="92"/>
                  </a:lnTo>
                  <a:lnTo>
                    <a:pt x="36" y="93"/>
                  </a:lnTo>
                  <a:lnTo>
                    <a:pt x="34" y="93"/>
                  </a:lnTo>
                  <a:lnTo>
                    <a:pt x="31" y="93"/>
                  </a:lnTo>
                  <a:lnTo>
                    <a:pt x="29" y="92"/>
                  </a:lnTo>
                  <a:lnTo>
                    <a:pt x="27" y="90"/>
                  </a:lnTo>
                  <a:lnTo>
                    <a:pt x="27" y="87"/>
                  </a:lnTo>
                  <a:lnTo>
                    <a:pt x="27" y="84"/>
                  </a:lnTo>
                  <a:lnTo>
                    <a:pt x="29" y="83"/>
                  </a:lnTo>
                  <a:lnTo>
                    <a:pt x="31" y="81"/>
                  </a:lnTo>
                  <a:lnTo>
                    <a:pt x="34" y="80"/>
                  </a:lnTo>
                  <a:close/>
                  <a:moveTo>
                    <a:pt x="40" y="40"/>
                  </a:moveTo>
                  <a:lnTo>
                    <a:pt x="40" y="54"/>
                  </a:lnTo>
                  <a:lnTo>
                    <a:pt x="106" y="54"/>
                  </a:lnTo>
                  <a:lnTo>
                    <a:pt x="106" y="40"/>
                  </a:lnTo>
                  <a:lnTo>
                    <a:pt x="40" y="40"/>
                  </a:lnTo>
                  <a:close/>
                  <a:moveTo>
                    <a:pt x="34" y="27"/>
                  </a:moveTo>
                  <a:lnTo>
                    <a:pt x="113" y="27"/>
                  </a:lnTo>
                  <a:lnTo>
                    <a:pt x="116" y="28"/>
                  </a:lnTo>
                  <a:lnTo>
                    <a:pt x="118" y="29"/>
                  </a:lnTo>
                  <a:lnTo>
                    <a:pt x="120" y="32"/>
                  </a:lnTo>
                  <a:lnTo>
                    <a:pt x="120" y="34"/>
                  </a:lnTo>
                  <a:lnTo>
                    <a:pt x="120" y="61"/>
                  </a:lnTo>
                  <a:lnTo>
                    <a:pt x="120" y="63"/>
                  </a:lnTo>
                  <a:lnTo>
                    <a:pt x="118" y="66"/>
                  </a:lnTo>
                  <a:lnTo>
                    <a:pt x="116" y="67"/>
                  </a:lnTo>
                  <a:lnTo>
                    <a:pt x="113" y="67"/>
                  </a:lnTo>
                  <a:lnTo>
                    <a:pt x="34" y="67"/>
                  </a:lnTo>
                  <a:lnTo>
                    <a:pt x="31" y="67"/>
                  </a:lnTo>
                  <a:lnTo>
                    <a:pt x="29" y="66"/>
                  </a:lnTo>
                  <a:lnTo>
                    <a:pt x="27" y="63"/>
                  </a:lnTo>
                  <a:lnTo>
                    <a:pt x="27" y="61"/>
                  </a:lnTo>
                  <a:lnTo>
                    <a:pt x="27" y="34"/>
                  </a:lnTo>
                  <a:lnTo>
                    <a:pt x="27" y="32"/>
                  </a:lnTo>
                  <a:lnTo>
                    <a:pt x="29" y="29"/>
                  </a:lnTo>
                  <a:lnTo>
                    <a:pt x="31" y="28"/>
                  </a:lnTo>
                  <a:lnTo>
                    <a:pt x="34" y="27"/>
                  </a:lnTo>
                  <a:close/>
                  <a:moveTo>
                    <a:pt x="13" y="14"/>
                  </a:moveTo>
                  <a:lnTo>
                    <a:pt x="13" y="186"/>
                  </a:lnTo>
                  <a:lnTo>
                    <a:pt x="133" y="186"/>
                  </a:lnTo>
                  <a:lnTo>
                    <a:pt x="133" y="14"/>
                  </a:lnTo>
                  <a:lnTo>
                    <a:pt x="13" y="14"/>
                  </a:lnTo>
                  <a:close/>
                  <a:moveTo>
                    <a:pt x="7" y="0"/>
                  </a:moveTo>
                  <a:lnTo>
                    <a:pt x="140" y="0"/>
                  </a:lnTo>
                  <a:lnTo>
                    <a:pt x="142" y="2"/>
                  </a:lnTo>
                  <a:lnTo>
                    <a:pt x="145" y="3"/>
                  </a:lnTo>
                  <a:lnTo>
                    <a:pt x="146" y="4"/>
                  </a:lnTo>
                  <a:lnTo>
                    <a:pt x="146" y="8"/>
                  </a:lnTo>
                  <a:lnTo>
                    <a:pt x="146" y="194"/>
                  </a:lnTo>
                  <a:lnTo>
                    <a:pt x="146" y="196"/>
                  </a:lnTo>
                  <a:lnTo>
                    <a:pt x="145" y="199"/>
                  </a:lnTo>
                  <a:lnTo>
                    <a:pt x="142" y="200"/>
                  </a:lnTo>
                  <a:lnTo>
                    <a:pt x="140" y="201"/>
                  </a:lnTo>
                  <a:lnTo>
                    <a:pt x="7" y="201"/>
                  </a:lnTo>
                  <a:lnTo>
                    <a:pt x="4" y="200"/>
                  </a:lnTo>
                  <a:lnTo>
                    <a:pt x="2" y="199"/>
                  </a:lnTo>
                  <a:lnTo>
                    <a:pt x="0" y="196"/>
                  </a:lnTo>
                  <a:lnTo>
                    <a:pt x="0" y="194"/>
                  </a:lnTo>
                  <a:lnTo>
                    <a:pt x="0" y="8"/>
                  </a:lnTo>
                  <a:lnTo>
                    <a:pt x="0" y="4"/>
                  </a:lnTo>
                  <a:lnTo>
                    <a:pt x="2" y="3"/>
                  </a:lnTo>
                  <a:lnTo>
                    <a:pt x="4" y="2"/>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4">
              <a:extLst>
                <a:ext uri="{FF2B5EF4-FFF2-40B4-BE49-F238E27FC236}">
                  <a16:creationId xmlns:a16="http://schemas.microsoft.com/office/drawing/2014/main" id="{9923C5A9-B166-1C4A-BE93-CE4A1A5729BA}"/>
                </a:ext>
              </a:extLst>
            </p:cNvPr>
            <p:cNvSpPr>
              <a:spLocks noEditPoints="1"/>
            </p:cNvSpPr>
            <p:nvPr/>
          </p:nvSpPr>
          <p:spPr bwMode="auto">
            <a:xfrm>
              <a:off x="2854325" y="5435600"/>
              <a:ext cx="506413" cy="506413"/>
            </a:xfrm>
            <a:custGeom>
              <a:avLst/>
              <a:gdLst>
                <a:gd name="T0" fmla="*/ 131 w 319"/>
                <a:gd name="T1" fmla="*/ 16 h 319"/>
                <a:gd name="T2" fmla="*/ 78 w 319"/>
                <a:gd name="T3" fmla="*/ 39 h 319"/>
                <a:gd name="T4" fmla="*/ 38 w 319"/>
                <a:gd name="T5" fmla="*/ 78 h 319"/>
                <a:gd name="T6" fmla="*/ 16 w 319"/>
                <a:gd name="T7" fmla="*/ 131 h 319"/>
                <a:gd name="T8" fmla="*/ 16 w 319"/>
                <a:gd name="T9" fmla="*/ 189 h 319"/>
                <a:gd name="T10" fmla="*/ 38 w 319"/>
                <a:gd name="T11" fmla="*/ 241 h 319"/>
                <a:gd name="T12" fmla="*/ 78 w 319"/>
                <a:gd name="T13" fmla="*/ 280 h 319"/>
                <a:gd name="T14" fmla="*/ 131 w 319"/>
                <a:gd name="T15" fmla="*/ 302 h 319"/>
                <a:gd name="T16" fmla="*/ 189 w 319"/>
                <a:gd name="T17" fmla="*/ 302 h 319"/>
                <a:gd name="T18" fmla="*/ 242 w 319"/>
                <a:gd name="T19" fmla="*/ 280 h 319"/>
                <a:gd name="T20" fmla="*/ 280 w 319"/>
                <a:gd name="T21" fmla="*/ 241 h 319"/>
                <a:gd name="T22" fmla="*/ 303 w 319"/>
                <a:gd name="T23" fmla="*/ 189 h 319"/>
                <a:gd name="T24" fmla="*/ 303 w 319"/>
                <a:gd name="T25" fmla="*/ 131 h 319"/>
                <a:gd name="T26" fmla="*/ 280 w 319"/>
                <a:gd name="T27" fmla="*/ 78 h 319"/>
                <a:gd name="T28" fmla="*/ 242 w 319"/>
                <a:gd name="T29" fmla="*/ 39 h 319"/>
                <a:gd name="T30" fmla="*/ 189 w 319"/>
                <a:gd name="T31" fmla="*/ 16 h 319"/>
                <a:gd name="T32" fmla="*/ 160 w 319"/>
                <a:gd name="T33" fmla="*/ 0 h 319"/>
                <a:gd name="T34" fmla="*/ 192 w 319"/>
                <a:gd name="T35" fmla="*/ 4 h 319"/>
                <a:gd name="T36" fmla="*/ 249 w 319"/>
                <a:gd name="T37" fmla="*/ 28 h 319"/>
                <a:gd name="T38" fmla="*/ 292 w 319"/>
                <a:gd name="T39" fmla="*/ 70 h 319"/>
                <a:gd name="T40" fmla="*/ 317 w 319"/>
                <a:gd name="T41" fmla="*/ 127 h 319"/>
                <a:gd name="T42" fmla="*/ 319 w 319"/>
                <a:gd name="T43" fmla="*/ 160 h 319"/>
                <a:gd name="T44" fmla="*/ 307 w 319"/>
                <a:gd name="T45" fmla="*/ 221 h 319"/>
                <a:gd name="T46" fmla="*/ 273 w 319"/>
                <a:gd name="T47" fmla="*/ 272 h 319"/>
                <a:gd name="T48" fmla="*/ 222 w 319"/>
                <a:gd name="T49" fmla="*/ 306 h 319"/>
                <a:gd name="T50" fmla="*/ 160 w 319"/>
                <a:gd name="T51" fmla="*/ 319 h 319"/>
                <a:gd name="T52" fmla="*/ 97 w 319"/>
                <a:gd name="T53" fmla="*/ 306 h 319"/>
                <a:gd name="T54" fmla="*/ 46 w 319"/>
                <a:gd name="T55" fmla="*/ 272 h 319"/>
                <a:gd name="T56" fmla="*/ 12 w 319"/>
                <a:gd name="T57" fmla="*/ 221 h 319"/>
                <a:gd name="T58" fmla="*/ 0 w 319"/>
                <a:gd name="T59" fmla="*/ 160 h 319"/>
                <a:gd name="T60" fmla="*/ 3 w 319"/>
                <a:gd name="T61" fmla="*/ 127 h 319"/>
                <a:gd name="T62" fmla="*/ 27 w 319"/>
                <a:gd name="T63" fmla="*/ 70 h 319"/>
                <a:gd name="T64" fmla="*/ 70 w 319"/>
                <a:gd name="T65" fmla="*/ 28 h 319"/>
                <a:gd name="T66" fmla="*/ 127 w 319"/>
                <a:gd name="T67" fmla="*/ 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9" h="319">
                  <a:moveTo>
                    <a:pt x="160" y="14"/>
                  </a:moveTo>
                  <a:lnTo>
                    <a:pt x="131" y="16"/>
                  </a:lnTo>
                  <a:lnTo>
                    <a:pt x="103" y="26"/>
                  </a:lnTo>
                  <a:lnTo>
                    <a:pt x="78" y="39"/>
                  </a:lnTo>
                  <a:lnTo>
                    <a:pt x="56" y="56"/>
                  </a:lnTo>
                  <a:lnTo>
                    <a:pt x="38" y="78"/>
                  </a:lnTo>
                  <a:lnTo>
                    <a:pt x="24" y="103"/>
                  </a:lnTo>
                  <a:lnTo>
                    <a:pt x="16" y="131"/>
                  </a:lnTo>
                  <a:lnTo>
                    <a:pt x="14" y="160"/>
                  </a:lnTo>
                  <a:lnTo>
                    <a:pt x="16" y="189"/>
                  </a:lnTo>
                  <a:lnTo>
                    <a:pt x="24" y="216"/>
                  </a:lnTo>
                  <a:lnTo>
                    <a:pt x="38" y="241"/>
                  </a:lnTo>
                  <a:lnTo>
                    <a:pt x="56" y="262"/>
                  </a:lnTo>
                  <a:lnTo>
                    <a:pt x="78" y="280"/>
                  </a:lnTo>
                  <a:lnTo>
                    <a:pt x="103" y="294"/>
                  </a:lnTo>
                  <a:lnTo>
                    <a:pt x="131" y="302"/>
                  </a:lnTo>
                  <a:lnTo>
                    <a:pt x="160" y="306"/>
                  </a:lnTo>
                  <a:lnTo>
                    <a:pt x="189" y="302"/>
                  </a:lnTo>
                  <a:lnTo>
                    <a:pt x="216" y="294"/>
                  </a:lnTo>
                  <a:lnTo>
                    <a:pt x="242" y="280"/>
                  </a:lnTo>
                  <a:lnTo>
                    <a:pt x="263" y="262"/>
                  </a:lnTo>
                  <a:lnTo>
                    <a:pt x="280" y="241"/>
                  </a:lnTo>
                  <a:lnTo>
                    <a:pt x="295" y="216"/>
                  </a:lnTo>
                  <a:lnTo>
                    <a:pt x="303" y="189"/>
                  </a:lnTo>
                  <a:lnTo>
                    <a:pt x="306" y="160"/>
                  </a:lnTo>
                  <a:lnTo>
                    <a:pt x="303" y="131"/>
                  </a:lnTo>
                  <a:lnTo>
                    <a:pt x="295" y="103"/>
                  </a:lnTo>
                  <a:lnTo>
                    <a:pt x="280" y="78"/>
                  </a:lnTo>
                  <a:lnTo>
                    <a:pt x="263" y="56"/>
                  </a:lnTo>
                  <a:lnTo>
                    <a:pt x="242" y="39"/>
                  </a:lnTo>
                  <a:lnTo>
                    <a:pt x="216" y="26"/>
                  </a:lnTo>
                  <a:lnTo>
                    <a:pt x="189" y="16"/>
                  </a:lnTo>
                  <a:lnTo>
                    <a:pt x="160" y="14"/>
                  </a:lnTo>
                  <a:close/>
                  <a:moveTo>
                    <a:pt x="160" y="0"/>
                  </a:moveTo>
                  <a:lnTo>
                    <a:pt x="160" y="0"/>
                  </a:lnTo>
                  <a:lnTo>
                    <a:pt x="192" y="4"/>
                  </a:lnTo>
                  <a:lnTo>
                    <a:pt x="222" y="12"/>
                  </a:lnTo>
                  <a:lnTo>
                    <a:pt x="249" y="28"/>
                  </a:lnTo>
                  <a:lnTo>
                    <a:pt x="273" y="47"/>
                  </a:lnTo>
                  <a:lnTo>
                    <a:pt x="292" y="70"/>
                  </a:lnTo>
                  <a:lnTo>
                    <a:pt x="307" y="98"/>
                  </a:lnTo>
                  <a:lnTo>
                    <a:pt x="317" y="127"/>
                  </a:lnTo>
                  <a:lnTo>
                    <a:pt x="319" y="160"/>
                  </a:lnTo>
                  <a:lnTo>
                    <a:pt x="319" y="160"/>
                  </a:lnTo>
                  <a:lnTo>
                    <a:pt x="317" y="191"/>
                  </a:lnTo>
                  <a:lnTo>
                    <a:pt x="307" y="221"/>
                  </a:lnTo>
                  <a:lnTo>
                    <a:pt x="292" y="249"/>
                  </a:lnTo>
                  <a:lnTo>
                    <a:pt x="273" y="272"/>
                  </a:lnTo>
                  <a:lnTo>
                    <a:pt x="249" y="291"/>
                  </a:lnTo>
                  <a:lnTo>
                    <a:pt x="222" y="306"/>
                  </a:lnTo>
                  <a:lnTo>
                    <a:pt x="192" y="315"/>
                  </a:lnTo>
                  <a:lnTo>
                    <a:pt x="160" y="319"/>
                  </a:lnTo>
                  <a:lnTo>
                    <a:pt x="127" y="315"/>
                  </a:lnTo>
                  <a:lnTo>
                    <a:pt x="97" y="306"/>
                  </a:lnTo>
                  <a:lnTo>
                    <a:pt x="70" y="291"/>
                  </a:lnTo>
                  <a:lnTo>
                    <a:pt x="46" y="272"/>
                  </a:lnTo>
                  <a:lnTo>
                    <a:pt x="27" y="249"/>
                  </a:lnTo>
                  <a:lnTo>
                    <a:pt x="12" y="221"/>
                  </a:lnTo>
                  <a:lnTo>
                    <a:pt x="3" y="191"/>
                  </a:lnTo>
                  <a:lnTo>
                    <a:pt x="0" y="160"/>
                  </a:lnTo>
                  <a:lnTo>
                    <a:pt x="0" y="160"/>
                  </a:lnTo>
                  <a:lnTo>
                    <a:pt x="3" y="127"/>
                  </a:lnTo>
                  <a:lnTo>
                    <a:pt x="12" y="98"/>
                  </a:lnTo>
                  <a:lnTo>
                    <a:pt x="27" y="70"/>
                  </a:lnTo>
                  <a:lnTo>
                    <a:pt x="46" y="47"/>
                  </a:lnTo>
                  <a:lnTo>
                    <a:pt x="70" y="28"/>
                  </a:lnTo>
                  <a:lnTo>
                    <a:pt x="97" y="12"/>
                  </a:lnTo>
                  <a:lnTo>
                    <a:pt x="127" y="4"/>
                  </a:lnTo>
                  <a:lnTo>
                    <a:pt x="1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6" name="Group 55">
            <a:extLst>
              <a:ext uri="{FF2B5EF4-FFF2-40B4-BE49-F238E27FC236}">
                <a16:creationId xmlns:a16="http://schemas.microsoft.com/office/drawing/2014/main" id="{3E9DF2F6-2E0F-0D4A-8BF5-A894A13B7CCC}"/>
              </a:ext>
            </a:extLst>
          </p:cNvPr>
          <p:cNvGrpSpPr/>
          <p:nvPr/>
        </p:nvGrpSpPr>
        <p:grpSpPr>
          <a:xfrm>
            <a:off x="7320758" y="2824958"/>
            <a:ext cx="655637" cy="655637"/>
            <a:chOff x="5411788" y="2106613"/>
            <a:chExt cx="503238" cy="503238"/>
          </a:xfrm>
          <a:solidFill>
            <a:schemeClr val="bg1"/>
          </a:solidFill>
        </p:grpSpPr>
        <p:sp>
          <p:nvSpPr>
            <p:cNvPr id="57" name="Freeform 21">
              <a:extLst>
                <a:ext uri="{FF2B5EF4-FFF2-40B4-BE49-F238E27FC236}">
                  <a16:creationId xmlns:a16="http://schemas.microsoft.com/office/drawing/2014/main" id="{131B01F9-B0D2-0C4E-8CDF-4D23D2C3D55E}"/>
                </a:ext>
              </a:extLst>
            </p:cNvPr>
            <p:cNvSpPr>
              <a:spLocks noEditPoints="1"/>
            </p:cNvSpPr>
            <p:nvPr/>
          </p:nvSpPr>
          <p:spPr bwMode="auto">
            <a:xfrm>
              <a:off x="5411788" y="2106613"/>
              <a:ext cx="503238" cy="503238"/>
            </a:xfrm>
            <a:custGeom>
              <a:avLst/>
              <a:gdLst>
                <a:gd name="T0" fmla="*/ 129 w 317"/>
                <a:gd name="T1" fmla="*/ 15 h 317"/>
                <a:gd name="T2" fmla="*/ 77 w 317"/>
                <a:gd name="T3" fmla="*/ 37 h 317"/>
                <a:gd name="T4" fmla="*/ 38 w 317"/>
                <a:gd name="T5" fmla="*/ 77 h 317"/>
                <a:gd name="T6" fmla="*/ 17 w 317"/>
                <a:gd name="T7" fmla="*/ 129 h 317"/>
                <a:gd name="T8" fmla="*/ 17 w 317"/>
                <a:gd name="T9" fmla="*/ 187 h 317"/>
                <a:gd name="T10" fmla="*/ 38 w 317"/>
                <a:gd name="T11" fmla="*/ 239 h 317"/>
                <a:gd name="T12" fmla="*/ 77 w 317"/>
                <a:gd name="T13" fmla="*/ 279 h 317"/>
                <a:gd name="T14" fmla="*/ 129 w 317"/>
                <a:gd name="T15" fmla="*/ 300 h 317"/>
                <a:gd name="T16" fmla="*/ 188 w 317"/>
                <a:gd name="T17" fmla="*/ 300 h 317"/>
                <a:gd name="T18" fmla="*/ 240 w 317"/>
                <a:gd name="T19" fmla="*/ 279 h 317"/>
                <a:gd name="T20" fmla="*/ 279 w 317"/>
                <a:gd name="T21" fmla="*/ 239 h 317"/>
                <a:gd name="T22" fmla="*/ 300 w 317"/>
                <a:gd name="T23" fmla="*/ 187 h 317"/>
                <a:gd name="T24" fmla="*/ 300 w 317"/>
                <a:gd name="T25" fmla="*/ 129 h 317"/>
                <a:gd name="T26" fmla="*/ 279 w 317"/>
                <a:gd name="T27" fmla="*/ 77 h 317"/>
                <a:gd name="T28" fmla="*/ 240 w 317"/>
                <a:gd name="T29" fmla="*/ 37 h 317"/>
                <a:gd name="T30" fmla="*/ 188 w 317"/>
                <a:gd name="T31" fmla="*/ 15 h 317"/>
                <a:gd name="T32" fmla="*/ 159 w 317"/>
                <a:gd name="T33" fmla="*/ 0 h 317"/>
                <a:gd name="T34" fmla="*/ 221 w 317"/>
                <a:gd name="T35" fmla="*/ 12 h 317"/>
                <a:gd name="T36" fmla="*/ 270 w 317"/>
                <a:gd name="T37" fmla="*/ 46 h 317"/>
                <a:gd name="T38" fmla="*/ 305 w 317"/>
                <a:gd name="T39" fmla="*/ 96 h 317"/>
                <a:gd name="T40" fmla="*/ 317 w 317"/>
                <a:gd name="T41" fmla="*/ 158 h 317"/>
                <a:gd name="T42" fmla="*/ 305 w 317"/>
                <a:gd name="T43" fmla="*/ 220 h 317"/>
                <a:gd name="T44" fmla="*/ 270 w 317"/>
                <a:gd name="T45" fmla="*/ 270 h 317"/>
                <a:gd name="T46" fmla="*/ 221 w 317"/>
                <a:gd name="T47" fmla="*/ 304 h 317"/>
                <a:gd name="T48" fmla="*/ 159 w 317"/>
                <a:gd name="T49" fmla="*/ 317 h 317"/>
                <a:gd name="T50" fmla="*/ 96 w 317"/>
                <a:gd name="T51" fmla="*/ 304 h 317"/>
                <a:gd name="T52" fmla="*/ 47 w 317"/>
                <a:gd name="T53" fmla="*/ 270 h 317"/>
                <a:gd name="T54" fmla="*/ 13 w 317"/>
                <a:gd name="T55" fmla="*/ 220 h 317"/>
                <a:gd name="T56" fmla="*/ 0 w 317"/>
                <a:gd name="T57" fmla="*/ 158 h 317"/>
                <a:gd name="T58" fmla="*/ 13 w 317"/>
                <a:gd name="T59" fmla="*/ 96 h 317"/>
                <a:gd name="T60" fmla="*/ 47 w 317"/>
                <a:gd name="T61" fmla="*/ 46 h 317"/>
                <a:gd name="T62" fmla="*/ 96 w 317"/>
                <a:gd name="T63" fmla="*/ 12 h 317"/>
                <a:gd name="T64" fmla="*/ 159 w 317"/>
                <a:gd name="T65"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7" h="317">
                  <a:moveTo>
                    <a:pt x="159" y="13"/>
                  </a:moveTo>
                  <a:lnTo>
                    <a:pt x="129" y="15"/>
                  </a:lnTo>
                  <a:lnTo>
                    <a:pt x="102" y="24"/>
                  </a:lnTo>
                  <a:lnTo>
                    <a:pt x="77" y="37"/>
                  </a:lnTo>
                  <a:lnTo>
                    <a:pt x="55" y="55"/>
                  </a:lnTo>
                  <a:lnTo>
                    <a:pt x="38" y="77"/>
                  </a:lnTo>
                  <a:lnTo>
                    <a:pt x="25" y="101"/>
                  </a:lnTo>
                  <a:lnTo>
                    <a:pt x="17" y="129"/>
                  </a:lnTo>
                  <a:lnTo>
                    <a:pt x="13" y="158"/>
                  </a:lnTo>
                  <a:lnTo>
                    <a:pt x="17" y="187"/>
                  </a:lnTo>
                  <a:lnTo>
                    <a:pt x="25" y="215"/>
                  </a:lnTo>
                  <a:lnTo>
                    <a:pt x="38" y="239"/>
                  </a:lnTo>
                  <a:lnTo>
                    <a:pt x="55" y="261"/>
                  </a:lnTo>
                  <a:lnTo>
                    <a:pt x="77" y="279"/>
                  </a:lnTo>
                  <a:lnTo>
                    <a:pt x="102" y="292"/>
                  </a:lnTo>
                  <a:lnTo>
                    <a:pt x="129" y="300"/>
                  </a:lnTo>
                  <a:lnTo>
                    <a:pt x="159" y="303"/>
                  </a:lnTo>
                  <a:lnTo>
                    <a:pt x="188" y="300"/>
                  </a:lnTo>
                  <a:lnTo>
                    <a:pt x="215" y="292"/>
                  </a:lnTo>
                  <a:lnTo>
                    <a:pt x="240" y="279"/>
                  </a:lnTo>
                  <a:lnTo>
                    <a:pt x="261" y="261"/>
                  </a:lnTo>
                  <a:lnTo>
                    <a:pt x="279" y="239"/>
                  </a:lnTo>
                  <a:lnTo>
                    <a:pt x="292" y="215"/>
                  </a:lnTo>
                  <a:lnTo>
                    <a:pt x="300" y="187"/>
                  </a:lnTo>
                  <a:lnTo>
                    <a:pt x="304" y="158"/>
                  </a:lnTo>
                  <a:lnTo>
                    <a:pt x="300" y="129"/>
                  </a:lnTo>
                  <a:lnTo>
                    <a:pt x="292" y="101"/>
                  </a:lnTo>
                  <a:lnTo>
                    <a:pt x="279" y="77"/>
                  </a:lnTo>
                  <a:lnTo>
                    <a:pt x="261" y="55"/>
                  </a:lnTo>
                  <a:lnTo>
                    <a:pt x="240" y="37"/>
                  </a:lnTo>
                  <a:lnTo>
                    <a:pt x="215" y="24"/>
                  </a:lnTo>
                  <a:lnTo>
                    <a:pt x="188" y="15"/>
                  </a:lnTo>
                  <a:lnTo>
                    <a:pt x="159" y="13"/>
                  </a:lnTo>
                  <a:close/>
                  <a:moveTo>
                    <a:pt x="159" y="0"/>
                  </a:moveTo>
                  <a:lnTo>
                    <a:pt x="191" y="3"/>
                  </a:lnTo>
                  <a:lnTo>
                    <a:pt x="221" y="12"/>
                  </a:lnTo>
                  <a:lnTo>
                    <a:pt x="247" y="26"/>
                  </a:lnTo>
                  <a:lnTo>
                    <a:pt x="270" y="46"/>
                  </a:lnTo>
                  <a:lnTo>
                    <a:pt x="290" y="70"/>
                  </a:lnTo>
                  <a:lnTo>
                    <a:pt x="305" y="96"/>
                  </a:lnTo>
                  <a:lnTo>
                    <a:pt x="314" y="127"/>
                  </a:lnTo>
                  <a:lnTo>
                    <a:pt x="317" y="158"/>
                  </a:lnTo>
                  <a:lnTo>
                    <a:pt x="314" y="191"/>
                  </a:lnTo>
                  <a:lnTo>
                    <a:pt x="305" y="220"/>
                  </a:lnTo>
                  <a:lnTo>
                    <a:pt x="290" y="247"/>
                  </a:lnTo>
                  <a:lnTo>
                    <a:pt x="270" y="270"/>
                  </a:lnTo>
                  <a:lnTo>
                    <a:pt x="247" y="290"/>
                  </a:lnTo>
                  <a:lnTo>
                    <a:pt x="221" y="304"/>
                  </a:lnTo>
                  <a:lnTo>
                    <a:pt x="191" y="314"/>
                  </a:lnTo>
                  <a:lnTo>
                    <a:pt x="159" y="317"/>
                  </a:lnTo>
                  <a:lnTo>
                    <a:pt x="127" y="314"/>
                  </a:lnTo>
                  <a:lnTo>
                    <a:pt x="96" y="304"/>
                  </a:lnTo>
                  <a:lnTo>
                    <a:pt x="70" y="290"/>
                  </a:lnTo>
                  <a:lnTo>
                    <a:pt x="47" y="270"/>
                  </a:lnTo>
                  <a:lnTo>
                    <a:pt x="28" y="247"/>
                  </a:lnTo>
                  <a:lnTo>
                    <a:pt x="13" y="220"/>
                  </a:lnTo>
                  <a:lnTo>
                    <a:pt x="3" y="191"/>
                  </a:lnTo>
                  <a:lnTo>
                    <a:pt x="0" y="158"/>
                  </a:lnTo>
                  <a:lnTo>
                    <a:pt x="3" y="127"/>
                  </a:lnTo>
                  <a:lnTo>
                    <a:pt x="13" y="96"/>
                  </a:lnTo>
                  <a:lnTo>
                    <a:pt x="28" y="70"/>
                  </a:lnTo>
                  <a:lnTo>
                    <a:pt x="47" y="46"/>
                  </a:lnTo>
                  <a:lnTo>
                    <a:pt x="70" y="26"/>
                  </a:lnTo>
                  <a:lnTo>
                    <a:pt x="96" y="12"/>
                  </a:lnTo>
                  <a:lnTo>
                    <a:pt x="127" y="3"/>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
              <a:extLst>
                <a:ext uri="{FF2B5EF4-FFF2-40B4-BE49-F238E27FC236}">
                  <a16:creationId xmlns:a16="http://schemas.microsoft.com/office/drawing/2014/main" id="{38EAA6E2-6FF2-8146-A100-3F35D5E98EB9}"/>
                </a:ext>
              </a:extLst>
            </p:cNvPr>
            <p:cNvSpPr>
              <a:spLocks noEditPoints="1"/>
            </p:cNvSpPr>
            <p:nvPr/>
          </p:nvSpPr>
          <p:spPr bwMode="auto">
            <a:xfrm>
              <a:off x="5526088" y="2198688"/>
              <a:ext cx="274638" cy="295275"/>
            </a:xfrm>
            <a:custGeom>
              <a:avLst/>
              <a:gdLst>
                <a:gd name="T0" fmla="*/ 18 w 173"/>
                <a:gd name="T1" fmla="*/ 172 h 186"/>
                <a:gd name="T2" fmla="*/ 149 w 173"/>
                <a:gd name="T3" fmla="*/ 159 h 186"/>
                <a:gd name="T4" fmla="*/ 21 w 173"/>
                <a:gd name="T5" fmla="*/ 146 h 186"/>
                <a:gd name="T6" fmla="*/ 155 w 173"/>
                <a:gd name="T7" fmla="*/ 146 h 186"/>
                <a:gd name="T8" fmla="*/ 158 w 173"/>
                <a:gd name="T9" fmla="*/ 149 h 186"/>
                <a:gd name="T10" fmla="*/ 173 w 173"/>
                <a:gd name="T11" fmla="*/ 178 h 186"/>
                <a:gd name="T12" fmla="*/ 172 w 173"/>
                <a:gd name="T13" fmla="*/ 182 h 186"/>
                <a:gd name="T14" fmla="*/ 168 w 173"/>
                <a:gd name="T15" fmla="*/ 185 h 186"/>
                <a:gd name="T16" fmla="*/ 7 w 173"/>
                <a:gd name="T17" fmla="*/ 186 h 186"/>
                <a:gd name="T18" fmla="*/ 4 w 173"/>
                <a:gd name="T19" fmla="*/ 185 h 186"/>
                <a:gd name="T20" fmla="*/ 1 w 173"/>
                <a:gd name="T21" fmla="*/ 181 h 186"/>
                <a:gd name="T22" fmla="*/ 1 w 173"/>
                <a:gd name="T23" fmla="*/ 176 h 186"/>
                <a:gd name="T24" fmla="*/ 16 w 173"/>
                <a:gd name="T25" fmla="*/ 147 h 186"/>
                <a:gd name="T26" fmla="*/ 21 w 173"/>
                <a:gd name="T27" fmla="*/ 146 h 186"/>
                <a:gd name="T28" fmla="*/ 149 w 173"/>
                <a:gd name="T29" fmla="*/ 66 h 186"/>
                <a:gd name="T30" fmla="*/ 152 w 173"/>
                <a:gd name="T31" fmla="*/ 70 h 186"/>
                <a:gd name="T32" fmla="*/ 152 w 173"/>
                <a:gd name="T33" fmla="*/ 125 h 186"/>
                <a:gd name="T34" fmla="*/ 151 w 173"/>
                <a:gd name="T35" fmla="*/ 130 h 186"/>
                <a:gd name="T36" fmla="*/ 146 w 173"/>
                <a:gd name="T37" fmla="*/ 133 h 186"/>
                <a:gd name="T38" fmla="*/ 141 w 173"/>
                <a:gd name="T39" fmla="*/ 130 h 186"/>
                <a:gd name="T40" fmla="*/ 139 w 173"/>
                <a:gd name="T41" fmla="*/ 125 h 186"/>
                <a:gd name="T42" fmla="*/ 140 w 173"/>
                <a:gd name="T43" fmla="*/ 70 h 186"/>
                <a:gd name="T44" fmla="*/ 144 w 173"/>
                <a:gd name="T45" fmla="*/ 66 h 186"/>
                <a:gd name="T46" fmla="*/ 106 w 173"/>
                <a:gd name="T47" fmla="*/ 66 h 186"/>
                <a:gd name="T48" fmla="*/ 111 w 173"/>
                <a:gd name="T49" fmla="*/ 69 h 186"/>
                <a:gd name="T50" fmla="*/ 112 w 173"/>
                <a:gd name="T51" fmla="*/ 72 h 186"/>
                <a:gd name="T52" fmla="*/ 112 w 173"/>
                <a:gd name="T53" fmla="*/ 129 h 186"/>
                <a:gd name="T54" fmla="*/ 109 w 173"/>
                <a:gd name="T55" fmla="*/ 133 h 186"/>
                <a:gd name="T56" fmla="*/ 104 w 173"/>
                <a:gd name="T57" fmla="*/ 133 h 186"/>
                <a:gd name="T58" fmla="*/ 100 w 173"/>
                <a:gd name="T59" fmla="*/ 129 h 186"/>
                <a:gd name="T60" fmla="*/ 100 w 173"/>
                <a:gd name="T61" fmla="*/ 72 h 186"/>
                <a:gd name="T62" fmla="*/ 102 w 173"/>
                <a:gd name="T63" fmla="*/ 69 h 186"/>
                <a:gd name="T64" fmla="*/ 106 w 173"/>
                <a:gd name="T65" fmla="*/ 66 h 186"/>
                <a:gd name="T66" fmla="*/ 70 w 173"/>
                <a:gd name="T67" fmla="*/ 66 h 186"/>
                <a:gd name="T68" fmla="*/ 73 w 173"/>
                <a:gd name="T69" fmla="*/ 70 h 186"/>
                <a:gd name="T70" fmla="*/ 74 w 173"/>
                <a:gd name="T71" fmla="*/ 125 h 186"/>
                <a:gd name="T72" fmla="*/ 71 w 173"/>
                <a:gd name="T73" fmla="*/ 130 h 186"/>
                <a:gd name="T74" fmla="*/ 67 w 173"/>
                <a:gd name="T75" fmla="*/ 133 h 186"/>
                <a:gd name="T76" fmla="*/ 62 w 173"/>
                <a:gd name="T77" fmla="*/ 130 h 186"/>
                <a:gd name="T78" fmla="*/ 61 w 173"/>
                <a:gd name="T79" fmla="*/ 125 h 186"/>
                <a:gd name="T80" fmla="*/ 61 w 173"/>
                <a:gd name="T81" fmla="*/ 70 h 186"/>
                <a:gd name="T82" fmla="*/ 64 w 173"/>
                <a:gd name="T83" fmla="*/ 66 h 186"/>
                <a:gd name="T84" fmla="*/ 28 w 173"/>
                <a:gd name="T85" fmla="*/ 66 h 186"/>
                <a:gd name="T86" fmla="*/ 32 w 173"/>
                <a:gd name="T87" fmla="*/ 69 h 186"/>
                <a:gd name="T88" fmla="*/ 34 w 173"/>
                <a:gd name="T89" fmla="*/ 72 h 186"/>
                <a:gd name="T90" fmla="*/ 33 w 173"/>
                <a:gd name="T91" fmla="*/ 129 h 186"/>
                <a:gd name="T92" fmla="*/ 30 w 173"/>
                <a:gd name="T93" fmla="*/ 133 h 186"/>
                <a:gd name="T94" fmla="*/ 24 w 173"/>
                <a:gd name="T95" fmla="*/ 133 h 186"/>
                <a:gd name="T96" fmla="*/ 21 w 173"/>
                <a:gd name="T97" fmla="*/ 129 h 186"/>
                <a:gd name="T98" fmla="*/ 21 w 173"/>
                <a:gd name="T99" fmla="*/ 72 h 186"/>
                <a:gd name="T100" fmla="*/ 23 w 173"/>
                <a:gd name="T101" fmla="*/ 69 h 186"/>
                <a:gd name="T102" fmla="*/ 28 w 173"/>
                <a:gd name="T103" fmla="*/ 66 h 186"/>
                <a:gd name="T104" fmla="*/ 40 w 173"/>
                <a:gd name="T105" fmla="*/ 40 h 186"/>
                <a:gd name="T106" fmla="*/ 87 w 173"/>
                <a:gd name="T107" fmla="*/ 14 h 186"/>
                <a:gd name="T108" fmla="*/ 90 w 173"/>
                <a:gd name="T109" fmla="*/ 1 h 186"/>
                <a:gd name="T110" fmla="*/ 164 w 173"/>
                <a:gd name="T111" fmla="*/ 42 h 186"/>
                <a:gd name="T112" fmla="*/ 166 w 173"/>
                <a:gd name="T113" fmla="*/ 48 h 186"/>
                <a:gd name="T114" fmla="*/ 162 w 173"/>
                <a:gd name="T115" fmla="*/ 53 h 186"/>
                <a:gd name="T116" fmla="*/ 14 w 173"/>
                <a:gd name="T117" fmla="*/ 53 h 186"/>
                <a:gd name="T118" fmla="*/ 9 w 173"/>
                <a:gd name="T119" fmla="*/ 50 h 186"/>
                <a:gd name="T120" fmla="*/ 7 w 173"/>
                <a:gd name="T121" fmla="*/ 44 h 186"/>
                <a:gd name="T122" fmla="*/ 11 w 173"/>
                <a:gd name="T123" fmla="*/ 41 h 186"/>
                <a:gd name="T124" fmla="*/ 86 w 173"/>
                <a:gd name="T1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86">
                  <a:moveTo>
                    <a:pt x="26" y="159"/>
                  </a:moveTo>
                  <a:lnTo>
                    <a:pt x="18" y="172"/>
                  </a:lnTo>
                  <a:lnTo>
                    <a:pt x="155" y="172"/>
                  </a:lnTo>
                  <a:lnTo>
                    <a:pt x="149" y="159"/>
                  </a:lnTo>
                  <a:lnTo>
                    <a:pt x="26" y="159"/>
                  </a:lnTo>
                  <a:close/>
                  <a:moveTo>
                    <a:pt x="21" y="146"/>
                  </a:moveTo>
                  <a:lnTo>
                    <a:pt x="152" y="146"/>
                  </a:lnTo>
                  <a:lnTo>
                    <a:pt x="155" y="146"/>
                  </a:lnTo>
                  <a:lnTo>
                    <a:pt x="157" y="147"/>
                  </a:lnTo>
                  <a:lnTo>
                    <a:pt x="158" y="149"/>
                  </a:lnTo>
                  <a:lnTo>
                    <a:pt x="172" y="176"/>
                  </a:lnTo>
                  <a:lnTo>
                    <a:pt x="173" y="178"/>
                  </a:lnTo>
                  <a:lnTo>
                    <a:pt x="173" y="181"/>
                  </a:lnTo>
                  <a:lnTo>
                    <a:pt x="172" y="182"/>
                  </a:lnTo>
                  <a:lnTo>
                    <a:pt x="170" y="185"/>
                  </a:lnTo>
                  <a:lnTo>
                    <a:pt x="168" y="185"/>
                  </a:lnTo>
                  <a:lnTo>
                    <a:pt x="167" y="186"/>
                  </a:lnTo>
                  <a:lnTo>
                    <a:pt x="7" y="186"/>
                  </a:lnTo>
                  <a:lnTo>
                    <a:pt x="5" y="185"/>
                  </a:lnTo>
                  <a:lnTo>
                    <a:pt x="4" y="185"/>
                  </a:lnTo>
                  <a:lnTo>
                    <a:pt x="3" y="182"/>
                  </a:lnTo>
                  <a:lnTo>
                    <a:pt x="1" y="181"/>
                  </a:lnTo>
                  <a:lnTo>
                    <a:pt x="0" y="178"/>
                  </a:lnTo>
                  <a:lnTo>
                    <a:pt x="1" y="176"/>
                  </a:lnTo>
                  <a:lnTo>
                    <a:pt x="15" y="149"/>
                  </a:lnTo>
                  <a:lnTo>
                    <a:pt x="16" y="147"/>
                  </a:lnTo>
                  <a:lnTo>
                    <a:pt x="18" y="146"/>
                  </a:lnTo>
                  <a:lnTo>
                    <a:pt x="21" y="146"/>
                  </a:lnTo>
                  <a:close/>
                  <a:moveTo>
                    <a:pt x="146" y="66"/>
                  </a:moveTo>
                  <a:lnTo>
                    <a:pt x="149" y="66"/>
                  </a:lnTo>
                  <a:lnTo>
                    <a:pt x="151" y="69"/>
                  </a:lnTo>
                  <a:lnTo>
                    <a:pt x="152" y="70"/>
                  </a:lnTo>
                  <a:lnTo>
                    <a:pt x="152" y="72"/>
                  </a:lnTo>
                  <a:lnTo>
                    <a:pt x="152" y="125"/>
                  </a:lnTo>
                  <a:lnTo>
                    <a:pt x="152" y="129"/>
                  </a:lnTo>
                  <a:lnTo>
                    <a:pt x="151" y="130"/>
                  </a:lnTo>
                  <a:lnTo>
                    <a:pt x="149" y="133"/>
                  </a:lnTo>
                  <a:lnTo>
                    <a:pt x="146" y="133"/>
                  </a:lnTo>
                  <a:lnTo>
                    <a:pt x="144" y="133"/>
                  </a:lnTo>
                  <a:lnTo>
                    <a:pt x="141" y="130"/>
                  </a:lnTo>
                  <a:lnTo>
                    <a:pt x="140" y="129"/>
                  </a:lnTo>
                  <a:lnTo>
                    <a:pt x="139" y="125"/>
                  </a:lnTo>
                  <a:lnTo>
                    <a:pt x="139" y="72"/>
                  </a:lnTo>
                  <a:lnTo>
                    <a:pt x="140" y="70"/>
                  </a:lnTo>
                  <a:lnTo>
                    <a:pt x="141" y="69"/>
                  </a:lnTo>
                  <a:lnTo>
                    <a:pt x="144" y="66"/>
                  </a:lnTo>
                  <a:lnTo>
                    <a:pt x="146" y="66"/>
                  </a:lnTo>
                  <a:close/>
                  <a:moveTo>
                    <a:pt x="106" y="66"/>
                  </a:moveTo>
                  <a:lnTo>
                    <a:pt x="109" y="66"/>
                  </a:lnTo>
                  <a:lnTo>
                    <a:pt x="111" y="69"/>
                  </a:lnTo>
                  <a:lnTo>
                    <a:pt x="112" y="70"/>
                  </a:lnTo>
                  <a:lnTo>
                    <a:pt x="112" y="72"/>
                  </a:lnTo>
                  <a:lnTo>
                    <a:pt x="112" y="125"/>
                  </a:lnTo>
                  <a:lnTo>
                    <a:pt x="112" y="129"/>
                  </a:lnTo>
                  <a:lnTo>
                    <a:pt x="111" y="130"/>
                  </a:lnTo>
                  <a:lnTo>
                    <a:pt x="109" y="133"/>
                  </a:lnTo>
                  <a:lnTo>
                    <a:pt x="106" y="133"/>
                  </a:lnTo>
                  <a:lnTo>
                    <a:pt x="104" y="133"/>
                  </a:lnTo>
                  <a:lnTo>
                    <a:pt x="102" y="130"/>
                  </a:lnTo>
                  <a:lnTo>
                    <a:pt x="100" y="129"/>
                  </a:lnTo>
                  <a:lnTo>
                    <a:pt x="100" y="125"/>
                  </a:lnTo>
                  <a:lnTo>
                    <a:pt x="100" y="72"/>
                  </a:lnTo>
                  <a:lnTo>
                    <a:pt x="100" y="70"/>
                  </a:lnTo>
                  <a:lnTo>
                    <a:pt x="102" y="69"/>
                  </a:lnTo>
                  <a:lnTo>
                    <a:pt x="104" y="66"/>
                  </a:lnTo>
                  <a:lnTo>
                    <a:pt x="106" y="66"/>
                  </a:lnTo>
                  <a:close/>
                  <a:moveTo>
                    <a:pt x="67" y="66"/>
                  </a:moveTo>
                  <a:lnTo>
                    <a:pt x="70" y="66"/>
                  </a:lnTo>
                  <a:lnTo>
                    <a:pt x="71" y="69"/>
                  </a:lnTo>
                  <a:lnTo>
                    <a:pt x="73" y="70"/>
                  </a:lnTo>
                  <a:lnTo>
                    <a:pt x="74" y="72"/>
                  </a:lnTo>
                  <a:lnTo>
                    <a:pt x="74" y="125"/>
                  </a:lnTo>
                  <a:lnTo>
                    <a:pt x="73" y="129"/>
                  </a:lnTo>
                  <a:lnTo>
                    <a:pt x="71" y="130"/>
                  </a:lnTo>
                  <a:lnTo>
                    <a:pt x="70" y="133"/>
                  </a:lnTo>
                  <a:lnTo>
                    <a:pt x="67" y="133"/>
                  </a:lnTo>
                  <a:lnTo>
                    <a:pt x="64" y="133"/>
                  </a:lnTo>
                  <a:lnTo>
                    <a:pt x="62" y="130"/>
                  </a:lnTo>
                  <a:lnTo>
                    <a:pt x="61" y="129"/>
                  </a:lnTo>
                  <a:lnTo>
                    <a:pt x="61" y="125"/>
                  </a:lnTo>
                  <a:lnTo>
                    <a:pt x="61" y="72"/>
                  </a:lnTo>
                  <a:lnTo>
                    <a:pt x="61" y="70"/>
                  </a:lnTo>
                  <a:lnTo>
                    <a:pt x="62" y="69"/>
                  </a:lnTo>
                  <a:lnTo>
                    <a:pt x="64" y="66"/>
                  </a:lnTo>
                  <a:lnTo>
                    <a:pt x="67" y="66"/>
                  </a:lnTo>
                  <a:close/>
                  <a:moveTo>
                    <a:pt x="28" y="66"/>
                  </a:moveTo>
                  <a:lnTo>
                    <a:pt x="30" y="66"/>
                  </a:lnTo>
                  <a:lnTo>
                    <a:pt x="32" y="69"/>
                  </a:lnTo>
                  <a:lnTo>
                    <a:pt x="33" y="70"/>
                  </a:lnTo>
                  <a:lnTo>
                    <a:pt x="34" y="72"/>
                  </a:lnTo>
                  <a:lnTo>
                    <a:pt x="34" y="125"/>
                  </a:lnTo>
                  <a:lnTo>
                    <a:pt x="33" y="129"/>
                  </a:lnTo>
                  <a:lnTo>
                    <a:pt x="32" y="130"/>
                  </a:lnTo>
                  <a:lnTo>
                    <a:pt x="30" y="133"/>
                  </a:lnTo>
                  <a:lnTo>
                    <a:pt x="28" y="133"/>
                  </a:lnTo>
                  <a:lnTo>
                    <a:pt x="24" y="133"/>
                  </a:lnTo>
                  <a:lnTo>
                    <a:pt x="23" y="130"/>
                  </a:lnTo>
                  <a:lnTo>
                    <a:pt x="21" y="129"/>
                  </a:lnTo>
                  <a:lnTo>
                    <a:pt x="21" y="125"/>
                  </a:lnTo>
                  <a:lnTo>
                    <a:pt x="21" y="72"/>
                  </a:lnTo>
                  <a:lnTo>
                    <a:pt x="21" y="70"/>
                  </a:lnTo>
                  <a:lnTo>
                    <a:pt x="23" y="69"/>
                  </a:lnTo>
                  <a:lnTo>
                    <a:pt x="24" y="66"/>
                  </a:lnTo>
                  <a:lnTo>
                    <a:pt x="28" y="66"/>
                  </a:lnTo>
                  <a:close/>
                  <a:moveTo>
                    <a:pt x="87" y="14"/>
                  </a:moveTo>
                  <a:lnTo>
                    <a:pt x="40" y="40"/>
                  </a:lnTo>
                  <a:lnTo>
                    <a:pt x="133" y="40"/>
                  </a:lnTo>
                  <a:lnTo>
                    <a:pt x="87" y="14"/>
                  </a:lnTo>
                  <a:close/>
                  <a:moveTo>
                    <a:pt x="88" y="0"/>
                  </a:moveTo>
                  <a:lnTo>
                    <a:pt x="90" y="1"/>
                  </a:lnTo>
                  <a:lnTo>
                    <a:pt x="162" y="41"/>
                  </a:lnTo>
                  <a:lnTo>
                    <a:pt x="164" y="42"/>
                  </a:lnTo>
                  <a:lnTo>
                    <a:pt x="166" y="44"/>
                  </a:lnTo>
                  <a:lnTo>
                    <a:pt x="166" y="48"/>
                  </a:lnTo>
                  <a:lnTo>
                    <a:pt x="164" y="50"/>
                  </a:lnTo>
                  <a:lnTo>
                    <a:pt x="162" y="53"/>
                  </a:lnTo>
                  <a:lnTo>
                    <a:pt x="160" y="53"/>
                  </a:lnTo>
                  <a:lnTo>
                    <a:pt x="14" y="53"/>
                  </a:lnTo>
                  <a:lnTo>
                    <a:pt x="11" y="53"/>
                  </a:lnTo>
                  <a:lnTo>
                    <a:pt x="9" y="50"/>
                  </a:lnTo>
                  <a:lnTo>
                    <a:pt x="7" y="48"/>
                  </a:lnTo>
                  <a:lnTo>
                    <a:pt x="7" y="44"/>
                  </a:lnTo>
                  <a:lnTo>
                    <a:pt x="9" y="42"/>
                  </a:lnTo>
                  <a:lnTo>
                    <a:pt x="11" y="41"/>
                  </a:lnTo>
                  <a:lnTo>
                    <a:pt x="84" y="1"/>
                  </a:lnTo>
                  <a:lnTo>
                    <a:pt x="86" y="0"/>
                  </a:lnTo>
                  <a:lnTo>
                    <a:pt x="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9" name="Group 58">
            <a:extLst>
              <a:ext uri="{FF2B5EF4-FFF2-40B4-BE49-F238E27FC236}">
                <a16:creationId xmlns:a16="http://schemas.microsoft.com/office/drawing/2014/main" id="{90FAB9D9-99BB-FA4D-8F42-8191F801BB8A}"/>
              </a:ext>
            </a:extLst>
          </p:cNvPr>
          <p:cNvGrpSpPr/>
          <p:nvPr/>
        </p:nvGrpSpPr>
        <p:grpSpPr>
          <a:xfrm>
            <a:off x="5709666" y="1185291"/>
            <a:ext cx="658368" cy="658368"/>
            <a:chOff x="2087563" y="5559425"/>
            <a:chExt cx="504825" cy="503238"/>
          </a:xfrm>
          <a:solidFill>
            <a:schemeClr val="bg1"/>
          </a:solidFill>
        </p:grpSpPr>
        <p:sp>
          <p:nvSpPr>
            <p:cNvPr id="60" name="Freeform 39">
              <a:extLst>
                <a:ext uri="{FF2B5EF4-FFF2-40B4-BE49-F238E27FC236}">
                  <a16:creationId xmlns:a16="http://schemas.microsoft.com/office/drawing/2014/main" id="{72C0447B-AF98-CA4B-B57F-7521EC49721A}"/>
                </a:ext>
              </a:extLst>
            </p:cNvPr>
            <p:cNvSpPr>
              <a:spLocks noEditPoints="1"/>
            </p:cNvSpPr>
            <p:nvPr/>
          </p:nvSpPr>
          <p:spPr bwMode="auto">
            <a:xfrm>
              <a:off x="2182813" y="5694363"/>
              <a:ext cx="311150" cy="231775"/>
            </a:xfrm>
            <a:custGeom>
              <a:avLst/>
              <a:gdLst>
                <a:gd name="T0" fmla="*/ 32 w 196"/>
                <a:gd name="T1" fmla="*/ 107 h 146"/>
                <a:gd name="T2" fmla="*/ 99 w 196"/>
                <a:gd name="T3" fmla="*/ 107 h 146"/>
                <a:gd name="T4" fmla="*/ 101 w 196"/>
                <a:gd name="T5" fmla="*/ 107 h 146"/>
                <a:gd name="T6" fmla="*/ 102 w 196"/>
                <a:gd name="T7" fmla="*/ 109 h 146"/>
                <a:gd name="T8" fmla="*/ 105 w 196"/>
                <a:gd name="T9" fmla="*/ 110 h 146"/>
                <a:gd name="T10" fmla="*/ 105 w 196"/>
                <a:gd name="T11" fmla="*/ 114 h 146"/>
                <a:gd name="T12" fmla="*/ 105 w 196"/>
                <a:gd name="T13" fmla="*/ 116 h 146"/>
                <a:gd name="T14" fmla="*/ 102 w 196"/>
                <a:gd name="T15" fmla="*/ 117 h 146"/>
                <a:gd name="T16" fmla="*/ 101 w 196"/>
                <a:gd name="T17" fmla="*/ 119 h 146"/>
                <a:gd name="T18" fmla="*/ 99 w 196"/>
                <a:gd name="T19" fmla="*/ 120 h 146"/>
                <a:gd name="T20" fmla="*/ 32 w 196"/>
                <a:gd name="T21" fmla="*/ 120 h 146"/>
                <a:gd name="T22" fmla="*/ 30 w 196"/>
                <a:gd name="T23" fmla="*/ 119 h 146"/>
                <a:gd name="T24" fmla="*/ 27 w 196"/>
                <a:gd name="T25" fmla="*/ 117 h 146"/>
                <a:gd name="T26" fmla="*/ 26 w 196"/>
                <a:gd name="T27" fmla="*/ 116 h 146"/>
                <a:gd name="T28" fmla="*/ 26 w 196"/>
                <a:gd name="T29" fmla="*/ 114 h 146"/>
                <a:gd name="T30" fmla="*/ 26 w 196"/>
                <a:gd name="T31" fmla="*/ 110 h 146"/>
                <a:gd name="T32" fmla="*/ 27 w 196"/>
                <a:gd name="T33" fmla="*/ 109 h 146"/>
                <a:gd name="T34" fmla="*/ 30 w 196"/>
                <a:gd name="T35" fmla="*/ 107 h 146"/>
                <a:gd name="T36" fmla="*/ 32 w 196"/>
                <a:gd name="T37" fmla="*/ 107 h 146"/>
                <a:gd name="T38" fmla="*/ 13 w 196"/>
                <a:gd name="T39" fmla="*/ 53 h 146"/>
                <a:gd name="T40" fmla="*/ 13 w 196"/>
                <a:gd name="T41" fmla="*/ 133 h 146"/>
                <a:gd name="T42" fmla="*/ 183 w 196"/>
                <a:gd name="T43" fmla="*/ 133 h 146"/>
                <a:gd name="T44" fmla="*/ 183 w 196"/>
                <a:gd name="T45" fmla="*/ 53 h 146"/>
                <a:gd name="T46" fmla="*/ 13 w 196"/>
                <a:gd name="T47" fmla="*/ 53 h 146"/>
                <a:gd name="T48" fmla="*/ 13 w 196"/>
                <a:gd name="T49" fmla="*/ 14 h 146"/>
                <a:gd name="T50" fmla="*/ 13 w 196"/>
                <a:gd name="T51" fmla="*/ 27 h 146"/>
                <a:gd name="T52" fmla="*/ 183 w 196"/>
                <a:gd name="T53" fmla="*/ 27 h 146"/>
                <a:gd name="T54" fmla="*/ 183 w 196"/>
                <a:gd name="T55" fmla="*/ 14 h 146"/>
                <a:gd name="T56" fmla="*/ 13 w 196"/>
                <a:gd name="T57" fmla="*/ 14 h 146"/>
                <a:gd name="T58" fmla="*/ 6 w 196"/>
                <a:gd name="T59" fmla="*/ 0 h 146"/>
                <a:gd name="T60" fmla="*/ 190 w 196"/>
                <a:gd name="T61" fmla="*/ 0 h 146"/>
                <a:gd name="T62" fmla="*/ 193 w 196"/>
                <a:gd name="T63" fmla="*/ 0 h 146"/>
                <a:gd name="T64" fmla="*/ 195 w 196"/>
                <a:gd name="T65" fmla="*/ 3 h 146"/>
                <a:gd name="T66" fmla="*/ 196 w 196"/>
                <a:gd name="T67" fmla="*/ 4 h 146"/>
                <a:gd name="T68" fmla="*/ 196 w 196"/>
                <a:gd name="T69" fmla="*/ 8 h 146"/>
                <a:gd name="T70" fmla="*/ 196 w 196"/>
                <a:gd name="T71" fmla="*/ 139 h 146"/>
                <a:gd name="T72" fmla="*/ 196 w 196"/>
                <a:gd name="T73" fmla="*/ 142 h 146"/>
                <a:gd name="T74" fmla="*/ 195 w 196"/>
                <a:gd name="T75" fmla="*/ 144 h 146"/>
                <a:gd name="T76" fmla="*/ 193 w 196"/>
                <a:gd name="T77" fmla="*/ 145 h 146"/>
                <a:gd name="T78" fmla="*/ 190 w 196"/>
                <a:gd name="T79" fmla="*/ 146 h 146"/>
                <a:gd name="T80" fmla="*/ 6 w 196"/>
                <a:gd name="T81" fmla="*/ 146 h 146"/>
                <a:gd name="T82" fmla="*/ 3 w 196"/>
                <a:gd name="T83" fmla="*/ 145 h 146"/>
                <a:gd name="T84" fmla="*/ 1 w 196"/>
                <a:gd name="T85" fmla="*/ 144 h 146"/>
                <a:gd name="T86" fmla="*/ 0 w 196"/>
                <a:gd name="T87" fmla="*/ 142 h 146"/>
                <a:gd name="T88" fmla="*/ 0 w 196"/>
                <a:gd name="T89" fmla="*/ 139 h 146"/>
                <a:gd name="T90" fmla="*/ 0 w 196"/>
                <a:gd name="T91" fmla="*/ 8 h 146"/>
                <a:gd name="T92" fmla="*/ 0 w 196"/>
                <a:gd name="T93" fmla="*/ 4 h 146"/>
                <a:gd name="T94" fmla="*/ 1 w 196"/>
                <a:gd name="T95" fmla="*/ 3 h 146"/>
                <a:gd name="T96" fmla="*/ 3 w 196"/>
                <a:gd name="T97" fmla="*/ 0 h 146"/>
                <a:gd name="T98" fmla="*/ 6 w 196"/>
                <a:gd name="T9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6" h="146">
                  <a:moveTo>
                    <a:pt x="32" y="107"/>
                  </a:moveTo>
                  <a:lnTo>
                    <a:pt x="99" y="107"/>
                  </a:lnTo>
                  <a:lnTo>
                    <a:pt x="101" y="107"/>
                  </a:lnTo>
                  <a:lnTo>
                    <a:pt x="102" y="109"/>
                  </a:lnTo>
                  <a:lnTo>
                    <a:pt x="105" y="110"/>
                  </a:lnTo>
                  <a:lnTo>
                    <a:pt x="105" y="114"/>
                  </a:lnTo>
                  <a:lnTo>
                    <a:pt x="105" y="116"/>
                  </a:lnTo>
                  <a:lnTo>
                    <a:pt x="102" y="117"/>
                  </a:lnTo>
                  <a:lnTo>
                    <a:pt x="101" y="119"/>
                  </a:lnTo>
                  <a:lnTo>
                    <a:pt x="99" y="120"/>
                  </a:lnTo>
                  <a:lnTo>
                    <a:pt x="32" y="120"/>
                  </a:lnTo>
                  <a:lnTo>
                    <a:pt x="30" y="119"/>
                  </a:lnTo>
                  <a:lnTo>
                    <a:pt x="27" y="117"/>
                  </a:lnTo>
                  <a:lnTo>
                    <a:pt x="26" y="116"/>
                  </a:lnTo>
                  <a:lnTo>
                    <a:pt x="26" y="114"/>
                  </a:lnTo>
                  <a:lnTo>
                    <a:pt x="26" y="110"/>
                  </a:lnTo>
                  <a:lnTo>
                    <a:pt x="27" y="109"/>
                  </a:lnTo>
                  <a:lnTo>
                    <a:pt x="30" y="107"/>
                  </a:lnTo>
                  <a:lnTo>
                    <a:pt x="32" y="107"/>
                  </a:lnTo>
                  <a:close/>
                  <a:moveTo>
                    <a:pt x="13" y="53"/>
                  </a:moveTo>
                  <a:lnTo>
                    <a:pt x="13" y="133"/>
                  </a:lnTo>
                  <a:lnTo>
                    <a:pt x="183" y="133"/>
                  </a:lnTo>
                  <a:lnTo>
                    <a:pt x="183" y="53"/>
                  </a:lnTo>
                  <a:lnTo>
                    <a:pt x="13" y="53"/>
                  </a:lnTo>
                  <a:close/>
                  <a:moveTo>
                    <a:pt x="13" y="14"/>
                  </a:moveTo>
                  <a:lnTo>
                    <a:pt x="13" y="27"/>
                  </a:lnTo>
                  <a:lnTo>
                    <a:pt x="183" y="27"/>
                  </a:lnTo>
                  <a:lnTo>
                    <a:pt x="183" y="14"/>
                  </a:lnTo>
                  <a:lnTo>
                    <a:pt x="13" y="14"/>
                  </a:lnTo>
                  <a:close/>
                  <a:moveTo>
                    <a:pt x="6" y="0"/>
                  </a:moveTo>
                  <a:lnTo>
                    <a:pt x="190" y="0"/>
                  </a:lnTo>
                  <a:lnTo>
                    <a:pt x="193" y="0"/>
                  </a:lnTo>
                  <a:lnTo>
                    <a:pt x="195" y="3"/>
                  </a:lnTo>
                  <a:lnTo>
                    <a:pt x="196" y="4"/>
                  </a:lnTo>
                  <a:lnTo>
                    <a:pt x="196" y="8"/>
                  </a:lnTo>
                  <a:lnTo>
                    <a:pt x="196" y="139"/>
                  </a:lnTo>
                  <a:lnTo>
                    <a:pt x="196" y="142"/>
                  </a:lnTo>
                  <a:lnTo>
                    <a:pt x="195" y="144"/>
                  </a:lnTo>
                  <a:lnTo>
                    <a:pt x="193" y="145"/>
                  </a:lnTo>
                  <a:lnTo>
                    <a:pt x="190" y="146"/>
                  </a:lnTo>
                  <a:lnTo>
                    <a:pt x="6" y="146"/>
                  </a:lnTo>
                  <a:lnTo>
                    <a:pt x="3" y="145"/>
                  </a:lnTo>
                  <a:lnTo>
                    <a:pt x="1" y="144"/>
                  </a:lnTo>
                  <a:lnTo>
                    <a:pt x="0" y="142"/>
                  </a:lnTo>
                  <a:lnTo>
                    <a:pt x="0" y="139"/>
                  </a:lnTo>
                  <a:lnTo>
                    <a:pt x="0" y="8"/>
                  </a:lnTo>
                  <a:lnTo>
                    <a:pt x="0" y="4"/>
                  </a:lnTo>
                  <a:lnTo>
                    <a:pt x="1" y="3"/>
                  </a:lnTo>
                  <a:lnTo>
                    <a:pt x="3" y="0"/>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40">
              <a:extLst>
                <a:ext uri="{FF2B5EF4-FFF2-40B4-BE49-F238E27FC236}">
                  <a16:creationId xmlns:a16="http://schemas.microsoft.com/office/drawing/2014/main" id="{6140BCCF-7D13-9E40-AD11-872619CEC612}"/>
                </a:ext>
              </a:extLst>
            </p:cNvPr>
            <p:cNvSpPr>
              <a:spLocks noEditPoints="1"/>
            </p:cNvSpPr>
            <p:nvPr/>
          </p:nvSpPr>
          <p:spPr bwMode="auto">
            <a:xfrm>
              <a:off x="2087563" y="5559425"/>
              <a:ext cx="504825" cy="503238"/>
            </a:xfrm>
            <a:custGeom>
              <a:avLst/>
              <a:gdLst>
                <a:gd name="T0" fmla="*/ 130 w 318"/>
                <a:gd name="T1" fmla="*/ 15 h 317"/>
                <a:gd name="T2" fmla="*/ 78 w 318"/>
                <a:gd name="T3" fmla="*/ 38 h 317"/>
                <a:gd name="T4" fmla="*/ 38 w 318"/>
                <a:gd name="T5" fmla="*/ 77 h 317"/>
                <a:gd name="T6" fmla="*/ 16 w 318"/>
                <a:gd name="T7" fmla="*/ 129 h 317"/>
                <a:gd name="T8" fmla="*/ 16 w 318"/>
                <a:gd name="T9" fmla="*/ 188 h 317"/>
                <a:gd name="T10" fmla="*/ 38 w 318"/>
                <a:gd name="T11" fmla="*/ 240 h 317"/>
                <a:gd name="T12" fmla="*/ 78 w 318"/>
                <a:gd name="T13" fmla="*/ 279 h 317"/>
                <a:gd name="T14" fmla="*/ 130 w 318"/>
                <a:gd name="T15" fmla="*/ 300 h 317"/>
                <a:gd name="T16" fmla="*/ 188 w 318"/>
                <a:gd name="T17" fmla="*/ 300 h 317"/>
                <a:gd name="T18" fmla="*/ 239 w 318"/>
                <a:gd name="T19" fmla="*/ 279 h 317"/>
                <a:gd name="T20" fmla="*/ 279 w 318"/>
                <a:gd name="T21" fmla="*/ 240 h 317"/>
                <a:gd name="T22" fmla="*/ 301 w 318"/>
                <a:gd name="T23" fmla="*/ 188 h 317"/>
                <a:gd name="T24" fmla="*/ 301 w 318"/>
                <a:gd name="T25" fmla="*/ 129 h 317"/>
                <a:gd name="T26" fmla="*/ 279 w 318"/>
                <a:gd name="T27" fmla="*/ 77 h 317"/>
                <a:gd name="T28" fmla="*/ 239 w 318"/>
                <a:gd name="T29" fmla="*/ 38 h 317"/>
                <a:gd name="T30" fmla="*/ 188 w 318"/>
                <a:gd name="T31" fmla="*/ 15 h 317"/>
                <a:gd name="T32" fmla="*/ 159 w 318"/>
                <a:gd name="T33" fmla="*/ 0 h 317"/>
                <a:gd name="T34" fmla="*/ 220 w 318"/>
                <a:gd name="T35" fmla="*/ 12 h 317"/>
                <a:gd name="T36" fmla="*/ 271 w 318"/>
                <a:gd name="T37" fmla="*/ 47 h 317"/>
                <a:gd name="T38" fmla="*/ 305 w 318"/>
                <a:gd name="T39" fmla="*/ 96 h 317"/>
                <a:gd name="T40" fmla="*/ 318 w 318"/>
                <a:gd name="T41" fmla="*/ 158 h 317"/>
                <a:gd name="T42" fmla="*/ 314 w 318"/>
                <a:gd name="T43" fmla="*/ 190 h 317"/>
                <a:gd name="T44" fmla="*/ 290 w 318"/>
                <a:gd name="T45" fmla="*/ 247 h 317"/>
                <a:gd name="T46" fmla="*/ 248 w 318"/>
                <a:gd name="T47" fmla="*/ 289 h 317"/>
                <a:gd name="T48" fmla="*/ 191 w 318"/>
                <a:gd name="T49" fmla="*/ 314 h 317"/>
                <a:gd name="T50" fmla="*/ 127 w 318"/>
                <a:gd name="T51" fmla="*/ 314 h 317"/>
                <a:gd name="T52" fmla="*/ 70 w 318"/>
                <a:gd name="T53" fmla="*/ 289 h 317"/>
                <a:gd name="T54" fmla="*/ 27 w 318"/>
                <a:gd name="T55" fmla="*/ 247 h 317"/>
                <a:gd name="T56" fmla="*/ 4 w 318"/>
                <a:gd name="T57" fmla="*/ 190 h 317"/>
                <a:gd name="T58" fmla="*/ 0 w 318"/>
                <a:gd name="T59" fmla="*/ 158 h 317"/>
                <a:gd name="T60" fmla="*/ 12 w 318"/>
                <a:gd name="T61" fmla="*/ 96 h 317"/>
                <a:gd name="T62" fmla="*/ 46 w 318"/>
                <a:gd name="T63" fmla="*/ 47 h 317"/>
                <a:gd name="T64" fmla="*/ 97 w 318"/>
                <a:gd name="T65" fmla="*/ 12 h 317"/>
                <a:gd name="T66" fmla="*/ 159 w 318"/>
                <a:gd name="T6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7">
                  <a:moveTo>
                    <a:pt x="159" y="13"/>
                  </a:moveTo>
                  <a:lnTo>
                    <a:pt x="130" y="15"/>
                  </a:lnTo>
                  <a:lnTo>
                    <a:pt x="102" y="24"/>
                  </a:lnTo>
                  <a:lnTo>
                    <a:pt x="78" y="38"/>
                  </a:lnTo>
                  <a:lnTo>
                    <a:pt x="56" y="55"/>
                  </a:lnTo>
                  <a:lnTo>
                    <a:pt x="38" y="77"/>
                  </a:lnTo>
                  <a:lnTo>
                    <a:pt x="25" y="102"/>
                  </a:lnTo>
                  <a:lnTo>
                    <a:pt x="16" y="129"/>
                  </a:lnTo>
                  <a:lnTo>
                    <a:pt x="14" y="158"/>
                  </a:lnTo>
                  <a:lnTo>
                    <a:pt x="16" y="188"/>
                  </a:lnTo>
                  <a:lnTo>
                    <a:pt x="25" y="215"/>
                  </a:lnTo>
                  <a:lnTo>
                    <a:pt x="38" y="240"/>
                  </a:lnTo>
                  <a:lnTo>
                    <a:pt x="56" y="260"/>
                  </a:lnTo>
                  <a:lnTo>
                    <a:pt x="78" y="279"/>
                  </a:lnTo>
                  <a:lnTo>
                    <a:pt x="102" y="292"/>
                  </a:lnTo>
                  <a:lnTo>
                    <a:pt x="130" y="300"/>
                  </a:lnTo>
                  <a:lnTo>
                    <a:pt x="159" y="303"/>
                  </a:lnTo>
                  <a:lnTo>
                    <a:pt x="188" y="300"/>
                  </a:lnTo>
                  <a:lnTo>
                    <a:pt x="215" y="292"/>
                  </a:lnTo>
                  <a:lnTo>
                    <a:pt x="239" y="279"/>
                  </a:lnTo>
                  <a:lnTo>
                    <a:pt x="261" y="260"/>
                  </a:lnTo>
                  <a:lnTo>
                    <a:pt x="279" y="240"/>
                  </a:lnTo>
                  <a:lnTo>
                    <a:pt x="293" y="215"/>
                  </a:lnTo>
                  <a:lnTo>
                    <a:pt x="301" y="188"/>
                  </a:lnTo>
                  <a:lnTo>
                    <a:pt x="303" y="158"/>
                  </a:lnTo>
                  <a:lnTo>
                    <a:pt x="301" y="129"/>
                  </a:lnTo>
                  <a:lnTo>
                    <a:pt x="293" y="102"/>
                  </a:lnTo>
                  <a:lnTo>
                    <a:pt x="279" y="77"/>
                  </a:lnTo>
                  <a:lnTo>
                    <a:pt x="261" y="55"/>
                  </a:lnTo>
                  <a:lnTo>
                    <a:pt x="239" y="38"/>
                  </a:lnTo>
                  <a:lnTo>
                    <a:pt x="215" y="24"/>
                  </a:lnTo>
                  <a:lnTo>
                    <a:pt x="188" y="15"/>
                  </a:lnTo>
                  <a:lnTo>
                    <a:pt x="159" y="13"/>
                  </a:lnTo>
                  <a:close/>
                  <a:moveTo>
                    <a:pt x="159" y="0"/>
                  </a:moveTo>
                  <a:lnTo>
                    <a:pt x="191" y="3"/>
                  </a:lnTo>
                  <a:lnTo>
                    <a:pt x="220" y="12"/>
                  </a:lnTo>
                  <a:lnTo>
                    <a:pt x="248" y="27"/>
                  </a:lnTo>
                  <a:lnTo>
                    <a:pt x="271" y="47"/>
                  </a:lnTo>
                  <a:lnTo>
                    <a:pt x="290" y="70"/>
                  </a:lnTo>
                  <a:lnTo>
                    <a:pt x="305" y="96"/>
                  </a:lnTo>
                  <a:lnTo>
                    <a:pt x="314" y="126"/>
                  </a:lnTo>
                  <a:lnTo>
                    <a:pt x="318" y="158"/>
                  </a:lnTo>
                  <a:lnTo>
                    <a:pt x="318" y="159"/>
                  </a:lnTo>
                  <a:lnTo>
                    <a:pt x="314" y="190"/>
                  </a:lnTo>
                  <a:lnTo>
                    <a:pt x="305" y="219"/>
                  </a:lnTo>
                  <a:lnTo>
                    <a:pt x="290" y="247"/>
                  </a:lnTo>
                  <a:lnTo>
                    <a:pt x="271" y="270"/>
                  </a:lnTo>
                  <a:lnTo>
                    <a:pt x="248" y="289"/>
                  </a:lnTo>
                  <a:lnTo>
                    <a:pt x="220" y="304"/>
                  </a:lnTo>
                  <a:lnTo>
                    <a:pt x="191" y="314"/>
                  </a:lnTo>
                  <a:lnTo>
                    <a:pt x="159" y="317"/>
                  </a:lnTo>
                  <a:lnTo>
                    <a:pt x="127" y="314"/>
                  </a:lnTo>
                  <a:lnTo>
                    <a:pt x="97" y="304"/>
                  </a:lnTo>
                  <a:lnTo>
                    <a:pt x="70" y="289"/>
                  </a:lnTo>
                  <a:lnTo>
                    <a:pt x="46" y="270"/>
                  </a:lnTo>
                  <a:lnTo>
                    <a:pt x="27" y="247"/>
                  </a:lnTo>
                  <a:lnTo>
                    <a:pt x="12" y="219"/>
                  </a:lnTo>
                  <a:lnTo>
                    <a:pt x="4" y="190"/>
                  </a:lnTo>
                  <a:lnTo>
                    <a:pt x="0" y="158"/>
                  </a:lnTo>
                  <a:lnTo>
                    <a:pt x="0" y="158"/>
                  </a:lnTo>
                  <a:lnTo>
                    <a:pt x="4" y="126"/>
                  </a:lnTo>
                  <a:lnTo>
                    <a:pt x="12" y="96"/>
                  </a:lnTo>
                  <a:lnTo>
                    <a:pt x="27" y="70"/>
                  </a:lnTo>
                  <a:lnTo>
                    <a:pt x="46" y="47"/>
                  </a:lnTo>
                  <a:lnTo>
                    <a:pt x="70" y="27"/>
                  </a:lnTo>
                  <a:lnTo>
                    <a:pt x="97" y="12"/>
                  </a:lnTo>
                  <a:lnTo>
                    <a:pt x="127" y="3"/>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2" name="Group 262">
            <a:extLst>
              <a:ext uri="{FF2B5EF4-FFF2-40B4-BE49-F238E27FC236}">
                <a16:creationId xmlns:a16="http://schemas.microsoft.com/office/drawing/2014/main" id="{CA3A47D6-B6E6-B14B-9808-6BFFCD9D20C6}"/>
              </a:ext>
            </a:extLst>
          </p:cNvPr>
          <p:cNvGrpSpPr>
            <a:grpSpLocks noChangeAspect="1"/>
          </p:cNvGrpSpPr>
          <p:nvPr/>
        </p:nvGrpSpPr>
        <p:grpSpPr bwMode="auto">
          <a:xfrm>
            <a:off x="4547616" y="1642491"/>
            <a:ext cx="658368" cy="658368"/>
            <a:chOff x="5035" y="791"/>
            <a:chExt cx="340" cy="340"/>
          </a:xfrm>
          <a:solidFill>
            <a:schemeClr val="bg1"/>
          </a:solidFill>
        </p:grpSpPr>
        <p:sp>
          <p:nvSpPr>
            <p:cNvPr id="63" name="Freeform 263">
              <a:extLst>
                <a:ext uri="{FF2B5EF4-FFF2-40B4-BE49-F238E27FC236}">
                  <a16:creationId xmlns:a16="http://schemas.microsoft.com/office/drawing/2014/main" id="{BD88EAE4-6FD2-5A49-8492-E4E99C39DDAD}"/>
                </a:ext>
              </a:extLst>
            </p:cNvPr>
            <p:cNvSpPr>
              <a:spLocks noEditPoints="1"/>
            </p:cNvSpPr>
            <p:nvPr/>
          </p:nvSpPr>
          <p:spPr bwMode="auto">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64">
              <a:extLst>
                <a:ext uri="{FF2B5EF4-FFF2-40B4-BE49-F238E27FC236}">
                  <a16:creationId xmlns:a16="http://schemas.microsoft.com/office/drawing/2014/main" id="{D361E23C-EA9B-7C43-9BFA-03AF25BCE684}"/>
                </a:ext>
              </a:extLst>
            </p:cNvPr>
            <p:cNvSpPr>
              <a:spLocks noEditPoints="1"/>
            </p:cNvSpPr>
            <p:nvPr/>
          </p:nvSpPr>
          <p:spPr bwMode="auto">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9">
            <a:extLst>
              <a:ext uri="{FF2B5EF4-FFF2-40B4-BE49-F238E27FC236}">
                <a16:creationId xmlns:a16="http://schemas.microsoft.com/office/drawing/2014/main" id="{D1B23442-3405-3647-9729-92CFBFC183C8}"/>
              </a:ext>
            </a:extLst>
          </p:cNvPr>
          <p:cNvGrpSpPr>
            <a:grpSpLocks noChangeAspect="1"/>
          </p:cNvGrpSpPr>
          <p:nvPr/>
        </p:nvGrpSpPr>
        <p:grpSpPr bwMode="auto">
          <a:xfrm>
            <a:off x="4100033" y="2804541"/>
            <a:ext cx="658187" cy="658368"/>
            <a:chOff x="299" y="-289"/>
            <a:chExt cx="3635" cy="3636"/>
          </a:xfrm>
          <a:solidFill>
            <a:schemeClr val="bg1"/>
          </a:solidFill>
        </p:grpSpPr>
        <p:sp>
          <p:nvSpPr>
            <p:cNvPr id="66" name="Freeform 10">
              <a:extLst>
                <a:ext uri="{FF2B5EF4-FFF2-40B4-BE49-F238E27FC236}">
                  <a16:creationId xmlns:a16="http://schemas.microsoft.com/office/drawing/2014/main" id="{C9231503-52D7-E64B-AD28-27CFA3130DB7}"/>
                </a:ext>
              </a:extLst>
            </p:cNvPr>
            <p:cNvSpPr>
              <a:spLocks noEditPoints="1"/>
            </p:cNvSpPr>
            <p:nvPr/>
          </p:nvSpPr>
          <p:spPr bwMode="auto">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1">
              <a:extLst>
                <a:ext uri="{FF2B5EF4-FFF2-40B4-BE49-F238E27FC236}">
                  <a16:creationId xmlns:a16="http://schemas.microsoft.com/office/drawing/2014/main" id="{D29A5AE1-CFF6-7D41-BA09-4FB67C2D4472}"/>
                </a:ext>
              </a:extLst>
            </p:cNvPr>
            <p:cNvSpPr>
              <a:spLocks noEditPoints="1"/>
            </p:cNvSpPr>
            <p:nvPr/>
          </p:nvSpPr>
          <p:spPr bwMode="auto">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 name="Group 913">
            <a:extLst>
              <a:ext uri="{FF2B5EF4-FFF2-40B4-BE49-F238E27FC236}">
                <a16:creationId xmlns:a16="http://schemas.microsoft.com/office/drawing/2014/main" id="{264200C6-4A04-D742-A4AA-56838804C239}"/>
              </a:ext>
            </a:extLst>
          </p:cNvPr>
          <p:cNvGrpSpPr>
            <a:grpSpLocks noChangeAspect="1"/>
          </p:cNvGrpSpPr>
          <p:nvPr/>
        </p:nvGrpSpPr>
        <p:grpSpPr bwMode="auto">
          <a:xfrm>
            <a:off x="4557141" y="3947541"/>
            <a:ext cx="658368" cy="658368"/>
            <a:chOff x="4563" y="3912"/>
            <a:chExt cx="340" cy="340"/>
          </a:xfrm>
          <a:solidFill>
            <a:schemeClr val="bg1"/>
          </a:solidFill>
        </p:grpSpPr>
        <p:sp>
          <p:nvSpPr>
            <p:cNvPr id="69" name="Freeform 914">
              <a:extLst>
                <a:ext uri="{FF2B5EF4-FFF2-40B4-BE49-F238E27FC236}">
                  <a16:creationId xmlns:a16="http://schemas.microsoft.com/office/drawing/2014/main" id="{05109DE4-A1E8-C045-9BF1-BED3DEA48881}"/>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915">
              <a:extLst>
                <a:ext uri="{FF2B5EF4-FFF2-40B4-BE49-F238E27FC236}">
                  <a16:creationId xmlns:a16="http://schemas.microsoft.com/office/drawing/2014/main" id="{020ACF35-38D2-6E46-B53C-1341162D0B20}"/>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ustDataLst>
      <p:tags r:id="rId1"/>
    </p:custDataLst>
    <p:extLst>
      <p:ext uri="{BB962C8B-B14F-4D97-AF65-F5344CB8AC3E}">
        <p14:creationId xmlns:p14="http://schemas.microsoft.com/office/powerpoint/2010/main" val="27322161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0"/>
          <p:cNvSpPr>
            <a:spLocks/>
          </p:cNvSpPr>
          <p:nvPr/>
        </p:nvSpPr>
        <p:spPr bwMode="auto">
          <a:xfrm>
            <a:off x="535790" y="4823795"/>
            <a:ext cx="2668784" cy="1369042"/>
          </a:xfrm>
          <a:custGeom>
            <a:avLst/>
            <a:gdLst>
              <a:gd name="T0" fmla="*/ 2165 w 2177"/>
              <a:gd name="T1" fmla="*/ 2250 h 2250"/>
              <a:gd name="T2" fmla="*/ 0 w 2177"/>
              <a:gd name="T3" fmla="*/ 2250 h 2250"/>
              <a:gd name="T4" fmla="*/ 0 w 2177"/>
              <a:gd name="T5" fmla="*/ 0 h 2250"/>
              <a:gd name="T6" fmla="*/ 2177 w 2177"/>
              <a:gd name="T7" fmla="*/ 0 h 2250"/>
              <a:gd name="T8" fmla="*/ 2165 w 2177"/>
              <a:gd name="T9" fmla="*/ 2250 h 2250"/>
            </a:gdLst>
            <a:ahLst/>
            <a:cxnLst>
              <a:cxn ang="0">
                <a:pos x="T0" y="T1"/>
              </a:cxn>
              <a:cxn ang="0">
                <a:pos x="T2" y="T3"/>
              </a:cxn>
              <a:cxn ang="0">
                <a:pos x="T4" y="T5"/>
              </a:cxn>
              <a:cxn ang="0">
                <a:pos x="T6" y="T7"/>
              </a:cxn>
              <a:cxn ang="0">
                <a:pos x="T8" y="T9"/>
              </a:cxn>
            </a:cxnLst>
            <a:rect l="0" t="0" r="r" b="b"/>
            <a:pathLst>
              <a:path w="2177" h="2250">
                <a:moveTo>
                  <a:pt x="2165" y="2250"/>
                </a:moveTo>
                <a:lnTo>
                  <a:pt x="0" y="2250"/>
                </a:lnTo>
                <a:lnTo>
                  <a:pt x="0" y="0"/>
                </a:lnTo>
                <a:lnTo>
                  <a:pt x="2177" y="0"/>
                </a:lnTo>
                <a:lnTo>
                  <a:pt x="2165" y="225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pPr defTabSz="914217">
              <a:defRPr/>
            </a:pPr>
            <a:r>
              <a:rPr lang="en-US" sz="1300" b="1" dirty="0">
                <a:solidFill>
                  <a:schemeClr val="bg1"/>
                </a:solidFill>
                <a:ea typeface="Lato" pitchFamily="34" charset="0"/>
                <a:cs typeface="Lato" pitchFamily="34" charset="0"/>
              </a:rPr>
              <a:t>Feature Name</a:t>
            </a:r>
            <a:endParaRPr lang="id-ID" sz="1300" b="1" dirty="0">
              <a:solidFill>
                <a:schemeClr val="bg1"/>
              </a:solidFill>
              <a:ea typeface="Lato" pitchFamily="34" charset="0"/>
              <a:cs typeface="Lato" pitchFamily="34" charset="0"/>
            </a:endParaRPr>
          </a:p>
        </p:txBody>
      </p:sp>
      <p:sp>
        <p:nvSpPr>
          <p:cNvPr id="15" name="Rectangle 11"/>
          <p:cNvSpPr>
            <a:spLocks noChangeArrowheads="1"/>
          </p:cNvSpPr>
          <p:nvPr/>
        </p:nvSpPr>
        <p:spPr bwMode="auto">
          <a:xfrm>
            <a:off x="610569" y="5119687"/>
            <a:ext cx="2519224" cy="1018078"/>
          </a:xfrm>
          <a:prstGeom prst="rect">
            <a:avLst/>
          </a:prstGeom>
          <a:solidFill>
            <a:srgbClr val="000000"/>
          </a:solidFill>
          <a:ln>
            <a:noFill/>
          </a:ln>
        </p:spPr>
        <p:txBody>
          <a:bodyPr vert="horz" wrap="square" lIns="45720" tIns="22860" rIns="45720" bIns="22860" numCol="1" anchor="t" anchorCtr="0" compatLnSpc="1">
            <a:prstTxWarp prst="textNoShape">
              <a:avLst/>
            </a:prstTxWarp>
          </a:bodyPr>
          <a:lstStyle/>
          <a:p>
            <a:r>
              <a:rPr lang="en-US" sz="1300" dirty="0">
                <a:solidFill>
                  <a:srgbClr val="FFFFFF"/>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71" name="Freeform 10"/>
          <p:cNvSpPr>
            <a:spLocks/>
          </p:cNvSpPr>
          <p:nvPr/>
        </p:nvSpPr>
        <p:spPr bwMode="auto">
          <a:xfrm>
            <a:off x="3368615" y="4823795"/>
            <a:ext cx="2668784" cy="1369042"/>
          </a:xfrm>
          <a:custGeom>
            <a:avLst/>
            <a:gdLst>
              <a:gd name="T0" fmla="*/ 2165 w 2177"/>
              <a:gd name="T1" fmla="*/ 2250 h 2250"/>
              <a:gd name="T2" fmla="*/ 0 w 2177"/>
              <a:gd name="T3" fmla="*/ 2250 h 2250"/>
              <a:gd name="T4" fmla="*/ 0 w 2177"/>
              <a:gd name="T5" fmla="*/ 0 h 2250"/>
              <a:gd name="T6" fmla="*/ 2177 w 2177"/>
              <a:gd name="T7" fmla="*/ 0 h 2250"/>
              <a:gd name="T8" fmla="*/ 2165 w 2177"/>
              <a:gd name="T9" fmla="*/ 2250 h 2250"/>
            </a:gdLst>
            <a:ahLst/>
            <a:cxnLst>
              <a:cxn ang="0">
                <a:pos x="T0" y="T1"/>
              </a:cxn>
              <a:cxn ang="0">
                <a:pos x="T2" y="T3"/>
              </a:cxn>
              <a:cxn ang="0">
                <a:pos x="T4" y="T5"/>
              </a:cxn>
              <a:cxn ang="0">
                <a:pos x="T6" y="T7"/>
              </a:cxn>
              <a:cxn ang="0">
                <a:pos x="T8" y="T9"/>
              </a:cxn>
            </a:cxnLst>
            <a:rect l="0" t="0" r="r" b="b"/>
            <a:pathLst>
              <a:path w="2177" h="2250">
                <a:moveTo>
                  <a:pt x="2165" y="2250"/>
                </a:moveTo>
                <a:lnTo>
                  <a:pt x="0" y="2250"/>
                </a:lnTo>
                <a:lnTo>
                  <a:pt x="0" y="0"/>
                </a:lnTo>
                <a:lnTo>
                  <a:pt x="2177" y="0"/>
                </a:lnTo>
                <a:lnTo>
                  <a:pt x="2165" y="225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pPr defTabSz="914217">
              <a:defRPr/>
            </a:pPr>
            <a:r>
              <a:rPr lang="en-US" sz="1300" b="1" dirty="0">
                <a:solidFill>
                  <a:schemeClr val="bg1"/>
                </a:solidFill>
                <a:ea typeface="Lato" pitchFamily="34" charset="0"/>
                <a:cs typeface="Lato" pitchFamily="34" charset="0"/>
              </a:rPr>
              <a:t>Feature Name</a:t>
            </a:r>
            <a:endParaRPr lang="id-ID" sz="1300" b="1" dirty="0">
              <a:solidFill>
                <a:schemeClr val="bg1"/>
              </a:solidFill>
              <a:ea typeface="Lato" pitchFamily="34" charset="0"/>
              <a:cs typeface="Lato" pitchFamily="34" charset="0"/>
            </a:endParaRPr>
          </a:p>
        </p:txBody>
      </p:sp>
      <p:sp>
        <p:nvSpPr>
          <p:cNvPr id="72" name="Rectangle 11"/>
          <p:cNvSpPr>
            <a:spLocks noChangeArrowheads="1"/>
          </p:cNvSpPr>
          <p:nvPr/>
        </p:nvSpPr>
        <p:spPr bwMode="auto">
          <a:xfrm>
            <a:off x="3443394" y="5119687"/>
            <a:ext cx="2519224" cy="1018078"/>
          </a:xfrm>
          <a:prstGeom prst="rect">
            <a:avLst/>
          </a:prstGeom>
          <a:solidFill>
            <a:srgbClr val="000000"/>
          </a:solidFill>
          <a:ln>
            <a:noFill/>
          </a:ln>
        </p:spPr>
        <p:txBody>
          <a:bodyPr vert="horz" wrap="square" lIns="45720" tIns="22860" rIns="45720" bIns="22860" numCol="1" anchor="t" anchorCtr="0" compatLnSpc="1">
            <a:prstTxWarp prst="textNoShape">
              <a:avLst/>
            </a:prstTxWarp>
          </a:bodyPr>
          <a:lstStyle/>
          <a:p>
            <a:r>
              <a:rPr lang="en-US" sz="1300" dirty="0">
                <a:solidFill>
                  <a:srgbClr val="FFFFFF"/>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74" name="Freeform 10"/>
          <p:cNvSpPr>
            <a:spLocks/>
          </p:cNvSpPr>
          <p:nvPr/>
        </p:nvSpPr>
        <p:spPr bwMode="auto">
          <a:xfrm>
            <a:off x="6201441" y="4823795"/>
            <a:ext cx="2668784" cy="1369042"/>
          </a:xfrm>
          <a:custGeom>
            <a:avLst/>
            <a:gdLst>
              <a:gd name="T0" fmla="*/ 2165 w 2177"/>
              <a:gd name="T1" fmla="*/ 2250 h 2250"/>
              <a:gd name="T2" fmla="*/ 0 w 2177"/>
              <a:gd name="T3" fmla="*/ 2250 h 2250"/>
              <a:gd name="T4" fmla="*/ 0 w 2177"/>
              <a:gd name="T5" fmla="*/ 0 h 2250"/>
              <a:gd name="T6" fmla="*/ 2177 w 2177"/>
              <a:gd name="T7" fmla="*/ 0 h 2250"/>
              <a:gd name="T8" fmla="*/ 2165 w 2177"/>
              <a:gd name="T9" fmla="*/ 2250 h 2250"/>
            </a:gdLst>
            <a:ahLst/>
            <a:cxnLst>
              <a:cxn ang="0">
                <a:pos x="T0" y="T1"/>
              </a:cxn>
              <a:cxn ang="0">
                <a:pos x="T2" y="T3"/>
              </a:cxn>
              <a:cxn ang="0">
                <a:pos x="T4" y="T5"/>
              </a:cxn>
              <a:cxn ang="0">
                <a:pos x="T6" y="T7"/>
              </a:cxn>
              <a:cxn ang="0">
                <a:pos x="T8" y="T9"/>
              </a:cxn>
            </a:cxnLst>
            <a:rect l="0" t="0" r="r" b="b"/>
            <a:pathLst>
              <a:path w="2177" h="2250">
                <a:moveTo>
                  <a:pt x="2165" y="2250"/>
                </a:moveTo>
                <a:lnTo>
                  <a:pt x="0" y="2250"/>
                </a:lnTo>
                <a:lnTo>
                  <a:pt x="0" y="0"/>
                </a:lnTo>
                <a:lnTo>
                  <a:pt x="2177" y="0"/>
                </a:lnTo>
                <a:lnTo>
                  <a:pt x="2165" y="225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pPr defTabSz="914217">
              <a:defRPr/>
            </a:pPr>
            <a:r>
              <a:rPr lang="en-US" sz="1300" b="1" dirty="0">
                <a:solidFill>
                  <a:schemeClr val="bg1"/>
                </a:solidFill>
                <a:ea typeface="Lato" pitchFamily="34" charset="0"/>
                <a:cs typeface="Lato" pitchFamily="34" charset="0"/>
              </a:rPr>
              <a:t>Feature Name</a:t>
            </a:r>
            <a:endParaRPr lang="id-ID" sz="1300" b="1" dirty="0">
              <a:solidFill>
                <a:schemeClr val="bg1"/>
              </a:solidFill>
              <a:ea typeface="Lato" pitchFamily="34" charset="0"/>
              <a:cs typeface="Lato" pitchFamily="34" charset="0"/>
            </a:endParaRPr>
          </a:p>
        </p:txBody>
      </p:sp>
      <p:sp>
        <p:nvSpPr>
          <p:cNvPr id="75" name="Rectangle 11"/>
          <p:cNvSpPr>
            <a:spLocks noChangeArrowheads="1"/>
          </p:cNvSpPr>
          <p:nvPr/>
        </p:nvSpPr>
        <p:spPr bwMode="auto">
          <a:xfrm>
            <a:off x="6276220" y="5119687"/>
            <a:ext cx="2519224" cy="1018078"/>
          </a:xfrm>
          <a:prstGeom prst="rect">
            <a:avLst/>
          </a:prstGeom>
          <a:solidFill>
            <a:srgbClr val="000000"/>
          </a:solidFill>
          <a:ln>
            <a:noFill/>
          </a:ln>
        </p:spPr>
        <p:txBody>
          <a:bodyPr vert="horz" wrap="square" lIns="45720" tIns="22860" rIns="45720" bIns="22860" numCol="1" anchor="t" anchorCtr="0" compatLnSpc="1">
            <a:prstTxWarp prst="textNoShape">
              <a:avLst/>
            </a:prstTxWarp>
          </a:bodyPr>
          <a:lstStyle/>
          <a:p>
            <a:r>
              <a:rPr lang="en-US" sz="1300" dirty="0">
                <a:solidFill>
                  <a:srgbClr val="FFFFFF"/>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77" name="Freeform 10"/>
          <p:cNvSpPr>
            <a:spLocks/>
          </p:cNvSpPr>
          <p:nvPr/>
        </p:nvSpPr>
        <p:spPr bwMode="auto">
          <a:xfrm>
            <a:off x="9034266" y="4823795"/>
            <a:ext cx="2668784" cy="1369042"/>
          </a:xfrm>
          <a:custGeom>
            <a:avLst/>
            <a:gdLst>
              <a:gd name="T0" fmla="*/ 2165 w 2177"/>
              <a:gd name="T1" fmla="*/ 2250 h 2250"/>
              <a:gd name="T2" fmla="*/ 0 w 2177"/>
              <a:gd name="T3" fmla="*/ 2250 h 2250"/>
              <a:gd name="T4" fmla="*/ 0 w 2177"/>
              <a:gd name="T5" fmla="*/ 0 h 2250"/>
              <a:gd name="T6" fmla="*/ 2177 w 2177"/>
              <a:gd name="T7" fmla="*/ 0 h 2250"/>
              <a:gd name="T8" fmla="*/ 2165 w 2177"/>
              <a:gd name="T9" fmla="*/ 2250 h 2250"/>
            </a:gdLst>
            <a:ahLst/>
            <a:cxnLst>
              <a:cxn ang="0">
                <a:pos x="T0" y="T1"/>
              </a:cxn>
              <a:cxn ang="0">
                <a:pos x="T2" y="T3"/>
              </a:cxn>
              <a:cxn ang="0">
                <a:pos x="T4" y="T5"/>
              </a:cxn>
              <a:cxn ang="0">
                <a:pos x="T6" y="T7"/>
              </a:cxn>
              <a:cxn ang="0">
                <a:pos x="T8" y="T9"/>
              </a:cxn>
            </a:cxnLst>
            <a:rect l="0" t="0" r="r" b="b"/>
            <a:pathLst>
              <a:path w="2177" h="2250">
                <a:moveTo>
                  <a:pt x="2165" y="2250"/>
                </a:moveTo>
                <a:lnTo>
                  <a:pt x="0" y="2250"/>
                </a:lnTo>
                <a:lnTo>
                  <a:pt x="0" y="0"/>
                </a:lnTo>
                <a:lnTo>
                  <a:pt x="2177" y="0"/>
                </a:lnTo>
                <a:lnTo>
                  <a:pt x="2165" y="225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pPr defTabSz="914217">
              <a:defRPr/>
            </a:pPr>
            <a:r>
              <a:rPr lang="en-US" sz="1300" b="1" dirty="0">
                <a:solidFill>
                  <a:schemeClr val="bg1"/>
                </a:solidFill>
                <a:ea typeface="Lato" pitchFamily="34" charset="0"/>
                <a:cs typeface="Lato" pitchFamily="34" charset="0"/>
              </a:rPr>
              <a:t>Feature Name</a:t>
            </a:r>
            <a:endParaRPr lang="id-ID" sz="1300" b="1" dirty="0">
              <a:solidFill>
                <a:schemeClr val="bg1"/>
              </a:solidFill>
              <a:ea typeface="Lato" pitchFamily="34" charset="0"/>
              <a:cs typeface="Lato" pitchFamily="34" charset="0"/>
            </a:endParaRPr>
          </a:p>
        </p:txBody>
      </p:sp>
      <p:sp>
        <p:nvSpPr>
          <p:cNvPr id="78" name="Rectangle 11"/>
          <p:cNvSpPr>
            <a:spLocks noChangeArrowheads="1"/>
          </p:cNvSpPr>
          <p:nvPr/>
        </p:nvSpPr>
        <p:spPr bwMode="auto">
          <a:xfrm>
            <a:off x="9109045" y="5119687"/>
            <a:ext cx="2519224" cy="1018078"/>
          </a:xfrm>
          <a:prstGeom prst="rect">
            <a:avLst/>
          </a:prstGeom>
          <a:solidFill>
            <a:srgbClr val="000000"/>
          </a:solidFill>
          <a:ln>
            <a:noFill/>
          </a:ln>
        </p:spPr>
        <p:txBody>
          <a:bodyPr vert="horz" wrap="square" lIns="45720" tIns="22860" rIns="45720" bIns="22860" numCol="1" anchor="t" anchorCtr="0" compatLnSpc="1">
            <a:prstTxWarp prst="textNoShape">
              <a:avLst/>
            </a:prstTxWarp>
          </a:bodyPr>
          <a:lstStyle/>
          <a:p>
            <a:r>
              <a:rPr lang="en-US" sz="1300" dirty="0">
                <a:solidFill>
                  <a:srgbClr val="FFFFFF"/>
                </a:solidFill>
                <a:ea typeface="Lato" pitchFamily="34" charset="0"/>
                <a:cs typeface="Lato" pitchFamily="34" charset="0"/>
              </a:rPr>
              <a:t>This is dummy text it is not here to be read. The is just text to show where you could insert text. Please replace with your text content here.</a:t>
            </a:r>
          </a:p>
        </p:txBody>
      </p:sp>
      <p:grpSp>
        <p:nvGrpSpPr>
          <p:cNvPr id="221" name="Group 220"/>
          <p:cNvGrpSpPr/>
          <p:nvPr/>
        </p:nvGrpSpPr>
        <p:grpSpPr>
          <a:xfrm>
            <a:off x="2632488" y="2821511"/>
            <a:ext cx="6988253" cy="1878180"/>
            <a:chOff x="1987402" y="2095366"/>
            <a:chExt cx="8644576" cy="2323338"/>
          </a:xfrm>
          <a:solidFill>
            <a:srgbClr val="FFFFFF"/>
          </a:solidFill>
        </p:grpSpPr>
        <p:sp>
          <p:nvSpPr>
            <p:cNvPr id="45" name="Rectangle 44"/>
            <p:cNvSpPr/>
            <p:nvPr/>
          </p:nvSpPr>
          <p:spPr bwMode="gray">
            <a:xfrm>
              <a:off x="3600450" y="3871727"/>
              <a:ext cx="1512094" cy="445264"/>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8" name="Isosceles Triangle 47"/>
            <p:cNvSpPr/>
            <p:nvPr/>
          </p:nvSpPr>
          <p:spPr bwMode="gray">
            <a:xfrm>
              <a:off x="5635228" y="3729434"/>
              <a:ext cx="2444298" cy="584553"/>
            </a:xfrm>
            <a:prstGeom prst="triangl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220" name="Group 219"/>
            <p:cNvGrpSpPr/>
            <p:nvPr/>
          </p:nvGrpSpPr>
          <p:grpSpPr>
            <a:xfrm>
              <a:off x="7029056" y="3473959"/>
              <a:ext cx="1190516" cy="840027"/>
              <a:chOff x="7029056" y="3473959"/>
              <a:chExt cx="1190516" cy="840027"/>
            </a:xfrm>
            <a:grpFill/>
          </p:grpSpPr>
          <p:sp>
            <p:nvSpPr>
              <p:cNvPr id="139" name="Rectangle 138"/>
              <p:cNvSpPr/>
              <p:nvPr/>
            </p:nvSpPr>
            <p:spPr bwMode="gray">
              <a:xfrm>
                <a:off x="7029056" y="3473959"/>
                <a:ext cx="1050470" cy="840027"/>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0" name="Rectangle 139"/>
              <p:cNvSpPr/>
              <p:nvPr/>
            </p:nvSpPr>
            <p:spPr bwMode="gray">
              <a:xfrm>
                <a:off x="7169102" y="3795713"/>
                <a:ext cx="1050470" cy="518273"/>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161" name="Group 160"/>
            <p:cNvGrpSpPr/>
            <p:nvPr/>
          </p:nvGrpSpPr>
          <p:grpSpPr>
            <a:xfrm>
              <a:off x="8492740" y="2095366"/>
              <a:ext cx="1210060" cy="2169883"/>
              <a:chOff x="8492740" y="2095366"/>
              <a:chExt cx="1210060" cy="2169883"/>
            </a:xfrm>
            <a:grpFill/>
          </p:grpSpPr>
          <p:grpSp>
            <p:nvGrpSpPr>
              <p:cNvPr id="159" name="Group 158"/>
              <p:cNvGrpSpPr/>
              <p:nvPr/>
            </p:nvGrpSpPr>
            <p:grpSpPr>
              <a:xfrm>
                <a:off x="8569723" y="2383821"/>
                <a:ext cx="1056095" cy="833663"/>
                <a:chOff x="8572451" y="2383821"/>
                <a:chExt cx="1056095" cy="833663"/>
              </a:xfrm>
              <a:grpFill/>
            </p:grpSpPr>
            <p:sp>
              <p:nvSpPr>
                <p:cNvPr id="156" name="Rectangle 155"/>
                <p:cNvSpPr/>
                <p:nvPr/>
              </p:nvSpPr>
              <p:spPr bwMode="gray">
                <a:xfrm>
                  <a:off x="8572451" y="2383821"/>
                  <a:ext cx="222993" cy="833663"/>
                </a:xfrm>
                <a:prstGeom prst="rect">
                  <a:avLst/>
                </a:prstGeom>
                <a:grpFill/>
                <a:ln w="444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8" name="Rectangle 157"/>
                <p:cNvSpPr/>
                <p:nvPr/>
              </p:nvSpPr>
              <p:spPr bwMode="gray">
                <a:xfrm>
                  <a:off x="9405553" y="2383821"/>
                  <a:ext cx="222993" cy="833663"/>
                </a:xfrm>
                <a:prstGeom prst="rect">
                  <a:avLst/>
                </a:prstGeom>
                <a:grpFill/>
                <a:ln w="444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141" name="Rectangle 140"/>
              <p:cNvSpPr/>
              <p:nvPr/>
            </p:nvSpPr>
            <p:spPr bwMode="gray">
              <a:xfrm>
                <a:off x="8492740" y="3746976"/>
                <a:ext cx="1210060" cy="518273"/>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160" name="Group 159"/>
              <p:cNvGrpSpPr/>
              <p:nvPr/>
            </p:nvGrpSpPr>
            <p:grpSpPr>
              <a:xfrm>
                <a:off x="8678874" y="3158479"/>
                <a:ext cx="837792" cy="747684"/>
                <a:chOff x="8692765" y="3158479"/>
                <a:chExt cx="837792" cy="747684"/>
              </a:xfrm>
              <a:grpFill/>
            </p:grpSpPr>
            <p:grpSp>
              <p:nvGrpSpPr>
                <p:cNvPr id="62" name="Group 61"/>
                <p:cNvGrpSpPr/>
                <p:nvPr/>
              </p:nvGrpSpPr>
              <p:grpSpPr>
                <a:xfrm>
                  <a:off x="8692765" y="3158479"/>
                  <a:ext cx="235335" cy="747684"/>
                  <a:chOff x="8692765" y="3158479"/>
                  <a:chExt cx="235335" cy="747684"/>
                </a:xfrm>
                <a:grpFill/>
              </p:grpSpPr>
              <p:sp>
                <p:nvSpPr>
                  <p:cNvPr id="142" name="Rectangle 141"/>
                  <p:cNvSpPr/>
                  <p:nvPr/>
                </p:nvSpPr>
                <p:spPr bwMode="gray">
                  <a:xfrm>
                    <a:off x="8692765" y="3639792"/>
                    <a:ext cx="235335"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3" name="Rectangle 142"/>
                  <p:cNvSpPr/>
                  <p:nvPr/>
                </p:nvSpPr>
                <p:spPr bwMode="gray">
                  <a:xfrm>
                    <a:off x="8729278" y="3418788"/>
                    <a:ext cx="162310"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5" name="Rectangle 144"/>
                  <p:cNvSpPr/>
                  <p:nvPr/>
                </p:nvSpPr>
                <p:spPr bwMode="gray">
                  <a:xfrm>
                    <a:off x="8692765" y="3158479"/>
                    <a:ext cx="235335"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149" name="Group 148"/>
                <p:cNvGrpSpPr/>
                <p:nvPr/>
              </p:nvGrpSpPr>
              <p:grpSpPr>
                <a:xfrm>
                  <a:off x="9295222" y="3158479"/>
                  <a:ext cx="235335" cy="747684"/>
                  <a:chOff x="8692765" y="3158479"/>
                  <a:chExt cx="235335" cy="747684"/>
                </a:xfrm>
                <a:grpFill/>
              </p:grpSpPr>
              <p:sp>
                <p:nvSpPr>
                  <p:cNvPr id="150" name="Rectangle 149"/>
                  <p:cNvSpPr/>
                  <p:nvPr/>
                </p:nvSpPr>
                <p:spPr bwMode="gray">
                  <a:xfrm>
                    <a:off x="8692765" y="3639792"/>
                    <a:ext cx="235335"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1" name="Rectangle 150"/>
                  <p:cNvSpPr/>
                  <p:nvPr/>
                </p:nvSpPr>
                <p:spPr bwMode="gray">
                  <a:xfrm>
                    <a:off x="8729278" y="3418788"/>
                    <a:ext cx="162310"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2" name="Rectangle 151"/>
                  <p:cNvSpPr/>
                  <p:nvPr/>
                </p:nvSpPr>
                <p:spPr bwMode="gray">
                  <a:xfrm>
                    <a:off x="8692765" y="3158479"/>
                    <a:ext cx="235335"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sp>
            <p:nvSpPr>
              <p:cNvPr id="153" name="Rectangle 152"/>
              <p:cNvSpPr/>
              <p:nvPr/>
            </p:nvSpPr>
            <p:spPr bwMode="gray">
              <a:xfrm>
                <a:off x="8492740" y="3128754"/>
                <a:ext cx="1210060" cy="165932"/>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4" name="Rectangle 153"/>
              <p:cNvSpPr/>
              <p:nvPr/>
            </p:nvSpPr>
            <p:spPr bwMode="gray">
              <a:xfrm>
                <a:off x="8492740" y="2275430"/>
                <a:ext cx="1210060" cy="165932"/>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5" name="Rectangle 154"/>
              <p:cNvSpPr/>
              <p:nvPr/>
            </p:nvSpPr>
            <p:spPr bwMode="gray">
              <a:xfrm>
                <a:off x="8799127" y="2095366"/>
                <a:ext cx="597286" cy="247783"/>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214" name="Rectangle 213"/>
            <p:cNvSpPr/>
            <p:nvPr/>
          </p:nvSpPr>
          <p:spPr bwMode="gray">
            <a:xfrm>
              <a:off x="1987402" y="4225379"/>
              <a:ext cx="8644576" cy="193325"/>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8" name="Group 7"/>
          <p:cNvGrpSpPr/>
          <p:nvPr/>
        </p:nvGrpSpPr>
        <p:grpSpPr>
          <a:xfrm>
            <a:off x="2247547" y="1714500"/>
            <a:ext cx="2431126" cy="2923741"/>
            <a:chOff x="83523" y="854868"/>
            <a:chExt cx="3007340" cy="3616713"/>
          </a:xfrm>
        </p:grpSpPr>
        <p:sp>
          <p:nvSpPr>
            <p:cNvPr id="24" name="Rectangle 23"/>
            <p:cNvSpPr/>
            <p:nvPr/>
          </p:nvSpPr>
          <p:spPr bwMode="gray">
            <a:xfrm>
              <a:off x="291867" y="1412540"/>
              <a:ext cx="2798996" cy="195634"/>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 name="Isosceles Triangle 4"/>
            <p:cNvSpPr/>
            <p:nvPr/>
          </p:nvSpPr>
          <p:spPr bwMode="gray">
            <a:xfrm>
              <a:off x="290406" y="854868"/>
              <a:ext cx="2724489" cy="557650"/>
            </a:xfrm>
            <a:prstGeom prst="triangle">
              <a:avLst>
                <a:gd name="adj" fmla="val 30988"/>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 name="Rectangle 1"/>
            <p:cNvSpPr/>
            <p:nvPr/>
          </p:nvSpPr>
          <p:spPr bwMode="gray">
            <a:xfrm>
              <a:off x="83523" y="1365101"/>
              <a:ext cx="261135" cy="290513"/>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1" name="Rectangle 20"/>
            <p:cNvSpPr/>
            <p:nvPr/>
          </p:nvSpPr>
          <p:spPr bwMode="gray">
            <a:xfrm>
              <a:off x="1010568" y="854869"/>
              <a:ext cx="255868" cy="1369389"/>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9" name="Rectangle 18"/>
            <p:cNvSpPr/>
            <p:nvPr/>
          </p:nvSpPr>
          <p:spPr bwMode="gray">
            <a:xfrm>
              <a:off x="983271" y="1336526"/>
              <a:ext cx="312508" cy="347662"/>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0" name="Rectangle 19"/>
            <p:cNvSpPr/>
            <p:nvPr/>
          </p:nvSpPr>
          <p:spPr bwMode="gray">
            <a:xfrm>
              <a:off x="962945" y="2197101"/>
              <a:ext cx="351115" cy="2274480"/>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31" name="Group 30"/>
          <p:cNvGrpSpPr/>
          <p:nvPr/>
        </p:nvGrpSpPr>
        <p:grpSpPr>
          <a:xfrm>
            <a:off x="3342054" y="3428874"/>
            <a:ext cx="224749" cy="1112648"/>
            <a:chOff x="2926556" y="2895600"/>
            <a:chExt cx="278018" cy="1376363"/>
          </a:xfrm>
        </p:grpSpPr>
        <p:grpSp>
          <p:nvGrpSpPr>
            <p:cNvPr id="30" name="Group 29"/>
            <p:cNvGrpSpPr/>
            <p:nvPr/>
          </p:nvGrpSpPr>
          <p:grpSpPr>
            <a:xfrm>
              <a:off x="3014895" y="2895600"/>
              <a:ext cx="112749" cy="1376363"/>
              <a:chOff x="3014895" y="2895600"/>
              <a:chExt cx="112749" cy="1376363"/>
            </a:xfrm>
          </p:grpSpPr>
          <p:cxnSp>
            <p:nvCxnSpPr>
              <p:cNvPr id="10" name="Straight Connector 9"/>
              <p:cNvCxnSpPr/>
              <p:nvPr/>
            </p:nvCxnSpPr>
            <p:spPr>
              <a:xfrm>
                <a:off x="3014895" y="2988469"/>
                <a:ext cx="0" cy="1283494"/>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3127644" y="2895600"/>
                <a:ext cx="0" cy="1376363"/>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2926556" y="3145631"/>
              <a:ext cx="278018" cy="1052513"/>
              <a:chOff x="2926556" y="3145631"/>
              <a:chExt cx="278018" cy="1052513"/>
            </a:xfrm>
          </p:grpSpPr>
          <p:cxnSp>
            <p:nvCxnSpPr>
              <p:cNvPr id="17" name="Straight Connector 16"/>
              <p:cNvCxnSpPr/>
              <p:nvPr/>
            </p:nvCxnSpPr>
            <p:spPr>
              <a:xfrm>
                <a:off x="2926556" y="3145631"/>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926556" y="3295990"/>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26556" y="3446349"/>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26556" y="3596708"/>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2926556" y="3747067"/>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2926556" y="3897426"/>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2926556" y="4047785"/>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2926556" y="4198144"/>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grpSp>
        <p:nvGrpSpPr>
          <p:cNvPr id="217" name="Group 216"/>
          <p:cNvGrpSpPr/>
          <p:nvPr/>
        </p:nvGrpSpPr>
        <p:grpSpPr>
          <a:xfrm>
            <a:off x="3642593" y="3938467"/>
            <a:ext cx="224749" cy="682141"/>
            <a:chOff x="3274513" y="3428143"/>
            <a:chExt cx="278018" cy="843819"/>
          </a:xfrm>
        </p:grpSpPr>
        <p:grpSp>
          <p:nvGrpSpPr>
            <p:cNvPr id="50" name="Group 49"/>
            <p:cNvGrpSpPr/>
            <p:nvPr/>
          </p:nvGrpSpPr>
          <p:grpSpPr>
            <a:xfrm>
              <a:off x="3276362" y="3428143"/>
              <a:ext cx="274320" cy="843819"/>
              <a:chOff x="3014895" y="2988469"/>
              <a:chExt cx="112749" cy="1283494"/>
            </a:xfrm>
          </p:grpSpPr>
          <p:cxnSp>
            <p:nvCxnSpPr>
              <p:cNvPr id="60" name="Straight Connector 59"/>
              <p:cNvCxnSpPr/>
              <p:nvPr/>
            </p:nvCxnSpPr>
            <p:spPr>
              <a:xfrm>
                <a:off x="3014895" y="2988469"/>
                <a:ext cx="0" cy="1283494"/>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3127644" y="2988469"/>
                <a:ext cx="0" cy="1283494"/>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3274513" y="3514555"/>
              <a:ext cx="278018" cy="491558"/>
              <a:chOff x="2926556" y="3556227"/>
              <a:chExt cx="278018" cy="491558"/>
            </a:xfrm>
          </p:grpSpPr>
          <p:cxnSp>
            <p:nvCxnSpPr>
              <p:cNvPr id="55" name="Straight Connector 54"/>
              <p:cNvCxnSpPr/>
              <p:nvPr/>
            </p:nvCxnSpPr>
            <p:spPr>
              <a:xfrm>
                <a:off x="2926556" y="3556227"/>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2926556" y="3802006"/>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2926556" y="4047785"/>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grpSp>
        <p:nvGrpSpPr>
          <p:cNvPr id="37" name="Group 36"/>
          <p:cNvGrpSpPr/>
          <p:nvPr/>
        </p:nvGrpSpPr>
        <p:grpSpPr>
          <a:xfrm>
            <a:off x="3936471" y="3408743"/>
            <a:ext cx="1222373" cy="846999"/>
            <a:chOff x="3600450" y="2821781"/>
            <a:chExt cx="1512094" cy="1047751"/>
          </a:xfrm>
        </p:grpSpPr>
        <p:grpSp>
          <p:nvGrpSpPr>
            <p:cNvPr id="65" name="Group 64"/>
            <p:cNvGrpSpPr/>
            <p:nvPr/>
          </p:nvGrpSpPr>
          <p:grpSpPr>
            <a:xfrm>
              <a:off x="3600450" y="3043918"/>
              <a:ext cx="1512094" cy="751795"/>
              <a:chOff x="2926556" y="3446349"/>
              <a:chExt cx="278018" cy="751795"/>
            </a:xfrm>
          </p:grpSpPr>
          <p:cxnSp>
            <p:nvCxnSpPr>
              <p:cNvPr id="68" name="Straight Connector 67"/>
              <p:cNvCxnSpPr/>
              <p:nvPr/>
            </p:nvCxnSpPr>
            <p:spPr>
              <a:xfrm>
                <a:off x="2926556" y="3446349"/>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2926556" y="3596708"/>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926556" y="3747067"/>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2926556" y="3897426"/>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2926556" y="4047785"/>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926556" y="4198144"/>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grpSp>
        <p:grpSp>
          <p:nvGrpSpPr>
            <p:cNvPr id="36" name="Group 35"/>
            <p:cNvGrpSpPr/>
            <p:nvPr/>
          </p:nvGrpSpPr>
          <p:grpSpPr>
            <a:xfrm>
              <a:off x="3719513" y="2821781"/>
              <a:ext cx="1273969" cy="1047751"/>
              <a:chOff x="3747536" y="2821781"/>
              <a:chExt cx="1273969" cy="1047751"/>
            </a:xfrm>
          </p:grpSpPr>
          <p:cxnSp>
            <p:nvCxnSpPr>
              <p:cNvPr id="83" name="Straight Connector 82"/>
              <p:cNvCxnSpPr/>
              <p:nvPr/>
            </p:nvCxnSpPr>
            <p:spPr>
              <a:xfrm>
                <a:off x="3747536"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3959864"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172192"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384520"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4596848"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4809176"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5021505"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grpSp>
      </p:grpSp>
      <p:grpSp>
        <p:nvGrpSpPr>
          <p:cNvPr id="216" name="Group 215"/>
          <p:cNvGrpSpPr/>
          <p:nvPr/>
        </p:nvGrpSpPr>
        <p:grpSpPr>
          <a:xfrm>
            <a:off x="5314577" y="3594697"/>
            <a:ext cx="296833" cy="949023"/>
            <a:chOff x="5305188" y="3098007"/>
            <a:chExt cx="367187" cy="1173956"/>
          </a:xfrm>
        </p:grpSpPr>
        <p:grpSp>
          <p:nvGrpSpPr>
            <p:cNvPr id="91" name="Group 90"/>
            <p:cNvGrpSpPr/>
            <p:nvPr/>
          </p:nvGrpSpPr>
          <p:grpSpPr>
            <a:xfrm>
              <a:off x="5305699" y="3098007"/>
              <a:ext cx="366165" cy="1173956"/>
              <a:chOff x="3014895" y="2988469"/>
              <a:chExt cx="112749" cy="1283494"/>
            </a:xfrm>
          </p:grpSpPr>
          <p:cxnSp>
            <p:nvCxnSpPr>
              <p:cNvPr id="92" name="Straight Connector 91"/>
              <p:cNvCxnSpPr/>
              <p:nvPr/>
            </p:nvCxnSpPr>
            <p:spPr>
              <a:xfrm>
                <a:off x="3014895" y="2988469"/>
                <a:ext cx="0" cy="1283494"/>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3127644" y="2988469"/>
                <a:ext cx="0" cy="1283494"/>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nvGrpSpPr>
            <p:cNvPr id="94" name="Group 93"/>
            <p:cNvGrpSpPr/>
            <p:nvPr/>
          </p:nvGrpSpPr>
          <p:grpSpPr>
            <a:xfrm>
              <a:off x="5305188" y="3531394"/>
              <a:ext cx="367187" cy="666750"/>
              <a:chOff x="2926556" y="3556227"/>
              <a:chExt cx="278018" cy="491558"/>
            </a:xfrm>
          </p:grpSpPr>
          <p:cxnSp>
            <p:nvCxnSpPr>
              <p:cNvPr id="95" name="Straight Connector 94"/>
              <p:cNvCxnSpPr/>
              <p:nvPr/>
            </p:nvCxnSpPr>
            <p:spPr>
              <a:xfrm>
                <a:off x="2926556" y="3556227"/>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2926556" y="3816123"/>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2926556" y="4047785"/>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sp>
        <p:nvSpPr>
          <p:cNvPr id="98" name="Rectangle 97"/>
          <p:cNvSpPr/>
          <p:nvPr/>
        </p:nvSpPr>
        <p:spPr bwMode="gray">
          <a:xfrm>
            <a:off x="5216594" y="3370630"/>
            <a:ext cx="492799" cy="359950"/>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223" name="Group 222"/>
          <p:cNvGrpSpPr/>
          <p:nvPr/>
        </p:nvGrpSpPr>
        <p:grpSpPr>
          <a:xfrm>
            <a:off x="5259906" y="2523631"/>
            <a:ext cx="406174" cy="846999"/>
            <a:chOff x="5085159" y="1726884"/>
            <a:chExt cx="502444" cy="1047751"/>
          </a:xfrm>
        </p:grpSpPr>
        <p:grpSp>
          <p:nvGrpSpPr>
            <p:cNvPr id="100" name="Group 99"/>
            <p:cNvGrpSpPr/>
            <p:nvPr/>
          </p:nvGrpSpPr>
          <p:grpSpPr>
            <a:xfrm>
              <a:off x="5085159" y="1949021"/>
              <a:ext cx="502444" cy="751795"/>
              <a:chOff x="2926556" y="3446349"/>
              <a:chExt cx="278018" cy="751795"/>
            </a:xfrm>
          </p:grpSpPr>
          <p:cxnSp>
            <p:nvCxnSpPr>
              <p:cNvPr id="109" name="Straight Connector 108"/>
              <p:cNvCxnSpPr/>
              <p:nvPr/>
            </p:nvCxnSpPr>
            <p:spPr>
              <a:xfrm>
                <a:off x="2926556" y="3446349"/>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926556" y="3596708"/>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926556" y="3747067"/>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2926556" y="3897426"/>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2926556" y="4047785"/>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2926556" y="4198144"/>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nvGrpSpPr>
            <p:cNvPr id="101" name="Group 100"/>
            <p:cNvGrpSpPr/>
            <p:nvPr/>
          </p:nvGrpSpPr>
          <p:grpSpPr>
            <a:xfrm>
              <a:off x="5189934" y="1726884"/>
              <a:ext cx="292894" cy="1047751"/>
              <a:chOff x="3747536" y="2821781"/>
              <a:chExt cx="424656" cy="1047751"/>
            </a:xfrm>
          </p:grpSpPr>
          <p:cxnSp>
            <p:nvCxnSpPr>
              <p:cNvPr id="102" name="Straight Connector 101"/>
              <p:cNvCxnSpPr/>
              <p:nvPr/>
            </p:nvCxnSpPr>
            <p:spPr>
              <a:xfrm>
                <a:off x="3747536" y="2821781"/>
                <a:ext cx="0" cy="1047751"/>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3959864" y="2821781"/>
                <a:ext cx="0" cy="1047751"/>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4172192" y="2821781"/>
                <a:ext cx="0" cy="1047751"/>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grpSp>
        <p:nvGrpSpPr>
          <p:cNvPr id="47" name="Group 46"/>
          <p:cNvGrpSpPr/>
          <p:nvPr/>
        </p:nvGrpSpPr>
        <p:grpSpPr>
          <a:xfrm>
            <a:off x="5831095" y="2824739"/>
            <a:ext cx="686582" cy="1802748"/>
            <a:chOff x="5830245" y="2040731"/>
            <a:chExt cx="849312" cy="2230027"/>
          </a:xfrm>
        </p:grpSpPr>
        <p:grpSp>
          <p:nvGrpSpPr>
            <p:cNvPr id="117" name="Group 116"/>
            <p:cNvGrpSpPr/>
            <p:nvPr/>
          </p:nvGrpSpPr>
          <p:grpSpPr>
            <a:xfrm>
              <a:off x="5893962" y="2040731"/>
              <a:ext cx="721879" cy="2230027"/>
              <a:chOff x="3747536" y="2821781"/>
              <a:chExt cx="1273969" cy="1047751"/>
            </a:xfrm>
          </p:grpSpPr>
          <p:cxnSp>
            <p:nvCxnSpPr>
              <p:cNvPr id="118" name="Straight Connector 117"/>
              <p:cNvCxnSpPr/>
              <p:nvPr/>
            </p:nvCxnSpPr>
            <p:spPr>
              <a:xfrm>
                <a:off x="3747536"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3959864"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4172192"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4384520"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4596848"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4809176"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5021505"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5830245" y="2306906"/>
              <a:ext cx="849312" cy="1890033"/>
              <a:chOff x="5830245" y="2306906"/>
              <a:chExt cx="849312" cy="1890033"/>
            </a:xfrm>
          </p:grpSpPr>
          <p:cxnSp>
            <p:nvCxnSpPr>
              <p:cNvPr id="125" name="Straight Connector 124"/>
              <p:cNvCxnSpPr/>
              <p:nvPr/>
            </p:nvCxnSpPr>
            <p:spPr>
              <a:xfrm>
                <a:off x="5830245" y="3470002"/>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5830245" y="3615389"/>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5830245" y="3760776"/>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5830245" y="3906163"/>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5830245" y="4051550"/>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5830245" y="4196939"/>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5830245" y="2597680"/>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5830245" y="2743067"/>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5830245" y="2888454"/>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5830245" y="3033841"/>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5830245" y="3179228"/>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5830245" y="3324615"/>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5830245" y="2306906"/>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5830245" y="2452293"/>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grpSp>
      </p:grpSp>
      <p:grpSp>
        <p:nvGrpSpPr>
          <p:cNvPr id="162" name="Group 161"/>
          <p:cNvGrpSpPr/>
          <p:nvPr/>
        </p:nvGrpSpPr>
        <p:grpSpPr>
          <a:xfrm flipH="1">
            <a:off x="6408229" y="1890372"/>
            <a:ext cx="1981376" cy="2773502"/>
            <a:chOff x="83523" y="854867"/>
            <a:chExt cx="3007340" cy="4175552"/>
          </a:xfrm>
        </p:grpSpPr>
        <p:sp>
          <p:nvSpPr>
            <p:cNvPr id="163" name="Rectangle 162"/>
            <p:cNvSpPr/>
            <p:nvPr/>
          </p:nvSpPr>
          <p:spPr bwMode="gray">
            <a:xfrm>
              <a:off x="291867" y="1542241"/>
              <a:ext cx="2798996" cy="195634"/>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4" name="Isosceles Triangle 163"/>
            <p:cNvSpPr/>
            <p:nvPr/>
          </p:nvSpPr>
          <p:spPr bwMode="gray">
            <a:xfrm>
              <a:off x="290407" y="854867"/>
              <a:ext cx="2724488" cy="687372"/>
            </a:xfrm>
            <a:prstGeom prst="triangle">
              <a:avLst>
                <a:gd name="adj" fmla="val 30988"/>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5" name="Rectangle 164"/>
            <p:cNvSpPr/>
            <p:nvPr/>
          </p:nvSpPr>
          <p:spPr bwMode="gray">
            <a:xfrm>
              <a:off x="83523" y="1494803"/>
              <a:ext cx="261135" cy="290514"/>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6" name="Rectangle 165"/>
            <p:cNvSpPr/>
            <p:nvPr/>
          </p:nvSpPr>
          <p:spPr bwMode="gray">
            <a:xfrm>
              <a:off x="1010569" y="854869"/>
              <a:ext cx="255868" cy="1924052"/>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7" name="Rectangle 166"/>
            <p:cNvSpPr/>
            <p:nvPr/>
          </p:nvSpPr>
          <p:spPr bwMode="gray">
            <a:xfrm>
              <a:off x="983271" y="1466228"/>
              <a:ext cx="312508" cy="347662"/>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8" name="Rectangle 167"/>
            <p:cNvSpPr/>
            <p:nvPr/>
          </p:nvSpPr>
          <p:spPr bwMode="gray">
            <a:xfrm>
              <a:off x="962945" y="2755939"/>
              <a:ext cx="351115" cy="2274480"/>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236" name="Group 235"/>
          <p:cNvGrpSpPr/>
          <p:nvPr/>
        </p:nvGrpSpPr>
        <p:grpSpPr>
          <a:xfrm>
            <a:off x="6781865" y="2576432"/>
            <a:ext cx="708767" cy="1359666"/>
            <a:chOff x="6967845" y="2084730"/>
            <a:chExt cx="876756" cy="1681928"/>
          </a:xfrm>
        </p:grpSpPr>
        <p:grpSp>
          <p:nvGrpSpPr>
            <p:cNvPr id="176" name="Group 175"/>
            <p:cNvGrpSpPr/>
            <p:nvPr/>
          </p:nvGrpSpPr>
          <p:grpSpPr>
            <a:xfrm>
              <a:off x="7072619" y="2084730"/>
              <a:ext cx="627699" cy="1681928"/>
              <a:chOff x="3747536" y="2821781"/>
              <a:chExt cx="424656" cy="1047751"/>
            </a:xfrm>
          </p:grpSpPr>
          <p:cxnSp>
            <p:nvCxnSpPr>
              <p:cNvPr id="177" name="Straight Connector 176"/>
              <p:cNvCxnSpPr/>
              <p:nvPr/>
            </p:nvCxnSpPr>
            <p:spPr>
              <a:xfrm>
                <a:off x="3747536" y="2821781"/>
                <a:ext cx="0" cy="1047751"/>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3959864" y="2821781"/>
                <a:ext cx="0" cy="1047751"/>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4172192" y="2821781"/>
                <a:ext cx="0" cy="1047751"/>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grpSp>
        <p:grpSp>
          <p:nvGrpSpPr>
            <p:cNvPr id="186" name="Group 185"/>
            <p:cNvGrpSpPr/>
            <p:nvPr/>
          </p:nvGrpSpPr>
          <p:grpSpPr>
            <a:xfrm>
              <a:off x="6967845" y="2254919"/>
              <a:ext cx="876756" cy="1437920"/>
              <a:chOff x="7120245" y="2003320"/>
              <a:chExt cx="876756" cy="1437920"/>
            </a:xfrm>
          </p:grpSpPr>
          <p:cxnSp>
            <p:nvCxnSpPr>
              <p:cNvPr id="170" name="Straight Connector 169"/>
              <p:cNvCxnSpPr/>
              <p:nvPr/>
            </p:nvCxnSpPr>
            <p:spPr>
              <a:xfrm>
                <a:off x="7120245" y="2722280"/>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7120245" y="2866072"/>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7120245" y="3009864"/>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7120245" y="3153656"/>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7120245" y="3297448"/>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7120245" y="3441240"/>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7120245" y="2003320"/>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7120245" y="2147112"/>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7120245" y="2290904"/>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7120245" y="2434696"/>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7120245" y="2578488"/>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grpSp>
      </p:grpSp>
      <p:grpSp>
        <p:nvGrpSpPr>
          <p:cNvPr id="213" name="Group 212"/>
          <p:cNvGrpSpPr/>
          <p:nvPr/>
        </p:nvGrpSpPr>
        <p:grpSpPr>
          <a:xfrm>
            <a:off x="8951206" y="3531856"/>
            <a:ext cx="592255" cy="1109275"/>
            <a:chOff x="9803754" y="2888454"/>
            <a:chExt cx="732628" cy="1372190"/>
          </a:xfrm>
        </p:grpSpPr>
        <p:grpSp>
          <p:nvGrpSpPr>
            <p:cNvPr id="211" name="Group 210"/>
            <p:cNvGrpSpPr/>
            <p:nvPr/>
          </p:nvGrpSpPr>
          <p:grpSpPr>
            <a:xfrm>
              <a:off x="9866786" y="2888454"/>
              <a:ext cx="606565" cy="1372190"/>
              <a:chOff x="9867471" y="1766339"/>
              <a:chExt cx="360939" cy="2494305"/>
            </a:xfrm>
          </p:grpSpPr>
          <p:cxnSp>
            <p:nvCxnSpPr>
              <p:cNvPr id="204" name="Straight Connector 203"/>
              <p:cNvCxnSpPr/>
              <p:nvPr/>
            </p:nvCxnSpPr>
            <p:spPr>
              <a:xfrm>
                <a:off x="9867471" y="2030617"/>
                <a:ext cx="0" cy="2230027"/>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9987784" y="1766339"/>
                <a:ext cx="0" cy="2494305"/>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10108097" y="2030617"/>
                <a:ext cx="0" cy="2230027"/>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10228410" y="2203146"/>
                <a:ext cx="0" cy="205749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12" name="Group 211"/>
            <p:cNvGrpSpPr/>
            <p:nvPr/>
          </p:nvGrpSpPr>
          <p:grpSpPr>
            <a:xfrm>
              <a:off x="9803754" y="3278142"/>
              <a:ext cx="732628" cy="872324"/>
              <a:chOff x="9803754" y="3278142"/>
              <a:chExt cx="849312" cy="872324"/>
            </a:xfrm>
          </p:grpSpPr>
          <p:cxnSp>
            <p:nvCxnSpPr>
              <p:cNvPr id="190" name="Straight Connector 189"/>
              <p:cNvCxnSpPr/>
              <p:nvPr/>
            </p:nvCxnSpPr>
            <p:spPr>
              <a:xfrm>
                <a:off x="9803754" y="3423529"/>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9803754" y="3568916"/>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9803754" y="3714303"/>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9803754" y="3859690"/>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9803754" y="4005077"/>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9803754" y="4150466"/>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9803754" y="3278142"/>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grpSp>
      <p:sp>
        <p:nvSpPr>
          <p:cNvPr id="222" name="Rectangle 221"/>
          <p:cNvSpPr/>
          <p:nvPr/>
        </p:nvSpPr>
        <p:spPr bwMode="gray">
          <a:xfrm>
            <a:off x="1997683" y="4616797"/>
            <a:ext cx="8196634" cy="82879"/>
          </a:xfrm>
          <a:prstGeom prst="rect">
            <a:avLst/>
          </a:prstGeom>
          <a:solidFill>
            <a:srgbClr val="BBBCBC"/>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cxnSp>
        <p:nvCxnSpPr>
          <p:cNvPr id="7" name="Straight Connector 6"/>
          <p:cNvCxnSpPr/>
          <p:nvPr/>
        </p:nvCxnSpPr>
        <p:spPr>
          <a:xfrm>
            <a:off x="535790" y="4699691"/>
            <a:ext cx="11167260" cy="0"/>
          </a:xfrm>
          <a:prstGeom prst="line">
            <a:avLst/>
          </a:prstGeom>
          <a:noFill/>
          <a:ln w="15875">
            <a:solidFill>
              <a:srgbClr val="97999B"/>
            </a:solidFill>
          </a:ln>
        </p:spPr>
      </p:cxnSp>
    </p:spTree>
    <p:custDataLst>
      <p:tags r:id="rId1"/>
    </p:custDataLst>
    <p:extLst>
      <p:ext uri="{BB962C8B-B14F-4D97-AF65-F5344CB8AC3E}">
        <p14:creationId xmlns:p14="http://schemas.microsoft.com/office/powerpoint/2010/main" val="3517157042"/>
      </p:ext>
    </p:extLst>
  </p:cSld>
  <p:clrMapOvr>
    <a:masterClrMapping/>
  </p:clrMapOvr>
  <p:transition>
    <p:fade/>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510B4278-395F-6347-B580-98DA655236D7}"/>
              </a:ext>
            </a:extLst>
          </p:cNvPr>
          <p:cNvGrpSpPr/>
          <p:nvPr/>
        </p:nvGrpSpPr>
        <p:grpSpPr>
          <a:xfrm>
            <a:off x="1647496" y="1399310"/>
            <a:ext cx="8897007" cy="4059379"/>
            <a:chOff x="609257" y="4058090"/>
            <a:chExt cx="7925487" cy="3616110"/>
          </a:xfrm>
        </p:grpSpPr>
        <p:sp>
          <p:nvSpPr>
            <p:cNvPr id="33" name="Freeform 11">
              <a:extLst>
                <a:ext uri="{FF2B5EF4-FFF2-40B4-BE49-F238E27FC236}">
                  <a16:creationId xmlns:a16="http://schemas.microsoft.com/office/drawing/2014/main" id="{0C9776D7-10F0-D645-9C38-EAC6E50F7A92}"/>
                </a:ext>
              </a:extLst>
            </p:cNvPr>
            <p:cNvSpPr>
              <a:spLocks/>
            </p:cNvSpPr>
            <p:nvPr/>
          </p:nvSpPr>
          <p:spPr bwMode="auto">
            <a:xfrm>
              <a:off x="5876375" y="4058090"/>
              <a:ext cx="1722478" cy="1723691"/>
            </a:xfrm>
            <a:custGeom>
              <a:avLst/>
              <a:gdLst>
                <a:gd name="T0" fmla="*/ 1730 w 3218"/>
                <a:gd name="T1" fmla="*/ 3150 h 3217"/>
                <a:gd name="T2" fmla="*/ 1730 w 3218"/>
                <a:gd name="T3" fmla="*/ 3150 h 3217"/>
                <a:gd name="T4" fmla="*/ 1488 w 3218"/>
                <a:gd name="T5" fmla="*/ 3150 h 3217"/>
                <a:gd name="T6" fmla="*/ 67 w 3218"/>
                <a:gd name="T7" fmla="*/ 1729 h 3217"/>
                <a:gd name="T8" fmla="*/ 67 w 3218"/>
                <a:gd name="T9" fmla="*/ 1487 h 3217"/>
                <a:gd name="T10" fmla="*/ 1488 w 3218"/>
                <a:gd name="T11" fmla="*/ 66 h 3217"/>
                <a:gd name="T12" fmla="*/ 1730 w 3218"/>
                <a:gd name="T13" fmla="*/ 66 h 3217"/>
                <a:gd name="T14" fmla="*/ 3151 w 3218"/>
                <a:gd name="T15" fmla="*/ 1487 h 3217"/>
                <a:gd name="T16" fmla="*/ 3151 w 3218"/>
                <a:gd name="T17" fmla="*/ 1729 h 3217"/>
                <a:gd name="T18" fmla="*/ 1730 w 3218"/>
                <a:gd name="T19" fmla="*/ 3150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8" h="3217">
                  <a:moveTo>
                    <a:pt x="1730" y="3150"/>
                  </a:moveTo>
                  <a:lnTo>
                    <a:pt x="1730" y="3150"/>
                  </a:lnTo>
                  <a:cubicBezTo>
                    <a:pt x="1663" y="3217"/>
                    <a:pt x="1555" y="3217"/>
                    <a:pt x="1488" y="3150"/>
                  </a:cubicBezTo>
                  <a:lnTo>
                    <a:pt x="67" y="1729"/>
                  </a:lnTo>
                  <a:cubicBezTo>
                    <a:pt x="0" y="1662"/>
                    <a:pt x="0" y="1554"/>
                    <a:pt x="67" y="1487"/>
                  </a:cubicBezTo>
                  <a:lnTo>
                    <a:pt x="1488" y="66"/>
                  </a:lnTo>
                  <a:cubicBezTo>
                    <a:pt x="1555" y="0"/>
                    <a:pt x="1663" y="0"/>
                    <a:pt x="1730" y="66"/>
                  </a:cubicBezTo>
                  <a:lnTo>
                    <a:pt x="3151" y="1487"/>
                  </a:lnTo>
                  <a:cubicBezTo>
                    <a:pt x="3218" y="1554"/>
                    <a:pt x="3218" y="1662"/>
                    <a:pt x="3151" y="1729"/>
                  </a:cubicBezTo>
                  <a:lnTo>
                    <a:pt x="1730" y="315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4" name="Freeform 12">
              <a:extLst>
                <a:ext uri="{FF2B5EF4-FFF2-40B4-BE49-F238E27FC236}">
                  <a16:creationId xmlns:a16="http://schemas.microsoft.com/office/drawing/2014/main" id="{BCFE152F-4E15-0444-B387-305B81F27BE3}"/>
                </a:ext>
              </a:extLst>
            </p:cNvPr>
            <p:cNvSpPr>
              <a:spLocks/>
            </p:cNvSpPr>
            <p:nvPr/>
          </p:nvSpPr>
          <p:spPr bwMode="auto">
            <a:xfrm>
              <a:off x="5856953" y="5950509"/>
              <a:ext cx="1722478" cy="1723691"/>
            </a:xfrm>
            <a:custGeom>
              <a:avLst/>
              <a:gdLst>
                <a:gd name="T0" fmla="*/ 1487 w 3217"/>
                <a:gd name="T1" fmla="*/ 67 h 3217"/>
                <a:gd name="T2" fmla="*/ 1487 w 3217"/>
                <a:gd name="T3" fmla="*/ 67 h 3217"/>
                <a:gd name="T4" fmla="*/ 1730 w 3217"/>
                <a:gd name="T5" fmla="*/ 67 h 3217"/>
                <a:gd name="T6" fmla="*/ 3150 w 3217"/>
                <a:gd name="T7" fmla="*/ 1487 h 3217"/>
                <a:gd name="T8" fmla="*/ 3150 w 3217"/>
                <a:gd name="T9" fmla="*/ 1730 h 3217"/>
                <a:gd name="T10" fmla="*/ 1730 w 3217"/>
                <a:gd name="T11" fmla="*/ 3150 h 3217"/>
                <a:gd name="T12" fmla="*/ 1487 w 3217"/>
                <a:gd name="T13" fmla="*/ 3150 h 3217"/>
                <a:gd name="T14" fmla="*/ 67 w 3217"/>
                <a:gd name="T15" fmla="*/ 1730 h 3217"/>
                <a:gd name="T16" fmla="*/ 67 w 3217"/>
                <a:gd name="T17" fmla="*/ 1487 h 3217"/>
                <a:gd name="T18" fmla="*/ 1487 w 3217"/>
                <a:gd name="T19" fmla="*/ 67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7">
                  <a:moveTo>
                    <a:pt x="1487" y="67"/>
                  </a:moveTo>
                  <a:lnTo>
                    <a:pt x="1487" y="67"/>
                  </a:lnTo>
                  <a:cubicBezTo>
                    <a:pt x="1554" y="0"/>
                    <a:pt x="1663" y="0"/>
                    <a:pt x="1730" y="67"/>
                  </a:cubicBezTo>
                  <a:lnTo>
                    <a:pt x="3150" y="1487"/>
                  </a:lnTo>
                  <a:cubicBezTo>
                    <a:pt x="3217" y="1554"/>
                    <a:pt x="3217" y="1663"/>
                    <a:pt x="3150" y="1730"/>
                  </a:cubicBezTo>
                  <a:lnTo>
                    <a:pt x="1730" y="3150"/>
                  </a:lnTo>
                  <a:cubicBezTo>
                    <a:pt x="1663" y="3217"/>
                    <a:pt x="1554" y="3217"/>
                    <a:pt x="1487" y="3150"/>
                  </a:cubicBezTo>
                  <a:lnTo>
                    <a:pt x="67" y="1730"/>
                  </a:lnTo>
                  <a:cubicBezTo>
                    <a:pt x="0" y="1663"/>
                    <a:pt x="0" y="1554"/>
                    <a:pt x="67" y="1487"/>
                  </a:cubicBezTo>
                  <a:lnTo>
                    <a:pt x="1487" y="67"/>
                  </a:lnTo>
                  <a:close/>
                </a:path>
              </a:pathLst>
            </a:custGeom>
            <a:solidFill>
              <a:srgbClr val="00ABA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5" name="Freeform 13">
              <a:extLst>
                <a:ext uri="{FF2B5EF4-FFF2-40B4-BE49-F238E27FC236}">
                  <a16:creationId xmlns:a16="http://schemas.microsoft.com/office/drawing/2014/main" id="{37C909BB-9636-6D45-A7CF-A7FA0D794ACC}"/>
                </a:ext>
              </a:extLst>
            </p:cNvPr>
            <p:cNvSpPr>
              <a:spLocks/>
            </p:cNvSpPr>
            <p:nvPr/>
          </p:nvSpPr>
          <p:spPr bwMode="auto">
            <a:xfrm>
              <a:off x="6812266" y="5013403"/>
              <a:ext cx="1722478" cy="1724905"/>
            </a:xfrm>
            <a:custGeom>
              <a:avLst/>
              <a:gdLst>
                <a:gd name="T0" fmla="*/ 67 w 3217"/>
                <a:gd name="T1" fmla="*/ 1730 h 3218"/>
                <a:gd name="T2" fmla="*/ 67 w 3217"/>
                <a:gd name="T3" fmla="*/ 1730 h 3218"/>
                <a:gd name="T4" fmla="*/ 67 w 3217"/>
                <a:gd name="T5" fmla="*/ 1488 h 3218"/>
                <a:gd name="T6" fmla="*/ 1487 w 3217"/>
                <a:gd name="T7" fmla="*/ 67 h 3218"/>
                <a:gd name="T8" fmla="*/ 1730 w 3217"/>
                <a:gd name="T9" fmla="*/ 67 h 3218"/>
                <a:gd name="T10" fmla="*/ 3150 w 3217"/>
                <a:gd name="T11" fmla="*/ 1488 h 3218"/>
                <a:gd name="T12" fmla="*/ 3150 w 3217"/>
                <a:gd name="T13" fmla="*/ 1730 h 3218"/>
                <a:gd name="T14" fmla="*/ 1730 w 3217"/>
                <a:gd name="T15" fmla="*/ 3151 h 3218"/>
                <a:gd name="T16" fmla="*/ 1487 w 3217"/>
                <a:gd name="T17" fmla="*/ 3151 h 3218"/>
                <a:gd name="T18" fmla="*/ 67 w 3217"/>
                <a:gd name="T19" fmla="*/ 1730 h 3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8">
                  <a:moveTo>
                    <a:pt x="67" y="1730"/>
                  </a:moveTo>
                  <a:lnTo>
                    <a:pt x="67" y="1730"/>
                  </a:lnTo>
                  <a:cubicBezTo>
                    <a:pt x="0" y="1663"/>
                    <a:pt x="0" y="1555"/>
                    <a:pt x="67" y="1488"/>
                  </a:cubicBezTo>
                  <a:lnTo>
                    <a:pt x="1487" y="67"/>
                  </a:lnTo>
                  <a:cubicBezTo>
                    <a:pt x="1554" y="0"/>
                    <a:pt x="1663" y="0"/>
                    <a:pt x="1730" y="67"/>
                  </a:cubicBezTo>
                  <a:lnTo>
                    <a:pt x="3150" y="1488"/>
                  </a:lnTo>
                  <a:cubicBezTo>
                    <a:pt x="3217" y="1555"/>
                    <a:pt x="3217" y="1663"/>
                    <a:pt x="3150" y="1730"/>
                  </a:cubicBezTo>
                  <a:lnTo>
                    <a:pt x="1730" y="3151"/>
                  </a:lnTo>
                  <a:cubicBezTo>
                    <a:pt x="1663" y="3218"/>
                    <a:pt x="1554" y="3218"/>
                    <a:pt x="1487" y="3151"/>
                  </a:cubicBezTo>
                  <a:lnTo>
                    <a:pt x="67" y="1730"/>
                  </a:lnTo>
                  <a:close/>
                </a:path>
              </a:pathLst>
            </a:custGeom>
            <a:solidFill>
              <a:srgbClr val="00A3E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6" name="Freeform 14">
              <a:extLst>
                <a:ext uri="{FF2B5EF4-FFF2-40B4-BE49-F238E27FC236}">
                  <a16:creationId xmlns:a16="http://schemas.microsoft.com/office/drawing/2014/main" id="{3CE207E3-8F01-A245-99BD-25239D5E3D46}"/>
                </a:ext>
              </a:extLst>
            </p:cNvPr>
            <p:cNvSpPr>
              <a:spLocks/>
            </p:cNvSpPr>
            <p:nvPr/>
          </p:nvSpPr>
          <p:spPr bwMode="auto">
            <a:xfrm>
              <a:off x="4161180" y="5002479"/>
              <a:ext cx="2482359" cy="1707911"/>
            </a:xfrm>
            <a:custGeom>
              <a:avLst/>
              <a:gdLst>
                <a:gd name="T0" fmla="*/ 4569 w 4636"/>
                <a:gd name="T1" fmla="*/ 1472 h 3187"/>
                <a:gd name="T2" fmla="*/ 4569 w 4636"/>
                <a:gd name="T3" fmla="*/ 1472 h 3187"/>
                <a:gd name="T4" fmla="*/ 3148 w 4636"/>
                <a:gd name="T5" fmla="*/ 52 h 3187"/>
                <a:gd name="T6" fmla="*/ 3019 w 4636"/>
                <a:gd name="T7" fmla="*/ 2 h 3187"/>
                <a:gd name="T8" fmla="*/ 3012 w 4636"/>
                <a:gd name="T9" fmla="*/ 1 h 3187"/>
                <a:gd name="T10" fmla="*/ 171 w 4636"/>
                <a:gd name="T11" fmla="*/ 1 h 3187"/>
                <a:gd name="T12" fmla="*/ 0 w 4636"/>
                <a:gd name="T13" fmla="*/ 173 h 3187"/>
                <a:gd name="T14" fmla="*/ 0 w 4636"/>
                <a:gd name="T15" fmla="*/ 3014 h 3187"/>
                <a:gd name="T16" fmla="*/ 171 w 4636"/>
                <a:gd name="T17" fmla="*/ 3185 h 3187"/>
                <a:gd name="T18" fmla="*/ 3012 w 4636"/>
                <a:gd name="T19" fmla="*/ 3185 h 3187"/>
                <a:gd name="T20" fmla="*/ 3019 w 4636"/>
                <a:gd name="T21" fmla="*/ 3185 h 3187"/>
                <a:gd name="T22" fmla="*/ 3148 w 4636"/>
                <a:gd name="T23" fmla="*/ 3135 h 3187"/>
                <a:gd name="T24" fmla="*/ 4569 w 4636"/>
                <a:gd name="T25" fmla="*/ 1715 h 3187"/>
                <a:gd name="T26" fmla="*/ 4569 w 4636"/>
                <a:gd name="T27" fmla="*/ 1472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6" h="3187">
                  <a:moveTo>
                    <a:pt x="4569" y="1472"/>
                  </a:moveTo>
                  <a:lnTo>
                    <a:pt x="4569" y="1472"/>
                  </a:lnTo>
                  <a:lnTo>
                    <a:pt x="3148" y="52"/>
                  </a:lnTo>
                  <a:cubicBezTo>
                    <a:pt x="3113" y="16"/>
                    <a:pt x="3066" y="0"/>
                    <a:pt x="3019" y="2"/>
                  </a:cubicBezTo>
                  <a:cubicBezTo>
                    <a:pt x="3017" y="2"/>
                    <a:pt x="3015" y="1"/>
                    <a:pt x="3012" y="1"/>
                  </a:cubicBezTo>
                  <a:lnTo>
                    <a:pt x="171" y="1"/>
                  </a:lnTo>
                  <a:cubicBezTo>
                    <a:pt x="76" y="1"/>
                    <a:pt x="0" y="78"/>
                    <a:pt x="0" y="173"/>
                  </a:cubicBezTo>
                  <a:lnTo>
                    <a:pt x="0" y="3014"/>
                  </a:lnTo>
                  <a:cubicBezTo>
                    <a:pt x="0" y="3109"/>
                    <a:pt x="76" y="3185"/>
                    <a:pt x="171" y="3185"/>
                  </a:cubicBezTo>
                  <a:lnTo>
                    <a:pt x="3012" y="3185"/>
                  </a:lnTo>
                  <a:cubicBezTo>
                    <a:pt x="3015" y="3185"/>
                    <a:pt x="3017" y="3185"/>
                    <a:pt x="3019" y="3185"/>
                  </a:cubicBezTo>
                  <a:cubicBezTo>
                    <a:pt x="3066" y="3187"/>
                    <a:pt x="3113" y="3171"/>
                    <a:pt x="3148" y="3135"/>
                  </a:cubicBezTo>
                  <a:lnTo>
                    <a:pt x="4569" y="1715"/>
                  </a:lnTo>
                  <a:cubicBezTo>
                    <a:pt x="4636" y="1648"/>
                    <a:pt x="4636" y="1539"/>
                    <a:pt x="4569" y="147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7" name="Freeform 11">
              <a:extLst>
                <a:ext uri="{FF2B5EF4-FFF2-40B4-BE49-F238E27FC236}">
                  <a16:creationId xmlns:a16="http://schemas.microsoft.com/office/drawing/2014/main" id="{93E6C1AF-997E-3640-A293-A214E373CE7F}"/>
                </a:ext>
              </a:extLst>
            </p:cNvPr>
            <p:cNvSpPr>
              <a:spLocks/>
            </p:cNvSpPr>
            <p:nvPr/>
          </p:nvSpPr>
          <p:spPr bwMode="auto">
            <a:xfrm flipH="1">
              <a:off x="1545148" y="4058090"/>
              <a:ext cx="1722478" cy="1723691"/>
            </a:xfrm>
            <a:custGeom>
              <a:avLst/>
              <a:gdLst>
                <a:gd name="T0" fmla="*/ 1730 w 3218"/>
                <a:gd name="T1" fmla="*/ 3150 h 3217"/>
                <a:gd name="T2" fmla="*/ 1730 w 3218"/>
                <a:gd name="T3" fmla="*/ 3150 h 3217"/>
                <a:gd name="T4" fmla="*/ 1488 w 3218"/>
                <a:gd name="T5" fmla="*/ 3150 h 3217"/>
                <a:gd name="T6" fmla="*/ 67 w 3218"/>
                <a:gd name="T7" fmla="*/ 1729 h 3217"/>
                <a:gd name="T8" fmla="*/ 67 w 3218"/>
                <a:gd name="T9" fmla="*/ 1487 h 3217"/>
                <a:gd name="T10" fmla="*/ 1488 w 3218"/>
                <a:gd name="T11" fmla="*/ 66 h 3217"/>
                <a:gd name="T12" fmla="*/ 1730 w 3218"/>
                <a:gd name="T13" fmla="*/ 66 h 3217"/>
                <a:gd name="T14" fmla="*/ 3151 w 3218"/>
                <a:gd name="T15" fmla="*/ 1487 h 3217"/>
                <a:gd name="T16" fmla="*/ 3151 w 3218"/>
                <a:gd name="T17" fmla="*/ 1729 h 3217"/>
                <a:gd name="T18" fmla="*/ 1730 w 3218"/>
                <a:gd name="T19" fmla="*/ 3150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8" h="3217">
                  <a:moveTo>
                    <a:pt x="1730" y="3150"/>
                  </a:moveTo>
                  <a:lnTo>
                    <a:pt x="1730" y="3150"/>
                  </a:lnTo>
                  <a:cubicBezTo>
                    <a:pt x="1663" y="3217"/>
                    <a:pt x="1555" y="3217"/>
                    <a:pt x="1488" y="3150"/>
                  </a:cubicBezTo>
                  <a:lnTo>
                    <a:pt x="67" y="1729"/>
                  </a:lnTo>
                  <a:cubicBezTo>
                    <a:pt x="0" y="1662"/>
                    <a:pt x="0" y="1554"/>
                    <a:pt x="67" y="1487"/>
                  </a:cubicBezTo>
                  <a:lnTo>
                    <a:pt x="1488" y="66"/>
                  </a:lnTo>
                  <a:cubicBezTo>
                    <a:pt x="1555" y="0"/>
                    <a:pt x="1663" y="0"/>
                    <a:pt x="1730" y="66"/>
                  </a:cubicBezTo>
                  <a:lnTo>
                    <a:pt x="3151" y="1487"/>
                  </a:lnTo>
                  <a:cubicBezTo>
                    <a:pt x="3218" y="1554"/>
                    <a:pt x="3218" y="1662"/>
                    <a:pt x="3151" y="1729"/>
                  </a:cubicBezTo>
                  <a:lnTo>
                    <a:pt x="1730" y="315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8" name="Freeform 12">
              <a:extLst>
                <a:ext uri="{FF2B5EF4-FFF2-40B4-BE49-F238E27FC236}">
                  <a16:creationId xmlns:a16="http://schemas.microsoft.com/office/drawing/2014/main" id="{CDD1EB5B-9C6F-A749-BE0A-DC7D96B5202C}"/>
                </a:ext>
              </a:extLst>
            </p:cNvPr>
            <p:cNvSpPr>
              <a:spLocks/>
            </p:cNvSpPr>
            <p:nvPr/>
          </p:nvSpPr>
          <p:spPr bwMode="auto">
            <a:xfrm flipH="1">
              <a:off x="1564570" y="5950509"/>
              <a:ext cx="1722478" cy="1723691"/>
            </a:xfrm>
            <a:custGeom>
              <a:avLst/>
              <a:gdLst>
                <a:gd name="T0" fmla="*/ 1487 w 3217"/>
                <a:gd name="T1" fmla="*/ 67 h 3217"/>
                <a:gd name="T2" fmla="*/ 1487 w 3217"/>
                <a:gd name="T3" fmla="*/ 67 h 3217"/>
                <a:gd name="T4" fmla="*/ 1730 w 3217"/>
                <a:gd name="T5" fmla="*/ 67 h 3217"/>
                <a:gd name="T6" fmla="*/ 3150 w 3217"/>
                <a:gd name="T7" fmla="*/ 1487 h 3217"/>
                <a:gd name="T8" fmla="*/ 3150 w 3217"/>
                <a:gd name="T9" fmla="*/ 1730 h 3217"/>
                <a:gd name="T10" fmla="*/ 1730 w 3217"/>
                <a:gd name="T11" fmla="*/ 3150 h 3217"/>
                <a:gd name="T12" fmla="*/ 1487 w 3217"/>
                <a:gd name="T13" fmla="*/ 3150 h 3217"/>
                <a:gd name="T14" fmla="*/ 67 w 3217"/>
                <a:gd name="T15" fmla="*/ 1730 h 3217"/>
                <a:gd name="T16" fmla="*/ 67 w 3217"/>
                <a:gd name="T17" fmla="*/ 1487 h 3217"/>
                <a:gd name="T18" fmla="*/ 1487 w 3217"/>
                <a:gd name="T19" fmla="*/ 67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7">
                  <a:moveTo>
                    <a:pt x="1487" y="67"/>
                  </a:moveTo>
                  <a:lnTo>
                    <a:pt x="1487" y="67"/>
                  </a:lnTo>
                  <a:cubicBezTo>
                    <a:pt x="1554" y="0"/>
                    <a:pt x="1663" y="0"/>
                    <a:pt x="1730" y="67"/>
                  </a:cubicBezTo>
                  <a:lnTo>
                    <a:pt x="3150" y="1487"/>
                  </a:lnTo>
                  <a:cubicBezTo>
                    <a:pt x="3217" y="1554"/>
                    <a:pt x="3217" y="1663"/>
                    <a:pt x="3150" y="1730"/>
                  </a:cubicBezTo>
                  <a:lnTo>
                    <a:pt x="1730" y="3150"/>
                  </a:lnTo>
                  <a:cubicBezTo>
                    <a:pt x="1663" y="3217"/>
                    <a:pt x="1554" y="3217"/>
                    <a:pt x="1487" y="3150"/>
                  </a:cubicBezTo>
                  <a:lnTo>
                    <a:pt x="67" y="1730"/>
                  </a:lnTo>
                  <a:cubicBezTo>
                    <a:pt x="0" y="1663"/>
                    <a:pt x="0" y="1554"/>
                    <a:pt x="67" y="1487"/>
                  </a:cubicBezTo>
                  <a:lnTo>
                    <a:pt x="1487" y="67"/>
                  </a:lnTo>
                  <a:close/>
                </a:path>
              </a:pathLst>
            </a:custGeom>
            <a:solidFill>
              <a:srgbClr val="00ABA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9" name="Freeform 13">
              <a:extLst>
                <a:ext uri="{FF2B5EF4-FFF2-40B4-BE49-F238E27FC236}">
                  <a16:creationId xmlns:a16="http://schemas.microsoft.com/office/drawing/2014/main" id="{960F5986-3944-B64E-979E-78EE380C376B}"/>
                </a:ext>
              </a:extLst>
            </p:cNvPr>
            <p:cNvSpPr>
              <a:spLocks/>
            </p:cNvSpPr>
            <p:nvPr/>
          </p:nvSpPr>
          <p:spPr bwMode="auto">
            <a:xfrm flipH="1">
              <a:off x="609257" y="5013403"/>
              <a:ext cx="1722478" cy="1724905"/>
            </a:xfrm>
            <a:custGeom>
              <a:avLst/>
              <a:gdLst>
                <a:gd name="T0" fmla="*/ 67 w 3217"/>
                <a:gd name="T1" fmla="*/ 1730 h 3218"/>
                <a:gd name="T2" fmla="*/ 67 w 3217"/>
                <a:gd name="T3" fmla="*/ 1730 h 3218"/>
                <a:gd name="T4" fmla="*/ 67 w 3217"/>
                <a:gd name="T5" fmla="*/ 1488 h 3218"/>
                <a:gd name="T6" fmla="*/ 1487 w 3217"/>
                <a:gd name="T7" fmla="*/ 67 h 3218"/>
                <a:gd name="T8" fmla="*/ 1730 w 3217"/>
                <a:gd name="T9" fmla="*/ 67 h 3218"/>
                <a:gd name="T10" fmla="*/ 3150 w 3217"/>
                <a:gd name="T11" fmla="*/ 1488 h 3218"/>
                <a:gd name="T12" fmla="*/ 3150 w 3217"/>
                <a:gd name="T13" fmla="*/ 1730 h 3218"/>
                <a:gd name="T14" fmla="*/ 1730 w 3217"/>
                <a:gd name="T15" fmla="*/ 3151 h 3218"/>
                <a:gd name="T16" fmla="*/ 1487 w 3217"/>
                <a:gd name="T17" fmla="*/ 3151 h 3218"/>
                <a:gd name="T18" fmla="*/ 67 w 3217"/>
                <a:gd name="T19" fmla="*/ 1730 h 3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8">
                  <a:moveTo>
                    <a:pt x="67" y="1730"/>
                  </a:moveTo>
                  <a:lnTo>
                    <a:pt x="67" y="1730"/>
                  </a:lnTo>
                  <a:cubicBezTo>
                    <a:pt x="0" y="1663"/>
                    <a:pt x="0" y="1555"/>
                    <a:pt x="67" y="1488"/>
                  </a:cubicBezTo>
                  <a:lnTo>
                    <a:pt x="1487" y="67"/>
                  </a:lnTo>
                  <a:cubicBezTo>
                    <a:pt x="1554" y="0"/>
                    <a:pt x="1663" y="0"/>
                    <a:pt x="1730" y="67"/>
                  </a:cubicBezTo>
                  <a:lnTo>
                    <a:pt x="3150" y="1488"/>
                  </a:lnTo>
                  <a:cubicBezTo>
                    <a:pt x="3217" y="1555"/>
                    <a:pt x="3217" y="1663"/>
                    <a:pt x="3150" y="1730"/>
                  </a:cubicBezTo>
                  <a:lnTo>
                    <a:pt x="1730" y="3151"/>
                  </a:lnTo>
                  <a:cubicBezTo>
                    <a:pt x="1663" y="3218"/>
                    <a:pt x="1554" y="3218"/>
                    <a:pt x="1487" y="3151"/>
                  </a:cubicBezTo>
                  <a:lnTo>
                    <a:pt x="67" y="1730"/>
                  </a:lnTo>
                  <a:close/>
                </a:path>
              </a:pathLst>
            </a:custGeom>
            <a:solidFill>
              <a:srgbClr val="00A3E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40" name="Freeform 14">
              <a:extLst>
                <a:ext uri="{FF2B5EF4-FFF2-40B4-BE49-F238E27FC236}">
                  <a16:creationId xmlns:a16="http://schemas.microsoft.com/office/drawing/2014/main" id="{A1387DBC-6607-A844-A5A2-0044061185B0}"/>
                </a:ext>
              </a:extLst>
            </p:cNvPr>
            <p:cNvSpPr>
              <a:spLocks/>
            </p:cNvSpPr>
            <p:nvPr/>
          </p:nvSpPr>
          <p:spPr bwMode="auto">
            <a:xfrm flipH="1">
              <a:off x="2500462" y="5002479"/>
              <a:ext cx="2482359" cy="1707911"/>
            </a:xfrm>
            <a:custGeom>
              <a:avLst/>
              <a:gdLst>
                <a:gd name="T0" fmla="*/ 4569 w 4636"/>
                <a:gd name="T1" fmla="*/ 1472 h 3187"/>
                <a:gd name="T2" fmla="*/ 4569 w 4636"/>
                <a:gd name="T3" fmla="*/ 1472 h 3187"/>
                <a:gd name="T4" fmla="*/ 3148 w 4636"/>
                <a:gd name="T5" fmla="*/ 52 h 3187"/>
                <a:gd name="T6" fmla="*/ 3019 w 4636"/>
                <a:gd name="T7" fmla="*/ 2 h 3187"/>
                <a:gd name="T8" fmla="*/ 3012 w 4636"/>
                <a:gd name="T9" fmla="*/ 1 h 3187"/>
                <a:gd name="T10" fmla="*/ 171 w 4636"/>
                <a:gd name="T11" fmla="*/ 1 h 3187"/>
                <a:gd name="T12" fmla="*/ 0 w 4636"/>
                <a:gd name="T13" fmla="*/ 173 h 3187"/>
                <a:gd name="T14" fmla="*/ 0 w 4636"/>
                <a:gd name="T15" fmla="*/ 3014 h 3187"/>
                <a:gd name="T16" fmla="*/ 171 w 4636"/>
                <a:gd name="T17" fmla="*/ 3185 h 3187"/>
                <a:gd name="T18" fmla="*/ 3012 w 4636"/>
                <a:gd name="T19" fmla="*/ 3185 h 3187"/>
                <a:gd name="T20" fmla="*/ 3019 w 4636"/>
                <a:gd name="T21" fmla="*/ 3185 h 3187"/>
                <a:gd name="T22" fmla="*/ 3148 w 4636"/>
                <a:gd name="T23" fmla="*/ 3135 h 3187"/>
                <a:gd name="T24" fmla="*/ 4569 w 4636"/>
                <a:gd name="T25" fmla="*/ 1715 h 3187"/>
                <a:gd name="T26" fmla="*/ 4569 w 4636"/>
                <a:gd name="T27" fmla="*/ 1472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6" h="3187">
                  <a:moveTo>
                    <a:pt x="4569" y="1472"/>
                  </a:moveTo>
                  <a:lnTo>
                    <a:pt x="4569" y="1472"/>
                  </a:lnTo>
                  <a:lnTo>
                    <a:pt x="3148" y="52"/>
                  </a:lnTo>
                  <a:cubicBezTo>
                    <a:pt x="3113" y="16"/>
                    <a:pt x="3066" y="0"/>
                    <a:pt x="3019" y="2"/>
                  </a:cubicBezTo>
                  <a:cubicBezTo>
                    <a:pt x="3017" y="2"/>
                    <a:pt x="3015" y="1"/>
                    <a:pt x="3012" y="1"/>
                  </a:cubicBezTo>
                  <a:lnTo>
                    <a:pt x="171" y="1"/>
                  </a:lnTo>
                  <a:cubicBezTo>
                    <a:pt x="76" y="1"/>
                    <a:pt x="0" y="78"/>
                    <a:pt x="0" y="173"/>
                  </a:cubicBezTo>
                  <a:lnTo>
                    <a:pt x="0" y="3014"/>
                  </a:lnTo>
                  <a:cubicBezTo>
                    <a:pt x="0" y="3109"/>
                    <a:pt x="76" y="3185"/>
                    <a:pt x="171" y="3185"/>
                  </a:cubicBezTo>
                  <a:lnTo>
                    <a:pt x="3012" y="3185"/>
                  </a:lnTo>
                  <a:cubicBezTo>
                    <a:pt x="3015" y="3185"/>
                    <a:pt x="3017" y="3185"/>
                    <a:pt x="3019" y="3185"/>
                  </a:cubicBezTo>
                  <a:cubicBezTo>
                    <a:pt x="3066" y="3187"/>
                    <a:pt x="3113" y="3171"/>
                    <a:pt x="3148" y="3135"/>
                  </a:cubicBezTo>
                  <a:lnTo>
                    <a:pt x="4569" y="1715"/>
                  </a:lnTo>
                  <a:cubicBezTo>
                    <a:pt x="4636" y="1648"/>
                    <a:pt x="4636" y="1539"/>
                    <a:pt x="4569" y="147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41" name="Rectangle 26">
              <a:extLst>
                <a:ext uri="{FF2B5EF4-FFF2-40B4-BE49-F238E27FC236}">
                  <a16:creationId xmlns:a16="http://schemas.microsoft.com/office/drawing/2014/main" id="{09E5A219-BA70-6649-9E9E-728076119DB5}"/>
                </a:ext>
              </a:extLst>
            </p:cNvPr>
            <p:cNvSpPr>
              <a:spLocks noChangeArrowheads="1"/>
            </p:cNvSpPr>
            <p:nvPr/>
          </p:nvSpPr>
          <p:spPr bwMode="auto">
            <a:xfrm>
              <a:off x="1841066" y="4788040"/>
              <a:ext cx="113064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2" name="Rectangle 26">
              <a:extLst>
                <a:ext uri="{FF2B5EF4-FFF2-40B4-BE49-F238E27FC236}">
                  <a16:creationId xmlns:a16="http://schemas.microsoft.com/office/drawing/2014/main" id="{D1F3E381-466E-AC48-AC98-A4EA133E9127}"/>
                </a:ext>
              </a:extLst>
            </p:cNvPr>
            <p:cNvSpPr>
              <a:spLocks noChangeArrowheads="1"/>
            </p:cNvSpPr>
            <p:nvPr/>
          </p:nvSpPr>
          <p:spPr bwMode="auto">
            <a:xfrm>
              <a:off x="937646" y="5692201"/>
              <a:ext cx="103900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3" name="Rectangle 26">
              <a:extLst>
                <a:ext uri="{FF2B5EF4-FFF2-40B4-BE49-F238E27FC236}">
                  <a16:creationId xmlns:a16="http://schemas.microsoft.com/office/drawing/2014/main" id="{A09EACD0-F99C-EB47-8687-D777E32BDEBD}"/>
                </a:ext>
              </a:extLst>
            </p:cNvPr>
            <p:cNvSpPr>
              <a:spLocks noChangeArrowheads="1"/>
            </p:cNvSpPr>
            <p:nvPr/>
          </p:nvSpPr>
          <p:spPr bwMode="auto">
            <a:xfrm>
              <a:off x="1772967" y="6676056"/>
              <a:ext cx="130568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4" name="Rectangle 26">
              <a:extLst>
                <a:ext uri="{FF2B5EF4-FFF2-40B4-BE49-F238E27FC236}">
                  <a16:creationId xmlns:a16="http://schemas.microsoft.com/office/drawing/2014/main" id="{7CC82D70-8F0A-C043-ACAA-234193E07A6F}"/>
                </a:ext>
              </a:extLst>
            </p:cNvPr>
            <p:cNvSpPr>
              <a:spLocks noChangeArrowheads="1"/>
            </p:cNvSpPr>
            <p:nvPr/>
          </p:nvSpPr>
          <p:spPr bwMode="auto">
            <a:xfrm>
              <a:off x="6159971" y="4788040"/>
              <a:ext cx="115528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5" name="Rectangle 26">
              <a:extLst>
                <a:ext uri="{FF2B5EF4-FFF2-40B4-BE49-F238E27FC236}">
                  <a16:creationId xmlns:a16="http://schemas.microsoft.com/office/drawing/2014/main" id="{33FA042B-45AD-204B-8378-8B633BE12FB6}"/>
                </a:ext>
              </a:extLst>
            </p:cNvPr>
            <p:cNvSpPr>
              <a:spLocks noChangeArrowheads="1"/>
            </p:cNvSpPr>
            <p:nvPr/>
          </p:nvSpPr>
          <p:spPr bwMode="auto">
            <a:xfrm>
              <a:off x="7111768" y="5692201"/>
              <a:ext cx="112347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6" name="Rectangle 26">
              <a:extLst>
                <a:ext uri="{FF2B5EF4-FFF2-40B4-BE49-F238E27FC236}">
                  <a16:creationId xmlns:a16="http://schemas.microsoft.com/office/drawing/2014/main" id="{7045020E-0E25-D34F-B4E8-8E616E811686}"/>
                </a:ext>
              </a:extLst>
            </p:cNvPr>
            <p:cNvSpPr>
              <a:spLocks noChangeArrowheads="1"/>
            </p:cNvSpPr>
            <p:nvPr/>
          </p:nvSpPr>
          <p:spPr bwMode="auto">
            <a:xfrm>
              <a:off x="6139287" y="6676056"/>
              <a:ext cx="115781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7" name="Rectangle 26">
              <a:extLst>
                <a:ext uri="{FF2B5EF4-FFF2-40B4-BE49-F238E27FC236}">
                  <a16:creationId xmlns:a16="http://schemas.microsoft.com/office/drawing/2014/main" id="{3FAD91D3-CB2F-334D-AA7B-18729D5CE4BB}"/>
                </a:ext>
              </a:extLst>
            </p:cNvPr>
            <p:cNvSpPr>
              <a:spLocks noChangeArrowheads="1"/>
            </p:cNvSpPr>
            <p:nvPr/>
          </p:nvSpPr>
          <p:spPr bwMode="auto">
            <a:xfrm>
              <a:off x="4060780" y="5779490"/>
              <a:ext cx="149880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spcBef>
                  <a:spcPts val="0"/>
                </a:spcBef>
                <a:spcAft>
                  <a:spcPts val="0"/>
                </a:spcAft>
              </a:pPr>
              <a:r>
                <a:rPr lang="da-DK" altLang="en-US" sz="1000" b="1" dirty="0">
                  <a:solidFill>
                    <a:schemeClr val="bg1"/>
                  </a:solidFill>
                  <a:latin typeface="+mj-lt"/>
                </a:rPr>
                <a:t>Lorem ipsum dolor sit amet,</a:t>
              </a:r>
              <a:endParaRPr lang="en-US" altLang="en-US" sz="1000" b="1" dirty="0">
                <a:solidFill>
                  <a:schemeClr val="bg1"/>
                </a:solidFill>
                <a:latin typeface="+mj-lt"/>
              </a:endParaRPr>
            </a:p>
          </p:txBody>
        </p:sp>
        <p:grpSp>
          <p:nvGrpSpPr>
            <p:cNvPr id="48" name="Group 503">
              <a:extLst>
                <a:ext uri="{FF2B5EF4-FFF2-40B4-BE49-F238E27FC236}">
                  <a16:creationId xmlns:a16="http://schemas.microsoft.com/office/drawing/2014/main" id="{517D1A38-1D9E-DF40-9DE4-58B459E20F8A}"/>
                </a:ext>
              </a:extLst>
            </p:cNvPr>
            <p:cNvGrpSpPr>
              <a:grpSpLocks noChangeAspect="1"/>
            </p:cNvGrpSpPr>
            <p:nvPr/>
          </p:nvGrpSpPr>
          <p:grpSpPr bwMode="auto">
            <a:xfrm>
              <a:off x="3302097" y="5536394"/>
              <a:ext cx="640080" cy="640080"/>
              <a:chOff x="1920" y="2027"/>
              <a:chExt cx="340" cy="340"/>
            </a:xfrm>
            <a:solidFill>
              <a:schemeClr val="bg1"/>
            </a:solidFill>
          </p:grpSpPr>
          <p:sp>
            <p:nvSpPr>
              <p:cNvPr id="49" name="Freeform 504">
                <a:extLst>
                  <a:ext uri="{FF2B5EF4-FFF2-40B4-BE49-F238E27FC236}">
                    <a16:creationId xmlns:a16="http://schemas.microsoft.com/office/drawing/2014/main" id="{87DEED61-5C08-494D-A1C4-F2ECC678332D}"/>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505">
                <a:extLst>
                  <a:ext uri="{FF2B5EF4-FFF2-40B4-BE49-F238E27FC236}">
                    <a16:creationId xmlns:a16="http://schemas.microsoft.com/office/drawing/2014/main" id="{8C76B4D5-36FC-D24A-859F-31E1193494B0}"/>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custDataLst>
      <p:tags r:id="rId1"/>
    </p:custDataLst>
    <p:extLst>
      <p:ext uri="{BB962C8B-B14F-4D97-AF65-F5344CB8AC3E}">
        <p14:creationId xmlns:p14="http://schemas.microsoft.com/office/powerpoint/2010/main" val="1355851801"/>
      </p:ext>
    </p:extLst>
  </p:cSld>
  <p:clrMapOvr>
    <a:masterClrMapping/>
  </p:clrMapOvr>
  <p:transition>
    <p:fade/>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9B2D900-89B7-4626-8B3D-B9AD29DDE1C0}"/>
              </a:ext>
            </a:extLst>
          </p:cNvPr>
          <p:cNvGrpSpPr/>
          <p:nvPr/>
        </p:nvGrpSpPr>
        <p:grpSpPr>
          <a:xfrm>
            <a:off x="4250471" y="872943"/>
            <a:ext cx="3691057" cy="5112114"/>
            <a:chOff x="4752909" y="1967287"/>
            <a:chExt cx="2667000" cy="3693795"/>
          </a:xfrm>
        </p:grpSpPr>
        <p:grpSp>
          <p:nvGrpSpPr>
            <p:cNvPr id="71" name="Group 70">
              <a:extLst>
                <a:ext uri="{FF2B5EF4-FFF2-40B4-BE49-F238E27FC236}">
                  <a16:creationId xmlns:a16="http://schemas.microsoft.com/office/drawing/2014/main" id="{E6B70D91-2163-EB4A-843A-2AE71FA981A3}"/>
                </a:ext>
              </a:extLst>
            </p:cNvPr>
            <p:cNvGrpSpPr/>
            <p:nvPr/>
          </p:nvGrpSpPr>
          <p:grpSpPr>
            <a:xfrm>
              <a:off x="4752909" y="1967287"/>
              <a:ext cx="2667000" cy="3693795"/>
              <a:chOff x="4167187" y="2622868"/>
              <a:chExt cx="2667000" cy="3693795"/>
            </a:xfrm>
          </p:grpSpPr>
          <p:grpSp>
            <p:nvGrpSpPr>
              <p:cNvPr id="72" name="Group 71">
                <a:extLst>
                  <a:ext uri="{FF2B5EF4-FFF2-40B4-BE49-F238E27FC236}">
                    <a16:creationId xmlns:a16="http://schemas.microsoft.com/office/drawing/2014/main" id="{3F7596A7-A689-D340-A386-7B8E7A961368}"/>
                  </a:ext>
                </a:extLst>
              </p:cNvPr>
              <p:cNvGrpSpPr/>
              <p:nvPr/>
            </p:nvGrpSpPr>
            <p:grpSpPr>
              <a:xfrm>
                <a:off x="4167187" y="2622868"/>
                <a:ext cx="2667000" cy="3693795"/>
                <a:chOff x="2849563" y="2339975"/>
                <a:chExt cx="2857500" cy="3957638"/>
              </a:xfrm>
            </p:grpSpPr>
            <p:sp>
              <p:nvSpPr>
                <p:cNvPr id="80" name="Freeform 5">
                  <a:extLst>
                    <a:ext uri="{FF2B5EF4-FFF2-40B4-BE49-F238E27FC236}">
                      <a16:creationId xmlns:a16="http://schemas.microsoft.com/office/drawing/2014/main" id="{76752102-E4C1-D547-8260-AE22624FD9D5}"/>
                    </a:ext>
                  </a:extLst>
                </p:cNvPr>
                <p:cNvSpPr>
                  <a:spLocks/>
                </p:cNvSpPr>
                <p:nvPr/>
              </p:nvSpPr>
              <p:spPr bwMode="auto">
                <a:xfrm>
                  <a:off x="2860675" y="3773488"/>
                  <a:ext cx="869950" cy="969963"/>
                </a:xfrm>
                <a:custGeom>
                  <a:avLst/>
                  <a:gdLst>
                    <a:gd name="T0" fmla="*/ 36 w 77"/>
                    <a:gd name="T1" fmla="*/ 86 h 86"/>
                    <a:gd name="T2" fmla="*/ 77 w 77"/>
                    <a:gd name="T3" fmla="*/ 47 h 86"/>
                    <a:gd name="T4" fmla="*/ 59 w 77"/>
                    <a:gd name="T5" fmla="*/ 7 h 86"/>
                    <a:gd name="T6" fmla="*/ 59 w 77"/>
                    <a:gd name="T7" fmla="*/ 0 h 86"/>
                    <a:gd name="T8" fmla="*/ 1 w 77"/>
                    <a:gd name="T9" fmla="*/ 1 h 86"/>
                    <a:gd name="T10" fmla="*/ 36 w 77"/>
                    <a:gd name="T11" fmla="*/ 86 h 86"/>
                  </a:gdLst>
                  <a:ahLst/>
                  <a:cxnLst>
                    <a:cxn ang="0">
                      <a:pos x="T0" y="T1"/>
                    </a:cxn>
                    <a:cxn ang="0">
                      <a:pos x="T2" y="T3"/>
                    </a:cxn>
                    <a:cxn ang="0">
                      <a:pos x="T4" y="T5"/>
                    </a:cxn>
                    <a:cxn ang="0">
                      <a:pos x="T6" y="T7"/>
                    </a:cxn>
                    <a:cxn ang="0">
                      <a:pos x="T8" y="T9"/>
                    </a:cxn>
                    <a:cxn ang="0">
                      <a:pos x="T10" y="T11"/>
                    </a:cxn>
                  </a:cxnLst>
                  <a:rect l="0" t="0" r="r" b="b"/>
                  <a:pathLst>
                    <a:path w="77" h="86">
                      <a:moveTo>
                        <a:pt x="36" y="86"/>
                      </a:moveTo>
                      <a:cubicBezTo>
                        <a:pt x="77" y="47"/>
                        <a:pt x="77" y="47"/>
                        <a:pt x="77" y="47"/>
                      </a:cubicBezTo>
                      <a:cubicBezTo>
                        <a:pt x="77" y="47"/>
                        <a:pt x="60" y="29"/>
                        <a:pt x="59" y="7"/>
                      </a:cubicBezTo>
                      <a:cubicBezTo>
                        <a:pt x="59" y="5"/>
                        <a:pt x="59" y="2"/>
                        <a:pt x="59" y="0"/>
                      </a:cubicBezTo>
                      <a:cubicBezTo>
                        <a:pt x="1" y="1"/>
                        <a:pt x="1" y="1"/>
                        <a:pt x="1" y="1"/>
                      </a:cubicBezTo>
                      <a:cubicBezTo>
                        <a:pt x="1" y="1"/>
                        <a:pt x="0" y="49"/>
                        <a:pt x="36" y="86"/>
                      </a:cubicBezTo>
                      <a:close/>
                    </a:path>
                  </a:pathLst>
                </a:custGeom>
                <a:solidFill>
                  <a:schemeClr val="tx2"/>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6">
                  <a:extLst>
                    <a:ext uri="{FF2B5EF4-FFF2-40B4-BE49-F238E27FC236}">
                      <a16:creationId xmlns:a16="http://schemas.microsoft.com/office/drawing/2014/main" id="{43BD7800-47BD-C543-BDCC-525D3CBD2335}"/>
                    </a:ext>
                  </a:extLst>
                </p:cNvPr>
                <p:cNvSpPr>
                  <a:spLocks/>
                </p:cNvSpPr>
                <p:nvPr/>
              </p:nvSpPr>
              <p:spPr bwMode="auto">
                <a:xfrm>
                  <a:off x="2849563" y="2801938"/>
                  <a:ext cx="881063" cy="982663"/>
                </a:xfrm>
                <a:custGeom>
                  <a:avLst/>
                  <a:gdLst>
                    <a:gd name="T0" fmla="*/ 78 w 78"/>
                    <a:gd name="T1" fmla="*/ 40 h 87"/>
                    <a:gd name="T2" fmla="*/ 37 w 78"/>
                    <a:gd name="T3" fmla="*/ 0 h 87"/>
                    <a:gd name="T4" fmla="*/ 2 w 78"/>
                    <a:gd name="T5" fmla="*/ 87 h 87"/>
                    <a:gd name="T6" fmla="*/ 60 w 78"/>
                    <a:gd name="T7" fmla="*/ 86 h 87"/>
                    <a:gd name="T8" fmla="*/ 78 w 78"/>
                    <a:gd name="T9" fmla="*/ 40 h 87"/>
                  </a:gdLst>
                  <a:ahLst/>
                  <a:cxnLst>
                    <a:cxn ang="0">
                      <a:pos x="T0" y="T1"/>
                    </a:cxn>
                    <a:cxn ang="0">
                      <a:pos x="T2" y="T3"/>
                    </a:cxn>
                    <a:cxn ang="0">
                      <a:pos x="T4" y="T5"/>
                    </a:cxn>
                    <a:cxn ang="0">
                      <a:pos x="T6" y="T7"/>
                    </a:cxn>
                    <a:cxn ang="0">
                      <a:pos x="T8" y="T9"/>
                    </a:cxn>
                  </a:cxnLst>
                  <a:rect l="0" t="0" r="r" b="b"/>
                  <a:pathLst>
                    <a:path w="78" h="87">
                      <a:moveTo>
                        <a:pt x="78" y="40"/>
                      </a:moveTo>
                      <a:cubicBezTo>
                        <a:pt x="37" y="0"/>
                        <a:pt x="37" y="0"/>
                        <a:pt x="37" y="0"/>
                      </a:cubicBezTo>
                      <a:cubicBezTo>
                        <a:pt x="37" y="0"/>
                        <a:pt x="0" y="34"/>
                        <a:pt x="2" y="87"/>
                      </a:cubicBezTo>
                      <a:cubicBezTo>
                        <a:pt x="60" y="86"/>
                        <a:pt x="60" y="86"/>
                        <a:pt x="60" y="86"/>
                      </a:cubicBezTo>
                      <a:cubicBezTo>
                        <a:pt x="60" y="86"/>
                        <a:pt x="60" y="60"/>
                        <a:pt x="78" y="40"/>
                      </a:cubicBezTo>
                      <a:close/>
                    </a:path>
                  </a:pathLst>
                </a:custGeom>
                <a:solidFill>
                  <a:schemeClr val="accent2"/>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7">
                  <a:extLst>
                    <a:ext uri="{FF2B5EF4-FFF2-40B4-BE49-F238E27FC236}">
                      <a16:creationId xmlns:a16="http://schemas.microsoft.com/office/drawing/2014/main" id="{26CFBAC2-9003-264C-A232-48CC0E322E56}"/>
                    </a:ext>
                  </a:extLst>
                </p:cNvPr>
                <p:cNvSpPr>
                  <a:spLocks/>
                </p:cNvSpPr>
                <p:nvPr/>
              </p:nvSpPr>
              <p:spPr bwMode="auto">
                <a:xfrm>
                  <a:off x="3267075" y="2339975"/>
                  <a:ext cx="971550" cy="914400"/>
                </a:xfrm>
                <a:custGeom>
                  <a:avLst/>
                  <a:gdLst>
                    <a:gd name="T0" fmla="*/ 86 w 86"/>
                    <a:gd name="T1" fmla="*/ 60 h 81"/>
                    <a:gd name="T2" fmla="*/ 86 w 86"/>
                    <a:gd name="T3" fmla="*/ 3 h 81"/>
                    <a:gd name="T4" fmla="*/ 0 w 86"/>
                    <a:gd name="T5" fmla="*/ 41 h 81"/>
                    <a:gd name="T6" fmla="*/ 41 w 86"/>
                    <a:gd name="T7" fmla="*/ 81 h 81"/>
                    <a:gd name="T8" fmla="*/ 86 w 86"/>
                    <a:gd name="T9" fmla="*/ 60 h 81"/>
                  </a:gdLst>
                  <a:ahLst/>
                  <a:cxnLst>
                    <a:cxn ang="0">
                      <a:pos x="T0" y="T1"/>
                    </a:cxn>
                    <a:cxn ang="0">
                      <a:pos x="T2" y="T3"/>
                    </a:cxn>
                    <a:cxn ang="0">
                      <a:pos x="T4" y="T5"/>
                    </a:cxn>
                    <a:cxn ang="0">
                      <a:pos x="T6" y="T7"/>
                    </a:cxn>
                    <a:cxn ang="0">
                      <a:pos x="T8" y="T9"/>
                    </a:cxn>
                  </a:cxnLst>
                  <a:rect l="0" t="0" r="r" b="b"/>
                  <a:pathLst>
                    <a:path w="86" h="81">
                      <a:moveTo>
                        <a:pt x="86" y="60"/>
                      </a:moveTo>
                      <a:cubicBezTo>
                        <a:pt x="86" y="3"/>
                        <a:pt x="86" y="3"/>
                        <a:pt x="86" y="3"/>
                      </a:cubicBezTo>
                      <a:cubicBezTo>
                        <a:pt x="86" y="3"/>
                        <a:pt x="43" y="0"/>
                        <a:pt x="0" y="41"/>
                      </a:cubicBezTo>
                      <a:cubicBezTo>
                        <a:pt x="41" y="81"/>
                        <a:pt x="41" y="81"/>
                        <a:pt x="41" y="81"/>
                      </a:cubicBezTo>
                      <a:cubicBezTo>
                        <a:pt x="41" y="81"/>
                        <a:pt x="54" y="64"/>
                        <a:pt x="86" y="60"/>
                      </a:cubicBezTo>
                      <a:close/>
                    </a:path>
                  </a:pathLst>
                </a:custGeom>
                <a:solidFill>
                  <a:schemeClr val="accent3"/>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8">
                  <a:extLst>
                    <a:ext uri="{FF2B5EF4-FFF2-40B4-BE49-F238E27FC236}">
                      <a16:creationId xmlns:a16="http://schemas.microsoft.com/office/drawing/2014/main" id="{1DAC8832-69A5-8A49-B10D-F1DF0693FF48}"/>
                    </a:ext>
                  </a:extLst>
                </p:cNvPr>
                <p:cNvSpPr>
                  <a:spLocks/>
                </p:cNvSpPr>
                <p:nvPr/>
              </p:nvSpPr>
              <p:spPr bwMode="auto">
                <a:xfrm>
                  <a:off x="4238625" y="2373313"/>
                  <a:ext cx="1028700" cy="857250"/>
                </a:xfrm>
                <a:custGeom>
                  <a:avLst/>
                  <a:gdLst>
                    <a:gd name="T0" fmla="*/ 50 w 91"/>
                    <a:gd name="T1" fmla="*/ 76 h 76"/>
                    <a:gd name="T2" fmla="*/ 91 w 91"/>
                    <a:gd name="T3" fmla="*/ 35 h 76"/>
                    <a:gd name="T4" fmla="*/ 0 w 91"/>
                    <a:gd name="T5" fmla="*/ 0 h 76"/>
                    <a:gd name="T6" fmla="*/ 0 w 91"/>
                    <a:gd name="T7" fmla="*/ 57 h 76"/>
                    <a:gd name="T8" fmla="*/ 50 w 91"/>
                    <a:gd name="T9" fmla="*/ 76 h 76"/>
                  </a:gdLst>
                  <a:ahLst/>
                  <a:cxnLst>
                    <a:cxn ang="0">
                      <a:pos x="T0" y="T1"/>
                    </a:cxn>
                    <a:cxn ang="0">
                      <a:pos x="T2" y="T3"/>
                    </a:cxn>
                    <a:cxn ang="0">
                      <a:pos x="T4" y="T5"/>
                    </a:cxn>
                    <a:cxn ang="0">
                      <a:pos x="T6" y="T7"/>
                    </a:cxn>
                    <a:cxn ang="0">
                      <a:pos x="T8" y="T9"/>
                    </a:cxn>
                  </a:cxnLst>
                  <a:rect l="0" t="0" r="r" b="b"/>
                  <a:pathLst>
                    <a:path w="91" h="76">
                      <a:moveTo>
                        <a:pt x="50" y="76"/>
                      </a:moveTo>
                      <a:cubicBezTo>
                        <a:pt x="91" y="35"/>
                        <a:pt x="91" y="35"/>
                        <a:pt x="91" y="35"/>
                      </a:cubicBezTo>
                      <a:cubicBezTo>
                        <a:pt x="91" y="35"/>
                        <a:pt x="61" y="0"/>
                        <a:pt x="0" y="0"/>
                      </a:cubicBezTo>
                      <a:cubicBezTo>
                        <a:pt x="0" y="57"/>
                        <a:pt x="0" y="57"/>
                        <a:pt x="0" y="57"/>
                      </a:cubicBezTo>
                      <a:cubicBezTo>
                        <a:pt x="0" y="57"/>
                        <a:pt x="27" y="54"/>
                        <a:pt x="50" y="76"/>
                      </a:cubicBezTo>
                      <a:close/>
                    </a:path>
                  </a:pathLst>
                </a:custGeom>
                <a:solidFill>
                  <a:schemeClr val="accent4"/>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9">
                  <a:extLst>
                    <a:ext uri="{FF2B5EF4-FFF2-40B4-BE49-F238E27FC236}">
                      <a16:creationId xmlns:a16="http://schemas.microsoft.com/office/drawing/2014/main" id="{60E0F0C8-DCE1-2D4B-8A1F-540E5791FA7C}"/>
                    </a:ext>
                  </a:extLst>
                </p:cNvPr>
                <p:cNvSpPr>
                  <a:spLocks/>
                </p:cNvSpPr>
                <p:nvPr/>
              </p:nvSpPr>
              <p:spPr bwMode="auto">
                <a:xfrm>
                  <a:off x="4803775" y="2768600"/>
                  <a:ext cx="903288" cy="1016000"/>
                </a:xfrm>
                <a:custGeom>
                  <a:avLst/>
                  <a:gdLst>
                    <a:gd name="T0" fmla="*/ 20 w 80"/>
                    <a:gd name="T1" fmla="*/ 90 h 90"/>
                    <a:gd name="T2" fmla="*/ 78 w 80"/>
                    <a:gd name="T3" fmla="*/ 90 h 90"/>
                    <a:gd name="T4" fmla="*/ 41 w 80"/>
                    <a:gd name="T5" fmla="*/ 0 h 90"/>
                    <a:gd name="T6" fmla="*/ 0 w 80"/>
                    <a:gd name="T7" fmla="*/ 41 h 90"/>
                    <a:gd name="T8" fmla="*/ 20 w 80"/>
                    <a:gd name="T9" fmla="*/ 90 h 90"/>
                  </a:gdLst>
                  <a:ahLst/>
                  <a:cxnLst>
                    <a:cxn ang="0">
                      <a:pos x="T0" y="T1"/>
                    </a:cxn>
                    <a:cxn ang="0">
                      <a:pos x="T2" y="T3"/>
                    </a:cxn>
                    <a:cxn ang="0">
                      <a:pos x="T4" y="T5"/>
                    </a:cxn>
                    <a:cxn ang="0">
                      <a:pos x="T6" y="T7"/>
                    </a:cxn>
                    <a:cxn ang="0">
                      <a:pos x="T8" y="T9"/>
                    </a:cxn>
                  </a:cxnLst>
                  <a:rect l="0" t="0" r="r" b="b"/>
                  <a:pathLst>
                    <a:path w="80" h="90">
                      <a:moveTo>
                        <a:pt x="20" y="90"/>
                      </a:moveTo>
                      <a:cubicBezTo>
                        <a:pt x="78" y="90"/>
                        <a:pt x="78" y="90"/>
                        <a:pt x="78" y="90"/>
                      </a:cubicBezTo>
                      <a:cubicBezTo>
                        <a:pt x="78" y="90"/>
                        <a:pt x="80" y="35"/>
                        <a:pt x="41" y="0"/>
                      </a:cubicBezTo>
                      <a:cubicBezTo>
                        <a:pt x="0" y="41"/>
                        <a:pt x="0" y="41"/>
                        <a:pt x="0" y="41"/>
                      </a:cubicBezTo>
                      <a:cubicBezTo>
                        <a:pt x="0" y="41"/>
                        <a:pt x="22" y="61"/>
                        <a:pt x="20" y="90"/>
                      </a:cubicBezTo>
                      <a:close/>
                    </a:path>
                  </a:pathLst>
                </a:custGeom>
                <a:solidFill>
                  <a:schemeClr val="accent6"/>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10">
                  <a:extLst>
                    <a:ext uri="{FF2B5EF4-FFF2-40B4-BE49-F238E27FC236}">
                      <a16:creationId xmlns:a16="http://schemas.microsoft.com/office/drawing/2014/main" id="{93BBD707-2C66-BA4E-BB34-E5876ABE0EB7}"/>
                    </a:ext>
                  </a:extLst>
                </p:cNvPr>
                <p:cNvSpPr>
                  <a:spLocks/>
                </p:cNvSpPr>
                <p:nvPr/>
              </p:nvSpPr>
              <p:spPr bwMode="auto">
                <a:xfrm>
                  <a:off x="4781550" y="3784600"/>
                  <a:ext cx="903288" cy="1027113"/>
                </a:xfrm>
                <a:custGeom>
                  <a:avLst/>
                  <a:gdLst>
                    <a:gd name="T0" fmla="*/ 0 w 80"/>
                    <a:gd name="T1" fmla="*/ 48 h 91"/>
                    <a:gd name="T2" fmla="*/ 41 w 80"/>
                    <a:gd name="T3" fmla="*/ 91 h 91"/>
                    <a:gd name="T4" fmla="*/ 80 w 80"/>
                    <a:gd name="T5" fmla="*/ 0 h 91"/>
                    <a:gd name="T6" fmla="*/ 22 w 80"/>
                    <a:gd name="T7" fmla="*/ 0 h 91"/>
                    <a:gd name="T8" fmla="*/ 0 w 80"/>
                    <a:gd name="T9" fmla="*/ 48 h 91"/>
                  </a:gdLst>
                  <a:ahLst/>
                  <a:cxnLst>
                    <a:cxn ang="0">
                      <a:pos x="T0" y="T1"/>
                    </a:cxn>
                    <a:cxn ang="0">
                      <a:pos x="T2" y="T3"/>
                    </a:cxn>
                    <a:cxn ang="0">
                      <a:pos x="T4" y="T5"/>
                    </a:cxn>
                    <a:cxn ang="0">
                      <a:pos x="T6" y="T7"/>
                    </a:cxn>
                    <a:cxn ang="0">
                      <a:pos x="T8" y="T9"/>
                    </a:cxn>
                  </a:cxnLst>
                  <a:rect l="0" t="0" r="r" b="b"/>
                  <a:pathLst>
                    <a:path w="80" h="91">
                      <a:moveTo>
                        <a:pt x="0" y="48"/>
                      </a:moveTo>
                      <a:cubicBezTo>
                        <a:pt x="41" y="91"/>
                        <a:pt x="41" y="91"/>
                        <a:pt x="41" y="91"/>
                      </a:cubicBezTo>
                      <a:cubicBezTo>
                        <a:pt x="41" y="91"/>
                        <a:pt x="78" y="63"/>
                        <a:pt x="80" y="0"/>
                      </a:cubicBezTo>
                      <a:cubicBezTo>
                        <a:pt x="22" y="0"/>
                        <a:pt x="22" y="0"/>
                        <a:pt x="22" y="0"/>
                      </a:cubicBezTo>
                      <a:cubicBezTo>
                        <a:pt x="22" y="0"/>
                        <a:pt x="23" y="33"/>
                        <a:pt x="0" y="48"/>
                      </a:cubicBezTo>
                      <a:close/>
                    </a:path>
                  </a:pathLst>
                </a:custGeom>
                <a:solidFill>
                  <a:schemeClr val="accent5"/>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11">
                  <a:extLst>
                    <a:ext uri="{FF2B5EF4-FFF2-40B4-BE49-F238E27FC236}">
                      <a16:creationId xmlns:a16="http://schemas.microsoft.com/office/drawing/2014/main" id="{5E080CCF-FE52-2E4C-812A-D461DC21198A}"/>
                    </a:ext>
                  </a:extLst>
                </p:cNvPr>
                <p:cNvSpPr>
                  <a:spLocks/>
                </p:cNvSpPr>
                <p:nvPr/>
              </p:nvSpPr>
              <p:spPr bwMode="auto">
                <a:xfrm>
                  <a:off x="3900488" y="4325938"/>
                  <a:ext cx="1343025" cy="1084263"/>
                </a:xfrm>
                <a:custGeom>
                  <a:avLst/>
                  <a:gdLst>
                    <a:gd name="T0" fmla="*/ 0 w 119"/>
                    <a:gd name="T1" fmla="*/ 51 h 96"/>
                    <a:gd name="T2" fmla="*/ 0 w 119"/>
                    <a:gd name="T3" fmla="*/ 87 h 96"/>
                    <a:gd name="T4" fmla="*/ 8 w 119"/>
                    <a:gd name="T5" fmla="*/ 96 h 96"/>
                    <a:gd name="T6" fmla="*/ 60 w 119"/>
                    <a:gd name="T7" fmla="*/ 96 h 96"/>
                    <a:gd name="T8" fmla="*/ 67 w 119"/>
                    <a:gd name="T9" fmla="*/ 87 h 96"/>
                    <a:gd name="T10" fmla="*/ 67 w 119"/>
                    <a:gd name="T11" fmla="*/ 71 h 96"/>
                    <a:gd name="T12" fmla="*/ 119 w 119"/>
                    <a:gd name="T13" fmla="*/ 43 h 96"/>
                    <a:gd name="T14" fmla="*/ 78 w 119"/>
                    <a:gd name="T15" fmla="*/ 0 h 96"/>
                    <a:gd name="T16" fmla="*/ 41 w 119"/>
                    <a:gd name="T17" fmla="*/ 19 h 96"/>
                    <a:gd name="T18" fmla="*/ 38 w 119"/>
                    <a:gd name="T19" fmla="*/ 20 h 96"/>
                    <a:gd name="T20" fmla="*/ 35 w 119"/>
                    <a:gd name="T21" fmla="*/ 21 h 96"/>
                    <a:gd name="T22" fmla="*/ 8 w 119"/>
                    <a:gd name="T23" fmla="*/ 34 h 96"/>
                    <a:gd name="T24" fmla="*/ 0 w 119"/>
                    <a:gd name="T25" fmla="*/ 5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96">
                      <a:moveTo>
                        <a:pt x="0" y="51"/>
                      </a:moveTo>
                      <a:cubicBezTo>
                        <a:pt x="0" y="87"/>
                        <a:pt x="0" y="87"/>
                        <a:pt x="0" y="87"/>
                      </a:cubicBezTo>
                      <a:cubicBezTo>
                        <a:pt x="0" y="87"/>
                        <a:pt x="0" y="96"/>
                        <a:pt x="8" y="96"/>
                      </a:cubicBezTo>
                      <a:cubicBezTo>
                        <a:pt x="15" y="95"/>
                        <a:pt x="60" y="96"/>
                        <a:pt x="60" y="96"/>
                      </a:cubicBezTo>
                      <a:cubicBezTo>
                        <a:pt x="60" y="96"/>
                        <a:pt x="66" y="96"/>
                        <a:pt x="67" y="87"/>
                      </a:cubicBezTo>
                      <a:cubicBezTo>
                        <a:pt x="67" y="71"/>
                        <a:pt x="67" y="71"/>
                        <a:pt x="67" y="71"/>
                      </a:cubicBezTo>
                      <a:cubicBezTo>
                        <a:pt x="67" y="71"/>
                        <a:pt x="86" y="71"/>
                        <a:pt x="119" y="43"/>
                      </a:cubicBezTo>
                      <a:cubicBezTo>
                        <a:pt x="78" y="0"/>
                        <a:pt x="78" y="0"/>
                        <a:pt x="78" y="0"/>
                      </a:cubicBezTo>
                      <a:cubicBezTo>
                        <a:pt x="78" y="0"/>
                        <a:pt x="69" y="8"/>
                        <a:pt x="41" y="19"/>
                      </a:cubicBezTo>
                      <a:cubicBezTo>
                        <a:pt x="40" y="20"/>
                        <a:pt x="39" y="20"/>
                        <a:pt x="38" y="20"/>
                      </a:cubicBezTo>
                      <a:cubicBezTo>
                        <a:pt x="37" y="20"/>
                        <a:pt x="36" y="20"/>
                        <a:pt x="35" y="21"/>
                      </a:cubicBezTo>
                      <a:cubicBezTo>
                        <a:pt x="30" y="24"/>
                        <a:pt x="17" y="26"/>
                        <a:pt x="8" y="34"/>
                      </a:cubicBezTo>
                      <a:cubicBezTo>
                        <a:pt x="3" y="38"/>
                        <a:pt x="0" y="45"/>
                        <a:pt x="0" y="51"/>
                      </a:cubicBezTo>
                      <a:close/>
                    </a:path>
                  </a:pathLst>
                </a:custGeom>
                <a:solidFill>
                  <a:schemeClr val="tx2">
                    <a:lumMod val="40000"/>
                    <a:lumOff val="60000"/>
                  </a:schemeClr>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102">
                  <a:extLst>
                    <a:ext uri="{FF2B5EF4-FFF2-40B4-BE49-F238E27FC236}">
                      <a16:creationId xmlns:a16="http://schemas.microsoft.com/office/drawing/2014/main" id="{AEC8BBA2-2685-0A42-A142-C00F992AF5CB}"/>
                    </a:ext>
                  </a:extLst>
                </p:cNvPr>
                <p:cNvSpPr/>
                <p:nvPr/>
              </p:nvSpPr>
              <p:spPr>
                <a:xfrm>
                  <a:off x="3858577" y="5535613"/>
                  <a:ext cx="760095" cy="762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3" name="Isosceles Triangle 10">
                <a:extLst>
                  <a:ext uri="{FF2B5EF4-FFF2-40B4-BE49-F238E27FC236}">
                    <a16:creationId xmlns:a16="http://schemas.microsoft.com/office/drawing/2014/main" id="{2ED1D9FC-25F5-EE41-B5A8-EB3350C63E25}"/>
                  </a:ext>
                </a:extLst>
              </p:cNvPr>
              <p:cNvSpPr/>
              <p:nvPr/>
            </p:nvSpPr>
            <p:spPr>
              <a:xfrm rot="15003001">
                <a:off x="4178578" y="4401671"/>
                <a:ext cx="152400" cy="97664"/>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Isosceles Triangle 11">
                <a:extLst>
                  <a:ext uri="{FF2B5EF4-FFF2-40B4-BE49-F238E27FC236}">
                    <a16:creationId xmlns:a16="http://schemas.microsoft.com/office/drawing/2014/main" id="{25A807B7-FB75-CF4E-98C0-D19167FF13A3}"/>
                  </a:ext>
                </a:extLst>
              </p:cNvPr>
              <p:cNvSpPr/>
              <p:nvPr/>
            </p:nvSpPr>
            <p:spPr>
              <a:xfrm rot="17531582">
                <a:off x="4194418" y="3367447"/>
                <a:ext cx="152400" cy="976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Isosceles Triangle 12">
                <a:extLst>
                  <a:ext uri="{FF2B5EF4-FFF2-40B4-BE49-F238E27FC236}">
                    <a16:creationId xmlns:a16="http://schemas.microsoft.com/office/drawing/2014/main" id="{747216B7-8CB9-DD45-8B35-F6DD36CC6A63}"/>
                  </a:ext>
                </a:extLst>
              </p:cNvPr>
              <p:cNvSpPr/>
              <p:nvPr/>
            </p:nvSpPr>
            <p:spPr>
              <a:xfrm rot="20136305">
                <a:off x="4844091" y="2706001"/>
                <a:ext cx="152400" cy="9766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Isosceles Triangle 13">
                <a:extLst>
                  <a:ext uri="{FF2B5EF4-FFF2-40B4-BE49-F238E27FC236}">
                    <a16:creationId xmlns:a16="http://schemas.microsoft.com/office/drawing/2014/main" id="{CEA97D88-CF35-0441-990A-A9CD512EECE1}"/>
                  </a:ext>
                </a:extLst>
              </p:cNvPr>
              <p:cNvSpPr/>
              <p:nvPr/>
            </p:nvSpPr>
            <p:spPr>
              <a:xfrm rot="1433652">
                <a:off x="5929885" y="2667487"/>
                <a:ext cx="152400" cy="9766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Isosceles Triangle 14">
                <a:extLst>
                  <a:ext uri="{FF2B5EF4-FFF2-40B4-BE49-F238E27FC236}">
                    <a16:creationId xmlns:a16="http://schemas.microsoft.com/office/drawing/2014/main" id="{0C00F508-B888-CD43-8100-E8DD1A181672}"/>
                  </a:ext>
                </a:extLst>
              </p:cNvPr>
              <p:cNvSpPr/>
              <p:nvPr/>
            </p:nvSpPr>
            <p:spPr>
              <a:xfrm rot="4263110">
                <a:off x="6687059" y="3442524"/>
                <a:ext cx="152400" cy="9766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Isosceles Triangle 15">
                <a:extLst>
                  <a:ext uri="{FF2B5EF4-FFF2-40B4-BE49-F238E27FC236}">
                    <a16:creationId xmlns:a16="http://schemas.microsoft.com/office/drawing/2014/main" id="{2ED3C158-0039-7640-A985-E3FB68381CC1}"/>
                  </a:ext>
                </a:extLst>
              </p:cNvPr>
              <p:cNvSpPr/>
              <p:nvPr/>
            </p:nvSpPr>
            <p:spPr>
              <a:xfrm rot="6884037">
                <a:off x="6675851" y="4432372"/>
                <a:ext cx="152400" cy="97664"/>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Isosceles Triangle 16">
                <a:extLst>
                  <a:ext uri="{FF2B5EF4-FFF2-40B4-BE49-F238E27FC236}">
                    <a16:creationId xmlns:a16="http://schemas.microsoft.com/office/drawing/2014/main" id="{45469153-B381-874B-A385-52F06D118073}"/>
                  </a:ext>
                </a:extLst>
              </p:cNvPr>
              <p:cNvSpPr/>
              <p:nvPr/>
            </p:nvSpPr>
            <p:spPr>
              <a:xfrm rot="9095194">
                <a:off x="6023247" y="5135776"/>
                <a:ext cx="152400" cy="97664"/>
              </a:xfrm>
              <a:prstGeom prs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4" name="Group 934">
              <a:extLst>
                <a:ext uri="{FF2B5EF4-FFF2-40B4-BE49-F238E27FC236}">
                  <a16:creationId xmlns:a16="http://schemas.microsoft.com/office/drawing/2014/main" id="{62B33CD6-7AC4-8F48-88B5-5D03C0E74DF9}"/>
                </a:ext>
              </a:extLst>
            </p:cNvPr>
            <p:cNvGrpSpPr>
              <a:grpSpLocks noChangeAspect="1"/>
            </p:cNvGrpSpPr>
            <p:nvPr/>
          </p:nvGrpSpPr>
          <p:grpSpPr bwMode="auto">
            <a:xfrm>
              <a:off x="5485465" y="2191930"/>
              <a:ext cx="369021" cy="369021"/>
              <a:chOff x="1155" y="3472"/>
              <a:chExt cx="340" cy="340"/>
            </a:xfrm>
            <a:solidFill>
              <a:schemeClr val="bg1"/>
            </a:solidFill>
          </p:grpSpPr>
          <p:sp>
            <p:nvSpPr>
              <p:cNvPr id="105" name="Freeform 935">
                <a:extLst>
                  <a:ext uri="{FF2B5EF4-FFF2-40B4-BE49-F238E27FC236}">
                    <a16:creationId xmlns:a16="http://schemas.microsoft.com/office/drawing/2014/main" id="{87D12269-3AAE-1C4B-9BF5-54C34399D295}"/>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6" name="Freeform 936">
                <a:extLst>
                  <a:ext uri="{FF2B5EF4-FFF2-40B4-BE49-F238E27FC236}">
                    <a16:creationId xmlns:a16="http://schemas.microsoft.com/office/drawing/2014/main" id="{6CADD485-DC8B-8D49-A272-435DBB9DC0BD}"/>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7" name="Group 892">
              <a:extLst>
                <a:ext uri="{FF2B5EF4-FFF2-40B4-BE49-F238E27FC236}">
                  <a16:creationId xmlns:a16="http://schemas.microsoft.com/office/drawing/2014/main" id="{D5A71527-1187-574C-B4CC-BFFA4818DB4B}"/>
                </a:ext>
              </a:extLst>
            </p:cNvPr>
            <p:cNvGrpSpPr>
              <a:grpSpLocks noChangeAspect="1"/>
            </p:cNvGrpSpPr>
            <p:nvPr/>
          </p:nvGrpSpPr>
          <p:grpSpPr bwMode="auto">
            <a:xfrm>
              <a:off x="4967135" y="3474342"/>
              <a:ext cx="369021" cy="370106"/>
              <a:chOff x="4270" y="3457"/>
              <a:chExt cx="340" cy="341"/>
            </a:xfrm>
            <a:solidFill>
              <a:schemeClr val="bg1"/>
            </a:solidFill>
          </p:grpSpPr>
          <p:sp>
            <p:nvSpPr>
              <p:cNvPr id="108" name="Freeform 893">
                <a:extLst>
                  <a:ext uri="{FF2B5EF4-FFF2-40B4-BE49-F238E27FC236}">
                    <a16:creationId xmlns:a16="http://schemas.microsoft.com/office/drawing/2014/main" id="{B8883E3E-4EE8-A240-A7A6-B08CD19F2410}"/>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894">
                <a:extLst>
                  <a:ext uri="{FF2B5EF4-FFF2-40B4-BE49-F238E27FC236}">
                    <a16:creationId xmlns:a16="http://schemas.microsoft.com/office/drawing/2014/main" id="{0188FF3B-B77C-F949-8BC3-ACFF0AB28DAD}"/>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0" name="Group 29">
              <a:extLst>
                <a:ext uri="{FF2B5EF4-FFF2-40B4-BE49-F238E27FC236}">
                  <a16:creationId xmlns:a16="http://schemas.microsoft.com/office/drawing/2014/main" id="{710552DC-3EA5-4342-9239-3337696746F1}"/>
                </a:ext>
              </a:extLst>
            </p:cNvPr>
            <p:cNvGrpSpPr>
              <a:grpSpLocks noChangeAspect="1"/>
            </p:cNvGrpSpPr>
            <p:nvPr/>
          </p:nvGrpSpPr>
          <p:grpSpPr bwMode="auto">
            <a:xfrm>
              <a:off x="4959772" y="2739887"/>
              <a:ext cx="367631" cy="367631"/>
              <a:chOff x="2899" y="653"/>
              <a:chExt cx="340" cy="340"/>
            </a:xfrm>
            <a:solidFill>
              <a:schemeClr val="bg1"/>
            </a:solidFill>
          </p:grpSpPr>
          <p:sp>
            <p:nvSpPr>
              <p:cNvPr id="111" name="Freeform 30">
                <a:extLst>
                  <a:ext uri="{FF2B5EF4-FFF2-40B4-BE49-F238E27FC236}">
                    <a16:creationId xmlns:a16="http://schemas.microsoft.com/office/drawing/2014/main" id="{8AB3F344-9B0A-2A48-B359-6C1F149927BD}"/>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2" name="Freeform 31">
                <a:extLst>
                  <a:ext uri="{FF2B5EF4-FFF2-40B4-BE49-F238E27FC236}">
                    <a16:creationId xmlns:a16="http://schemas.microsoft.com/office/drawing/2014/main" id="{72314721-DF36-9C47-9B29-4C9DBD756F2E}"/>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32">
                <a:extLst>
                  <a:ext uri="{FF2B5EF4-FFF2-40B4-BE49-F238E27FC236}">
                    <a16:creationId xmlns:a16="http://schemas.microsoft.com/office/drawing/2014/main" id="{5F0A1510-2BCF-CB44-8DA8-B5B9B797A638}"/>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4" name="Group 749">
              <a:extLst>
                <a:ext uri="{FF2B5EF4-FFF2-40B4-BE49-F238E27FC236}">
                  <a16:creationId xmlns:a16="http://schemas.microsoft.com/office/drawing/2014/main" id="{0D210CB7-58AD-E848-8ED7-F806FB639EE1}"/>
                </a:ext>
              </a:extLst>
            </p:cNvPr>
            <p:cNvGrpSpPr>
              <a:grpSpLocks noChangeAspect="1"/>
            </p:cNvGrpSpPr>
            <p:nvPr/>
          </p:nvGrpSpPr>
          <p:grpSpPr bwMode="auto">
            <a:xfrm>
              <a:off x="6824649" y="2738863"/>
              <a:ext cx="369676" cy="369676"/>
              <a:chOff x="3520" y="2686"/>
              <a:chExt cx="340" cy="340"/>
            </a:xfrm>
            <a:solidFill>
              <a:schemeClr val="bg1"/>
            </a:solidFill>
          </p:grpSpPr>
          <p:sp>
            <p:nvSpPr>
              <p:cNvPr id="115" name="Freeform 750">
                <a:extLst>
                  <a:ext uri="{FF2B5EF4-FFF2-40B4-BE49-F238E27FC236}">
                    <a16:creationId xmlns:a16="http://schemas.microsoft.com/office/drawing/2014/main" id="{50F416D7-FB9A-374E-846A-AC688BFDEFEE}"/>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6" name="Freeform 751">
                <a:extLst>
                  <a:ext uri="{FF2B5EF4-FFF2-40B4-BE49-F238E27FC236}">
                    <a16:creationId xmlns:a16="http://schemas.microsoft.com/office/drawing/2014/main" id="{818AE87A-BDB1-8740-9B91-3F589F016790}"/>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752">
                <a:extLst>
                  <a:ext uri="{FF2B5EF4-FFF2-40B4-BE49-F238E27FC236}">
                    <a16:creationId xmlns:a16="http://schemas.microsoft.com/office/drawing/2014/main" id="{C820BB09-8ECB-4445-A0AB-9F197126BE85}"/>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8" name="Freeform 79">
              <a:extLst>
                <a:ext uri="{FF2B5EF4-FFF2-40B4-BE49-F238E27FC236}">
                  <a16:creationId xmlns:a16="http://schemas.microsoft.com/office/drawing/2014/main" id="{3BB94968-1E27-5844-87C9-73ED0C47AC03}"/>
                </a:ext>
              </a:extLst>
            </p:cNvPr>
            <p:cNvSpPr>
              <a:spLocks noChangeAspect="1" noEditPoints="1"/>
            </p:cNvSpPr>
            <p:nvPr/>
          </p:nvSpPr>
          <p:spPr bwMode="auto">
            <a:xfrm>
              <a:off x="6259156" y="2173149"/>
              <a:ext cx="367631" cy="367631"/>
            </a:xfrm>
            <a:custGeom>
              <a:avLst/>
              <a:gdLst>
                <a:gd name="T0" fmla="*/ 341 w 512"/>
                <a:gd name="T1" fmla="*/ 277 h 512"/>
                <a:gd name="T2" fmla="*/ 341 w 512"/>
                <a:gd name="T3" fmla="*/ 256 h 512"/>
                <a:gd name="T4" fmla="*/ 297 w 512"/>
                <a:gd name="T5" fmla="*/ 217 h 512"/>
                <a:gd name="T6" fmla="*/ 266 w 512"/>
                <a:gd name="T7" fmla="*/ 123 h 512"/>
                <a:gd name="T8" fmla="*/ 256 w 512"/>
                <a:gd name="T9" fmla="*/ 96 h 512"/>
                <a:gd name="T10" fmla="*/ 245 w 512"/>
                <a:gd name="T11" fmla="*/ 123 h 512"/>
                <a:gd name="T12" fmla="*/ 214 w 512"/>
                <a:gd name="T13" fmla="*/ 217 h 512"/>
                <a:gd name="T14" fmla="*/ 170 w 512"/>
                <a:gd name="T15" fmla="*/ 256 h 512"/>
                <a:gd name="T16" fmla="*/ 170 w 512"/>
                <a:gd name="T17" fmla="*/ 277 h 512"/>
                <a:gd name="T18" fmla="*/ 139 w 512"/>
                <a:gd name="T19" fmla="*/ 401 h 512"/>
                <a:gd name="T20" fmla="*/ 149 w 512"/>
                <a:gd name="T21" fmla="*/ 416 h 512"/>
                <a:gd name="T22" fmla="*/ 213 w 512"/>
                <a:gd name="T23" fmla="*/ 277 h 512"/>
                <a:gd name="T24" fmla="*/ 245 w 512"/>
                <a:gd name="T25" fmla="*/ 288 h 512"/>
                <a:gd name="T26" fmla="*/ 266 w 512"/>
                <a:gd name="T27" fmla="*/ 288 h 512"/>
                <a:gd name="T28" fmla="*/ 298 w 512"/>
                <a:gd name="T29" fmla="*/ 277 h 512"/>
                <a:gd name="T30" fmla="*/ 362 w 512"/>
                <a:gd name="T31" fmla="*/ 416 h 512"/>
                <a:gd name="T32" fmla="*/ 372 w 512"/>
                <a:gd name="T33" fmla="*/ 401 h 512"/>
                <a:gd name="T34" fmla="*/ 266 w 512"/>
                <a:gd name="T35" fmla="*/ 256 h 512"/>
                <a:gd name="T36" fmla="*/ 256 w 512"/>
                <a:gd name="T37" fmla="*/ 234 h 512"/>
                <a:gd name="T38" fmla="*/ 245 w 512"/>
                <a:gd name="T39" fmla="*/ 256 h 512"/>
                <a:gd name="T40" fmla="*/ 244 w 512"/>
                <a:gd name="T41" fmla="*/ 200 h 512"/>
                <a:gd name="T42" fmla="*/ 224 w 512"/>
                <a:gd name="T43" fmla="*/ 192 h 512"/>
                <a:gd name="T44" fmla="*/ 220 w 512"/>
                <a:gd name="T45" fmla="*/ 178 h 512"/>
                <a:gd name="T46" fmla="*/ 291 w 512"/>
                <a:gd name="T47" fmla="*/ 178 h 512"/>
                <a:gd name="T48" fmla="*/ 287 w 512"/>
                <a:gd name="T49" fmla="*/ 192 h 512"/>
                <a:gd name="T50" fmla="*/ 267 w 512"/>
                <a:gd name="T51" fmla="*/ 200 h 512"/>
                <a:gd name="T52" fmla="*/ 266 w 512"/>
                <a:gd name="T53" fmla="*/ 256 h 512"/>
                <a:gd name="T54" fmla="*/ 0 w 512"/>
                <a:gd name="T55" fmla="*/ 256 h 512"/>
                <a:gd name="T56" fmla="*/ 512 w 512"/>
                <a:gd name="T57" fmla="*/ 256 h 512"/>
                <a:gd name="T58" fmla="*/ 256 w 512"/>
                <a:gd name="T59" fmla="*/ 490 h 512"/>
                <a:gd name="T60" fmla="*/ 256 w 512"/>
                <a:gd name="T61" fmla="*/ 21 h 512"/>
                <a:gd name="T62" fmla="*/ 256 w 512"/>
                <a:gd name="T63"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1" y="277"/>
                  </a:moveTo>
                  <a:cubicBezTo>
                    <a:pt x="341" y="277"/>
                    <a:pt x="341" y="277"/>
                    <a:pt x="341" y="277"/>
                  </a:cubicBezTo>
                  <a:cubicBezTo>
                    <a:pt x="347" y="277"/>
                    <a:pt x="352" y="272"/>
                    <a:pt x="352" y="266"/>
                  </a:cubicBezTo>
                  <a:cubicBezTo>
                    <a:pt x="352" y="260"/>
                    <a:pt x="347" y="256"/>
                    <a:pt x="341" y="256"/>
                  </a:cubicBezTo>
                  <a:cubicBezTo>
                    <a:pt x="313" y="256"/>
                    <a:pt x="313" y="256"/>
                    <a:pt x="313" y="256"/>
                  </a:cubicBezTo>
                  <a:cubicBezTo>
                    <a:pt x="297" y="217"/>
                    <a:pt x="297" y="217"/>
                    <a:pt x="297" y="217"/>
                  </a:cubicBezTo>
                  <a:cubicBezTo>
                    <a:pt x="307" y="207"/>
                    <a:pt x="312" y="193"/>
                    <a:pt x="312" y="178"/>
                  </a:cubicBezTo>
                  <a:cubicBezTo>
                    <a:pt x="312" y="151"/>
                    <a:pt x="293" y="128"/>
                    <a:pt x="266" y="123"/>
                  </a:cubicBezTo>
                  <a:cubicBezTo>
                    <a:pt x="266" y="106"/>
                    <a:pt x="266" y="106"/>
                    <a:pt x="266" y="106"/>
                  </a:cubicBezTo>
                  <a:cubicBezTo>
                    <a:pt x="266" y="100"/>
                    <a:pt x="262" y="96"/>
                    <a:pt x="256" y="96"/>
                  </a:cubicBezTo>
                  <a:cubicBezTo>
                    <a:pt x="250" y="96"/>
                    <a:pt x="245" y="100"/>
                    <a:pt x="245" y="106"/>
                  </a:cubicBezTo>
                  <a:cubicBezTo>
                    <a:pt x="245" y="123"/>
                    <a:pt x="245" y="123"/>
                    <a:pt x="245" y="123"/>
                  </a:cubicBezTo>
                  <a:cubicBezTo>
                    <a:pt x="219" y="128"/>
                    <a:pt x="199" y="151"/>
                    <a:pt x="199" y="178"/>
                  </a:cubicBezTo>
                  <a:cubicBezTo>
                    <a:pt x="199" y="193"/>
                    <a:pt x="204" y="207"/>
                    <a:pt x="214" y="217"/>
                  </a:cubicBezTo>
                  <a:cubicBezTo>
                    <a:pt x="199" y="256"/>
                    <a:pt x="199" y="256"/>
                    <a:pt x="199" y="256"/>
                  </a:cubicBezTo>
                  <a:cubicBezTo>
                    <a:pt x="170" y="256"/>
                    <a:pt x="170" y="256"/>
                    <a:pt x="170" y="256"/>
                  </a:cubicBezTo>
                  <a:cubicBezTo>
                    <a:pt x="164" y="256"/>
                    <a:pt x="160" y="260"/>
                    <a:pt x="160" y="266"/>
                  </a:cubicBezTo>
                  <a:cubicBezTo>
                    <a:pt x="160" y="272"/>
                    <a:pt x="164" y="277"/>
                    <a:pt x="170" y="277"/>
                  </a:cubicBezTo>
                  <a:cubicBezTo>
                    <a:pt x="190" y="277"/>
                    <a:pt x="190" y="277"/>
                    <a:pt x="190" y="277"/>
                  </a:cubicBezTo>
                  <a:cubicBezTo>
                    <a:pt x="139" y="401"/>
                    <a:pt x="139" y="401"/>
                    <a:pt x="139" y="401"/>
                  </a:cubicBezTo>
                  <a:cubicBezTo>
                    <a:pt x="137" y="406"/>
                    <a:pt x="140" y="413"/>
                    <a:pt x="145" y="415"/>
                  </a:cubicBezTo>
                  <a:cubicBezTo>
                    <a:pt x="146" y="415"/>
                    <a:pt x="148" y="416"/>
                    <a:pt x="149" y="416"/>
                  </a:cubicBezTo>
                  <a:cubicBezTo>
                    <a:pt x="153" y="416"/>
                    <a:pt x="157" y="413"/>
                    <a:pt x="159" y="409"/>
                  </a:cubicBezTo>
                  <a:cubicBezTo>
                    <a:pt x="213" y="277"/>
                    <a:pt x="213" y="277"/>
                    <a:pt x="213" y="277"/>
                  </a:cubicBezTo>
                  <a:cubicBezTo>
                    <a:pt x="245" y="277"/>
                    <a:pt x="245" y="277"/>
                    <a:pt x="245" y="277"/>
                  </a:cubicBezTo>
                  <a:cubicBezTo>
                    <a:pt x="245" y="288"/>
                    <a:pt x="245" y="288"/>
                    <a:pt x="245" y="288"/>
                  </a:cubicBezTo>
                  <a:cubicBezTo>
                    <a:pt x="245" y="294"/>
                    <a:pt x="250" y="298"/>
                    <a:pt x="256" y="298"/>
                  </a:cubicBezTo>
                  <a:cubicBezTo>
                    <a:pt x="262" y="298"/>
                    <a:pt x="266" y="294"/>
                    <a:pt x="266" y="288"/>
                  </a:cubicBezTo>
                  <a:cubicBezTo>
                    <a:pt x="266" y="277"/>
                    <a:pt x="266" y="277"/>
                    <a:pt x="266" y="277"/>
                  </a:cubicBezTo>
                  <a:cubicBezTo>
                    <a:pt x="298" y="277"/>
                    <a:pt x="298" y="277"/>
                    <a:pt x="298" y="277"/>
                  </a:cubicBezTo>
                  <a:cubicBezTo>
                    <a:pt x="352" y="409"/>
                    <a:pt x="352" y="409"/>
                    <a:pt x="352" y="409"/>
                  </a:cubicBezTo>
                  <a:cubicBezTo>
                    <a:pt x="354" y="413"/>
                    <a:pt x="358" y="416"/>
                    <a:pt x="362" y="416"/>
                  </a:cubicBezTo>
                  <a:cubicBezTo>
                    <a:pt x="364" y="416"/>
                    <a:pt x="365" y="415"/>
                    <a:pt x="366" y="415"/>
                  </a:cubicBezTo>
                  <a:cubicBezTo>
                    <a:pt x="372" y="413"/>
                    <a:pt x="374" y="406"/>
                    <a:pt x="372" y="401"/>
                  </a:cubicBezTo>
                  <a:lnTo>
                    <a:pt x="321" y="277"/>
                  </a:lnTo>
                  <a:close/>
                  <a:moveTo>
                    <a:pt x="266" y="256"/>
                  </a:moveTo>
                  <a:cubicBezTo>
                    <a:pt x="266" y="245"/>
                    <a:pt x="266" y="245"/>
                    <a:pt x="266" y="245"/>
                  </a:cubicBezTo>
                  <a:cubicBezTo>
                    <a:pt x="266" y="239"/>
                    <a:pt x="262" y="234"/>
                    <a:pt x="256" y="234"/>
                  </a:cubicBezTo>
                  <a:cubicBezTo>
                    <a:pt x="250" y="234"/>
                    <a:pt x="245" y="239"/>
                    <a:pt x="245" y="245"/>
                  </a:cubicBezTo>
                  <a:cubicBezTo>
                    <a:pt x="245" y="256"/>
                    <a:pt x="245" y="256"/>
                    <a:pt x="245" y="256"/>
                  </a:cubicBezTo>
                  <a:cubicBezTo>
                    <a:pt x="222" y="256"/>
                    <a:pt x="222" y="256"/>
                    <a:pt x="222" y="256"/>
                  </a:cubicBezTo>
                  <a:cubicBezTo>
                    <a:pt x="244" y="200"/>
                    <a:pt x="244" y="200"/>
                    <a:pt x="244" y="200"/>
                  </a:cubicBezTo>
                  <a:cubicBezTo>
                    <a:pt x="246" y="195"/>
                    <a:pt x="244" y="189"/>
                    <a:pt x="238" y="187"/>
                  </a:cubicBezTo>
                  <a:cubicBezTo>
                    <a:pt x="233" y="184"/>
                    <a:pt x="227" y="187"/>
                    <a:pt x="224" y="192"/>
                  </a:cubicBezTo>
                  <a:cubicBezTo>
                    <a:pt x="224" y="194"/>
                    <a:pt x="224" y="194"/>
                    <a:pt x="224" y="194"/>
                  </a:cubicBezTo>
                  <a:cubicBezTo>
                    <a:pt x="222" y="189"/>
                    <a:pt x="220" y="184"/>
                    <a:pt x="220" y="178"/>
                  </a:cubicBezTo>
                  <a:cubicBezTo>
                    <a:pt x="220" y="159"/>
                    <a:pt x="236" y="143"/>
                    <a:pt x="256" y="143"/>
                  </a:cubicBezTo>
                  <a:cubicBezTo>
                    <a:pt x="275" y="143"/>
                    <a:pt x="291" y="159"/>
                    <a:pt x="291" y="178"/>
                  </a:cubicBezTo>
                  <a:cubicBezTo>
                    <a:pt x="291" y="184"/>
                    <a:pt x="290" y="189"/>
                    <a:pt x="287" y="194"/>
                  </a:cubicBezTo>
                  <a:cubicBezTo>
                    <a:pt x="287" y="192"/>
                    <a:pt x="287" y="192"/>
                    <a:pt x="287" y="192"/>
                  </a:cubicBezTo>
                  <a:cubicBezTo>
                    <a:pt x="285" y="187"/>
                    <a:pt x="278" y="184"/>
                    <a:pt x="273" y="187"/>
                  </a:cubicBezTo>
                  <a:cubicBezTo>
                    <a:pt x="268" y="189"/>
                    <a:pt x="265" y="195"/>
                    <a:pt x="267" y="200"/>
                  </a:cubicBezTo>
                  <a:cubicBezTo>
                    <a:pt x="290" y="256"/>
                    <a:pt x="290" y="256"/>
                    <a:pt x="290" y="256"/>
                  </a:cubicBezTo>
                  <a:lnTo>
                    <a:pt x="266"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9" name="Group 902">
              <a:extLst>
                <a:ext uri="{FF2B5EF4-FFF2-40B4-BE49-F238E27FC236}">
                  <a16:creationId xmlns:a16="http://schemas.microsoft.com/office/drawing/2014/main" id="{A1C5CFAC-304C-F94A-BF5D-18BC37E2A9CD}"/>
                </a:ext>
              </a:extLst>
            </p:cNvPr>
            <p:cNvGrpSpPr>
              <a:grpSpLocks noChangeAspect="1"/>
            </p:cNvGrpSpPr>
            <p:nvPr/>
          </p:nvGrpSpPr>
          <p:grpSpPr bwMode="auto">
            <a:xfrm>
              <a:off x="6842967" y="3523708"/>
              <a:ext cx="370106" cy="369021"/>
              <a:chOff x="3456" y="3471"/>
              <a:chExt cx="341" cy="340"/>
            </a:xfrm>
            <a:solidFill>
              <a:schemeClr val="bg1"/>
            </a:solidFill>
          </p:grpSpPr>
          <p:sp>
            <p:nvSpPr>
              <p:cNvPr id="120" name="Freeform 903">
                <a:extLst>
                  <a:ext uri="{FF2B5EF4-FFF2-40B4-BE49-F238E27FC236}">
                    <a16:creationId xmlns:a16="http://schemas.microsoft.com/office/drawing/2014/main" id="{283FD863-816D-BC41-9F87-F3B0A378835E}"/>
                  </a:ext>
                </a:extLst>
              </p:cNvPr>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1" name="Freeform 904">
                <a:extLst>
                  <a:ext uri="{FF2B5EF4-FFF2-40B4-BE49-F238E27FC236}">
                    <a16:creationId xmlns:a16="http://schemas.microsoft.com/office/drawing/2014/main" id="{609C0A38-ECFE-0848-8B49-5A087FEB69EA}"/>
                  </a:ext>
                </a:extLst>
              </p:cNvPr>
              <p:cNvSpPr>
                <a:spLocks noEditPoints="1"/>
              </p:cNvSpPr>
              <p:nvPr/>
            </p:nvSpPr>
            <p:spPr bwMode="auto">
              <a:xfrm>
                <a:off x="3520" y="3546"/>
                <a:ext cx="214" cy="173"/>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22" name="Group 360">
              <a:extLst>
                <a:ext uri="{FF2B5EF4-FFF2-40B4-BE49-F238E27FC236}">
                  <a16:creationId xmlns:a16="http://schemas.microsoft.com/office/drawing/2014/main" id="{30CAB807-A396-5C4D-811A-504BB4300FDB}"/>
                </a:ext>
              </a:extLst>
            </p:cNvPr>
            <p:cNvGrpSpPr>
              <a:grpSpLocks noChangeAspect="1"/>
            </p:cNvGrpSpPr>
            <p:nvPr/>
          </p:nvGrpSpPr>
          <p:grpSpPr bwMode="auto">
            <a:xfrm>
              <a:off x="6269307" y="4032994"/>
              <a:ext cx="367631" cy="367631"/>
              <a:chOff x="5799" y="1235"/>
              <a:chExt cx="340" cy="340"/>
            </a:xfrm>
            <a:solidFill>
              <a:schemeClr val="bg1"/>
            </a:solidFill>
          </p:grpSpPr>
          <p:sp>
            <p:nvSpPr>
              <p:cNvPr id="123" name="Freeform 361">
                <a:extLst>
                  <a:ext uri="{FF2B5EF4-FFF2-40B4-BE49-F238E27FC236}">
                    <a16:creationId xmlns:a16="http://schemas.microsoft.com/office/drawing/2014/main" id="{9C9C372C-FD5B-A64C-BC0E-D28E484D746A}"/>
                  </a:ext>
                </a:extLst>
              </p:cNvPr>
              <p:cNvSpPr>
                <a:spLocks noEditPoints="1"/>
              </p:cNvSpPr>
              <p:nvPr/>
            </p:nvSpPr>
            <p:spPr bwMode="auto">
              <a:xfrm>
                <a:off x="5891" y="1299"/>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4" name="Freeform 362">
                <a:extLst>
                  <a:ext uri="{FF2B5EF4-FFF2-40B4-BE49-F238E27FC236}">
                    <a16:creationId xmlns:a16="http://schemas.microsoft.com/office/drawing/2014/main" id="{891C0039-8D06-4C45-B365-9A69F47E9F50}"/>
                  </a:ext>
                </a:extLst>
              </p:cNvPr>
              <p:cNvSpPr>
                <a:spLocks noEditPoints="1"/>
              </p:cNvSpPr>
              <p:nvPr/>
            </p:nvSpPr>
            <p:spPr bwMode="auto">
              <a:xfrm>
                <a:off x="5799" y="12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custDataLst>
      <p:tags r:id="rId1"/>
    </p:custDataLst>
    <p:extLst>
      <p:ext uri="{BB962C8B-B14F-4D97-AF65-F5344CB8AC3E}">
        <p14:creationId xmlns:p14="http://schemas.microsoft.com/office/powerpoint/2010/main" val="1817939552"/>
      </p:ext>
    </p:extLst>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05C90456-8134-9D48-936A-A065A73F8BDF}"/>
              </a:ext>
            </a:extLst>
          </p:cNvPr>
          <p:cNvGrpSpPr/>
          <p:nvPr/>
        </p:nvGrpSpPr>
        <p:grpSpPr>
          <a:xfrm>
            <a:off x="4025314" y="1438474"/>
            <a:ext cx="4218868" cy="4223368"/>
            <a:chOff x="6811965" y="2347913"/>
            <a:chExt cx="2973393" cy="2976562"/>
          </a:xfrm>
        </p:grpSpPr>
        <p:sp>
          <p:nvSpPr>
            <p:cNvPr id="54" name="Freeform 6">
              <a:extLst>
                <a:ext uri="{FF2B5EF4-FFF2-40B4-BE49-F238E27FC236}">
                  <a16:creationId xmlns:a16="http://schemas.microsoft.com/office/drawing/2014/main" id="{04FD6F3B-48DD-6647-981C-5850497ECD5A}"/>
                </a:ext>
              </a:extLst>
            </p:cNvPr>
            <p:cNvSpPr>
              <a:spLocks/>
            </p:cNvSpPr>
            <p:nvPr/>
          </p:nvSpPr>
          <p:spPr bwMode="auto">
            <a:xfrm>
              <a:off x="8299457" y="2720974"/>
              <a:ext cx="1114426" cy="1673224"/>
            </a:xfrm>
            <a:custGeom>
              <a:avLst/>
              <a:gdLst>
                <a:gd name="T0" fmla="*/ 1250 w 1403"/>
                <a:gd name="T1" fmla="*/ 2045 h 2109"/>
                <a:gd name="T2" fmla="*/ 1309 w 1403"/>
                <a:gd name="T3" fmla="*/ 1915 h 2109"/>
                <a:gd name="T4" fmla="*/ 1354 w 1403"/>
                <a:gd name="T5" fmla="*/ 1782 h 2109"/>
                <a:gd name="T6" fmla="*/ 1384 w 1403"/>
                <a:gd name="T7" fmla="*/ 1648 h 2109"/>
                <a:gd name="T8" fmla="*/ 1402 w 1403"/>
                <a:gd name="T9" fmla="*/ 1512 h 2109"/>
                <a:gd name="T10" fmla="*/ 1403 w 1403"/>
                <a:gd name="T11" fmla="*/ 1375 h 2109"/>
                <a:gd name="T12" fmla="*/ 1394 w 1403"/>
                <a:gd name="T13" fmla="*/ 1241 h 2109"/>
                <a:gd name="T14" fmla="*/ 1373 w 1403"/>
                <a:gd name="T15" fmla="*/ 1108 h 2109"/>
                <a:gd name="T16" fmla="*/ 1338 w 1403"/>
                <a:gd name="T17" fmla="*/ 978 h 2109"/>
                <a:gd name="T18" fmla="*/ 1290 w 1403"/>
                <a:gd name="T19" fmla="*/ 851 h 2109"/>
                <a:gd name="T20" fmla="*/ 1231 w 1403"/>
                <a:gd name="T21" fmla="*/ 730 h 2109"/>
                <a:gd name="T22" fmla="*/ 1160 w 1403"/>
                <a:gd name="T23" fmla="*/ 613 h 2109"/>
                <a:gd name="T24" fmla="*/ 1077 w 1403"/>
                <a:gd name="T25" fmla="*/ 505 h 2109"/>
                <a:gd name="T26" fmla="*/ 983 w 1403"/>
                <a:gd name="T27" fmla="*/ 404 h 2109"/>
                <a:gd name="T28" fmla="*/ 879 w 1403"/>
                <a:gd name="T29" fmla="*/ 309 h 2109"/>
                <a:gd name="T30" fmla="*/ 764 w 1403"/>
                <a:gd name="T31" fmla="*/ 227 h 2109"/>
                <a:gd name="T32" fmla="*/ 620 w 1403"/>
                <a:gd name="T33" fmla="*/ 146 h 2109"/>
                <a:gd name="T34" fmla="*/ 451 w 1403"/>
                <a:gd name="T35" fmla="*/ 75 h 2109"/>
                <a:gd name="T36" fmla="*/ 275 w 1403"/>
                <a:gd name="T37" fmla="*/ 27 h 2109"/>
                <a:gd name="T38" fmla="*/ 92 w 1403"/>
                <a:gd name="T39" fmla="*/ 4 h 2109"/>
                <a:gd name="T40" fmla="*/ 0 w 1403"/>
                <a:gd name="T41" fmla="*/ 469 h 2109"/>
                <a:gd name="T42" fmla="*/ 96 w 1403"/>
                <a:gd name="T43" fmla="*/ 475 h 2109"/>
                <a:gd name="T44" fmla="*/ 188 w 1403"/>
                <a:gd name="T45" fmla="*/ 488 h 2109"/>
                <a:gd name="T46" fmla="*/ 278 w 1403"/>
                <a:gd name="T47" fmla="*/ 511 h 2109"/>
                <a:gd name="T48" fmla="*/ 365 w 1403"/>
                <a:gd name="T49" fmla="*/ 544 h 2109"/>
                <a:gd name="T50" fmla="*/ 445 w 1403"/>
                <a:gd name="T51" fmla="*/ 582 h 2109"/>
                <a:gd name="T52" fmla="*/ 595 w 1403"/>
                <a:gd name="T53" fmla="*/ 684 h 2109"/>
                <a:gd name="T54" fmla="*/ 722 w 1403"/>
                <a:gd name="T55" fmla="*/ 811 h 2109"/>
                <a:gd name="T56" fmla="*/ 824 w 1403"/>
                <a:gd name="T57" fmla="*/ 960 h 2109"/>
                <a:gd name="T58" fmla="*/ 862 w 1403"/>
                <a:gd name="T59" fmla="*/ 1041 h 2109"/>
                <a:gd name="T60" fmla="*/ 895 w 1403"/>
                <a:gd name="T61" fmla="*/ 1128 h 2109"/>
                <a:gd name="T62" fmla="*/ 918 w 1403"/>
                <a:gd name="T63" fmla="*/ 1218 h 2109"/>
                <a:gd name="T64" fmla="*/ 931 w 1403"/>
                <a:gd name="T65" fmla="*/ 1310 h 2109"/>
                <a:gd name="T66" fmla="*/ 937 w 1403"/>
                <a:gd name="T67" fmla="*/ 1406 h 2109"/>
                <a:gd name="T68" fmla="*/ 927 w 1403"/>
                <a:gd name="T69" fmla="*/ 1529 h 2109"/>
                <a:gd name="T70" fmla="*/ 904 w 1403"/>
                <a:gd name="T71" fmla="*/ 1648 h 2109"/>
                <a:gd name="T72" fmla="*/ 866 w 1403"/>
                <a:gd name="T73" fmla="*/ 1765 h 2109"/>
                <a:gd name="T74" fmla="*/ 810 w 1403"/>
                <a:gd name="T75" fmla="*/ 1875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3" h="2109">
                  <a:moveTo>
                    <a:pt x="1215" y="2109"/>
                  </a:moveTo>
                  <a:lnTo>
                    <a:pt x="1250" y="2045"/>
                  </a:lnTo>
                  <a:lnTo>
                    <a:pt x="1283" y="1980"/>
                  </a:lnTo>
                  <a:lnTo>
                    <a:pt x="1309" y="1915"/>
                  </a:lnTo>
                  <a:lnTo>
                    <a:pt x="1332" y="1850"/>
                  </a:lnTo>
                  <a:lnTo>
                    <a:pt x="1354" y="1782"/>
                  </a:lnTo>
                  <a:lnTo>
                    <a:pt x="1371" y="1715"/>
                  </a:lnTo>
                  <a:lnTo>
                    <a:pt x="1384" y="1648"/>
                  </a:lnTo>
                  <a:lnTo>
                    <a:pt x="1394" y="1581"/>
                  </a:lnTo>
                  <a:lnTo>
                    <a:pt x="1402" y="1512"/>
                  </a:lnTo>
                  <a:lnTo>
                    <a:pt x="1403" y="1444"/>
                  </a:lnTo>
                  <a:lnTo>
                    <a:pt x="1403" y="1375"/>
                  </a:lnTo>
                  <a:lnTo>
                    <a:pt x="1402" y="1308"/>
                  </a:lnTo>
                  <a:lnTo>
                    <a:pt x="1394" y="1241"/>
                  </a:lnTo>
                  <a:lnTo>
                    <a:pt x="1386" y="1174"/>
                  </a:lnTo>
                  <a:lnTo>
                    <a:pt x="1373" y="1108"/>
                  </a:lnTo>
                  <a:lnTo>
                    <a:pt x="1357" y="1043"/>
                  </a:lnTo>
                  <a:lnTo>
                    <a:pt x="1338" y="978"/>
                  </a:lnTo>
                  <a:lnTo>
                    <a:pt x="1315" y="914"/>
                  </a:lnTo>
                  <a:lnTo>
                    <a:pt x="1290" y="851"/>
                  </a:lnTo>
                  <a:lnTo>
                    <a:pt x="1261" y="790"/>
                  </a:lnTo>
                  <a:lnTo>
                    <a:pt x="1231" y="730"/>
                  </a:lnTo>
                  <a:lnTo>
                    <a:pt x="1198" y="671"/>
                  </a:lnTo>
                  <a:lnTo>
                    <a:pt x="1160" y="613"/>
                  </a:lnTo>
                  <a:lnTo>
                    <a:pt x="1121" y="559"/>
                  </a:lnTo>
                  <a:lnTo>
                    <a:pt x="1077" y="505"/>
                  </a:lnTo>
                  <a:lnTo>
                    <a:pt x="1033" y="454"/>
                  </a:lnTo>
                  <a:lnTo>
                    <a:pt x="983" y="404"/>
                  </a:lnTo>
                  <a:lnTo>
                    <a:pt x="933" y="356"/>
                  </a:lnTo>
                  <a:lnTo>
                    <a:pt x="879" y="309"/>
                  </a:lnTo>
                  <a:lnTo>
                    <a:pt x="824" y="267"/>
                  </a:lnTo>
                  <a:lnTo>
                    <a:pt x="764" y="227"/>
                  </a:lnTo>
                  <a:lnTo>
                    <a:pt x="703" y="189"/>
                  </a:lnTo>
                  <a:lnTo>
                    <a:pt x="620" y="146"/>
                  </a:lnTo>
                  <a:lnTo>
                    <a:pt x="538" y="108"/>
                  </a:lnTo>
                  <a:lnTo>
                    <a:pt x="451" y="75"/>
                  </a:lnTo>
                  <a:lnTo>
                    <a:pt x="363" y="48"/>
                  </a:lnTo>
                  <a:lnTo>
                    <a:pt x="275" y="27"/>
                  </a:lnTo>
                  <a:lnTo>
                    <a:pt x="182" y="14"/>
                  </a:lnTo>
                  <a:lnTo>
                    <a:pt x="92" y="4"/>
                  </a:lnTo>
                  <a:lnTo>
                    <a:pt x="0" y="0"/>
                  </a:lnTo>
                  <a:lnTo>
                    <a:pt x="0" y="469"/>
                  </a:lnTo>
                  <a:lnTo>
                    <a:pt x="48" y="471"/>
                  </a:lnTo>
                  <a:lnTo>
                    <a:pt x="96" y="475"/>
                  </a:lnTo>
                  <a:lnTo>
                    <a:pt x="142" y="480"/>
                  </a:lnTo>
                  <a:lnTo>
                    <a:pt x="188" y="488"/>
                  </a:lnTo>
                  <a:lnTo>
                    <a:pt x="234" y="500"/>
                  </a:lnTo>
                  <a:lnTo>
                    <a:pt x="278" y="511"/>
                  </a:lnTo>
                  <a:lnTo>
                    <a:pt x="321" y="526"/>
                  </a:lnTo>
                  <a:lnTo>
                    <a:pt x="365" y="544"/>
                  </a:lnTo>
                  <a:lnTo>
                    <a:pt x="405" y="561"/>
                  </a:lnTo>
                  <a:lnTo>
                    <a:pt x="445" y="582"/>
                  </a:lnTo>
                  <a:lnTo>
                    <a:pt x="524" y="630"/>
                  </a:lnTo>
                  <a:lnTo>
                    <a:pt x="595" y="684"/>
                  </a:lnTo>
                  <a:lnTo>
                    <a:pt x="662" y="743"/>
                  </a:lnTo>
                  <a:lnTo>
                    <a:pt x="722" y="811"/>
                  </a:lnTo>
                  <a:lnTo>
                    <a:pt x="776" y="882"/>
                  </a:lnTo>
                  <a:lnTo>
                    <a:pt x="824" y="960"/>
                  </a:lnTo>
                  <a:lnTo>
                    <a:pt x="843" y="1001"/>
                  </a:lnTo>
                  <a:lnTo>
                    <a:pt x="862" y="1041"/>
                  </a:lnTo>
                  <a:lnTo>
                    <a:pt x="879" y="1083"/>
                  </a:lnTo>
                  <a:lnTo>
                    <a:pt x="895" y="1128"/>
                  </a:lnTo>
                  <a:lnTo>
                    <a:pt x="906" y="1172"/>
                  </a:lnTo>
                  <a:lnTo>
                    <a:pt x="918" y="1218"/>
                  </a:lnTo>
                  <a:lnTo>
                    <a:pt x="925" y="1264"/>
                  </a:lnTo>
                  <a:lnTo>
                    <a:pt x="931" y="1310"/>
                  </a:lnTo>
                  <a:lnTo>
                    <a:pt x="935" y="1358"/>
                  </a:lnTo>
                  <a:lnTo>
                    <a:pt x="937" y="1406"/>
                  </a:lnTo>
                  <a:lnTo>
                    <a:pt x="935" y="1467"/>
                  </a:lnTo>
                  <a:lnTo>
                    <a:pt x="927" y="1529"/>
                  </a:lnTo>
                  <a:lnTo>
                    <a:pt x="918" y="1588"/>
                  </a:lnTo>
                  <a:lnTo>
                    <a:pt x="904" y="1648"/>
                  </a:lnTo>
                  <a:lnTo>
                    <a:pt x="887" y="1707"/>
                  </a:lnTo>
                  <a:lnTo>
                    <a:pt x="866" y="1765"/>
                  </a:lnTo>
                  <a:lnTo>
                    <a:pt x="839" y="1821"/>
                  </a:lnTo>
                  <a:lnTo>
                    <a:pt x="810" y="1875"/>
                  </a:lnTo>
                  <a:lnTo>
                    <a:pt x="1215" y="2109"/>
                  </a:lnTo>
                  <a:close/>
                </a:path>
              </a:pathLst>
            </a:custGeom>
            <a:solidFill>
              <a:srgbClr val="002168"/>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55" name="Freeform 7">
              <a:extLst>
                <a:ext uri="{FF2B5EF4-FFF2-40B4-BE49-F238E27FC236}">
                  <a16:creationId xmlns:a16="http://schemas.microsoft.com/office/drawing/2014/main" id="{3B5BE1C6-0ABF-984B-8E15-B7D2AE90BAAA}"/>
                </a:ext>
              </a:extLst>
            </p:cNvPr>
            <p:cNvSpPr>
              <a:spLocks/>
            </p:cNvSpPr>
            <p:nvPr/>
          </p:nvSpPr>
          <p:spPr bwMode="auto">
            <a:xfrm>
              <a:off x="7332670" y="4208462"/>
              <a:ext cx="1931988" cy="742949"/>
            </a:xfrm>
            <a:custGeom>
              <a:avLst/>
              <a:gdLst>
                <a:gd name="T0" fmla="*/ 38 w 2432"/>
                <a:gd name="T1" fmla="*/ 295 h 937"/>
                <a:gd name="T2" fmla="*/ 121 w 2432"/>
                <a:gd name="T3" fmla="*/ 411 h 937"/>
                <a:gd name="T4" fmla="*/ 213 w 2432"/>
                <a:gd name="T5" fmla="*/ 516 h 937"/>
                <a:gd name="T6" fmla="*/ 315 w 2432"/>
                <a:gd name="T7" fmla="*/ 610 h 937"/>
                <a:gd name="T8" fmla="*/ 424 w 2432"/>
                <a:gd name="T9" fmla="*/ 693 h 937"/>
                <a:gd name="T10" fmla="*/ 539 w 2432"/>
                <a:gd name="T11" fmla="*/ 764 h 937"/>
                <a:gd name="T12" fmla="*/ 662 w 2432"/>
                <a:gd name="T13" fmla="*/ 821 h 937"/>
                <a:gd name="T14" fmla="*/ 789 w 2432"/>
                <a:gd name="T15" fmla="*/ 869 h 937"/>
                <a:gd name="T16" fmla="*/ 917 w 2432"/>
                <a:gd name="T17" fmla="*/ 904 h 937"/>
                <a:gd name="T18" fmla="*/ 1052 w 2432"/>
                <a:gd name="T19" fmla="*/ 927 h 937"/>
                <a:gd name="T20" fmla="*/ 1186 w 2432"/>
                <a:gd name="T21" fmla="*/ 937 h 937"/>
                <a:gd name="T22" fmla="*/ 1323 w 2432"/>
                <a:gd name="T23" fmla="*/ 933 h 937"/>
                <a:gd name="T24" fmla="*/ 1457 w 2432"/>
                <a:gd name="T25" fmla="*/ 916 h 937"/>
                <a:gd name="T26" fmla="*/ 1593 w 2432"/>
                <a:gd name="T27" fmla="*/ 885 h 937"/>
                <a:gd name="T28" fmla="*/ 1726 w 2432"/>
                <a:gd name="T29" fmla="*/ 841 h 937"/>
                <a:gd name="T30" fmla="*/ 1856 w 2432"/>
                <a:gd name="T31" fmla="*/ 783 h 937"/>
                <a:gd name="T32" fmla="*/ 1996 w 2432"/>
                <a:gd name="T33" fmla="*/ 699 h 937"/>
                <a:gd name="T34" fmla="*/ 2142 w 2432"/>
                <a:gd name="T35" fmla="*/ 587 h 937"/>
                <a:gd name="T36" fmla="*/ 2273 w 2432"/>
                <a:gd name="T37" fmla="*/ 459 h 937"/>
                <a:gd name="T38" fmla="*/ 2384 w 2432"/>
                <a:gd name="T39" fmla="*/ 313 h 937"/>
                <a:gd name="T40" fmla="*/ 2027 w 2432"/>
                <a:gd name="T41" fmla="*/ 0 h 937"/>
                <a:gd name="T42" fmla="*/ 1916 w 2432"/>
                <a:gd name="T43" fmla="*/ 153 h 937"/>
                <a:gd name="T44" fmla="*/ 1781 w 2432"/>
                <a:gd name="T45" fmla="*/ 278 h 937"/>
                <a:gd name="T46" fmla="*/ 1707 w 2432"/>
                <a:gd name="T47" fmla="*/ 330 h 937"/>
                <a:gd name="T48" fmla="*/ 1628 w 2432"/>
                <a:gd name="T49" fmla="*/ 374 h 937"/>
                <a:gd name="T50" fmla="*/ 1545 w 2432"/>
                <a:gd name="T51" fmla="*/ 409 h 937"/>
                <a:gd name="T52" fmla="*/ 1459 w 2432"/>
                <a:gd name="T53" fmla="*/ 435 h 937"/>
                <a:gd name="T54" fmla="*/ 1371 w 2432"/>
                <a:gd name="T55" fmla="*/ 455 h 937"/>
                <a:gd name="T56" fmla="*/ 1282 w 2432"/>
                <a:gd name="T57" fmla="*/ 466 h 937"/>
                <a:gd name="T58" fmla="*/ 1192 w 2432"/>
                <a:gd name="T59" fmla="*/ 468 h 937"/>
                <a:gd name="T60" fmla="*/ 1100 w 2432"/>
                <a:gd name="T61" fmla="*/ 460 h 937"/>
                <a:gd name="T62" fmla="*/ 1010 w 2432"/>
                <a:gd name="T63" fmla="*/ 445 h 937"/>
                <a:gd name="T64" fmla="*/ 921 w 2432"/>
                <a:gd name="T65" fmla="*/ 420 h 937"/>
                <a:gd name="T66" fmla="*/ 833 w 2432"/>
                <a:gd name="T67" fmla="*/ 386 h 937"/>
                <a:gd name="T68" fmla="*/ 748 w 2432"/>
                <a:gd name="T69" fmla="*/ 343 h 937"/>
                <a:gd name="T70" fmla="*/ 647 w 2432"/>
                <a:gd name="T71" fmla="*/ 274 h 937"/>
                <a:gd name="T72" fmla="*/ 555 w 2432"/>
                <a:gd name="T73" fmla="*/ 194 h 937"/>
                <a:gd name="T74" fmla="*/ 474 w 2432"/>
                <a:gd name="T75" fmla="*/ 101 h 937"/>
                <a:gd name="T76" fmla="*/ 405 w 2432"/>
                <a:gd name="T77"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32" h="937">
                  <a:moveTo>
                    <a:pt x="0" y="234"/>
                  </a:moveTo>
                  <a:lnTo>
                    <a:pt x="38" y="295"/>
                  </a:lnTo>
                  <a:lnTo>
                    <a:pt x="78" y="355"/>
                  </a:lnTo>
                  <a:lnTo>
                    <a:pt x="121" y="411"/>
                  </a:lnTo>
                  <a:lnTo>
                    <a:pt x="167" y="464"/>
                  </a:lnTo>
                  <a:lnTo>
                    <a:pt x="213" y="516"/>
                  </a:lnTo>
                  <a:lnTo>
                    <a:pt x="263" y="564"/>
                  </a:lnTo>
                  <a:lnTo>
                    <a:pt x="315" y="610"/>
                  </a:lnTo>
                  <a:lnTo>
                    <a:pt x="368" y="652"/>
                  </a:lnTo>
                  <a:lnTo>
                    <a:pt x="424" y="693"/>
                  </a:lnTo>
                  <a:lnTo>
                    <a:pt x="482" y="729"/>
                  </a:lnTo>
                  <a:lnTo>
                    <a:pt x="539" y="764"/>
                  </a:lnTo>
                  <a:lnTo>
                    <a:pt x="601" y="795"/>
                  </a:lnTo>
                  <a:lnTo>
                    <a:pt x="662" y="821"/>
                  </a:lnTo>
                  <a:lnTo>
                    <a:pt x="724" y="848"/>
                  </a:lnTo>
                  <a:lnTo>
                    <a:pt x="789" y="869"/>
                  </a:lnTo>
                  <a:lnTo>
                    <a:pt x="852" y="889"/>
                  </a:lnTo>
                  <a:lnTo>
                    <a:pt x="917" y="904"/>
                  </a:lnTo>
                  <a:lnTo>
                    <a:pt x="985" y="917"/>
                  </a:lnTo>
                  <a:lnTo>
                    <a:pt x="1052" y="927"/>
                  </a:lnTo>
                  <a:lnTo>
                    <a:pt x="1119" y="933"/>
                  </a:lnTo>
                  <a:lnTo>
                    <a:pt x="1186" y="937"/>
                  </a:lnTo>
                  <a:lnTo>
                    <a:pt x="1253" y="937"/>
                  </a:lnTo>
                  <a:lnTo>
                    <a:pt x="1323" y="933"/>
                  </a:lnTo>
                  <a:lnTo>
                    <a:pt x="1390" y="925"/>
                  </a:lnTo>
                  <a:lnTo>
                    <a:pt x="1457" y="916"/>
                  </a:lnTo>
                  <a:lnTo>
                    <a:pt x="1526" y="902"/>
                  </a:lnTo>
                  <a:lnTo>
                    <a:pt x="1593" y="885"/>
                  </a:lnTo>
                  <a:lnTo>
                    <a:pt x="1659" y="866"/>
                  </a:lnTo>
                  <a:lnTo>
                    <a:pt x="1726" y="841"/>
                  </a:lnTo>
                  <a:lnTo>
                    <a:pt x="1791" y="814"/>
                  </a:lnTo>
                  <a:lnTo>
                    <a:pt x="1856" y="783"/>
                  </a:lnTo>
                  <a:lnTo>
                    <a:pt x="1920" y="748"/>
                  </a:lnTo>
                  <a:lnTo>
                    <a:pt x="1996" y="699"/>
                  </a:lnTo>
                  <a:lnTo>
                    <a:pt x="2071" y="647"/>
                  </a:lnTo>
                  <a:lnTo>
                    <a:pt x="2142" y="587"/>
                  </a:lnTo>
                  <a:lnTo>
                    <a:pt x="2210" y="526"/>
                  </a:lnTo>
                  <a:lnTo>
                    <a:pt x="2273" y="459"/>
                  </a:lnTo>
                  <a:lnTo>
                    <a:pt x="2331" y="387"/>
                  </a:lnTo>
                  <a:lnTo>
                    <a:pt x="2384" y="313"/>
                  </a:lnTo>
                  <a:lnTo>
                    <a:pt x="2432" y="234"/>
                  </a:lnTo>
                  <a:lnTo>
                    <a:pt x="2027" y="0"/>
                  </a:lnTo>
                  <a:lnTo>
                    <a:pt x="1975" y="80"/>
                  </a:lnTo>
                  <a:lnTo>
                    <a:pt x="1916" y="153"/>
                  </a:lnTo>
                  <a:lnTo>
                    <a:pt x="1852" y="220"/>
                  </a:lnTo>
                  <a:lnTo>
                    <a:pt x="1781" y="278"/>
                  </a:lnTo>
                  <a:lnTo>
                    <a:pt x="1745" y="305"/>
                  </a:lnTo>
                  <a:lnTo>
                    <a:pt x="1707" y="330"/>
                  </a:lnTo>
                  <a:lnTo>
                    <a:pt x="1668" y="353"/>
                  </a:lnTo>
                  <a:lnTo>
                    <a:pt x="1628" y="374"/>
                  </a:lnTo>
                  <a:lnTo>
                    <a:pt x="1586" y="391"/>
                  </a:lnTo>
                  <a:lnTo>
                    <a:pt x="1545" y="409"/>
                  </a:lnTo>
                  <a:lnTo>
                    <a:pt x="1501" y="424"/>
                  </a:lnTo>
                  <a:lnTo>
                    <a:pt x="1459" y="435"/>
                  </a:lnTo>
                  <a:lnTo>
                    <a:pt x="1415" y="447"/>
                  </a:lnTo>
                  <a:lnTo>
                    <a:pt x="1371" y="455"/>
                  </a:lnTo>
                  <a:lnTo>
                    <a:pt x="1326" y="462"/>
                  </a:lnTo>
                  <a:lnTo>
                    <a:pt x="1282" y="466"/>
                  </a:lnTo>
                  <a:lnTo>
                    <a:pt x="1236" y="468"/>
                  </a:lnTo>
                  <a:lnTo>
                    <a:pt x="1192" y="468"/>
                  </a:lnTo>
                  <a:lnTo>
                    <a:pt x="1146" y="466"/>
                  </a:lnTo>
                  <a:lnTo>
                    <a:pt x="1100" y="460"/>
                  </a:lnTo>
                  <a:lnTo>
                    <a:pt x="1056" y="455"/>
                  </a:lnTo>
                  <a:lnTo>
                    <a:pt x="1010" y="445"/>
                  </a:lnTo>
                  <a:lnTo>
                    <a:pt x="965" y="434"/>
                  </a:lnTo>
                  <a:lnTo>
                    <a:pt x="921" y="420"/>
                  </a:lnTo>
                  <a:lnTo>
                    <a:pt x="877" y="405"/>
                  </a:lnTo>
                  <a:lnTo>
                    <a:pt x="833" y="386"/>
                  </a:lnTo>
                  <a:lnTo>
                    <a:pt x="791" y="366"/>
                  </a:lnTo>
                  <a:lnTo>
                    <a:pt x="748" y="343"/>
                  </a:lnTo>
                  <a:lnTo>
                    <a:pt x="697" y="311"/>
                  </a:lnTo>
                  <a:lnTo>
                    <a:pt x="647" y="274"/>
                  </a:lnTo>
                  <a:lnTo>
                    <a:pt x="599" y="236"/>
                  </a:lnTo>
                  <a:lnTo>
                    <a:pt x="555" y="194"/>
                  </a:lnTo>
                  <a:lnTo>
                    <a:pt x="512" y="149"/>
                  </a:lnTo>
                  <a:lnTo>
                    <a:pt x="474" y="101"/>
                  </a:lnTo>
                  <a:lnTo>
                    <a:pt x="437" y="51"/>
                  </a:lnTo>
                  <a:lnTo>
                    <a:pt x="405" y="0"/>
                  </a:lnTo>
                  <a:lnTo>
                    <a:pt x="0" y="234"/>
                  </a:lnTo>
                  <a:close/>
                </a:path>
              </a:pathLst>
            </a:custGeom>
            <a:solidFill>
              <a:schemeClr val="accent4"/>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56" name="Freeform 8">
              <a:extLst>
                <a:ext uri="{FF2B5EF4-FFF2-40B4-BE49-F238E27FC236}">
                  <a16:creationId xmlns:a16="http://schemas.microsoft.com/office/drawing/2014/main" id="{11A7E1B8-620E-F248-A627-7FB6822C8AEB}"/>
                </a:ext>
              </a:extLst>
            </p:cNvPr>
            <p:cNvSpPr>
              <a:spLocks/>
            </p:cNvSpPr>
            <p:nvPr/>
          </p:nvSpPr>
          <p:spPr bwMode="auto">
            <a:xfrm>
              <a:off x="7183444" y="2720974"/>
              <a:ext cx="1116013" cy="1673224"/>
            </a:xfrm>
            <a:custGeom>
              <a:avLst/>
              <a:gdLst>
                <a:gd name="T0" fmla="*/ 1332 w 1405"/>
                <a:gd name="T1" fmla="*/ 2 h 2109"/>
                <a:gd name="T2" fmla="*/ 1190 w 1405"/>
                <a:gd name="T3" fmla="*/ 18 h 2109"/>
                <a:gd name="T4" fmla="*/ 1054 w 1405"/>
                <a:gd name="T5" fmla="*/ 44 h 2109"/>
                <a:gd name="T6" fmla="*/ 921 w 1405"/>
                <a:gd name="T7" fmla="*/ 87 h 2109"/>
                <a:gd name="T8" fmla="*/ 794 w 1405"/>
                <a:gd name="T9" fmla="*/ 139 h 2109"/>
                <a:gd name="T10" fmla="*/ 675 w 1405"/>
                <a:gd name="T11" fmla="*/ 204 h 2109"/>
                <a:gd name="T12" fmla="*/ 564 w 1405"/>
                <a:gd name="T13" fmla="*/ 281 h 2109"/>
                <a:gd name="T14" fmla="*/ 460 w 1405"/>
                <a:gd name="T15" fmla="*/ 365 h 2109"/>
                <a:gd name="T16" fmla="*/ 364 w 1405"/>
                <a:gd name="T17" fmla="*/ 461 h 2109"/>
                <a:gd name="T18" fmla="*/ 278 w 1405"/>
                <a:gd name="T19" fmla="*/ 565 h 2109"/>
                <a:gd name="T20" fmla="*/ 203 w 1405"/>
                <a:gd name="T21" fmla="*/ 676 h 2109"/>
                <a:gd name="T22" fmla="*/ 138 w 1405"/>
                <a:gd name="T23" fmla="*/ 797 h 2109"/>
                <a:gd name="T24" fmla="*/ 84 w 1405"/>
                <a:gd name="T25" fmla="*/ 922 h 2109"/>
                <a:gd name="T26" fmla="*/ 44 w 1405"/>
                <a:gd name="T27" fmla="*/ 1055 h 2109"/>
                <a:gd name="T28" fmla="*/ 15 w 1405"/>
                <a:gd name="T29" fmla="*/ 1193 h 2109"/>
                <a:gd name="T30" fmla="*/ 1 w 1405"/>
                <a:gd name="T31" fmla="*/ 1333 h 2109"/>
                <a:gd name="T32" fmla="*/ 1 w 1405"/>
                <a:gd name="T33" fmla="*/ 1498 h 2109"/>
                <a:gd name="T34" fmla="*/ 26 w 1405"/>
                <a:gd name="T35" fmla="*/ 1681 h 2109"/>
                <a:gd name="T36" fmla="*/ 74 w 1405"/>
                <a:gd name="T37" fmla="*/ 1857 h 2109"/>
                <a:gd name="T38" fmla="*/ 144 w 1405"/>
                <a:gd name="T39" fmla="*/ 2026 h 2109"/>
                <a:gd name="T40" fmla="*/ 593 w 1405"/>
                <a:gd name="T41" fmla="*/ 1875 h 2109"/>
                <a:gd name="T42" fmla="*/ 549 w 1405"/>
                <a:gd name="T43" fmla="*/ 1788 h 2109"/>
                <a:gd name="T44" fmla="*/ 516 w 1405"/>
                <a:gd name="T45" fmla="*/ 1702 h 2109"/>
                <a:gd name="T46" fmla="*/ 491 w 1405"/>
                <a:gd name="T47" fmla="*/ 1611 h 2109"/>
                <a:gd name="T48" fmla="*/ 474 w 1405"/>
                <a:gd name="T49" fmla="*/ 1521 h 2109"/>
                <a:gd name="T50" fmla="*/ 468 w 1405"/>
                <a:gd name="T51" fmla="*/ 1431 h 2109"/>
                <a:gd name="T52" fmla="*/ 470 w 1405"/>
                <a:gd name="T53" fmla="*/ 1341 h 2109"/>
                <a:gd name="T54" fmla="*/ 480 w 1405"/>
                <a:gd name="T55" fmla="*/ 1250 h 2109"/>
                <a:gd name="T56" fmla="*/ 499 w 1405"/>
                <a:gd name="T57" fmla="*/ 1164 h 2109"/>
                <a:gd name="T58" fmla="*/ 528 w 1405"/>
                <a:gd name="T59" fmla="*/ 1078 h 2109"/>
                <a:gd name="T60" fmla="*/ 562 w 1405"/>
                <a:gd name="T61" fmla="*/ 995 h 2109"/>
                <a:gd name="T62" fmla="*/ 606 w 1405"/>
                <a:gd name="T63" fmla="*/ 916 h 2109"/>
                <a:gd name="T64" fmla="*/ 656 w 1405"/>
                <a:gd name="T65" fmla="*/ 841 h 2109"/>
                <a:gd name="T66" fmla="*/ 783 w 1405"/>
                <a:gd name="T67" fmla="*/ 705 h 2109"/>
                <a:gd name="T68" fmla="*/ 936 w 1405"/>
                <a:gd name="T69" fmla="*/ 594 h 2109"/>
                <a:gd name="T70" fmla="*/ 1046 w 1405"/>
                <a:gd name="T71" fmla="*/ 540 h 2109"/>
                <a:gd name="T72" fmla="*/ 1161 w 1405"/>
                <a:gd name="T73" fmla="*/ 502 h 2109"/>
                <a:gd name="T74" fmla="*/ 1282 w 1405"/>
                <a:gd name="T75" fmla="*/ 477 h 2109"/>
                <a:gd name="T76" fmla="*/ 1405 w 1405"/>
                <a:gd name="T77" fmla="*/ 469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5" h="2109">
                  <a:moveTo>
                    <a:pt x="1405" y="0"/>
                  </a:moveTo>
                  <a:lnTo>
                    <a:pt x="1332" y="2"/>
                  </a:lnTo>
                  <a:lnTo>
                    <a:pt x="1261" y="8"/>
                  </a:lnTo>
                  <a:lnTo>
                    <a:pt x="1190" y="18"/>
                  </a:lnTo>
                  <a:lnTo>
                    <a:pt x="1121" y="29"/>
                  </a:lnTo>
                  <a:lnTo>
                    <a:pt x="1054" y="44"/>
                  </a:lnTo>
                  <a:lnTo>
                    <a:pt x="986" y="64"/>
                  </a:lnTo>
                  <a:lnTo>
                    <a:pt x="921" y="87"/>
                  </a:lnTo>
                  <a:lnTo>
                    <a:pt x="858" y="112"/>
                  </a:lnTo>
                  <a:lnTo>
                    <a:pt x="794" y="139"/>
                  </a:lnTo>
                  <a:lnTo>
                    <a:pt x="735" y="169"/>
                  </a:lnTo>
                  <a:lnTo>
                    <a:pt x="675" y="204"/>
                  </a:lnTo>
                  <a:lnTo>
                    <a:pt x="618" y="240"/>
                  </a:lnTo>
                  <a:lnTo>
                    <a:pt x="564" y="281"/>
                  </a:lnTo>
                  <a:lnTo>
                    <a:pt x="510" y="321"/>
                  </a:lnTo>
                  <a:lnTo>
                    <a:pt x="460" y="365"/>
                  </a:lnTo>
                  <a:lnTo>
                    <a:pt x="410" y="411"/>
                  </a:lnTo>
                  <a:lnTo>
                    <a:pt x="364" y="461"/>
                  </a:lnTo>
                  <a:lnTo>
                    <a:pt x="320" y="511"/>
                  </a:lnTo>
                  <a:lnTo>
                    <a:pt x="278" y="565"/>
                  </a:lnTo>
                  <a:lnTo>
                    <a:pt x="240" y="621"/>
                  </a:lnTo>
                  <a:lnTo>
                    <a:pt x="203" y="676"/>
                  </a:lnTo>
                  <a:lnTo>
                    <a:pt x="168" y="736"/>
                  </a:lnTo>
                  <a:lnTo>
                    <a:pt x="138" y="797"/>
                  </a:lnTo>
                  <a:lnTo>
                    <a:pt x="109" y="859"/>
                  </a:lnTo>
                  <a:lnTo>
                    <a:pt x="84" y="922"/>
                  </a:lnTo>
                  <a:lnTo>
                    <a:pt x="63" y="987"/>
                  </a:lnTo>
                  <a:lnTo>
                    <a:pt x="44" y="1055"/>
                  </a:lnTo>
                  <a:lnTo>
                    <a:pt x="28" y="1122"/>
                  </a:lnTo>
                  <a:lnTo>
                    <a:pt x="15" y="1193"/>
                  </a:lnTo>
                  <a:lnTo>
                    <a:pt x="7" y="1262"/>
                  </a:lnTo>
                  <a:lnTo>
                    <a:pt x="1" y="1333"/>
                  </a:lnTo>
                  <a:lnTo>
                    <a:pt x="0" y="1406"/>
                  </a:lnTo>
                  <a:lnTo>
                    <a:pt x="1" y="1498"/>
                  </a:lnTo>
                  <a:lnTo>
                    <a:pt x="11" y="1590"/>
                  </a:lnTo>
                  <a:lnTo>
                    <a:pt x="26" y="1681"/>
                  </a:lnTo>
                  <a:lnTo>
                    <a:pt x="48" y="1769"/>
                  </a:lnTo>
                  <a:lnTo>
                    <a:pt x="74" y="1857"/>
                  </a:lnTo>
                  <a:lnTo>
                    <a:pt x="105" y="1944"/>
                  </a:lnTo>
                  <a:lnTo>
                    <a:pt x="144" y="2026"/>
                  </a:lnTo>
                  <a:lnTo>
                    <a:pt x="188" y="2109"/>
                  </a:lnTo>
                  <a:lnTo>
                    <a:pt x="593" y="1875"/>
                  </a:lnTo>
                  <a:lnTo>
                    <a:pt x="570" y="1832"/>
                  </a:lnTo>
                  <a:lnTo>
                    <a:pt x="549" y="1788"/>
                  </a:lnTo>
                  <a:lnTo>
                    <a:pt x="531" y="1746"/>
                  </a:lnTo>
                  <a:lnTo>
                    <a:pt x="516" y="1702"/>
                  </a:lnTo>
                  <a:lnTo>
                    <a:pt x="501" y="1658"/>
                  </a:lnTo>
                  <a:lnTo>
                    <a:pt x="491" y="1611"/>
                  </a:lnTo>
                  <a:lnTo>
                    <a:pt x="481" y="1567"/>
                  </a:lnTo>
                  <a:lnTo>
                    <a:pt x="474" y="1521"/>
                  </a:lnTo>
                  <a:lnTo>
                    <a:pt x="470" y="1477"/>
                  </a:lnTo>
                  <a:lnTo>
                    <a:pt x="468" y="1431"/>
                  </a:lnTo>
                  <a:lnTo>
                    <a:pt x="468" y="1385"/>
                  </a:lnTo>
                  <a:lnTo>
                    <a:pt x="470" y="1341"/>
                  </a:lnTo>
                  <a:lnTo>
                    <a:pt x="474" y="1297"/>
                  </a:lnTo>
                  <a:lnTo>
                    <a:pt x="480" y="1250"/>
                  </a:lnTo>
                  <a:lnTo>
                    <a:pt x="489" y="1206"/>
                  </a:lnTo>
                  <a:lnTo>
                    <a:pt x="499" y="1164"/>
                  </a:lnTo>
                  <a:lnTo>
                    <a:pt x="512" y="1120"/>
                  </a:lnTo>
                  <a:lnTo>
                    <a:pt x="528" y="1078"/>
                  </a:lnTo>
                  <a:lnTo>
                    <a:pt x="543" y="1035"/>
                  </a:lnTo>
                  <a:lnTo>
                    <a:pt x="562" y="995"/>
                  </a:lnTo>
                  <a:lnTo>
                    <a:pt x="583" y="955"/>
                  </a:lnTo>
                  <a:lnTo>
                    <a:pt x="606" y="916"/>
                  </a:lnTo>
                  <a:lnTo>
                    <a:pt x="631" y="878"/>
                  </a:lnTo>
                  <a:lnTo>
                    <a:pt x="656" y="841"/>
                  </a:lnTo>
                  <a:lnTo>
                    <a:pt x="716" y="770"/>
                  </a:lnTo>
                  <a:lnTo>
                    <a:pt x="783" y="705"/>
                  </a:lnTo>
                  <a:lnTo>
                    <a:pt x="856" y="647"/>
                  </a:lnTo>
                  <a:lnTo>
                    <a:pt x="936" y="594"/>
                  </a:lnTo>
                  <a:lnTo>
                    <a:pt x="990" y="565"/>
                  </a:lnTo>
                  <a:lnTo>
                    <a:pt x="1046" y="540"/>
                  </a:lnTo>
                  <a:lnTo>
                    <a:pt x="1104" y="519"/>
                  </a:lnTo>
                  <a:lnTo>
                    <a:pt x="1161" y="502"/>
                  </a:lnTo>
                  <a:lnTo>
                    <a:pt x="1221" y="486"/>
                  </a:lnTo>
                  <a:lnTo>
                    <a:pt x="1282" y="477"/>
                  </a:lnTo>
                  <a:lnTo>
                    <a:pt x="1344" y="471"/>
                  </a:lnTo>
                  <a:lnTo>
                    <a:pt x="1405" y="469"/>
                  </a:lnTo>
                  <a:lnTo>
                    <a:pt x="1405" y="0"/>
                  </a:lnTo>
                  <a:close/>
                </a:path>
              </a:pathLst>
            </a:custGeom>
            <a:solidFill>
              <a:schemeClr val="accent3"/>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57" name="Freeform 9">
              <a:extLst>
                <a:ext uri="{FF2B5EF4-FFF2-40B4-BE49-F238E27FC236}">
                  <a16:creationId xmlns:a16="http://schemas.microsoft.com/office/drawing/2014/main" id="{D805AE74-000B-C144-A4F3-67D58971E205}"/>
                </a:ext>
              </a:extLst>
            </p:cNvPr>
            <p:cNvSpPr>
              <a:spLocks/>
            </p:cNvSpPr>
            <p:nvPr/>
          </p:nvSpPr>
          <p:spPr bwMode="auto">
            <a:xfrm>
              <a:off x="8299457" y="2347913"/>
              <a:ext cx="955676" cy="633413"/>
            </a:xfrm>
            <a:custGeom>
              <a:avLst/>
              <a:gdLst>
                <a:gd name="T0" fmla="*/ 1204 w 1204"/>
                <a:gd name="T1" fmla="*/ 440 h 797"/>
                <a:gd name="T2" fmla="*/ 1139 w 1204"/>
                <a:gd name="T3" fmla="*/ 388 h 797"/>
                <a:gd name="T4" fmla="*/ 1073 w 1204"/>
                <a:gd name="T5" fmla="*/ 338 h 797"/>
                <a:gd name="T6" fmla="*/ 1004 w 1204"/>
                <a:gd name="T7" fmla="*/ 294 h 797"/>
                <a:gd name="T8" fmla="*/ 935 w 1204"/>
                <a:gd name="T9" fmla="*/ 251 h 797"/>
                <a:gd name="T10" fmla="*/ 864 w 1204"/>
                <a:gd name="T11" fmla="*/ 211 h 797"/>
                <a:gd name="T12" fmla="*/ 791 w 1204"/>
                <a:gd name="T13" fmla="*/ 176 h 797"/>
                <a:gd name="T14" fmla="*/ 716 w 1204"/>
                <a:gd name="T15" fmla="*/ 144 h 797"/>
                <a:gd name="T16" fmla="*/ 639 w 1204"/>
                <a:gd name="T17" fmla="*/ 113 h 797"/>
                <a:gd name="T18" fmla="*/ 563 w 1204"/>
                <a:gd name="T19" fmla="*/ 88 h 797"/>
                <a:gd name="T20" fmla="*/ 486 w 1204"/>
                <a:gd name="T21" fmla="*/ 65 h 797"/>
                <a:gd name="T22" fmla="*/ 405 w 1204"/>
                <a:gd name="T23" fmla="*/ 46 h 797"/>
                <a:gd name="T24" fmla="*/ 326 w 1204"/>
                <a:gd name="T25" fmla="*/ 29 h 797"/>
                <a:gd name="T26" fmla="*/ 246 w 1204"/>
                <a:gd name="T27" fmla="*/ 17 h 797"/>
                <a:gd name="T28" fmla="*/ 163 w 1204"/>
                <a:gd name="T29" fmla="*/ 7 h 797"/>
                <a:gd name="T30" fmla="*/ 83 w 1204"/>
                <a:gd name="T31" fmla="*/ 2 h 797"/>
                <a:gd name="T32" fmla="*/ 0 w 1204"/>
                <a:gd name="T33" fmla="*/ 0 h 797"/>
                <a:gd name="T34" fmla="*/ 0 w 1204"/>
                <a:gd name="T35" fmla="*/ 468 h 797"/>
                <a:gd name="T36" fmla="*/ 61 w 1204"/>
                <a:gd name="T37" fmla="*/ 470 h 797"/>
                <a:gd name="T38" fmla="*/ 123 w 1204"/>
                <a:gd name="T39" fmla="*/ 474 h 797"/>
                <a:gd name="T40" fmla="*/ 184 w 1204"/>
                <a:gd name="T41" fmla="*/ 482 h 797"/>
                <a:gd name="T42" fmla="*/ 244 w 1204"/>
                <a:gd name="T43" fmla="*/ 489 h 797"/>
                <a:gd name="T44" fmla="*/ 305 w 1204"/>
                <a:gd name="T45" fmla="*/ 503 h 797"/>
                <a:gd name="T46" fmla="*/ 363 w 1204"/>
                <a:gd name="T47" fmla="*/ 516 h 797"/>
                <a:gd name="T48" fmla="*/ 422 w 1204"/>
                <a:gd name="T49" fmla="*/ 534 h 797"/>
                <a:gd name="T50" fmla="*/ 480 w 1204"/>
                <a:gd name="T51" fmla="*/ 553 h 797"/>
                <a:gd name="T52" fmla="*/ 538 w 1204"/>
                <a:gd name="T53" fmla="*/ 576 h 797"/>
                <a:gd name="T54" fmla="*/ 593 w 1204"/>
                <a:gd name="T55" fmla="*/ 601 h 797"/>
                <a:gd name="T56" fmla="*/ 647 w 1204"/>
                <a:gd name="T57" fmla="*/ 628 h 797"/>
                <a:gd name="T58" fmla="*/ 701 w 1204"/>
                <a:gd name="T59" fmla="*/ 657 h 797"/>
                <a:gd name="T60" fmla="*/ 755 w 1204"/>
                <a:gd name="T61" fmla="*/ 689 h 797"/>
                <a:gd name="T62" fmla="*/ 804 w 1204"/>
                <a:gd name="T63" fmla="*/ 722 h 797"/>
                <a:gd name="T64" fmla="*/ 854 w 1204"/>
                <a:gd name="T65" fmla="*/ 758 h 797"/>
                <a:gd name="T66" fmla="*/ 902 w 1204"/>
                <a:gd name="T67" fmla="*/ 797 h 797"/>
                <a:gd name="T68" fmla="*/ 1204 w 1204"/>
                <a:gd name="T69" fmla="*/ 440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4" h="797">
                  <a:moveTo>
                    <a:pt x="1204" y="440"/>
                  </a:moveTo>
                  <a:lnTo>
                    <a:pt x="1139" y="388"/>
                  </a:lnTo>
                  <a:lnTo>
                    <a:pt x="1073" y="338"/>
                  </a:lnTo>
                  <a:lnTo>
                    <a:pt x="1004" y="294"/>
                  </a:lnTo>
                  <a:lnTo>
                    <a:pt x="935" y="251"/>
                  </a:lnTo>
                  <a:lnTo>
                    <a:pt x="864" y="211"/>
                  </a:lnTo>
                  <a:lnTo>
                    <a:pt x="791" y="176"/>
                  </a:lnTo>
                  <a:lnTo>
                    <a:pt x="716" y="144"/>
                  </a:lnTo>
                  <a:lnTo>
                    <a:pt x="639" y="113"/>
                  </a:lnTo>
                  <a:lnTo>
                    <a:pt x="563" y="88"/>
                  </a:lnTo>
                  <a:lnTo>
                    <a:pt x="486" y="65"/>
                  </a:lnTo>
                  <a:lnTo>
                    <a:pt x="405" y="46"/>
                  </a:lnTo>
                  <a:lnTo>
                    <a:pt x="326" y="29"/>
                  </a:lnTo>
                  <a:lnTo>
                    <a:pt x="246" y="17"/>
                  </a:lnTo>
                  <a:lnTo>
                    <a:pt x="163" y="7"/>
                  </a:lnTo>
                  <a:lnTo>
                    <a:pt x="83" y="2"/>
                  </a:lnTo>
                  <a:lnTo>
                    <a:pt x="0" y="0"/>
                  </a:lnTo>
                  <a:lnTo>
                    <a:pt x="0" y="468"/>
                  </a:lnTo>
                  <a:lnTo>
                    <a:pt x="61" y="470"/>
                  </a:lnTo>
                  <a:lnTo>
                    <a:pt x="123" y="474"/>
                  </a:lnTo>
                  <a:lnTo>
                    <a:pt x="184" y="482"/>
                  </a:lnTo>
                  <a:lnTo>
                    <a:pt x="244" y="489"/>
                  </a:lnTo>
                  <a:lnTo>
                    <a:pt x="305" y="503"/>
                  </a:lnTo>
                  <a:lnTo>
                    <a:pt x="363" y="516"/>
                  </a:lnTo>
                  <a:lnTo>
                    <a:pt x="422" y="534"/>
                  </a:lnTo>
                  <a:lnTo>
                    <a:pt x="480" y="553"/>
                  </a:lnTo>
                  <a:lnTo>
                    <a:pt x="538" y="576"/>
                  </a:lnTo>
                  <a:lnTo>
                    <a:pt x="593" y="601"/>
                  </a:lnTo>
                  <a:lnTo>
                    <a:pt x="647" y="628"/>
                  </a:lnTo>
                  <a:lnTo>
                    <a:pt x="701" y="657"/>
                  </a:lnTo>
                  <a:lnTo>
                    <a:pt x="755" y="689"/>
                  </a:lnTo>
                  <a:lnTo>
                    <a:pt x="804" y="722"/>
                  </a:lnTo>
                  <a:lnTo>
                    <a:pt x="854" y="758"/>
                  </a:lnTo>
                  <a:lnTo>
                    <a:pt x="902" y="797"/>
                  </a:lnTo>
                  <a:lnTo>
                    <a:pt x="1204" y="440"/>
                  </a:lnTo>
                  <a:close/>
                </a:path>
              </a:pathLst>
            </a:custGeom>
            <a:solidFill>
              <a:srgbClr val="E3E48D"/>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58" name="Freeform 10">
              <a:extLst>
                <a:ext uri="{FF2B5EF4-FFF2-40B4-BE49-F238E27FC236}">
                  <a16:creationId xmlns:a16="http://schemas.microsoft.com/office/drawing/2014/main" id="{78C89777-BA31-2E49-BF19-F51E853D32CC}"/>
                </a:ext>
              </a:extLst>
            </p:cNvPr>
            <p:cNvSpPr>
              <a:spLocks/>
            </p:cNvSpPr>
            <p:nvPr/>
          </p:nvSpPr>
          <p:spPr bwMode="auto">
            <a:xfrm>
              <a:off x="9015420" y="2697163"/>
              <a:ext cx="749301" cy="946149"/>
            </a:xfrm>
            <a:custGeom>
              <a:avLst/>
              <a:gdLst>
                <a:gd name="T0" fmla="*/ 943 w 943"/>
                <a:gd name="T1" fmla="*/ 1109 h 1190"/>
                <a:gd name="T2" fmla="*/ 926 w 943"/>
                <a:gd name="T3" fmla="*/ 1027 h 1190"/>
                <a:gd name="T4" fmla="*/ 907 w 943"/>
                <a:gd name="T5" fmla="*/ 948 h 1190"/>
                <a:gd name="T6" fmla="*/ 884 w 943"/>
                <a:gd name="T7" fmla="*/ 869 h 1190"/>
                <a:gd name="T8" fmla="*/ 857 w 943"/>
                <a:gd name="T9" fmla="*/ 793 h 1190"/>
                <a:gd name="T10" fmla="*/ 828 w 943"/>
                <a:gd name="T11" fmla="*/ 716 h 1190"/>
                <a:gd name="T12" fmla="*/ 795 w 943"/>
                <a:gd name="T13" fmla="*/ 641 h 1190"/>
                <a:gd name="T14" fmla="*/ 759 w 943"/>
                <a:gd name="T15" fmla="*/ 568 h 1190"/>
                <a:gd name="T16" fmla="*/ 720 w 943"/>
                <a:gd name="T17" fmla="*/ 497 h 1190"/>
                <a:gd name="T18" fmla="*/ 678 w 943"/>
                <a:gd name="T19" fmla="*/ 428 h 1190"/>
                <a:gd name="T20" fmla="*/ 632 w 943"/>
                <a:gd name="T21" fmla="*/ 361 h 1190"/>
                <a:gd name="T22" fmla="*/ 584 w 943"/>
                <a:gd name="T23" fmla="*/ 295 h 1190"/>
                <a:gd name="T24" fmla="*/ 534 w 943"/>
                <a:gd name="T25" fmla="*/ 230 h 1190"/>
                <a:gd name="T26" fmla="*/ 480 w 943"/>
                <a:gd name="T27" fmla="*/ 168 h 1190"/>
                <a:gd name="T28" fmla="*/ 423 w 943"/>
                <a:gd name="T29" fmla="*/ 111 h 1190"/>
                <a:gd name="T30" fmla="*/ 363 w 943"/>
                <a:gd name="T31" fmla="*/ 53 h 1190"/>
                <a:gd name="T32" fmla="*/ 302 w 943"/>
                <a:gd name="T33" fmla="*/ 0 h 1190"/>
                <a:gd name="T34" fmla="*/ 0 w 943"/>
                <a:gd name="T35" fmla="*/ 357 h 1190"/>
                <a:gd name="T36" fmla="*/ 46 w 943"/>
                <a:gd name="T37" fmla="*/ 399 h 1190"/>
                <a:gd name="T38" fmla="*/ 91 w 943"/>
                <a:gd name="T39" fmla="*/ 441 h 1190"/>
                <a:gd name="T40" fmla="*/ 135 w 943"/>
                <a:gd name="T41" fmla="*/ 485 h 1190"/>
                <a:gd name="T42" fmla="*/ 175 w 943"/>
                <a:gd name="T43" fmla="*/ 531 h 1190"/>
                <a:gd name="T44" fmla="*/ 213 w 943"/>
                <a:gd name="T45" fmla="*/ 579 h 1190"/>
                <a:gd name="T46" fmla="*/ 248 w 943"/>
                <a:gd name="T47" fmla="*/ 629 h 1190"/>
                <a:gd name="T48" fmla="*/ 283 w 943"/>
                <a:gd name="T49" fmla="*/ 679 h 1190"/>
                <a:gd name="T50" fmla="*/ 315 w 943"/>
                <a:gd name="T51" fmla="*/ 731 h 1190"/>
                <a:gd name="T52" fmla="*/ 344 w 943"/>
                <a:gd name="T53" fmla="*/ 785 h 1190"/>
                <a:gd name="T54" fmla="*/ 371 w 943"/>
                <a:gd name="T55" fmla="*/ 841 h 1190"/>
                <a:gd name="T56" fmla="*/ 396 w 943"/>
                <a:gd name="T57" fmla="*/ 896 h 1190"/>
                <a:gd name="T58" fmla="*/ 417 w 943"/>
                <a:gd name="T59" fmla="*/ 952 h 1190"/>
                <a:gd name="T60" fmla="*/ 438 w 943"/>
                <a:gd name="T61" fmla="*/ 1012 h 1190"/>
                <a:gd name="T62" fmla="*/ 455 w 943"/>
                <a:gd name="T63" fmla="*/ 1069 h 1190"/>
                <a:gd name="T64" fmla="*/ 469 w 943"/>
                <a:gd name="T65" fmla="*/ 1129 h 1190"/>
                <a:gd name="T66" fmla="*/ 480 w 943"/>
                <a:gd name="T67" fmla="*/ 1190 h 1190"/>
                <a:gd name="T68" fmla="*/ 943 w 943"/>
                <a:gd name="T69" fmla="*/ 1109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3" h="1190">
                  <a:moveTo>
                    <a:pt x="943" y="1109"/>
                  </a:moveTo>
                  <a:lnTo>
                    <a:pt x="926" y="1027"/>
                  </a:lnTo>
                  <a:lnTo>
                    <a:pt x="907" y="948"/>
                  </a:lnTo>
                  <a:lnTo>
                    <a:pt x="884" y="869"/>
                  </a:lnTo>
                  <a:lnTo>
                    <a:pt x="857" y="793"/>
                  </a:lnTo>
                  <a:lnTo>
                    <a:pt x="828" y="716"/>
                  </a:lnTo>
                  <a:lnTo>
                    <a:pt x="795" y="641"/>
                  </a:lnTo>
                  <a:lnTo>
                    <a:pt x="759" y="568"/>
                  </a:lnTo>
                  <a:lnTo>
                    <a:pt x="720" y="497"/>
                  </a:lnTo>
                  <a:lnTo>
                    <a:pt x="678" y="428"/>
                  </a:lnTo>
                  <a:lnTo>
                    <a:pt x="632" y="361"/>
                  </a:lnTo>
                  <a:lnTo>
                    <a:pt x="584" y="295"/>
                  </a:lnTo>
                  <a:lnTo>
                    <a:pt x="534" y="230"/>
                  </a:lnTo>
                  <a:lnTo>
                    <a:pt x="480" y="168"/>
                  </a:lnTo>
                  <a:lnTo>
                    <a:pt x="423" y="111"/>
                  </a:lnTo>
                  <a:lnTo>
                    <a:pt x="363" y="53"/>
                  </a:lnTo>
                  <a:lnTo>
                    <a:pt x="302" y="0"/>
                  </a:lnTo>
                  <a:lnTo>
                    <a:pt x="0" y="357"/>
                  </a:lnTo>
                  <a:lnTo>
                    <a:pt x="46" y="399"/>
                  </a:lnTo>
                  <a:lnTo>
                    <a:pt x="91" y="441"/>
                  </a:lnTo>
                  <a:lnTo>
                    <a:pt x="135" y="485"/>
                  </a:lnTo>
                  <a:lnTo>
                    <a:pt x="175" y="531"/>
                  </a:lnTo>
                  <a:lnTo>
                    <a:pt x="213" y="579"/>
                  </a:lnTo>
                  <a:lnTo>
                    <a:pt x="248" y="629"/>
                  </a:lnTo>
                  <a:lnTo>
                    <a:pt x="283" y="679"/>
                  </a:lnTo>
                  <a:lnTo>
                    <a:pt x="315" y="731"/>
                  </a:lnTo>
                  <a:lnTo>
                    <a:pt x="344" y="785"/>
                  </a:lnTo>
                  <a:lnTo>
                    <a:pt x="371" y="841"/>
                  </a:lnTo>
                  <a:lnTo>
                    <a:pt x="396" y="896"/>
                  </a:lnTo>
                  <a:lnTo>
                    <a:pt x="417" y="952"/>
                  </a:lnTo>
                  <a:lnTo>
                    <a:pt x="438" y="1012"/>
                  </a:lnTo>
                  <a:lnTo>
                    <a:pt x="455" y="1069"/>
                  </a:lnTo>
                  <a:lnTo>
                    <a:pt x="469" y="1129"/>
                  </a:lnTo>
                  <a:lnTo>
                    <a:pt x="480" y="1190"/>
                  </a:lnTo>
                  <a:lnTo>
                    <a:pt x="943" y="1109"/>
                  </a:lnTo>
                  <a:close/>
                </a:path>
              </a:pathLst>
            </a:custGeom>
            <a:solidFill>
              <a:srgbClr val="C4D600"/>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59" name="Freeform 11">
              <a:extLst>
                <a:ext uri="{FF2B5EF4-FFF2-40B4-BE49-F238E27FC236}">
                  <a16:creationId xmlns:a16="http://schemas.microsoft.com/office/drawing/2014/main" id="{C86577AE-5271-6A4E-A6D5-D05B73123F93}"/>
                </a:ext>
              </a:extLst>
            </p:cNvPr>
            <p:cNvSpPr>
              <a:spLocks/>
            </p:cNvSpPr>
            <p:nvPr/>
          </p:nvSpPr>
          <p:spPr bwMode="auto">
            <a:xfrm>
              <a:off x="9264657" y="3578225"/>
              <a:ext cx="520701" cy="1001713"/>
            </a:xfrm>
            <a:custGeom>
              <a:avLst/>
              <a:gdLst>
                <a:gd name="T0" fmla="*/ 407 w 657"/>
                <a:gd name="T1" fmla="*/ 1262 h 1262"/>
                <a:gd name="T2" fmla="*/ 446 w 657"/>
                <a:gd name="T3" fmla="*/ 1189 h 1262"/>
                <a:gd name="T4" fmla="*/ 482 w 657"/>
                <a:gd name="T5" fmla="*/ 1116 h 1262"/>
                <a:gd name="T6" fmla="*/ 515 w 657"/>
                <a:gd name="T7" fmla="*/ 1041 h 1262"/>
                <a:gd name="T8" fmla="*/ 546 w 657"/>
                <a:gd name="T9" fmla="*/ 964 h 1262"/>
                <a:gd name="T10" fmla="*/ 571 w 657"/>
                <a:gd name="T11" fmla="*/ 888 h 1262"/>
                <a:gd name="T12" fmla="*/ 594 w 657"/>
                <a:gd name="T13" fmla="*/ 809 h 1262"/>
                <a:gd name="T14" fmla="*/ 613 w 657"/>
                <a:gd name="T15" fmla="*/ 730 h 1262"/>
                <a:gd name="T16" fmla="*/ 630 w 657"/>
                <a:gd name="T17" fmla="*/ 650 h 1262"/>
                <a:gd name="T18" fmla="*/ 642 w 657"/>
                <a:gd name="T19" fmla="*/ 571 h 1262"/>
                <a:gd name="T20" fmla="*/ 651 w 657"/>
                <a:gd name="T21" fmla="*/ 488 h 1262"/>
                <a:gd name="T22" fmla="*/ 655 w 657"/>
                <a:gd name="T23" fmla="*/ 408 h 1262"/>
                <a:gd name="T24" fmla="*/ 657 w 657"/>
                <a:gd name="T25" fmla="*/ 327 h 1262"/>
                <a:gd name="T26" fmla="*/ 657 w 657"/>
                <a:gd name="T27" fmla="*/ 244 h 1262"/>
                <a:gd name="T28" fmla="*/ 651 w 657"/>
                <a:gd name="T29" fmla="*/ 164 h 1262"/>
                <a:gd name="T30" fmla="*/ 642 w 657"/>
                <a:gd name="T31" fmla="*/ 81 h 1262"/>
                <a:gd name="T32" fmla="*/ 630 w 657"/>
                <a:gd name="T33" fmla="*/ 0 h 1262"/>
                <a:gd name="T34" fmla="*/ 167 w 657"/>
                <a:gd name="T35" fmla="*/ 81 h 1262"/>
                <a:gd name="T36" fmla="*/ 177 w 657"/>
                <a:gd name="T37" fmla="*/ 143 h 1262"/>
                <a:gd name="T38" fmla="*/ 185 w 657"/>
                <a:gd name="T39" fmla="*/ 204 h 1262"/>
                <a:gd name="T40" fmla="*/ 188 w 657"/>
                <a:gd name="T41" fmla="*/ 265 h 1262"/>
                <a:gd name="T42" fmla="*/ 190 w 657"/>
                <a:gd name="T43" fmla="*/ 327 h 1262"/>
                <a:gd name="T44" fmla="*/ 188 w 657"/>
                <a:gd name="T45" fmla="*/ 386 h 1262"/>
                <a:gd name="T46" fmla="*/ 185 w 657"/>
                <a:gd name="T47" fmla="*/ 448 h 1262"/>
                <a:gd name="T48" fmla="*/ 177 w 657"/>
                <a:gd name="T49" fmla="*/ 509 h 1262"/>
                <a:gd name="T50" fmla="*/ 167 w 657"/>
                <a:gd name="T51" fmla="*/ 569 h 1262"/>
                <a:gd name="T52" fmla="*/ 156 w 657"/>
                <a:gd name="T53" fmla="*/ 628 h 1262"/>
                <a:gd name="T54" fmla="*/ 142 w 657"/>
                <a:gd name="T55" fmla="*/ 688 h 1262"/>
                <a:gd name="T56" fmla="*/ 125 w 657"/>
                <a:gd name="T57" fmla="*/ 747 h 1262"/>
                <a:gd name="T58" fmla="*/ 106 w 657"/>
                <a:gd name="T59" fmla="*/ 805 h 1262"/>
                <a:gd name="T60" fmla="*/ 83 w 657"/>
                <a:gd name="T61" fmla="*/ 863 h 1262"/>
                <a:gd name="T62" fmla="*/ 58 w 657"/>
                <a:gd name="T63" fmla="*/ 918 h 1262"/>
                <a:gd name="T64" fmla="*/ 31 w 657"/>
                <a:gd name="T65" fmla="*/ 974 h 1262"/>
                <a:gd name="T66" fmla="*/ 0 w 657"/>
                <a:gd name="T67" fmla="*/ 1028 h 1262"/>
                <a:gd name="T68" fmla="*/ 407 w 657"/>
                <a:gd name="T69" fmla="*/ 1262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7" h="1262">
                  <a:moveTo>
                    <a:pt x="407" y="1262"/>
                  </a:moveTo>
                  <a:lnTo>
                    <a:pt x="446" y="1189"/>
                  </a:lnTo>
                  <a:lnTo>
                    <a:pt x="482" y="1116"/>
                  </a:lnTo>
                  <a:lnTo>
                    <a:pt x="515" y="1041"/>
                  </a:lnTo>
                  <a:lnTo>
                    <a:pt x="546" y="964"/>
                  </a:lnTo>
                  <a:lnTo>
                    <a:pt x="571" y="888"/>
                  </a:lnTo>
                  <a:lnTo>
                    <a:pt x="594" y="809"/>
                  </a:lnTo>
                  <a:lnTo>
                    <a:pt x="613" y="730"/>
                  </a:lnTo>
                  <a:lnTo>
                    <a:pt x="630" y="650"/>
                  </a:lnTo>
                  <a:lnTo>
                    <a:pt x="642" y="571"/>
                  </a:lnTo>
                  <a:lnTo>
                    <a:pt x="651" y="488"/>
                  </a:lnTo>
                  <a:lnTo>
                    <a:pt x="655" y="408"/>
                  </a:lnTo>
                  <a:lnTo>
                    <a:pt x="657" y="327"/>
                  </a:lnTo>
                  <a:lnTo>
                    <a:pt x="657" y="244"/>
                  </a:lnTo>
                  <a:lnTo>
                    <a:pt x="651" y="164"/>
                  </a:lnTo>
                  <a:lnTo>
                    <a:pt x="642" y="81"/>
                  </a:lnTo>
                  <a:lnTo>
                    <a:pt x="630" y="0"/>
                  </a:lnTo>
                  <a:lnTo>
                    <a:pt x="167" y="81"/>
                  </a:lnTo>
                  <a:lnTo>
                    <a:pt x="177" y="143"/>
                  </a:lnTo>
                  <a:lnTo>
                    <a:pt x="185" y="204"/>
                  </a:lnTo>
                  <a:lnTo>
                    <a:pt x="188" y="265"/>
                  </a:lnTo>
                  <a:lnTo>
                    <a:pt x="190" y="327"/>
                  </a:lnTo>
                  <a:lnTo>
                    <a:pt x="188" y="386"/>
                  </a:lnTo>
                  <a:lnTo>
                    <a:pt x="185" y="448"/>
                  </a:lnTo>
                  <a:lnTo>
                    <a:pt x="177" y="509"/>
                  </a:lnTo>
                  <a:lnTo>
                    <a:pt x="167" y="569"/>
                  </a:lnTo>
                  <a:lnTo>
                    <a:pt x="156" y="628"/>
                  </a:lnTo>
                  <a:lnTo>
                    <a:pt x="142" y="688"/>
                  </a:lnTo>
                  <a:lnTo>
                    <a:pt x="125" y="747"/>
                  </a:lnTo>
                  <a:lnTo>
                    <a:pt x="106" y="805"/>
                  </a:lnTo>
                  <a:lnTo>
                    <a:pt x="83" y="863"/>
                  </a:lnTo>
                  <a:lnTo>
                    <a:pt x="58" y="918"/>
                  </a:lnTo>
                  <a:lnTo>
                    <a:pt x="31" y="974"/>
                  </a:lnTo>
                  <a:lnTo>
                    <a:pt x="0" y="1028"/>
                  </a:lnTo>
                  <a:lnTo>
                    <a:pt x="407" y="1262"/>
                  </a:lnTo>
                  <a:close/>
                </a:path>
              </a:pathLst>
            </a:custGeom>
            <a:solidFill>
              <a:srgbClr val="86BC25"/>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0" name="Freeform 12">
              <a:extLst>
                <a:ext uri="{FF2B5EF4-FFF2-40B4-BE49-F238E27FC236}">
                  <a16:creationId xmlns:a16="http://schemas.microsoft.com/office/drawing/2014/main" id="{DDF265D8-626A-784F-94E7-A7BCB5A6C9C0}"/>
                </a:ext>
              </a:extLst>
            </p:cNvPr>
            <p:cNvSpPr>
              <a:spLocks/>
            </p:cNvSpPr>
            <p:nvPr/>
          </p:nvSpPr>
          <p:spPr bwMode="auto">
            <a:xfrm>
              <a:off x="8680459" y="4394200"/>
              <a:ext cx="906463" cy="839788"/>
            </a:xfrm>
            <a:custGeom>
              <a:avLst/>
              <a:gdLst>
                <a:gd name="T0" fmla="*/ 159 w 1142"/>
                <a:gd name="T1" fmla="*/ 1058 h 1058"/>
                <a:gd name="T2" fmla="*/ 236 w 1142"/>
                <a:gd name="T3" fmla="*/ 1027 h 1058"/>
                <a:gd name="T4" fmla="*/ 313 w 1142"/>
                <a:gd name="T5" fmla="*/ 995 h 1058"/>
                <a:gd name="T6" fmla="*/ 386 w 1142"/>
                <a:gd name="T7" fmla="*/ 958 h 1058"/>
                <a:gd name="T8" fmla="*/ 457 w 1142"/>
                <a:gd name="T9" fmla="*/ 920 h 1058"/>
                <a:gd name="T10" fmla="*/ 526 w 1142"/>
                <a:gd name="T11" fmla="*/ 877 h 1058"/>
                <a:gd name="T12" fmla="*/ 595 w 1142"/>
                <a:gd name="T13" fmla="*/ 831 h 1058"/>
                <a:gd name="T14" fmla="*/ 660 w 1142"/>
                <a:gd name="T15" fmla="*/ 783 h 1058"/>
                <a:gd name="T16" fmla="*/ 724 w 1142"/>
                <a:gd name="T17" fmla="*/ 733 h 1058"/>
                <a:gd name="T18" fmla="*/ 785 w 1142"/>
                <a:gd name="T19" fmla="*/ 680 h 1058"/>
                <a:gd name="T20" fmla="*/ 843 w 1142"/>
                <a:gd name="T21" fmla="*/ 622 h 1058"/>
                <a:gd name="T22" fmla="*/ 900 w 1142"/>
                <a:gd name="T23" fmla="*/ 564 h 1058"/>
                <a:gd name="T24" fmla="*/ 954 w 1142"/>
                <a:gd name="T25" fmla="*/ 503 h 1058"/>
                <a:gd name="T26" fmla="*/ 1004 w 1142"/>
                <a:gd name="T27" fmla="*/ 440 h 1058"/>
                <a:gd name="T28" fmla="*/ 1054 w 1142"/>
                <a:gd name="T29" fmla="*/ 372 h 1058"/>
                <a:gd name="T30" fmla="*/ 1098 w 1142"/>
                <a:gd name="T31" fmla="*/ 305 h 1058"/>
                <a:gd name="T32" fmla="*/ 1142 w 1142"/>
                <a:gd name="T33" fmla="*/ 234 h 1058"/>
                <a:gd name="T34" fmla="*/ 735 w 1142"/>
                <a:gd name="T35" fmla="*/ 0 h 1058"/>
                <a:gd name="T36" fmla="*/ 705 w 1142"/>
                <a:gd name="T37" fmla="*/ 52 h 1058"/>
                <a:gd name="T38" fmla="*/ 670 w 1142"/>
                <a:gd name="T39" fmla="*/ 104 h 1058"/>
                <a:gd name="T40" fmla="*/ 634 w 1142"/>
                <a:gd name="T41" fmla="*/ 153 h 1058"/>
                <a:gd name="T42" fmla="*/ 595 w 1142"/>
                <a:gd name="T43" fmla="*/ 201 h 1058"/>
                <a:gd name="T44" fmla="*/ 555 w 1142"/>
                <a:gd name="T45" fmla="*/ 248 h 1058"/>
                <a:gd name="T46" fmla="*/ 513 w 1142"/>
                <a:gd name="T47" fmla="*/ 292 h 1058"/>
                <a:gd name="T48" fmla="*/ 468 w 1142"/>
                <a:gd name="T49" fmla="*/ 334 h 1058"/>
                <a:gd name="T50" fmla="*/ 422 w 1142"/>
                <a:gd name="T51" fmla="*/ 374 h 1058"/>
                <a:gd name="T52" fmla="*/ 374 w 1142"/>
                <a:gd name="T53" fmla="*/ 413 h 1058"/>
                <a:gd name="T54" fmla="*/ 326 w 1142"/>
                <a:gd name="T55" fmla="*/ 447 h 1058"/>
                <a:gd name="T56" fmla="*/ 275 w 1142"/>
                <a:gd name="T57" fmla="*/ 482 h 1058"/>
                <a:gd name="T58" fmla="*/ 223 w 1142"/>
                <a:gd name="T59" fmla="*/ 514 h 1058"/>
                <a:gd name="T60" fmla="*/ 169 w 1142"/>
                <a:gd name="T61" fmla="*/ 543 h 1058"/>
                <a:gd name="T62" fmla="*/ 113 w 1142"/>
                <a:gd name="T63" fmla="*/ 570 h 1058"/>
                <a:gd name="T64" fmla="*/ 58 w 1142"/>
                <a:gd name="T65" fmla="*/ 595 h 1058"/>
                <a:gd name="T66" fmla="*/ 0 w 1142"/>
                <a:gd name="T67" fmla="*/ 618 h 1058"/>
                <a:gd name="T68" fmla="*/ 159 w 1142"/>
                <a:gd name="T69" fmla="*/ 1058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2" h="1058">
                  <a:moveTo>
                    <a:pt x="159" y="1058"/>
                  </a:moveTo>
                  <a:lnTo>
                    <a:pt x="236" y="1027"/>
                  </a:lnTo>
                  <a:lnTo>
                    <a:pt x="313" y="995"/>
                  </a:lnTo>
                  <a:lnTo>
                    <a:pt x="386" y="958"/>
                  </a:lnTo>
                  <a:lnTo>
                    <a:pt x="457" y="920"/>
                  </a:lnTo>
                  <a:lnTo>
                    <a:pt x="526" y="877"/>
                  </a:lnTo>
                  <a:lnTo>
                    <a:pt x="595" y="831"/>
                  </a:lnTo>
                  <a:lnTo>
                    <a:pt x="660" y="783"/>
                  </a:lnTo>
                  <a:lnTo>
                    <a:pt x="724" y="733"/>
                  </a:lnTo>
                  <a:lnTo>
                    <a:pt x="785" y="680"/>
                  </a:lnTo>
                  <a:lnTo>
                    <a:pt x="843" y="622"/>
                  </a:lnTo>
                  <a:lnTo>
                    <a:pt x="900" y="564"/>
                  </a:lnTo>
                  <a:lnTo>
                    <a:pt x="954" y="503"/>
                  </a:lnTo>
                  <a:lnTo>
                    <a:pt x="1004" y="440"/>
                  </a:lnTo>
                  <a:lnTo>
                    <a:pt x="1054" y="372"/>
                  </a:lnTo>
                  <a:lnTo>
                    <a:pt x="1098" y="305"/>
                  </a:lnTo>
                  <a:lnTo>
                    <a:pt x="1142" y="234"/>
                  </a:lnTo>
                  <a:lnTo>
                    <a:pt x="735" y="0"/>
                  </a:lnTo>
                  <a:lnTo>
                    <a:pt x="705" y="52"/>
                  </a:lnTo>
                  <a:lnTo>
                    <a:pt x="670" y="104"/>
                  </a:lnTo>
                  <a:lnTo>
                    <a:pt x="634" y="153"/>
                  </a:lnTo>
                  <a:lnTo>
                    <a:pt x="595" y="201"/>
                  </a:lnTo>
                  <a:lnTo>
                    <a:pt x="555" y="248"/>
                  </a:lnTo>
                  <a:lnTo>
                    <a:pt x="513" y="292"/>
                  </a:lnTo>
                  <a:lnTo>
                    <a:pt x="468" y="334"/>
                  </a:lnTo>
                  <a:lnTo>
                    <a:pt x="422" y="374"/>
                  </a:lnTo>
                  <a:lnTo>
                    <a:pt x="374" y="413"/>
                  </a:lnTo>
                  <a:lnTo>
                    <a:pt x="326" y="447"/>
                  </a:lnTo>
                  <a:lnTo>
                    <a:pt x="275" y="482"/>
                  </a:lnTo>
                  <a:lnTo>
                    <a:pt x="223" y="514"/>
                  </a:lnTo>
                  <a:lnTo>
                    <a:pt x="169" y="543"/>
                  </a:lnTo>
                  <a:lnTo>
                    <a:pt x="113" y="570"/>
                  </a:lnTo>
                  <a:lnTo>
                    <a:pt x="58" y="595"/>
                  </a:lnTo>
                  <a:lnTo>
                    <a:pt x="0" y="618"/>
                  </a:lnTo>
                  <a:lnTo>
                    <a:pt x="159" y="1058"/>
                  </a:lnTo>
                  <a:close/>
                </a:path>
              </a:pathLst>
            </a:custGeom>
            <a:solidFill>
              <a:srgbClr val="DDEFE8"/>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1" name="Freeform 13">
              <a:extLst>
                <a:ext uri="{FF2B5EF4-FFF2-40B4-BE49-F238E27FC236}">
                  <a16:creationId xmlns:a16="http://schemas.microsoft.com/office/drawing/2014/main" id="{E42C0E79-E1BC-3A43-B5DF-6483D17B4C8F}"/>
                </a:ext>
              </a:extLst>
            </p:cNvPr>
            <p:cNvSpPr>
              <a:spLocks/>
            </p:cNvSpPr>
            <p:nvPr/>
          </p:nvSpPr>
          <p:spPr bwMode="auto">
            <a:xfrm>
              <a:off x="7789868" y="4884738"/>
              <a:ext cx="1017587" cy="439737"/>
            </a:xfrm>
            <a:custGeom>
              <a:avLst/>
              <a:gdLst>
                <a:gd name="T0" fmla="*/ 0 w 1280"/>
                <a:gd name="T1" fmla="*/ 440 h 553"/>
                <a:gd name="T2" fmla="*/ 78 w 1280"/>
                <a:gd name="T3" fmla="*/ 467 h 553"/>
                <a:gd name="T4" fmla="*/ 157 w 1280"/>
                <a:gd name="T5" fmla="*/ 490 h 553"/>
                <a:gd name="T6" fmla="*/ 236 w 1280"/>
                <a:gd name="T7" fmla="*/ 509 h 553"/>
                <a:gd name="T8" fmla="*/ 316 w 1280"/>
                <a:gd name="T9" fmla="*/ 524 h 553"/>
                <a:gd name="T10" fmla="*/ 397 w 1280"/>
                <a:gd name="T11" fmla="*/ 536 h 553"/>
                <a:gd name="T12" fmla="*/ 478 w 1280"/>
                <a:gd name="T13" fmla="*/ 546 h 553"/>
                <a:gd name="T14" fmla="*/ 558 w 1280"/>
                <a:gd name="T15" fmla="*/ 551 h 553"/>
                <a:gd name="T16" fmla="*/ 641 w 1280"/>
                <a:gd name="T17" fmla="*/ 553 h 553"/>
                <a:gd name="T18" fmla="*/ 722 w 1280"/>
                <a:gd name="T19" fmla="*/ 551 h 553"/>
                <a:gd name="T20" fmla="*/ 802 w 1280"/>
                <a:gd name="T21" fmla="*/ 546 h 553"/>
                <a:gd name="T22" fmla="*/ 885 w 1280"/>
                <a:gd name="T23" fmla="*/ 536 h 553"/>
                <a:gd name="T24" fmla="*/ 965 w 1280"/>
                <a:gd name="T25" fmla="*/ 524 h 553"/>
                <a:gd name="T26" fmla="*/ 1044 w 1280"/>
                <a:gd name="T27" fmla="*/ 509 h 553"/>
                <a:gd name="T28" fmla="*/ 1125 w 1280"/>
                <a:gd name="T29" fmla="*/ 490 h 553"/>
                <a:gd name="T30" fmla="*/ 1204 w 1280"/>
                <a:gd name="T31" fmla="*/ 467 h 553"/>
                <a:gd name="T32" fmla="*/ 1280 w 1280"/>
                <a:gd name="T33" fmla="*/ 440 h 553"/>
                <a:gd name="T34" fmla="*/ 1121 w 1280"/>
                <a:gd name="T35" fmla="*/ 0 h 553"/>
                <a:gd name="T36" fmla="*/ 1061 w 1280"/>
                <a:gd name="T37" fmla="*/ 19 h 553"/>
                <a:gd name="T38" fmla="*/ 1004 w 1280"/>
                <a:gd name="T39" fmla="*/ 37 h 553"/>
                <a:gd name="T40" fmla="*/ 944 w 1280"/>
                <a:gd name="T41" fmla="*/ 52 h 553"/>
                <a:gd name="T42" fmla="*/ 883 w 1280"/>
                <a:gd name="T43" fmla="*/ 64 h 553"/>
                <a:gd name="T44" fmla="*/ 823 w 1280"/>
                <a:gd name="T45" fmla="*/ 73 h 553"/>
                <a:gd name="T46" fmla="*/ 762 w 1280"/>
                <a:gd name="T47" fmla="*/ 79 h 553"/>
                <a:gd name="T48" fmla="*/ 700 w 1280"/>
                <a:gd name="T49" fmla="*/ 83 h 553"/>
                <a:gd name="T50" fmla="*/ 641 w 1280"/>
                <a:gd name="T51" fmla="*/ 85 h 553"/>
                <a:gd name="T52" fmla="*/ 580 w 1280"/>
                <a:gd name="T53" fmla="*/ 83 h 553"/>
                <a:gd name="T54" fmla="*/ 518 w 1280"/>
                <a:gd name="T55" fmla="*/ 79 h 553"/>
                <a:gd name="T56" fmla="*/ 459 w 1280"/>
                <a:gd name="T57" fmla="*/ 73 h 553"/>
                <a:gd name="T58" fmla="*/ 397 w 1280"/>
                <a:gd name="T59" fmla="*/ 64 h 553"/>
                <a:gd name="T60" fmla="*/ 338 w 1280"/>
                <a:gd name="T61" fmla="*/ 52 h 553"/>
                <a:gd name="T62" fmla="*/ 278 w 1280"/>
                <a:gd name="T63" fmla="*/ 37 h 553"/>
                <a:gd name="T64" fmla="*/ 219 w 1280"/>
                <a:gd name="T65" fmla="*/ 19 h 553"/>
                <a:gd name="T66" fmla="*/ 159 w 1280"/>
                <a:gd name="T67" fmla="*/ 0 h 553"/>
                <a:gd name="T68" fmla="*/ 0 w 1280"/>
                <a:gd name="T69" fmla="*/ 44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0" h="553">
                  <a:moveTo>
                    <a:pt x="0" y="440"/>
                  </a:moveTo>
                  <a:lnTo>
                    <a:pt x="78" y="467"/>
                  </a:lnTo>
                  <a:lnTo>
                    <a:pt x="157" y="490"/>
                  </a:lnTo>
                  <a:lnTo>
                    <a:pt x="236" y="509"/>
                  </a:lnTo>
                  <a:lnTo>
                    <a:pt x="316" y="524"/>
                  </a:lnTo>
                  <a:lnTo>
                    <a:pt x="397" y="536"/>
                  </a:lnTo>
                  <a:lnTo>
                    <a:pt x="478" y="546"/>
                  </a:lnTo>
                  <a:lnTo>
                    <a:pt x="558" y="551"/>
                  </a:lnTo>
                  <a:lnTo>
                    <a:pt x="641" y="553"/>
                  </a:lnTo>
                  <a:lnTo>
                    <a:pt x="722" y="551"/>
                  </a:lnTo>
                  <a:lnTo>
                    <a:pt x="802" y="546"/>
                  </a:lnTo>
                  <a:lnTo>
                    <a:pt x="885" y="536"/>
                  </a:lnTo>
                  <a:lnTo>
                    <a:pt x="965" y="524"/>
                  </a:lnTo>
                  <a:lnTo>
                    <a:pt x="1044" y="509"/>
                  </a:lnTo>
                  <a:lnTo>
                    <a:pt x="1125" y="490"/>
                  </a:lnTo>
                  <a:lnTo>
                    <a:pt x="1204" y="467"/>
                  </a:lnTo>
                  <a:lnTo>
                    <a:pt x="1280" y="440"/>
                  </a:lnTo>
                  <a:lnTo>
                    <a:pt x="1121" y="0"/>
                  </a:lnTo>
                  <a:lnTo>
                    <a:pt x="1061" y="19"/>
                  </a:lnTo>
                  <a:lnTo>
                    <a:pt x="1004" y="37"/>
                  </a:lnTo>
                  <a:lnTo>
                    <a:pt x="944" y="52"/>
                  </a:lnTo>
                  <a:lnTo>
                    <a:pt x="883" y="64"/>
                  </a:lnTo>
                  <a:lnTo>
                    <a:pt x="823" y="73"/>
                  </a:lnTo>
                  <a:lnTo>
                    <a:pt x="762" y="79"/>
                  </a:lnTo>
                  <a:lnTo>
                    <a:pt x="700" y="83"/>
                  </a:lnTo>
                  <a:lnTo>
                    <a:pt x="641" y="85"/>
                  </a:lnTo>
                  <a:lnTo>
                    <a:pt x="580" y="83"/>
                  </a:lnTo>
                  <a:lnTo>
                    <a:pt x="518" y="79"/>
                  </a:lnTo>
                  <a:lnTo>
                    <a:pt x="459" y="73"/>
                  </a:lnTo>
                  <a:lnTo>
                    <a:pt x="397" y="64"/>
                  </a:lnTo>
                  <a:lnTo>
                    <a:pt x="338" y="52"/>
                  </a:lnTo>
                  <a:lnTo>
                    <a:pt x="278" y="37"/>
                  </a:lnTo>
                  <a:lnTo>
                    <a:pt x="219" y="19"/>
                  </a:lnTo>
                  <a:lnTo>
                    <a:pt x="159" y="0"/>
                  </a:lnTo>
                  <a:lnTo>
                    <a:pt x="0" y="440"/>
                  </a:lnTo>
                  <a:close/>
                </a:path>
              </a:pathLst>
            </a:custGeom>
            <a:solidFill>
              <a:srgbClr val="9DD4CF"/>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2" name="Freeform 14">
              <a:extLst>
                <a:ext uri="{FF2B5EF4-FFF2-40B4-BE49-F238E27FC236}">
                  <a16:creationId xmlns:a16="http://schemas.microsoft.com/office/drawing/2014/main" id="{583C0DB0-926E-BA4D-832A-A392F71A0307}"/>
                </a:ext>
              </a:extLst>
            </p:cNvPr>
            <p:cNvSpPr>
              <a:spLocks/>
            </p:cNvSpPr>
            <p:nvPr/>
          </p:nvSpPr>
          <p:spPr bwMode="auto">
            <a:xfrm>
              <a:off x="7011993" y="4394200"/>
              <a:ext cx="904875" cy="839788"/>
            </a:xfrm>
            <a:custGeom>
              <a:avLst/>
              <a:gdLst>
                <a:gd name="T0" fmla="*/ 0 w 1140"/>
                <a:gd name="T1" fmla="*/ 234 h 1058"/>
                <a:gd name="T2" fmla="*/ 42 w 1140"/>
                <a:gd name="T3" fmla="*/ 305 h 1058"/>
                <a:gd name="T4" fmla="*/ 88 w 1140"/>
                <a:gd name="T5" fmla="*/ 372 h 1058"/>
                <a:gd name="T6" fmla="*/ 136 w 1140"/>
                <a:gd name="T7" fmla="*/ 438 h 1058"/>
                <a:gd name="T8" fmla="*/ 188 w 1140"/>
                <a:gd name="T9" fmla="*/ 503 h 1058"/>
                <a:gd name="T10" fmla="*/ 241 w 1140"/>
                <a:gd name="T11" fmla="*/ 564 h 1058"/>
                <a:gd name="T12" fmla="*/ 297 w 1140"/>
                <a:gd name="T13" fmla="*/ 622 h 1058"/>
                <a:gd name="T14" fmla="*/ 357 w 1140"/>
                <a:gd name="T15" fmla="*/ 678 h 1058"/>
                <a:gd name="T16" fmla="*/ 416 w 1140"/>
                <a:gd name="T17" fmla="*/ 731 h 1058"/>
                <a:gd name="T18" fmla="*/ 480 w 1140"/>
                <a:gd name="T19" fmla="*/ 783 h 1058"/>
                <a:gd name="T20" fmla="*/ 547 w 1140"/>
                <a:gd name="T21" fmla="*/ 831 h 1058"/>
                <a:gd name="T22" fmla="*/ 614 w 1140"/>
                <a:gd name="T23" fmla="*/ 877 h 1058"/>
                <a:gd name="T24" fmla="*/ 683 w 1140"/>
                <a:gd name="T25" fmla="*/ 920 h 1058"/>
                <a:gd name="T26" fmla="*/ 756 w 1140"/>
                <a:gd name="T27" fmla="*/ 958 h 1058"/>
                <a:gd name="T28" fmla="*/ 829 w 1140"/>
                <a:gd name="T29" fmla="*/ 995 h 1058"/>
                <a:gd name="T30" fmla="*/ 904 w 1140"/>
                <a:gd name="T31" fmla="*/ 1027 h 1058"/>
                <a:gd name="T32" fmla="*/ 981 w 1140"/>
                <a:gd name="T33" fmla="*/ 1058 h 1058"/>
                <a:gd name="T34" fmla="*/ 1140 w 1140"/>
                <a:gd name="T35" fmla="*/ 618 h 1058"/>
                <a:gd name="T36" fmla="*/ 1082 w 1140"/>
                <a:gd name="T37" fmla="*/ 595 h 1058"/>
                <a:gd name="T38" fmla="*/ 1027 w 1140"/>
                <a:gd name="T39" fmla="*/ 570 h 1058"/>
                <a:gd name="T40" fmla="*/ 971 w 1140"/>
                <a:gd name="T41" fmla="*/ 543 h 1058"/>
                <a:gd name="T42" fmla="*/ 917 w 1140"/>
                <a:gd name="T43" fmla="*/ 513 h 1058"/>
                <a:gd name="T44" fmla="*/ 865 w 1140"/>
                <a:gd name="T45" fmla="*/ 482 h 1058"/>
                <a:gd name="T46" fmla="*/ 816 w 1140"/>
                <a:gd name="T47" fmla="*/ 447 h 1058"/>
                <a:gd name="T48" fmla="*/ 766 w 1140"/>
                <a:gd name="T49" fmla="*/ 411 h 1058"/>
                <a:gd name="T50" fmla="*/ 718 w 1140"/>
                <a:gd name="T51" fmla="*/ 374 h 1058"/>
                <a:gd name="T52" fmla="*/ 672 w 1140"/>
                <a:gd name="T53" fmla="*/ 334 h 1058"/>
                <a:gd name="T54" fmla="*/ 627 w 1140"/>
                <a:gd name="T55" fmla="*/ 292 h 1058"/>
                <a:gd name="T56" fmla="*/ 585 w 1140"/>
                <a:gd name="T57" fmla="*/ 248 h 1058"/>
                <a:gd name="T58" fmla="*/ 545 w 1140"/>
                <a:gd name="T59" fmla="*/ 201 h 1058"/>
                <a:gd name="T60" fmla="*/ 506 w 1140"/>
                <a:gd name="T61" fmla="*/ 153 h 1058"/>
                <a:gd name="T62" fmla="*/ 470 w 1140"/>
                <a:gd name="T63" fmla="*/ 104 h 1058"/>
                <a:gd name="T64" fmla="*/ 437 w 1140"/>
                <a:gd name="T65" fmla="*/ 52 h 1058"/>
                <a:gd name="T66" fmla="*/ 405 w 1140"/>
                <a:gd name="T67" fmla="*/ 0 h 1058"/>
                <a:gd name="T68" fmla="*/ 0 w 1140"/>
                <a:gd name="T69" fmla="*/ 234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0" h="1058">
                  <a:moveTo>
                    <a:pt x="0" y="234"/>
                  </a:moveTo>
                  <a:lnTo>
                    <a:pt x="42" y="305"/>
                  </a:lnTo>
                  <a:lnTo>
                    <a:pt x="88" y="372"/>
                  </a:lnTo>
                  <a:lnTo>
                    <a:pt x="136" y="438"/>
                  </a:lnTo>
                  <a:lnTo>
                    <a:pt x="188" y="503"/>
                  </a:lnTo>
                  <a:lnTo>
                    <a:pt x="241" y="564"/>
                  </a:lnTo>
                  <a:lnTo>
                    <a:pt x="297" y="622"/>
                  </a:lnTo>
                  <a:lnTo>
                    <a:pt x="357" y="678"/>
                  </a:lnTo>
                  <a:lnTo>
                    <a:pt x="416" y="731"/>
                  </a:lnTo>
                  <a:lnTo>
                    <a:pt x="480" y="783"/>
                  </a:lnTo>
                  <a:lnTo>
                    <a:pt x="547" y="831"/>
                  </a:lnTo>
                  <a:lnTo>
                    <a:pt x="614" y="877"/>
                  </a:lnTo>
                  <a:lnTo>
                    <a:pt x="683" y="920"/>
                  </a:lnTo>
                  <a:lnTo>
                    <a:pt x="756" y="958"/>
                  </a:lnTo>
                  <a:lnTo>
                    <a:pt x="829" y="995"/>
                  </a:lnTo>
                  <a:lnTo>
                    <a:pt x="904" y="1027"/>
                  </a:lnTo>
                  <a:lnTo>
                    <a:pt x="981" y="1058"/>
                  </a:lnTo>
                  <a:lnTo>
                    <a:pt x="1140" y="618"/>
                  </a:lnTo>
                  <a:lnTo>
                    <a:pt x="1082" y="595"/>
                  </a:lnTo>
                  <a:lnTo>
                    <a:pt x="1027" y="570"/>
                  </a:lnTo>
                  <a:lnTo>
                    <a:pt x="971" y="543"/>
                  </a:lnTo>
                  <a:lnTo>
                    <a:pt x="917" y="513"/>
                  </a:lnTo>
                  <a:lnTo>
                    <a:pt x="865" y="482"/>
                  </a:lnTo>
                  <a:lnTo>
                    <a:pt x="816" y="447"/>
                  </a:lnTo>
                  <a:lnTo>
                    <a:pt x="766" y="411"/>
                  </a:lnTo>
                  <a:lnTo>
                    <a:pt x="718" y="374"/>
                  </a:lnTo>
                  <a:lnTo>
                    <a:pt x="672" y="334"/>
                  </a:lnTo>
                  <a:lnTo>
                    <a:pt x="627" y="292"/>
                  </a:lnTo>
                  <a:lnTo>
                    <a:pt x="585" y="248"/>
                  </a:lnTo>
                  <a:lnTo>
                    <a:pt x="545" y="201"/>
                  </a:lnTo>
                  <a:lnTo>
                    <a:pt x="506" y="153"/>
                  </a:lnTo>
                  <a:lnTo>
                    <a:pt x="470" y="104"/>
                  </a:lnTo>
                  <a:lnTo>
                    <a:pt x="437" y="52"/>
                  </a:lnTo>
                  <a:lnTo>
                    <a:pt x="405" y="0"/>
                  </a:lnTo>
                  <a:lnTo>
                    <a:pt x="0" y="234"/>
                  </a:lnTo>
                  <a:close/>
                </a:path>
              </a:pathLst>
            </a:custGeom>
            <a:solidFill>
              <a:srgbClr val="6FC2B4"/>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3" name="Freeform 15">
              <a:extLst>
                <a:ext uri="{FF2B5EF4-FFF2-40B4-BE49-F238E27FC236}">
                  <a16:creationId xmlns:a16="http://schemas.microsoft.com/office/drawing/2014/main" id="{3C6F0836-DD36-2B46-A168-F988C20882EA}"/>
                </a:ext>
              </a:extLst>
            </p:cNvPr>
            <p:cNvSpPr>
              <a:spLocks/>
            </p:cNvSpPr>
            <p:nvPr/>
          </p:nvSpPr>
          <p:spPr bwMode="auto">
            <a:xfrm>
              <a:off x="6811965" y="3578225"/>
              <a:ext cx="520701" cy="1001713"/>
            </a:xfrm>
            <a:custGeom>
              <a:avLst/>
              <a:gdLst>
                <a:gd name="T0" fmla="*/ 29 w 657"/>
                <a:gd name="T1" fmla="*/ 0 h 1262"/>
                <a:gd name="T2" fmla="*/ 15 w 657"/>
                <a:gd name="T3" fmla="*/ 81 h 1262"/>
                <a:gd name="T4" fmla="*/ 8 w 657"/>
                <a:gd name="T5" fmla="*/ 162 h 1262"/>
                <a:gd name="T6" fmla="*/ 2 w 657"/>
                <a:gd name="T7" fmla="*/ 244 h 1262"/>
                <a:gd name="T8" fmla="*/ 0 w 657"/>
                <a:gd name="T9" fmla="*/ 327 h 1262"/>
                <a:gd name="T10" fmla="*/ 2 w 657"/>
                <a:gd name="T11" fmla="*/ 408 h 1262"/>
                <a:gd name="T12" fmla="*/ 8 w 657"/>
                <a:gd name="T13" fmla="*/ 488 h 1262"/>
                <a:gd name="T14" fmla="*/ 15 w 657"/>
                <a:gd name="T15" fmla="*/ 571 h 1262"/>
                <a:gd name="T16" fmla="*/ 29 w 657"/>
                <a:gd name="T17" fmla="*/ 650 h 1262"/>
                <a:gd name="T18" fmla="*/ 44 w 657"/>
                <a:gd name="T19" fmla="*/ 730 h 1262"/>
                <a:gd name="T20" fmla="*/ 63 w 657"/>
                <a:gd name="T21" fmla="*/ 809 h 1262"/>
                <a:gd name="T22" fmla="*/ 86 w 657"/>
                <a:gd name="T23" fmla="*/ 888 h 1262"/>
                <a:gd name="T24" fmla="*/ 113 w 657"/>
                <a:gd name="T25" fmla="*/ 964 h 1262"/>
                <a:gd name="T26" fmla="*/ 142 w 657"/>
                <a:gd name="T27" fmla="*/ 1041 h 1262"/>
                <a:gd name="T28" fmla="*/ 175 w 657"/>
                <a:gd name="T29" fmla="*/ 1116 h 1262"/>
                <a:gd name="T30" fmla="*/ 211 w 657"/>
                <a:gd name="T31" fmla="*/ 1189 h 1262"/>
                <a:gd name="T32" fmla="*/ 252 w 657"/>
                <a:gd name="T33" fmla="*/ 1262 h 1262"/>
                <a:gd name="T34" fmla="*/ 657 w 657"/>
                <a:gd name="T35" fmla="*/ 1028 h 1262"/>
                <a:gd name="T36" fmla="*/ 626 w 657"/>
                <a:gd name="T37" fmla="*/ 974 h 1262"/>
                <a:gd name="T38" fmla="*/ 599 w 657"/>
                <a:gd name="T39" fmla="*/ 918 h 1262"/>
                <a:gd name="T40" fmla="*/ 574 w 657"/>
                <a:gd name="T41" fmla="*/ 863 h 1262"/>
                <a:gd name="T42" fmla="*/ 553 w 657"/>
                <a:gd name="T43" fmla="*/ 805 h 1262"/>
                <a:gd name="T44" fmla="*/ 534 w 657"/>
                <a:gd name="T45" fmla="*/ 747 h 1262"/>
                <a:gd name="T46" fmla="*/ 517 w 657"/>
                <a:gd name="T47" fmla="*/ 688 h 1262"/>
                <a:gd name="T48" fmla="*/ 501 w 657"/>
                <a:gd name="T49" fmla="*/ 628 h 1262"/>
                <a:gd name="T50" fmla="*/ 490 w 657"/>
                <a:gd name="T51" fmla="*/ 569 h 1262"/>
                <a:gd name="T52" fmla="*/ 480 w 657"/>
                <a:gd name="T53" fmla="*/ 509 h 1262"/>
                <a:gd name="T54" fmla="*/ 474 w 657"/>
                <a:gd name="T55" fmla="*/ 448 h 1262"/>
                <a:gd name="T56" fmla="*/ 470 w 657"/>
                <a:gd name="T57" fmla="*/ 386 h 1262"/>
                <a:gd name="T58" fmla="*/ 469 w 657"/>
                <a:gd name="T59" fmla="*/ 325 h 1262"/>
                <a:gd name="T60" fmla="*/ 470 w 657"/>
                <a:gd name="T61" fmla="*/ 265 h 1262"/>
                <a:gd name="T62" fmla="*/ 474 w 657"/>
                <a:gd name="T63" fmla="*/ 204 h 1262"/>
                <a:gd name="T64" fmla="*/ 480 w 657"/>
                <a:gd name="T65" fmla="*/ 143 h 1262"/>
                <a:gd name="T66" fmla="*/ 490 w 657"/>
                <a:gd name="T67" fmla="*/ 81 h 1262"/>
                <a:gd name="T68" fmla="*/ 29 w 657"/>
                <a:gd name="T69" fmla="*/ 0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7" h="1262">
                  <a:moveTo>
                    <a:pt x="29" y="0"/>
                  </a:moveTo>
                  <a:lnTo>
                    <a:pt x="15" y="81"/>
                  </a:lnTo>
                  <a:lnTo>
                    <a:pt x="8" y="162"/>
                  </a:lnTo>
                  <a:lnTo>
                    <a:pt x="2" y="244"/>
                  </a:lnTo>
                  <a:lnTo>
                    <a:pt x="0" y="327"/>
                  </a:lnTo>
                  <a:lnTo>
                    <a:pt x="2" y="408"/>
                  </a:lnTo>
                  <a:lnTo>
                    <a:pt x="8" y="488"/>
                  </a:lnTo>
                  <a:lnTo>
                    <a:pt x="15" y="571"/>
                  </a:lnTo>
                  <a:lnTo>
                    <a:pt x="29" y="650"/>
                  </a:lnTo>
                  <a:lnTo>
                    <a:pt x="44" y="730"/>
                  </a:lnTo>
                  <a:lnTo>
                    <a:pt x="63" y="809"/>
                  </a:lnTo>
                  <a:lnTo>
                    <a:pt x="86" y="888"/>
                  </a:lnTo>
                  <a:lnTo>
                    <a:pt x="113" y="964"/>
                  </a:lnTo>
                  <a:lnTo>
                    <a:pt x="142" y="1041"/>
                  </a:lnTo>
                  <a:lnTo>
                    <a:pt x="175" y="1116"/>
                  </a:lnTo>
                  <a:lnTo>
                    <a:pt x="211" y="1189"/>
                  </a:lnTo>
                  <a:lnTo>
                    <a:pt x="252" y="1262"/>
                  </a:lnTo>
                  <a:lnTo>
                    <a:pt x="657" y="1028"/>
                  </a:lnTo>
                  <a:lnTo>
                    <a:pt x="626" y="974"/>
                  </a:lnTo>
                  <a:lnTo>
                    <a:pt x="599" y="918"/>
                  </a:lnTo>
                  <a:lnTo>
                    <a:pt x="574" y="863"/>
                  </a:lnTo>
                  <a:lnTo>
                    <a:pt x="553" y="805"/>
                  </a:lnTo>
                  <a:lnTo>
                    <a:pt x="534" y="747"/>
                  </a:lnTo>
                  <a:lnTo>
                    <a:pt x="517" y="688"/>
                  </a:lnTo>
                  <a:lnTo>
                    <a:pt x="501" y="628"/>
                  </a:lnTo>
                  <a:lnTo>
                    <a:pt x="490" y="569"/>
                  </a:lnTo>
                  <a:lnTo>
                    <a:pt x="480" y="509"/>
                  </a:lnTo>
                  <a:lnTo>
                    <a:pt x="474" y="448"/>
                  </a:lnTo>
                  <a:lnTo>
                    <a:pt x="470" y="386"/>
                  </a:lnTo>
                  <a:lnTo>
                    <a:pt x="469" y="325"/>
                  </a:lnTo>
                  <a:lnTo>
                    <a:pt x="470" y="265"/>
                  </a:lnTo>
                  <a:lnTo>
                    <a:pt x="474" y="204"/>
                  </a:lnTo>
                  <a:lnTo>
                    <a:pt x="480" y="143"/>
                  </a:lnTo>
                  <a:lnTo>
                    <a:pt x="490" y="81"/>
                  </a:lnTo>
                  <a:lnTo>
                    <a:pt x="29" y="0"/>
                  </a:lnTo>
                  <a:close/>
                </a:path>
              </a:pathLst>
            </a:custGeom>
            <a:solidFill>
              <a:srgbClr val="A0DCFF"/>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4" name="Freeform 16">
              <a:extLst>
                <a:ext uri="{FF2B5EF4-FFF2-40B4-BE49-F238E27FC236}">
                  <a16:creationId xmlns:a16="http://schemas.microsoft.com/office/drawing/2014/main" id="{170CD96F-E4C8-4242-B70D-FD474B898B30}"/>
                </a:ext>
              </a:extLst>
            </p:cNvPr>
            <p:cNvSpPr>
              <a:spLocks/>
            </p:cNvSpPr>
            <p:nvPr/>
          </p:nvSpPr>
          <p:spPr bwMode="auto">
            <a:xfrm>
              <a:off x="6834189" y="2697163"/>
              <a:ext cx="747712" cy="946149"/>
            </a:xfrm>
            <a:custGeom>
              <a:avLst/>
              <a:gdLst>
                <a:gd name="T0" fmla="*/ 639 w 941"/>
                <a:gd name="T1" fmla="*/ 0 h 1190"/>
                <a:gd name="T2" fmla="*/ 578 w 941"/>
                <a:gd name="T3" fmla="*/ 53 h 1190"/>
                <a:gd name="T4" fmla="*/ 518 w 941"/>
                <a:gd name="T5" fmla="*/ 109 h 1190"/>
                <a:gd name="T6" fmla="*/ 463 w 941"/>
                <a:gd name="T7" fmla="*/ 168 h 1190"/>
                <a:gd name="T8" fmla="*/ 409 w 941"/>
                <a:gd name="T9" fmla="*/ 230 h 1190"/>
                <a:gd name="T10" fmla="*/ 357 w 941"/>
                <a:gd name="T11" fmla="*/ 293 h 1190"/>
                <a:gd name="T12" fmla="*/ 309 w 941"/>
                <a:gd name="T13" fmla="*/ 361 h 1190"/>
                <a:gd name="T14" fmla="*/ 265 w 941"/>
                <a:gd name="T15" fmla="*/ 428 h 1190"/>
                <a:gd name="T16" fmla="*/ 223 w 941"/>
                <a:gd name="T17" fmla="*/ 497 h 1190"/>
                <a:gd name="T18" fmla="*/ 182 w 941"/>
                <a:gd name="T19" fmla="*/ 568 h 1190"/>
                <a:gd name="T20" fmla="*/ 148 w 941"/>
                <a:gd name="T21" fmla="*/ 641 h 1190"/>
                <a:gd name="T22" fmla="*/ 113 w 941"/>
                <a:gd name="T23" fmla="*/ 716 h 1190"/>
                <a:gd name="T24" fmla="*/ 84 w 941"/>
                <a:gd name="T25" fmla="*/ 793 h 1190"/>
                <a:gd name="T26" fmla="*/ 57 w 941"/>
                <a:gd name="T27" fmla="*/ 869 h 1190"/>
                <a:gd name="T28" fmla="*/ 34 w 941"/>
                <a:gd name="T29" fmla="*/ 948 h 1190"/>
                <a:gd name="T30" fmla="*/ 15 w 941"/>
                <a:gd name="T31" fmla="*/ 1027 h 1190"/>
                <a:gd name="T32" fmla="*/ 0 w 941"/>
                <a:gd name="T33" fmla="*/ 1109 h 1190"/>
                <a:gd name="T34" fmla="*/ 461 w 941"/>
                <a:gd name="T35" fmla="*/ 1190 h 1190"/>
                <a:gd name="T36" fmla="*/ 472 w 941"/>
                <a:gd name="T37" fmla="*/ 1129 h 1190"/>
                <a:gd name="T38" fmla="*/ 488 w 941"/>
                <a:gd name="T39" fmla="*/ 1069 h 1190"/>
                <a:gd name="T40" fmla="*/ 505 w 941"/>
                <a:gd name="T41" fmla="*/ 1010 h 1190"/>
                <a:gd name="T42" fmla="*/ 524 w 941"/>
                <a:gd name="T43" fmla="*/ 952 h 1190"/>
                <a:gd name="T44" fmla="*/ 547 w 941"/>
                <a:gd name="T45" fmla="*/ 896 h 1190"/>
                <a:gd name="T46" fmla="*/ 572 w 941"/>
                <a:gd name="T47" fmla="*/ 839 h 1190"/>
                <a:gd name="T48" fmla="*/ 599 w 941"/>
                <a:gd name="T49" fmla="*/ 785 h 1190"/>
                <a:gd name="T50" fmla="*/ 628 w 941"/>
                <a:gd name="T51" fmla="*/ 731 h 1190"/>
                <a:gd name="T52" fmla="*/ 658 w 941"/>
                <a:gd name="T53" fmla="*/ 679 h 1190"/>
                <a:gd name="T54" fmla="*/ 693 w 941"/>
                <a:gd name="T55" fmla="*/ 627 h 1190"/>
                <a:gd name="T56" fmla="*/ 729 w 941"/>
                <a:gd name="T57" fmla="*/ 579 h 1190"/>
                <a:gd name="T58" fmla="*/ 768 w 941"/>
                <a:gd name="T59" fmla="*/ 531 h 1190"/>
                <a:gd name="T60" fmla="*/ 808 w 941"/>
                <a:gd name="T61" fmla="*/ 485 h 1190"/>
                <a:gd name="T62" fmla="*/ 850 w 941"/>
                <a:gd name="T63" fmla="*/ 441 h 1190"/>
                <a:gd name="T64" fmla="*/ 895 w 941"/>
                <a:gd name="T65" fmla="*/ 399 h 1190"/>
                <a:gd name="T66" fmla="*/ 941 w 941"/>
                <a:gd name="T67" fmla="*/ 357 h 1190"/>
                <a:gd name="T68" fmla="*/ 639 w 941"/>
                <a:gd name="T69" fmla="*/ 0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1" h="1190">
                  <a:moveTo>
                    <a:pt x="639" y="0"/>
                  </a:moveTo>
                  <a:lnTo>
                    <a:pt x="578" y="53"/>
                  </a:lnTo>
                  <a:lnTo>
                    <a:pt x="518" y="109"/>
                  </a:lnTo>
                  <a:lnTo>
                    <a:pt x="463" y="168"/>
                  </a:lnTo>
                  <a:lnTo>
                    <a:pt x="409" y="230"/>
                  </a:lnTo>
                  <a:lnTo>
                    <a:pt x="357" y="293"/>
                  </a:lnTo>
                  <a:lnTo>
                    <a:pt x="309" y="361"/>
                  </a:lnTo>
                  <a:lnTo>
                    <a:pt x="265" y="428"/>
                  </a:lnTo>
                  <a:lnTo>
                    <a:pt x="223" y="497"/>
                  </a:lnTo>
                  <a:lnTo>
                    <a:pt x="182" y="568"/>
                  </a:lnTo>
                  <a:lnTo>
                    <a:pt x="148" y="641"/>
                  </a:lnTo>
                  <a:lnTo>
                    <a:pt x="113" y="716"/>
                  </a:lnTo>
                  <a:lnTo>
                    <a:pt x="84" y="793"/>
                  </a:lnTo>
                  <a:lnTo>
                    <a:pt x="57" y="869"/>
                  </a:lnTo>
                  <a:lnTo>
                    <a:pt x="34" y="948"/>
                  </a:lnTo>
                  <a:lnTo>
                    <a:pt x="15" y="1027"/>
                  </a:lnTo>
                  <a:lnTo>
                    <a:pt x="0" y="1109"/>
                  </a:lnTo>
                  <a:lnTo>
                    <a:pt x="461" y="1190"/>
                  </a:lnTo>
                  <a:lnTo>
                    <a:pt x="472" y="1129"/>
                  </a:lnTo>
                  <a:lnTo>
                    <a:pt x="488" y="1069"/>
                  </a:lnTo>
                  <a:lnTo>
                    <a:pt x="505" y="1010"/>
                  </a:lnTo>
                  <a:lnTo>
                    <a:pt x="524" y="952"/>
                  </a:lnTo>
                  <a:lnTo>
                    <a:pt x="547" y="896"/>
                  </a:lnTo>
                  <a:lnTo>
                    <a:pt x="572" y="839"/>
                  </a:lnTo>
                  <a:lnTo>
                    <a:pt x="599" y="785"/>
                  </a:lnTo>
                  <a:lnTo>
                    <a:pt x="628" y="731"/>
                  </a:lnTo>
                  <a:lnTo>
                    <a:pt x="658" y="679"/>
                  </a:lnTo>
                  <a:lnTo>
                    <a:pt x="693" y="627"/>
                  </a:lnTo>
                  <a:lnTo>
                    <a:pt x="729" y="579"/>
                  </a:lnTo>
                  <a:lnTo>
                    <a:pt x="768" y="531"/>
                  </a:lnTo>
                  <a:lnTo>
                    <a:pt x="808" y="485"/>
                  </a:lnTo>
                  <a:lnTo>
                    <a:pt x="850" y="441"/>
                  </a:lnTo>
                  <a:lnTo>
                    <a:pt x="895" y="399"/>
                  </a:lnTo>
                  <a:lnTo>
                    <a:pt x="941" y="357"/>
                  </a:lnTo>
                  <a:lnTo>
                    <a:pt x="639" y="0"/>
                  </a:lnTo>
                  <a:close/>
                </a:path>
              </a:pathLst>
            </a:custGeom>
            <a:solidFill>
              <a:srgbClr val="62B5E5"/>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5" name="Freeform 17">
              <a:extLst>
                <a:ext uri="{FF2B5EF4-FFF2-40B4-BE49-F238E27FC236}">
                  <a16:creationId xmlns:a16="http://schemas.microsoft.com/office/drawing/2014/main" id="{9753BBC2-7224-5648-805E-FB1F9F77ECC6}"/>
                </a:ext>
              </a:extLst>
            </p:cNvPr>
            <p:cNvSpPr>
              <a:spLocks/>
            </p:cNvSpPr>
            <p:nvPr/>
          </p:nvSpPr>
          <p:spPr bwMode="auto">
            <a:xfrm>
              <a:off x="7342188" y="2347913"/>
              <a:ext cx="957262" cy="633413"/>
            </a:xfrm>
            <a:custGeom>
              <a:avLst/>
              <a:gdLst>
                <a:gd name="T0" fmla="*/ 1206 w 1206"/>
                <a:gd name="T1" fmla="*/ 0 h 797"/>
                <a:gd name="T2" fmla="*/ 1123 w 1206"/>
                <a:gd name="T3" fmla="*/ 2 h 797"/>
                <a:gd name="T4" fmla="*/ 1041 w 1206"/>
                <a:gd name="T5" fmla="*/ 7 h 797"/>
                <a:gd name="T6" fmla="*/ 960 w 1206"/>
                <a:gd name="T7" fmla="*/ 17 h 797"/>
                <a:gd name="T8" fmla="*/ 880 w 1206"/>
                <a:gd name="T9" fmla="*/ 29 h 797"/>
                <a:gd name="T10" fmla="*/ 799 w 1206"/>
                <a:gd name="T11" fmla="*/ 44 h 797"/>
                <a:gd name="T12" fmla="*/ 720 w 1206"/>
                <a:gd name="T13" fmla="*/ 65 h 797"/>
                <a:gd name="T14" fmla="*/ 641 w 1206"/>
                <a:gd name="T15" fmla="*/ 86 h 797"/>
                <a:gd name="T16" fmla="*/ 565 w 1206"/>
                <a:gd name="T17" fmla="*/ 113 h 797"/>
                <a:gd name="T18" fmla="*/ 488 w 1206"/>
                <a:gd name="T19" fmla="*/ 142 h 797"/>
                <a:gd name="T20" fmla="*/ 415 w 1206"/>
                <a:gd name="T21" fmla="*/ 175 h 797"/>
                <a:gd name="T22" fmla="*/ 342 w 1206"/>
                <a:gd name="T23" fmla="*/ 211 h 797"/>
                <a:gd name="T24" fmla="*/ 269 w 1206"/>
                <a:gd name="T25" fmla="*/ 251 h 797"/>
                <a:gd name="T26" fmla="*/ 200 w 1206"/>
                <a:gd name="T27" fmla="*/ 294 h 797"/>
                <a:gd name="T28" fmla="*/ 131 w 1206"/>
                <a:gd name="T29" fmla="*/ 338 h 797"/>
                <a:gd name="T30" fmla="*/ 65 w 1206"/>
                <a:gd name="T31" fmla="*/ 388 h 797"/>
                <a:gd name="T32" fmla="*/ 0 w 1206"/>
                <a:gd name="T33" fmla="*/ 440 h 797"/>
                <a:gd name="T34" fmla="*/ 302 w 1206"/>
                <a:gd name="T35" fmla="*/ 797 h 797"/>
                <a:gd name="T36" fmla="*/ 350 w 1206"/>
                <a:gd name="T37" fmla="*/ 758 h 797"/>
                <a:gd name="T38" fmla="*/ 400 w 1206"/>
                <a:gd name="T39" fmla="*/ 722 h 797"/>
                <a:gd name="T40" fmla="*/ 451 w 1206"/>
                <a:gd name="T41" fmla="*/ 687 h 797"/>
                <a:gd name="T42" fmla="*/ 503 w 1206"/>
                <a:gd name="T43" fmla="*/ 657 h 797"/>
                <a:gd name="T44" fmla="*/ 557 w 1206"/>
                <a:gd name="T45" fmla="*/ 628 h 797"/>
                <a:gd name="T46" fmla="*/ 613 w 1206"/>
                <a:gd name="T47" fmla="*/ 601 h 797"/>
                <a:gd name="T48" fmla="*/ 668 w 1206"/>
                <a:gd name="T49" fmla="*/ 576 h 797"/>
                <a:gd name="T50" fmla="*/ 724 w 1206"/>
                <a:gd name="T51" fmla="*/ 553 h 797"/>
                <a:gd name="T52" fmla="*/ 782 w 1206"/>
                <a:gd name="T53" fmla="*/ 534 h 797"/>
                <a:gd name="T54" fmla="*/ 841 w 1206"/>
                <a:gd name="T55" fmla="*/ 516 h 797"/>
                <a:gd name="T56" fmla="*/ 901 w 1206"/>
                <a:gd name="T57" fmla="*/ 503 h 797"/>
                <a:gd name="T58" fmla="*/ 960 w 1206"/>
                <a:gd name="T59" fmla="*/ 489 h 797"/>
                <a:gd name="T60" fmla="*/ 1022 w 1206"/>
                <a:gd name="T61" fmla="*/ 480 h 797"/>
                <a:gd name="T62" fmla="*/ 1081 w 1206"/>
                <a:gd name="T63" fmla="*/ 474 h 797"/>
                <a:gd name="T64" fmla="*/ 1143 w 1206"/>
                <a:gd name="T65" fmla="*/ 470 h 797"/>
                <a:gd name="T66" fmla="*/ 1206 w 1206"/>
                <a:gd name="T67" fmla="*/ 468 h 797"/>
                <a:gd name="T68" fmla="*/ 1206 w 1206"/>
                <a:gd name="T69" fmla="*/ 0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6" h="797">
                  <a:moveTo>
                    <a:pt x="1206" y="0"/>
                  </a:moveTo>
                  <a:lnTo>
                    <a:pt x="1123" y="2"/>
                  </a:lnTo>
                  <a:lnTo>
                    <a:pt x="1041" y="7"/>
                  </a:lnTo>
                  <a:lnTo>
                    <a:pt x="960" y="17"/>
                  </a:lnTo>
                  <a:lnTo>
                    <a:pt x="880" y="29"/>
                  </a:lnTo>
                  <a:lnTo>
                    <a:pt x="799" y="44"/>
                  </a:lnTo>
                  <a:lnTo>
                    <a:pt x="720" y="65"/>
                  </a:lnTo>
                  <a:lnTo>
                    <a:pt x="641" y="86"/>
                  </a:lnTo>
                  <a:lnTo>
                    <a:pt x="565" y="113"/>
                  </a:lnTo>
                  <a:lnTo>
                    <a:pt x="488" y="142"/>
                  </a:lnTo>
                  <a:lnTo>
                    <a:pt x="415" y="175"/>
                  </a:lnTo>
                  <a:lnTo>
                    <a:pt x="342" y="211"/>
                  </a:lnTo>
                  <a:lnTo>
                    <a:pt x="269" y="251"/>
                  </a:lnTo>
                  <a:lnTo>
                    <a:pt x="200" y="294"/>
                  </a:lnTo>
                  <a:lnTo>
                    <a:pt x="131" y="338"/>
                  </a:lnTo>
                  <a:lnTo>
                    <a:pt x="65" y="388"/>
                  </a:lnTo>
                  <a:lnTo>
                    <a:pt x="0" y="440"/>
                  </a:lnTo>
                  <a:lnTo>
                    <a:pt x="302" y="797"/>
                  </a:lnTo>
                  <a:lnTo>
                    <a:pt x="350" y="758"/>
                  </a:lnTo>
                  <a:lnTo>
                    <a:pt x="400" y="722"/>
                  </a:lnTo>
                  <a:lnTo>
                    <a:pt x="451" y="687"/>
                  </a:lnTo>
                  <a:lnTo>
                    <a:pt x="503" y="657"/>
                  </a:lnTo>
                  <a:lnTo>
                    <a:pt x="557" y="628"/>
                  </a:lnTo>
                  <a:lnTo>
                    <a:pt x="613" y="601"/>
                  </a:lnTo>
                  <a:lnTo>
                    <a:pt x="668" y="576"/>
                  </a:lnTo>
                  <a:lnTo>
                    <a:pt x="724" y="553"/>
                  </a:lnTo>
                  <a:lnTo>
                    <a:pt x="782" y="534"/>
                  </a:lnTo>
                  <a:lnTo>
                    <a:pt x="841" y="516"/>
                  </a:lnTo>
                  <a:lnTo>
                    <a:pt x="901" y="503"/>
                  </a:lnTo>
                  <a:lnTo>
                    <a:pt x="960" y="489"/>
                  </a:lnTo>
                  <a:lnTo>
                    <a:pt x="1022" y="480"/>
                  </a:lnTo>
                  <a:lnTo>
                    <a:pt x="1081" y="474"/>
                  </a:lnTo>
                  <a:lnTo>
                    <a:pt x="1143" y="470"/>
                  </a:lnTo>
                  <a:lnTo>
                    <a:pt x="1206" y="468"/>
                  </a:lnTo>
                  <a:lnTo>
                    <a:pt x="1206" y="0"/>
                  </a:lnTo>
                  <a:close/>
                </a:path>
              </a:pathLst>
            </a:custGeom>
            <a:solidFill>
              <a:srgbClr val="00A3E0"/>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grpSp>
      <p:cxnSp>
        <p:nvCxnSpPr>
          <p:cNvPr id="66" name="Straight Connector 65">
            <a:extLst>
              <a:ext uri="{FF2B5EF4-FFF2-40B4-BE49-F238E27FC236}">
                <a16:creationId xmlns:a16="http://schemas.microsoft.com/office/drawing/2014/main" id="{B9CA4C98-88DF-454F-9706-8A5D7720931E}"/>
              </a:ext>
            </a:extLst>
          </p:cNvPr>
          <p:cNvCxnSpPr/>
          <p:nvPr/>
        </p:nvCxnSpPr>
        <p:spPr>
          <a:xfrm flipV="1">
            <a:off x="6134749" y="523485"/>
            <a:ext cx="5631" cy="30266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6C4724D-EEDA-AA4C-A555-CB1E93DFE0C0}"/>
              </a:ext>
            </a:extLst>
          </p:cNvPr>
          <p:cNvCxnSpPr/>
          <p:nvPr/>
        </p:nvCxnSpPr>
        <p:spPr>
          <a:xfrm flipH="1">
            <a:off x="3420532" y="3544528"/>
            <a:ext cx="2714217" cy="15823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525B1D9-69D7-7744-AC89-9491E208644A}"/>
              </a:ext>
            </a:extLst>
          </p:cNvPr>
          <p:cNvCxnSpPr/>
          <p:nvPr/>
        </p:nvCxnSpPr>
        <p:spPr>
          <a:xfrm>
            <a:off x="6140380" y="3545653"/>
            <a:ext cx="2714217" cy="15823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BDFC2927-7F0D-224B-9A5C-AA447AD39C12}"/>
              </a:ext>
            </a:extLst>
          </p:cNvPr>
          <p:cNvSpPr/>
          <p:nvPr/>
        </p:nvSpPr>
        <p:spPr>
          <a:xfrm rot="3031513">
            <a:off x="6911861" y="2725409"/>
            <a:ext cx="562532" cy="207704"/>
          </a:xfrm>
          <a:prstGeom prst="rect">
            <a:avLst/>
          </a:prstGeom>
        </p:spPr>
        <p:txBody>
          <a:bodyPr wrap="none" lIns="0" tIns="0" rIns="0" bIns="0">
            <a:spAutoFit/>
          </a:bodyPr>
          <a:lstStyle/>
          <a:p>
            <a:pPr>
              <a:spcBef>
                <a:spcPts val="451"/>
              </a:spcBef>
              <a:buSzPct val="100000"/>
            </a:pPr>
            <a:r>
              <a:rPr lang="en-US" sz="1000" b="1" dirty="0">
                <a:solidFill>
                  <a:schemeClr val="bg1"/>
                </a:solidFill>
              </a:rPr>
              <a:t>Analyze</a:t>
            </a:r>
          </a:p>
        </p:txBody>
      </p:sp>
      <p:sp>
        <p:nvSpPr>
          <p:cNvPr id="70" name="Rectangle 69">
            <a:extLst>
              <a:ext uri="{FF2B5EF4-FFF2-40B4-BE49-F238E27FC236}">
                <a16:creationId xmlns:a16="http://schemas.microsoft.com/office/drawing/2014/main" id="{1D3062D4-58B8-D546-B434-BD50686EF75C}"/>
              </a:ext>
            </a:extLst>
          </p:cNvPr>
          <p:cNvSpPr/>
          <p:nvPr/>
        </p:nvSpPr>
        <p:spPr>
          <a:xfrm>
            <a:off x="5838473" y="4725824"/>
            <a:ext cx="482480" cy="207704"/>
          </a:xfrm>
          <a:prstGeom prst="rect">
            <a:avLst/>
          </a:prstGeom>
        </p:spPr>
        <p:txBody>
          <a:bodyPr wrap="none" lIns="0" tIns="0" rIns="0" bIns="0">
            <a:spAutoFit/>
          </a:bodyPr>
          <a:lstStyle/>
          <a:p>
            <a:pPr>
              <a:spcBef>
                <a:spcPts val="451"/>
              </a:spcBef>
              <a:buSzPct val="100000"/>
            </a:pPr>
            <a:r>
              <a:rPr lang="en-US" sz="1000" b="1" dirty="0">
                <a:solidFill>
                  <a:schemeClr val="bg1"/>
                </a:solidFill>
              </a:rPr>
              <a:t>Design</a:t>
            </a:r>
          </a:p>
        </p:txBody>
      </p:sp>
      <p:sp>
        <p:nvSpPr>
          <p:cNvPr id="71" name="Rectangle 70">
            <a:extLst>
              <a:ext uri="{FF2B5EF4-FFF2-40B4-BE49-F238E27FC236}">
                <a16:creationId xmlns:a16="http://schemas.microsoft.com/office/drawing/2014/main" id="{3C696480-A891-C34B-BFCB-E36F88FC9B53}"/>
              </a:ext>
            </a:extLst>
          </p:cNvPr>
          <p:cNvSpPr/>
          <p:nvPr/>
        </p:nvSpPr>
        <p:spPr>
          <a:xfrm rot="18169658" flipH="1">
            <a:off x="4869842" y="2743926"/>
            <a:ext cx="380792" cy="207704"/>
          </a:xfrm>
          <a:prstGeom prst="rect">
            <a:avLst/>
          </a:prstGeom>
        </p:spPr>
        <p:txBody>
          <a:bodyPr wrap="none" lIns="0" tIns="0" rIns="0" bIns="0">
            <a:spAutoFit/>
          </a:bodyPr>
          <a:lstStyle/>
          <a:p>
            <a:pPr>
              <a:spcBef>
                <a:spcPts val="451"/>
              </a:spcBef>
              <a:buSzPct val="100000"/>
            </a:pPr>
            <a:r>
              <a:rPr lang="en-US" sz="1000" b="1" dirty="0">
                <a:solidFill>
                  <a:schemeClr val="bg1"/>
                </a:solidFill>
              </a:rPr>
              <a:t>Drive</a:t>
            </a:r>
          </a:p>
        </p:txBody>
      </p:sp>
      <p:sp>
        <p:nvSpPr>
          <p:cNvPr id="95" name="object 4">
            <a:extLst>
              <a:ext uri="{FF2B5EF4-FFF2-40B4-BE49-F238E27FC236}">
                <a16:creationId xmlns:a16="http://schemas.microsoft.com/office/drawing/2014/main" id="{F279DCE7-F915-CA45-9369-97343017F256}"/>
              </a:ext>
            </a:extLst>
          </p:cNvPr>
          <p:cNvSpPr txBox="1"/>
          <p:nvPr/>
        </p:nvSpPr>
        <p:spPr>
          <a:xfrm>
            <a:off x="7319546" y="1221389"/>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r>
              <a:rPr lang="en-US" sz="1200" dirty="0">
                <a:solidFill>
                  <a:schemeClr val="accent1"/>
                </a:solidFill>
              </a:rPr>
              <a:t>Lorem ipsum</a:t>
            </a:r>
            <a:endParaRPr lang="en-US" sz="1200" b="0" dirty="0"/>
          </a:p>
        </p:txBody>
      </p:sp>
      <p:sp>
        <p:nvSpPr>
          <p:cNvPr id="96" name="object 4">
            <a:extLst>
              <a:ext uri="{FF2B5EF4-FFF2-40B4-BE49-F238E27FC236}">
                <a16:creationId xmlns:a16="http://schemas.microsoft.com/office/drawing/2014/main" id="{B2DA2C22-A649-2B4F-8CEA-2C4A6B22310F}"/>
              </a:ext>
            </a:extLst>
          </p:cNvPr>
          <p:cNvSpPr txBox="1"/>
          <p:nvPr/>
        </p:nvSpPr>
        <p:spPr>
          <a:xfrm>
            <a:off x="8214903" y="2443287"/>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r>
              <a:rPr lang="en-US" sz="1200" dirty="0">
                <a:solidFill>
                  <a:schemeClr val="accent1"/>
                </a:solidFill>
              </a:rPr>
              <a:t>Lorem ipsum</a:t>
            </a:r>
            <a:endParaRPr lang="en-US" sz="1200" b="0" dirty="0"/>
          </a:p>
        </p:txBody>
      </p:sp>
      <p:sp>
        <p:nvSpPr>
          <p:cNvPr id="97" name="object 4">
            <a:extLst>
              <a:ext uri="{FF2B5EF4-FFF2-40B4-BE49-F238E27FC236}">
                <a16:creationId xmlns:a16="http://schemas.microsoft.com/office/drawing/2014/main" id="{63581C84-35E7-6E49-8E67-49032F79615C}"/>
              </a:ext>
            </a:extLst>
          </p:cNvPr>
          <p:cNvSpPr txBox="1"/>
          <p:nvPr/>
        </p:nvSpPr>
        <p:spPr>
          <a:xfrm>
            <a:off x="8349428" y="3665182"/>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r>
              <a:rPr lang="en-US" sz="1200" dirty="0">
                <a:solidFill>
                  <a:schemeClr val="accent1"/>
                </a:solidFill>
              </a:rPr>
              <a:t>Lorem ipsum</a:t>
            </a:r>
            <a:endParaRPr lang="en-US" sz="1200" b="0" dirty="0"/>
          </a:p>
        </p:txBody>
      </p:sp>
      <p:sp>
        <p:nvSpPr>
          <p:cNvPr id="98" name="object 12">
            <a:extLst>
              <a:ext uri="{FF2B5EF4-FFF2-40B4-BE49-F238E27FC236}">
                <a16:creationId xmlns:a16="http://schemas.microsoft.com/office/drawing/2014/main" id="{648B3E7E-6025-B149-AFAB-B5377319F8D7}"/>
              </a:ext>
            </a:extLst>
          </p:cNvPr>
          <p:cNvSpPr txBox="1"/>
          <p:nvPr/>
        </p:nvSpPr>
        <p:spPr>
          <a:xfrm>
            <a:off x="7231973" y="5521722"/>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r>
              <a:rPr lang="en-IN" sz="1200" dirty="0">
                <a:solidFill>
                  <a:schemeClr val="accent4"/>
                </a:solidFill>
              </a:rPr>
              <a:t>Lorem ipsum</a:t>
            </a:r>
            <a:endParaRPr lang="en-US" sz="1200" b="0" dirty="0"/>
          </a:p>
        </p:txBody>
      </p:sp>
      <p:sp>
        <p:nvSpPr>
          <p:cNvPr id="99" name="object 11">
            <a:extLst>
              <a:ext uri="{FF2B5EF4-FFF2-40B4-BE49-F238E27FC236}">
                <a16:creationId xmlns:a16="http://schemas.microsoft.com/office/drawing/2014/main" id="{DDDC4092-0824-8B4F-BF1D-D8FCA9600B0F}"/>
              </a:ext>
            </a:extLst>
          </p:cNvPr>
          <p:cNvSpPr txBox="1"/>
          <p:nvPr/>
        </p:nvSpPr>
        <p:spPr>
          <a:xfrm>
            <a:off x="4230777" y="5521722"/>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pPr algn="r"/>
            <a:r>
              <a:rPr lang="en-US" sz="1200" dirty="0">
                <a:solidFill>
                  <a:schemeClr val="accent4"/>
                </a:solidFill>
              </a:rPr>
              <a:t>Lorem ipsum</a:t>
            </a:r>
            <a:endParaRPr sz="1200" b="0" dirty="0"/>
          </a:p>
        </p:txBody>
      </p:sp>
      <p:sp>
        <p:nvSpPr>
          <p:cNvPr id="100" name="object 11">
            <a:extLst>
              <a:ext uri="{FF2B5EF4-FFF2-40B4-BE49-F238E27FC236}">
                <a16:creationId xmlns:a16="http://schemas.microsoft.com/office/drawing/2014/main" id="{9A87B0E9-83AD-DD4C-A9F3-B887EA93A059}"/>
              </a:ext>
            </a:extLst>
          </p:cNvPr>
          <p:cNvSpPr txBox="1"/>
          <p:nvPr/>
        </p:nvSpPr>
        <p:spPr>
          <a:xfrm>
            <a:off x="5402702" y="5901846"/>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r>
              <a:rPr lang="en-IN" sz="1200" dirty="0">
                <a:solidFill>
                  <a:schemeClr val="accent4"/>
                </a:solidFill>
              </a:rPr>
              <a:t>Lorem ipsum</a:t>
            </a:r>
            <a:endParaRPr sz="1200" b="0" dirty="0"/>
          </a:p>
        </p:txBody>
      </p:sp>
      <p:sp>
        <p:nvSpPr>
          <p:cNvPr id="101" name="object 4">
            <a:extLst>
              <a:ext uri="{FF2B5EF4-FFF2-40B4-BE49-F238E27FC236}">
                <a16:creationId xmlns:a16="http://schemas.microsoft.com/office/drawing/2014/main" id="{21D03B29-2D91-AF42-BFF4-F71031E8165C}"/>
              </a:ext>
            </a:extLst>
          </p:cNvPr>
          <p:cNvSpPr txBox="1"/>
          <p:nvPr/>
        </p:nvSpPr>
        <p:spPr>
          <a:xfrm flipH="1">
            <a:off x="4042991" y="1221389"/>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pPr algn="r"/>
            <a:r>
              <a:rPr lang="en-US" sz="1200" dirty="0">
                <a:solidFill>
                  <a:schemeClr val="accent3"/>
                </a:solidFill>
              </a:rPr>
              <a:t>Lorem ipsum</a:t>
            </a:r>
            <a:endParaRPr lang="en-US" sz="1200" b="0" dirty="0"/>
          </a:p>
        </p:txBody>
      </p:sp>
      <p:sp>
        <p:nvSpPr>
          <p:cNvPr id="102" name="object 4">
            <a:extLst>
              <a:ext uri="{FF2B5EF4-FFF2-40B4-BE49-F238E27FC236}">
                <a16:creationId xmlns:a16="http://schemas.microsoft.com/office/drawing/2014/main" id="{D137030C-FE07-1746-BDED-568C930B7D3F}"/>
              </a:ext>
            </a:extLst>
          </p:cNvPr>
          <p:cNvSpPr txBox="1"/>
          <p:nvPr/>
        </p:nvSpPr>
        <p:spPr>
          <a:xfrm flipH="1">
            <a:off x="3147636" y="2443287"/>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pPr algn="r"/>
            <a:r>
              <a:rPr lang="en-US" sz="1200" dirty="0">
                <a:solidFill>
                  <a:schemeClr val="accent3"/>
                </a:solidFill>
              </a:rPr>
              <a:t>Lorem ipsum</a:t>
            </a:r>
            <a:endParaRPr lang="en-US" sz="1200" b="0" dirty="0"/>
          </a:p>
        </p:txBody>
      </p:sp>
      <p:sp>
        <p:nvSpPr>
          <p:cNvPr id="107" name="object 4">
            <a:extLst>
              <a:ext uri="{FF2B5EF4-FFF2-40B4-BE49-F238E27FC236}">
                <a16:creationId xmlns:a16="http://schemas.microsoft.com/office/drawing/2014/main" id="{1888D8D0-7C2A-014B-A8EA-C24D3191AFAE}"/>
              </a:ext>
            </a:extLst>
          </p:cNvPr>
          <p:cNvSpPr txBox="1"/>
          <p:nvPr/>
        </p:nvSpPr>
        <p:spPr>
          <a:xfrm flipH="1">
            <a:off x="3013112" y="3665182"/>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pPr algn="r"/>
            <a:r>
              <a:rPr lang="en-US" sz="1200" dirty="0">
                <a:solidFill>
                  <a:schemeClr val="accent3"/>
                </a:solidFill>
              </a:rPr>
              <a:t>Lorem ipsum</a:t>
            </a:r>
            <a:endParaRPr lang="en-US" sz="1200" b="0" dirty="0"/>
          </a:p>
        </p:txBody>
      </p:sp>
    </p:spTree>
    <p:custDataLst>
      <p:tags r:id="rId1"/>
    </p:custDataLst>
    <p:extLst>
      <p:ext uri="{BB962C8B-B14F-4D97-AF65-F5344CB8AC3E}">
        <p14:creationId xmlns:p14="http://schemas.microsoft.com/office/powerpoint/2010/main" val="2879202880"/>
      </p:ext>
    </p:extLst>
  </p:cSld>
  <p:clrMapOvr>
    <a:masterClrMapping/>
  </p:clrMapOvr>
  <p:transition>
    <p:fade/>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A049D8F-4740-4E3B-80D1-664585E13937}"/>
              </a:ext>
            </a:extLst>
          </p:cNvPr>
          <p:cNvGrpSpPr/>
          <p:nvPr/>
        </p:nvGrpSpPr>
        <p:grpSpPr>
          <a:xfrm>
            <a:off x="1850026" y="780525"/>
            <a:ext cx="8208374" cy="5296950"/>
            <a:chOff x="3108810" y="1766786"/>
            <a:chExt cx="5716244" cy="3688752"/>
          </a:xfrm>
        </p:grpSpPr>
        <p:sp>
          <p:nvSpPr>
            <p:cNvPr id="30" name="Rectangle 29">
              <a:extLst>
                <a:ext uri="{FF2B5EF4-FFF2-40B4-BE49-F238E27FC236}">
                  <a16:creationId xmlns:a16="http://schemas.microsoft.com/office/drawing/2014/main" id="{864FC873-5E19-D141-9A16-6FD410BF6841}"/>
                </a:ext>
              </a:extLst>
            </p:cNvPr>
            <p:cNvSpPr/>
            <p:nvPr/>
          </p:nvSpPr>
          <p:spPr>
            <a:xfrm>
              <a:off x="3108810" y="3497573"/>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1" name="Rectangle 30">
              <a:extLst>
                <a:ext uri="{FF2B5EF4-FFF2-40B4-BE49-F238E27FC236}">
                  <a16:creationId xmlns:a16="http://schemas.microsoft.com/office/drawing/2014/main" id="{4ED9BBBA-B640-0644-BD0D-7D127B882CE8}"/>
                </a:ext>
              </a:extLst>
            </p:cNvPr>
            <p:cNvSpPr/>
            <p:nvPr/>
          </p:nvSpPr>
          <p:spPr>
            <a:xfrm>
              <a:off x="4231976" y="1828931"/>
              <a:ext cx="469782" cy="106143"/>
            </a:xfrm>
            <a:prstGeom prst="rect">
              <a:avLst/>
            </a:prstGeom>
          </p:spPr>
          <p:txBody>
            <a:bodyPr wrap="square" lIns="0" tIns="6892" rIns="6892" bIns="6892">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2" name="Rectangle 31">
              <a:extLst>
                <a:ext uri="{FF2B5EF4-FFF2-40B4-BE49-F238E27FC236}">
                  <a16:creationId xmlns:a16="http://schemas.microsoft.com/office/drawing/2014/main" id="{13748FA2-B05D-AE44-A211-5B0AC76E7342}"/>
                </a:ext>
              </a:extLst>
            </p:cNvPr>
            <p:cNvSpPr/>
            <p:nvPr/>
          </p:nvSpPr>
          <p:spPr>
            <a:xfrm>
              <a:off x="3555133" y="2465293"/>
              <a:ext cx="459435" cy="96450"/>
            </a:xfrm>
            <a:prstGeom prst="rect">
              <a:avLst/>
            </a:prstGeom>
          </p:spPr>
          <p:txBody>
            <a:bodyPr wrap="squar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3" name="Rectangle 32">
              <a:extLst>
                <a:ext uri="{FF2B5EF4-FFF2-40B4-BE49-F238E27FC236}">
                  <a16:creationId xmlns:a16="http://schemas.microsoft.com/office/drawing/2014/main" id="{1C2F065C-38DD-CD43-89BB-079F9A740F15}"/>
                </a:ext>
              </a:extLst>
            </p:cNvPr>
            <p:cNvSpPr/>
            <p:nvPr/>
          </p:nvSpPr>
          <p:spPr>
            <a:xfrm>
              <a:off x="3478677" y="4629218"/>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4" name="Rectangle 33">
              <a:extLst>
                <a:ext uri="{FF2B5EF4-FFF2-40B4-BE49-F238E27FC236}">
                  <a16:creationId xmlns:a16="http://schemas.microsoft.com/office/drawing/2014/main" id="{9A488739-A640-654D-A721-4D708589B1FB}"/>
                </a:ext>
              </a:extLst>
            </p:cNvPr>
            <p:cNvSpPr/>
            <p:nvPr/>
          </p:nvSpPr>
          <p:spPr>
            <a:xfrm>
              <a:off x="7249511" y="1839867"/>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5" name="Rectangle 34">
              <a:extLst>
                <a:ext uri="{FF2B5EF4-FFF2-40B4-BE49-F238E27FC236}">
                  <a16:creationId xmlns:a16="http://schemas.microsoft.com/office/drawing/2014/main" id="{E88AF411-3DA7-AF43-94EE-2EDD47640B8B}"/>
                </a:ext>
              </a:extLst>
            </p:cNvPr>
            <p:cNvSpPr/>
            <p:nvPr/>
          </p:nvSpPr>
          <p:spPr>
            <a:xfrm>
              <a:off x="7966482" y="2429220"/>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6" name="Rectangle 35">
              <a:extLst>
                <a:ext uri="{FF2B5EF4-FFF2-40B4-BE49-F238E27FC236}">
                  <a16:creationId xmlns:a16="http://schemas.microsoft.com/office/drawing/2014/main" id="{500F6D62-89B6-9B49-95EE-7BD1BE566B4F}"/>
                </a:ext>
              </a:extLst>
            </p:cNvPr>
            <p:cNvSpPr/>
            <p:nvPr/>
          </p:nvSpPr>
          <p:spPr>
            <a:xfrm>
              <a:off x="8212707" y="3222863"/>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7" name="Rectangle 36">
              <a:extLst>
                <a:ext uri="{FF2B5EF4-FFF2-40B4-BE49-F238E27FC236}">
                  <a16:creationId xmlns:a16="http://schemas.microsoft.com/office/drawing/2014/main" id="{FDEFEDBC-916C-8C4C-B81F-AA000372BDBE}"/>
                </a:ext>
              </a:extLst>
            </p:cNvPr>
            <p:cNvSpPr/>
            <p:nvPr/>
          </p:nvSpPr>
          <p:spPr>
            <a:xfrm>
              <a:off x="8190131" y="3962081"/>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8" name="Rectangle 37">
              <a:extLst>
                <a:ext uri="{FF2B5EF4-FFF2-40B4-BE49-F238E27FC236}">
                  <a16:creationId xmlns:a16="http://schemas.microsoft.com/office/drawing/2014/main" id="{95E530A7-B743-DF4F-BEF1-ED5E22501383}"/>
                </a:ext>
              </a:extLst>
            </p:cNvPr>
            <p:cNvSpPr/>
            <p:nvPr/>
          </p:nvSpPr>
          <p:spPr>
            <a:xfrm>
              <a:off x="7778489" y="4673243"/>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9" name="Rectangle 38">
              <a:extLst>
                <a:ext uri="{FF2B5EF4-FFF2-40B4-BE49-F238E27FC236}">
                  <a16:creationId xmlns:a16="http://schemas.microsoft.com/office/drawing/2014/main" id="{700FA344-23D2-2B43-BDF6-BFEE61BA246D}"/>
                </a:ext>
              </a:extLst>
            </p:cNvPr>
            <p:cNvSpPr/>
            <p:nvPr/>
          </p:nvSpPr>
          <p:spPr>
            <a:xfrm>
              <a:off x="7233485" y="5214738"/>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40" name="Block Arc 39">
              <a:extLst>
                <a:ext uri="{FF2B5EF4-FFF2-40B4-BE49-F238E27FC236}">
                  <a16:creationId xmlns:a16="http://schemas.microsoft.com/office/drawing/2014/main" id="{14CF50EA-5164-1B4A-9F38-ABFFB1B76BAD}"/>
                </a:ext>
              </a:extLst>
            </p:cNvPr>
            <p:cNvSpPr/>
            <p:nvPr/>
          </p:nvSpPr>
          <p:spPr bwMode="gray">
            <a:xfrm>
              <a:off x="4598387" y="2104289"/>
              <a:ext cx="2900998" cy="2928636"/>
            </a:xfrm>
            <a:prstGeom prst="blockArc">
              <a:avLst>
                <a:gd name="adj1" fmla="val 15862739"/>
                <a:gd name="adj2" fmla="val 3975020"/>
                <a:gd name="adj3" fmla="val 1386"/>
              </a:avLst>
            </a:prstGeom>
            <a:solidFill>
              <a:schemeClr val="accent2"/>
            </a:solidFill>
            <a:ln w="19050" algn="ctr">
              <a:noFill/>
              <a:miter lim="800000"/>
              <a:headEnd/>
              <a:tailEnd/>
            </a:ln>
          </p:spPr>
          <p:txBody>
            <a:bodyPr wrap="square" lIns="33502" tIns="33502" rIns="33502" bIns="33502" rtlCol="0" anchor="ctr"/>
            <a:lstStyle/>
            <a:p>
              <a:pPr algn="ctr" defTabSz="459475">
                <a:lnSpc>
                  <a:spcPct val="106000"/>
                </a:lnSpc>
              </a:pPr>
              <a:endParaRPr lang="en-US" sz="603" b="1" dirty="0">
                <a:solidFill>
                  <a:prstClr val="black"/>
                </a:solidFill>
              </a:endParaRPr>
            </a:p>
          </p:txBody>
        </p:sp>
        <p:grpSp>
          <p:nvGrpSpPr>
            <p:cNvPr id="41" name="Group 40">
              <a:extLst>
                <a:ext uri="{FF2B5EF4-FFF2-40B4-BE49-F238E27FC236}">
                  <a16:creationId xmlns:a16="http://schemas.microsoft.com/office/drawing/2014/main" id="{D2E53300-20DD-724F-9456-0DD5CA36E523}"/>
                </a:ext>
              </a:extLst>
            </p:cNvPr>
            <p:cNvGrpSpPr/>
            <p:nvPr/>
          </p:nvGrpSpPr>
          <p:grpSpPr>
            <a:xfrm>
              <a:off x="3971005" y="3355259"/>
              <a:ext cx="422452" cy="426475"/>
              <a:chOff x="2905092" y="2438668"/>
              <a:chExt cx="367982" cy="367982"/>
            </a:xfrm>
            <a:solidFill>
              <a:schemeClr val="accent4"/>
            </a:solidFill>
          </p:grpSpPr>
          <p:sp>
            <p:nvSpPr>
              <p:cNvPr id="42" name="Freeform 547">
                <a:extLst>
                  <a:ext uri="{FF2B5EF4-FFF2-40B4-BE49-F238E27FC236}">
                    <a16:creationId xmlns:a16="http://schemas.microsoft.com/office/drawing/2014/main" id="{6A8E83F7-1F35-1444-8FC0-4AB43FAD8E37}"/>
                  </a:ext>
                </a:extLst>
              </p:cNvPr>
              <p:cNvSpPr>
                <a:spLocks noEditPoints="1"/>
              </p:cNvSpPr>
              <p:nvPr/>
            </p:nvSpPr>
            <p:spPr bwMode="auto">
              <a:xfrm>
                <a:off x="2905092" y="2438668"/>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grpSp>
            <p:nvGrpSpPr>
              <p:cNvPr id="43" name="Group 42">
                <a:extLst>
                  <a:ext uri="{FF2B5EF4-FFF2-40B4-BE49-F238E27FC236}">
                    <a16:creationId xmlns:a16="http://schemas.microsoft.com/office/drawing/2014/main" id="{66708197-8B89-0549-957E-04E597ACD0B5}"/>
                  </a:ext>
                </a:extLst>
              </p:cNvPr>
              <p:cNvGrpSpPr/>
              <p:nvPr/>
            </p:nvGrpSpPr>
            <p:grpSpPr>
              <a:xfrm>
                <a:off x="2971937" y="2504894"/>
                <a:ext cx="233812" cy="236475"/>
                <a:chOff x="12509498" y="6391279"/>
                <a:chExt cx="555637" cy="561965"/>
              </a:xfrm>
              <a:grpFill/>
            </p:grpSpPr>
            <p:sp>
              <p:nvSpPr>
                <p:cNvPr id="44" name="Freeform 564">
                  <a:extLst>
                    <a:ext uri="{FF2B5EF4-FFF2-40B4-BE49-F238E27FC236}">
                      <a16:creationId xmlns:a16="http://schemas.microsoft.com/office/drawing/2014/main" id="{902045C6-97DB-144F-B5DB-2FD44ED39620}"/>
                    </a:ext>
                  </a:extLst>
                </p:cNvPr>
                <p:cNvSpPr>
                  <a:spLocks noEditPoints="1"/>
                </p:cNvSpPr>
                <p:nvPr/>
              </p:nvSpPr>
              <p:spPr bwMode="auto">
                <a:xfrm>
                  <a:off x="12566650" y="6610350"/>
                  <a:ext cx="73025" cy="285750"/>
                </a:xfrm>
                <a:custGeom>
                  <a:avLst/>
                  <a:gdLst>
                    <a:gd name="T0" fmla="*/ 5 w 31"/>
                    <a:gd name="T1" fmla="*/ 0 h 120"/>
                    <a:gd name="T2" fmla="*/ 0 w 31"/>
                    <a:gd name="T3" fmla="*/ 5 h 120"/>
                    <a:gd name="T4" fmla="*/ 0 w 31"/>
                    <a:gd name="T5" fmla="*/ 115 h 120"/>
                    <a:gd name="T6" fmla="*/ 5 w 31"/>
                    <a:gd name="T7" fmla="*/ 120 h 120"/>
                    <a:gd name="T8" fmla="*/ 26 w 31"/>
                    <a:gd name="T9" fmla="*/ 120 h 120"/>
                    <a:gd name="T10" fmla="*/ 31 w 31"/>
                    <a:gd name="T11" fmla="*/ 115 h 120"/>
                    <a:gd name="T12" fmla="*/ 31 w 31"/>
                    <a:gd name="T13" fmla="*/ 5 h 120"/>
                    <a:gd name="T14" fmla="*/ 26 w 31"/>
                    <a:gd name="T15" fmla="*/ 0 h 120"/>
                    <a:gd name="T16" fmla="*/ 5 w 31"/>
                    <a:gd name="T17" fmla="*/ 0 h 120"/>
                    <a:gd name="T18" fmla="*/ 21 w 31"/>
                    <a:gd name="T19" fmla="*/ 111 h 120"/>
                    <a:gd name="T20" fmla="*/ 9 w 31"/>
                    <a:gd name="T21" fmla="*/ 111 h 120"/>
                    <a:gd name="T22" fmla="*/ 9 w 31"/>
                    <a:gd name="T23" fmla="*/ 9 h 120"/>
                    <a:gd name="T24" fmla="*/ 21 w 31"/>
                    <a:gd name="T25" fmla="*/ 9 h 120"/>
                    <a:gd name="T26" fmla="*/ 21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6" y="120"/>
                        <a:pt x="26" y="120"/>
                        <a:pt x="26" y="120"/>
                      </a:cubicBezTo>
                      <a:cubicBezTo>
                        <a:pt x="29" y="120"/>
                        <a:pt x="31" y="118"/>
                        <a:pt x="31" y="115"/>
                      </a:cubicBezTo>
                      <a:cubicBezTo>
                        <a:pt x="31" y="5"/>
                        <a:pt x="31" y="5"/>
                        <a:pt x="31" y="5"/>
                      </a:cubicBezTo>
                      <a:cubicBezTo>
                        <a:pt x="31" y="2"/>
                        <a:pt x="29" y="0"/>
                        <a:pt x="26" y="0"/>
                      </a:cubicBezTo>
                      <a:lnTo>
                        <a:pt x="5" y="0"/>
                      </a:lnTo>
                      <a:close/>
                      <a:moveTo>
                        <a:pt x="21" y="111"/>
                      </a:moveTo>
                      <a:cubicBezTo>
                        <a:pt x="9" y="111"/>
                        <a:pt x="9" y="111"/>
                        <a:pt x="9" y="111"/>
                      </a:cubicBezTo>
                      <a:cubicBezTo>
                        <a:pt x="9" y="9"/>
                        <a:pt x="9" y="9"/>
                        <a:pt x="9" y="9"/>
                      </a:cubicBezTo>
                      <a:cubicBezTo>
                        <a:pt x="21" y="9"/>
                        <a:pt x="21" y="9"/>
                        <a:pt x="21" y="9"/>
                      </a:cubicBezTo>
                      <a:lnTo>
                        <a:pt x="21"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45" name="Freeform 565">
                  <a:extLst>
                    <a:ext uri="{FF2B5EF4-FFF2-40B4-BE49-F238E27FC236}">
                      <a16:creationId xmlns:a16="http://schemas.microsoft.com/office/drawing/2014/main" id="{8E4477E1-B3F3-3141-ADBA-0F5CF53EDFA4}"/>
                    </a:ext>
                  </a:extLst>
                </p:cNvPr>
                <p:cNvSpPr>
                  <a:spLocks noEditPoints="1"/>
                </p:cNvSpPr>
                <p:nvPr/>
              </p:nvSpPr>
              <p:spPr bwMode="auto">
                <a:xfrm>
                  <a:off x="12692063" y="6610350"/>
                  <a:ext cx="73025" cy="285750"/>
                </a:xfrm>
                <a:custGeom>
                  <a:avLst/>
                  <a:gdLst>
                    <a:gd name="T0" fmla="*/ 5 w 31"/>
                    <a:gd name="T1" fmla="*/ 0 h 120"/>
                    <a:gd name="T2" fmla="*/ 0 w 31"/>
                    <a:gd name="T3" fmla="*/ 5 h 120"/>
                    <a:gd name="T4" fmla="*/ 0 w 31"/>
                    <a:gd name="T5" fmla="*/ 115 h 120"/>
                    <a:gd name="T6" fmla="*/ 5 w 31"/>
                    <a:gd name="T7" fmla="*/ 120 h 120"/>
                    <a:gd name="T8" fmla="*/ 26 w 31"/>
                    <a:gd name="T9" fmla="*/ 120 h 120"/>
                    <a:gd name="T10" fmla="*/ 31 w 31"/>
                    <a:gd name="T11" fmla="*/ 115 h 120"/>
                    <a:gd name="T12" fmla="*/ 31 w 31"/>
                    <a:gd name="T13" fmla="*/ 5 h 120"/>
                    <a:gd name="T14" fmla="*/ 26 w 31"/>
                    <a:gd name="T15" fmla="*/ 0 h 120"/>
                    <a:gd name="T16" fmla="*/ 5 w 31"/>
                    <a:gd name="T17" fmla="*/ 0 h 120"/>
                    <a:gd name="T18" fmla="*/ 22 w 31"/>
                    <a:gd name="T19" fmla="*/ 111 h 120"/>
                    <a:gd name="T20" fmla="*/ 10 w 31"/>
                    <a:gd name="T21" fmla="*/ 111 h 120"/>
                    <a:gd name="T22" fmla="*/ 10 w 31"/>
                    <a:gd name="T23" fmla="*/ 9 h 120"/>
                    <a:gd name="T24" fmla="*/ 22 w 31"/>
                    <a:gd name="T25" fmla="*/ 9 h 120"/>
                    <a:gd name="T26" fmla="*/ 22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6" y="120"/>
                        <a:pt x="26" y="120"/>
                        <a:pt x="26" y="120"/>
                      </a:cubicBezTo>
                      <a:cubicBezTo>
                        <a:pt x="29" y="120"/>
                        <a:pt x="31" y="118"/>
                        <a:pt x="31" y="115"/>
                      </a:cubicBezTo>
                      <a:cubicBezTo>
                        <a:pt x="31" y="5"/>
                        <a:pt x="31" y="5"/>
                        <a:pt x="31" y="5"/>
                      </a:cubicBezTo>
                      <a:cubicBezTo>
                        <a:pt x="31" y="2"/>
                        <a:pt x="29" y="0"/>
                        <a:pt x="26" y="0"/>
                      </a:cubicBezTo>
                      <a:lnTo>
                        <a:pt x="5" y="0"/>
                      </a:lnTo>
                      <a:close/>
                      <a:moveTo>
                        <a:pt x="22" y="111"/>
                      </a:moveTo>
                      <a:cubicBezTo>
                        <a:pt x="10" y="111"/>
                        <a:pt x="10" y="111"/>
                        <a:pt x="10" y="111"/>
                      </a:cubicBezTo>
                      <a:cubicBezTo>
                        <a:pt x="10" y="9"/>
                        <a:pt x="10" y="9"/>
                        <a:pt x="10" y="9"/>
                      </a:cubicBezTo>
                      <a:cubicBezTo>
                        <a:pt x="22" y="9"/>
                        <a:pt x="22" y="9"/>
                        <a:pt x="22" y="9"/>
                      </a:cubicBezTo>
                      <a:lnTo>
                        <a:pt x="22"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46" name="Freeform 566">
                  <a:extLst>
                    <a:ext uri="{FF2B5EF4-FFF2-40B4-BE49-F238E27FC236}">
                      <a16:creationId xmlns:a16="http://schemas.microsoft.com/office/drawing/2014/main" id="{A04F290B-3795-AB48-AAD1-2D1701C1C843}"/>
                    </a:ext>
                  </a:extLst>
                </p:cNvPr>
                <p:cNvSpPr>
                  <a:spLocks noEditPoints="1"/>
                </p:cNvSpPr>
                <p:nvPr/>
              </p:nvSpPr>
              <p:spPr bwMode="auto">
                <a:xfrm>
                  <a:off x="12817475" y="6610350"/>
                  <a:ext cx="74612" cy="285750"/>
                </a:xfrm>
                <a:custGeom>
                  <a:avLst/>
                  <a:gdLst>
                    <a:gd name="T0" fmla="*/ 4 w 31"/>
                    <a:gd name="T1" fmla="*/ 0 h 120"/>
                    <a:gd name="T2" fmla="*/ 0 w 31"/>
                    <a:gd name="T3" fmla="*/ 5 h 120"/>
                    <a:gd name="T4" fmla="*/ 0 w 31"/>
                    <a:gd name="T5" fmla="*/ 115 h 120"/>
                    <a:gd name="T6" fmla="*/ 4 w 31"/>
                    <a:gd name="T7" fmla="*/ 120 h 120"/>
                    <a:gd name="T8" fmla="*/ 26 w 31"/>
                    <a:gd name="T9" fmla="*/ 120 h 120"/>
                    <a:gd name="T10" fmla="*/ 31 w 31"/>
                    <a:gd name="T11" fmla="*/ 115 h 120"/>
                    <a:gd name="T12" fmla="*/ 31 w 31"/>
                    <a:gd name="T13" fmla="*/ 5 h 120"/>
                    <a:gd name="T14" fmla="*/ 26 w 31"/>
                    <a:gd name="T15" fmla="*/ 0 h 120"/>
                    <a:gd name="T16" fmla="*/ 4 w 31"/>
                    <a:gd name="T17" fmla="*/ 0 h 120"/>
                    <a:gd name="T18" fmla="*/ 21 w 31"/>
                    <a:gd name="T19" fmla="*/ 111 h 120"/>
                    <a:gd name="T20" fmla="*/ 9 w 31"/>
                    <a:gd name="T21" fmla="*/ 111 h 120"/>
                    <a:gd name="T22" fmla="*/ 9 w 31"/>
                    <a:gd name="T23" fmla="*/ 9 h 120"/>
                    <a:gd name="T24" fmla="*/ 21 w 31"/>
                    <a:gd name="T25" fmla="*/ 9 h 120"/>
                    <a:gd name="T26" fmla="*/ 21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4" y="0"/>
                      </a:moveTo>
                      <a:cubicBezTo>
                        <a:pt x="2" y="0"/>
                        <a:pt x="0" y="2"/>
                        <a:pt x="0" y="5"/>
                      </a:cubicBezTo>
                      <a:cubicBezTo>
                        <a:pt x="0" y="115"/>
                        <a:pt x="0" y="115"/>
                        <a:pt x="0" y="115"/>
                      </a:cubicBezTo>
                      <a:cubicBezTo>
                        <a:pt x="0" y="118"/>
                        <a:pt x="2" y="120"/>
                        <a:pt x="4" y="120"/>
                      </a:cubicBezTo>
                      <a:cubicBezTo>
                        <a:pt x="26" y="120"/>
                        <a:pt x="26" y="120"/>
                        <a:pt x="26" y="120"/>
                      </a:cubicBezTo>
                      <a:cubicBezTo>
                        <a:pt x="28" y="120"/>
                        <a:pt x="31" y="118"/>
                        <a:pt x="31" y="115"/>
                      </a:cubicBezTo>
                      <a:cubicBezTo>
                        <a:pt x="31" y="5"/>
                        <a:pt x="31" y="5"/>
                        <a:pt x="31" y="5"/>
                      </a:cubicBezTo>
                      <a:cubicBezTo>
                        <a:pt x="31" y="2"/>
                        <a:pt x="28" y="0"/>
                        <a:pt x="26" y="0"/>
                      </a:cubicBezTo>
                      <a:lnTo>
                        <a:pt x="4" y="0"/>
                      </a:lnTo>
                      <a:close/>
                      <a:moveTo>
                        <a:pt x="21" y="111"/>
                      </a:moveTo>
                      <a:cubicBezTo>
                        <a:pt x="9" y="111"/>
                        <a:pt x="9" y="111"/>
                        <a:pt x="9" y="111"/>
                      </a:cubicBezTo>
                      <a:cubicBezTo>
                        <a:pt x="9" y="9"/>
                        <a:pt x="9" y="9"/>
                        <a:pt x="9" y="9"/>
                      </a:cubicBezTo>
                      <a:cubicBezTo>
                        <a:pt x="21" y="9"/>
                        <a:pt x="21" y="9"/>
                        <a:pt x="21" y="9"/>
                      </a:cubicBezTo>
                      <a:lnTo>
                        <a:pt x="21"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47" name="Freeform 567">
                  <a:extLst>
                    <a:ext uri="{FF2B5EF4-FFF2-40B4-BE49-F238E27FC236}">
                      <a16:creationId xmlns:a16="http://schemas.microsoft.com/office/drawing/2014/main" id="{7ACC4D3A-EBB4-CF40-A5DA-6FCFE7A0BD90}"/>
                    </a:ext>
                  </a:extLst>
                </p:cNvPr>
                <p:cNvSpPr>
                  <a:spLocks noEditPoints="1"/>
                </p:cNvSpPr>
                <p:nvPr/>
              </p:nvSpPr>
              <p:spPr bwMode="auto">
                <a:xfrm>
                  <a:off x="12944475" y="6610350"/>
                  <a:ext cx="73025" cy="285750"/>
                </a:xfrm>
                <a:custGeom>
                  <a:avLst/>
                  <a:gdLst>
                    <a:gd name="T0" fmla="*/ 5 w 31"/>
                    <a:gd name="T1" fmla="*/ 0 h 120"/>
                    <a:gd name="T2" fmla="*/ 0 w 31"/>
                    <a:gd name="T3" fmla="*/ 5 h 120"/>
                    <a:gd name="T4" fmla="*/ 0 w 31"/>
                    <a:gd name="T5" fmla="*/ 115 h 120"/>
                    <a:gd name="T6" fmla="*/ 5 w 31"/>
                    <a:gd name="T7" fmla="*/ 120 h 120"/>
                    <a:gd name="T8" fmla="*/ 27 w 31"/>
                    <a:gd name="T9" fmla="*/ 120 h 120"/>
                    <a:gd name="T10" fmla="*/ 31 w 31"/>
                    <a:gd name="T11" fmla="*/ 115 h 120"/>
                    <a:gd name="T12" fmla="*/ 31 w 31"/>
                    <a:gd name="T13" fmla="*/ 5 h 120"/>
                    <a:gd name="T14" fmla="*/ 27 w 31"/>
                    <a:gd name="T15" fmla="*/ 0 h 120"/>
                    <a:gd name="T16" fmla="*/ 5 w 31"/>
                    <a:gd name="T17" fmla="*/ 0 h 120"/>
                    <a:gd name="T18" fmla="*/ 22 w 31"/>
                    <a:gd name="T19" fmla="*/ 111 h 120"/>
                    <a:gd name="T20" fmla="*/ 10 w 31"/>
                    <a:gd name="T21" fmla="*/ 111 h 120"/>
                    <a:gd name="T22" fmla="*/ 10 w 31"/>
                    <a:gd name="T23" fmla="*/ 9 h 120"/>
                    <a:gd name="T24" fmla="*/ 22 w 31"/>
                    <a:gd name="T25" fmla="*/ 9 h 120"/>
                    <a:gd name="T26" fmla="*/ 22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7" y="120"/>
                        <a:pt x="27" y="120"/>
                        <a:pt x="27" y="120"/>
                      </a:cubicBezTo>
                      <a:cubicBezTo>
                        <a:pt x="29" y="120"/>
                        <a:pt x="31" y="118"/>
                        <a:pt x="31" y="115"/>
                      </a:cubicBezTo>
                      <a:cubicBezTo>
                        <a:pt x="31" y="5"/>
                        <a:pt x="31" y="5"/>
                        <a:pt x="31" y="5"/>
                      </a:cubicBezTo>
                      <a:cubicBezTo>
                        <a:pt x="31" y="2"/>
                        <a:pt x="29" y="0"/>
                        <a:pt x="27" y="0"/>
                      </a:cubicBezTo>
                      <a:lnTo>
                        <a:pt x="5" y="0"/>
                      </a:lnTo>
                      <a:close/>
                      <a:moveTo>
                        <a:pt x="22" y="111"/>
                      </a:moveTo>
                      <a:cubicBezTo>
                        <a:pt x="10" y="111"/>
                        <a:pt x="10" y="111"/>
                        <a:pt x="10" y="111"/>
                      </a:cubicBezTo>
                      <a:cubicBezTo>
                        <a:pt x="10" y="9"/>
                        <a:pt x="10" y="9"/>
                        <a:pt x="10" y="9"/>
                      </a:cubicBezTo>
                      <a:cubicBezTo>
                        <a:pt x="22" y="9"/>
                        <a:pt x="22" y="9"/>
                        <a:pt x="22" y="9"/>
                      </a:cubicBezTo>
                      <a:lnTo>
                        <a:pt x="22"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48" name="Freeform 568">
                  <a:extLst>
                    <a:ext uri="{FF2B5EF4-FFF2-40B4-BE49-F238E27FC236}">
                      <a16:creationId xmlns:a16="http://schemas.microsoft.com/office/drawing/2014/main" id="{06AC91B5-8DB8-2B47-BEA0-D60350C64137}"/>
                    </a:ext>
                  </a:extLst>
                </p:cNvPr>
                <p:cNvSpPr>
                  <a:spLocks noEditPoints="1"/>
                </p:cNvSpPr>
                <p:nvPr/>
              </p:nvSpPr>
              <p:spPr bwMode="auto">
                <a:xfrm>
                  <a:off x="12509498" y="6391279"/>
                  <a:ext cx="555625" cy="179387"/>
                </a:xfrm>
                <a:custGeom>
                  <a:avLst/>
                  <a:gdLst>
                    <a:gd name="T0" fmla="*/ 5 w 234"/>
                    <a:gd name="T1" fmla="*/ 75 h 75"/>
                    <a:gd name="T2" fmla="*/ 230 w 234"/>
                    <a:gd name="T3" fmla="*/ 75 h 75"/>
                    <a:gd name="T4" fmla="*/ 230 w 234"/>
                    <a:gd name="T5" fmla="*/ 75 h 75"/>
                    <a:gd name="T6" fmla="*/ 234 w 234"/>
                    <a:gd name="T7" fmla="*/ 70 h 75"/>
                    <a:gd name="T8" fmla="*/ 231 w 234"/>
                    <a:gd name="T9" fmla="*/ 66 h 75"/>
                    <a:gd name="T10" fmla="*/ 120 w 234"/>
                    <a:gd name="T11" fmla="*/ 1 h 75"/>
                    <a:gd name="T12" fmla="*/ 115 w 234"/>
                    <a:gd name="T13" fmla="*/ 1 h 75"/>
                    <a:gd name="T14" fmla="*/ 3 w 234"/>
                    <a:gd name="T15" fmla="*/ 66 h 75"/>
                    <a:gd name="T16" fmla="*/ 1 w 234"/>
                    <a:gd name="T17" fmla="*/ 71 h 75"/>
                    <a:gd name="T18" fmla="*/ 5 w 234"/>
                    <a:gd name="T19" fmla="*/ 75 h 75"/>
                    <a:gd name="T20" fmla="*/ 118 w 234"/>
                    <a:gd name="T21" fmla="*/ 11 h 75"/>
                    <a:gd name="T22" fmla="*/ 212 w 234"/>
                    <a:gd name="T23" fmla="*/ 66 h 75"/>
                    <a:gd name="T24" fmla="*/ 23 w 234"/>
                    <a:gd name="T25" fmla="*/ 66 h 75"/>
                    <a:gd name="T26" fmla="*/ 118 w 234"/>
                    <a:gd name="T2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 h="75">
                      <a:moveTo>
                        <a:pt x="5" y="75"/>
                      </a:moveTo>
                      <a:cubicBezTo>
                        <a:pt x="230" y="75"/>
                        <a:pt x="230" y="75"/>
                        <a:pt x="230" y="75"/>
                      </a:cubicBezTo>
                      <a:cubicBezTo>
                        <a:pt x="230" y="75"/>
                        <a:pt x="230" y="75"/>
                        <a:pt x="230" y="75"/>
                      </a:cubicBezTo>
                      <a:cubicBezTo>
                        <a:pt x="232" y="75"/>
                        <a:pt x="234" y="73"/>
                        <a:pt x="234" y="70"/>
                      </a:cubicBezTo>
                      <a:cubicBezTo>
                        <a:pt x="234" y="68"/>
                        <a:pt x="233" y="67"/>
                        <a:pt x="231" y="66"/>
                      </a:cubicBezTo>
                      <a:cubicBezTo>
                        <a:pt x="120" y="1"/>
                        <a:pt x="120" y="1"/>
                        <a:pt x="120" y="1"/>
                      </a:cubicBezTo>
                      <a:cubicBezTo>
                        <a:pt x="118" y="0"/>
                        <a:pt x="117" y="0"/>
                        <a:pt x="115" y="1"/>
                      </a:cubicBezTo>
                      <a:cubicBezTo>
                        <a:pt x="3" y="66"/>
                        <a:pt x="3" y="66"/>
                        <a:pt x="3" y="66"/>
                      </a:cubicBezTo>
                      <a:cubicBezTo>
                        <a:pt x="1" y="67"/>
                        <a:pt x="0" y="69"/>
                        <a:pt x="1" y="71"/>
                      </a:cubicBezTo>
                      <a:cubicBezTo>
                        <a:pt x="1" y="74"/>
                        <a:pt x="3" y="75"/>
                        <a:pt x="5" y="75"/>
                      </a:cubicBezTo>
                      <a:close/>
                      <a:moveTo>
                        <a:pt x="118" y="11"/>
                      </a:moveTo>
                      <a:cubicBezTo>
                        <a:pt x="212" y="66"/>
                        <a:pt x="212" y="66"/>
                        <a:pt x="212" y="66"/>
                      </a:cubicBezTo>
                      <a:cubicBezTo>
                        <a:pt x="23" y="66"/>
                        <a:pt x="23" y="66"/>
                        <a:pt x="23" y="66"/>
                      </a:cubicBezTo>
                      <a:lnTo>
                        <a:pt x="118"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49" name="Freeform 569">
                  <a:extLst>
                    <a:ext uri="{FF2B5EF4-FFF2-40B4-BE49-F238E27FC236}">
                      <a16:creationId xmlns:a16="http://schemas.microsoft.com/office/drawing/2014/main" id="{8C1E542C-D290-B54C-BB16-F7B507C7B478}"/>
                    </a:ext>
                  </a:extLst>
                </p:cNvPr>
                <p:cNvSpPr>
                  <a:spLocks/>
                </p:cNvSpPr>
                <p:nvPr/>
              </p:nvSpPr>
              <p:spPr bwMode="auto">
                <a:xfrm>
                  <a:off x="12511097" y="6931020"/>
                  <a:ext cx="554038" cy="22224"/>
                </a:xfrm>
                <a:custGeom>
                  <a:avLst/>
                  <a:gdLst>
                    <a:gd name="T0" fmla="*/ 229 w 233"/>
                    <a:gd name="T1" fmla="*/ 0 h 9"/>
                    <a:gd name="T2" fmla="*/ 4 w 233"/>
                    <a:gd name="T3" fmla="*/ 0 h 9"/>
                    <a:gd name="T4" fmla="*/ 0 w 233"/>
                    <a:gd name="T5" fmla="*/ 5 h 9"/>
                    <a:gd name="T6" fmla="*/ 4 w 233"/>
                    <a:gd name="T7" fmla="*/ 9 h 9"/>
                    <a:gd name="T8" fmla="*/ 229 w 233"/>
                    <a:gd name="T9" fmla="*/ 9 h 9"/>
                    <a:gd name="T10" fmla="*/ 233 w 233"/>
                    <a:gd name="T11" fmla="*/ 5 h 9"/>
                    <a:gd name="T12" fmla="*/ 229 w 2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33" h="9">
                      <a:moveTo>
                        <a:pt x="229" y="0"/>
                      </a:moveTo>
                      <a:cubicBezTo>
                        <a:pt x="4" y="0"/>
                        <a:pt x="4" y="0"/>
                        <a:pt x="4" y="0"/>
                      </a:cubicBezTo>
                      <a:cubicBezTo>
                        <a:pt x="2" y="0"/>
                        <a:pt x="0" y="2"/>
                        <a:pt x="0" y="5"/>
                      </a:cubicBezTo>
                      <a:cubicBezTo>
                        <a:pt x="0" y="7"/>
                        <a:pt x="2" y="9"/>
                        <a:pt x="4" y="9"/>
                      </a:cubicBezTo>
                      <a:cubicBezTo>
                        <a:pt x="229" y="9"/>
                        <a:pt x="229" y="9"/>
                        <a:pt x="229" y="9"/>
                      </a:cubicBezTo>
                      <a:cubicBezTo>
                        <a:pt x="231" y="9"/>
                        <a:pt x="233" y="7"/>
                        <a:pt x="233" y="5"/>
                      </a:cubicBezTo>
                      <a:cubicBezTo>
                        <a:pt x="233" y="2"/>
                        <a:pt x="231" y="0"/>
                        <a:pt x="2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50" name="Freeform 570">
                  <a:extLst>
                    <a:ext uri="{FF2B5EF4-FFF2-40B4-BE49-F238E27FC236}">
                      <a16:creationId xmlns:a16="http://schemas.microsoft.com/office/drawing/2014/main" id="{9FF64563-4E6B-AC4A-AB3C-BD4FFF4CE28A}"/>
                    </a:ext>
                  </a:extLst>
                </p:cNvPr>
                <p:cNvSpPr>
                  <a:spLocks noEditPoints="1"/>
                </p:cNvSpPr>
                <p:nvPr/>
              </p:nvSpPr>
              <p:spPr bwMode="auto">
                <a:xfrm>
                  <a:off x="12746038" y="6448425"/>
                  <a:ext cx="84137" cy="84138"/>
                </a:xfrm>
                <a:custGeom>
                  <a:avLst/>
                  <a:gdLst>
                    <a:gd name="T0" fmla="*/ 17 w 35"/>
                    <a:gd name="T1" fmla="*/ 0 h 35"/>
                    <a:gd name="T2" fmla="*/ 0 w 35"/>
                    <a:gd name="T3" fmla="*/ 18 h 35"/>
                    <a:gd name="T4" fmla="*/ 17 w 35"/>
                    <a:gd name="T5" fmla="*/ 35 h 35"/>
                    <a:gd name="T6" fmla="*/ 35 w 35"/>
                    <a:gd name="T7" fmla="*/ 18 h 35"/>
                    <a:gd name="T8" fmla="*/ 17 w 35"/>
                    <a:gd name="T9" fmla="*/ 0 h 35"/>
                    <a:gd name="T10" fmla="*/ 17 w 35"/>
                    <a:gd name="T11" fmla="*/ 26 h 35"/>
                    <a:gd name="T12" fmla="*/ 9 w 35"/>
                    <a:gd name="T13" fmla="*/ 18 h 35"/>
                    <a:gd name="T14" fmla="*/ 17 w 35"/>
                    <a:gd name="T15" fmla="*/ 10 h 35"/>
                    <a:gd name="T16" fmla="*/ 25 w 35"/>
                    <a:gd name="T17" fmla="*/ 18 h 35"/>
                    <a:gd name="T18" fmla="*/ 17 w 35"/>
                    <a:gd name="T1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0"/>
                      </a:moveTo>
                      <a:cubicBezTo>
                        <a:pt x="8" y="0"/>
                        <a:pt x="0" y="8"/>
                        <a:pt x="0" y="18"/>
                      </a:cubicBezTo>
                      <a:cubicBezTo>
                        <a:pt x="0" y="27"/>
                        <a:pt x="8" y="35"/>
                        <a:pt x="17" y="35"/>
                      </a:cubicBezTo>
                      <a:cubicBezTo>
                        <a:pt x="27" y="35"/>
                        <a:pt x="35" y="27"/>
                        <a:pt x="35" y="18"/>
                      </a:cubicBezTo>
                      <a:cubicBezTo>
                        <a:pt x="35" y="8"/>
                        <a:pt x="27" y="0"/>
                        <a:pt x="17" y="0"/>
                      </a:cubicBezTo>
                      <a:close/>
                      <a:moveTo>
                        <a:pt x="17" y="26"/>
                      </a:moveTo>
                      <a:cubicBezTo>
                        <a:pt x="13" y="26"/>
                        <a:pt x="9" y="22"/>
                        <a:pt x="9" y="18"/>
                      </a:cubicBezTo>
                      <a:cubicBezTo>
                        <a:pt x="9" y="13"/>
                        <a:pt x="13" y="10"/>
                        <a:pt x="17" y="10"/>
                      </a:cubicBezTo>
                      <a:cubicBezTo>
                        <a:pt x="22" y="10"/>
                        <a:pt x="25" y="13"/>
                        <a:pt x="25" y="18"/>
                      </a:cubicBezTo>
                      <a:cubicBezTo>
                        <a:pt x="25" y="22"/>
                        <a:pt x="22" y="26"/>
                        <a:pt x="17"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grpSp>
        </p:grpSp>
        <p:grpSp>
          <p:nvGrpSpPr>
            <p:cNvPr id="51" name="Group 795">
              <a:extLst>
                <a:ext uri="{FF2B5EF4-FFF2-40B4-BE49-F238E27FC236}">
                  <a16:creationId xmlns:a16="http://schemas.microsoft.com/office/drawing/2014/main" id="{E7894628-69C4-0747-8495-C651E3F1169F}"/>
                </a:ext>
              </a:extLst>
            </p:cNvPr>
            <p:cNvGrpSpPr>
              <a:grpSpLocks noChangeAspect="1"/>
            </p:cNvGrpSpPr>
            <p:nvPr/>
          </p:nvGrpSpPr>
          <p:grpSpPr bwMode="auto">
            <a:xfrm>
              <a:off x="4322799" y="4459404"/>
              <a:ext cx="423647" cy="427679"/>
              <a:chOff x="4288" y="3084"/>
              <a:chExt cx="340" cy="340"/>
            </a:xfrm>
            <a:solidFill>
              <a:schemeClr val="accent4"/>
            </a:solidFill>
          </p:grpSpPr>
          <p:sp>
            <p:nvSpPr>
              <p:cNvPr id="52" name="Freeform 796">
                <a:extLst>
                  <a:ext uri="{FF2B5EF4-FFF2-40B4-BE49-F238E27FC236}">
                    <a16:creationId xmlns:a16="http://schemas.microsoft.com/office/drawing/2014/main" id="{02920CF9-DF33-3E4E-B51B-DD59EB6E6E76}"/>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2" name="Freeform 797">
                <a:extLst>
                  <a:ext uri="{FF2B5EF4-FFF2-40B4-BE49-F238E27FC236}">
                    <a16:creationId xmlns:a16="http://schemas.microsoft.com/office/drawing/2014/main" id="{50AA1CD4-2D91-DC48-A480-B883AF29436C}"/>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3" name="Freeform 798">
                <a:extLst>
                  <a:ext uri="{FF2B5EF4-FFF2-40B4-BE49-F238E27FC236}">
                    <a16:creationId xmlns:a16="http://schemas.microsoft.com/office/drawing/2014/main" id="{95DEAF6F-69BA-2748-881C-6EC77DE4F9CB}"/>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4" name="Freeform 799">
                <a:extLst>
                  <a:ext uri="{FF2B5EF4-FFF2-40B4-BE49-F238E27FC236}">
                    <a16:creationId xmlns:a16="http://schemas.microsoft.com/office/drawing/2014/main" id="{5FBAF7E1-ED32-7F48-9F23-8AAFCF9A59D6}"/>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grpSp>
        <p:grpSp>
          <p:nvGrpSpPr>
            <p:cNvPr id="75" name="Group 795">
              <a:extLst>
                <a:ext uri="{FF2B5EF4-FFF2-40B4-BE49-F238E27FC236}">
                  <a16:creationId xmlns:a16="http://schemas.microsoft.com/office/drawing/2014/main" id="{859076A2-477E-BA43-A52B-1DF65A5D583D}"/>
                </a:ext>
              </a:extLst>
            </p:cNvPr>
            <p:cNvGrpSpPr>
              <a:grpSpLocks noChangeAspect="1"/>
            </p:cNvGrpSpPr>
            <p:nvPr/>
          </p:nvGrpSpPr>
          <p:grpSpPr bwMode="auto">
            <a:xfrm>
              <a:off x="4929300" y="1768060"/>
              <a:ext cx="423647" cy="427679"/>
              <a:chOff x="4288" y="3084"/>
              <a:chExt cx="340" cy="340"/>
            </a:xfrm>
            <a:solidFill>
              <a:schemeClr val="accent4"/>
            </a:solidFill>
          </p:grpSpPr>
          <p:sp>
            <p:nvSpPr>
              <p:cNvPr id="76" name="Freeform 796">
                <a:extLst>
                  <a:ext uri="{FF2B5EF4-FFF2-40B4-BE49-F238E27FC236}">
                    <a16:creationId xmlns:a16="http://schemas.microsoft.com/office/drawing/2014/main" id="{F5243B80-C678-6542-8E74-B8CD8124F274}"/>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7" name="Freeform 797">
                <a:extLst>
                  <a:ext uri="{FF2B5EF4-FFF2-40B4-BE49-F238E27FC236}">
                    <a16:creationId xmlns:a16="http://schemas.microsoft.com/office/drawing/2014/main" id="{4C5A94E1-1F7B-7746-BE5E-F185AEC3A02C}"/>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8" name="Freeform 798">
                <a:extLst>
                  <a:ext uri="{FF2B5EF4-FFF2-40B4-BE49-F238E27FC236}">
                    <a16:creationId xmlns:a16="http://schemas.microsoft.com/office/drawing/2014/main" id="{A924C066-57B1-D54D-A56B-5AA0DE9B63CD}"/>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9" name="Freeform 799">
                <a:extLst>
                  <a:ext uri="{FF2B5EF4-FFF2-40B4-BE49-F238E27FC236}">
                    <a16:creationId xmlns:a16="http://schemas.microsoft.com/office/drawing/2014/main" id="{6FC0D87E-2BFA-A043-98AC-8753F34A3E0B}"/>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grpSp>
        <p:grpSp>
          <p:nvGrpSpPr>
            <p:cNvPr id="80" name="Group 79">
              <a:extLst>
                <a:ext uri="{FF2B5EF4-FFF2-40B4-BE49-F238E27FC236}">
                  <a16:creationId xmlns:a16="http://schemas.microsoft.com/office/drawing/2014/main" id="{16E7F4A7-FD0C-0B44-A754-F9B946D38C63}"/>
                </a:ext>
              </a:extLst>
            </p:cNvPr>
            <p:cNvGrpSpPr/>
            <p:nvPr/>
          </p:nvGrpSpPr>
          <p:grpSpPr>
            <a:xfrm>
              <a:off x="5019314" y="2346119"/>
              <a:ext cx="2214171" cy="1690482"/>
              <a:chOff x="9287413" y="1855065"/>
              <a:chExt cx="2685380" cy="2030894"/>
            </a:xfrm>
            <a:solidFill>
              <a:schemeClr val="accent4"/>
            </a:solidFill>
          </p:grpSpPr>
          <p:sp>
            <p:nvSpPr>
              <p:cNvPr id="81" name="Freeform 146">
                <a:extLst>
                  <a:ext uri="{FF2B5EF4-FFF2-40B4-BE49-F238E27FC236}">
                    <a16:creationId xmlns:a16="http://schemas.microsoft.com/office/drawing/2014/main" id="{4E69B5FE-4C3D-334D-8220-4257955737B0}"/>
                  </a:ext>
                </a:extLst>
              </p:cNvPr>
              <p:cNvSpPr>
                <a:spLocks/>
              </p:cNvSpPr>
              <p:nvPr/>
            </p:nvSpPr>
            <p:spPr bwMode="auto">
              <a:xfrm>
                <a:off x="11171105" y="1990004"/>
                <a:ext cx="519113" cy="469900"/>
              </a:xfrm>
              <a:custGeom>
                <a:avLst/>
                <a:gdLst>
                  <a:gd name="T0" fmla="*/ 0 w 138"/>
                  <a:gd name="T1" fmla="*/ 30 h 125"/>
                  <a:gd name="T2" fmla="*/ 111 w 138"/>
                  <a:gd name="T3" fmla="*/ 125 h 125"/>
                  <a:gd name="T4" fmla="*/ 138 w 138"/>
                  <a:gd name="T5" fmla="*/ 104 h 125"/>
                  <a:gd name="T6" fmla="*/ 17 w 138"/>
                  <a:gd name="T7" fmla="*/ 0 h 125"/>
                  <a:gd name="T8" fmla="*/ 0 w 138"/>
                  <a:gd name="T9" fmla="*/ 30 h 125"/>
                </a:gdLst>
                <a:ahLst/>
                <a:cxnLst>
                  <a:cxn ang="0">
                    <a:pos x="T0" y="T1"/>
                  </a:cxn>
                  <a:cxn ang="0">
                    <a:pos x="T2" y="T3"/>
                  </a:cxn>
                  <a:cxn ang="0">
                    <a:pos x="T4" y="T5"/>
                  </a:cxn>
                  <a:cxn ang="0">
                    <a:pos x="T6" y="T7"/>
                  </a:cxn>
                  <a:cxn ang="0">
                    <a:pos x="T8" y="T9"/>
                  </a:cxn>
                </a:cxnLst>
                <a:rect l="0" t="0" r="r" b="b"/>
                <a:pathLst>
                  <a:path w="138" h="125">
                    <a:moveTo>
                      <a:pt x="0" y="30"/>
                    </a:moveTo>
                    <a:cubicBezTo>
                      <a:pt x="43" y="53"/>
                      <a:pt x="81" y="86"/>
                      <a:pt x="111" y="125"/>
                    </a:cubicBezTo>
                    <a:cubicBezTo>
                      <a:pt x="138" y="104"/>
                      <a:pt x="138" y="104"/>
                      <a:pt x="138" y="104"/>
                    </a:cubicBezTo>
                    <a:cubicBezTo>
                      <a:pt x="105" y="61"/>
                      <a:pt x="64" y="26"/>
                      <a:pt x="17" y="0"/>
                    </a:cubicBezTo>
                    <a:lnTo>
                      <a:pt x="0" y="30"/>
                    </a:lnTo>
                    <a:close/>
                  </a:path>
                </a:pathLst>
              </a:custGeom>
              <a:solidFill>
                <a:schemeClr val="accent2"/>
              </a:solidFill>
              <a:ln>
                <a:noFill/>
              </a:ln>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2" name="Freeform 147">
                <a:extLst>
                  <a:ext uri="{FF2B5EF4-FFF2-40B4-BE49-F238E27FC236}">
                    <a16:creationId xmlns:a16="http://schemas.microsoft.com/office/drawing/2014/main" id="{0C17AE50-95F7-464F-AD4A-CD03032F6F30}"/>
                  </a:ext>
                </a:extLst>
              </p:cNvPr>
              <p:cNvSpPr>
                <a:spLocks/>
              </p:cNvSpPr>
              <p:nvPr/>
            </p:nvSpPr>
            <p:spPr bwMode="auto">
              <a:xfrm>
                <a:off x="11806105" y="2863128"/>
                <a:ext cx="166688" cy="231775"/>
              </a:xfrm>
              <a:custGeom>
                <a:avLst/>
                <a:gdLst>
                  <a:gd name="T0" fmla="*/ 0 w 44"/>
                  <a:gd name="T1" fmla="*/ 9 h 62"/>
                  <a:gd name="T2" fmla="*/ 11 w 44"/>
                  <a:gd name="T3" fmla="*/ 62 h 62"/>
                  <a:gd name="T4" fmla="*/ 44 w 44"/>
                  <a:gd name="T5" fmla="*/ 58 h 62"/>
                  <a:gd name="T6" fmla="*/ 33 w 44"/>
                  <a:gd name="T7" fmla="*/ 0 h 62"/>
                  <a:gd name="T8" fmla="*/ 0 w 44"/>
                  <a:gd name="T9" fmla="*/ 9 h 62"/>
                </a:gdLst>
                <a:ahLst/>
                <a:cxnLst>
                  <a:cxn ang="0">
                    <a:pos x="T0" y="T1"/>
                  </a:cxn>
                  <a:cxn ang="0">
                    <a:pos x="T2" y="T3"/>
                  </a:cxn>
                  <a:cxn ang="0">
                    <a:pos x="T4" y="T5"/>
                  </a:cxn>
                  <a:cxn ang="0">
                    <a:pos x="T6" y="T7"/>
                  </a:cxn>
                  <a:cxn ang="0">
                    <a:pos x="T8" y="T9"/>
                  </a:cxn>
                </a:cxnLst>
                <a:rect l="0" t="0" r="r" b="b"/>
                <a:pathLst>
                  <a:path w="44" h="62">
                    <a:moveTo>
                      <a:pt x="0" y="9"/>
                    </a:moveTo>
                    <a:cubicBezTo>
                      <a:pt x="5" y="26"/>
                      <a:pt x="8" y="44"/>
                      <a:pt x="11" y="62"/>
                    </a:cubicBezTo>
                    <a:cubicBezTo>
                      <a:pt x="44" y="58"/>
                      <a:pt x="44" y="58"/>
                      <a:pt x="44" y="58"/>
                    </a:cubicBezTo>
                    <a:cubicBezTo>
                      <a:pt x="42" y="38"/>
                      <a:pt x="38" y="19"/>
                      <a:pt x="33" y="0"/>
                    </a:cubicBezTo>
                    <a:lnTo>
                      <a:pt x="0" y="9"/>
                    </a:lnTo>
                    <a:close/>
                  </a:path>
                </a:pathLst>
              </a:custGeom>
              <a:solidFill>
                <a:schemeClr val="accent2"/>
              </a:solidFill>
              <a:ln>
                <a:noFill/>
              </a:ln>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3" name="Freeform 148">
                <a:extLst>
                  <a:ext uri="{FF2B5EF4-FFF2-40B4-BE49-F238E27FC236}">
                    <a16:creationId xmlns:a16="http://schemas.microsoft.com/office/drawing/2014/main" id="{0841DC54-3B71-2D4E-A017-8CC8CE1EE3EF}"/>
                  </a:ext>
                </a:extLst>
              </p:cNvPr>
              <p:cNvSpPr>
                <a:spLocks/>
              </p:cNvSpPr>
              <p:nvPr/>
            </p:nvSpPr>
            <p:spPr bwMode="auto">
              <a:xfrm>
                <a:off x="10852016" y="1855065"/>
                <a:ext cx="239713" cy="184150"/>
              </a:xfrm>
              <a:custGeom>
                <a:avLst/>
                <a:gdLst>
                  <a:gd name="T0" fmla="*/ 0 w 64"/>
                  <a:gd name="T1" fmla="*/ 33 h 49"/>
                  <a:gd name="T2" fmla="*/ 51 w 64"/>
                  <a:gd name="T3" fmla="*/ 49 h 49"/>
                  <a:gd name="T4" fmla="*/ 64 w 64"/>
                  <a:gd name="T5" fmla="*/ 18 h 49"/>
                  <a:gd name="T6" fmla="*/ 8 w 64"/>
                  <a:gd name="T7" fmla="*/ 0 h 49"/>
                  <a:gd name="T8" fmla="*/ 0 w 64"/>
                  <a:gd name="T9" fmla="*/ 33 h 49"/>
                </a:gdLst>
                <a:ahLst/>
                <a:cxnLst>
                  <a:cxn ang="0">
                    <a:pos x="T0" y="T1"/>
                  </a:cxn>
                  <a:cxn ang="0">
                    <a:pos x="T2" y="T3"/>
                  </a:cxn>
                  <a:cxn ang="0">
                    <a:pos x="T4" y="T5"/>
                  </a:cxn>
                  <a:cxn ang="0">
                    <a:pos x="T6" y="T7"/>
                  </a:cxn>
                  <a:cxn ang="0">
                    <a:pos x="T8" y="T9"/>
                  </a:cxn>
                </a:cxnLst>
                <a:rect l="0" t="0" r="r" b="b"/>
                <a:pathLst>
                  <a:path w="64" h="49">
                    <a:moveTo>
                      <a:pt x="0" y="33"/>
                    </a:moveTo>
                    <a:cubicBezTo>
                      <a:pt x="17" y="37"/>
                      <a:pt x="35" y="42"/>
                      <a:pt x="51" y="49"/>
                    </a:cubicBezTo>
                    <a:cubicBezTo>
                      <a:pt x="64" y="18"/>
                      <a:pt x="64" y="18"/>
                      <a:pt x="64" y="18"/>
                    </a:cubicBezTo>
                    <a:cubicBezTo>
                      <a:pt x="46" y="10"/>
                      <a:pt x="28" y="4"/>
                      <a:pt x="8" y="0"/>
                    </a:cubicBezTo>
                    <a:lnTo>
                      <a:pt x="0" y="33"/>
                    </a:lnTo>
                    <a:close/>
                  </a:path>
                </a:pathLst>
              </a:custGeom>
              <a:solidFill>
                <a:schemeClr val="accent2"/>
              </a:solidFill>
              <a:ln>
                <a:noFill/>
              </a:ln>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4" name="Freeform 149">
                <a:extLst>
                  <a:ext uri="{FF2B5EF4-FFF2-40B4-BE49-F238E27FC236}">
                    <a16:creationId xmlns:a16="http://schemas.microsoft.com/office/drawing/2014/main" id="{F57DB9E9-6392-E347-BF0D-6FD204E3D9BC}"/>
                  </a:ext>
                </a:extLst>
              </p:cNvPr>
              <p:cNvSpPr>
                <a:spLocks/>
              </p:cNvSpPr>
              <p:nvPr/>
            </p:nvSpPr>
            <p:spPr bwMode="auto">
              <a:xfrm>
                <a:off x="11667990" y="2512291"/>
                <a:ext cx="209550" cy="249238"/>
              </a:xfrm>
              <a:custGeom>
                <a:avLst/>
                <a:gdLst>
                  <a:gd name="T0" fmla="*/ 0 w 56"/>
                  <a:gd name="T1" fmla="*/ 17 h 66"/>
                  <a:gd name="T2" fmla="*/ 24 w 56"/>
                  <a:gd name="T3" fmla="*/ 66 h 66"/>
                  <a:gd name="T4" fmla="*/ 56 w 56"/>
                  <a:gd name="T5" fmla="*/ 53 h 66"/>
                  <a:gd name="T6" fmla="*/ 30 w 56"/>
                  <a:gd name="T7" fmla="*/ 0 h 66"/>
                  <a:gd name="T8" fmla="*/ 0 w 56"/>
                  <a:gd name="T9" fmla="*/ 17 h 66"/>
                </a:gdLst>
                <a:ahLst/>
                <a:cxnLst>
                  <a:cxn ang="0">
                    <a:pos x="T0" y="T1"/>
                  </a:cxn>
                  <a:cxn ang="0">
                    <a:pos x="T2" y="T3"/>
                  </a:cxn>
                  <a:cxn ang="0">
                    <a:pos x="T4" y="T5"/>
                  </a:cxn>
                  <a:cxn ang="0">
                    <a:pos x="T6" y="T7"/>
                  </a:cxn>
                  <a:cxn ang="0">
                    <a:pos x="T8" y="T9"/>
                  </a:cxn>
                </a:cxnLst>
                <a:rect l="0" t="0" r="r" b="b"/>
                <a:pathLst>
                  <a:path w="56" h="66">
                    <a:moveTo>
                      <a:pt x="0" y="17"/>
                    </a:moveTo>
                    <a:cubicBezTo>
                      <a:pt x="10" y="33"/>
                      <a:pt x="18" y="49"/>
                      <a:pt x="24" y="66"/>
                    </a:cubicBezTo>
                    <a:cubicBezTo>
                      <a:pt x="56" y="53"/>
                      <a:pt x="56" y="53"/>
                      <a:pt x="56" y="53"/>
                    </a:cubicBezTo>
                    <a:cubicBezTo>
                      <a:pt x="48" y="34"/>
                      <a:pt x="40" y="17"/>
                      <a:pt x="30" y="0"/>
                    </a:cubicBezTo>
                    <a:lnTo>
                      <a:pt x="0" y="17"/>
                    </a:lnTo>
                    <a:close/>
                  </a:path>
                </a:pathLst>
              </a:custGeom>
              <a:solidFill>
                <a:schemeClr val="accent2"/>
              </a:solidFill>
              <a:ln>
                <a:noFill/>
              </a:ln>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5" name="Freeform 206">
                <a:extLst>
                  <a:ext uri="{FF2B5EF4-FFF2-40B4-BE49-F238E27FC236}">
                    <a16:creationId xmlns:a16="http://schemas.microsoft.com/office/drawing/2014/main" id="{80941CF7-B649-BC4F-8D63-982AA9D6BF92}"/>
                  </a:ext>
                </a:extLst>
              </p:cNvPr>
              <p:cNvSpPr>
                <a:spLocks/>
              </p:cNvSpPr>
              <p:nvPr/>
            </p:nvSpPr>
            <p:spPr bwMode="auto">
              <a:xfrm>
                <a:off x="9287413" y="3425584"/>
                <a:ext cx="222250" cy="460375"/>
              </a:xfrm>
              <a:custGeom>
                <a:avLst/>
                <a:gdLst>
                  <a:gd name="T0" fmla="*/ 59 w 59"/>
                  <a:gd name="T1" fmla="*/ 110 h 122"/>
                  <a:gd name="T2" fmla="*/ 29 w 59"/>
                  <a:gd name="T3" fmla="*/ 0 h 122"/>
                  <a:gd name="T4" fmla="*/ 0 w 59"/>
                  <a:gd name="T5" fmla="*/ 2 h 122"/>
                  <a:gd name="T6" fmla="*/ 33 w 59"/>
                  <a:gd name="T7" fmla="*/ 122 h 122"/>
                  <a:gd name="T8" fmla="*/ 59 w 59"/>
                  <a:gd name="T9" fmla="*/ 110 h 122"/>
                </a:gdLst>
                <a:ahLst/>
                <a:cxnLst>
                  <a:cxn ang="0">
                    <a:pos x="T0" y="T1"/>
                  </a:cxn>
                  <a:cxn ang="0">
                    <a:pos x="T2" y="T3"/>
                  </a:cxn>
                  <a:cxn ang="0">
                    <a:pos x="T4" y="T5"/>
                  </a:cxn>
                  <a:cxn ang="0">
                    <a:pos x="T6" y="T7"/>
                  </a:cxn>
                  <a:cxn ang="0">
                    <a:pos x="T8" y="T9"/>
                  </a:cxn>
                </a:cxnLst>
                <a:rect l="0" t="0" r="r" b="b"/>
                <a:pathLst>
                  <a:path w="59" h="122">
                    <a:moveTo>
                      <a:pt x="59" y="110"/>
                    </a:moveTo>
                    <a:cubicBezTo>
                      <a:pt x="42" y="76"/>
                      <a:pt x="32" y="39"/>
                      <a:pt x="29" y="0"/>
                    </a:cubicBezTo>
                    <a:cubicBezTo>
                      <a:pt x="0" y="2"/>
                      <a:pt x="0" y="2"/>
                      <a:pt x="0" y="2"/>
                    </a:cubicBezTo>
                    <a:cubicBezTo>
                      <a:pt x="3" y="45"/>
                      <a:pt x="15" y="86"/>
                      <a:pt x="33" y="122"/>
                    </a:cubicBezTo>
                    <a:lnTo>
                      <a:pt x="59"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6" name="Freeform 207">
                <a:extLst>
                  <a:ext uri="{FF2B5EF4-FFF2-40B4-BE49-F238E27FC236}">
                    <a16:creationId xmlns:a16="http://schemas.microsoft.com/office/drawing/2014/main" id="{18E9FFA8-A80E-A844-B3B3-0154DEE749C3}"/>
                  </a:ext>
                </a:extLst>
              </p:cNvPr>
              <p:cNvSpPr>
                <a:spLocks/>
              </p:cNvSpPr>
              <p:nvPr/>
            </p:nvSpPr>
            <p:spPr bwMode="auto">
              <a:xfrm>
                <a:off x="9452513" y="2371484"/>
                <a:ext cx="373063" cy="407988"/>
              </a:xfrm>
              <a:custGeom>
                <a:avLst/>
                <a:gdLst>
                  <a:gd name="T0" fmla="*/ 0 w 99"/>
                  <a:gd name="T1" fmla="*/ 94 h 108"/>
                  <a:gd name="T2" fmla="*/ 25 w 99"/>
                  <a:gd name="T3" fmla="*/ 108 h 108"/>
                  <a:gd name="T4" fmla="*/ 99 w 99"/>
                  <a:gd name="T5" fmla="*/ 23 h 108"/>
                  <a:gd name="T6" fmla="*/ 81 w 99"/>
                  <a:gd name="T7" fmla="*/ 0 h 108"/>
                  <a:gd name="T8" fmla="*/ 0 w 99"/>
                  <a:gd name="T9" fmla="*/ 94 h 108"/>
                </a:gdLst>
                <a:ahLst/>
                <a:cxnLst>
                  <a:cxn ang="0">
                    <a:pos x="T0" y="T1"/>
                  </a:cxn>
                  <a:cxn ang="0">
                    <a:pos x="T2" y="T3"/>
                  </a:cxn>
                  <a:cxn ang="0">
                    <a:pos x="T4" y="T5"/>
                  </a:cxn>
                  <a:cxn ang="0">
                    <a:pos x="T6" y="T7"/>
                  </a:cxn>
                  <a:cxn ang="0">
                    <a:pos x="T8" y="T9"/>
                  </a:cxn>
                </a:cxnLst>
                <a:rect l="0" t="0" r="r" b="b"/>
                <a:pathLst>
                  <a:path w="99" h="108">
                    <a:moveTo>
                      <a:pt x="0" y="94"/>
                    </a:moveTo>
                    <a:cubicBezTo>
                      <a:pt x="25" y="108"/>
                      <a:pt x="25" y="108"/>
                      <a:pt x="25" y="108"/>
                    </a:cubicBezTo>
                    <a:cubicBezTo>
                      <a:pt x="44" y="75"/>
                      <a:pt x="69" y="46"/>
                      <a:pt x="99" y="23"/>
                    </a:cubicBezTo>
                    <a:cubicBezTo>
                      <a:pt x="81" y="0"/>
                      <a:pt x="81" y="0"/>
                      <a:pt x="81" y="0"/>
                    </a:cubicBezTo>
                    <a:cubicBezTo>
                      <a:pt x="48" y="26"/>
                      <a:pt x="21" y="58"/>
                      <a:pt x="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7" name="Freeform 208">
                <a:extLst>
                  <a:ext uri="{FF2B5EF4-FFF2-40B4-BE49-F238E27FC236}">
                    <a16:creationId xmlns:a16="http://schemas.microsoft.com/office/drawing/2014/main" id="{98B1EDB2-0E4E-3143-A42B-A55C4BED239B}"/>
                  </a:ext>
                </a:extLst>
              </p:cNvPr>
              <p:cNvSpPr>
                <a:spLocks/>
              </p:cNvSpPr>
              <p:nvPr/>
            </p:nvSpPr>
            <p:spPr bwMode="auto">
              <a:xfrm>
                <a:off x="11619451" y="3130309"/>
                <a:ext cx="134938" cy="473075"/>
              </a:xfrm>
              <a:custGeom>
                <a:avLst/>
                <a:gdLst>
                  <a:gd name="T0" fmla="*/ 7 w 36"/>
                  <a:gd name="T1" fmla="*/ 57 h 125"/>
                  <a:gd name="T2" fmla="*/ 0 w 36"/>
                  <a:gd name="T3" fmla="*/ 119 h 125"/>
                  <a:gd name="T4" fmla="*/ 29 w 36"/>
                  <a:gd name="T5" fmla="*/ 125 h 125"/>
                  <a:gd name="T6" fmla="*/ 36 w 36"/>
                  <a:gd name="T7" fmla="*/ 57 h 125"/>
                  <a:gd name="T8" fmla="*/ 31 w 36"/>
                  <a:gd name="T9" fmla="*/ 0 h 125"/>
                  <a:gd name="T10" fmla="*/ 2 w 36"/>
                  <a:gd name="T11" fmla="*/ 5 h 125"/>
                  <a:gd name="T12" fmla="*/ 7 w 36"/>
                  <a:gd name="T13" fmla="*/ 57 h 125"/>
                </a:gdLst>
                <a:ahLst/>
                <a:cxnLst>
                  <a:cxn ang="0">
                    <a:pos x="T0" y="T1"/>
                  </a:cxn>
                  <a:cxn ang="0">
                    <a:pos x="T2" y="T3"/>
                  </a:cxn>
                  <a:cxn ang="0">
                    <a:pos x="T4" y="T5"/>
                  </a:cxn>
                  <a:cxn ang="0">
                    <a:pos x="T6" y="T7"/>
                  </a:cxn>
                  <a:cxn ang="0">
                    <a:pos x="T8" y="T9"/>
                  </a:cxn>
                  <a:cxn ang="0">
                    <a:pos x="T10" y="T11"/>
                  </a:cxn>
                  <a:cxn ang="0">
                    <a:pos x="T12" y="T13"/>
                  </a:cxn>
                </a:cxnLst>
                <a:rect l="0" t="0" r="r" b="b"/>
                <a:pathLst>
                  <a:path w="36" h="125">
                    <a:moveTo>
                      <a:pt x="7" y="57"/>
                    </a:moveTo>
                    <a:cubicBezTo>
                      <a:pt x="7" y="78"/>
                      <a:pt x="5" y="99"/>
                      <a:pt x="0" y="119"/>
                    </a:cubicBezTo>
                    <a:cubicBezTo>
                      <a:pt x="29" y="125"/>
                      <a:pt x="29" y="125"/>
                      <a:pt x="29" y="125"/>
                    </a:cubicBezTo>
                    <a:cubicBezTo>
                      <a:pt x="33" y="103"/>
                      <a:pt x="36" y="80"/>
                      <a:pt x="36" y="57"/>
                    </a:cubicBezTo>
                    <a:cubicBezTo>
                      <a:pt x="36" y="38"/>
                      <a:pt x="34" y="19"/>
                      <a:pt x="31" y="0"/>
                    </a:cubicBezTo>
                    <a:cubicBezTo>
                      <a:pt x="2" y="5"/>
                      <a:pt x="2" y="5"/>
                      <a:pt x="2" y="5"/>
                    </a:cubicBezTo>
                    <a:cubicBezTo>
                      <a:pt x="5" y="22"/>
                      <a:pt x="7" y="39"/>
                      <a:pt x="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8" name="Freeform 209">
                <a:extLst>
                  <a:ext uri="{FF2B5EF4-FFF2-40B4-BE49-F238E27FC236}">
                    <a16:creationId xmlns:a16="http://schemas.microsoft.com/office/drawing/2014/main" id="{E37D4E1B-F2C0-9E42-9AEA-2949CBEE7967}"/>
                  </a:ext>
                </a:extLst>
              </p:cNvPr>
              <p:cNvSpPr>
                <a:spLocks/>
              </p:cNvSpPr>
              <p:nvPr/>
            </p:nvSpPr>
            <p:spPr bwMode="auto">
              <a:xfrm>
                <a:off x="9287413" y="2844559"/>
                <a:ext cx="203200" cy="460375"/>
              </a:xfrm>
              <a:custGeom>
                <a:avLst/>
                <a:gdLst>
                  <a:gd name="T0" fmla="*/ 0 w 54"/>
                  <a:gd name="T1" fmla="*/ 121 h 122"/>
                  <a:gd name="T2" fmla="*/ 29 w 54"/>
                  <a:gd name="T3" fmla="*/ 122 h 122"/>
                  <a:gd name="T4" fmla="*/ 54 w 54"/>
                  <a:gd name="T5" fmla="*/ 12 h 122"/>
                  <a:gd name="T6" fmla="*/ 28 w 54"/>
                  <a:gd name="T7" fmla="*/ 0 h 122"/>
                  <a:gd name="T8" fmla="*/ 0 w 54"/>
                  <a:gd name="T9" fmla="*/ 121 h 122"/>
                </a:gdLst>
                <a:ahLst/>
                <a:cxnLst>
                  <a:cxn ang="0">
                    <a:pos x="T0" y="T1"/>
                  </a:cxn>
                  <a:cxn ang="0">
                    <a:pos x="T2" y="T3"/>
                  </a:cxn>
                  <a:cxn ang="0">
                    <a:pos x="T4" y="T5"/>
                  </a:cxn>
                  <a:cxn ang="0">
                    <a:pos x="T6" y="T7"/>
                  </a:cxn>
                  <a:cxn ang="0">
                    <a:pos x="T8" y="T9"/>
                  </a:cxn>
                </a:cxnLst>
                <a:rect l="0" t="0" r="r" b="b"/>
                <a:pathLst>
                  <a:path w="54" h="122">
                    <a:moveTo>
                      <a:pt x="0" y="121"/>
                    </a:moveTo>
                    <a:cubicBezTo>
                      <a:pt x="29" y="122"/>
                      <a:pt x="29" y="122"/>
                      <a:pt x="29" y="122"/>
                    </a:cubicBezTo>
                    <a:cubicBezTo>
                      <a:pt x="30" y="83"/>
                      <a:pt x="39" y="46"/>
                      <a:pt x="54" y="12"/>
                    </a:cubicBezTo>
                    <a:cubicBezTo>
                      <a:pt x="28" y="0"/>
                      <a:pt x="28" y="0"/>
                      <a:pt x="28" y="0"/>
                    </a:cubicBezTo>
                    <a:cubicBezTo>
                      <a:pt x="11" y="37"/>
                      <a:pt x="1" y="78"/>
                      <a:pt x="0"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9" name="Freeform 210">
                <a:extLst>
                  <a:ext uri="{FF2B5EF4-FFF2-40B4-BE49-F238E27FC236}">
                    <a16:creationId xmlns:a16="http://schemas.microsoft.com/office/drawing/2014/main" id="{FF5BC023-5E78-7143-9356-E93251F03623}"/>
                  </a:ext>
                </a:extLst>
              </p:cNvPr>
              <p:cNvSpPr>
                <a:spLocks/>
              </p:cNvSpPr>
              <p:nvPr/>
            </p:nvSpPr>
            <p:spPr bwMode="auto">
              <a:xfrm>
                <a:off x="11408313" y="2584209"/>
                <a:ext cx="296863" cy="449263"/>
              </a:xfrm>
              <a:custGeom>
                <a:avLst/>
                <a:gdLst>
                  <a:gd name="T0" fmla="*/ 79 w 79"/>
                  <a:gd name="T1" fmla="*/ 111 h 119"/>
                  <a:gd name="T2" fmla="*/ 23 w 79"/>
                  <a:gd name="T3" fmla="*/ 0 h 119"/>
                  <a:gd name="T4" fmla="*/ 0 w 79"/>
                  <a:gd name="T5" fmla="*/ 18 h 119"/>
                  <a:gd name="T6" fmla="*/ 51 w 79"/>
                  <a:gd name="T7" fmla="*/ 119 h 119"/>
                  <a:gd name="T8" fmla="*/ 79 w 79"/>
                  <a:gd name="T9" fmla="*/ 111 h 119"/>
                </a:gdLst>
                <a:ahLst/>
                <a:cxnLst>
                  <a:cxn ang="0">
                    <a:pos x="T0" y="T1"/>
                  </a:cxn>
                  <a:cxn ang="0">
                    <a:pos x="T2" y="T3"/>
                  </a:cxn>
                  <a:cxn ang="0">
                    <a:pos x="T4" y="T5"/>
                  </a:cxn>
                  <a:cxn ang="0">
                    <a:pos x="T6" y="T7"/>
                  </a:cxn>
                  <a:cxn ang="0">
                    <a:pos x="T8" y="T9"/>
                  </a:cxn>
                </a:cxnLst>
                <a:rect l="0" t="0" r="r" b="b"/>
                <a:pathLst>
                  <a:path w="79" h="119">
                    <a:moveTo>
                      <a:pt x="79" y="111"/>
                    </a:moveTo>
                    <a:cubicBezTo>
                      <a:pt x="67" y="70"/>
                      <a:pt x="48" y="33"/>
                      <a:pt x="23" y="0"/>
                    </a:cubicBezTo>
                    <a:cubicBezTo>
                      <a:pt x="0" y="18"/>
                      <a:pt x="0" y="18"/>
                      <a:pt x="0" y="18"/>
                    </a:cubicBezTo>
                    <a:cubicBezTo>
                      <a:pt x="23" y="48"/>
                      <a:pt x="41" y="82"/>
                      <a:pt x="51" y="119"/>
                    </a:cubicBezTo>
                    <a:lnTo>
                      <a:pt x="79"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90" name="Freeform 211">
                <a:extLst>
                  <a:ext uri="{FF2B5EF4-FFF2-40B4-BE49-F238E27FC236}">
                    <a16:creationId xmlns:a16="http://schemas.microsoft.com/office/drawing/2014/main" id="{E11CDF8B-F496-4746-A408-910D32592C96}"/>
                  </a:ext>
                </a:extLst>
              </p:cNvPr>
              <p:cNvSpPr>
                <a:spLocks/>
              </p:cNvSpPr>
              <p:nvPr/>
            </p:nvSpPr>
            <p:spPr bwMode="auto">
              <a:xfrm>
                <a:off x="10435176" y="2107959"/>
                <a:ext cx="463550" cy="166688"/>
              </a:xfrm>
              <a:custGeom>
                <a:avLst/>
                <a:gdLst>
                  <a:gd name="T0" fmla="*/ 2 w 123"/>
                  <a:gd name="T1" fmla="*/ 30 h 44"/>
                  <a:gd name="T2" fmla="*/ 22 w 123"/>
                  <a:gd name="T3" fmla="*/ 29 h 44"/>
                  <a:gd name="T4" fmla="*/ 114 w 123"/>
                  <a:gd name="T5" fmla="*/ 44 h 44"/>
                  <a:gd name="T6" fmla="*/ 123 w 123"/>
                  <a:gd name="T7" fmla="*/ 16 h 44"/>
                  <a:gd name="T8" fmla="*/ 22 w 123"/>
                  <a:gd name="T9" fmla="*/ 0 h 44"/>
                  <a:gd name="T10" fmla="*/ 0 w 123"/>
                  <a:gd name="T11" fmla="*/ 1 h 44"/>
                  <a:gd name="T12" fmla="*/ 2 w 123"/>
                  <a:gd name="T13" fmla="*/ 30 h 44"/>
                </a:gdLst>
                <a:ahLst/>
                <a:cxnLst>
                  <a:cxn ang="0">
                    <a:pos x="T0" y="T1"/>
                  </a:cxn>
                  <a:cxn ang="0">
                    <a:pos x="T2" y="T3"/>
                  </a:cxn>
                  <a:cxn ang="0">
                    <a:pos x="T4" y="T5"/>
                  </a:cxn>
                  <a:cxn ang="0">
                    <a:pos x="T6" y="T7"/>
                  </a:cxn>
                  <a:cxn ang="0">
                    <a:pos x="T8" y="T9"/>
                  </a:cxn>
                  <a:cxn ang="0">
                    <a:pos x="T10" y="T11"/>
                  </a:cxn>
                  <a:cxn ang="0">
                    <a:pos x="T12" y="T13"/>
                  </a:cxn>
                </a:cxnLst>
                <a:rect l="0" t="0" r="r" b="b"/>
                <a:pathLst>
                  <a:path w="123" h="44">
                    <a:moveTo>
                      <a:pt x="2" y="30"/>
                    </a:moveTo>
                    <a:cubicBezTo>
                      <a:pt x="8" y="30"/>
                      <a:pt x="15" y="29"/>
                      <a:pt x="22" y="29"/>
                    </a:cubicBezTo>
                    <a:cubicBezTo>
                      <a:pt x="54" y="29"/>
                      <a:pt x="85" y="34"/>
                      <a:pt x="114" y="44"/>
                    </a:cubicBezTo>
                    <a:cubicBezTo>
                      <a:pt x="123" y="16"/>
                      <a:pt x="123" y="16"/>
                      <a:pt x="123" y="16"/>
                    </a:cubicBezTo>
                    <a:cubicBezTo>
                      <a:pt x="91" y="6"/>
                      <a:pt x="57" y="0"/>
                      <a:pt x="22" y="0"/>
                    </a:cubicBezTo>
                    <a:cubicBezTo>
                      <a:pt x="15" y="0"/>
                      <a:pt x="7" y="1"/>
                      <a:pt x="0" y="1"/>
                    </a:cubicBezTo>
                    <a:lnTo>
                      <a:pt x="2"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91" name="Freeform 212">
                <a:extLst>
                  <a:ext uri="{FF2B5EF4-FFF2-40B4-BE49-F238E27FC236}">
                    <a16:creationId xmlns:a16="http://schemas.microsoft.com/office/drawing/2014/main" id="{68AB790C-2AF2-114D-8425-33C25395EBB3}"/>
                  </a:ext>
                </a:extLst>
              </p:cNvPr>
              <p:cNvSpPr>
                <a:spLocks/>
              </p:cNvSpPr>
              <p:nvPr/>
            </p:nvSpPr>
            <p:spPr bwMode="auto">
              <a:xfrm>
                <a:off x="9866851" y="2127009"/>
                <a:ext cx="455613" cy="263525"/>
              </a:xfrm>
              <a:custGeom>
                <a:avLst/>
                <a:gdLst>
                  <a:gd name="T0" fmla="*/ 116 w 121"/>
                  <a:gd name="T1" fmla="*/ 0 h 70"/>
                  <a:gd name="T2" fmla="*/ 0 w 121"/>
                  <a:gd name="T3" fmla="*/ 45 h 70"/>
                  <a:gd name="T4" fmla="*/ 15 w 121"/>
                  <a:gd name="T5" fmla="*/ 70 h 70"/>
                  <a:gd name="T6" fmla="*/ 121 w 121"/>
                  <a:gd name="T7" fmla="*/ 29 h 70"/>
                  <a:gd name="T8" fmla="*/ 116 w 121"/>
                  <a:gd name="T9" fmla="*/ 0 h 70"/>
                </a:gdLst>
                <a:ahLst/>
                <a:cxnLst>
                  <a:cxn ang="0">
                    <a:pos x="T0" y="T1"/>
                  </a:cxn>
                  <a:cxn ang="0">
                    <a:pos x="T2" y="T3"/>
                  </a:cxn>
                  <a:cxn ang="0">
                    <a:pos x="T4" y="T5"/>
                  </a:cxn>
                  <a:cxn ang="0">
                    <a:pos x="T6" y="T7"/>
                  </a:cxn>
                  <a:cxn ang="0">
                    <a:pos x="T8" y="T9"/>
                  </a:cxn>
                </a:cxnLst>
                <a:rect l="0" t="0" r="r" b="b"/>
                <a:pathLst>
                  <a:path w="121" h="70">
                    <a:moveTo>
                      <a:pt x="116" y="0"/>
                    </a:moveTo>
                    <a:cubicBezTo>
                      <a:pt x="74" y="8"/>
                      <a:pt x="35" y="23"/>
                      <a:pt x="0" y="45"/>
                    </a:cubicBezTo>
                    <a:cubicBezTo>
                      <a:pt x="15" y="70"/>
                      <a:pt x="15" y="70"/>
                      <a:pt x="15" y="70"/>
                    </a:cubicBezTo>
                    <a:cubicBezTo>
                      <a:pt x="47" y="50"/>
                      <a:pt x="83" y="36"/>
                      <a:pt x="121" y="29"/>
                    </a:cubicBez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92" name="Freeform 213">
                <a:extLst>
                  <a:ext uri="{FF2B5EF4-FFF2-40B4-BE49-F238E27FC236}">
                    <a16:creationId xmlns:a16="http://schemas.microsoft.com/office/drawing/2014/main" id="{A4FC0585-E2AF-C04F-B854-1AAED7347570}"/>
                  </a:ext>
                </a:extLst>
              </p:cNvPr>
              <p:cNvSpPr>
                <a:spLocks/>
              </p:cNvSpPr>
              <p:nvPr/>
            </p:nvSpPr>
            <p:spPr bwMode="auto">
              <a:xfrm>
                <a:off x="10978101" y="2217497"/>
                <a:ext cx="430213" cy="342900"/>
              </a:xfrm>
              <a:custGeom>
                <a:avLst/>
                <a:gdLst>
                  <a:gd name="T0" fmla="*/ 93 w 114"/>
                  <a:gd name="T1" fmla="*/ 91 h 91"/>
                  <a:gd name="T2" fmla="*/ 114 w 114"/>
                  <a:gd name="T3" fmla="*/ 71 h 91"/>
                  <a:gd name="T4" fmla="*/ 12 w 114"/>
                  <a:gd name="T5" fmla="*/ 0 h 91"/>
                  <a:gd name="T6" fmla="*/ 0 w 114"/>
                  <a:gd name="T7" fmla="*/ 26 h 91"/>
                  <a:gd name="T8" fmla="*/ 93 w 114"/>
                  <a:gd name="T9" fmla="*/ 91 h 91"/>
                </a:gdLst>
                <a:ahLst/>
                <a:cxnLst>
                  <a:cxn ang="0">
                    <a:pos x="T0" y="T1"/>
                  </a:cxn>
                  <a:cxn ang="0">
                    <a:pos x="T2" y="T3"/>
                  </a:cxn>
                  <a:cxn ang="0">
                    <a:pos x="T4" y="T5"/>
                  </a:cxn>
                  <a:cxn ang="0">
                    <a:pos x="T6" y="T7"/>
                  </a:cxn>
                  <a:cxn ang="0">
                    <a:pos x="T8" y="T9"/>
                  </a:cxn>
                </a:cxnLst>
                <a:rect l="0" t="0" r="r" b="b"/>
                <a:pathLst>
                  <a:path w="114" h="91">
                    <a:moveTo>
                      <a:pt x="93" y="91"/>
                    </a:moveTo>
                    <a:cubicBezTo>
                      <a:pt x="114" y="71"/>
                      <a:pt x="114" y="71"/>
                      <a:pt x="114" y="71"/>
                    </a:cubicBezTo>
                    <a:cubicBezTo>
                      <a:pt x="85" y="41"/>
                      <a:pt x="50" y="17"/>
                      <a:pt x="12" y="0"/>
                    </a:cubicBezTo>
                    <a:cubicBezTo>
                      <a:pt x="0" y="26"/>
                      <a:pt x="0" y="26"/>
                      <a:pt x="0" y="26"/>
                    </a:cubicBezTo>
                    <a:cubicBezTo>
                      <a:pt x="35" y="42"/>
                      <a:pt x="67" y="64"/>
                      <a:pt x="93"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grpSp>
        <p:cxnSp>
          <p:nvCxnSpPr>
            <p:cNvPr id="93" name="Straight Connector 92">
              <a:extLst>
                <a:ext uri="{FF2B5EF4-FFF2-40B4-BE49-F238E27FC236}">
                  <a16:creationId xmlns:a16="http://schemas.microsoft.com/office/drawing/2014/main" id="{8C02BE76-070F-954A-9367-B56C07AF75EA}"/>
                </a:ext>
              </a:extLst>
            </p:cNvPr>
            <p:cNvCxnSpPr/>
            <p:nvPr/>
          </p:nvCxnSpPr>
          <p:spPr>
            <a:xfrm>
              <a:off x="5227933" y="2174790"/>
              <a:ext cx="82806" cy="138851"/>
            </a:xfrm>
            <a:prstGeom prst="line">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61830079-4383-8E4D-9438-00477D16A91F}"/>
                </a:ext>
              </a:extLst>
            </p:cNvPr>
            <p:cNvCxnSpPr/>
            <p:nvPr/>
          </p:nvCxnSpPr>
          <p:spPr>
            <a:xfrm>
              <a:off x="4618170" y="2725751"/>
              <a:ext cx="158719" cy="110328"/>
            </a:xfrm>
            <a:prstGeom prst="line">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BD35720C-08AC-D445-85F7-2FA3CF7BD66F}"/>
                </a:ext>
              </a:extLst>
            </p:cNvPr>
            <p:cNvCxnSpPr>
              <a:stCxn id="42" idx="1"/>
            </p:cNvCxnSpPr>
            <p:nvPr/>
          </p:nvCxnSpPr>
          <p:spPr>
            <a:xfrm>
              <a:off x="4375303" y="3568496"/>
              <a:ext cx="207686" cy="0"/>
            </a:xfrm>
            <a:prstGeom prst="line">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64BBBD21-03EC-2346-A56D-7B2C3376BCD8}"/>
                </a:ext>
              </a:extLst>
            </p:cNvPr>
            <p:cNvCxnSpPr/>
            <p:nvPr/>
          </p:nvCxnSpPr>
          <p:spPr>
            <a:xfrm flipV="1">
              <a:off x="4681326" y="4421479"/>
              <a:ext cx="169863" cy="119490"/>
            </a:xfrm>
            <a:prstGeom prst="line">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05" name="Block Arc 104">
              <a:extLst>
                <a:ext uri="{FF2B5EF4-FFF2-40B4-BE49-F238E27FC236}">
                  <a16:creationId xmlns:a16="http://schemas.microsoft.com/office/drawing/2014/main" id="{EF15C32B-DA2E-F54F-B13A-A87E16FE87A0}"/>
                </a:ext>
              </a:extLst>
            </p:cNvPr>
            <p:cNvSpPr/>
            <p:nvPr/>
          </p:nvSpPr>
          <p:spPr bwMode="gray">
            <a:xfrm>
              <a:off x="4582989" y="2104289"/>
              <a:ext cx="2900998" cy="2811640"/>
            </a:xfrm>
            <a:prstGeom prst="blockArc">
              <a:avLst>
                <a:gd name="adj1" fmla="val 7645207"/>
                <a:gd name="adj2" fmla="val 16169687"/>
                <a:gd name="adj3" fmla="val 1410"/>
              </a:avLst>
            </a:prstGeom>
            <a:solidFill>
              <a:schemeClr val="accent4"/>
            </a:solidFill>
            <a:ln w="19050" algn="ctr">
              <a:noFill/>
              <a:miter lim="800000"/>
              <a:headEnd/>
              <a:tailEnd/>
            </a:ln>
          </p:spPr>
          <p:txBody>
            <a:bodyPr wrap="square" lIns="33502" tIns="33502" rIns="33502" bIns="33502" rtlCol="0" anchor="ctr"/>
            <a:lstStyle/>
            <a:p>
              <a:pPr algn="ctr" defTabSz="459475">
                <a:lnSpc>
                  <a:spcPct val="106000"/>
                </a:lnSpc>
              </a:pPr>
              <a:endParaRPr lang="en-US" sz="603" b="1" dirty="0">
                <a:solidFill>
                  <a:prstClr val="black"/>
                </a:solidFill>
              </a:endParaRPr>
            </a:p>
          </p:txBody>
        </p:sp>
        <p:sp>
          <p:nvSpPr>
            <p:cNvPr id="106" name="Freeform 5">
              <a:extLst>
                <a:ext uri="{FF2B5EF4-FFF2-40B4-BE49-F238E27FC236}">
                  <a16:creationId xmlns:a16="http://schemas.microsoft.com/office/drawing/2014/main" id="{ABDB3916-C54E-FD40-8EF2-D8C14DE653C2}"/>
                </a:ext>
              </a:extLst>
            </p:cNvPr>
            <p:cNvSpPr>
              <a:spLocks noEditPoints="1"/>
            </p:cNvSpPr>
            <p:nvPr/>
          </p:nvSpPr>
          <p:spPr bwMode="auto">
            <a:xfrm>
              <a:off x="5486550" y="3072571"/>
              <a:ext cx="1124677" cy="1135392"/>
            </a:xfrm>
            <a:custGeom>
              <a:avLst/>
              <a:gdLst>
                <a:gd name="T0" fmla="*/ 118 w 240"/>
                <a:gd name="T1" fmla="*/ 48 h 240"/>
                <a:gd name="T2" fmla="*/ 46 w 240"/>
                <a:gd name="T3" fmla="*/ 81 h 240"/>
                <a:gd name="T4" fmla="*/ 48 w 240"/>
                <a:gd name="T5" fmla="*/ 36 h 240"/>
                <a:gd name="T6" fmla="*/ 38 w 240"/>
                <a:gd name="T7" fmla="*/ 74 h 240"/>
                <a:gd name="T8" fmla="*/ 72 w 240"/>
                <a:gd name="T9" fmla="*/ 104 h 240"/>
                <a:gd name="T10" fmla="*/ 0 w 240"/>
                <a:gd name="T11" fmla="*/ 130 h 240"/>
                <a:gd name="T12" fmla="*/ 72 w 240"/>
                <a:gd name="T13" fmla="*/ 144 h 240"/>
                <a:gd name="T14" fmla="*/ 38 w 240"/>
                <a:gd name="T15" fmla="*/ 178 h 240"/>
                <a:gd name="T16" fmla="*/ 48 w 240"/>
                <a:gd name="T17" fmla="*/ 216 h 240"/>
                <a:gd name="T18" fmla="*/ 46 w 240"/>
                <a:gd name="T19" fmla="*/ 171 h 240"/>
                <a:gd name="T20" fmla="*/ 118 w 240"/>
                <a:gd name="T21" fmla="*/ 184 h 240"/>
                <a:gd name="T22" fmla="*/ 128 w 240"/>
                <a:gd name="T23" fmla="*/ 240 h 240"/>
                <a:gd name="T24" fmla="*/ 168 w 240"/>
                <a:gd name="T25" fmla="*/ 176 h 240"/>
                <a:gd name="T26" fmla="*/ 198 w 240"/>
                <a:gd name="T27" fmla="*/ 200 h 240"/>
                <a:gd name="T28" fmla="*/ 208 w 240"/>
                <a:gd name="T29" fmla="*/ 200 h 240"/>
                <a:gd name="T30" fmla="*/ 196 w 240"/>
                <a:gd name="T31" fmla="*/ 168 h 240"/>
                <a:gd name="T32" fmla="*/ 240 w 240"/>
                <a:gd name="T33" fmla="*/ 144 h 240"/>
                <a:gd name="T34" fmla="*/ 168 w 240"/>
                <a:gd name="T35" fmla="*/ 134 h 240"/>
                <a:gd name="T36" fmla="*/ 206 w 240"/>
                <a:gd name="T37" fmla="*/ 80 h 240"/>
                <a:gd name="T38" fmla="*/ 192 w 240"/>
                <a:gd name="T39" fmla="*/ 36 h 240"/>
                <a:gd name="T40" fmla="*/ 194 w 240"/>
                <a:gd name="T41" fmla="*/ 80 h 240"/>
                <a:gd name="T42" fmla="*/ 104 w 240"/>
                <a:gd name="T43" fmla="*/ 80 h 240"/>
                <a:gd name="T44" fmla="*/ 152 w 240"/>
                <a:gd name="T45" fmla="*/ 80 h 240"/>
                <a:gd name="T46" fmla="*/ 128 w 240"/>
                <a:gd name="T47" fmla="*/ 16 h 240"/>
                <a:gd name="T48" fmla="*/ 124 w 240"/>
                <a:gd name="T49" fmla="*/ 12 h 240"/>
                <a:gd name="T50" fmla="*/ 44 w 240"/>
                <a:gd name="T51" fmla="*/ 48 h 240"/>
                <a:gd name="T52" fmla="*/ 204 w 240"/>
                <a:gd name="T53" fmla="*/ 48 h 240"/>
                <a:gd name="T54" fmla="*/ 148 w 240"/>
                <a:gd name="T55" fmla="*/ 80 h 240"/>
                <a:gd name="T56" fmla="*/ 140 w 240"/>
                <a:gd name="T57" fmla="*/ 80 h 240"/>
                <a:gd name="T58" fmla="*/ 100 w 240"/>
                <a:gd name="T59" fmla="*/ 96 h 240"/>
                <a:gd name="T60" fmla="*/ 42 w 240"/>
                <a:gd name="T61" fmla="*/ 80 h 240"/>
                <a:gd name="T62" fmla="*/ 202 w 240"/>
                <a:gd name="T63" fmla="*/ 80 h 240"/>
                <a:gd name="T64" fmla="*/ 160 w 240"/>
                <a:gd name="T65" fmla="*/ 100 h 240"/>
                <a:gd name="T66" fmla="*/ 80 w 240"/>
                <a:gd name="T67" fmla="*/ 100 h 240"/>
                <a:gd name="T68" fmla="*/ 126 w 240"/>
                <a:gd name="T69" fmla="*/ 140 h 240"/>
                <a:gd name="T70" fmla="*/ 126 w 240"/>
                <a:gd name="T71" fmla="*/ 118 h 240"/>
                <a:gd name="T72" fmla="*/ 118 w 240"/>
                <a:gd name="T73" fmla="*/ 124 h 240"/>
                <a:gd name="T74" fmla="*/ 12 w 240"/>
                <a:gd name="T75" fmla="*/ 132 h 240"/>
                <a:gd name="T76" fmla="*/ 4 w 240"/>
                <a:gd name="T77" fmla="*/ 132 h 240"/>
                <a:gd name="T78" fmla="*/ 228 w 240"/>
                <a:gd name="T79" fmla="*/ 132 h 240"/>
                <a:gd name="T80" fmla="*/ 76 w 240"/>
                <a:gd name="T81" fmla="*/ 148 h 240"/>
                <a:gd name="T82" fmla="*/ 94 w 240"/>
                <a:gd name="T83" fmla="*/ 152 h 240"/>
                <a:gd name="T84" fmla="*/ 110 w 240"/>
                <a:gd name="T85" fmla="*/ 164 h 240"/>
                <a:gd name="T86" fmla="*/ 114 w 240"/>
                <a:gd name="T87" fmla="*/ 164 h 240"/>
                <a:gd name="T88" fmla="*/ 130 w 240"/>
                <a:gd name="T89" fmla="*/ 154 h 240"/>
                <a:gd name="T90" fmla="*/ 146 w 240"/>
                <a:gd name="T91" fmla="*/ 152 h 240"/>
                <a:gd name="T92" fmla="*/ 146 w 240"/>
                <a:gd name="T93" fmla="*/ 152 h 240"/>
                <a:gd name="T94" fmla="*/ 86 w 240"/>
                <a:gd name="T95" fmla="*/ 156 h 240"/>
                <a:gd name="T96" fmla="*/ 102 w 240"/>
                <a:gd name="T97" fmla="*/ 156 h 240"/>
                <a:gd name="T98" fmla="*/ 118 w 240"/>
                <a:gd name="T99" fmla="*/ 156 h 240"/>
                <a:gd name="T100" fmla="*/ 134 w 240"/>
                <a:gd name="T101" fmla="*/ 156 h 240"/>
                <a:gd name="T102" fmla="*/ 150 w 240"/>
                <a:gd name="T103" fmla="*/ 156 h 240"/>
                <a:gd name="T104" fmla="*/ 40 w 240"/>
                <a:gd name="T105" fmla="*/ 170 h 240"/>
                <a:gd name="T106" fmla="*/ 200 w 240"/>
                <a:gd name="T107" fmla="*/ 170 h 240"/>
                <a:gd name="T108" fmla="*/ 80 w 240"/>
                <a:gd name="T109" fmla="*/ 180 h 240"/>
                <a:gd name="T110" fmla="*/ 44 w 240"/>
                <a:gd name="T111" fmla="*/ 212 h 240"/>
                <a:gd name="T112" fmla="*/ 204 w 240"/>
                <a:gd name="T113" fmla="*/ 212 h 240"/>
                <a:gd name="T114" fmla="*/ 124 w 240"/>
                <a:gd name="T115" fmla="*/ 23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 h="240">
                  <a:moveTo>
                    <a:pt x="112" y="0"/>
                  </a:moveTo>
                  <a:cubicBezTo>
                    <a:pt x="112" y="2"/>
                    <a:pt x="112" y="2"/>
                    <a:pt x="112" y="2"/>
                  </a:cubicBezTo>
                  <a:cubicBezTo>
                    <a:pt x="112" y="16"/>
                    <a:pt x="112" y="16"/>
                    <a:pt x="112" y="16"/>
                  </a:cubicBezTo>
                  <a:cubicBezTo>
                    <a:pt x="118" y="16"/>
                    <a:pt x="118" y="16"/>
                    <a:pt x="118" y="16"/>
                  </a:cubicBezTo>
                  <a:cubicBezTo>
                    <a:pt x="118" y="48"/>
                    <a:pt x="118" y="48"/>
                    <a:pt x="118" y="48"/>
                  </a:cubicBezTo>
                  <a:cubicBezTo>
                    <a:pt x="101" y="49"/>
                    <a:pt x="88" y="63"/>
                    <a:pt x="88" y="80"/>
                  </a:cubicBezTo>
                  <a:cubicBezTo>
                    <a:pt x="88" y="96"/>
                    <a:pt x="88" y="96"/>
                    <a:pt x="88" y="96"/>
                  </a:cubicBezTo>
                  <a:cubicBezTo>
                    <a:pt x="80" y="96"/>
                    <a:pt x="80" y="96"/>
                    <a:pt x="80" y="96"/>
                  </a:cubicBezTo>
                  <a:cubicBezTo>
                    <a:pt x="78" y="96"/>
                    <a:pt x="77" y="97"/>
                    <a:pt x="75" y="97"/>
                  </a:cubicBezTo>
                  <a:cubicBezTo>
                    <a:pt x="46" y="81"/>
                    <a:pt x="46" y="81"/>
                    <a:pt x="46" y="81"/>
                  </a:cubicBezTo>
                  <a:cubicBezTo>
                    <a:pt x="46" y="81"/>
                    <a:pt x="46" y="80"/>
                    <a:pt x="46" y="80"/>
                  </a:cubicBezTo>
                  <a:cubicBezTo>
                    <a:pt x="46" y="77"/>
                    <a:pt x="44" y="75"/>
                    <a:pt x="42" y="74"/>
                  </a:cubicBezTo>
                  <a:cubicBezTo>
                    <a:pt x="42" y="52"/>
                    <a:pt x="42" y="52"/>
                    <a:pt x="42" y="52"/>
                  </a:cubicBezTo>
                  <a:cubicBezTo>
                    <a:pt x="48" y="52"/>
                    <a:pt x="48" y="52"/>
                    <a:pt x="48" y="52"/>
                  </a:cubicBezTo>
                  <a:cubicBezTo>
                    <a:pt x="48" y="36"/>
                    <a:pt x="48" y="36"/>
                    <a:pt x="48" y="36"/>
                  </a:cubicBezTo>
                  <a:cubicBezTo>
                    <a:pt x="32" y="36"/>
                    <a:pt x="32" y="36"/>
                    <a:pt x="32" y="36"/>
                  </a:cubicBezTo>
                  <a:cubicBezTo>
                    <a:pt x="32" y="38"/>
                    <a:pt x="32" y="38"/>
                    <a:pt x="32" y="38"/>
                  </a:cubicBezTo>
                  <a:cubicBezTo>
                    <a:pt x="32" y="52"/>
                    <a:pt x="32" y="52"/>
                    <a:pt x="32" y="52"/>
                  </a:cubicBezTo>
                  <a:cubicBezTo>
                    <a:pt x="38" y="52"/>
                    <a:pt x="38" y="52"/>
                    <a:pt x="38" y="52"/>
                  </a:cubicBezTo>
                  <a:cubicBezTo>
                    <a:pt x="38" y="74"/>
                    <a:pt x="38" y="74"/>
                    <a:pt x="38" y="74"/>
                  </a:cubicBezTo>
                  <a:cubicBezTo>
                    <a:pt x="36" y="75"/>
                    <a:pt x="34" y="77"/>
                    <a:pt x="34" y="80"/>
                  </a:cubicBezTo>
                  <a:cubicBezTo>
                    <a:pt x="34" y="83"/>
                    <a:pt x="37" y="86"/>
                    <a:pt x="40" y="86"/>
                  </a:cubicBezTo>
                  <a:cubicBezTo>
                    <a:pt x="42" y="86"/>
                    <a:pt x="43" y="85"/>
                    <a:pt x="44" y="84"/>
                  </a:cubicBezTo>
                  <a:cubicBezTo>
                    <a:pt x="73" y="101"/>
                    <a:pt x="73" y="101"/>
                    <a:pt x="73" y="101"/>
                  </a:cubicBezTo>
                  <a:cubicBezTo>
                    <a:pt x="72" y="102"/>
                    <a:pt x="72" y="103"/>
                    <a:pt x="72" y="104"/>
                  </a:cubicBezTo>
                  <a:cubicBezTo>
                    <a:pt x="72" y="134"/>
                    <a:pt x="72" y="134"/>
                    <a:pt x="72" y="134"/>
                  </a:cubicBezTo>
                  <a:cubicBezTo>
                    <a:pt x="16" y="134"/>
                    <a:pt x="16" y="134"/>
                    <a:pt x="16" y="134"/>
                  </a:cubicBezTo>
                  <a:cubicBezTo>
                    <a:pt x="16" y="128"/>
                    <a:pt x="16" y="128"/>
                    <a:pt x="16" y="128"/>
                  </a:cubicBezTo>
                  <a:cubicBezTo>
                    <a:pt x="0" y="128"/>
                    <a:pt x="0" y="128"/>
                    <a:pt x="0" y="128"/>
                  </a:cubicBezTo>
                  <a:cubicBezTo>
                    <a:pt x="0" y="130"/>
                    <a:pt x="0" y="130"/>
                    <a:pt x="0" y="130"/>
                  </a:cubicBezTo>
                  <a:cubicBezTo>
                    <a:pt x="0" y="144"/>
                    <a:pt x="0" y="144"/>
                    <a:pt x="0" y="144"/>
                  </a:cubicBezTo>
                  <a:cubicBezTo>
                    <a:pt x="16" y="144"/>
                    <a:pt x="16" y="144"/>
                    <a:pt x="16" y="144"/>
                  </a:cubicBezTo>
                  <a:cubicBezTo>
                    <a:pt x="16" y="138"/>
                    <a:pt x="16" y="138"/>
                    <a:pt x="16" y="138"/>
                  </a:cubicBezTo>
                  <a:cubicBezTo>
                    <a:pt x="72" y="138"/>
                    <a:pt x="72" y="138"/>
                    <a:pt x="72" y="138"/>
                  </a:cubicBezTo>
                  <a:cubicBezTo>
                    <a:pt x="72" y="144"/>
                    <a:pt x="72" y="144"/>
                    <a:pt x="72" y="144"/>
                  </a:cubicBezTo>
                  <a:cubicBezTo>
                    <a:pt x="72" y="152"/>
                    <a:pt x="72" y="152"/>
                    <a:pt x="72" y="152"/>
                  </a:cubicBezTo>
                  <a:cubicBezTo>
                    <a:pt x="44" y="168"/>
                    <a:pt x="44" y="168"/>
                    <a:pt x="44" y="168"/>
                  </a:cubicBezTo>
                  <a:cubicBezTo>
                    <a:pt x="43" y="167"/>
                    <a:pt x="42" y="166"/>
                    <a:pt x="40" y="166"/>
                  </a:cubicBezTo>
                  <a:cubicBezTo>
                    <a:pt x="37" y="166"/>
                    <a:pt x="34" y="169"/>
                    <a:pt x="34" y="172"/>
                  </a:cubicBezTo>
                  <a:cubicBezTo>
                    <a:pt x="34" y="175"/>
                    <a:pt x="36" y="177"/>
                    <a:pt x="38" y="178"/>
                  </a:cubicBezTo>
                  <a:cubicBezTo>
                    <a:pt x="38" y="200"/>
                    <a:pt x="38" y="200"/>
                    <a:pt x="38" y="200"/>
                  </a:cubicBezTo>
                  <a:cubicBezTo>
                    <a:pt x="32" y="200"/>
                    <a:pt x="32" y="200"/>
                    <a:pt x="32" y="200"/>
                  </a:cubicBezTo>
                  <a:cubicBezTo>
                    <a:pt x="32" y="202"/>
                    <a:pt x="32" y="202"/>
                    <a:pt x="32" y="202"/>
                  </a:cubicBezTo>
                  <a:cubicBezTo>
                    <a:pt x="32" y="216"/>
                    <a:pt x="32" y="216"/>
                    <a:pt x="32" y="216"/>
                  </a:cubicBezTo>
                  <a:cubicBezTo>
                    <a:pt x="48" y="216"/>
                    <a:pt x="48" y="216"/>
                    <a:pt x="48" y="216"/>
                  </a:cubicBezTo>
                  <a:cubicBezTo>
                    <a:pt x="48" y="200"/>
                    <a:pt x="48" y="200"/>
                    <a:pt x="48" y="200"/>
                  </a:cubicBezTo>
                  <a:cubicBezTo>
                    <a:pt x="42" y="200"/>
                    <a:pt x="42" y="200"/>
                    <a:pt x="42" y="200"/>
                  </a:cubicBezTo>
                  <a:cubicBezTo>
                    <a:pt x="42" y="178"/>
                    <a:pt x="42" y="178"/>
                    <a:pt x="42" y="178"/>
                  </a:cubicBezTo>
                  <a:cubicBezTo>
                    <a:pt x="44" y="177"/>
                    <a:pt x="46" y="175"/>
                    <a:pt x="46" y="172"/>
                  </a:cubicBezTo>
                  <a:cubicBezTo>
                    <a:pt x="46" y="172"/>
                    <a:pt x="46" y="171"/>
                    <a:pt x="46" y="171"/>
                  </a:cubicBezTo>
                  <a:cubicBezTo>
                    <a:pt x="72" y="157"/>
                    <a:pt x="72" y="157"/>
                    <a:pt x="72" y="157"/>
                  </a:cubicBezTo>
                  <a:cubicBezTo>
                    <a:pt x="72" y="172"/>
                    <a:pt x="72" y="172"/>
                    <a:pt x="72" y="172"/>
                  </a:cubicBezTo>
                  <a:cubicBezTo>
                    <a:pt x="72" y="176"/>
                    <a:pt x="72" y="176"/>
                    <a:pt x="72" y="176"/>
                  </a:cubicBezTo>
                  <a:cubicBezTo>
                    <a:pt x="72" y="180"/>
                    <a:pt x="76" y="184"/>
                    <a:pt x="80" y="184"/>
                  </a:cubicBezTo>
                  <a:cubicBezTo>
                    <a:pt x="118" y="184"/>
                    <a:pt x="118" y="184"/>
                    <a:pt x="118" y="184"/>
                  </a:cubicBezTo>
                  <a:cubicBezTo>
                    <a:pt x="118" y="224"/>
                    <a:pt x="118" y="224"/>
                    <a:pt x="118" y="224"/>
                  </a:cubicBezTo>
                  <a:cubicBezTo>
                    <a:pt x="112" y="224"/>
                    <a:pt x="112" y="224"/>
                    <a:pt x="112" y="224"/>
                  </a:cubicBezTo>
                  <a:cubicBezTo>
                    <a:pt x="112" y="226"/>
                    <a:pt x="112" y="226"/>
                    <a:pt x="112" y="226"/>
                  </a:cubicBezTo>
                  <a:cubicBezTo>
                    <a:pt x="112" y="240"/>
                    <a:pt x="112" y="240"/>
                    <a:pt x="112" y="240"/>
                  </a:cubicBezTo>
                  <a:cubicBezTo>
                    <a:pt x="128" y="240"/>
                    <a:pt x="128" y="240"/>
                    <a:pt x="128" y="240"/>
                  </a:cubicBezTo>
                  <a:cubicBezTo>
                    <a:pt x="128" y="224"/>
                    <a:pt x="128" y="224"/>
                    <a:pt x="128" y="224"/>
                  </a:cubicBezTo>
                  <a:cubicBezTo>
                    <a:pt x="122" y="224"/>
                    <a:pt x="122" y="224"/>
                    <a:pt x="122" y="224"/>
                  </a:cubicBezTo>
                  <a:cubicBezTo>
                    <a:pt x="122" y="184"/>
                    <a:pt x="122" y="184"/>
                    <a:pt x="122" y="184"/>
                  </a:cubicBezTo>
                  <a:cubicBezTo>
                    <a:pt x="160" y="184"/>
                    <a:pt x="160" y="184"/>
                    <a:pt x="160" y="184"/>
                  </a:cubicBezTo>
                  <a:cubicBezTo>
                    <a:pt x="164" y="184"/>
                    <a:pt x="168" y="180"/>
                    <a:pt x="168" y="176"/>
                  </a:cubicBezTo>
                  <a:cubicBezTo>
                    <a:pt x="168" y="157"/>
                    <a:pt x="168" y="157"/>
                    <a:pt x="168" y="157"/>
                  </a:cubicBezTo>
                  <a:cubicBezTo>
                    <a:pt x="194" y="171"/>
                    <a:pt x="194" y="171"/>
                    <a:pt x="194" y="171"/>
                  </a:cubicBezTo>
                  <a:cubicBezTo>
                    <a:pt x="194" y="171"/>
                    <a:pt x="194" y="172"/>
                    <a:pt x="194" y="172"/>
                  </a:cubicBezTo>
                  <a:cubicBezTo>
                    <a:pt x="194" y="175"/>
                    <a:pt x="196" y="177"/>
                    <a:pt x="198" y="178"/>
                  </a:cubicBezTo>
                  <a:cubicBezTo>
                    <a:pt x="198" y="200"/>
                    <a:pt x="198" y="200"/>
                    <a:pt x="198" y="200"/>
                  </a:cubicBezTo>
                  <a:cubicBezTo>
                    <a:pt x="192" y="200"/>
                    <a:pt x="192" y="200"/>
                    <a:pt x="192" y="200"/>
                  </a:cubicBezTo>
                  <a:cubicBezTo>
                    <a:pt x="192" y="202"/>
                    <a:pt x="192" y="202"/>
                    <a:pt x="192" y="202"/>
                  </a:cubicBezTo>
                  <a:cubicBezTo>
                    <a:pt x="192" y="216"/>
                    <a:pt x="192" y="216"/>
                    <a:pt x="192" y="216"/>
                  </a:cubicBezTo>
                  <a:cubicBezTo>
                    <a:pt x="208" y="216"/>
                    <a:pt x="208" y="216"/>
                    <a:pt x="208" y="216"/>
                  </a:cubicBezTo>
                  <a:cubicBezTo>
                    <a:pt x="208" y="200"/>
                    <a:pt x="208" y="200"/>
                    <a:pt x="208" y="200"/>
                  </a:cubicBezTo>
                  <a:cubicBezTo>
                    <a:pt x="202" y="200"/>
                    <a:pt x="202" y="200"/>
                    <a:pt x="202" y="200"/>
                  </a:cubicBezTo>
                  <a:cubicBezTo>
                    <a:pt x="202" y="178"/>
                    <a:pt x="202" y="178"/>
                    <a:pt x="202" y="178"/>
                  </a:cubicBezTo>
                  <a:cubicBezTo>
                    <a:pt x="204" y="177"/>
                    <a:pt x="206" y="175"/>
                    <a:pt x="206" y="172"/>
                  </a:cubicBezTo>
                  <a:cubicBezTo>
                    <a:pt x="206" y="169"/>
                    <a:pt x="203" y="166"/>
                    <a:pt x="200" y="166"/>
                  </a:cubicBezTo>
                  <a:cubicBezTo>
                    <a:pt x="198" y="166"/>
                    <a:pt x="197" y="167"/>
                    <a:pt x="196" y="168"/>
                  </a:cubicBezTo>
                  <a:cubicBezTo>
                    <a:pt x="168" y="152"/>
                    <a:pt x="168" y="152"/>
                    <a:pt x="168" y="152"/>
                  </a:cubicBezTo>
                  <a:cubicBezTo>
                    <a:pt x="168" y="138"/>
                    <a:pt x="168" y="138"/>
                    <a:pt x="168" y="138"/>
                  </a:cubicBezTo>
                  <a:cubicBezTo>
                    <a:pt x="224" y="138"/>
                    <a:pt x="224" y="138"/>
                    <a:pt x="224" y="138"/>
                  </a:cubicBezTo>
                  <a:cubicBezTo>
                    <a:pt x="224" y="144"/>
                    <a:pt x="224" y="144"/>
                    <a:pt x="224" y="144"/>
                  </a:cubicBezTo>
                  <a:cubicBezTo>
                    <a:pt x="240" y="144"/>
                    <a:pt x="240" y="144"/>
                    <a:pt x="240" y="144"/>
                  </a:cubicBezTo>
                  <a:cubicBezTo>
                    <a:pt x="240" y="128"/>
                    <a:pt x="240" y="128"/>
                    <a:pt x="240" y="128"/>
                  </a:cubicBezTo>
                  <a:cubicBezTo>
                    <a:pt x="224" y="128"/>
                    <a:pt x="224" y="128"/>
                    <a:pt x="224" y="128"/>
                  </a:cubicBezTo>
                  <a:cubicBezTo>
                    <a:pt x="224" y="130"/>
                    <a:pt x="224" y="130"/>
                    <a:pt x="224" y="130"/>
                  </a:cubicBezTo>
                  <a:cubicBezTo>
                    <a:pt x="224" y="134"/>
                    <a:pt x="224" y="134"/>
                    <a:pt x="224" y="134"/>
                  </a:cubicBezTo>
                  <a:cubicBezTo>
                    <a:pt x="168" y="134"/>
                    <a:pt x="168" y="134"/>
                    <a:pt x="168" y="134"/>
                  </a:cubicBezTo>
                  <a:cubicBezTo>
                    <a:pt x="168" y="104"/>
                    <a:pt x="168" y="104"/>
                    <a:pt x="168" y="104"/>
                  </a:cubicBezTo>
                  <a:cubicBezTo>
                    <a:pt x="168" y="103"/>
                    <a:pt x="168" y="102"/>
                    <a:pt x="167" y="101"/>
                  </a:cubicBezTo>
                  <a:cubicBezTo>
                    <a:pt x="196" y="84"/>
                    <a:pt x="196" y="84"/>
                    <a:pt x="196" y="84"/>
                  </a:cubicBezTo>
                  <a:cubicBezTo>
                    <a:pt x="197" y="85"/>
                    <a:pt x="198" y="86"/>
                    <a:pt x="200" y="86"/>
                  </a:cubicBezTo>
                  <a:cubicBezTo>
                    <a:pt x="203" y="86"/>
                    <a:pt x="206" y="83"/>
                    <a:pt x="206" y="80"/>
                  </a:cubicBezTo>
                  <a:cubicBezTo>
                    <a:pt x="206" y="77"/>
                    <a:pt x="204" y="75"/>
                    <a:pt x="202" y="74"/>
                  </a:cubicBezTo>
                  <a:cubicBezTo>
                    <a:pt x="202" y="52"/>
                    <a:pt x="202" y="52"/>
                    <a:pt x="202" y="52"/>
                  </a:cubicBezTo>
                  <a:cubicBezTo>
                    <a:pt x="208" y="52"/>
                    <a:pt x="208" y="52"/>
                    <a:pt x="208" y="52"/>
                  </a:cubicBezTo>
                  <a:cubicBezTo>
                    <a:pt x="208" y="36"/>
                    <a:pt x="208" y="36"/>
                    <a:pt x="208" y="36"/>
                  </a:cubicBezTo>
                  <a:cubicBezTo>
                    <a:pt x="192" y="36"/>
                    <a:pt x="192" y="36"/>
                    <a:pt x="192" y="36"/>
                  </a:cubicBezTo>
                  <a:cubicBezTo>
                    <a:pt x="192" y="38"/>
                    <a:pt x="192" y="38"/>
                    <a:pt x="192" y="38"/>
                  </a:cubicBezTo>
                  <a:cubicBezTo>
                    <a:pt x="192" y="52"/>
                    <a:pt x="192" y="52"/>
                    <a:pt x="192" y="52"/>
                  </a:cubicBezTo>
                  <a:cubicBezTo>
                    <a:pt x="198" y="52"/>
                    <a:pt x="198" y="52"/>
                    <a:pt x="198" y="52"/>
                  </a:cubicBezTo>
                  <a:cubicBezTo>
                    <a:pt x="198" y="74"/>
                    <a:pt x="198" y="74"/>
                    <a:pt x="198" y="74"/>
                  </a:cubicBezTo>
                  <a:cubicBezTo>
                    <a:pt x="196" y="75"/>
                    <a:pt x="194" y="77"/>
                    <a:pt x="194" y="80"/>
                  </a:cubicBezTo>
                  <a:cubicBezTo>
                    <a:pt x="194" y="80"/>
                    <a:pt x="194" y="81"/>
                    <a:pt x="194" y="81"/>
                  </a:cubicBezTo>
                  <a:cubicBezTo>
                    <a:pt x="165" y="97"/>
                    <a:pt x="165" y="97"/>
                    <a:pt x="165" y="97"/>
                  </a:cubicBezTo>
                  <a:cubicBezTo>
                    <a:pt x="163" y="97"/>
                    <a:pt x="162" y="96"/>
                    <a:pt x="160" y="96"/>
                  </a:cubicBezTo>
                  <a:cubicBezTo>
                    <a:pt x="104" y="96"/>
                    <a:pt x="104" y="96"/>
                    <a:pt x="104" y="96"/>
                  </a:cubicBezTo>
                  <a:cubicBezTo>
                    <a:pt x="104" y="80"/>
                    <a:pt x="104" y="80"/>
                    <a:pt x="104" y="80"/>
                  </a:cubicBezTo>
                  <a:cubicBezTo>
                    <a:pt x="104" y="71"/>
                    <a:pt x="111" y="64"/>
                    <a:pt x="120" y="64"/>
                  </a:cubicBezTo>
                  <a:cubicBezTo>
                    <a:pt x="129" y="64"/>
                    <a:pt x="136" y="71"/>
                    <a:pt x="136" y="80"/>
                  </a:cubicBezTo>
                  <a:cubicBezTo>
                    <a:pt x="136" y="80"/>
                    <a:pt x="136" y="80"/>
                    <a:pt x="136" y="80"/>
                  </a:cubicBezTo>
                  <a:cubicBezTo>
                    <a:pt x="136" y="84"/>
                    <a:pt x="140" y="88"/>
                    <a:pt x="144" y="88"/>
                  </a:cubicBezTo>
                  <a:cubicBezTo>
                    <a:pt x="148" y="88"/>
                    <a:pt x="152" y="84"/>
                    <a:pt x="152" y="80"/>
                  </a:cubicBezTo>
                  <a:cubicBezTo>
                    <a:pt x="152" y="79"/>
                    <a:pt x="152" y="79"/>
                    <a:pt x="152" y="79"/>
                  </a:cubicBezTo>
                  <a:cubicBezTo>
                    <a:pt x="152" y="79"/>
                    <a:pt x="152" y="79"/>
                    <a:pt x="152" y="79"/>
                  </a:cubicBezTo>
                  <a:cubicBezTo>
                    <a:pt x="151" y="62"/>
                    <a:pt x="138" y="49"/>
                    <a:pt x="122" y="48"/>
                  </a:cubicBezTo>
                  <a:cubicBezTo>
                    <a:pt x="122" y="16"/>
                    <a:pt x="122" y="16"/>
                    <a:pt x="122" y="16"/>
                  </a:cubicBezTo>
                  <a:cubicBezTo>
                    <a:pt x="128" y="16"/>
                    <a:pt x="128" y="16"/>
                    <a:pt x="128" y="16"/>
                  </a:cubicBezTo>
                  <a:cubicBezTo>
                    <a:pt x="128" y="0"/>
                    <a:pt x="128" y="0"/>
                    <a:pt x="128" y="0"/>
                  </a:cubicBezTo>
                  <a:lnTo>
                    <a:pt x="112" y="0"/>
                  </a:lnTo>
                  <a:close/>
                  <a:moveTo>
                    <a:pt x="116" y="4"/>
                  </a:moveTo>
                  <a:cubicBezTo>
                    <a:pt x="124" y="4"/>
                    <a:pt x="124" y="4"/>
                    <a:pt x="124" y="4"/>
                  </a:cubicBezTo>
                  <a:cubicBezTo>
                    <a:pt x="124" y="12"/>
                    <a:pt x="124" y="12"/>
                    <a:pt x="124" y="12"/>
                  </a:cubicBezTo>
                  <a:cubicBezTo>
                    <a:pt x="116" y="12"/>
                    <a:pt x="116" y="12"/>
                    <a:pt x="116" y="12"/>
                  </a:cubicBezTo>
                  <a:lnTo>
                    <a:pt x="116" y="4"/>
                  </a:lnTo>
                  <a:close/>
                  <a:moveTo>
                    <a:pt x="36" y="40"/>
                  </a:moveTo>
                  <a:cubicBezTo>
                    <a:pt x="44" y="40"/>
                    <a:pt x="44" y="40"/>
                    <a:pt x="44" y="40"/>
                  </a:cubicBezTo>
                  <a:cubicBezTo>
                    <a:pt x="44" y="48"/>
                    <a:pt x="44" y="48"/>
                    <a:pt x="44" y="48"/>
                  </a:cubicBezTo>
                  <a:cubicBezTo>
                    <a:pt x="36" y="48"/>
                    <a:pt x="36" y="48"/>
                    <a:pt x="36" y="48"/>
                  </a:cubicBezTo>
                  <a:lnTo>
                    <a:pt x="36" y="40"/>
                  </a:lnTo>
                  <a:close/>
                  <a:moveTo>
                    <a:pt x="196" y="40"/>
                  </a:moveTo>
                  <a:cubicBezTo>
                    <a:pt x="204" y="40"/>
                    <a:pt x="204" y="40"/>
                    <a:pt x="204" y="40"/>
                  </a:cubicBezTo>
                  <a:cubicBezTo>
                    <a:pt x="204" y="48"/>
                    <a:pt x="204" y="48"/>
                    <a:pt x="204" y="48"/>
                  </a:cubicBezTo>
                  <a:cubicBezTo>
                    <a:pt x="196" y="48"/>
                    <a:pt x="196" y="48"/>
                    <a:pt x="196" y="48"/>
                  </a:cubicBezTo>
                  <a:lnTo>
                    <a:pt x="196" y="40"/>
                  </a:lnTo>
                  <a:close/>
                  <a:moveTo>
                    <a:pt x="120" y="52"/>
                  </a:moveTo>
                  <a:cubicBezTo>
                    <a:pt x="135" y="52"/>
                    <a:pt x="148" y="64"/>
                    <a:pt x="148" y="80"/>
                  </a:cubicBezTo>
                  <a:cubicBezTo>
                    <a:pt x="148" y="80"/>
                    <a:pt x="148" y="80"/>
                    <a:pt x="148" y="80"/>
                  </a:cubicBezTo>
                  <a:cubicBezTo>
                    <a:pt x="148" y="82"/>
                    <a:pt x="146" y="84"/>
                    <a:pt x="144" y="84"/>
                  </a:cubicBezTo>
                  <a:cubicBezTo>
                    <a:pt x="142" y="84"/>
                    <a:pt x="140" y="82"/>
                    <a:pt x="140" y="80"/>
                  </a:cubicBezTo>
                  <a:cubicBezTo>
                    <a:pt x="140" y="80"/>
                    <a:pt x="140" y="80"/>
                    <a:pt x="140" y="80"/>
                  </a:cubicBezTo>
                  <a:cubicBezTo>
                    <a:pt x="140" y="80"/>
                    <a:pt x="140" y="80"/>
                    <a:pt x="140" y="80"/>
                  </a:cubicBezTo>
                  <a:cubicBezTo>
                    <a:pt x="140" y="80"/>
                    <a:pt x="140" y="80"/>
                    <a:pt x="140" y="80"/>
                  </a:cubicBezTo>
                  <a:cubicBezTo>
                    <a:pt x="140" y="79"/>
                    <a:pt x="140" y="79"/>
                    <a:pt x="140" y="79"/>
                  </a:cubicBezTo>
                  <a:cubicBezTo>
                    <a:pt x="140" y="79"/>
                    <a:pt x="140" y="79"/>
                    <a:pt x="140" y="79"/>
                  </a:cubicBezTo>
                  <a:cubicBezTo>
                    <a:pt x="139" y="68"/>
                    <a:pt x="131" y="60"/>
                    <a:pt x="120" y="60"/>
                  </a:cubicBezTo>
                  <a:cubicBezTo>
                    <a:pt x="109" y="60"/>
                    <a:pt x="100" y="69"/>
                    <a:pt x="100" y="80"/>
                  </a:cubicBezTo>
                  <a:cubicBezTo>
                    <a:pt x="100" y="96"/>
                    <a:pt x="100" y="96"/>
                    <a:pt x="100" y="96"/>
                  </a:cubicBezTo>
                  <a:cubicBezTo>
                    <a:pt x="92" y="96"/>
                    <a:pt x="92" y="96"/>
                    <a:pt x="92" y="96"/>
                  </a:cubicBezTo>
                  <a:cubicBezTo>
                    <a:pt x="92" y="80"/>
                    <a:pt x="92" y="80"/>
                    <a:pt x="92" y="80"/>
                  </a:cubicBezTo>
                  <a:cubicBezTo>
                    <a:pt x="92" y="64"/>
                    <a:pt x="105" y="52"/>
                    <a:pt x="120" y="52"/>
                  </a:cubicBezTo>
                  <a:close/>
                  <a:moveTo>
                    <a:pt x="40" y="78"/>
                  </a:moveTo>
                  <a:cubicBezTo>
                    <a:pt x="41" y="78"/>
                    <a:pt x="42" y="79"/>
                    <a:pt x="42" y="80"/>
                  </a:cubicBezTo>
                  <a:cubicBezTo>
                    <a:pt x="42" y="81"/>
                    <a:pt x="41" y="82"/>
                    <a:pt x="40" y="82"/>
                  </a:cubicBezTo>
                  <a:cubicBezTo>
                    <a:pt x="39" y="82"/>
                    <a:pt x="38" y="81"/>
                    <a:pt x="38" y="80"/>
                  </a:cubicBezTo>
                  <a:cubicBezTo>
                    <a:pt x="38" y="79"/>
                    <a:pt x="39" y="78"/>
                    <a:pt x="40" y="78"/>
                  </a:cubicBezTo>
                  <a:close/>
                  <a:moveTo>
                    <a:pt x="200" y="78"/>
                  </a:moveTo>
                  <a:cubicBezTo>
                    <a:pt x="201" y="78"/>
                    <a:pt x="202" y="79"/>
                    <a:pt x="202" y="80"/>
                  </a:cubicBezTo>
                  <a:cubicBezTo>
                    <a:pt x="202" y="81"/>
                    <a:pt x="201" y="82"/>
                    <a:pt x="200" y="82"/>
                  </a:cubicBezTo>
                  <a:cubicBezTo>
                    <a:pt x="199" y="82"/>
                    <a:pt x="198" y="81"/>
                    <a:pt x="198" y="80"/>
                  </a:cubicBezTo>
                  <a:cubicBezTo>
                    <a:pt x="198" y="79"/>
                    <a:pt x="199" y="78"/>
                    <a:pt x="200" y="78"/>
                  </a:cubicBezTo>
                  <a:close/>
                  <a:moveTo>
                    <a:pt x="80" y="100"/>
                  </a:moveTo>
                  <a:cubicBezTo>
                    <a:pt x="160" y="100"/>
                    <a:pt x="160" y="100"/>
                    <a:pt x="160" y="100"/>
                  </a:cubicBezTo>
                  <a:cubicBezTo>
                    <a:pt x="162" y="100"/>
                    <a:pt x="164" y="102"/>
                    <a:pt x="164" y="104"/>
                  </a:cubicBezTo>
                  <a:cubicBezTo>
                    <a:pt x="164" y="144"/>
                    <a:pt x="164" y="144"/>
                    <a:pt x="164" y="144"/>
                  </a:cubicBezTo>
                  <a:cubicBezTo>
                    <a:pt x="76" y="144"/>
                    <a:pt x="76" y="144"/>
                    <a:pt x="76" y="144"/>
                  </a:cubicBezTo>
                  <a:cubicBezTo>
                    <a:pt x="76" y="104"/>
                    <a:pt x="76" y="104"/>
                    <a:pt x="76" y="104"/>
                  </a:cubicBezTo>
                  <a:cubicBezTo>
                    <a:pt x="76" y="102"/>
                    <a:pt x="78" y="100"/>
                    <a:pt x="80" y="100"/>
                  </a:cubicBezTo>
                  <a:close/>
                  <a:moveTo>
                    <a:pt x="120" y="108"/>
                  </a:moveTo>
                  <a:cubicBezTo>
                    <a:pt x="115" y="108"/>
                    <a:pt x="110" y="113"/>
                    <a:pt x="110" y="118"/>
                  </a:cubicBezTo>
                  <a:cubicBezTo>
                    <a:pt x="110" y="121"/>
                    <a:pt x="112" y="124"/>
                    <a:pt x="114" y="126"/>
                  </a:cubicBezTo>
                  <a:cubicBezTo>
                    <a:pt x="114" y="140"/>
                    <a:pt x="114" y="140"/>
                    <a:pt x="114" y="140"/>
                  </a:cubicBezTo>
                  <a:cubicBezTo>
                    <a:pt x="126" y="140"/>
                    <a:pt x="126" y="140"/>
                    <a:pt x="126" y="140"/>
                  </a:cubicBezTo>
                  <a:cubicBezTo>
                    <a:pt x="126" y="126"/>
                    <a:pt x="126" y="126"/>
                    <a:pt x="126" y="126"/>
                  </a:cubicBezTo>
                  <a:cubicBezTo>
                    <a:pt x="128" y="124"/>
                    <a:pt x="130" y="121"/>
                    <a:pt x="130" y="118"/>
                  </a:cubicBezTo>
                  <a:cubicBezTo>
                    <a:pt x="130" y="113"/>
                    <a:pt x="125" y="108"/>
                    <a:pt x="120" y="108"/>
                  </a:cubicBezTo>
                  <a:close/>
                  <a:moveTo>
                    <a:pt x="120" y="112"/>
                  </a:moveTo>
                  <a:cubicBezTo>
                    <a:pt x="123" y="112"/>
                    <a:pt x="126" y="115"/>
                    <a:pt x="126" y="118"/>
                  </a:cubicBezTo>
                  <a:cubicBezTo>
                    <a:pt x="126" y="120"/>
                    <a:pt x="125" y="122"/>
                    <a:pt x="123" y="123"/>
                  </a:cubicBezTo>
                  <a:cubicBezTo>
                    <a:pt x="122" y="124"/>
                    <a:pt x="122" y="124"/>
                    <a:pt x="122" y="124"/>
                  </a:cubicBezTo>
                  <a:cubicBezTo>
                    <a:pt x="122" y="136"/>
                    <a:pt x="122" y="136"/>
                    <a:pt x="122" y="136"/>
                  </a:cubicBezTo>
                  <a:cubicBezTo>
                    <a:pt x="118" y="136"/>
                    <a:pt x="118" y="136"/>
                    <a:pt x="118" y="136"/>
                  </a:cubicBezTo>
                  <a:cubicBezTo>
                    <a:pt x="118" y="124"/>
                    <a:pt x="118" y="124"/>
                    <a:pt x="118" y="124"/>
                  </a:cubicBezTo>
                  <a:cubicBezTo>
                    <a:pt x="117" y="123"/>
                    <a:pt x="117" y="123"/>
                    <a:pt x="117" y="123"/>
                  </a:cubicBezTo>
                  <a:cubicBezTo>
                    <a:pt x="115" y="122"/>
                    <a:pt x="114" y="120"/>
                    <a:pt x="114" y="118"/>
                  </a:cubicBezTo>
                  <a:cubicBezTo>
                    <a:pt x="114" y="115"/>
                    <a:pt x="117" y="112"/>
                    <a:pt x="120" y="112"/>
                  </a:cubicBezTo>
                  <a:close/>
                  <a:moveTo>
                    <a:pt x="4" y="132"/>
                  </a:moveTo>
                  <a:cubicBezTo>
                    <a:pt x="12" y="132"/>
                    <a:pt x="12" y="132"/>
                    <a:pt x="12" y="132"/>
                  </a:cubicBezTo>
                  <a:cubicBezTo>
                    <a:pt x="12" y="134"/>
                    <a:pt x="12" y="134"/>
                    <a:pt x="12" y="134"/>
                  </a:cubicBezTo>
                  <a:cubicBezTo>
                    <a:pt x="12" y="138"/>
                    <a:pt x="12" y="138"/>
                    <a:pt x="12" y="138"/>
                  </a:cubicBezTo>
                  <a:cubicBezTo>
                    <a:pt x="12" y="140"/>
                    <a:pt x="12" y="140"/>
                    <a:pt x="12" y="140"/>
                  </a:cubicBezTo>
                  <a:cubicBezTo>
                    <a:pt x="4" y="140"/>
                    <a:pt x="4" y="140"/>
                    <a:pt x="4" y="140"/>
                  </a:cubicBezTo>
                  <a:lnTo>
                    <a:pt x="4" y="132"/>
                  </a:lnTo>
                  <a:close/>
                  <a:moveTo>
                    <a:pt x="228" y="132"/>
                  </a:moveTo>
                  <a:cubicBezTo>
                    <a:pt x="236" y="132"/>
                    <a:pt x="236" y="132"/>
                    <a:pt x="236" y="132"/>
                  </a:cubicBezTo>
                  <a:cubicBezTo>
                    <a:pt x="236" y="140"/>
                    <a:pt x="236" y="140"/>
                    <a:pt x="236" y="140"/>
                  </a:cubicBezTo>
                  <a:cubicBezTo>
                    <a:pt x="228" y="140"/>
                    <a:pt x="228" y="140"/>
                    <a:pt x="228" y="140"/>
                  </a:cubicBezTo>
                  <a:lnTo>
                    <a:pt x="228" y="132"/>
                  </a:lnTo>
                  <a:close/>
                  <a:moveTo>
                    <a:pt x="76" y="148"/>
                  </a:moveTo>
                  <a:cubicBezTo>
                    <a:pt x="164" y="148"/>
                    <a:pt x="164" y="148"/>
                    <a:pt x="164" y="148"/>
                  </a:cubicBezTo>
                  <a:cubicBezTo>
                    <a:pt x="164" y="168"/>
                    <a:pt x="164" y="168"/>
                    <a:pt x="164" y="168"/>
                  </a:cubicBezTo>
                  <a:cubicBezTo>
                    <a:pt x="76" y="168"/>
                    <a:pt x="76" y="168"/>
                    <a:pt x="76" y="168"/>
                  </a:cubicBezTo>
                  <a:lnTo>
                    <a:pt x="76" y="148"/>
                  </a:lnTo>
                  <a:close/>
                  <a:moveTo>
                    <a:pt x="82" y="152"/>
                  </a:moveTo>
                  <a:cubicBezTo>
                    <a:pt x="82" y="154"/>
                    <a:pt x="82" y="154"/>
                    <a:pt x="82" y="154"/>
                  </a:cubicBezTo>
                  <a:cubicBezTo>
                    <a:pt x="82" y="164"/>
                    <a:pt x="82" y="164"/>
                    <a:pt x="82" y="164"/>
                  </a:cubicBezTo>
                  <a:cubicBezTo>
                    <a:pt x="94" y="164"/>
                    <a:pt x="94" y="164"/>
                    <a:pt x="94" y="164"/>
                  </a:cubicBezTo>
                  <a:cubicBezTo>
                    <a:pt x="94" y="152"/>
                    <a:pt x="94" y="152"/>
                    <a:pt x="94" y="152"/>
                  </a:cubicBezTo>
                  <a:lnTo>
                    <a:pt x="82" y="152"/>
                  </a:lnTo>
                  <a:close/>
                  <a:moveTo>
                    <a:pt x="98" y="152"/>
                  </a:moveTo>
                  <a:cubicBezTo>
                    <a:pt x="98" y="154"/>
                    <a:pt x="98" y="154"/>
                    <a:pt x="98" y="154"/>
                  </a:cubicBezTo>
                  <a:cubicBezTo>
                    <a:pt x="98" y="164"/>
                    <a:pt x="98" y="164"/>
                    <a:pt x="98" y="164"/>
                  </a:cubicBezTo>
                  <a:cubicBezTo>
                    <a:pt x="110" y="164"/>
                    <a:pt x="110" y="164"/>
                    <a:pt x="110" y="164"/>
                  </a:cubicBezTo>
                  <a:cubicBezTo>
                    <a:pt x="110" y="152"/>
                    <a:pt x="110" y="152"/>
                    <a:pt x="110" y="152"/>
                  </a:cubicBezTo>
                  <a:lnTo>
                    <a:pt x="98" y="152"/>
                  </a:lnTo>
                  <a:close/>
                  <a:moveTo>
                    <a:pt x="114" y="152"/>
                  </a:moveTo>
                  <a:cubicBezTo>
                    <a:pt x="114" y="154"/>
                    <a:pt x="114" y="154"/>
                    <a:pt x="114" y="154"/>
                  </a:cubicBezTo>
                  <a:cubicBezTo>
                    <a:pt x="114" y="164"/>
                    <a:pt x="114" y="164"/>
                    <a:pt x="114" y="164"/>
                  </a:cubicBezTo>
                  <a:cubicBezTo>
                    <a:pt x="126" y="164"/>
                    <a:pt x="126" y="164"/>
                    <a:pt x="126" y="164"/>
                  </a:cubicBezTo>
                  <a:cubicBezTo>
                    <a:pt x="126" y="152"/>
                    <a:pt x="126" y="152"/>
                    <a:pt x="126" y="152"/>
                  </a:cubicBezTo>
                  <a:lnTo>
                    <a:pt x="114" y="152"/>
                  </a:lnTo>
                  <a:close/>
                  <a:moveTo>
                    <a:pt x="130" y="152"/>
                  </a:moveTo>
                  <a:cubicBezTo>
                    <a:pt x="130" y="154"/>
                    <a:pt x="130" y="154"/>
                    <a:pt x="130" y="154"/>
                  </a:cubicBezTo>
                  <a:cubicBezTo>
                    <a:pt x="130" y="164"/>
                    <a:pt x="130" y="164"/>
                    <a:pt x="130" y="164"/>
                  </a:cubicBezTo>
                  <a:cubicBezTo>
                    <a:pt x="142" y="164"/>
                    <a:pt x="142" y="164"/>
                    <a:pt x="142" y="164"/>
                  </a:cubicBezTo>
                  <a:cubicBezTo>
                    <a:pt x="142" y="152"/>
                    <a:pt x="142" y="152"/>
                    <a:pt x="142" y="152"/>
                  </a:cubicBezTo>
                  <a:lnTo>
                    <a:pt x="130" y="152"/>
                  </a:lnTo>
                  <a:close/>
                  <a:moveTo>
                    <a:pt x="146" y="152"/>
                  </a:moveTo>
                  <a:cubicBezTo>
                    <a:pt x="146" y="154"/>
                    <a:pt x="146" y="154"/>
                    <a:pt x="146" y="154"/>
                  </a:cubicBezTo>
                  <a:cubicBezTo>
                    <a:pt x="146" y="164"/>
                    <a:pt x="146" y="164"/>
                    <a:pt x="146" y="164"/>
                  </a:cubicBezTo>
                  <a:cubicBezTo>
                    <a:pt x="158" y="164"/>
                    <a:pt x="158" y="164"/>
                    <a:pt x="158" y="164"/>
                  </a:cubicBezTo>
                  <a:cubicBezTo>
                    <a:pt x="158" y="152"/>
                    <a:pt x="158" y="152"/>
                    <a:pt x="158" y="152"/>
                  </a:cubicBezTo>
                  <a:lnTo>
                    <a:pt x="146" y="152"/>
                  </a:lnTo>
                  <a:close/>
                  <a:moveTo>
                    <a:pt x="86" y="156"/>
                  </a:moveTo>
                  <a:cubicBezTo>
                    <a:pt x="90" y="156"/>
                    <a:pt x="90" y="156"/>
                    <a:pt x="90" y="156"/>
                  </a:cubicBezTo>
                  <a:cubicBezTo>
                    <a:pt x="90" y="160"/>
                    <a:pt x="90" y="160"/>
                    <a:pt x="90" y="160"/>
                  </a:cubicBezTo>
                  <a:cubicBezTo>
                    <a:pt x="86" y="160"/>
                    <a:pt x="86" y="160"/>
                    <a:pt x="86" y="160"/>
                  </a:cubicBezTo>
                  <a:lnTo>
                    <a:pt x="86" y="156"/>
                  </a:lnTo>
                  <a:close/>
                  <a:moveTo>
                    <a:pt x="102" y="156"/>
                  </a:moveTo>
                  <a:cubicBezTo>
                    <a:pt x="106" y="156"/>
                    <a:pt x="106" y="156"/>
                    <a:pt x="106" y="156"/>
                  </a:cubicBezTo>
                  <a:cubicBezTo>
                    <a:pt x="106" y="160"/>
                    <a:pt x="106" y="160"/>
                    <a:pt x="106" y="160"/>
                  </a:cubicBezTo>
                  <a:cubicBezTo>
                    <a:pt x="102" y="160"/>
                    <a:pt x="102" y="160"/>
                    <a:pt x="102" y="160"/>
                  </a:cubicBezTo>
                  <a:lnTo>
                    <a:pt x="102" y="156"/>
                  </a:lnTo>
                  <a:close/>
                  <a:moveTo>
                    <a:pt x="118" y="156"/>
                  </a:moveTo>
                  <a:cubicBezTo>
                    <a:pt x="122" y="156"/>
                    <a:pt x="122" y="156"/>
                    <a:pt x="122" y="156"/>
                  </a:cubicBezTo>
                  <a:cubicBezTo>
                    <a:pt x="122" y="160"/>
                    <a:pt x="122" y="160"/>
                    <a:pt x="122" y="160"/>
                  </a:cubicBezTo>
                  <a:cubicBezTo>
                    <a:pt x="118" y="160"/>
                    <a:pt x="118" y="160"/>
                    <a:pt x="118" y="160"/>
                  </a:cubicBezTo>
                  <a:lnTo>
                    <a:pt x="118" y="156"/>
                  </a:lnTo>
                  <a:close/>
                  <a:moveTo>
                    <a:pt x="134" y="156"/>
                  </a:moveTo>
                  <a:cubicBezTo>
                    <a:pt x="138" y="156"/>
                    <a:pt x="138" y="156"/>
                    <a:pt x="138" y="156"/>
                  </a:cubicBezTo>
                  <a:cubicBezTo>
                    <a:pt x="138" y="160"/>
                    <a:pt x="138" y="160"/>
                    <a:pt x="138" y="160"/>
                  </a:cubicBezTo>
                  <a:cubicBezTo>
                    <a:pt x="134" y="160"/>
                    <a:pt x="134" y="160"/>
                    <a:pt x="134" y="160"/>
                  </a:cubicBezTo>
                  <a:lnTo>
                    <a:pt x="134" y="156"/>
                  </a:lnTo>
                  <a:close/>
                  <a:moveTo>
                    <a:pt x="150" y="156"/>
                  </a:moveTo>
                  <a:cubicBezTo>
                    <a:pt x="154" y="156"/>
                    <a:pt x="154" y="156"/>
                    <a:pt x="154" y="156"/>
                  </a:cubicBezTo>
                  <a:cubicBezTo>
                    <a:pt x="154" y="160"/>
                    <a:pt x="154" y="160"/>
                    <a:pt x="154" y="160"/>
                  </a:cubicBezTo>
                  <a:cubicBezTo>
                    <a:pt x="150" y="160"/>
                    <a:pt x="150" y="160"/>
                    <a:pt x="150" y="160"/>
                  </a:cubicBezTo>
                  <a:lnTo>
                    <a:pt x="150" y="156"/>
                  </a:lnTo>
                  <a:close/>
                  <a:moveTo>
                    <a:pt x="40" y="170"/>
                  </a:moveTo>
                  <a:cubicBezTo>
                    <a:pt x="41" y="170"/>
                    <a:pt x="42" y="171"/>
                    <a:pt x="42" y="172"/>
                  </a:cubicBezTo>
                  <a:cubicBezTo>
                    <a:pt x="42" y="173"/>
                    <a:pt x="41" y="174"/>
                    <a:pt x="40" y="174"/>
                  </a:cubicBezTo>
                  <a:cubicBezTo>
                    <a:pt x="39" y="174"/>
                    <a:pt x="38" y="173"/>
                    <a:pt x="38" y="172"/>
                  </a:cubicBezTo>
                  <a:cubicBezTo>
                    <a:pt x="38" y="171"/>
                    <a:pt x="39" y="170"/>
                    <a:pt x="40" y="170"/>
                  </a:cubicBezTo>
                  <a:close/>
                  <a:moveTo>
                    <a:pt x="200" y="170"/>
                  </a:moveTo>
                  <a:cubicBezTo>
                    <a:pt x="201" y="170"/>
                    <a:pt x="202" y="171"/>
                    <a:pt x="202" y="172"/>
                  </a:cubicBezTo>
                  <a:cubicBezTo>
                    <a:pt x="202" y="173"/>
                    <a:pt x="201" y="174"/>
                    <a:pt x="200" y="174"/>
                  </a:cubicBezTo>
                  <a:cubicBezTo>
                    <a:pt x="199" y="174"/>
                    <a:pt x="198" y="173"/>
                    <a:pt x="198" y="172"/>
                  </a:cubicBezTo>
                  <a:cubicBezTo>
                    <a:pt x="198" y="171"/>
                    <a:pt x="199" y="170"/>
                    <a:pt x="200" y="170"/>
                  </a:cubicBezTo>
                  <a:close/>
                  <a:moveTo>
                    <a:pt x="76" y="172"/>
                  </a:moveTo>
                  <a:cubicBezTo>
                    <a:pt x="164" y="172"/>
                    <a:pt x="164" y="172"/>
                    <a:pt x="164" y="172"/>
                  </a:cubicBezTo>
                  <a:cubicBezTo>
                    <a:pt x="164" y="176"/>
                    <a:pt x="164" y="176"/>
                    <a:pt x="164" y="176"/>
                  </a:cubicBezTo>
                  <a:cubicBezTo>
                    <a:pt x="164" y="178"/>
                    <a:pt x="162" y="180"/>
                    <a:pt x="160" y="180"/>
                  </a:cubicBezTo>
                  <a:cubicBezTo>
                    <a:pt x="80" y="180"/>
                    <a:pt x="80" y="180"/>
                    <a:pt x="80" y="180"/>
                  </a:cubicBezTo>
                  <a:cubicBezTo>
                    <a:pt x="78" y="180"/>
                    <a:pt x="76" y="178"/>
                    <a:pt x="76" y="176"/>
                  </a:cubicBezTo>
                  <a:lnTo>
                    <a:pt x="76" y="172"/>
                  </a:lnTo>
                  <a:close/>
                  <a:moveTo>
                    <a:pt x="36" y="204"/>
                  </a:moveTo>
                  <a:cubicBezTo>
                    <a:pt x="44" y="204"/>
                    <a:pt x="44" y="204"/>
                    <a:pt x="44" y="204"/>
                  </a:cubicBezTo>
                  <a:cubicBezTo>
                    <a:pt x="44" y="212"/>
                    <a:pt x="44" y="212"/>
                    <a:pt x="44" y="212"/>
                  </a:cubicBezTo>
                  <a:cubicBezTo>
                    <a:pt x="36" y="212"/>
                    <a:pt x="36" y="212"/>
                    <a:pt x="36" y="212"/>
                  </a:cubicBezTo>
                  <a:lnTo>
                    <a:pt x="36" y="204"/>
                  </a:lnTo>
                  <a:close/>
                  <a:moveTo>
                    <a:pt x="196" y="204"/>
                  </a:moveTo>
                  <a:cubicBezTo>
                    <a:pt x="204" y="204"/>
                    <a:pt x="204" y="204"/>
                    <a:pt x="204" y="204"/>
                  </a:cubicBezTo>
                  <a:cubicBezTo>
                    <a:pt x="204" y="212"/>
                    <a:pt x="204" y="212"/>
                    <a:pt x="204" y="212"/>
                  </a:cubicBezTo>
                  <a:cubicBezTo>
                    <a:pt x="196" y="212"/>
                    <a:pt x="196" y="212"/>
                    <a:pt x="196" y="212"/>
                  </a:cubicBezTo>
                  <a:lnTo>
                    <a:pt x="196" y="204"/>
                  </a:lnTo>
                  <a:close/>
                  <a:moveTo>
                    <a:pt x="116" y="228"/>
                  </a:moveTo>
                  <a:cubicBezTo>
                    <a:pt x="124" y="228"/>
                    <a:pt x="124" y="228"/>
                    <a:pt x="124" y="228"/>
                  </a:cubicBezTo>
                  <a:cubicBezTo>
                    <a:pt x="124" y="236"/>
                    <a:pt x="124" y="236"/>
                    <a:pt x="124" y="236"/>
                  </a:cubicBezTo>
                  <a:cubicBezTo>
                    <a:pt x="116" y="236"/>
                    <a:pt x="116" y="236"/>
                    <a:pt x="116" y="236"/>
                  </a:cubicBezTo>
                  <a:lnTo>
                    <a:pt x="116" y="228"/>
                  </a:lnTo>
                  <a:close/>
                </a:path>
              </a:pathLst>
            </a:custGeom>
            <a:solidFill>
              <a:schemeClr val="accent4"/>
            </a:solidFill>
            <a:ln>
              <a:noFill/>
            </a:ln>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cxnSp>
          <p:nvCxnSpPr>
            <p:cNvPr id="108" name="Straight Arrow Connector 107">
              <a:extLst>
                <a:ext uri="{FF2B5EF4-FFF2-40B4-BE49-F238E27FC236}">
                  <a16:creationId xmlns:a16="http://schemas.microsoft.com/office/drawing/2014/main" id="{8C813815-9BC6-7F4A-A587-162FF6F5A98B}"/>
                </a:ext>
              </a:extLst>
            </p:cNvPr>
            <p:cNvCxnSpPr/>
            <p:nvPr/>
          </p:nvCxnSpPr>
          <p:spPr>
            <a:xfrm flipV="1">
              <a:off x="6751600" y="2145908"/>
              <a:ext cx="102141" cy="14436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1B3ECBE7-C7FE-1D43-BEA4-B7D13AEDF65E}"/>
                </a:ext>
              </a:extLst>
            </p:cNvPr>
            <p:cNvCxnSpPr/>
            <p:nvPr/>
          </p:nvCxnSpPr>
          <p:spPr>
            <a:xfrm flipV="1">
              <a:off x="7290488" y="2709593"/>
              <a:ext cx="193794" cy="108429"/>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37ABFD52-EBE9-0644-8085-D6703164AFF4}"/>
                </a:ext>
              </a:extLst>
            </p:cNvPr>
            <p:cNvCxnSpPr/>
            <p:nvPr/>
          </p:nvCxnSpPr>
          <p:spPr>
            <a:xfrm flipV="1">
              <a:off x="7470310" y="3331021"/>
              <a:ext cx="248215" cy="43326"/>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48B236E4-74FD-794D-B336-D110A880C496}"/>
                </a:ext>
              </a:extLst>
            </p:cNvPr>
            <p:cNvCxnSpPr/>
            <p:nvPr/>
          </p:nvCxnSpPr>
          <p:spPr>
            <a:xfrm>
              <a:off x="7431463" y="3896862"/>
              <a:ext cx="248929" cy="77587"/>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6F1278D3-CD15-F547-8EA0-DD238948DBDC}"/>
                </a:ext>
              </a:extLst>
            </p:cNvPr>
            <p:cNvCxnSpPr/>
            <p:nvPr/>
          </p:nvCxnSpPr>
          <p:spPr>
            <a:xfrm>
              <a:off x="7191754" y="4463383"/>
              <a:ext cx="156342" cy="126996"/>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402FAEDA-D6CF-2749-B867-BD4D4A1AF8E6}"/>
                </a:ext>
              </a:extLst>
            </p:cNvPr>
            <p:cNvCxnSpPr/>
            <p:nvPr/>
          </p:nvCxnSpPr>
          <p:spPr>
            <a:xfrm>
              <a:off x="6767990" y="4837383"/>
              <a:ext cx="95280" cy="15995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a16="http://schemas.microsoft.com/office/drawing/2014/main" id="{6BA5E049-687B-2F49-B85A-4F85E92311BE}"/>
                </a:ext>
              </a:extLst>
            </p:cNvPr>
            <p:cNvGrpSpPr/>
            <p:nvPr/>
          </p:nvGrpSpPr>
          <p:grpSpPr>
            <a:xfrm>
              <a:off x="4251828" y="2364551"/>
              <a:ext cx="424903" cy="428952"/>
              <a:chOff x="8207480" y="1298574"/>
              <a:chExt cx="367981" cy="367982"/>
            </a:xfrm>
            <a:solidFill>
              <a:schemeClr val="accent4"/>
            </a:solidFill>
          </p:grpSpPr>
          <p:sp>
            <p:nvSpPr>
              <p:cNvPr id="115" name="Freeform 903">
                <a:extLst>
                  <a:ext uri="{FF2B5EF4-FFF2-40B4-BE49-F238E27FC236}">
                    <a16:creationId xmlns:a16="http://schemas.microsoft.com/office/drawing/2014/main" id="{DE04297C-71D5-A14D-910A-CB21864EEDF9}"/>
                  </a:ext>
                </a:extLst>
              </p:cNvPr>
              <p:cNvSpPr>
                <a:spLocks noEditPoints="1"/>
              </p:cNvSpPr>
              <p:nvPr/>
            </p:nvSpPr>
            <p:spPr bwMode="auto">
              <a:xfrm>
                <a:off x="8207480" y="1298574"/>
                <a:ext cx="367981"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p:spPr>
            <p:txBody>
              <a:bodyPr vert="horz" wrap="square" lIns="34460" tIns="17230" rIns="34460" bIns="17230" numCol="1" anchor="t" anchorCtr="0" compatLnSpc="1">
                <a:prstTxWarp prst="textNoShape">
                  <a:avLst/>
                </a:prstTxWarp>
              </a:bodyPr>
              <a:lstStyle/>
              <a:p>
                <a:pPr>
                  <a:defRPr/>
                </a:pPr>
                <a:endParaRPr lang="en-GB" sz="678" kern="0" dirty="0">
                  <a:solidFill>
                    <a:prstClr val="black"/>
                  </a:solidFill>
                </a:endParaRPr>
              </a:p>
            </p:txBody>
          </p:sp>
          <p:grpSp>
            <p:nvGrpSpPr>
              <p:cNvPr id="116" name="Group 115">
                <a:extLst>
                  <a:ext uri="{FF2B5EF4-FFF2-40B4-BE49-F238E27FC236}">
                    <a16:creationId xmlns:a16="http://schemas.microsoft.com/office/drawing/2014/main" id="{ECBF5704-EBC9-6B45-87BD-417785606D93}"/>
                  </a:ext>
                </a:extLst>
              </p:cNvPr>
              <p:cNvGrpSpPr>
                <a:grpSpLocks noChangeAspect="1"/>
              </p:cNvGrpSpPr>
              <p:nvPr/>
            </p:nvGrpSpPr>
            <p:grpSpPr>
              <a:xfrm>
                <a:off x="8277737" y="1381827"/>
                <a:ext cx="270676" cy="199202"/>
                <a:chOff x="7681867" y="820739"/>
                <a:chExt cx="1076370" cy="792161"/>
              </a:xfrm>
              <a:grpFill/>
            </p:grpSpPr>
            <p:sp>
              <p:nvSpPr>
                <p:cNvPr id="117" name="Freeform 54">
                  <a:extLst>
                    <a:ext uri="{FF2B5EF4-FFF2-40B4-BE49-F238E27FC236}">
                      <a16:creationId xmlns:a16="http://schemas.microsoft.com/office/drawing/2014/main" id="{445E92D7-F600-8942-98B1-AC17BA2EA395}"/>
                    </a:ext>
                  </a:extLst>
                </p:cNvPr>
                <p:cNvSpPr>
                  <a:spLocks/>
                </p:cNvSpPr>
                <p:nvPr/>
              </p:nvSpPr>
              <p:spPr bwMode="auto">
                <a:xfrm>
                  <a:off x="8485144" y="1206504"/>
                  <a:ext cx="266698" cy="268287"/>
                </a:xfrm>
                <a:custGeom>
                  <a:avLst/>
                  <a:gdLst>
                    <a:gd name="T0" fmla="*/ 113 w 113"/>
                    <a:gd name="T1" fmla="*/ 60 h 114"/>
                    <a:gd name="T2" fmla="*/ 98 w 113"/>
                    <a:gd name="T3" fmla="*/ 74 h 114"/>
                    <a:gd name="T4" fmla="*/ 66 w 113"/>
                    <a:gd name="T5" fmla="*/ 101 h 114"/>
                    <a:gd name="T6" fmla="*/ 50 w 113"/>
                    <a:gd name="T7" fmla="*/ 114 h 114"/>
                    <a:gd name="T8" fmla="*/ 19 w 113"/>
                    <a:gd name="T9" fmla="*/ 77 h 114"/>
                    <a:gd name="T10" fmla="*/ 2 w 113"/>
                    <a:gd name="T11" fmla="*/ 36 h 114"/>
                    <a:gd name="T12" fmla="*/ 23 w 113"/>
                    <a:gd name="T13" fmla="*/ 18 h 114"/>
                    <a:gd name="T14" fmla="*/ 44 w 113"/>
                    <a:gd name="T15" fmla="*/ 0 h 114"/>
                    <a:gd name="T16" fmla="*/ 82 w 113"/>
                    <a:gd name="T17" fmla="*/ 24 h 114"/>
                    <a:gd name="T18" fmla="*/ 113 w 113"/>
                    <a:gd name="T19" fmla="*/ 6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113" y="60"/>
                      </a:moveTo>
                      <a:cubicBezTo>
                        <a:pt x="98" y="74"/>
                        <a:pt x="98" y="74"/>
                        <a:pt x="98" y="74"/>
                      </a:cubicBezTo>
                      <a:cubicBezTo>
                        <a:pt x="66" y="101"/>
                        <a:pt x="66" y="101"/>
                        <a:pt x="66" y="101"/>
                      </a:cubicBezTo>
                      <a:cubicBezTo>
                        <a:pt x="50" y="114"/>
                        <a:pt x="50" y="114"/>
                        <a:pt x="50" y="114"/>
                      </a:cubicBezTo>
                      <a:cubicBezTo>
                        <a:pt x="50" y="114"/>
                        <a:pt x="38" y="100"/>
                        <a:pt x="19" y="77"/>
                      </a:cubicBezTo>
                      <a:cubicBezTo>
                        <a:pt x="0" y="55"/>
                        <a:pt x="2" y="36"/>
                        <a:pt x="2" y="36"/>
                      </a:cubicBezTo>
                      <a:cubicBezTo>
                        <a:pt x="23" y="18"/>
                        <a:pt x="23" y="18"/>
                        <a:pt x="23" y="18"/>
                      </a:cubicBezTo>
                      <a:cubicBezTo>
                        <a:pt x="44" y="0"/>
                        <a:pt x="44" y="0"/>
                        <a:pt x="44" y="0"/>
                      </a:cubicBezTo>
                      <a:cubicBezTo>
                        <a:pt x="44" y="0"/>
                        <a:pt x="63" y="1"/>
                        <a:pt x="82" y="24"/>
                      </a:cubicBezTo>
                      <a:cubicBezTo>
                        <a:pt x="102" y="46"/>
                        <a:pt x="113" y="60"/>
                        <a:pt x="113" y="6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18" name="Freeform 55">
                  <a:extLst>
                    <a:ext uri="{FF2B5EF4-FFF2-40B4-BE49-F238E27FC236}">
                      <a16:creationId xmlns:a16="http://schemas.microsoft.com/office/drawing/2014/main" id="{A7A044C2-5C74-684C-AA32-83B748E66D24}"/>
                    </a:ext>
                  </a:extLst>
                </p:cNvPr>
                <p:cNvSpPr>
                  <a:spLocks/>
                </p:cNvSpPr>
                <p:nvPr/>
              </p:nvSpPr>
              <p:spPr bwMode="auto">
                <a:xfrm>
                  <a:off x="8623300" y="1371600"/>
                  <a:ext cx="134937" cy="117475"/>
                </a:xfrm>
                <a:custGeom>
                  <a:avLst/>
                  <a:gdLst>
                    <a:gd name="T0" fmla="*/ 52 w 57"/>
                    <a:gd name="T1" fmla="*/ 0 h 50"/>
                    <a:gd name="T2" fmla="*/ 41 w 57"/>
                    <a:gd name="T3" fmla="*/ 39 h 50"/>
                    <a:gd name="T4" fmla="*/ 0 w 57"/>
                    <a:gd name="T5" fmla="*/ 43 h 50"/>
                    <a:gd name="T6" fmla="*/ 52 w 57"/>
                    <a:gd name="T7" fmla="*/ 0 h 50"/>
                  </a:gdLst>
                  <a:ahLst/>
                  <a:cxnLst>
                    <a:cxn ang="0">
                      <a:pos x="T0" y="T1"/>
                    </a:cxn>
                    <a:cxn ang="0">
                      <a:pos x="T2" y="T3"/>
                    </a:cxn>
                    <a:cxn ang="0">
                      <a:pos x="T4" y="T5"/>
                    </a:cxn>
                    <a:cxn ang="0">
                      <a:pos x="T6" y="T7"/>
                    </a:cxn>
                  </a:cxnLst>
                  <a:rect l="0" t="0" r="r" b="b"/>
                  <a:pathLst>
                    <a:path w="57" h="50">
                      <a:moveTo>
                        <a:pt x="52" y="0"/>
                      </a:moveTo>
                      <a:cubicBezTo>
                        <a:pt x="57" y="13"/>
                        <a:pt x="53" y="29"/>
                        <a:pt x="41" y="39"/>
                      </a:cubicBezTo>
                      <a:cubicBezTo>
                        <a:pt x="29" y="49"/>
                        <a:pt x="13" y="50"/>
                        <a:pt x="0" y="43"/>
                      </a:cubicBezTo>
                      <a:lnTo>
                        <a:pt x="52" y="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19" name="Freeform 56">
                  <a:extLst>
                    <a:ext uri="{FF2B5EF4-FFF2-40B4-BE49-F238E27FC236}">
                      <a16:creationId xmlns:a16="http://schemas.microsoft.com/office/drawing/2014/main" id="{E468DD82-F7E8-4042-973A-7C6A609E65DC}"/>
                    </a:ext>
                  </a:extLst>
                </p:cNvPr>
                <p:cNvSpPr>
                  <a:spLocks noEditPoints="1"/>
                </p:cNvSpPr>
                <p:nvPr/>
              </p:nvSpPr>
              <p:spPr bwMode="auto">
                <a:xfrm>
                  <a:off x="8213679" y="900116"/>
                  <a:ext cx="369886" cy="369887"/>
                </a:xfrm>
                <a:custGeom>
                  <a:avLst/>
                  <a:gdLst>
                    <a:gd name="T0" fmla="*/ 143 w 157"/>
                    <a:gd name="T1" fmla="*/ 114 h 157"/>
                    <a:gd name="T2" fmla="*/ 151 w 157"/>
                    <a:gd name="T3" fmla="*/ 123 h 157"/>
                    <a:gd name="T4" fmla="*/ 113 w 157"/>
                    <a:gd name="T5" fmla="*/ 155 h 157"/>
                    <a:gd name="T6" fmla="*/ 106 w 157"/>
                    <a:gd name="T7" fmla="*/ 147 h 157"/>
                    <a:gd name="T8" fmla="*/ 26 w 157"/>
                    <a:gd name="T9" fmla="*/ 126 h 157"/>
                    <a:gd name="T10" fmla="*/ 34 w 157"/>
                    <a:gd name="T11" fmla="*/ 25 h 157"/>
                    <a:gd name="T12" fmla="*/ 135 w 157"/>
                    <a:gd name="T13" fmla="*/ 34 h 157"/>
                    <a:gd name="T14" fmla="*/ 143 w 157"/>
                    <a:gd name="T15" fmla="*/ 114 h 157"/>
                    <a:gd name="T16" fmla="*/ 116 w 157"/>
                    <a:gd name="T17" fmla="*/ 122 h 157"/>
                    <a:gd name="T18" fmla="*/ 123 w 157"/>
                    <a:gd name="T19" fmla="*/ 44 h 157"/>
                    <a:gd name="T20" fmla="*/ 44 w 157"/>
                    <a:gd name="T21" fmla="*/ 38 h 157"/>
                    <a:gd name="T22" fmla="*/ 34 w 157"/>
                    <a:gd name="T23" fmla="*/ 49 h 157"/>
                    <a:gd name="T24" fmla="*/ 38 w 157"/>
                    <a:gd name="T25" fmla="*/ 116 h 157"/>
                    <a:gd name="T26" fmla="*/ 116 w 157"/>
                    <a:gd name="T27" fmla="*/ 12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7" h="157">
                      <a:moveTo>
                        <a:pt x="143" y="114"/>
                      </a:moveTo>
                      <a:cubicBezTo>
                        <a:pt x="151" y="123"/>
                        <a:pt x="151" y="123"/>
                        <a:pt x="151" y="123"/>
                      </a:cubicBezTo>
                      <a:cubicBezTo>
                        <a:pt x="113" y="155"/>
                        <a:pt x="113" y="155"/>
                        <a:pt x="113" y="155"/>
                      </a:cubicBezTo>
                      <a:cubicBezTo>
                        <a:pt x="106" y="147"/>
                        <a:pt x="106" y="147"/>
                        <a:pt x="106" y="147"/>
                      </a:cubicBezTo>
                      <a:cubicBezTo>
                        <a:pt x="78" y="157"/>
                        <a:pt x="46" y="150"/>
                        <a:pt x="26" y="126"/>
                      </a:cubicBezTo>
                      <a:cubicBezTo>
                        <a:pt x="0" y="96"/>
                        <a:pt x="4" y="51"/>
                        <a:pt x="34" y="25"/>
                      </a:cubicBezTo>
                      <a:cubicBezTo>
                        <a:pt x="64" y="0"/>
                        <a:pt x="109" y="4"/>
                        <a:pt x="135" y="34"/>
                      </a:cubicBezTo>
                      <a:cubicBezTo>
                        <a:pt x="154" y="57"/>
                        <a:pt x="157" y="89"/>
                        <a:pt x="143" y="114"/>
                      </a:cubicBezTo>
                      <a:close/>
                      <a:moveTo>
                        <a:pt x="116" y="122"/>
                      </a:moveTo>
                      <a:cubicBezTo>
                        <a:pt x="140" y="103"/>
                        <a:pt x="143" y="67"/>
                        <a:pt x="123" y="44"/>
                      </a:cubicBezTo>
                      <a:cubicBezTo>
                        <a:pt x="103" y="21"/>
                        <a:pt x="68" y="18"/>
                        <a:pt x="44" y="38"/>
                      </a:cubicBezTo>
                      <a:cubicBezTo>
                        <a:pt x="40" y="41"/>
                        <a:pt x="37" y="45"/>
                        <a:pt x="34" y="49"/>
                      </a:cubicBezTo>
                      <a:cubicBezTo>
                        <a:pt x="21" y="69"/>
                        <a:pt x="22" y="97"/>
                        <a:pt x="38" y="116"/>
                      </a:cubicBezTo>
                      <a:cubicBezTo>
                        <a:pt x="58" y="139"/>
                        <a:pt x="93" y="142"/>
                        <a:pt x="116" y="12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0" name="Freeform 57">
                  <a:extLst>
                    <a:ext uri="{FF2B5EF4-FFF2-40B4-BE49-F238E27FC236}">
                      <a16:creationId xmlns:a16="http://schemas.microsoft.com/office/drawing/2014/main" id="{72CD5A4D-7CF6-2B43-B9BC-4D58E68EBAAA}"/>
                    </a:ext>
                  </a:extLst>
                </p:cNvPr>
                <p:cNvSpPr>
                  <a:spLocks noEditPoints="1"/>
                </p:cNvSpPr>
                <p:nvPr/>
              </p:nvSpPr>
              <p:spPr bwMode="auto">
                <a:xfrm>
                  <a:off x="8458200" y="1098550"/>
                  <a:ext cx="47625" cy="73025"/>
                </a:xfrm>
                <a:custGeom>
                  <a:avLst/>
                  <a:gdLst>
                    <a:gd name="T0" fmla="*/ 20 w 20"/>
                    <a:gd name="T1" fmla="*/ 10 h 31"/>
                    <a:gd name="T2" fmla="*/ 20 w 20"/>
                    <a:gd name="T3" fmla="*/ 22 h 31"/>
                    <a:gd name="T4" fmla="*/ 10 w 20"/>
                    <a:gd name="T5" fmla="*/ 31 h 31"/>
                    <a:gd name="T6" fmla="*/ 9 w 20"/>
                    <a:gd name="T7" fmla="*/ 31 h 31"/>
                    <a:gd name="T8" fmla="*/ 0 w 20"/>
                    <a:gd name="T9" fmla="*/ 22 h 31"/>
                    <a:gd name="T10" fmla="*/ 0 w 20"/>
                    <a:gd name="T11" fmla="*/ 10 h 31"/>
                    <a:gd name="T12" fmla="*/ 9 w 20"/>
                    <a:gd name="T13" fmla="*/ 0 h 31"/>
                    <a:gd name="T14" fmla="*/ 10 w 20"/>
                    <a:gd name="T15" fmla="*/ 0 h 31"/>
                    <a:gd name="T16" fmla="*/ 20 w 20"/>
                    <a:gd name="T17" fmla="*/ 10 h 31"/>
                    <a:gd name="T18" fmla="*/ 14 w 20"/>
                    <a:gd name="T19" fmla="*/ 19 h 31"/>
                    <a:gd name="T20" fmla="*/ 14 w 20"/>
                    <a:gd name="T21" fmla="*/ 12 h 31"/>
                    <a:gd name="T22" fmla="*/ 10 w 20"/>
                    <a:gd name="T23" fmla="*/ 7 h 31"/>
                    <a:gd name="T24" fmla="*/ 9 w 20"/>
                    <a:gd name="T25" fmla="*/ 7 h 31"/>
                    <a:gd name="T26" fmla="*/ 5 w 20"/>
                    <a:gd name="T27" fmla="*/ 12 h 31"/>
                    <a:gd name="T28" fmla="*/ 5 w 20"/>
                    <a:gd name="T29" fmla="*/ 19 h 31"/>
                    <a:gd name="T30" fmla="*/ 9 w 20"/>
                    <a:gd name="T31" fmla="*/ 24 h 31"/>
                    <a:gd name="T32" fmla="*/ 10 w 20"/>
                    <a:gd name="T33" fmla="*/ 24 h 31"/>
                    <a:gd name="T34" fmla="*/ 14 w 20"/>
                    <a:gd name="T3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31">
                      <a:moveTo>
                        <a:pt x="20" y="10"/>
                      </a:moveTo>
                      <a:cubicBezTo>
                        <a:pt x="20" y="22"/>
                        <a:pt x="20" y="22"/>
                        <a:pt x="20" y="22"/>
                      </a:cubicBezTo>
                      <a:cubicBezTo>
                        <a:pt x="20" y="27"/>
                        <a:pt x="15" y="31"/>
                        <a:pt x="10" y="31"/>
                      </a:cubicBezTo>
                      <a:cubicBezTo>
                        <a:pt x="9" y="31"/>
                        <a:pt x="9" y="31"/>
                        <a:pt x="9" y="31"/>
                      </a:cubicBezTo>
                      <a:cubicBezTo>
                        <a:pt x="4" y="31"/>
                        <a:pt x="0" y="27"/>
                        <a:pt x="0" y="22"/>
                      </a:cubicBezTo>
                      <a:cubicBezTo>
                        <a:pt x="0" y="10"/>
                        <a:pt x="0" y="10"/>
                        <a:pt x="0" y="10"/>
                      </a:cubicBezTo>
                      <a:cubicBezTo>
                        <a:pt x="0" y="4"/>
                        <a:pt x="4" y="0"/>
                        <a:pt x="9" y="0"/>
                      </a:cubicBezTo>
                      <a:cubicBezTo>
                        <a:pt x="10" y="0"/>
                        <a:pt x="10" y="0"/>
                        <a:pt x="10" y="0"/>
                      </a:cubicBezTo>
                      <a:cubicBezTo>
                        <a:pt x="15" y="0"/>
                        <a:pt x="20" y="4"/>
                        <a:pt x="20" y="10"/>
                      </a:cubicBezTo>
                      <a:close/>
                      <a:moveTo>
                        <a:pt x="14" y="19"/>
                      </a:moveTo>
                      <a:cubicBezTo>
                        <a:pt x="14" y="12"/>
                        <a:pt x="14" y="12"/>
                        <a:pt x="14" y="12"/>
                      </a:cubicBezTo>
                      <a:cubicBezTo>
                        <a:pt x="14" y="9"/>
                        <a:pt x="12" y="7"/>
                        <a:pt x="10" y="7"/>
                      </a:cubicBezTo>
                      <a:cubicBezTo>
                        <a:pt x="9" y="7"/>
                        <a:pt x="9" y="7"/>
                        <a:pt x="9" y="7"/>
                      </a:cubicBezTo>
                      <a:cubicBezTo>
                        <a:pt x="7" y="7"/>
                        <a:pt x="5" y="9"/>
                        <a:pt x="5" y="12"/>
                      </a:cubicBezTo>
                      <a:cubicBezTo>
                        <a:pt x="5" y="19"/>
                        <a:pt x="5" y="19"/>
                        <a:pt x="5" y="19"/>
                      </a:cubicBezTo>
                      <a:cubicBezTo>
                        <a:pt x="5" y="22"/>
                        <a:pt x="7" y="24"/>
                        <a:pt x="9" y="24"/>
                      </a:cubicBezTo>
                      <a:cubicBezTo>
                        <a:pt x="10" y="24"/>
                        <a:pt x="10" y="24"/>
                        <a:pt x="10" y="24"/>
                      </a:cubicBezTo>
                      <a:cubicBezTo>
                        <a:pt x="12" y="24"/>
                        <a:pt x="14" y="22"/>
                        <a:pt x="14" y="1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1" name="Freeform 58">
                  <a:extLst>
                    <a:ext uri="{FF2B5EF4-FFF2-40B4-BE49-F238E27FC236}">
                      <a16:creationId xmlns:a16="http://schemas.microsoft.com/office/drawing/2014/main" id="{A43EDBFB-581B-B445-BA17-26D273F38DF3}"/>
                    </a:ext>
                  </a:extLst>
                </p:cNvPr>
                <p:cNvSpPr>
                  <a:spLocks/>
                </p:cNvSpPr>
                <p:nvPr/>
              </p:nvSpPr>
              <p:spPr bwMode="auto">
                <a:xfrm>
                  <a:off x="8470900" y="1017588"/>
                  <a:ext cx="20637" cy="68262"/>
                </a:xfrm>
                <a:custGeom>
                  <a:avLst/>
                  <a:gdLst>
                    <a:gd name="T0" fmla="*/ 9 w 9"/>
                    <a:gd name="T1" fmla="*/ 4 h 29"/>
                    <a:gd name="T2" fmla="*/ 9 w 9"/>
                    <a:gd name="T3" fmla="*/ 24 h 29"/>
                    <a:gd name="T4" fmla="*/ 6 w 9"/>
                    <a:gd name="T5" fmla="*/ 29 h 29"/>
                    <a:gd name="T6" fmla="*/ 4 w 9"/>
                    <a:gd name="T7" fmla="*/ 29 h 29"/>
                    <a:gd name="T8" fmla="*/ 0 w 9"/>
                    <a:gd name="T9" fmla="*/ 24 h 29"/>
                    <a:gd name="T10" fmla="*/ 0 w 9"/>
                    <a:gd name="T11" fmla="*/ 4 h 29"/>
                    <a:gd name="T12" fmla="*/ 4 w 9"/>
                    <a:gd name="T13" fmla="*/ 0 h 29"/>
                    <a:gd name="T14" fmla="*/ 6 w 9"/>
                    <a:gd name="T15" fmla="*/ 0 h 29"/>
                    <a:gd name="T16" fmla="*/ 9 w 9"/>
                    <a:gd name="T17"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9">
                      <a:moveTo>
                        <a:pt x="9" y="4"/>
                      </a:moveTo>
                      <a:cubicBezTo>
                        <a:pt x="9" y="24"/>
                        <a:pt x="9" y="24"/>
                        <a:pt x="9" y="24"/>
                      </a:cubicBezTo>
                      <a:cubicBezTo>
                        <a:pt x="9" y="27"/>
                        <a:pt x="8" y="29"/>
                        <a:pt x="6" y="29"/>
                      </a:cubicBezTo>
                      <a:cubicBezTo>
                        <a:pt x="4" y="29"/>
                        <a:pt x="4" y="29"/>
                        <a:pt x="4" y="29"/>
                      </a:cubicBezTo>
                      <a:cubicBezTo>
                        <a:pt x="2" y="29"/>
                        <a:pt x="0" y="27"/>
                        <a:pt x="0" y="24"/>
                      </a:cubicBezTo>
                      <a:cubicBezTo>
                        <a:pt x="0" y="4"/>
                        <a:pt x="0" y="4"/>
                        <a:pt x="0" y="4"/>
                      </a:cubicBezTo>
                      <a:cubicBezTo>
                        <a:pt x="0" y="2"/>
                        <a:pt x="2" y="0"/>
                        <a:pt x="4" y="0"/>
                      </a:cubicBezTo>
                      <a:cubicBezTo>
                        <a:pt x="6" y="0"/>
                        <a:pt x="6" y="0"/>
                        <a:pt x="6" y="0"/>
                      </a:cubicBezTo>
                      <a:cubicBezTo>
                        <a:pt x="8" y="0"/>
                        <a:pt x="9" y="2"/>
                        <a:pt x="9"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2" name="Freeform 59">
                  <a:extLst>
                    <a:ext uri="{FF2B5EF4-FFF2-40B4-BE49-F238E27FC236}">
                      <a16:creationId xmlns:a16="http://schemas.microsoft.com/office/drawing/2014/main" id="{B278974D-84F5-9740-96C6-77E68FCA4553}"/>
                    </a:ext>
                  </a:extLst>
                </p:cNvPr>
                <p:cNvSpPr>
                  <a:spLocks noEditPoints="1"/>
                </p:cNvSpPr>
                <p:nvPr/>
              </p:nvSpPr>
              <p:spPr bwMode="auto">
                <a:xfrm>
                  <a:off x="7681867" y="820739"/>
                  <a:ext cx="793750" cy="608012"/>
                </a:xfrm>
                <a:custGeom>
                  <a:avLst/>
                  <a:gdLst>
                    <a:gd name="T0" fmla="*/ 337 w 337"/>
                    <a:gd name="T1" fmla="*/ 199 h 258"/>
                    <a:gd name="T2" fmla="*/ 337 w 337"/>
                    <a:gd name="T3" fmla="*/ 247 h 258"/>
                    <a:gd name="T4" fmla="*/ 326 w 337"/>
                    <a:gd name="T5" fmla="*/ 258 h 258"/>
                    <a:gd name="T6" fmla="*/ 11 w 337"/>
                    <a:gd name="T7" fmla="*/ 258 h 258"/>
                    <a:gd name="T8" fmla="*/ 0 w 337"/>
                    <a:gd name="T9" fmla="*/ 247 h 258"/>
                    <a:gd name="T10" fmla="*/ 0 w 337"/>
                    <a:gd name="T11" fmla="*/ 12 h 258"/>
                    <a:gd name="T12" fmla="*/ 11 w 337"/>
                    <a:gd name="T13" fmla="*/ 0 h 258"/>
                    <a:gd name="T14" fmla="*/ 326 w 337"/>
                    <a:gd name="T15" fmla="*/ 0 h 258"/>
                    <a:gd name="T16" fmla="*/ 337 w 337"/>
                    <a:gd name="T17" fmla="*/ 12 h 258"/>
                    <a:gd name="T18" fmla="*/ 337 w 337"/>
                    <a:gd name="T19" fmla="*/ 38 h 258"/>
                    <a:gd name="T20" fmla="*/ 325 w 337"/>
                    <a:gd name="T21" fmla="*/ 34 h 258"/>
                    <a:gd name="T22" fmla="*/ 325 w 337"/>
                    <a:gd name="T23" fmla="*/ 19 h 258"/>
                    <a:gd name="T24" fmla="*/ 316 w 337"/>
                    <a:gd name="T25" fmla="*/ 11 h 258"/>
                    <a:gd name="T26" fmla="*/ 21 w 337"/>
                    <a:gd name="T27" fmla="*/ 11 h 258"/>
                    <a:gd name="T28" fmla="*/ 12 w 337"/>
                    <a:gd name="T29" fmla="*/ 19 h 258"/>
                    <a:gd name="T30" fmla="*/ 12 w 337"/>
                    <a:gd name="T31" fmla="*/ 203 h 258"/>
                    <a:gd name="T32" fmla="*/ 21 w 337"/>
                    <a:gd name="T33" fmla="*/ 211 h 258"/>
                    <a:gd name="T34" fmla="*/ 316 w 337"/>
                    <a:gd name="T35" fmla="*/ 211 h 258"/>
                    <a:gd name="T36" fmla="*/ 325 w 337"/>
                    <a:gd name="T37" fmla="*/ 203 h 258"/>
                    <a:gd name="T38" fmla="*/ 325 w 337"/>
                    <a:gd name="T39" fmla="*/ 203 h 258"/>
                    <a:gd name="T40" fmla="*/ 337 w 337"/>
                    <a:gd name="T41" fmla="*/ 199 h 258"/>
                    <a:gd name="T42" fmla="*/ 185 w 337"/>
                    <a:gd name="T43" fmla="*/ 234 h 258"/>
                    <a:gd name="T44" fmla="*/ 168 w 337"/>
                    <a:gd name="T45" fmla="*/ 218 h 258"/>
                    <a:gd name="T46" fmla="*/ 152 w 337"/>
                    <a:gd name="T47" fmla="*/ 234 h 258"/>
                    <a:gd name="T48" fmla="*/ 168 w 337"/>
                    <a:gd name="T49" fmla="*/ 250 h 258"/>
                    <a:gd name="T50" fmla="*/ 185 w 337"/>
                    <a:gd name="T51"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7" h="258">
                      <a:moveTo>
                        <a:pt x="337" y="199"/>
                      </a:moveTo>
                      <a:cubicBezTo>
                        <a:pt x="337" y="247"/>
                        <a:pt x="337" y="247"/>
                        <a:pt x="337" y="247"/>
                      </a:cubicBezTo>
                      <a:cubicBezTo>
                        <a:pt x="337" y="253"/>
                        <a:pt x="332" y="258"/>
                        <a:pt x="326" y="258"/>
                      </a:cubicBezTo>
                      <a:cubicBezTo>
                        <a:pt x="11" y="258"/>
                        <a:pt x="11" y="258"/>
                        <a:pt x="11" y="258"/>
                      </a:cubicBezTo>
                      <a:cubicBezTo>
                        <a:pt x="5" y="258"/>
                        <a:pt x="0" y="253"/>
                        <a:pt x="0" y="247"/>
                      </a:cubicBezTo>
                      <a:cubicBezTo>
                        <a:pt x="0" y="12"/>
                        <a:pt x="0" y="12"/>
                        <a:pt x="0" y="12"/>
                      </a:cubicBezTo>
                      <a:cubicBezTo>
                        <a:pt x="0" y="6"/>
                        <a:pt x="5" y="0"/>
                        <a:pt x="11" y="0"/>
                      </a:cubicBezTo>
                      <a:cubicBezTo>
                        <a:pt x="326" y="0"/>
                        <a:pt x="326" y="0"/>
                        <a:pt x="326" y="0"/>
                      </a:cubicBezTo>
                      <a:cubicBezTo>
                        <a:pt x="332" y="0"/>
                        <a:pt x="337" y="6"/>
                        <a:pt x="337" y="12"/>
                      </a:cubicBezTo>
                      <a:cubicBezTo>
                        <a:pt x="337" y="38"/>
                        <a:pt x="337" y="38"/>
                        <a:pt x="337" y="38"/>
                      </a:cubicBezTo>
                      <a:cubicBezTo>
                        <a:pt x="333" y="36"/>
                        <a:pt x="329" y="35"/>
                        <a:pt x="325" y="34"/>
                      </a:cubicBezTo>
                      <a:cubicBezTo>
                        <a:pt x="325" y="19"/>
                        <a:pt x="325" y="19"/>
                        <a:pt x="325" y="19"/>
                      </a:cubicBezTo>
                      <a:cubicBezTo>
                        <a:pt x="325" y="14"/>
                        <a:pt x="321" y="11"/>
                        <a:pt x="316" y="11"/>
                      </a:cubicBezTo>
                      <a:cubicBezTo>
                        <a:pt x="21" y="11"/>
                        <a:pt x="21" y="11"/>
                        <a:pt x="21" y="11"/>
                      </a:cubicBezTo>
                      <a:cubicBezTo>
                        <a:pt x="16" y="11"/>
                        <a:pt x="12" y="14"/>
                        <a:pt x="12" y="19"/>
                      </a:cubicBezTo>
                      <a:cubicBezTo>
                        <a:pt x="12" y="203"/>
                        <a:pt x="12" y="203"/>
                        <a:pt x="12" y="203"/>
                      </a:cubicBezTo>
                      <a:cubicBezTo>
                        <a:pt x="12" y="208"/>
                        <a:pt x="16" y="211"/>
                        <a:pt x="21" y="211"/>
                      </a:cubicBezTo>
                      <a:cubicBezTo>
                        <a:pt x="316" y="211"/>
                        <a:pt x="316" y="211"/>
                        <a:pt x="316" y="211"/>
                      </a:cubicBezTo>
                      <a:cubicBezTo>
                        <a:pt x="321" y="211"/>
                        <a:pt x="325" y="208"/>
                        <a:pt x="325" y="203"/>
                      </a:cubicBezTo>
                      <a:cubicBezTo>
                        <a:pt x="325" y="203"/>
                        <a:pt x="325" y="203"/>
                        <a:pt x="325" y="203"/>
                      </a:cubicBezTo>
                      <a:cubicBezTo>
                        <a:pt x="329" y="202"/>
                        <a:pt x="333" y="201"/>
                        <a:pt x="337" y="199"/>
                      </a:cubicBezTo>
                      <a:close/>
                      <a:moveTo>
                        <a:pt x="185" y="234"/>
                      </a:moveTo>
                      <a:cubicBezTo>
                        <a:pt x="185" y="225"/>
                        <a:pt x="177" y="218"/>
                        <a:pt x="168" y="218"/>
                      </a:cubicBezTo>
                      <a:cubicBezTo>
                        <a:pt x="159" y="218"/>
                        <a:pt x="152" y="225"/>
                        <a:pt x="152" y="234"/>
                      </a:cubicBezTo>
                      <a:cubicBezTo>
                        <a:pt x="152" y="243"/>
                        <a:pt x="159" y="250"/>
                        <a:pt x="168" y="250"/>
                      </a:cubicBezTo>
                      <a:cubicBezTo>
                        <a:pt x="177" y="250"/>
                        <a:pt x="185" y="243"/>
                        <a:pt x="185" y="23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3" name="Freeform 60">
                  <a:extLst>
                    <a:ext uri="{FF2B5EF4-FFF2-40B4-BE49-F238E27FC236}">
                      <a16:creationId xmlns:a16="http://schemas.microsoft.com/office/drawing/2014/main" id="{4CE000CF-7C91-524A-BAE6-D1ED032175B8}"/>
                    </a:ext>
                  </a:extLst>
                </p:cNvPr>
                <p:cNvSpPr>
                  <a:spLocks noEditPoints="1"/>
                </p:cNvSpPr>
                <p:nvPr/>
              </p:nvSpPr>
              <p:spPr bwMode="auto">
                <a:xfrm>
                  <a:off x="8407400" y="1016000"/>
                  <a:ext cx="44450" cy="73025"/>
                </a:xfrm>
                <a:custGeom>
                  <a:avLst/>
                  <a:gdLst>
                    <a:gd name="T0" fmla="*/ 19 w 19"/>
                    <a:gd name="T1" fmla="*/ 9 h 31"/>
                    <a:gd name="T2" fmla="*/ 19 w 19"/>
                    <a:gd name="T3" fmla="*/ 21 h 31"/>
                    <a:gd name="T4" fmla="*/ 10 w 19"/>
                    <a:gd name="T5" fmla="*/ 31 h 31"/>
                    <a:gd name="T6" fmla="*/ 9 w 19"/>
                    <a:gd name="T7" fmla="*/ 31 h 31"/>
                    <a:gd name="T8" fmla="*/ 0 w 19"/>
                    <a:gd name="T9" fmla="*/ 21 h 31"/>
                    <a:gd name="T10" fmla="*/ 0 w 19"/>
                    <a:gd name="T11" fmla="*/ 9 h 31"/>
                    <a:gd name="T12" fmla="*/ 9 w 19"/>
                    <a:gd name="T13" fmla="*/ 0 h 31"/>
                    <a:gd name="T14" fmla="*/ 10 w 19"/>
                    <a:gd name="T15" fmla="*/ 0 h 31"/>
                    <a:gd name="T16" fmla="*/ 19 w 19"/>
                    <a:gd name="T17" fmla="*/ 9 h 31"/>
                    <a:gd name="T18" fmla="*/ 14 w 19"/>
                    <a:gd name="T19" fmla="*/ 19 h 31"/>
                    <a:gd name="T20" fmla="*/ 14 w 19"/>
                    <a:gd name="T21" fmla="*/ 12 h 31"/>
                    <a:gd name="T22" fmla="*/ 10 w 19"/>
                    <a:gd name="T23" fmla="*/ 7 h 31"/>
                    <a:gd name="T24" fmla="*/ 9 w 19"/>
                    <a:gd name="T25" fmla="*/ 7 h 31"/>
                    <a:gd name="T26" fmla="*/ 5 w 19"/>
                    <a:gd name="T27" fmla="*/ 12 h 31"/>
                    <a:gd name="T28" fmla="*/ 5 w 19"/>
                    <a:gd name="T29" fmla="*/ 19 h 31"/>
                    <a:gd name="T30" fmla="*/ 9 w 19"/>
                    <a:gd name="T31" fmla="*/ 24 h 31"/>
                    <a:gd name="T32" fmla="*/ 10 w 19"/>
                    <a:gd name="T33" fmla="*/ 24 h 31"/>
                    <a:gd name="T34" fmla="*/ 14 w 19"/>
                    <a:gd name="T3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31">
                      <a:moveTo>
                        <a:pt x="19" y="9"/>
                      </a:moveTo>
                      <a:cubicBezTo>
                        <a:pt x="19" y="21"/>
                        <a:pt x="19" y="21"/>
                        <a:pt x="19" y="21"/>
                      </a:cubicBezTo>
                      <a:cubicBezTo>
                        <a:pt x="19" y="26"/>
                        <a:pt x="15" y="31"/>
                        <a:pt x="10" y="31"/>
                      </a:cubicBezTo>
                      <a:cubicBezTo>
                        <a:pt x="9" y="31"/>
                        <a:pt x="9" y="31"/>
                        <a:pt x="9" y="31"/>
                      </a:cubicBezTo>
                      <a:cubicBezTo>
                        <a:pt x="4" y="31"/>
                        <a:pt x="0" y="26"/>
                        <a:pt x="0" y="21"/>
                      </a:cubicBezTo>
                      <a:cubicBezTo>
                        <a:pt x="0" y="9"/>
                        <a:pt x="0" y="9"/>
                        <a:pt x="0" y="9"/>
                      </a:cubicBezTo>
                      <a:cubicBezTo>
                        <a:pt x="0" y="4"/>
                        <a:pt x="4" y="0"/>
                        <a:pt x="9" y="0"/>
                      </a:cubicBezTo>
                      <a:cubicBezTo>
                        <a:pt x="10" y="0"/>
                        <a:pt x="10" y="0"/>
                        <a:pt x="10" y="0"/>
                      </a:cubicBezTo>
                      <a:cubicBezTo>
                        <a:pt x="15" y="0"/>
                        <a:pt x="19" y="4"/>
                        <a:pt x="19" y="9"/>
                      </a:cubicBezTo>
                      <a:close/>
                      <a:moveTo>
                        <a:pt x="14" y="19"/>
                      </a:moveTo>
                      <a:cubicBezTo>
                        <a:pt x="14" y="12"/>
                        <a:pt x="14" y="12"/>
                        <a:pt x="14" y="12"/>
                      </a:cubicBezTo>
                      <a:cubicBezTo>
                        <a:pt x="14" y="9"/>
                        <a:pt x="12" y="7"/>
                        <a:pt x="10" y="7"/>
                      </a:cubicBezTo>
                      <a:cubicBezTo>
                        <a:pt x="9" y="7"/>
                        <a:pt x="9" y="7"/>
                        <a:pt x="9" y="7"/>
                      </a:cubicBezTo>
                      <a:cubicBezTo>
                        <a:pt x="7" y="7"/>
                        <a:pt x="5" y="9"/>
                        <a:pt x="5" y="12"/>
                      </a:cubicBezTo>
                      <a:cubicBezTo>
                        <a:pt x="5" y="19"/>
                        <a:pt x="5" y="19"/>
                        <a:pt x="5" y="19"/>
                      </a:cubicBezTo>
                      <a:cubicBezTo>
                        <a:pt x="5" y="21"/>
                        <a:pt x="7" y="24"/>
                        <a:pt x="9" y="24"/>
                      </a:cubicBezTo>
                      <a:cubicBezTo>
                        <a:pt x="10" y="24"/>
                        <a:pt x="10" y="24"/>
                        <a:pt x="10" y="24"/>
                      </a:cubicBezTo>
                      <a:cubicBezTo>
                        <a:pt x="12" y="24"/>
                        <a:pt x="14" y="21"/>
                        <a:pt x="14" y="1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4" name="Freeform 61">
                  <a:extLst>
                    <a:ext uri="{FF2B5EF4-FFF2-40B4-BE49-F238E27FC236}">
                      <a16:creationId xmlns:a16="http://schemas.microsoft.com/office/drawing/2014/main" id="{F6E7B768-E4FD-1948-A5B7-6EE4BBEF96AD}"/>
                    </a:ext>
                  </a:extLst>
                </p:cNvPr>
                <p:cNvSpPr>
                  <a:spLocks/>
                </p:cNvSpPr>
                <p:nvPr/>
              </p:nvSpPr>
              <p:spPr bwMode="auto">
                <a:xfrm>
                  <a:off x="8418513" y="1103313"/>
                  <a:ext cx="22225" cy="68262"/>
                </a:xfrm>
                <a:custGeom>
                  <a:avLst/>
                  <a:gdLst>
                    <a:gd name="T0" fmla="*/ 9 w 9"/>
                    <a:gd name="T1" fmla="*/ 4 h 29"/>
                    <a:gd name="T2" fmla="*/ 9 w 9"/>
                    <a:gd name="T3" fmla="*/ 24 h 29"/>
                    <a:gd name="T4" fmla="*/ 6 w 9"/>
                    <a:gd name="T5" fmla="*/ 29 h 29"/>
                    <a:gd name="T6" fmla="*/ 3 w 9"/>
                    <a:gd name="T7" fmla="*/ 29 h 29"/>
                    <a:gd name="T8" fmla="*/ 0 w 9"/>
                    <a:gd name="T9" fmla="*/ 24 h 29"/>
                    <a:gd name="T10" fmla="*/ 0 w 9"/>
                    <a:gd name="T11" fmla="*/ 4 h 29"/>
                    <a:gd name="T12" fmla="*/ 3 w 9"/>
                    <a:gd name="T13" fmla="*/ 0 h 29"/>
                    <a:gd name="T14" fmla="*/ 6 w 9"/>
                    <a:gd name="T15" fmla="*/ 0 h 29"/>
                    <a:gd name="T16" fmla="*/ 9 w 9"/>
                    <a:gd name="T17"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9">
                      <a:moveTo>
                        <a:pt x="9" y="4"/>
                      </a:moveTo>
                      <a:cubicBezTo>
                        <a:pt x="9" y="24"/>
                        <a:pt x="9" y="24"/>
                        <a:pt x="9" y="24"/>
                      </a:cubicBezTo>
                      <a:cubicBezTo>
                        <a:pt x="9" y="27"/>
                        <a:pt x="7" y="29"/>
                        <a:pt x="6" y="29"/>
                      </a:cubicBezTo>
                      <a:cubicBezTo>
                        <a:pt x="3" y="29"/>
                        <a:pt x="3" y="29"/>
                        <a:pt x="3" y="29"/>
                      </a:cubicBezTo>
                      <a:cubicBezTo>
                        <a:pt x="1" y="29"/>
                        <a:pt x="0" y="27"/>
                        <a:pt x="0" y="24"/>
                      </a:cubicBezTo>
                      <a:cubicBezTo>
                        <a:pt x="0" y="4"/>
                        <a:pt x="0" y="4"/>
                        <a:pt x="0" y="4"/>
                      </a:cubicBezTo>
                      <a:cubicBezTo>
                        <a:pt x="0" y="1"/>
                        <a:pt x="1" y="0"/>
                        <a:pt x="3" y="0"/>
                      </a:cubicBezTo>
                      <a:cubicBezTo>
                        <a:pt x="6" y="0"/>
                        <a:pt x="6" y="0"/>
                        <a:pt x="6" y="0"/>
                      </a:cubicBezTo>
                      <a:cubicBezTo>
                        <a:pt x="7" y="0"/>
                        <a:pt x="9" y="1"/>
                        <a:pt x="9"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5" name="Freeform 62">
                  <a:extLst>
                    <a:ext uri="{FF2B5EF4-FFF2-40B4-BE49-F238E27FC236}">
                      <a16:creationId xmlns:a16="http://schemas.microsoft.com/office/drawing/2014/main" id="{2490B3D4-75F6-0F43-A6DD-6EC49BAAEF62}"/>
                    </a:ext>
                  </a:extLst>
                </p:cNvPr>
                <p:cNvSpPr>
                  <a:spLocks noEditPoints="1"/>
                </p:cNvSpPr>
                <p:nvPr/>
              </p:nvSpPr>
              <p:spPr bwMode="auto">
                <a:xfrm>
                  <a:off x="8353425" y="1100138"/>
                  <a:ext cx="46037" cy="71437"/>
                </a:xfrm>
                <a:custGeom>
                  <a:avLst/>
                  <a:gdLst>
                    <a:gd name="T0" fmla="*/ 20 w 20"/>
                    <a:gd name="T1" fmla="*/ 9 h 30"/>
                    <a:gd name="T2" fmla="*/ 20 w 20"/>
                    <a:gd name="T3" fmla="*/ 21 h 30"/>
                    <a:gd name="T4" fmla="*/ 11 w 20"/>
                    <a:gd name="T5" fmla="*/ 30 h 30"/>
                    <a:gd name="T6" fmla="*/ 10 w 20"/>
                    <a:gd name="T7" fmla="*/ 30 h 30"/>
                    <a:gd name="T8" fmla="*/ 0 w 20"/>
                    <a:gd name="T9" fmla="*/ 21 h 30"/>
                    <a:gd name="T10" fmla="*/ 0 w 20"/>
                    <a:gd name="T11" fmla="*/ 9 h 30"/>
                    <a:gd name="T12" fmla="*/ 10 w 20"/>
                    <a:gd name="T13" fmla="*/ 0 h 30"/>
                    <a:gd name="T14" fmla="*/ 11 w 20"/>
                    <a:gd name="T15" fmla="*/ 0 h 30"/>
                    <a:gd name="T16" fmla="*/ 20 w 20"/>
                    <a:gd name="T17" fmla="*/ 9 h 30"/>
                    <a:gd name="T18" fmla="*/ 15 w 20"/>
                    <a:gd name="T19" fmla="*/ 18 h 30"/>
                    <a:gd name="T20" fmla="*/ 15 w 20"/>
                    <a:gd name="T21" fmla="*/ 12 h 30"/>
                    <a:gd name="T22" fmla="*/ 10 w 20"/>
                    <a:gd name="T23" fmla="*/ 6 h 30"/>
                    <a:gd name="T24" fmla="*/ 10 w 20"/>
                    <a:gd name="T25" fmla="*/ 6 h 30"/>
                    <a:gd name="T26" fmla="*/ 6 w 20"/>
                    <a:gd name="T27" fmla="*/ 12 h 30"/>
                    <a:gd name="T28" fmla="*/ 6 w 20"/>
                    <a:gd name="T29" fmla="*/ 18 h 30"/>
                    <a:gd name="T30" fmla="*/ 10 w 20"/>
                    <a:gd name="T31" fmla="*/ 24 h 30"/>
                    <a:gd name="T32" fmla="*/ 10 w 20"/>
                    <a:gd name="T33" fmla="*/ 24 h 30"/>
                    <a:gd name="T34" fmla="*/ 15 w 20"/>
                    <a:gd name="T35"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30">
                      <a:moveTo>
                        <a:pt x="20" y="9"/>
                      </a:moveTo>
                      <a:cubicBezTo>
                        <a:pt x="20" y="21"/>
                        <a:pt x="20" y="21"/>
                        <a:pt x="20" y="21"/>
                      </a:cubicBezTo>
                      <a:cubicBezTo>
                        <a:pt x="20" y="26"/>
                        <a:pt x="16" y="30"/>
                        <a:pt x="11" y="30"/>
                      </a:cubicBezTo>
                      <a:cubicBezTo>
                        <a:pt x="10" y="30"/>
                        <a:pt x="10" y="30"/>
                        <a:pt x="10" y="30"/>
                      </a:cubicBezTo>
                      <a:cubicBezTo>
                        <a:pt x="5" y="30"/>
                        <a:pt x="0" y="26"/>
                        <a:pt x="0" y="21"/>
                      </a:cubicBezTo>
                      <a:cubicBezTo>
                        <a:pt x="0" y="9"/>
                        <a:pt x="0" y="9"/>
                        <a:pt x="0" y="9"/>
                      </a:cubicBezTo>
                      <a:cubicBezTo>
                        <a:pt x="0" y="4"/>
                        <a:pt x="5" y="0"/>
                        <a:pt x="10" y="0"/>
                      </a:cubicBezTo>
                      <a:cubicBezTo>
                        <a:pt x="11" y="0"/>
                        <a:pt x="11" y="0"/>
                        <a:pt x="11" y="0"/>
                      </a:cubicBezTo>
                      <a:cubicBezTo>
                        <a:pt x="16" y="0"/>
                        <a:pt x="20" y="4"/>
                        <a:pt x="20" y="9"/>
                      </a:cubicBezTo>
                      <a:close/>
                      <a:moveTo>
                        <a:pt x="15" y="18"/>
                      </a:moveTo>
                      <a:cubicBezTo>
                        <a:pt x="15" y="12"/>
                        <a:pt x="15" y="12"/>
                        <a:pt x="15" y="12"/>
                      </a:cubicBezTo>
                      <a:cubicBezTo>
                        <a:pt x="15" y="9"/>
                        <a:pt x="13" y="6"/>
                        <a:pt x="10" y="6"/>
                      </a:cubicBezTo>
                      <a:cubicBezTo>
                        <a:pt x="10" y="6"/>
                        <a:pt x="10" y="6"/>
                        <a:pt x="10" y="6"/>
                      </a:cubicBezTo>
                      <a:cubicBezTo>
                        <a:pt x="8" y="6"/>
                        <a:pt x="6" y="9"/>
                        <a:pt x="6" y="12"/>
                      </a:cubicBezTo>
                      <a:cubicBezTo>
                        <a:pt x="6" y="18"/>
                        <a:pt x="6" y="18"/>
                        <a:pt x="6" y="18"/>
                      </a:cubicBezTo>
                      <a:cubicBezTo>
                        <a:pt x="6" y="21"/>
                        <a:pt x="8" y="24"/>
                        <a:pt x="10" y="24"/>
                      </a:cubicBezTo>
                      <a:cubicBezTo>
                        <a:pt x="10" y="24"/>
                        <a:pt x="10" y="24"/>
                        <a:pt x="10" y="24"/>
                      </a:cubicBezTo>
                      <a:cubicBezTo>
                        <a:pt x="13" y="24"/>
                        <a:pt x="15" y="21"/>
                        <a:pt x="15" y="1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6" name="Freeform 63">
                  <a:extLst>
                    <a:ext uri="{FF2B5EF4-FFF2-40B4-BE49-F238E27FC236}">
                      <a16:creationId xmlns:a16="http://schemas.microsoft.com/office/drawing/2014/main" id="{FBDB4291-3669-D442-A2BB-C35CB692950B}"/>
                    </a:ext>
                  </a:extLst>
                </p:cNvPr>
                <p:cNvSpPr>
                  <a:spLocks/>
                </p:cNvSpPr>
                <p:nvPr/>
              </p:nvSpPr>
              <p:spPr bwMode="auto">
                <a:xfrm>
                  <a:off x="8367713" y="1016000"/>
                  <a:ext cx="20637" cy="68262"/>
                </a:xfrm>
                <a:custGeom>
                  <a:avLst/>
                  <a:gdLst>
                    <a:gd name="T0" fmla="*/ 9 w 9"/>
                    <a:gd name="T1" fmla="*/ 5 h 29"/>
                    <a:gd name="T2" fmla="*/ 9 w 9"/>
                    <a:gd name="T3" fmla="*/ 25 h 29"/>
                    <a:gd name="T4" fmla="*/ 5 w 9"/>
                    <a:gd name="T5" fmla="*/ 29 h 29"/>
                    <a:gd name="T6" fmla="*/ 3 w 9"/>
                    <a:gd name="T7" fmla="*/ 29 h 29"/>
                    <a:gd name="T8" fmla="*/ 0 w 9"/>
                    <a:gd name="T9" fmla="*/ 25 h 29"/>
                    <a:gd name="T10" fmla="*/ 0 w 9"/>
                    <a:gd name="T11" fmla="*/ 5 h 29"/>
                    <a:gd name="T12" fmla="*/ 3 w 9"/>
                    <a:gd name="T13" fmla="*/ 0 h 29"/>
                    <a:gd name="T14" fmla="*/ 5 w 9"/>
                    <a:gd name="T15" fmla="*/ 0 h 29"/>
                    <a:gd name="T16" fmla="*/ 9 w 9"/>
                    <a:gd name="T17"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9">
                      <a:moveTo>
                        <a:pt x="9" y="5"/>
                      </a:moveTo>
                      <a:cubicBezTo>
                        <a:pt x="9" y="25"/>
                        <a:pt x="9" y="25"/>
                        <a:pt x="9" y="25"/>
                      </a:cubicBezTo>
                      <a:cubicBezTo>
                        <a:pt x="9" y="27"/>
                        <a:pt x="7" y="29"/>
                        <a:pt x="5" y="29"/>
                      </a:cubicBezTo>
                      <a:cubicBezTo>
                        <a:pt x="3" y="29"/>
                        <a:pt x="3" y="29"/>
                        <a:pt x="3" y="29"/>
                      </a:cubicBezTo>
                      <a:cubicBezTo>
                        <a:pt x="1" y="29"/>
                        <a:pt x="0" y="27"/>
                        <a:pt x="0" y="25"/>
                      </a:cubicBezTo>
                      <a:cubicBezTo>
                        <a:pt x="0" y="5"/>
                        <a:pt x="0" y="5"/>
                        <a:pt x="0" y="5"/>
                      </a:cubicBezTo>
                      <a:cubicBezTo>
                        <a:pt x="0" y="2"/>
                        <a:pt x="1" y="0"/>
                        <a:pt x="3" y="0"/>
                      </a:cubicBezTo>
                      <a:cubicBezTo>
                        <a:pt x="5" y="0"/>
                        <a:pt x="5" y="0"/>
                        <a:pt x="5" y="0"/>
                      </a:cubicBezTo>
                      <a:cubicBezTo>
                        <a:pt x="7" y="0"/>
                        <a:pt x="9" y="2"/>
                        <a:pt x="9" y="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7" name="Freeform 64">
                  <a:extLst>
                    <a:ext uri="{FF2B5EF4-FFF2-40B4-BE49-F238E27FC236}">
                      <a16:creationId xmlns:a16="http://schemas.microsoft.com/office/drawing/2014/main" id="{EE121D15-07F0-E245-A146-4B4D369EDB20}"/>
                    </a:ext>
                  </a:extLst>
                </p:cNvPr>
                <p:cNvSpPr>
                  <a:spLocks noEditPoints="1"/>
                </p:cNvSpPr>
                <p:nvPr/>
              </p:nvSpPr>
              <p:spPr bwMode="auto">
                <a:xfrm>
                  <a:off x="8301038" y="1012825"/>
                  <a:ext cx="47625" cy="73025"/>
                </a:xfrm>
                <a:custGeom>
                  <a:avLst/>
                  <a:gdLst>
                    <a:gd name="T0" fmla="*/ 20 w 20"/>
                    <a:gd name="T1" fmla="*/ 10 h 31"/>
                    <a:gd name="T2" fmla="*/ 20 w 20"/>
                    <a:gd name="T3" fmla="*/ 22 h 31"/>
                    <a:gd name="T4" fmla="*/ 10 w 20"/>
                    <a:gd name="T5" fmla="*/ 31 h 31"/>
                    <a:gd name="T6" fmla="*/ 9 w 20"/>
                    <a:gd name="T7" fmla="*/ 31 h 31"/>
                    <a:gd name="T8" fmla="*/ 0 w 20"/>
                    <a:gd name="T9" fmla="*/ 22 h 31"/>
                    <a:gd name="T10" fmla="*/ 0 w 20"/>
                    <a:gd name="T11" fmla="*/ 10 h 31"/>
                    <a:gd name="T12" fmla="*/ 2 w 20"/>
                    <a:gd name="T13" fmla="*/ 4 h 31"/>
                    <a:gd name="T14" fmla="*/ 9 w 20"/>
                    <a:gd name="T15" fmla="*/ 0 h 31"/>
                    <a:gd name="T16" fmla="*/ 10 w 20"/>
                    <a:gd name="T17" fmla="*/ 0 h 31"/>
                    <a:gd name="T18" fmla="*/ 20 w 20"/>
                    <a:gd name="T19" fmla="*/ 10 h 31"/>
                    <a:gd name="T20" fmla="*/ 14 w 20"/>
                    <a:gd name="T21" fmla="*/ 19 h 31"/>
                    <a:gd name="T22" fmla="*/ 14 w 20"/>
                    <a:gd name="T23" fmla="*/ 12 h 31"/>
                    <a:gd name="T24" fmla="*/ 10 w 20"/>
                    <a:gd name="T25" fmla="*/ 7 h 31"/>
                    <a:gd name="T26" fmla="*/ 10 w 20"/>
                    <a:gd name="T27" fmla="*/ 7 h 31"/>
                    <a:gd name="T28" fmla="*/ 6 w 20"/>
                    <a:gd name="T29" fmla="*/ 12 h 31"/>
                    <a:gd name="T30" fmla="*/ 6 w 20"/>
                    <a:gd name="T31" fmla="*/ 19 h 31"/>
                    <a:gd name="T32" fmla="*/ 10 w 20"/>
                    <a:gd name="T33" fmla="*/ 24 h 31"/>
                    <a:gd name="T34" fmla="*/ 10 w 20"/>
                    <a:gd name="T35" fmla="*/ 24 h 31"/>
                    <a:gd name="T36" fmla="*/ 14 w 20"/>
                    <a:gd name="T3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1">
                      <a:moveTo>
                        <a:pt x="20" y="10"/>
                      </a:moveTo>
                      <a:cubicBezTo>
                        <a:pt x="20" y="22"/>
                        <a:pt x="20" y="22"/>
                        <a:pt x="20" y="22"/>
                      </a:cubicBezTo>
                      <a:cubicBezTo>
                        <a:pt x="20" y="27"/>
                        <a:pt x="16" y="31"/>
                        <a:pt x="10" y="31"/>
                      </a:cubicBezTo>
                      <a:cubicBezTo>
                        <a:pt x="9" y="31"/>
                        <a:pt x="9" y="31"/>
                        <a:pt x="9" y="31"/>
                      </a:cubicBezTo>
                      <a:cubicBezTo>
                        <a:pt x="4" y="31"/>
                        <a:pt x="0" y="27"/>
                        <a:pt x="0" y="22"/>
                      </a:cubicBezTo>
                      <a:cubicBezTo>
                        <a:pt x="0" y="10"/>
                        <a:pt x="0" y="10"/>
                        <a:pt x="0" y="10"/>
                      </a:cubicBezTo>
                      <a:cubicBezTo>
                        <a:pt x="0" y="8"/>
                        <a:pt x="1" y="5"/>
                        <a:pt x="2" y="4"/>
                      </a:cubicBezTo>
                      <a:cubicBezTo>
                        <a:pt x="4" y="2"/>
                        <a:pt x="7" y="0"/>
                        <a:pt x="9" y="0"/>
                      </a:cubicBezTo>
                      <a:cubicBezTo>
                        <a:pt x="10" y="0"/>
                        <a:pt x="10" y="0"/>
                        <a:pt x="10" y="0"/>
                      </a:cubicBezTo>
                      <a:cubicBezTo>
                        <a:pt x="16" y="0"/>
                        <a:pt x="20" y="5"/>
                        <a:pt x="20" y="10"/>
                      </a:cubicBezTo>
                      <a:close/>
                      <a:moveTo>
                        <a:pt x="14" y="19"/>
                      </a:moveTo>
                      <a:cubicBezTo>
                        <a:pt x="14" y="12"/>
                        <a:pt x="14" y="12"/>
                        <a:pt x="14" y="12"/>
                      </a:cubicBezTo>
                      <a:cubicBezTo>
                        <a:pt x="14" y="10"/>
                        <a:pt x="12" y="7"/>
                        <a:pt x="10" y="7"/>
                      </a:cubicBezTo>
                      <a:cubicBezTo>
                        <a:pt x="10" y="7"/>
                        <a:pt x="10" y="7"/>
                        <a:pt x="10" y="7"/>
                      </a:cubicBezTo>
                      <a:cubicBezTo>
                        <a:pt x="7" y="7"/>
                        <a:pt x="6" y="10"/>
                        <a:pt x="6" y="12"/>
                      </a:cubicBezTo>
                      <a:cubicBezTo>
                        <a:pt x="6" y="19"/>
                        <a:pt x="6" y="19"/>
                        <a:pt x="6" y="19"/>
                      </a:cubicBezTo>
                      <a:cubicBezTo>
                        <a:pt x="6" y="22"/>
                        <a:pt x="7" y="24"/>
                        <a:pt x="10" y="24"/>
                      </a:cubicBezTo>
                      <a:cubicBezTo>
                        <a:pt x="10" y="24"/>
                        <a:pt x="10" y="24"/>
                        <a:pt x="10" y="24"/>
                      </a:cubicBezTo>
                      <a:cubicBezTo>
                        <a:pt x="12" y="24"/>
                        <a:pt x="14" y="22"/>
                        <a:pt x="14" y="1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8" name="Freeform 65">
                  <a:extLst>
                    <a:ext uri="{FF2B5EF4-FFF2-40B4-BE49-F238E27FC236}">
                      <a16:creationId xmlns:a16="http://schemas.microsoft.com/office/drawing/2014/main" id="{44F76AE1-F654-7946-8B29-8009958C4F9D}"/>
                    </a:ext>
                  </a:extLst>
                </p:cNvPr>
                <p:cNvSpPr>
                  <a:spLocks/>
                </p:cNvSpPr>
                <p:nvPr/>
              </p:nvSpPr>
              <p:spPr bwMode="auto">
                <a:xfrm>
                  <a:off x="8312150" y="1100138"/>
                  <a:ext cx="22225" cy="68262"/>
                </a:xfrm>
                <a:custGeom>
                  <a:avLst/>
                  <a:gdLst>
                    <a:gd name="T0" fmla="*/ 9 w 9"/>
                    <a:gd name="T1" fmla="*/ 4 h 29"/>
                    <a:gd name="T2" fmla="*/ 9 w 9"/>
                    <a:gd name="T3" fmla="*/ 25 h 29"/>
                    <a:gd name="T4" fmla="*/ 6 w 9"/>
                    <a:gd name="T5" fmla="*/ 29 h 29"/>
                    <a:gd name="T6" fmla="*/ 4 w 9"/>
                    <a:gd name="T7" fmla="*/ 29 h 29"/>
                    <a:gd name="T8" fmla="*/ 1 w 9"/>
                    <a:gd name="T9" fmla="*/ 27 h 29"/>
                    <a:gd name="T10" fmla="*/ 0 w 9"/>
                    <a:gd name="T11" fmla="*/ 25 h 29"/>
                    <a:gd name="T12" fmla="*/ 0 w 9"/>
                    <a:gd name="T13" fmla="*/ 4 h 29"/>
                    <a:gd name="T14" fmla="*/ 4 w 9"/>
                    <a:gd name="T15" fmla="*/ 0 h 29"/>
                    <a:gd name="T16" fmla="*/ 5 w 9"/>
                    <a:gd name="T17" fmla="*/ 0 h 29"/>
                    <a:gd name="T18" fmla="*/ 6 w 9"/>
                    <a:gd name="T19" fmla="*/ 0 h 29"/>
                    <a:gd name="T20" fmla="*/ 9 w 9"/>
                    <a:gd name="T21"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29">
                      <a:moveTo>
                        <a:pt x="9" y="4"/>
                      </a:moveTo>
                      <a:cubicBezTo>
                        <a:pt x="9" y="25"/>
                        <a:pt x="9" y="25"/>
                        <a:pt x="9" y="25"/>
                      </a:cubicBezTo>
                      <a:cubicBezTo>
                        <a:pt x="9" y="27"/>
                        <a:pt x="8" y="29"/>
                        <a:pt x="6" y="29"/>
                      </a:cubicBezTo>
                      <a:cubicBezTo>
                        <a:pt x="4" y="29"/>
                        <a:pt x="4" y="29"/>
                        <a:pt x="4" y="29"/>
                      </a:cubicBezTo>
                      <a:cubicBezTo>
                        <a:pt x="3" y="29"/>
                        <a:pt x="2" y="28"/>
                        <a:pt x="1" y="27"/>
                      </a:cubicBezTo>
                      <a:cubicBezTo>
                        <a:pt x="1" y="27"/>
                        <a:pt x="0" y="26"/>
                        <a:pt x="0" y="25"/>
                      </a:cubicBezTo>
                      <a:cubicBezTo>
                        <a:pt x="0" y="4"/>
                        <a:pt x="0" y="4"/>
                        <a:pt x="0" y="4"/>
                      </a:cubicBezTo>
                      <a:cubicBezTo>
                        <a:pt x="0" y="2"/>
                        <a:pt x="2" y="0"/>
                        <a:pt x="4" y="0"/>
                      </a:cubicBezTo>
                      <a:cubicBezTo>
                        <a:pt x="5" y="0"/>
                        <a:pt x="5" y="0"/>
                        <a:pt x="5" y="0"/>
                      </a:cubicBezTo>
                      <a:cubicBezTo>
                        <a:pt x="6" y="0"/>
                        <a:pt x="6" y="0"/>
                        <a:pt x="6" y="0"/>
                      </a:cubicBezTo>
                      <a:cubicBezTo>
                        <a:pt x="8" y="0"/>
                        <a:pt x="9" y="2"/>
                        <a:pt x="9"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9" name="Freeform 66">
                  <a:extLst>
                    <a:ext uri="{FF2B5EF4-FFF2-40B4-BE49-F238E27FC236}">
                      <a16:creationId xmlns:a16="http://schemas.microsoft.com/office/drawing/2014/main" id="{561D08CD-72C0-FB4B-A4C3-DA43B48C9736}"/>
                    </a:ext>
                  </a:extLst>
                </p:cNvPr>
                <p:cNvSpPr>
                  <a:spLocks/>
                </p:cNvSpPr>
                <p:nvPr/>
              </p:nvSpPr>
              <p:spPr bwMode="auto">
                <a:xfrm>
                  <a:off x="7829550" y="1576388"/>
                  <a:ext cx="496887" cy="36512"/>
                </a:xfrm>
                <a:custGeom>
                  <a:avLst/>
                  <a:gdLst>
                    <a:gd name="T0" fmla="*/ 211 w 211"/>
                    <a:gd name="T1" fmla="*/ 0 h 15"/>
                    <a:gd name="T2" fmla="*/ 211 w 211"/>
                    <a:gd name="T3" fmla="*/ 5 h 15"/>
                    <a:gd name="T4" fmla="*/ 191 w 211"/>
                    <a:gd name="T5" fmla="*/ 15 h 15"/>
                    <a:gd name="T6" fmla="*/ 151 w 211"/>
                    <a:gd name="T7" fmla="*/ 15 h 15"/>
                    <a:gd name="T8" fmla="*/ 60 w 211"/>
                    <a:gd name="T9" fmla="*/ 15 h 15"/>
                    <a:gd name="T10" fmla="*/ 20 w 211"/>
                    <a:gd name="T11" fmla="*/ 15 h 15"/>
                    <a:gd name="T12" fmla="*/ 0 w 211"/>
                    <a:gd name="T13" fmla="*/ 5 h 15"/>
                    <a:gd name="T14" fmla="*/ 0 w 211"/>
                    <a:gd name="T15" fmla="*/ 0 h 15"/>
                    <a:gd name="T16" fmla="*/ 211 w 21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5">
                      <a:moveTo>
                        <a:pt x="211" y="0"/>
                      </a:moveTo>
                      <a:cubicBezTo>
                        <a:pt x="211" y="5"/>
                        <a:pt x="211" y="5"/>
                        <a:pt x="211" y="5"/>
                      </a:cubicBezTo>
                      <a:cubicBezTo>
                        <a:pt x="211" y="5"/>
                        <a:pt x="209" y="15"/>
                        <a:pt x="191" y="15"/>
                      </a:cubicBezTo>
                      <a:cubicBezTo>
                        <a:pt x="172" y="15"/>
                        <a:pt x="151" y="15"/>
                        <a:pt x="151" y="15"/>
                      </a:cubicBezTo>
                      <a:cubicBezTo>
                        <a:pt x="60" y="15"/>
                        <a:pt x="60" y="15"/>
                        <a:pt x="60" y="15"/>
                      </a:cubicBezTo>
                      <a:cubicBezTo>
                        <a:pt x="60" y="15"/>
                        <a:pt x="38" y="15"/>
                        <a:pt x="20" y="15"/>
                      </a:cubicBezTo>
                      <a:cubicBezTo>
                        <a:pt x="2" y="15"/>
                        <a:pt x="0" y="5"/>
                        <a:pt x="0" y="5"/>
                      </a:cubicBezTo>
                      <a:cubicBezTo>
                        <a:pt x="0" y="0"/>
                        <a:pt x="0" y="0"/>
                        <a:pt x="0" y="0"/>
                      </a:cubicBezTo>
                      <a:lnTo>
                        <a:pt x="211" y="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30" name="Freeform 67">
                  <a:extLst>
                    <a:ext uri="{FF2B5EF4-FFF2-40B4-BE49-F238E27FC236}">
                      <a16:creationId xmlns:a16="http://schemas.microsoft.com/office/drawing/2014/main" id="{E75BE316-F8CF-354C-9539-CD99CDA9D424}"/>
                    </a:ext>
                  </a:extLst>
                </p:cNvPr>
                <p:cNvSpPr>
                  <a:spLocks/>
                </p:cNvSpPr>
                <p:nvPr/>
              </p:nvSpPr>
              <p:spPr bwMode="auto">
                <a:xfrm>
                  <a:off x="7839075" y="1530350"/>
                  <a:ext cx="477837" cy="30162"/>
                </a:xfrm>
                <a:custGeom>
                  <a:avLst/>
                  <a:gdLst>
                    <a:gd name="T0" fmla="*/ 301 w 301"/>
                    <a:gd name="T1" fmla="*/ 19 h 19"/>
                    <a:gd name="T2" fmla="*/ 0 w 301"/>
                    <a:gd name="T3" fmla="*/ 19 h 19"/>
                    <a:gd name="T4" fmla="*/ 59 w 301"/>
                    <a:gd name="T5" fmla="*/ 0 h 19"/>
                    <a:gd name="T6" fmla="*/ 150 w 301"/>
                    <a:gd name="T7" fmla="*/ 0 h 19"/>
                    <a:gd name="T8" fmla="*/ 242 w 301"/>
                    <a:gd name="T9" fmla="*/ 0 h 19"/>
                    <a:gd name="T10" fmla="*/ 301 w 301"/>
                    <a:gd name="T11" fmla="*/ 19 h 19"/>
                  </a:gdLst>
                  <a:ahLst/>
                  <a:cxnLst>
                    <a:cxn ang="0">
                      <a:pos x="T0" y="T1"/>
                    </a:cxn>
                    <a:cxn ang="0">
                      <a:pos x="T2" y="T3"/>
                    </a:cxn>
                    <a:cxn ang="0">
                      <a:pos x="T4" y="T5"/>
                    </a:cxn>
                    <a:cxn ang="0">
                      <a:pos x="T6" y="T7"/>
                    </a:cxn>
                    <a:cxn ang="0">
                      <a:pos x="T8" y="T9"/>
                    </a:cxn>
                    <a:cxn ang="0">
                      <a:pos x="T10" y="T11"/>
                    </a:cxn>
                  </a:cxnLst>
                  <a:rect l="0" t="0" r="r" b="b"/>
                  <a:pathLst>
                    <a:path w="301" h="19">
                      <a:moveTo>
                        <a:pt x="301" y="19"/>
                      </a:moveTo>
                      <a:lnTo>
                        <a:pt x="0" y="19"/>
                      </a:lnTo>
                      <a:lnTo>
                        <a:pt x="59" y="0"/>
                      </a:lnTo>
                      <a:lnTo>
                        <a:pt x="150" y="0"/>
                      </a:lnTo>
                      <a:lnTo>
                        <a:pt x="242" y="0"/>
                      </a:lnTo>
                      <a:lnTo>
                        <a:pt x="301" y="19"/>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31" name="Rectangle 68">
                  <a:extLst>
                    <a:ext uri="{FF2B5EF4-FFF2-40B4-BE49-F238E27FC236}">
                      <a16:creationId xmlns:a16="http://schemas.microsoft.com/office/drawing/2014/main" id="{7182EA27-E7C3-1145-955A-E3D5D5DC452D}"/>
                    </a:ext>
                  </a:extLst>
                </p:cNvPr>
                <p:cNvSpPr>
                  <a:spLocks noChangeArrowheads="1"/>
                </p:cNvSpPr>
                <p:nvPr/>
              </p:nvSpPr>
              <p:spPr bwMode="auto">
                <a:xfrm>
                  <a:off x="7932685" y="1449395"/>
                  <a:ext cx="290511" cy="63501"/>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grpSp>
        </p:grpSp>
        <p:grpSp>
          <p:nvGrpSpPr>
            <p:cNvPr id="132" name="Group 165">
              <a:extLst>
                <a:ext uri="{FF2B5EF4-FFF2-40B4-BE49-F238E27FC236}">
                  <a16:creationId xmlns:a16="http://schemas.microsoft.com/office/drawing/2014/main" id="{261C9FF7-4AD1-5B48-9684-344A60A3CA5A}"/>
                </a:ext>
              </a:extLst>
            </p:cNvPr>
            <p:cNvGrpSpPr>
              <a:grpSpLocks noChangeAspect="1"/>
            </p:cNvGrpSpPr>
            <p:nvPr/>
          </p:nvGrpSpPr>
          <p:grpSpPr bwMode="auto">
            <a:xfrm>
              <a:off x="6751797" y="1766786"/>
              <a:ext cx="424903" cy="428952"/>
              <a:chOff x="5035" y="390"/>
              <a:chExt cx="340" cy="340"/>
            </a:xfrm>
            <a:solidFill>
              <a:schemeClr val="accent2"/>
            </a:solidFill>
          </p:grpSpPr>
          <p:sp>
            <p:nvSpPr>
              <p:cNvPr id="133" name="Freeform 166">
                <a:extLst>
                  <a:ext uri="{FF2B5EF4-FFF2-40B4-BE49-F238E27FC236}">
                    <a16:creationId xmlns:a16="http://schemas.microsoft.com/office/drawing/2014/main" id="{B0A596F6-40A8-8245-B8DC-38DFFCA77246}"/>
                  </a:ext>
                </a:extLst>
              </p:cNvPr>
              <p:cNvSpPr>
                <a:spLocks noEditPoints="1"/>
              </p:cNvSpPr>
              <p:nvPr/>
            </p:nvSpPr>
            <p:spPr bwMode="auto">
              <a:xfrm>
                <a:off x="5035" y="39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34" name="Oval 167">
                <a:extLst>
                  <a:ext uri="{FF2B5EF4-FFF2-40B4-BE49-F238E27FC236}">
                    <a16:creationId xmlns:a16="http://schemas.microsoft.com/office/drawing/2014/main" id="{039530F6-911E-F045-B515-F1F01B7DE802}"/>
                  </a:ext>
                </a:extLst>
              </p:cNvPr>
              <p:cNvSpPr>
                <a:spLocks noChangeArrowheads="1"/>
              </p:cNvSpPr>
              <p:nvPr/>
            </p:nvSpPr>
            <p:spPr bwMode="auto">
              <a:xfrm>
                <a:off x="5155" y="567"/>
                <a:ext cx="29" cy="29"/>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35" name="Oval 168">
                <a:extLst>
                  <a:ext uri="{FF2B5EF4-FFF2-40B4-BE49-F238E27FC236}">
                    <a16:creationId xmlns:a16="http://schemas.microsoft.com/office/drawing/2014/main" id="{198037C3-9BF8-FA4C-9552-F44792632AF2}"/>
                  </a:ext>
                </a:extLst>
              </p:cNvPr>
              <p:cNvSpPr>
                <a:spLocks noChangeArrowheads="1"/>
              </p:cNvSpPr>
              <p:nvPr/>
            </p:nvSpPr>
            <p:spPr bwMode="auto">
              <a:xfrm>
                <a:off x="5155" y="518"/>
                <a:ext cx="29" cy="28"/>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36" name="Freeform 169">
                <a:extLst>
                  <a:ext uri="{FF2B5EF4-FFF2-40B4-BE49-F238E27FC236}">
                    <a16:creationId xmlns:a16="http://schemas.microsoft.com/office/drawing/2014/main" id="{8B227636-2F0A-884C-9C23-90E13EA4B0E1}"/>
                  </a:ext>
                </a:extLst>
              </p:cNvPr>
              <p:cNvSpPr>
                <a:spLocks noEditPoints="1"/>
              </p:cNvSpPr>
              <p:nvPr/>
            </p:nvSpPr>
            <p:spPr bwMode="auto">
              <a:xfrm>
                <a:off x="5113" y="453"/>
                <a:ext cx="202" cy="207"/>
              </a:xfrm>
              <a:custGeom>
                <a:avLst/>
                <a:gdLst>
                  <a:gd name="T0" fmla="*/ 253 w 303"/>
                  <a:gd name="T1" fmla="*/ 69 h 311"/>
                  <a:gd name="T2" fmla="*/ 232 w 303"/>
                  <a:gd name="T3" fmla="*/ 18 h 311"/>
                  <a:gd name="T4" fmla="*/ 219 w 303"/>
                  <a:gd name="T5" fmla="*/ 2 h 311"/>
                  <a:gd name="T6" fmla="*/ 138 w 303"/>
                  <a:gd name="T7" fmla="*/ 23 h 311"/>
                  <a:gd name="T8" fmla="*/ 33 w 303"/>
                  <a:gd name="T9" fmla="*/ 69 h 311"/>
                  <a:gd name="T10" fmla="*/ 28 w 303"/>
                  <a:gd name="T11" fmla="*/ 235 h 311"/>
                  <a:gd name="T12" fmla="*/ 168 w 303"/>
                  <a:gd name="T13" fmla="*/ 278 h 311"/>
                  <a:gd name="T14" fmla="*/ 156 w 303"/>
                  <a:gd name="T15" fmla="*/ 230 h 311"/>
                  <a:gd name="T16" fmla="*/ 148 w 303"/>
                  <a:gd name="T17" fmla="*/ 207 h 311"/>
                  <a:gd name="T18" fmla="*/ 171 w 303"/>
                  <a:gd name="T19" fmla="*/ 204 h 311"/>
                  <a:gd name="T20" fmla="*/ 191 w 303"/>
                  <a:gd name="T21" fmla="*/ 301 h 311"/>
                  <a:gd name="T22" fmla="*/ 223 w 303"/>
                  <a:gd name="T23" fmla="*/ 311 h 311"/>
                  <a:gd name="T24" fmla="*/ 242 w 303"/>
                  <a:gd name="T25" fmla="*/ 204 h 311"/>
                  <a:gd name="T26" fmla="*/ 253 w 303"/>
                  <a:gd name="T27" fmla="*/ 70 h 311"/>
                  <a:gd name="T28" fmla="*/ 225 w 303"/>
                  <a:gd name="T29" fmla="*/ 61 h 311"/>
                  <a:gd name="T30" fmla="*/ 215 w 303"/>
                  <a:gd name="T31" fmla="*/ 119 h 311"/>
                  <a:gd name="T32" fmla="*/ 212 w 303"/>
                  <a:gd name="T33" fmla="*/ 33 h 311"/>
                  <a:gd name="T34" fmla="*/ 166 w 303"/>
                  <a:gd name="T35" fmla="*/ 183 h 311"/>
                  <a:gd name="T36" fmla="*/ 125 w 303"/>
                  <a:gd name="T37" fmla="*/ 218 h 311"/>
                  <a:gd name="T38" fmla="*/ 151 w 303"/>
                  <a:gd name="T39" fmla="*/ 255 h 311"/>
                  <a:gd name="T40" fmla="*/ 138 w 303"/>
                  <a:gd name="T41" fmla="*/ 268 h 311"/>
                  <a:gd name="T42" fmla="*/ 21 w 303"/>
                  <a:gd name="T43" fmla="*/ 154 h 311"/>
                  <a:gd name="T44" fmla="*/ 100 w 303"/>
                  <a:gd name="T45" fmla="*/ 49 h 311"/>
                  <a:gd name="T46" fmla="*/ 177 w 303"/>
                  <a:gd name="T47" fmla="*/ 49 h 311"/>
                  <a:gd name="T48" fmla="*/ 159 w 303"/>
                  <a:gd name="T49" fmla="*/ 76 h 311"/>
                  <a:gd name="T50" fmla="*/ 159 w 303"/>
                  <a:gd name="T51" fmla="*/ 119 h 311"/>
                  <a:gd name="T52" fmla="*/ 181 w 303"/>
                  <a:gd name="T53" fmla="*/ 121 h 311"/>
                  <a:gd name="T54" fmla="*/ 182 w 303"/>
                  <a:gd name="T55" fmla="*/ 183 h 311"/>
                  <a:gd name="T56" fmla="*/ 214 w 303"/>
                  <a:gd name="T57" fmla="*/ 289 h 311"/>
                  <a:gd name="T58" fmla="*/ 202 w 303"/>
                  <a:gd name="T59" fmla="*/ 161 h 311"/>
                  <a:gd name="T60" fmla="*/ 210 w 303"/>
                  <a:gd name="T61" fmla="*/ 140 h 311"/>
                  <a:gd name="T62" fmla="*/ 223 w 303"/>
                  <a:gd name="T63" fmla="*/ 141 h 311"/>
                  <a:gd name="T64" fmla="*/ 214 w 303"/>
                  <a:gd name="T65" fmla="*/ 289 h 311"/>
                  <a:gd name="T66" fmla="*/ 244 w 303"/>
                  <a:gd name="T67" fmla="*/ 182 h 311"/>
                  <a:gd name="T68" fmla="*/ 245 w 303"/>
                  <a:gd name="T69" fmla="*/ 131 h 311"/>
                  <a:gd name="T70" fmla="*/ 254 w 303"/>
                  <a:gd name="T71" fmla="*/ 11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3" h="311">
                    <a:moveTo>
                      <a:pt x="253" y="70"/>
                    </a:moveTo>
                    <a:cubicBezTo>
                      <a:pt x="253" y="70"/>
                      <a:pt x="253" y="69"/>
                      <a:pt x="253" y="69"/>
                    </a:cubicBezTo>
                    <a:cubicBezTo>
                      <a:pt x="250" y="62"/>
                      <a:pt x="247" y="55"/>
                      <a:pt x="243" y="49"/>
                    </a:cubicBezTo>
                    <a:cubicBezTo>
                      <a:pt x="230" y="29"/>
                      <a:pt x="232" y="20"/>
                      <a:pt x="232" y="18"/>
                    </a:cubicBezTo>
                    <a:cubicBezTo>
                      <a:pt x="236" y="14"/>
                      <a:pt x="236" y="10"/>
                      <a:pt x="233" y="5"/>
                    </a:cubicBezTo>
                    <a:cubicBezTo>
                      <a:pt x="230" y="1"/>
                      <a:pt x="224" y="0"/>
                      <a:pt x="219" y="2"/>
                    </a:cubicBezTo>
                    <a:cubicBezTo>
                      <a:pt x="218" y="3"/>
                      <a:pt x="200" y="11"/>
                      <a:pt x="187" y="30"/>
                    </a:cubicBezTo>
                    <a:cubicBezTo>
                      <a:pt x="167" y="23"/>
                      <a:pt x="142" y="23"/>
                      <a:pt x="138" y="23"/>
                    </a:cubicBezTo>
                    <a:cubicBezTo>
                      <a:pt x="122" y="23"/>
                      <a:pt x="107" y="25"/>
                      <a:pt x="93" y="29"/>
                    </a:cubicBezTo>
                    <a:cubicBezTo>
                      <a:pt x="70" y="36"/>
                      <a:pt x="49" y="50"/>
                      <a:pt x="33" y="69"/>
                    </a:cubicBezTo>
                    <a:cubicBezTo>
                      <a:pt x="11" y="95"/>
                      <a:pt x="0" y="124"/>
                      <a:pt x="0" y="154"/>
                    </a:cubicBezTo>
                    <a:cubicBezTo>
                      <a:pt x="0" y="183"/>
                      <a:pt x="10" y="212"/>
                      <a:pt x="28" y="235"/>
                    </a:cubicBezTo>
                    <a:cubicBezTo>
                      <a:pt x="54" y="268"/>
                      <a:pt x="98" y="289"/>
                      <a:pt x="138" y="289"/>
                    </a:cubicBezTo>
                    <a:cubicBezTo>
                      <a:pt x="143" y="289"/>
                      <a:pt x="159" y="289"/>
                      <a:pt x="168" y="278"/>
                    </a:cubicBezTo>
                    <a:cubicBezTo>
                      <a:pt x="177" y="268"/>
                      <a:pt x="175" y="252"/>
                      <a:pt x="168" y="242"/>
                    </a:cubicBezTo>
                    <a:cubicBezTo>
                      <a:pt x="165" y="237"/>
                      <a:pt x="160" y="233"/>
                      <a:pt x="156" y="230"/>
                    </a:cubicBezTo>
                    <a:cubicBezTo>
                      <a:pt x="150" y="224"/>
                      <a:pt x="147" y="221"/>
                      <a:pt x="146" y="215"/>
                    </a:cubicBezTo>
                    <a:cubicBezTo>
                      <a:pt x="145" y="212"/>
                      <a:pt x="146" y="208"/>
                      <a:pt x="148" y="207"/>
                    </a:cubicBezTo>
                    <a:cubicBezTo>
                      <a:pt x="151" y="204"/>
                      <a:pt x="159" y="204"/>
                      <a:pt x="166" y="204"/>
                    </a:cubicBezTo>
                    <a:cubicBezTo>
                      <a:pt x="168" y="204"/>
                      <a:pt x="169" y="204"/>
                      <a:pt x="171" y="204"/>
                    </a:cubicBezTo>
                    <a:cubicBezTo>
                      <a:pt x="184" y="204"/>
                      <a:pt x="184" y="204"/>
                      <a:pt x="184" y="204"/>
                    </a:cubicBezTo>
                    <a:cubicBezTo>
                      <a:pt x="191" y="301"/>
                      <a:pt x="191" y="301"/>
                      <a:pt x="191" y="301"/>
                    </a:cubicBezTo>
                    <a:cubicBezTo>
                      <a:pt x="192" y="306"/>
                      <a:pt x="196" y="311"/>
                      <a:pt x="202" y="311"/>
                    </a:cubicBezTo>
                    <a:cubicBezTo>
                      <a:pt x="223" y="311"/>
                      <a:pt x="223" y="311"/>
                      <a:pt x="223" y="311"/>
                    </a:cubicBezTo>
                    <a:cubicBezTo>
                      <a:pt x="229" y="311"/>
                      <a:pt x="233" y="306"/>
                      <a:pt x="234" y="301"/>
                    </a:cubicBezTo>
                    <a:cubicBezTo>
                      <a:pt x="242" y="204"/>
                      <a:pt x="242" y="204"/>
                      <a:pt x="242" y="204"/>
                    </a:cubicBezTo>
                    <a:cubicBezTo>
                      <a:pt x="262" y="202"/>
                      <a:pt x="276" y="194"/>
                      <a:pt x="283" y="181"/>
                    </a:cubicBezTo>
                    <a:cubicBezTo>
                      <a:pt x="303" y="144"/>
                      <a:pt x="259" y="77"/>
                      <a:pt x="253" y="70"/>
                    </a:cubicBezTo>
                    <a:close/>
                    <a:moveTo>
                      <a:pt x="212" y="33"/>
                    </a:moveTo>
                    <a:cubicBezTo>
                      <a:pt x="214" y="41"/>
                      <a:pt x="218" y="50"/>
                      <a:pt x="225" y="61"/>
                    </a:cubicBezTo>
                    <a:cubicBezTo>
                      <a:pt x="236" y="77"/>
                      <a:pt x="239" y="103"/>
                      <a:pt x="231" y="115"/>
                    </a:cubicBezTo>
                    <a:cubicBezTo>
                      <a:pt x="229" y="118"/>
                      <a:pt x="225" y="121"/>
                      <a:pt x="215" y="119"/>
                    </a:cubicBezTo>
                    <a:cubicBezTo>
                      <a:pt x="191" y="113"/>
                      <a:pt x="191" y="90"/>
                      <a:pt x="191" y="87"/>
                    </a:cubicBezTo>
                    <a:cubicBezTo>
                      <a:pt x="191" y="60"/>
                      <a:pt x="202" y="43"/>
                      <a:pt x="212" y="33"/>
                    </a:cubicBezTo>
                    <a:close/>
                    <a:moveTo>
                      <a:pt x="171" y="183"/>
                    </a:moveTo>
                    <a:cubicBezTo>
                      <a:pt x="169" y="183"/>
                      <a:pt x="168" y="183"/>
                      <a:pt x="166" y="183"/>
                    </a:cubicBezTo>
                    <a:cubicBezTo>
                      <a:pt x="157" y="182"/>
                      <a:pt x="144" y="182"/>
                      <a:pt x="134" y="191"/>
                    </a:cubicBezTo>
                    <a:cubicBezTo>
                      <a:pt x="127" y="197"/>
                      <a:pt x="123" y="208"/>
                      <a:pt x="125" y="218"/>
                    </a:cubicBezTo>
                    <a:cubicBezTo>
                      <a:pt x="127" y="232"/>
                      <a:pt x="135" y="240"/>
                      <a:pt x="142" y="246"/>
                    </a:cubicBezTo>
                    <a:cubicBezTo>
                      <a:pt x="146" y="248"/>
                      <a:pt x="149" y="251"/>
                      <a:pt x="151" y="255"/>
                    </a:cubicBezTo>
                    <a:cubicBezTo>
                      <a:pt x="153" y="257"/>
                      <a:pt x="153" y="263"/>
                      <a:pt x="151" y="265"/>
                    </a:cubicBezTo>
                    <a:cubicBezTo>
                      <a:pt x="151" y="266"/>
                      <a:pt x="148" y="268"/>
                      <a:pt x="138" y="268"/>
                    </a:cubicBezTo>
                    <a:cubicBezTo>
                      <a:pt x="104" y="268"/>
                      <a:pt x="66" y="249"/>
                      <a:pt x="45" y="222"/>
                    </a:cubicBezTo>
                    <a:cubicBezTo>
                      <a:pt x="30" y="203"/>
                      <a:pt x="22" y="178"/>
                      <a:pt x="21" y="154"/>
                    </a:cubicBezTo>
                    <a:cubicBezTo>
                      <a:pt x="21" y="129"/>
                      <a:pt x="30" y="106"/>
                      <a:pt x="49" y="83"/>
                    </a:cubicBezTo>
                    <a:cubicBezTo>
                      <a:pt x="63" y="67"/>
                      <a:pt x="80" y="55"/>
                      <a:pt x="100" y="49"/>
                    </a:cubicBezTo>
                    <a:cubicBezTo>
                      <a:pt x="111" y="46"/>
                      <a:pt x="124" y="44"/>
                      <a:pt x="138" y="44"/>
                    </a:cubicBezTo>
                    <a:cubicBezTo>
                      <a:pt x="145" y="44"/>
                      <a:pt x="163" y="45"/>
                      <a:pt x="177" y="49"/>
                    </a:cubicBezTo>
                    <a:cubicBezTo>
                      <a:pt x="173" y="58"/>
                      <a:pt x="171" y="68"/>
                      <a:pt x="170" y="79"/>
                    </a:cubicBezTo>
                    <a:cubicBezTo>
                      <a:pt x="167" y="77"/>
                      <a:pt x="163" y="76"/>
                      <a:pt x="159" y="76"/>
                    </a:cubicBezTo>
                    <a:cubicBezTo>
                      <a:pt x="148" y="76"/>
                      <a:pt x="138" y="86"/>
                      <a:pt x="138" y="97"/>
                    </a:cubicBezTo>
                    <a:cubicBezTo>
                      <a:pt x="138" y="109"/>
                      <a:pt x="148" y="119"/>
                      <a:pt x="159" y="119"/>
                    </a:cubicBezTo>
                    <a:cubicBezTo>
                      <a:pt x="166" y="119"/>
                      <a:pt x="171" y="116"/>
                      <a:pt x="175" y="112"/>
                    </a:cubicBezTo>
                    <a:cubicBezTo>
                      <a:pt x="177" y="115"/>
                      <a:pt x="178" y="118"/>
                      <a:pt x="181" y="121"/>
                    </a:cubicBezTo>
                    <a:cubicBezTo>
                      <a:pt x="181" y="162"/>
                      <a:pt x="181" y="162"/>
                      <a:pt x="181" y="162"/>
                    </a:cubicBezTo>
                    <a:cubicBezTo>
                      <a:pt x="182" y="183"/>
                      <a:pt x="182" y="183"/>
                      <a:pt x="182" y="183"/>
                    </a:cubicBezTo>
                    <a:lnTo>
                      <a:pt x="171" y="183"/>
                    </a:lnTo>
                    <a:close/>
                    <a:moveTo>
                      <a:pt x="214" y="289"/>
                    </a:moveTo>
                    <a:cubicBezTo>
                      <a:pt x="212" y="289"/>
                      <a:pt x="212" y="289"/>
                      <a:pt x="212" y="289"/>
                    </a:cubicBezTo>
                    <a:cubicBezTo>
                      <a:pt x="202" y="161"/>
                      <a:pt x="202" y="161"/>
                      <a:pt x="202" y="161"/>
                    </a:cubicBezTo>
                    <a:cubicBezTo>
                      <a:pt x="202" y="137"/>
                      <a:pt x="202" y="137"/>
                      <a:pt x="202" y="137"/>
                    </a:cubicBezTo>
                    <a:cubicBezTo>
                      <a:pt x="205" y="138"/>
                      <a:pt x="207" y="139"/>
                      <a:pt x="210" y="140"/>
                    </a:cubicBezTo>
                    <a:cubicBezTo>
                      <a:pt x="214" y="141"/>
                      <a:pt x="218" y="141"/>
                      <a:pt x="221" y="141"/>
                    </a:cubicBezTo>
                    <a:cubicBezTo>
                      <a:pt x="222" y="141"/>
                      <a:pt x="223" y="141"/>
                      <a:pt x="223" y="141"/>
                    </a:cubicBezTo>
                    <a:cubicBezTo>
                      <a:pt x="223" y="171"/>
                      <a:pt x="223" y="171"/>
                      <a:pt x="223" y="171"/>
                    </a:cubicBezTo>
                    <a:lnTo>
                      <a:pt x="214" y="289"/>
                    </a:lnTo>
                    <a:close/>
                    <a:moveTo>
                      <a:pt x="264" y="171"/>
                    </a:moveTo>
                    <a:cubicBezTo>
                      <a:pt x="261" y="177"/>
                      <a:pt x="254" y="181"/>
                      <a:pt x="244" y="182"/>
                    </a:cubicBezTo>
                    <a:cubicBezTo>
                      <a:pt x="245" y="172"/>
                      <a:pt x="245" y="172"/>
                      <a:pt x="245" y="172"/>
                    </a:cubicBezTo>
                    <a:cubicBezTo>
                      <a:pt x="245" y="131"/>
                      <a:pt x="245" y="131"/>
                      <a:pt x="245" y="131"/>
                    </a:cubicBezTo>
                    <a:cubicBezTo>
                      <a:pt x="246" y="130"/>
                      <a:pt x="247" y="129"/>
                      <a:pt x="248" y="127"/>
                    </a:cubicBezTo>
                    <a:cubicBezTo>
                      <a:pt x="251" y="123"/>
                      <a:pt x="253" y="119"/>
                      <a:pt x="254" y="114"/>
                    </a:cubicBezTo>
                    <a:cubicBezTo>
                      <a:pt x="264" y="135"/>
                      <a:pt x="271" y="158"/>
                      <a:pt x="264" y="17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grpSp>
        <p:grpSp>
          <p:nvGrpSpPr>
            <p:cNvPr id="137" name="Group 188">
              <a:extLst>
                <a:ext uri="{FF2B5EF4-FFF2-40B4-BE49-F238E27FC236}">
                  <a16:creationId xmlns:a16="http://schemas.microsoft.com/office/drawing/2014/main" id="{83D2B1C7-5C77-E54E-A926-918E00669C68}"/>
                </a:ext>
              </a:extLst>
            </p:cNvPr>
            <p:cNvGrpSpPr>
              <a:grpSpLocks noChangeAspect="1"/>
            </p:cNvGrpSpPr>
            <p:nvPr/>
          </p:nvGrpSpPr>
          <p:grpSpPr bwMode="auto">
            <a:xfrm>
              <a:off x="7436327" y="2381306"/>
              <a:ext cx="426153" cy="428952"/>
              <a:chOff x="394" y="389"/>
              <a:chExt cx="341" cy="340"/>
            </a:xfrm>
            <a:solidFill>
              <a:schemeClr val="accent2"/>
            </a:solidFill>
          </p:grpSpPr>
          <p:sp>
            <p:nvSpPr>
              <p:cNvPr id="138" name="Freeform 189">
                <a:extLst>
                  <a:ext uri="{FF2B5EF4-FFF2-40B4-BE49-F238E27FC236}">
                    <a16:creationId xmlns:a16="http://schemas.microsoft.com/office/drawing/2014/main" id="{79ABAAC0-7D52-A241-B8A0-E5EB59854655}"/>
                  </a:ext>
                </a:extLst>
              </p:cNvPr>
              <p:cNvSpPr>
                <a:spLocks noEditPoints="1"/>
              </p:cNvSpPr>
              <p:nvPr/>
            </p:nvSpPr>
            <p:spPr bwMode="auto">
              <a:xfrm>
                <a:off x="394" y="38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39" name="Freeform 190">
                <a:extLst>
                  <a:ext uri="{FF2B5EF4-FFF2-40B4-BE49-F238E27FC236}">
                    <a16:creationId xmlns:a16="http://schemas.microsoft.com/office/drawing/2014/main" id="{2F4DC98C-16F3-C24B-A45F-2BB5C5F4DAFF}"/>
                  </a:ext>
                </a:extLst>
              </p:cNvPr>
              <p:cNvSpPr>
                <a:spLocks noEditPoints="1"/>
              </p:cNvSpPr>
              <p:nvPr/>
            </p:nvSpPr>
            <p:spPr bwMode="auto">
              <a:xfrm>
                <a:off x="536" y="453"/>
                <a:ext cx="56" cy="212"/>
              </a:xfrm>
              <a:custGeom>
                <a:avLst/>
                <a:gdLst>
                  <a:gd name="T0" fmla="*/ 53 w 85"/>
                  <a:gd name="T1" fmla="*/ 193 h 320"/>
                  <a:gd name="T2" fmla="*/ 53 w 85"/>
                  <a:gd name="T3" fmla="*/ 10 h 320"/>
                  <a:gd name="T4" fmla="*/ 43 w 85"/>
                  <a:gd name="T5" fmla="*/ 0 h 320"/>
                  <a:gd name="T6" fmla="*/ 32 w 85"/>
                  <a:gd name="T7" fmla="*/ 10 h 320"/>
                  <a:gd name="T8" fmla="*/ 32 w 85"/>
                  <a:gd name="T9" fmla="*/ 193 h 320"/>
                  <a:gd name="T10" fmla="*/ 0 w 85"/>
                  <a:gd name="T11" fmla="*/ 234 h 320"/>
                  <a:gd name="T12" fmla="*/ 32 w 85"/>
                  <a:gd name="T13" fmla="*/ 275 h 320"/>
                  <a:gd name="T14" fmla="*/ 32 w 85"/>
                  <a:gd name="T15" fmla="*/ 309 h 320"/>
                  <a:gd name="T16" fmla="*/ 43 w 85"/>
                  <a:gd name="T17" fmla="*/ 320 h 320"/>
                  <a:gd name="T18" fmla="*/ 53 w 85"/>
                  <a:gd name="T19" fmla="*/ 309 h 320"/>
                  <a:gd name="T20" fmla="*/ 53 w 85"/>
                  <a:gd name="T21" fmla="*/ 275 h 320"/>
                  <a:gd name="T22" fmla="*/ 85 w 85"/>
                  <a:gd name="T23" fmla="*/ 234 h 320"/>
                  <a:gd name="T24" fmla="*/ 53 w 85"/>
                  <a:gd name="T25" fmla="*/ 193 h 320"/>
                  <a:gd name="T26" fmla="*/ 43 w 85"/>
                  <a:gd name="T27" fmla="*/ 256 h 320"/>
                  <a:gd name="T28" fmla="*/ 21 w 85"/>
                  <a:gd name="T29" fmla="*/ 234 h 320"/>
                  <a:gd name="T30" fmla="*/ 43 w 85"/>
                  <a:gd name="T31" fmla="*/ 213 h 320"/>
                  <a:gd name="T32" fmla="*/ 64 w 85"/>
                  <a:gd name="T33" fmla="*/ 234 h 320"/>
                  <a:gd name="T34" fmla="*/ 43 w 85"/>
                  <a:gd name="T35"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193"/>
                    </a:moveTo>
                    <a:cubicBezTo>
                      <a:pt x="53" y="10"/>
                      <a:pt x="53" y="10"/>
                      <a:pt x="53" y="10"/>
                    </a:cubicBezTo>
                    <a:cubicBezTo>
                      <a:pt x="53" y="4"/>
                      <a:pt x="49" y="0"/>
                      <a:pt x="43" y="0"/>
                    </a:cubicBezTo>
                    <a:cubicBezTo>
                      <a:pt x="37" y="0"/>
                      <a:pt x="32" y="4"/>
                      <a:pt x="32" y="10"/>
                    </a:cubicBezTo>
                    <a:cubicBezTo>
                      <a:pt x="32" y="193"/>
                      <a:pt x="32" y="193"/>
                      <a:pt x="32" y="193"/>
                    </a:cubicBezTo>
                    <a:cubicBezTo>
                      <a:pt x="14" y="198"/>
                      <a:pt x="0" y="215"/>
                      <a:pt x="0" y="234"/>
                    </a:cubicBezTo>
                    <a:cubicBezTo>
                      <a:pt x="0" y="254"/>
                      <a:pt x="14" y="271"/>
                      <a:pt x="32" y="275"/>
                    </a:cubicBezTo>
                    <a:cubicBezTo>
                      <a:pt x="32" y="309"/>
                      <a:pt x="32" y="309"/>
                      <a:pt x="32" y="309"/>
                    </a:cubicBezTo>
                    <a:cubicBezTo>
                      <a:pt x="32" y="315"/>
                      <a:pt x="37" y="320"/>
                      <a:pt x="43" y="320"/>
                    </a:cubicBezTo>
                    <a:cubicBezTo>
                      <a:pt x="49" y="320"/>
                      <a:pt x="53" y="315"/>
                      <a:pt x="53" y="309"/>
                    </a:cubicBezTo>
                    <a:cubicBezTo>
                      <a:pt x="53" y="275"/>
                      <a:pt x="53" y="275"/>
                      <a:pt x="53" y="275"/>
                    </a:cubicBezTo>
                    <a:cubicBezTo>
                      <a:pt x="72" y="271"/>
                      <a:pt x="85" y="254"/>
                      <a:pt x="85" y="234"/>
                    </a:cubicBezTo>
                    <a:cubicBezTo>
                      <a:pt x="85" y="215"/>
                      <a:pt x="72" y="198"/>
                      <a:pt x="53" y="193"/>
                    </a:cubicBezTo>
                    <a:close/>
                    <a:moveTo>
                      <a:pt x="43" y="256"/>
                    </a:moveTo>
                    <a:cubicBezTo>
                      <a:pt x="31" y="256"/>
                      <a:pt x="21" y="246"/>
                      <a:pt x="21" y="234"/>
                    </a:cubicBezTo>
                    <a:cubicBezTo>
                      <a:pt x="21" y="223"/>
                      <a:pt x="31" y="213"/>
                      <a:pt x="43" y="213"/>
                    </a:cubicBezTo>
                    <a:cubicBezTo>
                      <a:pt x="54" y="213"/>
                      <a:pt x="64" y="223"/>
                      <a:pt x="64" y="234"/>
                    </a:cubicBezTo>
                    <a:cubicBezTo>
                      <a:pt x="64" y="246"/>
                      <a:pt x="54" y="256"/>
                      <a:pt x="43" y="25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40" name="Freeform 191">
                <a:extLst>
                  <a:ext uri="{FF2B5EF4-FFF2-40B4-BE49-F238E27FC236}">
                    <a16:creationId xmlns:a16="http://schemas.microsoft.com/office/drawing/2014/main" id="{593CEAFC-3588-F348-BD42-F85561EA2EE9}"/>
                  </a:ext>
                </a:extLst>
              </p:cNvPr>
              <p:cNvSpPr>
                <a:spLocks noEditPoints="1"/>
              </p:cNvSpPr>
              <p:nvPr/>
            </p:nvSpPr>
            <p:spPr bwMode="auto">
              <a:xfrm>
                <a:off x="472" y="453"/>
                <a:ext cx="57" cy="212"/>
              </a:xfrm>
              <a:custGeom>
                <a:avLst/>
                <a:gdLst>
                  <a:gd name="T0" fmla="*/ 53 w 85"/>
                  <a:gd name="T1" fmla="*/ 44 h 320"/>
                  <a:gd name="T2" fmla="*/ 53 w 85"/>
                  <a:gd name="T3" fmla="*/ 10 h 320"/>
                  <a:gd name="T4" fmla="*/ 43 w 85"/>
                  <a:gd name="T5" fmla="*/ 0 h 320"/>
                  <a:gd name="T6" fmla="*/ 32 w 85"/>
                  <a:gd name="T7" fmla="*/ 10 h 320"/>
                  <a:gd name="T8" fmla="*/ 32 w 85"/>
                  <a:gd name="T9" fmla="*/ 44 h 320"/>
                  <a:gd name="T10" fmla="*/ 0 w 85"/>
                  <a:gd name="T11" fmla="*/ 85 h 320"/>
                  <a:gd name="T12" fmla="*/ 32 w 85"/>
                  <a:gd name="T13" fmla="*/ 126 h 320"/>
                  <a:gd name="T14" fmla="*/ 32 w 85"/>
                  <a:gd name="T15" fmla="*/ 309 h 320"/>
                  <a:gd name="T16" fmla="*/ 43 w 85"/>
                  <a:gd name="T17" fmla="*/ 320 h 320"/>
                  <a:gd name="T18" fmla="*/ 53 w 85"/>
                  <a:gd name="T19" fmla="*/ 309 h 320"/>
                  <a:gd name="T20" fmla="*/ 53 w 85"/>
                  <a:gd name="T21" fmla="*/ 126 h 320"/>
                  <a:gd name="T22" fmla="*/ 85 w 85"/>
                  <a:gd name="T23" fmla="*/ 85 h 320"/>
                  <a:gd name="T24" fmla="*/ 53 w 85"/>
                  <a:gd name="T25" fmla="*/ 44 h 320"/>
                  <a:gd name="T26" fmla="*/ 43 w 85"/>
                  <a:gd name="T27" fmla="*/ 106 h 320"/>
                  <a:gd name="T28" fmla="*/ 21 w 85"/>
                  <a:gd name="T29" fmla="*/ 85 h 320"/>
                  <a:gd name="T30" fmla="*/ 43 w 85"/>
                  <a:gd name="T31" fmla="*/ 64 h 320"/>
                  <a:gd name="T32" fmla="*/ 64 w 85"/>
                  <a:gd name="T33" fmla="*/ 85 h 320"/>
                  <a:gd name="T34" fmla="*/ 43 w 85"/>
                  <a:gd name="T35" fmla="*/ 10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44"/>
                    </a:moveTo>
                    <a:cubicBezTo>
                      <a:pt x="53" y="10"/>
                      <a:pt x="53" y="10"/>
                      <a:pt x="53" y="10"/>
                    </a:cubicBezTo>
                    <a:cubicBezTo>
                      <a:pt x="53" y="4"/>
                      <a:pt x="49" y="0"/>
                      <a:pt x="43" y="0"/>
                    </a:cubicBezTo>
                    <a:cubicBezTo>
                      <a:pt x="37" y="0"/>
                      <a:pt x="32" y="4"/>
                      <a:pt x="32" y="10"/>
                    </a:cubicBezTo>
                    <a:cubicBezTo>
                      <a:pt x="32" y="44"/>
                      <a:pt x="32" y="44"/>
                      <a:pt x="32" y="44"/>
                    </a:cubicBezTo>
                    <a:cubicBezTo>
                      <a:pt x="14" y="49"/>
                      <a:pt x="0" y="65"/>
                      <a:pt x="0" y="85"/>
                    </a:cubicBezTo>
                    <a:cubicBezTo>
                      <a:pt x="0" y="105"/>
                      <a:pt x="14" y="121"/>
                      <a:pt x="32" y="126"/>
                    </a:cubicBezTo>
                    <a:cubicBezTo>
                      <a:pt x="32" y="309"/>
                      <a:pt x="32" y="309"/>
                      <a:pt x="32" y="309"/>
                    </a:cubicBezTo>
                    <a:cubicBezTo>
                      <a:pt x="32" y="315"/>
                      <a:pt x="37" y="320"/>
                      <a:pt x="43" y="320"/>
                    </a:cubicBezTo>
                    <a:cubicBezTo>
                      <a:pt x="49" y="320"/>
                      <a:pt x="53" y="315"/>
                      <a:pt x="53" y="309"/>
                    </a:cubicBezTo>
                    <a:cubicBezTo>
                      <a:pt x="53" y="126"/>
                      <a:pt x="53" y="126"/>
                      <a:pt x="53" y="126"/>
                    </a:cubicBezTo>
                    <a:cubicBezTo>
                      <a:pt x="72" y="121"/>
                      <a:pt x="85" y="105"/>
                      <a:pt x="85" y="85"/>
                    </a:cubicBezTo>
                    <a:cubicBezTo>
                      <a:pt x="85" y="65"/>
                      <a:pt x="72" y="49"/>
                      <a:pt x="53" y="44"/>
                    </a:cubicBezTo>
                    <a:close/>
                    <a:moveTo>
                      <a:pt x="43" y="106"/>
                    </a:moveTo>
                    <a:cubicBezTo>
                      <a:pt x="31" y="106"/>
                      <a:pt x="21" y="97"/>
                      <a:pt x="21" y="85"/>
                    </a:cubicBezTo>
                    <a:cubicBezTo>
                      <a:pt x="21" y="73"/>
                      <a:pt x="31" y="64"/>
                      <a:pt x="43" y="64"/>
                    </a:cubicBezTo>
                    <a:cubicBezTo>
                      <a:pt x="54" y="64"/>
                      <a:pt x="64" y="73"/>
                      <a:pt x="64" y="85"/>
                    </a:cubicBezTo>
                    <a:cubicBezTo>
                      <a:pt x="64" y="97"/>
                      <a:pt x="54" y="106"/>
                      <a:pt x="43" y="10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41" name="Freeform 192">
                <a:extLst>
                  <a:ext uri="{FF2B5EF4-FFF2-40B4-BE49-F238E27FC236}">
                    <a16:creationId xmlns:a16="http://schemas.microsoft.com/office/drawing/2014/main" id="{8D897B10-92CA-F34C-AB21-089A8624E9B9}"/>
                  </a:ext>
                </a:extLst>
              </p:cNvPr>
              <p:cNvSpPr>
                <a:spLocks noEditPoints="1"/>
              </p:cNvSpPr>
              <p:nvPr/>
            </p:nvSpPr>
            <p:spPr bwMode="auto">
              <a:xfrm>
                <a:off x="600" y="453"/>
                <a:ext cx="56" cy="212"/>
              </a:xfrm>
              <a:custGeom>
                <a:avLst/>
                <a:gdLst>
                  <a:gd name="T0" fmla="*/ 53 w 85"/>
                  <a:gd name="T1" fmla="*/ 97 h 320"/>
                  <a:gd name="T2" fmla="*/ 53 w 85"/>
                  <a:gd name="T3" fmla="*/ 10 h 320"/>
                  <a:gd name="T4" fmla="*/ 43 w 85"/>
                  <a:gd name="T5" fmla="*/ 0 h 320"/>
                  <a:gd name="T6" fmla="*/ 32 w 85"/>
                  <a:gd name="T7" fmla="*/ 10 h 320"/>
                  <a:gd name="T8" fmla="*/ 32 w 85"/>
                  <a:gd name="T9" fmla="*/ 97 h 320"/>
                  <a:gd name="T10" fmla="*/ 0 w 85"/>
                  <a:gd name="T11" fmla="*/ 138 h 320"/>
                  <a:gd name="T12" fmla="*/ 32 w 85"/>
                  <a:gd name="T13" fmla="*/ 179 h 320"/>
                  <a:gd name="T14" fmla="*/ 32 w 85"/>
                  <a:gd name="T15" fmla="*/ 309 h 320"/>
                  <a:gd name="T16" fmla="*/ 43 w 85"/>
                  <a:gd name="T17" fmla="*/ 320 h 320"/>
                  <a:gd name="T18" fmla="*/ 53 w 85"/>
                  <a:gd name="T19" fmla="*/ 309 h 320"/>
                  <a:gd name="T20" fmla="*/ 53 w 85"/>
                  <a:gd name="T21" fmla="*/ 179 h 320"/>
                  <a:gd name="T22" fmla="*/ 85 w 85"/>
                  <a:gd name="T23" fmla="*/ 138 h 320"/>
                  <a:gd name="T24" fmla="*/ 53 w 85"/>
                  <a:gd name="T25" fmla="*/ 97 h 320"/>
                  <a:gd name="T26" fmla="*/ 43 w 85"/>
                  <a:gd name="T27" fmla="*/ 160 h 320"/>
                  <a:gd name="T28" fmla="*/ 21 w 85"/>
                  <a:gd name="T29" fmla="*/ 138 h 320"/>
                  <a:gd name="T30" fmla="*/ 43 w 85"/>
                  <a:gd name="T31" fmla="*/ 117 h 320"/>
                  <a:gd name="T32" fmla="*/ 64 w 85"/>
                  <a:gd name="T33" fmla="*/ 138 h 320"/>
                  <a:gd name="T34" fmla="*/ 43 w 85"/>
                  <a:gd name="T35"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97"/>
                    </a:moveTo>
                    <a:cubicBezTo>
                      <a:pt x="53" y="10"/>
                      <a:pt x="53" y="10"/>
                      <a:pt x="53" y="10"/>
                    </a:cubicBezTo>
                    <a:cubicBezTo>
                      <a:pt x="53" y="4"/>
                      <a:pt x="49" y="0"/>
                      <a:pt x="43" y="0"/>
                    </a:cubicBezTo>
                    <a:cubicBezTo>
                      <a:pt x="37" y="0"/>
                      <a:pt x="32" y="4"/>
                      <a:pt x="32" y="10"/>
                    </a:cubicBezTo>
                    <a:cubicBezTo>
                      <a:pt x="32" y="97"/>
                      <a:pt x="32" y="97"/>
                      <a:pt x="32" y="97"/>
                    </a:cubicBezTo>
                    <a:cubicBezTo>
                      <a:pt x="14" y="102"/>
                      <a:pt x="0" y="119"/>
                      <a:pt x="0" y="138"/>
                    </a:cubicBezTo>
                    <a:cubicBezTo>
                      <a:pt x="0" y="158"/>
                      <a:pt x="14" y="175"/>
                      <a:pt x="32" y="179"/>
                    </a:cubicBezTo>
                    <a:cubicBezTo>
                      <a:pt x="32" y="309"/>
                      <a:pt x="32" y="309"/>
                      <a:pt x="32" y="309"/>
                    </a:cubicBezTo>
                    <a:cubicBezTo>
                      <a:pt x="32" y="315"/>
                      <a:pt x="37" y="320"/>
                      <a:pt x="43" y="320"/>
                    </a:cubicBezTo>
                    <a:cubicBezTo>
                      <a:pt x="49" y="320"/>
                      <a:pt x="53" y="315"/>
                      <a:pt x="53" y="309"/>
                    </a:cubicBezTo>
                    <a:cubicBezTo>
                      <a:pt x="53" y="179"/>
                      <a:pt x="53" y="179"/>
                      <a:pt x="53" y="179"/>
                    </a:cubicBezTo>
                    <a:cubicBezTo>
                      <a:pt x="72" y="175"/>
                      <a:pt x="85" y="158"/>
                      <a:pt x="85" y="138"/>
                    </a:cubicBezTo>
                    <a:cubicBezTo>
                      <a:pt x="85" y="119"/>
                      <a:pt x="72" y="102"/>
                      <a:pt x="53" y="97"/>
                    </a:cubicBezTo>
                    <a:close/>
                    <a:moveTo>
                      <a:pt x="43" y="160"/>
                    </a:moveTo>
                    <a:cubicBezTo>
                      <a:pt x="31" y="160"/>
                      <a:pt x="21" y="150"/>
                      <a:pt x="21" y="138"/>
                    </a:cubicBezTo>
                    <a:cubicBezTo>
                      <a:pt x="21" y="127"/>
                      <a:pt x="31" y="117"/>
                      <a:pt x="43" y="117"/>
                    </a:cubicBezTo>
                    <a:cubicBezTo>
                      <a:pt x="54" y="117"/>
                      <a:pt x="64" y="127"/>
                      <a:pt x="64" y="138"/>
                    </a:cubicBezTo>
                    <a:cubicBezTo>
                      <a:pt x="64" y="150"/>
                      <a:pt x="54" y="160"/>
                      <a:pt x="43" y="16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grpSp>
        <p:sp>
          <p:nvSpPr>
            <p:cNvPr id="142" name="Freeform 337">
              <a:extLst>
                <a:ext uri="{FF2B5EF4-FFF2-40B4-BE49-F238E27FC236}">
                  <a16:creationId xmlns:a16="http://schemas.microsoft.com/office/drawing/2014/main" id="{BE1F1F27-1FA8-7F4D-B4B4-346D0577BD5F}"/>
                </a:ext>
              </a:extLst>
            </p:cNvPr>
            <p:cNvSpPr>
              <a:spLocks noEditPoints="1"/>
            </p:cNvSpPr>
            <p:nvPr/>
          </p:nvSpPr>
          <p:spPr bwMode="auto">
            <a:xfrm>
              <a:off x="7694084" y="3071962"/>
              <a:ext cx="424903" cy="42895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grpSp>
          <p:nvGrpSpPr>
            <p:cNvPr id="143" name="Group 336">
              <a:extLst>
                <a:ext uri="{FF2B5EF4-FFF2-40B4-BE49-F238E27FC236}">
                  <a16:creationId xmlns:a16="http://schemas.microsoft.com/office/drawing/2014/main" id="{0A5B71A2-3FBE-5547-A786-38043CFFC8D3}"/>
                </a:ext>
              </a:extLst>
            </p:cNvPr>
            <p:cNvGrpSpPr>
              <a:grpSpLocks noChangeAspect="1"/>
            </p:cNvGrpSpPr>
            <p:nvPr/>
          </p:nvGrpSpPr>
          <p:grpSpPr bwMode="auto">
            <a:xfrm>
              <a:off x="7694084" y="3808023"/>
              <a:ext cx="424903" cy="428952"/>
              <a:chOff x="4220" y="1197"/>
              <a:chExt cx="340" cy="340"/>
            </a:xfrm>
            <a:solidFill>
              <a:schemeClr val="accent2"/>
            </a:solidFill>
          </p:grpSpPr>
          <p:sp>
            <p:nvSpPr>
              <p:cNvPr id="144" name="Freeform 337">
                <a:extLst>
                  <a:ext uri="{FF2B5EF4-FFF2-40B4-BE49-F238E27FC236}">
                    <a16:creationId xmlns:a16="http://schemas.microsoft.com/office/drawing/2014/main" id="{65495282-699E-2342-BAEF-4D96A1EB953C}"/>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sp>
            <p:nvSpPr>
              <p:cNvPr id="145" name="Freeform 338">
                <a:extLst>
                  <a:ext uri="{FF2B5EF4-FFF2-40B4-BE49-F238E27FC236}">
                    <a16:creationId xmlns:a16="http://schemas.microsoft.com/office/drawing/2014/main" id="{4F1408D4-F61D-2D4A-9B09-6C1248AC96EC}"/>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sp>
            <p:nvSpPr>
              <p:cNvPr id="146" name="Freeform 339">
                <a:extLst>
                  <a:ext uri="{FF2B5EF4-FFF2-40B4-BE49-F238E27FC236}">
                    <a16:creationId xmlns:a16="http://schemas.microsoft.com/office/drawing/2014/main" id="{E371FA3C-2D1F-6040-A52C-B50F80B08382}"/>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sp>
            <p:nvSpPr>
              <p:cNvPr id="147" name="Freeform 340">
                <a:extLst>
                  <a:ext uri="{FF2B5EF4-FFF2-40B4-BE49-F238E27FC236}">
                    <a16:creationId xmlns:a16="http://schemas.microsoft.com/office/drawing/2014/main" id="{D16283A1-A8F7-C64C-A7EA-337D3B8072F6}"/>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sp>
            <p:nvSpPr>
              <p:cNvPr id="148" name="Freeform 341">
                <a:extLst>
                  <a:ext uri="{FF2B5EF4-FFF2-40B4-BE49-F238E27FC236}">
                    <a16:creationId xmlns:a16="http://schemas.microsoft.com/office/drawing/2014/main" id="{744F133A-1901-ED4E-8771-6AF1085D6E84}"/>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sp>
            <p:nvSpPr>
              <p:cNvPr id="149" name="Freeform 342">
                <a:extLst>
                  <a:ext uri="{FF2B5EF4-FFF2-40B4-BE49-F238E27FC236}">
                    <a16:creationId xmlns:a16="http://schemas.microsoft.com/office/drawing/2014/main" id="{525BC088-6E89-2A4A-84D9-91B6359617E3}"/>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grpSp>
        <p:sp>
          <p:nvSpPr>
            <p:cNvPr id="150" name="Freeform 547">
              <a:extLst>
                <a:ext uri="{FF2B5EF4-FFF2-40B4-BE49-F238E27FC236}">
                  <a16:creationId xmlns:a16="http://schemas.microsoft.com/office/drawing/2014/main" id="{EFDEA114-34D5-9D4B-AB9C-0AB9DFB00B6E}"/>
                </a:ext>
              </a:extLst>
            </p:cNvPr>
            <p:cNvSpPr>
              <a:spLocks noEditPoints="1"/>
            </p:cNvSpPr>
            <p:nvPr/>
          </p:nvSpPr>
          <p:spPr bwMode="auto">
            <a:xfrm>
              <a:off x="7297583" y="4512624"/>
              <a:ext cx="424903" cy="42895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grpSp>
          <p:nvGrpSpPr>
            <p:cNvPr id="151" name="Group 150">
              <a:extLst>
                <a:ext uri="{FF2B5EF4-FFF2-40B4-BE49-F238E27FC236}">
                  <a16:creationId xmlns:a16="http://schemas.microsoft.com/office/drawing/2014/main" id="{744EAF9E-C179-BB42-B1D7-65D484281FFB}"/>
                </a:ext>
              </a:extLst>
            </p:cNvPr>
            <p:cNvGrpSpPr/>
            <p:nvPr/>
          </p:nvGrpSpPr>
          <p:grpSpPr>
            <a:xfrm>
              <a:off x="6750541" y="5026586"/>
              <a:ext cx="424903" cy="428952"/>
              <a:chOff x="6124764" y="2609849"/>
              <a:chExt cx="367982" cy="374013"/>
            </a:xfrm>
            <a:solidFill>
              <a:schemeClr val="accent2"/>
            </a:solidFill>
          </p:grpSpPr>
          <p:grpSp>
            <p:nvGrpSpPr>
              <p:cNvPr id="152" name="Group 151">
                <a:extLst>
                  <a:ext uri="{FF2B5EF4-FFF2-40B4-BE49-F238E27FC236}">
                    <a16:creationId xmlns:a16="http://schemas.microsoft.com/office/drawing/2014/main" id="{AA0E5621-639B-C145-A935-F52770AFA264}"/>
                  </a:ext>
                </a:extLst>
              </p:cNvPr>
              <p:cNvGrpSpPr>
                <a:grpSpLocks noChangeAspect="1"/>
              </p:cNvGrpSpPr>
              <p:nvPr/>
            </p:nvGrpSpPr>
            <p:grpSpPr>
              <a:xfrm>
                <a:off x="6182886" y="2693927"/>
                <a:ext cx="246735" cy="247624"/>
                <a:chOff x="12425363" y="7112000"/>
                <a:chExt cx="504825" cy="498475"/>
              </a:xfrm>
              <a:grpFill/>
            </p:grpSpPr>
            <p:sp>
              <p:nvSpPr>
                <p:cNvPr id="154" name="Freeform 590">
                  <a:extLst>
                    <a:ext uri="{FF2B5EF4-FFF2-40B4-BE49-F238E27FC236}">
                      <a16:creationId xmlns:a16="http://schemas.microsoft.com/office/drawing/2014/main" id="{0D04A6BD-EE9F-9841-965D-9BCDB66E6A58}"/>
                    </a:ext>
                  </a:extLst>
                </p:cNvPr>
                <p:cNvSpPr>
                  <a:spLocks/>
                </p:cNvSpPr>
                <p:nvPr/>
              </p:nvSpPr>
              <p:spPr bwMode="auto">
                <a:xfrm>
                  <a:off x="12580938" y="7518400"/>
                  <a:ext cx="193675" cy="92075"/>
                </a:xfrm>
                <a:custGeom>
                  <a:avLst/>
                  <a:gdLst>
                    <a:gd name="T0" fmla="*/ 88 w 93"/>
                    <a:gd name="T1" fmla="*/ 5 h 44"/>
                    <a:gd name="T2" fmla="*/ 83 w 93"/>
                    <a:gd name="T3" fmla="*/ 1 h 44"/>
                    <a:gd name="T4" fmla="*/ 79 w 93"/>
                    <a:gd name="T5" fmla="*/ 6 h 44"/>
                    <a:gd name="T6" fmla="*/ 83 w 93"/>
                    <a:gd name="T7" fmla="*/ 34 h 44"/>
                    <a:gd name="T8" fmla="*/ 10 w 93"/>
                    <a:gd name="T9" fmla="*/ 34 h 44"/>
                    <a:gd name="T10" fmla="*/ 15 w 93"/>
                    <a:gd name="T11" fmla="*/ 6 h 44"/>
                    <a:gd name="T12" fmla="*/ 11 w 93"/>
                    <a:gd name="T13" fmla="*/ 1 h 44"/>
                    <a:gd name="T14" fmla="*/ 5 w 93"/>
                    <a:gd name="T15" fmla="*/ 5 h 44"/>
                    <a:gd name="T16" fmla="*/ 0 w 93"/>
                    <a:gd name="T17" fmla="*/ 34 h 44"/>
                    <a:gd name="T18" fmla="*/ 0 w 93"/>
                    <a:gd name="T19" fmla="*/ 35 h 44"/>
                    <a:gd name="T20" fmla="*/ 10 w 93"/>
                    <a:gd name="T21" fmla="*/ 44 h 44"/>
                    <a:gd name="T22" fmla="*/ 84 w 93"/>
                    <a:gd name="T23" fmla="*/ 44 h 44"/>
                    <a:gd name="T24" fmla="*/ 93 w 93"/>
                    <a:gd name="T25" fmla="*/ 35 h 44"/>
                    <a:gd name="T26" fmla="*/ 93 w 93"/>
                    <a:gd name="T27" fmla="*/ 34 h 44"/>
                    <a:gd name="T28" fmla="*/ 88 w 93"/>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44">
                      <a:moveTo>
                        <a:pt x="88" y="5"/>
                      </a:moveTo>
                      <a:cubicBezTo>
                        <a:pt x="88" y="2"/>
                        <a:pt x="85" y="0"/>
                        <a:pt x="83" y="1"/>
                      </a:cubicBezTo>
                      <a:cubicBezTo>
                        <a:pt x="80" y="1"/>
                        <a:pt x="78" y="4"/>
                        <a:pt x="79" y="6"/>
                      </a:cubicBezTo>
                      <a:cubicBezTo>
                        <a:pt x="83" y="34"/>
                        <a:pt x="83" y="34"/>
                        <a:pt x="83" y="34"/>
                      </a:cubicBezTo>
                      <a:cubicBezTo>
                        <a:pt x="10" y="34"/>
                        <a:pt x="10" y="34"/>
                        <a:pt x="10" y="34"/>
                      </a:cubicBezTo>
                      <a:cubicBezTo>
                        <a:pt x="15" y="6"/>
                        <a:pt x="15" y="6"/>
                        <a:pt x="15" y="6"/>
                      </a:cubicBezTo>
                      <a:cubicBezTo>
                        <a:pt x="15" y="4"/>
                        <a:pt x="13" y="1"/>
                        <a:pt x="11" y="1"/>
                      </a:cubicBezTo>
                      <a:cubicBezTo>
                        <a:pt x="8" y="0"/>
                        <a:pt x="6" y="2"/>
                        <a:pt x="5" y="5"/>
                      </a:cubicBezTo>
                      <a:cubicBezTo>
                        <a:pt x="0" y="34"/>
                        <a:pt x="0" y="34"/>
                        <a:pt x="0" y="34"/>
                      </a:cubicBezTo>
                      <a:cubicBezTo>
                        <a:pt x="0" y="34"/>
                        <a:pt x="0" y="35"/>
                        <a:pt x="0" y="35"/>
                      </a:cubicBezTo>
                      <a:cubicBezTo>
                        <a:pt x="0" y="40"/>
                        <a:pt x="5" y="44"/>
                        <a:pt x="10" y="44"/>
                      </a:cubicBezTo>
                      <a:cubicBezTo>
                        <a:pt x="84" y="44"/>
                        <a:pt x="84" y="44"/>
                        <a:pt x="84" y="44"/>
                      </a:cubicBezTo>
                      <a:cubicBezTo>
                        <a:pt x="89" y="44"/>
                        <a:pt x="93" y="40"/>
                        <a:pt x="93" y="35"/>
                      </a:cubicBezTo>
                      <a:cubicBezTo>
                        <a:pt x="93" y="35"/>
                        <a:pt x="93" y="34"/>
                        <a:pt x="93" y="34"/>
                      </a:cubicBezTo>
                      <a:lnTo>
                        <a:pt x="88" y="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55" name="Freeform 591">
                  <a:extLst>
                    <a:ext uri="{FF2B5EF4-FFF2-40B4-BE49-F238E27FC236}">
                      <a16:creationId xmlns:a16="http://schemas.microsoft.com/office/drawing/2014/main" id="{5F1D3EB0-5838-3F46-A1C4-48EA641EDFBC}"/>
                    </a:ext>
                  </a:extLst>
                </p:cNvPr>
                <p:cNvSpPr>
                  <a:spLocks noEditPoints="1"/>
                </p:cNvSpPr>
                <p:nvPr/>
              </p:nvSpPr>
              <p:spPr bwMode="auto">
                <a:xfrm>
                  <a:off x="12425363" y="7112000"/>
                  <a:ext cx="504825" cy="377825"/>
                </a:xfrm>
                <a:custGeom>
                  <a:avLst/>
                  <a:gdLst>
                    <a:gd name="T0" fmla="*/ 222 w 243"/>
                    <a:gd name="T1" fmla="*/ 0 h 182"/>
                    <a:gd name="T2" fmla="*/ 22 w 243"/>
                    <a:gd name="T3" fmla="*/ 0 h 182"/>
                    <a:gd name="T4" fmla="*/ 0 w 243"/>
                    <a:gd name="T5" fmla="*/ 21 h 182"/>
                    <a:gd name="T6" fmla="*/ 0 w 243"/>
                    <a:gd name="T7" fmla="*/ 160 h 182"/>
                    <a:gd name="T8" fmla="*/ 22 w 243"/>
                    <a:gd name="T9" fmla="*/ 182 h 182"/>
                    <a:gd name="T10" fmla="*/ 222 w 243"/>
                    <a:gd name="T11" fmla="*/ 182 h 182"/>
                    <a:gd name="T12" fmla="*/ 243 w 243"/>
                    <a:gd name="T13" fmla="*/ 160 h 182"/>
                    <a:gd name="T14" fmla="*/ 243 w 243"/>
                    <a:gd name="T15" fmla="*/ 21 h 182"/>
                    <a:gd name="T16" fmla="*/ 222 w 243"/>
                    <a:gd name="T17" fmla="*/ 0 h 182"/>
                    <a:gd name="T18" fmla="*/ 22 w 243"/>
                    <a:gd name="T19" fmla="*/ 9 h 182"/>
                    <a:gd name="T20" fmla="*/ 222 w 243"/>
                    <a:gd name="T21" fmla="*/ 9 h 182"/>
                    <a:gd name="T22" fmla="*/ 234 w 243"/>
                    <a:gd name="T23" fmla="*/ 21 h 182"/>
                    <a:gd name="T24" fmla="*/ 234 w 243"/>
                    <a:gd name="T25" fmla="*/ 142 h 182"/>
                    <a:gd name="T26" fmla="*/ 10 w 243"/>
                    <a:gd name="T27" fmla="*/ 142 h 182"/>
                    <a:gd name="T28" fmla="*/ 10 w 243"/>
                    <a:gd name="T29" fmla="*/ 21 h 182"/>
                    <a:gd name="T30" fmla="*/ 22 w 243"/>
                    <a:gd name="T31" fmla="*/ 9 h 182"/>
                    <a:gd name="T32" fmla="*/ 222 w 243"/>
                    <a:gd name="T33" fmla="*/ 172 h 182"/>
                    <a:gd name="T34" fmla="*/ 22 w 243"/>
                    <a:gd name="T35" fmla="*/ 172 h 182"/>
                    <a:gd name="T36" fmla="*/ 10 w 243"/>
                    <a:gd name="T37" fmla="*/ 160 h 182"/>
                    <a:gd name="T38" fmla="*/ 10 w 243"/>
                    <a:gd name="T39" fmla="*/ 152 h 182"/>
                    <a:gd name="T40" fmla="*/ 234 w 243"/>
                    <a:gd name="T41" fmla="*/ 152 h 182"/>
                    <a:gd name="T42" fmla="*/ 234 w 243"/>
                    <a:gd name="T43" fmla="*/ 160 h 182"/>
                    <a:gd name="T44" fmla="*/ 222 w 243"/>
                    <a:gd name="T45" fmla="*/ 17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3" h="182">
                      <a:moveTo>
                        <a:pt x="222" y="0"/>
                      </a:moveTo>
                      <a:cubicBezTo>
                        <a:pt x="22" y="0"/>
                        <a:pt x="22" y="0"/>
                        <a:pt x="22" y="0"/>
                      </a:cubicBezTo>
                      <a:cubicBezTo>
                        <a:pt x="10" y="0"/>
                        <a:pt x="0" y="9"/>
                        <a:pt x="0" y="21"/>
                      </a:cubicBezTo>
                      <a:cubicBezTo>
                        <a:pt x="0" y="160"/>
                        <a:pt x="0" y="160"/>
                        <a:pt x="0" y="160"/>
                      </a:cubicBezTo>
                      <a:cubicBezTo>
                        <a:pt x="0" y="172"/>
                        <a:pt x="10" y="182"/>
                        <a:pt x="22" y="182"/>
                      </a:cubicBezTo>
                      <a:cubicBezTo>
                        <a:pt x="222" y="182"/>
                        <a:pt x="222" y="182"/>
                        <a:pt x="222" y="182"/>
                      </a:cubicBezTo>
                      <a:cubicBezTo>
                        <a:pt x="234" y="182"/>
                        <a:pt x="243" y="172"/>
                        <a:pt x="243" y="160"/>
                      </a:cubicBezTo>
                      <a:cubicBezTo>
                        <a:pt x="243" y="21"/>
                        <a:pt x="243" y="21"/>
                        <a:pt x="243" y="21"/>
                      </a:cubicBezTo>
                      <a:cubicBezTo>
                        <a:pt x="243" y="9"/>
                        <a:pt x="234" y="0"/>
                        <a:pt x="222" y="0"/>
                      </a:cubicBezTo>
                      <a:close/>
                      <a:moveTo>
                        <a:pt x="22" y="9"/>
                      </a:moveTo>
                      <a:cubicBezTo>
                        <a:pt x="222" y="9"/>
                        <a:pt x="222" y="9"/>
                        <a:pt x="222" y="9"/>
                      </a:cubicBezTo>
                      <a:cubicBezTo>
                        <a:pt x="228" y="9"/>
                        <a:pt x="234" y="15"/>
                        <a:pt x="234" y="21"/>
                      </a:cubicBezTo>
                      <a:cubicBezTo>
                        <a:pt x="234" y="142"/>
                        <a:pt x="234" y="142"/>
                        <a:pt x="234" y="142"/>
                      </a:cubicBezTo>
                      <a:cubicBezTo>
                        <a:pt x="10" y="142"/>
                        <a:pt x="10" y="142"/>
                        <a:pt x="10" y="142"/>
                      </a:cubicBezTo>
                      <a:cubicBezTo>
                        <a:pt x="10" y="21"/>
                        <a:pt x="10" y="21"/>
                        <a:pt x="10" y="21"/>
                      </a:cubicBezTo>
                      <a:cubicBezTo>
                        <a:pt x="10" y="15"/>
                        <a:pt x="15" y="9"/>
                        <a:pt x="22" y="9"/>
                      </a:cubicBezTo>
                      <a:close/>
                      <a:moveTo>
                        <a:pt x="222" y="172"/>
                      </a:moveTo>
                      <a:cubicBezTo>
                        <a:pt x="22" y="172"/>
                        <a:pt x="22" y="172"/>
                        <a:pt x="22" y="172"/>
                      </a:cubicBezTo>
                      <a:cubicBezTo>
                        <a:pt x="15" y="172"/>
                        <a:pt x="10" y="167"/>
                        <a:pt x="10" y="160"/>
                      </a:cubicBezTo>
                      <a:cubicBezTo>
                        <a:pt x="10" y="152"/>
                        <a:pt x="10" y="152"/>
                        <a:pt x="10" y="152"/>
                      </a:cubicBezTo>
                      <a:cubicBezTo>
                        <a:pt x="234" y="152"/>
                        <a:pt x="234" y="152"/>
                        <a:pt x="234" y="152"/>
                      </a:cubicBezTo>
                      <a:cubicBezTo>
                        <a:pt x="234" y="160"/>
                        <a:pt x="234" y="160"/>
                        <a:pt x="234" y="160"/>
                      </a:cubicBezTo>
                      <a:cubicBezTo>
                        <a:pt x="234" y="167"/>
                        <a:pt x="228" y="172"/>
                        <a:pt x="222" y="17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56" name="Freeform 592">
                  <a:extLst>
                    <a:ext uri="{FF2B5EF4-FFF2-40B4-BE49-F238E27FC236}">
                      <a16:creationId xmlns:a16="http://schemas.microsoft.com/office/drawing/2014/main" id="{553A5B61-51BA-6F40-87AE-7B2A19A1CD35}"/>
                    </a:ext>
                  </a:extLst>
                </p:cNvPr>
                <p:cNvSpPr>
                  <a:spLocks noEditPoints="1"/>
                </p:cNvSpPr>
                <p:nvPr/>
              </p:nvSpPr>
              <p:spPr bwMode="auto">
                <a:xfrm>
                  <a:off x="12601576" y="7167563"/>
                  <a:ext cx="152400" cy="200025"/>
                </a:xfrm>
                <a:custGeom>
                  <a:avLst/>
                  <a:gdLst>
                    <a:gd name="T0" fmla="*/ 16 w 73"/>
                    <a:gd name="T1" fmla="*/ 96 h 96"/>
                    <a:gd name="T2" fmla="*/ 57 w 73"/>
                    <a:gd name="T3" fmla="*/ 96 h 96"/>
                    <a:gd name="T4" fmla="*/ 70 w 73"/>
                    <a:gd name="T5" fmla="*/ 83 h 96"/>
                    <a:gd name="T6" fmla="*/ 73 w 73"/>
                    <a:gd name="T7" fmla="*/ 46 h 96"/>
                    <a:gd name="T8" fmla="*/ 61 w 73"/>
                    <a:gd name="T9" fmla="*/ 33 h 96"/>
                    <a:gd name="T10" fmla="*/ 58 w 73"/>
                    <a:gd name="T11" fmla="*/ 33 h 96"/>
                    <a:gd name="T12" fmla="*/ 58 w 73"/>
                    <a:gd name="T13" fmla="*/ 21 h 96"/>
                    <a:gd name="T14" fmla="*/ 37 w 73"/>
                    <a:gd name="T15" fmla="*/ 0 h 96"/>
                    <a:gd name="T16" fmla="*/ 16 w 73"/>
                    <a:gd name="T17" fmla="*/ 21 h 96"/>
                    <a:gd name="T18" fmla="*/ 16 w 73"/>
                    <a:gd name="T19" fmla="*/ 33 h 96"/>
                    <a:gd name="T20" fmla="*/ 13 w 73"/>
                    <a:gd name="T21" fmla="*/ 33 h 96"/>
                    <a:gd name="T22" fmla="*/ 0 w 73"/>
                    <a:gd name="T23" fmla="*/ 47 h 96"/>
                    <a:gd name="T24" fmla="*/ 4 w 73"/>
                    <a:gd name="T25" fmla="*/ 83 h 96"/>
                    <a:gd name="T26" fmla="*/ 16 w 73"/>
                    <a:gd name="T27" fmla="*/ 96 h 96"/>
                    <a:gd name="T28" fmla="*/ 26 w 73"/>
                    <a:gd name="T29" fmla="*/ 21 h 96"/>
                    <a:gd name="T30" fmla="*/ 37 w 73"/>
                    <a:gd name="T31" fmla="*/ 10 h 96"/>
                    <a:gd name="T32" fmla="*/ 48 w 73"/>
                    <a:gd name="T33" fmla="*/ 21 h 96"/>
                    <a:gd name="T34" fmla="*/ 48 w 73"/>
                    <a:gd name="T35" fmla="*/ 33 h 96"/>
                    <a:gd name="T36" fmla="*/ 26 w 73"/>
                    <a:gd name="T37" fmla="*/ 33 h 96"/>
                    <a:gd name="T38" fmla="*/ 26 w 73"/>
                    <a:gd name="T39" fmla="*/ 21 h 96"/>
                    <a:gd name="T40" fmla="*/ 13 w 73"/>
                    <a:gd name="T41" fmla="*/ 43 h 96"/>
                    <a:gd name="T42" fmla="*/ 61 w 73"/>
                    <a:gd name="T43" fmla="*/ 43 h 96"/>
                    <a:gd name="T44" fmla="*/ 64 w 73"/>
                    <a:gd name="T45" fmla="*/ 46 h 96"/>
                    <a:gd name="T46" fmla="*/ 60 w 73"/>
                    <a:gd name="T47" fmla="*/ 83 h 96"/>
                    <a:gd name="T48" fmla="*/ 57 w 73"/>
                    <a:gd name="T49" fmla="*/ 86 h 96"/>
                    <a:gd name="T50" fmla="*/ 16 w 73"/>
                    <a:gd name="T51" fmla="*/ 86 h 96"/>
                    <a:gd name="T52" fmla="*/ 13 w 73"/>
                    <a:gd name="T53" fmla="*/ 82 h 96"/>
                    <a:gd name="T54" fmla="*/ 10 w 73"/>
                    <a:gd name="T55" fmla="*/ 46 h 96"/>
                    <a:gd name="T56" fmla="*/ 13 w 73"/>
                    <a:gd name="T57"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3" h="96">
                      <a:moveTo>
                        <a:pt x="16" y="96"/>
                      </a:moveTo>
                      <a:cubicBezTo>
                        <a:pt x="57" y="96"/>
                        <a:pt x="57" y="96"/>
                        <a:pt x="57" y="96"/>
                      </a:cubicBezTo>
                      <a:cubicBezTo>
                        <a:pt x="64" y="96"/>
                        <a:pt x="70" y="90"/>
                        <a:pt x="70" y="83"/>
                      </a:cubicBezTo>
                      <a:cubicBezTo>
                        <a:pt x="73" y="46"/>
                        <a:pt x="73" y="46"/>
                        <a:pt x="73" y="46"/>
                      </a:cubicBezTo>
                      <a:cubicBezTo>
                        <a:pt x="73" y="39"/>
                        <a:pt x="68" y="33"/>
                        <a:pt x="61" y="33"/>
                      </a:cubicBezTo>
                      <a:cubicBezTo>
                        <a:pt x="58" y="33"/>
                        <a:pt x="58" y="33"/>
                        <a:pt x="58" y="33"/>
                      </a:cubicBezTo>
                      <a:cubicBezTo>
                        <a:pt x="58" y="21"/>
                        <a:pt x="58" y="21"/>
                        <a:pt x="58" y="21"/>
                      </a:cubicBezTo>
                      <a:cubicBezTo>
                        <a:pt x="58" y="10"/>
                        <a:pt x="48" y="0"/>
                        <a:pt x="37" y="0"/>
                      </a:cubicBezTo>
                      <a:cubicBezTo>
                        <a:pt x="25" y="0"/>
                        <a:pt x="16" y="10"/>
                        <a:pt x="16" y="21"/>
                      </a:cubicBezTo>
                      <a:cubicBezTo>
                        <a:pt x="16" y="33"/>
                        <a:pt x="16" y="33"/>
                        <a:pt x="16" y="33"/>
                      </a:cubicBezTo>
                      <a:cubicBezTo>
                        <a:pt x="13" y="33"/>
                        <a:pt x="13" y="33"/>
                        <a:pt x="13" y="33"/>
                      </a:cubicBezTo>
                      <a:cubicBezTo>
                        <a:pt x="6" y="33"/>
                        <a:pt x="0" y="39"/>
                        <a:pt x="0" y="47"/>
                      </a:cubicBezTo>
                      <a:cubicBezTo>
                        <a:pt x="4" y="83"/>
                        <a:pt x="4" y="83"/>
                        <a:pt x="4" y="83"/>
                      </a:cubicBezTo>
                      <a:cubicBezTo>
                        <a:pt x="4" y="90"/>
                        <a:pt x="9" y="96"/>
                        <a:pt x="16" y="96"/>
                      </a:cubicBezTo>
                      <a:close/>
                      <a:moveTo>
                        <a:pt x="26" y="21"/>
                      </a:moveTo>
                      <a:cubicBezTo>
                        <a:pt x="26" y="15"/>
                        <a:pt x="31" y="10"/>
                        <a:pt x="37" y="10"/>
                      </a:cubicBezTo>
                      <a:cubicBezTo>
                        <a:pt x="43" y="10"/>
                        <a:pt x="48" y="15"/>
                        <a:pt x="48" y="21"/>
                      </a:cubicBezTo>
                      <a:cubicBezTo>
                        <a:pt x="48" y="33"/>
                        <a:pt x="48" y="33"/>
                        <a:pt x="48" y="33"/>
                      </a:cubicBezTo>
                      <a:cubicBezTo>
                        <a:pt x="26" y="33"/>
                        <a:pt x="26" y="33"/>
                        <a:pt x="26" y="33"/>
                      </a:cubicBezTo>
                      <a:lnTo>
                        <a:pt x="26" y="21"/>
                      </a:lnTo>
                      <a:close/>
                      <a:moveTo>
                        <a:pt x="13" y="43"/>
                      </a:moveTo>
                      <a:cubicBezTo>
                        <a:pt x="61" y="43"/>
                        <a:pt x="61" y="43"/>
                        <a:pt x="61" y="43"/>
                      </a:cubicBezTo>
                      <a:cubicBezTo>
                        <a:pt x="62" y="43"/>
                        <a:pt x="64" y="44"/>
                        <a:pt x="64" y="46"/>
                      </a:cubicBezTo>
                      <a:cubicBezTo>
                        <a:pt x="60" y="83"/>
                        <a:pt x="60" y="83"/>
                        <a:pt x="60" y="83"/>
                      </a:cubicBezTo>
                      <a:cubicBezTo>
                        <a:pt x="60" y="84"/>
                        <a:pt x="59" y="86"/>
                        <a:pt x="57" y="86"/>
                      </a:cubicBezTo>
                      <a:cubicBezTo>
                        <a:pt x="16" y="86"/>
                        <a:pt x="16" y="86"/>
                        <a:pt x="16" y="86"/>
                      </a:cubicBezTo>
                      <a:cubicBezTo>
                        <a:pt x="15" y="86"/>
                        <a:pt x="13" y="84"/>
                        <a:pt x="13" y="82"/>
                      </a:cubicBezTo>
                      <a:cubicBezTo>
                        <a:pt x="10" y="46"/>
                        <a:pt x="10" y="46"/>
                        <a:pt x="10" y="46"/>
                      </a:cubicBezTo>
                      <a:cubicBezTo>
                        <a:pt x="10" y="44"/>
                        <a:pt x="11" y="43"/>
                        <a:pt x="13" y="4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57" name="Freeform 593">
                  <a:extLst>
                    <a:ext uri="{FF2B5EF4-FFF2-40B4-BE49-F238E27FC236}">
                      <a16:creationId xmlns:a16="http://schemas.microsoft.com/office/drawing/2014/main" id="{79FA84A0-00E3-8A40-A9D8-1B799079BC00}"/>
                    </a:ext>
                  </a:extLst>
                </p:cNvPr>
                <p:cNvSpPr>
                  <a:spLocks/>
                </p:cNvSpPr>
                <p:nvPr/>
              </p:nvSpPr>
              <p:spPr bwMode="auto">
                <a:xfrm>
                  <a:off x="12668251" y="7292975"/>
                  <a:ext cx="20638" cy="39688"/>
                </a:xfrm>
                <a:custGeom>
                  <a:avLst/>
                  <a:gdLst>
                    <a:gd name="T0" fmla="*/ 5 w 10"/>
                    <a:gd name="T1" fmla="*/ 19 h 19"/>
                    <a:gd name="T2" fmla="*/ 10 w 10"/>
                    <a:gd name="T3" fmla="*/ 14 h 19"/>
                    <a:gd name="T4" fmla="*/ 10 w 10"/>
                    <a:gd name="T5" fmla="*/ 4 h 19"/>
                    <a:gd name="T6" fmla="*/ 5 w 10"/>
                    <a:gd name="T7" fmla="*/ 0 h 19"/>
                    <a:gd name="T8" fmla="*/ 0 w 10"/>
                    <a:gd name="T9" fmla="*/ 4 h 19"/>
                    <a:gd name="T10" fmla="*/ 0 w 10"/>
                    <a:gd name="T11" fmla="*/ 14 h 19"/>
                    <a:gd name="T12" fmla="*/ 5 w 10"/>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0" h="19">
                      <a:moveTo>
                        <a:pt x="5" y="19"/>
                      </a:moveTo>
                      <a:cubicBezTo>
                        <a:pt x="7" y="19"/>
                        <a:pt x="10" y="17"/>
                        <a:pt x="10" y="14"/>
                      </a:cubicBezTo>
                      <a:cubicBezTo>
                        <a:pt x="10" y="4"/>
                        <a:pt x="10" y="4"/>
                        <a:pt x="10" y="4"/>
                      </a:cubicBezTo>
                      <a:cubicBezTo>
                        <a:pt x="10" y="2"/>
                        <a:pt x="7" y="0"/>
                        <a:pt x="5" y="0"/>
                      </a:cubicBezTo>
                      <a:cubicBezTo>
                        <a:pt x="2" y="0"/>
                        <a:pt x="0" y="2"/>
                        <a:pt x="0" y="4"/>
                      </a:cubicBezTo>
                      <a:cubicBezTo>
                        <a:pt x="0" y="14"/>
                        <a:pt x="0" y="14"/>
                        <a:pt x="0" y="14"/>
                      </a:cubicBezTo>
                      <a:cubicBezTo>
                        <a:pt x="0" y="17"/>
                        <a:pt x="2" y="19"/>
                        <a:pt x="5" y="1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grpSp>
          <p:sp>
            <p:nvSpPr>
              <p:cNvPr id="153" name="Freeform 903">
                <a:extLst>
                  <a:ext uri="{FF2B5EF4-FFF2-40B4-BE49-F238E27FC236}">
                    <a16:creationId xmlns:a16="http://schemas.microsoft.com/office/drawing/2014/main" id="{7E0C3C17-C9D9-A546-86C3-0035B1849CD3}"/>
                  </a:ext>
                </a:extLst>
              </p:cNvPr>
              <p:cNvSpPr>
                <a:spLocks noEditPoints="1"/>
              </p:cNvSpPr>
              <p:nvPr/>
            </p:nvSpPr>
            <p:spPr bwMode="auto">
              <a:xfrm>
                <a:off x="6124764" y="2609849"/>
                <a:ext cx="367982" cy="37401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p:spPr>
            <p:txBody>
              <a:bodyPr vert="horz" wrap="square" lIns="34460" tIns="17230" rIns="34460" bIns="17230" numCol="1" anchor="t" anchorCtr="0" compatLnSpc="1">
                <a:prstTxWarp prst="textNoShape">
                  <a:avLst/>
                </a:prstTxWarp>
              </a:bodyPr>
              <a:lstStyle/>
              <a:p>
                <a:pPr>
                  <a:defRPr/>
                </a:pPr>
                <a:endParaRPr lang="en-GB" sz="678" kern="0" dirty="0">
                  <a:solidFill>
                    <a:prstClr val="black"/>
                  </a:solidFill>
                </a:endParaRPr>
              </a:p>
            </p:txBody>
          </p:sp>
        </p:grpSp>
        <p:sp>
          <p:nvSpPr>
            <p:cNvPr id="158" name="Freeform 54">
              <a:extLst>
                <a:ext uri="{FF2B5EF4-FFF2-40B4-BE49-F238E27FC236}">
                  <a16:creationId xmlns:a16="http://schemas.microsoft.com/office/drawing/2014/main" id="{71A3EA60-EBEC-BD4F-80BC-F1AB68239EB4}"/>
                </a:ext>
              </a:extLst>
            </p:cNvPr>
            <p:cNvSpPr>
              <a:spLocks noEditPoints="1"/>
            </p:cNvSpPr>
            <p:nvPr/>
          </p:nvSpPr>
          <p:spPr bwMode="auto">
            <a:xfrm>
              <a:off x="7374442" y="4590004"/>
              <a:ext cx="278458" cy="27977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accent2"/>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nvGrpSpPr>
            <p:cNvPr id="159" name="Group 158">
              <a:extLst>
                <a:ext uri="{FF2B5EF4-FFF2-40B4-BE49-F238E27FC236}">
                  <a16:creationId xmlns:a16="http://schemas.microsoft.com/office/drawing/2014/main" id="{BF492994-1244-9949-B92C-E6273547FD31}"/>
                </a:ext>
              </a:extLst>
            </p:cNvPr>
            <p:cNvGrpSpPr/>
            <p:nvPr/>
          </p:nvGrpSpPr>
          <p:grpSpPr>
            <a:xfrm>
              <a:off x="7791023" y="3164281"/>
              <a:ext cx="237840" cy="237840"/>
              <a:chOff x="7659535" y="4285229"/>
              <a:chExt cx="169315" cy="169315"/>
            </a:xfrm>
            <a:solidFill>
              <a:schemeClr val="accent2"/>
            </a:solidFill>
          </p:grpSpPr>
          <p:sp>
            <p:nvSpPr>
              <p:cNvPr id="160" name="Freeform 949">
                <a:extLst>
                  <a:ext uri="{FF2B5EF4-FFF2-40B4-BE49-F238E27FC236}">
                    <a16:creationId xmlns:a16="http://schemas.microsoft.com/office/drawing/2014/main" id="{661DAD2A-6659-F144-8463-AC773CF1D457}"/>
                  </a:ext>
                </a:extLst>
              </p:cNvPr>
              <p:cNvSpPr>
                <a:spLocks/>
              </p:cNvSpPr>
              <p:nvPr/>
            </p:nvSpPr>
            <p:spPr bwMode="auto">
              <a:xfrm>
                <a:off x="7659535" y="4347094"/>
                <a:ext cx="107450" cy="107450"/>
              </a:xfrm>
              <a:custGeom>
                <a:avLst/>
                <a:gdLst>
                  <a:gd name="T0" fmla="*/ 139 w 150"/>
                  <a:gd name="T1" fmla="*/ 128 h 149"/>
                  <a:gd name="T2" fmla="*/ 22 w 150"/>
                  <a:gd name="T3" fmla="*/ 128 h 149"/>
                  <a:gd name="T4" fmla="*/ 22 w 150"/>
                  <a:gd name="T5" fmla="*/ 10 h 149"/>
                  <a:gd name="T6" fmla="*/ 11 w 150"/>
                  <a:gd name="T7" fmla="*/ 0 h 149"/>
                  <a:gd name="T8" fmla="*/ 0 w 150"/>
                  <a:gd name="T9" fmla="*/ 10 h 149"/>
                  <a:gd name="T10" fmla="*/ 0 w 150"/>
                  <a:gd name="T11" fmla="*/ 138 h 149"/>
                  <a:gd name="T12" fmla="*/ 11 w 150"/>
                  <a:gd name="T13" fmla="*/ 149 h 149"/>
                  <a:gd name="T14" fmla="*/ 139 w 150"/>
                  <a:gd name="T15" fmla="*/ 149 h 149"/>
                  <a:gd name="T16" fmla="*/ 150 w 150"/>
                  <a:gd name="T17" fmla="*/ 138 h 149"/>
                  <a:gd name="T18" fmla="*/ 139 w 150"/>
                  <a:gd name="T1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49">
                    <a:moveTo>
                      <a:pt x="139" y="128"/>
                    </a:moveTo>
                    <a:cubicBezTo>
                      <a:pt x="22" y="128"/>
                      <a:pt x="22" y="128"/>
                      <a:pt x="22" y="128"/>
                    </a:cubicBezTo>
                    <a:cubicBezTo>
                      <a:pt x="22" y="10"/>
                      <a:pt x="22" y="10"/>
                      <a:pt x="22" y="10"/>
                    </a:cubicBezTo>
                    <a:cubicBezTo>
                      <a:pt x="22" y="4"/>
                      <a:pt x="17" y="0"/>
                      <a:pt x="11" y="0"/>
                    </a:cubicBezTo>
                    <a:cubicBezTo>
                      <a:pt x="5" y="0"/>
                      <a:pt x="0" y="4"/>
                      <a:pt x="0" y="10"/>
                    </a:cubicBezTo>
                    <a:cubicBezTo>
                      <a:pt x="0" y="138"/>
                      <a:pt x="0" y="138"/>
                      <a:pt x="0" y="138"/>
                    </a:cubicBezTo>
                    <a:cubicBezTo>
                      <a:pt x="0" y="144"/>
                      <a:pt x="5" y="149"/>
                      <a:pt x="11" y="149"/>
                    </a:cubicBezTo>
                    <a:cubicBezTo>
                      <a:pt x="139" y="149"/>
                      <a:pt x="139" y="149"/>
                      <a:pt x="139" y="149"/>
                    </a:cubicBezTo>
                    <a:cubicBezTo>
                      <a:pt x="145" y="149"/>
                      <a:pt x="150" y="144"/>
                      <a:pt x="150" y="138"/>
                    </a:cubicBezTo>
                    <a:cubicBezTo>
                      <a:pt x="150" y="132"/>
                      <a:pt x="145" y="128"/>
                      <a:pt x="139" y="12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61" name="Freeform 950">
                <a:extLst>
                  <a:ext uri="{FF2B5EF4-FFF2-40B4-BE49-F238E27FC236}">
                    <a16:creationId xmlns:a16="http://schemas.microsoft.com/office/drawing/2014/main" id="{AA1DC851-E560-3F4F-8586-46B8A33001CF}"/>
                  </a:ext>
                </a:extLst>
              </p:cNvPr>
              <p:cNvSpPr>
                <a:spLocks/>
              </p:cNvSpPr>
              <p:nvPr/>
            </p:nvSpPr>
            <p:spPr bwMode="auto">
              <a:xfrm>
                <a:off x="7721400" y="4285229"/>
                <a:ext cx="107450" cy="107450"/>
              </a:xfrm>
              <a:custGeom>
                <a:avLst/>
                <a:gdLst>
                  <a:gd name="T0" fmla="*/ 138 w 149"/>
                  <a:gd name="T1" fmla="*/ 0 h 150"/>
                  <a:gd name="T2" fmla="*/ 10 w 149"/>
                  <a:gd name="T3" fmla="*/ 0 h 150"/>
                  <a:gd name="T4" fmla="*/ 0 w 149"/>
                  <a:gd name="T5" fmla="*/ 11 h 150"/>
                  <a:gd name="T6" fmla="*/ 10 w 149"/>
                  <a:gd name="T7" fmla="*/ 22 h 150"/>
                  <a:gd name="T8" fmla="*/ 128 w 149"/>
                  <a:gd name="T9" fmla="*/ 22 h 150"/>
                  <a:gd name="T10" fmla="*/ 128 w 149"/>
                  <a:gd name="T11" fmla="*/ 139 h 150"/>
                  <a:gd name="T12" fmla="*/ 138 w 149"/>
                  <a:gd name="T13" fmla="*/ 150 h 150"/>
                  <a:gd name="T14" fmla="*/ 149 w 149"/>
                  <a:gd name="T15" fmla="*/ 139 h 150"/>
                  <a:gd name="T16" fmla="*/ 149 w 149"/>
                  <a:gd name="T17" fmla="*/ 11 h 150"/>
                  <a:gd name="T18" fmla="*/ 138 w 149"/>
                  <a:gd name="T1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50">
                    <a:moveTo>
                      <a:pt x="138" y="0"/>
                    </a:moveTo>
                    <a:cubicBezTo>
                      <a:pt x="10" y="0"/>
                      <a:pt x="10" y="0"/>
                      <a:pt x="10" y="0"/>
                    </a:cubicBezTo>
                    <a:cubicBezTo>
                      <a:pt x="4" y="0"/>
                      <a:pt x="0" y="5"/>
                      <a:pt x="0" y="11"/>
                    </a:cubicBezTo>
                    <a:cubicBezTo>
                      <a:pt x="0" y="17"/>
                      <a:pt x="4" y="22"/>
                      <a:pt x="10" y="22"/>
                    </a:cubicBezTo>
                    <a:cubicBezTo>
                      <a:pt x="128" y="22"/>
                      <a:pt x="128" y="22"/>
                      <a:pt x="128" y="22"/>
                    </a:cubicBezTo>
                    <a:cubicBezTo>
                      <a:pt x="128" y="139"/>
                      <a:pt x="128" y="139"/>
                      <a:pt x="128" y="139"/>
                    </a:cubicBezTo>
                    <a:cubicBezTo>
                      <a:pt x="128" y="145"/>
                      <a:pt x="132" y="150"/>
                      <a:pt x="138" y="150"/>
                    </a:cubicBezTo>
                    <a:cubicBezTo>
                      <a:pt x="144" y="150"/>
                      <a:pt x="149" y="145"/>
                      <a:pt x="149" y="139"/>
                    </a:cubicBezTo>
                    <a:cubicBezTo>
                      <a:pt x="149" y="11"/>
                      <a:pt x="149" y="11"/>
                      <a:pt x="149" y="11"/>
                    </a:cubicBezTo>
                    <a:cubicBezTo>
                      <a:pt x="149" y="5"/>
                      <a:pt x="144" y="0"/>
                      <a:pt x="138"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grpSp>
    </p:spTree>
    <p:custDataLst>
      <p:tags r:id="rId1"/>
    </p:custDataLst>
    <p:extLst>
      <p:ext uri="{BB962C8B-B14F-4D97-AF65-F5344CB8AC3E}">
        <p14:creationId xmlns:p14="http://schemas.microsoft.com/office/powerpoint/2010/main" val="3702859234"/>
      </p:ext>
    </p:extLst>
  </p:cSld>
  <p:clrMapOvr>
    <a:masterClrMapping/>
  </p:clrMapOvr>
  <p:transition>
    <p:fade/>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9" name="Group 138">
            <a:extLst>
              <a:ext uri="{FF2B5EF4-FFF2-40B4-BE49-F238E27FC236}">
                <a16:creationId xmlns:a16="http://schemas.microsoft.com/office/drawing/2014/main" id="{B2EBACD8-0AB3-A44C-A816-00806ADB3546}"/>
              </a:ext>
            </a:extLst>
          </p:cNvPr>
          <p:cNvGrpSpPr/>
          <p:nvPr/>
        </p:nvGrpSpPr>
        <p:grpSpPr>
          <a:xfrm>
            <a:off x="3422049" y="755723"/>
            <a:ext cx="5347901" cy="5346554"/>
            <a:chOff x="1592841" y="422636"/>
            <a:chExt cx="6015037" cy="6013522"/>
          </a:xfrm>
        </p:grpSpPr>
        <p:sp>
          <p:nvSpPr>
            <p:cNvPr id="140" name="Freeform 6">
              <a:extLst>
                <a:ext uri="{FF2B5EF4-FFF2-40B4-BE49-F238E27FC236}">
                  <a16:creationId xmlns:a16="http://schemas.microsoft.com/office/drawing/2014/main" id="{620BE90D-F0FA-724C-9427-0E65030B7159}"/>
                </a:ext>
              </a:extLst>
            </p:cNvPr>
            <p:cNvSpPr>
              <a:spLocks/>
            </p:cNvSpPr>
            <p:nvPr/>
          </p:nvSpPr>
          <p:spPr bwMode="auto">
            <a:xfrm>
              <a:off x="2819761" y="1681792"/>
              <a:ext cx="3557588" cy="3529013"/>
            </a:xfrm>
            <a:custGeom>
              <a:avLst/>
              <a:gdLst>
                <a:gd name="T0" fmla="*/ 1193 w 2241"/>
                <a:gd name="T1" fmla="*/ 408 h 2223"/>
                <a:gd name="T2" fmla="*/ 1202 w 2241"/>
                <a:gd name="T3" fmla="*/ 464 h 2223"/>
                <a:gd name="T4" fmla="*/ 1259 w 2241"/>
                <a:gd name="T5" fmla="*/ 590 h 2223"/>
                <a:gd name="T6" fmla="*/ 1334 w 2241"/>
                <a:gd name="T7" fmla="*/ 656 h 2223"/>
                <a:gd name="T8" fmla="*/ 1434 w 2241"/>
                <a:gd name="T9" fmla="*/ 640 h 2223"/>
                <a:gd name="T10" fmla="*/ 1567 w 2241"/>
                <a:gd name="T11" fmla="*/ 571 h 2223"/>
                <a:gd name="T12" fmla="*/ 1761 w 2241"/>
                <a:gd name="T13" fmla="*/ 699 h 2223"/>
                <a:gd name="T14" fmla="*/ 1661 w 2241"/>
                <a:gd name="T15" fmla="*/ 673 h 2223"/>
                <a:gd name="T16" fmla="*/ 1624 w 2241"/>
                <a:gd name="T17" fmla="*/ 738 h 2223"/>
                <a:gd name="T18" fmla="*/ 1585 w 2241"/>
                <a:gd name="T19" fmla="*/ 833 h 2223"/>
                <a:gd name="T20" fmla="*/ 1578 w 2241"/>
                <a:gd name="T21" fmla="*/ 903 h 2223"/>
                <a:gd name="T22" fmla="*/ 1596 w 2241"/>
                <a:gd name="T23" fmla="*/ 937 h 2223"/>
                <a:gd name="T24" fmla="*/ 1664 w 2241"/>
                <a:gd name="T25" fmla="*/ 994 h 2223"/>
                <a:gd name="T26" fmla="*/ 1812 w 2241"/>
                <a:gd name="T27" fmla="*/ 1048 h 2223"/>
                <a:gd name="T28" fmla="*/ 1866 w 2241"/>
                <a:gd name="T29" fmla="*/ 1267 h 2223"/>
                <a:gd name="T30" fmla="*/ 1803 w 2241"/>
                <a:gd name="T31" fmla="*/ 1184 h 2223"/>
                <a:gd name="T32" fmla="*/ 1728 w 2241"/>
                <a:gd name="T33" fmla="*/ 1206 h 2223"/>
                <a:gd name="T34" fmla="*/ 1632 w 2241"/>
                <a:gd name="T35" fmla="*/ 1250 h 2223"/>
                <a:gd name="T36" fmla="*/ 1581 w 2241"/>
                <a:gd name="T37" fmla="*/ 1299 h 2223"/>
                <a:gd name="T38" fmla="*/ 1585 w 2241"/>
                <a:gd name="T39" fmla="*/ 1376 h 2223"/>
                <a:gd name="T40" fmla="*/ 1640 w 2241"/>
                <a:gd name="T41" fmla="*/ 1520 h 2223"/>
                <a:gd name="T42" fmla="*/ 1905 w 2241"/>
                <a:gd name="T43" fmla="*/ 1896 h 2223"/>
                <a:gd name="T44" fmla="*/ 1559 w 2241"/>
                <a:gd name="T45" fmla="*/ 1643 h 2223"/>
                <a:gd name="T46" fmla="*/ 1505 w 2241"/>
                <a:gd name="T47" fmla="*/ 1613 h 2223"/>
                <a:gd name="T48" fmla="*/ 1411 w 2241"/>
                <a:gd name="T49" fmla="*/ 1576 h 2223"/>
                <a:gd name="T50" fmla="*/ 1335 w 2241"/>
                <a:gd name="T51" fmla="*/ 1570 h 2223"/>
                <a:gd name="T52" fmla="*/ 1301 w 2241"/>
                <a:gd name="T53" fmla="*/ 1589 h 2223"/>
                <a:gd name="T54" fmla="*/ 1246 w 2241"/>
                <a:gd name="T55" fmla="*/ 1650 h 2223"/>
                <a:gd name="T56" fmla="*/ 1200 w 2241"/>
                <a:gd name="T57" fmla="*/ 1772 h 2223"/>
                <a:gd name="T58" fmla="*/ 1127 w 2241"/>
                <a:gd name="T59" fmla="*/ 2223 h 2223"/>
                <a:gd name="T60" fmla="*/ 1052 w 2241"/>
                <a:gd name="T61" fmla="*/ 1803 h 2223"/>
                <a:gd name="T62" fmla="*/ 1033 w 2241"/>
                <a:gd name="T63" fmla="*/ 1738 h 2223"/>
                <a:gd name="T64" fmla="*/ 991 w 2241"/>
                <a:gd name="T65" fmla="*/ 1637 h 2223"/>
                <a:gd name="T66" fmla="*/ 927 w 2241"/>
                <a:gd name="T67" fmla="*/ 1569 h 2223"/>
                <a:gd name="T68" fmla="*/ 888 w 2241"/>
                <a:gd name="T69" fmla="*/ 1569 h 2223"/>
                <a:gd name="T70" fmla="*/ 784 w 2241"/>
                <a:gd name="T71" fmla="*/ 1595 h 2223"/>
                <a:gd name="T72" fmla="*/ 649 w 2241"/>
                <a:gd name="T73" fmla="*/ 1680 h 2223"/>
                <a:gd name="T74" fmla="*/ 548 w 2241"/>
                <a:gd name="T75" fmla="*/ 1585 h 2223"/>
                <a:gd name="T76" fmla="*/ 594 w 2241"/>
                <a:gd name="T77" fmla="*/ 1532 h 2223"/>
                <a:gd name="T78" fmla="*/ 633 w 2241"/>
                <a:gd name="T79" fmla="*/ 1461 h 2223"/>
                <a:gd name="T80" fmla="*/ 665 w 2241"/>
                <a:gd name="T81" fmla="*/ 1367 h 2223"/>
                <a:gd name="T82" fmla="*/ 661 w 2241"/>
                <a:gd name="T83" fmla="*/ 1299 h 2223"/>
                <a:gd name="T84" fmla="*/ 615 w 2241"/>
                <a:gd name="T85" fmla="*/ 1256 h 2223"/>
                <a:gd name="T86" fmla="*/ 521 w 2241"/>
                <a:gd name="T87" fmla="*/ 1199 h 2223"/>
                <a:gd name="T88" fmla="*/ 385 w 2241"/>
                <a:gd name="T89" fmla="*/ 1181 h 2223"/>
                <a:gd name="T90" fmla="*/ 378 w 2241"/>
                <a:gd name="T91" fmla="*/ 1048 h 2223"/>
                <a:gd name="T92" fmla="*/ 451 w 2241"/>
                <a:gd name="T93" fmla="*/ 1040 h 2223"/>
                <a:gd name="T94" fmla="*/ 542 w 2241"/>
                <a:gd name="T95" fmla="*/ 1008 h 2223"/>
                <a:gd name="T96" fmla="*/ 635 w 2241"/>
                <a:gd name="T97" fmla="*/ 955 h 2223"/>
                <a:gd name="T98" fmla="*/ 667 w 2241"/>
                <a:gd name="T99" fmla="*/ 901 h 2223"/>
                <a:gd name="T100" fmla="*/ 657 w 2241"/>
                <a:gd name="T101" fmla="*/ 822 h 2223"/>
                <a:gd name="T102" fmla="*/ 602 w 2241"/>
                <a:gd name="T103" fmla="*/ 696 h 2223"/>
                <a:gd name="T104" fmla="*/ 338 w 2241"/>
                <a:gd name="T105" fmla="*/ 324 h 2223"/>
                <a:gd name="T106" fmla="*/ 673 w 2241"/>
                <a:gd name="T107" fmla="*/ 567 h 2223"/>
                <a:gd name="T108" fmla="*/ 724 w 2241"/>
                <a:gd name="T109" fmla="*/ 600 h 2223"/>
                <a:gd name="T110" fmla="*/ 823 w 2241"/>
                <a:gd name="T111" fmla="*/ 642 h 2223"/>
                <a:gd name="T112" fmla="*/ 912 w 2241"/>
                <a:gd name="T113" fmla="*/ 655 h 2223"/>
                <a:gd name="T114" fmla="*/ 935 w 2241"/>
                <a:gd name="T115" fmla="*/ 649 h 2223"/>
                <a:gd name="T116" fmla="*/ 980 w 2241"/>
                <a:gd name="T117" fmla="*/ 601 h 2223"/>
                <a:gd name="T118" fmla="*/ 1039 w 2241"/>
                <a:gd name="T119" fmla="*/ 473 h 2223"/>
                <a:gd name="T120" fmla="*/ 1127 w 2241"/>
                <a:gd name="T121" fmla="*/ 0 h 2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41" h="2223">
                  <a:moveTo>
                    <a:pt x="1127" y="0"/>
                  </a:moveTo>
                  <a:lnTo>
                    <a:pt x="1275" y="368"/>
                  </a:lnTo>
                  <a:lnTo>
                    <a:pt x="1193" y="368"/>
                  </a:lnTo>
                  <a:lnTo>
                    <a:pt x="1193" y="408"/>
                  </a:lnTo>
                  <a:lnTo>
                    <a:pt x="1194" y="411"/>
                  </a:lnTo>
                  <a:lnTo>
                    <a:pt x="1195" y="423"/>
                  </a:lnTo>
                  <a:lnTo>
                    <a:pt x="1198" y="441"/>
                  </a:lnTo>
                  <a:lnTo>
                    <a:pt x="1202" y="464"/>
                  </a:lnTo>
                  <a:lnTo>
                    <a:pt x="1210" y="492"/>
                  </a:lnTo>
                  <a:lnTo>
                    <a:pt x="1222" y="523"/>
                  </a:lnTo>
                  <a:lnTo>
                    <a:pt x="1237" y="556"/>
                  </a:lnTo>
                  <a:lnTo>
                    <a:pt x="1259" y="590"/>
                  </a:lnTo>
                  <a:lnTo>
                    <a:pt x="1284" y="624"/>
                  </a:lnTo>
                  <a:lnTo>
                    <a:pt x="1317" y="658"/>
                  </a:lnTo>
                  <a:lnTo>
                    <a:pt x="1322" y="658"/>
                  </a:lnTo>
                  <a:lnTo>
                    <a:pt x="1334" y="656"/>
                  </a:lnTo>
                  <a:lnTo>
                    <a:pt x="1351" y="655"/>
                  </a:lnTo>
                  <a:lnTo>
                    <a:pt x="1375" y="653"/>
                  </a:lnTo>
                  <a:lnTo>
                    <a:pt x="1403" y="648"/>
                  </a:lnTo>
                  <a:lnTo>
                    <a:pt x="1434" y="640"/>
                  </a:lnTo>
                  <a:lnTo>
                    <a:pt x="1466" y="629"/>
                  </a:lnTo>
                  <a:lnTo>
                    <a:pt x="1500" y="614"/>
                  </a:lnTo>
                  <a:lnTo>
                    <a:pt x="1534" y="595"/>
                  </a:lnTo>
                  <a:lnTo>
                    <a:pt x="1567" y="571"/>
                  </a:lnTo>
                  <a:lnTo>
                    <a:pt x="1598" y="541"/>
                  </a:lnTo>
                  <a:lnTo>
                    <a:pt x="1537" y="477"/>
                  </a:lnTo>
                  <a:lnTo>
                    <a:pt x="1905" y="324"/>
                  </a:lnTo>
                  <a:lnTo>
                    <a:pt x="1761" y="699"/>
                  </a:lnTo>
                  <a:lnTo>
                    <a:pt x="1698" y="635"/>
                  </a:lnTo>
                  <a:lnTo>
                    <a:pt x="1667" y="663"/>
                  </a:lnTo>
                  <a:lnTo>
                    <a:pt x="1666" y="666"/>
                  </a:lnTo>
                  <a:lnTo>
                    <a:pt x="1661" y="673"/>
                  </a:lnTo>
                  <a:lnTo>
                    <a:pt x="1654" y="685"/>
                  </a:lnTo>
                  <a:lnTo>
                    <a:pt x="1645" y="700"/>
                  </a:lnTo>
                  <a:lnTo>
                    <a:pt x="1634" y="719"/>
                  </a:lnTo>
                  <a:lnTo>
                    <a:pt x="1624" y="738"/>
                  </a:lnTo>
                  <a:lnTo>
                    <a:pt x="1612" y="761"/>
                  </a:lnTo>
                  <a:lnTo>
                    <a:pt x="1601" y="785"/>
                  </a:lnTo>
                  <a:lnTo>
                    <a:pt x="1592" y="809"/>
                  </a:lnTo>
                  <a:lnTo>
                    <a:pt x="1585" y="833"/>
                  </a:lnTo>
                  <a:lnTo>
                    <a:pt x="1579" y="857"/>
                  </a:lnTo>
                  <a:lnTo>
                    <a:pt x="1577" y="880"/>
                  </a:lnTo>
                  <a:lnTo>
                    <a:pt x="1577" y="901"/>
                  </a:lnTo>
                  <a:lnTo>
                    <a:pt x="1578" y="903"/>
                  </a:lnTo>
                  <a:lnTo>
                    <a:pt x="1579" y="907"/>
                  </a:lnTo>
                  <a:lnTo>
                    <a:pt x="1583" y="916"/>
                  </a:lnTo>
                  <a:lnTo>
                    <a:pt x="1588" y="925"/>
                  </a:lnTo>
                  <a:lnTo>
                    <a:pt x="1596" y="937"/>
                  </a:lnTo>
                  <a:lnTo>
                    <a:pt x="1607" y="950"/>
                  </a:lnTo>
                  <a:lnTo>
                    <a:pt x="1621" y="964"/>
                  </a:lnTo>
                  <a:lnTo>
                    <a:pt x="1640" y="979"/>
                  </a:lnTo>
                  <a:lnTo>
                    <a:pt x="1664" y="994"/>
                  </a:lnTo>
                  <a:lnTo>
                    <a:pt x="1692" y="1008"/>
                  </a:lnTo>
                  <a:lnTo>
                    <a:pt x="1726" y="1022"/>
                  </a:lnTo>
                  <a:lnTo>
                    <a:pt x="1766" y="1036"/>
                  </a:lnTo>
                  <a:lnTo>
                    <a:pt x="1812" y="1048"/>
                  </a:lnTo>
                  <a:lnTo>
                    <a:pt x="1868" y="1048"/>
                  </a:lnTo>
                  <a:lnTo>
                    <a:pt x="1862" y="951"/>
                  </a:lnTo>
                  <a:lnTo>
                    <a:pt x="2241" y="1104"/>
                  </a:lnTo>
                  <a:lnTo>
                    <a:pt x="1866" y="1267"/>
                  </a:lnTo>
                  <a:lnTo>
                    <a:pt x="1862" y="1181"/>
                  </a:lnTo>
                  <a:lnTo>
                    <a:pt x="1815" y="1181"/>
                  </a:lnTo>
                  <a:lnTo>
                    <a:pt x="1813" y="1182"/>
                  </a:lnTo>
                  <a:lnTo>
                    <a:pt x="1803" y="1184"/>
                  </a:lnTo>
                  <a:lnTo>
                    <a:pt x="1789" y="1188"/>
                  </a:lnTo>
                  <a:lnTo>
                    <a:pt x="1772" y="1192"/>
                  </a:lnTo>
                  <a:lnTo>
                    <a:pt x="1751" y="1199"/>
                  </a:lnTo>
                  <a:lnTo>
                    <a:pt x="1728" y="1206"/>
                  </a:lnTo>
                  <a:lnTo>
                    <a:pt x="1704" y="1216"/>
                  </a:lnTo>
                  <a:lnTo>
                    <a:pt x="1679" y="1226"/>
                  </a:lnTo>
                  <a:lnTo>
                    <a:pt x="1654" y="1237"/>
                  </a:lnTo>
                  <a:lnTo>
                    <a:pt x="1632" y="1250"/>
                  </a:lnTo>
                  <a:lnTo>
                    <a:pt x="1612" y="1264"/>
                  </a:lnTo>
                  <a:lnTo>
                    <a:pt x="1594" y="1279"/>
                  </a:lnTo>
                  <a:lnTo>
                    <a:pt x="1581" y="1294"/>
                  </a:lnTo>
                  <a:lnTo>
                    <a:pt x="1581" y="1299"/>
                  </a:lnTo>
                  <a:lnTo>
                    <a:pt x="1580" y="1310"/>
                  </a:lnTo>
                  <a:lnTo>
                    <a:pt x="1580" y="1326"/>
                  </a:lnTo>
                  <a:lnTo>
                    <a:pt x="1581" y="1348"/>
                  </a:lnTo>
                  <a:lnTo>
                    <a:pt x="1585" y="1376"/>
                  </a:lnTo>
                  <a:lnTo>
                    <a:pt x="1592" y="1408"/>
                  </a:lnTo>
                  <a:lnTo>
                    <a:pt x="1603" y="1442"/>
                  </a:lnTo>
                  <a:lnTo>
                    <a:pt x="1619" y="1480"/>
                  </a:lnTo>
                  <a:lnTo>
                    <a:pt x="1640" y="1520"/>
                  </a:lnTo>
                  <a:lnTo>
                    <a:pt x="1670" y="1561"/>
                  </a:lnTo>
                  <a:lnTo>
                    <a:pt x="1695" y="1586"/>
                  </a:lnTo>
                  <a:lnTo>
                    <a:pt x="1758" y="1524"/>
                  </a:lnTo>
                  <a:lnTo>
                    <a:pt x="1905" y="1896"/>
                  </a:lnTo>
                  <a:lnTo>
                    <a:pt x="1526" y="1747"/>
                  </a:lnTo>
                  <a:lnTo>
                    <a:pt x="1593" y="1687"/>
                  </a:lnTo>
                  <a:lnTo>
                    <a:pt x="1561" y="1645"/>
                  </a:lnTo>
                  <a:lnTo>
                    <a:pt x="1559" y="1643"/>
                  </a:lnTo>
                  <a:lnTo>
                    <a:pt x="1551" y="1638"/>
                  </a:lnTo>
                  <a:lnTo>
                    <a:pt x="1539" y="1631"/>
                  </a:lnTo>
                  <a:lnTo>
                    <a:pt x="1524" y="1623"/>
                  </a:lnTo>
                  <a:lnTo>
                    <a:pt x="1505" y="1613"/>
                  </a:lnTo>
                  <a:lnTo>
                    <a:pt x="1484" y="1603"/>
                  </a:lnTo>
                  <a:lnTo>
                    <a:pt x="1462" y="1592"/>
                  </a:lnTo>
                  <a:lnTo>
                    <a:pt x="1437" y="1584"/>
                  </a:lnTo>
                  <a:lnTo>
                    <a:pt x="1411" y="1576"/>
                  </a:lnTo>
                  <a:lnTo>
                    <a:pt x="1385" y="1571"/>
                  </a:lnTo>
                  <a:lnTo>
                    <a:pt x="1361" y="1569"/>
                  </a:lnTo>
                  <a:lnTo>
                    <a:pt x="1336" y="1569"/>
                  </a:lnTo>
                  <a:lnTo>
                    <a:pt x="1335" y="1570"/>
                  </a:lnTo>
                  <a:lnTo>
                    <a:pt x="1329" y="1572"/>
                  </a:lnTo>
                  <a:lnTo>
                    <a:pt x="1322" y="1576"/>
                  </a:lnTo>
                  <a:lnTo>
                    <a:pt x="1313" y="1580"/>
                  </a:lnTo>
                  <a:lnTo>
                    <a:pt x="1301" y="1589"/>
                  </a:lnTo>
                  <a:lnTo>
                    <a:pt x="1288" y="1599"/>
                  </a:lnTo>
                  <a:lnTo>
                    <a:pt x="1274" y="1612"/>
                  </a:lnTo>
                  <a:lnTo>
                    <a:pt x="1260" y="1629"/>
                  </a:lnTo>
                  <a:lnTo>
                    <a:pt x="1246" y="1650"/>
                  </a:lnTo>
                  <a:lnTo>
                    <a:pt x="1233" y="1673"/>
                  </a:lnTo>
                  <a:lnTo>
                    <a:pt x="1220" y="1701"/>
                  </a:lnTo>
                  <a:lnTo>
                    <a:pt x="1209" y="1734"/>
                  </a:lnTo>
                  <a:lnTo>
                    <a:pt x="1200" y="1772"/>
                  </a:lnTo>
                  <a:lnTo>
                    <a:pt x="1193" y="1815"/>
                  </a:lnTo>
                  <a:lnTo>
                    <a:pt x="1193" y="1850"/>
                  </a:lnTo>
                  <a:lnTo>
                    <a:pt x="1283" y="1853"/>
                  </a:lnTo>
                  <a:lnTo>
                    <a:pt x="1127" y="2223"/>
                  </a:lnTo>
                  <a:lnTo>
                    <a:pt x="963" y="1850"/>
                  </a:lnTo>
                  <a:lnTo>
                    <a:pt x="1051" y="1853"/>
                  </a:lnTo>
                  <a:lnTo>
                    <a:pt x="1053" y="1807"/>
                  </a:lnTo>
                  <a:lnTo>
                    <a:pt x="1052" y="1803"/>
                  </a:lnTo>
                  <a:lnTo>
                    <a:pt x="1050" y="1794"/>
                  </a:lnTo>
                  <a:lnTo>
                    <a:pt x="1046" y="1779"/>
                  </a:lnTo>
                  <a:lnTo>
                    <a:pt x="1040" y="1760"/>
                  </a:lnTo>
                  <a:lnTo>
                    <a:pt x="1033" y="1738"/>
                  </a:lnTo>
                  <a:lnTo>
                    <a:pt x="1025" y="1713"/>
                  </a:lnTo>
                  <a:lnTo>
                    <a:pt x="1014" y="1687"/>
                  </a:lnTo>
                  <a:lnTo>
                    <a:pt x="1004" y="1661"/>
                  </a:lnTo>
                  <a:lnTo>
                    <a:pt x="991" y="1637"/>
                  </a:lnTo>
                  <a:lnTo>
                    <a:pt x="977" y="1614"/>
                  </a:lnTo>
                  <a:lnTo>
                    <a:pt x="962" y="1596"/>
                  </a:lnTo>
                  <a:lnTo>
                    <a:pt x="945" y="1579"/>
                  </a:lnTo>
                  <a:lnTo>
                    <a:pt x="927" y="1569"/>
                  </a:lnTo>
                  <a:lnTo>
                    <a:pt x="924" y="1569"/>
                  </a:lnTo>
                  <a:lnTo>
                    <a:pt x="917" y="1569"/>
                  </a:lnTo>
                  <a:lnTo>
                    <a:pt x="904" y="1568"/>
                  </a:lnTo>
                  <a:lnTo>
                    <a:pt x="888" y="1569"/>
                  </a:lnTo>
                  <a:lnTo>
                    <a:pt x="866" y="1571"/>
                  </a:lnTo>
                  <a:lnTo>
                    <a:pt x="843" y="1576"/>
                  </a:lnTo>
                  <a:lnTo>
                    <a:pt x="815" y="1583"/>
                  </a:lnTo>
                  <a:lnTo>
                    <a:pt x="784" y="1595"/>
                  </a:lnTo>
                  <a:lnTo>
                    <a:pt x="750" y="1610"/>
                  </a:lnTo>
                  <a:lnTo>
                    <a:pt x="715" y="1630"/>
                  </a:lnTo>
                  <a:lnTo>
                    <a:pt x="676" y="1654"/>
                  </a:lnTo>
                  <a:lnTo>
                    <a:pt x="649" y="1680"/>
                  </a:lnTo>
                  <a:lnTo>
                    <a:pt x="715" y="1745"/>
                  </a:lnTo>
                  <a:lnTo>
                    <a:pt x="332" y="1905"/>
                  </a:lnTo>
                  <a:lnTo>
                    <a:pt x="488" y="1527"/>
                  </a:lnTo>
                  <a:lnTo>
                    <a:pt x="548" y="1585"/>
                  </a:lnTo>
                  <a:lnTo>
                    <a:pt x="581" y="1552"/>
                  </a:lnTo>
                  <a:lnTo>
                    <a:pt x="582" y="1550"/>
                  </a:lnTo>
                  <a:lnTo>
                    <a:pt x="587" y="1544"/>
                  </a:lnTo>
                  <a:lnTo>
                    <a:pt x="594" y="1532"/>
                  </a:lnTo>
                  <a:lnTo>
                    <a:pt x="602" y="1518"/>
                  </a:lnTo>
                  <a:lnTo>
                    <a:pt x="612" y="1502"/>
                  </a:lnTo>
                  <a:lnTo>
                    <a:pt x="622" y="1482"/>
                  </a:lnTo>
                  <a:lnTo>
                    <a:pt x="633" y="1461"/>
                  </a:lnTo>
                  <a:lnTo>
                    <a:pt x="643" y="1439"/>
                  </a:lnTo>
                  <a:lnTo>
                    <a:pt x="652" y="1415"/>
                  </a:lnTo>
                  <a:lnTo>
                    <a:pt x="660" y="1391"/>
                  </a:lnTo>
                  <a:lnTo>
                    <a:pt x="665" y="1367"/>
                  </a:lnTo>
                  <a:lnTo>
                    <a:pt x="668" y="1344"/>
                  </a:lnTo>
                  <a:lnTo>
                    <a:pt x="667" y="1321"/>
                  </a:lnTo>
                  <a:lnTo>
                    <a:pt x="663" y="1301"/>
                  </a:lnTo>
                  <a:lnTo>
                    <a:pt x="661" y="1299"/>
                  </a:lnTo>
                  <a:lnTo>
                    <a:pt x="655" y="1292"/>
                  </a:lnTo>
                  <a:lnTo>
                    <a:pt x="646" y="1283"/>
                  </a:lnTo>
                  <a:lnTo>
                    <a:pt x="632" y="1270"/>
                  </a:lnTo>
                  <a:lnTo>
                    <a:pt x="615" y="1256"/>
                  </a:lnTo>
                  <a:lnTo>
                    <a:pt x="596" y="1240"/>
                  </a:lnTo>
                  <a:lnTo>
                    <a:pt x="574" y="1226"/>
                  </a:lnTo>
                  <a:lnTo>
                    <a:pt x="548" y="1212"/>
                  </a:lnTo>
                  <a:lnTo>
                    <a:pt x="521" y="1199"/>
                  </a:lnTo>
                  <a:lnTo>
                    <a:pt x="491" y="1190"/>
                  </a:lnTo>
                  <a:lnTo>
                    <a:pt x="459" y="1183"/>
                  </a:lnTo>
                  <a:lnTo>
                    <a:pt x="425" y="1181"/>
                  </a:lnTo>
                  <a:lnTo>
                    <a:pt x="385" y="1181"/>
                  </a:lnTo>
                  <a:lnTo>
                    <a:pt x="386" y="1274"/>
                  </a:lnTo>
                  <a:lnTo>
                    <a:pt x="0" y="1111"/>
                  </a:lnTo>
                  <a:lnTo>
                    <a:pt x="378" y="957"/>
                  </a:lnTo>
                  <a:lnTo>
                    <a:pt x="378" y="1048"/>
                  </a:lnTo>
                  <a:lnTo>
                    <a:pt x="423" y="1048"/>
                  </a:lnTo>
                  <a:lnTo>
                    <a:pt x="426" y="1047"/>
                  </a:lnTo>
                  <a:lnTo>
                    <a:pt x="436" y="1045"/>
                  </a:lnTo>
                  <a:lnTo>
                    <a:pt x="451" y="1040"/>
                  </a:lnTo>
                  <a:lnTo>
                    <a:pt x="470" y="1034"/>
                  </a:lnTo>
                  <a:lnTo>
                    <a:pt x="492" y="1027"/>
                  </a:lnTo>
                  <a:lnTo>
                    <a:pt x="517" y="1019"/>
                  </a:lnTo>
                  <a:lnTo>
                    <a:pt x="542" y="1008"/>
                  </a:lnTo>
                  <a:lnTo>
                    <a:pt x="568" y="996"/>
                  </a:lnTo>
                  <a:lnTo>
                    <a:pt x="593" y="985"/>
                  </a:lnTo>
                  <a:lnTo>
                    <a:pt x="615" y="971"/>
                  </a:lnTo>
                  <a:lnTo>
                    <a:pt x="635" y="955"/>
                  </a:lnTo>
                  <a:lnTo>
                    <a:pt x="652" y="940"/>
                  </a:lnTo>
                  <a:lnTo>
                    <a:pt x="662" y="923"/>
                  </a:lnTo>
                  <a:lnTo>
                    <a:pt x="667" y="905"/>
                  </a:lnTo>
                  <a:lnTo>
                    <a:pt x="667" y="901"/>
                  </a:lnTo>
                  <a:lnTo>
                    <a:pt x="667" y="890"/>
                  </a:lnTo>
                  <a:lnTo>
                    <a:pt x="665" y="872"/>
                  </a:lnTo>
                  <a:lnTo>
                    <a:pt x="662" y="849"/>
                  </a:lnTo>
                  <a:lnTo>
                    <a:pt x="657" y="822"/>
                  </a:lnTo>
                  <a:lnTo>
                    <a:pt x="649" y="792"/>
                  </a:lnTo>
                  <a:lnTo>
                    <a:pt x="637" y="761"/>
                  </a:lnTo>
                  <a:lnTo>
                    <a:pt x="622" y="728"/>
                  </a:lnTo>
                  <a:lnTo>
                    <a:pt x="602" y="696"/>
                  </a:lnTo>
                  <a:lnTo>
                    <a:pt x="576" y="665"/>
                  </a:lnTo>
                  <a:lnTo>
                    <a:pt x="551" y="638"/>
                  </a:lnTo>
                  <a:lnTo>
                    <a:pt x="487" y="713"/>
                  </a:lnTo>
                  <a:lnTo>
                    <a:pt x="338" y="324"/>
                  </a:lnTo>
                  <a:lnTo>
                    <a:pt x="709" y="477"/>
                  </a:lnTo>
                  <a:lnTo>
                    <a:pt x="650" y="533"/>
                  </a:lnTo>
                  <a:lnTo>
                    <a:pt x="670" y="565"/>
                  </a:lnTo>
                  <a:lnTo>
                    <a:pt x="673" y="567"/>
                  </a:lnTo>
                  <a:lnTo>
                    <a:pt x="680" y="572"/>
                  </a:lnTo>
                  <a:lnTo>
                    <a:pt x="692" y="580"/>
                  </a:lnTo>
                  <a:lnTo>
                    <a:pt x="707" y="590"/>
                  </a:lnTo>
                  <a:lnTo>
                    <a:pt x="724" y="600"/>
                  </a:lnTo>
                  <a:lnTo>
                    <a:pt x="746" y="612"/>
                  </a:lnTo>
                  <a:lnTo>
                    <a:pt x="769" y="624"/>
                  </a:lnTo>
                  <a:lnTo>
                    <a:pt x="795" y="634"/>
                  </a:lnTo>
                  <a:lnTo>
                    <a:pt x="823" y="642"/>
                  </a:lnTo>
                  <a:lnTo>
                    <a:pt x="851" y="649"/>
                  </a:lnTo>
                  <a:lnTo>
                    <a:pt x="881" y="654"/>
                  </a:lnTo>
                  <a:lnTo>
                    <a:pt x="911" y="655"/>
                  </a:lnTo>
                  <a:lnTo>
                    <a:pt x="912" y="655"/>
                  </a:lnTo>
                  <a:lnTo>
                    <a:pt x="915" y="655"/>
                  </a:lnTo>
                  <a:lnTo>
                    <a:pt x="920" y="655"/>
                  </a:lnTo>
                  <a:lnTo>
                    <a:pt x="926" y="653"/>
                  </a:lnTo>
                  <a:lnTo>
                    <a:pt x="935" y="649"/>
                  </a:lnTo>
                  <a:lnTo>
                    <a:pt x="944" y="642"/>
                  </a:lnTo>
                  <a:lnTo>
                    <a:pt x="956" y="633"/>
                  </a:lnTo>
                  <a:lnTo>
                    <a:pt x="967" y="620"/>
                  </a:lnTo>
                  <a:lnTo>
                    <a:pt x="980" y="601"/>
                  </a:lnTo>
                  <a:lnTo>
                    <a:pt x="994" y="579"/>
                  </a:lnTo>
                  <a:lnTo>
                    <a:pt x="1009" y="550"/>
                  </a:lnTo>
                  <a:lnTo>
                    <a:pt x="1024" y="514"/>
                  </a:lnTo>
                  <a:lnTo>
                    <a:pt x="1039" y="473"/>
                  </a:lnTo>
                  <a:lnTo>
                    <a:pt x="1055" y="423"/>
                  </a:lnTo>
                  <a:lnTo>
                    <a:pt x="1055" y="374"/>
                  </a:lnTo>
                  <a:lnTo>
                    <a:pt x="963" y="368"/>
                  </a:lnTo>
                  <a:lnTo>
                    <a:pt x="1127"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41" name="Group 140">
              <a:extLst>
                <a:ext uri="{FF2B5EF4-FFF2-40B4-BE49-F238E27FC236}">
                  <a16:creationId xmlns:a16="http://schemas.microsoft.com/office/drawing/2014/main" id="{3DEC099A-F7C8-3F42-8125-B4C4248F8878}"/>
                </a:ext>
              </a:extLst>
            </p:cNvPr>
            <p:cNvGrpSpPr/>
            <p:nvPr/>
          </p:nvGrpSpPr>
          <p:grpSpPr>
            <a:xfrm>
              <a:off x="3942845" y="2774713"/>
              <a:ext cx="1327150" cy="1323975"/>
              <a:chOff x="3857626" y="2900363"/>
              <a:chExt cx="1327150" cy="1323975"/>
            </a:xfrm>
          </p:grpSpPr>
          <p:sp>
            <p:nvSpPr>
              <p:cNvPr id="176" name="Freeform 7">
                <a:extLst>
                  <a:ext uri="{FF2B5EF4-FFF2-40B4-BE49-F238E27FC236}">
                    <a16:creationId xmlns:a16="http://schemas.microsoft.com/office/drawing/2014/main" id="{2846266A-2B33-154C-87B7-846603A6A36A}"/>
                  </a:ext>
                </a:extLst>
              </p:cNvPr>
              <p:cNvSpPr>
                <a:spLocks/>
              </p:cNvSpPr>
              <p:nvPr/>
            </p:nvSpPr>
            <p:spPr bwMode="auto">
              <a:xfrm>
                <a:off x="3857626" y="2900363"/>
                <a:ext cx="1327150" cy="1323975"/>
              </a:xfrm>
              <a:custGeom>
                <a:avLst/>
                <a:gdLst>
                  <a:gd name="T0" fmla="*/ 418 w 836"/>
                  <a:gd name="T1" fmla="*/ 0 h 834"/>
                  <a:gd name="T2" fmla="*/ 471 w 836"/>
                  <a:gd name="T3" fmla="*/ 2 h 834"/>
                  <a:gd name="T4" fmla="*/ 522 w 836"/>
                  <a:gd name="T5" fmla="*/ 12 h 834"/>
                  <a:gd name="T6" fmla="*/ 570 w 836"/>
                  <a:gd name="T7" fmla="*/ 28 h 834"/>
                  <a:gd name="T8" fmla="*/ 614 w 836"/>
                  <a:gd name="T9" fmla="*/ 48 h 834"/>
                  <a:gd name="T10" fmla="*/ 657 w 836"/>
                  <a:gd name="T11" fmla="*/ 74 h 834"/>
                  <a:gd name="T12" fmla="*/ 695 w 836"/>
                  <a:gd name="T13" fmla="*/ 104 h 834"/>
                  <a:gd name="T14" fmla="*/ 731 w 836"/>
                  <a:gd name="T15" fmla="*/ 140 h 834"/>
                  <a:gd name="T16" fmla="*/ 761 w 836"/>
                  <a:gd name="T17" fmla="*/ 178 h 834"/>
                  <a:gd name="T18" fmla="*/ 787 w 836"/>
                  <a:gd name="T19" fmla="*/ 220 h 834"/>
                  <a:gd name="T20" fmla="*/ 808 w 836"/>
                  <a:gd name="T21" fmla="*/ 266 h 834"/>
                  <a:gd name="T22" fmla="*/ 823 w 836"/>
                  <a:gd name="T23" fmla="*/ 314 h 834"/>
                  <a:gd name="T24" fmla="*/ 833 w 836"/>
                  <a:gd name="T25" fmla="*/ 365 h 834"/>
                  <a:gd name="T26" fmla="*/ 836 w 836"/>
                  <a:gd name="T27" fmla="*/ 417 h 834"/>
                  <a:gd name="T28" fmla="*/ 833 w 836"/>
                  <a:gd name="T29" fmla="*/ 469 h 834"/>
                  <a:gd name="T30" fmla="*/ 823 w 836"/>
                  <a:gd name="T31" fmla="*/ 519 h 834"/>
                  <a:gd name="T32" fmla="*/ 808 w 836"/>
                  <a:gd name="T33" fmla="*/ 568 h 834"/>
                  <a:gd name="T34" fmla="*/ 787 w 836"/>
                  <a:gd name="T35" fmla="*/ 613 h 834"/>
                  <a:gd name="T36" fmla="*/ 761 w 836"/>
                  <a:gd name="T37" fmla="*/ 656 h 834"/>
                  <a:gd name="T38" fmla="*/ 731 w 836"/>
                  <a:gd name="T39" fmla="*/ 694 h 834"/>
                  <a:gd name="T40" fmla="*/ 695 w 836"/>
                  <a:gd name="T41" fmla="*/ 729 h 834"/>
                  <a:gd name="T42" fmla="*/ 657 w 836"/>
                  <a:gd name="T43" fmla="*/ 760 h 834"/>
                  <a:gd name="T44" fmla="*/ 614 w 836"/>
                  <a:gd name="T45" fmla="*/ 786 h 834"/>
                  <a:gd name="T46" fmla="*/ 570 w 836"/>
                  <a:gd name="T47" fmla="*/ 807 h 834"/>
                  <a:gd name="T48" fmla="*/ 522 w 836"/>
                  <a:gd name="T49" fmla="*/ 822 h 834"/>
                  <a:gd name="T50" fmla="*/ 471 w 836"/>
                  <a:gd name="T51" fmla="*/ 831 h 834"/>
                  <a:gd name="T52" fmla="*/ 418 w 836"/>
                  <a:gd name="T53" fmla="*/ 834 h 834"/>
                  <a:gd name="T54" fmla="*/ 365 w 836"/>
                  <a:gd name="T55" fmla="*/ 831 h 834"/>
                  <a:gd name="T56" fmla="*/ 315 w 836"/>
                  <a:gd name="T57" fmla="*/ 822 h 834"/>
                  <a:gd name="T58" fmla="*/ 267 w 836"/>
                  <a:gd name="T59" fmla="*/ 807 h 834"/>
                  <a:gd name="T60" fmla="*/ 222 w 836"/>
                  <a:gd name="T61" fmla="*/ 786 h 834"/>
                  <a:gd name="T62" fmla="*/ 180 w 836"/>
                  <a:gd name="T63" fmla="*/ 760 h 834"/>
                  <a:gd name="T64" fmla="*/ 141 w 836"/>
                  <a:gd name="T65" fmla="*/ 729 h 834"/>
                  <a:gd name="T66" fmla="*/ 106 w 836"/>
                  <a:gd name="T67" fmla="*/ 694 h 834"/>
                  <a:gd name="T68" fmla="*/ 75 w 836"/>
                  <a:gd name="T69" fmla="*/ 656 h 834"/>
                  <a:gd name="T70" fmla="*/ 50 w 836"/>
                  <a:gd name="T71" fmla="*/ 613 h 834"/>
                  <a:gd name="T72" fmla="*/ 29 w 836"/>
                  <a:gd name="T73" fmla="*/ 568 h 834"/>
                  <a:gd name="T74" fmla="*/ 13 w 836"/>
                  <a:gd name="T75" fmla="*/ 519 h 834"/>
                  <a:gd name="T76" fmla="*/ 4 w 836"/>
                  <a:gd name="T77" fmla="*/ 469 h 834"/>
                  <a:gd name="T78" fmla="*/ 0 w 836"/>
                  <a:gd name="T79" fmla="*/ 417 h 834"/>
                  <a:gd name="T80" fmla="*/ 4 w 836"/>
                  <a:gd name="T81" fmla="*/ 365 h 834"/>
                  <a:gd name="T82" fmla="*/ 13 w 836"/>
                  <a:gd name="T83" fmla="*/ 314 h 834"/>
                  <a:gd name="T84" fmla="*/ 29 w 836"/>
                  <a:gd name="T85" fmla="*/ 266 h 834"/>
                  <a:gd name="T86" fmla="*/ 50 w 836"/>
                  <a:gd name="T87" fmla="*/ 220 h 834"/>
                  <a:gd name="T88" fmla="*/ 75 w 836"/>
                  <a:gd name="T89" fmla="*/ 178 h 834"/>
                  <a:gd name="T90" fmla="*/ 106 w 836"/>
                  <a:gd name="T91" fmla="*/ 140 h 834"/>
                  <a:gd name="T92" fmla="*/ 141 w 836"/>
                  <a:gd name="T93" fmla="*/ 104 h 834"/>
                  <a:gd name="T94" fmla="*/ 180 w 836"/>
                  <a:gd name="T95" fmla="*/ 74 h 834"/>
                  <a:gd name="T96" fmla="*/ 222 w 836"/>
                  <a:gd name="T97" fmla="*/ 48 h 834"/>
                  <a:gd name="T98" fmla="*/ 267 w 836"/>
                  <a:gd name="T99" fmla="*/ 28 h 834"/>
                  <a:gd name="T100" fmla="*/ 315 w 836"/>
                  <a:gd name="T101" fmla="*/ 12 h 834"/>
                  <a:gd name="T102" fmla="*/ 365 w 836"/>
                  <a:gd name="T103" fmla="*/ 2 h 834"/>
                  <a:gd name="T104" fmla="*/ 418 w 836"/>
                  <a:gd name="T105"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6" h="834">
                    <a:moveTo>
                      <a:pt x="418" y="0"/>
                    </a:moveTo>
                    <a:lnTo>
                      <a:pt x="471" y="2"/>
                    </a:lnTo>
                    <a:lnTo>
                      <a:pt x="522" y="12"/>
                    </a:lnTo>
                    <a:lnTo>
                      <a:pt x="570" y="28"/>
                    </a:lnTo>
                    <a:lnTo>
                      <a:pt x="614" y="48"/>
                    </a:lnTo>
                    <a:lnTo>
                      <a:pt x="657" y="74"/>
                    </a:lnTo>
                    <a:lnTo>
                      <a:pt x="695" y="104"/>
                    </a:lnTo>
                    <a:lnTo>
                      <a:pt x="731" y="140"/>
                    </a:lnTo>
                    <a:lnTo>
                      <a:pt x="761" y="178"/>
                    </a:lnTo>
                    <a:lnTo>
                      <a:pt x="787" y="220"/>
                    </a:lnTo>
                    <a:lnTo>
                      <a:pt x="808" y="266"/>
                    </a:lnTo>
                    <a:lnTo>
                      <a:pt x="823" y="314"/>
                    </a:lnTo>
                    <a:lnTo>
                      <a:pt x="833" y="365"/>
                    </a:lnTo>
                    <a:lnTo>
                      <a:pt x="836" y="417"/>
                    </a:lnTo>
                    <a:lnTo>
                      <a:pt x="833" y="469"/>
                    </a:lnTo>
                    <a:lnTo>
                      <a:pt x="823" y="519"/>
                    </a:lnTo>
                    <a:lnTo>
                      <a:pt x="808" y="568"/>
                    </a:lnTo>
                    <a:lnTo>
                      <a:pt x="787" y="613"/>
                    </a:lnTo>
                    <a:lnTo>
                      <a:pt x="761" y="656"/>
                    </a:lnTo>
                    <a:lnTo>
                      <a:pt x="731" y="694"/>
                    </a:lnTo>
                    <a:lnTo>
                      <a:pt x="695" y="729"/>
                    </a:lnTo>
                    <a:lnTo>
                      <a:pt x="657" y="760"/>
                    </a:lnTo>
                    <a:lnTo>
                      <a:pt x="614" y="786"/>
                    </a:lnTo>
                    <a:lnTo>
                      <a:pt x="570" y="807"/>
                    </a:lnTo>
                    <a:lnTo>
                      <a:pt x="522" y="822"/>
                    </a:lnTo>
                    <a:lnTo>
                      <a:pt x="471" y="831"/>
                    </a:lnTo>
                    <a:lnTo>
                      <a:pt x="418" y="834"/>
                    </a:lnTo>
                    <a:lnTo>
                      <a:pt x="365" y="831"/>
                    </a:lnTo>
                    <a:lnTo>
                      <a:pt x="315" y="822"/>
                    </a:lnTo>
                    <a:lnTo>
                      <a:pt x="267" y="807"/>
                    </a:lnTo>
                    <a:lnTo>
                      <a:pt x="222" y="786"/>
                    </a:lnTo>
                    <a:lnTo>
                      <a:pt x="180" y="760"/>
                    </a:lnTo>
                    <a:lnTo>
                      <a:pt x="141" y="729"/>
                    </a:lnTo>
                    <a:lnTo>
                      <a:pt x="106" y="694"/>
                    </a:lnTo>
                    <a:lnTo>
                      <a:pt x="75" y="656"/>
                    </a:lnTo>
                    <a:lnTo>
                      <a:pt x="50" y="613"/>
                    </a:lnTo>
                    <a:lnTo>
                      <a:pt x="29" y="568"/>
                    </a:lnTo>
                    <a:lnTo>
                      <a:pt x="13" y="519"/>
                    </a:lnTo>
                    <a:lnTo>
                      <a:pt x="4" y="469"/>
                    </a:lnTo>
                    <a:lnTo>
                      <a:pt x="0" y="417"/>
                    </a:lnTo>
                    <a:lnTo>
                      <a:pt x="4" y="365"/>
                    </a:lnTo>
                    <a:lnTo>
                      <a:pt x="13" y="314"/>
                    </a:lnTo>
                    <a:lnTo>
                      <a:pt x="29" y="266"/>
                    </a:lnTo>
                    <a:lnTo>
                      <a:pt x="50" y="220"/>
                    </a:lnTo>
                    <a:lnTo>
                      <a:pt x="75" y="178"/>
                    </a:lnTo>
                    <a:lnTo>
                      <a:pt x="106" y="140"/>
                    </a:lnTo>
                    <a:lnTo>
                      <a:pt x="141" y="104"/>
                    </a:lnTo>
                    <a:lnTo>
                      <a:pt x="180" y="74"/>
                    </a:lnTo>
                    <a:lnTo>
                      <a:pt x="222" y="48"/>
                    </a:lnTo>
                    <a:lnTo>
                      <a:pt x="267" y="28"/>
                    </a:lnTo>
                    <a:lnTo>
                      <a:pt x="315" y="12"/>
                    </a:lnTo>
                    <a:lnTo>
                      <a:pt x="365" y="2"/>
                    </a:lnTo>
                    <a:lnTo>
                      <a:pt x="418"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16">
                <a:extLst>
                  <a:ext uri="{FF2B5EF4-FFF2-40B4-BE49-F238E27FC236}">
                    <a16:creationId xmlns:a16="http://schemas.microsoft.com/office/drawing/2014/main" id="{69EF47C2-124C-2F48-B016-C225C28494F6}"/>
                  </a:ext>
                </a:extLst>
              </p:cNvPr>
              <p:cNvSpPr>
                <a:spLocks noEditPoints="1"/>
              </p:cNvSpPr>
              <p:nvPr/>
            </p:nvSpPr>
            <p:spPr bwMode="auto">
              <a:xfrm>
                <a:off x="4094049" y="3136137"/>
                <a:ext cx="854305" cy="852427"/>
              </a:xfrm>
              <a:custGeom>
                <a:avLst/>
                <a:gdLst>
                  <a:gd name="T0" fmla="*/ 325 w 455"/>
                  <a:gd name="T1" fmla="*/ 331 h 454"/>
                  <a:gd name="T2" fmla="*/ 132 w 455"/>
                  <a:gd name="T3" fmla="*/ 292 h 454"/>
                  <a:gd name="T4" fmla="*/ 123 w 455"/>
                  <a:gd name="T5" fmla="*/ 298 h 454"/>
                  <a:gd name="T6" fmla="*/ 104 w 455"/>
                  <a:gd name="T7" fmla="*/ 341 h 454"/>
                  <a:gd name="T8" fmla="*/ 110 w 455"/>
                  <a:gd name="T9" fmla="*/ 348 h 454"/>
                  <a:gd name="T10" fmla="*/ 344 w 455"/>
                  <a:gd name="T11" fmla="*/ 348 h 454"/>
                  <a:gd name="T12" fmla="*/ 351 w 455"/>
                  <a:gd name="T13" fmla="*/ 341 h 454"/>
                  <a:gd name="T14" fmla="*/ 331 w 455"/>
                  <a:gd name="T15" fmla="*/ 298 h 454"/>
                  <a:gd name="T16" fmla="*/ 321 w 455"/>
                  <a:gd name="T17" fmla="*/ 292 h 454"/>
                  <a:gd name="T18" fmla="*/ 309 w 455"/>
                  <a:gd name="T19" fmla="*/ 179 h 454"/>
                  <a:gd name="T20" fmla="*/ 302 w 455"/>
                  <a:gd name="T21" fmla="*/ 189 h 454"/>
                  <a:gd name="T22" fmla="*/ 306 w 455"/>
                  <a:gd name="T23" fmla="*/ 271 h 454"/>
                  <a:gd name="T24" fmla="*/ 317 w 455"/>
                  <a:gd name="T25" fmla="*/ 273 h 454"/>
                  <a:gd name="T26" fmla="*/ 321 w 455"/>
                  <a:gd name="T27" fmla="*/ 264 h 454"/>
                  <a:gd name="T28" fmla="*/ 319 w 455"/>
                  <a:gd name="T29" fmla="*/ 182 h 454"/>
                  <a:gd name="T30" fmla="*/ 255 w 455"/>
                  <a:gd name="T31" fmla="*/ 179 h 454"/>
                  <a:gd name="T32" fmla="*/ 247 w 455"/>
                  <a:gd name="T33" fmla="*/ 185 h 454"/>
                  <a:gd name="T34" fmla="*/ 247 w 455"/>
                  <a:gd name="T35" fmla="*/ 267 h 454"/>
                  <a:gd name="T36" fmla="*/ 255 w 455"/>
                  <a:gd name="T37" fmla="*/ 274 h 454"/>
                  <a:gd name="T38" fmla="*/ 264 w 455"/>
                  <a:gd name="T39" fmla="*/ 267 h 454"/>
                  <a:gd name="T40" fmla="*/ 264 w 455"/>
                  <a:gd name="T41" fmla="*/ 185 h 454"/>
                  <a:gd name="T42" fmla="*/ 255 w 455"/>
                  <a:gd name="T43" fmla="*/ 179 h 454"/>
                  <a:gd name="T44" fmla="*/ 192 w 455"/>
                  <a:gd name="T45" fmla="*/ 182 h 454"/>
                  <a:gd name="T46" fmla="*/ 189 w 455"/>
                  <a:gd name="T47" fmla="*/ 264 h 454"/>
                  <a:gd name="T48" fmla="*/ 196 w 455"/>
                  <a:gd name="T49" fmla="*/ 273 h 454"/>
                  <a:gd name="T50" fmla="*/ 205 w 455"/>
                  <a:gd name="T51" fmla="*/ 271 h 454"/>
                  <a:gd name="T52" fmla="*/ 207 w 455"/>
                  <a:gd name="T53" fmla="*/ 189 h 454"/>
                  <a:gd name="T54" fmla="*/ 203 w 455"/>
                  <a:gd name="T55" fmla="*/ 179 h 454"/>
                  <a:gd name="T56" fmla="*/ 138 w 455"/>
                  <a:gd name="T57" fmla="*/ 179 h 454"/>
                  <a:gd name="T58" fmla="*/ 132 w 455"/>
                  <a:gd name="T59" fmla="*/ 189 h 454"/>
                  <a:gd name="T60" fmla="*/ 135 w 455"/>
                  <a:gd name="T61" fmla="*/ 271 h 454"/>
                  <a:gd name="T62" fmla="*/ 145 w 455"/>
                  <a:gd name="T63" fmla="*/ 273 h 454"/>
                  <a:gd name="T64" fmla="*/ 151 w 455"/>
                  <a:gd name="T65" fmla="*/ 264 h 454"/>
                  <a:gd name="T66" fmla="*/ 149 w 455"/>
                  <a:gd name="T67" fmla="*/ 182 h 454"/>
                  <a:gd name="T68" fmla="*/ 227 w 455"/>
                  <a:gd name="T69" fmla="*/ 104 h 454"/>
                  <a:gd name="T70" fmla="*/ 227 w 455"/>
                  <a:gd name="T71" fmla="*/ 104 h 454"/>
                  <a:gd name="T72" fmla="*/ 118 w 455"/>
                  <a:gd name="T73" fmla="*/ 142 h 454"/>
                  <a:gd name="T74" fmla="*/ 113 w 455"/>
                  <a:gd name="T75" fmla="*/ 150 h 454"/>
                  <a:gd name="T76" fmla="*/ 117 w 455"/>
                  <a:gd name="T77" fmla="*/ 158 h 454"/>
                  <a:gd name="T78" fmla="*/ 332 w 455"/>
                  <a:gd name="T79" fmla="*/ 161 h 454"/>
                  <a:gd name="T80" fmla="*/ 339 w 455"/>
                  <a:gd name="T81" fmla="*/ 156 h 454"/>
                  <a:gd name="T82" fmla="*/ 340 w 455"/>
                  <a:gd name="T83" fmla="*/ 148 h 454"/>
                  <a:gd name="T84" fmla="*/ 232 w 455"/>
                  <a:gd name="T85" fmla="*/ 87 h 454"/>
                  <a:gd name="T86" fmla="*/ 227 w 455"/>
                  <a:gd name="T87" fmla="*/ 0 h 454"/>
                  <a:gd name="T88" fmla="*/ 332 w 455"/>
                  <a:gd name="T89" fmla="*/ 26 h 454"/>
                  <a:gd name="T90" fmla="*/ 412 w 455"/>
                  <a:gd name="T91" fmla="*/ 93 h 454"/>
                  <a:gd name="T92" fmla="*/ 452 w 455"/>
                  <a:gd name="T93" fmla="*/ 190 h 454"/>
                  <a:gd name="T94" fmla="*/ 441 w 455"/>
                  <a:gd name="T95" fmla="*/ 306 h 454"/>
                  <a:gd name="T96" fmla="*/ 374 w 455"/>
                  <a:gd name="T97" fmla="*/ 400 h 454"/>
                  <a:gd name="T98" fmla="*/ 268 w 455"/>
                  <a:gd name="T99" fmla="*/ 450 h 454"/>
                  <a:gd name="T100" fmla="*/ 156 w 455"/>
                  <a:gd name="T101" fmla="*/ 442 h 454"/>
                  <a:gd name="T102" fmla="*/ 66 w 455"/>
                  <a:gd name="T103" fmla="*/ 387 h 454"/>
                  <a:gd name="T104" fmla="*/ 11 w 455"/>
                  <a:gd name="T105" fmla="*/ 298 h 454"/>
                  <a:gd name="T106" fmla="*/ 3 w 455"/>
                  <a:gd name="T107" fmla="*/ 186 h 454"/>
                  <a:gd name="T108" fmla="*/ 54 w 455"/>
                  <a:gd name="T109" fmla="*/ 81 h 454"/>
                  <a:gd name="T110" fmla="*/ 147 w 455"/>
                  <a:gd name="T111" fmla="*/ 1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5" h="454">
                    <a:moveTo>
                      <a:pt x="138" y="312"/>
                    </a:moveTo>
                    <a:lnTo>
                      <a:pt x="317" y="312"/>
                    </a:lnTo>
                    <a:lnTo>
                      <a:pt x="325" y="331"/>
                    </a:lnTo>
                    <a:lnTo>
                      <a:pt x="129" y="331"/>
                    </a:lnTo>
                    <a:lnTo>
                      <a:pt x="138" y="312"/>
                    </a:lnTo>
                    <a:close/>
                    <a:moveTo>
                      <a:pt x="132" y="292"/>
                    </a:moveTo>
                    <a:lnTo>
                      <a:pt x="129" y="293"/>
                    </a:lnTo>
                    <a:lnTo>
                      <a:pt x="125" y="295"/>
                    </a:lnTo>
                    <a:lnTo>
                      <a:pt x="123" y="298"/>
                    </a:lnTo>
                    <a:lnTo>
                      <a:pt x="105" y="335"/>
                    </a:lnTo>
                    <a:lnTo>
                      <a:pt x="104" y="339"/>
                    </a:lnTo>
                    <a:lnTo>
                      <a:pt x="104" y="341"/>
                    </a:lnTo>
                    <a:lnTo>
                      <a:pt x="105" y="345"/>
                    </a:lnTo>
                    <a:lnTo>
                      <a:pt x="108" y="347"/>
                    </a:lnTo>
                    <a:lnTo>
                      <a:pt x="110" y="348"/>
                    </a:lnTo>
                    <a:lnTo>
                      <a:pt x="113" y="349"/>
                    </a:lnTo>
                    <a:lnTo>
                      <a:pt x="341" y="349"/>
                    </a:lnTo>
                    <a:lnTo>
                      <a:pt x="344" y="348"/>
                    </a:lnTo>
                    <a:lnTo>
                      <a:pt x="347" y="347"/>
                    </a:lnTo>
                    <a:lnTo>
                      <a:pt x="349" y="345"/>
                    </a:lnTo>
                    <a:lnTo>
                      <a:pt x="351" y="341"/>
                    </a:lnTo>
                    <a:lnTo>
                      <a:pt x="351" y="339"/>
                    </a:lnTo>
                    <a:lnTo>
                      <a:pt x="349" y="335"/>
                    </a:lnTo>
                    <a:lnTo>
                      <a:pt x="331" y="298"/>
                    </a:lnTo>
                    <a:lnTo>
                      <a:pt x="328" y="295"/>
                    </a:lnTo>
                    <a:lnTo>
                      <a:pt x="325" y="293"/>
                    </a:lnTo>
                    <a:lnTo>
                      <a:pt x="321" y="292"/>
                    </a:lnTo>
                    <a:lnTo>
                      <a:pt x="132" y="292"/>
                    </a:lnTo>
                    <a:close/>
                    <a:moveTo>
                      <a:pt x="313" y="179"/>
                    </a:moveTo>
                    <a:lnTo>
                      <a:pt x="309" y="179"/>
                    </a:lnTo>
                    <a:lnTo>
                      <a:pt x="306" y="182"/>
                    </a:lnTo>
                    <a:lnTo>
                      <a:pt x="304" y="185"/>
                    </a:lnTo>
                    <a:lnTo>
                      <a:pt x="302" y="189"/>
                    </a:lnTo>
                    <a:lnTo>
                      <a:pt x="302" y="264"/>
                    </a:lnTo>
                    <a:lnTo>
                      <a:pt x="304" y="267"/>
                    </a:lnTo>
                    <a:lnTo>
                      <a:pt x="306" y="271"/>
                    </a:lnTo>
                    <a:lnTo>
                      <a:pt x="309" y="273"/>
                    </a:lnTo>
                    <a:lnTo>
                      <a:pt x="313" y="274"/>
                    </a:lnTo>
                    <a:lnTo>
                      <a:pt x="317" y="273"/>
                    </a:lnTo>
                    <a:lnTo>
                      <a:pt x="319" y="271"/>
                    </a:lnTo>
                    <a:lnTo>
                      <a:pt x="321" y="267"/>
                    </a:lnTo>
                    <a:lnTo>
                      <a:pt x="321" y="264"/>
                    </a:lnTo>
                    <a:lnTo>
                      <a:pt x="321" y="189"/>
                    </a:lnTo>
                    <a:lnTo>
                      <a:pt x="321" y="185"/>
                    </a:lnTo>
                    <a:lnTo>
                      <a:pt x="319" y="182"/>
                    </a:lnTo>
                    <a:lnTo>
                      <a:pt x="317" y="179"/>
                    </a:lnTo>
                    <a:lnTo>
                      <a:pt x="313" y="179"/>
                    </a:lnTo>
                    <a:close/>
                    <a:moveTo>
                      <a:pt x="255" y="179"/>
                    </a:moveTo>
                    <a:lnTo>
                      <a:pt x="252" y="179"/>
                    </a:lnTo>
                    <a:lnTo>
                      <a:pt x="248" y="182"/>
                    </a:lnTo>
                    <a:lnTo>
                      <a:pt x="247" y="185"/>
                    </a:lnTo>
                    <a:lnTo>
                      <a:pt x="246" y="189"/>
                    </a:lnTo>
                    <a:lnTo>
                      <a:pt x="246" y="264"/>
                    </a:lnTo>
                    <a:lnTo>
                      <a:pt x="247" y="267"/>
                    </a:lnTo>
                    <a:lnTo>
                      <a:pt x="248" y="271"/>
                    </a:lnTo>
                    <a:lnTo>
                      <a:pt x="252" y="273"/>
                    </a:lnTo>
                    <a:lnTo>
                      <a:pt x="255" y="274"/>
                    </a:lnTo>
                    <a:lnTo>
                      <a:pt x="259" y="273"/>
                    </a:lnTo>
                    <a:lnTo>
                      <a:pt x="263" y="271"/>
                    </a:lnTo>
                    <a:lnTo>
                      <a:pt x="264" y="267"/>
                    </a:lnTo>
                    <a:lnTo>
                      <a:pt x="265" y="264"/>
                    </a:lnTo>
                    <a:lnTo>
                      <a:pt x="265" y="189"/>
                    </a:lnTo>
                    <a:lnTo>
                      <a:pt x="264" y="185"/>
                    </a:lnTo>
                    <a:lnTo>
                      <a:pt x="263" y="182"/>
                    </a:lnTo>
                    <a:lnTo>
                      <a:pt x="259" y="179"/>
                    </a:lnTo>
                    <a:lnTo>
                      <a:pt x="255" y="179"/>
                    </a:lnTo>
                    <a:close/>
                    <a:moveTo>
                      <a:pt x="199" y="179"/>
                    </a:moveTo>
                    <a:lnTo>
                      <a:pt x="196" y="179"/>
                    </a:lnTo>
                    <a:lnTo>
                      <a:pt x="192" y="182"/>
                    </a:lnTo>
                    <a:lnTo>
                      <a:pt x="190" y="185"/>
                    </a:lnTo>
                    <a:lnTo>
                      <a:pt x="189" y="189"/>
                    </a:lnTo>
                    <a:lnTo>
                      <a:pt x="189" y="264"/>
                    </a:lnTo>
                    <a:lnTo>
                      <a:pt x="190" y="267"/>
                    </a:lnTo>
                    <a:lnTo>
                      <a:pt x="192" y="271"/>
                    </a:lnTo>
                    <a:lnTo>
                      <a:pt x="196" y="273"/>
                    </a:lnTo>
                    <a:lnTo>
                      <a:pt x="199" y="274"/>
                    </a:lnTo>
                    <a:lnTo>
                      <a:pt x="203" y="273"/>
                    </a:lnTo>
                    <a:lnTo>
                      <a:pt x="205" y="271"/>
                    </a:lnTo>
                    <a:lnTo>
                      <a:pt x="207" y="267"/>
                    </a:lnTo>
                    <a:lnTo>
                      <a:pt x="207" y="264"/>
                    </a:lnTo>
                    <a:lnTo>
                      <a:pt x="207" y="189"/>
                    </a:lnTo>
                    <a:lnTo>
                      <a:pt x="207" y="185"/>
                    </a:lnTo>
                    <a:lnTo>
                      <a:pt x="205" y="182"/>
                    </a:lnTo>
                    <a:lnTo>
                      <a:pt x="203" y="179"/>
                    </a:lnTo>
                    <a:lnTo>
                      <a:pt x="199" y="179"/>
                    </a:lnTo>
                    <a:close/>
                    <a:moveTo>
                      <a:pt x="142" y="179"/>
                    </a:moveTo>
                    <a:lnTo>
                      <a:pt x="138" y="179"/>
                    </a:lnTo>
                    <a:lnTo>
                      <a:pt x="135" y="182"/>
                    </a:lnTo>
                    <a:lnTo>
                      <a:pt x="133" y="185"/>
                    </a:lnTo>
                    <a:lnTo>
                      <a:pt x="132" y="189"/>
                    </a:lnTo>
                    <a:lnTo>
                      <a:pt x="132" y="264"/>
                    </a:lnTo>
                    <a:lnTo>
                      <a:pt x="133" y="267"/>
                    </a:lnTo>
                    <a:lnTo>
                      <a:pt x="135" y="271"/>
                    </a:lnTo>
                    <a:lnTo>
                      <a:pt x="138" y="273"/>
                    </a:lnTo>
                    <a:lnTo>
                      <a:pt x="142" y="274"/>
                    </a:lnTo>
                    <a:lnTo>
                      <a:pt x="145" y="273"/>
                    </a:lnTo>
                    <a:lnTo>
                      <a:pt x="149" y="271"/>
                    </a:lnTo>
                    <a:lnTo>
                      <a:pt x="150" y="267"/>
                    </a:lnTo>
                    <a:lnTo>
                      <a:pt x="151" y="264"/>
                    </a:lnTo>
                    <a:lnTo>
                      <a:pt x="151" y="189"/>
                    </a:lnTo>
                    <a:lnTo>
                      <a:pt x="150" y="185"/>
                    </a:lnTo>
                    <a:lnTo>
                      <a:pt x="149" y="182"/>
                    </a:lnTo>
                    <a:lnTo>
                      <a:pt x="145" y="179"/>
                    </a:lnTo>
                    <a:lnTo>
                      <a:pt x="142" y="179"/>
                    </a:lnTo>
                    <a:close/>
                    <a:moveTo>
                      <a:pt x="227" y="104"/>
                    </a:moveTo>
                    <a:lnTo>
                      <a:pt x="294" y="142"/>
                    </a:lnTo>
                    <a:lnTo>
                      <a:pt x="159" y="142"/>
                    </a:lnTo>
                    <a:lnTo>
                      <a:pt x="227" y="104"/>
                    </a:lnTo>
                    <a:close/>
                    <a:moveTo>
                      <a:pt x="226" y="86"/>
                    </a:moveTo>
                    <a:lnTo>
                      <a:pt x="223" y="87"/>
                    </a:lnTo>
                    <a:lnTo>
                      <a:pt x="118" y="142"/>
                    </a:lnTo>
                    <a:lnTo>
                      <a:pt x="116" y="144"/>
                    </a:lnTo>
                    <a:lnTo>
                      <a:pt x="115" y="148"/>
                    </a:lnTo>
                    <a:lnTo>
                      <a:pt x="113" y="150"/>
                    </a:lnTo>
                    <a:lnTo>
                      <a:pt x="113" y="154"/>
                    </a:lnTo>
                    <a:lnTo>
                      <a:pt x="115" y="156"/>
                    </a:lnTo>
                    <a:lnTo>
                      <a:pt x="117" y="158"/>
                    </a:lnTo>
                    <a:lnTo>
                      <a:pt x="119" y="161"/>
                    </a:lnTo>
                    <a:lnTo>
                      <a:pt x="123" y="161"/>
                    </a:lnTo>
                    <a:lnTo>
                      <a:pt x="332" y="161"/>
                    </a:lnTo>
                    <a:lnTo>
                      <a:pt x="334" y="161"/>
                    </a:lnTo>
                    <a:lnTo>
                      <a:pt x="338" y="158"/>
                    </a:lnTo>
                    <a:lnTo>
                      <a:pt x="339" y="156"/>
                    </a:lnTo>
                    <a:lnTo>
                      <a:pt x="340" y="154"/>
                    </a:lnTo>
                    <a:lnTo>
                      <a:pt x="341" y="150"/>
                    </a:lnTo>
                    <a:lnTo>
                      <a:pt x="340" y="148"/>
                    </a:lnTo>
                    <a:lnTo>
                      <a:pt x="339" y="144"/>
                    </a:lnTo>
                    <a:lnTo>
                      <a:pt x="336" y="142"/>
                    </a:lnTo>
                    <a:lnTo>
                      <a:pt x="232" y="87"/>
                    </a:lnTo>
                    <a:lnTo>
                      <a:pt x="228" y="86"/>
                    </a:lnTo>
                    <a:lnTo>
                      <a:pt x="226" y="86"/>
                    </a:lnTo>
                    <a:close/>
                    <a:moveTo>
                      <a:pt x="227" y="0"/>
                    </a:moveTo>
                    <a:lnTo>
                      <a:pt x="264" y="3"/>
                    </a:lnTo>
                    <a:lnTo>
                      <a:pt x="299" y="12"/>
                    </a:lnTo>
                    <a:lnTo>
                      <a:pt x="332" y="26"/>
                    </a:lnTo>
                    <a:lnTo>
                      <a:pt x="361" y="44"/>
                    </a:lnTo>
                    <a:lnTo>
                      <a:pt x="388" y="67"/>
                    </a:lnTo>
                    <a:lnTo>
                      <a:pt x="412" y="93"/>
                    </a:lnTo>
                    <a:lnTo>
                      <a:pt x="429" y="123"/>
                    </a:lnTo>
                    <a:lnTo>
                      <a:pt x="443" y="155"/>
                    </a:lnTo>
                    <a:lnTo>
                      <a:pt x="452" y="190"/>
                    </a:lnTo>
                    <a:lnTo>
                      <a:pt x="455" y="227"/>
                    </a:lnTo>
                    <a:lnTo>
                      <a:pt x="452" y="267"/>
                    </a:lnTo>
                    <a:lnTo>
                      <a:pt x="441" y="306"/>
                    </a:lnTo>
                    <a:lnTo>
                      <a:pt x="423" y="341"/>
                    </a:lnTo>
                    <a:lnTo>
                      <a:pt x="401" y="373"/>
                    </a:lnTo>
                    <a:lnTo>
                      <a:pt x="374" y="400"/>
                    </a:lnTo>
                    <a:lnTo>
                      <a:pt x="342" y="422"/>
                    </a:lnTo>
                    <a:lnTo>
                      <a:pt x="307" y="440"/>
                    </a:lnTo>
                    <a:lnTo>
                      <a:pt x="268" y="450"/>
                    </a:lnTo>
                    <a:lnTo>
                      <a:pt x="227" y="454"/>
                    </a:lnTo>
                    <a:lnTo>
                      <a:pt x="190" y="450"/>
                    </a:lnTo>
                    <a:lnTo>
                      <a:pt x="156" y="442"/>
                    </a:lnTo>
                    <a:lnTo>
                      <a:pt x="123" y="428"/>
                    </a:lnTo>
                    <a:lnTo>
                      <a:pt x="92" y="409"/>
                    </a:lnTo>
                    <a:lnTo>
                      <a:pt x="66" y="387"/>
                    </a:lnTo>
                    <a:lnTo>
                      <a:pt x="43" y="360"/>
                    </a:lnTo>
                    <a:lnTo>
                      <a:pt x="25" y="331"/>
                    </a:lnTo>
                    <a:lnTo>
                      <a:pt x="11" y="298"/>
                    </a:lnTo>
                    <a:lnTo>
                      <a:pt x="3" y="264"/>
                    </a:lnTo>
                    <a:lnTo>
                      <a:pt x="0" y="227"/>
                    </a:lnTo>
                    <a:lnTo>
                      <a:pt x="3" y="186"/>
                    </a:lnTo>
                    <a:lnTo>
                      <a:pt x="14" y="148"/>
                    </a:lnTo>
                    <a:lnTo>
                      <a:pt x="31" y="113"/>
                    </a:lnTo>
                    <a:lnTo>
                      <a:pt x="54" y="81"/>
                    </a:lnTo>
                    <a:lnTo>
                      <a:pt x="81" y="54"/>
                    </a:lnTo>
                    <a:lnTo>
                      <a:pt x="112" y="32"/>
                    </a:lnTo>
                    <a:lnTo>
                      <a:pt x="147" y="14"/>
                    </a:lnTo>
                    <a:lnTo>
                      <a:pt x="186" y="3"/>
                    </a:lnTo>
                    <a:lnTo>
                      <a:pt x="22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2" name="Group 141">
              <a:extLst>
                <a:ext uri="{FF2B5EF4-FFF2-40B4-BE49-F238E27FC236}">
                  <a16:creationId xmlns:a16="http://schemas.microsoft.com/office/drawing/2014/main" id="{26DA1C76-F17D-6041-8D1E-91DC7C8009BB}"/>
                </a:ext>
              </a:extLst>
            </p:cNvPr>
            <p:cNvGrpSpPr/>
            <p:nvPr/>
          </p:nvGrpSpPr>
          <p:grpSpPr>
            <a:xfrm>
              <a:off x="5734628" y="1166381"/>
              <a:ext cx="1149350" cy="1146175"/>
              <a:chOff x="5753101" y="1101726"/>
              <a:chExt cx="1149350" cy="1146175"/>
            </a:xfrm>
          </p:grpSpPr>
          <p:sp>
            <p:nvSpPr>
              <p:cNvPr id="174" name="Freeform 9">
                <a:extLst>
                  <a:ext uri="{FF2B5EF4-FFF2-40B4-BE49-F238E27FC236}">
                    <a16:creationId xmlns:a16="http://schemas.microsoft.com/office/drawing/2014/main" id="{F004F331-9DCF-5049-A62F-EB1459C16D0D}"/>
                  </a:ext>
                </a:extLst>
              </p:cNvPr>
              <p:cNvSpPr>
                <a:spLocks/>
              </p:cNvSpPr>
              <p:nvPr/>
            </p:nvSpPr>
            <p:spPr bwMode="auto">
              <a:xfrm>
                <a:off x="5753101" y="1101726"/>
                <a:ext cx="1149350" cy="1146175"/>
              </a:xfrm>
              <a:custGeom>
                <a:avLst/>
                <a:gdLst>
                  <a:gd name="T0" fmla="*/ 362 w 724"/>
                  <a:gd name="T1" fmla="*/ 0 h 722"/>
                  <a:gd name="T2" fmla="*/ 411 w 724"/>
                  <a:gd name="T3" fmla="*/ 2 h 722"/>
                  <a:gd name="T4" fmla="*/ 458 w 724"/>
                  <a:gd name="T5" fmla="*/ 13 h 722"/>
                  <a:gd name="T6" fmla="*/ 503 w 724"/>
                  <a:gd name="T7" fmla="*/ 28 h 722"/>
                  <a:gd name="T8" fmla="*/ 545 w 724"/>
                  <a:gd name="T9" fmla="*/ 49 h 722"/>
                  <a:gd name="T10" fmla="*/ 583 w 724"/>
                  <a:gd name="T11" fmla="*/ 75 h 722"/>
                  <a:gd name="T12" fmla="*/ 618 w 724"/>
                  <a:gd name="T13" fmla="*/ 106 h 722"/>
                  <a:gd name="T14" fmla="*/ 648 w 724"/>
                  <a:gd name="T15" fmla="*/ 141 h 722"/>
                  <a:gd name="T16" fmla="*/ 674 w 724"/>
                  <a:gd name="T17" fmla="*/ 178 h 722"/>
                  <a:gd name="T18" fmla="*/ 695 w 724"/>
                  <a:gd name="T19" fmla="*/ 221 h 722"/>
                  <a:gd name="T20" fmla="*/ 711 w 724"/>
                  <a:gd name="T21" fmla="*/ 265 h 722"/>
                  <a:gd name="T22" fmla="*/ 721 w 724"/>
                  <a:gd name="T23" fmla="*/ 312 h 722"/>
                  <a:gd name="T24" fmla="*/ 724 w 724"/>
                  <a:gd name="T25" fmla="*/ 361 h 722"/>
                  <a:gd name="T26" fmla="*/ 721 w 724"/>
                  <a:gd name="T27" fmla="*/ 411 h 722"/>
                  <a:gd name="T28" fmla="*/ 711 w 724"/>
                  <a:gd name="T29" fmla="*/ 457 h 722"/>
                  <a:gd name="T30" fmla="*/ 695 w 724"/>
                  <a:gd name="T31" fmla="*/ 502 h 722"/>
                  <a:gd name="T32" fmla="*/ 674 w 724"/>
                  <a:gd name="T33" fmla="*/ 543 h 722"/>
                  <a:gd name="T34" fmla="*/ 648 w 724"/>
                  <a:gd name="T35" fmla="*/ 582 h 722"/>
                  <a:gd name="T36" fmla="*/ 618 w 724"/>
                  <a:gd name="T37" fmla="*/ 617 h 722"/>
                  <a:gd name="T38" fmla="*/ 583 w 724"/>
                  <a:gd name="T39" fmla="*/ 647 h 722"/>
                  <a:gd name="T40" fmla="*/ 545 w 724"/>
                  <a:gd name="T41" fmla="*/ 673 h 722"/>
                  <a:gd name="T42" fmla="*/ 503 w 724"/>
                  <a:gd name="T43" fmla="*/ 694 h 722"/>
                  <a:gd name="T44" fmla="*/ 458 w 724"/>
                  <a:gd name="T45" fmla="*/ 710 h 722"/>
                  <a:gd name="T46" fmla="*/ 411 w 724"/>
                  <a:gd name="T47" fmla="*/ 719 h 722"/>
                  <a:gd name="T48" fmla="*/ 362 w 724"/>
                  <a:gd name="T49" fmla="*/ 722 h 722"/>
                  <a:gd name="T50" fmla="*/ 313 w 724"/>
                  <a:gd name="T51" fmla="*/ 719 h 722"/>
                  <a:gd name="T52" fmla="*/ 266 w 724"/>
                  <a:gd name="T53" fmla="*/ 710 h 722"/>
                  <a:gd name="T54" fmla="*/ 221 w 724"/>
                  <a:gd name="T55" fmla="*/ 694 h 722"/>
                  <a:gd name="T56" fmla="*/ 180 w 724"/>
                  <a:gd name="T57" fmla="*/ 673 h 722"/>
                  <a:gd name="T58" fmla="*/ 141 w 724"/>
                  <a:gd name="T59" fmla="*/ 647 h 722"/>
                  <a:gd name="T60" fmla="*/ 106 w 724"/>
                  <a:gd name="T61" fmla="*/ 617 h 722"/>
                  <a:gd name="T62" fmla="*/ 76 w 724"/>
                  <a:gd name="T63" fmla="*/ 582 h 722"/>
                  <a:gd name="T64" fmla="*/ 50 w 724"/>
                  <a:gd name="T65" fmla="*/ 543 h 722"/>
                  <a:gd name="T66" fmla="*/ 29 w 724"/>
                  <a:gd name="T67" fmla="*/ 502 h 722"/>
                  <a:gd name="T68" fmla="*/ 13 w 724"/>
                  <a:gd name="T69" fmla="*/ 457 h 722"/>
                  <a:gd name="T70" fmla="*/ 4 w 724"/>
                  <a:gd name="T71" fmla="*/ 411 h 722"/>
                  <a:gd name="T72" fmla="*/ 0 w 724"/>
                  <a:gd name="T73" fmla="*/ 361 h 722"/>
                  <a:gd name="T74" fmla="*/ 4 w 724"/>
                  <a:gd name="T75" fmla="*/ 312 h 722"/>
                  <a:gd name="T76" fmla="*/ 13 w 724"/>
                  <a:gd name="T77" fmla="*/ 265 h 722"/>
                  <a:gd name="T78" fmla="*/ 29 w 724"/>
                  <a:gd name="T79" fmla="*/ 221 h 722"/>
                  <a:gd name="T80" fmla="*/ 50 w 724"/>
                  <a:gd name="T81" fmla="*/ 178 h 722"/>
                  <a:gd name="T82" fmla="*/ 76 w 724"/>
                  <a:gd name="T83" fmla="*/ 141 h 722"/>
                  <a:gd name="T84" fmla="*/ 106 w 724"/>
                  <a:gd name="T85" fmla="*/ 106 h 722"/>
                  <a:gd name="T86" fmla="*/ 141 w 724"/>
                  <a:gd name="T87" fmla="*/ 75 h 722"/>
                  <a:gd name="T88" fmla="*/ 180 w 724"/>
                  <a:gd name="T89" fmla="*/ 49 h 722"/>
                  <a:gd name="T90" fmla="*/ 221 w 724"/>
                  <a:gd name="T91" fmla="*/ 28 h 722"/>
                  <a:gd name="T92" fmla="*/ 266 w 724"/>
                  <a:gd name="T93" fmla="*/ 13 h 722"/>
                  <a:gd name="T94" fmla="*/ 313 w 724"/>
                  <a:gd name="T95" fmla="*/ 2 h 722"/>
                  <a:gd name="T96" fmla="*/ 362 w 724"/>
                  <a:gd name="T9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4" h="722">
                    <a:moveTo>
                      <a:pt x="362" y="0"/>
                    </a:moveTo>
                    <a:lnTo>
                      <a:pt x="411" y="2"/>
                    </a:lnTo>
                    <a:lnTo>
                      <a:pt x="458" y="13"/>
                    </a:lnTo>
                    <a:lnTo>
                      <a:pt x="503" y="28"/>
                    </a:lnTo>
                    <a:lnTo>
                      <a:pt x="545" y="49"/>
                    </a:lnTo>
                    <a:lnTo>
                      <a:pt x="583" y="75"/>
                    </a:lnTo>
                    <a:lnTo>
                      <a:pt x="618" y="106"/>
                    </a:lnTo>
                    <a:lnTo>
                      <a:pt x="648" y="141"/>
                    </a:lnTo>
                    <a:lnTo>
                      <a:pt x="674" y="178"/>
                    </a:lnTo>
                    <a:lnTo>
                      <a:pt x="695" y="221"/>
                    </a:lnTo>
                    <a:lnTo>
                      <a:pt x="711" y="265"/>
                    </a:lnTo>
                    <a:lnTo>
                      <a:pt x="721" y="312"/>
                    </a:lnTo>
                    <a:lnTo>
                      <a:pt x="724" y="361"/>
                    </a:lnTo>
                    <a:lnTo>
                      <a:pt x="721" y="411"/>
                    </a:lnTo>
                    <a:lnTo>
                      <a:pt x="711" y="457"/>
                    </a:lnTo>
                    <a:lnTo>
                      <a:pt x="695" y="502"/>
                    </a:lnTo>
                    <a:lnTo>
                      <a:pt x="674" y="543"/>
                    </a:lnTo>
                    <a:lnTo>
                      <a:pt x="648" y="582"/>
                    </a:lnTo>
                    <a:lnTo>
                      <a:pt x="618" y="617"/>
                    </a:lnTo>
                    <a:lnTo>
                      <a:pt x="583" y="647"/>
                    </a:lnTo>
                    <a:lnTo>
                      <a:pt x="545" y="673"/>
                    </a:lnTo>
                    <a:lnTo>
                      <a:pt x="503" y="694"/>
                    </a:lnTo>
                    <a:lnTo>
                      <a:pt x="458" y="710"/>
                    </a:lnTo>
                    <a:lnTo>
                      <a:pt x="411" y="719"/>
                    </a:lnTo>
                    <a:lnTo>
                      <a:pt x="362" y="722"/>
                    </a:lnTo>
                    <a:lnTo>
                      <a:pt x="313" y="719"/>
                    </a:lnTo>
                    <a:lnTo>
                      <a:pt x="266" y="710"/>
                    </a:lnTo>
                    <a:lnTo>
                      <a:pt x="221" y="694"/>
                    </a:lnTo>
                    <a:lnTo>
                      <a:pt x="180" y="673"/>
                    </a:lnTo>
                    <a:lnTo>
                      <a:pt x="141" y="647"/>
                    </a:lnTo>
                    <a:lnTo>
                      <a:pt x="106" y="617"/>
                    </a:lnTo>
                    <a:lnTo>
                      <a:pt x="76" y="582"/>
                    </a:lnTo>
                    <a:lnTo>
                      <a:pt x="50" y="543"/>
                    </a:lnTo>
                    <a:lnTo>
                      <a:pt x="29" y="502"/>
                    </a:lnTo>
                    <a:lnTo>
                      <a:pt x="13" y="457"/>
                    </a:lnTo>
                    <a:lnTo>
                      <a:pt x="4" y="411"/>
                    </a:lnTo>
                    <a:lnTo>
                      <a:pt x="0" y="361"/>
                    </a:lnTo>
                    <a:lnTo>
                      <a:pt x="4" y="312"/>
                    </a:lnTo>
                    <a:lnTo>
                      <a:pt x="13" y="265"/>
                    </a:lnTo>
                    <a:lnTo>
                      <a:pt x="29" y="221"/>
                    </a:lnTo>
                    <a:lnTo>
                      <a:pt x="50" y="178"/>
                    </a:lnTo>
                    <a:lnTo>
                      <a:pt x="76" y="141"/>
                    </a:lnTo>
                    <a:lnTo>
                      <a:pt x="106" y="106"/>
                    </a:lnTo>
                    <a:lnTo>
                      <a:pt x="141" y="75"/>
                    </a:lnTo>
                    <a:lnTo>
                      <a:pt x="180" y="49"/>
                    </a:lnTo>
                    <a:lnTo>
                      <a:pt x="221" y="28"/>
                    </a:lnTo>
                    <a:lnTo>
                      <a:pt x="266" y="13"/>
                    </a:lnTo>
                    <a:lnTo>
                      <a:pt x="313" y="2"/>
                    </a:lnTo>
                    <a:lnTo>
                      <a:pt x="36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17">
                <a:extLst>
                  <a:ext uri="{FF2B5EF4-FFF2-40B4-BE49-F238E27FC236}">
                    <a16:creationId xmlns:a16="http://schemas.microsoft.com/office/drawing/2014/main" id="{9188B3F4-4CD7-124F-86B0-7EADCF7E9DD7}"/>
                  </a:ext>
                </a:extLst>
              </p:cNvPr>
              <p:cNvSpPr>
                <a:spLocks noEditPoints="1"/>
              </p:cNvSpPr>
              <p:nvPr/>
            </p:nvSpPr>
            <p:spPr bwMode="auto">
              <a:xfrm>
                <a:off x="5962016" y="1309053"/>
                <a:ext cx="731520" cy="731520"/>
              </a:xfrm>
              <a:custGeom>
                <a:avLst/>
                <a:gdLst>
                  <a:gd name="T0" fmla="*/ 347 w 450"/>
                  <a:gd name="T1" fmla="*/ 141 h 450"/>
                  <a:gd name="T2" fmla="*/ 300 w 450"/>
                  <a:gd name="T3" fmla="*/ 310 h 450"/>
                  <a:gd name="T4" fmla="*/ 103 w 450"/>
                  <a:gd name="T5" fmla="*/ 141 h 450"/>
                  <a:gd name="T6" fmla="*/ 140 w 450"/>
                  <a:gd name="T7" fmla="*/ 310 h 450"/>
                  <a:gd name="T8" fmla="*/ 103 w 450"/>
                  <a:gd name="T9" fmla="*/ 141 h 450"/>
                  <a:gd name="T10" fmla="*/ 281 w 450"/>
                  <a:gd name="T11" fmla="*/ 141 h 450"/>
                  <a:gd name="T12" fmla="*/ 159 w 450"/>
                  <a:gd name="T13" fmla="*/ 310 h 450"/>
                  <a:gd name="T14" fmla="*/ 197 w 450"/>
                  <a:gd name="T15" fmla="*/ 103 h 450"/>
                  <a:gd name="T16" fmla="*/ 253 w 450"/>
                  <a:gd name="T17" fmla="*/ 121 h 450"/>
                  <a:gd name="T18" fmla="*/ 197 w 450"/>
                  <a:gd name="T19" fmla="*/ 103 h 450"/>
                  <a:gd name="T20" fmla="*/ 184 w 450"/>
                  <a:gd name="T21" fmla="*/ 85 h 450"/>
                  <a:gd name="T22" fmla="*/ 178 w 450"/>
                  <a:gd name="T23" fmla="*/ 89 h 450"/>
                  <a:gd name="T24" fmla="*/ 178 w 450"/>
                  <a:gd name="T25" fmla="*/ 121 h 450"/>
                  <a:gd name="T26" fmla="*/ 90 w 450"/>
                  <a:gd name="T27" fmla="*/ 122 h 450"/>
                  <a:gd name="T28" fmla="*/ 85 w 450"/>
                  <a:gd name="T29" fmla="*/ 127 h 450"/>
                  <a:gd name="T30" fmla="*/ 84 w 450"/>
                  <a:gd name="T31" fmla="*/ 318 h 450"/>
                  <a:gd name="T32" fmla="*/ 86 w 450"/>
                  <a:gd name="T33" fmla="*/ 325 h 450"/>
                  <a:gd name="T34" fmla="*/ 93 w 450"/>
                  <a:gd name="T35" fmla="*/ 328 h 450"/>
                  <a:gd name="T36" fmla="*/ 360 w 450"/>
                  <a:gd name="T37" fmla="*/ 327 h 450"/>
                  <a:gd name="T38" fmla="*/ 366 w 450"/>
                  <a:gd name="T39" fmla="*/ 323 h 450"/>
                  <a:gd name="T40" fmla="*/ 366 w 450"/>
                  <a:gd name="T41" fmla="*/ 131 h 450"/>
                  <a:gd name="T42" fmla="*/ 364 w 450"/>
                  <a:gd name="T43" fmla="*/ 124 h 450"/>
                  <a:gd name="T44" fmla="*/ 356 w 450"/>
                  <a:gd name="T45" fmla="*/ 121 h 450"/>
                  <a:gd name="T46" fmla="*/ 272 w 450"/>
                  <a:gd name="T47" fmla="*/ 93 h 450"/>
                  <a:gd name="T48" fmla="*/ 268 w 450"/>
                  <a:gd name="T49" fmla="*/ 87 h 450"/>
                  <a:gd name="T50" fmla="*/ 263 w 450"/>
                  <a:gd name="T51" fmla="*/ 85 h 450"/>
                  <a:gd name="T52" fmla="*/ 225 w 450"/>
                  <a:gd name="T53" fmla="*/ 0 h 450"/>
                  <a:gd name="T54" fmla="*/ 304 w 450"/>
                  <a:gd name="T55" fmla="*/ 14 h 450"/>
                  <a:gd name="T56" fmla="*/ 371 w 450"/>
                  <a:gd name="T57" fmla="*/ 53 h 450"/>
                  <a:gd name="T58" fmla="*/ 420 w 450"/>
                  <a:gd name="T59" fmla="*/ 112 h 450"/>
                  <a:gd name="T60" fmla="*/ 447 w 450"/>
                  <a:gd name="T61" fmla="*/ 184 h 450"/>
                  <a:gd name="T62" fmla="*/ 447 w 450"/>
                  <a:gd name="T63" fmla="*/ 265 h 450"/>
                  <a:gd name="T64" fmla="*/ 420 w 450"/>
                  <a:gd name="T65" fmla="*/ 339 h 450"/>
                  <a:gd name="T66" fmla="*/ 371 w 450"/>
                  <a:gd name="T67" fmla="*/ 398 h 450"/>
                  <a:gd name="T68" fmla="*/ 304 w 450"/>
                  <a:gd name="T69" fmla="*/ 436 h 450"/>
                  <a:gd name="T70" fmla="*/ 225 w 450"/>
                  <a:gd name="T71" fmla="*/ 450 h 450"/>
                  <a:gd name="T72" fmla="*/ 146 w 450"/>
                  <a:gd name="T73" fmla="*/ 436 h 450"/>
                  <a:gd name="T74" fmla="*/ 79 w 450"/>
                  <a:gd name="T75" fmla="*/ 398 h 450"/>
                  <a:gd name="T76" fmla="*/ 30 w 450"/>
                  <a:gd name="T77" fmla="*/ 339 h 450"/>
                  <a:gd name="T78" fmla="*/ 3 w 450"/>
                  <a:gd name="T79" fmla="*/ 265 h 450"/>
                  <a:gd name="T80" fmla="*/ 3 w 450"/>
                  <a:gd name="T81" fmla="*/ 184 h 450"/>
                  <a:gd name="T82" fmla="*/ 30 w 450"/>
                  <a:gd name="T83" fmla="*/ 112 h 450"/>
                  <a:gd name="T84" fmla="*/ 79 w 450"/>
                  <a:gd name="T85" fmla="*/ 53 h 450"/>
                  <a:gd name="T86" fmla="*/ 146 w 450"/>
                  <a:gd name="T87" fmla="*/ 14 h 450"/>
                  <a:gd name="T88" fmla="*/ 225 w 450"/>
                  <a:gd name="T89"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0" h="450">
                    <a:moveTo>
                      <a:pt x="300" y="141"/>
                    </a:moveTo>
                    <a:lnTo>
                      <a:pt x="347" y="141"/>
                    </a:lnTo>
                    <a:lnTo>
                      <a:pt x="347" y="310"/>
                    </a:lnTo>
                    <a:lnTo>
                      <a:pt x="300" y="310"/>
                    </a:lnTo>
                    <a:lnTo>
                      <a:pt x="300" y="141"/>
                    </a:lnTo>
                    <a:close/>
                    <a:moveTo>
                      <a:pt x="103" y="141"/>
                    </a:moveTo>
                    <a:lnTo>
                      <a:pt x="140" y="141"/>
                    </a:lnTo>
                    <a:lnTo>
                      <a:pt x="140" y="310"/>
                    </a:lnTo>
                    <a:lnTo>
                      <a:pt x="103" y="310"/>
                    </a:lnTo>
                    <a:lnTo>
                      <a:pt x="103" y="141"/>
                    </a:lnTo>
                    <a:close/>
                    <a:moveTo>
                      <a:pt x="159" y="141"/>
                    </a:moveTo>
                    <a:lnTo>
                      <a:pt x="281" y="141"/>
                    </a:lnTo>
                    <a:lnTo>
                      <a:pt x="281" y="310"/>
                    </a:lnTo>
                    <a:lnTo>
                      <a:pt x="159" y="310"/>
                    </a:lnTo>
                    <a:lnTo>
                      <a:pt x="159" y="141"/>
                    </a:lnTo>
                    <a:close/>
                    <a:moveTo>
                      <a:pt x="197" y="103"/>
                    </a:moveTo>
                    <a:lnTo>
                      <a:pt x="253" y="103"/>
                    </a:lnTo>
                    <a:lnTo>
                      <a:pt x="253" y="121"/>
                    </a:lnTo>
                    <a:lnTo>
                      <a:pt x="197" y="121"/>
                    </a:lnTo>
                    <a:lnTo>
                      <a:pt x="197" y="103"/>
                    </a:lnTo>
                    <a:close/>
                    <a:moveTo>
                      <a:pt x="187" y="85"/>
                    </a:moveTo>
                    <a:lnTo>
                      <a:pt x="184" y="85"/>
                    </a:lnTo>
                    <a:lnTo>
                      <a:pt x="180" y="87"/>
                    </a:lnTo>
                    <a:lnTo>
                      <a:pt x="178" y="89"/>
                    </a:lnTo>
                    <a:lnTo>
                      <a:pt x="178" y="93"/>
                    </a:lnTo>
                    <a:lnTo>
                      <a:pt x="178" y="121"/>
                    </a:lnTo>
                    <a:lnTo>
                      <a:pt x="93" y="121"/>
                    </a:lnTo>
                    <a:lnTo>
                      <a:pt x="90" y="122"/>
                    </a:lnTo>
                    <a:lnTo>
                      <a:pt x="86" y="124"/>
                    </a:lnTo>
                    <a:lnTo>
                      <a:pt x="85" y="127"/>
                    </a:lnTo>
                    <a:lnTo>
                      <a:pt x="84" y="131"/>
                    </a:lnTo>
                    <a:lnTo>
                      <a:pt x="84" y="318"/>
                    </a:lnTo>
                    <a:lnTo>
                      <a:pt x="85" y="323"/>
                    </a:lnTo>
                    <a:lnTo>
                      <a:pt x="86" y="325"/>
                    </a:lnTo>
                    <a:lnTo>
                      <a:pt x="90" y="327"/>
                    </a:lnTo>
                    <a:lnTo>
                      <a:pt x="93" y="328"/>
                    </a:lnTo>
                    <a:lnTo>
                      <a:pt x="356" y="328"/>
                    </a:lnTo>
                    <a:lnTo>
                      <a:pt x="360" y="327"/>
                    </a:lnTo>
                    <a:lnTo>
                      <a:pt x="364" y="325"/>
                    </a:lnTo>
                    <a:lnTo>
                      <a:pt x="366" y="323"/>
                    </a:lnTo>
                    <a:lnTo>
                      <a:pt x="366" y="318"/>
                    </a:lnTo>
                    <a:lnTo>
                      <a:pt x="366" y="131"/>
                    </a:lnTo>
                    <a:lnTo>
                      <a:pt x="366" y="127"/>
                    </a:lnTo>
                    <a:lnTo>
                      <a:pt x="364" y="124"/>
                    </a:lnTo>
                    <a:lnTo>
                      <a:pt x="360" y="122"/>
                    </a:lnTo>
                    <a:lnTo>
                      <a:pt x="356" y="121"/>
                    </a:lnTo>
                    <a:lnTo>
                      <a:pt x="272" y="121"/>
                    </a:lnTo>
                    <a:lnTo>
                      <a:pt x="272" y="93"/>
                    </a:lnTo>
                    <a:lnTo>
                      <a:pt x="271" y="89"/>
                    </a:lnTo>
                    <a:lnTo>
                      <a:pt x="268" y="87"/>
                    </a:lnTo>
                    <a:lnTo>
                      <a:pt x="266" y="85"/>
                    </a:lnTo>
                    <a:lnTo>
                      <a:pt x="263" y="85"/>
                    </a:lnTo>
                    <a:lnTo>
                      <a:pt x="187" y="85"/>
                    </a:lnTo>
                    <a:close/>
                    <a:moveTo>
                      <a:pt x="225" y="0"/>
                    </a:moveTo>
                    <a:lnTo>
                      <a:pt x="266" y="4"/>
                    </a:lnTo>
                    <a:lnTo>
                      <a:pt x="304" y="14"/>
                    </a:lnTo>
                    <a:lnTo>
                      <a:pt x="339" y="31"/>
                    </a:lnTo>
                    <a:lnTo>
                      <a:pt x="371" y="53"/>
                    </a:lnTo>
                    <a:lnTo>
                      <a:pt x="398" y="80"/>
                    </a:lnTo>
                    <a:lnTo>
                      <a:pt x="420" y="112"/>
                    </a:lnTo>
                    <a:lnTo>
                      <a:pt x="436" y="147"/>
                    </a:lnTo>
                    <a:lnTo>
                      <a:pt x="447" y="184"/>
                    </a:lnTo>
                    <a:lnTo>
                      <a:pt x="450" y="225"/>
                    </a:lnTo>
                    <a:lnTo>
                      <a:pt x="447" y="265"/>
                    </a:lnTo>
                    <a:lnTo>
                      <a:pt x="436" y="304"/>
                    </a:lnTo>
                    <a:lnTo>
                      <a:pt x="420" y="339"/>
                    </a:lnTo>
                    <a:lnTo>
                      <a:pt x="398" y="370"/>
                    </a:lnTo>
                    <a:lnTo>
                      <a:pt x="371" y="398"/>
                    </a:lnTo>
                    <a:lnTo>
                      <a:pt x="339" y="419"/>
                    </a:lnTo>
                    <a:lnTo>
                      <a:pt x="304" y="436"/>
                    </a:lnTo>
                    <a:lnTo>
                      <a:pt x="266" y="447"/>
                    </a:lnTo>
                    <a:lnTo>
                      <a:pt x="225" y="450"/>
                    </a:lnTo>
                    <a:lnTo>
                      <a:pt x="185" y="447"/>
                    </a:lnTo>
                    <a:lnTo>
                      <a:pt x="146" y="436"/>
                    </a:lnTo>
                    <a:lnTo>
                      <a:pt x="111" y="419"/>
                    </a:lnTo>
                    <a:lnTo>
                      <a:pt x="79" y="398"/>
                    </a:lnTo>
                    <a:lnTo>
                      <a:pt x="52" y="370"/>
                    </a:lnTo>
                    <a:lnTo>
                      <a:pt x="30" y="339"/>
                    </a:lnTo>
                    <a:lnTo>
                      <a:pt x="14" y="304"/>
                    </a:lnTo>
                    <a:lnTo>
                      <a:pt x="3" y="265"/>
                    </a:lnTo>
                    <a:lnTo>
                      <a:pt x="0" y="225"/>
                    </a:lnTo>
                    <a:lnTo>
                      <a:pt x="3" y="184"/>
                    </a:lnTo>
                    <a:lnTo>
                      <a:pt x="14" y="147"/>
                    </a:lnTo>
                    <a:lnTo>
                      <a:pt x="30" y="112"/>
                    </a:lnTo>
                    <a:lnTo>
                      <a:pt x="52" y="80"/>
                    </a:lnTo>
                    <a:lnTo>
                      <a:pt x="79" y="53"/>
                    </a:lnTo>
                    <a:lnTo>
                      <a:pt x="111" y="31"/>
                    </a:lnTo>
                    <a:lnTo>
                      <a:pt x="146" y="14"/>
                    </a:lnTo>
                    <a:lnTo>
                      <a:pt x="185" y="4"/>
                    </a:lnTo>
                    <a:lnTo>
                      <a:pt x="22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3" name="Group 142">
              <a:extLst>
                <a:ext uri="{FF2B5EF4-FFF2-40B4-BE49-F238E27FC236}">
                  <a16:creationId xmlns:a16="http://schemas.microsoft.com/office/drawing/2014/main" id="{26B02FD9-37EE-994E-ADD5-437F98108877}"/>
                </a:ext>
              </a:extLst>
            </p:cNvPr>
            <p:cNvGrpSpPr/>
            <p:nvPr/>
          </p:nvGrpSpPr>
          <p:grpSpPr>
            <a:xfrm>
              <a:off x="6460115" y="2838883"/>
              <a:ext cx="1147763" cy="1147763"/>
              <a:chOff x="6478588" y="2801938"/>
              <a:chExt cx="1147763" cy="1147763"/>
            </a:xfrm>
          </p:grpSpPr>
          <p:sp>
            <p:nvSpPr>
              <p:cNvPr id="167" name="Freeform 10">
                <a:extLst>
                  <a:ext uri="{FF2B5EF4-FFF2-40B4-BE49-F238E27FC236}">
                    <a16:creationId xmlns:a16="http://schemas.microsoft.com/office/drawing/2014/main" id="{E71C569E-BE88-4546-BA64-F659D9F32CE9}"/>
                  </a:ext>
                </a:extLst>
              </p:cNvPr>
              <p:cNvSpPr>
                <a:spLocks/>
              </p:cNvSpPr>
              <p:nvPr/>
            </p:nvSpPr>
            <p:spPr bwMode="auto">
              <a:xfrm>
                <a:off x="6478588" y="2801938"/>
                <a:ext cx="1147763" cy="1147763"/>
              </a:xfrm>
              <a:custGeom>
                <a:avLst/>
                <a:gdLst>
                  <a:gd name="T0" fmla="*/ 362 w 723"/>
                  <a:gd name="T1" fmla="*/ 0 h 723"/>
                  <a:gd name="T2" fmla="*/ 411 w 723"/>
                  <a:gd name="T3" fmla="*/ 3 h 723"/>
                  <a:gd name="T4" fmla="*/ 458 w 723"/>
                  <a:gd name="T5" fmla="*/ 13 h 723"/>
                  <a:gd name="T6" fmla="*/ 503 w 723"/>
                  <a:gd name="T7" fmla="*/ 29 h 723"/>
                  <a:gd name="T8" fmla="*/ 544 w 723"/>
                  <a:gd name="T9" fmla="*/ 49 h 723"/>
                  <a:gd name="T10" fmla="*/ 582 w 723"/>
                  <a:gd name="T11" fmla="*/ 76 h 723"/>
                  <a:gd name="T12" fmla="*/ 618 w 723"/>
                  <a:gd name="T13" fmla="*/ 107 h 723"/>
                  <a:gd name="T14" fmla="*/ 648 w 723"/>
                  <a:gd name="T15" fmla="*/ 141 h 723"/>
                  <a:gd name="T16" fmla="*/ 674 w 723"/>
                  <a:gd name="T17" fmla="*/ 179 h 723"/>
                  <a:gd name="T18" fmla="*/ 695 w 723"/>
                  <a:gd name="T19" fmla="*/ 220 h 723"/>
                  <a:gd name="T20" fmla="*/ 710 w 723"/>
                  <a:gd name="T21" fmla="*/ 266 h 723"/>
                  <a:gd name="T22" fmla="*/ 720 w 723"/>
                  <a:gd name="T23" fmla="*/ 313 h 723"/>
                  <a:gd name="T24" fmla="*/ 723 w 723"/>
                  <a:gd name="T25" fmla="*/ 361 h 723"/>
                  <a:gd name="T26" fmla="*/ 720 w 723"/>
                  <a:gd name="T27" fmla="*/ 410 h 723"/>
                  <a:gd name="T28" fmla="*/ 710 w 723"/>
                  <a:gd name="T29" fmla="*/ 457 h 723"/>
                  <a:gd name="T30" fmla="*/ 695 w 723"/>
                  <a:gd name="T31" fmla="*/ 502 h 723"/>
                  <a:gd name="T32" fmla="*/ 674 w 723"/>
                  <a:gd name="T33" fmla="*/ 544 h 723"/>
                  <a:gd name="T34" fmla="*/ 648 w 723"/>
                  <a:gd name="T35" fmla="*/ 583 h 723"/>
                  <a:gd name="T36" fmla="*/ 618 w 723"/>
                  <a:gd name="T37" fmla="*/ 617 h 723"/>
                  <a:gd name="T38" fmla="*/ 582 w 723"/>
                  <a:gd name="T39" fmla="*/ 647 h 723"/>
                  <a:gd name="T40" fmla="*/ 544 w 723"/>
                  <a:gd name="T41" fmla="*/ 673 h 723"/>
                  <a:gd name="T42" fmla="*/ 503 w 723"/>
                  <a:gd name="T43" fmla="*/ 694 h 723"/>
                  <a:gd name="T44" fmla="*/ 458 w 723"/>
                  <a:gd name="T45" fmla="*/ 710 h 723"/>
                  <a:gd name="T46" fmla="*/ 411 w 723"/>
                  <a:gd name="T47" fmla="*/ 720 h 723"/>
                  <a:gd name="T48" fmla="*/ 362 w 723"/>
                  <a:gd name="T49" fmla="*/ 723 h 723"/>
                  <a:gd name="T50" fmla="*/ 312 w 723"/>
                  <a:gd name="T51" fmla="*/ 720 h 723"/>
                  <a:gd name="T52" fmla="*/ 265 w 723"/>
                  <a:gd name="T53" fmla="*/ 710 h 723"/>
                  <a:gd name="T54" fmla="*/ 221 w 723"/>
                  <a:gd name="T55" fmla="*/ 694 h 723"/>
                  <a:gd name="T56" fmla="*/ 179 w 723"/>
                  <a:gd name="T57" fmla="*/ 673 h 723"/>
                  <a:gd name="T58" fmla="*/ 141 w 723"/>
                  <a:gd name="T59" fmla="*/ 647 h 723"/>
                  <a:gd name="T60" fmla="*/ 106 w 723"/>
                  <a:gd name="T61" fmla="*/ 617 h 723"/>
                  <a:gd name="T62" fmla="*/ 75 w 723"/>
                  <a:gd name="T63" fmla="*/ 583 h 723"/>
                  <a:gd name="T64" fmla="*/ 49 w 723"/>
                  <a:gd name="T65" fmla="*/ 544 h 723"/>
                  <a:gd name="T66" fmla="*/ 28 w 723"/>
                  <a:gd name="T67" fmla="*/ 502 h 723"/>
                  <a:gd name="T68" fmla="*/ 13 w 723"/>
                  <a:gd name="T69" fmla="*/ 457 h 723"/>
                  <a:gd name="T70" fmla="*/ 4 w 723"/>
                  <a:gd name="T71" fmla="*/ 410 h 723"/>
                  <a:gd name="T72" fmla="*/ 0 w 723"/>
                  <a:gd name="T73" fmla="*/ 361 h 723"/>
                  <a:gd name="T74" fmla="*/ 4 w 723"/>
                  <a:gd name="T75" fmla="*/ 313 h 723"/>
                  <a:gd name="T76" fmla="*/ 13 w 723"/>
                  <a:gd name="T77" fmla="*/ 266 h 723"/>
                  <a:gd name="T78" fmla="*/ 28 w 723"/>
                  <a:gd name="T79" fmla="*/ 220 h 723"/>
                  <a:gd name="T80" fmla="*/ 49 w 723"/>
                  <a:gd name="T81" fmla="*/ 179 h 723"/>
                  <a:gd name="T82" fmla="*/ 75 w 723"/>
                  <a:gd name="T83" fmla="*/ 141 h 723"/>
                  <a:gd name="T84" fmla="*/ 106 w 723"/>
                  <a:gd name="T85" fmla="*/ 107 h 723"/>
                  <a:gd name="T86" fmla="*/ 141 w 723"/>
                  <a:gd name="T87" fmla="*/ 76 h 723"/>
                  <a:gd name="T88" fmla="*/ 179 w 723"/>
                  <a:gd name="T89" fmla="*/ 49 h 723"/>
                  <a:gd name="T90" fmla="*/ 221 w 723"/>
                  <a:gd name="T91" fmla="*/ 29 h 723"/>
                  <a:gd name="T92" fmla="*/ 265 w 723"/>
                  <a:gd name="T93" fmla="*/ 13 h 723"/>
                  <a:gd name="T94" fmla="*/ 312 w 723"/>
                  <a:gd name="T95" fmla="*/ 3 h 723"/>
                  <a:gd name="T96" fmla="*/ 362 w 723"/>
                  <a:gd name="T97" fmla="*/ 0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3" h="723">
                    <a:moveTo>
                      <a:pt x="362" y="0"/>
                    </a:moveTo>
                    <a:lnTo>
                      <a:pt x="411" y="3"/>
                    </a:lnTo>
                    <a:lnTo>
                      <a:pt x="458" y="13"/>
                    </a:lnTo>
                    <a:lnTo>
                      <a:pt x="503" y="29"/>
                    </a:lnTo>
                    <a:lnTo>
                      <a:pt x="544" y="49"/>
                    </a:lnTo>
                    <a:lnTo>
                      <a:pt x="582" y="76"/>
                    </a:lnTo>
                    <a:lnTo>
                      <a:pt x="618" y="107"/>
                    </a:lnTo>
                    <a:lnTo>
                      <a:pt x="648" y="141"/>
                    </a:lnTo>
                    <a:lnTo>
                      <a:pt x="674" y="179"/>
                    </a:lnTo>
                    <a:lnTo>
                      <a:pt x="695" y="220"/>
                    </a:lnTo>
                    <a:lnTo>
                      <a:pt x="710" y="266"/>
                    </a:lnTo>
                    <a:lnTo>
                      <a:pt x="720" y="313"/>
                    </a:lnTo>
                    <a:lnTo>
                      <a:pt x="723" y="361"/>
                    </a:lnTo>
                    <a:lnTo>
                      <a:pt x="720" y="410"/>
                    </a:lnTo>
                    <a:lnTo>
                      <a:pt x="710" y="457"/>
                    </a:lnTo>
                    <a:lnTo>
                      <a:pt x="695" y="502"/>
                    </a:lnTo>
                    <a:lnTo>
                      <a:pt x="674" y="544"/>
                    </a:lnTo>
                    <a:lnTo>
                      <a:pt x="648" y="583"/>
                    </a:lnTo>
                    <a:lnTo>
                      <a:pt x="618" y="617"/>
                    </a:lnTo>
                    <a:lnTo>
                      <a:pt x="582" y="647"/>
                    </a:lnTo>
                    <a:lnTo>
                      <a:pt x="544" y="673"/>
                    </a:lnTo>
                    <a:lnTo>
                      <a:pt x="503" y="694"/>
                    </a:lnTo>
                    <a:lnTo>
                      <a:pt x="458" y="710"/>
                    </a:lnTo>
                    <a:lnTo>
                      <a:pt x="411" y="720"/>
                    </a:lnTo>
                    <a:lnTo>
                      <a:pt x="362" y="723"/>
                    </a:lnTo>
                    <a:lnTo>
                      <a:pt x="312" y="720"/>
                    </a:lnTo>
                    <a:lnTo>
                      <a:pt x="265" y="710"/>
                    </a:lnTo>
                    <a:lnTo>
                      <a:pt x="221" y="694"/>
                    </a:lnTo>
                    <a:lnTo>
                      <a:pt x="179" y="673"/>
                    </a:lnTo>
                    <a:lnTo>
                      <a:pt x="141" y="647"/>
                    </a:lnTo>
                    <a:lnTo>
                      <a:pt x="106" y="617"/>
                    </a:lnTo>
                    <a:lnTo>
                      <a:pt x="75" y="583"/>
                    </a:lnTo>
                    <a:lnTo>
                      <a:pt x="49" y="544"/>
                    </a:lnTo>
                    <a:lnTo>
                      <a:pt x="28" y="502"/>
                    </a:lnTo>
                    <a:lnTo>
                      <a:pt x="13" y="457"/>
                    </a:lnTo>
                    <a:lnTo>
                      <a:pt x="4" y="410"/>
                    </a:lnTo>
                    <a:lnTo>
                      <a:pt x="0" y="361"/>
                    </a:lnTo>
                    <a:lnTo>
                      <a:pt x="4" y="313"/>
                    </a:lnTo>
                    <a:lnTo>
                      <a:pt x="13" y="266"/>
                    </a:lnTo>
                    <a:lnTo>
                      <a:pt x="28" y="220"/>
                    </a:lnTo>
                    <a:lnTo>
                      <a:pt x="49" y="179"/>
                    </a:lnTo>
                    <a:lnTo>
                      <a:pt x="75" y="141"/>
                    </a:lnTo>
                    <a:lnTo>
                      <a:pt x="106" y="107"/>
                    </a:lnTo>
                    <a:lnTo>
                      <a:pt x="141" y="76"/>
                    </a:lnTo>
                    <a:lnTo>
                      <a:pt x="179" y="49"/>
                    </a:lnTo>
                    <a:lnTo>
                      <a:pt x="221" y="29"/>
                    </a:lnTo>
                    <a:lnTo>
                      <a:pt x="265" y="13"/>
                    </a:lnTo>
                    <a:lnTo>
                      <a:pt x="312" y="3"/>
                    </a:lnTo>
                    <a:lnTo>
                      <a:pt x="36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68" name="Group 167">
                <a:extLst>
                  <a:ext uri="{FF2B5EF4-FFF2-40B4-BE49-F238E27FC236}">
                    <a16:creationId xmlns:a16="http://schemas.microsoft.com/office/drawing/2014/main" id="{477B002A-79F1-F845-8074-348EA77CC75A}"/>
                  </a:ext>
                </a:extLst>
              </p:cNvPr>
              <p:cNvGrpSpPr/>
              <p:nvPr/>
            </p:nvGrpSpPr>
            <p:grpSpPr>
              <a:xfrm>
                <a:off x="6668405" y="3015860"/>
                <a:ext cx="768129" cy="719918"/>
                <a:chOff x="6748463" y="3128963"/>
                <a:chExt cx="657199" cy="615951"/>
              </a:xfrm>
            </p:grpSpPr>
            <p:sp>
              <p:nvSpPr>
                <p:cNvPr id="169" name="Freeform 18">
                  <a:extLst>
                    <a:ext uri="{FF2B5EF4-FFF2-40B4-BE49-F238E27FC236}">
                      <a16:creationId xmlns:a16="http://schemas.microsoft.com/office/drawing/2014/main" id="{5EBA397A-FCE6-2B44-8517-7FE6AB60E428}"/>
                    </a:ext>
                  </a:extLst>
                </p:cNvPr>
                <p:cNvSpPr>
                  <a:spLocks noEditPoints="1"/>
                </p:cNvSpPr>
                <p:nvPr/>
              </p:nvSpPr>
              <p:spPr bwMode="auto">
                <a:xfrm>
                  <a:off x="6748463" y="3133726"/>
                  <a:ext cx="327025" cy="325438"/>
                </a:xfrm>
                <a:custGeom>
                  <a:avLst/>
                  <a:gdLst>
                    <a:gd name="T0" fmla="*/ 87 w 206"/>
                    <a:gd name="T1" fmla="*/ 42 h 205"/>
                    <a:gd name="T2" fmla="*/ 67 w 206"/>
                    <a:gd name="T3" fmla="*/ 62 h 205"/>
                    <a:gd name="T4" fmla="*/ 66 w 206"/>
                    <a:gd name="T5" fmla="*/ 87 h 205"/>
                    <a:gd name="T6" fmla="*/ 60 w 206"/>
                    <a:gd name="T7" fmla="*/ 98 h 205"/>
                    <a:gd name="T8" fmla="*/ 55 w 206"/>
                    <a:gd name="T9" fmla="*/ 100 h 205"/>
                    <a:gd name="T10" fmla="*/ 55 w 206"/>
                    <a:gd name="T11" fmla="*/ 104 h 205"/>
                    <a:gd name="T12" fmla="*/ 60 w 206"/>
                    <a:gd name="T13" fmla="*/ 106 h 205"/>
                    <a:gd name="T14" fmla="*/ 81 w 206"/>
                    <a:gd name="T15" fmla="*/ 116 h 205"/>
                    <a:gd name="T16" fmla="*/ 73 w 206"/>
                    <a:gd name="T17" fmla="*/ 141 h 205"/>
                    <a:gd name="T18" fmla="*/ 61 w 206"/>
                    <a:gd name="T19" fmla="*/ 158 h 205"/>
                    <a:gd name="T20" fmla="*/ 60 w 206"/>
                    <a:gd name="T21" fmla="*/ 159 h 205"/>
                    <a:gd name="T22" fmla="*/ 60 w 206"/>
                    <a:gd name="T23" fmla="*/ 163 h 205"/>
                    <a:gd name="T24" fmla="*/ 61 w 206"/>
                    <a:gd name="T25" fmla="*/ 165 h 205"/>
                    <a:gd name="T26" fmla="*/ 64 w 206"/>
                    <a:gd name="T27" fmla="*/ 166 h 205"/>
                    <a:gd name="T28" fmla="*/ 139 w 206"/>
                    <a:gd name="T29" fmla="*/ 166 h 205"/>
                    <a:gd name="T30" fmla="*/ 141 w 206"/>
                    <a:gd name="T31" fmla="*/ 163 h 205"/>
                    <a:gd name="T32" fmla="*/ 139 w 206"/>
                    <a:gd name="T33" fmla="*/ 158 h 205"/>
                    <a:gd name="T34" fmla="*/ 73 w 206"/>
                    <a:gd name="T35" fmla="*/ 158 h 205"/>
                    <a:gd name="T36" fmla="*/ 86 w 206"/>
                    <a:gd name="T37" fmla="*/ 134 h 205"/>
                    <a:gd name="T38" fmla="*/ 88 w 206"/>
                    <a:gd name="T39" fmla="*/ 106 h 205"/>
                    <a:gd name="T40" fmla="*/ 113 w 206"/>
                    <a:gd name="T41" fmla="*/ 106 h 205"/>
                    <a:gd name="T42" fmla="*/ 115 w 206"/>
                    <a:gd name="T43" fmla="*/ 103 h 205"/>
                    <a:gd name="T44" fmla="*/ 113 w 206"/>
                    <a:gd name="T45" fmla="*/ 98 h 205"/>
                    <a:gd name="T46" fmla="*/ 83 w 206"/>
                    <a:gd name="T47" fmla="*/ 98 h 205"/>
                    <a:gd name="T48" fmla="*/ 73 w 206"/>
                    <a:gd name="T49" fmla="*/ 77 h 205"/>
                    <a:gd name="T50" fmla="*/ 81 w 206"/>
                    <a:gd name="T51" fmla="*/ 56 h 205"/>
                    <a:gd name="T52" fmla="*/ 102 w 206"/>
                    <a:gd name="T53" fmla="*/ 46 h 205"/>
                    <a:gd name="T54" fmla="*/ 124 w 206"/>
                    <a:gd name="T55" fmla="*/ 56 h 205"/>
                    <a:gd name="T56" fmla="*/ 132 w 206"/>
                    <a:gd name="T57" fmla="*/ 77 h 205"/>
                    <a:gd name="T58" fmla="*/ 134 w 206"/>
                    <a:gd name="T59" fmla="*/ 80 h 205"/>
                    <a:gd name="T60" fmla="*/ 139 w 206"/>
                    <a:gd name="T61" fmla="*/ 80 h 205"/>
                    <a:gd name="T62" fmla="*/ 141 w 206"/>
                    <a:gd name="T63" fmla="*/ 77 h 205"/>
                    <a:gd name="T64" fmla="*/ 129 w 206"/>
                    <a:gd name="T65" fmla="*/ 50 h 205"/>
                    <a:gd name="T66" fmla="*/ 102 w 206"/>
                    <a:gd name="T67" fmla="*/ 38 h 205"/>
                    <a:gd name="T68" fmla="*/ 126 w 206"/>
                    <a:gd name="T69" fmla="*/ 3 h 205"/>
                    <a:gd name="T70" fmla="*/ 167 w 206"/>
                    <a:gd name="T71" fmla="*/ 22 h 205"/>
                    <a:gd name="T72" fmla="*/ 195 w 206"/>
                    <a:gd name="T73" fmla="*/ 57 h 205"/>
                    <a:gd name="T74" fmla="*/ 206 w 206"/>
                    <a:gd name="T75" fmla="*/ 103 h 205"/>
                    <a:gd name="T76" fmla="*/ 195 w 206"/>
                    <a:gd name="T77" fmla="*/ 147 h 205"/>
                    <a:gd name="T78" fmla="*/ 167 w 206"/>
                    <a:gd name="T79" fmla="*/ 182 h 205"/>
                    <a:gd name="T80" fmla="*/ 126 w 206"/>
                    <a:gd name="T81" fmla="*/ 202 h 205"/>
                    <a:gd name="T82" fmla="*/ 79 w 206"/>
                    <a:gd name="T83" fmla="*/ 202 h 205"/>
                    <a:gd name="T84" fmla="*/ 38 w 206"/>
                    <a:gd name="T85" fmla="*/ 182 h 205"/>
                    <a:gd name="T86" fmla="*/ 11 w 206"/>
                    <a:gd name="T87" fmla="*/ 147 h 205"/>
                    <a:gd name="T88" fmla="*/ 0 w 206"/>
                    <a:gd name="T89" fmla="*/ 103 h 205"/>
                    <a:gd name="T90" fmla="*/ 11 w 206"/>
                    <a:gd name="T91" fmla="*/ 57 h 205"/>
                    <a:gd name="T92" fmla="*/ 38 w 206"/>
                    <a:gd name="T93" fmla="*/ 22 h 205"/>
                    <a:gd name="T94" fmla="*/ 79 w 206"/>
                    <a:gd name="T95" fmla="*/ 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6" h="205">
                      <a:moveTo>
                        <a:pt x="102" y="38"/>
                      </a:moveTo>
                      <a:lnTo>
                        <a:pt x="87" y="42"/>
                      </a:lnTo>
                      <a:lnTo>
                        <a:pt x="75" y="50"/>
                      </a:lnTo>
                      <a:lnTo>
                        <a:pt x="67" y="62"/>
                      </a:lnTo>
                      <a:lnTo>
                        <a:pt x="64" y="77"/>
                      </a:lnTo>
                      <a:lnTo>
                        <a:pt x="66" y="87"/>
                      </a:lnTo>
                      <a:lnTo>
                        <a:pt x="72" y="98"/>
                      </a:lnTo>
                      <a:lnTo>
                        <a:pt x="60" y="98"/>
                      </a:lnTo>
                      <a:lnTo>
                        <a:pt x="58" y="98"/>
                      </a:lnTo>
                      <a:lnTo>
                        <a:pt x="55" y="100"/>
                      </a:lnTo>
                      <a:lnTo>
                        <a:pt x="55" y="103"/>
                      </a:lnTo>
                      <a:lnTo>
                        <a:pt x="55" y="104"/>
                      </a:lnTo>
                      <a:lnTo>
                        <a:pt x="58" y="106"/>
                      </a:lnTo>
                      <a:lnTo>
                        <a:pt x="60" y="106"/>
                      </a:lnTo>
                      <a:lnTo>
                        <a:pt x="79" y="106"/>
                      </a:lnTo>
                      <a:lnTo>
                        <a:pt x="81" y="116"/>
                      </a:lnTo>
                      <a:lnTo>
                        <a:pt x="80" y="127"/>
                      </a:lnTo>
                      <a:lnTo>
                        <a:pt x="73" y="141"/>
                      </a:lnTo>
                      <a:lnTo>
                        <a:pt x="63" y="157"/>
                      </a:lnTo>
                      <a:lnTo>
                        <a:pt x="61" y="158"/>
                      </a:lnTo>
                      <a:lnTo>
                        <a:pt x="61" y="159"/>
                      </a:lnTo>
                      <a:lnTo>
                        <a:pt x="60" y="159"/>
                      </a:lnTo>
                      <a:lnTo>
                        <a:pt x="60" y="161"/>
                      </a:lnTo>
                      <a:lnTo>
                        <a:pt x="60" y="163"/>
                      </a:lnTo>
                      <a:lnTo>
                        <a:pt x="60" y="164"/>
                      </a:lnTo>
                      <a:lnTo>
                        <a:pt x="61" y="165"/>
                      </a:lnTo>
                      <a:lnTo>
                        <a:pt x="63" y="166"/>
                      </a:lnTo>
                      <a:lnTo>
                        <a:pt x="64" y="166"/>
                      </a:lnTo>
                      <a:lnTo>
                        <a:pt x="137" y="166"/>
                      </a:lnTo>
                      <a:lnTo>
                        <a:pt x="139" y="166"/>
                      </a:lnTo>
                      <a:lnTo>
                        <a:pt x="140" y="164"/>
                      </a:lnTo>
                      <a:lnTo>
                        <a:pt x="141" y="163"/>
                      </a:lnTo>
                      <a:lnTo>
                        <a:pt x="140" y="160"/>
                      </a:lnTo>
                      <a:lnTo>
                        <a:pt x="139" y="158"/>
                      </a:lnTo>
                      <a:lnTo>
                        <a:pt x="137" y="158"/>
                      </a:lnTo>
                      <a:lnTo>
                        <a:pt x="73" y="158"/>
                      </a:lnTo>
                      <a:lnTo>
                        <a:pt x="80" y="147"/>
                      </a:lnTo>
                      <a:lnTo>
                        <a:pt x="86" y="134"/>
                      </a:lnTo>
                      <a:lnTo>
                        <a:pt x="90" y="120"/>
                      </a:lnTo>
                      <a:lnTo>
                        <a:pt x="88" y="106"/>
                      </a:lnTo>
                      <a:lnTo>
                        <a:pt x="111" y="106"/>
                      </a:lnTo>
                      <a:lnTo>
                        <a:pt x="113" y="106"/>
                      </a:lnTo>
                      <a:lnTo>
                        <a:pt x="115" y="104"/>
                      </a:lnTo>
                      <a:lnTo>
                        <a:pt x="115" y="103"/>
                      </a:lnTo>
                      <a:lnTo>
                        <a:pt x="115" y="100"/>
                      </a:lnTo>
                      <a:lnTo>
                        <a:pt x="113" y="98"/>
                      </a:lnTo>
                      <a:lnTo>
                        <a:pt x="111" y="98"/>
                      </a:lnTo>
                      <a:lnTo>
                        <a:pt x="83" y="98"/>
                      </a:lnTo>
                      <a:lnTo>
                        <a:pt x="75" y="87"/>
                      </a:lnTo>
                      <a:lnTo>
                        <a:pt x="73" y="77"/>
                      </a:lnTo>
                      <a:lnTo>
                        <a:pt x="75" y="65"/>
                      </a:lnTo>
                      <a:lnTo>
                        <a:pt x="81" y="56"/>
                      </a:lnTo>
                      <a:lnTo>
                        <a:pt x="91" y="49"/>
                      </a:lnTo>
                      <a:lnTo>
                        <a:pt x="102" y="46"/>
                      </a:lnTo>
                      <a:lnTo>
                        <a:pt x="114" y="49"/>
                      </a:lnTo>
                      <a:lnTo>
                        <a:pt x="124" y="56"/>
                      </a:lnTo>
                      <a:lnTo>
                        <a:pt x="129" y="65"/>
                      </a:lnTo>
                      <a:lnTo>
                        <a:pt x="132" y="77"/>
                      </a:lnTo>
                      <a:lnTo>
                        <a:pt x="133" y="79"/>
                      </a:lnTo>
                      <a:lnTo>
                        <a:pt x="134" y="80"/>
                      </a:lnTo>
                      <a:lnTo>
                        <a:pt x="137" y="80"/>
                      </a:lnTo>
                      <a:lnTo>
                        <a:pt x="139" y="80"/>
                      </a:lnTo>
                      <a:lnTo>
                        <a:pt x="140" y="79"/>
                      </a:lnTo>
                      <a:lnTo>
                        <a:pt x="141" y="77"/>
                      </a:lnTo>
                      <a:lnTo>
                        <a:pt x="138" y="62"/>
                      </a:lnTo>
                      <a:lnTo>
                        <a:pt x="129" y="50"/>
                      </a:lnTo>
                      <a:lnTo>
                        <a:pt x="118" y="42"/>
                      </a:lnTo>
                      <a:lnTo>
                        <a:pt x="102" y="38"/>
                      </a:lnTo>
                      <a:close/>
                      <a:moveTo>
                        <a:pt x="102" y="0"/>
                      </a:moveTo>
                      <a:lnTo>
                        <a:pt x="126" y="3"/>
                      </a:lnTo>
                      <a:lnTo>
                        <a:pt x="148" y="10"/>
                      </a:lnTo>
                      <a:lnTo>
                        <a:pt x="167" y="22"/>
                      </a:lnTo>
                      <a:lnTo>
                        <a:pt x="182" y="38"/>
                      </a:lnTo>
                      <a:lnTo>
                        <a:pt x="195" y="57"/>
                      </a:lnTo>
                      <a:lnTo>
                        <a:pt x="202" y="79"/>
                      </a:lnTo>
                      <a:lnTo>
                        <a:pt x="206" y="103"/>
                      </a:lnTo>
                      <a:lnTo>
                        <a:pt x="202" y="126"/>
                      </a:lnTo>
                      <a:lnTo>
                        <a:pt x="195" y="147"/>
                      </a:lnTo>
                      <a:lnTo>
                        <a:pt x="182" y="166"/>
                      </a:lnTo>
                      <a:lnTo>
                        <a:pt x="167" y="182"/>
                      </a:lnTo>
                      <a:lnTo>
                        <a:pt x="148" y="194"/>
                      </a:lnTo>
                      <a:lnTo>
                        <a:pt x="126" y="202"/>
                      </a:lnTo>
                      <a:lnTo>
                        <a:pt x="102" y="205"/>
                      </a:lnTo>
                      <a:lnTo>
                        <a:pt x="79" y="202"/>
                      </a:lnTo>
                      <a:lnTo>
                        <a:pt x="58" y="194"/>
                      </a:lnTo>
                      <a:lnTo>
                        <a:pt x="38" y="182"/>
                      </a:lnTo>
                      <a:lnTo>
                        <a:pt x="23" y="166"/>
                      </a:lnTo>
                      <a:lnTo>
                        <a:pt x="11" y="147"/>
                      </a:lnTo>
                      <a:lnTo>
                        <a:pt x="3" y="126"/>
                      </a:lnTo>
                      <a:lnTo>
                        <a:pt x="0" y="103"/>
                      </a:lnTo>
                      <a:lnTo>
                        <a:pt x="3" y="79"/>
                      </a:lnTo>
                      <a:lnTo>
                        <a:pt x="11" y="57"/>
                      </a:lnTo>
                      <a:lnTo>
                        <a:pt x="23" y="38"/>
                      </a:lnTo>
                      <a:lnTo>
                        <a:pt x="38" y="22"/>
                      </a:lnTo>
                      <a:lnTo>
                        <a:pt x="58" y="10"/>
                      </a:lnTo>
                      <a:lnTo>
                        <a:pt x="79" y="3"/>
                      </a:lnTo>
                      <a:lnTo>
                        <a:pt x="10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19">
                  <a:extLst>
                    <a:ext uri="{FF2B5EF4-FFF2-40B4-BE49-F238E27FC236}">
                      <a16:creationId xmlns:a16="http://schemas.microsoft.com/office/drawing/2014/main" id="{A92009CA-A404-1C4D-90B1-89D453CEA9A9}"/>
                    </a:ext>
                  </a:extLst>
                </p:cNvPr>
                <p:cNvSpPr>
                  <a:spLocks noEditPoints="1"/>
                </p:cNvSpPr>
                <p:nvPr/>
              </p:nvSpPr>
              <p:spPr bwMode="auto">
                <a:xfrm>
                  <a:off x="6919913" y="3419476"/>
                  <a:ext cx="325438" cy="325438"/>
                </a:xfrm>
                <a:custGeom>
                  <a:avLst/>
                  <a:gdLst>
                    <a:gd name="T0" fmla="*/ 91 w 205"/>
                    <a:gd name="T1" fmla="*/ 41 h 205"/>
                    <a:gd name="T2" fmla="*/ 66 w 205"/>
                    <a:gd name="T3" fmla="*/ 59 h 205"/>
                    <a:gd name="T4" fmla="*/ 52 w 205"/>
                    <a:gd name="T5" fmla="*/ 89 h 205"/>
                    <a:gd name="T6" fmla="*/ 40 w 205"/>
                    <a:gd name="T7" fmla="*/ 90 h 205"/>
                    <a:gd name="T8" fmla="*/ 38 w 205"/>
                    <a:gd name="T9" fmla="*/ 94 h 205"/>
                    <a:gd name="T10" fmla="*/ 40 w 205"/>
                    <a:gd name="T11" fmla="*/ 97 h 205"/>
                    <a:gd name="T12" fmla="*/ 51 w 205"/>
                    <a:gd name="T13" fmla="*/ 99 h 205"/>
                    <a:gd name="T14" fmla="*/ 43 w 205"/>
                    <a:gd name="T15" fmla="*/ 107 h 205"/>
                    <a:gd name="T16" fmla="*/ 39 w 205"/>
                    <a:gd name="T17" fmla="*/ 109 h 205"/>
                    <a:gd name="T18" fmla="*/ 39 w 205"/>
                    <a:gd name="T19" fmla="*/ 113 h 205"/>
                    <a:gd name="T20" fmla="*/ 43 w 205"/>
                    <a:gd name="T21" fmla="*/ 115 h 205"/>
                    <a:gd name="T22" fmla="*/ 57 w 205"/>
                    <a:gd name="T23" fmla="*/ 131 h 205"/>
                    <a:gd name="T24" fmla="*/ 77 w 205"/>
                    <a:gd name="T25" fmla="*/ 157 h 205"/>
                    <a:gd name="T26" fmla="*/ 106 w 205"/>
                    <a:gd name="T27" fmla="*/ 167 h 205"/>
                    <a:gd name="T28" fmla="*/ 134 w 205"/>
                    <a:gd name="T29" fmla="*/ 157 h 205"/>
                    <a:gd name="T30" fmla="*/ 137 w 205"/>
                    <a:gd name="T31" fmla="*/ 154 h 205"/>
                    <a:gd name="T32" fmla="*/ 134 w 205"/>
                    <a:gd name="T33" fmla="*/ 150 h 205"/>
                    <a:gd name="T34" fmla="*/ 129 w 205"/>
                    <a:gd name="T35" fmla="*/ 150 h 205"/>
                    <a:gd name="T36" fmla="*/ 106 w 205"/>
                    <a:gd name="T37" fmla="*/ 157 h 205"/>
                    <a:gd name="T38" fmla="*/ 78 w 205"/>
                    <a:gd name="T39" fmla="*/ 146 h 205"/>
                    <a:gd name="T40" fmla="*/ 61 w 205"/>
                    <a:gd name="T41" fmla="*/ 115 h 205"/>
                    <a:gd name="T42" fmla="*/ 118 w 205"/>
                    <a:gd name="T43" fmla="*/ 115 h 205"/>
                    <a:gd name="T44" fmla="*/ 119 w 205"/>
                    <a:gd name="T45" fmla="*/ 112 h 205"/>
                    <a:gd name="T46" fmla="*/ 118 w 205"/>
                    <a:gd name="T47" fmla="*/ 107 h 205"/>
                    <a:gd name="T48" fmla="*/ 59 w 205"/>
                    <a:gd name="T49" fmla="*/ 107 h 205"/>
                    <a:gd name="T50" fmla="*/ 115 w 205"/>
                    <a:gd name="T51" fmla="*/ 99 h 205"/>
                    <a:gd name="T52" fmla="*/ 119 w 205"/>
                    <a:gd name="T53" fmla="*/ 96 h 205"/>
                    <a:gd name="T54" fmla="*/ 119 w 205"/>
                    <a:gd name="T55" fmla="*/ 92 h 205"/>
                    <a:gd name="T56" fmla="*/ 115 w 205"/>
                    <a:gd name="T57" fmla="*/ 89 h 205"/>
                    <a:gd name="T58" fmla="*/ 67 w 205"/>
                    <a:gd name="T59" fmla="*/ 73 h 205"/>
                    <a:gd name="T60" fmla="*/ 91 w 205"/>
                    <a:gd name="T61" fmla="*/ 51 h 205"/>
                    <a:gd name="T62" fmla="*/ 119 w 205"/>
                    <a:gd name="T63" fmla="*/ 48 h 205"/>
                    <a:gd name="T64" fmla="*/ 132 w 205"/>
                    <a:gd name="T65" fmla="*/ 55 h 205"/>
                    <a:gd name="T66" fmla="*/ 135 w 205"/>
                    <a:gd name="T67" fmla="*/ 53 h 205"/>
                    <a:gd name="T68" fmla="*/ 137 w 205"/>
                    <a:gd name="T69" fmla="*/ 48 h 205"/>
                    <a:gd name="T70" fmla="*/ 121 w 205"/>
                    <a:gd name="T71" fmla="*/ 41 h 205"/>
                    <a:gd name="T72" fmla="*/ 102 w 205"/>
                    <a:gd name="T73" fmla="*/ 0 h 205"/>
                    <a:gd name="T74" fmla="*/ 147 w 205"/>
                    <a:gd name="T75" fmla="*/ 11 h 205"/>
                    <a:gd name="T76" fmla="*/ 182 w 205"/>
                    <a:gd name="T77" fmla="*/ 39 h 205"/>
                    <a:gd name="T78" fmla="*/ 202 w 205"/>
                    <a:gd name="T79" fmla="*/ 79 h 205"/>
                    <a:gd name="T80" fmla="*/ 202 w 205"/>
                    <a:gd name="T81" fmla="*/ 126 h 205"/>
                    <a:gd name="T82" fmla="*/ 182 w 205"/>
                    <a:gd name="T83" fmla="*/ 167 h 205"/>
                    <a:gd name="T84" fmla="*/ 147 w 205"/>
                    <a:gd name="T85" fmla="*/ 195 h 205"/>
                    <a:gd name="T86" fmla="*/ 102 w 205"/>
                    <a:gd name="T87" fmla="*/ 205 h 205"/>
                    <a:gd name="T88" fmla="*/ 57 w 205"/>
                    <a:gd name="T89" fmla="*/ 195 h 205"/>
                    <a:gd name="T90" fmla="*/ 23 w 205"/>
                    <a:gd name="T91" fmla="*/ 167 h 205"/>
                    <a:gd name="T92" fmla="*/ 3 w 205"/>
                    <a:gd name="T93" fmla="*/ 126 h 205"/>
                    <a:gd name="T94" fmla="*/ 3 w 205"/>
                    <a:gd name="T95" fmla="*/ 79 h 205"/>
                    <a:gd name="T96" fmla="*/ 23 w 205"/>
                    <a:gd name="T97" fmla="*/ 39 h 205"/>
                    <a:gd name="T98" fmla="*/ 57 w 205"/>
                    <a:gd name="T99" fmla="*/ 11 h 205"/>
                    <a:gd name="T100" fmla="*/ 102 w 205"/>
                    <a:gd name="T101"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5" h="205">
                      <a:moveTo>
                        <a:pt x="106" y="39"/>
                      </a:moveTo>
                      <a:lnTo>
                        <a:pt x="91" y="41"/>
                      </a:lnTo>
                      <a:lnTo>
                        <a:pt x="77" y="48"/>
                      </a:lnTo>
                      <a:lnTo>
                        <a:pt x="66" y="59"/>
                      </a:lnTo>
                      <a:lnTo>
                        <a:pt x="57" y="73"/>
                      </a:lnTo>
                      <a:lnTo>
                        <a:pt x="52" y="89"/>
                      </a:lnTo>
                      <a:lnTo>
                        <a:pt x="43" y="89"/>
                      </a:lnTo>
                      <a:lnTo>
                        <a:pt x="40" y="90"/>
                      </a:lnTo>
                      <a:lnTo>
                        <a:pt x="39" y="92"/>
                      </a:lnTo>
                      <a:lnTo>
                        <a:pt x="38" y="94"/>
                      </a:lnTo>
                      <a:lnTo>
                        <a:pt x="39" y="96"/>
                      </a:lnTo>
                      <a:lnTo>
                        <a:pt x="40" y="97"/>
                      </a:lnTo>
                      <a:lnTo>
                        <a:pt x="43" y="99"/>
                      </a:lnTo>
                      <a:lnTo>
                        <a:pt x="51" y="99"/>
                      </a:lnTo>
                      <a:lnTo>
                        <a:pt x="51" y="107"/>
                      </a:lnTo>
                      <a:lnTo>
                        <a:pt x="43" y="107"/>
                      </a:lnTo>
                      <a:lnTo>
                        <a:pt x="40" y="107"/>
                      </a:lnTo>
                      <a:lnTo>
                        <a:pt x="39" y="109"/>
                      </a:lnTo>
                      <a:lnTo>
                        <a:pt x="38" y="112"/>
                      </a:lnTo>
                      <a:lnTo>
                        <a:pt x="39" y="113"/>
                      </a:lnTo>
                      <a:lnTo>
                        <a:pt x="40" y="115"/>
                      </a:lnTo>
                      <a:lnTo>
                        <a:pt x="43" y="115"/>
                      </a:lnTo>
                      <a:lnTo>
                        <a:pt x="52" y="115"/>
                      </a:lnTo>
                      <a:lnTo>
                        <a:pt x="57" y="131"/>
                      </a:lnTo>
                      <a:lnTo>
                        <a:pt x="66" y="146"/>
                      </a:lnTo>
                      <a:lnTo>
                        <a:pt x="77" y="157"/>
                      </a:lnTo>
                      <a:lnTo>
                        <a:pt x="91" y="164"/>
                      </a:lnTo>
                      <a:lnTo>
                        <a:pt x="106" y="167"/>
                      </a:lnTo>
                      <a:lnTo>
                        <a:pt x="121" y="164"/>
                      </a:lnTo>
                      <a:lnTo>
                        <a:pt x="134" y="157"/>
                      </a:lnTo>
                      <a:lnTo>
                        <a:pt x="137" y="156"/>
                      </a:lnTo>
                      <a:lnTo>
                        <a:pt x="137" y="154"/>
                      </a:lnTo>
                      <a:lnTo>
                        <a:pt x="135" y="151"/>
                      </a:lnTo>
                      <a:lnTo>
                        <a:pt x="134" y="150"/>
                      </a:lnTo>
                      <a:lnTo>
                        <a:pt x="132" y="150"/>
                      </a:lnTo>
                      <a:lnTo>
                        <a:pt x="129" y="150"/>
                      </a:lnTo>
                      <a:lnTo>
                        <a:pt x="119" y="156"/>
                      </a:lnTo>
                      <a:lnTo>
                        <a:pt x="106" y="157"/>
                      </a:lnTo>
                      <a:lnTo>
                        <a:pt x="91" y="155"/>
                      </a:lnTo>
                      <a:lnTo>
                        <a:pt x="78" y="146"/>
                      </a:lnTo>
                      <a:lnTo>
                        <a:pt x="67" y="133"/>
                      </a:lnTo>
                      <a:lnTo>
                        <a:pt x="61" y="115"/>
                      </a:lnTo>
                      <a:lnTo>
                        <a:pt x="115" y="115"/>
                      </a:lnTo>
                      <a:lnTo>
                        <a:pt x="118" y="115"/>
                      </a:lnTo>
                      <a:lnTo>
                        <a:pt x="119" y="113"/>
                      </a:lnTo>
                      <a:lnTo>
                        <a:pt x="119" y="112"/>
                      </a:lnTo>
                      <a:lnTo>
                        <a:pt x="119" y="109"/>
                      </a:lnTo>
                      <a:lnTo>
                        <a:pt x="118" y="107"/>
                      </a:lnTo>
                      <a:lnTo>
                        <a:pt x="115" y="107"/>
                      </a:lnTo>
                      <a:lnTo>
                        <a:pt x="59" y="107"/>
                      </a:lnTo>
                      <a:lnTo>
                        <a:pt x="59" y="99"/>
                      </a:lnTo>
                      <a:lnTo>
                        <a:pt x="115" y="99"/>
                      </a:lnTo>
                      <a:lnTo>
                        <a:pt x="118" y="97"/>
                      </a:lnTo>
                      <a:lnTo>
                        <a:pt x="119" y="96"/>
                      </a:lnTo>
                      <a:lnTo>
                        <a:pt x="119" y="94"/>
                      </a:lnTo>
                      <a:lnTo>
                        <a:pt x="119" y="92"/>
                      </a:lnTo>
                      <a:lnTo>
                        <a:pt x="118" y="90"/>
                      </a:lnTo>
                      <a:lnTo>
                        <a:pt x="115" y="89"/>
                      </a:lnTo>
                      <a:lnTo>
                        <a:pt x="61" y="89"/>
                      </a:lnTo>
                      <a:lnTo>
                        <a:pt x="67" y="73"/>
                      </a:lnTo>
                      <a:lnTo>
                        <a:pt x="78" y="59"/>
                      </a:lnTo>
                      <a:lnTo>
                        <a:pt x="91" y="51"/>
                      </a:lnTo>
                      <a:lnTo>
                        <a:pt x="106" y="47"/>
                      </a:lnTo>
                      <a:lnTo>
                        <a:pt x="119" y="48"/>
                      </a:lnTo>
                      <a:lnTo>
                        <a:pt x="129" y="54"/>
                      </a:lnTo>
                      <a:lnTo>
                        <a:pt x="132" y="55"/>
                      </a:lnTo>
                      <a:lnTo>
                        <a:pt x="134" y="54"/>
                      </a:lnTo>
                      <a:lnTo>
                        <a:pt x="135" y="53"/>
                      </a:lnTo>
                      <a:lnTo>
                        <a:pt x="137" y="51"/>
                      </a:lnTo>
                      <a:lnTo>
                        <a:pt x="137" y="48"/>
                      </a:lnTo>
                      <a:lnTo>
                        <a:pt x="134" y="47"/>
                      </a:lnTo>
                      <a:lnTo>
                        <a:pt x="121" y="41"/>
                      </a:lnTo>
                      <a:lnTo>
                        <a:pt x="106" y="39"/>
                      </a:lnTo>
                      <a:close/>
                      <a:moveTo>
                        <a:pt x="102" y="0"/>
                      </a:moveTo>
                      <a:lnTo>
                        <a:pt x="126" y="2"/>
                      </a:lnTo>
                      <a:lnTo>
                        <a:pt x="147" y="11"/>
                      </a:lnTo>
                      <a:lnTo>
                        <a:pt x="167" y="22"/>
                      </a:lnTo>
                      <a:lnTo>
                        <a:pt x="182" y="39"/>
                      </a:lnTo>
                      <a:lnTo>
                        <a:pt x="195" y="58"/>
                      </a:lnTo>
                      <a:lnTo>
                        <a:pt x="202" y="79"/>
                      </a:lnTo>
                      <a:lnTo>
                        <a:pt x="205" y="102"/>
                      </a:lnTo>
                      <a:lnTo>
                        <a:pt x="202" y="126"/>
                      </a:lnTo>
                      <a:lnTo>
                        <a:pt x="195" y="148"/>
                      </a:lnTo>
                      <a:lnTo>
                        <a:pt x="182" y="167"/>
                      </a:lnTo>
                      <a:lnTo>
                        <a:pt x="167" y="183"/>
                      </a:lnTo>
                      <a:lnTo>
                        <a:pt x="147" y="195"/>
                      </a:lnTo>
                      <a:lnTo>
                        <a:pt x="126" y="202"/>
                      </a:lnTo>
                      <a:lnTo>
                        <a:pt x="102" y="205"/>
                      </a:lnTo>
                      <a:lnTo>
                        <a:pt x="79" y="202"/>
                      </a:lnTo>
                      <a:lnTo>
                        <a:pt x="57" y="195"/>
                      </a:lnTo>
                      <a:lnTo>
                        <a:pt x="38" y="183"/>
                      </a:lnTo>
                      <a:lnTo>
                        <a:pt x="23" y="167"/>
                      </a:lnTo>
                      <a:lnTo>
                        <a:pt x="10" y="148"/>
                      </a:lnTo>
                      <a:lnTo>
                        <a:pt x="3" y="126"/>
                      </a:lnTo>
                      <a:lnTo>
                        <a:pt x="0" y="102"/>
                      </a:lnTo>
                      <a:lnTo>
                        <a:pt x="3" y="79"/>
                      </a:lnTo>
                      <a:lnTo>
                        <a:pt x="10" y="58"/>
                      </a:lnTo>
                      <a:lnTo>
                        <a:pt x="23" y="39"/>
                      </a:lnTo>
                      <a:lnTo>
                        <a:pt x="38" y="22"/>
                      </a:lnTo>
                      <a:lnTo>
                        <a:pt x="57" y="11"/>
                      </a:lnTo>
                      <a:lnTo>
                        <a:pt x="79" y="2"/>
                      </a:lnTo>
                      <a:lnTo>
                        <a:pt x="10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20">
                  <a:extLst>
                    <a:ext uri="{FF2B5EF4-FFF2-40B4-BE49-F238E27FC236}">
                      <a16:creationId xmlns:a16="http://schemas.microsoft.com/office/drawing/2014/main" id="{21E8AD63-7E88-2542-B7FE-A819D70A79A9}"/>
                    </a:ext>
                  </a:extLst>
                </p:cNvPr>
                <p:cNvSpPr>
                  <a:spLocks/>
                </p:cNvSpPr>
                <p:nvPr/>
              </p:nvSpPr>
              <p:spPr bwMode="auto">
                <a:xfrm>
                  <a:off x="7208838" y="3217863"/>
                  <a:ext cx="30163" cy="71438"/>
                </a:xfrm>
                <a:custGeom>
                  <a:avLst/>
                  <a:gdLst>
                    <a:gd name="T0" fmla="*/ 19 w 19"/>
                    <a:gd name="T1" fmla="*/ 0 h 45"/>
                    <a:gd name="T2" fmla="*/ 19 w 19"/>
                    <a:gd name="T3" fmla="*/ 45 h 45"/>
                    <a:gd name="T4" fmla="*/ 10 w 19"/>
                    <a:gd name="T5" fmla="*/ 40 h 45"/>
                    <a:gd name="T6" fmla="*/ 3 w 19"/>
                    <a:gd name="T7" fmla="*/ 32 h 45"/>
                    <a:gd name="T8" fmla="*/ 0 w 19"/>
                    <a:gd name="T9" fmla="*/ 23 h 45"/>
                    <a:gd name="T10" fmla="*/ 3 w 19"/>
                    <a:gd name="T11" fmla="*/ 12 h 45"/>
                    <a:gd name="T12" fmla="*/ 10 w 19"/>
                    <a:gd name="T13" fmla="*/ 5 h 45"/>
                    <a:gd name="T14" fmla="*/ 19 w 19"/>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45">
                      <a:moveTo>
                        <a:pt x="19" y="0"/>
                      </a:moveTo>
                      <a:lnTo>
                        <a:pt x="19" y="45"/>
                      </a:lnTo>
                      <a:lnTo>
                        <a:pt x="10" y="40"/>
                      </a:lnTo>
                      <a:lnTo>
                        <a:pt x="3" y="32"/>
                      </a:lnTo>
                      <a:lnTo>
                        <a:pt x="0" y="23"/>
                      </a:lnTo>
                      <a:lnTo>
                        <a:pt x="3" y="12"/>
                      </a:lnTo>
                      <a:lnTo>
                        <a:pt x="10" y="5"/>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21">
                  <a:extLst>
                    <a:ext uri="{FF2B5EF4-FFF2-40B4-BE49-F238E27FC236}">
                      <a16:creationId xmlns:a16="http://schemas.microsoft.com/office/drawing/2014/main" id="{3009A76B-BCC7-3143-9047-9C77BF1E2866}"/>
                    </a:ext>
                  </a:extLst>
                </p:cNvPr>
                <p:cNvSpPr>
                  <a:spLocks/>
                </p:cNvSpPr>
                <p:nvPr/>
              </p:nvSpPr>
              <p:spPr bwMode="auto">
                <a:xfrm>
                  <a:off x="7251701" y="3302001"/>
                  <a:ext cx="28575" cy="69850"/>
                </a:xfrm>
                <a:custGeom>
                  <a:avLst/>
                  <a:gdLst>
                    <a:gd name="T0" fmla="*/ 0 w 18"/>
                    <a:gd name="T1" fmla="*/ 0 h 44"/>
                    <a:gd name="T2" fmla="*/ 10 w 18"/>
                    <a:gd name="T3" fmla="*/ 5 h 44"/>
                    <a:gd name="T4" fmla="*/ 16 w 18"/>
                    <a:gd name="T5" fmla="*/ 12 h 44"/>
                    <a:gd name="T6" fmla="*/ 18 w 18"/>
                    <a:gd name="T7" fmla="*/ 23 h 44"/>
                    <a:gd name="T8" fmla="*/ 16 w 18"/>
                    <a:gd name="T9" fmla="*/ 32 h 44"/>
                    <a:gd name="T10" fmla="*/ 10 w 18"/>
                    <a:gd name="T11" fmla="*/ 40 h 44"/>
                    <a:gd name="T12" fmla="*/ 0 w 18"/>
                    <a:gd name="T13" fmla="*/ 44 h 44"/>
                    <a:gd name="T14" fmla="*/ 0 w 18"/>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4">
                      <a:moveTo>
                        <a:pt x="0" y="0"/>
                      </a:moveTo>
                      <a:lnTo>
                        <a:pt x="10" y="5"/>
                      </a:lnTo>
                      <a:lnTo>
                        <a:pt x="16" y="12"/>
                      </a:lnTo>
                      <a:lnTo>
                        <a:pt x="18" y="23"/>
                      </a:lnTo>
                      <a:lnTo>
                        <a:pt x="16" y="32"/>
                      </a:lnTo>
                      <a:lnTo>
                        <a:pt x="10" y="40"/>
                      </a:lnTo>
                      <a:lnTo>
                        <a:pt x="0" y="44"/>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22">
                  <a:extLst>
                    <a:ext uri="{FF2B5EF4-FFF2-40B4-BE49-F238E27FC236}">
                      <a16:creationId xmlns:a16="http://schemas.microsoft.com/office/drawing/2014/main" id="{8223F035-880C-7046-B2A2-7CE10A255B55}"/>
                    </a:ext>
                  </a:extLst>
                </p:cNvPr>
                <p:cNvSpPr>
                  <a:spLocks noEditPoints="1"/>
                </p:cNvSpPr>
                <p:nvPr/>
              </p:nvSpPr>
              <p:spPr bwMode="auto">
                <a:xfrm>
                  <a:off x="7077076" y="3128963"/>
                  <a:ext cx="328586" cy="328586"/>
                </a:xfrm>
                <a:custGeom>
                  <a:avLst/>
                  <a:gdLst>
                    <a:gd name="T0" fmla="*/ 103 w 211"/>
                    <a:gd name="T1" fmla="*/ 40 h 211"/>
                    <a:gd name="T2" fmla="*/ 102 w 211"/>
                    <a:gd name="T3" fmla="*/ 44 h 211"/>
                    <a:gd name="T4" fmla="*/ 92 w 211"/>
                    <a:gd name="T5" fmla="*/ 52 h 211"/>
                    <a:gd name="T6" fmla="*/ 77 w 211"/>
                    <a:gd name="T7" fmla="*/ 68 h 211"/>
                    <a:gd name="T8" fmla="*/ 79 w 211"/>
                    <a:gd name="T9" fmla="*/ 93 h 211"/>
                    <a:gd name="T10" fmla="*/ 102 w 211"/>
                    <a:gd name="T11" fmla="*/ 109 h 211"/>
                    <a:gd name="T12" fmla="*/ 96 w 211"/>
                    <a:gd name="T13" fmla="*/ 151 h 211"/>
                    <a:gd name="T14" fmla="*/ 88 w 211"/>
                    <a:gd name="T15" fmla="*/ 144 h 211"/>
                    <a:gd name="T16" fmla="*/ 83 w 211"/>
                    <a:gd name="T17" fmla="*/ 137 h 211"/>
                    <a:gd name="T18" fmla="*/ 80 w 211"/>
                    <a:gd name="T19" fmla="*/ 136 h 211"/>
                    <a:gd name="T20" fmla="*/ 76 w 211"/>
                    <a:gd name="T21" fmla="*/ 140 h 211"/>
                    <a:gd name="T22" fmla="*/ 82 w 211"/>
                    <a:gd name="T23" fmla="*/ 151 h 211"/>
                    <a:gd name="T24" fmla="*/ 102 w 211"/>
                    <a:gd name="T25" fmla="*/ 162 h 211"/>
                    <a:gd name="T26" fmla="*/ 102 w 211"/>
                    <a:gd name="T27" fmla="*/ 174 h 211"/>
                    <a:gd name="T28" fmla="*/ 106 w 211"/>
                    <a:gd name="T29" fmla="*/ 175 h 211"/>
                    <a:gd name="T30" fmla="*/ 109 w 211"/>
                    <a:gd name="T31" fmla="*/ 174 h 211"/>
                    <a:gd name="T32" fmla="*/ 110 w 211"/>
                    <a:gd name="T33" fmla="*/ 162 h 211"/>
                    <a:gd name="T34" fmla="*/ 129 w 211"/>
                    <a:gd name="T35" fmla="*/ 151 h 211"/>
                    <a:gd name="T36" fmla="*/ 136 w 211"/>
                    <a:gd name="T37" fmla="*/ 132 h 211"/>
                    <a:gd name="T38" fmla="*/ 129 w 211"/>
                    <a:gd name="T39" fmla="*/ 112 h 211"/>
                    <a:gd name="T40" fmla="*/ 110 w 211"/>
                    <a:gd name="T41" fmla="*/ 101 h 211"/>
                    <a:gd name="T42" fmla="*/ 115 w 211"/>
                    <a:gd name="T43" fmla="*/ 59 h 211"/>
                    <a:gd name="T44" fmla="*/ 122 w 211"/>
                    <a:gd name="T45" fmla="*/ 64 h 211"/>
                    <a:gd name="T46" fmla="*/ 127 w 211"/>
                    <a:gd name="T47" fmla="*/ 69 h 211"/>
                    <a:gd name="T48" fmla="*/ 131 w 211"/>
                    <a:gd name="T49" fmla="*/ 69 h 211"/>
                    <a:gd name="T50" fmla="*/ 133 w 211"/>
                    <a:gd name="T51" fmla="*/ 67 h 211"/>
                    <a:gd name="T52" fmla="*/ 133 w 211"/>
                    <a:gd name="T53" fmla="*/ 64 h 211"/>
                    <a:gd name="T54" fmla="*/ 120 w 211"/>
                    <a:gd name="T55" fmla="*/ 51 h 211"/>
                    <a:gd name="T56" fmla="*/ 110 w 211"/>
                    <a:gd name="T57" fmla="*/ 44 h 211"/>
                    <a:gd name="T58" fmla="*/ 108 w 211"/>
                    <a:gd name="T59" fmla="*/ 40 h 211"/>
                    <a:gd name="T60" fmla="*/ 106 w 211"/>
                    <a:gd name="T61" fmla="*/ 0 h 211"/>
                    <a:gd name="T62" fmla="*/ 153 w 211"/>
                    <a:gd name="T63" fmla="*/ 11 h 211"/>
                    <a:gd name="T64" fmla="*/ 189 w 211"/>
                    <a:gd name="T65" fmla="*/ 39 h 211"/>
                    <a:gd name="T66" fmla="*/ 209 w 211"/>
                    <a:gd name="T67" fmla="*/ 81 h 211"/>
                    <a:gd name="T68" fmla="*/ 209 w 211"/>
                    <a:gd name="T69" fmla="*/ 129 h 211"/>
                    <a:gd name="T70" fmla="*/ 189 w 211"/>
                    <a:gd name="T71" fmla="*/ 171 h 211"/>
                    <a:gd name="T72" fmla="*/ 153 w 211"/>
                    <a:gd name="T73" fmla="*/ 201 h 211"/>
                    <a:gd name="T74" fmla="*/ 106 w 211"/>
                    <a:gd name="T75" fmla="*/ 211 h 211"/>
                    <a:gd name="T76" fmla="*/ 60 w 211"/>
                    <a:gd name="T77" fmla="*/ 201 h 211"/>
                    <a:gd name="T78" fmla="*/ 23 w 211"/>
                    <a:gd name="T79" fmla="*/ 171 h 211"/>
                    <a:gd name="T80" fmla="*/ 3 w 211"/>
                    <a:gd name="T81" fmla="*/ 129 h 211"/>
                    <a:gd name="T82" fmla="*/ 3 w 211"/>
                    <a:gd name="T83" fmla="*/ 81 h 211"/>
                    <a:gd name="T84" fmla="*/ 23 w 211"/>
                    <a:gd name="T85" fmla="*/ 39 h 211"/>
                    <a:gd name="T86" fmla="*/ 60 w 211"/>
                    <a:gd name="T87" fmla="*/ 11 h 211"/>
                    <a:gd name="T88" fmla="*/ 106 w 211"/>
                    <a:gd name="T8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1" h="211">
                      <a:moveTo>
                        <a:pt x="106" y="39"/>
                      </a:moveTo>
                      <a:lnTo>
                        <a:pt x="103" y="40"/>
                      </a:lnTo>
                      <a:lnTo>
                        <a:pt x="102" y="41"/>
                      </a:lnTo>
                      <a:lnTo>
                        <a:pt x="102" y="44"/>
                      </a:lnTo>
                      <a:lnTo>
                        <a:pt x="102" y="48"/>
                      </a:lnTo>
                      <a:lnTo>
                        <a:pt x="92" y="52"/>
                      </a:lnTo>
                      <a:lnTo>
                        <a:pt x="83" y="59"/>
                      </a:lnTo>
                      <a:lnTo>
                        <a:pt x="77" y="68"/>
                      </a:lnTo>
                      <a:lnTo>
                        <a:pt x="75" y="79"/>
                      </a:lnTo>
                      <a:lnTo>
                        <a:pt x="79" y="93"/>
                      </a:lnTo>
                      <a:lnTo>
                        <a:pt x="88" y="103"/>
                      </a:lnTo>
                      <a:lnTo>
                        <a:pt x="102" y="109"/>
                      </a:lnTo>
                      <a:lnTo>
                        <a:pt x="102" y="153"/>
                      </a:lnTo>
                      <a:lnTo>
                        <a:pt x="96" y="151"/>
                      </a:lnTo>
                      <a:lnTo>
                        <a:pt x="92" y="148"/>
                      </a:lnTo>
                      <a:lnTo>
                        <a:pt x="88" y="144"/>
                      </a:lnTo>
                      <a:lnTo>
                        <a:pt x="84" y="139"/>
                      </a:lnTo>
                      <a:lnTo>
                        <a:pt x="83" y="137"/>
                      </a:lnTo>
                      <a:lnTo>
                        <a:pt x="82" y="136"/>
                      </a:lnTo>
                      <a:lnTo>
                        <a:pt x="80" y="136"/>
                      </a:lnTo>
                      <a:lnTo>
                        <a:pt x="77" y="137"/>
                      </a:lnTo>
                      <a:lnTo>
                        <a:pt x="76" y="140"/>
                      </a:lnTo>
                      <a:lnTo>
                        <a:pt x="76" y="142"/>
                      </a:lnTo>
                      <a:lnTo>
                        <a:pt x="82" y="151"/>
                      </a:lnTo>
                      <a:lnTo>
                        <a:pt x="92" y="159"/>
                      </a:lnTo>
                      <a:lnTo>
                        <a:pt x="102" y="162"/>
                      </a:lnTo>
                      <a:lnTo>
                        <a:pt x="102" y="171"/>
                      </a:lnTo>
                      <a:lnTo>
                        <a:pt x="102" y="174"/>
                      </a:lnTo>
                      <a:lnTo>
                        <a:pt x="103" y="175"/>
                      </a:lnTo>
                      <a:lnTo>
                        <a:pt x="106" y="175"/>
                      </a:lnTo>
                      <a:lnTo>
                        <a:pt x="108" y="175"/>
                      </a:lnTo>
                      <a:lnTo>
                        <a:pt x="109" y="174"/>
                      </a:lnTo>
                      <a:lnTo>
                        <a:pt x="110" y="171"/>
                      </a:lnTo>
                      <a:lnTo>
                        <a:pt x="110" y="162"/>
                      </a:lnTo>
                      <a:lnTo>
                        <a:pt x="121" y="159"/>
                      </a:lnTo>
                      <a:lnTo>
                        <a:pt x="129" y="151"/>
                      </a:lnTo>
                      <a:lnTo>
                        <a:pt x="135" y="142"/>
                      </a:lnTo>
                      <a:lnTo>
                        <a:pt x="136" y="132"/>
                      </a:lnTo>
                      <a:lnTo>
                        <a:pt x="135" y="121"/>
                      </a:lnTo>
                      <a:lnTo>
                        <a:pt x="129" y="112"/>
                      </a:lnTo>
                      <a:lnTo>
                        <a:pt x="121" y="105"/>
                      </a:lnTo>
                      <a:lnTo>
                        <a:pt x="110" y="101"/>
                      </a:lnTo>
                      <a:lnTo>
                        <a:pt x="110" y="58"/>
                      </a:lnTo>
                      <a:lnTo>
                        <a:pt x="115" y="59"/>
                      </a:lnTo>
                      <a:lnTo>
                        <a:pt x="119" y="61"/>
                      </a:lnTo>
                      <a:lnTo>
                        <a:pt x="122" y="64"/>
                      </a:lnTo>
                      <a:lnTo>
                        <a:pt x="126" y="68"/>
                      </a:lnTo>
                      <a:lnTo>
                        <a:pt x="127" y="69"/>
                      </a:lnTo>
                      <a:lnTo>
                        <a:pt x="129" y="71"/>
                      </a:lnTo>
                      <a:lnTo>
                        <a:pt x="131" y="69"/>
                      </a:lnTo>
                      <a:lnTo>
                        <a:pt x="133" y="68"/>
                      </a:lnTo>
                      <a:lnTo>
                        <a:pt x="133" y="67"/>
                      </a:lnTo>
                      <a:lnTo>
                        <a:pt x="133" y="65"/>
                      </a:lnTo>
                      <a:lnTo>
                        <a:pt x="133" y="64"/>
                      </a:lnTo>
                      <a:lnTo>
                        <a:pt x="127" y="56"/>
                      </a:lnTo>
                      <a:lnTo>
                        <a:pt x="120" y="51"/>
                      </a:lnTo>
                      <a:lnTo>
                        <a:pt x="110" y="48"/>
                      </a:lnTo>
                      <a:lnTo>
                        <a:pt x="110" y="44"/>
                      </a:lnTo>
                      <a:lnTo>
                        <a:pt x="109" y="41"/>
                      </a:lnTo>
                      <a:lnTo>
                        <a:pt x="108" y="40"/>
                      </a:lnTo>
                      <a:lnTo>
                        <a:pt x="106" y="39"/>
                      </a:lnTo>
                      <a:close/>
                      <a:moveTo>
                        <a:pt x="106" y="0"/>
                      </a:moveTo>
                      <a:lnTo>
                        <a:pt x="130" y="3"/>
                      </a:lnTo>
                      <a:lnTo>
                        <a:pt x="153" y="11"/>
                      </a:lnTo>
                      <a:lnTo>
                        <a:pt x="173" y="22"/>
                      </a:lnTo>
                      <a:lnTo>
                        <a:pt x="189" y="39"/>
                      </a:lnTo>
                      <a:lnTo>
                        <a:pt x="201" y="59"/>
                      </a:lnTo>
                      <a:lnTo>
                        <a:pt x="209" y="81"/>
                      </a:lnTo>
                      <a:lnTo>
                        <a:pt x="211" y="106"/>
                      </a:lnTo>
                      <a:lnTo>
                        <a:pt x="209" y="129"/>
                      </a:lnTo>
                      <a:lnTo>
                        <a:pt x="201" y="151"/>
                      </a:lnTo>
                      <a:lnTo>
                        <a:pt x="189" y="171"/>
                      </a:lnTo>
                      <a:lnTo>
                        <a:pt x="173" y="188"/>
                      </a:lnTo>
                      <a:lnTo>
                        <a:pt x="153" y="201"/>
                      </a:lnTo>
                      <a:lnTo>
                        <a:pt x="130" y="208"/>
                      </a:lnTo>
                      <a:lnTo>
                        <a:pt x="106" y="211"/>
                      </a:lnTo>
                      <a:lnTo>
                        <a:pt x="82" y="208"/>
                      </a:lnTo>
                      <a:lnTo>
                        <a:pt x="60" y="201"/>
                      </a:lnTo>
                      <a:lnTo>
                        <a:pt x="40" y="188"/>
                      </a:lnTo>
                      <a:lnTo>
                        <a:pt x="23" y="171"/>
                      </a:lnTo>
                      <a:lnTo>
                        <a:pt x="11" y="151"/>
                      </a:lnTo>
                      <a:lnTo>
                        <a:pt x="3" y="129"/>
                      </a:lnTo>
                      <a:lnTo>
                        <a:pt x="0" y="106"/>
                      </a:lnTo>
                      <a:lnTo>
                        <a:pt x="3" y="81"/>
                      </a:lnTo>
                      <a:lnTo>
                        <a:pt x="11" y="59"/>
                      </a:lnTo>
                      <a:lnTo>
                        <a:pt x="23" y="39"/>
                      </a:lnTo>
                      <a:lnTo>
                        <a:pt x="40" y="22"/>
                      </a:lnTo>
                      <a:lnTo>
                        <a:pt x="60" y="11"/>
                      </a:lnTo>
                      <a:lnTo>
                        <a:pt x="82" y="3"/>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44" name="Group 143">
              <a:extLst>
                <a:ext uri="{FF2B5EF4-FFF2-40B4-BE49-F238E27FC236}">
                  <a16:creationId xmlns:a16="http://schemas.microsoft.com/office/drawing/2014/main" id="{1B219599-7224-5F4D-B265-05CB3A626DB6}"/>
                </a:ext>
              </a:extLst>
            </p:cNvPr>
            <p:cNvGrpSpPr/>
            <p:nvPr/>
          </p:nvGrpSpPr>
          <p:grpSpPr>
            <a:xfrm>
              <a:off x="4014356" y="5289983"/>
              <a:ext cx="1147763" cy="1146175"/>
              <a:chOff x="3949701" y="5354638"/>
              <a:chExt cx="1147763" cy="1146175"/>
            </a:xfrm>
          </p:grpSpPr>
          <p:sp>
            <p:nvSpPr>
              <p:cNvPr id="165" name="Freeform 12">
                <a:extLst>
                  <a:ext uri="{FF2B5EF4-FFF2-40B4-BE49-F238E27FC236}">
                    <a16:creationId xmlns:a16="http://schemas.microsoft.com/office/drawing/2014/main" id="{B34C6106-4919-4540-A22B-0F2405EB22A4}"/>
                  </a:ext>
                </a:extLst>
              </p:cNvPr>
              <p:cNvSpPr>
                <a:spLocks/>
              </p:cNvSpPr>
              <p:nvPr/>
            </p:nvSpPr>
            <p:spPr bwMode="auto">
              <a:xfrm>
                <a:off x="3949701" y="5354638"/>
                <a:ext cx="1147763" cy="1146175"/>
              </a:xfrm>
              <a:custGeom>
                <a:avLst/>
                <a:gdLst>
                  <a:gd name="T0" fmla="*/ 361 w 723"/>
                  <a:gd name="T1" fmla="*/ 0 h 722"/>
                  <a:gd name="T2" fmla="*/ 411 w 723"/>
                  <a:gd name="T3" fmla="*/ 3 h 722"/>
                  <a:gd name="T4" fmla="*/ 458 w 723"/>
                  <a:gd name="T5" fmla="*/ 13 h 722"/>
                  <a:gd name="T6" fmla="*/ 502 w 723"/>
                  <a:gd name="T7" fmla="*/ 28 h 722"/>
                  <a:gd name="T8" fmla="*/ 545 w 723"/>
                  <a:gd name="T9" fmla="*/ 49 h 722"/>
                  <a:gd name="T10" fmla="*/ 582 w 723"/>
                  <a:gd name="T11" fmla="*/ 75 h 722"/>
                  <a:gd name="T12" fmla="*/ 617 w 723"/>
                  <a:gd name="T13" fmla="*/ 105 h 722"/>
                  <a:gd name="T14" fmla="*/ 648 w 723"/>
                  <a:gd name="T15" fmla="*/ 140 h 722"/>
                  <a:gd name="T16" fmla="*/ 674 w 723"/>
                  <a:gd name="T17" fmla="*/ 178 h 722"/>
                  <a:gd name="T18" fmla="*/ 695 w 723"/>
                  <a:gd name="T19" fmla="*/ 220 h 722"/>
                  <a:gd name="T20" fmla="*/ 710 w 723"/>
                  <a:gd name="T21" fmla="*/ 265 h 722"/>
                  <a:gd name="T22" fmla="*/ 720 w 723"/>
                  <a:gd name="T23" fmla="*/ 312 h 722"/>
                  <a:gd name="T24" fmla="*/ 723 w 723"/>
                  <a:gd name="T25" fmla="*/ 361 h 722"/>
                  <a:gd name="T26" fmla="*/ 720 w 723"/>
                  <a:gd name="T27" fmla="*/ 410 h 722"/>
                  <a:gd name="T28" fmla="*/ 710 w 723"/>
                  <a:gd name="T29" fmla="*/ 457 h 722"/>
                  <a:gd name="T30" fmla="*/ 695 w 723"/>
                  <a:gd name="T31" fmla="*/ 502 h 722"/>
                  <a:gd name="T32" fmla="*/ 674 w 723"/>
                  <a:gd name="T33" fmla="*/ 543 h 722"/>
                  <a:gd name="T34" fmla="*/ 648 w 723"/>
                  <a:gd name="T35" fmla="*/ 581 h 722"/>
                  <a:gd name="T36" fmla="*/ 617 w 723"/>
                  <a:gd name="T37" fmla="*/ 616 h 722"/>
                  <a:gd name="T38" fmla="*/ 582 w 723"/>
                  <a:gd name="T39" fmla="*/ 647 h 722"/>
                  <a:gd name="T40" fmla="*/ 545 w 723"/>
                  <a:gd name="T41" fmla="*/ 673 h 722"/>
                  <a:gd name="T42" fmla="*/ 502 w 723"/>
                  <a:gd name="T43" fmla="*/ 694 h 722"/>
                  <a:gd name="T44" fmla="*/ 458 w 723"/>
                  <a:gd name="T45" fmla="*/ 709 h 722"/>
                  <a:gd name="T46" fmla="*/ 411 w 723"/>
                  <a:gd name="T47" fmla="*/ 718 h 722"/>
                  <a:gd name="T48" fmla="*/ 361 w 723"/>
                  <a:gd name="T49" fmla="*/ 722 h 722"/>
                  <a:gd name="T50" fmla="*/ 312 w 723"/>
                  <a:gd name="T51" fmla="*/ 718 h 722"/>
                  <a:gd name="T52" fmla="*/ 265 w 723"/>
                  <a:gd name="T53" fmla="*/ 709 h 722"/>
                  <a:gd name="T54" fmla="*/ 221 w 723"/>
                  <a:gd name="T55" fmla="*/ 694 h 722"/>
                  <a:gd name="T56" fmla="*/ 179 w 723"/>
                  <a:gd name="T57" fmla="*/ 673 h 722"/>
                  <a:gd name="T58" fmla="*/ 141 w 723"/>
                  <a:gd name="T59" fmla="*/ 647 h 722"/>
                  <a:gd name="T60" fmla="*/ 106 w 723"/>
                  <a:gd name="T61" fmla="*/ 616 h 722"/>
                  <a:gd name="T62" fmla="*/ 75 w 723"/>
                  <a:gd name="T63" fmla="*/ 581 h 722"/>
                  <a:gd name="T64" fmla="*/ 49 w 723"/>
                  <a:gd name="T65" fmla="*/ 543 h 722"/>
                  <a:gd name="T66" fmla="*/ 28 w 723"/>
                  <a:gd name="T67" fmla="*/ 502 h 722"/>
                  <a:gd name="T68" fmla="*/ 13 w 723"/>
                  <a:gd name="T69" fmla="*/ 457 h 722"/>
                  <a:gd name="T70" fmla="*/ 3 w 723"/>
                  <a:gd name="T71" fmla="*/ 410 h 722"/>
                  <a:gd name="T72" fmla="*/ 0 w 723"/>
                  <a:gd name="T73" fmla="*/ 361 h 722"/>
                  <a:gd name="T74" fmla="*/ 3 w 723"/>
                  <a:gd name="T75" fmla="*/ 312 h 722"/>
                  <a:gd name="T76" fmla="*/ 13 w 723"/>
                  <a:gd name="T77" fmla="*/ 265 h 722"/>
                  <a:gd name="T78" fmla="*/ 28 w 723"/>
                  <a:gd name="T79" fmla="*/ 220 h 722"/>
                  <a:gd name="T80" fmla="*/ 49 w 723"/>
                  <a:gd name="T81" fmla="*/ 178 h 722"/>
                  <a:gd name="T82" fmla="*/ 75 w 723"/>
                  <a:gd name="T83" fmla="*/ 140 h 722"/>
                  <a:gd name="T84" fmla="*/ 106 w 723"/>
                  <a:gd name="T85" fmla="*/ 105 h 722"/>
                  <a:gd name="T86" fmla="*/ 141 w 723"/>
                  <a:gd name="T87" fmla="*/ 75 h 722"/>
                  <a:gd name="T88" fmla="*/ 179 w 723"/>
                  <a:gd name="T89" fmla="*/ 49 h 722"/>
                  <a:gd name="T90" fmla="*/ 221 w 723"/>
                  <a:gd name="T91" fmla="*/ 28 h 722"/>
                  <a:gd name="T92" fmla="*/ 265 w 723"/>
                  <a:gd name="T93" fmla="*/ 13 h 722"/>
                  <a:gd name="T94" fmla="*/ 312 w 723"/>
                  <a:gd name="T95" fmla="*/ 3 h 722"/>
                  <a:gd name="T96" fmla="*/ 361 w 723"/>
                  <a:gd name="T9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3" h="722">
                    <a:moveTo>
                      <a:pt x="361" y="0"/>
                    </a:moveTo>
                    <a:lnTo>
                      <a:pt x="411" y="3"/>
                    </a:lnTo>
                    <a:lnTo>
                      <a:pt x="458" y="13"/>
                    </a:lnTo>
                    <a:lnTo>
                      <a:pt x="502" y="28"/>
                    </a:lnTo>
                    <a:lnTo>
                      <a:pt x="545" y="49"/>
                    </a:lnTo>
                    <a:lnTo>
                      <a:pt x="582" y="75"/>
                    </a:lnTo>
                    <a:lnTo>
                      <a:pt x="617" y="105"/>
                    </a:lnTo>
                    <a:lnTo>
                      <a:pt x="648" y="140"/>
                    </a:lnTo>
                    <a:lnTo>
                      <a:pt x="674" y="178"/>
                    </a:lnTo>
                    <a:lnTo>
                      <a:pt x="695" y="220"/>
                    </a:lnTo>
                    <a:lnTo>
                      <a:pt x="710" y="265"/>
                    </a:lnTo>
                    <a:lnTo>
                      <a:pt x="720" y="312"/>
                    </a:lnTo>
                    <a:lnTo>
                      <a:pt x="723" y="361"/>
                    </a:lnTo>
                    <a:lnTo>
                      <a:pt x="720" y="410"/>
                    </a:lnTo>
                    <a:lnTo>
                      <a:pt x="710" y="457"/>
                    </a:lnTo>
                    <a:lnTo>
                      <a:pt x="695" y="502"/>
                    </a:lnTo>
                    <a:lnTo>
                      <a:pt x="674" y="543"/>
                    </a:lnTo>
                    <a:lnTo>
                      <a:pt x="648" y="581"/>
                    </a:lnTo>
                    <a:lnTo>
                      <a:pt x="617" y="616"/>
                    </a:lnTo>
                    <a:lnTo>
                      <a:pt x="582" y="647"/>
                    </a:lnTo>
                    <a:lnTo>
                      <a:pt x="545" y="673"/>
                    </a:lnTo>
                    <a:lnTo>
                      <a:pt x="502" y="694"/>
                    </a:lnTo>
                    <a:lnTo>
                      <a:pt x="458" y="709"/>
                    </a:lnTo>
                    <a:lnTo>
                      <a:pt x="411" y="718"/>
                    </a:lnTo>
                    <a:lnTo>
                      <a:pt x="361" y="722"/>
                    </a:lnTo>
                    <a:lnTo>
                      <a:pt x="312" y="718"/>
                    </a:lnTo>
                    <a:lnTo>
                      <a:pt x="265" y="709"/>
                    </a:lnTo>
                    <a:lnTo>
                      <a:pt x="221" y="694"/>
                    </a:lnTo>
                    <a:lnTo>
                      <a:pt x="179" y="673"/>
                    </a:lnTo>
                    <a:lnTo>
                      <a:pt x="141" y="647"/>
                    </a:lnTo>
                    <a:lnTo>
                      <a:pt x="106" y="616"/>
                    </a:lnTo>
                    <a:lnTo>
                      <a:pt x="75" y="581"/>
                    </a:lnTo>
                    <a:lnTo>
                      <a:pt x="49" y="543"/>
                    </a:lnTo>
                    <a:lnTo>
                      <a:pt x="28" y="502"/>
                    </a:lnTo>
                    <a:lnTo>
                      <a:pt x="13" y="457"/>
                    </a:lnTo>
                    <a:lnTo>
                      <a:pt x="3" y="410"/>
                    </a:lnTo>
                    <a:lnTo>
                      <a:pt x="0" y="361"/>
                    </a:lnTo>
                    <a:lnTo>
                      <a:pt x="3" y="312"/>
                    </a:lnTo>
                    <a:lnTo>
                      <a:pt x="13" y="265"/>
                    </a:lnTo>
                    <a:lnTo>
                      <a:pt x="28" y="220"/>
                    </a:lnTo>
                    <a:lnTo>
                      <a:pt x="49" y="178"/>
                    </a:lnTo>
                    <a:lnTo>
                      <a:pt x="75" y="140"/>
                    </a:lnTo>
                    <a:lnTo>
                      <a:pt x="106" y="105"/>
                    </a:lnTo>
                    <a:lnTo>
                      <a:pt x="141" y="75"/>
                    </a:lnTo>
                    <a:lnTo>
                      <a:pt x="179" y="49"/>
                    </a:lnTo>
                    <a:lnTo>
                      <a:pt x="221" y="28"/>
                    </a:lnTo>
                    <a:lnTo>
                      <a:pt x="265" y="13"/>
                    </a:lnTo>
                    <a:lnTo>
                      <a:pt x="312" y="3"/>
                    </a:lnTo>
                    <a:lnTo>
                      <a:pt x="36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23">
                <a:extLst>
                  <a:ext uri="{FF2B5EF4-FFF2-40B4-BE49-F238E27FC236}">
                    <a16:creationId xmlns:a16="http://schemas.microsoft.com/office/drawing/2014/main" id="{65F0017F-7505-A646-BAE1-E785DACF57A1}"/>
                  </a:ext>
                </a:extLst>
              </p:cNvPr>
              <p:cNvSpPr>
                <a:spLocks noEditPoints="1"/>
              </p:cNvSpPr>
              <p:nvPr/>
            </p:nvSpPr>
            <p:spPr bwMode="auto">
              <a:xfrm>
                <a:off x="4157822" y="5561965"/>
                <a:ext cx="731520" cy="731520"/>
              </a:xfrm>
              <a:custGeom>
                <a:avLst/>
                <a:gdLst>
                  <a:gd name="T0" fmla="*/ 302 w 496"/>
                  <a:gd name="T1" fmla="*/ 244 h 495"/>
                  <a:gd name="T2" fmla="*/ 307 w 496"/>
                  <a:gd name="T3" fmla="*/ 257 h 495"/>
                  <a:gd name="T4" fmla="*/ 320 w 496"/>
                  <a:gd name="T5" fmla="*/ 251 h 495"/>
                  <a:gd name="T6" fmla="*/ 317 w 496"/>
                  <a:gd name="T7" fmla="*/ 240 h 495"/>
                  <a:gd name="T8" fmla="*/ 310 w 496"/>
                  <a:gd name="T9" fmla="*/ 216 h 495"/>
                  <a:gd name="T10" fmla="*/ 341 w 496"/>
                  <a:gd name="T11" fmla="*/ 248 h 495"/>
                  <a:gd name="T12" fmla="*/ 310 w 496"/>
                  <a:gd name="T13" fmla="*/ 278 h 495"/>
                  <a:gd name="T14" fmla="*/ 279 w 496"/>
                  <a:gd name="T15" fmla="*/ 248 h 495"/>
                  <a:gd name="T16" fmla="*/ 310 w 496"/>
                  <a:gd name="T17" fmla="*/ 216 h 495"/>
                  <a:gd name="T18" fmla="*/ 269 w 496"/>
                  <a:gd name="T19" fmla="*/ 217 h 495"/>
                  <a:gd name="T20" fmla="*/ 269 w 496"/>
                  <a:gd name="T21" fmla="*/ 278 h 495"/>
                  <a:gd name="T22" fmla="*/ 326 w 496"/>
                  <a:gd name="T23" fmla="*/ 296 h 495"/>
                  <a:gd name="T24" fmla="*/ 363 w 496"/>
                  <a:gd name="T25" fmla="*/ 248 h 495"/>
                  <a:gd name="T26" fmla="*/ 326 w 496"/>
                  <a:gd name="T27" fmla="*/ 199 h 495"/>
                  <a:gd name="T28" fmla="*/ 383 w 496"/>
                  <a:gd name="T29" fmla="*/ 342 h 495"/>
                  <a:gd name="T30" fmla="*/ 174 w 496"/>
                  <a:gd name="T31" fmla="*/ 317 h 495"/>
                  <a:gd name="T32" fmla="*/ 174 w 496"/>
                  <a:gd name="T33" fmla="*/ 302 h 495"/>
                  <a:gd name="T34" fmla="*/ 170 w 496"/>
                  <a:gd name="T35" fmla="*/ 195 h 495"/>
                  <a:gd name="T36" fmla="*/ 176 w 496"/>
                  <a:gd name="T37" fmla="*/ 182 h 495"/>
                  <a:gd name="T38" fmla="*/ 165 w 496"/>
                  <a:gd name="T39" fmla="*/ 156 h 495"/>
                  <a:gd name="T40" fmla="*/ 142 w 496"/>
                  <a:gd name="T41" fmla="*/ 176 h 495"/>
                  <a:gd name="T42" fmla="*/ 136 w 496"/>
                  <a:gd name="T43" fmla="*/ 190 h 495"/>
                  <a:gd name="T44" fmla="*/ 145 w 496"/>
                  <a:gd name="T45" fmla="*/ 299 h 495"/>
                  <a:gd name="T46" fmla="*/ 135 w 496"/>
                  <a:gd name="T47" fmla="*/ 310 h 495"/>
                  <a:gd name="T48" fmla="*/ 145 w 496"/>
                  <a:gd name="T49" fmla="*/ 321 h 495"/>
                  <a:gd name="T50" fmla="*/ 104 w 496"/>
                  <a:gd name="T51" fmla="*/ 134 h 495"/>
                  <a:gd name="T52" fmla="*/ 94 w 496"/>
                  <a:gd name="T53" fmla="*/ 141 h 495"/>
                  <a:gd name="T54" fmla="*/ 96 w 496"/>
                  <a:gd name="T55" fmla="*/ 359 h 495"/>
                  <a:gd name="T56" fmla="*/ 142 w 496"/>
                  <a:gd name="T57" fmla="*/ 363 h 495"/>
                  <a:gd name="T58" fmla="*/ 135 w 496"/>
                  <a:gd name="T59" fmla="*/ 376 h 495"/>
                  <a:gd name="T60" fmla="*/ 145 w 496"/>
                  <a:gd name="T61" fmla="*/ 381 h 495"/>
                  <a:gd name="T62" fmla="*/ 195 w 496"/>
                  <a:gd name="T63" fmla="*/ 378 h 495"/>
                  <a:gd name="T64" fmla="*/ 194 w 496"/>
                  <a:gd name="T65" fmla="*/ 365 h 495"/>
                  <a:gd name="T66" fmla="*/ 307 w 496"/>
                  <a:gd name="T67" fmla="*/ 363 h 495"/>
                  <a:gd name="T68" fmla="*/ 300 w 496"/>
                  <a:gd name="T69" fmla="*/ 372 h 495"/>
                  <a:gd name="T70" fmla="*/ 310 w 496"/>
                  <a:gd name="T71" fmla="*/ 381 h 495"/>
                  <a:gd name="T72" fmla="*/ 360 w 496"/>
                  <a:gd name="T73" fmla="*/ 378 h 495"/>
                  <a:gd name="T74" fmla="*/ 359 w 496"/>
                  <a:gd name="T75" fmla="*/ 365 h 495"/>
                  <a:gd name="T76" fmla="*/ 397 w 496"/>
                  <a:gd name="T77" fmla="*/ 362 h 495"/>
                  <a:gd name="T78" fmla="*/ 402 w 496"/>
                  <a:gd name="T79" fmla="*/ 351 h 495"/>
                  <a:gd name="T80" fmla="*/ 398 w 496"/>
                  <a:gd name="T81" fmla="*/ 135 h 495"/>
                  <a:gd name="T82" fmla="*/ 289 w 496"/>
                  <a:gd name="T83" fmla="*/ 4 h 495"/>
                  <a:gd name="T84" fmla="*/ 424 w 496"/>
                  <a:gd name="T85" fmla="*/ 73 h 495"/>
                  <a:gd name="T86" fmla="*/ 493 w 496"/>
                  <a:gd name="T87" fmla="*/ 208 h 495"/>
                  <a:gd name="T88" fmla="*/ 468 w 496"/>
                  <a:gd name="T89" fmla="*/ 362 h 495"/>
                  <a:gd name="T90" fmla="*/ 363 w 496"/>
                  <a:gd name="T91" fmla="*/ 467 h 495"/>
                  <a:gd name="T92" fmla="*/ 208 w 496"/>
                  <a:gd name="T93" fmla="*/ 492 h 495"/>
                  <a:gd name="T94" fmla="*/ 73 w 496"/>
                  <a:gd name="T95" fmla="*/ 423 h 495"/>
                  <a:gd name="T96" fmla="*/ 3 w 496"/>
                  <a:gd name="T97" fmla="*/ 288 h 495"/>
                  <a:gd name="T98" fmla="*/ 28 w 496"/>
                  <a:gd name="T99" fmla="*/ 134 h 495"/>
                  <a:gd name="T100" fmla="*/ 135 w 496"/>
                  <a:gd name="T101" fmla="*/ 2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6" h="495">
                    <a:moveTo>
                      <a:pt x="310" y="238"/>
                    </a:moveTo>
                    <a:lnTo>
                      <a:pt x="306" y="238"/>
                    </a:lnTo>
                    <a:lnTo>
                      <a:pt x="304" y="241"/>
                    </a:lnTo>
                    <a:lnTo>
                      <a:pt x="302" y="244"/>
                    </a:lnTo>
                    <a:lnTo>
                      <a:pt x="300" y="248"/>
                    </a:lnTo>
                    <a:lnTo>
                      <a:pt x="302" y="251"/>
                    </a:lnTo>
                    <a:lnTo>
                      <a:pt x="304" y="255"/>
                    </a:lnTo>
                    <a:lnTo>
                      <a:pt x="307" y="257"/>
                    </a:lnTo>
                    <a:lnTo>
                      <a:pt x="311" y="258"/>
                    </a:lnTo>
                    <a:lnTo>
                      <a:pt x="314" y="257"/>
                    </a:lnTo>
                    <a:lnTo>
                      <a:pt x="318" y="255"/>
                    </a:lnTo>
                    <a:lnTo>
                      <a:pt x="320" y="251"/>
                    </a:lnTo>
                    <a:lnTo>
                      <a:pt x="320" y="248"/>
                    </a:lnTo>
                    <a:lnTo>
                      <a:pt x="320" y="244"/>
                    </a:lnTo>
                    <a:lnTo>
                      <a:pt x="319" y="242"/>
                    </a:lnTo>
                    <a:lnTo>
                      <a:pt x="317" y="240"/>
                    </a:lnTo>
                    <a:lnTo>
                      <a:pt x="314" y="238"/>
                    </a:lnTo>
                    <a:lnTo>
                      <a:pt x="311" y="238"/>
                    </a:lnTo>
                    <a:lnTo>
                      <a:pt x="310" y="238"/>
                    </a:lnTo>
                    <a:close/>
                    <a:moveTo>
                      <a:pt x="310" y="216"/>
                    </a:moveTo>
                    <a:lnTo>
                      <a:pt x="323" y="218"/>
                    </a:lnTo>
                    <a:lnTo>
                      <a:pt x="332" y="226"/>
                    </a:lnTo>
                    <a:lnTo>
                      <a:pt x="339" y="235"/>
                    </a:lnTo>
                    <a:lnTo>
                      <a:pt x="341" y="248"/>
                    </a:lnTo>
                    <a:lnTo>
                      <a:pt x="339" y="260"/>
                    </a:lnTo>
                    <a:lnTo>
                      <a:pt x="332" y="270"/>
                    </a:lnTo>
                    <a:lnTo>
                      <a:pt x="323" y="276"/>
                    </a:lnTo>
                    <a:lnTo>
                      <a:pt x="310" y="278"/>
                    </a:lnTo>
                    <a:lnTo>
                      <a:pt x="298" y="276"/>
                    </a:lnTo>
                    <a:lnTo>
                      <a:pt x="289" y="270"/>
                    </a:lnTo>
                    <a:lnTo>
                      <a:pt x="282" y="260"/>
                    </a:lnTo>
                    <a:lnTo>
                      <a:pt x="279" y="248"/>
                    </a:lnTo>
                    <a:lnTo>
                      <a:pt x="282" y="235"/>
                    </a:lnTo>
                    <a:lnTo>
                      <a:pt x="289" y="226"/>
                    </a:lnTo>
                    <a:lnTo>
                      <a:pt x="298" y="218"/>
                    </a:lnTo>
                    <a:lnTo>
                      <a:pt x="310" y="216"/>
                    </a:lnTo>
                    <a:close/>
                    <a:moveTo>
                      <a:pt x="310" y="196"/>
                    </a:moveTo>
                    <a:lnTo>
                      <a:pt x="294" y="199"/>
                    </a:lnTo>
                    <a:lnTo>
                      <a:pt x="280" y="207"/>
                    </a:lnTo>
                    <a:lnTo>
                      <a:pt x="269" y="217"/>
                    </a:lnTo>
                    <a:lnTo>
                      <a:pt x="262" y="231"/>
                    </a:lnTo>
                    <a:lnTo>
                      <a:pt x="258" y="248"/>
                    </a:lnTo>
                    <a:lnTo>
                      <a:pt x="262" y="264"/>
                    </a:lnTo>
                    <a:lnTo>
                      <a:pt x="269" y="278"/>
                    </a:lnTo>
                    <a:lnTo>
                      <a:pt x="280" y="289"/>
                    </a:lnTo>
                    <a:lnTo>
                      <a:pt x="294" y="296"/>
                    </a:lnTo>
                    <a:lnTo>
                      <a:pt x="310" y="299"/>
                    </a:lnTo>
                    <a:lnTo>
                      <a:pt x="326" y="296"/>
                    </a:lnTo>
                    <a:lnTo>
                      <a:pt x="341" y="289"/>
                    </a:lnTo>
                    <a:lnTo>
                      <a:pt x="352" y="278"/>
                    </a:lnTo>
                    <a:lnTo>
                      <a:pt x="360" y="264"/>
                    </a:lnTo>
                    <a:lnTo>
                      <a:pt x="363" y="248"/>
                    </a:lnTo>
                    <a:lnTo>
                      <a:pt x="360" y="231"/>
                    </a:lnTo>
                    <a:lnTo>
                      <a:pt x="352" y="217"/>
                    </a:lnTo>
                    <a:lnTo>
                      <a:pt x="341" y="207"/>
                    </a:lnTo>
                    <a:lnTo>
                      <a:pt x="326" y="199"/>
                    </a:lnTo>
                    <a:lnTo>
                      <a:pt x="310" y="196"/>
                    </a:lnTo>
                    <a:close/>
                    <a:moveTo>
                      <a:pt x="165" y="156"/>
                    </a:moveTo>
                    <a:lnTo>
                      <a:pt x="383" y="156"/>
                    </a:lnTo>
                    <a:lnTo>
                      <a:pt x="383" y="342"/>
                    </a:lnTo>
                    <a:lnTo>
                      <a:pt x="165" y="342"/>
                    </a:lnTo>
                    <a:lnTo>
                      <a:pt x="165" y="321"/>
                    </a:lnTo>
                    <a:lnTo>
                      <a:pt x="170" y="319"/>
                    </a:lnTo>
                    <a:lnTo>
                      <a:pt x="174" y="317"/>
                    </a:lnTo>
                    <a:lnTo>
                      <a:pt x="176" y="313"/>
                    </a:lnTo>
                    <a:lnTo>
                      <a:pt x="176" y="310"/>
                    </a:lnTo>
                    <a:lnTo>
                      <a:pt x="176" y="305"/>
                    </a:lnTo>
                    <a:lnTo>
                      <a:pt x="174" y="302"/>
                    </a:lnTo>
                    <a:lnTo>
                      <a:pt x="170" y="299"/>
                    </a:lnTo>
                    <a:lnTo>
                      <a:pt x="165" y="299"/>
                    </a:lnTo>
                    <a:lnTo>
                      <a:pt x="165" y="196"/>
                    </a:lnTo>
                    <a:lnTo>
                      <a:pt x="170" y="195"/>
                    </a:lnTo>
                    <a:lnTo>
                      <a:pt x="174" y="193"/>
                    </a:lnTo>
                    <a:lnTo>
                      <a:pt x="176" y="190"/>
                    </a:lnTo>
                    <a:lnTo>
                      <a:pt x="176" y="186"/>
                    </a:lnTo>
                    <a:lnTo>
                      <a:pt x="176" y="182"/>
                    </a:lnTo>
                    <a:lnTo>
                      <a:pt x="174" y="179"/>
                    </a:lnTo>
                    <a:lnTo>
                      <a:pt x="170" y="176"/>
                    </a:lnTo>
                    <a:lnTo>
                      <a:pt x="165" y="175"/>
                    </a:lnTo>
                    <a:lnTo>
                      <a:pt x="165" y="156"/>
                    </a:lnTo>
                    <a:close/>
                    <a:moveTo>
                      <a:pt x="115" y="156"/>
                    </a:moveTo>
                    <a:lnTo>
                      <a:pt x="145" y="156"/>
                    </a:lnTo>
                    <a:lnTo>
                      <a:pt x="145" y="175"/>
                    </a:lnTo>
                    <a:lnTo>
                      <a:pt x="142" y="176"/>
                    </a:lnTo>
                    <a:lnTo>
                      <a:pt x="138" y="179"/>
                    </a:lnTo>
                    <a:lnTo>
                      <a:pt x="136" y="182"/>
                    </a:lnTo>
                    <a:lnTo>
                      <a:pt x="135" y="186"/>
                    </a:lnTo>
                    <a:lnTo>
                      <a:pt x="136" y="190"/>
                    </a:lnTo>
                    <a:lnTo>
                      <a:pt x="138" y="193"/>
                    </a:lnTo>
                    <a:lnTo>
                      <a:pt x="142" y="195"/>
                    </a:lnTo>
                    <a:lnTo>
                      <a:pt x="145" y="196"/>
                    </a:lnTo>
                    <a:lnTo>
                      <a:pt x="145" y="299"/>
                    </a:lnTo>
                    <a:lnTo>
                      <a:pt x="142" y="299"/>
                    </a:lnTo>
                    <a:lnTo>
                      <a:pt x="138" y="302"/>
                    </a:lnTo>
                    <a:lnTo>
                      <a:pt x="136" y="305"/>
                    </a:lnTo>
                    <a:lnTo>
                      <a:pt x="135" y="310"/>
                    </a:lnTo>
                    <a:lnTo>
                      <a:pt x="136" y="313"/>
                    </a:lnTo>
                    <a:lnTo>
                      <a:pt x="138" y="317"/>
                    </a:lnTo>
                    <a:lnTo>
                      <a:pt x="142" y="319"/>
                    </a:lnTo>
                    <a:lnTo>
                      <a:pt x="145" y="321"/>
                    </a:lnTo>
                    <a:lnTo>
                      <a:pt x="145" y="342"/>
                    </a:lnTo>
                    <a:lnTo>
                      <a:pt x="115" y="342"/>
                    </a:lnTo>
                    <a:lnTo>
                      <a:pt x="115" y="156"/>
                    </a:lnTo>
                    <a:close/>
                    <a:moveTo>
                      <a:pt x="104" y="134"/>
                    </a:moveTo>
                    <a:lnTo>
                      <a:pt x="101" y="135"/>
                    </a:lnTo>
                    <a:lnTo>
                      <a:pt x="97" y="136"/>
                    </a:lnTo>
                    <a:lnTo>
                      <a:pt x="95" y="139"/>
                    </a:lnTo>
                    <a:lnTo>
                      <a:pt x="94" y="141"/>
                    </a:lnTo>
                    <a:lnTo>
                      <a:pt x="93" y="145"/>
                    </a:lnTo>
                    <a:lnTo>
                      <a:pt x="93" y="351"/>
                    </a:lnTo>
                    <a:lnTo>
                      <a:pt x="94" y="356"/>
                    </a:lnTo>
                    <a:lnTo>
                      <a:pt x="96" y="359"/>
                    </a:lnTo>
                    <a:lnTo>
                      <a:pt x="100" y="360"/>
                    </a:lnTo>
                    <a:lnTo>
                      <a:pt x="104" y="362"/>
                    </a:lnTo>
                    <a:lnTo>
                      <a:pt x="145" y="362"/>
                    </a:lnTo>
                    <a:lnTo>
                      <a:pt x="142" y="363"/>
                    </a:lnTo>
                    <a:lnTo>
                      <a:pt x="138" y="365"/>
                    </a:lnTo>
                    <a:lnTo>
                      <a:pt x="136" y="369"/>
                    </a:lnTo>
                    <a:lnTo>
                      <a:pt x="135" y="372"/>
                    </a:lnTo>
                    <a:lnTo>
                      <a:pt x="135" y="376"/>
                    </a:lnTo>
                    <a:lnTo>
                      <a:pt x="137" y="378"/>
                    </a:lnTo>
                    <a:lnTo>
                      <a:pt x="140" y="380"/>
                    </a:lnTo>
                    <a:lnTo>
                      <a:pt x="142" y="381"/>
                    </a:lnTo>
                    <a:lnTo>
                      <a:pt x="145" y="381"/>
                    </a:lnTo>
                    <a:lnTo>
                      <a:pt x="186" y="381"/>
                    </a:lnTo>
                    <a:lnTo>
                      <a:pt x="190" y="381"/>
                    </a:lnTo>
                    <a:lnTo>
                      <a:pt x="192" y="380"/>
                    </a:lnTo>
                    <a:lnTo>
                      <a:pt x="195" y="378"/>
                    </a:lnTo>
                    <a:lnTo>
                      <a:pt x="196" y="376"/>
                    </a:lnTo>
                    <a:lnTo>
                      <a:pt x="197" y="372"/>
                    </a:lnTo>
                    <a:lnTo>
                      <a:pt x="196" y="369"/>
                    </a:lnTo>
                    <a:lnTo>
                      <a:pt x="194" y="365"/>
                    </a:lnTo>
                    <a:lnTo>
                      <a:pt x="190" y="363"/>
                    </a:lnTo>
                    <a:lnTo>
                      <a:pt x="186" y="362"/>
                    </a:lnTo>
                    <a:lnTo>
                      <a:pt x="310" y="362"/>
                    </a:lnTo>
                    <a:lnTo>
                      <a:pt x="307" y="363"/>
                    </a:lnTo>
                    <a:lnTo>
                      <a:pt x="304" y="364"/>
                    </a:lnTo>
                    <a:lnTo>
                      <a:pt x="302" y="366"/>
                    </a:lnTo>
                    <a:lnTo>
                      <a:pt x="300" y="369"/>
                    </a:lnTo>
                    <a:lnTo>
                      <a:pt x="300" y="372"/>
                    </a:lnTo>
                    <a:lnTo>
                      <a:pt x="302" y="377"/>
                    </a:lnTo>
                    <a:lnTo>
                      <a:pt x="303" y="379"/>
                    </a:lnTo>
                    <a:lnTo>
                      <a:pt x="306" y="381"/>
                    </a:lnTo>
                    <a:lnTo>
                      <a:pt x="310" y="381"/>
                    </a:lnTo>
                    <a:lnTo>
                      <a:pt x="352" y="381"/>
                    </a:lnTo>
                    <a:lnTo>
                      <a:pt x="356" y="381"/>
                    </a:lnTo>
                    <a:lnTo>
                      <a:pt x="358" y="380"/>
                    </a:lnTo>
                    <a:lnTo>
                      <a:pt x="360" y="378"/>
                    </a:lnTo>
                    <a:lnTo>
                      <a:pt x="361" y="376"/>
                    </a:lnTo>
                    <a:lnTo>
                      <a:pt x="363" y="372"/>
                    </a:lnTo>
                    <a:lnTo>
                      <a:pt x="361" y="369"/>
                    </a:lnTo>
                    <a:lnTo>
                      <a:pt x="359" y="365"/>
                    </a:lnTo>
                    <a:lnTo>
                      <a:pt x="356" y="363"/>
                    </a:lnTo>
                    <a:lnTo>
                      <a:pt x="352" y="362"/>
                    </a:lnTo>
                    <a:lnTo>
                      <a:pt x="393" y="362"/>
                    </a:lnTo>
                    <a:lnTo>
                      <a:pt x="397" y="362"/>
                    </a:lnTo>
                    <a:lnTo>
                      <a:pt x="399" y="359"/>
                    </a:lnTo>
                    <a:lnTo>
                      <a:pt x="401" y="357"/>
                    </a:lnTo>
                    <a:lnTo>
                      <a:pt x="402" y="355"/>
                    </a:lnTo>
                    <a:lnTo>
                      <a:pt x="402" y="351"/>
                    </a:lnTo>
                    <a:lnTo>
                      <a:pt x="402" y="145"/>
                    </a:lnTo>
                    <a:lnTo>
                      <a:pt x="402" y="140"/>
                    </a:lnTo>
                    <a:lnTo>
                      <a:pt x="400" y="138"/>
                    </a:lnTo>
                    <a:lnTo>
                      <a:pt x="398" y="135"/>
                    </a:lnTo>
                    <a:lnTo>
                      <a:pt x="393" y="134"/>
                    </a:lnTo>
                    <a:lnTo>
                      <a:pt x="104" y="134"/>
                    </a:lnTo>
                    <a:close/>
                    <a:moveTo>
                      <a:pt x="248" y="0"/>
                    </a:moveTo>
                    <a:lnTo>
                      <a:pt x="289" y="4"/>
                    </a:lnTo>
                    <a:lnTo>
                      <a:pt x="326" y="13"/>
                    </a:lnTo>
                    <a:lnTo>
                      <a:pt x="363" y="27"/>
                    </a:lnTo>
                    <a:lnTo>
                      <a:pt x="394" y="48"/>
                    </a:lnTo>
                    <a:lnTo>
                      <a:pt x="424" y="73"/>
                    </a:lnTo>
                    <a:lnTo>
                      <a:pt x="448" y="101"/>
                    </a:lnTo>
                    <a:lnTo>
                      <a:pt x="468" y="134"/>
                    </a:lnTo>
                    <a:lnTo>
                      <a:pt x="484" y="169"/>
                    </a:lnTo>
                    <a:lnTo>
                      <a:pt x="493" y="208"/>
                    </a:lnTo>
                    <a:lnTo>
                      <a:pt x="496" y="248"/>
                    </a:lnTo>
                    <a:lnTo>
                      <a:pt x="493" y="288"/>
                    </a:lnTo>
                    <a:lnTo>
                      <a:pt x="484" y="326"/>
                    </a:lnTo>
                    <a:lnTo>
                      <a:pt x="468" y="362"/>
                    </a:lnTo>
                    <a:lnTo>
                      <a:pt x="448" y="393"/>
                    </a:lnTo>
                    <a:lnTo>
                      <a:pt x="424" y="423"/>
                    </a:lnTo>
                    <a:lnTo>
                      <a:pt x="394" y="447"/>
                    </a:lnTo>
                    <a:lnTo>
                      <a:pt x="363" y="467"/>
                    </a:lnTo>
                    <a:lnTo>
                      <a:pt x="326" y="482"/>
                    </a:lnTo>
                    <a:lnTo>
                      <a:pt x="289" y="492"/>
                    </a:lnTo>
                    <a:lnTo>
                      <a:pt x="248" y="495"/>
                    </a:lnTo>
                    <a:lnTo>
                      <a:pt x="208" y="492"/>
                    </a:lnTo>
                    <a:lnTo>
                      <a:pt x="170" y="482"/>
                    </a:lnTo>
                    <a:lnTo>
                      <a:pt x="135" y="467"/>
                    </a:lnTo>
                    <a:lnTo>
                      <a:pt x="102" y="447"/>
                    </a:lnTo>
                    <a:lnTo>
                      <a:pt x="73" y="423"/>
                    </a:lnTo>
                    <a:lnTo>
                      <a:pt x="48" y="393"/>
                    </a:lnTo>
                    <a:lnTo>
                      <a:pt x="28" y="362"/>
                    </a:lnTo>
                    <a:lnTo>
                      <a:pt x="13" y="326"/>
                    </a:lnTo>
                    <a:lnTo>
                      <a:pt x="3" y="288"/>
                    </a:lnTo>
                    <a:lnTo>
                      <a:pt x="0" y="248"/>
                    </a:lnTo>
                    <a:lnTo>
                      <a:pt x="3" y="208"/>
                    </a:lnTo>
                    <a:lnTo>
                      <a:pt x="13" y="169"/>
                    </a:lnTo>
                    <a:lnTo>
                      <a:pt x="28" y="134"/>
                    </a:lnTo>
                    <a:lnTo>
                      <a:pt x="48" y="101"/>
                    </a:lnTo>
                    <a:lnTo>
                      <a:pt x="73" y="73"/>
                    </a:lnTo>
                    <a:lnTo>
                      <a:pt x="102" y="48"/>
                    </a:lnTo>
                    <a:lnTo>
                      <a:pt x="135" y="27"/>
                    </a:lnTo>
                    <a:lnTo>
                      <a:pt x="170" y="13"/>
                    </a:lnTo>
                    <a:lnTo>
                      <a:pt x="208" y="4"/>
                    </a:lnTo>
                    <a:lnTo>
                      <a:pt x="24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5" name="Group 144">
              <a:extLst>
                <a:ext uri="{FF2B5EF4-FFF2-40B4-BE49-F238E27FC236}">
                  <a16:creationId xmlns:a16="http://schemas.microsoft.com/office/drawing/2014/main" id="{3A787A80-313E-5642-A898-C8633551DCF5}"/>
                </a:ext>
              </a:extLst>
            </p:cNvPr>
            <p:cNvGrpSpPr/>
            <p:nvPr/>
          </p:nvGrpSpPr>
          <p:grpSpPr>
            <a:xfrm>
              <a:off x="2269837" y="4609957"/>
              <a:ext cx="1147763" cy="1146175"/>
              <a:chOff x="2159001" y="4656138"/>
              <a:chExt cx="1147763" cy="1146175"/>
            </a:xfrm>
          </p:grpSpPr>
          <p:sp>
            <p:nvSpPr>
              <p:cNvPr id="163" name="Freeform 13">
                <a:extLst>
                  <a:ext uri="{FF2B5EF4-FFF2-40B4-BE49-F238E27FC236}">
                    <a16:creationId xmlns:a16="http://schemas.microsoft.com/office/drawing/2014/main" id="{BA8785FC-FD2D-C342-802F-4048A1162500}"/>
                  </a:ext>
                </a:extLst>
              </p:cNvPr>
              <p:cNvSpPr>
                <a:spLocks/>
              </p:cNvSpPr>
              <p:nvPr/>
            </p:nvSpPr>
            <p:spPr bwMode="auto">
              <a:xfrm>
                <a:off x="2159001" y="4656138"/>
                <a:ext cx="1147763" cy="1146175"/>
              </a:xfrm>
              <a:custGeom>
                <a:avLst/>
                <a:gdLst>
                  <a:gd name="T0" fmla="*/ 361 w 723"/>
                  <a:gd name="T1" fmla="*/ 0 h 722"/>
                  <a:gd name="T2" fmla="*/ 409 w 723"/>
                  <a:gd name="T3" fmla="*/ 3 h 722"/>
                  <a:gd name="T4" fmla="*/ 457 w 723"/>
                  <a:gd name="T5" fmla="*/ 13 h 722"/>
                  <a:gd name="T6" fmla="*/ 502 w 723"/>
                  <a:gd name="T7" fmla="*/ 28 h 722"/>
                  <a:gd name="T8" fmla="*/ 543 w 723"/>
                  <a:gd name="T9" fmla="*/ 49 h 722"/>
                  <a:gd name="T10" fmla="*/ 582 w 723"/>
                  <a:gd name="T11" fmla="*/ 75 h 722"/>
                  <a:gd name="T12" fmla="*/ 617 w 723"/>
                  <a:gd name="T13" fmla="*/ 105 h 722"/>
                  <a:gd name="T14" fmla="*/ 648 w 723"/>
                  <a:gd name="T15" fmla="*/ 141 h 722"/>
                  <a:gd name="T16" fmla="*/ 673 w 723"/>
                  <a:gd name="T17" fmla="*/ 178 h 722"/>
                  <a:gd name="T18" fmla="*/ 695 w 723"/>
                  <a:gd name="T19" fmla="*/ 220 h 722"/>
                  <a:gd name="T20" fmla="*/ 710 w 723"/>
                  <a:gd name="T21" fmla="*/ 265 h 722"/>
                  <a:gd name="T22" fmla="*/ 719 w 723"/>
                  <a:gd name="T23" fmla="*/ 312 h 722"/>
                  <a:gd name="T24" fmla="*/ 723 w 723"/>
                  <a:gd name="T25" fmla="*/ 361 h 722"/>
                  <a:gd name="T26" fmla="*/ 719 w 723"/>
                  <a:gd name="T27" fmla="*/ 410 h 722"/>
                  <a:gd name="T28" fmla="*/ 710 w 723"/>
                  <a:gd name="T29" fmla="*/ 457 h 722"/>
                  <a:gd name="T30" fmla="*/ 695 w 723"/>
                  <a:gd name="T31" fmla="*/ 502 h 722"/>
                  <a:gd name="T32" fmla="*/ 673 w 723"/>
                  <a:gd name="T33" fmla="*/ 543 h 722"/>
                  <a:gd name="T34" fmla="*/ 648 w 723"/>
                  <a:gd name="T35" fmla="*/ 582 h 722"/>
                  <a:gd name="T36" fmla="*/ 617 w 723"/>
                  <a:gd name="T37" fmla="*/ 617 h 722"/>
                  <a:gd name="T38" fmla="*/ 582 w 723"/>
                  <a:gd name="T39" fmla="*/ 647 h 722"/>
                  <a:gd name="T40" fmla="*/ 543 w 723"/>
                  <a:gd name="T41" fmla="*/ 673 h 722"/>
                  <a:gd name="T42" fmla="*/ 502 w 723"/>
                  <a:gd name="T43" fmla="*/ 694 h 722"/>
                  <a:gd name="T44" fmla="*/ 457 w 723"/>
                  <a:gd name="T45" fmla="*/ 709 h 722"/>
                  <a:gd name="T46" fmla="*/ 409 w 723"/>
                  <a:gd name="T47" fmla="*/ 719 h 722"/>
                  <a:gd name="T48" fmla="*/ 361 w 723"/>
                  <a:gd name="T49" fmla="*/ 722 h 722"/>
                  <a:gd name="T50" fmla="*/ 312 w 723"/>
                  <a:gd name="T51" fmla="*/ 719 h 722"/>
                  <a:gd name="T52" fmla="*/ 265 w 723"/>
                  <a:gd name="T53" fmla="*/ 709 h 722"/>
                  <a:gd name="T54" fmla="*/ 220 w 723"/>
                  <a:gd name="T55" fmla="*/ 694 h 722"/>
                  <a:gd name="T56" fmla="*/ 178 w 723"/>
                  <a:gd name="T57" fmla="*/ 673 h 722"/>
                  <a:gd name="T58" fmla="*/ 139 w 723"/>
                  <a:gd name="T59" fmla="*/ 647 h 722"/>
                  <a:gd name="T60" fmla="*/ 105 w 723"/>
                  <a:gd name="T61" fmla="*/ 617 h 722"/>
                  <a:gd name="T62" fmla="*/ 75 w 723"/>
                  <a:gd name="T63" fmla="*/ 582 h 722"/>
                  <a:gd name="T64" fmla="*/ 49 w 723"/>
                  <a:gd name="T65" fmla="*/ 543 h 722"/>
                  <a:gd name="T66" fmla="*/ 28 w 723"/>
                  <a:gd name="T67" fmla="*/ 502 h 722"/>
                  <a:gd name="T68" fmla="*/ 12 w 723"/>
                  <a:gd name="T69" fmla="*/ 457 h 722"/>
                  <a:gd name="T70" fmla="*/ 2 w 723"/>
                  <a:gd name="T71" fmla="*/ 410 h 722"/>
                  <a:gd name="T72" fmla="*/ 0 w 723"/>
                  <a:gd name="T73" fmla="*/ 361 h 722"/>
                  <a:gd name="T74" fmla="*/ 2 w 723"/>
                  <a:gd name="T75" fmla="*/ 312 h 722"/>
                  <a:gd name="T76" fmla="*/ 12 w 723"/>
                  <a:gd name="T77" fmla="*/ 265 h 722"/>
                  <a:gd name="T78" fmla="*/ 28 w 723"/>
                  <a:gd name="T79" fmla="*/ 220 h 722"/>
                  <a:gd name="T80" fmla="*/ 49 w 723"/>
                  <a:gd name="T81" fmla="*/ 178 h 722"/>
                  <a:gd name="T82" fmla="*/ 75 w 723"/>
                  <a:gd name="T83" fmla="*/ 141 h 722"/>
                  <a:gd name="T84" fmla="*/ 105 w 723"/>
                  <a:gd name="T85" fmla="*/ 105 h 722"/>
                  <a:gd name="T86" fmla="*/ 139 w 723"/>
                  <a:gd name="T87" fmla="*/ 75 h 722"/>
                  <a:gd name="T88" fmla="*/ 178 w 723"/>
                  <a:gd name="T89" fmla="*/ 49 h 722"/>
                  <a:gd name="T90" fmla="*/ 220 w 723"/>
                  <a:gd name="T91" fmla="*/ 28 h 722"/>
                  <a:gd name="T92" fmla="*/ 265 w 723"/>
                  <a:gd name="T93" fmla="*/ 13 h 722"/>
                  <a:gd name="T94" fmla="*/ 312 w 723"/>
                  <a:gd name="T95" fmla="*/ 3 h 722"/>
                  <a:gd name="T96" fmla="*/ 361 w 723"/>
                  <a:gd name="T9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3" h="722">
                    <a:moveTo>
                      <a:pt x="361" y="0"/>
                    </a:moveTo>
                    <a:lnTo>
                      <a:pt x="409" y="3"/>
                    </a:lnTo>
                    <a:lnTo>
                      <a:pt x="457" y="13"/>
                    </a:lnTo>
                    <a:lnTo>
                      <a:pt x="502" y="28"/>
                    </a:lnTo>
                    <a:lnTo>
                      <a:pt x="543" y="49"/>
                    </a:lnTo>
                    <a:lnTo>
                      <a:pt x="582" y="75"/>
                    </a:lnTo>
                    <a:lnTo>
                      <a:pt x="617" y="105"/>
                    </a:lnTo>
                    <a:lnTo>
                      <a:pt x="648" y="141"/>
                    </a:lnTo>
                    <a:lnTo>
                      <a:pt x="673" y="178"/>
                    </a:lnTo>
                    <a:lnTo>
                      <a:pt x="695" y="220"/>
                    </a:lnTo>
                    <a:lnTo>
                      <a:pt x="710" y="265"/>
                    </a:lnTo>
                    <a:lnTo>
                      <a:pt x="719" y="312"/>
                    </a:lnTo>
                    <a:lnTo>
                      <a:pt x="723" y="361"/>
                    </a:lnTo>
                    <a:lnTo>
                      <a:pt x="719" y="410"/>
                    </a:lnTo>
                    <a:lnTo>
                      <a:pt x="710" y="457"/>
                    </a:lnTo>
                    <a:lnTo>
                      <a:pt x="695" y="502"/>
                    </a:lnTo>
                    <a:lnTo>
                      <a:pt x="673" y="543"/>
                    </a:lnTo>
                    <a:lnTo>
                      <a:pt x="648" y="582"/>
                    </a:lnTo>
                    <a:lnTo>
                      <a:pt x="617" y="617"/>
                    </a:lnTo>
                    <a:lnTo>
                      <a:pt x="582" y="647"/>
                    </a:lnTo>
                    <a:lnTo>
                      <a:pt x="543" y="673"/>
                    </a:lnTo>
                    <a:lnTo>
                      <a:pt x="502" y="694"/>
                    </a:lnTo>
                    <a:lnTo>
                      <a:pt x="457" y="709"/>
                    </a:lnTo>
                    <a:lnTo>
                      <a:pt x="409" y="719"/>
                    </a:lnTo>
                    <a:lnTo>
                      <a:pt x="361" y="722"/>
                    </a:lnTo>
                    <a:lnTo>
                      <a:pt x="312" y="719"/>
                    </a:lnTo>
                    <a:lnTo>
                      <a:pt x="265" y="709"/>
                    </a:lnTo>
                    <a:lnTo>
                      <a:pt x="220" y="694"/>
                    </a:lnTo>
                    <a:lnTo>
                      <a:pt x="178" y="673"/>
                    </a:lnTo>
                    <a:lnTo>
                      <a:pt x="139" y="647"/>
                    </a:lnTo>
                    <a:lnTo>
                      <a:pt x="105" y="617"/>
                    </a:lnTo>
                    <a:lnTo>
                      <a:pt x="75" y="582"/>
                    </a:lnTo>
                    <a:lnTo>
                      <a:pt x="49" y="543"/>
                    </a:lnTo>
                    <a:lnTo>
                      <a:pt x="28" y="502"/>
                    </a:lnTo>
                    <a:lnTo>
                      <a:pt x="12" y="457"/>
                    </a:lnTo>
                    <a:lnTo>
                      <a:pt x="2" y="410"/>
                    </a:lnTo>
                    <a:lnTo>
                      <a:pt x="0" y="361"/>
                    </a:lnTo>
                    <a:lnTo>
                      <a:pt x="2" y="312"/>
                    </a:lnTo>
                    <a:lnTo>
                      <a:pt x="12" y="265"/>
                    </a:lnTo>
                    <a:lnTo>
                      <a:pt x="28" y="220"/>
                    </a:lnTo>
                    <a:lnTo>
                      <a:pt x="49" y="178"/>
                    </a:lnTo>
                    <a:lnTo>
                      <a:pt x="75" y="141"/>
                    </a:lnTo>
                    <a:lnTo>
                      <a:pt x="105" y="105"/>
                    </a:lnTo>
                    <a:lnTo>
                      <a:pt x="139" y="75"/>
                    </a:lnTo>
                    <a:lnTo>
                      <a:pt x="178" y="49"/>
                    </a:lnTo>
                    <a:lnTo>
                      <a:pt x="220" y="28"/>
                    </a:lnTo>
                    <a:lnTo>
                      <a:pt x="265" y="13"/>
                    </a:lnTo>
                    <a:lnTo>
                      <a:pt x="312" y="3"/>
                    </a:lnTo>
                    <a:lnTo>
                      <a:pt x="36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24">
                <a:extLst>
                  <a:ext uri="{FF2B5EF4-FFF2-40B4-BE49-F238E27FC236}">
                    <a16:creationId xmlns:a16="http://schemas.microsoft.com/office/drawing/2014/main" id="{2AE41079-A49D-6B49-98E0-337ABEC9A2D9}"/>
                  </a:ext>
                </a:extLst>
              </p:cNvPr>
              <p:cNvSpPr>
                <a:spLocks noEditPoints="1"/>
              </p:cNvSpPr>
              <p:nvPr/>
            </p:nvSpPr>
            <p:spPr bwMode="auto">
              <a:xfrm>
                <a:off x="2367122" y="4863465"/>
                <a:ext cx="731520" cy="731520"/>
              </a:xfrm>
              <a:custGeom>
                <a:avLst/>
                <a:gdLst>
                  <a:gd name="T0" fmla="*/ 128 w 450"/>
                  <a:gd name="T1" fmla="*/ 273 h 451"/>
                  <a:gd name="T2" fmla="*/ 122 w 450"/>
                  <a:gd name="T3" fmla="*/ 278 h 451"/>
                  <a:gd name="T4" fmla="*/ 122 w 450"/>
                  <a:gd name="T5" fmla="*/ 285 h 451"/>
                  <a:gd name="T6" fmla="*/ 128 w 450"/>
                  <a:gd name="T7" fmla="*/ 290 h 451"/>
                  <a:gd name="T8" fmla="*/ 225 w 450"/>
                  <a:gd name="T9" fmla="*/ 291 h 451"/>
                  <a:gd name="T10" fmla="*/ 232 w 450"/>
                  <a:gd name="T11" fmla="*/ 289 h 451"/>
                  <a:gd name="T12" fmla="*/ 234 w 450"/>
                  <a:gd name="T13" fmla="*/ 282 h 451"/>
                  <a:gd name="T14" fmla="*/ 232 w 450"/>
                  <a:gd name="T15" fmla="*/ 276 h 451"/>
                  <a:gd name="T16" fmla="*/ 228 w 450"/>
                  <a:gd name="T17" fmla="*/ 272 h 451"/>
                  <a:gd name="T18" fmla="*/ 131 w 450"/>
                  <a:gd name="T19" fmla="*/ 272 h 451"/>
                  <a:gd name="T20" fmla="*/ 347 w 450"/>
                  <a:gd name="T21" fmla="*/ 197 h 451"/>
                  <a:gd name="T22" fmla="*/ 103 w 450"/>
                  <a:gd name="T23" fmla="*/ 310 h 451"/>
                  <a:gd name="T24" fmla="*/ 103 w 450"/>
                  <a:gd name="T25" fmla="*/ 141 h 451"/>
                  <a:gd name="T26" fmla="*/ 347 w 450"/>
                  <a:gd name="T27" fmla="*/ 160 h 451"/>
                  <a:gd name="T28" fmla="*/ 103 w 450"/>
                  <a:gd name="T29" fmla="*/ 141 h 451"/>
                  <a:gd name="T30" fmla="*/ 90 w 450"/>
                  <a:gd name="T31" fmla="*/ 122 h 451"/>
                  <a:gd name="T32" fmla="*/ 85 w 450"/>
                  <a:gd name="T33" fmla="*/ 126 h 451"/>
                  <a:gd name="T34" fmla="*/ 84 w 450"/>
                  <a:gd name="T35" fmla="*/ 132 h 451"/>
                  <a:gd name="T36" fmla="*/ 85 w 450"/>
                  <a:gd name="T37" fmla="*/ 323 h 451"/>
                  <a:gd name="T38" fmla="*/ 89 w 450"/>
                  <a:gd name="T39" fmla="*/ 327 h 451"/>
                  <a:gd name="T40" fmla="*/ 356 w 450"/>
                  <a:gd name="T41" fmla="*/ 329 h 451"/>
                  <a:gd name="T42" fmla="*/ 364 w 450"/>
                  <a:gd name="T43" fmla="*/ 326 h 451"/>
                  <a:gd name="T44" fmla="*/ 366 w 450"/>
                  <a:gd name="T45" fmla="*/ 319 h 451"/>
                  <a:gd name="T46" fmla="*/ 366 w 450"/>
                  <a:gd name="T47" fmla="*/ 128 h 451"/>
                  <a:gd name="T48" fmla="*/ 360 w 450"/>
                  <a:gd name="T49" fmla="*/ 122 h 451"/>
                  <a:gd name="T50" fmla="*/ 93 w 450"/>
                  <a:gd name="T51" fmla="*/ 122 h 451"/>
                  <a:gd name="T52" fmla="*/ 266 w 450"/>
                  <a:gd name="T53" fmla="*/ 4 h 451"/>
                  <a:gd name="T54" fmla="*/ 339 w 450"/>
                  <a:gd name="T55" fmla="*/ 31 h 451"/>
                  <a:gd name="T56" fmla="*/ 398 w 450"/>
                  <a:gd name="T57" fmla="*/ 80 h 451"/>
                  <a:gd name="T58" fmla="*/ 436 w 450"/>
                  <a:gd name="T59" fmla="*/ 147 h 451"/>
                  <a:gd name="T60" fmla="*/ 450 w 450"/>
                  <a:gd name="T61" fmla="*/ 225 h 451"/>
                  <a:gd name="T62" fmla="*/ 436 w 450"/>
                  <a:gd name="T63" fmla="*/ 304 h 451"/>
                  <a:gd name="T64" fmla="*/ 398 w 450"/>
                  <a:gd name="T65" fmla="*/ 371 h 451"/>
                  <a:gd name="T66" fmla="*/ 339 w 450"/>
                  <a:gd name="T67" fmla="*/ 420 h 451"/>
                  <a:gd name="T68" fmla="*/ 266 w 450"/>
                  <a:gd name="T69" fmla="*/ 447 h 451"/>
                  <a:gd name="T70" fmla="*/ 184 w 450"/>
                  <a:gd name="T71" fmla="*/ 447 h 451"/>
                  <a:gd name="T72" fmla="*/ 111 w 450"/>
                  <a:gd name="T73" fmla="*/ 420 h 451"/>
                  <a:gd name="T74" fmla="*/ 52 w 450"/>
                  <a:gd name="T75" fmla="*/ 371 h 451"/>
                  <a:gd name="T76" fmla="*/ 14 w 450"/>
                  <a:gd name="T77" fmla="*/ 304 h 451"/>
                  <a:gd name="T78" fmla="*/ 0 w 450"/>
                  <a:gd name="T79" fmla="*/ 225 h 451"/>
                  <a:gd name="T80" fmla="*/ 14 w 450"/>
                  <a:gd name="T81" fmla="*/ 147 h 451"/>
                  <a:gd name="T82" fmla="*/ 52 w 450"/>
                  <a:gd name="T83" fmla="*/ 80 h 451"/>
                  <a:gd name="T84" fmla="*/ 111 w 450"/>
                  <a:gd name="T85" fmla="*/ 31 h 451"/>
                  <a:gd name="T86" fmla="*/ 184 w 450"/>
                  <a:gd name="T87" fmla="*/ 4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0" h="451">
                    <a:moveTo>
                      <a:pt x="131" y="272"/>
                    </a:moveTo>
                    <a:lnTo>
                      <a:pt x="128" y="273"/>
                    </a:lnTo>
                    <a:lnTo>
                      <a:pt x="124" y="275"/>
                    </a:lnTo>
                    <a:lnTo>
                      <a:pt x="122" y="278"/>
                    </a:lnTo>
                    <a:lnTo>
                      <a:pt x="122" y="282"/>
                    </a:lnTo>
                    <a:lnTo>
                      <a:pt x="122" y="285"/>
                    </a:lnTo>
                    <a:lnTo>
                      <a:pt x="124" y="289"/>
                    </a:lnTo>
                    <a:lnTo>
                      <a:pt x="128" y="290"/>
                    </a:lnTo>
                    <a:lnTo>
                      <a:pt x="131" y="291"/>
                    </a:lnTo>
                    <a:lnTo>
                      <a:pt x="225" y="291"/>
                    </a:lnTo>
                    <a:lnTo>
                      <a:pt x="228" y="290"/>
                    </a:lnTo>
                    <a:lnTo>
                      <a:pt x="232" y="289"/>
                    </a:lnTo>
                    <a:lnTo>
                      <a:pt x="233" y="285"/>
                    </a:lnTo>
                    <a:lnTo>
                      <a:pt x="234" y="282"/>
                    </a:lnTo>
                    <a:lnTo>
                      <a:pt x="233" y="279"/>
                    </a:lnTo>
                    <a:lnTo>
                      <a:pt x="232" y="276"/>
                    </a:lnTo>
                    <a:lnTo>
                      <a:pt x="231" y="275"/>
                    </a:lnTo>
                    <a:lnTo>
                      <a:pt x="228" y="272"/>
                    </a:lnTo>
                    <a:lnTo>
                      <a:pt x="225" y="272"/>
                    </a:lnTo>
                    <a:lnTo>
                      <a:pt x="131" y="272"/>
                    </a:lnTo>
                    <a:close/>
                    <a:moveTo>
                      <a:pt x="103" y="197"/>
                    </a:moveTo>
                    <a:lnTo>
                      <a:pt x="347" y="197"/>
                    </a:lnTo>
                    <a:lnTo>
                      <a:pt x="347" y="310"/>
                    </a:lnTo>
                    <a:lnTo>
                      <a:pt x="103" y="310"/>
                    </a:lnTo>
                    <a:lnTo>
                      <a:pt x="103" y="197"/>
                    </a:lnTo>
                    <a:close/>
                    <a:moveTo>
                      <a:pt x="103" y="141"/>
                    </a:moveTo>
                    <a:lnTo>
                      <a:pt x="347" y="141"/>
                    </a:lnTo>
                    <a:lnTo>
                      <a:pt x="347" y="160"/>
                    </a:lnTo>
                    <a:lnTo>
                      <a:pt x="103" y="160"/>
                    </a:lnTo>
                    <a:lnTo>
                      <a:pt x="103" y="141"/>
                    </a:lnTo>
                    <a:close/>
                    <a:moveTo>
                      <a:pt x="93" y="122"/>
                    </a:moveTo>
                    <a:lnTo>
                      <a:pt x="90" y="122"/>
                    </a:lnTo>
                    <a:lnTo>
                      <a:pt x="88" y="123"/>
                    </a:lnTo>
                    <a:lnTo>
                      <a:pt x="85" y="126"/>
                    </a:lnTo>
                    <a:lnTo>
                      <a:pt x="84" y="128"/>
                    </a:lnTo>
                    <a:lnTo>
                      <a:pt x="84" y="132"/>
                    </a:lnTo>
                    <a:lnTo>
                      <a:pt x="84" y="319"/>
                    </a:lnTo>
                    <a:lnTo>
                      <a:pt x="85" y="323"/>
                    </a:lnTo>
                    <a:lnTo>
                      <a:pt x="86" y="326"/>
                    </a:lnTo>
                    <a:lnTo>
                      <a:pt x="89" y="327"/>
                    </a:lnTo>
                    <a:lnTo>
                      <a:pt x="93" y="329"/>
                    </a:lnTo>
                    <a:lnTo>
                      <a:pt x="356" y="329"/>
                    </a:lnTo>
                    <a:lnTo>
                      <a:pt x="360" y="327"/>
                    </a:lnTo>
                    <a:lnTo>
                      <a:pt x="364" y="326"/>
                    </a:lnTo>
                    <a:lnTo>
                      <a:pt x="366" y="323"/>
                    </a:lnTo>
                    <a:lnTo>
                      <a:pt x="366" y="319"/>
                    </a:lnTo>
                    <a:lnTo>
                      <a:pt x="366" y="132"/>
                    </a:lnTo>
                    <a:lnTo>
                      <a:pt x="366" y="128"/>
                    </a:lnTo>
                    <a:lnTo>
                      <a:pt x="364" y="125"/>
                    </a:lnTo>
                    <a:lnTo>
                      <a:pt x="360" y="122"/>
                    </a:lnTo>
                    <a:lnTo>
                      <a:pt x="356" y="122"/>
                    </a:lnTo>
                    <a:lnTo>
                      <a:pt x="93" y="122"/>
                    </a:lnTo>
                    <a:close/>
                    <a:moveTo>
                      <a:pt x="225" y="0"/>
                    </a:moveTo>
                    <a:lnTo>
                      <a:pt x="266" y="4"/>
                    </a:lnTo>
                    <a:lnTo>
                      <a:pt x="304" y="14"/>
                    </a:lnTo>
                    <a:lnTo>
                      <a:pt x="339" y="31"/>
                    </a:lnTo>
                    <a:lnTo>
                      <a:pt x="371" y="53"/>
                    </a:lnTo>
                    <a:lnTo>
                      <a:pt x="398" y="80"/>
                    </a:lnTo>
                    <a:lnTo>
                      <a:pt x="420" y="112"/>
                    </a:lnTo>
                    <a:lnTo>
                      <a:pt x="436" y="147"/>
                    </a:lnTo>
                    <a:lnTo>
                      <a:pt x="447" y="186"/>
                    </a:lnTo>
                    <a:lnTo>
                      <a:pt x="450" y="225"/>
                    </a:lnTo>
                    <a:lnTo>
                      <a:pt x="447" y="266"/>
                    </a:lnTo>
                    <a:lnTo>
                      <a:pt x="436" y="304"/>
                    </a:lnTo>
                    <a:lnTo>
                      <a:pt x="420" y="339"/>
                    </a:lnTo>
                    <a:lnTo>
                      <a:pt x="398" y="371"/>
                    </a:lnTo>
                    <a:lnTo>
                      <a:pt x="371" y="398"/>
                    </a:lnTo>
                    <a:lnTo>
                      <a:pt x="339" y="420"/>
                    </a:lnTo>
                    <a:lnTo>
                      <a:pt x="304" y="436"/>
                    </a:lnTo>
                    <a:lnTo>
                      <a:pt x="266" y="447"/>
                    </a:lnTo>
                    <a:lnTo>
                      <a:pt x="225" y="451"/>
                    </a:lnTo>
                    <a:lnTo>
                      <a:pt x="184" y="447"/>
                    </a:lnTo>
                    <a:lnTo>
                      <a:pt x="146" y="436"/>
                    </a:lnTo>
                    <a:lnTo>
                      <a:pt x="111" y="420"/>
                    </a:lnTo>
                    <a:lnTo>
                      <a:pt x="79" y="398"/>
                    </a:lnTo>
                    <a:lnTo>
                      <a:pt x="52" y="371"/>
                    </a:lnTo>
                    <a:lnTo>
                      <a:pt x="30" y="339"/>
                    </a:lnTo>
                    <a:lnTo>
                      <a:pt x="14" y="304"/>
                    </a:lnTo>
                    <a:lnTo>
                      <a:pt x="3" y="266"/>
                    </a:lnTo>
                    <a:lnTo>
                      <a:pt x="0" y="225"/>
                    </a:lnTo>
                    <a:lnTo>
                      <a:pt x="3" y="186"/>
                    </a:lnTo>
                    <a:lnTo>
                      <a:pt x="14" y="147"/>
                    </a:lnTo>
                    <a:lnTo>
                      <a:pt x="30" y="112"/>
                    </a:lnTo>
                    <a:lnTo>
                      <a:pt x="52" y="80"/>
                    </a:lnTo>
                    <a:lnTo>
                      <a:pt x="79" y="53"/>
                    </a:lnTo>
                    <a:lnTo>
                      <a:pt x="111" y="31"/>
                    </a:lnTo>
                    <a:lnTo>
                      <a:pt x="146" y="14"/>
                    </a:lnTo>
                    <a:lnTo>
                      <a:pt x="184" y="4"/>
                    </a:lnTo>
                    <a:lnTo>
                      <a:pt x="22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6" name="Group 145">
              <a:extLst>
                <a:ext uri="{FF2B5EF4-FFF2-40B4-BE49-F238E27FC236}">
                  <a16:creationId xmlns:a16="http://schemas.microsoft.com/office/drawing/2014/main" id="{B3F690E6-6ED8-6A4C-8A78-8F74D76403AA}"/>
                </a:ext>
              </a:extLst>
            </p:cNvPr>
            <p:cNvGrpSpPr/>
            <p:nvPr/>
          </p:nvGrpSpPr>
          <p:grpSpPr>
            <a:xfrm>
              <a:off x="5771574" y="4558724"/>
              <a:ext cx="1149350" cy="1149350"/>
              <a:chOff x="5753101" y="4540251"/>
              <a:chExt cx="1149350" cy="1149350"/>
            </a:xfrm>
          </p:grpSpPr>
          <p:sp>
            <p:nvSpPr>
              <p:cNvPr id="161" name="Freeform 11">
                <a:extLst>
                  <a:ext uri="{FF2B5EF4-FFF2-40B4-BE49-F238E27FC236}">
                    <a16:creationId xmlns:a16="http://schemas.microsoft.com/office/drawing/2014/main" id="{50E6A1D9-F8D0-154A-9900-282200592190}"/>
                  </a:ext>
                </a:extLst>
              </p:cNvPr>
              <p:cNvSpPr>
                <a:spLocks/>
              </p:cNvSpPr>
              <p:nvPr/>
            </p:nvSpPr>
            <p:spPr bwMode="auto">
              <a:xfrm>
                <a:off x="5753101" y="4540251"/>
                <a:ext cx="1149350" cy="1149350"/>
              </a:xfrm>
              <a:custGeom>
                <a:avLst/>
                <a:gdLst>
                  <a:gd name="T0" fmla="*/ 362 w 724"/>
                  <a:gd name="T1" fmla="*/ 0 h 724"/>
                  <a:gd name="T2" fmla="*/ 411 w 724"/>
                  <a:gd name="T3" fmla="*/ 4 h 724"/>
                  <a:gd name="T4" fmla="*/ 458 w 724"/>
                  <a:gd name="T5" fmla="*/ 13 h 724"/>
                  <a:gd name="T6" fmla="*/ 503 w 724"/>
                  <a:gd name="T7" fmla="*/ 29 h 724"/>
                  <a:gd name="T8" fmla="*/ 545 w 724"/>
                  <a:gd name="T9" fmla="*/ 49 h 724"/>
                  <a:gd name="T10" fmla="*/ 583 w 724"/>
                  <a:gd name="T11" fmla="*/ 76 h 724"/>
                  <a:gd name="T12" fmla="*/ 618 w 724"/>
                  <a:gd name="T13" fmla="*/ 107 h 724"/>
                  <a:gd name="T14" fmla="*/ 648 w 724"/>
                  <a:gd name="T15" fmla="*/ 141 h 724"/>
                  <a:gd name="T16" fmla="*/ 674 w 724"/>
                  <a:gd name="T17" fmla="*/ 180 h 724"/>
                  <a:gd name="T18" fmla="*/ 695 w 724"/>
                  <a:gd name="T19" fmla="*/ 222 h 724"/>
                  <a:gd name="T20" fmla="*/ 711 w 724"/>
                  <a:gd name="T21" fmla="*/ 266 h 724"/>
                  <a:gd name="T22" fmla="*/ 721 w 724"/>
                  <a:gd name="T23" fmla="*/ 313 h 724"/>
                  <a:gd name="T24" fmla="*/ 724 w 724"/>
                  <a:gd name="T25" fmla="*/ 362 h 724"/>
                  <a:gd name="T26" fmla="*/ 721 w 724"/>
                  <a:gd name="T27" fmla="*/ 411 h 724"/>
                  <a:gd name="T28" fmla="*/ 711 w 724"/>
                  <a:gd name="T29" fmla="*/ 457 h 724"/>
                  <a:gd name="T30" fmla="*/ 695 w 724"/>
                  <a:gd name="T31" fmla="*/ 502 h 724"/>
                  <a:gd name="T32" fmla="*/ 674 w 724"/>
                  <a:gd name="T33" fmla="*/ 544 h 724"/>
                  <a:gd name="T34" fmla="*/ 648 w 724"/>
                  <a:gd name="T35" fmla="*/ 583 h 724"/>
                  <a:gd name="T36" fmla="*/ 618 w 724"/>
                  <a:gd name="T37" fmla="*/ 617 h 724"/>
                  <a:gd name="T38" fmla="*/ 583 w 724"/>
                  <a:gd name="T39" fmla="*/ 647 h 724"/>
                  <a:gd name="T40" fmla="*/ 545 w 724"/>
                  <a:gd name="T41" fmla="*/ 674 h 724"/>
                  <a:gd name="T42" fmla="*/ 503 w 724"/>
                  <a:gd name="T43" fmla="*/ 694 h 724"/>
                  <a:gd name="T44" fmla="*/ 458 w 724"/>
                  <a:gd name="T45" fmla="*/ 711 h 724"/>
                  <a:gd name="T46" fmla="*/ 411 w 724"/>
                  <a:gd name="T47" fmla="*/ 720 h 724"/>
                  <a:gd name="T48" fmla="*/ 362 w 724"/>
                  <a:gd name="T49" fmla="*/ 724 h 724"/>
                  <a:gd name="T50" fmla="*/ 313 w 724"/>
                  <a:gd name="T51" fmla="*/ 720 h 724"/>
                  <a:gd name="T52" fmla="*/ 266 w 724"/>
                  <a:gd name="T53" fmla="*/ 711 h 724"/>
                  <a:gd name="T54" fmla="*/ 221 w 724"/>
                  <a:gd name="T55" fmla="*/ 694 h 724"/>
                  <a:gd name="T56" fmla="*/ 180 w 724"/>
                  <a:gd name="T57" fmla="*/ 674 h 724"/>
                  <a:gd name="T58" fmla="*/ 141 w 724"/>
                  <a:gd name="T59" fmla="*/ 647 h 724"/>
                  <a:gd name="T60" fmla="*/ 106 w 724"/>
                  <a:gd name="T61" fmla="*/ 617 h 724"/>
                  <a:gd name="T62" fmla="*/ 76 w 724"/>
                  <a:gd name="T63" fmla="*/ 583 h 724"/>
                  <a:gd name="T64" fmla="*/ 50 w 724"/>
                  <a:gd name="T65" fmla="*/ 544 h 724"/>
                  <a:gd name="T66" fmla="*/ 29 w 724"/>
                  <a:gd name="T67" fmla="*/ 502 h 724"/>
                  <a:gd name="T68" fmla="*/ 13 w 724"/>
                  <a:gd name="T69" fmla="*/ 457 h 724"/>
                  <a:gd name="T70" fmla="*/ 4 w 724"/>
                  <a:gd name="T71" fmla="*/ 411 h 724"/>
                  <a:gd name="T72" fmla="*/ 0 w 724"/>
                  <a:gd name="T73" fmla="*/ 362 h 724"/>
                  <a:gd name="T74" fmla="*/ 4 w 724"/>
                  <a:gd name="T75" fmla="*/ 313 h 724"/>
                  <a:gd name="T76" fmla="*/ 13 w 724"/>
                  <a:gd name="T77" fmla="*/ 266 h 724"/>
                  <a:gd name="T78" fmla="*/ 29 w 724"/>
                  <a:gd name="T79" fmla="*/ 222 h 724"/>
                  <a:gd name="T80" fmla="*/ 50 w 724"/>
                  <a:gd name="T81" fmla="*/ 180 h 724"/>
                  <a:gd name="T82" fmla="*/ 76 w 724"/>
                  <a:gd name="T83" fmla="*/ 141 h 724"/>
                  <a:gd name="T84" fmla="*/ 106 w 724"/>
                  <a:gd name="T85" fmla="*/ 107 h 724"/>
                  <a:gd name="T86" fmla="*/ 141 w 724"/>
                  <a:gd name="T87" fmla="*/ 76 h 724"/>
                  <a:gd name="T88" fmla="*/ 180 w 724"/>
                  <a:gd name="T89" fmla="*/ 49 h 724"/>
                  <a:gd name="T90" fmla="*/ 221 w 724"/>
                  <a:gd name="T91" fmla="*/ 29 h 724"/>
                  <a:gd name="T92" fmla="*/ 266 w 724"/>
                  <a:gd name="T93" fmla="*/ 13 h 724"/>
                  <a:gd name="T94" fmla="*/ 313 w 724"/>
                  <a:gd name="T95" fmla="*/ 4 h 724"/>
                  <a:gd name="T96" fmla="*/ 362 w 724"/>
                  <a:gd name="T97"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4" h="724">
                    <a:moveTo>
                      <a:pt x="362" y="0"/>
                    </a:moveTo>
                    <a:lnTo>
                      <a:pt x="411" y="4"/>
                    </a:lnTo>
                    <a:lnTo>
                      <a:pt x="458" y="13"/>
                    </a:lnTo>
                    <a:lnTo>
                      <a:pt x="503" y="29"/>
                    </a:lnTo>
                    <a:lnTo>
                      <a:pt x="545" y="49"/>
                    </a:lnTo>
                    <a:lnTo>
                      <a:pt x="583" y="76"/>
                    </a:lnTo>
                    <a:lnTo>
                      <a:pt x="618" y="107"/>
                    </a:lnTo>
                    <a:lnTo>
                      <a:pt x="648" y="141"/>
                    </a:lnTo>
                    <a:lnTo>
                      <a:pt x="674" y="180"/>
                    </a:lnTo>
                    <a:lnTo>
                      <a:pt x="695" y="222"/>
                    </a:lnTo>
                    <a:lnTo>
                      <a:pt x="711" y="266"/>
                    </a:lnTo>
                    <a:lnTo>
                      <a:pt x="721" y="313"/>
                    </a:lnTo>
                    <a:lnTo>
                      <a:pt x="724" y="362"/>
                    </a:lnTo>
                    <a:lnTo>
                      <a:pt x="721" y="411"/>
                    </a:lnTo>
                    <a:lnTo>
                      <a:pt x="711" y="457"/>
                    </a:lnTo>
                    <a:lnTo>
                      <a:pt x="695" y="502"/>
                    </a:lnTo>
                    <a:lnTo>
                      <a:pt x="674" y="544"/>
                    </a:lnTo>
                    <a:lnTo>
                      <a:pt x="648" y="583"/>
                    </a:lnTo>
                    <a:lnTo>
                      <a:pt x="618" y="617"/>
                    </a:lnTo>
                    <a:lnTo>
                      <a:pt x="583" y="647"/>
                    </a:lnTo>
                    <a:lnTo>
                      <a:pt x="545" y="674"/>
                    </a:lnTo>
                    <a:lnTo>
                      <a:pt x="503" y="694"/>
                    </a:lnTo>
                    <a:lnTo>
                      <a:pt x="458" y="711"/>
                    </a:lnTo>
                    <a:lnTo>
                      <a:pt x="411" y="720"/>
                    </a:lnTo>
                    <a:lnTo>
                      <a:pt x="362" y="724"/>
                    </a:lnTo>
                    <a:lnTo>
                      <a:pt x="313" y="720"/>
                    </a:lnTo>
                    <a:lnTo>
                      <a:pt x="266" y="711"/>
                    </a:lnTo>
                    <a:lnTo>
                      <a:pt x="221" y="694"/>
                    </a:lnTo>
                    <a:lnTo>
                      <a:pt x="180" y="674"/>
                    </a:lnTo>
                    <a:lnTo>
                      <a:pt x="141" y="647"/>
                    </a:lnTo>
                    <a:lnTo>
                      <a:pt x="106" y="617"/>
                    </a:lnTo>
                    <a:lnTo>
                      <a:pt x="76" y="583"/>
                    </a:lnTo>
                    <a:lnTo>
                      <a:pt x="50" y="544"/>
                    </a:lnTo>
                    <a:lnTo>
                      <a:pt x="29" y="502"/>
                    </a:lnTo>
                    <a:lnTo>
                      <a:pt x="13" y="457"/>
                    </a:lnTo>
                    <a:lnTo>
                      <a:pt x="4" y="411"/>
                    </a:lnTo>
                    <a:lnTo>
                      <a:pt x="0" y="362"/>
                    </a:lnTo>
                    <a:lnTo>
                      <a:pt x="4" y="313"/>
                    </a:lnTo>
                    <a:lnTo>
                      <a:pt x="13" y="266"/>
                    </a:lnTo>
                    <a:lnTo>
                      <a:pt x="29" y="222"/>
                    </a:lnTo>
                    <a:lnTo>
                      <a:pt x="50" y="180"/>
                    </a:lnTo>
                    <a:lnTo>
                      <a:pt x="76" y="141"/>
                    </a:lnTo>
                    <a:lnTo>
                      <a:pt x="106" y="107"/>
                    </a:lnTo>
                    <a:lnTo>
                      <a:pt x="141" y="76"/>
                    </a:lnTo>
                    <a:lnTo>
                      <a:pt x="180" y="49"/>
                    </a:lnTo>
                    <a:lnTo>
                      <a:pt x="221" y="29"/>
                    </a:lnTo>
                    <a:lnTo>
                      <a:pt x="266" y="13"/>
                    </a:lnTo>
                    <a:lnTo>
                      <a:pt x="313" y="4"/>
                    </a:lnTo>
                    <a:lnTo>
                      <a:pt x="36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25">
                <a:extLst>
                  <a:ext uri="{FF2B5EF4-FFF2-40B4-BE49-F238E27FC236}">
                    <a16:creationId xmlns:a16="http://schemas.microsoft.com/office/drawing/2014/main" id="{6DB419C5-C776-224E-9225-1991F1E8947D}"/>
                  </a:ext>
                </a:extLst>
              </p:cNvPr>
              <p:cNvSpPr>
                <a:spLocks noEditPoints="1"/>
              </p:cNvSpPr>
              <p:nvPr/>
            </p:nvSpPr>
            <p:spPr bwMode="auto">
              <a:xfrm>
                <a:off x="5962016" y="4749166"/>
                <a:ext cx="731520" cy="731520"/>
              </a:xfrm>
              <a:custGeom>
                <a:avLst/>
                <a:gdLst>
                  <a:gd name="T0" fmla="*/ 90 w 450"/>
                  <a:gd name="T1" fmla="*/ 301 h 451"/>
                  <a:gd name="T2" fmla="*/ 85 w 450"/>
                  <a:gd name="T3" fmla="*/ 305 h 451"/>
                  <a:gd name="T4" fmla="*/ 85 w 450"/>
                  <a:gd name="T5" fmla="*/ 313 h 451"/>
                  <a:gd name="T6" fmla="*/ 90 w 450"/>
                  <a:gd name="T7" fmla="*/ 318 h 451"/>
                  <a:gd name="T8" fmla="*/ 356 w 450"/>
                  <a:gd name="T9" fmla="*/ 318 h 451"/>
                  <a:gd name="T10" fmla="*/ 364 w 450"/>
                  <a:gd name="T11" fmla="*/ 316 h 451"/>
                  <a:gd name="T12" fmla="*/ 366 w 450"/>
                  <a:gd name="T13" fmla="*/ 309 h 451"/>
                  <a:gd name="T14" fmla="*/ 364 w 450"/>
                  <a:gd name="T15" fmla="*/ 303 h 451"/>
                  <a:gd name="T16" fmla="*/ 356 w 450"/>
                  <a:gd name="T17" fmla="*/ 299 h 451"/>
                  <a:gd name="T18" fmla="*/ 122 w 450"/>
                  <a:gd name="T19" fmla="*/ 149 h 451"/>
                  <a:gd name="T20" fmla="*/ 328 w 450"/>
                  <a:gd name="T21" fmla="*/ 262 h 451"/>
                  <a:gd name="T22" fmla="*/ 122 w 450"/>
                  <a:gd name="T23" fmla="*/ 149 h 451"/>
                  <a:gd name="T24" fmla="*/ 109 w 450"/>
                  <a:gd name="T25" fmla="*/ 132 h 451"/>
                  <a:gd name="T26" fmla="*/ 104 w 450"/>
                  <a:gd name="T27" fmla="*/ 136 h 451"/>
                  <a:gd name="T28" fmla="*/ 103 w 450"/>
                  <a:gd name="T29" fmla="*/ 271 h 451"/>
                  <a:gd name="T30" fmla="*/ 105 w 450"/>
                  <a:gd name="T31" fmla="*/ 278 h 451"/>
                  <a:gd name="T32" fmla="*/ 112 w 450"/>
                  <a:gd name="T33" fmla="*/ 281 h 451"/>
                  <a:gd name="T34" fmla="*/ 341 w 450"/>
                  <a:gd name="T35" fmla="*/ 281 h 451"/>
                  <a:gd name="T36" fmla="*/ 346 w 450"/>
                  <a:gd name="T37" fmla="*/ 275 h 451"/>
                  <a:gd name="T38" fmla="*/ 347 w 450"/>
                  <a:gd name="T39" fmla="*/ 141 h 451"/>
                  <a:gd name="T40" fmla="*/ 345 w 450"/>
                  <a:gd name="T41" fmla="*/ 134 h 451"/>
                  <a:gd name="T42" fmla="*/ 338 w 450"/>
                  <a:gd name="T43" fmla="*/ 131 h 451"/>
                  <a:gd name="T44" fmla="*/ 225 w 450"/>
                  <a:gd name="T45" fmla="*/ 0 h 451"/>
                  <a:gd name="T46" fmla="*/ 304 w 450"/>
                  <a:gd name="T47" fmla="*/ 13 h 451"/>
                  <a:gd name="T48" fmla="*/ 371 w 450"/>
                  <a:gd name="T49" fmla="*/ 53 h 451"/>
                  <a:gd name="T50" fmla="*/ 420 w 450"/>
                  <a:gd name="T51" fmla="*/ 111 h 451"/>
                  <a:gd name="T52" fmla="*/ 447 w 450"/>
                  <a:gd name="T53" fmla="*/ 184 h 451"/>
                  <a:gd name="T54" fmla="*/ 447 w 450"/>
                  <a:gd name="T55" fmla="*/ 265 h 451"/>
                  <a:gd name="T56" fmla="*/ 420 w 450"/>
                  <a:gd name="T57" fmla="*/ 338 h 451"/>
                  <a:gd name="T58" fmla="*/ 371 w 450"/>
                  <a:gd name="T59" fmla="*/ 397 h 451"/>
                  <a:gd name="T60" fmla="*/ 304 w 450"/>
                  <a:gd name="T61" fmla="*/ 435 h 451"/>
                  <a:gd name="T62" fmla="*/ 225 w 450"/>
                  <a:gd name="T63" fmla="*/ 451 h 451"/>
                  <a:gd name="T64" fmla="*/ 146 w 450"/>
                  <a:gd name="T65" fmla="*/ 435 h 451"/>
                  <a:gd name="T66" fmla="*/ 79 w 450"/>
                  <a:gd name="T67" fmla="*/ 397 h 451"/>
                  <a:gd name="T68" fmla="*/ 30 w 450"/>
                  <a:gd name="T69" fmla="*/ 338 h 451"/>
                  <a:gd name="T70" fmla="*/ 3 w 450"/>
                  <a:gd name="T71" fmla="*/ 265 h 451"/>
                  <a:gd name="T72" fmla="*/ 3 w 450"/>
                  <a:gd name="T73" fmla="*/ 184 h 451"/>
                  <a:gd name="T74" fmla="*/ 30 w 450"/>
                  <a:gd name="T75" fmla="*/ 111 h 451"/>
                  <a:gd name="T76" fmla="*/ 79 w 450"/>
                  <a:gd name="T77" fmla="*/ 53 h 451"/>
                  <a:gd name="T78" fmla="*/ 146 w 450"/>
                  <a:gd name="T79" fmla="*/ 13 h 451"/>
                  <a:gd name="T80" fmla="*/ 225 w 450"/>
                  <a:gd name="T81"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0" h="451">
                    <a:moveTo>
                      <a:pt x="93" y="299"/>
                    </a:moveTo>
                    <a:lnTo>
                      <a:pt x="90" y="301"/>
                    </a:lnTo>
                    <a:lnTo>
                      <a:pt x="86" y="303"/>
                    </a:lnTo>
                    <a:lnTo>
                      <a:pt x="85" y="305"/>
                    </a:lnTo>
                    <a:lnTo>
                      <a:pt x="84" y="309"/>
                    </a:lnTo>
                    <a:lnTo>
                      <a:pt x="85" y="313"/>
                    </a:lnTo>
                    <a:lnTo>
                      <a:pt x="86" y="316"/>
                    </a:lnTo>
                    <a:lnTo>
                      <a:pt x="90" y="318"/>
                    </a:lnTo>
                    <a:lnTo>
                      <a:pt x="93" y="318"/>
                    </a:lnTo>
                    <a:lnTo>
                      <a:pt x="356" y="318"/>
                    </a:lnTo>
                    <a:lnTo>
                      <a:pt x="360" y="318"/>
                    </a:lnTo>
                    <a:lnTo>
                      <a:pt x="364" y="316"/>
                    </a:lnTo>
                    <a:lnTo>
                      <a:pt x="366" y="313"/>
                    </a:lnTo>
                    <a:lnTo>
                      <a:pt x="366" y="309"/>
                    </a:lnTo>
                    <a:lnTo>
                      <a:pt x="366" y="305"/>
                    </a:lnTo>
                    <a:lnTo>
                      <a:pt x="364" y="303"/>
                    </a:lnTo>
                    <a:lnTo>
                      <a:pt x="360" y="301"/>
                    </a:lnTo>
                    <a:lnTo>
                      <a:pt x="356" y="299"/>
                    </a:lnTo>
                    <a:lnTo>
                      <a:pt x="93" y="299"/>
                    </a:lnTo>
                    <a:close/>
                    <a:moveTo>
                      <a:pt x="122" y="149"/>
                    </a:moveTo>
                    <a:lnTo>
                      <a:pt x="328" y="149"/>
                    </a:lnTo>
                    <a:lnTo>
                      <a:pt x="328" y="262"/>
                    </a:lnTo>
                    <a:lnTo>
                      <a:pt x="122" y="262"/>
                    </a:lnTo>
                    <a:lnTo>
                      <a:pt x="122" y="149"/>
                    </a:lnTo>
                    <a:close/>
                    <a:moveTo>
                      <a:pt x="112" y="131"/>
                    </a:moveTo>
                    <a:lnTo>
                      <a:pt x="109" y="132"/>
                    </a:lnTo>
                    <a:lnTo>
                      <a:pt x="105" y="134"/>
                    </a:lnTo>
                    <a:lnTo>
                      <a:pt x="104" y="136"/>
                    </a:lnTo>
                    <a:lnTo>
                      <a:pt x="103" y="141"/>
                    </a:lnTo>
                    <a:lnTo>
                      <a:pt x="103" y="271"/>
                    </a:lnTo>
                    <a:lnTo>
                      <a:pt x="104" y="275"/>
                    </a:lnTo>
                    <a:lnTo>
                      <a:pt x="105" y="278"/>
                    </a:lnTo>
                    <a:lnTo>
                      <a:pt x="109" y="281"/>
                    </a:lnTo>
                    <a:lnTo>
                      <a:pt x="112" y="281"/>
                    </a:lnTo>
                    <a:lnTo>
                      <a:pt x="338" y="281"/>
                    </a:lnTo>
                    <a:lnTo>
                      <a:pt x="341" y="281"/>
                    </a:lnTo>
                    <a:lnTo>
                      <a:pt x="345" y="278"/>
                    </a:lnTo>
                    <a:lnTo>
                      <a:pt x="346" y="275"/>
                    </a:lnTo>
                    <a:lnTo>
                      <a:pt x="347" y="271"/>
                    </a:lnTo>
                    <a:lnTo>
                      <a:pt x="347" y="141"/>
                    </a:lnTo>
                    <a:lnTo>
                      <a:pt x="346" y="136"/>
                    </a:lnTo>
                    <a:lnTo>
                      <a:pt x="345" y="134"/>
                    </a:lnTo>
                    <a:lnTo>
                      <a:pt x="341" y="132"/>
                    </a:lnTo>
                    <a:lnTo>
                      <a:pt x="338" y="131"/>
                    </a:lnTo>
                    <a:lnTo>
                      <a:pt x="112" y="131"/>
                    </a:lnTo>
                    <a:close/>
                    <a:moveTo>
                      <a:pt x="225" y="0"/>
                    </a:moveTo>
                    <a:lnTo>
                      <a:pt x="266" y="4"/>
                    </a:lnTo>
                    <a:lnTo>
                      <a:pt x="304" y="13"/>
                    </a:lnTo>
                    <a:lnTo>
                      <a:pt x="339" y="31"/>
                    </a:lnTo>
                    <a:lnTo>
                      <a:pt x="371" y="53"/>
                    </a:lnTo>
                    <a:lnTo>
                      <a:pt x="398" y="80"/>
                    </a:lnTo>
                    <a:lnTo>
                      <a:pt x="420" y="111"/>
                    </a:lnTo>
                    <a:lnTo>
                      <a:pt x="436" y="146"/>
                    </a:lnTo>
                    <a:lnTo>
                      <a:pt x="447" y="184"/>
                    </a:lnTo>
                    <a:lnTo>
                      <a:pt x="450" y="225"/>
                    </a:lnTo>
                    <a:lnTo>
                      <a:pt x="447" y="265"/>
                    </a:lnTo>
                    <a:lnTo>
                      <a:pt x="436" y="303"/>
                    </a:lnTo>
                    <a:lnTo>
                      <a:pt x="420" y="338"/>
                    </a:lnTo>
                    <a:lnTo>
                      <a:pt x="398" y="370"/>
                    </a:lnTo>
                    <a:lnTo>
                      <a:pt x="371" y="397"/>
                    </a:lnTo>
                    <a:lnTo>
                      <a:pt x="339" y="419"/>
                    </a:lnTo>
                    <a:lnTo>
                      <a:pt x="304" y="435"/>
                    </a:lnTo>
                    <a:lnTo>
                      <a:pt x="266" y="446"/>
                    </a:lnTo>
                    <a:lnTo>
                      <a:pt x="225" y="451"/>
                    </a:lnTo>
                    <a:lnTo>
                      <a:pt x="185" y="446"/>
                    </a:lnTo>
                    <a:lnTo>
                      <a:pt x="146" y="435"/>
                    </a:lnTo>
                    <a:lnTo>
                      <a:pt x="111" y="419"/>
                    </a:lnTo>
                    <a:lnTo>
                      <a:pt x="79" y="397"/>
                    </a:lnTo>
                    <a:lnTo>
                      <a:pt x="52" y="370"/>
                    </a:lnTo>
                    <a:lnTo>
                      <a:pt x="30" y="338"/>
                    </a:lnTo>
                    <a:lnTo>
                      <a:pt x="14" y="303"/>
                    </a:lnTo>
                    <a:lnTo>
                      <a:pt x="3" y="265"/>
                    </a:lnTo>
                    <a:lnTo>
                      <a:pt x="0" y="225"/>
                    </a:lnTo>
                    <a:lnTo>
                      <a:pt x="3" y="184"/>
                    </a:lnTo>
                    <a:lnTo>
                      <a:pt x="14" y="146"/>
                    </a:lnTo>
                    <a:lnTo>
                      <a:pt x="30" y="111"/>
                    </a:lnTo>
                    <a:lnTo>
                      <a:pt x="52" y="80"/>
                    </a:lnTo>
                    <a:lnTo>
                      <a:pt x="79" y="53"/>
                    </a:lnTo>
                    <a:lnTo>
                      <a:pt x="111" y="31"/>
                    </a:lnTo>
                    <a:lnTo>
                      <a:pt x="146" y="13"/>
                    </a:lnTo>
                    <a:lnTo>
                      <a:pt x="185" y="4"/>
                    </a:lnTo>
                    <a:lnTo>
                      <a:pt x="22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7" name="Group 146">
              <a:extLst>
                <a:ext uri="{FF2B5EF4-FFF2-40B4-BE49-F238E27FC236}">
                  <a16:creationId xmlns:a16="http://schemas.microsoft.com/office/drawing/2014/main" id="{22DEDB8F-7D89-7943-A6F3-3D0FEF5CE4B6}"/>
                </a:ext>
              </a:extLst>
            </p:cNvPr>
            <p:cNvGrpSpPr/>
            <p:nvPr/>
          </p:nvGrpSpPr>
          <p:grpSpPr>
            <a:xfrm>
              <a:off x="3986213" y="422636"/>
              <a:ext cx="1150938" cy="1146175"/>
              <a:chOff x="3986213" y="422636"/>
              <a:chExt cx="1150938" cy="1146175"/>
            </a:xfrm>
          </p:grpSpPr>
          <p:sp>
            <p:nvSpPr>
              <p:cNvPr id="159" name="Freeform 8">
                <a:extLst>
                  <a:ext uri="{FF2B5EF4-FFF2-40B4-BE49-F238E27FC236}">
                    <a16:creationId xmlns:a16="http://schemas.microsoft.com/office/drawing/2014/main" id="{D6248839-EDAB-AD4A-9F7A-21AD90499670}"/>
                  </a:ext>
                </a:extLst>
              </p:cNvPr>
              <p:cNvSpPr>
                <a:spLocks/>
              </p:cNvSpPr>
              <p:nvPr/>
            </p:nvSpPr>
            <p:spPr bwMode="auto">
              <a:xfrm>
                <a:off x="3986213" y="422636"/>
                <a:ext cx="1150938" cy="1146175"/>
              </a:xfrm>
              <a:custGeom>
                <a:avLst/>
                <a:gdLst>
                  <a:gd name="T0" fmla="*/ 362 w 725"/>
                  <a:gd name="T1" fmla="*/ 0 h 722"/>
                  <a:gd name="T2" fmla="*/ 411 w 725"/>
                  <a:gd name="T3" fmla="*/ 3 h 722"/>
                  <a:gd name="T4" fmla="*/ 458 w 725"/>
                  <a:gd name="T5" fmla="*/ 13 h 722"/>
                  <a:gd name="T6" fmla="*/ 503 w 725"/>
                  <a:gd name="T7" fmla="*/ 28 h 722"/>
                  <a:gd name="T8" fmla="*/ 545 w 725"/>
                  <a:gd name="T9" fmla="*/ 49 h 722"/>
                  <a:gd name="T10" fmla="*/ 584 w 725"/>
                  <a:gd name="T11" fmla="*/ 75 h 722"/>
                  <a:gd name="T12" fmla="*/ 618 w 725"/>
                  <a:gd name="T13" fmla="*/ 105 h 722"/>
                  <a:gd name="T14" fmla="*/ 648 w 725"/>
                  <a:gd name="T15" fmla="*/ 140 h 722"/>
                  <a:gd name="T16" fmla="*/ 675 w 725"/>
                  <a:gd name="T17" fmla="*/ 179 h 722"/>
                  <a:gd name="T18" fmla="*/ 695 w 725"/>
                  <a:gd name="T19" fmla="*/ 220 h 722"/>
                  <a:gd name="T20" fmla="*/ 712 w 725"/>
                  <a:gd name="T21" fmla="*/ 265 h 722"/>
                  <a:gd name="T22" fmla="*/ 721 w 725"/>
                  <a:gd name="T23" fmla="*/ 313 h 722"/>
                  <a:gd name="T24" fmla="*/ 725 w 725"/>
                  <a:gd name="T25" fmla="*/ 361 h 722"/>
                  <a:gd name="T26" fmla="*/ 721 w 725"/>
                  <a:gd name="T27" fmla="*/ 410 h 722"/>
                  <a:gd name="T28" fmla="*/ 712 w 725"/>
                  <a:gd name="T29" fmla="*/ 457 h 722"/>
                  <a:gd name="T30" fmla="*/ 695 w 725"/>
                  <a:gd name="T31" fmla="*/ 502 h 722"/>
                  <a:gd name="T32" fmla="*/ 675 w 725"/>
                  <a:gd name="T33" fmla="*/ 544 h 722"/>
                  <a:gd name="T34" fmla="*/ 648 w 725"/>
                  <a:gd name="T35" fmla="*/ 583 h 722"/>
                  <a:gd name="T36" fmla="*/ 618 w 725"/>
                  <a:gd name="T37" fmla="*/ 617 h 722"/>
                  <a:gd name="T38" fmla="*/ 584 w 725"/>
                  <a:gd name="T39" fmla="*/ 647 h 722"/>
                  <a:gd name="T40" fmla="*/ 545 w 725"/>
                  <a:gd name="T41" fmla="*/ 673 h 722"/>
                  <a:gd name="T42" fmla="*/ 503 w 725"/>
                  <a:gd name="T43" fmla="*/ 694 h 722"/>
                  <a:gd name="T44" fmla="*/ 458 w 725"/>
                  <a:gd name="T45" fmla="*/ 709 h 722"/>
                  <a:gd name="T46" fmla="*/ 411 w 725"/>
                  <a:gd name="T47" fmla="*/ 720 h 722"/>
                  <a:gd name="T48" fmla="*/ 362 w 725"/>
                  <a:gd name="T49" fmla="*/ 722 h 722"/>
                  <a:gd name="T50" fmla="*/ 314 w 725"/>
                  <a:gd name="T51" fmla="*/ 720 h 722"/>
                  <a:gd name="T52" fmla="*/ 267 w 725"/>
                  <a:gd name="T53" fmla="*/ 709 h 722"/>
                  <a:gd name="T54" fmla="*/ 222 w 725"/>
                  <a:gd name="T55" fmla="*/ 694 h 722"/>
                  <a:gd name="T56" fmla="*/ 180 w 725"/>
                  <a:gd name="T57" fmla="*/ 673 h 722"/>
                  <a:gd name="T58" fmla="*/ 141 w 725"/>
                  <a:gd name="T59" fmla="*/ 647 h 722"/>
                  <a:gd name="T60" fmla="*/ 107 w 725"/>
                  <a:gd name="T61" fmla="*/ 617 h 722"/>
                  <a:gd name="T62" fmla="*/ 77 w 725"/>
                  <a:gd name="T63" fmla="*/ 583 h 722"/>
                  <a:gd name="T64" fmla="*/ 50 w 725"/>
                  <a:gd name="T65" fmla="*/ 544 h 722"/>
                  <a:gd name="T66" fmla="*/ 30 w 725"/>
                  <a:gd name="T67" fmla="*/ 502 h 722"/>
                  <a:gd name="T68" fmla="*/ 13 w 725"/>
                  <a:gd name="T69" fmla="*/ 457 h 722"/>
                  <a:gd name="T70" fmla="*/ 4 w 725"/>
                  <a:gd name="T71" fmla="*/ 410 h 722"/>
                  <a:gd name="T72" fmla="*/ 0 w 725"/>
                  <a:gd name="T73" fmla="*/ 361 h 722"/>
                  <a:gd name="T74" fmla="*/ 4 w 725"/>
                  <a:gd name="T75" fmla="*/ 313 h 722"/>
                  <a:gd name="T76" fmla="*/ 13 w 725"/>
                  <a:gd name="T77" fmla="*/ 265 h 722"/>
                  <a:gd name="T78" fmla="*/ 30 w 725"/>
                  <a:gd name="T79" fmla="*/ 220 h 722"/>
                  <a:gd name="T80" fmla="*/ 50 w 725"/>
                  <a:gd name="T81" fmla="*/ 179 h 722"/>
                  <a:gd name="T82" fmla="*/ 77 w 725"/>
                  <a:gd name="T83" fmla="*/ 140 h 722"/>
                  <a:gd name="T84" fmla="*/ 107 w 725"/>
                  <a:gd name="T85" fmla="*/ 105 h 722"/>
                  <a:gd name="T86" fmla="*/ 141 w 725"/>
                  <a:gd name="T87" fmla="*/ 75 h 722"/>
                  <a:gd name="T88" fmla="*/ 180 w 725"/>
                  <a:gd name="T89" fmla="*/ 49 h 722"/>
                  <a:gd name="T90" fmla="*/ 222 w 725"/>
                  <a:gd name="T91" fmla="*/ 28 h 722"/>
                  <a:gd name="T92" fmla="*/ 267 w 725"/>
                  <a:gd name="T93" fmla="*/ 13 h 722"/>
                  <a:gd name="T94" fmla="*/ 314 w 725"/>
                  <a:gd name="T95" fmla="*/ 3 h 722"/>
                  <a:gd name="T96" fmla="*/ 362 w 725"/>
                  <a:gd name="T9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5" h="722">
                    <a:moveTo>
                      <a:pt x="362" y="0"/>
                    </a:moveTo>
                    <a:lnTo>
                      <a:pt x="411" y="3"/>
                    </a:lnTo>
                    <a:lnTo>
                      <a:pt x="458" y="13"/>
                    </a:lnTo>
                    <a:lnTo>
                      <a:pt x="503" y="28"/>
                    </a:lnTo>
                    <a:lnTo>
                      <a:pt x="545" y="49"/>
                    </a:lnTo>
                    <a:lnTo>
                      <a:pt x="584" y="75"/>
                    </a:lnTo>
                    <a:lnTo>
                      <a:pt x="618" y="105"/>
                    </a:lnTo>
                    <a:lnTo>
                      <a:pt x="648" y="140"/>
                    </a:lnTo>
                    <a:lnTo>
                      <a:pt x="675" y="179"/>
                    </a:lnTo>
                    <a:lnTo>
                      <a:pt x="695" y="220"/>
                    </a:lnTo>
                    <a:lnTo>
                      <a:pt x="712" y="265"/>
                    </a:lnTo>
                    <a:lnTo>
                      <a:pt x="721" y="313"/>
                    </a:lnTo>
                    <a:lnTo>
                      <a:pt x="725" y="361"/>
                    </a:lnTo>
                    <a:lnTo>
                      <a:pt x="721" y="410"/>
                    </a:lnTo>
                    <a:lnTo>
                      <a:pt x="712" y="457"/>
                    </a:lnTo>
                    <a:lnTo>
                      <a:pt x="695" y="502"/>
                    </a:lnTo>
                    <a:lnTo>
                      <a:pt x="675" y="544"/>
                    </a:lnTo>
                    <a:lnTo>
                      <a:pt x="648" y="583"/>
                    </a:lnTo>
                    <a:lnTo>
                      <a:pt x="618" y="617"/>
                    </a:lnTo>
                    <a:lnTo>
                      <a:pt x="584" y="647"/>
                    </a:lnTo>
                    <a:lnTo>
                      <a:pt x="545" y="673"/>
                    </a:lnTo>
                    <a:lnTo>
                      <a:pt x="503" y="694"/>
                    </a:lnTo>
                    <a:lnTo>
                      <a:pt x="458" y="709"/>
                    </a:lnTo>
                    <a:lnTo>
                      <a:pt x="411" y="720"/>
                    </a:lnTo>
                    <a:lnTo>
                      <a:pt x="362" y="722"/>
                    </a:lnTo>
                    <a:lnTo>
                      <a:pt x="314" y="720"/>
                    </a:lnTo>
                    <a:lnTo>
                      <a:pt x="267" y="709"/>
                    </a:lnTo>
                    <a:lnTo>
                      <a:pt x="222" y="694"/>
                    </a:lnTo>
                    <a:lnTo>
                      <a:pt x="180" y="673"/>
                    </a:lnTo>
                    <a:lnTo>
                      <a:pt x="141" y="647"/>
                    </a:lnTo>
                    <a:lnTo>
                      <a:pt x="107" y="617"/>
                    </a:lnTo>
                    <a:lnTo>
                      <a:pt x="77" y="583"/>
                    </a:lnTo>
                    <a:lnTo>
                      <a:pt x="50" y="544"/>
                    </a:lnTo>
                    <a:lnTo>
                      <a:pt x="30" y="502"/>
                    </a:lnTo>
                    <a:lnTo>
                      <a:pt x="13" y="457"/>
                    </a:lnTo>
                    <a:lnTo>
                      <a:pt x="4" y="410"/>
                    </a:lnTo>
                    <a:lnTo>
                      <a:pt x="0" y="361"/>
                    </a:lnTo>
                    <a:lnTo>
                      <a:pt x="4" y="313"/>
                    </a:lnTo>
                    <a:lnTo>
                      <a:pt x="13" y="265"/>
                    </a:lnTo>
                    <a:lnTo>
                      <a:pt x="30" y="220"/>
                    </a:lnTo>
                    <a:lnTo>
                      <a:pt x="50" y="179"/>
                    </a:lnTo>
                    <a:lnTo>
                      <a:pt x="77" y="140"/>
                    </a:lnTo>
                    <a:lnTo>
                      <a:pt x="107" y="105"/>
                    </a:lnTo>
                    <a:lnTo>
                      <a:pt x="141" y="75"/>
                    </a:lnTo>
                    <a:lnTo>
                      <a:pt x="180" y="49"/>
                    </a:lnTo>
                    <a:lnTo>
                      <a:pt x="222" y="28"/>
                    </a:lnTo>
                    <a:lnTo>
                      <a:pt x="267" y="13"/>
                    </a:lnTo>
                    <a:lnTo>
                      <a:pt x="314" y="3"/>
                    </a:lnTo>
                    <a:lnTo>
                      <a:pt x="36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26">
                <a:extLst>
                  <a:ext uri="{FF2B5EF4-FFF2-40B4-BE49-F238E27FC236}">
                    <a16:creationId xmlns:a16="http://schemas.microsoft.com/office/drawing/2014/main" id="{C5B0E057-A671-2547-8114-296CDF970CB3}"/>
                  </a:ext>
                </a:extLst>
              </p:cNvPr>
              <p:cNvSpPr>
                <a:spLocks noEditPoints="1"/>
              </p:cNvSpPr>
              <p:nvPr/>
            </p:nvSpPr>
            <p:spPr bwMode="auto">
              <a:xfrm>
                <a:off x="4196557" y="631392"/>
                <a:ext cx="730250" cy="728663"/>
              </a:xfrm>
              <a:custGeom>
                <a:avLst/>
                <a:gdLst>
                  <a:gd name="T0" fmla="*/ 203 w 460"/>
                  <a:gd name="T1" fmla="*/ 209 h 459"/>
                  <a:gd name="T2" fmla="*/ 194 w 460"/>
                  <a:gd name="T3" fmla="*/ 225 h 459"/>
                  <a:gd name="T4" fmla="*/ 200 w 460"/>
                  <a:gd name="T5" fmla="*/ 241 h 459"/>
                  <a:gd name="T6" fmla="*/ 234 w 460"/>
                  <a:gd name="T7" fmla="*/ 258 h 459"/>
                  <a:gd name="T8" fmla="*/ 241 w 460"/>
                  <a:gd name="T9" fmla="*/ 264 h 459"/>
                  <a:gd name="T10" fmla="*/ 241 w 460"/>
                  <a:gd name="T11" fmla="*/ 272 h 459"/>
                  <a:gd name="T12" fmla="*/ 232 w 460"/>
                  <a:gd name="T13" fmla="*/ 276 h 459"/>
                  <a:gd name="T14" fmla="*/ 219 w 460"/>
                  <a:gd name="T15" fmla="*/ 275 h 459"/>
                  <a:gd name="T16" fmla="*/ 194 w 460"/>
                  <a:gd name="T17" fmla="*/ 268 h 459"/>
                  <a:gd name="T18" fmla="*/ 224 w 460"/>
                  <a:gd name="T19" fmla="*/ 305 h 459"/>
                  <a:gd name="T20" fmla="*/ 255 w 460"/>
                  <a:gd name="T21" fmla="*/ 283 h 459"/>
                  <a:gd name="T22" fmla="*/ 264 w 460"/>
                  <a:gd name="T23" fmla="*/ 266 h 459"/>
                  <a:gd name="T24" fmla="*/ 258 w 460"/>
                  <a:gd name="T25" fmla="*/ 251 h 459"/>
                  <a:gd name="T26" fmla="*/ 224 w 460"/>
                  <a:gd name="T27" fmla="*/ 235 h 459"/>
                  <a:gd name="T28" fmla="*/ 217 w 460"/>
                  <a:gd name="T29" fmla="*/ 229 h 459"/>
                  <a:gd name="T30" fmla="*/ 218 w 460"/>
                  <a:gd name="T31" fmla="*/ 221 h 459"/>
                  <a:gd name="T32" fmla="*/ 227 w 460"/>
                  <a:gd name="T33" fmla="*/ 218 h 459"/>
                  <a:gd name="T34" fmla="*/ 261 w 460"/>
                  <a:gd name="T35" fmla="*/ 207 h 459"/>
                  <a:gd name="T36" fmla="*/ 224 w 460"/>
                  <a:gd name="T37" fmla="*/ 190 h 459"/>
                  <a:gd name="T38" fmla="*/ 287 w 460"/>
                  <a:gd name="T39" fmla="*/ 188 h 459"/>
                  <a:gd name="T40" fmla="*/ 304 w 460"/>
                  <a:gd name="T41" fmla="*/ 261 h 459"/>
                  <a:gd name="T42" fmla="*/ 297 w 460"/>
                  <a:gd name="T43" fmla="*/ 283 h 459"/>
                  <a:gd name="T44" fmla="*/ 301 w 460"/>
                  <a:gd name="T45" fmla="*/ 310 h 459"/>
                  <a:gd name="T46" fmla="*/ 153 w 460"/>
                  <a:gd name="T47" fmla="*/ 323 h 459"/>
                  <a:gd name="T48" fmla="*/ 163 w 460"/>
                  <a:gd name="T49" fmla="*/ 285 h 459"/>
                  <a:gd name="T50" fmla="*/ 157 w 460"/>
                  <a:gd name="T51" fmla="*/ 271 h 459"/>
                  <a:gd name="T52" fmla="*/ 162 w 460"/>
                  <a:gd name="T53" fmla="*/ 209 h 459"/>
                  <a:gd name="T54" fmla="*/ 268 w 460"/>
                  <a:gd name="T55" fmla="*/ 94 h 459"/>
                  <a:gd name="T56" fmla="*/ 185 w 460"/>
                  <a:gd name="T57" fmla="*/ 95 h 459"/>
                  <a:gd name="T58" fmla="*/ 225 w 460"/>
                  <a:gd name="T59" fmla="*/ 103 h 459"/>
                  <a:gd name="T60" fmla="*/ 260 w 460"/>
                  <a:gd name="T61" fmla="*/ 95 h 459"/>
                  <a:gd name="T62" fmla="*/ 230 w 460"/>
                  <a:gd name="T63" fmla="*/ 85 h 459"/>
                  <a:gd name="T64" fmla="*/ 174 w 460"/>
                  <a:gd name="T65" fmla="*/ 79 h 459"/>
                  <a:gd name="T66" fmla="*/ 164 w 460"/>
                  <a:gd name="T67" fmla="*/ 89 h 459"/>
                  <a:gd name="T68" fmla="*/ 163 w 460"/>
                  <a:gd name="T69" fmla="*/ 99 h 459"/>
                  <a:gd name="T70" fmla="*/ 156 w 460"/>
                  <a:gd name="T71" fmla="*/ 180 h 459"/>
                  <a:gd name="T72" fmla="*/ 136 w 460"/>
                  <a:gd name="T73" fmla="*/ 257 h 459"/>
                  <a:gd name="T74" fmla="*/ 140 w 460"/>
                  <a:gd name="T75" fmla="*/ 299 h 459"/>
                  <a:gd name="T76" fmla="*/ 124 w 460"/>
                  <a:gd name="T77" fmla="*/ 343 h 459"/>
                  <a:gd name="T78" fmla="*/ 130 w 460"/>
                  <a:gd name="T79" fmla="*/ 352 h 459"/>
                  <a:gd name="T80" fmla="*/ 331 w 460"/>
                  <a:gd name="T81" fmla="*/ 351 h 459"/>
                  <a:gd name="T82" fmla="*/ 334 w 460"/>
                  <a:gd name="T83" fmla="*/ 341 h 459"/>
                  <a:gd name="T84" fmla="*/ 318 w 460"/>
                  <a:gd name="T85" fmla="*/ 299 h 459"/>
                  <a:gd name="T86" fmla="*/ 322 w 460"/>
                  <a:gd name="T87" fmla="*/ 257 h 459"/>
                  <a:gd name="T88" fmla="*/ 304 w 460"/>
                  <a:gd name="T89" fmla="*/ 180 h 459"/>
                  <a:gd name="T90" fmla="*/ 295 w 460"/>
                  <a:gd name="T91" fmla="*/ 99 h 459"/>
                  <a:gd name="T92" fmla="*/ 295 w 460"/>
                  <a:gd name="T93" fmla="*/ 89 h 459"/>
                  <a:gd name="T94" fmla="*/ 284 w 460"/>
                  <a:gd name="T95" fmla="*/ 79 h 459"/>
                  <a:gd name="T96" fmla="*/ 302 w 460"/>
                  <a:gd name="T97" fmla="*/ 12 h 459"/>
                  <a:gd name="T98" fmla="*/ 415 w 460"/>
                  <a:gd name="T99" fmla="*/ 94 h 459"/>
                  <a:gd name="T100" fmla="*/ 460 w 460"/>
                  <a:gd name="T101" fmla="*/ 229 h 459"/>
                  <a:gd name="T102" fmla="*/ 405 w 460"/>
                  <a:gd name="T103" fmla="*/ 377 h 459"/>
                  <a:gd name="T104" fmla="*/ 271 w 460"/>
                  <a:gd name="T105" fmla="*/ 455 h 459"/>
                  <a:gd name="T106" fmla="*/ 124 w 460"/>
                  <a:gd name="T107" fmla="*/ 433 h 459"/>
                  <a:gd name="T108" fmla="*/ 25 w 460"/>
                  <a:gd name="T109" fmla="*/ 334 h 459"/>
                  <a:gd name="T110" fmla="*/ 3 w 460"/>
                  <a:gd name="T111" fmla="*/ 191 h 459"/>
                  <a:gd name="T112" fmla="*/ 66 w 460"/>
                  <a:gd name="T113" fmla="*/ 67 h 459"/>
                  <a:gd name="T114" fmla="*/ 192 w 460"/>
                  <a:gd name="T115" fmla="*/ 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0" h="459">
                    <a:moveTo>
                      <a:pt x="224" y="190"/>
                    </a:moveTo>
                    <a:lnTo>
                      <a:pt x="224" y="202"/>
                    </a:lnTo>
                    <a:lnTo>
                      <a:pt x="212" y="204"/>
                    </a:lnTo>
                    <a:lnTo>
                      <a:pt x="203" y="209"/>
                    </a:lnTo>
                    <a:lnTo>
                      <a:pt x="199" y="212"/>
                    </a:lnTo>
                    <a:lnTo>
                      <a:pt x="197" y="216"/>
                    </a:lnTo>
                    <a:lnTo>
                      <a:pt x="196" y="221"/>
                    </a:lnTo>
                    <a:lnTo>
                      <a:pt x="194" y="225"/>
                    </a:lnTo>
                    <a:lnTo>
                      <a:pt x="194" y="230"/>
                    </a:lnTo>
                    <a:lnTo>
                      <a:pt x="196" y="234"/>
                    </a:lnTo>
                    <a:lnTo>
                      <a:pt x="198" y="237"/>
                    </a:lnTo>
                    <a:lnTo>
                      <a:pt x="200" y="241"/>
                    </a:lnTo>
                    <a:lnTo>
                      <a:pt x="209" y="248"/>
                    </a:lnTo>
                    <a:lnTo>
                      <a:pt x="220" y="252"/>
                    </a:lnTo>
                    <a:lnTo>
                      <a:pt x="224" y="255"/>
                    </a:lnTo>
                    <a:lnTo>
                      <a:pt x="234" y="258"/>
                    </a:lnTo>
                    <a:lnTo>
                      <a:pt x="237" y="259"/>
                    </a:lnTo>
                    <a:lnTo>
                      <a:pt x="239" y="261"/>
                    </a:lnTo>
                    <a:lnTo>
                      <a:pt x="240" y="263"/>
                    </a:lnTo>
                    <a:lnTo>
                      <a:pt x="241" y="264"/>
                    </a:lnTo>
                    <a:lnTo>
                      <a:pt x="243" y="265"/>
                    </a:lnTo>
                    <a:lnTo>
                      <a:pt x="243" y="266"/>
                    </a:lnTo>
                    <a:lnTo>
                      <a:pt x="243" y="270"/>
                    </a:lnTo>
                    <a:lnTo>
                      <a:pt x="241" y="272"/>
                    </a:lnTo>
                    <a:lnTo>
                      <a:pt x="238" y="273"/>
                    </a:lnTo>
                    <a:lnTo>
                      <a:pt x="234" y="275"/>
                    </a:lnTo>
                    <a:lnTo>
                      <a:pt x="233" y="275"/>
                    </a:lnTo>
                    <a:lnTo>
                      <a:pt x="232" y="276"/>
                    </a:lnTo>
                    <a:lnTo>
                      <a:pt x="231" y="276"/>
                    </a:lnTo>
                    <a:lnTo>
                      <a:pt x="230" y="276"/>
                    </a:lnTo>
                    <a:lnTo>
                      <a:pt x="224" y="276"/>
                    </a:lnTo>
                    <a:lnTo>
                      <a:pt x="219" y="275"/>
                    </a:lnTo>
                    <a:lnTo>
                      <a:pt x="214" y="275"/>
                    </a:lnTo>
                    <a:lnTo>
                      <a:pt x="209" y="273"/>
                    </a:lnTo>
                    <a:lnTo>
                      <a:pt x="201" y="270"/>
                    </a:lnTo>
                    <a:lnTo>
                      <a:pt x="194" y="268"/>
                    </a:lnTo>
                    <a:lnTo>
                      <a:pt x="194" y="286"/>
                    </a:lnTo>
                    <a:lnTo>
                      <a:pt x="209" y="290"/>
                    </a:lnTo>
                    <a:lnTo>
                      <a:pt x="224" y="292"/>
                    </a:lnTo>
                    <a:lnTo>
                      <a:pt x="224" y="305"/>
                    </a:lnTo>
                    <a:lnTo>
                      <a:pt x="234" y="305"/>
                    </a:lnTo>
                    <a:lnTo>
                      <a:pt x="234" y="291"/>
                    </a:lnTo>
                    <a:lnTo>
                      <a:pt x="246" y="289"/>
                    </a:lnTo>
                    <a:lnTo>
                      <a:pt x="255" y="283"/>
                    </a:lnTo>
                    <a:lnTo>
                      <a:pt x="259" y="279"/>
                    </a:lnTo>
                    <a:lnTo>
                      <a:pt x="261" y="276"/>
                    </a:lnTo>
                    <a:lnTo>
                      <a:pt x="264" y="271"/>
                    </a:lnTo>
                    <a:lnTo>
                      <a:pt x="264" y="266"/>
                    </a:lnTo>
                    <a:lnTo>
                      <a:pt x="264" y="262"/>
                    </a:lnTo>
                    <a:lnTo>
                      <a:pt x="263" y="258"/>
                    </a:lnTo>
                    <a:lnTo>
                      <a:pt x="261" y="256"/>
                    </a:lnTo>
                    <a:lnTo>
                      <a:pt x="258" y="251"/>
                    </a:lnTo>
                    <a:lnTo>
                      <a:pt x="253" y="248"/>
                    </a:lnTo>
                    <a:lnTo>
                      <a:pt x="245" y="243"/>
                    </a:lnTo>
                    <a:lnTo>
                      <a:pt x="234" y="238"/>
                    </a:lnTo>
                    <a:lnTo>
                      <a:pt x="224" y="235"/>
                    </a:lnTo>
                    <a:lnTo>
                      <a:pt x="221" y="234"/>
                    </a:lnTo>
                    <a:lnTo>
                      <a:pt x="219" y="231"/>
                    </a:lnTo>
                    <a:lnTo>
                      <a:pt x="218" y="230"/>
                    </a:lnTo>
                    <a:lnTo>
                      <a:pt x="217" y="229"/>
                    </a:lnTo>
                    <a:lnTo>
                      <a:pt x="216" y="228"/>
                    </a:lnTo>
                    <a:lnTo>
                      <a:pt x="216" y="225"/>
                    </a:lnTo>
                    <a:lnTo>
                      <a:pt x="216" y="223"/>
                    </a:lnTo>
                    <a:lnTo>
                      <a:pt x="218" y="221"/>
                    </a:lnTo>
                    <a:lnTo>
                      <a:pt x="220" y="220"/>
                    </a:lnTo>
                    <a:lnTo>
                      <a:pt x="224" y="218"/>
                    </a:lnTo>
                    <a:lnTo>
                      <a:pt x="225" y="218"/>
                    </a:lnTo>
                    <a:lnTo>
                      <a:pt x="227" y="218"/>
                    </a:lnTo>
                    <a:lnTo>
                      <a:pt x="230" y="217"/>
                    </a:lnTo>
                    <a:lnTo>
                      <a:pt x="234" y="217"/>
                    </a:lnTo>
                    <a:lnTo>
                      <a:pt x="255" y="223"/>
                    </a:lnTo>
                    <a:lnTo>
                      <a:pt x="261" y="207"/>
                    </a:lnTo>
                    <a:lnTo>
                      <a:pt x="248" y="203"/>
                    </a:lnTo>
                    <a:lnTo>
                      <a:pt x="234" y="201"/>
                    </a:lnTo>
                    <a:lnTo>
                      <a:pt x="234" y="190"/>
                    </a:lnTo>
                    <a:lnTo>
                      <a:pt x="224" y="190"/>
                    </a:lnTo>
                    <a:close/>
                    <a:moveTo>
                      <a:pt x="212" y="143"/>
                    </a:moveTo>
                    <a:lnTo>
                      <a:pt x="246" y="143"/>
                    </a:lnTo>
                    <a:lnTo>
                      <a:pt x="271" y="166"/>
                    </a:lnTo>
                    <a:lnTo>
                      <a:pt x="287" y="188"/>
                    </a:lnTo>
                    <a:lnTo>
                      <a:pt x="297" y="209"/>
                    </a:lnTo>
                    <a:lnTo>
                      <a:pt x="302" y="229"/>
                    </a:lnTo>
                    <a:lnTo>
                      <a:pt x="304" y="245"/>
                    </a:lnTo>
                    <a:lnTo>
                      <a:pt x="304" y="261"/>
                    </a:lnTo>
                    <a:lnTo>
                      <a:pt x="301" y="271"/>
                    </a:lnTo>
                    <a:lnTo>
                      <a:pt x="299" y="279"/>
                    </a:lnTo>
                    <a:lnTo>
                      <a:pt x="297" y="282"/>
                    </a:lnTo>
                    <a:lnTo>
                      <a:pt x="297" y="283"/>
                    </a:lnTo>
                    <a:lnTo>
                      <a:pt x="297" y="285"/>
                    </a:lnTo>
                    <a:lnTo>
                      <a:pt x="295" y="286"/>
                    </a:lnTo>
                    <a:lnTo>
                      <a:pt x="298" y="297"/>
                    </a:lnTo>
                    <a:lnTo>
                      <a:pt x="301" y="310"/>
                    </a:lnTo>
                    <a:lnTo>
                      <a:pt x="305" y="323"/>
                    </a:lnTo>
                    <a:lnTo>
                      <a:pt x="311" y="334"/>
                    </a:lnTo>
                    <a:lnTo>
                      <a:pt x="147" y="334"/>
                    </a:lnTo>
                    <a:lnTo>
                      <a:pt x="153" y="323"/>
                    </a:lnTo>
                    <a:lnTo>
                      <a:pt x="157" y="310"/>
                    </a:lnTo>
                    <a:lnTo>
                      <a:pt x="160" y="297"/>
                    </a:lnTo>
                    <a:lnTo>
                      <a:pt x="163" y="286"/>
                    </a:lnTo>
                    <a:lnTo>
                      <a:pt x="163" y="285"/>
                    </a:lnTo>
                    <a:lnTo>
                      <a:pt x="162" y="283"/>
                    </a:lnTo>
                    <a:lnTo>
                      <a:pt x="162" y="282"/>
                    </a:lnTo>
                    <a:lnTo>
                      <a:pt x="160" y="279"/>
                    </a:lnTo>
                    <a:lnTo>
                      <a:pt x="157" y="271"/>
                    </a:lnTo>
                    <a:lnTo>
                      <a:pt x="155" y="261"/>
                    </a:lnTo>
                    <a:lnTo>
                      <a:pt x="155" y="245"/>
                    </a:lnTo>
                    <a:lnTo>
                      <a:pt x="156" y="229"/>
                    </a:lnTo>
                    <a:lnTo>
                      <a:pt x="162" y="209"/>
                    </a:lnTo>
                    <a:lnTo>
                      <a:pt x="171" y="188"/>
                    </a:lnTo>
                    <a:lnTo>
                      <a:pt x="187" y="166"/>
                    </a:lnTo>
                    <a:lnTo>
                      <a:pt x="212" y="143"/>
                    </a:lnTo>
                    <a:close/>
                    <a:moveTo>
                      <a:pt x="268" y="94"/>
                    </a:moveTo>
                    <a:lnTo>
                      <a:pt x="273" y="95"/>
                    </a:lnTo>
                    <a:lnTo>
                      <a:pt x="246" y="123"/>
                    </a:lnTo>
                    <a:lnTo>
                      <a:pt x="212" y="123"/>
                    </a:lnTo>
                    <a:lnTo>
                      <a:pt x="185" y="95"/>
                    </a:lnTo>
                    <a:lnTo>
                      <a:pt x="190" y="95"/>
                    </a:lnTo>
                    <a:lnTo>
                      <a:pt x="198" y="95"/>
                    </a:lnTo>
                    <a:lnTo>
                      <a:pt x="210" y="98"/>
                    </a:lnTo>
                    <a:lnTo>
                      <a:pt x="225" y="103"/>
                    </a:lnTo>
                    <a:lnTo>
                      <a:pt x="230" y="105"/>
                    </a:lnTo>
                    <a:lnTo>
                      <a:pt x="233" y="103"/>
                    </a:lnTo>
                    <a:lnTo>
                      <a:pt x="248" y="98"/>
                    </a:lnTo>
                    <a:lnTo>
                      <a:pt x="260" y="95"/>
                    </a:lnTo>
                    <a:lnTo>
                      <a:pt x="268" y="94"/>
                    </a:lnTo>
                    <a:close/>
                    <a:moveTo>
                      <a:pt x="270" y="75"/>
                    </a:moveTo>
                    <a:lnTo>
                      <a:pt x="251" y="78"/>
                    </a:lnTo>
                    <a:lnTo>
                      <a:pt x="230" y="85"/>
                    </a:lnTo>
                    <a:lnTo>
                      <a:pt x="212" y="79"/>
                    </a:lnTo>
                    <a:lnTo>
                      <a:pt x="198" y="76"/>
                    </a:lnTo>
                    <a:lnTo>
                      <a:pt x="185" y="76"/>
                    </a:lnTo>
                    <a:lnTo>
                      <a:pt x="174" y="79"/>
                    </a:lnTo>
                    <a:lnTo>
                      <a:pt x="171" y="81"/>
                    </a:lnTo>
                    <a:lnTo>
                      <a:pt x="167" y="83"/>
                    </a:lnTo>
                    <a:lnTo>
                      <a:pt x="165" y="87"/>
                    </a:lnTo>
                    <a:lnTo>
                      <a:pt x="164" y="89"/>
                    </a:lnTo>
                    <a:lnTo>
                      <a:pt x="163" y="92"/>
                    </a:lnTo>
                    <a:lnTo>
                      <a:pt x="163" y="93"/>
                    </a:lnTo>
                    <a:lnTo>
                      <a:pt x="162" y="96"/>
                    </a:lnTo>
                    <a:lnTo>
                      <a:pt x="163" y="99"/>
                    </a:lnTo>
                    <a:lnTo>
                      <a:pt x="165" y="102"/>
                    </a:lnTo>
                    <a:lnTo>
                      <a:pt x="194" y="133"/>
                    </a:lnTo>
                    <a:lnTo>
                      <a:pt x="172" y="156"/>
                    </a:lnTo>
                    <a:lnTo>
                      <a:pt x="156" y="180"/>
                    </a:lnTo>
                    <a:lnTo>
                      <a:pt x="144" y="201"/>
                    </a:lnTo>
                    <a:lnTo>
                      <a:pt x="138" y="222"/>
                    </a:lnTo>
                    <a:lnTo>
                      <a:pt x="136" y="241"/>
                    </a:lnTo>
                    <a:lnTo>
                      <a:pt x="136" y="257"/>
                    </a:lnTo>
                    <a:lnTo>
                      <a:pt x="138" y="271"/>
                    </a:lnTo>
                    <a:lnTo>
                      <a:pt x="140" y="282"/>
                    </a:lnTo>
                    <a:lnTo>
                      <a:pt x="144" y="289"/>
                    </a:lnTo>
                    <a:lnTo>
                      <a:pt x="140" y="299"/>
                    </a:lnTo>
                    <a:lnTo>
                      <a:pt x="136" y="313"/>
                    </a:lnTo>
                    <a:lnTo>
                      <a:pt x="130" y="327"/>
                    </a:lnTo>
                    <a:lnTo>
                      <a:pt x="124" y="339"/>
                    </a:lnTo>
                    <a:lnTo>
                      <a:pt x="124" y="343"/>
                    </a:lnTo>
                    <a:lnTo>
                      <a:pt x="124" y="345"/>
                    </a:lnTo>
                    <a:lnTo>
                      <a:pt x="125" y="349"/>
                    </a:lnTo>
                    <a:lnTo>
                      <a:pt x="128" y="351"/>
                    </a:lnTo>
                    <a:lnTo>
                      <a:pt x="130" y="352"/>
                    </a:lnTo>
                    <a:lnTo>
                      <a:pt x="133" y="353"/>
                    </a:lnTo>
                    <a:lnTo>
                      <a:pt x="325" y="353"/>
                    </a:lnTo>
                    <a:lnTo>
                      <a:pt x="328" y="352"/>
                    </a:lnTo>
                    <a:lnTo>
                      <a:pt x="331" y="351"/>
                    </a:lnTo>
                    <a:lnTo>
                      <a:pt x="333" y="349"/>
                    </a:lnTo>
                    <a:lnTo>
                      <a:pt x="334" y="346"/>
                    </a:lnTo>
                    <a:lnTo>
                      <a:pt x="334" y="344"/>
                    </a:lnTo>
                    <a:lnTo>
                      <a:pt x="334" y="341"/>
                    </a:lnTo>
                    <a:lnTo>
                      <a:pt x="334" y="339"/>
                    </a:lnTo>
                    <a:lnTo>
                      <a:pt x="328" y="327"/>
                    </a:lnTo>
                    <a:lnTo>
                      <a:pt x="322" y="313"/>
                    </a:lnTo>
                    <a:lnTo>
                      <a:pt x="318" y="299"/>
                    </a:lnTo>
                    <a:lnTo>
                      <a:pt x="315" y="289"/>
                    </a:lnTo>
                    <a:lnTo>
                      <a:pt x="318" y="282"/>
                    </a:lnTo>
                    <a:lnTo>
                      <a:pt x="320" y="271"/>
                    </a:lnTo>
                    <a:lnTo>
                      <a:pt x="322" y="257"/>
                    </a:lnTo>
                    <a:lnTo>
                      <a:pt x="322" y="241"/>
                    </a:lnTo>
                    <a:lnTo>
                      <a:pt x="320" y="222"/>
                    </a:lnTo>
                    <a:lnTo>
                      <a:pt x="314" y="201"/>
                    </a:lnTo>
                    <a:lnTo>
                      <a:pt x="304" y="180"/>
                    </a:lnTo>
                    <a:lnTo>
                      <a:pt x="287" y="156"/>
                    </a:lnTo>
                    <a:lnTo>
                      <a:pt x="265" y="133"/>
                    </a:lnTo>
                    <a:lnTo>
                      <a:pt x="293" y="102"/>
                    </a:lnTo>
                    <a:lnTo>
                      <a:pt x="295" y="99"/>
                    </a:lnTo>
                    <a:lnTo>
                      <a:pt x="297" y="96"/>
                    </a:lnTo>
                    <a:lnTo>
                      <a:pt x="295" y="93"/>
                    </a:lnTo>
                    <a:lnTo>
                      <a:pt x="295" y="92"/>
                    </a:lnTo>
                    <a:lnTo>
                      <a:pt x="295" y="89"/>
                    </a:lnTo>
                    <a:lnTo>
                      <a:pt x="293" y="87"/>
                    </a:lnTo>
                    <a:lnTo>
                      <a:pt x="291" y="83"/>
                    </a:lnTo>
                    <a:lnTo>
                      <a:pt x="287" y="81"/>
                    </a:lnTo>
                    <a:lnTo>
                      <a:pt x="284" y="79"/>
                    </a:lnTo>
                    <a:lnTo>
                      <a:pt x="270" y="75"/>
                    </a:lnTo>
                    <a:close/>
                    <a:moveTo>
                      <a:pt x="230" y="0"/>
                    </a:moveTo>
                    <a:lnTo>
                      <a:pt x="267" y="3"/>
                    </a:lnTo>
                    <a:lnTo>
                      <a:pt x="302" y="12"/>
                    </a:lnTo>
                    <a:lnTo>
                      <a:pt x="335" y="25"/>
                    </a:lnTo>
                    <a:lnTo>
                      <a:pt x="365" y="44"/>
                    </a:lnTo>
                    <a:lnTo>
                      <a:pt x="392" y="67"/>
                    </a:lnTo>
                    <a:lnTo>
                      <a:pt x="415" y="94"/>
                    </a:lnTo>
                    <a:lnTo>
                      <a:pt x="434" y="123"/>
                    </a:lnTo>
                    <a:lnTo>
                      <a:pt x="448" y="156"/>
                    </a:lnTo>
                    <a:lnTo>
                      <a:pt x="456" y="191"/>
                    </a:lnTo>
                    <a:lnTo>
                      <a:pt x="460" y="229"/>
                    </a:lnTo>
                    <a:lnTo>
                      <a:pt x="455" y="270"/>
                    </a:lnTo>
                    <a:lnTo>
                      <a:pt x="445" y="309"/>
                    </a:lnTo>
                    <a:lnTo>
                      <a:pt x="428" y="345"/>
                    </a:lnTo>
                    <a:lnTo>
                      <a:pt x="405" y="377"/>
                    </a:lnTo>
                    <a:lnTo>
                      <a:pt x="378" y="405"/>
                    </a:lnTo>
                    <a:lnTo>
                      <a:pt x="345" y="427"/>
                    </a:lnTo>
                    <a:lnTo>
                      <a:pt x="309" y="445"/>
                    </a:lnTo>
                    <a:lnTo>
                      <a:pt x="271" y="455"/>
                    </a:lnTo>
                    <a:lnTo>
                      <a:pt x="230" y="459"/>
                    </a:lnTo>
                    <a:lnTo>
                      <a:pt x="192" y="455"/>
                    </a:lnTo>
                    <a:lnTo>
                      <a:pt x="157" y="447"/>
                    </a:lnTo>
                    <a:lnTo>
                      <a:pt x="124" y="433"/>
                    </a:lnTo>
                    <a:lnTo>
                      <a:pt x="93" y="414"/>
                    </a:lnTo>
                    <a:lnTo>
                      <a:pt x="66" y="392"/>
                    </a:lnTo>
                    <a:lnTo>
                      <a:pt x="44" y="365"/>
                    </a:lnTo>
                    <a:lnTo>
                      <a:pt x="25" y="334"/>
                    </a:lnTo>
                    <a:lnTo>
                      <a:pt x="11" y="302"/>
                    </a:lnTo>
                    <a:lnTo>
                      <a:pt x="3" y="266"/>
                    </a:lnTo>
                    <a:lnTo>
                      <a:pt x="0" y="229"/>
                    </a:lnTo>
                    <a:lnTo>
                      <a:pt x="3" y="191"/>
                    </a:lnTo>
                    <a:lnTo>
                      <a:pt x="11" y="156"/>
                    </a:lnTo>
                    <a:lnTo>
                      <a:pt x="25" y="123"/>
                    </a:lnTo>
                    <a:lnTo>
                      <a:pt x="44" y="94"/>
                    </a:lnTo>
                    <a:lnTo>
                      <a:pt x="66" y="67"/>
                    </a:lnTo>
                    <a:lnTo>
                      <a:pt x="93" y="44"/>
                    </a:lnTo>
                    <a:lnTo>
                      <a:pt x="124" y="25"/>
                    </a:lnTo>
                    <a:lnTo>
                      <a:pt x="157" y="12"/>
                    </a:lnTo>
                    <a:lnTo>
                      <a:pt x="192" y="3"/>
                    </a:lnTo>
                    <a:lnTo>
                      <a:pt x="23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8" name="Group 147">
              <a:extLst>
                <a:ext uri="{FF2B5EF4-FFF2-40B4-BE49-F238E27FC236}">
                  <a16:creationId xmlns:a16="http://schemas.microsoft.com/office/drawing/2014/main" id="{EDCB5134-B887-8440-AB74-D2895A1D7145}"/>
                </a:ext>
              </a:extLst>
            </p:cNvPr>
            <p:cNvGrpSpPr/>
            <p:nvPr/>
          </p:nvGrpSpPr>
          <p:grpSpPr>
            <a:xfrm>
              <a:off x="2317174" y="1166381"/>
              <a:ext cx="1147763" cy="1146175"/>
              <a:chOff x="2298701" y="1101726"/>
              <a:chExt cx="1147763" cy="1146175"/>
            </a:xfrm>
          </p:grpSpPr>
          <p:sp>
            <p:nvSpPr>
              <p:cNvPr id="157" name="Freeform 15">
                <a:extLst>
                  <a:ext uri="{FF2B5EF4-FFF2-40B4-BE49-F238E27FC236}">
                    <a16:creationId xmlns:a16="http://schemas.microsoft.com/office/drawing/2014/main" id="{36E60A4C-E33A-DA48-8A57-D0108A4225AA}"/>
                  </a:ext>
                </a:extLst>
              </p:cNvPr>
              <p:cNvSpPr>
                <a:spLocks/>
              </p:cNvSpPr>
              <p:nvPr/>
            </p:nvSpPr>
            <p:spPr bwMode="auto">
              <a:xfrm>
                <a:off x="2298701" y="1101726"/>
                <a:ext cx="1147763" cy="1146175"/>
              </a:xfrm>
              <a:custGeom>
                <a:avLst/>
                <a:gdLst>
                  <a:gd name="T0" fmla="*/ 361 w 723"/>
                  <a:gd name="T1" fmla="*/ 0 h 722"/>
                  <a:gd name="T2" fmla="*/ 409 w 723"/>
                  <a:gd name="T3" fmla="*/ 2 h 722"/>
                  <a:gd name="T4" fmla="*/ 458 w 723"/>
                  <a:gd name="T5" fmla="*/ 13 h 722"/>
                  <a:gd name="T6" fmla="*/ 502 w 723"/>
                  <a:gd name="T7" fmla="*/ 28 h 722"/>
                  <a:gd name="T8" fmla="*/ 543 w 723"/>
                  <a:gd name="T9" fmla="*/ 49 h 722"/>
                  <a:gd name="T10" fmla="*/ 582 w 723"/>
                  <a:gd name="T11" fmla="*/ 75 h 722"/>
                  <a:gd name="T12" fmla="*/ 617 w 723"/>
                  <a:gd name="T13" fmla="*/ 106 h 722"/>
                  <a:gd name="T14" fmla="*/ 648 w 723"/>
                  <a:gd name="T15" fmla="*/ 141 h 722"/>
                  <a:gd name="T16" fmla="*/ 674 w 723"/>
                  <a:gd name="T17" fmla="*/ 178 h 722"/>
                  <a:gd name="T18" fmla="*/ 695 w 723"/>
                  <a:gd name="T19" fmla="*/ 221 h 722"/>
                  <a:gd name="T20" fmla="*/ 710 w 723"/>
                  <a:gd name="T21" fmla="*/ 265 h 722"/>
                  <a:gd name="T22" fmla="*/ 719 w 723"/>
                  <a:gd name="T23" fmla="*/ 312 h 722"/>
                  <a:gd name="T24" fmla="*/ 723 w 723"/>
                  <a:gd name="T25" fmla="*/ 361 h 722"/>
                  <a:gd name="T26" fmla="*/ 719 w 723"/>
                  <a:gd name="T27" fmla="*/ 411 h 722"/>
                  <a:gd name="T28" fmla="*/ 710 w 723"/>
                  <a:gd name="T29" fmla="*/ 457 h 722"/>
                  <a:gd name="T30" fmla="*/ 695 w 723"/>
                  <a:gd name="T31" fmla="*/ 502 h 722"/>
                  <a:gd name="T32" fmla="*/ 674 w 723"/>
                  <a:gd name="T33" fmla="*/ 543 h 722"/>
                  <a:gd name="T34" fmla="*/ 648 w 723"/>
                  <a:gd name="T35" fmla="*/ 582 h 722"/>
                  <a:gd name="T36" fmla="*/ 617 w 723"/>
                  <a:gd name="T37" fmla="*/ 617 h 722"/>
                  <a:gd name="T38" fmla="*/ 582 w 723"/>
                  <a:gd name="T39" fmla="*/ 647 h 722"/>
                  <a:gd name="T40" fmla="*/ 543 w 723"/>
                  <a:gd name="T41" fmla="*/ 673 h 722"/>
                  <a:gd name="T42" fmla="*/ 502 w 723"/>
                  <a:gd name="T43" fmla="*/ 694 h 722"/>
                  <a:gd name="T44" fmla="*/ 458 w 723"/>
                  <a:gd name="T45" fmla="*/ 710 h 722"/>
                  <a:gd name="T46" fmla="*/ 409 w 723"/>
                  <a:gd name="T47" fmla="*/ 719 h 722"/>
                  <a:gd name="T48" fmla="*/ 361 w 723"/>
                  <a:gd name="T49" fmla="*/ 722 h 722"/>
                  <a:gd name="T50" fmla="*/ 312 w 723"/>
                  <a:gd name="T51" fmla="*/ 719 h 722"/>
                  <a:gd name="T52" fmla="*/ 265 w 723"/>
                  <a:gd name="T53" fmla="*/ 710 h 722"/>
                  <a:gd name="T54" fmla="*/ 220 w 723"/>
                  <a:gd name="T55" fmla="*/ 694 h 722"/>
                  <a:gd name="T56" fmla="*/ 178 w 723"/>
                  <a:gd name="T57" fmla="*/ 673 h 722"/>
                  <a:gd name="T58" fmla="*/ 139 w 723"/>
                  <a:gd name="T59" fmla="*/ 647 h 722"/>
                  <a:gd name="T60" fmla="*/ 105 w 723"/>
                  <a:gd name="T61" fmla="*/ 617 h 722"/>
                  <a:gd name="T62" fmla="*/ 75 w 723"/>
                  <a:gd name="T63" fmla="*/ 582 h 722"/>
                  <a:gd name="T64" fmla="*/ 49 w 723"/>
                  <a:gd name="T65" fmla="*/ 543 h 722"/>
                  <a:gd name="T66" fmla="*/ 28 w 723"/>
                  <a:gd name="T67" fmla="*/ 502 h 722"/>
                  <a:gd name="T68" fmla="*/ 13 w 723"/>
                  <a:gd name="T69" fmla="*/ 457 h 722"/>
                  <a:gd name="T70" fmla="*/ 2 w 723"/>
                  <a:gd name="T71" fmla="*/ 411 h 722"/>
                  <a:gd name="T72" fmla="*/ 0 w 723"/>
                  <a:gd name="T73" fmla="*/ 361 h 722"/>
                  <a:gd name="T74" fmla="*/ 2 w 723"/>
                  <a:gd name="T75" fmla="*/ 312 h 722"/>
                  <a:gd name="T76" fmla="*/ 13 w 723"/>
                  <a:gd name="T77" fmla="*/ 265 h 722"/>
                  <a:gd name="T78" fmla="*/ 28 w 723"/>
                  <a:gd name="T79" fmla="*/ 221 h 722"/>
                  <a:gd name="T80" fmla="*/ 49 w 723"/>
                  <a:gd name="T81" fmla="*/ 178 h 722"/>
                  <a:gd name="T82" fmla="*/ 75 w 723"/>
                  <a:gd name="T83" fmla="*/ 141 h 722"/>
                  <a:gd name="T84" fmla="*/ 105 w 723"/>
                  <a:gd name="T85" fmla="*/ 106 h 722"/>
                  <a:gd name="T86" fmla="*/ 139 w 723"/>
                  <a:gd name="T87" fmla="*/ 75 h 722"/>
                  <a:gd name="T88" fmla="*/ 178 w 723"/>
                  <a:gd name="T89" fmla="*/ 49 h 722"/>
                  <a:gd name="T90" fmla="*/ 220 w 723"/>
                  <a:gd name="T91" fmla="*/ 28 h 722"/>
                  <a:gd name="T92" fmla="*/ 265 w 723"/>
                  <a:gd name="T93" fmla="*/ 13 h 722"/>
                  <a:gd name="T94" fmla="*/ 312 w 723"/>
                  <a:gd name="T95" fmla="*/ 2 h 722"/>
                  <a:gd name="T96" fmla="*/ 361 w 723"/>
                  <a:gd name="T9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3" h="722">
                    <a:moveTo>
                      <a:pt x="361" y="0"/>
                    </a:moveTo>
                    <a:lnTo>
                      <a:pt x="409" y="2"/>
                    </a:lnTo>
                    <a:lnTo>
                      <a:pt x="458" y="13"/>
                    </a:lnTo>
                    <a:lnTo>
                      <a:pt x="502" y="28"/>
                    </a:lnTo>
                    <a:lnTo>
                      <a:pt x="543" y="49"/>
                    </a:lnTo>
                    <a:lnTo>
                      <a:pt x="582" y="75"/>
                    </a:lnTo>
                    <a:lnTo>
                      <a:pt x="617" y="106"/>
                    </a:lnTo>
                    <a:lnTo>
                      <a:pt x="648" y="141"/>
                    </a:lnTo>
                    <a:lnTo>
                      <a:pt x="674" y="178"/>
                    </a:lnTo>
                    <a:lnTo>
                      <a:pt x="695" y="221"/>
                    </a:lnTo>
                    <a:lnTo>
                      <a:pt x="710" y="265"/>
                    </a:lnTo>
                    <a:lnTo>
                      <a:pt x="719" y="312"/>
                    </a:lnTo>
                    <a:lnTo>
                      <a:pt x="723" y="361"/>
                    </a:lnTo>
                    <a:lnTo>
                      <a:pt x="719" y="411"/>
                    </a:lnTo>
                    <a:lnTo>
                      <a:pt x="710" y="457"/>
                    </a:lnTo>
                    <a:lnTo>
                      <a:pt x="695" y="502"/>
                    </a:lnTo>
                    <a:lnTo>
                      <a:pt x="674" y="543"/>
                    </a:lnTo>
                    <a:lnTo>
                      <a:pt x="648" y="582"/>
                    </a:lnTo>
                    <a:lnTo>
                      <a:pt x="617" y="617"/>
                    </a:lnTo>
                    <a:lnTo>
                      <a:pt x="582" y="647"/>
                    </a:lnTo>
                    <a:lnTo>
                      <a:pt x="543" y="673"/>
                    </a:lnTo>
                    <a:lnTo>
                      <a:pt x="502" y="694"/>
                    </a:lnTo>
                    <a:lnTo>
                      <a:pt x="458" y="710"/>
                    </a:lnTo>
                    <a:lnTo>
                      <a:pt x="409" y="719"/>
                    </a:lnTo>
                    <a:lnTo>
                      <a:pt x="361" y="722"/>
                    </a:lnTo>
                    <a:lnTo>
                      <a:pt x="312" y="719"/>
                    </a:lnTo>
                    <a:lnTo>
                      <a:pt x="265" y="710"/>
                    </a:lnTo>
                    <a:lnTo>
                      <a:pt x="220" y="694"/>
                    </a:lnTo>
                    <a:lnTo>
                      <a:pt x="178" y="673"/>
                    </a:lnTo>
                    <a:lnTo>
                      <a:pt x="139" y="647"/>
                    </a:lnTo>
                    <a:lnTo>
                      <a:pt x="105" y="617"/>
                    </a:lnTo>
                    <a:lnTo>
                      <a:pt x="75" y="582"/>
                    </a:lnTo>
                    <a:lnTo>
                      <a:pt x="49" y="543"/>
                    </a:lnTo>
                    <a:lnTo>
                      <a:pt x="28" y="502"/>
                    </a:lnTo>
                    <a:lnTo>
                      <a:pt x="13" y="457"/>
                    </a:lnTo>
                    <a:lnTo>
                      <a:pt x="2" y="411"/>
                    </a:lnTo>
                    <a:lnTo>
                      <a:pt x="0" y="361"/>
                    </a:lnTo>
                    <a:lnTo>
                      <a:pt x="2" y="312"/>
                    </a:lnTo>
                    <a:lnTo>
                      <a:pt x="13" y="265"/>
                    </a:lnTo>
                    <a:lnTo>
                      <a:pt x="28" y="221"/>
                    </a:lnTo>
                    <a:lnTo>
                      <a:pt x="49" y="178"/>
                    </a:lnTo>
                    <a:lnTo>
                      <a:pt x="75" y="141"/>
                    </a:lnTo>
                    <a:lnTo>
                      <a:pt x="105" y="106"/>
                    </a:lnTo>
                    <a:lnTo>
                      <a:pt x="139" y="75"/>
                    </a:lnTo>
                    <a:lnTo>
                      <a:pt x="178" y="49"/>
                    </a:lnTo>
                    <a:lnTo>
                      <a:pt x="220" y="28"/>
                    </a:lnTo>
                    <a:lnTo>
                      <a:pt x="265" y="13"/>
                    </a:lnTo>
                    <a:lnTo>
                      <a:pt x="312" y="2"/>
                    </a:lnTo>
                    <a:lnTo>
                      <a:pt x="36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7">
                <a:extLst>
                  <a:ext uri="{FF2B5EF4-FFF2-40B4-BE49-F238E27FC236}">
                    <a16:creationId xmlns:a16="http://schemas.microsoft.com/office/drawing/2014/main" id="{96D5C386-E7B0-114D-93B5-686A40DE97EB}"/>
                  </a:ext>
                </a:extLst>
              </p:cNvPr>
              <p:cNvSpPr>
                <a:spLocks noEditPoints="1"/>
              </p:cNvSpPr>
              <p:nvPr/>
            </p:nvSpPr>
            <p:spPr bwMode="auto">
              <a:xfrm>
                <a:off x="2506822" y="1309053"/>
                <a:ext cx="731520" cy="731520"/>
              </a:xfrm>
              <a:custGeom>
                <a:avLst/>
                <a:gdLst>
                  <a:gd name="T0" fmla="*/ 291 w 452"/>
                  <a:gd name="T1" fmla="*/ 330 h 452"/>
                  <a:gd name="T2" fmla="*/ 255 w 452"/>
                  <a:gd name="T3" fmla="*/ 330 h 452"/>
                  <a:gd name="T4" fmla="*/ 216 w 452"/>
                  <a:gd name="T5" fmla="*/ 330 h 452"/>
                  <a:gd name="T6" fmla="*/ 179 w 452"/>
                  <a:gd name="T7" fmla="*/ 330 h 452"/>
                  <a:gd name="T8" fmla="*/ 142 w 452"/>
                  <a:gd name="T9" fmla="*/ 330 h 452"/>
                  <a:gd name="T10" fmla="*/ 160 w 452"/>
                  <a:gd name="T11" fmla="*/ 291 h 452"/>
                  <a:gd name="T12" fmla="*/ 273 w 452"/>
                  <a:gd name="T13" fmla="*/ 291 h 452"/>
                  <a:gd name="T14" fmla="*/ 235 w 452"/>
                  <a:gd name="T15" fmla="*/ 291 h 452"/>
                  <a:gd name="T16" fmla="*/ 199 w 452"/>
                  <a:gd name="T17" fmla="*/ 291 h 452"/>
                  <a:gd name="T18" fmla="*/ 122 w 452"/>
                  <a:gd name="T19" fmla="*/ 291 h 452"/>
                  <a:gd name="T20" fmla="*/ 205 w 452"/>
                  <a:gd name="T21" fmla="*/ 148 h 452"/>
                  <a:gd name="T22" fmla="*/ 191 w 452"/>
                  <a:gd name="T23" fmla="*/ 163 h 452"/>
                  <a:gd name="T24" fmla="*/ 194 w 452"/>
                  <a:gd name="T25" fmla="*/ 183 h 452"/>
                  <a:gd name="T26" fmla="*/ 210 w 452"/>
                  <a:gd name="T27" fmla="*/ 195 h 452"/>
                  <a:gd name="T28" fmla="*/ 223 w 452"/>
                  <a:gd name="T29" fmla="*/ 202 h 452"/>
                  <a:gd name="T30" fmla="*/ 227 w 452"/>
                  <a:gd name="T31" fmla="*/ 212 h 452"/>
                  <a:gd name="T32" fmla="*/ 214 w 452"/>
                  <a:gd name="T33" fmla="*/ 218 h 452"/>
                  <a:gd name="T34" fmla="*/ 199 w 452"/>
                  <a:gd name="T35" fmla="*/ 215 h 452"/>
                  <a:gd name="T36" fmla="*/ 202 w 452"/>
                  <a:gd name="T37" fmla="*/ 232 h 452"/>
                  <a:gd name="T38" fmla="*/ 227 w 452"/>
                  <a:gd name="T39" fmla="*/ 232 h 452"/>
                  <a:gd name="T40" fmla="*/ 239 w 452"/>
                  <a:gd name="T41" fmla="*/ 227 h 452"/>
                  <a:gd name="T42" fmla="*/ 246 w 452"/>
                  <a:gd name="T43" fmla="*/ 204 h 452"/>
                  <a:gd name="T44" fmla="*/ 234 w 452"/>
                  <a:gd name="T45" fmla="*/ 188 h 452"/>
                  <a:gd name="T46" fmla="*/ 214 w 452"/>
                  <a:gd name="T47" fmla="*/ 177 h 452"/>
                  <a:gd name="T48" fmla="*/ 207 w 452"/>
                  <a:gd name="T49" fmla="*/ 168 h 452"/>
                  <a:gd name="T50" fmla="*/ 215 w 452"/>
                  <a:gd name="T51" fmla="*/ 160 h 452"/>
                  <a:gd name="T52" fmla="*/ 230 w 452"/>
                  <a:gd name="T53" fmla="*/ 162 h 452"/>
                  <a:gd name="T54" fmla="*/ 237 w 452"/>
                  <a:gd name="T55" fmla="*/ 147 h 452"/>
                  <a:gd name="T56" fmla="*/ 227 w 452"/>
                  <a:gd name="T57" fmla="*/ 144 h 452"/>
                  <a:gd name="T58" fmla="*/ 260 w 452"/>
                  <a:gd name="T59" fmla="*/ 115 h 452"/>
                  <a:gd name="T60" fmla="*/ 299 w 452"/>
                  <a:gd name="T61" fmla="*/ 210 h 452"/>
                  <a:gd name="T62" fmla="*/ 216 w 452"/>
                  <a:gd name="T63" fmla="*/ 272 h 452"/>
                  <a:gd name="T64" fmla="*/ 135 w 452"/>
                  <a:gd name="T65" fmla="*/ 210 h 452"/>
                  <a:gd name="T66" fmla="*/ 174 w 452"/>
                  <a:gd name="T67" fmla="*/ 115 h 452"/>
                  <a:gd name="T68" fmla="*/ 172 w 452"/>
                  <a:gd name="T69" fmla="*/ 95 h 452"/>
                  <a:gd name="T70" fmla="*/ 114 w 452"/>
                  <a:gd name="T71" fmla="*/ 188 h 452"/>
                  <a:gd name="T72" fmla="*/ 114 w 452"/>
                  <a:gd name="T73" fmla="*/ 272 h 452"/>
                  <a:gd name="T74" fmla="*/ 104 w 452"/>
                  <a:gd name="T75" fmla="*/ 319 h 452"/>
                  <a:gd name="T76" fmla="*/ 122 w 452"/>
                  <a:gd name="T77" fmla="*/ 330 h 452"/>
                  <a:gd name="T78" fmla="*/ 132 w 452"/>
                  <a:gd name="T79" fmla="*/ 367 h 452"/>
                  <a:gd name="T80" fmla="*/ 330 w 452"/>
                  <a:gd name="T81" fmla="*/ 358 h 452"/>
                  <a:gd name="T82" fmla="*/ 320 w 452"/>
                  <a:gd name="T83" fmla="*/ 311 h 452"/>
                  <a:gd name="T84" fmla="*/ 306 w 452"/>
                  <a:gd name="T85" fmla="*/ 273 h 452"/>
                  <a:gd name="T86" fmla="*/ 317 w 452"/>
                  <a:gd name="T87" fmla="*/ 214 h 452"/>
                  <a:gd name="T88" fmla="*/ 282 w 452"/>
                  <a:gd name="T89" fmla="*/ 108 h 452"/>
                  <a:gd name="T90" fmla="*/ 267 w 452"/>
                  <a:gd name="T91" fmla="*/ 4 h 452"/>
                  <a:gd name="T92" fmla="*/ 422 w 452"/>
                  <a:gd name="T93" fmla="*/ 112 h 452"/>
                  <a:gd name="T94" fmla="*/ 438 w 452"/>
                  <a:gd name="T95" fmla="*/ 305 h 452"/>
                  <a:gd name="T96" fmla="*/ 306 w 452"/>
                  <a:gd name="T97" fmla="*/ 438 h 452"/>
                  <a:gd name="T98" fmla="*/ 112 w 452"/>
                  <a:gd name="T99" fmla="*/ 421 h 452"/>
                  <a:gd name="T100" fmla="*/ 4 w 452"/>
                  <a:gd name="T101" fmla="*/ 266 h 452"/>
                  <a:gd name="T102" fmla="*/ 53 w 452"/>
                  <a:gd name="T103" fmla="*/ 81 h 452"/>
                  <a:gd name="T104" fmla="*/ 227 w 452"/>
                  <a:gd name="T105" fmla="*/ 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452">
                    <a:moveTo>
                      <a:pt x="291" y="330"/>
                    </a:moveTo>
                    <a:lnTo>
                      <a:pt x="311" y="330"/>
                    </a:lnTo>
                    <a:lnTo>
                      <a:pt x="311" y="347"/>
                    </a:lnTo>
                    <a:lnTo>
                      <a:pt x="291" y="347"/>
                    </a:lnTo>
                    <a:lnTo>
                      <a:pt x="291" y="330"/>
                    </a:lnTo>
                    <a:close/>
                    <a:moveTo>
                      <a:pt x="255" y="330"/>
                    </a:moveTo>
                    <a:lnTo>
                      <a:pt x="273" y="330"/>
                    </a:lnTo>
                    <a:lnTo>
                      <a:pt x="273" y="347"/>
                    </a:lnTo>
                    <a:lnTo>
                      <a:pt x="255" y="347"/>
                    </a:lnTo>
                    <a:lnTo>
                      <a:pt x="255" y="330"/>
                    </a:lnTo>
                    <a:close/>
                    <a:moveTo>
                      <a:pt x="216" y="330"/>
                    </a:moveTo>
                    <a:lnTo>
                      <a:pt x="235" y="330"/>
                    </a:lnTo>
                    <a:lnTo>
                      <a:pt x="235" y="347"/>
                    </a:lnTo>
                    <a:lnTo>
                      <a:pt x="216" y="347"/>
                    </a:lnTo>
                    <a:lnTo>
                      <a:pt x="216" y="330"/>
                    </a:lnTo>
                    <a:close/>
                    <a:moveTo>
                      <a:pt x="179" y="330"/>
                    </a:moveTo>
                    <a:lnTo>
                      <a:pt x="199" y="330"/>
                    </a:lnTo>
                    <a:lnTo>
                      <a:pt x="199" y="347"/>
                    </a:lnTo>
                    <a:lnTo>
                      <a:pt x="179" y="347"/>
                    </a:lnTo>
                    <a:lnTo>
                      <a:pt x="179" y="330"/>
                    </a:lnTo>
                    <a:close/>
                    <a:moveTo>
                      <a:pt x="142" y="330"/>
                    </a:moveTo>
                    <a:lnTo>
                      <a:pt x="160" y="330"/>
                    </a:lnTo>
                    <a:lnTo>
                      <a:pt x="160" y="347"/>
                    </a:lnTo>
                    <a:lnTo>
                      <a:pt x="142" y="347"/>
                    </a:lnTo>
                    <a:lnTo>
                      <a:pt x="142" y="330"/>
                    </a:lnTo>
                    <a:close/>
                    <a:moveTo>
                      <a:pt x="160" y="291"/>
                    </a:moveTo>
                    <a:lnTo>
                      <a:pt x="179" y="291"/>
                    </a:lnTo>
                    <a:lnTo>
                      <a:pt x="179" y="311"/>
                    </a:lnTo>
                    <a:lnTo>
                      <a:pt x="160" y="311"/>
                    </a:lnTo>
                    <a:lnTo>
                      <a:pt x="160" y="291"/>
                    </a:lnTo>
                    <a:close/>
                    <a:moveTo>
                      <a:pt x="273" y="291"/>
                    </a:moveTo>
                    <a:lnTo>
                      <a:pt x="291" y="291"/>
                    </a:lnTo>
                    <a:lnTo>
                      <a:pt x="291" y="311"/>
                    </a:lnTo>
                    <a:lnTo>
                      <a:pt x="273" y="311"/>
                    </a:lnTo>
                    <a:lnTo>
                      <a:pt x="273" y="291"/>
                    </a:lnTo>
                    <a:close/>
                    <a:moveTo>
                      <a:pt x="235" y="291"/>
                    </a:moveTo>
                    <a:lnTo>
                      <a:pt x="255" y="291"/>
                    </a:lnTo>
                    <a:lnTo>
                      <a:pt x="255" y="311"/>
                    </a:lnTo>
                    <a:lnTo>
                      <a:pt x="235" y="311"/>
                    </a:lnTo>
                    <a:lnTo>
                      <a:pt x="235" y="291"/>
                    </a:lnTo>
                    <a:close/>
                    <a:moveTo>
                      <a:pt x="199" y="291"/>
                    </a:moveTo>
                    <a:lnTo>
                      <a:pt x="216" y="291"/>
                    </a:lnTo>
                    <a:lnTo>
                      <a:pt x="216" y="311"/>
                    </a:lnTo>
                    <a:lnTo>
                      <a:pt x="199" y="311"/>
                    </a:lnTo>
                    <a:lnTo>
                      <a:pt x="199" y="291"/>
                    </a:lnTo>
                    <a:close/>
                    <a:moveTo>
                      <a:pt x="122" y="291"/>
                    </a:moveTo>
                    <a:lnTo>
                      <a:pt x="142" y="291"/>
                    </a:lnTo>
                    <a:lnTo>
                      <a:pt x="142" y="311"/>
                    </a:lnTo>
                    <a:lnTo>
                      <a:pt x="122" y="311"/>
                    </a:lnTo>
                    <a:lnTo>
                      <a:pt x="122" y="291"/>
                    </a:lnTo>
                    <a:close/>
                    <a:moveTo>
                      <a:pt x="216" y="132"/>
                    </a:moveTo>
                    <a:lnTo>
                      <a:pt x="216" y="144"/>
                    </a:lnTo>
                    <a:lnTo>
                      <a:pt x="212" y="146"/>
                    </a:lnTo>
                    <a:lnTo>
                      <a:pt x="207" y="146"/>
                    </a:lnTo>
                    <a:lnTo>
                      <a:pt x="205" y="148"/>
                    </a:lnTo>
                    <a:lnTo>
                      <a:pt x="201" y="149"/>
                    </a:lnTo>
                    <a:lnTo>
                      <a:pt x="199" y="151"/>
                    </a:lnTo>
                    <a:lnTo>
                      <a:pt x="195" y="155"/>
                    </a:lnTo>
                    <a:lnTo>
                      <a:pt x="193" y="159"/>
                    </a:lnTo>
                    <a:lnTo>
                      <a:pt x="191" y="163"/>
                    </a:lnTo>
                    <a:lnTo>
                      <a:pt x="191" y="169"/>
                    </a:lnTo>
                    <a:lnTo>
                      <a:pt x="191" y="173"/>
                    </a:lnTo>
                    <a:lnTo>
                      <a:pt x="191" y="176"/>
                    </a:lnTo>
                    <a:lnTo>
                      <a:pt x="192" y="180"/>
                    </a:lnTo>
                    <a:lnTo>
                      <a:pt x="194" y="183"/>
                    </a:lnTo>
                    <a:lnTo>
                      <a:pt x="196" y="185"/>
                    </a:lnTo>
                    <a:lnTo>
                      <a:pt x="199" y="188"/>
                    </a:lnTo>
                    <a:lnTo>
                      <a:pt x="201" y="190"/>
                    </a:lnTo>
                    <a:lnTo>
                      <a:pt x="206" y="193"/>
                    </a:lnTo>
                    <a:lnTo>
                      <a:pt x="210" y="195"/>
                    </a:lnTo>
                    <a:lnTo>
                      <a:pt x="214" y="196"/>
                    </a:lnTo>
                    <a:lnTo>
                      <a:pt x="218" y="198"/>
                    </a:lnTo>
                    <a:lnTo>
                      <a:pt x="220" y="200"/>
                    </a:lnTo>
                    <a:lnTo>
                      <a:pt x="221" y="201"/>
                    </a:lnTo>
                    <a:lnTo>
                      <a:pt x="223" y="202"/>
                    </a:lnTo>
                    <a:lnTo>
                      <a:pt x="225" y="203"/>
                    </a:lnTo>
                    <a:lnTo>
                      <a:pt x="226" y="204"/>
                    </a:lnTo>
                    <a:lnTo>
                      <a:pt x="227" y="207"/>
                    </a:lnTo>
                    <a:lnTo>
                      <a:pt x="227" y="209"/>
                    </a:lnTo>
                    <a:lnTo>
                      <a:pt x="227" y="212"/>
                    </a:lnTo>
                    <a:lnTo>
                      <a:pt x="226" y="214"/>
                    </a:lnTo>
                    <a:lnTo>
                      <a:pt x="223" y="216"/>
                    </a:lnTo>
                    <a:lnTo>
                      <a:pt x="221" y="217"/>
                    </a:lnTo>
                    <a:lnTo>
                      <a:pt x="218" y="218"/>
                    </a:lnTo>
                    <a:lnTo>
                      <a:pt x="214" y="218"/>
                    </a:lnTo>
                    <a:lnTo>
                      <a:pt x="210" y="218"/>
                    </a:lnTo>
                    <a:lnTo>
                      <a:pt x="207" y="217"/>
                    </a:lnTo>
                    <a:lnTo>
                      <a:pt x="203" y="216"/>
                    </a:lnTo>
                    <a:lnTo>
                      <a:pt x="201" y="216"/>
                    </a:lnTo>
                    <a:lnTo>
                      <a:pt x="199" y="215"/>
                    </a:lnTo>
                    <a:lnTo>
                      <a:pt x="196" y="214"/>
                    </a:lnTo>
                    <a:lnTo>
                      <a:pt x="193" y="212"/>
                    </a:lnTo>
                    <a:lnTo>
                      <a:pt x="188" y="211"/>
                    </a:lnTo>
                    <a:lnTo>
                      <a:pt x="188" y="228"/>
                    </a:lnTo>
                    <a:lnTo>
                      <a:pt x="202" y="232"/>
                    </a:lnTo>
                    <a:lnTo>
                      <a:pt x="215" y="234"/>
                    </a:lnTo>
                    <a:lnTo>
                      <a:pt x="216" y="234"/>
                    </a:lnTo>
                    <a:lnTo>
                      <a:pt x="216" y="244"/>
                    </a:lnTo>
                    <a:lnTo>
                      <a:pt x="227" y="244"/>
                    </a:lnTo>
                    <a:lnTo>
                      <a:pt x="227" y="232"/>
                    </a:lnTo>
                    <a:lnTo>
                      <a:pt x="227" y="231"/>
                    </a:lnTo>
                    <a:lnTo>
                      <a:pt x="229" y="231"/>
                    </a:lnTo>
                    <a:lnTo>
                      <a:pt x="233" y="230"/>
                    </a:lnTo>
                    <a:lnTo>
                      <a:pt x="236" y="228"/>
                    </a:lnTo>
                    <a:lnTo>
                      <a:pt x="239" y="227"/>
                    </a:lnTo>
                    <a:lnTo>
                      <a:pt x="242" y="223"/>
                    </a:lnTo>
                    <a:lnTo>
                      <a:pt x="245" y="218"/>
                    </a:lnTo>
                    <a:lnTo>
                      <a:pt x="246" y="214"/>
                    </a:lnTo>
                    <a:lnTo>
                      <a:pt x="246" y="209"/>
                    </a:lnTo>
                    <a:lnTo>
                      <a:pt x="246" y="204"/>
                    </a:lnTo>
                    <a:lnTo>
                      <a:pt x="245" y="201"/>
                    </a:lnTo>
                    <a:lnTo>
                      <a:pt x="242" y="197"/>
                    </a:lnTo>
                    <a:lnTo>
                      <a:pt x="241" y="194"/>
                    </a:lnTo>
                    <a:lnTo>
                      <a:pt x="237" y="190"/>
                    </a:lnTo>
                    <a:lnTo>
                      <a:pt x="234" y="188"/>
                    </a:lnTo>
                    <a:lnTo>
                      <a:pt x="229" y="184"/>
                    </a:lnTo>
                    <a:lnTo>
                      <a:pt x="223" y="182"/>
                    </a:lnTo>
                    <a:lnTo>
                      <a:pt x="220" y="180"/>
                    </a:lnTo>
                    <a:lnTo>
                      <a:pt x="216" y="178"/>
                    </a:lnTo>
                    <a:lnTo>
                      <a:pt x="214" y="177"/>
                    </a:lnTo>
                    <a:lnTo>
                      <a:pt x="213" y="176"/>
                    </a:lnTo>
                    <a:lnTo>
                      <a:pt x="210" y="175"/>
                    </a:lnTo>
                    <a:lnTo>
                      <a:pt x="209" y="173"/>
                    </a:lnTo>
                    <a:lnTo>
                      <a:pt x="208" y="170"/>
                    </a:lnTo>
                    <a:lnTo>
                      <a:pt x="207" y="168"/>
                    </a:lnTo>
                    <a:lnTo>
                      <a:pt x="208" y="166"/>
                    </a:lnTo>
                    <a:lnTo>
                      <a:pt x="209" y="163"/>
                    </a:lnTo>
                    <a:lnTo>
                      <a:pt x="210" y="162"/>
                    </a:lnTo>
                    <a:lnTo>
                      <a:pt x="213" y="161"/>
                    </a:lnTo>
                    <a:lnTo>
                      <a:pt x="215" y="160"/>
                    </a:lnTo>
                    <a:lnTo>
                      <a:pt x="219" y="160"/>
                    </a:lnTo>
                    <a:lnTo>
                      <a:pt x="221" y="160"/>
                    </a:lnTo>
                    <a:lnTo>
                      <a:pt x="225" y="161"/>
                    </a:lnTo>
                    <a:lnTo>
                      <a:pt x="227" y="161"/>
                    </a:lnTo>
                    <a:lnTo>
                      <a:pt x="230" y="162"/>
                    </a:lnTo>
                    <a:lnTo>
                      <a:pt x="235" y="163"/>
                    </a:lnTo>
                    <a:lnTo>
                      <a:pt x="239" y="164"/>
                    </a:lnTo>
                    <a:lnTo>
                      <a:pt x="245" y="150"/>
                    </a:lnTo>
                    <a:lnTo>
                      <a:pt x="241" y="149"/>
                    </a:lnTo>
                    <a:lnTo>
                      <a:pt x="237" y="147"/>
                    </a:lnTo>
                    <a:lnTo>
                      <a:pt x="234" y="146"/>
                    </a:lnTo>
                    <a:lnTo>
                      <a:pt x="232" y="146"/>
                    </a:lnTo>
                    <a:lnTo>
                      <a:pt x="229" y="146"/>
                    </a:lnTo>
                    <a:lnTo>
                      <a:pt x="227" y="144"/>
                    </a:lnTo>
                    <a:lnTo>
                      <a:pt x="227" y="144"/>
                    </a:lnTo>
                    <a:lnTo>
                      <a:pt x="227" y="132"/>
                    </a:lnTo>
                    <a:lnTo>
                      <a:pt x="216" y="132"/>
                    </a:lnTo>
                    <a:close/>
                    <a:moveTo>
                      <a:pt x="216" y="103"/>
                    </a:moveTo>
                    <a:lnTo>
                      <a:pt x="240" y="107"/>
                    </a:lnTo>
                    <a:lnTo>
                      <a:pt x="260" y="115"/>
                    </a:lnTo>
                    <a:lnTo>
                      <a:pt x="276" y="128"/>
                    </a:lnTo>
                    <a:lnTo>
                      <a:pt x="290" y="146"/>
                    </a:lnTo>
                    <a:lnTo>
                      <a:pt x="299" y="166"/>
                    </a:lnTo>
                    <a:lnTo>
                      <a:pt x="302" y="188"/>
                    </a:lnTo>
                    <a:lnTo>
                      <a:pt x="299" y="210"/>
                    </a:lnTo>
                    <a:lnTo>
                      <a:pt x="290" y="231"/>
                    </a:lnTo>
                    <a:lnTo>
                      <a:pt x="276" y="248"/>
                    </a:lnTo>
                    <a:lnTo>
                      <a:pt x="260" y="262"/>
                    </a:lnTo>
                    <a:lnTo>
                      <a:pt x="240" y="270"/>
                    </a:lnTo>
                    <a:lnTo>
                      <a:pt x="216" y="272"/>
                    </a:lnTo>
                    <a:lnTo>
                      <a:pt x="194" y="270"/>
                    </a:lnTo>
                    <a:lnTo>
                      <a:pt x="174" y="262"/>
                    </a:lnTo>
                    <a:lnTo>
                      <a:pt x="156" y="248"/>
                    </a:lnTo>
                    <a:lnTo>
                      <a:pt x="144" y="231"/>
                    </a:lnTo>
                    <a:lnTo>
                      <a:pt x="135" y="210"/>
                    </a:lnTo>
                    <a:lnTo>
                      <a:pt x="132" y="188"/>
                    </a:lnTo>
                    <a:lnTo>
                      <a:pt x="135" y="166"/>
                    </a:lnTo>
                    <a:lnTo>
                      <a:pt x="144" y="146"/>
                    </a:lnTo>
                    <a:lnTo>
                      <a:pt x="156" y="128"/>
                    </a:lnTo>
                    <a:lnTo>
                      <a:pt x="174" y="115"/>
                    </a:lnTo>
                    <a:lnTo>
                      <a:pt x="194" y="107"/>
                    </a:lnTo>
                    <a:lnTo>
                      <a:pt x="216" y="103"/>
                    </a:lnTo>
                    <a:close/>
                    <a:moveTo>
                      <a:pt x="216" y="85"/>
                    </a:moveTo>
                    <a:lnTo>
                      <a:pt x="193" y="88"/>
                    </a:lnTo>
                    <a:lnTo>
                      <a:pt x="172" y="95"/>
                    </a:lnTo>
                    <a:lnTo>
                      <a:pt x="152" y="108"/>
                    </a:lnTo>
                    <a:lnTo>
                      <a:pt x="136" y="123"/>
                    </a:lnTo>
                    <a:lnTo>
                      <a:pt x="124" y="143"/>
                    </a:lnTo>
                    <a:lnTo>
                      <a:pt x="117" y="164"/>
                    </a:lnTo>
                    <a:lnTo>
                      <a:pt x="114" y="188"/>
                    </a:lnTo>
                    <a:lnTo>
                      <a:pt x="117" y="214"/>
                    </a:lnTo>
                    <a:lnTo>
                      <a:pt x="126" y="237"/>
                    </a:lnTo>
                    <a:lnTo>
                      <a:pt x="140" y="257"/>
                    </a:lnTo>
                    <a:lnTo>
                      <a:pt x="158" y="272"/>
                    </a:lnTo>
                    <a:lnTo>
                      <a:pt x="114" y="272"/>
                    </a:lnTo>
                    <a:lnTo>
                      <a:pt x="109" y="273"/>
                    </a:lnTo>
                    <a:lnTo>
                      <a:pt x="107" y="276"/>
                    </a:lnTo>
                    <a:lnTo>
                      <a:pt x="105" y="279"/>
                    </a:lnTo>
                    <a:lnTo>
                      <a:pt x="104" y="283"/>
                    </a:lnTo>
                    <a:lnTo>
                      <a:pt x="104" y="319"/>
                    </a:lnTo>
                    <a:lnTo>
                      <a:pt x="105" y="324"/>
                    </a:lnTo>
                    <a:lnTo>
                      <a:pt x="107" y="326"/>
                    </a:lnTo>
                    <a:lnTo>
                      <a:pt x="109" y="329"/>
                    </a:lnTo>
                    <a:lnTo>
                      <a:pt x="114" y="330"/>
                    </a:lnTo>
                    <a:lnTo>
                      <a:pt x="122" y="330"/>
                    </a:lnTo>
                    <a:lnTo>
                      <a:pt x="122" y="358"/>
                    </a:lnTo>
                    <a:lnTo>
                      <a:pt x="124" y="361"/>
                    </a:lnTo>
                    <a:lnTo>
                      <a:pt x="125" y="364"/>
                    </a:lnTo>
                    <a:lnTo>
                      <a:pt x="128" y="366"/>
                    </a:lnTo>
                    <a:lnTo>
                      <a:pt x="132" y="367"/>
                    </a:lnTo>
                    <a:lnTo>
                      <a:pt x="320" y="367"/>
                    </a:lnTo>
                    <a:lnTo>
                      <a:pt x="324" y="366"/>
                    </a:lnTo>
                    <a:lnTo>
                      <a:pt x="327" y="364"/>
                    </a:lnTo>
                    <a:lnTo>
                      <a:pt x="329" y="361"/>
                    </a:lnTo>
                    <a:lnTo>
                      <a:pt x="330" y="358"/>
                    </a:lnTo>
                    <a:lnTo>
                      <a:pt x="330" y="319"/>
                    </a:lnTo>
                    <a:lnTo>
                      <a:pt x="329" y="316"/>
                    </a:lnTo>
                    <a:lnTo>
                      <a:pt x="327" y="313"/>
                    </a:lnTo>
                    <a:lnTo>
                      <a:pt x="324" y="311"/>
                    </a:lnTo>
                    <a:lnTo>
                      <a:pt x="320" y="311"/>
                    </a:lnTo>
                    <a:lnTo>
                      <a:pt x="311" y="311"/>
                    </a:lnTo>
                    <a:lnTo>
                      <a:pt x="311" y="283"/>
                    </a:lnTo>
                    <a:lnTo>
                      <a:pt x="310" y="279"/>
                    </a:lnTo>
                    <a:lnTo>
                      <a:pt x="308" y="276"/>
                    </a:lnTo>
                    <a:lnTo>
                      <a:pt x="306" y="273"/>
                    </a:lnTo>
                    <a:lnTo>
                      <a:pt x="302" y="272"/>
                    </a:lnTo>
                    <a:lnTo>
                      <a:pt x="276" y="272"/>
                    </a:lnTo>
                    <a:lnTo>
                      <a:pt x="294" y="257"/>
                    </a:lnTo>
                    <a:lnTo>
                      <a:pt x="308" y="237"/>
                    </a:lnTo>
                    <a:lnTo>
                      <a:pt x="317" y="214"/>
                    </a:lnTo>
                    <a:lnTo>
                      <a:pt x="320" y="188"/>
                    </a:lnTo>
                    <a:lnTo>
                      <a:pt x="317" y="164"/>
                    </a:lnTo>
                    <a:lnTo>
                      <a:pt x="309" y="143"/>
                    </a:lnTo>
                    <a:lnTo>
                      <a:pt x="297" y="123"/>
                    </a:lnTo>
                    <a:lnTo>
                      <a:pt x="282" y="108"/>
                    </a:lnTo>
                    <a:lnTo>
                      <a:pt x="262" y="95"/>
                    </a:lnTo>
                    <a:lnTo>
                      <a:pt x="241" y="88"/>
                    </a:lnTo>
                    <a:lnTo>
                      <a:pt x="216" y="85"/>
                    </a:lnTo>
                    <a:close/>
                    <a:moveTo>
                      <a:pt x="227" y="0"/>
                    </a:moveTo>
                    <a:lnTo>
                      <a:pt x="267" y="4"/>
                    </a:lnTo>
                    <a:lnTo>
                      <a:pt x="306" y="14"/>
                    </a:lnTo>
                    <a:lnTo>
                      <a:pt x="341" y="31"/>
                    </a:lnTo>
                    <a:lnTo>
                      <a:pt x="371" y="53"/>
                    </a:lnTo>
                    <a:lnTo>
                      <a:pt x="399" y="81"/>
                    </a:lnTo>
                    <a:lnTo>
                      <a:pt x="422" y="112"/>
                    </a:lnTo>
                    <a:lnTo>
                      <a:pt x="438" y="147"/>
                    </a:lnTo>
                    <a:lnTo>
                      <a:pt x="449" y="185"/>
                    </a:lnTo>
                    <a:lnTo>
                      <a:pt x="452" y="227"/>
                    </a:lnTo>
                    <a:lnTo>
                      <a:pt x="449" y="266"/>
                    </a:lnTo>
                    <a:lnTo>
                      <a:pt x="438" y="305"/>
                    </a:lnTo>
                    <a:lnTo>
                      <a:pt x="422" y="340"/>
                    </a:lnTo>
                    <a:lnTo>
                      <a:pt x="399" y="371"/>
                    </a:lnTo>
                    <a:lnTo>
                      <a:pt x="371" y="399"/>
                    </a:lnTo>
                    <a:lnTo>
                      <a:pt x="341" y="421"/>
                    </a:lnTo>
                    <a:lnTo>
                      <a:pt x="306" y="438"/>
                    </a:lnTo>
                    <a:lnTo>
                      <a:pt x="267" y="448"/>
                    </a:lnTo>
                    <a:lnTo>
                      <a:pt x="227" y="452"/>
                    </a:lnTo>
                    <a:lnTo>
                      <a:pt x="186" y="448"/>
                    </a:lnTo>
                    <a:lnTo>
                      <a:pt x="147" y="438"/>
                    </a:lnTo>
                    <a:lnTo>
                      <a:pt x="112" y="421"/>
                    </a:lnTo>
                    <a:lnTo>
                      <a:pt x="81" y="399"/>
                    </a:lnTo>
                    <a:lnTo>
                      <a:pt x="53" y="371"/>
                    </a:lnTo>
                    <a:lnTo>
                      <a:pt x="31" y="340"/>
                    </a:lnTo>
                    <a:lnTo>
                      <a:pt x="14" y="305"/>
                    </a:lnTo>
                    <a:lnTo>
                      <a:pt x="4" y="266"/>
                    </a:lnTo>
                    <a:lnTo>
                      <a:pt x="0" y="227"/>
                    </a:lnTo>
                    <a:lnTo>
                      <a:pt x="4" y="185"/>
                    </a:lnTo>
                    <a:lnTo>
                      <a:pt x="14" y="147"/>
                    </a:lnTo>
                    <a:lnTo>
                      <a:pt x="31" y="112"/>
                    </a:lnTo>
                    <a:lnTo>
                      <a:pt x="53" y="81"/>
                    </a:lnTo>
                    <a:lnTo>
                      <a:pt x="81" y="53"/>
                    </a:lnTo>
                    <a:lnTo>
                      <a:pt x="112" y="31"/>
                    </a:lnTo>
                    <a:lnTo>
                      <a:pt x="147" y="14"/>
                    </a:lnTo>
                    <a:lnTo>
                      <a:pt x="186" y="4"/>
                    </a:lnTo>
                    <a:lnTo>
                      <a:pt x="22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9" name="Group 148">
              <a:extLst>
                <a:ext uri="{FF2B5EF4-FFF2-40B4-BE49-F238E27FC236}">
                  <a16:creationId xmlns:a16="http://schemas.microsoft.com/office/drawing/2014/main" id="{F508EF67-3D8B-BE46-9FA6-8D00E2AFDA5F}"/>
                </a:ext>
              </a:extLst>
            </p:cNvPr>
            <p:cNvGrpSpPr/>
            <p:nvPr/>
          </p:nvGrpSpPr>
          <p:grpSpPr>
            <a:xfrm>
              <a:off x="1592841" y="2883910"/>
              <a:ext cx="1147763" cy="1147763"/>
              <a:chOff x="1509713" y="2865438"/>
              <a:chExt cx="1147763" cy="1147763"/>
            </a:xfrm>
          </p:grpSpPr>
          <p:sp>
            <p:nvSpPr>
              <p:cNvPr id="150" name="Freeform 14">
                <a:extLst>
                  <a:ext uri="{FF2B5EF4-FFF2-40B4-BE49-F238E27FC236}">
                    <a16:creationId xmlns:a16="http://schemas.microsoft.com/office/drawing/2014/main" id="{06BE96B7-3CD4-4C40-B0FA-3C00695254EB}"/>
                  </a:ext>
                </a:extLst>
              </p:cNvPr>
              <p:cNvSpPr>
                <a:spLocks/>
              </p:cNvSpPr>
              <p:nvPr/>
            </p:nvSpPr>
            <p:spPr bwMode="auto">
              <a:xfrm>
                <a:off x="1509713" y="2865438"/>
                <a:ext cx="1147763" cy="1147763"/>
              </a:xfrm>
              <a:custGeom>
                <a:avLst/>
                <a:gdLst>
                  <a:gd name="T0" fmla="*/ 362 w 723"/>
                  <a:gd name="T1" fmla="*/ 0 h 723"/>
                  <a:gd name="T2" fmla="*/ 411 w 723"/>
                  <a:gd name="T3" fmla="*/ 3 h 723"/>
                  <a:gd name="T4" fmla="*/ 458 w 723"/>
                  <a:gd name="T5" fmla="*/ 13 h 723"/>
                  <a:gd name="T6" fmla="*/ 503 w 723"/>
                  <a:gd name="T7" fmla="*/ 29 h 723"/>
                  <a:gd name="T8" fmla="*/ 544 w 723"/>
                  <a:gd name="T9" fmla="*/ 49 h 723"/>
                  <a:gd name="T10" fmla="*/ 582 w 723"/>
                  <a:gd name="T11" fmla="*/ 76 h 723"/>
                  <a:gd name="T12" fmla="*/ 618 w 723"/>
                  <a:gd name="T13" fmla="*/ 106 h 723"/>
                  <a:gd name="T14" fmla="*/ 648 w 723"/>
                  <a:gd name="T15" fmla="*/ 140 h 723"/>
                  <a:gd name="T16" fmla="*/ 674 w 723"/>
                  <a:gd name="T17" fmla="*/ 179 h 723"/>
                  <a:gd name="T18" fmla="*/ 695 w 723"/>
                  <a:gd name="T19" fmla="*/ 221 h 723"/>
                  <a:gd name="T20" fmla="*/ 710 w 723"/>
                  <a:gd name="T21" fmla="*/ 266 h 723"/>
                  <a:gd name="T22" fmla="*/ 720 w 723"/>
                  <a:gd name="T23" fmla="*/ 313 h 723"/>
                  <a:gd name="T24" fmla="*/ 723 w 723"/>
                  <a:gd name="T25" fmla="*/ 362 h 723"/>
                  <a:gd name="T26" fmla="*/ 720 w 723"/>
                  <a:gd name="T27" fmla="*/ 410 h 723"/>
                  <a:gd name="T28" fmla="*/ 710 w 723"/>
                  <a:gd name="T29" fmla="*/ 457 h 723"/>
                  <a:gd name="T30" fmla="*/ 695 w 723"/>
                  <a:gd name="T31" fmla="*/ 502 h 723"/>
                  <a:gd name="T32" fmla="*/ 674 w 723"/>
                  <a:gd name="T33" fmla="*/ 544 h 723"/>
                  <a:gd name="T34" fmla="*/ 648 w 723"/>
                  <a:gd name="T35" fmla="*/ 583 h 723"/>
                  <a:gd name="T36" fmla="*/ 618 w 723"/>
                  <a:gd name="T37" fmla="*/ 617 h 723"/>
                  <a:gd name="T38" fmla="*/ 582 w 723"/>
                  <a:gd name="T39" fmla="*/ 647 h 723"/>
                  <a:gd name="T40" fmla="*/ 544 w 723"/>
                  <a:gd name="T41" fmla="*/ 674 h 723"/>
                  <a:gd name="T42" fmla="*/ 503 w 723"/>
                  <a:gd name="T43" fmla="*/ 694 h 723"/>
                  <a:gd name="T44" fmla="*/ 458 w 723"/>
                  <a:gd name="T45" fmla="*/ 710 h 723"/>
                  <a:gd name="T46" fmla="*/ 411 w 723"/>
                  <a:gd name="T47" fmla="*/ 720 h 723"/>
                  <a:gd name="T48" fmla="*/ 362 w 723"/>
                  <a:gd name="T49" fmla="*/ 723 h 723"/>
                  <a:gd name="T50" fmla="*/ 312 w 723"/>
                  <a:gd name="T51" fmla="*/ 720 h 723"/>
                  <a:gd name="T52" fmla="*/ 265 w 723"/>
                  <a:gd name="T53" fmla="*/ 710 h 723"/>
                  <a:gd name="T54" fmla="*/ 221 w 723"/>
                  <a:gd name="T55" fmla="*/ 694 h 723"/>
                  <a:gd name="T56" fmla="*/ 178 w 723"/>
                  <a:gd name="T57" fmla="*/ 674 h 723"/>
                  <a:gd name="T58" fmla="*/ 141 w 723"/>
                  <a:gd name="T59" fmla="*/ 647 h 723"/>
                  <a:gd name="T60" fmla="*/ 106 w 723"/>
                  <a:gd name="T61" fmla="*/ 617 h 723"/>
                  <a:gd name="T62" fmla="*/ 75 w 723"/>
                  <a:gd name="T63" fmla="*/ 583 h 723"/>
                  <a:gd name="T64" fmla="*/ 49 w 723"/>
                  <a:gd name="T65" fmla="*/ 544 h 723"/>
                  <a:gd name="T66" fmla="*/ 28 w 723"/>
                  <a:gd name="T67" fmla="*/ 502 h 723"/>
                  <a:gd name="T68" fmla="*/ 13 w 723"/>
                  <a:gd name="T69" fmla="*/ 457 h 723"/>
                  <a:gd name="T70" fmla="*/ 4 w 723"/>
                  <a:gd name="T71" fmla="*/ 410 h 723"/>
                  <a:gd name="T72" fmla="*/ 0 w 723"/>
                  <a:gd name="T73" fmla="*/ 362 h 723"/>
                  <a:gd name="T74" fmla="*/ 4 w 723"/>
                  <a:gd name="T75" fmla="*/ 313 h 723"/>
                  <a:gd name="T76" fmla="*/ 13 w 723"/>
                  <a:gd name="T77" fmla="*/ 266 h 723"/>
                  <a:gd name="T78" fmla="*/ 28 w 723"/>
                  <a:gd name="T79" fmla="*/ 221 h 723"/>
                  <a:gd name="T80" fmla="*/ 49 w 723"/>
                  <a:gd name="T81" fmla="*/ 179 h 723"/>
                  <a:gd name="T82" fmla="*/ 75 w 723"/>
                  <a:gd name="T83" fmla="*/ 140 h 723"/>
                  <a:gd name="T84" fmla="*/ 106 w 723"/>
                  <a:gd name="T85" fmla="*/ 106 h 723"/>
                  <a:gd name="T86" fmla="*/ 141 w 723"/>
                  <a:gd name="T87" fmla="*/ 76 h 723"/>
                  <a:gd name="T88" fmla="*/ 178 w 723"/>
                  <a:gd name="T89" fmla="*/ 49 h 723"/>
                  <a:gd name="T90" fmla="*/ 221 w 723"/>
                  <a:gd name="T91" fmla="*/ 29 h 723"/>
                  <a:gd name="T92" fmla="*/ 265 w 723"/>
                  <a:gd name="T93" fmla="*/ 13 h 723"/>
                  <a:gd name="T94" fmla="*/ 312 w 723"/>
                  <a:gd name="T95" fmla="*/ 3 h 723"/>
                  <a:gd name="T96" fmla="*/ 362 w 723"/>
                  <a:gd name="T97" fmla="*/ 0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3" h="723">
                    <a:moveTo>
                      <a:pt x="362" y="0"/>
                    </a:moveTo>
                    <a:lnTo>
                      <a:pt x="411" y="3"/>
                    </a:lnTo>
                    <a:lnTo>
                      <a:pt x="458" y="13"/>
                    </a:lnTo>
                    <a:lnTo>
                      <a:pt x="503" y="29"/>
                    </a:lnTo>
                    <a:lnTo>
                      <a:pt x="544" y="49"/>
                    </a:lnTo>
                    <a:lnTo>
                      <a:pt x="582" y="76"/>
                    </a:lnTo>
                    <a:lnTo>
                      <a:pt x="618" y="106"/>
                    </a:lnTo>
                    <a:lnTo>
                      <a:pt x="648" y="140"/>
                    </a:lnTo>
                    <a:lnTo>
                      <a:pt x="674" y="179"/>
                    </a:lnTo>
                    <a:lnTo>
                      <a:pt x="695" y="221"/>
                    </a:lnTo>
                    <a:lnTo>
                      <a:pt x="710" y="266"/>
                    </a:lnTo>
                    <a:lnTo>
                      <a:pt x="720" y="313"/>
                    </a:lnTo>
                    <a:lnTo>
                      <a:pt x="723" y="362"/>
                    </a:lnTo>
                    <a:lnTo>
                      <a:pt x="720" y="410"/>
                    </a:lnTo>
                    <a:lnTo>
                      <a:pt x="710" y="457"/>
                    </a:lnTo>
                    <a:lnTo>
                      <a:pt x="695" y="502"/>
                    </a:lnTo>
                    <a:lnTo>
                      <a:pt x="674" y="544"/>
                    </a:lnTo>
                    <a:lnTo>
                      <a:pt x="648" y="583"/>
                    </a:lnTo>
                    <a:lnTo>
                      <a:pt x="618" y="617"/>
                    </a:lnTo>
                    <a:lnTo>
                      <a:pt x="582" y="647"/>
                    </a:lnTo>
                    <a:lnTo>
                      <a:pt x="544" y="674"/>
                    </a:lnTo>
                    <a:lnTo>
                      <a:pt x="503" y="694"/>
                    </a:lnTo>
                    <a:lnTo>
                      <a:pt x="458" y="710"/>
                    </a:lnTo>
                    <a:lnTo>
                      <a:pt x="411" y="720"/>
                    </a:lnTo>
                    <a:lnTo>
                      <a:pt x="362" y="723"/>
                    </a:lnTo>
                    <a:lnTo>
                      <a:pt x="312" y="720"/>
                    </a:lnTo>
                    <a:lnTo>
                      <a:pt x="265" y="710"/>
                    </a:lnTo>
                    <a:lnTo>
                      <a:pt x="221" y="694"/>
                    </a:lnTo>
                    <a:lnTo>
                      <a:pt x="178" y="674"/>
                    </a:lnTo>
                    <a:lnTo>
                      <a:pt x="141" y="647"/>
                    </a:lnTo>
                    <a:lnTo>
                      <a:pt x="106" y="617"/>
                    </a:lnTo>
                    <a:lnTo>
                      <a:pt x="75" y="583"/>
                    </a:lnTo>
                    <a:lnTo>
                      <a:pt x="49" y="544"/>
                    </a:lnTo>
                    <a:lnTo>
                      <a:pt x="28" y="502"/>
                    </a:lnTo>
                    <a:lnTo>
                      <a:pt x="13" y="457"/>
                    </a:lnTo>
                    <a:lnTo>
                      <a:pt x="4" y="410"/>
                    </a:lnTo>
                    <a:lnTo>
                      <a:pt x="0" y="362"/>
                    </a:lnTo>
                    <a:lnTo>
                      <a:pt x="4" y="313"/>
                    </a:lnTo>
                    <a:lnTo>
                      <a:pt x="13" y="266"/>
                    </a:lnTo>
                    <a:lnTo>
                      <a:pt x="28" y="221"/>
                    </a:lnTo>
                    <a:lnTo>
                      <a:pt x="49" y="179"/>
                    </a:lnTo>
                    <a:lnTo>
                      <a:pt x="75" y="140"/>
                    </a:lnTo>
                    <a:lnTo>
                      <a:pt x="106" y="106"/>
                    </a:lnTo>
                    <a:lnTo>
                      <a:pt x="141" y="76"/>
                    </a:lnTo>
                    <a:lnTo>
                      <a:pt x="178" y="49"/>
                    </a:lnTo>
                    <a:lnTo>
                      <a:pt x="221" y="29"/>
                    </a:lnTo>
                    <a:lnTo>
                      <a:pt x="265" y="13"/>
                    </a:lnTo>
                    <a:lnTo>
                      <a:pt x="312" y="3"/>
                    </a:lnTo>
                    <a:lnTo>
                      <a:pt x="36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51" name="Group 150">
                <a:extLst>
                  <a:ext uri="{FF2B5EF4-FFF2-40B4-BE49-F238E27FC236}">
                    <a16:creationId xmlns:a16="http://schemas.microsoft.com/office/drawing/2014/main" id="{2374CD1B-10A0-7244-B1AC-A41E24DE1935}"/>
                  </a:ext>
                </a:extLst>
              </p:cNvPr>
              <p:cNvGrpSpPr/>
              <p:nvPr/>
            </p:nvGrpSpPr>
            <p:grpSpPr>
              <a:xfrm>
                <a:off x="1696443" y="3080144"/>
                <a:ext cx="774303" cy="718350"/>
                <a:chOff x="1690688" y="3048001"/>
                <a:chExt cx="774303" cy="718350"/>
              </a:xfrm>
            </p:grpSpPr>
            <p:sp>
              <p:nvSpPr>
                <p:cNvPr id="152" name="Freeform 28">
                  <a:extLst>
                    <a:ext uri="{FF2B5EF4-FFF2-40B4-BE49-F238E27FC236}">
                      <a16:creationId xmlns:a16="http://schemas.microsoft.com/office/drawing/2014/main" id="{F124C8A9-B700-5242-8196-7D54318F70D0}"/>
                    </a:ext>
                  </a:extLst>
                </p:cNvPr>
                <p:cNvSpPr>
                  <a:spLocks noEditPoints="1"/>
                </p:cNvSpPr>
                <p:nvPr/>
              </p:nvSpPr>
              <p:spPr bwMode="auto">
                <a:xfrm>
                  <a:off x="1880828" y="3382303"/>
                  <a:ext cx="384048" cy="384048"/>
                </a:xfrm>
                <a:custGeom>
                  <a:avLst/>
                  <a:gdLst>
                    <a:gd name="T0" fmla="*/ 58 w 203"/>
                    <a:gd name="T1" fmla="*/ 122 h 202"/>
                    <a:gd name="T2" fmla="*/ 55 w 203"/>
                    <a:gd name="T3" fmla="*/ 127 h 202"/>
                    <a:gd name="T4" fmla="*/ 58 w 203"/>
                    <a:gd name="T5" fmla="*/ 129 h 202"/>
                    <a:gd name="T6" fmla="*/ 101 w 203"/>
                    <a:gd name="T7" fmla="*/ 130 h 202"/>
                    <a:gd name="T8" fmla="*/ 105 w 203"/>
                    <a:gd name="T9" fmla="*/ 128 h 202"/>
                    <a:gd name="T10" fmla="*/ 105 w 203"/>
                    <a:gd name="T11" fmla="*/ 124 h 202"/>
                    <a:gd name="T12" fmla="*/ 101 w 203"/>
                    <a:gd name="T13" fmla="*/ 122 h 202"/>
                    <a:gd name="T14" fmla="*/ 47 w 203"/>
                    <a:gd name="T15" fmla="*/ 88 h 202"/>
                    <a:gd name="T16" fmla="*/ 156 w 203"/>
                    <a:gd name="T17" fmla="*/ 138 h 202"/>
                    <a:gd name="T18" fmla="*/ 47 w 203"/>
                    <a:gd name="T19" fmla="*/ 88 h 202"/>
                    <a:gd name="T20" fmla="*/ 156 w 203"/>
                    <a:gd name="T21" fmla="*/ 63 h 202"/>
                    <a:gd name="T22" fmla="*/ 47 w 203"/>
                    <a:gd name="T23" fmla="*/ 71 h 202"/>
                    <a:gd name="T24" fmla="*/ 42 w 203"/>
                    <a:gd name="T25" fmla="*/ 54 h 202"/>
                    <a:gd name="T26" fmla="*/ 39 w 203"/>
                    <a:gd name="T27" fmla="*/ 56 h 202"/>
                    <a:gd name="T28" fmla="*/ 39 w 203"/>
                    <a:gd name="T29" fmla="*/ 143 h 202"/>
                    <a:gd name="T30" fmla="*/ 40 w 203"/>
                    <a:gd name="T31" fmla="*/ 146 h 202"/>
                    <a:gd name="T32" fmla="*/ 161 w 203"/>
                    <a:gd name="T33" fmla="*/ 146 h 202"/>
                    <a:gd name="T34" fmla="*/ 164 w 203"/>
                    <a:gd name="T35" fmla="*/ 145 h 202"/>
                    <a:gd name="T36" fmla="*/ 164 w 203"/>
                    <a:gd name="T37" fmla="*/ 58 h 202"/>
                    <a:gd name="T38" fmla="*/ 163 w 203"/>
                    <a:gd name="T39" fmla="*/ 55 h 202"/>
                    <a:gd name="T40" fmla="*/ 42 w 203"/>
                    <a:gd name="T41" fmla="*/ 54 h 202"/>
                    <a:gd name="T42" fmla="*/ 124 w 203"/>
                    <a:gd name="T43" fmla="*/ 2 h 202"/>
                    <a:gd name="T44" fmla="*/ 164 w 203"/>
                    <a:gd name="T45" fmla="*/ 22 h 202"/>
                    <a:gd name="T46" fmla="*/ 193 w 203"/>
                    <a:gd name="T47" fmla="*/ 56 h 202"/>
                    <a:gd name="T48" fmla="*/ 203 w 203"/>
                    <a:gd name="T49" fmla="*/ 101 h 202"/>
                    <a:gd name="T50" fmla="*/ 189 w 203"/>
                    <a:gd name="T51" fmla="*/ 151 h 202"/>
                    <a:gd name="T52" fmla="*/ 153 w 203"/>
                    <a:gd name="T53" fmla="*/ 187 h 202"/>
                    <a:gd name="T54" fmla="*/ 101 w 203"/>
                    <a:gd name="T55" fmla="*/ 202 h 202"/>
                    <a:gd name="T56" fmla="*/ 58 w 203"/>
                    <a:gd name="T57" fmla="*/ 191 h 202"/>
                    <a:gd name="T58" fmla="*/ 22 w 203"/>
                    <a:gd name="T59" fmla="*/ 164 h 202"/>
                    <a:gd name="T60" fmla="*/ 4 w 203"/>
                    <a:gd name="T61" fmla="*/ 124 h 202"/>
                    <a:gd name="T62" fmla="*/ 4 w 203"/>
                    <a:gd name="T63" fmla="*/ 74 h 202"/>
                    <a:gd name="T64" fmla="*/ 29 w 203"/>
                    <a:gd name="T65" fmla="*/ 29 h 202"/>
                    <a:gd name="T66" fmla="*/ 75 w 203"/>
                    <a:gd name="T67" fmla="*/ 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3" h="202">
                      <a:moveTo>
                        <a:pt x="59" y="122"/>
                      </a:moveTo>
                      <a:lnTo>
                        <a:pt x="58" y="122"/>
                      </a:lnTo>
                      <a:lnTo>
                        <a:pt x="55" y="124"/>
                      </a:lnTo>
                      <a:lnTo>
                        <a:pt x="55" y="127"/>
                      </a:lnTo>
                      <a:lnTo>
                        <a:pt x="55" y="128"/>
                      </a:lnTo>
                      <a:lnTo>
                        <a:pt x="58" y="129"/>
                      </a:lnTo>
                      <a:lnTo>
                        <a:pt x="59" y="130"/>
                      </a:lnTo>
                      <a:lnTo>
                        <a:pt x="101" y="130"/>
                      </a:lnTo>
                      <a:lnTo>
                        <a:pt x="103" y="129"/>
                      </a:lnTo>
                      <a:lnTo>
                        <a:pt x="105" y="128"/>
                      </a:lnTo>
                      <a:lnTo>
                        <a:pt x="106" y="127"/>
                      </a:lnTo>
                      <a:lnTo>
                        <a:pt x="105" y="124"/>
                      </a:lnTo>
                      <a:lnTo>
                        <a:pt x="103" y="122"/>
                      </a:lnTo>
                      <a:lnTo>
                        <a:pt x="101" y="122"/>
                      </a:lnTo>
                      <a:lnTo>
                        <a:pt x="59" y="122"/>
                      </a:lnTo>
                      <a:close/>
                      <a:moveTo>
                        <a:pt x="47" y="88"/>
                      </a:moveTo>
                      <a:lnTo>
                        <a:pt x="156" y="88"/>
                      </a:lnTo>
                      <a:lnTo>
                        <a:pt x="156" y="138"/>
                      </a:lnTo>
                      <a:lnTo>
                        <a:pt x="47" y="138"/>
                      </a:lnTo>
                      <a:lnTo>
                        <a:pt x="47" y="88"/>
                      </a:lnTo>
                      <a:close/>
                      <a:moveTo>
                        <a:pt x="47" y="63"/>
                      </a:moveTo>
                      <a:lnTo>
                        <a:pt x="156" y="63"/>
                      </a:lnTo>
                      <a:lnTo>
                        <a:pt x="156" y="71"/>
                      </a:lnTo>
                      <a:lnTo>
                        <a:pt x="47" y="71"/>
                      </a:lnTo>
                      <a:lnTo>
                        <a:pt x="47" y="63"/>
                      </a:lnTo>
                      <a:close/>
                      <a:moveTo>
                        <a:pt x="42" y="54"/>
                      </a:moveTo>
                      <a:lnTo>
                        <a:pt x="40" y="55"/>
                      </a:lnTo>
                      <a:lnTo>
                        <a:pt x="39" y="56"/>
                      </a:lnTo>
                      <a:lnTo>
                        <a:pt x="39" y="58"/>
                      </a:lnTo>
                      <a:lnTo>
                        <a:pt x="39" y="143"/>
                      </a:lnTo>
                      <a:lnTo>
                        <a:pt x="39" y="145"/>
                      </a:lnTo>
                      <a:lnTo>
                        <a:pt x="40" y="146"/>
                      </a:lnTo>
                      <a:lnTo>
                        <a:pt x="42" y="146"/>
                      </a:lnTo>
                      <a:lnTo>
                        <a:pt x="161" y="146"/>
                      </a:lnTo>
                      <a:lnTo>
                        <a:pt x="163" y="146"/>
                      </a:lnTo>
                      <a:lnTo>
                        <a:pt x="164" y="145"/>
                      </a:lnTo>
                      <a:lnTo>
                        <a:pt x="164" y="143"/>
                      </a:lnTo>
                      <a:lnTo>
                        <a:pt x="164" y="58"/>
                      </a:lnTo>
                      <a:lnTo>
                        <a:pt x="164" y="56"/>
                      </a:lnTo>
                      <a:lnTo>
                        <a:pt x="163" y="55"/>
                      </a:lnTo>
                      <a:lnTo>
                        <a:pt x="161" y="54"/>
                      </a:lnTo>
                      <a:lnTo>
                        <a:pt x="42" y="54"/>
                      </a:lnTo>
                      <a:close/>
                      <a:moveTo>
                        <a:pt x="101" y="0"/>
                      </a:moveTo>
                      <a:lnTo>
                        <a:pt x="124" y="2"/>
                      </a:lnTo>
                      <a:lnTo>
                        <a:pt x="146" y="10"/>
                      </a:lnTo>
                      <a:lnTo>
                        <a:pt x="164" y="22"/>
                      </a:lnTo>
                      <a:lnTo>
                        <a:pt x="181" y="37"/>
                      </a:lnTo>
                      <a:lnTo>
                        <a:pt x="193" y="56"/>
                      </a:lnTo>
                      <a:lnTo>
                        <a:pt x="200" y="77"/>
                      </a:lnTo>
                      <a:lnTo>
                        <a:pt x="203" y="101"/>
                      </a:lnTo>
                      <a:lnTo>
                        <a:pt x="200" y="128"/>
                      </a:lnTo>
                      <a:lnTo>
                        <a:pt x="189" y="151"/>
                      </a:lnTo>
                      <a:lnTo>
                        <a:pt x="173" y="172"/>
                      </a:lnTo>
                      <a:lnTo>
                        <a:pt x="153" y="187"/>
                      </a:lnTo>
                      <a:lnTo>
                        <a:pt x="128" y="198"/>
                      </a:lnTo>
                      <a:lnTo>
                        <a:pt x="101" y="202"/>
                      </a:lnTo>
                      <a:lnTo>
                        <a:pt x="79" y="199"/>
                      </a:lnTo>
                      <a:lnTo>
                        <a:pt x="58" y="191"/>
                      </a:lnTo>
                      <a:lnTo>
                        <a:pt x="39" y="179"/>
                      </a:lnTo>
                      <a:lnTo>
                        <a:pt x="22" y="164"/>
                      </a:lnTo>
                      <a:lnTo>
                        <a:pt x="11" y="145"/>
                      </a:lnTo>
                      <a:lnTo>
                        <a:pt x="4" y="124"/>
                      </a:lnTo>
                      <a:lnTo>
                        <a:pt x="0" y="101"/>
                      </a:lnTo>
                      <a:lnTo>
                        <a:pt x="4" y="74"/>
                      </a:lnTo>
                      <a:lnTo>
                        <a:pt x="14" y="49"/>
                      </a:lnTo>
                      <a:lnTo>
                        <a:pt x="29" y="29"/>
                      </a:lnTo>
                      <a:lnTo>
                        <a:pt x="51" y="14"/>
                      </a:lnTo>
                      <a:lnTo>
                        <a:pt x="75" y="3"/>
                      </a:lnTo>
                      <a:lnTo>
                        <a:pt x="10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53" name="Group 152">
                  <a:extLst>
                    <a:ext uri="{FF2B5EF4-FFF2-40B4-BE49-F238E27FC236}">
                      <a16:creationId xmlns:a16="http://schemas.microsoft.com/office/drawing/2014/main" id="{0E23106F-DACB-E749-87EE-8B62427075C3}"/>
                    </a:ext>
                  </a:extLst>
                </p:cNvPr>
                <p:cNvGrpSpPr/>
                <p:nvPr/>
              </p:nvGrpSpPr>
              <p:grpSpPr>
                <a:xfrm>
                  <a:off x="1690688" y="3048001"/>
                  <a:ext cx="384048" cy="384048"/>
                  <a:chOff x="1690688" y="3048001"/>
                  <a:chExt cx="496888" cy="496888"/>
                </a:xfrm>
              </p:grpSpPr>
              <p:sp>
                <p:nvSpPr>
                  <p:cNvPr id="155" name="Freeform 29">
                    <a:extLst>
                      <a:ext uri="{FF2B5EF4-FFF2-40B4-BE49-F238E27FC236}">
                        <a16:creationId xmlns:a16="http://schemas.microsoft.com/office/drawing/2014/main" id="{FFB6D79C-2896-274D-A7FB-EF736F0C4E0E}"/>
                      </a:ext>
                    </a:extLst>
                  </p:cNvPr>
                  <p:cNvSpPr>
                    <a:spLocks noEditPoints="1"/>
                  </p:cNvSpPr>
                  <p:nvPr/>
                </p:nvSpPr>
                <p:spPr bwMode="auto">
                  <a:xfrm>
                    <a:off x="1865313" y="3160713"/>
                    <a:ext cx="147638" cy="266700"/>
                  </a:xfrm>
                  <a:custGeom>
                    <a:avLst/>
                    <a:gdLst>
                      <a:gd name="T0" fmla="*/ 46 w 93"/>
                      <a:gd name="T1" fmla="*/ 143 h 168"/>
                      <a:gd name="T2" fmla="*/ 44 w 93"/>
                      <a:gd name="T3" fmla="*/ 143 h 168"/>
                      <a:gd name="T4" fmla="*/ 41 w 93"/>
                      <a:gd name="T5" fmla="*/ 144 h 168"/>
                      <a:gd name="T6" fmla="*/ 40 w 93"/>
                      <a:gd name="T7" fmla="*/ 147 h 168"/>
                      <a:gd name="T8" fmla="*/ 40 w 93"/>
                      <a:gd name="T9" fmla="*/ 149 h 168"/>
                      <a:gd name="T10" fmla="*/ 40 w 93"/>
                      <a:gd name="T11" fmla="*/ 153 h 168"/>
                      <a:gd name="T12" fmla="*/ 41 w 93"/>
                      <a:gd name="T13" fmla="*/ 154 h 168"/>
                      <a:gd name="T14" fmla="*/ 44 w 93"/>
                      <a:gd name="T15" fmla="*/ 156 h 168"/>
                      <a:gd name="T16" fmla="*/ 46 w 93"/>
                      <a:gd name="T17" fmla="*/ 156 h 168"/>
                      <a:gd name="T18" fmla="*/ 50 w 93"/>
                      <a:gd name="T19" fmla="*/ 156 h 168"/>
                      <a:gd name="T20" fmla="*/ 51 w 93"/>
                      <a:gd name="T21" fmla="*/ 154 h 168"/>
                      <a:gd name="T22" fmla="*/ 53 w 93"/>
                      <a:gd name="T23" fmla="*/ 153 h 168"/>
                      <a:gd name="T24" fmla="*/ 53 w 93"/>
                      <a:gd name="T25" fmla="*/ 149 h 168"/>
                      <a:gd name="T26" fmla="*/ 53 w 93"/>
                      <a:gd name="T27" fmla="*/ 147 h 168"/>
                      <a:gd name="T28" fmla="*/ 51 w 93"/>
                      <a:gd name="T29" fmla="*/ 144 h 168"/>
                      <a:gd name="T30" fmla="*/ 50 w 93"/>
                      <a:gd name="T31" fmla="*/ 143 h 168"/>
                      <a:gd name="T32" fmla="*/ 46 w 93"/>
                      <a:gd name="T33" fmla="*/ 143 h 168"/>
                      <a:gd name="T34" fmla="*/ 14 w 93"/>
                      <a:gd name="T35" fmla="*/ 6 h 168"/>
                      <a:gd name="T36" fmla="*/ 11 w 93"/>
                      <a:gd name="T37" fmla="*/ 7 h 168"/>
                      <a:gd name="T38" fmla="*/ 10 w 93"/>
                      <a:gd name="T39" fmla="*/ 8 h 168"/>
                      <a:gd name="T40" fmla="*/ 7 w 93"/>
                      <a:gd name="T41" fmla="*/ 11 h 168"/>
                      <a:gd name="T42" fmla="*/ 7 w 93"/>
                      <a:gd name="T43" fmla="*/ 13 h 168"/>
                      <a:gd name="T44" fmla="*/ 7 w 93"/>
                      <a:gd name="T45" fmla="*/ 123 h 168"/>
                      <a:gd name="T46" fmla="*/ 7 w 93"/>
                      <a:gd name="T47" fmla="*/ 126 h 168"/>
                      <a:gd name="T48" fmla="*/ 10 w 93"/>
                      <a:gd name="T49" fmla="*/ 128 h 168"/>
                      <a:gd name="T50" fmla="*/ 11 w 93"/>
                      <a:gd name="T51" fmla="*/ 129 h 168"/>
                      <a:gd name="T52" fmla="*/ 14 w 93"/>
                      <a:gd name="T53" fmla="*/ 130 h 168"/>
                      <a:gd name="T54" fmla="*/ 79 w 93"/>
                      <a:gd name="T55" fmla="*/ 130 h 168"/>
                      <a:gd name="T56" fmla="*/ 81 w 93"/>
                      <a:gd name="T57" fmla="*/ 129 h 168"/>
                      <a:gd name="T58" fmla="*/ 84 w 93"/>
                      <a:gd name="T59" fmla="*/ 128 h 168"/>
                      <a:gd name="T60" fmla="*/ 85 w 93"/>
                      <a:gd name="T61" fmla="*/ 126 h 168"/>
                      <a:gd name="T62" fmla="*/ 86 w 93"/>
                      <a:gd name="T63" fmla="*/ 123 h 168"/>
                      <a:gd name="T64" fmla="*/ 86 w 93"/>
                      <a:gd name="T65" fmla="*/ 13 h 168"/>
                      <a:gd name="T66" fmla="*/ 85 w 93"/>
                      <a:gd name="T67" fmla="*/ 11 h 168"/>
                      <a:gd name="T68" fmla="*/ 84 w 93"/>
                      <a:gd name="T69" fmla="*/ 8 h 168"/>
                      <a:gd name="T70" fmla="*/ 81 w 93"/>
                      <a:gd name="T71" fmla="*/ 7 h 168"/>
                      <a:gd name="T72" fmla="*/ 79 w 93"/>
                      <a:gd name="T73" fmla="*/ 6 h 168"/>
                      <a:gd name="T74" fmla="*/ 14 w 93"/>
                      <a:gd name="T75" fmla="*/ 6 h 168"/>
                      <a:gd name="T76" fmla="*/ 0 w 93"/>
                      <a:gd name="T77" fmla="*/ 0 h 168"/>
                      <a:gd name="T78" fmla="*/ 93 w 93"/>
                      <a:gd name="T79" fmla="*/ 0 h 168"/>
                      <a:gd name="T80" fmla="*/ 93 w 93"/>
                      <a:gd name="T81" fmla="*/ 168 h 168"/>
                      <a:gd name="T82" fmla="*/ 92 w 93"/>
                      <a:gd name="T83" fmla="*/ 168 h 168"/>
                      <a:gd name="T84" fmla="*/ 92 w 93"/>
                      <a:gd name="T85" fmla="*/ 168 h 168"/>
                      <a:gd name="T86" fmla="*/ 0 w 93"/>
                      <a:gd name="T87" fmla="*/ 168 h 168"/>
                      <a:gd name="T88" fmla="*/ 0 w 93"/>
                      <a:gd name="T89"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3" h="168">
                        <a:moveTo>
                          <a:pt x="46" y="143"/>
                        </a:moveTo>
                        <a:lnTo>
                          <a:pt x="44" y="143"/>
                        </a:lnTo>
                        <a:lnTo>
                          <a:pt x="41" y="144"/>
                        </a:lnTo>
                        <a:lnTo>
                          <a:pt x="40" y="147"/>
                        </a:lnTo>
                        <a:lnTo>
                          <a:pt x="40" y="149"/>
                        </a:lnTo>
                        <a:lnTo>
                          <a:pt x="40" y="153"/>
                        </a:lnTo>
                        <a:lnTo>
                          <a:pt x="41" y="154"/>
                        </a:lnTo>
                        <a:lnTo>
                          <a:pt x="44" y="156"/>
                        </a:lnTo>
                        <a:lnTo>
                          <a:pt x="46" y="156"/>
                        </a:lnTo>
                        <a:lnTo>
                          <a:pt x="50" y="156"/>
                        </a:lnTo>
                        <a:lnTo>
                          <a:pt x="51" y="154"/>
                        </a:lnTo>
                        <a:lnTo>
                          <a:pt x="53" y="153"/>
                        </a:lnTo>
                        <a:lnTo>
                          <a:pt x="53" y="149"/>
                        </a:lnTo>
                        <a:lnTo>
                          <a:pt x="53" y="147"/>
                        </a:lnTo>
                        <a:lnTo>
                          <a:pt x="51" y="144"/>
                        </a:lnTo>
                        <a:lnTo>
                          <a:pt x="50" y="143"/>
                        </a:lnTo>
                        <a:lnTo>
                          <a:pt x="46" y="143"/>
                        </a:lnTo>
                        <a:close/>
                        <a:moveTo>
                          <a:pt x="14" y="6"/>
                        </a:moveTo>
                        <a:lnTo>
                          <a:pt x="11" y="7"/>
                        </a:lnTo>
                        <a:lnTo>
                          <a:pt x="10" y="8"/>
                        </a:lnTo>
                        <a:lnTo>
                          <a:pt x="7" y="11"/>
                        </a:lnTo>
                        <a:lnTo>
                          <a:pt x="7" y="13"/>
                        </a:lnTo>
                        <a:lnTo>
                          <a:pt x="7" y="123"/>
                        </a:lnTo>
                        <a:lnTo>
                          <a:pt x="7" y="126"/>
                        </a:lnTo>
                        <a:lnTo>
                          <a:pt x="10" y="128"/>
                        </a:lnTo>
                        <a:lnTo>
                          <a:pt x="11" y="129"/>
                        </a:lnTo>
                        <a:lnTo>
                          <a:pt x="14" y="130"/>
                        </a:lnTo>
                        <a:lnTo>
                          <a:pt x="79" y="130"/>
                        </a:lnTo>
                        <a:lnTo>
                          <a:pt x="81" y="129"/>
                        </a:lnTo>
                        <a:lnTo>
                          <a:pt x="84" y="128"/>
                        </a:lnTo>
                        <a:lnTo>
                          <a:pt x="85" y="126"/>
                        </a:lnTo>
                        <a:lnTo>
                          <a:pt x="86" y="123"/>
                        </a:lnTo>
                        <a:lnTo>
                          <a:pt x="86" y="13"/>
                        </a:lnTo>
                        <a:lnTo>
                          <a:pt x="85" y="11"/>
                        </a:lnTo>
                        <a:lnTo>
                          <a:pt x="84" y="8"/>
                        </a:lnTo>
                        <a:lnTo>
                          <a:pt x="81" y="7"/>
                        </a:lnTo>
                        <a:lnTo>
                          <a:pt x="79" y="6"/>
                        </a:lnTo>
                        <a:lnTo>
                          <a:pt x="14" y="6"/>
                        </a:lnTo>
                        <a:close/>
                        <a:moveTo>
                          <a:pt x="0" y="0"/>
                        </a:moveTo>
                        <a:lnTo>
                          <a:pt x="93" y="0"/>
                        </a:lnTo>
                        <a:lnTo>
                          <a:pt x="93" y="168"/>
                        </a:lnTo>
                        <a:lnTo>
                          <a:pt x="92" y="168"/>
                        </a:lnTo>
                        <a:lnTo>
                          <a:pt x="92" y="168"/>
                        </a:lnTo>
                        <a:lnTo>
                          <a:pt x="0" y="168"/>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30">
                    <a:extLst>
                      <a:ext uri="{FF2B5EF4-FFF2-40B4-BE49-F238E27FC236}">
                        <a16:creationId xmlns:a16="http://schemas.microsoft.com/office/drawing/2014/main" id="{2F76E4A8-58FD-0649-8F09-A87250FCEB5E}"/>
                      </a:ext>
                    </a:extLst>
                  </p:cNvPr>
                  <p:cNvSpPr>
                    <a:spLocks noEditPoints="1"/>
                  </p:cNvSpPr>
                  <p:nvPr/>
                </p:nvSpPr>
                <p:spPr bwMode="auto">
                  <a:xfrm>
                    <a:off x="1690688" y="3048001"/>
                    <a:ext cx="496888" cy="496888"/>
                  </a:xfrm>
                  <a:custGeom>
                    <a:avLst/>
                    <a:gdLst>
                      <a:gd name="T0" fmla="*/ 111 w 313"/>
                      <a:gd name="T1" fmla="*/ 58 h 313"/>
                      <a:gd name="T2" fmla="*/ 107 w 313"/>
                      <a:gd name="T3" fmla="*/ 59 h 313"/>
                      <a:gd name="T4" fmla="*/ 103 w 313"/>
                      <a:gd name="T5" fmla="*/ 62 h 313"/>
                      <a:gd name="T6" fmla="*/ 101 w 313"/>
                      <a:gd name="T7" fmla="*/ 64 h 313"/>
                      <a:gd name="T8" fmla="*/ 99 w 313"/>
                      <a:gd name="T9" fmla="*/ 68 h 313"/>
                      <a:gd name="T10" fmla="*/ 97 w 313"/>
                      <a:gd name="T11" fmla="*/ 72 h 313"/>
                      <a:gd name="T12" fmla="*/ 97 w 313"/>
                      <a:gd name="T13" fmla="*/ 241 h 313"/>
                      <a:gd name="T14" fmla="*/ 99 w 313"/>
                      <a:gd name="T15" fmla="*/ 245 h 313"/>
                      <a:gd name="T16" fmla="*/ 101 w 313"/>
                      <a:gd name="T17" fmla="*/ 249 h 313"/>
                      <a:gd name="T18" fmla="*/ 103 w 313"/>
                      <a:gd name="T19" fmla="*/ 252 h 313"/>
                      <a:gd name="T20" fmla="*/ 107 w 313"/>
                      <a:gd name="T21" fmla="*/ 253 h 313"/>
                      <a:gd name="T22" fmla="*/ 111 w 313"/>
                      <a:gd name="T23" fmla="*/ 254 h 313"/>
                      <a:gd name="T24" fmla="*/ 201 w 313"/>
                      <a:gd name="T25" fmla="*/ 254 h 313"/>
                      <a:gd name="T26" fmla="*/ 205 w 313"/>
                      <a:gd name="T27" fmla="*/ 253 h 313"/>
                      <a:gd name="T28" fmla="*/ 209 w 313"/>
                      <a:gd name="T29" fmla="*/ 252 h 313"/>
                      <a:gd name="T30" fmla="*/ 212 w 313"/>
                      <a:gd name="T31" fmla="*/ 249 h 313"/>
                      <a:gd name="T32" fmla="*/ 215 w 313"/>
                      <a:gd name="T33" fmla="*/ 245 h 313"/>
                      <a:gd name="T34" fmla="*/ 215 w 313"/>
                      <a:gd name="T35" fmla="*/ 241 h 313"/>
                      <a:gd name="T36" fmla="*/ 215 w 313"/>
                      <a:gd name="T37" fmla="*/ 72 h 313"/>
                      <a:gd name="T38" fmla="*/ 215 w 313"/>
                      <a:gd name="T39" fmla="*/ 68 h 313"/>
                      <a:gd name="T40" fmla="*/ 212 w 313"/>
                      <a:gd name="T41" fmla="*/ 64 h 313"/>
                      <a:gd name="T42" fmla="*/ 209 w 313"/>
                      <a:gd name="T43" fmla="*/ 62 h 313"/>
                      <a:gd name="T44" fmla="*/ 205 w 313"/>
                      <a:gd name="T45" fmla="*/ 59 h 313"/>
                      <a:gd name="T46" fmla="*/ 201 w 313"/>
                      <a:gd name="T47" fmla="*/ 58 h 313"/>
                      <a:gd name="T48" fmla="*/ 111 w 313"/>
                      <a:gd name="T49" fmla="*/ 58 h 313"/>
                      <a:gd name="T50" fmla="*/ 156 w 313"/>
                      <a:gd name="T51" fmla="*/ 0 h 313"/>
                      <a:gd name="T52" fmla="*/ 188 w 313"/>
                      <a:gd name="T53" fmla="*/ 3 h 313"/>
                      <a:gd name="T54" fmla="*/ 217 w 313"/>
                      <a:gd name="T55" fmla="*/ 12 h 313"/>
                      <a:gd name="T56" fmla="*/ 244 w 313"/>
                      <a:gd name="T57" fmla="*/ 27 h 313"/>
                      <a:gd name="T58" fmla="*/ 266 w 313"/>
                      <a:gd name="T59" fmla="*/ 45 h 313"/>
                      <a:gd name="T60" fmla="*/ 286 w 313"/>
                      <a:gd name="T61" fmla="*/ 69 h 313"/>
                      <a:gd name="T62" fmla="*/ 300 w 313"/>
                      <a:gd name="T63" fmla="*/ 96 h 313"/>
                      <a:gd name="T64" fmla="*/ 310 w 313"/>
                      <a:gd name="T65" fmla="*/ 125 h 313"/>
                      <a:gd name="T66" fmla="*/ 313 w 313"/>
                      <a:gd name="T67" fmla="*/ 157 h 313"/>
                      <a:gd name="T68" fmla="*/ 310 w 313"/>
                      <a:gd name="T69" fmla="*/ 188 h 313"/>
                      <a:gd name="T70" fmla="*/ 300 w 313"/>
                      <a:gd name="T71" fmla="*/ 218 h 313"/>
                      <a:gd name="T72" fmla="*/ 286 w 313"/>
                      <a:gd name="T73" fmla="*/ 244 h 313"/>
                      <a:gd name="T74" fmla="*/ 266 w 313"/>
                      <a:gd name="T75" fmla="*/ 267 h 313"/>
                      <a:gd name="T76" fmla="*/ 244 w 313"/>
                      <a:gd name="T77" fmla="*/ 286 h 313"/>
                      <a:gd name="T78" fmla="*/ 217 w 313"/>
                      <a:gd name="T79" fmla="*/ 300 h 313"/>
                      <a:gd name="T80" fmla="*/ 188 w 313"/>
                      <a:gd name="T81" fmla="*/ 309 h 313"/>
                      <a:gd name="T82" fmla="*/ 156 w 313"/>
                      <a:gd name="T83" fmla="*/ 313 h 313"/>
                      <a:gd name="T84" fmla="*/ 126 w 313"/>
                      <a:gd name="T85" fmla="*/ 309 h 313"/>
                      <a:gd name="T86" fmla="*/ 96 w 313"/>
                      <a:gd name="T87" fmla="*/ 300 h 313"/>
                      <a:gd name="T88" fmla="*/ 69 w 313"/>
                      <a:gd name="T89" fmla="*/ 286 h 313"/>
                      <a:gd name="T90" fmla="*/ 46 w 313"/>
                      <a:gd name="T91" fmla="*/ 267 h 313"/>
                      <a:gd name="T92" fmla="*/ 27 w 313"/>
                      <a:gd name="T93" fmla="*/ 244 h 313"/>
                      <a:gd name="T94" fmla="*/ 13 w 313"/>
                      <a:gd name="T95" fmla="*/ 218 h 313"/>
                      <a:gd name="T96" fmla="*/ 3 w 313"/>
                      <a:gd name="T97" fmla="*/ 188 h 313"/>
                      <a:gd name="T98" fmla="*/ 0 w 313"/>
                      <a:gd name="T99" fmla="*/ 157 h 313"/>
                      <a:gd name="T100" fmla="*/ 3 w 313"/>
                      <a:gd name="T101" fmla="*/ 125 h 313"/>
                      <a:gd name="T102" fmla="*/ 13 w 313"/>
                      <a:gd name="T103" fmla="*/ 96 h 313"/>
                      <a:gd name="T104" fmla="*/ 27 w 313"/>
                      <a:gd name="T105" fmla="*/ 69 h 313"/>
                      <a:gd name="T106" fmla="*/ 46 w 313"/>
                      <a:gd name="T107" fmla="*/ 45 h 313"/>
                      <a:gd name="T108" fmla="*/ 69 w 313"/>
                      <a:gd name="T109" fmla="*/ 27 h 313"/>
                      <a:gd name="T110" fmla="*/ 96 w 313"/>
                      <a:gd name="T111" fmla="*/ 12 h 313"/>
                      <a:gd name="T112" fmla="*/ 126 w 313"/>
                      <a:gd name="T113" fmla="*/ 3 h 313"/>
                      <a:gd name="T114" fmla="*/ 156 w 313"/>
                      <a:gd name="T115"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3" h="313">
                        <a:moveTo>
                          <a:pt x="111" y="58"/>
                        </a:moveTo>
                        <a:lnTo>
                          <a:pt x="107" y="59"/>
                        </a:lnTo>
                        <a:lnTo>
                          <a:pt x="103" y="62"/>
                        </a:lnTo>
                        <a:lnTo>
                          <a:pt x="101" y="64"/>
                        </a:lnTo>
                        <a:lnTo>
                          <a:pt x="99" y="68"/>
                        </a:lnTo>
                        <a:lnTo>
                          <a:pt x="97" y="72"/>
                        </a:lnTo>
                        <a:lnTo>
                          <a:pt x="97" y="241"/>
                        </a:lnTo>
                        <a:lnTo>
                          <a:pt x="99" y="245"/>
                        </a:lnTo>
                        <a:lnTo>
                          <a:pt x="101" y="249"/>
                        </a:lnTo>
                        <a:lnTo>
                          <a:pt x="103" y="252"/>
                        </a:lnTo>
                        <a:lnTo>
                          <a:pt x="107" y="253"/>
                        </a:lnTo>
                        <a:lnTo>
                          <a:pt x="111" y="254"/>
                        </a:lnTo>
                        <a:lnTo>
                          <a:pt x="201" y="254"/>
                        </a:lnTo>
                        <a:lnTo>
                          <a:pt x="205" y="253"/>
                        </a:lnTo>
                        <a:lnTo>
                          <a:pt x="209" y="252"/>
                        </a:lnTo>
                        <a:lnTo>
                          <a:pt x="212" y="249"/>
                        </a:lnTo>
                        <a:lnTo>
                          <a:pt x="215" y="245"/>
                        </a:lnTo>
                        <a:lnTo>
                          <a:pt x="215" y="241"/>
                        </a:lnTo>
                        <a:lnTo>
                          <a:pt x="215" y="72"/>
                        </a:lnTo>
                        <a:lnTo>
                          <a:pt x="215" y="68"/>
                        </a:lnTo>
                        <a:lnTo>
                          <a:pt x="212" y="64"/>
                        </a:lnTo>
                        <a:lnTo>
                          <a:pt x="209" y="62"/>
                        </a:lnTo>
                        <a:lnTo>
                          <a:pt x="205" y="59"/>
                        </a:lnTo>
                        <a:lnTo>
                          <a:pt x="201" y="58"/>
                        </a:lnTo>
                        <a:lnTo>
                          <a:pt x="111" y="58"/>
                        </a:lnTo>
                        <a:close/>
                        <a:moveTo>
                          <a:pt x="156" y="0"/>
                        </a:moveTo>
                        <a:lnTo>
                          <a:pt x="188" y="3"/>
                        </a:lnTo>
                        <a:lnTo>
                          <a:pt x="217" y="12"/>
                        </a:lnTo>
                        <a:lnTo>
                          <a:pt x="244" y="27"/>
                        </a:lnTo>
                        <a:lnTo>
                          <a:pt x="266" y="45"/>
                        </a:lnTo>
                        <a:lnTo>
                          <a:pt x="286" y="69"/>
                        </a:lnTo>
                        <a:lnTo>
                          <a:pt x="300" y="96"/>
                        </a:lnTo>
                        <a:lnTo>
                          <a:pt x="310" y="125"/>
                        </a:lnTo>
                        <a:lnTo>
                          <a:pt x="313" y="157"/>
                        </a:lnTo>
                        <a:lnTo>
                          <a:pt x="310" y="188"/>
                        </a:lnTo>
                        <a:lnTo>
                          <a:pt x="300" y="218"/>
                        </a:lnTo>
                        <a:lnTo>
                          <a:pt x="286" y="244"/>
                        </a:lnTo>
                        <a:lnTo>
                          <a:pt x="266" y="267"/>
                        </a:lnTo>
                        <a:lnTo>
                          <a:pt x="244" y="286"/>
                        </a:lnTo>
                        <a:lnTo>
                          <a:pt x="217" y="300"/>
                        </a:lnTo>
                        <a:lnTo>
                          <a:pt x="188" y="309"/>
                        </a:lnTo>
                        <a:lnTo>
                          <a:pt x="156" y="313"/>
                        </a:lnTo>
                        <a:lnTo>
                          <a:pt x="126" y="309"/>
                        </a:lnTo>
                        <a:lnTo>
                          <a:pt x="96" y="300"/>
                        </a:lnTo>
                        <a:lnTo>
                          <a:pt x="69" y="286"/>
                        </a:lnTo>
                        <a:lnTo>
                          <a:pt x="46" y="267"/>
                        </a:lnTo>
                        <a:lnTo>
                          <a:pt x="27" y="244"/>
                        </a:lnTo>
                        <a:lnTo>
                          <a:pt x="13" y="218"/>
                        </a:lnTo>
                        <a:lnTo>
                          <a:pt x="3" y="188"/>
                        </a:lnTo>
                        <a:lnTo>
                          <a:pt x="0" y="157"/>
                        </a:lnTo>
                        <a:lnTo>
                          <a:pt x="3" y="125"/>
                        </a:lnTo>
                        <a:lnTo>
                          <a:pt x="13" y="96"/>
                        </a:lnTo>
                        <a:lnTo>
                          <a:pt x="27" y="69"/>
                        </a:lnTo>
                        <a:lnTo>
                          <a:pt x="46" y="45"/>
                        </a:lnTo>
                        <a:lnTo>
                          <a:pt x="69" y="27"/>
                        </a:lnTo>
                        <a:lnTo>
                          <a:pt x="96" y="12"/>
                        </a:lnTo>
                        <a:lnTo>
                          <a:pt x="126" y="3"/>
                        </a:lnTo>
                        <a:lnTo>
                          <a:pt x="15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54" name="Freeform 31">
                  <a:extLst>
                    <a:ext uri="{FF2B5EF4-FFF2-40B4-BE49-F238E27FC236}">
                      <a16:creationId xmlns:a16="http://schemas.microsoft.com/office/drawing/2014/main" id="{F60FE14D-870D-5C47-BCC2-EAB095E3A70C}"/>
                    </a:ext>
                  </a:extLst>
                </p:cNvPr>
                <p:cNvSpPr>
                  <a:spLocks noEditPoints="1"/>
                </p:cNvSpPr>
                <p:nvPr/>
              </p:nvSpPr>
              <p:spPr bwMode="auto">
                <a:xfrm>
                  <a:off x="2080943" y="3062647"/>
                  <a:ext cx="384048" cy="384048"/>
                </a:xfrm>
                <a:custGeom>
                  <a:avLst/>
                  <a:gdLst>
                    <a:gd name="T0" fmla="*/ 116 w 162"/>
                    <a:gd name="T1" fmla="*/ 79 h 163"/>
                    <a:gd name="T2" fmla="*/ 115 w 162"/>
                    <a:gd name="T3" fmla="*/ 82 h 163"/>
                    <a:gd name="T4" fmla="*/ 104 w 162"/>
                    <a:gd name="T5" fmla="*/ 105 h 163"/>
                    <a:gd name="T6" fmla="*/ 81 w 162"/>
                    <a:gd name="T7" fmla="*/ 116 h 163"/>
                    <a:gd name="T8" fmla="*/ 61 w 162"/>
                    <a:gd name="T9" fmla="*/ 109 h 163"/>
                    <a:gd name="T10" fmla="*/ 72 w 162"/>
                    <a:gd name="T11" fmla="*/ 108 h 163"/>
                    <a:gd name="T12" fmla="*/ 74 w 162"/>
                    <a:gd name="T13" fmla="*/ 105 h 163"/>
                    <a:gd name="T14" fmla="*/ 72 w 162"/>
                    <a:gd name="T15" fmla="*/ 102 h 163"/>
                    <a:gd name="T16" fmla="*/ 54 w 162"/>
                    <a:gd name="T17" fmla="*/ 102 h 163"/>
                    <a:gd name="T18" fmla="*/ 50 w 162"/>
                    <a:gd name="T19" fmla="*/ 103 h 163"/>
                    <a:gd name="T20" fmla="*/ 50 w 162"/>
                    <a:gd name="T21" fmla="*/ 122 h 163"/>
                    <a:gd name="T22" fmla="*/ 51 w 162"/>
                    <a:gd name="T23" fmla="*/ 125 h 163"/>
                    <a:gd name="T24" fmla="*/ 55 w 162"/>
                    <a:gd name="T25" fmla="*/ 125 h 163"/>
                    <a:gd name="T26" fmla="*/ 57 w 162"/>
                    <a:gd name="T27" fmla="*/ 122 h 163"/>
                    <a:gd name="T28" fmla="*/ 68 w 162"/>
                    <a:gd name="T29" fmla="*/ 121 h 163"/>
                    <a:gd name="T30" fmla="*/ 96 w 162"/>
                    <a:gd name="T31" fmla="*/ 120 h 163"/>
                    <a:gd name="T32" fmla="*/ 118 w 162"/>
                    <a:gd name="T33" fmla="*/ 97 h 163"/>
                    <a:gd name="T34" fmla="*/ 120 w 162"/>
                    <a:gd name="T35" fmla="*/ 80 h 163"/>
                    <a:gd name="T36" fmla="*/ 118 w 162"/>
                    <a:gd name="T37" fmla="*/ 79 h 163"/>
                    <a:gd name="T38" fmla="*/ 106 w 162"/>
                    <a:gd name="T39" fmla="*/ 37 h 163"/>
                    <a:gd name="T40" fmla="*/ 104 w 162"/>
                    <a:gd name="T41" fmla="*/ 41 h 163"/>
                    <a:gd name="T42" fmla="*/ 93 w 162"/>
                    <a:gd name="T43" fmla="*/ 43 h 163"/>
                    <a:gd name="T44" fmla="*/ 64 w 162"/>
                    <a:gd name="T45" fmla="*/ 45 h 163"/>
                    <a:gd name="T46" fmla="*/ 43 w 162"/>
                    <a:gd name="T47" fmla="*/ 66 h 163"/>
                    <a:gd name="T48" fmla="*/ 41 w 162"/>
                    <a:gd name="T49" fmla="*/ 83 h 163"/>
                    <a:gd name="T50" fmla="*/ 43 w 162"/>
                    <a:gd name="T51" fmla="*/ 86 h 163"/>
                    <a:gd name="T52" fmla="*/ 47 w 162"/>
                    <a:gd name="T53" fmla="*/ 83 h 163"/>
                    <a:gd name="T54" fmla="*/ 49 w 162"/>
                    <a:gd name="T55" fmla="*/ 68 h 163"/>
                    <a:gd name="T56" fmla="*/ 68 w 162"/>
                    <a:gd name="T57" fmla="*/ 50 h 163"/>
                    <a:gd name="T58" fmla="*/ 91 w 162"/>
                    <a:gd name="T59" fmla="*/ 49 h 163"/>
                    <a:gd name="T60" fmla="*/ 91 w 162"/>
                    <a:gd name="T61" fmla="*/ 54 h 163"/>
                    <a:gd name="T62" fmla="*/ 88 w 162"/>
                    <a:gd name="T63" fmla="*/ 56 h 163"/>
                    <a:gd name="T64" fmla="*/ 88 w 162"/>
                    <a:gd name="T65" fmla="*/ 60 h 163"/>
                    <a:gd name="T66" fmla="*/ 91 w 162"/>
                    <a:gd name="T67" fmla="*/ 61 h 163"/>
                    <a:gd name="T68" fmla="*/ 109 w 162"/>
                    <a:gd name="T69" fmla="*/ 61 h 163"/>
                    <a:gd name="T70" fmla="*/ 111 w 162"/>
                    <a:gd name="T71" fmla="*/ 57 h 163"/>
                    <a:gd name="T72" fmla="*/ 110 w 162"/>
                    <a:gd name="T73" fmla="*/ 39 h 163"/>
                    <a:gd name="T74" fmla="*/ 108 w 162"/>
                    <a:gd name="T75" fmla="*/ 37 h 163"/>
                    <a:gd name="T76" fmla="*/ 102 w 162"/>
                    <a:gd name="T77" fmla="*/ 2 h 163"/>
                    <a:gd name="T78" fmla="*/ 138 w 162"/>
                    <a:gd name="T79" fmla="*/ 23 h 163"/>
                    <a:gd name="T80" fmla="*/ 159 w 162"/>
                    <a:gd name="T81" fmla="*/ 60 h 163"/>
                    <a:gd name="T82" fmla="*/ 159 w 162"/>
                    <a:gd name="T83" fmla="*/ 103 h 163"/>
                    <a:gd name="T84" fmla="*/ 138 w 162"/>
                    <a:gd name="T85" fmla="*/ 140 h 163"/>
                    <a:gd name="T86" fmla="*/ 102 w 162"/>
                    <a:gd name="T87" fmla="*/ 161 h 163"/>
                    <a:gd name="T88" fmla="*/ 59 w 162"/>
                    <a:gd name="T89" fmla="*/ 161 h 163"/>
                    <a:gd name="T90" fmla="*/ 23 w 162"/>
                    <a:gd name="T91" fmla="*/ 140 h 163"/>
                    <a:gd name="T92" fmla="*/ 2 w 162"/>
                    <a:gd name="T93" fmla="*/ 103 h 163"/>
                    <a:gd name="T94" fmla="*/ 2 w 162"/>
                    <a:gd name="T95" fmla="*/ 60 h 163"/>
                    <a:gd name="T96" fmla="*/ 23 w 162"/>
                    <a:gd name="T97" fmla="*/ 23 h 163"/>
                    <a:gd name="T98" fmla="*/ 59 w 162"/>
                    <a:gd name="T99"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2" h="163">
                      <a:moveTo>
                        <a:pt x="118" y="79"/>
                      </a:moveTo>
                      <a:lnTo>
                        <a:pt x="116" y="79"/>
                      </a:lnTo>
                      <a:lnTo>
                        <a:pt x="115" y="80"/>
                      </a:lnTo>
                      <a:lnTo>
                        <a:pt x="115" y="82"/>
                      </a:lnTo>
                      <a:lnTo>
                        <a:pt x="112" y="95"/>
                      </a:lnTo>
                      <a:lnTo>
                        <a:pt x="104" y="105"/>
                      </a:lnTo>
                      <a:lnTo>
                        <a:pt x="93" y="113"/>
                      </a:lnTo>
                      <a:lnTo>
                        <a:pt x="81" y="116"/>
                      </a:lnTo>
                      <a:lnTo>
                        <a:pt x="70" y="114"/>
                      </a:lnTo>
                      <a:lnTo>
                        <a:pt x="61" y="109"/>
                      </a:lnTo>
                      <a:lnTo>
                        <a:pt x="70" y="109"/>
                      </a:lnTo>
                      <a:lnTo>
                        <a:pt x="72" y="108"/>
                      </a:lnTo>
                      <a:lnTo>
                        <a:pt x="74" y="107"/>
                      </a:lnTo>
                      <a:lnTo>
                        <a:pt x="74" y="105"/>
                      </a:lnTo>
                      <a:lnTo>
                        <a:pt x="74" y="103"/>
                      </a:lnTo>
                      <a:lnTo>
                        <a:pt x="72" y="102"/>
                      </a:lnTo>
                      <a:lnTo>
                        <a:pt x="70" y="102"/>
                      </a:lnTo>
                      <a:lnTo>
                        <a:pt x="54" y="102"/>
                      </a:lnTo>
                      <a:lnTo>
                        <a:pt x="51" y="102"/>
                      </a:lnTo>
                      <a:lnTo>
                        <a:pt x="50" y="103"/>
                      </a:lnTo>
                      <a:lnTo>
                        <a:pt x="50" y="105"/>
                      </a:lnTo>
                      <a:lnTo>
                        <a:pt x="50" y="122"/>
                      </a:lnTo>
                      <a:lnTo>
                        <a:pt x="50" y="124"/>
                      </a:lnTo>
                      <a:lnTo>
                        <a:pt x="51" y="125"/>
                      </a:lnTo>
                      <a:lnTo>
                        <a:pt x="54" y="125"/>
                      </a:lnTo>
                      <a:lnTo>
                        <a:pt x="55" y="125"/>
                      </a:lnTo>
                      <a:lnTo>
                        <a:pt x="56" y="124"/>
                      </a:lnTo>
                      <a:lnTo>
                        <a:pt x="57" y="122"/>
                      </a:lnTo>
                      <a:lnTo>
                        <a:pt x="57" y="115"/>
                      </a:lnTo>
                      <a:lnTo>
                        <a:pt x="68" y="121"/>
                      </a:lnTo>
                      <a:lnTo>
                        <a:pt x="81" y="122"/>
                      </a:lnTo>
                      <a:lnTo>
                        <a:pt x="96" y="120"/>
                      </a:lnTo>
                      <a:lnTo>
                        <a:pt x="109" y="110"/>
                      </a:lnTo>
                      <a:lnTo>
                        <a:pt x="118" y="97"/>
                      </a:lnTo>
                      <a:lnTo>
                        <a:pt x="122" y="82"/>
                      </a:lnTo>
                      <a:lnTo>
                        <a:pt x="120" y="80"/>
                      </a:lnTo>
                      <a:lnTo>
                        <a:pt x="119" y="79"/>
                      </a:lnTo>
                      <a:lnTo>
                        <a:pt x="118" y="79"/>
                      </a:lnTo>
                      <a:close/>
                      <a:moveTo>
                        <a:pt x="108" y="37"/>
                      </a:moveTo>
                      <a:lnTo>
                        <a:pt x="106" y="37"/>
                      </a:lnTo>
                      <a:lnTo>
                        <a:pt x="105" y="39"/>
                      </a:lnTo>
                      <a:lnTo>
                        <a:pt x="104" y="41"/>
                      </a:lnTo>
                      <a:lnTo>
                        <a:pt x="104" y="49"/>
                      </a:lnTo>
                      <a:lnTo>
                        <a:pt x="93" y="43"/>
                      </a:lnTo>
                      <a:lnTo>
                        <a:pt x="81" y="41"/>
                      </a:lnTo>
                      <a:lnTo>
                        <a:pt x="64" y="45"/>
                      </a:lnTo>
                      <a:lnTo>
                        <a:pt x="51" y="53"/>
                      </a:lnTo>
                      <a:lnTo>
                        <a:pt x="43" y="66"/>
                      </a:lnTo>
                      <a:lnTo>
                        <a:pt x="39" y="82"/>
                      </a:lnTo>
                      <a:lnTo>
                        <a:pt x="41" y="83"/>
                      </a:lnTo>
                      <a:lnTo>
                        <a:pt x="42" y="84"/>
                      </a:lnTo>
                      <a:lnTo>
                        <a:pt x="43" y="86"/>
                      </a:lnTo>
                      <a:lnTo>
                        <a:pt x="45" y="84"/>
                      </a:lnTo>
                      <a:lnTo>
                        <a:pt x="47" y="83"/>
                      </a:lnTo>
                      <a:lnTo>
                        <a:pt x="47" y="82"/>
                      </a:lnTo>
                      <a:lnTo>
                        <a:pt x="49" y="68"/>
                      </a:lnTo>
                      <a:lnTo>
                        <a:pt x="56" y="57"/>
                      </a:lnTo>
                      <a:lnTo>
                        <a:pt x="68" y="50"/>
                      </a:lnTo>
                      <a:lnTo>
                        <a:pt x="81" y="48"/>
                      </a:lnTo>
                      <a:lnTo>
                        <a:pt x="91" y="49"/>
                      </a:lnTo>
                      <a:lnTo>
                        <a:pt x="101" y="54"/>
                      </a:lnTo>
                      <a:lnTo>
                        <a:pt x="91" y="54"/>
                      </a:lnTo>
                      <a:lnTo>
                        <a:pt x="89" y="55"/>
                      </a:lnTo>
                      <a:lnTo>
                        <a:pt x="88" y="56"/>
                      </a:lnTo>
                      <a:lnTo>
                        <a:pt x="88" y="57"/>
                      </a:lnTo>
                      <a:lnTo>
                        <a:pt x="88" y="60"/>
                      </a:lnTo>
                      <a:lnTo>
                        <a:pt x="89" y="61"/>
                      </a:lnTo>
                      <a:lnTo>
                        <a:pt x="91" y="61"/>
                      </a:lnTo>
                      <a:lnTo>
                        <a:pt x="108" y="61"/>
                      </a:lnTo>
                      <a:lnTo>
                        <a:pt x="109" y="61"/>
                      </a:lnTo>
                      <a:lnTo>
                        <a:pt x="110" y="60"/>
                      </a:lnTo>
                      <a:lnTo>
                        <a:pt x="111" y="57"/>
                      </a:lnTo>
                      <a:lnTo>
                        <a:pt x="111" y="41"/>
                      </a:lnTo>
                      <a:lnTo>
                        <a:pt x="110" y="39"/>
                      </a:lnTo>
                      <a:lnTo>
                        <a:pt x="109" y="37"/>
                      </a:lnTo>
                      <a:lnTo>
                        <a:pt x="108" y="37"/>
                      </a:lnTo>
                      <a:close/>
                      <a:moveTo>
                        <a:pt x="81" y="0"/>
                      </a:moveTo>
                      <a:lnTo>
                        <a:pt x="102" y="2"/>
                      </a:lnTo>
                      <a:lnTo>
                        <a:pt x="122" y="12"/>
                      </a:lnTo>
                      <a:lnTo>
                        <a:pt x="138" y="23"/>
                      </a:lnTo>
                      <a:lnTo>
                        <a:pt x="151" y="40"/>
                      </a:lnTo>
                      <a:lnTo>
                        <a:pt x="159" y="60"/>
                      </a:lnTo>
                      <a:lnTo>
                        <a:pt x="162" y="82"/>
                      </a:lnTo>
                      <a:lnTo>
                        <a:pt x="159" y="103"/>
                      </a:lnTo>
                      <a:lnTo>
                        <a:pt x="151" y="123"/>
                      </a:lnTo>
                      <a:lnTo>
                        <a:pt x="138" y="140"/>
                      </a:lnTo>
                      <a:lnTo>
                        <a:pt x="122" y="152"/>
                      </a:lnTo>
                      <a:lnTo>
                        <a:pt x="102" y="161"/>
                      </a:lnTo>
                      <a:lnTo>
                        <a:pt x="81" y="163"/>
                      </a:lnTo>
                      <a:lnTo>
                        <a:pt x="59" y="161"/>
                      </a:lnTo>
                      <a:lnTo>
                        <a:pt x="39" y="152"/>
                      </a:lnTo>
                      <a:lnTo>
                        <a:pt x="23" y="140"/>
                      </a:lnTo>
                      <a:lnTo>
                        <a:pt x="10" y="123"/>
                      </a:lnTo>
                      <a:lnTo>
                        <a:pt x="2" y="103"/>
                      </a:lnTo>
                      <a:lnTo>
                        <a:pt x="0" y="82"/>
                      </a:lnTo>
                      <a:lnTo>
                        <a:pt x="2" y="60"/>
                      </a:lnTo>
                      <a:lnTo>
                        <a:pt x="10" y="40"/>
                      </a:lnTo>
                      <a:lnTo>
                        <a:pt x="23" y="23"/>
                      </a:lnTo>
                      <a:lnTo>
                        <a:pt x="39" y="12"/>
                      </a:lnTo>
                      <a:lnTo>
                        <a:pt x="59" y="2"/>
                      </a:lnTo>
                      <a:lnTo>
                        <a:pt x="8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spTree>
    <p:custDataLst>
      <p:tags r:id="rId1"/>
    </p:custDataLst>
    <p:extLst>
      <p:ext uri="{BB962C8B-B14F-4D97-AF65-F5344CB8AC3E}">
        <p14:creationId xmlns:p14="http://schemas.microsoft.com/office/powerpoint/2010/main" val="1738196476"/>
      </p:ext>
    </p:extLst>
  </p:cSld>
  <p:clrMapOvr>
    <a:masterClrMapping/>
  </p:clrMapOvr>
  <p:transition>
    <p:fade/>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组合 33"/>
          <p:cNvGrpSpPr/>
          <p:nvPr/>
        </p:nvGrpSpPr>
        <p:grpSpPr>
          <a:xfrm>
            <a:off x="2314529" y="776580"/>
            <a:ext cx="7562941" cy="5030662"/>
            <a:chOff x="4449283" y="1700213"/>
            <a:chExt cx="7201014" cy="4789918"/>
          </a:xfrm>
        </p:grpSpPr>
        <p:sp>
          <p:nvSpPr>
            <p:cNvPr id="2" name="任意多边形 1"/>
            <p:cNvSpPr/>
            <p:nvPr/>
          </p:nvSpPr>
          <p:spPr bwMode="gray">
            <a:xfrm>
              <a:off x="4953820" y="5691982"/>
              <a:ext cx="2869687" cy="615336"/>
            </a:xfrm>
            <a:custGeom>
              <a:avLst/>
              <a:gdLst>
                <a:gd name="connsiteX0" fmla="*/ 0 w 2869687"/>
                <a:gd name="connsiteY0" fmla="*/ 0 h 615336"/>
                <a:gd name="connsiteX1" fmla="*/ 42233 w 2869687"/>
                <a:gd name="connsiteY1" fmla="*/ 0 h 615336"/>
                <a:gd name="connsiteX2" fmla="*/ 84466 w 2869687"/>
                <a:gd name="connsiteY2" fmla="*/ 0 h 615336"/>
                <a:gd name="connsiteX3" fmla="*/ 84466 w 2869687"/>
                <a:gd name="connsiteY3" fmla="*/ 276401 h 615336"/>
                <a:gd name="connsiteX4" fmla="*/ 338936 w 2869687"/>
                <a:gd name="connsiteY4" fmla="*/ 530871 h 615336"/>
                <a:gd name="connsiteX5" fmla="*/ 2752248 w 2869687"/>
                <a:gd name="connsiteY5" fmla="*/ 530871 h 615336"/>
                <a:gd name="connsiteX6" fmla="*/ 2851299 w 2869687"/>
                <a:gd name="connsiteY6" fmla="*/ 510874 h 615336"/>
                <a:gd name="connsiteX7" fmla="*/ 2869687 w 2869687"/>
                <a:gd name="connsiteY7" fmla="*/ 500894 h 615336"/>
                <a:gd name="connsiteX8" fmla="*/ 2869687 w 2869687"/>
                <a:gd name="connsiteY8" fmla="*/ 593199 h 615336"/>
                <a:gd name="connsiteX9" fmla="*/ 2820555 w 2869687"/>
                <a:gd name="connsiteY9" fmla="*/ 608450 h 615336"/>
                <a:gd name="connsiteX10" fmla="*/ 2752248 w 2869687"/>
                <a:gd name="connsiteY10" fmla="*/ 615336 h 615336"/>
                <a:gd name="connsiteX11" fmla="*/ 338936 w 2869687"/>
                <a:gd name="connsiteY11" fmla="*/ 615336 h 615336"/>
                <a:gd name="connsiteX12" fmla="*/ 1 w 2869687"/>
                <a:gd name="connsiteY12" fmla="*/ 276401 h 615336"/>
                <a:gd name="connsiteX13" fmla="*/ 0 w 2869687"/>
                <a:gd name="connsiteY13" fmla="*/ 0 h 615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9687" h="615336">
                  <a:moveTo>
                    <a:pt x="0" y="0"/>
                  </a:moveTo>
                  <a:lnTo>
                    <a:pt x="42233" y="0"/>
                  </a:lnTo>
                  <a:lnTo>
                    <a:pt x="84466" y="0"/>
                  </a:lnTo>
                  <a:lnTo>
                    <a:pt x="84466" y="276401"/>
                  </a:lnTo>
                  <a:cubicBezTo>
                    <a:pt x="84466" y="416941"/>
                    <a:pt x="198396" y="530871"/>
                    <a:pt x="338936" y="530871"/>
                  </a:cubicBezTo>
                  <a:lnTo>
                    <a:pt x="2752248" y="530871"/>
                  </a:lnTo>
                  <a:cubicBezTo>
                    <a:pt x="2787383" y="530871"/>
                    <a:pt x="2820855" y="523751"/>
                    <a:pt x="2851299" y="510874"/>
                  </a:cubicBezTo>
                  <a:lnTo>
                    <a:pt x="2869687" y="500894"/>
                  </a:lnTo>
                  <a:lnTo>
                    <a:pt x="2869687" y="593199"/>
                  </a:lnTo>
                  <a:lnTo>
                    <a:pt x="2820555" y="608450"/>
                  </a:lnTo>
                  <a:cubicBezTo>
                    <a:pt x="2798491" y="612965"/>
                    <a:pt x="2775646" y="615336"/>
                    <a:pt x="2752248" y="615336"/>
                  </a:cubicBezTo>
                  <a:lnTo>
                    <a:pt x="338936" y="615336"/>
                  </a:lnTo>
                  <a:cubicBezTo>
                    <a:pt x="151747" y="615336"/>
                    <a:pt x="1" y="463590"/>
                    <a:pt x="1" y="276401"/>
                  </a:cubicBezTo>
                  <a:cubicBezTo>
                    <a:pt x="1" y="184267"/>
                    <a:pt x="0" y="92134"/>
                    <a:pt x="0" y="0"/>
                  </a:cubicBezTo>
                  <a:close/>
                </a:path>
              </a:pathLst>
            </a:cu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任意多边形 2"/>
            <p:cNvSpPr/>
            <p:nvPr/>
          </p:nvSpPr>
          <p:spPr bwMode="gray">
            <a:xfrm>
              <a:off x="7999559" y="5674484"/>
              <a:ext cx="3170716" cy="456037"/>
            </a:xfrm>
            <a:custGeom>
              <a:avLst/>
              <a:gdLst>
                <a:gd name="connsiteX0" fmla="*/ 3098910 w 3170716"/>
                <a:gd name="connsiteY0" fmla="*/ 0 h 321567"/>
                <a:gd name="connsiteX1" fmla="*/ 3170716 w 3170716"/>
                <a:gd name="connsiteY1" fmla="*/ 0 h 321567"/>
                <a:gd name="connsiteX2" fmla="*/ 3170716 w 3170716"/>
                <a:gd name="connsiteY2" fmla="*/ 188724 h 321567"/>
                <a:gd name="connsiteX3" fmla="*/ 3037873 w 3170716"/>
                <a:gd name="connsiteY3" fmla="*/ 321567 h 321567"/>
                <a:gd name="connsiteX4" fmla="*/ 0 w 3170716"/>
                <a:gd name="connsiteY4" fmla="*/ 321567 h 321567"/>
                <a:gd name="connsiteX5" fmla="*/ 0 w 3170716"/>
                <a:gd name="connsiteY5" fmla="*/ 249761 h 321567"/>
                <a:gd name="connsiteX6" fmla="*/ 3037873 w 3170716"/>
                <a:gd name="connsiteY6" fmla="*/ 249761 h 321567"/>
                <a:gd name="connsiteX7" fmla="*/ 3098910 w 3170716"/>
                <a:gd name="connsiteY7" fmla="*/ 188724 h 321567"/>
                <a:gd name="connsiteX8" fmla="*/ 3098910 w 3170716"/>
                <a:gd name="connsiteY8" fmla="*/ 0 h 321567"/>
                <a:gd name="connsiteX0" fmla="*/ 3098910 w 3170716"/>
                <a:gd name="connsiteY0" fmla="*/ 134470 h 456037"/>
                <a:gd name="connsiteX1" fmla="*/ 3170716 w 3170716"/>
                <a:gd name="connsiteY1" fmla="*/ 0 h 456037"/>
                <a:gd name="connsiteX2" fmla="*/ 3170716 w 3170716"/>
                <a:gd name="connsiteY2" fmla="*/ 323194 h 456037"/>
                <a:gd name="connsiteX3" fmla="*/ 3037873 w 3170716"/>
                <a:gd name="connsiteY3" fmla="*/ 456037 h 456037"/>
                <a:gd name="connsiteX4" fmla="*/ 0 w 3170716"/>
                <a:gd name="connsiteY4" fmla="*/ 456037 h 456037"/>
                <a:gd name="connsiteX5" fmla="*/ 0 w 3170716"/>
                <a:gd name="connsiteY5" fmla="*/ 384231 h 456037"/>
                <a:gd name="connsiteX6" fmla="*/ 3037873 w 3170716"/>
                <a:gd name="connsiteY6" fmla="*/ 384231 h 456037"/>
                <a:gd name="connsiteX7" fmla="*/ 3098910 w 3170716"/>
                <a:gd name="connsiteY7" fmla="*/ 323194 h 456037"/>
                <a:gd name="connsiteX8" fmla="*/ 3098910 w 3170716"/>
                <a:gd name="connsiteY8" fmla="*/ 134470 h 456037"/>
                <a:gd name="connsiteX0" fmla="*/ 3098910 w 3170716"/>
                <a:gd name="connsiteY0" fmla="*/ 0 h 456037"/>
                <a:gd name="connsiteX1" fmla="*/ 3170716 w 3170716"/>
                <a:gd name="connsiteY1" fmla="*/ 0 h 456037"/>
                <a:gd name="connsiteX2" fmla="*/ 3170716 w 3170716"/>
                <a:gd name="connsiteY2" fmla="*/ 323194 h 456037"/>
                <a:gd name="connsiteX3" fmla="*/ 3037873 w 3170716"/>
                <a:gd name="connsiteY3" fmla="*/ 456037 h 456037"/>
                <a:gd name="connsiteX4" fmla="*/ 0 w 3170716"/>
                <a:gd name="connsiteY4" fmla="*/ 456037 h 456037"/>
                <a:gd name="connsiteX5" fmla="*/ 0 w 3170716"/>
                <a:gd name="connsiteY5" fmla="*/ 384231 h 456037"/>
                <a:gd name="connsiteX6" fmla="*/ 3037873 w 3170716"/>
                <a:gd name="connsiteY6" fmla="*/ 384231 h 456037"/>
                <a:gd name="connsiteX7" fmla="*/ 3098910 w 3170716"/>
                <a:gd name="connsiteY7" fmla="*/ 323194 h 456037"/>
                <a:gd name="connsiteX8" fmla="*/ 3098910 w 3170716"/>
                <a:gd name="connsiteY8" fmla="*/ 0 h 45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0716" h="456037">
                  <a:moveTo>
                    <a:pt x="3098910" y="0"/>
                  </a:moveTo>
                  <a:lnTo>
                    <a:pt x="3170716" y="0"/>
                  </a:lnTo>
                  <a:lnTo>
                    <a:pt x="3170716" y="323194"/>
                  </a:lnTo>
                  <a:cubicBezTo>
                    <a:pt x="3170716" y="396561"/>
                    <a:pt x="3111240" y="456037"/>
                    <a:pt x="3037873" y="456037"/>
                  </a:cubicBezTo>
                  <a:lnTo>
                    <a:pt x="0" y="456037"/>
                  </a:lnTo>
                  <a:lnTo>
                    <a:pt x="0" y="384231"/>
                  </a:lnTo>
                  <a:lnTo>
                    <a:pt x="3037873" y="384231"/>
                  </a:lnTo>
                  <a:cubicBezTo>
                    <a:pt x="3071583" y="384231"/>
                    <a:pt x="3098910" y="356904"/>
                    <a:pt x="3098910" y="323194"/>
                  </a:cubicBezTo>
                  <a:lnTo>
                    <a:pt x="3098910" y="0"/>
                  </a:lnTo>
                  <a:close/>
                </a:path>
              </a:pathLst>
            </a:cu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Shape 14231"/>
            <p:cNvSpPr/>
            <p:nvPr/>
          </p:nvSpPr>
          <p:spPr>
            <a:xfrm rot="10800000">
              <a:off x="7202019" y="1700213"/>
              <a:ext cx="1609254" cy="160925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chemeClr val="accent2"/>
              </a:solidFill>
              <a:miter lim="400000"/>
            </a:ln>
          </p:spPr>
          <p:txBody>
            <a:bodyPr lIns="0" tIns="0" rIns="0" bIns="0" anchor="ctr"/>
            <a:lstStyle/>
            <a:p>
              <a:pPr lvl="0" algn="ctr">
                <a:defRPr sz="3200">
                  <a:solidFill>
                    <a:srgbClr val="C08306"/>
                  </a:solidFill>
                  <a:uFill>
                    <a:solidFill>
                      <a:srgbClr val="C08306"/>
                    </a:solidFill>
                  </a:uFill>
                  <a:latin typeface="FontAwesome"/>
                  <a:ea typeface="FontAwesome"/>
                  <a:cs typeface="FontAwesome"/>
                  <a:sym typeface="FontAwesome"/>
                </a:defRPr>
              </a:pPr>
              <a:endParaRPr>
                <a:latin typeface="+mn-ea"/>
              </a:endParaRPr>
            </a:p>
          </p:txBody>
        </p:sp>
        <p:sp>
          <p:nvSpPr>
            <p:cNvPr id="5" name="Shape 14238"/>
            <p:cNvSpPr/>
            <p:nvPr/>
          </p:nvSpPr>
          <p:spPr>
            <a:xfrm rot="10800000">
              <a:off x="10576644" y="4633140"/>
              <a:ext cx="1073653" cy="107365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rgbClr val="C4D600"/>
              </a:solidFill>
              <a:miter lim="400000"/>
            </a:ln>
          </p:spPr>
          <p:txBody>
            <a:bodyPr lIns="0" tIns="0" rIns="0" bIns="0" anchor="ctr"/>
            <a:lstStyle/>
            <a:p>
              <a:pPr lvl="0" algn="ctr">
                <a:defRPr sz="2400">
                  <a:solidFill>
                    <a:srgbClr val="C08306"/>
                  </a:solidFill>
                  <a:uFill>
                    <a:solidFill>
                      <a:srgbClr val="C08306"/>
                    </a:solidFill>
                  </a:uFill>
                  <a:latin typeface="FontAwesome"/>
                  <a:ea typeface="FontAwesome"/>
                  <a:cs typeface="FontAwesome"/>
                  <a:sym typeface="FontAwesome"/>
                </a:defRPr>
              </a:pPr>
              <a:endParaRPr>
                <a:latin typeface="+mn-ea"/>
              </a:endParaRPr>
            </a:p>
          </p:txBody>
        </p:sp>
        <p:sp>
          <p:nvSpPr>
            <p:cNvPr id="6" name="Shape 14233"/>
            <p:cNvSpPr/>
            <p:nvPr/>
          </p:nvSpPr>
          <p:spPr>
            <a:xfrm rot="10800000">
              <a:off x="4888236" y="3485697"/>
              <a:ext cx="1199178" cy="119917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rgbClr val="00ABAB"/>
              </a:solidFill>
              <a:miter lim="400000"/>
            </a:ln>
          </p:spPr>
          <p:txBody>
            <a:bodyPr lIns="0" tIns="0" rIns="0" bIns="0" anchor="ctr"/>
            <a:lstStyle/>
            <a:p>
              <a:pPr lvl="0" algn="ctr">
                <a:defRPr sz="3200">
                  <a:solidFill>
                    <a:srgbClr val="C08306"/>
                  </a:solidFill>
                  <a:uFill>
                    <a:solidFill>
                      <a:srgbClr val="C08306"/>
                    </a:solidFill>
                  </a:uFill>
                  <a:latin typeface="FontAwesome"/>
                  <a:ea typeface="FontAwesome"/>
                  <a:cs typeface="FontAwesome"/>
                  <a:sym typeface="FontAwesome"/>
                </a:defRPr>
              </a:pPr>
              <a:endParaRPr>
                <a:latin typeface="+mn-ea"/>
              </a:endParaRPr>
            </a:p>
          </p:txBody>
        </p:sp>
        <p:cxnSp>
          <p:nvCxnSpPr>
            <p:cNvPr id="7" name="直接连接符 6"/>
            <p:cNvCxnSpPr/>
            <p:nvPr/>
          </p:nvCxnSpPr>
          <p:spPr>
            <a:xfrm flipH="1">
              <a:off x="7999559" y="3339921"/>
              <a:ext cx="7087" cy="3138667"/>
            </a:xfrm>
            <a:prstGeom prst="line">
              <a:avLst/>
            </a:prstGeom>
            <a:ln w="889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Shape 14232"/>
            <p:cNvSpPr/>
            <p:nvPr/>
          </p:nvSpPr>
          <p:spPr>
            <a:xfrm rot="10800000">
              <a:off x="7122770" y="3503903"/>
              <a:ext cx="1401475" cy="140147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rgbClr val="FFFFFF"/>
            </a:solidFill>
            <a:ln w="63500">
              <a:solidFill>
                <a:srgbClr val="046A38"/>
              </a:solidFill>
              <a:miter lim="400000"/>
            </a:ln>
          </p:spPr>
          <p:txBody>
            <a:bodyPr lIns="0" tIns="0" rIns="0" bIns="0" anchor="ctr"/>
            <a:lstStyle/>
            <a:p>
              <a:pPr lvl="0" algn="ctr">
                <a:defRPr sz="3200">
                  <a:solidFill>
                    <a:srgbClr val="C08306"/>
                  </a:solidFill>
                  <a:uFill>
                    <a:solidFill>
                      <a:srgbClr val="C08306"/>
                    </a:solidFill>
                  </a:uFill>
                  <a:latin typeface="FontAwesome"/>
                  <a:ea typeface="FontAwesome"/>
                  <a:cs typeface="FontAwesome"/>
                  <a:sym typeface="FontAwesome"/>
                </a:defRPr>
              </a:pPr>
              <a:endParaRPr>
                <a:latin typeface="+mn-ea"/>
              </a:endParaRPr>
            </a:p>
          </p:txBody>
        </p:sp>
        <p:cxnSp>
          <p:nvCxnSpPr>
            <p:cNvPr id="9" name="直接连接符 8"/>
            <p:cNvCxnSpPr/>
            <p:nvPr/>
          </p:nvCxnSpPr>
          <p:spPr>
            <a:xfrm>
              <a:off x="7823507" y="4905376"/>
              <a:ext cx="0" cy="1573212"/>
            </a:xfrm>
            <a:prstGeom prst="line">
              <a:avLst/>
            </a:prstGeom>
            <a:ln w="88900">
              <a:solidFill>
                <a:srgbClr val="75787B"/>
              </a:solidFill>
            </a:ln>
          </p:spPr>
          <p:style>
            <a:lnRef idx="1">
              <a:schemeClr val="accent1"/>
            </a:lnRef>
            <a:fillRef idx="0">
              <a:schemeClr val="accent1"/>
            </a:fillRef>
            <a:effectRef idx="0">
              <a:schemeClr val="accent1"/>
            </a:effectRef>
            <a:fontRef idx="minor">
              <a:schemeClr val="tx1"/>
            </a:fontRef>
          </p:style>
        </p:cxnSp>
        <p:sp>
          <p:nvSpPr>
            <p:cNvPr id="10" name="任意多边形 9"/>
            <p:cNvSpPr/>
            <p:nvPr/>
          </p:nvSpPr>
          <p:spPr bwMode="gray">
            <a:xfrm>
              <a:off x="5487822" y="4694321"/>
              <a:ext cx="1873304" cy="1784267"/>
            </a:xfrm>
            <a:custGeom>
              <a:avLst/>
              <a:gdLst>
                <a:gd name="connsiteX0" fmla="*/ 0 w 1873304"/>
                <a:gd name="connsiteY0" fmla="*/ 0 h 1784267"/>
                <a:gd name="connsiteX1" fmla="*/ 42233 w 1873304"/>
                <a:gd name="connsiteY1" fmla="*/ 0 h 1784267"/>
                <a:gd name="connsiteX2" fmla="*/ 84466 w 1873304"/>
                <a:gd name="connsiteY2" fmla="*/ 0 h 1784267"/>
                <a:gd name="connsiteX3" fmla="*/ 84466 w 1873304"/>
                <a:gd name="connsiteY3" fmla="*/ 276401 h 1784267"/>
                <a:gd name="connsiteX4" fmla="*/ 338936 w 1873304"/>
                <a:gd name="connsiteY4" fmla="*/ 530872 h 1784267"/>
                <a:gd name="connsiteX5" fmla="*/ 1257968 w 1873304"/>
                <a:gd name="connsiteY5" fmla="*/ 530872 h 1784267"/>
                <a:gd name="connsiteX6" fmla="*/ 1549526 w 1873304"/>
                <a:gd name="connsiteY6" fmla="*/ 530872 h 1784267"/>
                <a:gd name="connsiteX7" fmla="*/ 1602676 w 1873304"/>
                <a:gd name="connsiteY7" fmla="*/ 536230 h 1784267"/>
                <a:gd name="connsiteX8" fmla="*/ 1723871 w 1873304"/>
                <a:gd name="connsiteY8" fmla="*/ 587229 h 1784267"/>
                <a:gd name="connsiteX9" fmla="*/ 1757938 w 1873304"/>
                <a:gd name="connsiteY9" fmla="*/ 615337 h 1784267"/>
                <a:gd name="connsiteX10" fmla="*/ 1774032 w 1873304"/>
                <a:gd name="connsiteY10" fmla="*/ 628616 h 1784267"/>
                <a:gd name="connsiteX11" fmla="*/ 1873304 w 1873304"/>
                <a:gd name="connsiteY11" fmla="*/ 868279 h 1784267"/>
                <a:gd name="connsiteX12" fmla="*/ 1873304 w 1873304"/>
                <a:gd name="connsiteY12" fmla="*/ 1784267 h 1784267"/>
                <a:gd name="connsiteX13" fmla="*/ 1788839 w 1873304"/>
                <a:gd name="connsiteY13" fmla="*/ 1784267 h 1784267"/>
                <a:gd name="connsiteX14" fmla="*/ 1788839 w 1873304"/>
                <a:gd name="connsiteY14" fmla="*/ 868279 h 1784267"/>
                <a:gd name="connsiteX15" fmla="*/ 1585654 w 1873304"/>
                <a:gd name="connsiteY15" fmla="*/ 618979 h 1784267"/>
                <a:gd name="connsiteX16" fmla="*/ 1549526 w 1873304"/>
                <a:gd name="connsiteY16" fmla="*/ 615337 h 1784267"/>
                <a:gd name="connsiteX17" fmla="*/ 338936 w 1873304"/>
                <a:gd name="connsiteY17" fmla="*/ 615337 h 1784267"/>
                <a:gd name="connsiteX18" fmla="*/ 1 w 1873304"/>
                <a:gd name="connsiteY18" fmla="*/ 276401 h 1784267"/>
                <a:gd name="connsiteX19" fmla="*/ 0 w 1873304"/>
                <a:gd name="connsiteY19" fmla="*/ 0 h 1784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304" h="1784267">
                  <a:moveTo>
                    <a:pt x="0" y="0"/>
                  </a:moveTo>
                  <a:lnTo>
                    <a:pt x="42233" y="0"/>
                  </a:lnTo>
                  <a:lnTo>
                    <a:pt x="84466" y="0"/>
                  </a:lnTo>
                  <a:lnTo>
                    <a:pt x="84466" y="276401"/>
                  </a:lnTo>
                  <a:cubicBezTo>
                    <a:pt x="84466" y="416941"/>
                    <a:pt x="198396" y="530872"/>
                    <a:pt x="338936" y="530872"/>
                  </a:cubicBezTo>
                  <a:lnTo>
                    <a:pt x="1257968" y="530872"/>
                  </a:lnTo>
                  <a:lnTo>
                    <a:pt x="1549526" y="530872"/>
                  </a:lnTo>
                  <a:lnTo>
                    <a:pt x="1602676" y="536230"/>
                  </a:lnTo>
                  <a:cubicBezTo>
                    <a:pt x="1646804" y="545260"/>
                    <a:pt x="1687808" y="562865"/>
                    <a:pt x="1723871" y="587229"/>
                  </a:cubicBezTo>
                  <a:lnTo>
                    <a:pt x="1757938" y="615337"/>
                  </a:lnTo>
                  <a:lnTo>
                    <a:pt x="1774032" y="628616"/>
                  </a:lnTo>
                  <a:cubicBezTo>
                    <a:pt x="1835367" y="689951"/>
                    <a:pt x="1873304" y="774684"/>
                    <a:pt x="1873304" y="868279"/>
                  </a:cubicBezTo>
                  <a:lnTo>
                    <a:pt x="1873304" y="1784267"/>
                  </a:lnTo>
                  <a:lnTo>
                    <a:pt x="1788839" y="1784267"/>
                  </a:lnTo>
                  <a:lnTo>
                    <a:pt x="1788839" y="868279"/>
                  </a:lnTo>
                  <a:cubicBezTo>
                    <a:pt x="1788839" y="745306"/>
                    <a:pt x="1701611" y="642707"/>
                    <a:pt x="1585654" y="618979"/>
                  </a:cubicBezTo>
                  <a:lnTo>
                    <a:pt x="1549526" y="615337"/>
                  </a:lnTo>
                  <a:lnTo>
                    <a:pt x="338936" y="615337"/>
                  </a:lnTo>
                  <a:cubicBezTo>
                    <a:pt x="151747" y="615337"/>
                    <a:pt x="1" y="463590"/>
                    <a:pt x="1" y="276401"/>
                  </a:cubicBezTo>
                  <a:cubicBezTo>
                    <a:pt x="1" y="184267"/>
                    <a:pt x="0" y="92134"/>
                    <a:pt x="0" y="0"/>
                  </a:cubicBezTo>
                  <a:close/>
                </a:path>
              </a:pathLst>
            </a:cu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Shape 14240"/>
            <p:cNvSpPr/>
            <p:nvPr/>
          </p:nvSpPr>
          <p:spPr>
            <a:xfrm rot="10800000">
              <a:off x="4449283" y="4633140"/>
              <a:ext cx="1073652" cy="107365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rgbClr val="63666A"/>
              </a:solidFill>
              <a:miter lim="400000"/>
            </a:ln>
          </p:spPr>
          <p:txBody>
            <a:bodyPr lIns="0" tIns="0" rIns="0" bIns="0" anchor="ctr"/>
            <a:lstStyle/>
            <a:p>
              <a:pPr lvl="0" algn="ctr">
                <a:defRPr sz="2400">
                  <a:solidFill>
                    <a:srgbClr val="C08306"/>
                  </a:solidFill>
                  <a:uFill>
                    <a:solidFill>
                      <a:srgbClr val="C08306"/>
                    </a:solidFill>
                  </a:uFill>
                  <a:latin typeface="FontAwesome"/>
                  <a:ea typeface="FontAwesome"/>
                  <a:cs typeface="FontAwesome"/>
                  <a:sym typeface="FontAwesome"/>
                </a:defRPr>
              </a:pPr>
              <a:endParaRPr dirty="0">
                <a:latin typeface="+mn-ea"/>
              </a:endParaRPr>
            </a:p>
          </p:txBody>
        </p:sp>
        <p:sp>
          <p:nvSpPr>
            <p:cNvPr id="12" name="任意多边形 11"/>
            <p:cNvSpPr/>
            <p:nvPr/>
          </p:nvSpPr>
          <p:spPr bwMode="gray">
            <a:xfrm flipV="1">
              <a:off x="8648265" y="4774253"/>
              <a:ext cx="1873304" cy="1708067"/>
            </a:xfrm>
            <a:custGeom>
              <a:avLst/>
              <a:gdLst>
                <a:gd name="connsiteX0" fmla="*/ 0 w 1873304"/>
                <a:gd name="connsiteY0" fmla="*/ 0 h 1784267"/>
                <a:gd name="connsiteX1" fmla="*/ 42233 w 1873304"/>
                <a:gd name="connsiteY1" fmla="*/ 0 h 1784267"/>
                <a:gd name="connsiteX2" fmla="*/ 84466 w 1873304"/>
                <a:gd name="connsiteY2" fmla="*/ 0 h 1784267"/>
                <a:gd name="connsiteX3" fmla="*/ 84466 w 1873304"/>
                <a:gd name="connsiteY3" fmla="*/ 276401 h 1784267"/>
                <a:gd name="connsiteX4" fmla="*/ 338936 w 1873304"/>
                <a:gd name="connsiteY4" fmla="*/ 530872 h 1784267"/>
                <a:gd name="connsiteX5" fmla="*/ 1257968 w 1873304"/>
                <a:gd name="connsiteY5" fmla="*/ 530872 h 1784267"/>
                <a:gd name="connsiteX6" fmla="*/ 1549526 w 1873304"/>
                <a:gd name="connsiteY6" fmla="*/ 530872 h 1784267"/>
                <a:gd name="connsiteX7" fmla="*/ 1602676 w 1873304"/>
                <a:gd name="connsiteY7" fmla="*/ 536230 h 1784267"/>
                <a:gd name="connsiteX8" fmla="*/ 1723871 w 1873304"/>
                <a:gd name="connsiteY8" fmla="*/ 587229 h 1784267"/>
                <a:gd name="connsiteX9" fmla="*/ 1757938 w 1873304"/>
                <a:gd name="connsiteY9" fmla="*/ 615337 h 1784267"/>
                <a:gd name="connsiteX10" fmla="*/ 1774032 w 1873304"/>
                <a:gd name="connsiteY10" fmla="*/ 628616 h 1784267"/>
                <a:gd name="connsiteX11" fmla="*/ 1873304 w 1873304"/>
                <a:gd name="connsiteY11" fmla="*/ 868279 h 1784267"/>
                <a:gd name="connsiteX12" fmla="*/ 1873304 w 1873304"/>
                <a:gd name="connsiteY12" fmla="*/ 1784267 h 1784267"/>
                <a:gd name="connsiteX13" fmla="*/ 1788839 w 1873304"/>
                <a:gd name="connsiteY13" fmla="*/ 1784267 h 1784267"/>
                <a:gd name="connsiteX14" fmla="*/ 1788839 w 1873304"/>
                <a:gd name="connsiteY14" fmla="*/ 868279 h 1784267"/>
                <a:gd name="connsiteX15" fmla="*/ 1585654 w 1873304"/>
                <a:gd name="connsiteY15" fmla="*/ 618979 h 1784267"/>
                <a:gd name="connsiteX16" fmla="*/ 1549526 w 1873304"/>
                <a:gd name="connsiteY16" fmla="*/ 615337 h 1784267"/>
                <a:gd name="connsiteX17" fmla="*/ 338936 w 1873304"/>
                <a:gd name="connsiteY17" fmla="*/ 615337 h 1784267"/>
                <a:gd name="connsiteX18" fmla="*/ 1 w 1873304"/>
                <a:gd name="connsiteY18" fmla="*/ 276401 h 1784267"/>
                <a:gd name="connsiteX19" fmla="*/ 0 w 1873304"/>
                <a:gd name="connsiteY19" fmla="*/ 0 h 1784267"/>
                <a:gd name="connsiteX0" fmla="*/ 0 w 1873304"/>
                <a:gd name="connsiteY0" fmla="*/ 0 h 1784267"/>
                <a:gd name="connsiteX1" fmla="*/ 42233 w 1873304"/>
                <a:gd name="connsiteY1" fmla="*/ 0 h 1784267"/>
                <a:gd name="connsiteX2" fmla="*/ 84466 w 1873304"/>
                <a:gd name="connsiteY2" fmla="*/ 0 h 1784267"/>
                <a:gd name="connsiteX3" fmla="*/ 84466 w 1873304"/>
                <a:gd name="connsiteY3" fmla="*/ 276401 h 1784267"/>
                <a:gd name="connsiteX4" fmla="*/ 338936 w 1873304"/>
                <a:gd name="connsiteY4" fmla="*/ 530872 h 1784267"/>
                <a:gd name="connsiteX5" fmla="*/ 1257968 w 1873304"/>
                <a:gd name="connsiteY5" fmla="*/ 530872 h 1784267"/>
                <a:gd name="connsiteX6" fmla="*/ 1549526 w 1873304"/>
                <a:gd name="connsiteY6" fmla="*/ 530872 h 1784267"/>
                <a:gd name="connsiteX7" fmla="*/ 1602676 w 1873304"/>
                <a:gd name="connsiteY7" fmla="*/ 536230 h 1784267"/>
                <a:gd name="connsiteX8" fmla="*/ 1723871 w 1873304"/>
                <a:gd name="connsiteY8" fmla="*/ 587229 h 1784267"/>
                <a:gd name="connsiteX9" fmla="*/ 1757938 w 1873304"/>
                <a:gd name="connsiteY9" fmla="*/ 615337 h 1784267"/>
                <a:gd name="connsiteX10" fmla="*/ 1774032 w 1873304"/>
                <a:gd name="connsiteY10" fmla="*/ 628616 h 1784267"/>
                <a:gd name="connsiteX11" fmla="*/ 1873304 w 1873304"/>
                <a:gd name="connsiteY11" fmla="*/ 868279 h 1784267"/>
                <a:gd name="connsiteX12" fmla="*/ 1873304 w 1873304"/>
                <a:gd name="connsiteY12" fmla="*/ 1784267 h 1784267"/>
                <a:gd name="connsiteX13" fmla="*/ 1788839 w 1873304"/>
                <a:gd name="connsiteY13" fmla="*/ 1708067 h 1784267"/>
                <a:gd name="connsiteX14" fmla="*/ 1788839 w 1873304"/>
                <a:gd name="connsiteY14" fmla="*/ 868279 h 1784267"/>
                <a:gd name="connsiteX15" fmla="*/ 1585654 w 1873304"/>
                <a:gd name="connsiteY15" fmla="*/ 618979 h 1784267"/>
                <a:gd name="connsiteX16" fmla="*/ 1549526 w 1873304"/>
                <a:gd name="connsiteY16" fmla="*/ 615337 h 1784267"/>
                <a:gd name="connsiteX17" fmla="*/ 338936 w 1873304"/>
                <a:gd name="connsiteY17" fmla="*/ 615337 h 1784267"/>
                <a:gd name="connsiteX18" fmla="*/ 1 w 1873304"/>
                <a:gd name="connsiteY18" fmla="*/ 276401 h 1784267"/>
                <a:gd name="connsiteX19" fmla="*/ 0 w 1873304"/>
                <a:gd name="connsiteY19" fmla="*/ 0 h 1784267"/>
                <a:gd name="connsiteX0" fmla="*/ 0 w 1873304"/>
                <a:gd name="connsiteY0" fmla="*/ 0 h 1708067"/>
                <a:gd name="connsiteX1" fmla="*/ 42233 w 1873304"/>
                <a:gd name="connsiteY1" fmla="*/ 0 h 1708067"/>
                <a:gd name="connsiteX2" fmla="*/ 84466 w 1873304"/>
                <a:gd name="connsiteY2" fmla="*/ 0 h 1708067"/>
                <a:gd name="connsiteX3" fmla="*/ 84466 w 1873304"/>
                <a:gd name="connsiteY3" fmla="*/ 276401 h 1708067"/>
                <a:gd name="connsiteX4" fmla="*/ 338936 w 1873304"/>
                <a:gd name="connsiteY4" fmla="*/ 530872 h 1708067"/>
                <a:gd name="connsiteX5" fmla="*/ 1257968 w 1873304"/>
                <a:gd name="connsiteY5" fmla="*/ 530872 h 1708067"/>
                <a:gd name="connsiteX6" fmla="*/ 1549526 w 1873304"/>
                <a:gd name="connsiteY6" fmla="*/ 530872 h 1708067"/>
                <a:gd name="connsiteX7" fmla="*/ 1602676 w 1873304"/>
                <a:gd name="connsiteY7" fmla="*/ 536230 h 1708067"/>
                <a:gd name="connsiteX8" fmla="*/ 1723871 w 1873304"/>
                <a:gd name="connsiteY8" fmla="*/ 587229 h 1708067"/>
                <a:gd name="connsiteX9" fmla="*/ 1757938 w 1873304"/>
                <a:gd name="connsiteY9" fmla="*/ 615337 h 1708067"/>
                <a:gd name="connsiteX10" fmla="*/ 1774032 w 1873304"/>
                <a:gd name="connsiteY10" fmla="*/ 628616 h 1708067"/>
                <a:gd name="connsiteX11" fmla="*/ 1873304 w 1873304"/>
                <a:gd name="connsiteY11" fmla="*/ 868279 h 1708067"/>
                <a:gd name="connsiteX12" fmla="*/ 1873304 w 1873304"/>
                <a:gd name="connsiteY12" fmla="*/ 1708067 h 1708067"/>
                <a:gd name="connsiteX13" fmla="*/ 1788839 w 1873304"/>
                <a:gd name="connsiteY13" fmla="*/ 1708067 h 1708067"/>
                <a:gd name="connsiteX14" fmla="*/ 1788839 w 1873304"/>
                <a:gd name="connsiteY14" fmla="*/ 868279 h 1708067"/>
                <a:gd name="connsiteX15" fmla="*/ 1585654 w 1873304"/>
                <a:gd name="connsiteY15" fmla="*/ 618979 h 1708067"/>
                <a:gd name="connsiteX16" fmla="*/ 1549526 w 1873304"/>
                <a:gd name="connsiteY16" fmla="*/ 615337 h 1708067"/>
                <a:gd name="connsiteX17" fmla="*/ 338936 w 1873304"/>
                <a:gd name="connsiteY17" fmla="*/ 615337 h 1708067"/>
                <a:gd name="connsiteX18" fmla="*/ 1 w 1873304"/>
                <a:gd name="connsiteY18" fmla="*/ 276401 h 1708067"/>
                <a:gd name="connsiteX19" fmla="*/ 0 w 1873304"/>
                <a:gd name="connsiteY19" fmla="*/ 0 h 1708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304" h="1708067">
                  <a:moveTo>
                    <a:pt x="0" y="0"/>
                  </a:moveTo>
                  <a:lnTo>
                    <a:pt x="42233" y="0"/>
                  </a:lnTo>
                  <a:lnTo>
                    <a:pt x="84466" y="0"/>
                  </a:lnTo>
                  <a:lnTo>
                    <a:pt x="84466" y="276401"/>
                  </a:lnTo>
                  <a:cubicBezTo>
                    <a:pt x="84466" y="416941"/>
                    <a:pt x="198396" y="530872"/>
                    <a:pt x="338936" y="530872"/>
                  </a:cubicBezTo>
                  <a:lnTo>
                    <a:pt x="1257968" y="530872"/>
                  </a:lnTo>
                  <a:lnTo>
                    <a:pt x="1549526" y="530872"/>
                  </a:lnTo>
                  <a:lnTo>
                    <a:pt x="1602676" y="536230"/>
                  </a:lnTo>
                  <a:cubicBezTo>
                    <a:pt x="1646804" y="545260"/>
                    <a:pt x="1687808" y="562865"/>
                    <a:pt x="1723871" y="587229"/>
                  </a:cubicBezTo>
                  <a:lnTo>
                    <a:pt x="1757938" y="615337"/>
                  </a:lnTo>
                  <a:lnTo>
                    <a:pt x="1774032" y="628616"/>
                  </a:lnTo>
                  <a:cubicBezTo>
                    <a:pt x="1835367" y="689951"/>
                    <a:pt x="1873304" y="774684"/>
                    <a:pt x="1873304" y="868279"/>
                  </a:cubicBezTo>
                  <a:lnTo>
                    <a:pt x="1873304" y="1708067"/>
                  </a:lnTo>
                  <a:lnTo>
                    <a:pt x="1788839" y="1708067"/>
                  </a:lnTo>
                  <a:lnTo>
                    <a:pt x="1788839" y="868279"/>
                  </a:lnTo>
                  <a:cubicBezTo>
                    <a:pt x="1788839" y="745306"/>
                    <a:pt x="1701611" y="642707"/>
                    <a:pt x="1585654" y="618979"/>
                  </a:cubicBezTo>
                  <a:lnTo>
                    <a:pt x="1549526" y="615337"/>
                  </a:lnTo>
                  <a:lnTo>
                    <a:pt x="338936" y="615337"/>
                  </a:lnTo>
                  <a:cubicBezTo>
                    <a:pt x="151747" y="615337"/>
                    <a:pt x="1" y="463590"/>
                    <a:pt x="1" y="276401"/>
                  </a:cubicBezTo>
                  <a:cubicBezTo>
                    <a:pt x="1" y="184267"/>
                    <a:pt x="0" y="92134"/>
                    <a:pt x="0" y="0"/>
                  </a:cubicBezTo>
                  <a:close/>
                </a:path>
              </a:pathLst>
            </a:cu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Shape 14233"/>
            <p:cNvSpPr/>
            <p:nvPr/>
          </p:nvSpPr>
          <p:spPr>
            <a:xfrm rot="10800000">
              <a:off x="9856423" y="3567265"/>
              <a:ext cx="1199178" cy="119917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rgbClr val="007680"/>
              </a:solidFill>
              <a:miter lim="400000"/>
            </a:ln>
          </p:spPr>
          <p:txBody>
            <a:bodyPr lIns="0" tIns="0" rIns="0" bIns="0" anchor="ctr"/>
            <a:lstStyle/>
            <a:p>
              <a:pPr lvl="0" algn="ctr">
                <a:defRPr sz="3200">
                  <a:solidFill>
                    <a:srgbClr val="C08306"/>
                  </a:solidFill>
                  <a:uFill>
                    <a:solidFill>
                      <a:srgbClr val="C08306"/>
                    </a:solidFill>
                  </a:uFill>
                  <a:latin typeface="FontAwesome"/>
                  <a:ea typeface="FontAwesome"/>
                  <a:cs typeface="FontAwesome"/>
                  <a:sym typeface="FontAwesome"/>
                </a:defRPr>
              </a:pPr>
              <a:endParaRPr>
                <a:latin typeface="+mn-ea"/>
              </a:endParaRPr>
            </a:p>
          </p:txBody>
        </p:sp>
        <p:sp>
          <p:nvSpPr>
            <p:cNvPr id="14" name="任意多边形 13"/>
            <p:cNvSpPr/>
            <p:nvPr/>
          </p:nvSpPr>
          <p:spPr bwMode="gray">
            <a:xfrm>
              <a:off x="6616495" y="3929183"/>
              <a:ext cx="979431" cy="2550749"/>
            </a:xfrm>
            <a:custGeom>
              <a:avLst/>
              <a:gdLst>
                <a:gd name="connsiteX0" fmla="*/ 0 w 979431"/>
                <a:gd name="connsiteY0" fmla="*/ 0 h 2550749"/>
                <a:gd name="connsiteX1" fmla="*/ 84465 w 979431"/>
                <a:gd name="connsiteY1" fmla="*/ 0 h 2550749"/>
                <a:gd name="connsiteX2" fmla="*/ 84465 w 979431"/>
                <a:gd name="connsiteY2" fmla="*/ 839788 h 2550749"/>
                <a:gd name="connsiteX3" fmla="*/ 287650 w 979431"/>
                <a:gd name="connsiteY3" fmla="*/ 1089088 h 2550749"/>
                <a:gd name="connsiteX4" fmla="*/ 323778 w 979431"/>
                <a:gd name="connsiteY4" fmla="*/ 1092730 h 2550749"/>
                <a:gd name="connsiteX5" fmla="*/ 452155 w 979431"/>
                <a:gd name="connsiteY5" fmla="*/ 1092730 h 2550749"/>
                <a:gd name="connsiteX6" fmla="*/ 528106 w 979431"/>
                <a:gd name="connsiteY6" fmla="*/ 1092730 h 2550749"/>
                <a:gd name="connsiteX7" fmla="*/ 637905 w 979431"/>
                <a:gd name="connsiteY7" fmla="*/ 1092730 h 2550749"/>
                <a:gd name="connsiteX8" fmla="*/ 976840 w 979431"/>
                <a:gd name="connsiteY8" fmla="*/ 1431666 h 2550749"/>
                <a:gd name="connsiteX9" fmla="*/ 976841 w 979431"/>
                <a:gd name="connsiteY9" fmla="*/ 1708067 h 2550749"/>
                <a:gd name="connsiteX10" fmla="*/ 979431 w 979431"/>
                <a:gd name="connsiteY10" fmla="*/ 2546267 h 2550749"/>
                <a:gd name="connsiteX11" fmla="*/ 896857 w 979431"/>
                <a:gd name="connsiteY11" fmla="*/ 2550749 h 2550749"/>
                <a:gd name="connsiteX12" fmla="*/ 892375 w 979431"/>
                <a:gd name="connsiteY12" fmla="*/ 1431666 h 2550749"/>
                <a:gd name="connsiteX13" fmla="*/ 637905 w 979431"/>
                <a:gd name="connsiteY13" fmla="*/ 1177195 h 2550749"/>
                <a:gd name="connsiteX14" fmla="*/ 528106 w 979431"/>
                <a:gd name="connsiteY14" fmla="*/ 1177195 h 2550749"/>
                <a:gd name="connsiteX15" fmla="*/ 452155 w 979431"/>
                <a:gd name="connsiteY15" fmla="*/ 1177195 h 2550749"/>
                <a:gd name="connsiteX16" fmla="*/ 323778 w 979431"/>
                <a:gd name="connsiteY16" fmla="*/ 1177195 h 2550749"/>
                <a:gd name="connsiteX17" fmla="*/ 270628 w 979431"/>
                <a:gd name="connsiteY17" fmla="*/ 1171837 h 2550749"/>
                <a:gd name="connsiteX18" fmla="*/ 149433 w 979431"/>
                <a:gd name="connsiteY18" fmla="*/ 1120838 h 2550749"/>
                <a:gd name="connsiteX19" fmla="*/ 115366 w 979431"/>
                <a:gd name="connsiteY19" fmla="*/ 1092730 h 2550749"/>
                <a:gd name="connsiteX20" fmla="*/ 99272 w 979431"/>
                <a:gd name="connsiteY20" fmla="*/ 1079451 h 2550749"/>
                <a:gd name="connsiteX21" fmla="*/ 0 w 979431"/>
                <a:gd name="connsiteY21" fmla="*/ 839788 h 2550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9431" h="2550749">
                  <a:moveTo>
                    <a:pt x="0" y="0"/>
                  </a:moveTo>
                  <a:lnTo>
                    <a:pt x="84465" y="0"/>
                  </a:lnTo>
                  <a:lnTo>
                    <a:pt x="84465" y="839788"/>
                  </a:lnTo>
                  <a:cubicBezTo>
                    <a:pt x="84465" y="962761"/>
                    <a:pt x="171693" y="1065360"/>
                    <a:pt x="287650" y="1089088"/>
                  </a:cubicBezTo>
                  <a:lnTo>
                    <a:pt x="323778" y="1092730"/>
                  </a:lnTo>
                  <a:lnTo>
                    <a:pt x="452155" y="1092730"/>
                  </a:lnTo>
                  <a:lnTo>
                    <a:pt x="528106" y="1092730"/>
                  </a:lnTo>
                  <a:lnTo>
                    <a:pt x="637905" y="1092730"/>
                  </a:lnTo>
                  <a:cubicBezTo>
                    <a:pt x="825094" y="1092730"/>
                    <a:pt x="976840" y="1244477"/>
                    <a:pt x="976840" y="1431666"/>
                  </a:cubicBezTo>
                  <a:cubicBezTo>
                    <a:pt x="976840" y="1523800"/>
                    <a:pt x="976841" y="1615933"/>
                    <a:pt x="976841" y="1708067"/>
                  </a:cubicBezTo>
                  <a:cubicBezTo>
                    <a:pt x="977704" y="1987467"/>
                    <a:pt x="978568" y="2266867"/>
                    <a:pt x="979431" y="2546267"/>
                  </a:cubicBezTo>
                  <a:lnTo>
                    <a:pt x="896857" y="2550749"/>
                  </a:lnTo>
                  <a:cubicBezTo>
                    <a:pt x="896857" y="2458615"/>
                    <a:pt x="892375" y="1523800"/>
                    <a:pt x="892375" y="1431666"/>
                  </a:cubicBezTo>
                  <a:cubicBezTo>
                    <a:pt x="892375" y="1291126"/>
                    <a:pt x="778445" y="1177195"/>
                    <a:pt x="637905" y="1177195"/>
                  </a:cubicBezTo>
                  <a:lnTo>
                    <a:pt x="528106" y="1177195"/>
                  </a:lnTo>
                  <a:lnTo>
                    <a:pt x="452155" y="1177195"/>
                  </a:lnTo>
                  <a:lnTo>
                    <a:pt x="323778" y="1177195"/>
                  </a:lnTo>
                  <a:lnTo>
                    <a:pt x="270628" y="1171837"/>
                  </a:lnTo>
                  <a:cubicBezTo>
                    <a:pt x="226500" y="1162807"/>
                    <a:pt x="185496" y="1145202"/>
                    <a:pt x="149433" y="1120838"/>
                  </a:cubicBezTo>
                  <a:lnTo>
                    <a:pt x="115366" y="1092730"/>
                  </a:lnTo>
                  <a:lnTo>
                    <a:pt x="99272" y="1079451"/>
                  </a:lnTo>
                  <a:cubicBezTo>
                    <a:pt x="37937" y="1018116"/>
                    <a:pt x="0" y="933383"/>
                    <a:pt x="0" y="839788"/>
                  </a:cubicBez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Shape 14230"/>
            <p:cNvSpPr/>
            <p:nvPr/>
          </p:nvSpPr>
          <p:spPr>
            <a:xfrm rot="10800000">
              <a:off x="5894962" y="2552348"/>
              <a:ext cx="1443067" cy="14430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chemeClr val="accent1"/>
              </a:solidFill>
              <a:miter lim="400000"/>
            </a:ln>
          </p:spPr>
          <p:txBody>
            <a:bodyPr lIns="0" tIns="0" rIns="0" bIns="0" anchor="ctr"/>
            <a:lstStyle/>
            <a:p>
              <a:pPr lvl="0" algn="ctr">
                <a:defRPr sz="2400">
                  <a:solidFill>
                    <a:srgbClr val="C08306"/>
                  </a:solidFill>
                  <a:uFill>
                    <a:solidFill>
                      <a:srgbClr val="C08306"/>
                    </a:solidFill>
                  </a:uFill>
                  <a:latin typeface="FontAwesome"/>
                  <a:ea typeface="FontAwesome"/>
                  <a:cs typeface="FontAwesome"/>
                  <a:sym typeface="FontAwesome"/>
                </a:defRPr>
              </a:pPr>
              <a:endParaRPr>
                <a:latin typeface="+mn-ea"/>
              </a:endParaRPr>
            </a:p>
          </p:txBody>
        </p:sp>
        <p:sp>
          <p:nvSpPr>
            <p:cNvPr id="16" name="任意多边形 15"/>
            <p:cNvSpPr/>
            <p:nvPr/>
          </p:nvSpPr>
          <p:spPr bwMode="gray">
            <a:xfrm>
              <a:off x="8199768" y="3944950"/>
              <a:ext cx="1260412" cy="2545181"/>
            </a:xfrm>
            <a:custGeom>
              <a:avLst/>
              <a:gdLst>
                <a:gd name="connsiteX0" fmla="*/ 1175947 w 1260412"/>
                <a:gd name="connsiteY0" fmla="*/ 0 h 2545181"/>
                <a:gd name="connsiteX1" fmla="*/ 1260412 w 1260412"/>
                <a:gd name="connsiteY1" fmla="*/ 0 h 2545181"/>
                <a:gd name="connsiteX2" fmla="*/ 1260412 w 1260412"/>
                <a:gd name="connsiteY2" fmla="*/ 839788 h 2545181"/>
                <a:gd name="connsiteX3" fmla="*/ 1161140 w 1260412"/>
                <a:gd name="connsiteY3" fmla="*/ 1079451 h 2545181"/>
                <a:gd name="connsiteX4" fmla="*/ 1145046 w 1260412"/>
                <a:gd name="connsiteY4" fmla="*/ 1092730 h 2545181"/>
                <a:gd name="connsiteX5" fmla="*/ 1110979 w 1260412"/>
                <a:gd name="connsiteY5" fmla="*/ 1120838 h 2545181"/>
                <a:gd name="connsiteX6" fmla="*/ 989784 w 1260412"/>
                <a:gd name="connsiteY6" fmla="*/ 1171837 h 2545181"/>
                <a:gd name="connsiteX7" fmla="*/ 970180 w 1260412"/>
                <a:gd name="connsiteY7" fmla="*/ 1173814 h 2545181"/>
                <a:gd name="connsiteX8" fmla="*/ 970180 w 1260412"/>
                <a:gd name="connsiteY8" fmla="*/ 1174506 h 2545181"/>
                <a:gd name="connsiteX9" fmla="*/ 963315 w 1260412"/>
                <a:gd name="connsiteY9" fmla="*/ 1174506 h 2545181"/>
                <a:gd name="connsiteX10" fmla="*/ 327266 w 1260412"/>
                <a:gd name="connsiteY10" fmla="*/ 1174506 h 2545181"/>
                <a:gd name="connsiteX11" fmla="*/ 242475 w 1260412"/>
                <a:gd name="connsiteY11" fmla="*/ 1191625 h 2545181"/>
                <a:gd name="connsiteX12" fmla="*/ 87056 w 1260412"/>
                <a:gd name="connsiteY12" fmla="*/ 1426098 h 2545181"/>
                <a:gd name="connsiteX13" fmla="*/ 82574 w 1260412"/>
                <a:gd name="connsiteY13" fmla="*/ 2545181 h 2545181"/>
                <a:gd name="connsiteX14" fmla="*/ 0 w 1260412"/>
                <a:gd name="connsiteY14" fmla="*/ 2540699 h 2545181"/>
                <a:gd name="connsiteX15" fmla="*/ 2590 w 1260412"/>
                <a:gd name="connsiteY15" fmla="*/ 1702499 h 2545181"/>
                <a:gd name="connsiteX16" fmla="*/ 2591 w 1260412"/>
                <a:gd name="connsiteY16" fmla="*/ 1426098 h 2545181"/>
                <a:gd name="connsiteX17" fmla="*/ 273219 w 1260412"/>
                <a:gd name="connsiteY17" fmla="*/ 1094048 h 2545181"/>
                <a:gd name="connsiteX18" fmla="*/ 300763 w 1260412"/>
                <a:gd name="connsiteY18" fmla="*/ 1091272 h 2545181"/>
                <a:gd name="connsiteX19" fmla="*/ 300763 w 1260412"/>
                <a:gd name="connsiteY19" fmla="*/ 1089978 h 2545181"/>
                <a:gd name="connsiteX20" fmla="*/ 313591 w 1260412"/>
                <a:gd name="connsiteY20" fmla="*/ 1089978 h 2545181"/>
                <a:gd name="connsiteX21" fmla="*/ 963933 w 1260412"/>
                <a:gd name="connsiteY21" fmla="*/ 1089978 h 2545181"/>
                <a:gd name="connsiteX22" fmla="*/ 972762 w 1260412"/>
                <a:gd name="connsiteY22" fmla="*/ 1089088 h 2545181"/>
                <a:gd name="connsiteX23" fmla="*/ 1175947 w 1260412"/>
                <a:gd name="connsiteY23" fmla="*/ 839788 h 2545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60412" h="2545181">
                  <a:moveTo>
                    <a:pt x="1175947" y="0"/>
                  </a:moveTo>
                  <a:lnTo>
                    <a:pt x="1260412" y="0"/>
                  </a:lnTo>
                  <a:lnTo>
                    <a:pt x="1260412" y="839788"/>
                  </a:lnTo>
                  <a:cubicBezTo>
                    <a:pt x="1260412" y="933383"/>
                    <a:pt x="1222475" y="1018116"/>
                    <a:pt x="1161140" y="1079451"/>
                  </a:cubicBezTo>
                  <a:lnTo>
                    <a:pt x="1145046" y="1092730"/>
                  </a:lnTo>
                  <a:lnTo>
                    <a:pt x="1110979" y="1120838"/>
                  </a:lnTo>
                  <a:cubicBezTo>
                    <a:pt x="1074916" y="1145202"/>
                    <a:pt x="1033912" y="1162807"/>
                    <a:pt x="989784" y="1171837"/>
                  </a:cubicBezTo>
                  <a:lnTo>
                    <a:pt x="970180" y="1173814"/>
                  </a:lnTo>
                  <a:lnTo>
                    <a:pt x="970180" y="1174506"/>
                  </a:lnTo>
                  <a:lnTo>
                    <a:pt x="963315" y="1174506"/>
                  </a:lnTo>
                  <a:lnTo>
                    <a:pt x="327266" y="1174506"/>
                  </a:lnTo>
                  <a:lnTo>
                    <a:pt x="242475" y="1191625"/>
                  </a:lnTo>
                  <a:cubicBezTo>
                    <a:pt x="151141" y="1230256"/>
                    <a:pt x="87056" y="1320693"/>
                    <a:pt x="87056" y="1426098"/>
                  </a:cubicBezTo>
                  <a:cubicBezTo>
                    <a:pt x="87056" y="1518232"/>
                    <a:pt x="82574" y="2453047"/>
                    <a:pt x="82574" y="2545181"/>
                  </a:cubicBezTo>
                  <a:lnTo>
                    <a:pt x="0" y="2540699"/>
                  </a:lnTo>
                  <a:cubicBezTo>
                    <a:pt x="863" y="2261299"/>
                    <a:pt x="1727" y="1981899"/>
                    <a:pt x="2590" y="1702499"/>
                  </a:cubicBezTo>
                  <a:cubicBezTo>
                    <a:pt x="2590" y="1610365"/>
                    <a:pt x="2591" y="1518232"/>
                    <a:pt x="2591" y="1426098"/>
                  </a:cubicBezTo>
                  <a:cubicBezTo>
                    <a:pt x="2591" y="1262308"/>
                    <a:pt x="118771" y="1125653"/>
                    <a:pt x="273219" y="1094048"/>
                  </a:cubicBezTo>
                  <a:lnTo>
                    <a:pt x="300763" y="1091272"/>
                  </a:lnTo>
                  <a:lnTo>
                    <a:pt x="300763" y="1089978"/>
                  </a:lnTo>
                  <a:lnTo>
                    <a:pt x="313591" y="1089978"/>
                  </a:lnTo>
                  <a:lnTo>
                    <a:pt x="963933" y="1089978"/>
                  </a:lnTo>
                  <a:lnTo>
                    <a:pt x="972762" y="1089088"/>
                  </a:lnTo>
                  <a:cubicBezTo>
                    <a:pt x="1088719" y="1065360"/>
                    <a:pt x="1175947" y="962761"/>
                    <a:pt x="1175947" y="839788"/>
                  </a:cubicBezTo>
                  <a:close/>
                </a:path>
              </a:pathLst>
            </a:cu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Shape 14230"/>
            <p:cNvSpPr/>
            <p:nvPr/>
          </p:nvSpPr>
          <p:spPr>
            <a:xfrm rot="10800000">
              <a:off x="8677217" y="2552348"/>
              <a:ext cx="1443067" cy="14430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rgbClr val="97999B"/>
              </a:solidFill>
              <a:miter lim="400000"/>
            </a:ln>
          </p:spPr>
          <p:txBody>
            <a:bodyPr lIns="0" tIns="0" rIns="0" bIns="0" anchor="ctr"/>
            <a:lstStyle/>
            <a:p>
              <a:pPr lvl="0" algn="ctr">
                <a:defRPr sz="2400">
                  <a:solidFill>
                    <a:srgbClr val="C08306"/>
                  </a:solidFill>
                  <a:uFill>
                    <a:solidFill>
                      <a:srgbClr val="C08306"/>
                    </a:solidFill>
                  </a:uFill>
                  <a:latin typeface="FontAwesome"/>
                  <a:ea typeface="FontAwesome"/>
                  <a:cs typeface="FontAwesome"/>
                  <a:sym typeface="FontAwesome"/>
                </a:defRPr>
              </a:pPr>
              <a:endParaRPr>
                <a:latin typeface="+mn-ea"/>
              </a:endParaRPr>
            </a:p>
          </p:txBody>
        </p:sp>
        <p:sp>
          <p:nvSpPr>
            <p:cNvPr id="18" name="Rectangle 83"/>
            <p:cNvSpPr/>
            <p:nvPr/>
          </p:nvSpPr>
          <p:spPr>
            <a:xfrm>
              <a:off x="9027442" y="3546973"/>
              <a:ext cx="772609" cy="322352"/>
            </a:xfrm>
            <a:prstGeom prst="rect">
              <a:avLst/>
            </a:prstGeom>
          </p:spPr>
          <p:txBody>
            <a:bodyPr wrap="none">
              <a:spAutoFit/>
            </a:bodyPr>
            <a:lstStyle/>
            <a:p>
              <a:r>
                <a:rPr lang="en-US" altLang="zh-CN" sz="1600" b="1" dirty="0">
                  <a:solidFill>
                    <a:srgbClr val="97999B"/>
                  </a:solidFill>
                  <a:latin typeface="+mn-ea"/>
                </a:rPr>
                <a:t>Lorem</a:t>
              </a:r>
              <a:endParaRPr lang="en-US" sz="1600" b="1" dirty="0">
                <a:solidFill>
                  <a:srgbClr val="97999B"/>
                </a:solidFill>
                <a:latin typeface="+mn-ea"/>
              </a:endParaRPr>
            </a:p>
          </p:txBody>
        </p:sp>
        <p:sp>
          <p:nvSpPr>
            <p:cNvPr id="19" name="Rectangle 84"/>
            <p:cNvSpPr/>
            <p:nvPr/>
          </p:nvSpPr>
          <p:spPr>
            <a:xfrm>
              <a:off x="4549170" y="5263919"/>
              <a:ext cx="845129" cy="352609"/>
            </a:xfrm>
            <a:prstGeom prst="rect">
              <a:avLst/>
            </a:prstGeom>
          </p:spPr>
          <p:txBody>
            <a:bodyPr wrap="none">
              <a:spAutoFit/>
            </a:bodyPr>
            <a:lstStyle/>
            <a:p>
              <a:pPr algn="ctr"/>
              <a:r>
                <a:rPr lang="en-US" altLang="zh-CN" sz="1600" b="1" dirty="0">
                  <a:solidFill>
                    <a:srgbClr val="53565A"/>
                  </a:solidFill>
                  <a:latin typeface="+mn-ea"/>
                </a:rPr>
                <a:t>Lorem</a:t>
              </a:r>
              <a:endParaRPr lang="en-US" sz="1600" b="1" dirty="0">
                <a:solidFill>
                  <a:srgbClr val="53565A"/>
                </a:solidFill>
                <a:latin typeface="+mn-ea"/>
              </a:endParaRPr>
            </a:p>
          </p:txBody>
        </p:sp>
        <p:sp>
          <p:nvSpPr>
            <p:cNvPr id="20" name="Rectangle 85"/>
            <p:cNvSpPr/>
            <p:nvPr/>
          </p:nvSpPr>
          <p:spPr>
            <a:xfrm>
              <a:off x="5071100" y="4247026"/>
              <a:ext cx="772609" cy="322352"/>
            </a:xfrm>
            <a:prstGeom prst="rect">
              <a:avLst/>
            </a:prstGeom>
          </p:spPr>
          <p:txBody>
            <a:bodyPr wrap="none">
              <a:spAutoFit/>
            </a:bodyPr>
            <a:lstStyle/>
            <a:p>
              <a:r>
                <a:rPr lang="en-US" altLang="zh-CN" sz="1600" b="1" dirty="0">
                  <a:solidFill>
                    <a:srgbClr val="00ABAB"/>
                  </a:solidFill>
                  <a:latin typeface="+mn-ea"/>
                </a:rPr>
                <a:t>Lorem</a:t>
              </a:r>
              <a:endParaRPr lang="en-US" sz="1600" b="1" dirty="0">
                <a:solidFill>
                  <a:srgbClr val="00ABAB"/>
                </a:solidFill>
                <a:latin typeface="+mn-ea"/>
              </a:endParaRPr>
            </a:p>
          </p:txBody>
        </p:sp>
        <p:sp>
          <p:nvSpPr>
            <p:cNvPr id="21" name="Rectangle 86"/>
            <p:cNvSpPr/>
            <p:nvPr/>
          </p:nvSpPr>
          <p:spPr>
            <a:xfrm>
              <a:off x="6223317" y="3561745"/>
              <a:ext cx="772609" cy="322352"/>
            </a:xfrm>
            <a:prstGeom prst="rect">
              <a:avLst/>
            </a:prstGeom>
          </p:spPr>
          <p:txBody>
            <a:bodyPr wrap="none">
              <a:spAutoFit/>
            </a:bodyPr>
            <a:lstStyle/>
            <a:p>
              <a:r>
                <a:rPr lang="en-US" altLang="zh-CN" sz="1600" b="1" dirty="0">
                  <a:solidFill>
                    <a:schemeClr val="accent1"/>
                  </a:solidFill>
                  <a:latin typeface="+mn-ea"/>
                </a:rPr>
                <a:t>Lorem</a:t>
              </a:r>
              <a:endParaRPr lang="en-US" sz="1600" b="1" dirty="0">
                <a:solidFill>
                  <a:schemeClr val="accent1"/>
                </a:solidFill>
                <a:latin typeface="+mn-ea"/>
              </a:endParaRPr>
            </a:p>
          </p:txBody>
        </p:sp>
        <p:sp>
          <p:nvSpPr>
            <p:cNvPr id="22" name="Rectangle 87"/>
            <p:cNvSpPr/>
            <p:nvPr/>
          </p:nvSpPr>
          <p:spPr>
            <a:xfrm>
              <a:off x="10064022" y="4329823"/>
              <a:ext cx="845129" cy="352609"/>
            </a:xfrm>
            <a:prstGeom prst="rect">
              <a:avLst/>
            </a:prstGeom>
          </p:spPr>
          <p:txBody>
            <a:bodyPr wrap="none">
              <a:spAutoFit/>
            </a:bodyPr>
            <a:lstStyle/>
            <a:p>
              <a:r>
                <a:rPr lang="en-US" altLang="zh-CN" sz="1600" b="1" dirty="0">
                  <a:solidFill>
                    <a:srgbClr val="007680"/>
                  </a:solidFill>
                  <a:latin typeface="+mn-ea"/>
                </a:rPr>
                <a:t>Lorem</a:t>
              </a:r>
            </a:p>
          </p:txBody>
        </p:sp>
        <p:sp>
          <p:nvSpPr>
            <p:cNvPr id="23" name="Rectangle 88"/>
            <p:cNvSpPr/>
            <p:nvPr/>
          </p:nvSpPr>
          <p:spPr>
            <a:xfrm>
              <a:off x="10706240" y="5284238"/>
              <a:ext cx="772609" cy="322352"/>
            </a:xfrm>
            <a:prstGeom prst="rect">
              <a:avLst/>
            </a:prstGeom>
          </p:spPr>
          <p:txBody>
            <a:bodyPr wrap="none">
              <a:spAutoFit/>
            </a:bodyPr>
            <a:lstStyle/>
            <a:p>
              <a:r>
                <a:rPr lang="en-US" altLang="zh-CN" sz="1600" b="1" dirty="0">
                  <a:solidFill>
                    <a:srgbClr val="C4D600"/>
                  </a:solidFill>
                  <a:latin typeface="+mn-ea"/>
                </a:rPr>
                <a:t>Lorem</a:t>
              </a:r>
              <a:endParaRPr lang="en-US" sz="1600" b="1" dirty="0">
                <a:solidFill>
                  <a:srgbClr val="C4D600"/>
                </a:solidFill>
                <a:latin typeface="+mn-ea"/>
              </a:endParaRPr>
            </a:p>
          </p:txBody>
        </p:sp>
        <p:sp>
          <p:nvSpPr>
            <p:cNvPr id="24" name="Rectangle 90"/>
            <p:cNvSpPr/>
            <p:nvPr/>
          </p:nvSpPr>
          <p:spPr>
            <a:xfrm>
              <a:off x="7427137" y="4506128"/>
              <a:ext cx="772609" cy="322352"/>
            </a:xfrm>
            <a:prstGeom prst="rect">
              <a:avLst/>
            </a:prstGeom>
          </p:spPr>
          <p:txBody>
            <a:bodyPr wrap="none">
              <a:spAutoFit/>
            </a:bodyPr>
            <a:lstStyle/>
            <a:p>
              <a:r>
                <a:rPr lang="en-US" altLang="zh-CN" sz="1600" b="1" dirty="0">
                  <a:solidFill>
                    <a:srgbClr val="046A38"/>
                  </a:solidFill>
                  <a:latin typeface="+mn-ea"/>
                </a:rPr>
                <a:t>Lorem</a:t>
              </a:r>
              <a:endParaRPr lang="en-US" sz="1600" b="1" dirty="0">
                <a:solidFill>
                  <a:srgbClr val="046A38"/>
                </a:solidFill>
                <a:latin typeface="+mn-ea"/>
              </a:endParaRPr>
            </a:p>
          </p:txBody>
        </p:sp>
        <p:sp>
          <p:nvSpPr>
            <p:cNvPr id="25" name="Rectangle 93"/>
            <p:cNvSpPr/>
            <p:nvPr/>
          </p:nvSpPr>
          <p:spPr>
            <a:xfrm>
              <a:off x="7599277" y="2892333"/>
              <a:ext cx="772609" cy="322352"/>
            </a:xfrm>
            <a:prstGeom prst="rect">
              <a:avLst/>
            </a:prstGeom>
          </p:spPr>
          <p:txBody>
            <a:bodyPr wrap="none">
              <a:spAutoFit/>
            </a:bodyPr>
            <a:lstStyle/>
            <a:p>
              <a:r>
                <a:rPr lang="en-US" altLang="zh-CN" sz="1600" b="1" dirty="0">
                  <a:solidFill>
                    <a:schemeClr val="accent2"/>
                  </a:solidFill>
                  <a:latin typeface="+mn-ea"/>
                </a:rPr>
                <a:t>Lorem</a:t>
              </a:r>
              <a:endParaRPr lang="en-US" sz="1600" b="1" dirty="0">
                <a:solidFill>
                  <a:schemeClr val="accent2"/>
                </a:solidFill>
                <a:latin typeface="+mn-ea"/>
              </a:endParaRPr>
            </a:p>
          </p:txBody>
        </p:sp>
        <p:sp>
          <p:nvSpPr>
            <p:cNvPr id="26" name="Freeform 828"/>
            <p:cNvSpPr>
              <a:spLocks noChangeAspect="1" noEditPoints="1"/>
            </p:cNvSpPr>
            <p:nvPr/>
          </p:nvSpPr>
          <p:spPr bwMode="auto">
            <a:xfrm>
              <a:off x="7476689" y="1867301"/>
              <a:ext cx="1061867" cy="1061867"/>
            </a:xfrm>
            <a:custGeom>
              <a:avLst/>
              <a:gdLst>
                <a:gd name="T0" fmla="*/ 394 w 512"/>
                <a:gd name="T1" fmla="*/ 352 h 512"/>
                <a:gd name="T2" fmla="*/ 117 w 512"/>
                <a:gd name="T3" fmla="*/ 160 h 512"/>
                <a:gd name="T4" fmla="*/ 181 w 512"/>
                <a:gd name="T5" fmla="*/ 234 h 512"/>
                <a:gd name="T6" fmla="*/ 224 w 512"/>
                <a:gd name="T7" fmla="*/ 224 h 512"/>
                <a:gd name="T8" fmla="*/ 234 w 512"/>
                <a:gd name="T9" fmla="*/ 181 h 512"/>
                <a:gd name="T10" fmla="*/ 288 w 512"/>
                <a:gd name="T11" fmla="*/ 192 h 512"/>
                <a:gd name="T12" fmla="*/ 320 w 512"/>
                <a:gd name="T13" fmla="*/ 224 h 512"/>
                <a:gd name="T14" fmla="*/ 330 w 512"/>
                <a:gd name="T15" fmla="*/ 277 h 512"/>
                <a:gd name="T16" fmla="*/ 288 w 512"/>
                <a:gd name="T17" fmla="*/ 288 h 512"/>
                <a:gd name="T18" fmla="*/ 277 w 512"/>
                <a:gd name="T19" fmla="*/ 330 h 512"/>
                <a:gd name="T20" fmla="*/ 224 w 512"/>
                <a:gd name="T21" fmla="*/ 320 h 512"/>
                <a:gd name="T22" fmla="*/ 192 w 512"/>
                <a:gd name="T23" fmla="*/ 288 h 512"/>
                <a:gd name="T24" fmla="*/ 181 w 512"/>
                <a:gd name="T25" fmla="*/ 234 h 512"/>
                <a:gd name="T26" fmla="*/ 224 w 512"/>
                <a:gd name="T27" fmla="*/ 138 h 512"/>
                <a:gd name="T28" fmla="*/ 288 w 512"/>
                <a:gd name="T29" fmla="*/ 117 h 512"/>
                <a:gd name="T30" fmla="*/ 256 w 512"/>
                <a:gd name="T31" fmla="*/ 0 h 512"/>
                <a:gd name="T32" fmla="*/ 256 w 512"/>
                <a:gd name="T33" fmla="*/ 512 h 512"/>
                <a:gd name="T34" fmla="*/ 256 w 512"/>
                <a:gd name="T35" fmla="*/ 0 h 512"/>
                <a:gd name="T36" fmla="*/ 405 w 512"/>
                <a:gd name="T37" fmla="*/ 373 h 512"/>
                <a:gd name="T38" fmla="*/ 96 w 512"/>
                <a:gd name="T39" fmla="*/ 362 h 512"/>
                <a:gd name="T40" fmla="*/ 106 w 512"/>
                <a:gd name="T41" fmla="*/ 138 h 512"/>
                <a:gd name="T42" fmla="*/ 202 w 512"/>
                <a:gd name="T43" fmla="*/ 106 h 512"/>
                <a:gd name="T44" fmla="*/ 298 w 512"/>
                <a:gd name="T45" fmla="*/ 96 h 512"/>
                <a:gd name="T46" fmla="*/ 309 w 512"/>
                <a:gd name="T47" fmla="*/ 138 h 512"/>
                <a:gd name="T48" fmla="*/ 416 w 512"/>
                <a:gd name="T49" fmla="*/ 149 h 512"/>
                <a:gd name="T50" fmla="*/ 234 w 512"/>
                <a:gd name="T51" fmla="*/ 266 h 512"/>
                <a:gd name="T52" fmla="*/ 202 w 512"/>
                <a:gd name="T53" fmla="*/ 245 h 512"/>
                <a:gd name="T54" fmla="*/ 245 w 512"/>
                <a:gd name="T55" fmla="*/ 234 h 512"/>
                <a:gd name="T56" fmla="*/ 266 w 512"/>
                <a:gd name="T57" fmla="*/ 202 h 512"/>
                <a:gd name="T58" fmla="*/ 277 w 512"/>
                <a:gd name="T59" fmla="*/ 245 h 512"/>
                <a:gd name="T60" fmla="*/ 309 w 512"/>
                <a:gd name="T61" fmla="*/ 266 h 512"/>
                <a:gd name="T62" fmla="*/ 266 w 512"/>
                <a:gd name="T63" fmla="*/ 277 h 512"/>
                <a:gd name="T64" fmla="*/ 245 w 512"/>
                <a:gd name="T65" fmla="*/ 309 h 512"/>
                <a:gd name="T66" fmla="*/ 234 w 512"/>
                <a:gd name="T67"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17" y="352"/>
                  </a:moveTo>
                  <a:cubicBezTo>
                    <a:pt x="394" y="352"/>
                    <a:pt x="394" y="352"/>
                    <a:pt x="394" y="352"/>
                  </a:cubicBezTo>
                  <a:cubicBezTo>
                    <a:pt x="394" y="160"/>
                    <a:pt x="394" y="160"/>
                    <a:pt x="394" y="160"/>
                  </a:cubicBezTo>
                  <a:cubicBezTo>
                    <a:pt x="117" y="160"/>
                    <a:pt x="117" y="160"/>
                    <a:pt x="117" y="160"/>
                  </a:cubicBezTo>
                  <a:lnTo>
                    <a:pt x="117" y="352"/>
                  </a:lnTo>
                  <a:close/>
                  <a:moveTo>
                    <a:pt x="181" y="234"/>
                  </a:moveTo>
                  <a:cubicBezTo>
                    <a:pt x="181" y="228"/>
                    <a:pt x="186" y="224"/>
                    <a:pt x="192" y="224"/>
                  </a:cubicBezTo>
                  <a:cubicBezTo>
                    <a:pt x="224" y="224"/>
                    <a:pt x="224" y="224"/>
                    <a:pt x="224" y="224"/>
                  </a:cubicBezTo>
                  <a:cubicBezTo>
                    <a:pt x="224" y="192"/>
                    <a:pt x="224" y="192"/>
                    <a:pt x="224" y="192"/>
                  </a:cubicBezTo>
                  <a:cubicBezTo>
                    <a:pt x="224" y="186"/>
                    <a:pt x="228" y="181"/>
                    <a:pt x="234" y="181"/>
                  </a:cubicBezTo>
                  <a:cubicBezTo>
                    <a:pt x="277" y="181"/>
                    <a:pt x="277" y="181"/>
                    <a:pt x="277" y="181"/>
                  </a:cubicBezTo>
                  <a:cubicBezTo>
                    <a:pt x="283" y="181"/>
                    <a:pt x="288" y="186"/>
                    <a:pt x="288" y="192"/>
                  </a:cubicBezTo>
                  <a:cubicBezTo>
                    <a:pt x="288" y="224"/>
                    <a:pt x="288" y="224"/>
                    <a:pt x="288" y="224"/>
                  </a:cubicBezTo>
                  <a:cubicBezTo>
                    <a:pt x="320" y="224"/>
                    <a:pt x="320" y="224"/>
                    <a:pt x="320" y="224"/>
                  </a:cubicBezTo>
                  <a:cubicBezTo>
                    <a:pt x="326" y="224"/>
                    <a:pt x="330" y="228"/>
                    <a:pt x="330" y="234"/>
                  </a:cubicBezTo>
                  <a:cubicBezTo>
                    <a:pt x="330" y="277"/>
                    <a:pt x="330" y="277"/>
                    <a:pt x="330" y="277"/>
                  </a:cubicBezTo>
                  <a:cubicBezTo>
                    <a:pt x="330" y="283"/>
                    <a:pt x="326" y="288"/>
                    <a:pt x="320" y="288"/>
                  </a:cubicBezTo>
                  <a:cubicBezTo>
                    <a:pt x="288" y="288"/>
                    <a:pt x="288" y="288"/>
                    <a:pt x="288" y="288"/>
                  </a:cubicBez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88"/>
                    <a:pt x="224" y="288"/>
                    <a:pt x="224" y="288"/>
                  </a:cubicBezTo>
                  <a:cubicBezTo>
                    <a:pt x="192" y="288"/>
                    <a:pt x="192" y="288"/>
                    <a:pt x="192" y="288"/>
                  </a:cubicBezTo>
                  <a:cubicBezTo>
                    <a:pt x="186" y="288"/>
                    <a:pt x="181" y="283"/>
                    <a:pt x="181" y="277"/>
                  </a:cubicBezTo>
                  <a:lnTo>
                    <a:pt x="181" y="234"/>
                  </a:lnTo>
                  <a:close/>
                  <a:moveTo>
                    <a:pt x="288" y="138"/>
                  </a:moveTo>
                  <a:cubicBezTo>
                    <a:pt x="224" y="138"/>
                    <a:pt x="224" y="138"/>
                    <a:pt x="224" y="138"/>
                  </a:cubicBezTo>
                  <a:cubicBezTo>
                    <a:pt x="224" y="117"/>
                    <a:pt x="224" y="117"/>
                    <a:pt x="224"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202" y="138"/>
                    <a:pt x="202" y="138"/>
                    <a:pt x="202" y="138"/>
                  </a:cubicBezTo>
                  <a:cubicBezTo>
                    <a:pt x="202" y="106"/>
                    <a:pt x="202" y="106"/>
                    <a:pt x="202" y="106"/>
                  </a:cubicBezTo>
                  <a:cubicBezTo>
                    <a:pt x="202" y="100"/>
                    <a:pt x="207" y="96"/>
                    <a:pt x="213" y="96"/>
                  </a:cubicBezTo>
                  <a:cubicBezTo>
                    <a:pt x="298" y="96"/>
                    <a:pt x="298" y="96"/>
                    <a:pt x="298" y="96"/>
                  </a:cubicBezTo>
                  <a:cubicBezTo>
                    <a:pt x="304" y="96"/>
                    <a:pt x="309" y="100"/>
                    <a:pt x="309" y="106"/>
                  </a:cubicBezTo>
                  <a:cubicBezTo>
                    <a:pt x="309" y="138"/>
                    <a:pt x="309" y="138"/>
                    <a:pt x="309" y="138"/>
                  </a:cubicBezTo>
                  <a:cubicBezTo>
                    <a:pt x="405" y="138"/>
                    <a:pt x="405" y="138"/>
                    <a:pt x="405" y="138"/>
                  </a:cubicBezTo>
                  <a:cubicBezTo>
                    <a:pt x="411" y="138"/>
                    <a:pt x="416" y="143"/>
                    <a:pt x="416" y="149"/>
                  </a:cubicBezTo>
                  <a:lnTo>
                    <a:pt x="416" y="362"/>
                  </a:lnTo>
                  <a:close/>
                  <a:moveTo>
                    <a:pt x="234" y="266"/>
                  </a:moveTo>
                  <a:cubicBezTo>
                    <a:pt x="202" y="266"/>
                    <a:pt x="202" y="266"/>
                    <a:pt x="202" y="266"/>
                  </a:cubicBezTo>
                  <a:cubicBezTo>
                    <a:pt x="202" y="245"/>
                    <a:pt x="202" y="245"/>
                    <a:pt x="202" y="245"/>
                  </a:cubicBezTo>
                  <a:cubicBezTo>
                    <a:pt x="234" y="245"/>
                    <a:pt x="234" y="245"/>
                    <a:pt x="234" y="245"/>
                  </a:cubicBezTo>
                  <a:cubicBezTo>
                    <a:pt x="240" y="245"/>
                    <a:pt x="245" y="240"/>
                    <a:pt x="245" y="234"/>
                  </a:cubicBezTo>
                  <a:cubicBezTo>
                    <a:pt x="245" y="202"/>
                    <a:pt x="245" y="202"/>
                    <a:pt x="245" y="202"/>
                  </a:cubicBezTo>
                  <a:cubicBezTo>
                    <a:pt x="266" y="202"/>
                    <a:pt x="266" y="202"/>
                    <a:pt x="266" y="202"/>
                  </a:cubicBezTo>
                  <a:cubicBezTo>
                    <a:pt x="266" y="234"/>
                    <a:pt x="266" y="234"/>
                    <a:pt x="266" y="234"/>
                  </a:cubicBezTo>
                  <a:cubicBezTo>
                    <a:pt x="266" y="240"/>
                    <a:pt x="271" y="245"/>
                    <a:pt x="277" y="245"/>
                  </a:cubicBezTo>
                  <a:cubicBezTo>
                    <a:pt x="309" y="245"/>
                    <a:pt x="309" y="245"/>
                    <a:pt x="309" y="245"/>
                  </a:cubicBezTo>
                  <a:cubicBezTo>
                    <a:pt x="309" y="266"/>
                    <a:pt x="309" y="266"/>
                    <a:pt x="309" y="266"/>
                  </a:cubicBezTo>
                  <a:cubicBezTo>
                    <a:pt x="277" y="266"/>
                    <a:pt x="277" y="266"/>
                    <a:pt x="277" y="266"/>
                  </a:cubicBezTo>
                  <a:cubicBezTo>
                    <a:pt x="271" y="266"/>
                    <a:pt x="266" y="271"/>
                    <a:pt x="266" y="277"/>
                  </a:cubicBezTo>
                  <a:cubicBezTo>
                    <a:pt x="266" y="309"/>
                    <a:pt x="266" y="309"/>
                    <a:pt x="266" y="309"/>
                  </a:cubicBezTo>
                  <a:cubicBezTo>
                    <a:pt x="245" y="309"/>
                    <a:pt x="245" y="309"/>
                    <a:pt x="245" y="309"/>
                  </a:cubicBezTo>
                  <a:cubicBezTo>
                    <a:pt x="245" y="277"/>
                    <a:pt x="245" y="277"/>
                    <a:pt x="245" y="277"/>
                  </a:cubicBezTo>
                  <a:cubicBezTo>
                    <a:pt x="245" y="271"/>
                    <a:pt x="240" y="266"/>
                    <a:pt x="234" y="26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7" name="Freeform 357"/>
            <p:cNvSpPr>
              <a:spLocks noChangeAspect="1" noEditPoints="1"/>
            </p:cNvSpPr>
            <p:nvPr/>
          </p:nvSpPr>
          <p:spPr bwMode="auto">
            <a:xfrm>
              <a:off x="9007090" y="2759205"/>
              <a:ext cx="823244" cy="82566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8" name="Freeform 272"/>
            <p:cNvSpPr>
              <a:spLocks noChangeAspect="1" noEditPoints="1"/>
            </p:cNvSpPr>
            <p:nvPr/>
          </p:nvSpPr>
          <p:spPr bwMode="auto">
            <a:xfrm>
              <a:off x="7419257" y="3710143"/>
              <a:ext cx="823245" cy="823245"/>
            </a:xfrm>
            <a:custGeom>
              <a:avLst/>
              <a:gdLst>
                <a:gd name="T0" fmla="*/ 160 w 512"/>
                <a:gd name="T1" fmla="*/ 245 h 512"/>
                <a:gd name="T2" fmla="*/ 181 w 512"/>
                <a:gd name="T3" fmla="*/ 224 h 512"/>
                <a:gd name="T4" fmla="*/ 202 w 512"/>
                <a:gd name="T5" fmla="*/ 245 h 512"/>
                <a:gd name="T6" fmla="*/ 181 w 512"/>
                <a:gd name="T7" fmla="*/ 266 h 512"/>
                <a:gd name="T8" fmla="*/ 160 w 512"/>
                <a:gd name="T9" fmla="*/ 24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38 w 512"/>
                <a:gd name="T21" fmla="*/ 245 h 512"/>
                <a:gd name="T22" fmla="*/ 181 w 512"/>
                <a:gd name="T23" fmla="*/ 288 h 512"/>
                <a:gd name="T24" fmla="*/ 224 w 512"/>
                <a:gd name="T25" fmla="*/ 245 h 512"/>
                <a:gd name="T26" fmla="*/ 181 w 512"/>
                <a:gd name="T27" fmla="*/ 202 h 512"/>
                <a:gd name="T28" fmla="*/ 138 w 512"/>
                <a:gd name="T29" fmla="*/ 245 h 512"/>
                <a:gd name="T30" fmla="*/ 256 w 512"/>
                <a:gd name="T31" fmla="*/ 320 h 512"/>
                <a:gd name="T32" fmla="*/ 245 w 512"/>
                <a:gd name="T33" fmla="*/ 309 h 512"/>
                <a:gd name="T34" fmla="*/ 117 w 512"/>
                <a:gd name="T35" fmla="*/ 309 h 512"/>
                <a:gd name="T36" fmla="*/ 106 w 512"/>
                <a:gd name="T37" fmla="*/ 320 h 512"/>
                <a:gd name="T38" fmla="*/ 106 w 512"/>
                <a:gd name="T39" fmla="*/ 352 h 512"/>
                <a:gd name="T40" fmla="*/ 117 w 512"/>
                <a:gd name="T41" fmla="*/ 362 h 512"/>
                <a:gd name="T42" fmla="*/ 128 w 512"/>
                <a:gd name="T43" fmla="*/ 352 h 512"/>
                <a:gd name="T44" fmla="*/ 128 w 512"/>
                <a:gd name="T45" fmla="*/ 330 h 512"/>
                <a:gd name="T46" fmla="*/ 234 w 512"/>
                <a:gd name="T47" fmla="*/ 330 h 512"/>
                <a:gd name="T48" fmla="*/ 234 w 512"/>
                <a:gd name="T49" fmla="*/ 352 h 512"/>
                <a:gd name="T50" fmla="*/ 245 w 512"/>
                <a:gd name="T51" fmla="*/ 362 h 512"/>
                <a:gd name="T52" fmla="*/ 256 w 512"/>
                <a:gd name="T53" fmla="*/ 352 h 512"/>
                <a:gd name="T54" fmla="*/ 256 w 512"/>
                <a:gd name="T55" fmla="*/ 320 h 512"/>
                <a:gd name="T56" fmla="*/ 288 w 512"/>
                <a:gd name="T57" fmla="*/ 244 h 512"/>
                <a:gd name="T58" fmla="*/ 277 w 512"/>
                <a:gd name="T59" fmla="*/ 215 h 512"/>
                <a:gd name="T60" fmla="*/ 262 w 512"/>
                <a:gd name="T61" fmla="*/ 215 h 512"/>
                <a:gd name="T62" fmla="*/ 261 w 512"/>
                <a:gd name="T63" fmla="*/ 230 h 512"/>
                <a:gd name="T64" fmla="*/ 267 w 512"/>
                <a:gd name="T65" fmla="*/ 244 h 512"/>
                <a:gd name="T66" fmla="*/ 261 w 512"/>
                <a:gd name="T67" fmla="*/ 258 h 512"/>
                <a:gd name="T68" fmla="*/ 262 w 512"/>
                <a:gd name="T69" fmla="*/ 274 h 512"/>
                <a:gd name="T70" fmla="*/ 269 w 512"/>
                <a:gd name="T71" fmla="*/ 276 h 512"/>
                <a:gd name="T72" fmla="*/ 277 w 512"/>
                <a:gd name="T73" fmla="*/ 273 h 512"/>
                <a:gd name="T74" fmla="*/ 288 w 512"/>
                <a:gd name="T75" fmla="*/ 244 h 512"/>
                <a:gd name="T76" fmla="*/ 345 w 512"/>
                <a:gd name="T77" fmla="*/ 244 h 512"/>
                <a:gd name="T78" fmla="*/ 310 w 512"/>
                <a:gd name="T79" fmla="*/ 172 h 512"/>
                <a:gd name="T80" fmla="*/ 295 w 512"/>
                <a:gd name="T81" fmla="*/ 173 h 512"/>
                <a:gd name="T82" fmla="*/ 296 w 512"/>
                <a:gd name="T83" fmla="*/ 188 h 512"/>
                <a:gd name="T84" fmla="*/ 323 w 512"/>
                <a:gd name="T85" fmla="*/ 244 h 512"/>
                <a:gd name="T86" fmla="*/ 296 w 512"/>
                <a:gd name="T87" fmla="*/ 301 h 512"/>
                <a:gd name="T88" fmla="*/ 295 w 512"/>
                <a:gd name="T89" fmla="*/ 316 h 512"/>
                <a:gd name="T90" fmla="*/ 303 w 512"/>
                <a:gd name="T91" fmla="*/ 319 h 512"/>
                <a:gd name="T92" fmla="*/ 310 w 512"/>
                <a:gd name="T93" fmla="*/ 317 h 512"/>
                <a:gd name="T94" fmla="*/ 345 w 512"/>
                <a:gd name="T95" fmla="*/ 244 h 512"/>
                <a:gd name="T96" fmla="*/ 401 w 512"/>
                <a:gd name="T97" fmla="*/ 244 h 512"/>
                <a:gd name="T98" fmla="*/ 344 w 512"/>
                <a:gd name="T99" fmla="*/ 128 h 512"/>
                <a:gd name="T100" fmla="*/ 329 w 512"/>
                <a:gd name="T101" fmla="*/ 130 h 512"/>
                <a:gd name="T102" fmla="*/ 331 w 512"/>
                <a:gd name="T103" fmla="*/ 145 h 512"/>
                <a:gd name="T104" fmla="*/ 380 w 512"/>
                <a:gd name="T105" fmla="*/ 244 h 512"/>
                <a:gd name="T106" fmla="*/ 331 w 512"/>
                <a:gd name="T107" fmla="*/ 343 h 512"/>
                <a:gd name="T108" fmla="*/ 329 w 512"/>
                <a:gd name="T109" fmla="*/ 358 h 512"/>
                <a:gd name="T110" fmla="*/ 337 w 512"/>
                <a:gd name="T111" fmla="*/ 362 h 512"/>
                <a:gd name="T112" fmla="*/ 344 w 512"/>
                <a:gd name="T113" fmla="*/ 360 h 512"/>
                <a:gd name="T114" fmla="*/ 401 w 512"/>
                <a:gd name="T115" fmla="*/ 24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9" name="Freeform 159"/>
            <p:cNvSpPr>
              <a:spLocks noChangeAspect="1" noEditPoints="1"/>
            </p:cNvSpPr>
            <p:nvPr/>
          </p:nvSpPr>
          <p:spPr bwMode="auto">
            <a:xfrm>
              <a:off x="4716226" y="4766442"/>
              <a:ext cx="537958" cy="537958"/>
            </a:xfrm>
            <a:custGeom>
              <a:avLst/>
              <a:gdLst>
                <a:gd name="T0" fmla="*/ 288 w 512"/>
                <a:gd name="T1" fmla="*/ 220 h 512"/>
                <a:gd name="T2" fmla="*/ 320 w 512"/>
                <a:gd name="T3" fmla="*/ 129 h 512"/>
                <a:gd name="T4" fmla="*/ 320 w 512"/>
                <a:gd name="T5" fmla="*/ 394 h 512"/>
                <a:gd name="T6" fmla="*/ 299 w 512"/>
                <a:gd name="T7" fmla="*/ 384 h 512"/>
                <a:gd name="T8" fmla="*/ 309 w 512"/>
                <a:gd name="T9" fmla="*/ 246 h 512"/>
                <a:gd name="T10" fmla="*/ 306 w 512"/>
                <a:gd name="T11" fmla="*/ 238 h 512"/>
                <a:gd name="T12" fmla="*/ 288 w 512"/>
                <a:gd name="T13" fmla="*/ 220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181 w 512"/>
                <a:gd name="T25" fmla="*/ 160 h 512"/>
                <a:gd name="T26" fmla="*/ 192 w 512"/>
                <a:gd name="T27" fmla="*/ 171 h 512"/>
                <a:gd name="T28" fmla="*/ 203 w 512"/>
                <a:gd name="T29" fmla="*/ 160 h 512"/>
                <a:gd name="T30" fmla="*/ 203 w 512"/>
                <a:gd name="T31" fmla="*/ 107 h 512"/>
                <a:gd name="T32" fmla="*/ 192 w 512"/>
                <a:gd name="T33" fmla="*/ 96 h 512"/>
                <a:gd name="T34" fmla="*/ 181 w 512"/>
                <a:gd name="T35" fmla="*/ 107 h 512"/>
                <a:gd name="T36" fmla="*/ 181 w 512"/>
                <a:gd name="T37" fmla="*/ 160 h 512"/>
                <a:gd name="T38" fmla="*/ 245 w 512"/>
                <a:gd name="T39" fmla="*/ 107 h 512"/>
                <a:gd name="T40" fmla="*/ 235 w 512"/>
                <a:gd name="T41" fmla="*/ 96 h 512"/>
                <a:gd name="T42" fmla="*/ 224 w 512"/>
                <a:gd name="T43" fmla="*/ 107 h 512"/>
                <a:gd name="T44" fmla="*/ 224 w 512"/>
                <a:gd name="T45" fmla="*/ 171 h 512"/>
                <a:gd name="T46" fmla="*/ 213 w 512"/>
                <a:gd name="T47" fmla="*/ 182 h 512"/>
                <a:gd name="T48" fmla="*/ 203 w 512"/>
                <a:gd name="T49" fmla="*/ 192 h 512"/>
                <a:gd name="T50" fmla="*/ 203 w 512"/>
                <a:gd name="T51" fmla="*/ 384 h 512"/>
                <a:gd name="T52" fmla="*/ 192 w 512"/>
                <a:gd name="T53" fmla="*/ 395 h 512"/>
                <a:gd name="T54" fmla="*/ 181 w 512"/>
                <a:gd name="T55" fmla="*/ 384 h 512"/>
                <a:gd name="T56" fmla="*/ 181 w 512"/>
                <a:gd name="T57" fmla="*/ 192 h 512"/>
                <a:gd name="T58" fmla="*/ 171 w 512"/>
                <a:gd name="T59" fmla="*/ 182 h 512"/>
                <a:gd name="T60" fmla="*/ 160 w 512"/>
                <a:gd name="T61" fmla="*/ 171 h 512"/>
                <a:gd name="T62" fmla="*/ 160 w 512"/>
                <a:gd name="T63" fmla="*/ 107 h 512"/>
                <a:gd name="T64" fmla="*/ 149 w 512"/>
                <a:gd name="T65" fmla="*/ 96 h 512"/>
                <a:gd name="T66" fmla="*/ 139 w 512"/>
                <a:gd name="T67" fmla="*/ 107 h 512"/>
                <a:gd name="T68" fmla="*/ 139 w 512"/>
                <a:gd name="T69" fmla="*/ 171 h 512"/>
                <a:gd name="T70" fmla="*/ 160 w 512"/>
                <a:gd name="T71" fmla="*/ 201 h 512"/>
                <a:gd name="T72" fmla="*/ 160 w 512"/>
                <a:gd name="T73" fmla="*/ 385 h 512"/>
                <a:gd name="T74" fmla="*/ 192 w 512"/>
                <a:gd name="T75" fmla="*/ 416 h 512"/>
                <a:gd name="T76" fmla="*/ 192 w 512"/>
                <a:gd name="T77" fmla="*/ 416 h 512"/>
                <a:gd name="T78" fmla="*/ 192 w 512"/>
                <a:gd name="T79" fmla="*/ 416 h 512"/>
                <a:gd name="T80" fmla="*/ 224 w 512"/>
                <a:gd name="T81" fmla="*/ 384 h 512"/>
                <a:gd name="T82" fmla="*/ 224 w 512"/>
                <a:gd name="T83" fmla="*/ 201 h 512"/>
                <a:gd name="T84" fmla="*/ 245 w 512"/>
                <a:gd name="T85" fmla="*/ 171 h 512"/>
                <a:gd name="T86" fmla="*/ 245 w 512"/>
                <a:gd name="T87" fmla="*/ 107 h 512"/>
                <a:gd name="T88" fmla="*/ 341 w 512"/>
                <a:gd name="T89" fmla="*/ 107 h 512"/>
                <a:gd name="T90" fmla="*/ 336 w 512"/>
                <a:gd name="T91" fmla="*/ 98 h 512"/>
                <a:gd name="T92" fmla="*/ 326 w 512"/>
                <a:gd name="T93" fmla="*/ 98 h 512"/>
                <a:gd name="T94" fmla="*/ 267 w 512"/>
                <a:gd name="T95" fmla="*/ 224 h 512"/>
                <a:gd name="T96" fmla="*/ 270 w 512"/>
                <a:gd name="T97" fmla="*/ 232 h 512"/>
                <a:gd name="T98" fmla="*/ 288 w 512"/>
                <a:gd name="T99" fmla="*/ 250 h 512"/>
                <a:gd name="T100" fmla="*/ 277 w 512"/>
                <a:gd name="T101" fmla="*/ 384 h 512"/>
                <a:gd name="T102" fmla="*/ 331 w 512"/>
                <a:gd name="T103" fmla="*/ 416 h 512"/>
                <a:gd name="T104" fmla="*/ 341 w 512"/>
                <a:gd name="T105" fmla="*/ 406 h 512"/>
                <a:gd name="T106" fmla="*/ 341 w 512"/>
                <a:gd name="T107"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8" y="220"/>
                  </a:moveTo>
                  <a:cubicBezTo>
                    <a:pt x="289" y="172"/>
                    <a:pt x="307" y="144"/>
                    <a:pt x="320" y="129"/>
                  </a:cubicBezTo>
                  <a:cubicBezTo>
                    <a:pt x="320" y="394"/>
                    <a:pt x="320" y="394"/>
                    <a:pt x="320" y="394"/>
                  </a:cubicBezTo>
                  <a:cubicBezTo>
                    <a:pt x="305" y="393"/>
                    <a:pt x="299" y="387"/>
                    <a:pt x="299" y="384"/>
                  </a:cubicBezTo>
                  <a:cubicBezTo>
                    <a:pt x="309" y="246"/>
                    <a:pt x="309" y="246"/>
                    <a:pt x="309" y="246"/>
                  </a:cubicBezTo>
                  <a:cubicBezTo>
                    <a:pt x="310" y="243"/>
                    <a:pt x="308" y="240"/>
                    <a:pt x="306" y="238"/>
                  </a:cubicBezTo>
                  <a:lnTo>
                    <a:pt x="288" y="22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81" y="160"/>
                  </a:moveTo>
                  <a:cubicBezTo>
                    <a:pt x="181" y="166"/>
                    <a:pt x="186" y="171"/>
                    <a:pt x="192" y="171"/>
                  </a:cubicBezTo>
                  <a:cubicBezTo>
                    <a:pt x="198" y="171"/>
                    <a:pt x="203" y="166"/>
                    <a:pt x="203" y="160"/>
                  </a:cubicBezTo>
                  <a:cubicBezTo>
                    <a:pt x="203" y="107"/>
                    <a:pt x="203" y="107"/>
                    <a:pt x="203" y="107"/>
                  </a:cubicBezTo>
                  <a:cubicBezTo>
                    <a:pt x="203" y="101"/>
                    <a:pt x="198" y="96"/>
                    <a:pt x="192" y="96"/>
                  </a:cubicBezTo>
                  <a:cubicBezTo>
                    <a:pt x="186" y="96"/>
                    <a:pt x="181" y="101"/>
                    <a:pt x="181" y="107"/>
                  </a:cubicBezTo>
                  <a:lnTo>
                    <a:pt x="181" y="160"/>
                  </a:lnTo>
                  <a:close/>
                  <a:moveTo>
                    <a:pt x="245" y="107"/>
                  </a:moveTo>
                  <a:cubicBezTo>
                    <a:pt x="245" y="101"/>
                    <a:pt x="241" y="96"/>
                    <a:pt x="235" y="96"/>
                  </a:cubicBezTo>
                  <a:cubicBezTo>
                    <a:pt x="229" y="96"/>
                    <a:pt x="224" y="101"/>
                    <a:pt x="224" y="107"/>
                  </a:cubicBezTo>
                  <a:cubicBezTo>
                    <a:pt x="224" y="171"/>
                    <a:pt x="224" y="171"/>
                    <a:pt x="224" y="171"/>
                  </a:cubicBezTo>
                  <a:cubicBezTo>
                    <a:pt x="224" y="176"/>
                    <a:pt x="222" y="182"/>
                    <a:pt x="213" y="182"/>
                  </a:cubicBezTo>
                  <a:cubicBezTo>
                    <a:pt x="207" y="182"/>
                    <a:pt x="203" y="186"/>
                    <a:pt x="203" y="192"/>
                  </a:cubicBezTo>
                  <a:cubicBezTo>
                    <a:pt x="203" y="384"/>
                    <a:pt x="203" y="384"/>
                    <a:pt x="203" y="384"/>
                  </a:cubicBezTo>
                  <a:cubicBezTo>
                    <a:pt x="203" y="388"/>
                    <a:pt x="201" y="395"/>
                    <a:pt x="192" y="395"/>
                  </a:cubicBezTo>
                  <a:cubicBezTo>
                    <a:pt x="183" y="395"/>
                    <a:pt x="182" y="388"/>
                    <a:pt x="181" y="384"/>
                  </a:cubicBezTo>
                  <a:cubicBezTo>
                    <a:pt x="181" y="192"/>
                    <a:pt x="181" y="192"/>
                    <a:pt x="181" y="192"/>
                  </a:cubicBezTo>
                  <a:cubicBezTo>
                    <a:pt x="181" y="186"/>
                    <a:pt x="177" y="182"/>
                    <a:pt x="171" y="182"/>
                  </a:cubicBezTo>
                  <a:cubicBezTo>
                    <a:pt x="162" y="182"/>
                    <a:pt x="160" y="176"/>
                    <a:pt x="160" y="171"/>
                  </a:cubicBezTo>
                  <a:cubicBezTo>
                    <a:pt x="160" y="107"/>
                    <a:pt x="160" y="107"/>
                    <a:pt x="160" y="107"/>
                  </a:cubicBezTo>
                  <a:cubicBezTo>
                    <a:pt x="160" y="101"/>
                    <a:pt x="155" y="96"/>
                    <a:pt x="149" y="96"/>
                  </a:cubicBezTo>
                  <a:cubicBezTo>
                    <a:pt x="143" y="96"/>
                    <a:pt x="139" y="101"/>
                    <a:pt x="139" y="107"/>
                  </a:cubicBezTo>
                  <a:cubicBezTo>
                    <a:pt x="139" y="171"/>
                    <a:pt x="139" y="171"/>
                    <a:pt x="139" y="171"/>
                  </a:cubicBezTo>
                  <a:cubicBezTo>
                    <a:pt x="139" y="182"/>
                    <a:pt x="149" y="197"/>
                    <a:pt x="160" y="201"/>
                  </a:cubicBezTo>
                  <a:cubicBezTo>
                    <a:pt x="160" y="385"/>
                    <a:pt x="160" y="385"/>
                    <a:pt x="160" y="385"/>
                  </a:cubicBezTo>
                  <a:cubicBezTo>
                    <a:pt x="160" y="397"/>
                    <a:pt x="169" y="416"/>
                    <a:pt x="192" y="416"/>
                  </a:cubicBezTo>
                  <a:cubicBezTo>
                    <a:pt x="192" y="416"/>
                    <a:pt x="192" y="416"/>
                    <a:pt x="192" y="416"/>
                  </a:cubicBezTo>
                  <a:cubicBezTo>
                    <a:pt x="192" y="416"/>
                    <a:pt x="192" y="416"/>
                    <a:pt x="192" y="416"/>
                  </a:cubicBezTo>
                  <a:cubicBezTo>
                    <a:pt x="215" y="416"/>
                    <a:pt x="224" y="397"/>
                    <a:pt x="224" y="384"/>
                  </a:cubicBezTo>
                  <a:cubicBezTo>
                    <a:pt x="224" y="201"/>
                    <a:pt x="224" y="201"/>
                    <a:pt x="224" y="201"/>
                  </a:cubicBezTo>
                  <a:cubicBezTo>
                    <a:pt x="239" y="197"/>
                    <a:pt x="245" y="182"/>
                    <a:pt x="245" y="171"/>
                  </a:cubicBezTo>
                  <a:lnTo>
                    <a:pt x="245" y="107"/>
                  </a:lnTo>
                  <a:close/>
                  <a:moveTo>
                    <a:pt x="341" y="107"/>
                  </a:moveTo>
                  <a:cubicBezTo>
                    <a:pt x="341" y="103"/>
                    <a:pt x="339" y="100"/>
                    <a:pt x="336" y="98"/>
                  </a:cubicBezTo>
                  <a:cubicBezTo>
                    <a:pt x="333" y="96"/>
                    <a:pt x="329" y="96"/>
                    <a:pt x="326" y="98"/>
                  </a:cubicBezTo>
                  <a:cubicBezTo>
                    <a:pt x="323" y="99"/>
                    <a:pt x="267" y="130"/>
                    <a:pt x="267" y="224"/>
                  </a:cubicBezTo>
                  <a:cubicBezTo>
                    <a:pt x="267" y="227"/>
                    <a:pt x="268" y="230"/>
                    <a:pt x="270" y="232"/>
                  </a:cubicBezTo>
                  <a:cubicBezTo>
                    <a:pt x="288" y="250"/>
                    <a:pt x="288" y="250"/>
                    <a:pt x="288" y="250"/>
                  </a:cubicBezTo>
                  <a:cubicBezTo>
                    <a:pt x="277" y="384"/>
                    <a:pt x="277" y="384"/>
                    <a:pt x="277" y="384"/>
                  </a:cubicBezTo>
                  <a:cubicBezTo>
                    <a:pt x="277" y="386"/>
                    <a:pt x="278" y="416"/>
                    <a:pt x="331" y="416"/>
                  </a:cubicBezTo>
                  <a:cubicBezTo>
                    <a:pt x="337" y="416"/>
                    <a:pt x="341" y="412"/>
                    <a:pt x="341" y="406"/>
                  </a:cubicBezTo>
                  <a:lnTo>
                    <a:pt x="341" y="107"/>
                  </a:ln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30" name="Freeform 688"/>
            <p:cNvSpPr>
              <a:spLocks noChangeAspect="1" noEditPoints="1"/>
            </p:cNvSpPr>
            <p:nvPr/>
          </p:nvSpPr>
          <p:spPr bwMode="auto">
            <a:xfrm>
              <a:off x="5178523" y="3667981"/>
              <a:ext cx="618597" cy="61859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31" name="Freeform 26"/>
            <p:cNvSpPr>
              <a:spLocks noChangeAspect="1" noEditPoints="1"/>
            </p:cNvSpPr>
            <p:nvPr/>
          </p:nvSpPr>
          <p:spPr bwMode="auto">
            <a:xfrm>
              <a:off x="10853982" y="4786442"/>
              <a:ext cx="537958" cy="537958"/>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2" name="Freeform 26"/>
            <p:cNvSpPr>
              <a:spLocks noEditPoints="1"/>
            </p:cNvSpPr>
            <p:nvPr/>
          </p:nvSpPr>
          <p:spPr bwMode="auto">
            <a:xfrm>
              <a:off x="10147866" y="3747443"/>
              <a:ext cx="616293" cy="621607"/>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33" name="Freeform 841"/>
            <p:cNvSpPr>
              <a:spLocks noChangeAspect="1" noEditPoints="1"/>
            </p:cNvSpPr>
            <p:nvPr/>
          </p:nvSpPr>
          <p:spPr bwMode="auto">
            <a:xfrm>
              <a:off x="6203309" y="2759205"/>
              <a:ext cx="819473" cy="819473"/>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Tree>
    <p:custDataLst>
      <p:tags r:id="rId1"/>
    </p:custDataLst>
    <p:extLst>
      <p:ext uri="{BB962C8B-B14F-4D97-AF65-F5344CB8AC3E}">
        <p14:creationId xmlns:p14="http://schemas.microsoft.com/office/powerpoint/2010/main" val="3384580687"/>
      </p:ext>
    </p:extLst>
  </p:cSld>
  <p:clrMapOvr>
    <a:masterClrMapping/>
  </p:clrMapOvr>
  <p:transition>
    <p:fade/>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 name="Freeform 19">
            <a:extLst>
              <a:ext uri="{FF2B5EF4-FFF2-40B4-BE49-F238E27FC236}">
                <a16:creationId xmlns:a16="http://schemas.microsoft.com/office/drawing/2014/main" id="{F6DEF4C0-04C8-E64B-B033-35082BD8B66C}"/>
              </a:ext>
            </a:extLst>
          </p:cNvPr>
          <p:cNvSpPr>
            <a:spLocks/>
          </p:cNvSpPr>
          <p:nvPr/>
        </p:nvSpPr>
        <p:spPr bwMode="auto">
          <a:xfrm>
            <a:off x="4540513" y="2410650"/>
            <a:ext cx="1226531" cy="3464223"/>
          </a:xfrm>
          <a:custGeom>
            <a:avLst/>
            <a:gdLst>
              <a:gd name="T0" fmla="*/ 163 w 165"/>
              <a:gd name="T1" fmla="*/ 417 h 417"/>
              <a:gd name="T2" fmla="*/ 162 w 165"/>
              <a:gd name="T3" fmla="*/ 416 h 417"/>
              <a:gd name="T4" fmla="*/ 162 w 165"/>
              <a:gd name="T5" fmla="*/ 298 h 417"/>
              <a:gd name="T6" fmla="*/ 137 w 165"/>
              <a:gd name="T7" fmla="*/ 273 h 417"/>
              <a:gd name="T8" fmla="*/ 28 w 165"/>
              <a:gd name="T9" fmla="*/ 273 h 417"/>
              <a:gd name="T10" fmla="*/ 0 w 165"/>
              <a:gd name="T11" fmla="*/ 245 h 417"/>
              <a:gd name="T12" fmla="*/ 0 w 165"/>
              <a:gd name="T13" fmla="*/ 1 h 417"/>
              <a:gd name="T14" fmla="*/ 1 w 165"/>
              <a:gd name="T15" fmla="*/ 0 h 417"/>
              <a:gd name="T16" fmla="*/ 3 w 165"/>
              <a:gd name="T17" fmla="*/ 1 h 417"/>
              <a:gd name="T18" fmla="*/ 3 w 165"/>
              <a:gd name="T19" fmla="*/ 245 h 417"/>
              <a:gd name="T20" fmla="*/ 28 w 165"/>
              <a:gd name="T21" fmla="*/ 271 h 417"/>
              <a:gd name="T22" fmla="*/ 137 w 165"/>
              <a:gd name="T23" fmla="*/ 271 h 417"/>
              <a:gd name="T24" fmla="*/ 165 w 165"/>
              <a:gd name="T25" fmla="*/ 298 h 417"/>
              <a:gd name="T26" fmla="*/ 165 w 165"/>
              <a:gd name="T27" fmla="*/ 416 h 417"/>
              <a:gd name="T28" fmla="*/ 163 w 165"/>
              <a:gd name="T2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5" h="417">
                <a:moveTo>
                  <a:pt x="163" y="417"/>
                </a:moveTo>
                <a:cubicBezTo>
                  <a:pt x="162" y="417"/>
                  <a:pt x="162" y="417"/>
                  <a:pt x="162" y="416"/>
                </a:cubicBezTo>
                <a:cubicBezTo>
                  <a:pt x="162" y="298"/>
                  <a:pt x="162" y="298"/>
                  <a:pt x="162" y="298"/>
                </a:cubicBezTo>
                <a:cubicBezTo>
                  <a:pt x="162" y="285"/>
                  <a:pt x="150" y="273"/>
                  <a:pt x="137" y="273"/>
                </a:cubicBezTo>
                <a:cubicBezTo>
                  <a:pt x="28" y="273"/>
                  <a:pt x="28" y="273"/>
                  <a:pt x="28" y="273"/>
                </a:cubicBezTo>
                <a:cubicBezTo>
                  <a:pt x="12" y="273"/>
                  <a:pt x="0" y="261"/>
                  <a:pt x="0" y="245"/>
                </a:cubicBezTo>
                <a:cubicBezTo>
                  <a:pt x="0" y="1"/>
                  <a:pt x="0" y="1"/>
                  <a:pt x="0" y="1"/>
                </a:cubicBezTo>
                <a:cubicBezTo>
                  <a:pt x="0" y="0"/>
                  <a:pt x="1" y="0"/>
                  <a:pt x="1" y="0"/>
                </a:cubicBezTo>
                <a:cubicBezTo>
                  <a:pt x="2" y="0"/>
                  <a:pt x="3" y="0"/>
                  <a:pt x="3" y="1"/>
                </a:cubicBezTo>
                <a:cubicBezTo>
                  <a:pt x="3" y="245"/>
                  <a:pt x="3" y="245"/>
                  <a:pt x="3" y="245"/>
                </a:cubicBezTo>
                <a:cubicBezTo>
                  <a:pt x="3" y="259"/>
                  <a:pt x="14" y="271"/>
                  <a:pt x="28" y="271"/>
                </a:cubicBezTo>
                <a:cubicBezTo>
                  <a:pt x="137" y="271"/>
                  <a:pt x="137" y="271"/>
                  <a:pt x="137" y="271"/>
                </a:cubicBezTo>
                <a:cubicBezTo>
                  <a:pt x="152" y="271"/>
                  <a:pt x="165" y="283"/>
                  <a:pt x="165" y="298"/>
                </a:cubicBezTo>
                <a:cubicBezTo>
                  <a:pt x="165" y="416"/>
                  <a:pt x="165" y="416"/>
                  <a:pt x="165" y="416"/>
                </a:cubicBezTo>
                <a:cubicBezTo>
                  <a:pt x="165" y="417"/>
                  <a:pt x="164" y="417"/>
                  <a:pt x="163" y="4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1" name="Freeform 6">
            <a:extLst>
              <a:ext uri="{FF2B5EF4-FFF2-40B4-BE49-F238E27FC236}">
                <a16:creationId xmlns:a16="http://schemas.microsoft.com/office/drawing/2014/main" id="{BB03EEB9-EDD9-D24F-BE63-820F4538EB4F}"/>
              </a:ext>
            </a:extLst>
          </p:cNvPr>
          <p:cNvSpPr>
            <a:spLocks/>
          </p:cNvSpPr>
          <p:nvPr/>
        </p:nvSpPr>
        <p:spPr bwMode="auto">
          <a:xfrm>
            <a:off x="3624323" y="4463024"/>
            <a:ext cx="1685589" cy="1395668"/>
          </a:xfrm>
          <a:custGeom>
            <a:avLst/>
            <a:gdLst>
              <a:gd name="T0" fmla="*/ 203 w 203"/>
              <a:gd name="T1" fmla="*/ 28 h 168"/>
              <a:gd name="T2" fmla="*/ 203 w 203"/>
              <a:gd name="T3" fmla="*/ 167 h 168"/>
              <a:gd name="T4" fmla="*/ 201 w 203"/>
              <a:gd name="T5" fmla="*/ 168 h 168"/>
              <a:gd name="T6" fmla="*/ 200 w 203"/>
              <a:gd name="T7" fmla="*/ 167 h 168"/>
              <a:gd name="T8" fmla="*/ 200 w 203"/>
              <a:gd name="T9" fmla="*/ 28 h 168"/>
              <a:gd name="T10" fmla="*/ 175 w 203"/>
              <a:gd name="T11" fmla="*/ 3 h 168"/>
              <a:gd name="T12" fmla="*/ 1 w 203"/>
              <a:gd name="T13" fmla="*/ 3 h 168"/>
              <a:gd name="T14" fmla="*/ 0 w 203"/>
              <a:gd name="T15" fmla="*/ 2 h 168"/>
              <a:gd name="T16" fmla="*/ 1 w 203"/>
              <a:gd name="T17" fmla="*/ 0 h 168"/>
              <a:gd name="T18" fmla="*/ 175 w 203"/>
              <a:gd name="T19" fmla="*/ 0 h 168"/>
              <a:gd name="T20" fmla="*/ 203 w 203"/>
              <a:gd name="T21" fmla="*/ 2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68">
                <a:moveTo>
                  <a:pt x="203" y="28"/>
                </a:moveTo>
                <a:cubicBezTo>
                  <a:pt x="203" y="167"/>
                  <a:pt x="203" y="167"/>
                  <a:pt x="203" y="167"/>
                </a:cubicBezTo>
                <a:cubicBezTo>
                  <a:pt x="203" y="168"/>
                  <a:pt x="202" y="168"/>
                  <a:pt x="201" y="168"/>
                </a:cubicBezTo>
                <a:cubicBezTo>
                  <a:pt x="200" y="168"/>
                  <a:pt x="200" y="168"/>
                  <a:pt x="200" y="167"/>
                </a:cubicBezTo>
                <a:cubicBezTo>
                  <a:pt x="200" y="28"/>
                  <a:pt x="200" y="28"/>
                  <a:pt x="200" y="28"/>
                </a:cubicBezTo>
                <a:cubicBezTo>
                  <a:pt x="200" y="14"/>
                  <a:pt x="189" y="3"/>
                  <a:pt x="175" y="3"/>
                </a:cubicBezTo>
                <a:cubicBezTo>
                  <a:pt x="1" y="3"/>
                  <a:pt x="1" y="3"/>
                  <a:pt x="1" y="3"/>
                </a:cubicBezTo>
                <a:cubicBezTo>
                  <a:pt x="0" y="3"/>
                  <a:pt x="0" y="2"/>
                  <a:pt x="0" y="2"/>
                </a:cubicBezTo>
                <a:cubicBezTo>
                  <a:pt x="0" y="1"/>
                  <a:pt x="0" y="0"/>
                  <a:pt x="1" y="0"/>
                </a:cubicBezTo>
                <a:cubicBezTo>
                  <a:pt x="175" y="0"/>
                  <a:pt x="175" y="0"/>
                  <a:pt x="175" y="0"/>
                </a:cubicBezTo>
                <a:cubicBezTo>
                  <a:pt x="190" y="0"/>
                  <a:pt x="203" y="13"/>
                  <a:pt x="203" y="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2" name="Freeform 7">
            <a:extLst>
              <a:ext uri="{FF2B5EF4-FFF2-40B4-BE49-F238E27FC236}">
                <a16:creationId xmlns:a16="http://schemas.microsoft.com/office/drawing/2014/main" id="{90F9DBE9-5D6F-BF46-A0BC-2AF5E86B7A6C}"/>
              </a:ext>
            </a:extLst>
          </p:cNvPr>
          <p:cNvSpPr>
            <a:spLocks/>
          </p:cNvSpPr>
          <p:nvPr/>
        </p:nvSpPr>
        <p:spPr bwMode="auto">
          <a:xfrm>
            <a:off x="6671868" y="4463024"/>
            <a:ext cx="1635696" cy="1411850"/>
          </a:xfrm>
          <a:custGeom>
            <a:avLst/>
            <a:gdLst>
              <a:gd name="T0" fmla="*/ 28 w 197"/>
              <a:gd name="T1" fmla="*/ 0 h 170"/>
              <a:gd name="T2" fmla="*/ 195 w 197"/>
              <a:gd name="T3" fmla="*/ 0 h 170"/>
              <a:gd name="T4" fmla="*/ 197 w 197"/>
              <a:gd name="T5" fmla="*/ 2 h 170"/>
              <a:gd name="T6" fmla="*/ 195 w 197"/>
              <a:gd name="T7" fmla="*/ 3 h 170"/>
              <a:gd name="T8" fmla="*/ 28 w 197"/>
              <a:gd name="T9" fmla="*/ 3 h 170"/>
              <a:gd name="T10" fmla="*/ 3 w 197"/>
              <a:gd name="T11" fmla="*/ 28 h 170"/>
              <a:gd name="T12" fmla="*/ 3 w 197"/>
              <a:gd name="T13" fmla="*/ 169 h 170"/>
              <a:gd name="T14" fmla="*/ 2 w 197"/>
              <a:gd name="T15" fmla="*/ 170 h 170"/>
              <a:gd name="T16" fmla="*/ 0 w 197"/>
              <a:gd name="T17" fmla="*/ 169 h 170"/>
              <a:gd name="T18" fmla="*/ 0 w 197"/>
              <a:gd name="T19" fmla="*/ 28 h 170"/>
              <a:gd name="T20" fmla="*/ 28 w 197"/>
              <a:gd name="T2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170">
                <a:moveTo>
                  <a:pt x="28" y="0"/>
                </a:moveTo>
                <a:cubicBezTo>
                  <a:pt x="195" y="0"/>
                  <a:pt x="195" y="0"/>
                  <a:pt x="195" y="0"/>
                </a:cubicBezTo>
                <a:cubicBezTo>
                  <a:pt x="196" y="0"/>
                  <a:pt x="197" y="1"/>
                  <a:pt x="197" y="2"/>
                </a:cubicBezTo>
                <a:cubicBezTo>
                  <a:pt x="197" y="2"/>
                  <a:pt x="196" y="3"/>
                  <a:pt x="195" y="3"/>
                </a:cubicBezTo>
                <a:cubicBezTo>
                  <a:pt x="28" y="3"/>
                  <a:pt x="28" y="3"/>
                  <a:pt x="28" y="3"/>
                </a:cubicBezTo>
                <a:cubicBezTo>
                  <a:pt x="14" y="3"/>
                  <a:pt x="3" y="14"/>
                  <a:pt x="3" y="28"/>
                </a:cubicBezTo>
                <a:cubicBezTo>
                  <a:pt x="3" y="169"/>
                  <a:pt x="3" y="169"/>
                  <a:pt x="3" y="169"/>
                </a:cubicBezTo>
                <a:cubicBezTo>
                  <a:pt x="3" y="169"/>
                  <a:pt x="3" y="170"/>
                  <a:pt x="2" y="170"/>
                </a:cubicBezTo>
                <a:cubicBezTo>
                  <a:pt x="1" y="170"/>
                  <a:pt x="0" y="169"/>
                  <a:pt x="0" y="169"/>
                </a:cubicBezTo>
                <a:cubicBezTo>
                  <a:pt x="0" y="28"/>
                  <a:pt x="0" y="28"/>
                  <a:pt x="0" y="28"/>
                </a:cubicBezTo>
                <a:cubicBezTo>
                  <a:pt x="0" y="13"/>
                  <a:pt x="13" y="0"/>
                  <a:pt x="28" y="0"/>
                </a:cubicBezTo>
                <a:close/>
              </a:path>
            </a:pathLst>
          </a:custGeom>
          <a:solidFill>
            <a:srgbClr val="004F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3" name="Freeform 9">
            <a:extLst>
              <a:ext uri="{FF2B5EF4-FFF2-40B4-BE49-F238E27FC236}">
                <a16:creationId xmlns:a16="http://schemas.microsoft.com/office/drawing/2014/main" id="{A1ABE75A-2128-054B-88E7-19FC89701D6F}"/>
              </a:ext>
            </a:extLst>
          </p:cNvPr>
          <p:cNvSpPr>
            <a:spLocks/>
          </p:cNvSpPr>
          <p:nvPr/>
        </p:nvSpPr>
        <p:spPr bwMode="auto">
          <a:xfrm>
            <a:off x="5952615" y="2325084"/>
            <a:ext cx="837536" cy="3640440"/>
          </a:xfrm>
          <a:custGeom>
            <a:avLst/>
            <a:gdLst>
              <a:gd name="T0" fmla="*/ 1 w 123"/>
              <a:gd name="T1" fmla="*/ 339 h 341"/>
              <a:gd name="T2" fmla="*/ 0 w 123"/>
              <a:gd name="T3" fmla="*/ 341 h 341"/>
              <a:gd name="T4" fmla="*/ 0 w 123"/>
              <a:gd name="T5" fmla="*/ 187 h 341"/>
              <a:gd name="T6" fmla="*/ 28 w 123"/>
              <a:gd name="T7" fmla="*/ 160 h 341"/>
              <a:gd name="T8" fmla="*/ 95 w 123"/>
              <a:gd name="T9" fmla="*/ 160 h 341"/>
              <a:gd name="T10" fmla="*/ 120 w 123"/>
              <a:gd name="T11" fmla="*/ 134 h 341"/>
              <a:gd name="T12" fmla="*/ 120 w 123"/>
              <a:gd name="T13" fmla="*/ 1 h 341"/>
              <a:gd name="T14" fmla="*/ 122 w 123"/>
              <a:gd name="T15" fmla="*/ 0 h 341"/>
              <a:gd name="T16" fmla="*/ 123 w 123"/>
              <a:gd name="T17" fmla="*/ 1 h 341"/>
              <a:gd name="T18" fmla="*/ 123 w 123"/>
              <a:gd name="T19" fmla="*/ 134 h 341"/>
              <a:gd name="T20" fmla="*/ 95 w 123"/>
              <a:gd name="T21" fmla="*/ 162 h 341"/>
              <a:gd name="T22" fmla="*/ 28 w 123"/>
              <a:gd name="T23" fmla="*/ 162 h 341"/>
              <a:gd name="T24" fmla="*/ 2 w 123"/>
              <a:gd name="T25" fmla="*/ 187 h 341"/>
              <a:gd name="T26" fmla="*/ 2 w 123"/>
              <a:gd name="T27" fmla="*/ 341 h 341"/>
              <a:gd name="T28" fmla="*/ 1 w 123"/>
              <a:gd name="T29" fmla="*/ 339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341">
                <a:moveTo>
                  <a:pt x="1" y="339"/>
                </a:moveTo>
                <a:cubicBezTo>
                  <a:pt x="0" y="339"/>
                  <a:pt x="0" y="341"/>
                  <a:pt x="0" y="341"/>
                </a:cubicBezTo>
                <a:cubicBezTo>
                  <a:pt x="0" y="187"/>
                  <a:pt x="0" y="187"/>
                  <a:pt x="0" y="187"/>
                </a:cubicBezTo>
                <a:cubicBezTo>
                  <a:pt x="0" y="172"/>
                  <a:pt x="12" y="160"/>
                  <a:pt x="28" y="160"/>
                </a:cubicBezTo>
                <a:cubicBezTo>
                  <a:pt x="95" y="160"/>
                  <a:pt x="95" y="160"/>
                  <a:pt x="95" y="160"/>
                </a:cubicBezTo>
                <a:cubicBezTo>
                  <a:pt x="109" y="160"/>
                  <a:pt x="120" y="148"/>
                  <a:pt x="120" y="134"/>
                </a:cubicBezTo>
                <a:cubicBezTo>
                  <a:pt x="120" y="1"/>
                  <a:pt x="120" y="1"/>
                  <a:pt x="120" y="1"/>
                </a:cubicBezTo>
                <a:cubicBezTo>
                  <a:pt x="120" y="0"/>
                  <a:pt x="121" y="0"/>
                  <a:pt x="122" y="0"/>
                </a:cubicBezTo>
                <a:cubicBezTo>
                  <a:pt x="123" y="0"/>
                  <a:pt x="123" y="0"/>
                  <a:pt x="123" y="1"/>
                </a:cubicBezTo>
                <a:cubicBezTo>
                  <a:pt x="123" y="134"/>
                  <a:pt x="123" y="134"/>
                  <a:pt x="123" y="134"/>
                </a:cubicBezTo>
                <a:cubicBezTo>
                  <a:pt x="123" y="150"/>
                  <a:pt x="111" y="162"/>
                  <a:pt x="95" y="162"/>
                </a:cubicBezTo>
                <a:cubicBezTo>
                  <a:pt x="28" y="162"/>
                  <a:pt x="28" y="162"/>
                  <a:pt x="28" y="162"/>
                </a:cubicBezTo>
                <a:cubicBezTo>
                  <a:pt x="14" y="162"/>
                  <a:pt x="2" y="174"/>
                  <a:pt x="2" y="187"/>
                </a:cubicBezTo>
                <a:cubicBezTo>
                  <a:pt x="2" y="341"/>
                  <a:pt x="2" y="341"/>
                  <a:pt x="2" y="341"/>
                </a:cubicBezTo>
                <a:cubicBezTo>
                  <a:pt x="2" y="341"/>
                  <a:pt x="2" y="339"/>
                  <a:pt x="1" y="33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4" name="Freeform 10">
            <a:extLst>
              <a:ext uri="{FF2B5EF4-FFF2-40B4-BE49-F238E27FC236}">
                <a16:creationId xmlns:a16="http://schemas.microsoft.com/office/drawing/2014/main" id="{C748B94C-E374-B54C-8323-CDD71023BEB9}"/>
              </a:ext>
            </a:extLst>
          </p:cNvPr>
          <p:cNvSpPr>
            <a:spLocks/>
          </p:cNvSpPr>
          <p:nvPr/>
        </p:nvSpPr>
        <p:spPr bwMode="auto">
          <a:xfrm>
            <a:off x="6398129" y="3324914"/>
            <a:ext cx="1548000" cy="2541867"/>
          </a:xfrm>
          <a:custGeom>
            <a:avLst/>
            <a:gdLst>
              <a:gd name="T0" fmla="*/ 1 w 207"/>
              <a:gd name="T1" fmla="*/ 306 h 306"/>
              <a:gd name="T2" fmla="*/ 0 w 207"/>
              <a:gd name="T3" fmla="*/ 304 h 306"/>
              <a:gd name="T4" fmla="*/ 0 w 207"/>
              <a:gd name="T5" fmla="*/ 121 h 306"/>
              <a:gd name="T6" fmla="*/ 27 w 207"/>
              <a:gd name="T7" fmla="*/ 93 h 306"/>
              <a:gd name="T8" fmla="*/ 179 w 207"/>
              <a:gd name="T9" fmla="*/ 93 h 306"/>
              <a:gd name="T10" fmla="*/ 204 w 207"/>
              <a:gd name="T11" fmla="*/ 68 h 306"/>
              <a:gd name="T12" fmla="*/ 204 w 207"/>
              <a:gd name="T13" fmla="*/ 2 h 306"/>
              <a:gd name="T14" fmla="*/ 205 w 207"/>
              <a:gd name="T15" fmla="*/ 0 h 306"/>
              <a:gd name="T16" fmla="*/ 207 w 207"/>
              <a:gd name="T17" fmla="*/ 2 h 306"/>
              <a:gd name="T18" fmla="*/ 207 w 207"/>
              <a:gd name="T19" fmla="*/ 68 h 306"/>
              <a:gd name="T20" fmla="*/ 179 w 207"/>
              <a:gd name="T21" fmla="*/ 96 h 306"/>
              <a:gd name="T22" fmla="*/ 27 w 207"/>
              <a:gd name="T23" fmla="*/ 96 h 306"/>
              <a:gd name="T24" fmla="*/ 2 w 207"/>
              <a:gd name="T25" fmla="*/ 121 h 306"/>
              <a:gd name="T26" fmla="*/ 2 w 207"/>
              <a:gd name="T27" fmla="*/ 304 h 306"/>
              <a:gd name="T28" fmla="*/ 1 w 207"/>
              <a:gd name="T29"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306">
                <a:moveTo>
                  <a:pt x="1" y="306"/>
                </a:moveTo>
                <a:cubicBezTo>
                  <a:pt x="0" y="306"/>
                  <a:pt x="0" y="305"/>
                  <a:pt x="0" y="304"/>
                </a:cubicBezTo>
                <a:cubicBezTo>
                  <a:pt x="0" y="121"/>
                  <a:pt x="0" y="121"/>
                  <a:pt x="0" y="121"/>
                </a:cubicBezTo>
                <a:cubicBezTo>
                  <a:pt x="0" y="106"/>
                  <a:pt x="12" y="93"/>
                  <a:pt x="27" y="93"/>
                </a:cubicBezTo>
                <a:cubicBezTo>
                  <a:pt x="179" y="93"/>
                  <a:pt x="179" y="93"/>
                  <a:pt x="179" y="93"/>
                </a:cubicBezTo>
                <a:cubicBezTo>
                  <a:pt x="193" y="93"/>
                  <a:pt x="204" y="82"/>
                  <a:pt x="204" y="68"/>
                </a:cubicBezTo>
                <a:cubicBezTo>
                  <a:pt x="204" y="2"/>
                  <a:pt x="204" y="2"/>
                  <a:pt x="204" y="2"/>
                </a:cubicBezTo>
                <a:cubicBezTo>
                  <a:pt x="204" y="1"/>
                  <a:pt x="204" y="0"/>
                  <a:pt x="205" y="0"/>
                </a:cubicBezTo>
                <a:cubicBezTo>
                  <a:pt x="206" y="0"/>
                  <a:pt x="207" y="1"/>
                  <a:pt x="207" y="2"/>
                </a:cubicBezTo>
                <a:cubicBezTo>
                  <a:pt x="207" y="68"/>
                  <a:pt x="207" y="68"/>
                  <a:pt x="207" y="68"/>
                </a:cubicBezTo>
                <a:cubicBezTo>
                  <a:pt x="207" y="84"/>
                  <a:pt x="194" y="96"/>
                  <a:pt x="179" y="96"/>
                </a:cubicBezTo>
                <a:cubicBezTo>
                  <a:pt x="27" y="96"/>
                  <a:pt x="27" y="96"/>
                  <a:pt x="27" y="96"/>
                </a:cubicBezTo>
                <a:cubicBezTo>
                  <a:pt x="14" y="96"/>
                  <a:pt x="2" y="107"/>
                  <a:pt x="2" y="121"/>
                </a:cubicBezTo>
                <a:cubicBezTo>
                  <a:pt x="2" y="304"/>
                  <a:pt x="2" y="304"/>
                  <a:pt x="2" y="304"/>
                </a:cubicBezTo>
                <a:cubicBezTo>
                  <a:pt x="2" y="305"/>
                  <a:pt x="2" y="306"/>
                  <a:pt x="1" y="306"/>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5" name="Freeform 11">
            <a:extLst>
              <a:ext uri="{FF2B5EF4-FFF2-40B4-BE49-F238E27FC236}">
                <a16:creationId xmlns:a16="http://schemas.microsoft.com/office/drawing/2014/main" id="{3033718B-96D9-2A44-A561-7AFB0C7C12CE}"/>
              </a:ext>
            </a:extLst>
          </p:cNvPr>
          <p:cNvSpPr>
            <a:spLocks/>
          </p:cNvSpPr>
          <p:nvPr/>
        </p:nvSpPr>
        <p:spPr bwMode="auto">
          <a:xfrm>
            <a:off x="3823897" y="3324914"/>
            <a:ext cx="1717952" cy="2549958"/>
          </a:xfrm>
          <a:custGeom>
            <a:avLst/>
            <a:gdLst>
              <a:gd name="T0" fmla="*/ 206 w 207"/>
              <a:gd name="T1" fmla="*/ 307 h 307"/>
              <a:gd name="T2" fmla="*/ 204 w 207"/>
              <a:gd name="T3" fmla="*/ 306 h 307"/>
              <a:gd name="T4" fmla="*/ 204 w 207"/>
              <a:gd name="T5" fmla="*/ 121 h 307"/>
              <a:gd name="T6" fmla="*/ 179 w 207"/>
              <a:gd name="T7" fmla="*/ 96 h 307"/>
              <a:gd name="T8" fmla="*/ 28 w 207"/>
              <a:gd name="T9" fmla="*/ 96 h 307"/>
              <a:gd name="T10" fmla="*/ 0 w 207"/>
              <a:gd name="T11" fmla="*/ 68 h 307"/>
              <a:gd name="T12" fmla="*/ 0 w 207"/>
              <a:gd name="T13" fmla="*/ 2 h 307"/>
              <a:gd name="T14" fmla="*/ 1 w 207"/>
              <a:gd name="T15" fmla="*/ 0 h 307"/>
              <a:gd name="T16" fmla="*/ 3 w 207"/>
              <a:gd name="T17" fmla="*/ 2 h 307"/>
              <a:gd name="T18" fmla="*/ 3 w 207"/>
              <a:gd name="T19" fmla="*/ 68 h 307"/>
              <a:gd name="T20" fmla="*/ 28 w 207"/>
              <a:gd name="T21" fmla="*/ 93 h 307"/>
              <a:gd name="T22" fmla="*/ 179 w 207"/>
              <a:gd name="T23" fmla="*/ 93 h 307"/>
              <a:gd name="T24" fmla="*/ 207 w 207"/>
              <a:gd name="T25" fmla="*/ 121 h 307"/>
              <a:gd name="T26" fmla="*/ 207 w 207"/>
              <a:gd name="T27" fmla="*/ 306 h 307"/>
              <a:gd name="T28" fmla="*/ 206 w 207"/>
              <a:gd name="T29"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307">
                <a:moveTo>
                  <a:pt x="206" y="307"/>
                </a:moveTo>
                <a:cubicBezTo>
                  <a:pt x="205" y="307"/>
                  <a:pt x="204" y="307"/>
                  <a:pt x="204" y="306"/>
                </a:cubicBezTo>
                <a:cubicBezTo>
                  <a:pt x="204" y="121"/>
                  <a:pt x="204" y="121"/>
                  <a:pt x="204" y="121"/>
                </a:cubicBezTo>
                <a:cubicBezTo>
                  <a:pt x="204" y="107"/>
                  <a:pt x="193" y="96"/>
                  <a:pt x="179" y="96"/>
                </a:cubicBezTo>
                <a:cubicBezTo>
                  <a:pt x="28" y="96"/>
                  <a:pt x="28" y="96"/>
                  <a:pt x="28" y="96"/>
                </a:cubicBezTo>
                <a:cubicBezTo>
                  <a:pt x="13" y="96"/>
                  <a:pt x="0" y="84"/>
                  <a:pt x="0" y="68"/>
                </a:cubicBezTo>
                <a:cubicBezTo>
                  <a:pt x="0" y="2"/>
                  <a:pt x="0" y="2"/>
                  <a:pt x="0" y="2"/>
                </a:cubicBezTo>
                <a:cubicBezTo>
                  <a:pt x="0" y="1"/>
                  <a:pt x="1" y="0"/>
                  <a:pt x="1" y="0"/>
                </a:cubicBezTo>
                <a:cubicBezTo>
                  <a:pt x="2" y="0"/>
                  <a:pt x="3" y="1"/>
                  <a:pt x="3" y="2"/>
                </a:cubicBezTo>
                <a:cubicBezTo>
                  <a:pt x="3" y="68"/>
                  <a:pt x="3" y="68"/>
                  <a:pt x="3" y="68"/>
                </a:cubicBezTo>
                <a:cubicBezTo>
                  <a:pt x="3" y="82"/>
                  <a:pt x="14" y="93"/>
                  <a:pt x="28" y="93"/>
                </a:cubicBezTo>
                <a:cubicBezTo>
                  <a:pt x="179" y="93"/>
                  <a:pt x="179" y="93"/>
                  <a:pt x="179" y="93"/>
                </a:cubicBezTo>
                <a:cubicBezTo>
                  <a:pt x="195" y="93"/>
                  <a:pt x="207" y="106"/>
                  <a:pt x="207" y="121"/>
                </a:cubicBezTo>
                <a:cubicBezTo>
                  <a:pt x="207" y="306"/>
                  <a:pt x="207" y="306"/>
                  <a:pt x="207" y="306"/>
                </a:cubicBezTo>
                <a:cubicBezTo>
                  <a:pt x="207" y="307"/>
                  <a:pt x="206" y="307"/>
                  <a:pt x="206" y="30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6" name="Freeform 20">
            <a:extLst>
              <a:ext uri="{FF2B5EF4-FFF2-40B4-BE49-F238E27FC236}">
                <a16:creationId xmlns:a16="http://schemas.microsoft.com/office/drawing/2014/main" id="{3FFF5FCB-FC07-EF48-8309-43C69523E787}"/>
              </a:ext>
            </a:extLst>
          </p:cNvPr>
          <p:cNvSpPr>
            <a:spLocks/>
          </p:cNvSpPr>
          <p:nvPr/>
        </p:nvSpPr>
        <p:spPr bwMode="auto">
          <a:xfrm>
            <a:off x="6172934" y="2410652"/>
            <a:ext cx="1192789" cy="3464222"/>
          </a:xfrm>
          <a:custGeom>
            <a:avLst/>
            <a:gdLst>
              <a:gd name="T0" fmla="*/ 2 w 165"/>
              <a:gd name="T1" fmla="*/ 417 h 417"/>
              <a:gd name="T2" fmla="*/ 0 w 165"/>
              <a:gd name="T3" fmla="*/ 416 h 417"/>
              <a:gd name="T4" fmla="*/ 0 w 165"/>
              <a:gd name="T5" fmla="*/ 298 h 417"/>
              <a:gd name="T6" fmla="*/ 28 w 165"/>
              <a:gd name="T7" fmla="*/ 271 h 417"/>
              <a:gd name="T8" fmla="*/ 137 w 165"/>
              <a:gd name="T9" fmla="*/ 271 h 417"/>
              <a:gd name="T10" fmla="*/ 162 w 165"/>
              <a:gd name="T11" fmla="*/ 245 h 417"/>
              <a:gd name="T12" fmla="*/ 162 w 165"/>
              <a:gd name="T13" fmla="*/ 1 h 417"/>
              <a:gd name="T14" fmla="*/ 163 w 165"/>
              <a:gd name="T15" fmla="*/ 0 h 417"/>
              <a:gd name="T16" fmla="*/ 165 w 165"/>
              <a:gd name="T17" fmla="*/ 1 h 417"/>
              <a:gd name="T18" fmla="*/ 165 w 165"/>
              <a:gd name="T19" fmla="*/ 245 h 417"/>
              <a:gd name="T20" fmla="*/ 137 w 165"/>
              <a:gd name="T21" fmla="*/ 273 h 417"/>
              <a:gd name="T22" fmla="*/ 28 w 165"/>
              <a:gd name="T23" fmla="*/ 273 h 417"/>
              <a:gd name="T24" fmla="*/ 3 w 165"/>
              <a:gd name="T25" fmla="*/ 298 h 417"/>
              <a:gd name="T26" fmla="*/ 3 w 165"/>
              <a:gd name="T27" fmla="*/ 416 h 417"/>
              <a:gd name="T28" fmla="*/ 2 w 165"/>
              <a:gd name="T2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5" h="417">
                <a:moveTo>
                  <a:pt x="2" y="417"/>
                </a:moveTo>
                <a:cubicBezTo>
                  <a:pt x="1" y="417"/>
                  <a:pt x="0" y="417"/>
                  <a:pt x="0" y="416"/>
                </a:cubicBezTo>
                <a:cubicBezTo>
                  <a:pt x="0" y="298"/>
                  <a:pt x="0" y="298"/>
                  <a:pt x="0" y="298"/>
                </a:cubicBezTo>
                <a:cubicBezTo>
                  <a:pt x="0" y="283"/>
                  <a:pt x="13" y="271"/>
                  <a:pt x="28" y="271"/>
                </a:cubicBezTo>
                <a:cubicBezTo>
                  <a:pt x="137" y="271"/>
                  <a:pt x="137" y="271"/>
                  <a:pt x="137" y="271"/>
                </a:cubicBezTo>
                <a:cubicBezTo>
                  <a:pt x="151" y="271"/>
                  <a:pt x="162" y="259"/>
                  <a:pt x="162" y="245"/>
                </a:cubicBezTo>
                <a:cubicBezTo>
                  <a:pt x="162" y="1"/>
                  <a:pt x="162" y="1"/>
                  <a:pt x="162" y="1"/>
                </a:cubicBezTo>
                <a:cubicBezTo>
                  <a:pt x="162" y="0"/>
                  <a:pt x="163" y="0"/>
                  <a:pt x="163" y="0"/>
                </a:cubicBezTo>
                <a:cubicBezTo>
                  <a:pt x="164" y="0"/>
                  <a:pt x="165" y="0"/>
                  <a:pt x="165" y="1"/>
                </a:cubicBezTo>
                <a:cubicBezTo>
                  <a:pt x="165" y="245"/>
                  <a:pt x="165" y="245"/>
                  <a:pt x="165" y="245"/>
                </a:cubicBezTo>
                <a:cubicBezTo>
                  <a:pt x="165" y="261"/>
                  <a:pt x="152" y="273"/>
                  <a:pt x="137" y="273"/>
                </a:cubicBezTo>
                <a:cubicBezTo>
                  <a:pt x="28" y="273"/>
                  <a:pt x="28" y="273"/>
                  <a:pt x="28" y="273"/>
                </a:cubicBezTo>
                <a:cubicBezTo>
                  <a:pt x="14" y="273"/>
                  <a:pt x="3" y="285"/>
                  <a:pt x="3" y="298"/>
                </a:cubicBezTo>
                <a:cubicBezTo>
                  <a:pt x="3" y="416"/>
                  <a:pt x="3" y="416"/>
                  <a:pt x="3" y="416"/>
                </a:cubicBezTo>
                <a:cubicBezTo>
                  <a:pt x="3" y="417"/>
                  <a:pt x="2" y="417"/>
                  <a:pt x="2" y="417"/>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6" name="Rectangle 265">
            <a:extLst>
              <a:ext uri="{FF2B5EF4-FFF2-40B4-BE49-F238E27FC236}">
                <a16:creationId xmlns:a16="http://schemas.microsoft.com/office/drawing/2014/main" id="{A4D40071-E0FE-9549-B48C-5D28BDC16683}"/>
              </a:ext>
            </a:extLst>
          </p:cNvPr>
          <p:cNvSpPr/>
          <p:nvPr/>
        </p:nvSpPr>
        <p:spPr bwMode="gray">
          <a:xfrm>
            <a:off x="2426367" y="5422775"/>
            <a:ext cx="7055577" cy="54237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 name="Group 1">
            <a:extLst>
              <a:ext uri="{FF2B5EF4-FFF2-40B4-BE49-F238E27FC236}">
                <a16:creationId xmlns:a16="http://schemas.microsoft.com/office/drawing/2014/main" id="{C4AAE91C-8A99-4E44-9EB8-65F10E846F32}"/>
              </a:ext>
            </a:extLst>
          </p:cNvPr>
          <p:cNvGrpSpPr/>
          <p:nvPr/>
        </p:nvGrpSpPr>
        <p:grpSpPr>
          <a:xfrm>
            <a:off x="1391153" y="1065580"/>
            <a:ext cx="9525121" cy="4356829"/>
            <a:chOff x="1647825" y="1755389"/>
            <a:chExt cx="9525121" cy="4356829"/>
          </a:xfrm>
        </p:grpSpPr>
        <p:sp>
          <p:nvSpPr>
            <p:cNvPr id="247" name="Freeform 246">
              <a:extLst>
                <a:ext uri="{FF2B5EF4-FFF2-40B4-BE49-F238E27FC236}">
                  <a16:creationId xmlns:a16="http://schemas.microsoft.com/office/drawing/2014/main" id="{D00C3BB2-64C2-CD45-B87B-B4DA7F4771D8}"/>
                </a:ext>
              </a:extLst>
            </p:cNvPr>
            <p:cNvSpPr>
              <a:spLocks/>
            </p:cNvSpPr>
            <p:nvPr/>
          </p:nvSpPr>
          <p:spPr bwMode="auto">
            <a:xfrm>
              <a:off x="6205759" y="2801098"/>
              <a:ext cx="16182" cy="2425899"/>
            </a:xfrm>
            <a:custGeom>
              <a:avLst/>
              <a:gdLst>
                <a:gd name="T0" fmla="*/ 0 w 2"/>
                <a:gd name="T1" fmla="*/ 292 h 292"/>
                <a:gd name="T2" fmla="*/ 0 w 2"/>
                <a:gd name="T3" fmla="*/ 1 h 292"/>
                <a:gd name="T4" fmla="*/ 1 w 2"/>
                <a:gd name="T5" fmla="*/ 0 h 292"/>
                <a:gd name="T6" fmla="*/ 2 w 2"/>
                <a:gd name="T7" fmla="*/ 1 h 292"/>
                <a:gd name="T8" fmla="*/ 2 w 2"/>
                <a:gd name="T9" fmla="*/ 292 h 292"/>
              </a:gdLst>
              <a:ahLst/>
              <a:cxnLst>
                <a:cxn ang="0">
                  <a:pos x="T0" y="T1"/>
                </a:cxn>
                <a:cxn ang="0">
                  <a:pos x="T2" y="T3"/>
                </a:cxn>
                <a:cxn ang="0">
                  <a:pos x="T4" y="T5"/>
                </a:cxn>
                <a:cxn ang="0">
                  <a:pos x="T6" y="T7"/>
                </a:cxn>
                <a:cxn ang="0">
                  <a:pos x="T8" y="T9"/>
                </a:cxn>
              </a:cxnLst>
              <a:rect l="0" t="0" r="r" b="b"/>
              <a:pathLst>
                <a:path w="2" h="292">
                  <a:moveTo>
                    <a:pt x="0" y="292"/>
                  </a:moveTo>
                  <a:cubicBezTo>
                    <a:pt x="0" y="1"/>
                    <a:pt x="0" y="1"/>
                    <a:pt x="0" y="1"/>
                  </a:cubicBezTo>
                  <a:cubicBezTo>
                    <a:pt x="0" y="0"/>
                    <a:pt x="0" y="0"/>
                    <a:pt x="1" y="0"/>
                  </a:cubicBezTo>
                  <a:cubicBezTo>
                    <a:pt x="2" y="0"/>
                    <a:pt x="2" y="0"/>
                    <a:pt x="2" y="1"/>
                  </a:cubicBezTo>
                  <a:cubicBezTo>
                    <a:pt x="2" y="292"/>
                    <a:pt x="2" y="292"/>
                    <a:pt x="2" y="29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8" name="Freeform 8">
              <a:extLst>
                <a:ext uri="{FF2B5EF4-FFF2-40B4-BE49-F238E27FC236}">
                  <a16:creationId xmlns:a16="http://schemas.microsoft.com/office/drawing/2014/main" id="{59801581-6CF7-2244-A23E-5F20C69DC4A3}"/>
                </a:ext>
              </a:extLst>
            </p:cNvPr>
            <p:cNvSpPr>
              <a:spLocks/>
            </p:cNvSpPr>
            <p:nvPr/>
          </p:nvSpPr>
          <p:spPr bwMode="auto">
            <a:xfrm>
              <a:off x="5468191" y="2564286"/>
              <a:ext cx="748569" cy="3533717"/>
            </a:xfrm>
            <a:custGeom>
              <a:avLst/>
              <a:gdLst>
                <a:gd name="T0" fmla="*/ 122 w 123"/>
                <a:gd name="T1" fmla="*/ 261 h 261"/>
                <a:gd name="T2" fmla="*/ 121 w 123"/>
                <a:gd name="T3" fmla="*/ 259 h 261"/>
                <a:gd name="T4" fmla="*/ 121 w 123"/>
                <a:gd name="T5" fmla="*/ 187 h 261"/>
                <a:gd name="T6" fmla="*/ 95 w 123"/>
                <a:gd name="T7" fmla="*/ 162 h 261"/>
                <a:gd name="T8" fmla="*/ 28 w 123"/>
                <a:gd name="T9" fmla="*/ 162 h 261"/>
                <a:gd name="T10" fmla="*/ 0 w 123"/>
                <a:gd name="T11" fmla="*/ 134 h 261"/>
                <a:gd name="T12" fmla="*/ 0 w 123"/>
                <a:gd name="T13" fmla="*/ 1 h 261"/>
                <a:gd name="T14" fmla="*/ 1 w 123"/>
                <a:gd name="T15" fmla="*/ 0 h 261"/>
                <a:gd name="T16" fmla="*/ 3 w 123"/>
                <a:gd name="T17" fmla="*/ 1 h 261"/>
                <a:gd name="T18" fmla="*/ 3 w 123"/>
                <a:gd name="T19" fmla="*/ 134 h 261"/>
                <a:gd name="T20" fmla="*/ 28 w 123"/>
                <a:gd name="T21" fmla="*/ 160 h 261"/>
                <a:gd name="T22" fmla="*/ 95 w 123"/>
                <a:gd name="T23" fmla="*/ 160 h 261"/>
                <a:gd name="T24" fmla="*/ 123 w 123"/>
                <a:gd name="T25" fmla="*/ 187 h 261"/>
                <a:gd name="T26" fmla="*/ 123 w 123"/>
                <a:gd name="T27" fmla="*/ 259 h 261"/>
                <a:gd name="T28" fmla="*/ 122 w 123"/>
                <a:gd name="T29"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261">
                  <a:moveTo>
                    <a:pt x="122" y="261"/>
                  </a:moveTo>
                  <a:cubicBezTo>
                    <a:pt x="121" y="261"/>
                    <a:pt x="121" y="260"/>
                    <a:pt x="121" y="259"/>
                  </a:cubicBezTo>
                  <a:cubicBezTo>
                    <a:pt x="121" y="187"/>
                    <a:pt x="121" y="187"/>
                    <a:pt x="121" y="187"/>
                  </a:cubicBezTo>
                  <a:cubicBezTo>
                    <a:pt x="121" y="174"/>
                    <a:pt x="109" y="162"/>
                    <a:pt x="95" y="162"/>
                  </a:cubicBezTo>
                  <a:cubicBezTo>
                    <a:pt x="28" y="162"/>
                    <a:pt x="28" y="162"/>
                    <a:pt x="28" y="162"/>
                  </a:cubicBezTo>
                  <a:cubicBezTo>
                    <a:pt x="12" y="162"/>
                    <a:pt x="0" y="150"/>
                    <a:pt x="0" y="134"/>
                  </a:cubicBezTo>
                  <a:cubicBezTo>
                    <a:pt x="0" y="1"/>
                    <a:pt x="0" y="1"/>
                    <a:pt x="0" y="1"/>
                  </a:cubicBezTo>
                  <a:cubicBezTo>
                    <a:pt x="0" y="0"/>
                    <a:pt x="0" y="0"/>
                    <a:pt x="1" y="0"/>
                  </a:cubicBezTo>
                  <a:cubicBezTo>
                    <a:pt x="2" y="0"/>
                    <a:pt x="3" y="0"/>
                    <a:pt x="3" y="1"/>
                  </a:cubicBezTo>
                  <a:cubicBezTo>
                    <a:pt x="3" y="134"/>
                    <a:pt x="3" y="134"/>
                    <a:pt x="3" y="134"/>
                  </a:cubicBezTo>
                  <a:cubicBezTo>
                    <a:pt x="3" y="148"/>
                    <a:pt x="14" y="160"/>
                    <a:pt x="28" y="160"/>
                  </a:cubicBezTo>
                  <a:cubicBezTo>
                    <a:pt x="95" y="160"/>
                    <a:pt x="95" y="160"/>
                    <a:pt x="95" y="160"/>
                  </a:cubicBezTo>
                  <a:cubicBezTo>
                    <a:pt x="111" y="160"/>
                    <a:pt x="123" y="172"/>
                    <a:pt x="123" y="187"/>
                  </a:cubicBezTo>
                  <a:cubicBezTo>
                    <a:pt x="123" y="259"/>
                    <a:pt x="123" y="259"/>
                    <a:pt x="123" y="259"/>
                  </a:cubicBezTo>
                  <a:cubicBezTo>
                    <a:pt x="123" y="260"/>
                    <a:pt x="123" y="261"/>
                    <a:pt x="122" y="26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0" name="Freeform 24">
              <a:extLst>
                <a:ext uri="{FF2B5EF4-FFF2-40B4-BE49-F238E27FC236}">
                  <a16:creationId xmlns:a16="http://schemas.microsoft.com/office/drawing/2014/main" id="{E9097618-EBF4-8245-BE0F-9BB111E75FE2}"/>
                </a:ext>
              </a:extLst>
            </p:cNvPr>
            <p:cNvSpPr>
              <a:spLocks/>
            </p:cNvSpPr>
            <p:nvPr/>
          </p:nvSpPr>
          <p:spPr bwMode="auto">
            <a:xfrm>
              <a:off x="5962063" y="2516454"/>
              <a:ext cx="499755" cy="495010"/>
            </a:xfrm>
            <a:custGeom>
              <a:avLst/>
              <a:gdLst>
                <a:gd name="T0" fmla="*/ 157 w 316"/>
                <a:gd name="T1" fmla="*/ 0 h 313"/>
                <a:gd name="T2" fmla="*/ 190 w 316"/>
                <a:gd name="T3" fmla="*/ 2 h 313"/>
                <a:gd name="T4" fmla="*/ 220 w 316"/>
                <a:gd name="T5" fmla="*/ 11 h 313"/>
                <a:gd name="T6" fmla="*/ 246 w 316"/>
                <a:gd name="T7" fmla="*/ 26 h 313"/>
                <a:gd name="T8" fmla="*/ 269 w 316"/>
                <a:gd name="T9" fmla="*/ 45 h 313"/>
                <a:gd name="T10" fmla="*/ 288 w 316"/>
                <a:gd name="T11" fmla="*/ 68 h 313"/>
                <a:gd name="T12" fmla="*/ 303 w 316"/>
                <a:gd name="T13" fmla="*/ 96 h 313"/>
                <a:gd name="T14" fmla="*/ 312 w 316"/>
                <a:gd name="T15" fmla="*/ 124 h 313"/>
                <a:gd name="T16" fmla="*/ 316 w 316"/>
                <a:gd name="T17" fmla="*/ 157 h 313"/>
                <a:gd name="T18" fmla="*/ 312 w 316"/>
                <a:gd name="T19" fmla="*/ 188 h 313"/>
                <a:gd name="T20" fmla="*/ 303 w 316"/>
                <a:gd name="T21" fmla="*/ 218 h 313"/>
                <a:gd name="T22" fmla="*/ 288 w 316"/>
                <a:gd name="T23" fmla="*/ 245 h 313"/>
                <a:gd name="T24" fmla="*/ 269 w 316"/>
                <a:gd name="T25" fmla="*/ 268 h 313"/>
                <a:gd name="T26" fmla="*/ 246 w 316"/>
                <a:gd name="T27" fmla="*/ 286 h 313"/>
                <a:gd name="T28" fmla="*/ 220 w 316"/>
                <a:gd name="T29" fmla="*/ 302 h 313"/>
                <a:gd name="T30" fmla="*/ 190 w 316"/>
                <a:gd name="T31" fmla="*/ 311 h 313"/>
                <a:gd name="T32" fmla="*/ 157 w 316"/>
                <a:gd name="T33" fmla="*/ 313 h 313"/>
                <a:gd name="T34" fmla="*/ 126 w 316"/>
                <a:gd name="T35" fmla="*/ 311 h 313"/>
                <a:gd name="T36" fmla="*/ 96 w 316"/>
                <a:gd name="T37" fmla="*/ 302 h 313"/>
                <a:gd name="T38" fmla="*/ 70 w 316"/>
                <a:gd name="T39" fmla="*/ 286 h 313"/>
                <a:gd name="T40" fmla="*/ 47 w 316"/>
                <a:gd name="T41" fmla="*/ 268 h 313"/>
                <a:gd name="T42" fmla="*/ 28 w 316"/>
                <a:gd name="T43" fmla="*/ 245 h 313"/>
                <a:gd name="T44" fmla="*/ 13 w 316"/>
                <a:gd name="T45" fmla="*/ 218 h 313"/>
                <a:gd name="T46" fmla="*/ 4 w 316"/>
                <a:gd name="T47" fmla="*/ 188 h 313"/>
                <a:gd name="T48" fmla="*/ 0 w 316"/>
                <a:gd name="T49" fmla="*/ 157 h 313"/>
                <a:gd name="T50" fmla="*/ 4 w 316"/>
                <a:gd name="T51" fmla="*/ 124 h 313"/>
                <a:gd name="T52" fmla="*/ 13 w 316"/>
                <a:gd name="T53" fmla="*/ 96 h 313"/>
                <a:gd name="T54" fmla="*/ 28 w 316"/>
                <a:gd name="T55" fmla="*/ 68 h 313"/>
                <a:gd name="T56" fmla="*/ 47 w 316"/>
                <a:gd name="T57" fmla="*/ 45 h 313"/>
                <a:gd name="T58" fmla="*/ 70 w 316"/>
                <a:gd name="T59" fmla="*/ 26 h 313"/>
                <a:gd name="T60" fmla="*/ 96 w 316"/>
                <a:gd name="T61" fmla="*/ 11 h 313"/>
                <a:gd name="T62" fmla="*/ 126 w 316"/>
                <a:gd name="T63" fmla="*/ 2 h 313"/>
                <a:gd name="T64" fmla="*/ 157 w 316"/>
                <a:gd name="T65"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6" h="313">
                  <a:moveTo>
                    <a:pt x="157" y="0"/>
                  </a:moveTo>
                  <a:lnTo>
                    <a:pt x="190" y="2"/>
                  </a:lnTo>
                  <a:lnTo>
                    <a:pt x="220" y="11"/>
                  </a:lnTo>
                  <a:lnTo>
                    <a:pt x="246" y="26"/>
                  </a:lnTo>
                  <a:lnTo>
                    <a:pt x="269" y="45"/>
                  </a:lnTo>
                  <a:lnTo>
                    <a:pt x="288" y="68"/>
                  </a:lnTo>
                  <a:lnTo>
                    <a:pt x="303" y="96"/>
                  </a:lnTo>
                  <a:lnTo>
                    <a:pt x="312" y="124"/>
                  </a:lnTo>
                  <a:lnTo>
                    <a:pt x="316" y="157"/>
                  </a:lnTo>
                  <a:lnTo>
                    <a:pt x="312" y="188"/>
                  </a:lnTo>
                  <a:lnTo>
                    <a:pt x="303" y="218"/>
                  </a:lnTo>
                  <a:lnTo>
                    <a:pt x="288" y="245"/>
                  </a:lnTo>
                  <a:lnTo>
                    <a:pt x="269" y="268"/>
                  </a:lnTo>
                  <a:lnTo>
                    <a:pt x="246" y="286"/>
                  </a:lnTo>
                  <a:lnTo>
                    <a:pt x="220" y="302"/>
                  </a:lnTo>
                  <a:lnTo>
                    <a:pt x="190" y="311"/>
                  </a:lnTo>
                  <a:lnTo>
                    <a:pt x="157" y="313"/>
                  </a:lnTo>
                  <a:lnTo>
                    <a:pt x="126" y="311"/>
                  </a:lnTo>
                  <a:lnTo>
                    <a:pt x="96" y="302"/>
                  </a:lnTo>
                  <a:lnTo>
                    <a:pt x="70" y="286"/>
                  </a:lnTo>
                  <a:lnTo>
                    <a:pt x="47" y="268"/>
                  </a:lnTo>
                  <a:lnTo>
                    <a:pt x="28" y="245"/>
                  </a:lnTo>
                  <a:lnTo>
                    <a:pt x="13" y="218"/>
                  </a:lnTo>
                  <a:lnTo>
                    <a:pt x="4" y="188"/>
                  </a:lnTo>
                  <a:lnTo>
                    <a:pt x="0" y="157"/>
                  </a:lnTo>
                  <a:lnTo>
                    <a:pt x="4" y="124"/>
                  </a:lnTo>
                  <a:lnTo>
                    <a:pt x="13" y="96"/>
                  </a:lnTo>
                  <a:lnTo>
                    <a:pt x="28" y="68"/>
                  </a:lnTo>
                  <a:lnTo>
                    <a:pt x="47" y="45"/>
                  </a:lnTo>
                  <a:lnTo>
                    <a:pt x="70" y="26"/>
                  </a:lnTo>
                  <a:lnTo>
                    <a:pt x="96" y="11"/>
                  </a:lnTo>
                  <a:lnTo>
                    <a:pt x="126" y="2"/>
                  </a:lnTo>
                  <a:lnTo>
                    <a:pt x="157" y="0"/>
                  </a:lnTo>
                  <a:close/>
                </a:path>
              </a:pathLst>
            </a:custGeom>
            <a:solidFill>
              <a:schemeClr val="accent1"/>
            </a:solidFill>
            <a:ln w="0">
              <a:noFill/>
              <a:prstDash val="solid"/>
              <a:round/>
              <a:headEnd/>
              <a:tailEnd/>
            </a:ln>
          </p:spPr>
          <p:txBody>
            <a:bodyPr vert="horz" wrap="square" lIns="0" tIns="0" rIns="0" bIns="0" numCol="1" anchor="ctr" anchorCtr="0" compatLnSpc="1">
              <a:prstTxWarp prst="textNoShape">
                <a:avLst/>
              </a:prstTxWarp>
            </a:bodyPr>
            <a:lstStyle/>
            <a:p>
              <a:pPr algn="ctr"/>
              <a:endParaRPr lang="en-US" sz="1400" dirty="0">
                <a:solidFill>
                  <a:schemeClr val="bg1"/>
                </a:solidFill>
              </a:endParaRPr>
            </a:p>
          </p:txBody>
        </p:sp>
        <p:sp>
          <p:nvSpPr>
            <p:cNvPr id="257" name="Freeform 21">
              <a:extLst>
                <a:ext uri="{FF2B5EF4-FFF2-40B4-BE49-F238E27FC236}">
                  <a16:creationId xmlns:a16="http://schemas.microsoft.com/office/drawing/2014/main" id="{AF86033F-5624-0A4D-AB36-BEE20D3FC549}"/>
                </a:ext>
              </a:extLst>
            </p:cNvPr>
            <p:cNvSpPr>
              <a:spLocks/>
            </p:cNvSpPr>
            <p:nvPr/>
          </p:nvSpPr>
          <p:spPr bwMode="auto">
            <a:xfrm>
              <a:off x="3859103" y="3558499"/>
              <a:ext cx="496593" cy="498174"/>
            </a:xfrm>
            <a:custGeom>
              <a:avLst/>
              <a:gdLst>
                <a:gd name="T0" fmla="*/ 157 w 314"/>
                <a:gd name="T1" fmla="*/ 0 h 315"/>
                <a:gd name="T2" fmla="*/ 188 w 314"/>
                <a:gd name="T3" fmla="*/ 4 h 315"/>
                <a:gd name="T4" fmla="*/ 218 w 314"/>
                <a:gd name="T5" fmla="*/ 13 h 315"/>
                <a:gd name="T6" fmla="*/ 245 w 314"/>
                <a:gd name="T7" fmla="*/ 27 h 315"/>
                <a:gd name="T8" fmla="*/ 269 w 314"/>
                <a:gd name="T9" fmla="*/ 47 h 315"/>
                <a:gd name="T10" fmla="*/ 287 w 314"/>
                <a:gd name="T11" fmla="*/ 70 h 315"/>
                <a:gd name="T12" fmla="*/ 302 w 314"/>
                <a:gd name="T13" fmla="*/ 96 h 315"/>
                <a:gd name="T14" fmla="*/ 312 w 314"/>
                <a:gd name="T15" fmla="*/ 126 h 315"/>
                <a:gd name="T16" fmla="*/ 314 w 314"/>
                <a:gd name="T17" fmla="*/ 157 h 315"/>
                <a:gd name="T18" fmla="*/ 312 w 314"/>
                <a:gd name="T19" fmla="*/ 189 h 315"/>
                <a:gd name="T20" fmla="*/ 302 w 314"/>
                <a:gd name="T21" fmla="*/ 219 h 315"/>
                <a:gd name="T22" fmla="*/ 287 w 314"/>
                <a:gd name="T23" fmla="*/ 245 h 315"/>
                <a:gd name="T24" fmla="*/ 269 w 314"/>
                <a:gd name="T25" fmla="*/ 268 h 315"/>
                <a:gd name="T26" fmla="*/ 245 w 314"/>
                <a:gd name="T27" fmla="*/ 288 h 315"/>
                <a:gd name="T28" fmla="*/ 218 w 314"/>
                <a:gd name="T29" fmla="*/ 302 h 315"/>
                <a:gd name="T30" fmla="*/ 188 w 314"/>
                <a:gd name="T31" fmla="*/ 311 h 315"/>
                <a:gd name="T32" fmla="*/ 157 w 314"/>
                <a:gd name="T33" fmla="*/ 315 h 315"/>
                <a:gd name="T34" fmla="*/ 125 w 314"/>
                <a:gd name="T35" fmla="*/ 311 h 315"/>
                <a:gd name="T36" fmla="*/ 96 w 314"/>
                <a:gd name="T37" fmla="*/ 302 h 315"/>
                <a:gd name="T38" fmla="*/ 69 w 314"/>
                <a:gd name="T39" fmla="*/ 288 h 315"/>
                <a:gd name="T40" fmla="*/ 46 w 314"/>
                <a:gd name="T41" fmla="*/ 268 h 315"/>
                <a:gd name="T42" fmla="*/ 26 w 314"/>
                <a:gd name="T43" fmla="*/ 245 h 315"/>
                <a:gd name="T44" fmla="*/ 12 w 314"/>
                <a:gd name="T45" fmla="*/ 219 h 315"/>
                <a:gd name="T46" fmla="*/ 3 w 314"/>
                <a:gd name="T47" fmla="*/ 189 h 315"/>
                <a:gd name="T48" fmla="*/ 0 w 314"/>
                <a:gd name="T49" fmla="*/ 157 h 315"/>
                <a:gd name="T50" fmla="*/ 3 w 314"/>
                <a:gd name="T51" fmla="*/ 126 h 315"/>
                <a:gd name="T52" fmla="*/ 12 w 314"/>
                <a:gd name="T53" fmla="*/ 96 h 315"/>
                <a:gd name="T54" fmla="*/ 26 w 314"/>
                <a:gd name="T55" fmla="*/ 70 h 315"/>
                <a:gd name="T56" fmla="*/ 46 w 314"/>
                <a:gd name="T57" fmla="*/ 47 h 315"/>
                <a:gd name="T58" fmla="*/ 69 w 314"/>
                <a:gd name="T59" fmla="*/ 27 h 315"/>
                <a:gd name="T60" fmla="*/ 96 w 314"/>
                <a:gd name="T61" fmla="*/ 13 h 315"/>
                <a:gd name="T62" fmla="*/ 125 w 314"/>
                <a:gd name="T63" fmla="*/ 4 h 315"/>
                <a:gd name="T64" fmla="*/ 157 w 314"/>
                <a:gd name="T6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5">
                  <a:moveTo>
                    <a:pt x="157" y="0"/>
                  </a:moveTo>
                  <a:lnTo>
                    <a:pt x="188" y="4"/>
                  </a:lnTo>
                  <a:lnTo>
                    <a:pt x="218" y="13"/>
                  </a:lnTo>
                  <a:lnTo>
                    <a:pt x="245" y="27"/>
                  </a:lnTo>
                  <a:lnTo>
                    <a:pt x="269" y="47"/>
                  </a:lnTo>
                  <a:lnTo>
                    <a:pt x="287" y="70"/>
                  </a:lnTo>
                  <a:lnTo>
                    <a:pt x="302" y="96"/>
                  </a:lnTo>
                  <a:lnTo>
                    <a:pt x="312" y="126"/>
                  </a:lnTo>
                  <a:lnTo>
                    <a:pt x="314" y="157"/>
                  </a:lnTo>
                  <a:lnTo>
                    <a:pt x="312" y="189"/>
                  </a:lnTo>
                  <a:lnTo>
                    <a:pt x="302" y="219"/>
                  </a:lnTo>
                  <a:lnTo>
                    <a:pt x="287" y="245"/>
                  </a:lnTo>
                  <a:lnTo>
                    <a:pt x="269" y="268"/>
                  </a:lnTo>
                  <a:lnTo>
                    <a:pt x="245" y="288"/>
                  </a:lnTo>
                  <a:lnTo>
                    <a:pt x="218" y="302"/>
                  </a:lnTo>
                  <a:lnTo>
                    <a:pt x="188" y="311"/>
                  </a:lnTo>
                  <a:lnTo>
                    <a:pt x="157" y="315"/>
                  </a:lnTo>
                  <a:lnTo>
                    <a:pt x="125" y="311"/>
                  </a:lnTo>
                  <a:lnTo>
                    <a:pt x="96" y="302"/>
                  </a:lnTo>
                  <a:lnTo>
                    <a:pt x="69" y="288"/>
                  </a:lnTo>
                  <a:lnTo>
                    <a:pt x="46" y="268"/>
                  </a:lnTo>
                  <a:lnTo>
                    <a:pt x="26" y="245"/>
                  </a:lnTo>
                  <a:lnTo>
                    <a:pt x="12" y="219"/>
                  </a:lnTo>
                  <a:lnTo>
                    <a:pt x="3" y="189"/>
                  </a:lnTo>
                  <a:lnTo>
                    <a:pt x="0" y="157"/>
                  </a:lnTo>
                  <a:lnTo>
                    <a:pt x="3" y="126"/>
                  </a:lnTo>
                  <a:lnTo>
                    <a:pt x="12" y="96"/>
                  </a:lnTo>
                  <a:lnTo>
                    <a:pt x="26" y="70"/>
                  </a:lnTo>
                  <a:lnTo>
                    <a:pt x="46" y="47"/>
                  </a:lnTo>
                  <a:lnTo>
                    <a:pt x="69" y="27"/>
                  </a:lnTo>
                  <a:lnTo>
                    <a:pt x="96" y="13"/>
                  </a:lnTo>
                  <a:lnTo>
                    <a:pt x="125" y="4"/>
                  </a:lnTo>
                  <a:lnTo>
                    <a:pt x="157" y="0"/>
                  </a:lnTo>
                  <a:close/>
                </a:path>
              </a:pathLst>
            </a:custGeom>
            <a:solidFill>
              <a:schemeClr val="accent2"/>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2</a:t>
              </a:r>
              <a:endParaRPr lang="en-US" sz="2400" dirty="0">
                <a:solidFill>
                  <a:schemeClr val="bg1"/>
                </a:solidFill>
              </a:endParaRPr>
            </a:p>
          </p:txBody>
        </p:sp>
        <p:sp>
          <p:nvSpPr>
            <p:cNvPr id="258" name="Freeform 22">
              <a:extLst>
                <a:ext uri="{FF2B5EF4-FFF2-40B4-BE49-F238E27FC236}">
                  <a16:creationId xmlns:a16="http://schemas.microsoft.com/office/drawing/2014/main" id="{5536546B-5D32-5142-B915-EAB34123F550}"/>
                </a:ext>
              </a:extLst>
            </p:cNvPr>
            <p:cNvSpPr>
              <a:spLocks/>
            </p:cNvSpPr>
            <p:nvPr/>
          </p:nvSpPr>
          <p:spPr bwMode="auto">
            <a:xfrm>
              <a:off x="4564991" y="2673125"/>
              <a:ext cx="498174" cy="498174"/>
            </a:xfrm>
            <a:custGeom>
              <a:avLst/>
              <a:gdLst>
                <a:gd name="T0" fmla="*/ 157 w 315"/>
                <a:gd name="T1" fmla="*/ 0 h 315"/>
                <a:gd name="T2" fmla="*/ 190 w 315"/>
                <a:gd name="T3" fmla="*/ 2 h 315"/>
                <a:gd name="T4" fmla="*/ 219 w 315"/>
                <a:gd name="T5" fmla="*/ 12 h 315"/>
                <a:gd name="T6" fmla="*/ 245 w 315"/>
                <a:gd name="T7" fmla="*/ 27 h 315"/>
                <a:gd name="T8" fmla="*/ 269 w 315"/>
                <a:gd name="T9" fmla="*/ 46 h 315"/>
                <a:gd name="T10" fmla="*/ 288 w 315"/>
                <a:gd name="T11" fmla="*/ 68 h 315"/>
                <a:gd name="T12" fmla="*/ 303 w 315"/>
                <a:gd name="T13" fmla="*/ 95 h 315"/>
                <a:gd name="T14" fmla="*/ 312 w 315"/>
                <a:gd name="T15" fmla="*/ 125 h 315"/>
                <a:gd name="T16" fmla="*/ 315 w 315"/>
                <a:gd name="T17" fmla="*/ 156 h 315"/>
                <a:gd name="T18" fmla="*/ 312 w 315"/>
                <a:gd name="T19" fmla="*/ 189 h 315"/>
                <a:gd name="T20" fmla="*/ 303 w 315"/>
                <a:gd name="T21" fmla="*/ 219 h 315"/>
                <a:gd name="T22" fmla="*/ 288 w 315"/>
                <a:gd name="T23" fmla="*/ 245 h 315"/>
                <a:gd name="T24" fmla="*/ 269 w 315"/>
                <a:gd name="T25" fmla="*/ 268 h 315"/>
                <a:gd name="T26" fmla="*/ 245 w 315"/>
                <a:gd name="T27" fmla="*/ 287 h 315"/>
                <a:gd name="T28" fmla="*/ 219 w 315"/>
                <a:gd name="T29" fmla="*/ 302 h 315"/>
                <a:gd name="T30" fmla="*/ 190 w 315"/>
                <a:gd name="T31" fmla="*/ 311 h 315"/>
                <a:gd name="T32" fmla="*/ 157 w 315"/>
                <a:gd name="T33" fmla="*/ 315 h 315"/>
                <a:gd name="T34" fmla="*/ 126 w 315"/>
                <a:gd name="T35" fmla="*/ 311 h 315"/>
                <a:gd name="T36" fmla="*/ 96 w 315"/>
                <a:gd name="T37" fmla="*/ 302 h 315"/>
                <a:gd name="T38" fmla="*/ 70 w 315"/>
                <a:gd name="T39" fmla="*/ 287 h 315"/>
                <a:gd name="T40" fmla="*/ 47 w 315"/>
                <a:gd name="T41" fmla="*/ 268 h 315"/>
                <a:gd name="T42" fmla="*/ 28 w 315"/>
                <a:gd name="T43" fmla="*/ 245 h 315"/>
                <a:gd name="T44" fmla="*/ 13 w 315"/>
                <a:gd name="T45" fmla="*/ 219 h 315"/>
                <a:gd name="T46" fmla="*/ 4 w 315"/>
                <a:gd name="T47" fmla="*/ 189 h 315"/>
                <a:gd name="T48" fmla="*/ 0 w 315"/>
                <a:gd name="T49" fmla="*/ 156 h 315"/>
                <a:gd name="T50" fmla="*/ 4 w 315"/>
                <a:gd name="T51" fmla="*/ 125 h 315"/>
                <a:gd name="T52" fmla="*/ 13 w 315"/>
                <a:gd name="T53" fmla="*/ 95 h 315"/>
                <a:gd name="T54" fmla="*/ 28 w 315"/>
                <a:gd name="T55" fmla="*/ 68 h 315"/>
                <a:gd name="T56" fmla="*/ 47 w 315"/>
                <a:gd name="T57" fmla="*/ 46 h 315"/>
                <a:gd name="T58" fmla="*/ 70 w 315"/>
                <a:gd name="T59" fmla="*/ 27 h 315"/>
                <a:gd name="T60" fmla="*/ 96 w 315"/>
                <a:gd name="T61" fmla="*/ 12 h 315"/>
                <a:gd name="T62" fmla="*/ 126 w 315"/>
                <a:gd name="T63" fmla="*/ 2 h 315"/>
                <a:gd name="T64" fmla="*/ 157 w 315"/>
                <a:gd name="T6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5" h="315">
                  <a:moveTo>
                    <a:pt x="157" y="0"/>
                  </a:moveTo>
                  <a:lnTo>
                    <a:pt x="190" y="2"/>
                  </a:lnTo>
                  <a:lnTo>
                    <a:pt x="219" y="12"/>
                  </a:lnTo>
                  <a:lnTo>
                    <a:pt x="245" y="27"/>
                  </a:lnTo>
                  <a:lnTo>
                    <a:pt x="269" y="46"/>
                  </a:lnTo>
                  <a:lnTo>
                    <a:pt x="288" y="68"/>
                  </a:lnTo>
                  <a:lnTo>
                    <a:pt x="303" y="95"/>
                  </a:lnTo>
                  <a:lnTo>
                    <a:pt x="312" y="125"/>
                  </a:lnTo>
                  <a:lnTo>
                    <a:pt x="315" y="156"/>
                  </a:lnTo>
                  <a:lnTo>
                    <a:pt x="312" y="189"/>
                  </a:lnTo>
                  <a:lnTo>
                    <a:pt x="303" y="219"/>
                  </a:lnTo>
                  <a:lnTo>
                    <a:pt x="288" y="245"/>
                  </a:lnTo>
                  <a:lnTo>
                    <a:pt x="269" y="268"/>
                  </a:lnTo>
                  <a:lnTo>
                    <a:pt x="245" y="287"/>
                  </a:lnTo>
                  <a:lnTo>
                    <a:pt x="219" y="302"/>
                  </a:lnTo>
                  <a:lnTo>
                    <a:pt x="190" y="311"/>
                  </a:lnTo>
                  <a:lnTo>
                    <a:pt x="157" y="315"/>
                  </a:lnTo>
                  <a:lnTo>
                    <a:pt x="126" y="311"/>
                  </a:lnTo>
                  <a:lnTo>
                    <a:pt x="96" y="302"/>
                  </a:lnTo>
                  <a:lnTo>
                    <a:pt x="70" y="287"/>
                  </a:lnTo>
                  <a:lnTo>
                    <a:pt x="47" y="268"/>
                  </a:lnTo>
                  <a:lnTo>
                    <a:pt x="28" y="245"/>
                  </a:lnTo>
                  <a:lnTo>
                    <a:pt x="13" y="219"/>
                  </a:lnTo>
                  <a:lnTo>
                    <a:pt x="4" y="189"/>
                  </a:lnTo>
                  <a:lnTo>
                    <a:pt x="0" y="156"/>
                  </a:lnTo>
                  <a:lnTo>
                    <a:pt x="4" y="125"/>
                  </a:lnTo>
                  <a:lnTo>
                    <a:pt x="13" y="95"/>
                  </a:lnTo>
                  <a:lnTo>
                    <a:pt x="28" y="68"/>
                  </a:lnTo>
                  <a:lnTo>
                    <a:pt x="47" y="46"/>
                  </a:lnTo>
                  <a:lnTo>
                    <a:pt x="70" y="27"/>
                  </a:lnTo>
                  <a:lnTo>
                    <a:pt x="96" y="12"/>
                  </a:lnTo>
                  <a:lnTo>
                    <a:pt x="126" y="2"/>
                  </a:lnTo>
                  <a:lnTo>
                    <a:pt x="157" y="0"/>
                  </a:lnTo>
                  <a:close/>
                </a:path>
              </a:pathLst>
            </a:custGeom>
            <a:solidFill>
              <a:schemeClr val="accent3"/>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3</a:t>
              </a:r>
              <a:endParaRPr lang="en-US" sz="2400" dirty="0">
                <a:solidFill>
                  <a:schemeClr val="bg1"/>
                </a:solidFill>
              </a:endParaRPr>
            </a:p>
          </p:txBody>
        </p:sp>
        <p:sp>
          <p:nvSpPr>
            <p:cNvPr id="259" name="Freeform 23">
              <a:extLst>
                <a:ext uri="{FF2B5EF4-FFF2-40B4-BE49-F238E27FC236}">
                  <a16:creationId xmlns:a16="http://schemas.microsoft.com/office/drawing/2014/main" id="{E3F03E36-C5D4-8F47-8A8F-66A9369586F1}"/>
                </a:ext>
              </a:extLst>
            </p:cNvPr>
            <p:cNvSpPr>
              <a:spLocks/>
            </p:cNvSpPr>
            <p:nvPr/>
          </p:nvSpPr>
          <p:spPr bwMode="auto">
            <a:xfrm>
              <a:off x="5242403" y="2547920"/>
              <a:ext cx="496593" cy="496593"/>
            </a:xfrm>
            <a:custGeom>
              <a:avLst/>
              <a:gdLst>
                <a:gd name="T0" fmla="*/ 157 w 314"/>
                <a:gd name="T1" fmla="*/ 0 h 314"/>
                <a:gd name="T2" fmla="*/ 188 w 314"/>
                <a:gd name="T3" fmla="*/ 3 h 314"/>
                <a:gd name="T4" fmla="*/ 218 w 314"/>
                <a:gd name="T5" fmla="*/ 12 h 314"/>
                <a:gd name="T6" fmla="*/ 246 w 314"/>
                <a:gd name="T7" fmla="*/ 27 h 314"/>
                <a:gd name="T8" fmla="*/ 269 w 314"/>
                <a:gd name="T9" fmla="*/ 46 h 314"/>
                <a:gd name="T10" fmla="*/ 288 w 314"/>
                <a:gd name="T11" fmla="*/ 69 h 314"/>
                <a:gd name="T12" fmla="*/ 303 w 314"/>
                <a:gd name="T13" fmla="*/ 96 h 314"/>
                <a:gd name="T14" fmla="*/ 312 w 314"/>
                <a:gd name="T15" fmla="*/ 126 h 314"/>
                <a:gd name="T16" fmla="*/ 314 w 314"/>
                <a:gd name="T17" fmla="*/ 157 h 314"/>
                <a:gd name="T18" fmla="*/ 312 w 314"/>
                <a:gd name="T19" fmla="*/ 189 h 314"/>
                <a:gd name="T20" fmla="*/ 303 w 314"/>
                <a:gd name="T21" fmla="*/ 218 h 314"/>
                <a:gd name="T22" fmla="*/ 288 w 314"/>
                <a:gd name="T23" fmla="*/ 245 h 314"/>
                <a:gd name="T24" fmla="*/ 269 w 314"/>
                <a:gd name="T25" fmla="*/ 269 h 314"/>
                <a:gd name="T26" fmla="*/ 246 w 314"/>
                <a:gd name="T27" fmla="*/ 288 h 314"/>
                <a:gd name="T28" fmla="*/ 218 w 314"/>
                <a:gd name="T29" fmla="*/ 302 h 314"/>
                <a:gd name="T30" fmla="*/ 188 w 314"/>
                <a:gd name="T31" fmla="*/ 311 h 314"/>
                <a:gd name="T32" fmla="*/ 157 w 314"/>
                <a:gd name="T33" fmla="*/ 314 h 314"/>
                <a:gd name="T34" fmla="*/ 125 w 314"/>
                <a:gd name="T35" fmla="*/ 311 h 314"/>
                <a:gd name="T36" fmla="*/ 96 w 314"/>
                <a:gd name="T37" fmla="*/ 302 h 314"/>
                <a:gd name="T38" fmla="*/ 69 w 314"/>
                <a:gd name="T39" fmla="*/ 288 h 314"/>
                <a:gd name="T40" fmla="*/ 46 w 314"/>
                <a:gd name="T41" fmla="*/ 269 h 314"/>
                <a:gd name="T42" fmla="*/ 26 w 314"/>
                <a:gd name="T43" fmla="*/ 245 h 314"/>
                <a:gd name="T44" fmla="*/ 12 w 314"/>
                <a:gd name="T45" fmla="*/ 218 h 314"/>
                <a:gd name="T46" fmla="*/ 3 w 314"/>
                <a:gd name="T47" fmla="*/ 189 h 314"/>
                <a:gd name="T48" fmla="*/ 0 w 314"/>
                <a:gd name="T49" fmla="*/ 157 h 314"/>
                <a:gd name="T50" fmla="*/ 3 w 314"/>
                <a:gd name="T51" fmla="*/ 126 h 314"/>
                <a:gd name="T52" fmla="*/ 12 w 314"/>
                <a:gd name="T53" fmla="*/ 96 h 314"/>
                <a:gd name="T54" fmla="*/ 26 w 314"/>
                <a:gd name="T55" fmla="*/ 69 h 314"/>
                <a:gd name="T56" fmla="*/ 46 w 314"/>
                <a:gd name="T57" fmla="*/ 46 h 314"/>
                <a:gd name="T58" fmla="*/ 69 w 314"/>
                <a:gd name="T59" fmla="*/ 27 h 314"/>
                <a:gd name="T60" fmla="*/ 96 w 314"/>
                <a:gd name="T61" fmla="*/ 12 h 314"/>
                <a:gd name="T62" fmla="*/ 125 w 314"/>
                <a:gd name="T63" fmla="*/ 3 h 314"/>
                <a:gd name="T64" fmla="*/ 157 w 314"/>
                <a:gd name="T6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4">
                  <a:moveTo>
                    <a:pt x="157" y="0"/>
                  </a:moveTo>
                  <a:lnTo>
                    <a:pt x="188" y="3"/>
                  </a:lnTo>
                  <a:lnTo>
                    <a:pt x="218" y="12"/>
                  </a:lnTo>
                  <a:lnTo>
                    <a:pt x="246" y="27"/>
                  </a:lnTo>
                  <a:lnTo>
                    <a:pt x="269" y="46"/>
                  </a:lnTo>
                  <a:lnTo>
                    <a:pt x="288" y="69"/>
                  </a:lnTo>
                  <a:lnTo>
                    <a:pt x="303" y="96"/>
                  </a:lnTo>
                  <a:lnTo>
                    <a:pt x="312" y="126"/>
                  </a:lnTo>
                  <a:lnTo>
                    <a:pt x="314" y="157"/>
                  </a:lnTo>
                  <a:lnTo>
                    <a:pt x="312" y="189"/>
                  </a:lnTo>
                  <a:lnTo>
                    <a:pt x="303" y="218"/>
                  </a:lnTo>
                  <a:lnTo>
                    <a:pt x="288" y="245"/>
                  </a:lnTo>
                  <a:lnTo>
                    <a:pt x="269" y="269"/>
                  </a:lnTo>
                  <a:lnTo>
                    <a:pt x="246" y="288"/>
                  </a:lnTo>
                  <a:lnTo>
                    <a:pt x="218" y="302"/>
                  </a:lnTo>
                  <a:lnTo>
                    <a:pt x="188" y="311"/>
                  </a:lnTo>
                  <a:lnTo>
                    <a:pt x="157" y="314"/>
                  </a:lnTo>
                  <a:lnTo>
                    <a:pt x="125" y="311"/>
                  </a:lnTo>
                  <a:lnTo>
                    <a:pt x="96" y="302"/>
                  </a:lnTo>
                  <a:lnTo>
                    <a:pt x="69" y="288"/>
                  </a:lnTo>
                  <a:lnTo>
                    <a:pt x="46" y="269"/>
                  </a:lnTo>
                  <a:lnTo>
                    <a:pt x="26" y="245"/>
                  </a:lnTo>
                  <a:lnTo>
                    <a:pt x="12" y="218"/>
                  </a:lnTo>
                  <a:lnTo>
                    <a:pt x="3" y="189"/>
                  </a:lnTo>
                  <a:lnTo>
                    <a:pt x="0" y="157"/>
                  </a:lnTo>
                  <a:lnTo>
                    <a:pt x="3" y="126"/>
                  </a:lnTo>
                  <a:lnTo>
                    <a:pt x="12" y="96"/>
                  </a:lnTo>
                  <a:lnTo>
                    <a:pt x="26" y="69"/>
                  </a:lnTo>
                  <a:lnTo>
                    <a:pt x="46" y="46"/>
                  </a:lnTo>
                  <a:lnTo>
                    <a:pt x="69" y="27"/>
                  </a:lnTo>
                  <a:lnTo>
                    <a:pt x="96" y="12"/>
                  </a:lnTo>
                  <a:lnTo>
                    <a:pt x="125" y="3"/>
                  </a:lnTo>
                  <a:lnTo>
                    <a:pt x="157" y="0"/>
                  </a:lnTo>
                  <a:close/>
                </a:path>
              </a:pathLst>
            </a:custGeom>
            <a:solidFill>
              <a:schemeClr val="accent4"/>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4</a:t>
              </a:r>
              <a:endParaRPr lang="en-US" sz="2400" dirty="0">
                <a:solidFill>
                  <a:schemeClr val="bg1"/>
                </a:solidFill>
              </a:endParaRPr>
            </a:p>
          </p:txBody>
        </p:sp>
        <p:sp>
          <p:nvSpPr>
            <p:cNvPr id="260" name="Freeform 25">
              <a:extLst>
                <a:ext uri="{FF2B5EF4-FFF2-40B4-BE49-F238E27FC236}">
                  <a16:creationId xmlns:a16="http://schemas.microsoft.com/office/drawing/2014/main" id="{E6790C3C-63A5-5542-A2DD-CE48406B78CE}"/>
                </a:ext>
              </a:extLst>
            </p:cNvPr>
            <p:cNvSpPr>
              <a:spLocks/>
            </p:cNvSpPr>
            <p:nvPr/>
          </p:nvSpPr>
          <p:spPr bwMode="auto">
            <a:xfrm>
              <a:off x="6771933" y="2547920"/>
              <a:ext cx="496593" cy="496593"/>
            </a:xfrm>
            <a:custGeom>
              <a:avLst/>
              <a:gdLst>
                <a:gd name="T0" fmla="*/ 157 w 314"/>
                <a:gd name="T1" fmla="*/ 0 h 314"/>
                <a:gd name="T2" fmla="*/ 188 w 314"/>
                <a:gd name="T3" fmla="*/ 3 h 314"/>
                <a:gd name="T4" fmla="*/ 218 w 314"/>
                <a:gd name="T5" fmla="*/ 12 h 314"/>
                <a:gd name="T6" fmla="*/ 245 w 314"/>
                <a:gd name="T7" fmla="*/ 27 h 314"/>
                <a:gd name="T8" fmla="*/ 269 w 314"/>
                <a:gd name="T9" fmla="*/ 46 h 314"/>
                <a:gd name="T10" fmla="*/ 288 w 314"/>
                <a:gd name="T11" fmla="*/ 69 h 314"/>
                <a:gd name="T12" fmla="*/ 302 w 314"/>
                <a:gd name="T13" fmla="*/ 96 h 314"/>
                <a:gd name="T14" fmla="*/ 311 w 314"/>
                <a:gd name="T15" fmla="*/ 126 h 314"/>
                <a:gd name="T16" fmla="*/ 314 w 314"/>
                <a:gd name="T17" fmla="*/ 157 h 314"/>
                <a:gd name="T18" fmla="*/ 311 w 314"/>
                <a:gd name="T19" fmla="*/ 189 h 314"/>
                <a:gd name="T20" fmla="*/ 302 w 314"/>
                <a:gd name="T21" fmla="*/ 218 h 314"/>
                <a:gd name="T22" fmla="*/ 288 w 314"/>
                <a:gd name="T23" fmla="*/ 245 h 314"/>
                <a:gd name="T24" fmla="*/ 269 w 314"/>
                <a:gd name="T25" fmla="*/ 269 h 314"/>
                <a:gd name="T26" fmla="*/ 245 w 314"/>
                <a:gd name="T27" fmla="*/ 288 h 314"/>
                <a:gd name="T28" fmla="*/ 218 w 314"/>
                <a:gd name="T29" fmla="*/ 302 h 314"/>
                <a:gd name="T30" fmla="*/ 188 w 314"/>
                <a:gd name="T31" fmla="*/ 311 h 314"/>
                <a:gd name="T32" fmla="*/ 157 w 314"/>
                <a:gd name="T33" fmla="*/ 314 h 314"/>
                <a:gd name="T34" fmla="*/ 126 w 314"/>
                <a:gd name="T35" fmla="*/ 311 h 314"/>
                <a:gd name="T36" fmla="*/ 96 w 314"/>
                <a:gd name="T37" fmla="*/ 302 h 314"/>
                <a:gd name="T38" fmla="*/ 69 w 314"/>
                <a:gd name="T39" fmla="*/ 288 h 314"/>
                <a:gd name="T40" fmla="*/ 46 w 314"/>
                <a:gd name="T41" fmla="*/ 269 h 314"/>
                <a:gd name="T42" fmla="*/ 26 w 314"/>
                <a:gd name="T43" fmla="*/ 245 h 314"/>
                <a:gd name="T44" fmla="*/ 12 w 314"/>
                <a:gd name="T45" fmla="*/ 218 h 314"/>
                <a:gd name="T46" fmla="*/ 3 w 314"/>
                <a:gd name="T47" fmla="*/ 189 h 314"/>
                <a:gd name="T48" fmla="*/ 0 w 314"/>
                <a:gd name="T49" fmla="*/ 157 h 314"/>
                <a:gd name="T50" fmla="*/ 3 w 314"/>
                <a:gd name="T51" fmla="*/ 126 h 314"/>
                <a:gd name="T52" fmla="*/ 12 w 314"/>
                <a:gd name="T53" fmla="*/ 96 h 314"/>
                <a:gd name="T54" fmla="*/ 26 w 314"/>
                <a:gd name="T55" fmla="*/ 69 h 314"/>
                <a:gd name="T56" fmla="*/ 46 w 314"/>
                <a:gd name="T57" fmla="*/ 46 h 314"/>
                <a:gd name="T58" fmla="*/ 69 w 314"/>
                <a:gd name="T59" fmla="*/ 27 h 314"/>
                <a:gd name="T60" fmla="*/ 96 w 314"/>
                <a:gd name="T61" fmla="*/ 12 h 314"/>
                <a:gd name="T62" fmla="*/ 126 w 314"/>
                <a:gd name="T63" fmla="*/ 3 h 314"/>
                <a:gd name="T64" fmla="*/ 157 w 314"/>
                <a:gd name="T6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4">
                  <a:moveTo>
                    <a:pt x="157" y="0"/>
                  </a:moveTo>
                  <a:lnTo>
                    <a:pt x="188" y="3"/>
                  </a:lnTo>
                  <a:lnTo>
                    <a:pt x="218" y="12"/>
                  </a:lnTo>
                  <a:lnTo>
                    <a:pt x="245" y="27"/>
                  </a:lnTo>
                  <a:lnTo>
                    <a:pt x="269" y="46"/>
                  </a:lnTo>
                  <a:lnTo>
                    <a:pt x="288" y="69"/>
                  </a:lnTo>
                  <a:lnTo>
                    <a:pt x="302" y="96"/>
                  </a:lnTo>
                  <a:lnTo>
                    <a:pt x="311" y="126"/>
                  </a:lnTo>
                  <a:lnTo>
                    <a:pt x="314" y="157"/>
                  </a:lnTo>
                  <a:lnTo>
                    <a:pt x="311" y="189"/>
                  </a:lnTo>
                  <a:lnTo>
                    <a:pt x="302" y="218"/>
                  </a:lnTo>
                  <a:lnTo>
                    <a:pt x="288" y="245"/>
                  </a:lnTo>
                  <a:lnTo>
                    <a:pt x="269" y="269"/>
                  </a:lnTo>
                  <a:lnTo>
                    <a:pt x="245" y="288"/>
                  </a:lnTo>
                  <a:lnTo>
                    <a:pt x="218" y="302"/>
                  </a:lnTo>
                  <a:lnTo>
                    <a:pt x="188" y="311"/>
                  </a:lnTo>
                  <a:lnTo>
                    <a:pt x="157" y="314"/>
                  </a:lnTo>
                  <a:lnTo>
                    <a:pt x="126" y="311"/>
                  </a:lnTo>
                  <a:lnTo>
                    <a:pt x="96" y="302"/>
                  </a:lnTo>
                  <a:lnTo>
                    <a:pt x="69" y="288"/>
                  </a:lnTo>
                  <a:lnTo>
                    <a:pt x="46" y="269"/>
                  </a:lnTo>
                  <a:lnTo>
                    <a:pt x="26" y="245"/>
                  </a:lnTo>
                  <a:lnTo>
                    <a:pt x="12" y="218"/>
                  </a:lnTo>
                  <a:lnTo>
                    <a:pt x="3" y="189"/>
                  </a:lnTo>
                  <a:lnTo>
                    <a:pt x="0" y="157"/>
                  </a:lnTo>
                  <a:lnTo>
                    <a:pt x="3" y="126"/>
                  </a:lnTo>
                  <a:lnTo>
                    <a:pt x="12" y="96"/>
                  </a:lnTo>
                  <a:lnTo>
                    <a:pt x="26" y="69"/>
                  </a:lnTo>
                  <a:lnTo>
                    <a:pt x="46" y="46"/>
                  </a:lnTo>
                  <a:lnTo>
                    <a:pt x="69" y="27"/>
                  </a:lnTo>
                  <a:lnTo>
                    <a:pt x="96" y="12"/>
                  </a:lnTo>
                  <a:lnTo>
                    <a:pt x="126" y="3"/>
                  </a:lnTo>
                  <a:lnTo>
                    <a:pt x="157" y="0"/>
                  </a:lnTo>
                  <a:close/>
                </a:path>
              </a:pathLst>
            </a:custGeom>
            <a:solidFill>
              <a:schemeClr val="accent5"/>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5</a:t>
              </a:r>
              <a:endParaRPr lang="en-US" sz="2400" dirty="0">
                <a:solidFill>
                  <a:schemeClr val="bg1"/>
                </a:solidFill>
              </a:endParaRPr>
            </a:p>
          </p:txBody>
        </p:sp>
        <p:sp>
          <p:nvSpPr>
            <p:cNvPr id="261" name="Freeform 26">
              <a:extLst>
                <a:ext uri="{FF2B5EF4-FFF2-40B4-BE49-F238E27FC236}">
                  <a16:creationId xmlns:a16="http://schemas.microsoft.com/office/drawing/2014/main" id="{B97B6D5B-2FF6-6D40-9073-327FE1584CB6}"/>
                </a:ext>
              </a:extLst>
            </p:cNvPr>
            <p:cNvSpPr>
              <a:spLocks/>
            </p:cNvSpPr>
            <p:nvPr/>
          </p:nvSpPr>
          <p:spPr bwMode="auto">
            <a:xfrm>
              <a:off x="7428514" y="2685470"/>
              <a:ext cx="498174" cy="496593"/>
            </a:xfrm>
            <a:custGeom>
              <a:avLst/>
              <a:gdLst>
                <a:gd name="T0" fmla="*/ 157 w 315"/>
                <a:gd name="T1" fmla="*/ 0 h 314"/>
                <a:gd name="T2" fmla="*/ 189 w 315"/>
                <a:gd name="T3" fmla="*/ 3 h 314"/>
                <a:gd name="T4" fmla="*/ 219 w 315"/>
                <a:gd name="T5" fmla="*/ 12 h 314"/>
                <a:gd name="T6" fmla="*/ 245 w 315"/>
                <a:gd name="T7" fmla="*/ 27 h 314"/>
                <a:gd name="T8" fmla="*/ 269 w 315"/>
                <a:gd name="T9" fmla="*/ 45 h 314"/>
                <a:gd name="T10" fmla="*/ 288 w 315"/>
                <a:gd name="T11" fmla="*/ 69 h 314"/>
                <a:gd name="T12" fmla="*/ 302 w 315"/>
                <a:gd name="T13" fmla="*/ 96 h 314"/>
                <a:gd name="T14" fmla="*/ 311 w 315"/>
                <a:gd name="T15" fmla="*/ 126 h 314"/>
                <a:gd name="T16" fmla="*/ 315 w 315"/>
                <a:gd name="T17" fmla="*/ 157 h 314"/>
                <a:gd name="T18" fmla="*/ 311 w 315"/>
                <a:gd name="T19" fmla="*/ 189 h 314"/>
                <a:gd name="T20" fmla="*/ 302 w 315"/>
                <a:gd name="T21" fmla="*/ 218 h 314"/>
                <a:gd name="T22" fmla="*/ 288 w 315"/>
                <a:gd name="T23" fmla="*/ 245 h 314"/>
                <a:gd name="T24" fmla="*/ 269 w 315"/>
                <a:gd name="T25" fmla="*/ 268 h 314"/>
                <a:gd name="T26" fmla="*/ 245 w 315"/>
                <a:gd name="T27" fmla="*/ 288 h 314"/>
                <a:gd name="T28" fmla="*/ 219 w 315"/>
                <a:gd name="T29" fmla="*/ 302 h 314"/>
                <a:gd name="T30" fmla="*/ 189 w 315"/>
                <a:gd name="T31" fmla="*/ 311 h 314"/>
                <a:gd name="T32" fmla="*/ 157 w 315"/>
                <a:gd name="T33" fmla="*/ 314 h 314"/>
                <a:gd name="T34" fmla="*/ 126 w 315"/>
                <a:gd name="T35" fmla="*/ 311 h 314"/>
                <a:gd name="T36" fmla="*/ 96 w 315"/>
                <a:gd name="T37" fmla="*/ 302 h 314"/>
                <a:gd name="T38" fmla="*/ 70 w 315"/>
                <a:gd name="T39" fmla="*/ 288 h 314"/>
                <a:gd name="T40" fmla="*/ 47 w 315"/>
                <a:gd name="T41" fmla="*/ 268 h 314"/>
                <a:gd name="T42" fmla="*/ 27 w 315"/>
                <a:gd name="T43" fmla="*/ 245 h 314"/>
                <a:gd name="T44" fmla="*/ 13 w 315"/>
                <a:gd name="T45" fmla="*/ 218 h 314"/>
                <a:gd name="T46" fmla="*/ 4 w 315"/>
                <a:gd name="T47" fmla="*/ 189 h 314"/>
                <a:gd name="T48" fmla="*/ 0 w 315"/>
                <a:gd name="T49" fmla="*/ 157 h 314"/>
                <a:gd name="T50" fmla="*/ 4 w 315"/>
                <a:gd name="T51" fmla="*/ 126 h 314"/>
                <a:gd name="T52" fmla="*/ 13 w 315"/>
                <a:gd name="T53" fmla="*/ 96 h 314"/>
                <a:gd name="T54" fmla="*/ 27 w 315"/>
                <a:gd name="T55" fmla="*/ 69 h 314"/>
                <a:gd name="T56" fmla="*/ 47 w 315"/>
                <a:gd name="T57" fmla="*/ 45 h 314"/>
                <a:gd name="T58" fmla="*/ 70 w 315"/>
                <a:gd name="T59" fmla="*/ 27 h 314"/>
                <a:gd name="T60" fmla="*/ 96 w 315"/>
                <a:gd name="T61" fmla="*/ 12 h 314"/>
                <a:gd name="T62" fmla="*/ 126 w 315"/>
                <a:gd name="T63" fmla="*/ 3 h 314"/>
                <a:gd name="T64" fmla="*/ 157 w 315"/>
                <a:gd name="T6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5" h="314">
                  <a:moveTo>
                    <a:pt x="157" y="0"/>
                  </a:moveTo>
                  <a:lnTo>
                    <a:pt x="189" y="3"/>
                  </a:lnTo>
                  <a:lnTo>
                    <a:pt x="219" y="12"/>
                  </a:lnTo>
                  <a:lnTo>
                    <a:pt x="245" y="27"/>
                  </a:lnTo>
                  <a:lnTo>
                    <a:pt x="269" y="45"/>
                  </a:lnTo>
                  <a:lnTo>
                    <a:pt x="288" y="69"/>
                  </a:lnTo>
                  <a:lnTo>
                    <a:pt x="302" y="96"/>
                  </a:lnTo>
                  <a:lnTo>
                    <a:pt x="311" y="126"/>
                  </a:lnTo>
                  <a:lnTo>
                    <a:pt x="315" y="157"/>
                  </a:lnTo>
                  <a:lnTo>
                    <a:pt x="311" y="189"/>
                  </a:lnTo>
                  <a:lnTo>
                    <a:pt x="302" y="218"/>
                  </a:lnTo>
                  <a:lnTo>
                    <a:pt x="288" y="245"/>
                  </a:lnTo>
                  <a:lnTo>
                    <a:pt x="269" y="268"/>
                  </a:lnTo>
                  <a:lnTo>
                    <a:pt x="245" y="288"/>
                  </a:lnTo>
                  <a:lnTo>
                    <a:pt x="219" y="302"/>
                  </a:lnTo>
                  <a:lnTo>
                    <a:pt x="189" y="311"/>
                  </a:lnTo>
                  <a:lnTo>
                    <a:pt x="157" y="314"/>
                  </a:lnTo>
                  <a:lnTo>
                    <a:pt x="126" y="311"/>
                  </a:lnTo>
                  <a:lnTo>
                    <a:pt x="96" y="302"/>
                  </a:lnTo>
                  <a:lnTo>
                    <a:pt x="70" y="288"/>
                  </a:lnTo>
                  <a:lnTo>
                    <a:pt x="47" y="268"/>
                  </a:lnTo>
                  <a:lnTo>
                    <a:pt x="27" y="245"/>
                  </a:lnTo>
                  <a:lnTo>
                    <a:pt x="13" y="218"/>
                  </a:lnTo>
                  <a:lnTo>
                    <a:pt x="4" y="189"/>
                  </a:lnTo>
                  <a:lnTo>
                    <a:pt x="0" y="157"/>
                  </a:lnTo>
                  <a:lnTo>
                    <a:pt x="4" y="126"/>
                  </a:lnTo>
                  <a:lnTo>
                    <a:pt x="13" y="96"/>
                  </a:lnTo>
                  <a:lnTo>
                    <a:pt x="27" y="69"/>
                  </a:lnTo>
                  <a:lnTo>
                    <a:pt x="47" y="45"/>
                  </a:lnTo>
                  <a:lnTo>
                    <a:pt x="70" y="27"/>
                  </a:lnTo>
                  <a:lnTo>
                    <a:pt x="96" y="12"/>
                  </a:lnTo>
                  <a:lnTo>
                    <a:pt x="126" y="3"/>
                  </a:lnTo>
                  <a:lnTo>
                    <a:pt x="157" y="0"/>
                  </a:lnTo>
                  <a:close/>
                </a:path>
              </a:pathLst>
            </a:custGeom>
            <a:solidFill>
              <a:schemeClr val="accent6"/>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6</a:t>
              </a:r>
              <a:endParaRPr lang="en-US" sz="2400" dirty="0">
                <a:solidFill>
                  <a:schemeClr val="bg1"/>
                </a:solidFill>
              </a:endParaRPr>
            </a:p>
          </p:txBody>
        </p:sp>
        <p:sp>
          <p:nvSpPr>
            <p:cNvPr id="262" name="Freeform 27">
              <a:extLst>
                <a:ext uri="{FF2B5EF4-FFF2-40B4-BE49-F238E27FC236}">
                  <a16:creationId xmlns:a16="http://schemas.microsoft.com/office/drawing/2014/main" id="{5FA9B143-A075-DB4C-A40F-02CD6464523D}"/>
                </a:ext>
              </a:extLst>
            </p:cNvPr>
            <p:cNvSpPr>
              <a:spLocks/>
            </p:cNvSpPr>
            <p:nvPr/>
          </p:nvSpPr>
          <p:spPr bwMode="auto">
            <a:xfrm>
              <a:off x="7943705" y="3609270"/>
              <a:ext cx="496593" cy="496593"/>
            </a:xfrm>
            <a:custGeom>
              <a:avLst/>
              <a:gdLst>
                <a:gd name="T0" fmla="*/ 157 w 314"/>
                <a:gd name="T1" fmla="*/ 0 h 314"/>
                <a:gd name="T2" fmla="*/ 190 w 314"/>
                <a:gd name="T3" fmla="*/ 3 h 314"/>
                <a:gd name="T4" fmla="*/ 218 w 314"/>
                <a:gd name="T5" fmla="*/ 12 h 314"/>
                <a:gd name="T6" fmla="*/ 246 w 314"/>
                <a:gd name="T7" fmla="*/ 28 h 314"/>
                <a:gd name="T8" fmla="*/ 269 w 314"/>
                <a:gd name="T9" fmla="*/ 46 h 314"/>
                <a:gd name="T10" fmla="*/ 288 w 314"/>
                <a:gd name="T11" fmla="*/ 69 h 314"/>
                <a:gd name="T12" fmla="*/ 303 w 314"/>
                <a:gd name="T13" fmla="*/ 96 h 314"/>
                <a:gd name="T14" fmla="*/ 312 w 314"/>
                <a:gd name="T15" fmla="*/ 126 h 314"/>
                <a:gd name="T16" fmla="*/ 314 w 314"/>
                <a:gd name="T17" fmla="*/ 157 h 314"/>
                <a:gd name="T18" fmla="*/ 312 w 314"/>
                <a:gd name="T19" fmla="*/ 190 h 314"/>
                <a:gd name="T20" fmla="*/ 303 w 314"/>
                <a:gd name="T21" fmla="*/ 218 h 314"/>
                <a:gd name="T22" fmla="*/ 288 w 314"/>
                <a:gd name="T23" fmla="*/ 245 h 314"/>
                <a:gd name="T24" fmla="*/ 269 w 314"/>
                <a:gd name="T25" fmla="*/ 269 h 314"/>
                <a:gd name="T26" fmla="*/ 246 w 314"/>
                <a:gd name="T27" fmla="*/ 288 h 314"/>
                <a:gd name="T28" fmla="*/ 218 w 314"/>
                <a:gd name="T29" fmla="*/ 302 h 314"/>
                <a:gd name="T30" fmla="*/ 190 w 314"/>
                <a:gd name="T31" fmla="*/ 312 h 314"/>
                <a:gd name="T32" fmla="*/ 157 w 314"/>
                <a:gd name="T33" fmla="*/ 314 h 314"/>
                <a:gd name="T34" fmla="*/ 126 w 314"/>
                <a:gd name="T35" fmla="*/ 312 h 314"/>
                <a:gd name="T36" fmla="*/ 96 w 314"/>
                <a:gd name="T37" fmla="*/ 302 h 314"/>
                <a:gd name="T38" fmla="*/ 69 w 314"/>
                <a:gd name="T39" fmla="*/ 288 h 314"/>
                <a:gd name="T40" fmla="*/ 46 w 314"/>
                <a:gd name="T41" fmla="*/ 269 h 314"/>
                <a:gd name="T42" fmla="*/ 28 w 314"/>
                <a:gd name="T43" fmla="*/ 245 h 314"/>
                <a:gd name="T44" fmla="*/ 12 w 314"/>
                <a:gd name="T45" fmla="*/ 218 h 314"/>
                <a:gd name="T46" fmla="*/ 3 w 314"/>
                <a:gd name="T47" fmla="*/ 190 h 314"/>
                <a:gd name="T48" fmla="*/ 0 w 314"/>
                <a:gd name="T49" fmla="*/ 157 h 314"/>
                <a:gd name="T50" fmla="*/ 3 w 314"/>
                <a:gd name="T51" fmla="*/ 126 h 314"/>
                <a:gd name="T52" fmla="*/ 12 w 314"/>
                <a:gd name="T53" fmla="*/ 96 h 314"/>
                <a:gd name="T54" fmla="*/ 28 w 314"/>
                <a:gd name="T55" fmla="*/ 69 h 314"/>
                <a:gd name="T56" fmla="*/ 46 w 314"/>
                <a:gd name="T57" fmla="*/ 46 h 314"/>
                <a:gd name="T58" fmla="*/ 69 w 314"/>
                <a:gd name="T59" fmla="*/ 28 h 314"/>
                <a:gd name="T60" fmla="*/ 96 w 314"/>
                <a:gd name="T61" fmla="*/ 12 h 314"/>
                <a:gd name="T62" fmla="*/ 126 w 314"/>
                <a:gd name="T63" fmla="*/ 3 h 314"/>
                <a:gd name="T64" fmla="*/ 157 w 314"/>
                <a:gd name="T6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4">
                  <a:moveTo>
                    <a:pt x="157" y="0"/>
                  </a:moveTo>
                  <a:lnTo>
                    <a:pt x="190" y="3"/>
                  </a:lnTo>
                  <a:lnTo>
                    <a:pt x="218" y="12"/>
                  </a:lnTo>
                  <a:lnTo>
                    <a:pt x="246" y="28"/>
                  </a:lnTo>
                  <a:lnTo>
                    <a:pt x="269" y="46"/>
                  </a:lnTo>
                  <a:lnTo>
                    <a:pt x="288" y="69"/>
                  </a:lnTo>
                  <a:lnTo>
                    <a:pt x="303" y="96"/>
                  </a:lnTo>
                  <a:lnTo>
                    <a:pt x="312" y="126"/>
                  </a:lnTo>
                  <a:lnTo>
                    <a:pt x="314" y="157"/>
                  </a:lnTo>
                  <a:lnTo>
                    <a:pt x="312" y="190"/>
                  </a:lnTo>
                  <a:lnTo>
                    <a:pt x="303" y="218"/>
                  </a:lnTo>
                  <a:lnTo>
                    <a:pt x="288" y="245"/>
                  </a:lnTo>
                  <a:lnTo>
                    <a:pt x="269" y="269"/>
                  </a:lnTo>
                  <a:lnTo>
                    <a:pt x="246" y="288"/>
                  </a:lnTo>
                  <a:lnTo>
                    <a:pt x="218" y="302"/>
                  </a:lnTo>
                  <a:lnTo>
                    <a:pt x="190" y="312"/>
                  </a:lnTo>
                  <a:lnTo>
                    <a:pt x="157" y="314"/>
                  </a:lnTo>
                  <a:lnTo>
                    <a:pt x="126" y="312"/>
                  </a:lnTo>
                  <a:lnTo>
                    <a:pt x="96" y="302"/>
                  </a:lnTo>
                  <a:lnTo>
                    <a:pt x="69" y="288"/>
                  </a:lnTo>
                  <a:lnTo>
                    <a:pt x="46" y="269"/>
                  </a:lnTo>
                  <a:lnTo>
                    <a:pt x="28" y="245"/>
                  </a:lnTo>
                  <a:lnTo>
                    <a:pt x="12" y="218"/>
                  </a:lnTo>
                  <a:lnTo>
                    <a:pt x="3" y="190"/>
                  </a:lnTo>
                  <a:lnTo>
                    <a:pt x="0" y="157"/>
                  </a:lnTo>
                  <a:lnTo>
                    <a:pt x="3" y="126"/>
                  </a:lnTo>
                  <a:lnTo>
                    <a:pt x="12" y="96"/>
                  </a:lnTo>
                  <a:lnTo>
                    <a:pt x="28" y="69"/>
                  </a:lnTo>
                  <a:lnTo>
                    <a:pt x="46" y="46"/>
                  </a:lnTo>
                  <a:lnTo>
                    <a:pt x="69" y="28"/>
                  </a:lnTo>
                  <a:lnTo>
                    <a:pt x="96" y="12"/>
                  </a:lnTo>
                  <a:lnTo>
                    <a:pt x="126" y="3"/>
                  </a:lnTo>
                  <a:lnTo>
                    <a:pt x="157" y="0"/>
                  </a:lnTo>
                  <a:close/>
                </a:path>
              </a:pathLst>
            </a:custGeom>
            <a:solidFill>
              <a:srgbClr val="009A44"/>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7</a:t>
              </a:r>
              <a:endParaRPr lang="en-US" sz="2400" dirty="0">
                <a:solidFill>
                  <a:schemeClr val="bg1"/>
                </a:solidFill>
              </a:endParaRPr>
            </a:p>
          </p:txBody>
        </p:sp>
        <p:sp>
          <p:nvSpPr>
            <p:cNvPr id="263" name="Freeform 28">
              <a:extLst>
                <a:ext uri="{FF2B5EF4-FFF2-40B4-BE49-F238E27FC236}">
                  <a16:creationId xmlns:a16="http://schemas.microsoft.com/office/drawing/2014/main" id="{0CB31C88-EBC2-AC4C-9427-E6077760FAED}"/>
                </a:ext>
              </a:extLst>
            </p:cNvPr>
            <p:cNvSpPr>
              <a:spLocks/>
            </p:cNvSpPr>
            <p:nvPr/>
          </p:nvSpPr>
          <p:spPr bwMode="auto">
            <a:xfrm>
              <a:off x="8509269" y="4897655"/>
              <a:ext cx="498174" cy="498174"/>
            </a:xfrm>
            <a:custGeom>
              <a:avLst/>
              <a:gdLst>
                <a:gd name="T0" fmla="*/ 157 w 315"/>
                <a:gd name="T1" fmla="*/ 0 h 315"/>
                <a:gd name="T2" fmla="*/ 189 w 315"/>
                <a:gd name="T3" fmla="*/ 3 h 315"/>
                <a:gd name="T4" fmla="*/ 219 w 315"/>
                <a:gd name="T5" fmla="*/ 13 h 315"/>
                <a:gd name="T6" fmla="*/ 245 w 315"/>
                <a:gd name="T7" fmla="*/ 27 h 315"/>
                <a:gd name="T8" fmla="*/ 268 w 315"/>
                <a:gd name="T9" fmla="*/ 47 h 315"/>
                <a:gd name="T10" fmla="*/ 288 w 315"/>
                <a:gd name="T11" fmla="*/ 70 h 315"/>
                <a:gd name="T12" fmla="*/ 302 w 315"/>
                <a:gd name="T13" fmla="*/ 96 h 315"/>
                <a:gd name="T14" fmla="*/ 311 w 315"/>
                <a:gd name="T15" fmla="*/ 126 h 315"/>
                <a:gd name="T16" fmla="*/ 315 w 315"/>
                <a:gd name="T17" fmla="*/ 157 h 315"/>
                <a:gd name="T18" fmla="*/ 311 w 315"/>
                <a:gd name="T19" fmla="*/ 189 h 315"/>
                <a:gd name="T20" fmla="*/ 302 w 315"/>
                <a:gd name="T21" fmla="*/ 219 h 315"/>
                <a:gd name="T22" fmla="*/ 288 w 315"/>
                <a:gd name="T23" fmla="*/ 245 h 315"/>
                <a:gd name="T24" fmla="*/ 268 w 315"/>
                <a:gd name="T25" fmla="*/ 269 h 315"/>
                <a:gd name="T26" fmla="*/ 245 w 315"/>
                <a:gd name="T27" fmla="*/ 288 h 315"/>
                <a:gd name="T28" fmla="*/ 219 w 315"/>
                <a:gd name="T29" fmla="*/ 302 h 315"/>
                <a:gd name="T30" fmla="*/ 189 w 315"/>
                <a:gd name="T31" fmla="*/ 311 h 315"/>
                <a:gd name="T32" fmla="*/ 157 w 315"/>
                <a:gd name="T33" fmla="*/ 315 h 315"/>
                <a:gd name="T34" fmla="*/ 126 w 315"/>
                <a:gd name="T35" fmla="*/ 311 h 315"/>
                <a:gd name="T36" fmla="*/ 96 w 315"/>
                <a:gd name="T37" fmla="*/ 302 h 315"/>
                <a:gd name="T38" fmla="*/ 70 w 315"/>
                <a:gd name="T39" fmla="*/ 288 h 315"/>
                <a:gd name="T40" fmla="*/ 47 w 315"/>
                <a:gd name="T41" fmla="*/ 269 h 315"/>
                <a:gd name="T42" fmla="*/ 27 w 315"/>
                <a:gd name="T43" fmla="*/ 245 h 315"/>
                <a:gd name="T44" fmla="*/ 13 w 315"/>
                <a:gd name="T45" fmla="*/ 219 h 315"/>
                <a:gd name="T46" fmla="*/ 4 w 315"/>
                <a:gd name="T47" fmla="*/ 189 h 315"/>
                <a:gd name="T48" fmla="*/ 0 w 315"/>
                <a:gd name="T49" fmla="*/ 157 h 315"/>
                <a:gd name="T50" fmla="*/ 4 w 315"/>
                <a:gd name="T51" fmla="*/ 126 h 315"/>
                <a:gd name="T52" fmla="*/ 13 w 315"/>
                <a:gd name="T53" fmla="*/ 96 h 315"/>
                <a:gd name="T54" fmla="*/ 27 w 315"/>
                <a:gd name="T55" fmla="*/ 70 h 315"/>
                <a:gd name="T56" fmla="*/ 47 w 315"/>
                <a:gd name="T57" fmla="*/ 47 h 315"/>
                <a:gd name="T58" fmla="*/ 70 w 315"/>
                <a:gd name="T59" fmla="*/ 27 h 315"/>
                <a:gd name="T60" fmla="*/ 96 w 315"/>
                <a:gd name="T61" fmla="*/ 13 h 315"/>
                <a:gd name="T62" fmla="*/ 126 w 315"/>
                <a:gd name="T63" fmla="*/ 3 h 315"/>
                <a:gd name="T64" fmla="*/ 157 w 315"/>
                <a:gd name="T6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5" h="315">
                  <a:moveTo>
                    <a:pt x="157" y="0"/>
                  </a:moveTo>
                  <a:lnTo>
                    <a:pt x="189" y="3"/>
                  </a:lnTo>
                  <a:lnTo>
                    <a:pt x="219" y="13"/>
                  </a:lnTo>
                  <a:lnTo>
                    <a:pt x="245" y="27"/>
                  </a:lnTo>
                  <a:lnTo>
                    <a:pt x="268" y="47"/>
                  </a:lnTo>
                  <a:lnTo>
                    <a:pt x="288" y="70"/>
                  </a:lnTo>
                  <a:lnTo>
                    <a:pt x="302" y="96"/>
                  </a:lnTo>
                  <a:lnTo>
                    <a:pt x="311" y="126"/>
                  </a:lnTo>
                  <a:lnTo>
                    <a:pt x="315" y="157"/>
                  </a:lnTo>
                  <a:lnTo>
                    <a:pt x="311" y="189"/>
                  </a:lnTo>
                  <a:lnTo>
                    <a:pt x="302" y="219"/>
                  </a:lnTo>
                  <a:lnTo>
                    <a:pt x="288" y="245"/>
                  </a:lnTo>
                  <a:lnTo>
                    <a:pt x="268" y="269"/>
                  </a:lnTo>
                  <a:lnTo>
                    <a:pt x="245" y="288"/>
                  </a:lnTo>
                  <a:lnTo>
                    <a:pt x="219" y="302"/>
                  </a:lnTo>
                  <a:lnTo>
                    <a:pt x="189" y="311"/>
                  </a:lnTo>
                  <a:lnTo>
                    <a:pt x="157" y="315"/>
                  </a:lnTo>
                  <a:lnTo>
                    <a:pt x="126" y="311"/>
                  </a:lnTo>
                  <a:lnTo>
                    <a:pt x="96" y="302"/>
                  </a:lnTo>
                  <a:lnTo>
                    <a:pt x="70" y="288"/>
                  </a:lnTo>
                  <a:lnTo>
                    <a:pt x="47" y="269"/>
                  </a:lnTo>
                  <a:lnTo>
                    <a:pt x="27" y="245"/>
                  </a:lnTo>
                  <a:lnTo>
                    <a:pt x="13" y="219"/>
                  </a:lnTo>
                  <a:lnTo>
                    <a:pt x="4" y="189"/>
                  </a:lnTo>
                  <a:lnTo>
                    <a:pt x="0" y="157"/>
                  </a:lnTo>
                  <a:lnTo>
                    <a:pt x="4" y="126"/>
                  </a:lnTo>
                  <a:lnTo>
                    <a:pt x="13" y="96"/>
                  </a:lnTo>
                  <a:lnTo>
                    <a:pt x="27" y="70"/>
                  </a:lnTo>
                  <a:lnTo>
                    <a:pt x="47" y="47"/>
                  </a:lnTo>
                  <a:lnTo>
                    <a:pt x="70" y="27"/>
                  </a:lnTo>
                  <a:lnTo>
                    <a:pt x="96" y="13"/>
                  </a:lnTo>
                  <a:lnTo>
                    <a:pt x="126" y="3"/>
                  </a:lnTo>
                  <a:lnTo>
                    <a:pt x="157" y="0"/>
                  </a:lnTo>
                  <a:close/>
                </a:path>
              </a:pathLst>
            </a:custGeom>
            <a:solidFill>
              <a:srgbClr val="004F59"/>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8</a:t>
              </a:r>
              <a:endParaRPr lang="en-US" sz="2400" dirty="0">
                <a:solidFill>
                  <a:schemeClr val="bg1"/>
                </a:solidFill>
              </a:endParaRPr>
            </a:p>
          </p:txBody>
        </p:sp>
        <p:sp>
          <p:nvSpPr>
            <p:cNvPr id="264" name="Freeform 20">
              <a:extLst>
                <a:ext uri="{FF2B5EF4-FFF2-40B4-BE49-F238E27FC236}">
                  <a16:creationId xmlns:a16="http://schemas.microsoft.com/office/drawing/2014/main" id="{CD19DC7A-7937-194B-8E3F-4B7B3DD4F82E}"/>
                </a:ext>
              </a:extLst>
            </p:cNvPr>
            <p:cNvSpPr>
              <a:spLocks/>
            </p:cNvSpPr>
            <p:nvPr/>
          </p:nvSpPr>
          <p:spPr bwMode="auto">
            <a:xfrm>
              <a:off x="3460099" y="4911757"/>
              <a:ext cx="496593" cy="498174"/>
            </a:xfrm>
            <a:custGeom>
              <a:avLst/>
              <a:gdLst>
                <a:gd name="T0" fmla="*/ 157 w 314"/>
                <a:gd name="T1" fmla="*/ 0 h 315"/>
                <a:gd name="T2" fmla="*/ 190 w 314"/>
                <a:gd name="T3" fmla="*/ 3 h 315"/>
                <a:gd name="T4" fmla="*/ 218 w 314"/>
                <a:gd name="T5" fmla="*/ 13 h 315"/>
                <a:gd name="T6" fmla="*/ 245 w 314"/>
                <a:gd name="T7" fmla="*/ 27 h 315"/>
                <a:gd name="T8" fmla="*/ 269 w 314"/>
                <a:gd name="T9" fmla="*/ 47 h 315"/>
                <a:gd name="T10" fmla="*/ 288 w 314"/>
                <a:gd name="T11" fmla="*/ 70 h 315"/>
                <a:gd name="T12" fmla="*/ 302 w 314"/>
                <a:gd name="T13" fmla="*/ 96 h 315"/>
                <a:gd name="T14" fmla="*/ 312 w 314"/>
                <a:gd name="T15" fmla="*/ 126 h 315"/>
                <a:gd name="T16" fmla="*/ 314 w 314"/>
                <a:gd name="T17" fmla="*/ 157 h 315"/>
                <a:gd name="T18" fmla="*/ 312 w 314"/>
                <a:gd name="T19" fmla="*/ 189 h 315"/>
                <a:gd name="T20" fmla="*/ 302 w 314"/>
                <a:gd name="T21" fmla="*/ 219 h 315"/>
                <a:gd name="T22" fmla="*/ 288 w 314"/>
                <a:gd name="T23" fmla="*/ 245 h 315"/>
                <a:gd name="T24" fmla="*/ 269 w 314"/>
                <a:gd name="T25" fmla="*/ 269 h 315"/>
                <a:gd name="T26" fmla="*/ 245 w 314"/>
                <a:gd name="T27" fmla="*/ 288 h 315"/>
                <a:gd name="T28" fmla="*/ 218 w 314"/>
                <a:gd name="T29" fmla="*/ 302 h 315"/>
                <a:gd name="T30" fmla="*/ 190 w 314"/>
                <a:gd name="T31" fmla="*/ 311 h 315"/>
                <a:gd name="T32" fmla="*/ 157 w 314"/>
                <a:gd name="T33" fmla="*/ 315 h 315"/>
                <a:gd name="T34" fmla="*/ 126 w 314"/>
                <a:gd name="T35" fmla="*/ 311 h 315"/>
                <a:gd name="T36" fmla="*/ 96 w 314"/>
                <a:gd name="T37" fmla="*/ 302 h 315"/>
                <a:gd name="T38" fmla="*/ 69 w 314"/>
                <a:gd name="T39" fmla="*/ 288 h 315"/>
                <a:gd name="T40" fmla="*/ 46 w 314"/>
                <a:gd name="T41" fmla="*/ 269 h 315"/>
                <a:gd name="T42" fmla="*/ 27 w 314"/>
                <a:gd name="T43" fmla="*/ 245 h 315"/>
                <a:gd name="T44" fmla="*/ 12 w 314"/>
                <a:gd name="T45" fmla="*/ 219 h 315"/>
                <a:gd name="T46" fmla="*/ 3 w 314"/>
                <a:gd name="T47" fmla="*/ 189 h 315"/>
                <a:gd name="T48" fmla="*/ 0 w 314"/>
                <a:gd name="T49" fmla="*/ 157 h 315"/>
                <a:gd name="T50" fmla="*/ 3 w 314"/>
                <a:gd name="T51" fmla="*/ 126 h 315"/>
                <a:gd name="T52" fmla="*/ 12 w 314"/>
                <a:gd name="T53" fmla="*/ 96 h 315"/>
                <a:gd name="T54" fmla="*/ 27 w 314"/>
                <a:gd name="T55" fmla="*/ 70 h 315"/>
                <a:gd name="T56" fmla="*/ 46 w 314"/>
                <a:gd name="T57" fmla="*/ 47 h 315"/>
                <a:gd name="T58" fmla="*/ 69 w 314"/>
                <a:gd name="T59" fmla="*/ 27 h 315"/>
                <a:gd name="T60" fmla="*/ 96 w 314"/>
                <a:gd name="T61" fmla="*/ 13 h 315"/>
                <a:gd name="T62" fmla="*/ 126 w 314"/>
                <a:gd name="T63" fmla="*/ 3 h 315"/>
                <a:gd name="T64" fmla="*/ 157 w 314"/>
                <a:gd name="T6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5">
                  <a:moveTo>
                    <a:pt x="157" y="0"/>
                  </a:moveTo>
                  <a:lnTo>
                    <a:pt x="190" y="3"/>
                  </a:lnTo>
                  <a:lnTo>
                    <a:pt x="218" y="13"/>
                  </a:lnTo>
                  <a:lnTo>
                    <a:pt x="245" y="27"/>
                  </a:lnTo>
                  <a:lnTo>
                    <a:pt x="269" y="47"/>
                  </a:lnTo>
                  <a:lnTo>
                    <a:pt x="288" y="70"/>
                  </a:lnTo>
                  <a:lnTo>
                    <a:pt x="302" y="96"/>
                  </a:lnTo>
                  <a:lnTo>
                    <a:pt x="312" y="126"/>
                  </a:lnTo>
                  <a:lnTo>
                    <a:pt x="314" y="157"/>
                  </a:lnTo>
                  <a:lnTo>
                    <a:pt x="312" y="189"/>
                  </a:lnTo>
                  <a:lnTo>
                    <a:pt x="302" y="219"/>
                  </a:lnTo>
                  <a:lnTo>
                    <a:pt x="288" y="245"/>
                  </a:lnTo>
                  <a:lnTo>
                    <a:pt x="269" y="269"/>
                  </a:lnTo>
                  <a:lnTo>
                    <a:pt x="245" y="288"/>
                  </a:lnTo>
                  <a:lnTo>
                    <a:pt x="218" y="302"/>
                  </a:lnTo>
                  <a:lnTo>
                    <a:pt x="190" y="311"/>
                  </a:lnTo>
                  <a:lnTo>
                    <a:pt x="157" y="315"/>
                  </a:lnTo>
                  <a:lnTo>
                    <a:pt x="126" y="311"/>
                  </a:lnTo>
                  <a:lnTo>
                    <a:pt x="96" y="302"/>
                  </a:lnTo>
                  <a:lnTo>
                    <a:pt x="69" y="288"/>
                  </a:lnTo>
                  <a:lnTo>
                    <a:pt x="46" y="269"/>
                  </a:lnTo>
                  <a:lnTo>
                    <a:pt x="27" y="245"/>
                  </a:lnTo>
                  <a:lnTo>
                    <a:pt x="12" y="219"/>
                  </a:lnTo>
                  <a:lnTo>
                    <a:pt x="3" y="189"/>
                  </a:lnTo>
                  <a:lnTo>
                    <a:pt x="0" y="157"/>
                  </a:lnTo>
                  <a:lnTo>
                    <a:pt x="3" y="126"/>
                  </a:lnTo>
                  <a:lnTo>
                    <a:pt x="12" y="96"/>
                  </a:lnTo>
                  <a:lnTo>
                    <a:pt x="27" y="70"/>
                  </a:lnTo>
                  <a:lnTo>
                    <a:pt x="46" y="47"/>
                  </a:lnTo>
                  <a:lnTo>
                    <a:pt x="69" y="27"/>
                  </a:lnTo>
                  <a:lnTo>
                    <a:pt x="96" y="13"/>
                  </a:lnTo>
                  <a:lnTo>
                    <a:pt x="126" y="3"/>
                  </a:lnTo>
                  <a:lnTo>
                    <a:pt x="157" y="0"/>
                  </a:lnTo>
                  <a:close/>
                </a:path>
              </a:pathLst>
            </a:custGeom>
            <a:solidFill>
              <a:schemeClr val="tx2"/>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1</a:t>
              </a:r>
              <a:endParaRPr lang="en-US" sz="2400" dirty="0">
                <a:solidFill>
                  <a:schemeClr val="bg1"/>
                </a:solidFill>
              </a:endParaRPr>
            </a:p>
          </p:txBody>
        </p:sp>
        <p:sp>
          <p:nvSpPr>
            <p:cNvPr id="265" name="Freeform 264">
              <a:extLst>
                <a:ext uri="{FF2B5EF4-FFF2-40B4-BE49-F238E27FC236}">
                  <a16:creationId xmlns:a16="http://schemas.microsoft.com/office/drawing/2014/main" id="{133DCD36-39CE-1344-8D27-3CF5257DF5EE}"/>
                </a:ext>
              </a:extLst>
            </p:cNvPr>
            <p:cNvSpPr>
              <a:spLocks/>
            </p:cNvSpPr>
            <p:nvPr/>
          </p:nvSpPr>
          <p:spPr bwMode="auto">
            <a:xfrm>
              <a:off x="3290076" y="6096036"/>
              <a:ext cx="5903068" cy="16182"/>
            </a:xfrm>
            <a:custGeom>
              <a:avLst/>
              <a:gdLst>
                <a:gd name="T0" fmla="*/ 613 w 614"/>
                <a:gd name="T1" fmla="*/ 2 h 2"/>
                <a:gd name="T2" fmla="*/ 1 w 614"/>
                <a:gd name="T3" fmla="*/ 2 h 2"/>
                <a:gd name="T4" fmla="*/ 0 w 614"/>
                <a:gd name="T5" fmla="*/ 1 h 2"/>
                <a:gd name="T6" fmla="*/ 1 w 614"/>
                <a:gd name="T7" fmla="*/ 0 h 2"/>
                <a:gd name="T8" fmla="*/ 613 w 614"/>
                <a:gd name="T9" fmla="*/ 0 h 2"/>
                <a:gd name="T10" fmla="*/ 614 w 614"/>
                <a:gd name="T11" fmla="*/ 1 h 2"/>
                <a:gd name="T12" fmla="*/ 613 w 61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614" h="2">
                  <a:moveTo>
                    <a:pt x="613" y="2"/>
                  </a:moveTo>
                  <a:cubicBezTo>
                    <a:pt x="1" y="2"/>
                    <a:pt x="1" y="2"/>
                    <a:pt x="1" y="2"/>
                  </a:cubicBezTo>
                  <a:cubicBezTo>
                    <a:pt x="1" y="2"/>
                    <a:pt x="0" y="2"/>
                    <a:pt x="0" y="1"/>
                  </a:cubicBezTo>
                  <a:cubicBezTo>
                    <a:pt x="0" y="0"/>
                    <a:pt x="1" y="0"/>
                    <a:pt x="1" y="0"/>
                  </a:cubicBezTo>
                  <a:cubicBezTo>
                    <a:pt x="613" y="0"/>
                    <a:pt x="613" y="0"/>
                    <a:pt x="613" y="0"/>
                  </a:cubicBezTo>
                  <a:cubicBezTo>
                    <a:pt x="613" y="0"/>
                    <a:pt x="614" y="0"/>
                    <a:pt x="614" y="1"/>
                  </a:cubicBezTo>
                  <a:cubicBezTo>
                    <a:pt x="614" y="2"/>
                    <a:pt x="613" y="2"/>
                    <a:pt x="613" y="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7" name="Rectangle 266">
              <a:extLst>
                <a:ext uri="{FF2B5EF4-FFF2-40B4-BE49-F238E27FC236}">
                  <a16:creationId xmlns:a16="http://schemas.microsoft.com/office/drawing/2014/main" id="{E6F295A7-98AF-0D4B-847B-19C40052BC07}"/>
                </a:ext>
              </a:extLst>
            </p:cNvPr>
            <p:cNvSpPr/>
            <p:nvPr/>
          </p:nvSpPr>
          <p:spPr>
            <a:xfrm>
              <a:off x="1762125" y="4911757"/>
              <a:ext cx="1783367" cy="530915"/>
            </a:xfrm>
            <a:prstGeom prst="rect">
              <a:avLst/>
            </a:prstGeom>
          </p:spPr>
          <p:txBody>
            <a:bodyPr wrap="square" lIns="0" tIns="0" rIns="0" bIns="0">
              <a:spAutoFit/>
            </a:bodyPr>
            <a:lstStyle/>
            <a:p>
              <a:pPr marR="54864">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68" name="Rectangle 267">
              <a:extLst>
                <a:ext uri="{FF2B5EF4-FFF2-40B4-BE49-F238E27FC236}">
                  <a16:creationId xmlns:a16="http://schemas.microsoft.com/office/drawing/2014/main" id="{2AB16E15-2AE8-944D-AD1A-167B9D45BC0E}"/>
                </a:ext>
              </a:extLst>
            </p:cNvPr>
            <p:cNvSpPr/>
            <p:nvPr/>
          </p:nvSpPr>
          <p:spPr>
            <a:xfrm>
              <a:off x="2016405" y="3542127"/>
              <a:ext cx="1783367" cy="530915"/>
            </a:xfrm>
            <a:prstGeom prst="rect">
              <a:avLst/>
            </a:prstGeom>
          </p:spPr>
          <p:txBody>
            <a:bodyPr wrap="square" lIns="0" tIns="0" rIns="0" bIns="0">
              <a:spAutoFit/>
            </a:bodyPr>
            <a:lstStyle/>
            <a:p>
              <a:pPr marR="54864">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69" name="Rectangle 268">
              <a:extLst>
                <a:ext uri="{FF2B5EF4-FFF2-40B4-BE49-F238E27FC236}">
                  <a16:creationId xmlns:a16="http://schemas.microsoft.com/office/drawing/2014/main" id="{0F207A6F-B3A2-1E46-8DCD-12C91CD6F054}"/>
                </a:ext>
              </a:extLst>
            </p:cNvPr>
            <p:cNvSpPr/>
            <p:nvPr/>
          </p:nvSpPr>
          <p:spPr>
            <a:xfrm>
              <a:off x="1647825" y="2771457"/>
              <a:ext cx="2922789" cy="353943"/>
            </a:xfrm>
            <a:prstGeom prst="rect">
              <a:avLst/>
            </a:prstGeom>
          </p:spPr>
          <p:txBody>
            <a:bodyPr wrap="square" lIns="0" tIns="0" rIns="0" bIns="0">
              <a:spAutoFit/>
            </a:bodyPr>
            <a:lstStyle/>
            <a:p>
              <a:pPr marR="54864">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70" name="Rectangle 269">
              <a:extLst>
                <a:ext uri="{FF2B5EF4-FFF2-40B4-BE49-F238E27FC236}">
                  <a16:creationId xmlns:a16="http://schemas.microsoft.com/office/drawing/2014/main" id="{EE5A945F-8EB8-6040-9AB0-3FA1CB21F728}"/>
                </a:ext>
              </a:extLst>
            </p:cNvPr>
            <p:cNvSpPr/>
            <p:nvPr/>
          </p:nvSpPr>
          <p:spPr>
            <a:xfrm>
              <a:off x="4486448" y="1755389"/>
              <a:ext cx="1511910" cy="874470"/>
            </a:xfrm>
            <a:prstGeom prst="rect">
              <a:avLst/>
            </a:prstGeom>
          </p:spPr>
          <p:txBody>
            <a:bodyPr wrap="square" lIns="0" tIns="0" rIns="0" bIns="0">
              <a:spAutoFit/>
            </a:bodyPr>
            <a:lstStyle/>
            <a:p>
              <a:pPr marR="54864">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71" name="Rectangle 270">
              <a:extLst>
                <a:ext uri="{FF2B5EF4-FFF2-40B4-BE49-F238E27FC236}">
                  <a16:creationId xmlns:a16="http://schemas.microsoft.com/office/drawing/2014/main" id="{F930469A-BC5C-B747-909F-1E1D7205AD20}"/>
                </a:ext>
              </a:extLst>
            </p:cNvPr>
            <p:cNvSpPr/>
            <p:nvPr/>
          </p:nvSpPr>
          <p:spPr>
            <a:xfrm>
              <a:off x="6466363" y="1770597"/>
              <a:ext cx="1604326" cy="707886"/>
            </a:xfrm>
            <a:prstGeom prst="rect">
              <a:avLst/>
            </a:prstGeom>
          </p:spPr>
          <p:txBody>
            <a:bodyPr wrap="square" lIns="0" tIns="0" rIns="0" bIns="0">
              <a:spAutoFit/>
            </a:bodyPr>
            <a:lstStyle/>
            <a:p>
              <a:pPr marR="54864" algn="r">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72" name="Rectangle 271">
              <a:extLst>
                <a:ext uri="{FF2B5EF4-FFF2-40B4-BE49-F238E27FC236}">
                  <a16:creationId xmlns:a16="http://schemas.microsoft.com/office/drawing/2014/main" id="{BE2E67E0-6061-F547-8C4B-84BCC6453208}"/>
                </a:ext>
              </a:extLst>
            </p:cNvPr>
            <p:cNvSpPr/>
            <p:nvPr/>
          </p:nvSpPr>
          <p:spPr>
            <a:xfrm>
              <a:off x="8004085" y="2668308"/>
              <a:ext cx="2281713" cy="530915"/>
            </a:xfrm>
            <a:prstGeom prst="rect">
              <a:avLst/>
            </a:prstGeom>
          </p:spPr>
          <p:txBody>
            <a:bodyPr wrap="square" lIns="0" tIns="0" rIns="0" bIns="0">
              <a:spAutoFit/>
            </a:bodyPr>
            <a:lstStyle/>
            <a:p>
              <a:pPr marR="54864" algn="r">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73" name="Rectangle 272">
              <a:extLst>
                <a:ext uri="{FF2B5EF4-FFF2-40B4-BE49-F238E27FC236}">
                  <a16:creationId xmlns:a16="http://schemas.microsoft.com/office/drawing/2014/main" id="{12C9FD4E-E9B1-2A48-A108-910203005BD9}"/>
                </a:ext>
              </a:extLst>
            </p:cNvPr>
            <p:cNvSpPr/>
            <p:nvPr/>
          </p:nvSpPr>
          <p:spPr>
            <a:xfrm>
              <a:off x="8602172" y="3634278"/>
              <a:ext cx="2080115" cy="530915"/>
            </a:xfrm>
            <a:prstGeom prst="rect">
              <a:avLst/>
            </a:prstGeom>
          </p:spPr>
          <p:txBody>
            <a:bodyPr wrap="square" lIns="0" tIns="0" rIns="0" bIns="0">
              <a:spAutoFit/>
            </a:bodyPr>
            <a:lstStyle/>
            <a:p>
              <a:pPr marR="54864" algn="r">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74" name="Rectangle 273">
              <a:extLst>
                <a:ext uri="{FF2B5EF4-FFF2-40B4-BE49-F238E27FC236}">
                  <a16:creationId xmlns:a16="http://schemas.microsoft.com/office/drawing/2014/main" id="{71196AC9-06F0-A741-9CB1-298A6FEFC5A1}"/>
                </a:ext>
              </a:extLst>
            </p:cNvPr>
            <p:cNvSpPr/>
            <p:nvPr/>
          </p:nvSpPr>
          <p:spPr>
            <a:xfrm>
              <a:off x="9092831" y="4897655"/>
              <a:ext cx="2080115" cy="530915"/>
            </a:xfrm>
            <a:prstGeom prst="rect">
              <a:avLst/>
            </a:prstGeom>
          </p:spPr>
          <p:txBody>
            <a:bodyPr wrap="square" lIns="0" tIns="0" rIns="0" bIns="0">
              <a:spAutoFit/>
            </a:bodyPr>
            <a:lstStyle/>
            <a:p>
              <a:pPr marR="54864" algn="r">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grpSp>
          <p:nvGrpSpPr>
            <p:cNvPr id="275" name="Group 274">
              <a:extLst>
                <a:ext uri="{FF2B5EF4-FFF2-40B4-BE49-F238E27FC236}">
                  <a16:creationId xmlns:a16="http://schemas.microsoft.com/office/drawing/2014/main" id="{3057764D-1E1F-6040-83C7-90D54A3F2D88}"/>
                </a:ext>
              </a:extLst>
            </p:cNvPr>
            <p:cNvGrpSpPr/>
            <p:nvPr/>
          </p:nvGrpSpPr>
          <p:grpSpPr>
            <a:xfrm>
              <a:off x="6036928" y="2589827"/>
              <a:ext cx="350024" cy="348265"/>
              <a:chOff x="3320843" y="3006382"/>
              <a:chExt cx="281156" cy="279743"/>
            </a:xfrm>
          </p:grpSpPr>
          <p:sp>
            <p:nvSpPr>
              <p:cNvPr id="284" name="Rectangle 5">
                <a:extLst>
                  <a:ext uri="{FF2B5EF4-FFF2-40B4-BE49-F238E27FC236}">
                    <a16:creationId xmlns:a16="http://schemas.microsoft.com/office/drawing/2014/main" id="{F583D76C-89A0-7144-BF3B-9E209B179353}"/>
                  </a:ext>
                </a:extLst>
              </p:cNvPr>
              <p:cNvSpPr>
                <a:spLocks noChangeArrowheads="1"/>
              </p:cNvSpPr>
              <p:nvPr/>
            </p:nvSpPr>
            <p:spPr bwMode="auto">
              <a:xfrm>
                <a:off x="3391203" y="3117149"/>
                <a:ext cx="23453" cy="35039"/>
              </a:xfrm>
              <a:prstGeom prst="rect">
                <a:avLst/>
              </a:pr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6">
                <a:extLst>
                  <a:ext uri="{FF2B5EF4-FFF2-40B4-BE49-F238E27FC236}">
                    <a16:creationId xmlns:a16="http://schemas.microsoft.com/office/drawing/2014/main" id="{B982C25A-6FA9-CE4B-A7B5-6CED0352A7DD}"/>
                  </a:ext>
                </a:extLst>
              </p:cNvPr>
              <p:cNvSpPr>
                <a:spLocks noChangeArrowheads="1"/>
              </p:cNvSpPr>
              <p:nvPr/>
            </p:nvSpPr>
            <p:spPr bwMode="auto">
              <a:xfrm>
                <a:off x="3397137" y="3070525"/>
                <a:ext cx="11585" cy="11585"/>
              </a:xfrm>
              <a:prstGeom prst="ellipse">
                <a:avLst/>
              </a:pr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7">
                <a:extLst>
                  <a:ext uri="{FF2B5EF4-FFF2-40B4-BE49-F238E27FC236}">
                    <a16:creationId xmlns:a16="http://schemas.microsoft.com/office/drawing/2014/main" id="{1ABF0A8F-67F2-A840-9AE3-8E362592419F}"/>
                  </a:ext>
                </a:extLst>
              </p:cNvPr>
              <p:cNvSpPr>
                <a:spLocks noChangeArrowheads="1"/>
              </p:cNvSpPr>
              <p:nvPr/>
            </p:nvSpPr>
            <p:spPr bwMode="auto">
              <a:xfrm>
                <a:off x="3449694" y="3117149"/>
                <a:ext cx="23453" cy="35039"/>
              </a:xfrm>
              <a:prstGeom prst="rect">
                <a:avLst/>
              </a:pr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Oval 8">
                <a:extLst>
                  <a:ext uri="{FF2B5EF4-FFF2-40B4-BE49-F238E27FC236}">
                    <a16:creationId xmlns:a16="http://schemas.microsoft.com/office/drawing/2014/main" id="{F025BB66-8278-224F-B91C-79A9B23C5934}"/>
                  </a:ext>
                </a:extLst>
              </p:cNvPr>
              <p:cNvSpPr>
                <a:spLocks noChangeArrowheads="1"/>
              </p:cNvSpPr>
              <p:nvPr/>
            </p:nvSpPr>
            <p:spPr bwMode="auto">
              <a:xfrm>
                <a:off x="3455628" y="3070525"/>
                <a:ext cx="11585" cy="11585"/>
              </a:xfrm>
              <a:prstGeom prst="ellipse">
                <a:avLst/>
              </a:pr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9">
                <a:extLst>
                  <a:ext uri="{FF2B5EF4-FFF2-40B4-BE49-F238E27FC236}">
                    <a16:creationId xmlns:a16="http://schemas.microsoft.com/office/drawing/2014/main" id="{A0B1880B-7EC4-AB47-9593-862E01AC4B3A}"/>
                  </a:ext>
                </a:extLst>
              </p:cNvPr>
              <p:cNvSpPr>
                <a:spLocks noChangeArrowheads="1"/>
              </p:cNvSpPr>
              <p:nvPr/>
            </p:nvSpPr>
            <p:spPr bwMode="auto">
              <a:xfrm>
                <a:off x="3514120" y="3070525"/>
                <a:ext cx="11868" cy="11585"/>
              </a:xfrm>
              <a:prstGeom prst="ellipse">
                <a:avLst/>
              </a:pr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0">
                <a:extLst>
                  <a:ext uri="{FF2B5EF4-FFF2-40B4-BE49-F238E27FC236}">
                    <a16:creationId xmlns:a16="http://schemas.microsoft.com/office/drawing/2014/main" id="{D5F92C80-2F94-6E49-A1F2-DA00A529F30E}"/>
                  </a:ext>
                </a:extLst>
              </p:cNvPr>
              <p:cNvSpPr>
                <a:spLocks noEditPoints="1"/>
              </p:cNvSpPr>
              <p:nvPr/>
            </p:nvSpPr>
            <p:spPr bwMode="auto">
              <a:xfrm>
                <a:off x="3320843" y="3006382"/>
                <a:ext cx="281156" cy="279743"/>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1">
                <a:extLst>
                  <a:ext uri="{FF2B5EF4-FFF2-40B4-BE49-F238E27FC236}">
                    <a16:creationId xmlns:a16="http://schemas.microsoft.com/office/drawing/2014/main" id="{FF22FFF1-78F9-794C-A33A-0DD9DB160BFB}"/>
                  </a:ext>
                </a:extLst>
              </p:cNvPr>
              <p:cNvSpPr>
                <a:spLocks/>
              </p:cNvSpPr>
              <p:nvPr/>
            </p:nvSpPr>
            <p:spPr bwMode="auto">
              <a:xfrm>
                <a:off x="3509034" y="3117149"/>
                <a:ext cx="21193" cy="46624"/>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6" name="Oval 275">
              <a:extLst>
                <a:ext uri="{FF2B5EF4-FFF2-40B4-BE49-F238E27FC236}">
                  <a16:creationId xmlns:a16="http://schemas.microsoft.com/office/drawing/2014/main" id="{6E69557E-F5DC-E648-9710-8FDC0D9061F6}"/>
                </a:ext>
              </a:extLst>
            </p:cNvPr>
            <p:cNvSpPr/>
            <p:nvPr/>
          </p:nvSpPr>
          <p:spPr bwMode="gray">
            <a:xfrm>
              <a:off x="3485183" y="4937632"/>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7" name="Oval 276">
              <a:extLst>
                <a:ext uri="{FF2B5EF4-FFF2-40B4-BE49-F238E27FC236}">
                  <a16:creationId xmlns:a16="http://schemas.microsoft.com/office/drawing/2014/main" id="{CE7F57B2-4271-7C42-BED6-E17B7826A5BA}"/>
                </a:ext>
              </a:extLst>
            </p:cNvPr>
            <p:cNvSpPr/>
            <p:nvPr/>
          </p:nvSpPr>
          <p:spPr bwMode="gray">
            <a:xfrm>
              <a:off x="3884187" y="3584374"/>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8" name="Oval 277">
              <a:extLst>
                <a:ext uri="{FF2B5EF4-FFF2-40B4-BE49-F238E27FC236}">
                  <a16:creationId xmlns:a16="http://schemas.microsoft.com/office/drawing/2014/main" id="{8C6F272E-B4A7-3F46-A939-DDA491F5C51A}"/>
                </a:ext>
              </a:extLst>
            </p:cNvPr>
            <p:cNvSpPr/>
            <p:nvPr/>
          </p:nvSpPr>
          <p:spPr bwMode="gray">
            <a:xfrm>
              <a:off x="4590866" y="2699000"/>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9" name="Oval 278">
              <a:extLst>
                <a:ext uri="{FF2B5EF4-FFF2-40B4-BE49-F238E27FC236}">
                  <a16:creationId xmlns:a16="http://schemas.microsoft.com/office/drawing/2014/main" id="{A3EA8257-2B02-D147-9D04-7E833E1D9CD9}"/>
                </a:ext>
              </a:extLst>
            </p:cNvPr>
            <p:cNvSpPr/>
            <p:nvPr/>
          </p:nvSpPr>
          <p:spPr bwMode="gray">
            <a:xfrm>
              <a:off x="5267488" y="2573004"/>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0" name="Oval 279">
              <a:extLst>
                <a:ext uri="{FF2B5EF4-FFF2-40B4-BE49-F238E27FC236}">
                  <a16:creationId xmlns:a16="http://schemas.microsoft.com/office/drawing/2014/main" id="{820B7909-242A-8145-B29A-962431E3B700}"/>
                </a:ext>
              </a:extLst>
            </p:cNvPr>
            <p:cNvSpPr/>
            <p:nvPr/>
          </p:nvSpPr>
          <p:spPr bwMode="gray">
            <a:xfrm>
              <a:off x="6797017" y="2573004"/>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1" name="Oval 280">
              <a:extLst>
                <a:ext uri="{FF2B5EF4-FFF2-40B4-BE49-F238E27FC236}">
                  <a16:creationId xmlns:a16="http://schemas.microsoft.com/office/drawing/2014/main" id="{43C19871-F351-7B47-840F-3489180D2742}"/>
                </a:ext>
              </a:extLst>
            </p:cNvPr>
            <p:cNvSpPr/>
            <p:nvPr/>
          </p:nvSpPr>
          <p:spPr bwMode="gray">
            <a:xfrm>
              <a:off x="7454389" y="2710555"/>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2" name="Oval 281">
              <a:extLst>
                <a:ext uri="{FF2B5EF4-FFF2-40B4-BE49-F238E27FC236}">
                  <a16:creationId xmlns:a16="http://schemas.microsoft.com/office/drawing/2014/main" id="{F500FB90-F807-514F-A930-312E0E2E2275}"/>
                </a:ext>
              </a:extLst>
            </p:cNvPr>
            <p:cNvSpPr/>
            <p:nvPr/>
          </p:nvSpPr>
          <p:spPr bwMode="gray">
            <a:xfrm>
              <a:off x="7968789" y="3634354"/>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3" name="Oval 282">
              <a:extLst>
                <a:ext uri="{FF2B5EF4-FFF2-40B4-BE49-F238E27FC236}">
                  <a16:creationId xmlns:a16="http://schemas.microsoft.com/office/drawing/2014/main" id="{444CF2A5-9B0C-0A40-B996-30596AE5F394}"/>
                </a:ext>
              </a:extLst>
            </p:cNvPr>
            <p:cNvSpPr/>
            <p:nvPr/>
          </p:nvSpPr>
          <p:spPr bwMode="gray">
            <a:xfrm>
              <a:off x="8535144" y="4923530"/>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custDataLst>
      <p:tags r:id="rId1"/>
    </p:custDataLst>
    <p:extLst>
      <p:ext uri="{BB962C8B-B14F-4D97-AF65-F5344CB8AC3E}">
        <p14:creationId xmlns:p14="http://schemas.microsoft.com/office/powerpoint/2010/main" val="4058245898"/>
      </p:ext>
    </p:extLst>
  </p:cSld>
  <p:clrMapOvr>
    <a:masterClrMapping/>
  </p:clrMapOvr>
  <p:transition>
    <p:fade/>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4849486" y="1852636"/>
            <a:ext cx="584854" cy="1113155"/>
            <a:chOff x="4805829" y="1760673"/>
            <a:chExt cx="584854" cy="1113155"/>
          </a:xfrm>
        </p:grpSpPr>
        <p:cxnSp>
          <p:nvCxnSpPr>
            <p:cNvPr id="15" name="Straight Connector 14"/>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16" name="Oval 15"/>
            <p:cNvSpPr/>
            <p:nvPr/>
          </p:nvSpPr>
          <p:spPr bwMode="gray">
            <a:xfrm>
              <a:off x="5047059" y="2425207"/>
              <a:ext cx="102394" cy="10239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3" name="Group 22"/>
            <p:cNvGrpSpPr/>
            <p:nvPr/>
          </p:nvGrpSpPr>
          <p:grpSpPr>
            <a:xfrm>
              <a:off x="4805829" y="1760673"/>
              <a:ext cx="584854" cy="584854"/>
              <a:chOff x="907396" y="2092954"/>
              <a:chExt cx="1222375" cy="1222375"/>
            </a:xfrm>
          </p:grpSpPr>
          <p:sp>
            <p:nvSpPr>
              <p:cNvPr id="21" name="Oval 20"/>
              <p:cNvSpPr/>
              <p:nvPr/>
            </p:nvSpPr>
            <p:spPr bwMode="gray">
              <a:xfrm>
                <a:off x="907396" y="2092954"/>
                <a:ext cx="1222375" cy="122237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 name="Oval 21"/>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25" name="Group 24"/>
          <p:cNvGrpSpPr/>
          <p:nvPr/>
        </p:nvGrpSpPr>
        <p:grpSpPr>
          <a:xfrm>
            <a:off x="6757661" y="1853175"/>
            <a:ext cx="584854" cy="1113155"/>
            <a:chOff x="4805829" y="1760673"/>
            <a:chExt cx="584854" cy="1113155"/>
          </a:xfrm>
        </p:grpSpPr>
        <p:cxnSp>
          <p:nvCxnSpPr>
            <p:cNvPr id="26" name="Straight Connector 25"/>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27" name="Oval 26"/>
            <p:cNvSpPr/>
            <p:nvPr/>
          </p:nvSpPr>
          <p:spPr bwMode="gray">
            <a:xfrm>
              <a:off x="5047059" y="2425207"/>
              <a:ext cx="102394" cy="102394"/>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8" name="Group 27"/>
            <p:cNvGrpSpPr/>
            <p:nvPr/>
          </p:nvGrpSpPr>
          <p:grpSpPr>
            <a:xfrm>
              <a:off x="4805829" y="1760673"/>
              <a:ext cx="584854" cy="584854"/>
              <a:chOff x="907396" y="2092954"/>
              <a:chExt cx="1222375" cy="1222375"/>
            </a:xfrm>
          </p:grpSpPr>
          <p:sp>
            <p:nvSpPr>
              <p:cNvPr id="29" name="Oval 28"/>
              <p:cNvSpPr/>
              <p:nvPr/>
            </p:nvSpPr>
            <p:spPr bwMode="gray">
              <a:xfrm>
                <a:off x="907396" y="2092954"/>
                <a:ext cx="1222375" cy="1222375"/>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Oval 29"/>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31" name="Group 30"/>
          <p:cNvGrpSpPr/>
          <p:nvPr/>
        </p:nvGrpSpPr>
        <p:grpSpPr>
          <a:xfrm rot="10800000">
            <a:off x="4856739" y="4024407"/>
            <a:ext cx="584854" cy="1113155"/>
            <a:chOff x="4805829" y="1760673"/>
            <a:chExt cx="584854" cy="1113155"/>
          </a:xfrm>
        </p:grpSpPr>
        <p:cxnSp>
          <p:nvCxnSpPr>
            <p:cNvPr id="32" name="Straight Connector 31"/>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gray">
            <a:xfrm>
              <a:off x="5047059" y="2425207"/>
              <a:ext cx="102394" cy="102394"/>
            </a:xfrm>
            <a:prstGeom prst="ellipse">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34" name="Group 33"/>
            <p:cNvGrpSpPr/>
            <p:nvPr/>
          </p:nvGrpSpPr>
          <p:grpSpPr>
            <a:xfrm>
              <a:off x="4805829" y="1760673"/>
              <a:ext cx="584854" cy="584854"/>
              <a:chOff x="907396" y="2092954"/>
              <a:chExt cx="1222375" cy="1222375"/>
            </a:xfrm>
          </p:grpSpPr>
          <p:sp>
            <p:nvSpPr>
              <p:cNvPr id="35" name="Oval 34"/>
              <p:cNvSpPr/>
              <p:nvPr/>
            </p:nvSpPr>
            <p:spPr bwMode="gray">
              <a:xfrm>
                <a:off x="907396" y="2092954"/>
                <a:ext cx="1222375" cy="1222375"/>
              </a:xfrm>
              <a:prstGeom prst="ellipse">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6" name="Oval 35"/>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37" name="Group 36"/>
          <p:cNvGrpSpPr/>
          <p:nvPr/>
        </p:nvGrpSpPr>
        <p:grpSpPr>
          <a:xfrm rot="10800000">
            <a:off x="6764914" y="4024946"/>
            <a:ext cx="584854" cy="1113155"/>
            <a:chOff x="4805829" y="1760673"/>
            <a:chExt cx="584854" cy="1113155"/>
          </a:xfrm>
        </p:grpSpPr>
        <p:cxnSp>
          <p:nvCxnSpPr>
            <p:cNvPr id="38" name="Straight Connector 37"/>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39" name="Oval 38"/>
            <p:cNvSpPr/>
            <p:nvPr/>
          </p:nvSpPr>
          <p:spPr bwMode="gray">
            <a:xfrm>
              <a:off x="5047059" y="2425207"/>
              <a:ext cx="102394" cy="102394"/>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0" name="Group 39"/>
            <p:cNvGrpSpPr/>
            <p:nvPr/>
          </p:nvGrpSpPr>
          <p:grpSpPr>
            <a:xfrm>
              <a:off x="4805829" y="1760673"/>
              <a:ext cx="584854" cy="584854"/>
              <a:chOff x="907396" y="2092954"/>
              <a:chExt cx="1222375" cy="1222375"/>
            </a:xfrm>
          </p:grpSpPr>
          <p:sp>
            <p:nvSpPr>
              <p:cNvPr id="41" name="Oval 40"/>
              <p:cNvSpPr/>
              <p:nvPr/>
            </p:nvSpPr>
            <p:spPr bwMode="gray">
              <a:xfrm>
                <a:off x="907396" y="2092954"/>
                <a:ext cx="1222375" cy="1222375"/>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Oval 41"/>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43" name="Group 42"/>
          <p:cNvGrpSpPr/>
          <p:nvPr/>
        </p:nvGrpSpPr>
        <p:grpSpPr>
          <a:xfrm rot="18000000">
            <a:off x="3371309" y="2161497"/>
            <a:ext cx="584854" cy="1113155"/>
            <a:chOff x="4805829" y="1760673"/>
            <a:chExt cx="584854" cy="1113155"/>
          </a:xfrm>
        </p:grpSpPr>
        <p:cxnSp>
          <p:nvCxnSpPr>
            <p:cNvPr id="44" name="Straight Connector 43"/>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45" name="Oval 44"/>
            <p:cNvSpPr/>
            <p:nvPr/>
          </p:nvSpPr>
          <p:spPr bwMode="gray">
            <a:xfrm>
              <a:off x="5047059" y="2425207"/>
              <a:ext cx="102394" cy="102394"/>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6" name="Group 45"/>
            <p:cNvGrpSpPr/>
            <p:nvPr/>
          </p:nvGrpSpPr>
          <p:grpSpPr>
            <a:xfrm>
              <a:off x="4805829" y="1760673"/>
              <a:ext cx="584854" cy="584854"/>
              <a:chOff x="907396" y="2092954"/>
              <a:chExt cx="1222375" cy="1222375"/>
            </a:xfrm>
          </p:grpSpPr>
          <p:sp>
            <p:nvSpPr>
              <p:cNvPr id="47" name="Oval 46"/>
              <p:cNvSpPr/>
              <p:nvPr/>
            </p:nvSpPr>
            <p:spPr bwMode="gray">
              <a:xfrm>
                <a:off x="907396" y="2092954"/>
                <a:ext cx="1222375" cy="1222375"/>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Oval 47"/>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49" name="Group 48"/>
          <p:cNvGrpSpPr/>
          <p:nvPr/>
        </p:nvGrpSpPr>
        <p:grpSpPr>
          <a:xfrm rot="14400000">
            <a:off x="3371309" y="3699814"/>
            <a:ext cx="584854" cy="1113155"/>
            <a:chOff x="4805829" y="1760673"/>
            <a:chExt cx="584854" cy="1113155"/>
          </a:xfrm>
        </p:grpSpPr>
        <p:cxnSp>
          <p:nvCxnSpPr>
            <p:cNvPr id="50" name="Straight Connector 49"/>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51" name="Oval 50"/>
            <p:cNvSpPr/>
            <p:nvPr/>
          </p:nvSpPr>
          <p:spPr bwMode="gray">
            <a:xfrm>
              <a:off x="5047059" y="2425207"/>
              <a:ext cx="102394" cy="102394"/>
            </a:xfrm>
            <a:prstGeom prst="ellipse">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52" name="Group 51"/>
            <p:cNvGrpSpPr/>
            <p:nvPr/>
          </p:nvGrpSpPr>
          <p:grpSpPr>
            <a:xfrm>
              <a:off x="4805829" y="1760673"/>
              <a:ext cx="584854" cy="584854"/>
              <a:chOff x="907396" y="2092954"/>
              <a:chExt cx="1222375" cy="1222375"/>
            </a:xfrm>
          </p:grpSpPr>
          <p:sp>
            <p:nvSpPr>
              <p:cNvPr id="53" name="Oval 52"/>
              <p:cNvSpPr/>
              <p:nvPr/>
            </p:nvSpPr>
            <p:spPr bwMode="gray">
              <a:xfrm>
                <a:off x="907396" y="2092954"/>
                <a:ext cx="1222375" cy="1222375"/>
              </a:xfrm>
              <a:prstGeom prst="ellipse">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Oval 53"/>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55" name="Group 54"/>
          <p:cNvGrpSpPr/>
          <p:nvPr/>
        </p:nvGrpSpPr>
        <p:grpSpPr>
          <a:xfrm rot="3600000">
            <a:off x="8090326" y="2161497"/>
            <a:ext cx="584854" cy="1113155"/>
            <a:chOff x="4805829" y="1760673"/>
            <a:chExt cx="584854" cy="1113155"/>
          </a:xfrm>
        </p:grpSpPr>
        <p:cxnSp>
          <p:nvCxnSpPr>
            <p:cNvPr id="56" name="Straight Connector 55"/>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57" name="Oval 56"/>
            <p:cNvSpPr/>
            <p:nvPr/>
          </p:nvSpPr>
          <p:spPr bwMode="gray">
            <a:xfrm>
              <a:off x="5047059" y="2425207"/>
              <a:ext cx="102394" cy="102394"/>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58" name="Group 57"/>
            <p:cNvGrpSpPr/>
            <p:nvPr/>
          </p:nvGrpSpPr>
          <p:grpSpPr>
            <a:xfrm>
              <a:off x="4805829" y="1760673"/>
              <a:ext cx="584854" cy="584854"/>
              <a:chOff x="907396" y="2092954"/>
              <a:chExt cx="1222375" cy="1222375"/>
            </a:xfrm>
          </p:grpSpPr>
          <p:sp>
            <p:nvSpPr>
              <p:cNvPr id="59" name="Oval 58"/>
              <p:cNvSpPr/>
              <p:nvPr/>
            </p:nvSpPr>
            <p:spPr bwMode="gray">
              <a:xfrm>
                <a:off x="907396" y="2092954"/>
                <a:ext cx="1222375" cy="1222375"/>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0" name="Oval 59"/>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61" name="Group 60"/>
          <p:cNvGrpSpPr/>
          <p:nvPr/>
        </p:nvGrpSpPr>
        <p:grpSpPr>
          <a:xfrm rot="7200000">
            <a:off x="8090326" y="3699814"/>
            <a:ext cx="584854" cy="1113155"/>
            <a:chOff x="4805829" y="1760673"/>
            <a:chExt cx="584854" cy="1113155"/>
          </a:xfrm>
        </p:grpSpPr>
        <p:cxnSp>
          <p:nvCxnSpPr>
            <p:cNvPr id="62" name="Straight Connector 61"/>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63" name="Oval 62"/>
            <p:cNvSpPr/>
            <p:nvPr/>
          </p:nvSpPr>
          <p:spPr bwMode="gray">
            <a:xfrm>
              <a:off x="5047059" y="2425207"/>
              <a:ext cx="102394" cy="102394"/>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64" name="Group 63"/>
            <p:cNvGrpSpPr/>
            <p:nvPr/>
          </p:nvGrpSpPr>
          <p:grpSpPr>
            <a:xfrm>
              <a:off x="4805829" y="1760673"/>
              <a:ext cx="584854" cy="584854"/>
              <a:chOff x="907396" y="2092954"/>
              <a:chExt cx="1222375" cy="1222375"/>
            </a:xfrm>
          </p:grpSpPr>
          <p:sp>
            <p:nvSpPr>
              <p:cNvPr id="65" name="Oval 64"/>
              <p:cNvSpPr/>
              <p:nvPr/>
            </p:nvSpPr>
            <p:spPr bwMode="gray">
              <a:xfrm>
                <a:off x="907396" y="2092954"/>
                <a:ext cx="1222375" cy="1222375"/>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6" name="Oval 65"/>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sp>
        <p:nvSpPr>
          <p:cNvPr id="67" name="TextBox 66"/>
          <p:cNvSpPr txBox="1"/>
          <p:nvPr/>
        </p:nvSpPr>
        <p:spPr>
          <a:xfrm>
            <a:off x="1283808" y="2640150"/>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43B02A"/>
                </a:solidFill>
              </a:rPr>
              <a:t>Askfjsd</a:t>
            </a:r>
            <a:r>
              <a:rPr lang="en-US" altLang="zh-CN" sz="1400" b="1" dirty="0">
                <a:solidFill>
                  <a:srgbClr val="43B02A"/>
                </a:solidFill>
              </a:rPr>
              <a:t> </a:t>
            </a:r>
            <a:endParaRPr lang="en-US" sz="1400" b="1" dirty="0">
              <a:solidFill>
                <a:srgbClr val="43B02A"/>
              </a:solidFill>
            </a:endParaRPr>
          </a:p>
        </p:txBody>
      </p:sp>
      <p:sp>
        <p:nvSpPr>
          <p:cNvPr id="68" name="TextBox 67"/>
          <p:cNvSpPr txBox="1"/>
          <p:nvPr/>
        </p:nvSpPr>
        <p:spPr>
          <a:xfrm>
            <a:off x="469900" y="2257012"/>
            <a:ext cx="2432522"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69" name="TextBox 68"/>
          <p:cNvSpPr txBox="1"/>
          <p:nvPr/>
        </p:nvSpPr>
        <p:spPr>
          <a:xfrm>
            <a:off x="4739560" y="1534670"/>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chemeClr val="accent3"/>
                </a:solidFill>
              </a:rPr>
              <a:t>Askfjsd</a:t>
            </a:r>
            <a:r>
              <a:rPr lang="en-US" altLang="zh-CN" sz="1400" b="1" dirty="0">
                <a:solidFill>
                  <a:schemeClr val="accent3"/>
                </a:solidFill>
              </a:rPr>
              <a:t> </a:t>
            </a:r>
            <a:endParaRPr lang="en-US" sz="1400" b="1" dirty="0">
              <a:solidFill>
                <a:schemeClr val="accent3"/>
              </a:solidFill>
            </a:endParaRPr>
          </a:p>
        </p:txBody>
      </p:sp>
      <p:sp>
        <p:nvSpPr>
          <p:cNvPr id="70" name="TextBox 69"/>
          <p:cNvSpPr txBox="1"/>
          <p:nvPr/>
        </p:nvSpPr>
        <p:spPr>
          <a:xfrm>
            <a:off x="4278313" y="1151532"/>
            <a:ext cx="1727200"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71" name="TextBox 70"/>
          <p:cNvSpPr txBox="1"/>
          <p:nvPr/>
        </p:nvSpPr>
        <p:spPr>
          <a:xfrm>
            <a:off x="6647735" y="1534670"/>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0076A8"/>
                </a:solidFill>
              </a:rPr>
              <a:t>Askfjsd</a:t>
            </a:r>
            <a:r>
              <a:rPr lang="en-US" altLang="zh-CN" sz="1400" b="1" dirty="0">
                <a:solidFill>
                  <a:srgbClr val="0076A8"/>
                </a:solidFill>
              </a:rPr>
              <a:t> </a:t>
            </a:r>
            <a:endParaRPr lang="en-US" sz="1400" b="1" dirty="0">
              <a:solidFill>
                <a:srgbClr val="0076A8"/>
              </a:solidFill>
            </a:endParaRPr>
          </a:p>
        </p:txBody>
      </p:sp>
      <p:sp>
        <p:nvSpPr>
          <p:cNvPr id="72" name="TextBox 71"/>
          <p:cNvSpPr txBox="1"/>
          <p:nvPr/>
        </p:nvSpPr>
        <p:spPr>
          <a:xfrm>
            <a:off x="6184900" y="1151532"/>
            <a:ext cx="1730376"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73" name="TextBox 72"/>
          <p:cNvSpPr txBox="1"/>
          <p:nvPr/>
        </p:nvSpPr>
        <p:spPr>
          <a:xfrm>
            <a:off x="4285565" y="5544337"/>
            <a:ext cx="1727200"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74" name="TextBox 73"/>
          <p:cNvSpPr txBox="1"/>
          <p:nvPr/>
        </p:nvSpPr>
        <p:spPr>
          <a:xfrm>
            <a:off x="6192152" y="5544337"/>
            <a:ext cx="1730376"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75" name="TextBox 74"/>
          <p:cNvSpPr txBox="1"/>
          <p:nvPr/>
        </p:nvSpPr>
        <p:spPr>
          <a:xfrm>
            <a:off x="4746812" y="5234181"/>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6FC2B4"/>
                </a:solidFill>
              </a:rPr>
              <a:t>Askfjsd</a:t>
            </a:r>
            <a:r>
              <a:rPr lang="en-US" altLang="zh-CN" sz="1400" b="1" dirty="0">
                <a:solidFill>
                  <a:srgbClr val="6FC2B4"/>
                </a:solidFill>
              </a:rPr>
              <a:t> </a:t>
            </a:r>
            <a:endParaRPr lang="en-US" sz="1400" b="1" dirty="0">
              <a:solidFill>
                <a:srgbClr val="6FC2B4"/>
              </a:solidFill>
            </a:endParaRPr>
          </a:p>
        </p:txBody>
      </p:sp>
      <p:sp>
        <p:nvSpPr>
          <p:cNvPr id="76" name="TextBox 75"/>
          <p:cNvSpPr txBox="1"/>
          <p:nvPr/>
        </p:nvSpPr>
        <p:spPr>
          <a:xfrm>
            <a:off x="6654987" y="5234181"/>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00ABAB"/>
                </a:solidFill>
              </a:rPr>
              <a:t>Askfjsd</a:t>
            </a:r>
            <a:r>
              <a:rPr lang="en-US" altLang="zh-CN" sz="1400" b="1" dirty="0">
                <a:solidFill>
                  <a:srgbClr val="00ABAB"/>
                </a:solidFill>
              </a:rPr>
              <a:t> </a:t>
            </a:r>
            <a:endParaRPr lang="en-US" sz="1400" b="1" dirty="0">
              <a:solidFill>
                <a:srgbClr val="00ABAB"/>
              </a:solidFill>
            </a:endParaRPr>
          </a:p>
        </p:txBody>
      </p:sp>
      <p:sp>
        <p:nvSpPr>
          <p:cNvPr id="77" name="TextBox 76"/>
          <p:cNvSpPr txBox="1"/>
          <p:nvPr/>
        </p:nvSpPr>
        <p:spPr>
          <a:xfrm>
            <a:off x="1281573" y="4031308"/>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009A44"/>
                </a:solidFill>
              </a:rPr>
              <a:t>Askfjsd</a:t>
            </a:r>
            <a:r>
              <a:rPr lang="en-US" altLang="zh-CN" sz="1400" b="1" dirty="0">
                <a:solidFill>
                  <a:srgbClr val="009A44"/>
                </a:solidFill>
              </a:rPr>
              <a:t> </a:t>
            </a:r>
            <a:endParaRPr lang="en-US" sz="1400" b="1" dirty="0">
              <a:solidFill>
                <a:srgbClr val="009A44"/>
              </a:solidFill>
            </a:endParaRPr>
          </a:p>
        </p:txBody>
      </p:sp>
      <p:sp>
        <p:nvSpPr>
          <p:cNvPr id="78" name="TextBox 77"/>
          <p:cNvSpPr txBox="1"/>
          <p:nvPr/>
        </p:nvSpPr>
        <p:spPr>
          <a:xfrm>
            <a:off x="467665" y="4325882"/>
            <a:ext cx="2432522"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79" name="TextBox 78"/>
          <p:cNvSpPr txBox="1"/>
          <p:nvPr/>
        </p:nvSpPr>
        <p:spPr>
          <a:xfrm>
            <a:off x="10106084" y="2640150"/>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chemeClr val="accent4"/>
                </a:solidFill>
              </a:rPr>
              <a:t>Askfjsd</a:t>
            </a:r>
            <a:r>
              <a:rPr lang="en-US" altLang="zh-CN" sz="1400" b="1" dirty="0">
                <a:solidFill>
                  <a:schemeClr val="accent4"/>
                </a:solidFill>
              </a:rPr>
              <a:t> </a:t>
            </a:r>
            <a:endParaRPr lang="en-US" sz="1400" b="1" dirty="0">
              <a:solidFill>
                <a:schemeClr val="accent4"/>
              </a:solidFill>
            </a:endParaRPr>
          </a:p>
        </p:txBody>
      </p:sp>
      <p:sp>
        <p:nvSpPr>
          <p:cNvPr id="80" name="TextBox 79"/>
          <p:cNvSpPr txBox="1"/>
          <p:nvPr/>
        </p:nvSpPr>
        <p:spPr>
          <a:xfrm>
            <a:off x="9292176" y="2257012"/>
            <a:ext cx="2432522"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81" name="TextBox 80"/>
          <p:cNvSpPr txBox="1"/>
          <p:nvPr/>
        </p:nvSpPr>
        <p:spPr>
          <a:xfrm>
            <a:off x="10103849" y="4031308"/>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007680"/>
                </a:solidFill>
              </a:rPr>
              <a:t>Askfjsd</a:t>
            </a:r>
            <a:r>
              <a:rPr lang="en-US" altLang="zh-CN" sz="1400" b="1" dirty="0">
                <a:solidFill>
                  <a:srgbClr val="007680"/>
                </a:solidFill>
              </a:rPr>
              <a:t> </a:t>
            </a:r>
            <a:endParaRPr lang="en-US" sz="1400" b="1" dirty="0">
              <a:solidFill>
                <a:srgbClr val="007680"/>
              </a:solidFill>
            </a:endParaRPr>
          </a:p>
        </p:txBody>
      </p:sp>
      <p:sp>
        <p:nvSpPr>
          <p:cNvPr id="82" name="TextBox 81"/>
          <p:cNvSpPr txBox="1"/>
          <p:nvPr/>
        </p:nvSpPr>
        <p:spPr>
          <a:xfrm>
            <a:off x="9289941" y="4325882"/>
            <a:ext cx="2432522"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6" name="Flowchart: Alternate Process 5"/>
          <p:cNvSpPr/>
          <p:nvPr/>
        </p:nvSpPr>
        <p:spPr bwMode="gray">
          <a:xfrm>
            <a:off x="3966718" y="2851380"/>
            <a:ext cx="4113052" cy="1271707"/>
          </a:xfrm>
          <a:prstGeom prst="flowChartAlternateProcess">
            <a:avLst/>
          </a:prstGeom>
          <a:solidFill>
            <a:schemeClr val="bg1"/>
          </a:solidFill>
          <a:ln w="38100" algn="ctr">
            <a:solidFill>
              <a:srgbClr val="004F5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TextBox 8"/>
          <p:cNvSpPr txBox="1"/>
          <p:nvPr/>
        </p:nvSpPr>
        <p:spPr>
          <a:xfrm>
            <a:off x="5576627" y="3155925"/>
            <a:ext cx="1038746" cy="276999"/>
          </a:xfrm>
          <a:prstGeom prst="rect">
            <a:avLst/>
          </a:prstGeom>
          <a:noFill/>
        </p:spPr>
        <p:txBody>
          <a:bodyPr wrap="none" lIns="0" tIns="0" rIns="0" bIns="0" rtlCol="0">
            <a:spAutoFit/>
          </a:bodyPr>
          <a:lstStyle/>
          <a:p>
            <a:pPr algn="ctr">
              <a:spcBef>
                <a:spcPts val="600"/>
              </a:spcBef>
              <a:buSzPct val="100000"/>
            </a:pPr>
            <a:r>
              <a:rPr lang="en-US" altLang="zh-CN" sz="1800" b="1" dirty="0" err="1">
                <a:solidFill>
                  <a:schemeClr val="accent1"/>
                </a:solidFill>
              </a:rPr>
              <a:t>Askfjsd</a:t>
            </a:r>
            <a:r>
              <a:rPr lang="en-US" altLang="zh-CN" sz="1800" b="1" dirty="0">
                <a:solidFill>
                  <a:schemeClr val="accent1"/>
                </a:solidFill>
              </a:rPr>
              <a:t> </a:t>
            </a:r>
            <a:endParaRPr lang="en-US" sz="1800" b="1" dirty="0">
              <a:solidFill>
                <a:schemeClr val="accent1"/>
              </a:solidFill>
            </a:endParaRPr>
          </a:p>
        </p:txBody>
      </p:sp>
      <p:sp>
        <p:nvSpPr>
          <p:cNvPr id="10" name="TextBox 9"/>
          <p:cNvSpPr txBox="1"/>
          <p:nvPr/>
        </p:nvSpPr>
        <p:spPr>
          <a:xfrm>
            <a:off x="5507698" y="3562626"/>
            <a:ext cx="1176604" cy="184666"/>
          </a:xfrm>
          <a:prstGeom prst="rect">
            <a:avLst/>
          </a:prstGeom>
          <a:noFill/>
        </p:spPr>
        <p:txBody>
          <a:bodyPr wrap="none" lIns="0" tIns="0" rIns="0" bIns="0" rtlCol="0">
            <a:spAutoFit/>
          </a:bodyPr>
          <a:lstStyle/>
          <a:p>
            <a:pPr algn="ctr">
              <a:spcBef>
                <a:spcPts val="600"/>
              </a:spcBef>
              <a:buSzPct val="100000"/>
            </a:pPr>
            <a:r>
              <a:rPr lang="en-US" altLang="zh-CN" sz="1200" dirty="0" err="1">
                <a:solidFill>
                  <a:schemeClr val="accent6"/>
                </a:solidFill>
              </a:rPr>
              <a:t>AskfjsdAskfjsd</a:t>
            </a:r>
            <a:r>
              <a:rPr lang="en-US" altLang="zh-CN" sz="1200" dirty="0">
                <a:solidFill>
                  <a:schemeClr val="accent6"/>
                </a:solidFill>
              </a:rPr>
              <a:t> </a:t>
            </a:r>
            <a:endParaRPr lang="en-US" sz="1200" dirty="0">
              <a:solidFill>
                <a:schemeClr val="accent6"/>
              </a:solidFill>
            </a:endParaRPr>
          </a:p>
        </p:txBody>
      </p:sp>
      <p:cxnSp>
        <p:nvCxnSpPr>
          <p:cNvPr id="12" name="Straight Connector 11"/>
          <p:cNvCxnSpPr/>
          <p:nvPr/>
        </p:nvCxnSpPr>
        <p:spPr>
          <a:xfrm>
            <a:off x="4671136" y="3509681"/>
            <a:ext cx="2963151" cy="0"/>
          </a:xfrm>
          <a:prstGeom prst="line">
            <a:avLst/>
          </a:prstGeom>
          <a:ln w="28575" cmpd="sng">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256107940"/>
      </p:ext>
    </p:extLst>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5" name="Straight Connector 84">
            <a:extLst>
              <a:ext uri="{FF2B5EF4-FFF2-40B4-BE49-F238E27FC236}">
                <a16:creationId xmlns:a16="http://schemas.microsoft.com/office/drawing/2014/main" id="{2E2B623A-401B-224C-A84E-11FFE1F934FD}"/>
              </a:ext>
            </a:extLst>
          </p:cNvPr>
          <p:cNvCxnSpPr/>
          <p:nvPr/>
        </p:nvCxnSpPr>
        <p:spPr>
          <a:xfrm>
            <a:off x="3036917" y="1828800"/>
            <a:ext cx="4865717"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B465AB4C-8514-1F4B-9E94-CE5853CA8175}"/>
              </a:ext>
            </a:extLst>
          </p:cNvPr>
          <p:cNvCxnSpPr/>
          <p:nvPr/>
        </p:nvCxnSpPr>
        <p:spPr>
          <a:xfrm>
            <a:off x="4832466" y="2362200"/>
            <a:ext cx="3280757"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5D90996-8AA5-A74D-9C63-367C6CFCA6BD}"/>
              </a:ext>
            </a:extLst>
          </p:cNvPr>
          <p:cNvCxnSpPr/>
          <p:nvPr/>
        </p:nvCxnSpPr>
        <p:spPr>
          <a:xfrm>
            <a:off x="3025833" y="2895600"/>
            <a:ext cx="4987636"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10233CE-1CBD-0547-A295-B522F2CFA683}"/>
              </a:ext>
            </a:extLst>
          </p:cNvPr>
          <p:cNvCxnSpPr/>
          <p:nvPr/>
        </p:nvCxnSpPr>
        <p:spPr>
          <a:xfrm>
            <a:off x="3746269" y="3429000"/>
            <a:ext cx="4344786"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6C382-CEFD-5C41-86D5-13B374282820}"/>
              </a:ext>
            </a:extLst>
          </p:cNvPr>
          <p:cNvCxnSpPr/>
          <p:nvPr/>
        </p:nvCxnSpPr>
        <p:spPr>
          <a:xfrm>
            <a:off x="4976553" y="3886200"/>
            <a:ext cx="3092334"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BC09DA2-C868-4549-8E4C-9D5AC495085D}"/>
              </a:ext>
            </a:extLst>
          </p:cNvPr>
          <p:cNvCxnSpPr/>
          <p:nvPr/>
        </p:nvCxnSpPr>
        <p:spPr>
          <a:xfrm>
            <a:off x="4854633" y="4419600"/>
            <a:ext cx="3158836"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92BC8A6-B550-CE4B-A303-130A07CDCE42}"/>
              </a:ext>
            </a:extLst>
          </p:cNvPr>
          <p:cNvCxnSpPr/>
          <p:nvPr/>
        </p:nvCxnSpPr>
        <p:spPr>
          <a:xfrm>
            <a:off x="2914996" y="4953000"/>
            <a:ext cx="5187142"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73F9347-E094-6347-9219-4A718E79CAC8}"/>
              </a:ext>
            </a:extLst>
          </p:cNvPr>
          <p:cNvCxnSpPr/>
          <p:nvPr/>
        </p:nvCxnSpPr>
        <p:spPr>
          <a:xfrm>
            <a:off x="3491346" y="5486400"/>
            <a:ext cx="4610793"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F6F6DA8-61FD-A14A-B3E5-1D1547183876}"/>
              </a:ext>
            </a:extLst>
          </p:cNvPr>
          <p:cNvCxnSpPr/>
          <p:nvPr/>
        </p:nvCxnSpPr>
        <p:spPr>
          <a:xfrm>
            <a:off x="3203172" y="6019800"/>
            <a:ext cx="4898967"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886BDA33-B56D-C840-B4BC-6D08BB6044DE}"/>
              </a:ext>
            </a:extLst>
          </p:cNvPr>
          <p:cNvCxnSpPr/>
          <p:nvPr/>
        </p:nvCxnSpPr>
        <p:spPr>
          <a:xfrm>
            <a:off x="3025833" y="1257993"/>
            <a:ext cx="5054138"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8586A1DA-E848-0D41-B5DB-1F9E08C72A55}"/>
              </a:ext>
            </a:extLst>
          </p:cNvPr>
          <p:cNvGrpSpPr/>
          <p:nvPr/>
        </p:nvGrpSpPr>
        <p:grpSpPr>
          <a:xfrm>
            <a:off x="5467882" y="914400"/>
            <a:ext cx="1075263" cy="5467351"/>
            <a:chOff x="4178336" y="914399"/>
            <a:chExt cx="1075263" cy="5467351"/>
          </a:xfrm>
        </p:grpSpPr>
        <p:sp>
          <p:nvSpPr>
            <p:cNvPr id="132" name="Oval 131">
              <a:extLst>
                <a:ext uri="{FF2B5EF4-FFF2-40B4-BE49-F238E27FC236}">
                  <a16:creationId xmlns:a16="http://schemas.microsoft.com/office/drawing/2014/main" id="{319BA583-826B-1F42-8287-9C384C82B4D7}"/>
                </a:ext>
              </a:extLst>
            </p:cNvPr>
            <p:cNvSpPr/>
            <p:nvPr/>
          </p:nvSpPr>
          <p:spPr bwMode="gray">
            <a:xfrm>
              <a:off x="4541313" y="914399"/>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3" name="Oval 132">
              <a:extLst>
                <a:ext uri="{FF2B5EF4-FFF2-40B4-BE49-F238E27FC236}">
                  <a16:creationId xmlns:a16="http://schemas.microsoft.com/office/drawing/2014/main" id="{264E990E-E5EB-2E40-B303-1304B3CF0CEC}"/>
                </a:ext>
              </a:extLst>
            </p:cNvPr>
            <p:cNvSpPr/>
            <p:nvPr/>
          </p:nvSpPr>
          <p:spPr bwMode="gray">
            <a:xfrm>
              <a:off x="4614885" y="987972"/>
              <a:ext cx="565141" cy="565142"/>
            </a:xfrm>
            <a:prstGeom prst="ellipse">
              <a:avLst/>
            </a:prstGeom>
            <a:solidFill>
              <a:schemeClr val="tx2"/>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390</a:t>
              </a:r>
            </a:p>
          </p:txBody>
        </p:sp>
        <p:sp>
          <p:nvSpPr>
            <p:cNvPr id="134" name="Oval 133">
              <a:extLst>
                <a:ext uri="{FF2B5EF4-FFF2-40B4-BE49-F238E27FC236}">
                  <a16:creationId xmlns:a16="http://schemas.microsoft.com/office/drawing/2014/main" id="{CC5F3980-46E1-594F-981A-B3E14D6BAE32}"/>
                </a:ext>
              </a:extLst>
            </p:cNvPr>
            <p:cNvSpPr/>
            <p:nvPr/>
          </p:nvSpPr>
          <p:spPr bwMode="gray">
            <a:xfrm>
              <a:off x="4178336" y="1435349"/>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5" name="Oval 134">
              <a:extLst>
                <a:ext uri="{FF2B5EF4-FFF2-40B4-BE49-F238E27FC236}">
                  <a16:creationId xmlns:a16="http://schemas.microsoft.com/office/drawing/2014/main" id="{AF041DE2-471D-5740-B292-2B8E25D29B71}"/>
                </a:ext>
              </a:extLst>
            </p:cNvPr>
            <p:cNvSpPr/>
            <p:nvPr/>
          </p:nvSpPr>
          <p:spPr bwMode="gray">
            <a:xfrm>
              <a:off x="4251908" y="1508922"/>
              <a:ext cx="565141" cy="565142"/>
            </a:xfrm>
            <a:prstGeom prst="ellipse">
              <a:avLst/>
            </a:prstGeom>
            <a:solidFill>
              <a:schemeClr val="accent1"/>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124</a:t>
              </a:r>
            </a:p>
          </p:txBody>
        </p:sp>
        <p:sp>
          <p:nvSpPr>
            <p:cNvPr id="136" name="Oval 135">
              <a:extLst>
                <a:ext uri="{FF2B5EF4-FFF2-40B4-BE49-F238E27FC236}">
                  <a16:creationId xmlns:a16="http://schemas.microsoft.com/office/drawing/2014/main" id="{6A4A4544-74C9-F346-A28A-76E2C73D60E5}"/>
                </a:ext>
              </a:extLst>
            </p:cNvPr>
            <p:cNvSpPr/>
            <p:nvPr/>
          </p:nvSpPr>
          <p:spPr bwMode="gray">
            <a:xfrm>
              <a:off x="4541313" y="1953485"/>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7" name="Oval 136">
              <a:extLst>
                <a:ext uri="{FF2B5EF4-FFF2-40B4-BE49-F238E27FC236}">
                  <a16:creationId xmlns:a16="http://schemas.microsoft.com/office/drawing/2014/main" id="{9E9B6C75-371B-464A-BF13-80C64F4A49C1}"/>
                </a:ext>
              </a:extLst>
            </p:cNvPr>
            <p:cNvSpPr/>
            <p:nvPr/>
          </p:nvSpPr>
          <p:spPr bwMode="gray">
            <a:xfrm>
              <a:off x="4614885" y="2027058"/>
              <a:ext cx="565141" cy="565142"/>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60</a:t>
              </a:r>
            </a:p>
          </p:txBody>
        </p:sp>
        <p:sp>
          <p:nvSpPr>
            <p:cNvPr id="138" name="Oval 137">
              <a:extLst>
                <a:ext uri="{FF2B5EF4-FFF2-40B4-BE49-F238E27FC236}">
                  <a16:creationId xmlns:a16="http://schemas.microsoft.com/office/drawing/2014/main" id="{662D1BC4-D3BC-6540-9C49-B1CF97799B2A}"/>
                </a:ext>
              </a:extLst>
            </p:cNvPr>
            <p:cNvSpPr/>
            <p:nvPr/>
          </p:nvSpPr>
          <p:spPr bwMode="gray">
            <a:xfrm>
              <a:off x="4178336" y="2474435"/>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9" name="Oval 138">
              <a:extLst>
                <a:ext uri="{FF2B5EF4-FFF2-40B4-BE49-F238E27FC236}">
                  <a16:creationId xmlns:a16="http://schemas.microsoft.com/office/drawing/2014/main" id="{224225A2-73F1-7142-B725-FCEBF1C4A62C}"/>
                </a:ext>
              </a:extLst>
            </p:cNvPr>
            <p:cNvSpPr/>
            <p:nvPr/>
          </p:nvSpPr>
          <p:spPr bwMode="gray">
            <a:xfrm>
              <a:off x="4251908" y="2548008"/>
              <a:ext cx="565141" cy="565142"/>
            </a:xfrm>
            <a:prstGeom prst="ellipse">
              <a:avLst/>
            </a:prstGeom>
            <a:solidFill>
              <a:schemeClr val="accent3"/>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44</a:t>
              </a:r>
            </a:p>
          </p:txBody>
        </p:sp>
        <p:sp>
          <p:nvSpPr>
            <p:cNvPr id="140" name="Oval 139">
              <a:extLst>
                <a:ext uri="{FF2B5EF4-FFF2-40B4-BE49-F238E27FC236}">
                  <a16:creationId xmlns:a16="http://schemas.microsoft.com/office/drawing/2014/main" id="{848D472B-78CE-FF40-A4EE-AAF66E8AA37B}"/>
                </a:ext>
              </a:extLst>
            </p:cNvPr>
            <p:cNvSpPr/>
            <p:nvPr/>
          </p:nvSpPr>
          <p:spPr bwMode="gray">
            <a:xfrm>
              <a:off x="4541313" y="3014680"/>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1" name="Oval 140">
              <a:extLst>
                <a:ext uri="{FF2B5EF4-FFF2-40B4-BE49-F238E27FC236}">
                  <a16:creationId xmlns:a16="http://schemas.microsoft.com/office/drawing/2014/main" id="{00C7DB63-BF5C-7140-8A9A-9C668F5775A9}"/>
                </a:ext>
              </a:extLst>
            </p:cNvPr>
            <p:cNvSpPr/>
            <p:nvPr/>
          </p:nvSpPr>
          <p:spPr bwMode="gray">
            <a:xfrm>
              <a:off x="4614885" y="3088253"/>
              <a:ext cx="565141" cy="565142"/>
            </a:xfrm>
            <a:prstGeom prst="ellipse">
              <a:avLst/>
            </a:prstGeom>
            <a:solidFill>
              <a:schemeClr val="accent4"/>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37</a:t>
              </a:r>
            </a:p>
          </p:txBody>
        </p:sp>
        <p:sp>
          <p:nvSpPr>
            <p:cNvPr id="142" name="Oval 141">
              <a:extLst>
                <a:ext uri="{FF2B5EF4-FFF2-40B4-BE49-F238E27FC236}">
                  <a16:creationId xmlns:a16="http://schemas.microsoft.com/office/drawing/2014/main" id="{A488E952-933C-2B46-9E0A-3A044FE7AEC7}"/>
                </a:ext>
              </a:extLst>
            </p:cNvPr>
            <p:cNvSpPr/>
            <p:nvPr/>
          </p:nvSpPr>
          <p:spPr bwMode="gray">
            <a:xfrm>
              <a:off x="4178336" y="3535629"/>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3" name="Oval 142">
              <a:extLst>
                <a:ext uri="{FF2B5EF4-FFF2-40B4-BE49-F238E27FC236}">
                  <a16:creationId xmlns:a16="http://schemas.microsoft.com/office/drawing/2014/main" id="{CD29A5FA-33D3-6045-9937-E05A38AA0727}"/>
                </a:ext>
              </a:extLst>
            </p:cNvPr>
            <p:cNvSpPr/>
            <p:nvPr/>
          </p:nvSpPr>
          <p:spPr bwMode="gray">
            <a:xfrm>
              <a:off x="4251908" y="3609202"/>
              <a:ext cx="565141" cy="565142"/>
            </a:xfrm>
            <a:prstGeom prst="ellipse">
              <a:avLst/>
            </a:prstGeom>
            <a:solidFill>
              <a:schemeClr val="accent5"/>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32</a:t>
              </a:r>
            </a:p>
          </p:txBody>
        </p:sp>
        <p:sp>
          <p:nvSpPr>
            <p:cNvPr id="144" name="Oval 143">
              <a:extLst>
                <a:ext uri="{FF2B5EF4-FFF2-40B4-BE49-F238E27FC236}">
                  <a16:creationId xmlns:a16="http://schemas.microsoft.com/office/drawing/2014/main" id="{AF2E915F-25CB-FF4F-9C46-3714CA3CC7A6}"/>
                </a:ext>
              </a:extLst>
            </p:cNvPr>
            <p:cNvSpPr/>
            <p:nvPr/>
          </p:nvSpPr>
          <p:spPr bwMode="gray">
            <a:xfrm>
              <a:off x="4541313" y="4075874"/>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5" name="Oval 144">
              <a:extLst>
                <a:ext uri="{FF2B5EF4-FFF2-40B4-BE49-F238E27FC236}">
                  <a16:creationId xmlns:a16="http://schemas.microsoft.com/office/drawing/2014/main" id="{82A0435A-9748-E04F-B089-8BAF5FE51AF2}"/>
                </a:ext>
              </a:extLst>
            </p:cNvPr>
            <p:cNvSpPr/>
            <p:nvPr/>
          </p:nvSpPr>
          <p:spPr bwMode="gray">
            <a:xfrm>
              <a:off x="4614885" y="4149447"/>
              <a:ext cx="565141" cy="565142"/>
            </a:xfrm>
            <a:prstGeom prst="ellipse">
              <a:avLst/>
            </a:prstGeom>
            <a:solidFill>
              <a:schemeClr val="accent6"/>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32</a:t>
              </a:r>
            </a:p>
          </p:txBody>
        </p:sp>
        <p:sp>
          <p:nvSpPr>
            <p:cNvPr id="146" name="Oval 145">
              <a:extLst>
                <a:ext uri="{FF2B5EF4-FFF2-40B4-BE49-F238E27FC236}">
                  <a16:creationId xmlns:a16="http://schemas.microsoft.com/office/drawing/2014/main" id="{6EA553AF-FBAE-7347-B5F0-8061BEC0ED31}"/>
                </a:ext>
              </a:extLst>
            </p:cNvPr>
            <p:cNvSpPr/>
            <p:nvPr/>
          </p:nvSpPr>
          <p:spPr bwMode="gray">
            <a:xfrm>
              <a:off x="4178336" y="4596824"/>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7" name="Oval 146">
              <a:extLst>
                <a:ext uri="{FF2B5EF4-FFF2-40B4-BE49-F238E27FC236}">
                  <a16:creationId xmlns:a16="http://schemas.microsoft.com/office/drawing/2014/main" id="{241AA765-39A2-B748-BB86-4DBA1427612F}"/>
                </a:ext>
              </a:extLst>
            </p:cNvPr>
            <p:cNvSpPr/>
            <p:nvPr/>
          </p:nvSpPr>
          <p:spPr bwMode="gray">
            <a:xfrm>
              <a:off x="4251908" y="4670397"/>
              <a:ext cx="565141" cy="565142"/>
            </a:xfrm>
            <a:prstGeom prst="ellipse">
              <a:avLst/>
            </a:prstGeom>
            <a:solidFill>
              <a:srgbClr val="009A44"/>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30</a:t>
              </a:r>
            </a:p>
          </p:txBody>
        </p:sp>
        <p:sp>
          <p:nvSpPr>
            <p:cNvPr id="148" name="Oval 147">
              <a:extLst>
                <a:ext uri="{FF2B5EF4-FFF2-40B4-BE49-F238E27FC236}">
                  <a16:creationId xmlns:a16="http://schemas.microsoft.com/office/drawing/2014/main" id="{84637234-65C5-5E45-846A-118A45011D95}"/>
                </a:ext>
              </a:extLst>
            </p:cNvPr>
            <p:cNvSpPr/>
            <p:nvPr/>
          </p:nvSpPr>
          <p:spPr bwMode="gray">
            <a:xfrm>
              <a:off x="4541313" y="5148513"/>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9" name="Oval 148">
              <a:extLst>
                <a:ext uri="{FF2B5EF4-FFF2-40B4-BE49-F238E27FC236}">
                  <a16:creationId xmlns:a16="http://schemas.microsoft.com/office/drawing/2014/main" id="{A4134B0E-38C2-F549-A325-F03CA50AAAAC}"/>
                </a:ext>
              </a:extLst>
            </p:cNvPr>
            <p:cNvSpPr/>
            <p:nvPr/>
          </p:nvSpPr>
          <p:spPr bwMode="gray">
            <a:xfrm>
              <a:off x="4614885" y="5222086"/>
              <a:ext cx="565141" cy="565142"/>
            </a:xfrm>
            <a:prstGeom prst="ellipse">
              <a:avLst/>
            </a:prstGeom>
            <a:solidFill>
              <a:srgbClr val="0076A8"/>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26</a:t>
              </a:r>
            </a:p>
          </p:txBody>
        </p:sp>
        <p:sp>
          <p:nvSpPr>
            <p:cNvPr id="150" name="Oval 149">
              <a:extLst>
                <a:ext uri="{FF2B5EF4-FFF2-40B4-BE49-F238E27FC236}">
                  <a16:creationId xmlns:a16="http://schemas.microsoft.com/office/drawing/2014/main" id="{DE83E18A-1439-0B49-9AB3-5432CB4CB5E5}"/>
                </a:ext>
              </a:extLst>
            </p:cNvPr>
            <p:cNvSpPr/>
            <p:nvPr/>
          </p:nvSpPr>
          <p:spPr bwMode="gray">
            <a:xfrm>
              <a:off x="4178336" y="5669463"/>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1" name="Oval 150">
              <a:extLst>
                <a:ext uri="{FF2B5EF4-FFF2-40B4-BE49-F238E27FC236}">
                  <a16:creationId xmlns:a16="http://schemas.microsoft.com/office/drawing/2014/main" id="{51D2BEC0-4BCC-CB4C-88A1-305F62DAFA62}"/>
                </a:ext>
              </a:extLst>
            </p:cNvPr>
            <p:cNvSpPr/>
            <p:nvPr/>
          </p:nvSpPr>
          <p:spPr bwMode="gray">
            <a:xfrm>
              <a:off x="4251908" y="5743036"/>
              <a:ext cx="565141" cy="565142"/>
            </a:xfrm>
            <a:prstGeom prst="ellipse">
              <a:avLst/>
            </a:prstGeom>
            <a:solidFill>
              <a:srgbClr val="00ABAB"/>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26</a:t>
              </a:r>
            </a:p>
          </p:txBody>
        </p:sp>
      </p:grpSp>
      <p:sp>
        <p:nvSpPr>
          <p:cNvPr id="152" name="Rectangle 151">
            <a:extLst>
              <a:ext uri="{FF2B5EF4-FFF2-40B4-BE49-F238E27FC236}">
                <a16:creationId xmlns:a16="http://schemas.microsoft.com/office/drawing/2014/main" id="{FED0A714-8578-E549-B66B-B695BEF638D9}"/>
              </a:ext>
            </a:extLst>
          </p:cNvPr>
          <p:cNvSpPr/>
          <p:nvPr/>
        </p:nvSpPr>
        <p:spPr>
          <a:xfrm>
            <a:off x="1900239" y="1171171"/>
            <a:ext cx="888064" cy="138499"/>
          </a:xfrm>
          <a:prstGeom prst="rect">
            <a:avLst/>
          </a:prstGeom>
        </p:spPr>
        <p:txBody>
          <a:bodyPr wrap="none" lIns="0" tIns="0" rIns="0" bIns="0">
            <a:spAutoFit/>
          </a:bodyPr>
          <a:lstStyle/>
          <a:p>
            <a:r>
              <a:rPr lang="en-US" sz="900" dirty="0"/>
              <a:t>Lorem ipsum dolor</a:t>
            </a:r>
          </a:p>
        </p:txBody>
      </p:sp>
      <p:sp>
        <p:nvSpPr>
          <p:cNvPr id="153" name="Rectangle 152">
            <a:extLst>
              <a:ext uri="{FF2B5EF4-FFF2-40B4-BE49-F238E27FC236}">
                <a16:creationId xmlns:a16="http://schemas.microsoft.com/office/drawing/2014/main" id="{389660AE-7F57-DC47-9D42-99A999369CB3}"/>
              </a:ext>
            </a:extLst>
          </p:cNvPr>
          <p:cNvSpPr/>
          <p:nvPr/>
        </p:nvSpPr>
        <p:spPr>
          <a:xfrm>
            <a:off x="8190808" y="1182254"/>
            <a:ext cx="1197444" cy="138499"/>
          </a:xfrm>
          <a:prstGeom prst="rect">
            <a:avLst/>
          </a:prstGeom>
        </p:spPr>
        <p:txBody>
          <a:bodyPr wrap="none" lIns="0" tIns="0" rIns="0" bIns="0">
            <a:spAutoFit/>
          </a:bodyPr>
          <a:lstStyle/>
          <a:p>
            <a:r>
              <a:rPr lang="en-US" sz="900" dirty="0"/>
              <a:t>Lorem ipsum dolor sit am</a:t>
            </a:r>
          </a:p>
        </p:txBody>
      </p:sp>
      <p:sp>
        <p:nvSpPr>
          <p:cNvPr id="154" name="Rectangle 153">
            <a:extLst>
              <a:ext uri="{FF2B5EF4-FFF2-40B4-BE49-F238E27FC236}">
                <a16:creationId xmlns:a16="http://schemas.microsoft.com/office/drawing/2014/main" id="{29E964AD-8F70-3D4C-A304-22460DF0AD92}"/>
              </a:ext>
            </a:extLst>
          </p:cNvPr>
          <p:cNvSpPr/>
          <p:nvPr/>
        </p:nvSpPr>
        <p:spPr>
          <a:xfrm>
            <a:off x="1900239" y="1741978"/>
            <a:ext cx="1197444" cy="138499"/>
          </a:xfrm>
          <a:prstGeom prst="rect">
            <a:avLst/>
          </a:prstGeom>
        </p:spPr>
        <p:txBody>
          <a:bodyPr wrap="none" lIns="0" tIns="0" rIns="0" bIns="0">
            <a:spAutoFit/>
          </a:bodyPr>
          <a:lstStyle/>
          <a:p>
            <a:r>
              <a:rPr lang="en-US" sz="900" dirty="0"/>
              <a:t>Lorem ipsum dolor sit am</a:t>
            </a:r>
          </a:p>
        </p:txBody>
      </p:sp>
      <p:sp>
        <p:nvSpPr>
          <p:cNvPr id="155" name="Rectangle 154">
            <a:extLst>
              <a:ext uri="{FF2B5EF4-FFF2-40B4-BE49-F238E27FC236}">
                <a16:creationId xmlns:a16="http://schemas.microsoft.com/office/drawing/2014/main" id="{B06B7F1C-9F92-B441-8B32-EDE12CF5C566}"/>
              </a:ext>
            </a:extLst>
          </p:cNvPr>
          <p:cNvSpPr/>
          <p:nvPr/>
        </p:nvSpPr>
        <p:spPr>
          <a:xfrm>
            <a:off x="8190808" y="1609178"/>
            <a:ext cx="2100956" cy="429723"/>
          </a:xfrm>
          <a:prstGeom prst="rect">
            <a:avLst/>
          </a:prstGeom>
        </p:spPr>
        <p:txBody>
          <a:bodyPr wrap="square" lIns="0" tIns="0" rIns="0" bIns="0">
            <a:noAutofit/>
          </a:bodyPr>
          <a:lstStyle/>
          <a:p>
            <a:r>
              <a:rPr lang="en-US" sz="900" dirty="0"/>
              <a:t>Lorem ipsum dolor sit am</a:t>
            </a:r>
          </a:p>
        </p:txBody>
      </p:sp>
      <p:sp>
        <p:nvSpPr>
          <p:cNvPr id="156" name="Rectangle 155">
            <a:extLst>
              <a:ext uri="{FF2B5EF4-FFF2-40B4-BE49-F238E27FC236}">
                <a16:creationId xmlns:a16="http://schemas.microsoft.com/office/drawing/2014/main" id="{F7CE1C6C-2367-4B49-A867-70EB87CB649C}"/>
              </a:ext>
            </a:extLst>
          </p:cNvPr>
          <p:cNvSpPr/>
          <p:nvPr/>
        </p:nvSpPr>
        <p:spPr>
          <a:xfrm>
            <a:off x="1900239" y="2303088"/>
            <a:ext cx="2626637" cy="138499"/>
          </a:xfrm>
          <a:prstGeom prst="rect">
            <a:avLst/>
          </a:prstGeom>
        </p:spPr>
        <p:txBody>
          <a:bodyPr wrap="square" lIns="0" tIns="0" rIns="0" bIns="0">
            <a:spAutoFit/>
          </a:bodyPr>
          <a:lstStyle/>
          <a:p>
            <a:r>
              <a:rPr lang="en-US" sz="900" dirty="0"/>
              <a:t>Lorem ipsum dolor sit am</a:t>
            </a:r>
          </a:p>
        </p:txBody>
      </p:sp>
      <p:sp>
        <p:nvSpPr>
          <p:cNvPr id="157" name="Rectangle 156">
            <a:extLst>
              <a:ext uri="{FF2B5EF4-FFF2-40B4-BE49-F238E27FC236}">
                <a16:creationId xmlns:a16="http://schemas.microsoft.com/office/drawing/2014/main" id="{C438ECA9-C065-574C-871B-849705795AAB}"/>
              </a:ext>
            </a:extLst>
          </p:cNvPr>
          <p:cNvSpPr/>
          <p:nvPr/>
        </p:nvSpPr>
        <p:spPr>
          <a:xfrm>
            <a:off x="8190808" y="2275377"/>
            <a:ext cx="1657004" cy="185190"/>
          </a:xfrm>
          <a:prstGeom prst="rect">
            <a:avLst/>
          </a:prstGeom>
        </p:spPr>
        <p:txBody>
          <a:bodyPr wrap="square" lIns="0" tIns="0" rIns="0" bIns="0">
            <a:noAutofit/>
          </a:bodyPr>
          <a:lstStyle/>
          <a:p>
            <a:r>
              <a:rPr lang="en-US" sz="900" dirty="0"/>
              <a:t>Lorem ipsum dolor sit am</a:t>
            </a:r>
          </a:p>
        </p:txBody>
      </p:sp>
      <p:sp>
        <p:nvSpPr>
          <p:cNvPr id="158" name="Rectangle 157">
            <a:extLst>
              <a:ext uri="{FF2B5EF4-FFF2-40B4-BE49-F238E27FC236}">
                <a16:creationId xmlns:a16="http://schemas.microsoft.com/office/drawing/2014/main" id="{E1A22525-86E7-9441-B1C5-FAD2D5EF2AEB}"/>
              </a:ext>
            </a:extLst>
          </p:cNvPr>
          <p:cNvSpPr/>
          <p:nvPr/>
        </p:nvSpPr>
        <p:spPr>
          <a:xfrm>
            <a:off x="1900239" y="2842029"/>
            <a:ext cx="888064" cy="138499"/>
          </a:xfrm>
          <a:prstGeom prst="rect">
            <a:avLst/>
          </a:prstGeom>
        </p:spPr>
        <p:txBody>
          <a:bodyPr wrap="none" lIns="0" tIns="0" rIns="0" bIns="0">
            <a:spAutoFit/>
          </a:bodyPr>
          <a:lstStyle/>
          <a:p>
            <a:r>
              <a:rPr lang="en-US" sz="900" dirty="0"/>
              <a:t>Lorem ipsum dolor</a:t>
            </a:r>
          </a:p>
        </p:txBody>
      </p:sp>
      <p:sp>
        <p:nvSpPr>
          <p:cNvPr id="159" name="Rectangle 158">
            <a:extLst>
              <a:ext uri="{FF2B5EF4-FFF2-40B4-BE49-F238E27FC236}">
                <a16:creationId xmlns:a16="http://schemas.microsoft.com/office/drawing/2014/main" id="{3856FBA4-269B-624E-A496-9200599B347B}"/>
              </a:ext>
            </a:extLst>
          </p:cNvPr>
          <p:cNvSpPr/>
          <p:nvPr/>
        </p:nvSpPr>
        <p:spPr>
          <a:xfrm>
            <a:off x="8190808" y="2808778"/>
            <a:ext cx="2062163" cy="172721"/>
          </a:xfrm>
          <a:prstGeom prst="rect">
            <a:avLst/>
          </a:prstGeom>
        </p:spPr>
        <p:txBody>
          <a:bodyPr wrap="square" lIns="0" tIns="0" rIns="0" bIns="0">
            <a:noAutofit/>
          </a:bodyPr>
          <a:lstStyle/>
          <a:p>
            <a:r>
              <a:rPr lang="en-US" sz="900" dirty="0"/>
              <a:t>Lorem ipsum dolor sit am</a:t>
            </a:r>
          </a:p>
        </p:txBody>
      </p:sp>
      <p:sp>
        <p:nvSpPr>
          <p:cNvPr id="160" name="Rectangle 159">
            <a:extLst>
              <a:ext uri="{FF2B5EF4-FFF2-40B4-BE49-F238E27FC236}">
                <a16:creationId xmlns:a16="http://schemas.microsoft.com/office/drawing/2014/main" id="{4AFE27F8-33A2-084B-8F11-11BECFAD0CC8}"/>
              </a:ext>
            </a:extLst>
          </p:cNvPr>
          <p:cNvSpPr/>
          <p:nvPr/>
        </p:nvSpPr>
        <p:spPr>
          <a:xfrm>
            <a:off x="1900238" y="3342178"/>
            <a:ext cx="1197444" cy="138499"/>
          </a:xfrm>
          <a:prstGeom prst="rect">
            <a:avLst/>
          </a:prstGeom>
        </p:spPr>
        <p:txBody>
          <a:bodyPr wrap="none" lIns="0" tIns="0" rIns="0" bIns="0">
            <a:spAutoFit/>
          </a:bodyPr>
          <a:lstStyle/>
          <a:p>
            <a:r>
              <a:rPr lang="en-US" sz="900" dirty="0"/>
              <a:t>Lorem ipsum dolor sit am</a:t>
            </a:r>
          </a:p>
        </p:txBody>
      </p:sp>
      <p:sp>
        <p:nvSpPr>
          <p:cNvPr id="161" name="Rectangle 160">
            <a:extLst>
              <a:ext uri="{FF2B5EF4-FFF2-40B4-BE49-F238E27FC236}">
                <a16:creationId xmlns:a16="http://schemas.microsoft.com/office/drawing/2014/main" id="{6BC07095-9DAE-3C44-96AC-518D9FA46F50}"/>
              </a:ext>
            </a:extLst>
          </p:cNvPr>
          <p:cNvSpPr/>
          <p:nvPr/>
        </p:nvSpPr>
        <p:spPr>
          <a:xfrm>
            <a:off x="8190808" y="3342178"/>
            <a:ext cx="908903" cy="138499"/>
          </a:xfrm>
          <a:prstGeom prst="rect">
            <a:avLst/>
          </a:prstGeom>
        </p:spPr>
        <p:txBody>
          <a:bodyPr wrap="square" lIns="0" tIns="0" rIns="0" bIns="0">
            <a:noAutofit/>
          </a:bodyPr>
          <a:lstStyle/>
          <a:p>
            <a:r>
              <a:rPr lang="en-US" sz="900" dirty="0"/>
              <a:t>Lorem ipsum dolor sit am</a:t>
            </a:r>
          </a:p>
        </p:txBody>
      </p:sp>
      <p:sp>
        <p:nvSpPr>
          <p:cNvPr id="162" name="Rectangle 161">
            <a:extLst>
              <a:ext uri="{FF2B5EF4-FFF2-40B4-BE49-F238E27FC236}">
                <a16:creationId xmlns:a16="http://schemas.microsoft.com/office/drawing/2014/main" id="{076058DA-9B70-6540-9DF5-220146056898}"/>
              </a:ext>
            </a:extLst>
          </p:cNvPr>
          <p:cNvSpPr/>
          <p:nvPr/>
        </p:nvSpPr>
        <p:spPr>
          <a:xfrm>
            <a:off x="1900239" y="3566621"/>
            <a:ext cx="3020897" cy="695037"/>
          </a:xfrm>
          <a:prstGeom prst="rect">
            <a:avLst/>
          </a:prstGeom>
        </p:spPr>
        <p:txBody>
          <a:bodyPr wrap="square" lIns="0" tIns="0" rIns="0" bIns="0">
            <a:noAutofit/>
          </a:bodyPr>
          <a:lstStyle/>
          <a:p>
            <a:r>
              <a:rPr lang="en-US" sz="900" dirty="0"/>
              <a:t>Lorem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m</a:t>
            </a:r>
          </a:p>
        </p:txBody>
      </p:sp>
      <p:sp>
        <p:nvSpPr>
          <p:cNvPr id="163" name="Rectangle 162">
            <a:extLst>
              <a:ext uri="{FF2B5EF4-FFF2-40B4-BE49-F238E27FC236}">
                <a16:creationId xmlns:a16="http://schemas.microsoft.com/office/drawing/2014/main" id="{C58FD5FE-AFCF-674E-A9AE-518D8B115741}"/>
              </a:ext>
            </a:extLst>
          </p:cNvPr>
          <p:cNvSpPr/>
          <p:nvPr/>
        </p:nvSpPr>
        <p:spPr>
          <a:xfrm>
            <a:off x="8190808" y="3799377"/>
            <a:ext cx="1812175" cy="246150"/>
          </a:xfrm>
          <a:prstGeom prst="rect">
            <a:avLst/>
          </a:prstGeom>
        </p:spPr>
        <p:txBody>
          <a:bodyPr wrap="square" lIns="0" tIns="0" rIns="0" bIns="0">
            <a:noAutofit/>
          </a:bodyPr>
          <a:lstStyle/>
          <a:p>
            <a:r>
              <a:rPr lang="en-US" sz="900" dirty="0"/>
              <a:t>Lorem ipsum dolor sit am</a:t>
            </a:r>
          </a:p>
        </p:txBody>
      </p:sp>
      <p:sp>
        <p:nvSpPr>
          <p:cNvPr id="164" name="Rectangle 163">
            <a:extLst>
              <a:ext uri="{FF2B5EF4-FFF2-40B4-BE49-F238E27FC236}">
                <a16:creationId xmlns:a16="http://schemas.microsoft.com/office/drawing/2014/main" id="{BC8A2A96-DFB0-4045-A304-CD1EADE90940}"/>
              </a:ext>
            </a:extLst>
          </p:cNvPr>
          <p:cNvSpPr/>
          <p:nvPr/>
        </p:nvSpPr>
        <p:spPr>
          <a:xfrm>
            <a:off x="1900239" y="4366027"/>
            <a:ext cx="2726389" cy="294642"/>
          </a:xfrm>
          <a:prstGeom prst="rect">
            <a:avLst/>
          </a:prstGeom>
        </p:spPr>
        <p:txBody>
          <a:bodyPr wrap="square" lIns="0" tIns="0" rIns="0" bIns="0">
            <a:noAutofit/>
          </a:bodyPr>
          <a:lstStyle/>
          <a:p>
            <a:r>
              <a:rPr lang="en-US" sz="900" dirty="0"/>
              <a:t>Lorem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m</a:t>
            </a:r>
          </a:p>
        </p:txBody>
      </p:sp>
      <p:sp>
        <p:nvSpPr>
          <p:cNvPr id="165" name="Rectangle 164">
            <a:extLst>
              <a:ext uri="{FF2B5EF4-FFF2-40B4-BE49-F238E27FC236}">
                <a16:creationId xmlns:a16="http://schemas.microsoft.com/office/drawing/2014/main" id="{62041A75-3869-D24D-BE7B-3EE3C3919028}"/>
              </a:ext>
            </a:extLst>
          </p:cNvPr>
          <p:cNvSpPr/>
          <p:nvPr/>
        </p:nvSpPr>
        <p:spPr>
          <a:xfrm>
            <a:off x="8190808" y="4332777"/>
            <a:ext cx="1911927" cy="399936"/>
          </a:xfrm>
          <a:prstGeom prst="rect">
            <a:avLst/>
          </a:prstGeom>
        </p:spPr>
        <p:txBody>
          <a:bodyPr wrap="square" lIns="0" tIns="0" rIns="0" bIns="0">
            <a:noAutofit/>
          </a:bodyPr>
          <a:lstStyle/>
          <a:p>
            <a:r>
              <a:rPr lang="en-US" sz="900" dirty="0"/>
              <a:t>Lorem ipsum dolor sit am</a:t>
            </a:r>
          </a:p>
        </p:txBody>
      </p:sp>
      <p:sp>
        <p:nvSpPr>
          <p:cNvPr id="166" name="Rectangle 165">
            <a:extLst>
              <a:ext uri="{FF2B5EF4-FFF2-40B4-BE49-F238E27FC236}">
                <a16:creationId xmlns:a16="http://schemas.microsoft.com/office/drawing/2014/main" id="{F384BDA1-000A-4A4D-BCC8-8B09F7124B00}"/>
              </a:ext>
            </a:extLst>
          </p:cNvPr>
          <p:cNvSpPr/>
          <p:nvPr/>
        </p:nvSpPr>
        <p:spPr>
          <a:xfrm>
            <a:off x="1900239" y="4866178"/>
            <a:ext cx="888064" cy="138499"/>
          </a:xfrm>
          <a:prstGeom prst="rect">
            <a:avLst/>
          </a:prstGeom>
        </p:spPr>
        <p:txBody>
          <a:bodyPr wrap="none" lIns="0" tIns="0" rIns="0" bIns="0">
            <a:spAutoFit/>
          </a:bodyPr>
          <a:lstStyle/>
          <a:p>
            <a:r>
              <a:rPr lang="en-US" sz="900" dirty="0"/>
              <a:t>Lorem ipsum dolor</a:t>
            </a:r>
          </a:p>
        </p:txBody>
      </p:sp>
      <p:sp>
        <p:nvSpPr>
          <p:cNvPr id="167" name="Rectangle 166">
            <a:extLst>
              <a:ext uri="{FF2B5EF4-FFF2-40B4-BE49-F238E27FC236}">
                <a16:creationId xmlns:a16="http://schemas.microsoft.com/office/drawing/2014/main" id="{03938A8E-CD64-F242-BA11-AB96274C1491}"/>
              </a:ext>
            </a:extLst>
          </p:cNvPr>
          <p:cNvSpPr/>
          <p:nvPr/>
        </p:nvSpPr>
        <p:spPr>
          <a:xfrm>
            <a:off x="8190808" y="4766425"/>
            <a:ext cx="2062163" cy="467823"/>
          </a:xfrm>
          <a:prstGeom prst="rect">
            <a:avLst/>
          </a:prstGeom>
        </p:spPr>
        <p:txBody>
          <a:bodyPr wrap="square" lIns="0" tIns="0" rIns="0" bIns="0">
            <a:noAutofit/>
          </a:bodyPr>
          <a:lstStyle/>
          <a:p>
            <a:r>
              <a:rPr lang="en-US" sz="900" dirty="0"/>
              <a:t>Lorem ipsum dolor sit </a:t>
            </a:r>
            <a:r>
              <a:rPr lang="en-US" sz="900" dirty="0" err="1"/>
              <a:t>amLorem</a:t>
            </a:r>
            <a:r>
              <a:rPr lang="en-US" sz="900" dirty="0"/>
              <a:t> ipsum dolor sit </a:t>
            </a:r>
            <a:r>
              <a:rPr lang="en-US" sz="900" dirty="0" err="1"/>
              <a:t>amLorem</a:t>
            </a:r>
            <a:r>
              <a:rPr lang="en-US" sz="900" dirty="0"/>
              <a:t> ipsum dolor sit am</a:t>
            </a:r>
          </a:p>
        </p:txBody>
      </p:sp>
      <p:sp>
        <p:nvSpPr>
          <p:cNvPr id="168" name="Rectangle 167">
            <a:extLst>
              <a:ext uri="{FF2B5EF4-FFF2-40B4-BE49-F238E27FC236}">
                <a16:creationId xmlns:a16="http://schemas.microsoft.com/office/drawing/2014/main" id="{1EEAA93E-57E0-9C4A-B266-AC8CC05E2671}"/>
              </a:ext>
            </a:extLst>
          </p:cNvPr>
          <p:cNvSpPr/>
          <p:nvPr/>
        </p:nvSpPr>
        <p:spPr>
          <a:xfrm>
            <a:off x="1900239" y="5399578"/>
            <a:ext cx="1197444" cy="138499"/>
          </a:xfrm>
          <a:prstGeom prst="rect">
            <a:avLst/>
          </a:prstGeom>
        </p:spPr>
        <p:txBody>
          <a:bodyPr wrap="none" lIns="0" tIns="0" rIns="0" bIns="0">
            <a:spAutoFit/>
          </a:bodyPr>
          <a:lstStyle/>
          <a:p>
            <a:r>
              <a:rPr lang="en-US" sz="900" dirty="0"/>
              <a:t>Lorem ipsum dolor sit am</a:t>
            </a:r>
          </a:p>
        </p:txBody>
      </p:sp>
      <p:sp>
        <p:nvSpPr>
          <p:cNvPr id="169" name="Rectangle 168">
            <a:extLst>
              <a:ext uri="{FF2B5EF4-FFF2-40B4-BE49-F238E27FC236}">
                <a16:creationId xmlns:a16="http://schemas.microsoft.com/office/drawing/2014/main" id="{C32A4B3F-3AFB-5444-9658-56D0DCC42095}"/>
              </a:ext>
            </a:extLst>
          </p:cNvPr>
          <p:cNvSpPr/>
          <p:nvPr/>
        </p:nvSpPr>
        <p:spPr>
          <a:xfrm>
            <a:off x="8190808" y="5399577"/>
            <a:ext cx="2062163" cy="308496"/>
          </a:xfrm>
          <a:prstGeom prst="rect">
            <a:avLst/>
          </a:prstGeom>
        </p:spPr>
        <p:txBody>
          <a:bodyPr wrap="square" lIns="0" tIns="0" rIns="0" bIns="0">
            <a:noAutofit/>
          </a:bodyPr>
          <a:lstStyle/>
          <a:p>
            <a:r>
              <a:rPr lang="en-US" sz="900" dirty="0"/>
              <a:t>Lorem ipsum dolor sit am</a:t>
            </a:r>
          </a:p>
        </p:txBody>
      </p:sp>
      <p:sp>
        <p:nvSpPr>
          <p:cNvPr id="170" name="Rectangle 169">
            <a:extLst>
              <a:ext uri="{FF2B5EF4-FFF2-40B4-BE49-F238E27FC236}">
                <a16:creationId xmlns:a16="http://schemas.microsoft.com/office/drawing/2014/main" id="{223CBA97-2B45-9946-ACE4-CEE965A7609B}"/>
              </a:ext>
            </a:extLst>
          </p:cNvPr>
          <p:cNvSpPr/>
          <p:nvPr/>
        </p:nvSpPr>
        <p:spPr>
          <a:xfrm>
            <a:off x="1900239" y="5932978"/>
            <a:ext cx="1197444" cy="138499"/>
          </a:xfrm>
          <a:prstGeom prst="rect">
            <a:avLst/>
          </a:prstGeom>
        </p:spPr>
        <p:txBody>
          <a:bodyPr wrap="none" lIns="0" tIns="0" rIns="0" bIns="0">
            <a:spAutoFit/>
          </a:bodyPr>
          <a:lstStyle/>
          <a:p>
            <a:r>
              <a:rPr lang="en-US" sz="900" dirty="0"/>
              <a:t>Lorem ipsum dolor sit am</a:t>
            </a:r>
          </a:p>
        </p:txBody>
      </p:sp>
      <p:sp>
        <p:nvSpPr>
          <p:cNvPr id="171" name="Rectangle 170">
            <a:extLst>
              <a:ext uri="{FF2B5EF4-FFF2-40B4-BE49-F238E27FC236}">
                <a16:creationId xmlns:a16="http://schemas.microsoft.com/office/drawing/2014/main" id="{7EE33B41-467E-2B40-948C-D7A89CD784AC}"/>
              </a:ext>
            </a:extLst>
          </p:cNvPr>
          <p:cNvSpPr/>
          <p:nvPr/>
        </p:nvSpPr>
        <p:spPr>
          <a:xfrm>
            <a:off x="8190808" y="5949602"/>
            <a:ext cx="1945178" cy="251692"/>
          </a:xfrm>
          <a:prstGeom prst="rect">
            <a:avLst/>
          </a:prstGeom>
        </p:spPr>
        <p:txBody>
          <a:bodyPr wrap="square" lIns="0" tIns="0" rIns="0" bIns="0">
            <a:noAutofit/>
          </a:bodyPr>
          <a:lstStyle/>
          <a:p>
            <a:r>
              <a:rPr lang="en-US" sz="900" dirty="0"/>
              <a:t>Lorem ipsum dolor sit am</a:t>
            </a:r>
          </a:p>
        </p:txBody>
      </p:sp>
    </p:spTree>
    <p:custDataLst>
      <p:tags r:id="rId1"/>
    </p:custDataLst>
    <p:extLst>
      <p:ext uri="{BB962C8B-B14F-4D97-AF65-F5344CB8AC3E}">
        <p14:creationId xmlns:p14="http://schemas.microsoft.com/office/powerpoint/2010/main" val="1017436904"/>
      </p:ext>
    </p:extLst>
  </p:cSld>
  <p:clrMapOvr>
    <a:masterClrMapping/>
  </p:clrMapOvr>
  <p:transition>
    <p:fade/>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933C92EC-CAF3-0644-BB60-1797A7710A84}"/>
              </a:ext>
            </a:extLst>
          </p:cNvPr>
          <p:cNvSpPr/>
          <p:nvPr/>
        </p:nvSpPr>
        <p:spPr>
          <a:xfrm>
            <a:off x="2521697" y="2338348"/>
            <a:ext cx="7106355" cy="81909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5" name="Rectangle 94">
            <a:extLst>
              <a:ext uri="{FF2B5EF4-FFF2-40B4-BE49-F238E27FC236}">
                <a16:creationId xmlns:a16="http://schemas.microsoft.com/office/drawing/2014/main" id="{CF6AE0A1-8493-8B4C-9509-BEE638D2D41A}"/>
              </a:ext>
            </a:extLst>
          </p:cNvPr>
          <p:cNvSpPr/>
          <p:nvPr/>
        </p:nvSpPr>
        <p:spPr>
          <a:xfrm>
            <a:off x="2521697" y="3151708"/>
            <a:ext cx="7106355" cy="81909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6" name="Rectangle 95">
            <a:extLst>
              <a:ext uri="{FF2B5EF4-FFF2-40B4-BE49-F238E27FC236}">
                <a16:creationId xmlns:a16="http://schemas.microsoft.com/office/drawing/2014/main" id="{08D17887-C698-D74A-BE9E-BBFF3B5F606C}"/>
              </a:ext>
            </a:extLst>
          </p:cNvPr>
          <p:cNvSpPr/>
          <p:nvPr/>
        </p:nvSpPr>
        <p:spPr>
          <a:xfrm>
            <a:off x="2521697" y="3966337"/>
            <a:ext cx="7106355" cy="81909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7" name="Rectangle 96">
            <a:extLst>
              <a:ext uri="{FF2B5EF4-FFF2-40B4-BE49-F238E27FC236}">
                <a16:creationId xmlns:a16="http://schemas.microsoft.com/office/drawing/2014/main" id="{E9FA652E-00E6-FE46-A032-738EE186750D}"/>
              </a:ext>
            </a:extLst>
          </p:cNvPr>
          <p:cNvSpPr/>
          <p:nvPr/>
        </p:nvSpPr>
        <p:spPr>
          <a:xfrm>
            <a:off x="2521697" y="1524985"/>
            <a:ext cx="7106355" cy="81909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8" name="Rectangle 97">
            <a:extLst>
              <a:ext uri="{FF2B5EF4-FFF2-40B4-BE49-F238E27FC236}">
                <a16:creationId xmlns:a16="http://schemas.microsoft.com/office/drawing/2014/main" id="{A9959DA6-EC3E-3145-9572-9FE04C13F406}"/>
              </a:ext>
            </a:extLst>
          </p:cNvPr>
          <p:cNvSpPr/>
          <p:nvPr/>
        </p:nvSpPr>
        <p:spPr>
          <a:xfrm>
            <a:off x="10094383" y="2335952"/>
            <a:ext cx="914765" cy="111812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99" name="Rectangle 98">
            <a:extLst>
              <a:ext uri="{FF2B5EF4-FFF2-40B4-BE49-F238E27FC236}">
                <a16:creationId xmlns:a16="http://schemas.microsoft.com/office/drawing/2014/main" id="{301A2573-82C8-934C-8AE1-5D79781CFCDB}"/>
              </a:ext>
            </a:extLst>
          </p:cNvPr>
          <p:cNvSpPr/>
          <p:nvPr/>
        </p:nvSpPr>
        <p:spPr>
          <a:xfrm>
            <a:off x="10094383" y="1243747"/>
            <a:ext cx="914765" cy="111812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100" name="Rectangle 99">
            <a:extLst>
              <a:ext uri="{FF2B5EF4-FFF2-40B4-BE49-F238E27FC236}">
                <a16:creationId xmlns:a16="http://schemas.microsoft.com/office/drawing/2014/main" id="{7F677429-33C7-5047-8759-10143B69BED9}"/>
              </a:ext>
            </a:extLst>
          </p:cNvPr>
          <p:cNvSpPr/>
          <p:nvPr/>
        </p:nvSpPr>
        <p:spPr>
          <a:xfrm>
            <a:off x="10094383" y="3449758"/>
            <a:ext cx="914765" cy="11181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101" name="Rectangle 100">
            <a:extLst>
              <a:ext uri="{FF2B5EF4-FFF2-40B4-BE49-F238E27FC236}">
                <a16:creationId xmlns:a16="http://schemas.microsoft.com/office/drawing/2014/main" id="{175B9AC7-85C0-C24A-80A8-5AA5788C3D5C}"/>
              </a:ext>
            </a:extLst>
          </p:cNvPr>
          <p:cNvSpPr/>
          <p:nvPr/>
        </p:nvSpPr>
        <p:spPr>
          <a:xfrm>
            <a:off x="10094383" y="4536690"/>
            <a:ext cx="914765" cy="111812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102" name="Freeform 101">
            <a:extLst>
              <a:ext uri="{FF2B5EF4-FFF2-40B4-BE49-F238E27FC236}">
                <a16:creationId xmlns:a16="http://schemas.microsoft.com/office/drawing/2014/main" id="{0E3C3F84-DC07-3C40-9C85-D7CB07CC9201}"/>
              </a:ext>
            </a:extLst>
          </p:cNvPr>
          <p:cNvSpPr/>
          <p:nvPr/>
        </p:nvSpPr>
        <p:spPr>
          <a:xfrm rot="5400000" flipH="1">
            <a:off x="1718274" y="1813781"/>
            <a:ext cx="1118119" cy="540536"/>
          </a:xfrm>
          <a:custGeom>
            <a:avLst/>
            <a:gdLst>
              <a:gd name="connsiteX0" fmla="*/ 992134 w 992134"/>
              <a:gd name="connsiteY0" fmla="*/ 1 h 475485"/>
              <a:gd name="connsiteX1" fmla="*/ 992134 w 992134"/>
              <a:gd name="connsiteY1" fmla="*/ 475485 h 475485"/>
              <a:gd name="connsiteX2" fmla="*/ 306334 w 992134"/>
              <a:gd name="connsiteY2" fmla="*/ 475485 h 475485"/>
              <a:gd name="connsiteX3" fmla="*/ 306334 w 992134"/>
              <a:gd name="connsiteY3" fmla="*/ 475484 h 475485"/>
              <a:gd name="connsiteX4" fmla="*/ 0 w 992134"/>
              <a:gd name="connsiteY4" fmla="*/ 475484 h 475485"/>
              <a:gd name="connsiteX5" fmla="*/ 253885 w 992134"/>
              <a:gd name="connsiteY5" fmla="*/ 0 h 475485"/>
              <a:gd name="connsiteX6" fmla="*/ 685800 w 992134"/>
              <a:gd name="connsiteY6" fmla="*/ 0 h 475485"/>
              <a:gd name="connsiteX7" fmla="*/ 685800 w 992134"/>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2134" h="475485">
                <a:moveTo>
                  <a:pt x="992134" y="1"/>
                </a:moveTo>
                <a:lnTo>
                  <a:pt x="992134" y="475485"/>
                </a:lnTo>
                <a:lnTo>
                  <a:pt x="306334" y="475485"/>
                </a:lnTo>
                <a:lnTo>
                  <a:pt x="306334" y="475484"/>
                </a:lnTo>
                <a:lnTo>
                  <a:pt x="0" y="475484"/>
                </a:lnTo>
                <a:lnTo>
                  <a:pt x="253885" y="0"/>
                </a:lnTo>
                <a:lnTo>
                  <a:pt x="685800" y="0"/>
                </a:lnTo>
                <a:lnTo>
                  <a:pt x="685800" y="1"/>
                </a:lnTo>
                <a:close/>
              </a:path>
            </a:pathLst>
          </a:cu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103" name="Freeform 102">
            <a:extLst>
              <a:ext uri="{FF2B5EF4-FFF2-40B4-BE49-F238E27FC236}">
                <a16:creationId xmlns:a16="http://schemas.microsoft.com/office/drawing/2014/main" id="{663B5F31-C6BE-0F4E-8342-FC1F2A6B57B6}"/>
              </a:ext>
            </a:extLst>
          </p:cNvPr>
          <p:cNvSpPr/>
          <p:nvPr/>
        </p:nvSpPr>
        <p:spPr>
          <a:xfrm rot="5400000" flipH="1">
            <a:off x="1573218" y="2772200"/>
            <a:ext cx="1408236" cy="540536"/>
          </a:xfrm>
          <a:custGeom>
            <a:avLst/>
            <a:gdLst>
              <a:gd name="connsiteX0" fmla="*/ 1249561 w 1249561"/>
              <a:gd name="connsiteY0" fmla="*/ 1 h 475485"/>
              <a:gd name="connsiteX1" fmla="*/ 991278 w 1249561"/>
              <a:gd name="connsiteY1" fmla="*/ 475485 h 475485"/>
              <a:gd name="connsiteX2" fmla="*/ 434530 w 1249561"/>
              <a:gd name="connsiteY2" fmla="*/ 475485 h 475485"/>
              <a:gd name="connsiteX3" fmla="*/ 434531 w 1249561"/>
              <a:gd name="connsiteY3" fmla="*/ 475484 h 475485"/>
              <a:gd name="connsiteX4" fmla="*/ 0 w 1249561"/>
              <a:gd name="connsiteY4" fmla="*/ 475484 h 475485"/>
              <a:gd name="connsiteX5" fmla="*/ 521910 w 1249561"/>
              <a:gd name="connsiteY5" fmla="*/ 0 h 475485"/>
              <a:gd name="connsiteX6" fmla="*/ 1109579 w 1249561"/>
              <a:gd name="connsiteY6" fmla="*/ 0 h 475485"/>
              <a:gd name="connsiteX7" fmla="*/ 1109578 w 1249561"/>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561" h="475485">
                <a:moveTo>
                  <a:pt x="1249561" y="1"/>
                </a:moveTo>
                <a:lnTo>
                  <a:pt x="991278" y="475485"/>
                </a:lnTo>
                <a:lnTo>
                  <a:pt x="434530" y="475485"/>
                </a:lnTo>
                <a:lnTo>
                  <a:pt x="434531" y="475484"/>
                </a:lnTo>
                <a:lnTo>
                  <a:pt x="0" y="475484"/>
                </a:lnTo>
                <a:lnTo>
                  <a:pt x="521910" y="0"/>
                </a:lnTo>
                <a:lnTo>
                  <a:pt x="1109579" y="0"/>
                </a:lnTo>
                <a:lnTo>
                  <a:pt x="1109578" y="1"/>
                </a:lnTo>
                <a:close/>
              </a:path>
            </a:pathLst>
          </a:cu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3200" dirty="0"/>
          </a:p>
        </p:txBody>
      </p:sp>
      <p:sp>
        <p:nvSpPr>
          <p:cNvPr id="171" name="Freeform 170">
            <a:extLst>
              <a:ext uri="{FF2B5EF4-FFF2-40B4-BE49-F238E27FC236}">
                <a16:creationId xmlns:a16="http://schemas.microsoft.com/office/drawing/2014/main" id="{EFAF7F50-833D-2A44-83D8-E4FB819CE08B}"/>
              </a:ext>
            </a:extLst>
          </p:cNvPr>
          <p:cNvSpPr/>
          <p:nvPr/>
        </p:nvSpPr>
        <p:spPr>
          <a:xfrm rot="5400000" flipH="1">
            <a:off x="1417359" y="3741420"/>
            <a:ext cx="1719954" cy="540536"/>
          </a:xfrm>
          <a:custGeom>
            <a:avLst/>
            <a:gdLst>
              <a:gd name="connsiteX0" fmla="*/ 1526156 w 1526156"/>
              <a:gd name="connsiteY0" fmla="*/ 1 h 475485"/>
              <a:gd name="connsiteX1" fmla="*/ 1025091 w 1526156"/>
              <a:gd name="connsiteY1" fmla="*/ 475485 h 475485"/>
              <a:gd name="connsiteX2" fmla="*/ 355289 w 1526156"/>
              <a:gd name="connsiteY2" fmla="*/ 475485 h 475485"/>
              <a:gd name="connsiteX3" fmla="*/ 355289 w 1526156"/>
              <a:gd name="connsiteY3" fmla="*/ 475484 h 475485"/>
              <a:gd name="connsiteX4" fmla="*/ 0 w 1526156"/>
              <a:gd name="connsiteY4" fmla="*/ 475484 h 475485"/>
              <a:gd name="connsiteX5" fmla="*/ 789589 w 1526156"/>
              <a:gd name="connsiteY5" fmla="*/ 0 h 475485"/>
              <a:gd name="connsiteX6" fmla="*/ 1345888 w 1526156"/>
              <a:gd name="connsiteY6" fmla="*/ 0 h 475485"/>
              <a:gd name="connsiteX7" fmla="*/ 1345887 w 1526156"/>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6156" h="475485">
                <a:moveTo>
                  <a:pt x="1526156" y="1"/>
                </a:moveTo>
                <a:lnTo>
                  <a:pt x="1025091" y="475485"/>
                </a:lnTo>
                <a:lnTo>
                  <a:pt x="355289" y="475485"/>
                </a:lnTo>
                <a:lnTo>
                  <a:pt x="355289" y="475484"/>
                </a:lnTo>
                <a:lnTo>
                  <a:pt x="0" y="475484"/>
                </a:lnTo>
                <a:lnTo>
                  <a:pt x="789589" y="0"/>
                </a:lnTo>
                <a:lnTo>
                  <a:pt x="1345888" y="0"/>
                </a:lnTo>
                <a:lnTo>
                  <a:pt x="1345887" y="1"/>
                </a:ln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3200" dirty="0"/>
          </a:p>
        </p:txBody>
      </p:sp>
      <p:sp>
        <p:nvSpPr>
          <p:cNvPr id="172" name="Freeform 171">
            <a:extLst>
              <a:ext uri="{FF2B5EF4-FFF2-40B4-BE49-F238E27FC236}">
                <a16:creationId xmlns:a16="http://schemas.microsoft.com/office/drawing/2014/main" id="{FED5BEEC-C354-714A-880B-3E9FF6D3951B}"/>
              </a:ext>
            </a:extLst>
          </p:cNvPr>
          <p:cNvSpPr/>
          <p:nvPr/>
        </p:nvSpPr>
        <p:spPr>
          <a:xfrm rot="5400000" flipH="1">
            <a:off x="1267925" y="4705483"/>
            <a:ext cx="2018824" cy="540536"/>
          </a:xfrm>
          <a:custGeom>
            <a:avLst/>
            <a:gdLst>
              <a:gd name="connsiteX0" fmla="*/ 1791350 w 1791350"/>
              <a:gd name="connsiteY0" fmla="*/ 0 h 475485"/>
              <a:gd name="connsiteX1" fmla="*/ 998932 w 1791350"/>
              <a:gd name="connsiteY1" fmla="*/ 475485 h 475485"/>
              <a:gd name="connsiteX2" fmla="*/ 496283 w 1791350"/>
              <a:gd name="connsiteY2" fmla="*/ 475485 h 475485"/>
              <a:gd name="connsiteX3" fmla="*/ 496282 w 1791350"/>
              <a:gd name="connsiteY3" fmla="*/ 475485 h 475485"/>
              <a:gd name="connsiteX4" fmla="*/ 0 w 1791350"/>
              <a:gd name="connsiteY4" fmla="*/ 475485 h 475485"/>
              <a:gd name="connsiteX5" fmla="*/ 1075640 w 1791350"/>
              <a:gd name="connsiteY5" fmla="*/ 1 h 475485"/>
              <a:gd name="connsiteX6" fmla="*/ 1145140 w 1791350"/>
              <a:gd name="connsiteY6" fmla="*/ 1 h 475485"/>
              <a:gd name="connsiteX7" fmla="*/ 1145141 w 1791350"/>
              <a:gd name="connsiteY7" fmla="*/ 0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350" h="475485">
                <a:moveTo>
                  <a:pt x="1791350" y="0"/>
                </a:moveTo>
                <a:lnTo>
                  <a:pt x="998932" y="475485"/>
                </a:lnTo>
                <a:lnTo>
                  <a:pt x="496283" y="475485"/>
                </a:lnTo>
                <a:lnTo>
                  <a:pt x="496282" y="475485"/>
                </a:lnTo>
                <a:lnTo>
                  <a:pt x="0" y="475485"/>
                </a:lnTo>
                <a:lnTo>
                  <a:pt x="1075640" y="1"/>
                </a:lnTo>
                <a:lnTo>
                  <a:pt x="1145140" y="1"/>
                </a:lnTo>
                <a:lnTo>
                  <a:pt x="1145141" y="0"/>
                </a:lnTo>
                <a:close/>
              </a:path>
            </a:pathLst>
          </a:cu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173" name="Rectangle 172">
            <a:extLst>
              <a:ext uri="{FF2B5EF4-FFF2-40B4-BE49-F238E27FC236}">
                <a16:creationId xmlns:a16="http://schemas.microsoft.com/office/drawing/2014/main" id="{130AB831-1F9A-2849-8FE3-EC479E8E4118}"/>
              </a:ext>
            </a:extLst>
          </p:cNvPr>
          <p:cNvSpPr/>
          <p:nvPr/>
        </p:nvSpPr>
        <p:spPr>
          <a:xfrm>
            <a:off x="877517" y="2639735"/>
            <a:ext cx="1133960" cy="111812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a:endParaRPr lang="en-US" sz="3200" dirty="0"/>
          </a:p>
        </p:txBody>
      </p:sp>
      <p:sp>
        <p:nvSpPr>
          <p:cNvPr id="174" name="Rectangle 173">
            <a:extLst>
              <a:ext uri="{FF2B5EF4-FFF2-40B4-BE49-F238E27FC236}">
                <a16:creationId xmlns:a16="http://schemas.microsoft.com/office/drawing/2014/main" id="{CB7CD547-7581-CB44-A506-2824D1E705CD}"/>
              </a:ext>
            </a:extLst>
          </p:cNvPr>
          <p:cNvSpPr/>
          <p:nvPr/>
        </p:nvSpPr>
        <p:spPr>
          <a:xfrm>
            <a:off x="877517" y="1524988"/>
            <a:ext cx="1133960" cy="111812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a:endParaRPr lang="en-US" sz="3200" dirty="0"/>
          </a:p>
        </p:txBody>
      </p:sp>
      <p:sp>
        <p:nvSpPr>
          <p:cNvPr id="175" name="Rectangle 174">
            <a:extLst>
              <a:ext uri="{FF2B5EF4-FFF2-40B4-BE49-F238E27FC236}">
                <a16:creationId xmlns:a16="http://schemas.microsoft.com/office/drawing/2014/main" id="{935F53CA-0A47-0942-B892-F370AEBC83E4}"/>
              </a:ext>
            </a:extLst>
          </p:cNvPr>
          <p:cNvSpPr/>
          <p:nvPr/>
        </p:nvSpPr>
        <p:spPr>
          <a:xfrm>
            <a:off x="877517" y="3753541"/>
            <a:ext cx="1133960" cy="11181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a:endParaRPr lang="en-US" sz="3200" dirty="0"/>
          </a:p>
        </p:txBody>
      </p:sp>
      <p:sp>
        <p:nvSpPr>
          <p:cNvPr id="176" name="Rectangle 175">
            <a:extLst>
              <a:ext uri="{FF2B5EF4-FFF2-40B4-BE49-F238E27FC236}">
                <a16:creationId xmlns:a16="http://schemas.microsoft.com/office/drawing/2014/main" id="{551ED799-B14B-BF43-95ED-C90914B01EE3}"/>
              </a:ext>
            </a:extLst>
          </p:cNvPr>
          <p:cNvSpPr/>
          <p:nvPr/>
        </p:nvSpPr>
        <p:spPr>
          <a:xfrm>
            <a:off x="877517" y="4867042"/>
            <a:ext cx="1133960" cy="111812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a:endParaRPr lang="en-US" sz="3200" dirty="0"/>
          </a:p>
        </p:txBody>
      </p:sp>
      <p:sp>
        <p:nvSpPr>
          <p:cNvPr id="177" name="Freeform 176">
            <a:extLst>
              <a:ext uri="{FF2B5EF4-FFF2-40B4-BE49-F238E27FC236}">
                <a16:creationId xmlns:a16="http://schemas.microsoft.com/office/drawing/2014/main" id="{CD0760C2-0BEE-8549-8F36-BB36CE3274C6}"/>
              </a:ext>
            </a:extLst>
          </p:cNvPr>
          <p:cNvSpPr/>
          <p:nvPr/>
        </p:nvSpPr>
        <p:spPr>
          <a:xfrm rot="16200000" flipH="1">
            <a:off x="9275447" y="1542930"/>
            <a:ext cx="1118121" cy="519750"/>
          </a:xfrm>
          <a:custGeom>
            <a:avLst/>
            <a:gdLst>
              <a:gd name="connsiteX0" fmla="*/ 0 w 992136"/>
              <a:gd name="connsiteY0" fmla="*/ 457201 h 457201"/>
              <a:gd name="connsiteX1" fmla="*/ 257639 w 992136"/>
              <a:gd name="connsiteY1" fmla="*/ 457201 h 457201"/>
              <a:gd name="connsiteX2" fmla="*/ 493991 w 992136"/>
              <a:gd name="connsiteY2" fmla="*/ 457201 h 457201"/>
              <a:gd name="connsiteX3" fmla="*/ 992136 w 992136"/>
              <a:gd name="connsiteY3" fmla="*/ 457201 h 457201"/>
              <a:gd name="connsiteX4" fmla="*/ 984053 w 992136"/>
              <a:gd name="connsiteY4" fmla="*/ 0 h 457201"/>
              <a:gd name="connsiteX5" fmla="*/ 742580 w 992136"/>
              <a:gd name="connsiteY5" fmla="*/ 0 h 457201"/>
              <a:gd name="connsiteX6" fmla="*/ 249556 w 992136"/>
              <a:gd name="connsiteY6" fmla="*/ 0 h 457201"/>
              <a:gd name="connsiteX7" fmla="*/ 248589 w 992136"/>
              <a:gd name="connsiteY7" fmla="*/ 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2136" h="457201">
                <a:moveTo>
                  <a:pt x="0" y="457201"/>
                </a:moveTo>
                <a:lnTo>
                  <a:pt x="257639" y="457201"/>
                </a:lnTo>
                <a:lnTo>
                  <a:pt x="493991" y="457201"/>
                </a:lnTo>
                <a:lnTo>
                  <a:pt x="992136" y="457201"/>
                </a:lnTo>
                <a:lnTo>
                  <a:pt x="984053" y="0"/>
                </a:lnTo>
                <a:lnTo>
                  <a:pt x="742580" y="0"/>
                </a:lnTo>
                <a:lnTo>
                  <a:pt x="249556" y="0"/>
                </a:lnTo>
                <a:lnTo>
                  <a:pt x="248589" y="0"/>
                </a:lnTo>
                <a:close/>
              </a:path>
            </a:pathLst>
          </a:cu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8" name="Freeform 177">
            <a:extLst>
              <a:ext uri="{FF2B5EF4-FFF2-40B4-BE49-F238E27FC236}">
                <a16:creationId xmlns:a16="http://schemas.microsoft.com/office/drawing/2014/main" id="{17696CD4-D4E9-4A4C-90E1-7D84E36582D2}"/>
              </a:ext>
            </a:extLst>
          </p:cNvPr>
          <p:cNvSpPr/>
          <p:nvPr/>
        </p:nvSpPr>
        <p:spPr>
          <a:xfrm rot="5400000" flipH="1" flipV="1">
            <a:off x="9282018" y="2641702"/>
            <a:ext cx="1104985" cy="519752"/>
          </a:xfrm>
          <a:custGeom>
            <a:avLst/>
            <a:gdLst>
              <a:gd name="connsiteX0" fmla="*/ 980479 w 980479"/>
              <a:gd name="connsiteY0" fmla="*/ 2 h 457203"/>
              <a:gd name="connsiteX1" fmla="*/ 970809 w 980479"/>
              <a:gd name="connsiteY1" fmla="*/ 457203 h 457203"/>
              <a:gd name="connsiteX2" fmla="*/ 330526 w 980479"/>
              <a:gd name="connsiteY2" fmla="*/ 457203 h 457203"/>
              <a:gd name="connsiteX3" fmla="*/ 330526 w 980479"/>
              <a:gd name="connsiteY3" fmla="*/ 457202 h 457203"/>
              <a:gd name="connsiteX4" fmla="*/ 0 w 980479"/>
              <a:gd name="connsiteY4" fmla="*/ 457202 h 457203"/>
              <a:gd name="connsiteX5" fmla="*/ 267641 w 980479"/>
              <a:gd name="connsiteY5" fmla="*/ 0 h 457203"/>
              <a:gd name="connsiteX6" fmla="*/ 742581 w 980479"/>
              <a:gd name="connsiteY6" fmla="*/ 0 h 457203"/>
              <a:gd name="connsiteX7" fmla="*/ 742580 w 980479"/>
              <a:gd name="connsiteY7" fmla="*/ 2 h 4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0479" h="457203">
                <a:moveTo>
                  <a:pt x="980479" y="2"/>
                </a:moveTo>
                <a:lnTo>
                  <a:pt x="970809" y="457203"/>
                </a:lnTo>
                <a:lnTo>
                  <a:pt x="330526" y="457203"/>
                </a:lnTo>
                <a:lnTo>
                  <a:pt x="330526" y="457202"/>
                </a:lnTo>
                <a:lnTo>
                  <a:pt x="0" y="457202"/>
                </a:lnTo>
                <a:lnTo>
                  <a:pt x="267641" y="0"/>
                </a:lnTo>
                <a:lnTo>
                  <a:pt x="742581" y="0"/>
                </a:lnTo>
                <a:lnTo>
                  <a:pt x="742580" y="2"/>
                </a:lnTo>
                <a:close/>
              </a:path>
            </a:pathLst>
          </a:cu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9" name="Freeform 178">
            <a:extLst>
              <a:ext uri="{FF2B5EF4-FFF2-40B4-BE49-F238E27FC236}">
                <a16:creationId xmlns:a16="http://schemas.microsoft.com/office/drawing/2014/main" id="{9FE9C413-B6B1-744A-A265-BCAB0A14E896}"/>
              </a:ext>
            </a:extLst>
          </p:cNvPr>
          <p:cNvSpPr/>
          <p:nvPr/>
        </p:nvSpPr>
        <p:spPr>
          <a:xfrm rot="5400000" flipH="1" flipV="1">
            <a:off x="9126429" y="3599916"/>
            <a:ext cx="1416168" cy="519751"/>
          </a:xfrm>
          <a:custGeom>
            <a:avLst/>
            <a:gdLst>
              <a:gd name="connsiteX0" fmla="*/ 1256600 w 1256600"/>
              <a:gd name="connsiteY0" fmla="*/ 1 h 457202"/>
              <a:gd name="connsiteX1" fmla="*/ 1001820 w 1256600"/>
              <a:gd name="connsiteY1" fmla="*/ 457202 h 457202"/>
              <a:gd name="connsiteX2" fmla="*/ 392257 w 1256600"/>
              <a:gd name="connsiteY2" fmla="*/ 457202 h 457202"/>
              <a:gd name="connsiteX3" fmla="*/ 392258 w 1256600"/>
              <a:gd name="connsiteY3" fmla="*/ 457201 h 457202"/>
              <a:gd name="connsiteX4" fmla="*/ 0 w 1256600"/>
              <a:gd name="connsiteY4" fmla="*/ 457201 h 457202"/>
              <a:gd name="connsiteX5" fmla="*/ 538153 w 1256600"/>
              <a:gd name="connsiteY5" fmla="*/ 0 h 457202"/>
              <a:gd name="connsiteX6" fmla="*/ 1076333 w 1256600"/>
              <a:gd name="connsiteY6" fmla="*/ 0 h 457202"/>
              <a:gd name="connsiteX7" fmla="*/ 1076332 w 1256600"/>
              <a:gd name="connsiteY7" fmla="*/ 1 h 45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6600" h="457202">
                <a:moveTo>
                  <a:pt x="1256600" y="1"/>
                </a:moveTo>
                <a:lnTo>
                  <a:pt x="1001820" y="457202"/>
                </a:lnTo>
                <a:lnTo>
                  <a:pt x="392257" y="457202"/>
                </a:lnTo>
                <a:lnTo>
                  <a:pt x="392258" y="457201"/>
                </a:lnTo>
                <a:lnTo>
                  <a:pt x="0" y="457201"/>
                </a:lnTo>
                <a:lnTo>
                  <a:pt x="538153" y="0"/>
                </a:lnTo>
                <a:lnTo>
                  <a:pt x="1076333" y="0"/>
                </a:lnTo>
                <a:lnTo>
                  <a:pt x="1076332" y="1"/>
                </a:ln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0" name="Freeform 179">
            <a:extLst>
              <a:ext uri="{FF2B5EF4-FFF2-40B4-BE49-F238E27FC236}">
                <a16:creationId xmlns:a16="http://schemas.microsoft.com/office/drawing/2014/main" id="{59EB1CB5-0A78-8743-9544-80AFF6DB235C}"/>
              </a:ext>
            </a:extLst>
          </p:cNvPr>
          <p:cNvSpPr/>
          <p:nvPr/>
        </p:nvSpPr>
        <p:spPr>
          <a:xfrm rot="5400000" flipH="1" flipV="1">
            <a:off x="8990276" y="4550697"/>
            <a:ext cx="1688473" cy="519751"/>
          </a:xfrm>
          <a:custGeom>
            <a:avLst/>
            <a:gdLst>
              <a:gd name="connsiteX0" fmla="*/ 1498222 w 1498222"/>
              <a:gd name="connsiteY0" fmla="*/ 1 h 457202"/>
              <a:gd name="connsiteX1" fmla="*/ 988173 w 1498222"/>
              <a:gd name="connsiteY1" fmla="*/ 457202 h 457202"/>
              <a:gd name="connsiteX2" fmla="*/ 564630 w 1498222"/>
              <a:gd name="connsiteY2" fmla="*/ 457202 h 457202"/>
              <a:gd name="connsiteX3" fmla="*/ 564631 w 1498222"/>
              <a:gd name="connsiteY3" fmla="*/ 457201 h 457202"/>
              <a:gd name="connsiteX4" fmla="*/ 0 w 1498222"/>
              <a:gd name="connsiteY4" fmla="*/ 457201 h 457202"/>
              <a:gd name="connsiteX5" fmla="*/ 778184 w 1498222"/>
              <a:gd name="connsiteY5" fmla="*/ 0 h 457202"/>
              <a:gd name="connsiteX6" fmla="*/ 1356718 w 1498222"/>
              <a:gd name="connsiteY6" fmla="*/ 0 h 457202"/>
              <a:gd name="connsiteX7" fmla="*/ 1356716 w 1498222"/>
              <a:gd name="connsiteY7" fmla="*/ 1 h 45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8222" h="457202">
                <a:moveTo>
                  <a:pt x="1498222" y="1"/>
                </a:moveTo>
                <a:lnTo>
                  <a:pt x="988173" y="457202"/>
                </a:lnTo>
                <a:lnTo>
                  <a:pt x="564630" y="457202"/>
                </a:lnTo>
                <a:lnTo>
                  <a:pt x="564631" y="457201"/>
                </a:lnTo>
                <a:lnTo>
                  <a:pt x="0" y="457201"/>
                </a:lnTo>
                <a:lnTo>
                  <a:pt x="778184" y="0"/>
                </a:lnTo>
                <a:lnTo>
                  <a:pt x="1356718" y="0"/>
                </a:lnTo>
                <a:lnTo>
                  <a:pt x="1356716" y="1"/>
                </a:lnTo>
                <a:close/>
              </a:path>
            </a:pathLst>
          </a:cu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1" name="Rectangle 180">
            <a:extLst>
              <a:ext uri="{FF2B5EF4-FFF2-40B4-BE49-F238E27FC236}">
                <a16:creationId xmlns:a16="http://schemas.microsoft.com/office/drawing/2014/main" id="{C0EAB8A0-AC05-8546-B5DA-805565F8CF55}"/>
              </a:ext>
            </a:extLst>
          </p:cNvPr>
          <p:cNvSpPr/>
          <p:nvPr/>
        </p:nvSpPr>
        <p:spPr>
          <a:xfrm>
            <a:off x="4247211" y="1844379"/>
            <a:ext cx="1934413" cy="219025"/>
          </a:xfrm>
          <a:prstGeom prst="rect">
            <a:avLst/>
          </a:prstGeom>
        </p:spPr>
        <p:txBody>
          <a:bodyPr wrap="none" lIns="0" tIns="0" rIns="0" bIns="0">
            <a:spAutoFit/>
          </a:bodyPr>
          <a:lstStyle/>
          <a:p>
            <a:r>
              <a:rPr lang="en-US" sz="1200" b="1" dirty="0">
                <a:solidFill>
                  <a:schemeClr val="bg1"/>
                </a:solidFill>
              </a:rPr>
              <a:t>Lorem ipsum dolor sit am</a:t>
            </a:r>
          </a:p>
        </p:txBody>
      </p:sp>
      <p:sp>
        <p:nvSpPr>
          <p:cNvPr id="182" name="TextBox 181">
            <a:extLst>
              <a:ext uri="{FF2B5EF4-FFF2-40B4-BE49-F238E27FC236}">
                <a16:creationId xmlns:a16="http://schemas.microsoft.com/office/drawing/2014/main" id="{89A9D478-219A-6E49-893A-D67727201B9C}"/>
              </a:ext>
            </a:extLst>
          </p:cNvPr>
          <p:cNvSpPr txBox="1"/>
          <p:nvPr/>
        </p:nvSpPr>
        <p:spPr>
          <a:xfrm>
            <a:off x="10291667" y="1734868"/>
            <a:ext cx="532852" cy="328537"/>
          </a:xfrm>
          <a:prstGeom prst="rect">
            <a:avLst/>
          </a:prstGeom>
          <a:noFill/>
        </p:spPr>
        <p:txBody>
          <a:bodyPr vert="horz" wrap="square" lIns="0" tIns="0" rIns="0" bIns="0" rtlCol="0">
            <a:spAutoFit/>
          </a:bodyPr>
          <a:lstStyle/>
          <a:p>
            <a:pPr algn="ctr">
              <a:spcBef>
                <a:spcPts val="200"/>
              </a:spcBef>
              <a:buSzPct val="100000"/>
            </a:pPr>
            <a:r>
              <a:rPr lang="en-US" b="1" dirty="0">
                <a:solidFill>
                  <a:schemeClr val="bg1"/>
                </a:solidFill>
              </a:rPr>
              <a:t>2</a:t>
            </a:r>
          </a:p>
        </p:txBody>
      </p:sp>
      <p:sp>
        <p:nvSpPr>
          <p:cNvPr id="183" name="Rectangle 182">
            <a:extLst>
              <a:ext uri="{FF2B5EF4-FFF2-40B4-BE49-F238E27FC236}">
                <a16:creationId xmlns:a16="http://schemas.microsoft.com/office/drawing/2014/main" id="{B73D6EAE-E91C-6D4F-BB1C-761D32F8D3E7}"/>
              </a:ext>
            </a:extLst>
          </p:cNvPr>
          <p:cNvSpPr/>
          <p:nvPr/>
        </p:nvSpPr>
        <p:spPr>
          <a:xfrm>
            <a:off x="5020210" y="766768"/>
            <a:ext cx="2109331" cy="328537"/>
          </a:xfrm>
          <a:prstGeom prst="rect">
            <a:avLst/>
          </a:prstGeom>
        </p:spPr>
        <p:txBody>
          <a:bodyPr wrap="none">
            <a:spAutoFit/>
          </a:bodyPr>
          <a:lstStyle/>
          <a:p>
            <a:pPr algn="ctr"/>
            <a:r>
              <a:rPr lang="en-US" sz="1200" dirty="0"/>
              <a:t>Lorem ipsum dolor sit am</a:t>
            </a:r>
          </a:p>
        </p:txBody>
      </p:sp>
      <p:cxnSp>
        <p:nvCxnSpPr>
          <p:cNvPr id="184" name="Straight Arrow Connector 183">
            <a:extLst>
              <a:ext uri="{FF2B5EF4-FFF2-40B4-BE49-F238E27FC236}">
                <a16:creationId xmlns:a16="http://schemas.microsoft.com/office/drawing/2014/main" id="{5892E5D7-489C-C648-BCFF-F1562FD88D9D}"/>
              </a:ext>
            </a:extLst>
          </p:cNvPr>
          <p:cNvCxnSpPr>
            <a:cxnSpLocks/>
          </p:cNvCxnSpPr>
          <p:nvPr/>
        </p:nvCxnSpPr>
        <p:spPr>
          <a:xfrm flipH="1">
            <a:off x="6074875" y="1047805"/>
            <a:ext cx="1" cy="42968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5" name="Rectangle 184">
            <a:extLst>
              <a:ext uri="{FF2B5EF4-FFF2-40B4-BE49-F238E27FC236}">
                <a16:creationId xmlns:a16="http://schemas.microsoft.com/office/drawing/2014/main" id="{0CE12344-D36C-6F43-A2CE-823A050308A6}"/>
              </a:ext>
            </a:extLst>
          </p:cNvPr>
          <p:cNvSpPr/>
          <p:nvPr/>
        </p:nvSpPr>
        <p:spPr>
          <a:xfrm>
            <a:off x="10008129" y="317772"/>
            <a:ext cx="1280351" cy="547562"/>
          </a:xfrm>
          <a:prstGeom prst="rect">
            <a:avLst/>
          </a:prstGeom>
        </p:spPr>
        <p:txBody>
          <a:bodyPr wrap="square">
            <a:spAutoFit/>
          </a:bodyPr>
          <a:lstStyle/>
          <a:p>
            <a:r>
              <a:rPr lang="en-US" sz="1200" dirty="0"/>
              <a:t>Lorem ipsum dolor sit am</a:t>
            </a:r>
          </a:p>
        </p:txBody>
      </p:sp>
      <p:sp>
        <p:nvSpPr>
          <p:cNvPr id="187" name="Rectangle 186">
            <a:extLst>
              <a:ext uri="{FF2B5EF4-FFF2-40B4-BE49-F238E27FC236}">
                <a16:creationId xmlns:a16="http://schemas.microsoft.com/office/drawing/2014/main" id="{1C6BB93C-E6CD-0447-B195-7D85A212DE1D}"/>
              </a:ext>
            </a:extLst>
          </p:cNvPr>
          <p:cNvSpPr/>
          <p:nvPr/>
        </p:nvSpPr>
        <p:spPr>
          <a:xfrm>
            <a:off x="4247210" y="2631724"/>
            <a:ext cx="1934413" cy="219025"/>
          </a:xfrm>
          <a:prstGeom prst="rect">
            <a:avLst/>
          </a:prstGeom>
        </p:spPr>
        <p:txBody>
          <a:bodyPr wrap="none" lIns="0" tIns="0" rIns="0" bIns="0">
            <a:spAutoFit/>
          </a:bodyPr>
          <a:lstStyle/>
          <a:p>
            <a:r>
              <a:rPr lang="en-US" sz="1200" b="1" dirty="0">
                <a:solidFill>
                  <a:schemeClr val="bg1"/>
                </a:solidFill>
              </a:rPr>
              <a:t>Lorem ipsum dolor sit am</a:t>
            </a:r>
          </a:p>
        </p:txBody>
      </p:sp>
      <p:sp>
        <p:nvSpPr>
          <p:cNvPr id="188" name="TextBox 187">
            <a:extLst>
              <a:ext uri="{FF2B5EF4-FFF2-40B4-BE49-F238E27FC236}">
                <a16:creationId xmlns:a16="http://schemas.microsoft.com/office/drawing/2014/main" id="{97B27FFA-7541-B648-8107-0F524A0D5323}"/>
              </a:ext>
            </a:extLst>
          </p:cNvPr>
          <p:cNvSpPr txBox="1"/>
          <p:nvPr/>
        </p:nvSpPr>
        <p:spPr>
          <a:xfrm>
            <a:off x="10291667" y="2763220"/>
            <a:ext cx="532852" cy="328537"/>
          </a:xfrm>
          <a:prstGeom prst="rect">
            <a:avLst/>
          </a:prstGeom>
          <a:noFill/>
        </p:spPr>
        <p:txBody>
          <a:bodyPr vert="horz" wrap="square" lIns="0" tIns="0" rIns="0" bIns="0" rtlCol="0">
            <a:spAutoFit/>
          </a:bodyPr>
          <a:lstStyle/>
          <a:p>
            <a:pPr algn="ctr">
              <a:spcBef>
                <a:spcPts val="200"/>
              </a:spcBef>
              <a:buSzPct val="100000"/>
            </a:pPr>
            <a:r>
              <a:rPr lang="en-US" b="1" dirty="0">
                <a:solidFill>
                  <a:schemeClr val="bg1"/>
                </a:solidFill>
              </a:rPr>
              <a:t>52</a:t>
            </a:r>
          </a:p>
        </p:txBody>
      </p:sp>
      <p:sp>
        <p:nvSpPr>
          <p:cNvPr id="189" name="Rectangle 188">
            <a:extLst>
              <a:ext uri="{FF2B5EF4-FFF2-40B4-BE49-F238E27FC236}">
                <a16:creationId xmlns:a16="http://schemas.microsoft.com/office/drawing/2014/main" id="{B07B2D5D-3D9E-1447-9829-2D153D144DB1}"/>
              </a:ext>
            </a:extLst>
          </p:cNvPr>
          <p:cNvSpPr/>
          <p:nvPr/>
        </p:nvSpPr>
        <p:spPr>
          <a:xfrm>
            <a:off x="4247210" y="3445123"/>
            <a:ext cx="1934413" cy="219025"/>
          </a:xfrm>
          <a:prstGeom prst="rect">
            <a:avLst/>
          </a:prstGeom>
        </p:spPr>
        <p:txBody>
          <a:bodyPr wrap="none" lIns="0" tIns="0" rIns="0" bIns="0">
            <a:spAutoFit/>
          </a:bodyPr>
          <a:lstStyle/>
          <a:p>
            <a:r>
              <a:rPr lang="en-US" sz="1200" b="1" dirty="0">
                <a:solidFill>
                  <a:schemeClr val="bg1"/>
                </a:solidFill>
              </a:rPr>
              <a:t>Lorem ipsum dolor sit am</a:t>
            </a:r>
          </a:p>
        </p:txBody>
      </p:sp>
      <p:sp>
        <p:nvSpPr>
          <p:cNvPr id="190" name="TextBox 189">
            <a:extLst>
              <a:ext uri="{FF2B5EF4-FFF2-40B4-BE49-F238E27FC236}">
                <a16:creationId xmlns:a16="http://schemas.microsoft.com/office/drawing/2014/main" id="{E0EDA60A-543C-4841-BD9A-1D69965B1403}"/>
              </a:ext>
            </a:extLst>
          </p:cNvPr>
          <p:cNvSpPr txBox="1"/>
          <p:nvPr/>
        </p:nvSpPr>
        <p:spPr>
          <a:xfrm>
            <a:off x="10291667" y="3877878"/>
            <a:ext cx="532852" cy="328537"/>
          </a:xfrm>
          <a:prstGeom prst="rect">
            <a:avLst/>
          </a:prstGeom>
          <a:noFill/>
        </p:spPr>
        <p:txBody>
          <a:bodyPr vert="horz" wrap="square" lIns="0" tIns="0" rIns="0" bIns="0" rtlCol="0">
            <a:spAutoFit/>
          </a:bodyPr>
          <a:lstStyle/>
          <a:p>
            <a:pPr algn="ctr">
              <a:spcBef>
                <a:spcPts val="200"/>
              </a:spcBef>
              <a:buSzPct val="100000"/>
            </a:pPr>
            <a:r>
              <a:rPr lang="en-US" b="1" dirty="0">
                <a:solidFill>
                  <a:schemeClr val="bg1"/>
                </a:solidFill>
              </a:rPr>
              <a:t>6</a:t>
            </a:r>
          </a:p>
        </p:txBody>
      </p:sp>
      <p:sp>
        <p:nvSpPr>
          <p:cNvPr id="191" name="Rectangle 190">
            <a:extLst>
              <a:ext uri="{FF2B5EF4-FFF2-40B4-BE49-F238E27FC236}">
                <a16:creationId xmlns:a16="http://schemas.microsoft.com/office/drawing/2014/main" id="{787731EB-423B-4045-88B0-B1C1C3DCBF64}"/>
              </a:ext>
            </a:extLst>
          </p:cNvPr>
          <p:cNvSpPr/>
          <p:nvPr/>
        </p:nvSpPr>
        <p:spPr>
          <a:xfrm>
            <a:off x="4247210" y="4234754"/>
            <a:ext cx="1950766" cy="219025"/>
          </a:xfrm>
          <a:prstGeom prst="rect">
            <a:avLst/>
          </a:prstGeom>
        </p:spPr>
        <p:txBody>
          <a:bodyPr wrap="none" lIns="0" tIns="0" rIns="0" bIns="0">
            <a:spAutoFit/>
          </a:bodyPr>
          <a:lstStyle/>
          <a:p>
            <a:r>
              <a:rPr lang="en-US" sz="1200" b="1" dirty="0">
                <a:solidFill>
                  <a:schemeClr val="bg1"/>
                </a:solidFill>
              </a:rPr>
              <a:t>Lorem ipsum dolor sit am</a:t>
            </a:r>
          </a:p>
        </p:txBody>
      </p:sp>
      <p:sp>
        <p:nvSpPr>
          <p:cNvPr id="192" name="TextBox 191">
            <a:extLst>
              <a:ext uri="{FF2B5EF4-FFF2-40B4-BE49-F238E27FC236}">
                <a16:creationId xmlns:a16="http://schemas.microsoft.com/office/drawing/2014/main" id="{4ECDE3A6-CB83-4942-96BC-D98EC2D5F684}"/>
              </a:ext>
            </a:extLst>
          </p:cNvPr>
          <p:cNvSpPr txBox="1"/>
          <p:nvPr/>
        </p:nvSpPr>
        <p:spPr>
          <a:xfrm>
            <a:off x="10291667" y="4908516"/>
            <a:ext cx="532852" cy="328537"/>
          </a:xfrm>
          <a:prstGeom prst="rect">
            <a:avLst/>
          </a:prstGeom>
          <a:noFill/>
        </p:spPr>
        <p:txBody>
          <a:bodyPr vert="horz" wrap="square" lIns="0" tIns="0" rIns="0" bIns="0" rtlCol="0">
            <a:spAutoFit/>
          </a:bodyPr>
          <a:lstStyle/>
          <a:p>
            <a:pPr algn="ctr">
              <a:spcBef>
                <a:spcPts val="200"/>
              </a:spcBef>
              <a:buSzPct val="100000"/>
            </a:pPr>
            <a:r>
              <a:rPr lang="en-US" b="1" dirty="0">
                <a:solidFill>
                  <a:schemeClr val="bg1"/>
                </a:solidFill>
              </a:rPr>
              <a:t>1</a:t>
            </a:r>
          </a:p>
        </p:txBody>
      </p:sp>
      <p:sp>
        <p:nvSpPr>
          <p:cNvPr id="193" name="Rectangle 192">
            <a:extLst>
              <a:ext uri="{FF2B5EF4-FFF2-40B4-BE49-F238E27FC236}">
                <a16:creationId xmlns:a16="http://schemas.microsoft.com/office/drawing/2014/main" id="{05A4DEDB-E533-994B-8E01-940D39B23407}"/>
              </a:ext>
            </a:extLst>
          </p:cNvPr>
          <p:cNvSpPr/>
          <p:nvPr/>
        </p:nvSpPr>
        <p:spPr>
          <a:xfrm>
            <a:off x="2758151" y="4929836"/>
            <a:ext cx="6650292" cy="430887"/>
          </a:xfrm>
          <a:prstGeom prst="rect">
            <a:avLst/>
          </a:prstGeom>
          <a:noFill/>
        </p:spPr>
        <p:txBody>
          <a:bodyPr wrap="square" lIns="0" tIns="0" rIns="0" bIns="0">
            <a:spAutoFit/>
          </a:bodyPr>
          <a:lstStyle/>
          <a:p>
            <a:r>
              <a:rPr lang="en-US" sz="1400" b="1" dirty="0"/>
              <a:t>Lorem ipsum dolor sit </a:t>
            </a:r>
            <a:r>
              <a:rPr lang="en-US" sz="1400" b="1" dirty="0" err="1"/>
              <a:t>amLorem</a:t>
            </a:r>
            <a:r>
              <a:rPr lang="en-US" sz="1400" b="1" dirty="0"/>
              <a:t> ipsum dolor sit </a:t>
            </a:r>
            <a:r>
              <a:rPr lang="en-US" sz="1400" b="1" dirty="0" err="1"/>
              <a:t>amLorem</a:t>
            </a:r>
            <a:r>
              <a:rPr lang="en-US" sz="1400" b="1" dirty="0"/>
              <a:t> ipsum dolor sit </a:t>
            </a:r>
            <a:r>
              <a:rPr lang="en-US" sz="1400" b="1" dirty="0" err="1"/>
              <a:t>amLorem</a:t>
            </a:r>
            <a:r>
              <a:rPr lang="en-US" sz="1400" b="1" dirty="0"/>
              <a:t> ipsum dolor sit </a:t>
            </a:r>
            <a:r>
              <a:rPr lang="en-US" sz="1400" b="1" dirty="0" err="1"/>
              <a:t>amLorem</a:t>
            </a:r>
            <a:r>
              <a:rPr lang="en-US" sz="1400" b="1" dirty="0"/>
              <a:t> ipsum dolor sit </a:t>
            </a:r>
            <a:r>
              <a:rPr lang="en-US" sz="1400" b="1" dirty="0" err="1"/>
              <a:t>amLorem</a:t>
            </a:r>
            <a:r>
              <a:rPr lang="en-US" sz="1400" b="1" dirty="0"/>
              <a:t> ipsum dolor sit </a:t>
            </a:r>
            <a:r>
              <a:rPr lang="en-US" sz="1400" b="1" dirty="0" err="1"/>
              <a:t>amLorem</a:t>
            </a:r>
            <a:r>
              <a:rPr lang="en-US" sz="1400" b="1" dirty="0"/>
              <a:t> ipsum dolor sit am</a:t>
            </a:r>
          </a:p>
        </p:txBody>
      </p:sp>
      <p:grpSp>
        <p:nvGrpSpPr>
          <p:cNvPr id="194" name="Group 726">
            <a:extLst>
              <a:ext uri="{FF2B5EF4-FFF2-40B4-BE49-F238E27FC236}">
                <a16:creationId xmlns:a16="http://schemas.microsoft.com/office/drawing/2014/main" id="{A50F065B-1C20-D844-AD76-ADC4CBB9E7D4}"/>
              </a:ext>
            </a:extLst>
          </p:cNvPr>
          <p:cNvGrpSpPr>
            <a:grpSpLocks noChangeAspect="1"/>
          </p:cNvGrpSpPr>
          <p:nvPr/>
        </p:nvGrpSpPr>
        <p:grpSpPr bwMode="auto">
          <a:xfrm>
            <a:off x="1073927" y="1761749"/>
            <a:ext cx="639959" cy="639959"/>
            <a:chOff x="5022" y="3403"/>
            <a:chExt cx="340" cy="340"/>
          </a:xfrm>
          <a:solidFill>
            <a:schemeClr val="bg1"/>
          </a:solidFill>
        </p:grpSpPr>
        <p:sp>
          <p:nvSpPr>
            <p:cNvPr id="195" name="Freeform 727">
              <a:extLst>
                <a:ext uri="{FF2B5EF4-FFF2-40B4-BE49-F238E27FC236}">
                  <a16:creationId xmlns:a16="http://schemas.microsoft.com/office/drawing/2014/main" id="{48182038-8206-E54B-AE86-2F6A814FA554}"/>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lc="http://schemas.openxmlformats.org/drawingml/2006/lockedCanvas"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6" name="Freeform 728">
              <a:extLst>
                <a:ext uri="{FF2B5EF4-FFF2-40B4-BE49-F238E27FC236}">
                  <a16:creationId xmlns:a16="http://schemas.microsoft.com/office/drawing/2014/main" id="{A3984145-EA98-2141-A8B8-8FED6E58B422}"/>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xmlns:p14="http://schemas.microsoft.com/office/powerpoint/2010/main" xmlns:lc="http://schemas.openxmlformats.org/drawingml/2006/lockedCanvas"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7" name="Group 196">
            <a:extLst>
              <a:ext uri="{FF2B5EF4-FFF2-40B4-BE49-F238E27FC236}">
                <a16:creationId xmlns:a16="http://schemas.microsoft.com/office/drawing/2014/main" id="{BC65CA0B-F178-8E45-89D1-84E593CBE03C}"/>
              </a:ext>
            </a:extLst>
          </p:cNvPr>
          <p:cNvGrpSpPr>
            <a:grpSpLocks noChangeAspect="1"/>
          </p:cNvGrpSpPr>
          <p:nvPr/>
        </p:nvGrpSpPr>
        <p:grpSpPr bwMode="auto">
          <a:xfrm>
            <a:off x="1073928" y="2876587"/>
            <a:ext cx="639875" cy="639874"/>
            <a:chOff x="5018" y="1229"/>
            <a:chExt cx="340" cy="340"/>
          </a:xfrm>
          <a:solidFill>
            <a:schemeClr val="bg1"/>
          </a:solidFill>
        </p:grpSpPr>
        <p:sp>
          <p:nvSpPr>
            <p:cNvPr id="198" name="Freeform 197">
              <a:extLst>
                <a:ext uri="{FF2B5EF4-FFF2-40B4-BE49-F238E27FC236}">
                  <a16:creationId xmlns:a16="http://schemas.microsoft.com/office/drawing/2014/main" id="{367A7D19-F017-824E-B82E-9E6447E9FB9B}"/>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199" name="Freeform 198">
              <a:extLst>
                <a:ext uri="{FF2B5EF4-FFF2-40B4-BE49-F238E27FC236}">
                  <a16:creationId xmlns:a16="http://schemas.microsoft.com/office/drawing/2014/main" id="{5687E294-65D6-954D-8FC8-0A5BFBD3388F}"/>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grpSp>
      <p:sp>
        <p:nvSpPr>
          <p:cNvPr id="200" name="Freeform 1022">
            <a:extLst>
              <a:ext uri="{FF2B5EF4-FFF2-40B4-BE49-F238E27FC236}">
                <a16:creationId xmlns:a16="http://schemas.microsoft.com/office/drawing/2014/main" id="{FD76EFBD-A810-4741-AF3E-D0E020E66AA0}"/>
              </a:ext>
            </a:extLst>
          </p:cNvPr>
          <p:cNvSpPr>
            <a:spLocks noChangeAspect="1" noEditPoints="1"/>
          </p:cNvSpPr>
          <p:nvPr/>
        </p:nvSpPr>
        <p:spPr bwMode="auto">
          <a:xfrm>
            <a:off x="1073927" y="5104446"/>
            <a:ext cx="639874" cy="639874"/>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72 w 512"/>
              <a:gd name="T11" fmla="*/ 245 h 512"/>
              <a:gd name="T12" fmla="*/ 370 w 512"/>
              <a:gd name="T13" fmla="*/ 157 h 512"/>
              <a:gd name="T14" fmla="*/ 355 w 512"/>
              <a:gd name="T15" fmla="*/ 141 h 512"/>
              <a:gd name="T16" fmla="*/ 266 w 512"/>
              <a:gd name="T17" fmla="*/ 139 h 512"/>
              <a:gd name="T18" fmla="*/ 256 w 512"/>
              <a:gd name="T19" fmla="*/ 96 h 512"/>
              <a:gd name="T20" fmla="*/ 245 w 512"/>
              <a:gd name="T21" fmla="*/ 139 h 512"/>
              <a:gd name="T22" fmla="*/ 157 w 512"/>
              <a:gd name="T23" fmla="*/ 141 h 512"/>
              <a:gd name="T24" fmla="*/ 141 w 512"/>
              <a:gd name="T25" fmla="*/ 157 h 512"/>
              <a:gd name="T26" fmla="*/ 139 w 512"/>
              <a:gd name="T27" fmla="*/ 245 h 512"/>
              <a:gd name="T28" fmla="*/ 96 w 512"/>
              <a:gd name="T29" fmla="*/ 256 h 512"/>
              <a:gd name="T30" fmla="*/ 139 w 512"/>
              <a:gd name="T31" fmla="*/ 266 h 512"/>
              <a:gd name="T32" fmla="*/ 141 w 512"/>
              <a:gd name="T33" fmla="*/ 355 h 512"/>
              <a:gd name="T34" fmla="*/ 149 w 512"/>
              <a:gd name="T35" fmla="*/ 373 h 512"/>
              <a:gd name="T36" fmla="*/ 181 w 512"/>
              <a:gd name="T37" fmla="*/ 346 h 512"/>
              <a:gd name="T38" fmla="*/ 245 w 512"/>
              <a:gd name="T39" fmla="*/ 405 h 512"/>
              <a:gd name="T40" fmla="*/ 266 w 512"/>
              <a:gd name="T41" fmla="*/ 405 h 512"/>
              <a:gd name="T42" fmla="*/ 331 w 512"/>
              <a:gd name="T43" fmla="*/ 346 h 512"/>
              <a:gd name="T44" fmla="*/ 362 w 512"/>
              <a:gd name="T45" fmla="*/ 373 h 512"/>
              <a:gd name="T46" fmla="*/ 370 w 512"/>
              <a:gd name="T47" fmla="*/ 355 h 512"/>
              <a:gd name="T48" fmla="*/ 372 w 512"/>
              <a:gd name="T49" fmla="*/ 266 h 512"/>
              <a:gd name="T50" fmla="*/ 416 w 512"/>
              <a:gd name="T51" fmla="*/ 256 h 512"/>
              <a:gd name="T52" fmla="*/ 351 w 512"/>
              <a:gd name="T53" fmla="*/ 245 h 512"/>
              <a:gd name="T54" fmla="*/ 286 w 512"/>
              <a:gd name="T55" fmla="*/ 245 h 512"/>
              <a:gd name="T56" fmla="*/ 286 w 512"/>
              <a:gd name="T57" fmla="*/ 241 h 512"/>
              <a:gd name="T58" fmla="*/ 351 w 512"/>
              <a:gd name="T59" fmla="*/ 245 h 512"/>
              <a:gd name="T60" fmla="*/ 271 w 512"/>
              <a:gd name="T61" fmla="*/ 226 h 512"/>
              <a:gd name="T62" fmla="*/ 266 w 512"/>
              <a:gd name="T63" fmla="*/ 226 h 512"/>
              <a:gd name="T64" fmla="*/ 266 w 512"/>
              <a:gd name="T65" fmla="*/ 160 h 512"/>
              <a:gd name="T66" fmla="*/ 256 w 512"/>
              <a:gd name="T67" fmla="*/ 266 h 512"/>
              <a:gd name="T68" fmla="*/ 256 w 512"/>
              <a:gd name="T69" fmla="*/ 245 h 512"/>
              <a:gd name="T70" fmla="*/ 256 w 512"/>
              <a:gd name="T71" fmla="*/ 266 h 512"/>
              <a:gd name="T72" fmla="*/ 245 w 512"/>
              <a:gd name="T73" fmla="*/ 224 h 512"/>
              <a:gd name="T74" fmla="*/ 242 w 512"/>
              <a:gd name="T75" fmla="*/ 227 h 512"/>
              <a:gd name="T76" fmla="*/ 196 w 512"/>
              <a:gd name="T77" fmla="*/ 181 h 512"/>
              <a:gd name="T78" fmla="*/ 181 w 512"/>
              <a:gd name="T79" fmla="*/ 196 h 512"/>
              <a:gd name="T80" fmla="*/ 227 w 512"/>
              <a:gd name="T81" fmla="*/ 242 h 512"/>
              <a:gd name="T82" fmla="*/ 224 w 512"/>
              <a:gd name="T83" fmla="*/ 245 h 512"/>
              <a:gd name="T84" fmla="*/ 181 w 512"/>
              <a:gd name="T85" fmla="*/ 196 h 512"/>
              <a:gd name="T86" fmla="*/ 224 w 512"/>
              <a:gd name="T87" fmla="*/ 266 h 512"/>
              <a:gd name="T88" fmla="*/ 227 w 512"/>
              <a:gd name="T89" fmla="*/ 270 h 512"/>
              <a:gd name="T90" fmla="*/ 181 w 512"/>
              <a:gd name="T91" fmla="*/ 316 h 512"/>
              <a:gd name="T92" fmla="*/ 196 w 512"/>
              <a:gd name="T93" fmla="*/ 331 h 512"/>
              <a:gd name="T94" fmla="*/ 242 w 512"/>
              <a:gd name="T95" fmla="*/ 284 h 512"/>
              <a:gd name="T96" fmla="*/ 245 w 512"/>
              <a:gd name="T97" fmla="*/ 288 h 512"/>
              <a:gd name="T98" fmla="*/ 196 w 512"/>
              <a:gd name="T99" fmla="*/ 331 h 512"/>
              <a:gd name="T100" fmla="*/ 266 w 512"/>
              <a:gd name="T101" fmla="*/ 288 h 512"/>
              <a:gd name="T102" fmla="*/ 270 w 512"/>
              <a:gd name="T103" fmla="*/ 284 h 512"/>
              <a:gd name="T104" fmla="*/ 316 w 512"/>
              <a:gd name="T105" fmla="*/ 331 h 512"/>
              <a:gd name="T106" fmla="*/ 331 w 512"/>
              <a:gd name="T107" fmla="*/ 316 h 512"/>
              <a:gd name="T108" fmla="*/ 284 w 512"/>
              <a:gd name="T109" fmla="*/ 270 h 512"/>
              <a:gd name="T110" fmla="*/ 288 w 512"/>
              <a:gd name="T111" fmla="*/ 266 h 512"/>
              <a:gd name="T112" fmla="*/ 331 w 512"/>
              <a:gd name="T113"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45"/>
                </a:moveTo>
                <a:cubicBezTo>
                  <a:pt x="372" y="245"/>
                  <a:pt x="372" y="245"/>
                  <a:pt x="372" y="245"/>
                </a:cubicBezTo>
                <a:cubicBezTo>
                  <a:pt x="370" y="221"/>
                  <a:pt x="361" y="198"/>
                  <a:pt x="346" y="181"/>
                </a:cubicBezTo>
                <a:cubicBezTo>
                  <a:pt x="370" y="157"/>
                  <a:pt x="370" y="157"/>
                  <a:pt x="370" y="157"/>
                </a:cubicBezTo>
                <a:cubicBezTo>
                  <a:pt x="374" y="152"/>
                  <a:pt x="374" y="146"/>
                  <a:pt x="370" y="141"/>
                </a:cubicBezTo>
                <a:cubicBezTo>
                  <a:pt x="366" y="137"/>
                  <a:pt x="359" y="137"/>
                  <a:pt x="355" y="141"/>
                </a:cubicBezTo>
                <a:cubicBezTo>
                  <a:pt x="331" y="166"/>
                  <a:pt x="331" y="166"/>
                  <a:pt x="331" y="166"/>
                </a:cubicBezTo>
                <a:cubicBezTo>
                  <a:pt x="313" y="151"/>
                  <a:pt x="291" y="141"/>
                  <a:pt x="266" y="139"/>
                </a:cubicBezTo>
                <a:cubicBezTo>
                  <a:pt x="266" y="106"/>
                  <a:pt x="266" y="106"/>
                  <a:pt x="266" y="106"/>
                </a:cubicBezTo>
                <a:cubicBezTo>
                  <a:pt x="266" y="100"/>
                  <a:pt x="262" y="96"/>
                  <a:pt x="256" y="96"/>
                </a:cubicBezTo>
                <a:cubicBezTo>
                  <a:pt x="250" y="96"/>
                  <a:pt x="245" y="100"/>
                  <a:pt x="245" y="106"/>
                </a:cubicBezTo>
                <a:cubicBezTo>
                  <a:pt x="245" y="139"/>
                  <a:pt x="245" y="139"/>
                  <a:pt x="245" y="139"/>
                </a:cubicBezTo>
                <a:cubicBezTo>
                  <a:pt x="221" y="141"/>
                  <a:pt x="198" y="151"/>
                  <a:pt x="181" y="166"/>
                </a:cubicBezTo>
                <a:cubicBezTo>
                  <a:pt x="157" y="141"/>
                  <a:pt x="157" y="141"/>
                  <a:pt x="157" y="141"/>
                </a:cubicBezTo>
                <a:cubicBezTo>
                  <a:pt x="152" y="137"/>
                  <a:pt x="146" y="137"/>
                  <a:pt x="141" y="141"/>
                </a:cubicBezTo>
                <a:cubicBezTo>
                  <a:pt x="137" y="146"/>
                  <a:pt x="137" y="152"/>
                  <a:pt x="141" y="157"/>
                </a:cubicBezTo>
                <a:cubicBezTo>
                  <a:pt x="166" y="181"/>
                  <a:pt x="166" y="181"/>
                  <a:pt x="166" y="181"/>
                </a:cubicBezTo>
                <a:cubicBezTo>
                  <a:pt x="151" y="198"/>
                  <a:pt x="141" y="221"/>
                  <a:pt x="139" y="245"/>
                </a:cubicBezTo>
                <a:cubicBezTo>
                  <a:pt x="106" y="245"/>
                  <a:pt x="106" y="245"/>
                  <a:pt x="106" y="245"/>
                </a:cubicBezTo>
                <a:cubicBezTo>
                  <a:pt x="100" y="245"/>
                  <a:pt x="96" y="250"/>
                  <a:pt x="96" y="256"/>
                </a:cubicBezTo>
                <a:cubicBezTo>
                  <a:pt x="96" y="262"/>
                  <a:pt x="100" y="266"/>
                  <a:pt x="106" y="266"/>
                </a:cubicBezTo>
                <a:cubicBezTo>
                  <a:pt x="139" y="266"/>
                  <a:pt x="139" y="266"/>
                  <a:pt x="139" y="266"/>
                </a:cubicBezTo>
                <a:cubicBezTo>
                  <a:pt x="141" y="291"/>
                  <a:pt x="151" y="313"/>
                  <a:pt x="166" y="331"/>
                </a:cubicBezTo>
                <a:cubicBezTo>
                  <a:pt x="141" y="355"/>
                  <a:pt x="141" y="355"/>
                  <a:pt x="141" y="355"/>
                </a:cubicBezTo>
                <a:cubicBezTo>
                  <a:pt x="137" y="359"/>
                  <a:pt x="137" y="366"/>
                  <a:pt x="141" y="370"/>
                </a:cubicBezTo>
                <a:cubicBezTo>
                  <a:pt x="144" y="372"/>
                  <a:pt x="146" y="373"/>
                  <a:pt x="149" y="373"/>
                </a:cubicBezTo>
                <a:cubicBezTo>
                  <a:pt x="152" y="373"/>
                  <a:pt x="154" y="372"/>
                  <a:pt x="157" y="370"/>
                </a:cubicBezTo>
                <a:cubicBezTo>
                  <a:pt x="181" y="346"/>
                  <a:pt x="181" y="346"/>
                  <a:pt x="181" y="346"/>
                </a:cubicBezTo>
                <a:cubicBezTo>
                  <a:pt x="198" y="361"/>
                  <a:pt x="221" y="370"/>
                  <a:pt x="245" y="372"/>
                </a:cubicBezTo>
                <a:cubicBezTo>
                  <a:pt x="245" y="405"/>
                  <a:pt x="245" y="405"/>
                  <a:pt x="245" y="405"/>
                </a:cubicBezTo>
                <a:cubicBezTo>
                  <a:pt x="245" y="411"/>
                  <a:pt x="250" y="416"/>
                  <a:pt x="256" y="416"/>
                </a:cubicBezTo>
                <a:cubicBezTo>
                  <a:pt x="262" y="416"/>
                  <a:pt x="266" y="411"/>
                  <a:pt x="266" y="405"/>
                </a:cubicBezTo>
                <a:cubicBezTo>
                  <a:pt x="266" y="372"/>
                  <a:pt x="266" y="372"/>
                  <a:pt x="266" y="372"/>
                </a:cubicBezTo>
                <a:cubicBezTo>
                  <a:pt x="291" y="370"/>
                  <a:pt x="313" y="361"/>
                  <a:pt x="331" y="346"/>
                </a:cubicBezTo>
                <a:cubicBezTo>
                  <a:pt x="355" y="370"/>
                  <a:pt x="355" y="370"/>
                  <a:pt x="355" y="370"/>
                </a:cubicBezTo>
                <a:cubicBezTo>
                  <a:pt x="357" y="372"/>
                  <a:pt x="360" y="373"/>
                  <a:pt x="362" y="373"/>
                </a:cubicBezTo>
                <a:cubicBezTo>
                  <a:pt x="365" y="373"/>
                  <a:pt x="368" y="372"/>
                  <a:pt x="370" y="370"/>
                </a:cubicBezTo>
                <a:cubicBezTo>
                  <a:pt x="374" y="366"/>
                  <a:pt x="374" y="359"/>
                  <a:pt x="370" y="355"/>
                </a:cubicBezTo>
                <a:cubicBezTo>
                  <a:pt x="346" y="331"/>
                  <a:pt x="346" y="331"/>
                  <a:pt x="346" y="331"/>
                </a:cubicBezTo>
                <a:cubicBezTo>
                  <a:pt x="361" y="313"/>
                  <a:pt x="370" y="291"/>
                  <a:pt x="372" y="266"/>
                </a:cubicBezTo>
                <a:cubicBezTo>
                  <a:pt x="405" y="266"/>
                  <a:pt x="405" y="266"/>
                  <a:pt x="405" y="266"/>
                </a:cubicBezTo>
                <a:cubicBezTo>
                  <a:pt x="411" y="266"/>
                  <a:pt x="416" y="262"/>
                  <a:pt x="416" y="256"/>
                </a:cubicBezTo>
                <a:cubicBezTo>
                  <a:pt x="416" y="250"/>
                  <a:pt x="411" y="245"/>
                  <a:pt x="405" y="245"/>
                </a:cubicBezTo>
                <a:close/>
                <a:moveTo>
                  <a:pt x="351" y="245"/>
                </a:moveTo>
                <a:cubicBezTo>
                  <a:pt x="288" y="245"/>
                  <a:pt x="288" y="245"/>
                  <a:pt x="288" y="245"/>
                </a:cubicBezTo>
                <a:cubicBezTo>
                  <a:pt x="287" y="245"/>
                  <a:pt x="286" y="245"/>
                  <a:pt x="286" y="245"/>
                </a:cubicBezTo>
                <a:cubicBezTo>
                  <a:pt x="285" y="244"/>
                  <a:pt x="285" y="243"/>
                  <a:pt x="284" y="242"/>
                </a:cubicBezTo>
                <a:cubicBezTo>
                  <a:pt x="285" y="241"/>
                  <a:pt x="285" y="241"/>
                  <a:pt x="286" y="241"/>
                </a:cubicBezTo>
                <a:cubicBezTo>
                  <a:pt x="331" y="196"/>
                  <a:pt x="331" y="196"/>
                  <a:pt x="331" y="196"/>
                </a:cubicBezTo>
                <a:cubicBezTo>
                  <a:pt x="342" y="210"/>
                  <a:pt x="349" y="227"/>
                  <a:pt x="351" y="245"/>
                </a:cubicBezTo>
                <a:close/>
                <a:moveTo>
                  <a:pt x="316" y="181"/>
                </a:moveTo>
                <a:cubicBezTo>
                  <a:pt x="271" y="226"/>
                  <a:pt x="271" y="226"/>
                  <a:pt x="271" y="226"/>
                </a:cubicBezTo>
                <a:cubicBezTo>
                  <a:pt x="270" y="226"/>
                  <a:pt x="270" y="227"/>
                  <a:pt x="270" y="227"/>
                </a:cubicBezTo>
                <a:cubicBezTo>
                  <a:pt x="269" y="226"/>
                  <a:pt x="267" y="226"/>
                  <a:pt x="266" y="226"/>
                </a:cubicBezTo>
                <a:cubicBezTo>
                  <a:pt x="266" y="225"/>
                  <a:pt x="266" y="224"/>
                  <a:pt x="266" y="224"/>
                </a:cubicBezTo>
                <a:cubicBezTo>
                  <a:pt x="266" y="160"/>
                  <a:pt x="266" y="160"/>
                  <a:pt x="266" y="160"/>
                </a:cubicBezTo>
                <a:cubicBezTo>
                  <a:pt x="285" y="162"/>
                  <a:pt x="302" y="170"/>
                  <a:pt x="316" y="181"/>
                </a:cubicBezTo>
                <a:close/>
                <a:moveTo>
                  <a:pt x="256" y="266"/>
                </a:moveTo>
                <a:cubicBezTo>
                  <a:pt x="250" y="266"/>
                  <a:pt x="245" y="262"/>
                  <a:pt x="245" y="256"/>
                </a:cubicBezTo>
                <a:cubicBezTo>
                  <a:pt x="245" y="250"/>
                  <a:pt x="250" y="245"/>
                  <a:pt x="256" y="245"/>
                </a:cubicBezTo>
                <a:cubicBezTo>
                  <a:pt x="262" y="245"/>
                  <a:pt x="266" y="250"/>
                  <a:pt x="266" y="256"/>
                </a:cubicBezTo>
                <a:cubicBezTo>
                  <a:pt x="266" y="262"/>
                  <a:pt x="262" y="266"/>
                  <a:pt x="256" y="266"/>
                </a:cubicBezTo>
                <a:close/>
                <a:moveTo>
                  <a:pt x="245" y="160"/>
                </a:moveTo>
                <a:cubicBezTo>
                  <a:pt x="245" y="224"/>
                  <a:pt x="245" y="224"/>
                  <a:pt x="245" y="224"/>
                </a:cubicBezTo>
                <a:cubicBezTo>
                  <a:pt x="245" y="224"/>
                  <a:pt x="245" y="225"/>
                  <a:pt x="245" y="226"/>
                </a:cubicBezTo>
                <a:cubicBezTo>
                  <a:pt x="244" y="226"/>
                  <a:pt x="243" y="226"/>
                  <a:pt x="242" y="227"/>
                </a:cubicBezTo>
                <a:cubicBezTo>
                  <a:pt x="241" y="227"/>
                  <a:pt x="241" y="226"/>
                  <a:pt x="241" y="226"/>
                </a:cubicBezTo>
                <a:cubicBezTo>
                  <a:pt x="196" y="181"/>
                  <a:pt x="196" y="181"/>
                  <a:pt x="196" y="181"/>
                </a:cubicBezTo>
                <a:cubicBezTo>
                  <a:pt x="210" y="170"/>
                  <a:pt x="227" y="162"/>
                  <a:pt x="245" y="160"/>
                </a:cubicBezTo>
                <a:close/>
                <a:moveTo>
                  <a:pt x="181" y="196"/>
                </a:moveTo>
                <a:cubicBezTo>
                  <a:pt x="226" y="241"/>
                  <a:pt x="226" y="241"/>
                  <a:pt x="226" y="241"/>
                </a:cubicBezTo>
                <a:cubicBezTo>
                  <a:pt x="226" y="241"/>
                  <a:pt x="227" y="241"/>
                  <a:pt x="227" y="242"/>
                </a:cubicBezTo>
                <a:cubicBezTo>
                  <a:pt x="226" y="243"/>
                  <a:pt x="226" y="244"/>
                  <a:pt x="226" y="245"/>
                </a:cubicBezTo>
                <a:cubicBezTo>
                  <a:pt x="225" y="245"/>
                  <a:pt x="224" y="245"/>
                  <a:pt x="224" y="245"/>
                </a:cubicBezTo>
                <a:cubicBezTo>
                  <a:pt x="160" y="245"/>
                  <a:pt x="160" y="245"/>
                  <a:pt x="160" y="245"/>
                </a:cubicBezTo>
                <a:cubicBezTo>
                  <a:pt x="162" y="227"/>
                  <a:pt x="170" y="210"/>
                  <a:pt x="181" y="196"/>
                </a:cubicBezTo>
                <a:close/>
                <a:moveTo>
                  <a:pt x="160" y="266"/>
                </a:moveTo>
                <a:cubicBezTo>
                  <a:pt x="224" y="266"/>
                  <a:pt x="224" y="266"/>
                  <a:pt x="224" y="266"/>
                </a:cubicBezTo>
                <a:cubicBezTo>
                  <a:pt x="224" y="266"/>
                  <a:pt x="225" y="266"/>
                  <a:pt x="226" y="266"/>
                </a:cubicBezTo>
                <a:cubicBezTo>
                  <a:pt x="226" y="267"/>
                  <a:pt x="226" y="269"/>
                  <a:pt x="227" y="270"/>
                </a:cubicBezTo>
                <a:cubicBezTo>
                  <a:pt x="227" y="270"/>
                  <a:pt x="226" y="270"/>
                  <a:pt x="226" y="271"/>
                </a:cubicBezTo>
                <a:cubicBezTo>
                  <a:pt x="181" y="316"/>
                  <a:pt x="181" y="316"/>
                  <a:pt x="181" y="316"/>
                </a:cubicBezTo>
                <a:cubicBezTo>
                  <a:pt x="170" y="302"/>
                  <a:pt x="162" y="285"/>
                  <a:pt x="160" y="266"/>
                </a:cubicBezTo>
                <a:close/>
                <a:moveTo>
                  <a:pt x="196" y="331"/>
                </a:moveTo>
                <a:cubicBezTo>
                  <a:pt x="241" y="286"/>
                  <a:pt x="241" y="286"/>
                  <a:pt x="241" y="286"/>
                </a:cubicBezTo>
                <a:cubicBezTo>
                  <a:pt x="241" y="285"/>
                  <a:pt x="241" y="285"/>
                  <a:pt x="242" y="284"/>
                </a:cubicBezTo>
                <a:cubicBezTo>
                  <a:pt x="243" y="285"/>
                  <a:pt x="244" y="285"/>
                  <a:pt x="245" y="286"/>
                </a:cubicBezTo>
                <a:cubicBezTo>
                  <a:pt x="245" y="286"/>
                  <a:pt x="245" y="287"/>
                  <a:pt x="245" y="288"/>
                </a:cubicBezTo>
                <a:cubicBezTo>
                  <a:pt x="245" y="351"/>
                  <a:pt x="245" y="351"/>
                  <a:pt x="245" y="351"/>
                </a:cubicBezTo>
                <a:cubicBezTo>
                  <a:pt x="227" y="349"/>
                  <a:pt x="210" y="342"/>
                  <a:pt x="196" y="331"/>
                </a:cubicBezTo>
                <a:close/>
                <a:moveTo>
                  <a:pt x="266" y="351"/>
                </a:moveTo>
                <a:cubicBezTo>
                  <a:pt x="266" y="288"/>
                  <a:pt x="266" y="288"/>
                  <a:pt x="266" y="288"/>
                </a:cubicBezTo>
                <a:cubicBezTo>
                  <a:pt x="266" y="287"/>
                  <a:pt x="266" y="286"/>
                  <a:pt x="266" y="286"/>
                </a:cubicBezTo>
                <a:cubicBezTo>
                  <a:pt x="267" y="285"/>
                  <a:pt x="269" y="285"/>
                  <a:pt x="270" y="284"/>
                </a:cubicBezTo>
                <a:cubicBezTo>
                  <a:pt x="270" y="285"/>
                  <a:pt x="270" y="285"/>
                  <a:pt x="271" y="286"/>
                </a:cubicBezTo>
                <a:cubicBezTo>
                  <a:pt x="316" y="331"/>
                  <a:pt x="316" y="331"/>
                  <a:pt x="316" y="331"/>
                </a:cubicBezTo>
                <a:cubicBezTo>
                  <a:pt x="302" y="342"/>
                  <a:pt x="285" y="349"/>
                  <a:pt x="266" y="351"/>
                </a:cubicBezTo>
                <a:close/>
                <a:moveTo>
                  <a:pt x="331" y="316"/>
                </a:moveTo>
                <a:cubicBezTo>
                  <a:pt x="286" y="271"/>
                  <a:pt x="286" y="271"/>
                  <a:pt x="286" y="271"/>
                </a:cubicBezTo>
                <a:cubicBezTo>
                  <a:pt x="285" y="270"/>
                  <a:pt x="285" y="270"/>
                  <a:pt x="284" y="270"/>
                </a:cubicBezTo>
                <a:cubicBezTo>
                  <a:pt x="285" y="268"/>
                  <a:pt x="285" y="267"/>
                  <a:pt x="286" y="266"/>
                </a:cubicBezTo>
                <a:cubicBezTo>
                  <a:pt x="286" y="266"/>
                  <a:pt x="287" y="266"/>
                  <a:pt x="288" y="266"/>
                </a:cubicBezTo>
                <a:cubicBezTo>
                  <a:pt x="351" y="266"/>
                  <a:pt x="351" y="266"/>
                  <a:pt x="351" y="266"/>
                </a:cubicBezTo>
                <a:cubicBezTo>
                  <a:pt x="349" y="285"/>
                  <a:pt x="342" y="302"/>
                  <a:pt x="331" y="3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1" name="Freeform 200">
            <a:extLst>
              <a:ext uri="{FF2B5EF4-FFF2-40B4-BE49-F238E27FC236}">
                <a16:creationId xmlns:a16="http://schemas.microsoft.com/office/drawing/2014/main" id="{5CFDAD4C-E7B2-BB4B-A01D-E5495B84E38A}"/>
              </a:ext>
            </a:extLst>
          </p:cNvPr>
          <p:cNvSpPr>
            <a:spLocks noChangeAspect="1" noEditPoints="1"/>
          </p:cNvSpPr>
          <p:nvPr/>
        </p:nvSpPr>
        <p:spPr bwMode="auto">
          <a:xfrm>
            <a:off x="1073927" y="3999919"/>
            <a:ext cx="641755" cy="6398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56 w 512"/>
              <a:gd name="T21" fmla="*/ 309 h 512"/>
              <a:gd name="T22" fmla="*/ 202 w 512"/>
              <a:gd name="T23" fmla="*/ 256 h 512"/>
              <a:gd name="T24" fmla="*/ 202 w 512"/>
              <a:gd name="T25" fmla="*/ 149 h 512"/>
              <a:gd name="T26" fmla="*/ 256 w 512"/>
              <a:gd name="T27" fmla="*/ 96 h 512"/>
              <a:gd name="T28" fmla="*/ 309 w 512"/>
              <a:gd name="T29" fmla="*/ 149 h 512"/>
              <a:gd name="T30" fmla="*/ 309 w 512"/>
              <a:gd name="T31" fmla="*/ 256 h 512"/>
              <a:gd name="T32" fmla="*/ 256 w 512"/>
              <a:gd name="T33" fmla="*/ 309 h 512"/>
              <a:gd name="T34" fmla="*/ 256 w 512"/>
              <a:gd name="T35" fmla="*/ 117 h 512"/>
              <a:gd name="T36" fmla="*/ 224 w 512"/>
              <a:gd name="T37" fmla="*/ 149 h 512"/>
              <a:gd name="T38" fmla="*/ 224 w 512"/>
              <a:gd name="T39" fmla="*/ 256 h 512"/>
              <a:gd name="T40" fmla="*/ 256 w 512"/>
              <a:gd name="T41" fmla="*/ 288 h 512"/>
              <a:gd name="T42" fmla="*/ 288 w 512"/>
              <a:gd name="T43" fmla="*/ 256 h 512"/>
              <a:gd name="T44" fmla="*/ 288 w 512"/>
              <a:gd name="T45" fmla="*/ 149 h 512"/>
              <a:gd name="T46" fmla="*/ 256 w 512"/>
              <a:gd name="T47" fmla="*/ 117 h 512"/>
              <a:gd name="T48" fmla="*/ 352 w 512"/>
              <a:gd name="T49" fmla="*/ 256 h 512"/>
              <a:gd name="T50" fmla="*/ 341 w 512"/>
              <a:gd name="T51" fmla="*/ 245 h 512"/>
              <a:gd name="T52" fmla="*/ 330 w 512"/>
              <a:gd name="T53" fmla="*/ 256 h 512"/>
              <a:gd name="T54" fmla="*/ 256 w 512"/>
              <a:gd name="T55" fmla="*/ 330 h 512"/>
              <a:gd name="T56" fmla="*/ 181 w 512"/>
              <a:gd name="T57" fmla="*/ 256 h 512"/>
              <a:gd name="T58" fmla="*/ 170 w 512"/>
              <a:gd name="T59" fmla="*/ 245 h 512"/>
              <a:gd name="T60" fmla="*/ 160 w 512"/>
              <a:gd name="T61" fmla="*/ 256 h 512"/>
              <a:gd name="T62" fmla="*/ 245 w 512"/>
              <a:gd name="T63" fmla="*/ 351 h 512"/>
              <a:gd name="T64" fmla="*/ 245 w 512"/>
              <a:gd name="T65" fmla="*/ 394 h 512"/>
              <a:gd name="T66" fmla="*/ 202 w 512"/>
              <a:gd name="T67" fmla="*/ 394 h 512"/>
              <a:gd name="T68" fmla="*/ 192 w 512"/>
              <a:gd name="T69" fmla="*/ 405 h 512"/>
              <a:gd name="T70" fmla="*/ 202 w 512"/>
              <a:gd name="T71" fmla="*/ 416 h 512"/>
              <a:gd name="T72" fmla="*/ 309 w 512"/>
              <a:gd name="T73" fmla="*/ 416 h 512"/>
              <a:gd name="T74" fmla="*/ 320 w 512"/>
              <a:gd name="T75" fmla="*/ 405 h 512"/>
              <a:gd name="T76" fmla="*/ 309 w 512"/>
              <a:gd name="T77" fmla="*/ 394 h 512"/>
              <a:gd name="T78" fmla="*/ 266 w 512"/>
              <a:gd name="T79" fmla="*/ 394 h 512"/>
              <a:gd name="T80" fmla="*/ 266 w 512"/>
              <a:gd name="T81" fmla="*/ 351 h 512"/>
              <a:gd name="T82" fmla="*/ 352 w 512"/>
              <a:gd name="T8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352" y="256"/>
                </a:moveTo>
                <a:cubicBezTo>
                  <a:pt x="352" y="250"/>
                  <a:pt x="347" y="245"/>
                  <a:pt x="341" y="245"/>
                </a:cubicBezTo>
                <a:cubicBezTo>
                  <a:pt x="335" y="245"/>
                  <a:pt x="330" y="250"/>
                  <a:pt x="330" y="256"/>
                </a:cubicBezTo>
                <a:cubicBezTo>
                  <a:pt x="330" y="297"/>
                  <a:pt x="297" y="330"/>
                  <a:pt x="256" y="330"/>
                </a:cubicBezTo>
                <a:cubicBezTo>
                  <a:pt x="214" y="330"/>
                  <a:pt x="181" y="297"/>
                  <a:pt x="181" y="256"/>
                </a:cubicBezTo>
                <a:cubicBezTo>
                  <a:pt x="181" y="250"/>
                  <a:pt x="176" y="245"/>
                  <a:pt x="170" y="245"/>
                </a:cubicBezTo>
                <a:cubicBezTo>
                  <a:pt x="164" y="245"/>
                  <a:pt x="160" y="250"/>
                  <a:pt x="160" y="256"/>
                </a:cubicBezTo>
                <a:cubicBezTo>
                  <a:pt x="160" y="305"/>
                  <a:pt x="197" y="346"/>
                  <a:pt x="245" y="351"/>
                </a:cubicBezTo>
                <a:cubicBezTo>
                  <a:pt x="245" y="394"/>
                  <a:pt x="245" y="394"/>
                  <a:pt x="245" y="394"/>
                </a:cubicBezTo>
                <a:cubicBezTo>
                  <a:pt x="202" y="394"/>
                  <a:pt x="202" y="394"/>
                  <a:pt x="202" y="394"/>
                </a:cubicBezTo>
                <a:cubicBezTo>
                  <a:pt x="196" y="394"/>
                  <a:pt x="192" y="399"/>
                  <a:pt x="192" y="405"/>
                </a:cubicBezTo>
                <a:cubicBezTo>
                  <a:pt x="192" y="411"/>
                  <a:pt x="196" y="416"/>
                  <a:pt x="202" y="416"/>
                </a:cubicBezTo>
                <a:cubicBezTo>
                  <a:pt x="309" y="416"/>
                  <a:pt x="309" y="416"/>
                  <a:pt x="309" y="416"/>
                </a:cubicBezTo>
                <a:cubicBezTo>
                  <a:pt x="315" y="416"/>
                  <a:pt x="320" y="411"/>
                  <a:pt x="320" y="405"/>
                </a:cubicBezTo>
                <a:cubicBezTo>
                  <a:pt x="320" y="399"/>
                  <a:pt x="315" y="394"/>
                  <a:pt x="309" y="394"/>
                </a:cubicBezTo>
                <a:cubicBezTo>
                  <a:pt x="266" y="394"/>
                  <a:pt x="266" y="394"/>
                  <a:pt x="266" y="394"/>
                </a:cubicBezTo>
                <a:cubicBezTo>
                  <a:pt x="266" y="351"/>
                  <a:pt x="266" y="351"/>
                  <a:pt x="266" y="351"/>
                </a:cubicBezTo>
                <a:cubicBezTo>
                  <a:pt x="314" y="346"/>
                  <a:pt x="352" y="305"/>
                  <a:pt x="352" y="2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45" name="Straight Arrow Connector 44">
            <a:extLst>
              <a:ext uri="{FF2B5EF4-FFF2-40B4-BE49-F238E27FC236}">
                <a16:creationId xmlns:a16="http://schemas.microsoft.com/office/drawing/2014/main" id="{4C5D180A-6E62-4B89-94DD-0D2FFE9431D7}"/>
              </a:ext>
            </a:extLst>
          </p:cNvPr>
          <p:cNvCxnSpPr>
            <a:cxnSpLocks/>
          </p:cNvCxnSpPr>
          <p:nvPr/>
        </p:nvCxnSpPr>
        <p:spPr>
          <a:xfrm flipH="1">
            <a:off x="10551764" y="795966"/>
            <a:ext cx="1" cy="42968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92107800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Freeform 6"/>
          <p:cNvSpPr>
            <a:spLocks/>
          </p:cNvSpPr>
          <p:nvPr/>
        </p:nvSpPr>
        <p:spPr bwMode="auto">
          <a:xfrm>
            <a:off x="3771344" y="3146607"/>
            <a:ext cx="537119" cy="700499"/>
          </a:xfrm>
          <a:custGeom>
            <a:avLst/>
            <a:gdLst>
              <a:gd name="T0" fmla="*/ 56 w 69"/>
              <a:gd name="T1" fmla="*/ 0 h 90"/>
              <a:gd name="T2" fmla="*/ 0 w 69"/>
              <a:gd name="T3" fmla="*/ 0 h 90"/>
              <a:gd name="T4" fmla="*/ 0 w 69"/>
              <a:gd name="T5" fmla="*/ 90 h 90"/>
              <a:gd name="T6" fmla="*/ 56 w 69"/>
              <a:gd name="T7" fmla="*/ 90 h 90"/>
              <a:gd name="T8" fmla="*/ 69 w 69"/>
              <a:gd name="T9" fmla="*/ 77 h 90"/>
              <a:gd name="T10" fmla="*/ 69 w 69"/>
              <a:gd name="T11" fmla="*/ 13 h 90"/>
              <a:gd name="T12" fmla="*/ 56 w 69"/>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69" h="90">
                <a:moveTo>
                  <a:pt x="56" y="0"/>
                </a:moveTo>
                <a:cubicBezTo>
                  <a:pt x="0" y="0"/>
                  <a:pt x="0" y="0"/>
                  <a:pt x="0" y="0"/>
                </a:cubicBezTo>
                <a:cubicBezTo>
                  <a:pt x="0" y="90"/>
                  <a:pt x="0" y="90"/>
                  <a:pt x="0" y="90"/>
                </a:cubicBezTo>
                <a:cubicBezTo>
                  <a:pt x="56" y="90"/>
                  <a:pt x="56" y="90"/>
                  <a:pt x="56" y="90"/>
                </a:cubicBezTo>
                <a:cubicBezTo>
                  <a:pt x="63" y="90"/>
                  <a:pt x="69" y="84"/>
                  <a:pt x="69" y="77"/>
                </a:cubicBezTo>
                <a:cubicBezTo>
                  <a:pt x="69" y="13"/>
                  <a:pt x="69" y="13"/>
                  <a:pt x="69" y="13"/>
                </a:cubicBezTo>
                <a:cubicBezTo>
                  <a:pt x="69" y="6"/>
                  <a:pt x="63" y="0"/>
                  <a:pt x="56" y="0"/>
                </a:cubicBezTo>
                <a:close/>
              </a:path>
            </a:pathLst>
          </a:custGeom>
          <a:solidFill>
            <a:srgbClr val="000000"/>
          </a:solidFill>
          <a:ln>
            <a:solidFill>
              <a:srgbClr val="86BC25"/>
            </a:solidFill>
          </a:ln>
        </p:spPr>
        <p:txBody>
          <a:bodyPr vert="horz" wrap="square" lIns="45720" tIns="22860" rIns="45720" bIns="22860" numCol="1" anchor="ctr" anchorCtr="0" compatLnSpc="1">
            <a:prstTxWarp prst="textNoShape">
              <a:avLst/>
            </a:prstTxWarp>
          </a:bodyPr>
          <a:lstStyle/>
          <a:p>
            <a:pPr algn="ctr"/>
            <a:r>
              <a:rPr lang="en-US" sz="3600" b="1" dirty="0">
                <a:solidFill>
                  <a:schemeClr val="bg1"/>
                </a:solidFill>
                <a:cs typeface="Lato Regular"/>
              </a:rPr>
              <a:t>A</a:t>
            </a:r>
          </a:p>
        </p:txBody>
      </p:sp>
      <p:sp>
        <p:nvSpPr>
          <p:cNvPr id="96" name="Freeform 7"/>
          <p:cNvSpPr>
            <a:spLocks/>
          </p:cNvSpPr>
          <p:nvPr/>
        </p:nvSpPr>
        <p:spPr bwMode="auto">
          <a:xfrm>
            <a:off x="1957340" y="3146607"/>
            <a:ext cx="1767724" cy="700499"/>
          </a:xfrm>
          <a:custGeom>
            <a:avLst/>
            <a:gdLst>
              <a:gd name="T0" fmla="*/ 0 w 227"/>
              <a:gd name="T1" fmla="*/ 13 h 90"/>
              <a:gd name="T2" fmla="*/ 0 w 227"/>
              <a:gd name="T3" fmla="*/ 77 h 90"/>
              <a:gd name="T4" fmla="*/ 13 w 227"/>
              <a:gd name="T5" fmla="*/ 90 h 90"/>
              <a:gd name="T6" fmla="*/ 227 w 227"/>
              <a:gd name="T7" fmla="*/ 90 h 90"/>
              <a:gd name="T8" fmla="*/ 227 w 227"/>
              <a:gd name="T9" fmla="*/ 0 h 90"/>
              <a:gd name="T10" fmla="*/ 13 w 227"/>
              <a:gd name="T11" fmla="*/ 0 h 90"/>
              <a:gd name="T12" fmla="*/ 0 w 227"/>
              <a:gd name="T13" fmla="*/ 13 h 90"/>
            </a:gdLst>
            <a:ahLst/>
            <a:cxnLst>
              <a:cxn ang="0">
                <a:pos x="T0" y="T1"/>
              </a:cxn>
              <a:cxn ang="0">
                <a:pos x="T2" y="T3"/>
              </a:cxn>
              <a:cxn ang="0">
                <a:pos x="T4" y="T5"/>
              </a:cxn>
              <a:cxn ang="0">
                <a:pos x="T6" y="T7"/>
              </a:cxn>
              <a:cxn ang="0">
                <a:pos x="T8" y="T9"/>
              </a:cxn>
              <a:cxn ang="0">
                <a:pos x="T10" y="T11"/>
              </a:cxn>
              <a:cxn ang="0">
                <a:pos x="T12" y="T13"/>
              </a:cxn>
            </a:cxnLst>
            <a:rect l="0" t="0" r="r" b="b"/>
            <a:pathLst>
              <a:path w="227" h="90">
                <a:moveTo>
                  <a:pt x="0" y="13"/>
                </a:moveTo>
                <a:cubicBezTo>
                  <a:pt x="0" y="77"/>
                  <a:pt x="0" y="77"/>
                  <a:pt x="0" y="77"/>
                </a:cubicBezTo>
                <a:cubicBezTo>
                  <a:pt x="0" y="84"/>
                  <a:pt x="6" y="90"/>
                  <a:pt x="13" y="90"/>
                </a:cubicBezTo>
                <a:cubicBezTo>
                  <a:pt x="227" y="90"/>
                  <a:pt x="227" y="90"/>
                  <a:pt x="227" y="90"/>
                </a:cubicBezTo>
                <a:cubicBezTo>
                  <a:pt x="227" y="0"/>
                  <a:pt x="227" y="0"/>
                  <a:pt x="227" y="0"/>
                </a:cubicBezTo>
                <a:cubicBezTo>
                  <a:pt x="13" y="0"/>
                  <a:pt x="13" y="0"/>
                  <a:pt x="13" y="0"/>
                </a:cubicBezTo>
                <a:cubicBezTo>
                  <a:pt x="6" y="0"/>
                  <a:pt x="0" y="6"/>
                  <a:pt x="0" y="13"/>
                </a:cubicBezTo>
                <a:close/>
              </a:path>
            </a:pathLst>
          </a:custGeom>
          <a:solidFill>
            <a:srgbClr val="000000"/>
          </a:solidFill>
          <a:ln>
            <a:solidFill>
              <a:srgbClr val="86BC25"/>
            </a:solidFill>
          </a:ln>
        </p:spPr>
        <p:txBody>
          <a:bodyPr vert="horz" wrap="square" lIns="45720" tIns="22860" rIns="45720" bIns="22860" numCol="1" anchor="ctr" anchorCtr="0" compatLnSpc="1">
            <a:prstTxWarp prst="textNoShape">
              <a:avLst/>
            </a:prstTxWarp>
          </a:bodyPr>
          <a:lstStyle/>
          <a:p>
            <a:r>
              <a:rPr lang="en-US" sz="1300" dirty="0">
                <a:solidFill>
                  <a:schemeClr val="bg1"/>
                </a:solidFill>
                <a:ea typeface="Lato" pitchFamily="34" charset="0"/>
                <a:cs typeface="Lato" pitchFamily="34" charset="0"/>
              </a:rPr>
              <a:t>Devotion save me now.</a:t>
            </a:r>
          </a:p>
        </p:txBody>
      </p:sp>
      <p:sp>
        <p:nvSpPr>
          <p:cNvPr id="97" name="Freeform 8"/>
          <p:cNvSpPr>
            <a:spLocks/>
          </p:cNvSpPr>
          <p:nvPr/>
        </p:nvSpPr>
        <p:spPr bwMode="auto">
          <a:xfrm>
            <a:off x="1981181" y="3909512"/>
            <a:ext cx="529406" cy="700499"/>
          </a:xfrm>
          <a:custGeom>
            <a:avLst/>
            <a:gdLst>
              <a:gd name="T0" fmla="*/ 12 w 68"/>
              <a:gd name="T1" fmla="*/ 0 h 90"/>
              <a:gd name="T2" fmla="*/ 68 w 68"/>
              <a:gd name="T3" fmla="*/ 0 h 90"/>
              <a:gd name="T4" fmla="*/ 68 w 68"/>
              <a:gd name="T5" fmla="*/ 90 h 90"/>
              <a:gd name="T6" fmla="*/ 12 w 68"/>
              <a:gd name="T7" fmla="*/ 90 h 90"/>
              <a:gd name="T8" fmla="*/ 0 w 68"/>
              <a:gd name="T9" fmla="*/ 77 h 90"/>
              <a:gd name="T10" fmla="*/ 0 w 68"/>
              <a:gd name="T11" fmla="*/ 13 h 90"/>
              <a:gd name="T12" fmla="*/ 12 w 68"/>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68" h="90">
                <a:moveTo>
                  <a:pt x="12" y="0"/>
                </a:moveTo>
                <a:cubicBezTo>
                  <a:pt x="68" y="0"/>
                  <a:pt x="68" y="0"/>
                  <a:pt x="68" y="0"/>
                </a:cubicBezTo>
                <a:cubicBezTo>
                  <a:pt x="68" y="90"/>
                  <a:pt x="68" y="90"/>
                  <a:pt x="68" y="90"/>
                </a:cubicBezTo>
                <a:cubicBezTo>
                  <a:pt x="12" y="90"/>
                  <a:pt x="12" y="90"/>
                  <a:pt x="12" y="90"/>
                </a:cubicBezTo>
                <a:cubicBezTo>
                  <a:pt x="5" y="90"/>
                  <a:pt x="0" y="84"/>
                  <a:pt x="0" y="77"/>
                </a:cubicBezTo>
                <a:cubicBezTo>
                  <a:pt x="0" y="13"/>
                  <a:pt x="0" y="13"/>
                  <a:pt x="0" y="13"/>
                </a:cubicBezTo>
                <a:cubicBezTo>
                  <a:pt x="0" y="6"/>
                  <a:pt x="5" y="0"/>
                  <a:pt x="12" y="0"/>
                </a:cubicBezTo>
                <a:close/>
              </a:path>
            </a:pathLst>
          </a:custGeom>
          <a:solidFill>
            <a:srgbClr val="000000"/>
          </a:solidFill>
          <a:ln>
            <a:solidFill>
              <a:srgbClr val="43B02A"/>
            </a:solidFill>
          </a:ln>
        </p:spPr>
        <p:txBody>
          <a:bodyPr vert="horz" wrap="square" lIns="45720" tIns="22860" rIns="45720" bIns="22860" numCol="1" anchor="ctr" anchorCtr="0" compatLnSpc="1">
            <a:prstTxWarp prst="textNoShape">
              <a:avLst/>
            </a:prstTxWarp>
          </a:bodyPr>
          <a:lstStyle/>
          <a:p>
            <a:pPr algn="ctr"/>
            <a:r>
              <a:rPr lang="en-US" sz="3600" b="1" dirty="0">
                <a:solidFill>
                  <a:schemeClr val="bg1"/>
                </a:solidFill>
                <a:cs typeface="Lato Regular"/>
              </a:rPr>
              <a:t>B</a:t>
            </a:r>
          </a:p>
        </p:txBody>
      </p:sp>
      <p:sp>
        <p:nvSpPr>
          <p:cNvPr id="98" name="Freeform 9"/>
          <p:cNvSpPr>
            <a:spLocks/>
          </p:cNvSpPr>
          <p:nvPr/>
        </p:nvSpPr>
        <p:spPr bwMode="auto">
          <a:xfrm>
            <a:off x="2564579" y="3909512"/>
            <a:ext cx="1760011" cy="700499"/>
          </a:xfrm>
          <a:custGeom>
            <a:avLst/>
            <a:gdLst>
              <a:gd name="T0" fmla="*/ 226 w 226"/>
              <a:gd name="T1" fmla="*/ 13 h 90"/>
              <a:gd name="T2" fmla="*/ 226 w 226"/>
              <a:gd name="T3" fmla="*/ 77 h 90"/>
              <a:gd name="T4" fmla="*/ 213 w 226"/>
              <a:gd name="T5" fmla="*/ 90 h 90"/>
              <a:gd name="T6" fmla="*/ 0 w 226"/>
              <a:gd name="T7" fmla="*/ 90 h 90"/>
              <a:gd name="T8" fmla="*/ 0 w 226"/>
              <a:gd name="T9" fmla="*/ 0 h 90"/>
              <a:gd name="T10" fmla="*/ 213 w 226"/>
              <a:gd name="T11" fmla="*/ 0 h 90"/>
              <a:gd name="T12" fmla="*/ 226 w 226"/>
              <a:gd name="T13" fmla="*/ 13 h 90"/>
            </a:gdLst>
            <a:ahLst/>
            <a:cxnLst>
              <a:cxn ang="0">
                <a:pos x="T0" y="T1"/>
              </a:cxn>
              <a:cxn ang="0">
                <a:pos x="T2" y="T3"/>
              </a:cxn>
              <a:cxn ang="0">
                <a:pos x="T4" y="T5"/>
              </a:cxn>
              <a:cxn ang="0">
                <a:pos x="T6" y="T7"/>
              </a:cxn>
              <a:cxn ang="0">
                <a:pos x="T8" y="T9"/>
              </a:cxn>
              <a:cxn ang="0">
                <a:pos x="T10" y="T11"/>
              </a:cxn>
              <a:cxn ang="0">
                <a:pos x="T12" y="T13"/>
              </a:cxn>
            </a:cxnLst>
            <a:rect l="0" t="0" r="r" b="b"/>
            <a:pathLst>
              <a:path w="226" h="90">
                <a:moveTo>
                  <a:pt x="226" y="13"/>
                </a:moveTo>
                <a:cubicBezTo>
                  <a:pt x="226" y="77"/>
                  <a:pt x="226" y="77"/>
                  <a:pt x="226" y="77"/>
                </a:cubicBezTo>
                <a:cubicBezTo>
                  <a:pt x="226" y="84"/>
                  <a:pt x="220" y="90"/>
                  <a:pt x="213" y="90"/>
                </a:cubicBezTo>
                <a:cubicBezTo>
                  <a:pt x="0" y="90"/>
                  <a:pt x="0" y="90"/>
                  <a:pt x="0" y="90"/>
                </a:cubicBezTo>
                <a:cubicBezTo>
                  <a:pt x="0" y="0"/>
                  <a:pt x="0" y="0"/>
                  <a:pt x="0" y="0"/>
                </a:cubicBezTo>
                <a:cubicBezTo>
                  <a:pt x="213" y="0"/>
                  <a:pt x="213" y="0"/>
                  <a:pt x="213" y="0"/>
                </a:cubicBezTo>
                <a:cubicBezTo>
                  <a:pt x="220" y="0"/>
                  <a:pt x="226" y="6"/>
                  <a:pt x="226" y="13"/>
                </a:cubicBezTo>
                <a:close/>
              </a:path>
            </a:pathLst>
          </a:custGeom>
          <a:solidFill>
            <a:srgbClr val="000000"/>
          </a:solidFill>
          <a:ln>
            <a:solidFill>
              <a:srgbClr val="43B02A"/>
            </a:solidFill>
          </a:ln>
        </p:spPr>
        <p:txBody>
          <a:bodyPr vert="horz" wrap="square" lIns="45720" tIns="22860" rIns="45720" bIns="22860" numCol="1" anchor="ctr" anchorCtr="0" compatLnSpc="1">
            <a:prstTxWarp prst="textNoShape">
              <a:avLst/>
            </a:prstTxWarp>
          </a:bodyPr>
          <a:lstStyle/>
          <a:p>
            <a:r>
              <a:rPr lang="en-US" sz="1300" dirty="0">
                <a:solidFill>
                  <a:schemeClr val="bg1"/>
                </a:solidFill>
                <a:ea typeface="Lato" pitchFamily="34" charset="0"/>
                <a:cs typeface="Lato" pitchFamily="34" charset="0"/>
              </a:rPr>
              <a:t>Devotion save me now.</a:t>
            </a:r>
          </a:p>
        </p:txBody>
      </p:sp>
      <p:sp>
        <p:nvSpPr>
          <p:cNvPr id="99" name="Freeform 10"/>
          <p:cNvSpPr>
            <a:spLocks/>
          </p:cNvSpPr>
          <p:nvPr/>
        </p:nvSpPr>
        <p:spPr bwMode="auto">
          <a:xfrm>
            <a:off x="3810611" y="4672417"/>
            <a:ext cx="529406" cy="700499"/>
          </a:xfrm>
          <a:custGeom>
            <a:avLst/>
            <a:gdLst>
              <a:gd name="T0" fmla="*/ 55 w 68"/>
              <a:gd name="T1" fmla="*/ 0 h 90"/>
              <a:gd name="T2" fmla="*/ 0 w 68"/>
              <a:gd name="T3" fmla="*/ 0 h 90"/>
              <a:gd name="T4" fmla="*/ 0 w 68"/>
              <a:gd name="T5" fmla="*/ 90 h 90"/>
              <a:gd name="T6" fmla="*/ 55 w 68"/>
              <a:gd name="T7" fmla="*/ 90 h 90"/>
              <a:gd name="T8" fmla="*/ 68 w 68"/>
              <a:gd name="T9" fmla="*/ 77 h 90"/>
              <a:gd name="T10" fmla="*/ 68 w 68"/>
              <a:gd name="T11" fmla="*/ 13 h 90"/>
              <a:gd name="T12" fmla="*/ 55 w 68"/>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68" h="90">
                <a:moveTo>
                  <a:pt x="55" y="0"/>
                </a:moveTo>
                <a:cubicBezTo>
                  <a:pt x="0" y="0"/>
                  <a:pt x="0" y="0"/>
                  <a:pt x="0" y="0"/>
                </a:cubicBezTo>
                <a:cubicBezTo>
                  <a:pt x="0" y="90"/>
                  <a:pt x="0" y="90"/>
                  <a:pt x="0" y="90"/>
                </a:cubicBezTo>
                <a:cubicBezTo>
                  <a:pt x="55" y="90"/>
                  <a:pt x="55" y="90"/>
                  <a:pt x="55" y="90"/>
                </a:cubicBezTo>
                <a:cubicBezTo>
                  <a:pt x="63" y="90"/>
                  <a:pt x="68" y="84"/>
                  <a:pt x="68" y="77"/>
                </a:cubicBezTo>
                <a:cubicBezTo>
                  <a:pt x="68" y="13"/>
                  <a:pt x="68" y="13"/>
                  <a:pt x="68" y="13"/>
                </a:cubicBezTo>
                <a:cubicBezTo>
                  <a:pt x="68" y="5"/>
                  <a:pt x="63" y="0"/>
                  <a:pt x="55" y="0"/>
                </a:cubicBezTo>
                <a:close/>
              </a:path>
            </a:pathLst>
          </a:custGeom>
          <a:solidFill>
            <a:srgbClr val="000000"/>
          </a:solidFill>
          <a:ln>
            <a:solidFill>
              <a:srgbClr val="009A44"/>
            </a:solidFill>
          </a:ln>
        </p:spPr>
        <p:txBody>
          <a:bodyPr vert="horz" wrap="square" lIns="45720" tIns="22860" rIns="45720" bIns="22860" numCol="1" anchor="ctr" anchorCtr="0" compatLnSpc="1">
            <a:prstTxWarp prst="textNoShape">
              <a:avLst/>
            </a:prstTxWarp>
          </a:bodyPr>
          <a:lstStyle/>
          <a:p>
            <a:pPr algn="ctr"/>
            <a:r>
              <a:rPr lang="en-US" sz="3600" b="1">
                <a:solidFill>
                  <a:schemeClr val="bg1"/>
                </a:solidFill>
                <a:cs typeface="Lato Regular"/>
              </a:rPr>
              <a:t>C</a:t>
            </a:r>
            <a:endParaRPr lang="en-US" sz="3600" b="1" dirty="0">
              <a:solidFill>
                <a:schemeClr val="bg1"/>
              </a:solidFill>
              <a:cs typeface="Lato Regular"/>
            </a:endParaRPr>
          </a:p>
        </p:txBody>
      </p:sp>
      <p:sp>
        <p:nvSpPr>
          <p:cNvPr id="100" name="Freeform 11"/>
          <p:cNvSpPr>
            <a:spLocks/>
          </p:cNvSpPr>
          <p:nvPr/>
        </p:nvSpPr>
        <p:spPr bwMode="auto">
          <a:xfrm>
            <a:off x="1996607" y="4672417"/>
            <a:ext cx="1759310" cy="700499"/>
          </a:xfrm>
          <a:custGeom>
            <a:avLst/>
            <a:gdLst>
              <a:gd name="T0" fmla="*/ 0 w 226"/>
              <a:gd name="T1" fmla="*/ 13 h 90"/>
              <a:gd name="T2" fmla="*/ 0 w 226"/>
              <a:gd name="T3" fmla="*/ 77 h 90"/>
              <a:gd name="T4" fmla="*/ 13 w 226"/>
              <a:gd name="T5" fmla="*/ 90 h 90"/>
              <a:gd name="T6" fmla="*/ 226 w 226"/>
              <a:gd name="T7" fmla="*/ 90 h 90"/>
              <a:gd name="T8" fmla="*/ 226 w 226"/>
              <a:gd name="T9" fmla="*/ 0 h 90"/>
              <a:gd name="T10" fmla="*/ 13 w 226"/>
              <a:gd name="T11" fmla="*/ 0 h 90"/>
              <a:gd name="T12" fmla="*/ 0 w 226"/>
              <a:gd name="T13" fmla="*/ 13 h 90"/>
            </a:gdLst>
            <a:ahLst/>
            <a:cxnLst>
              <a:cxn ang="0">
                <a:pos x="T0" y="T1"/>
              </a:cxn>
              <a:cxn ang="0">
                <a:pos x="T2" y="T3"/>
              </a:cxn>
              <a:cxn ang="0">
                <a:pos x="T4" y="T5"/>
              </a:cxn>
              <a:cxn ang="0">
                <a:pos x="T6" y="T7"/>
              </a:cxn>
              <a:cxn ang="0">
                <a:pos x="T8" y="T9"/>
              </a:cxn>
              <a:cxn ang="0">
                <a:pos x="T10" y="T11"/>
              </a:cxn>
              <a:cxn ang="0">
                <a:pos x="T12" y="T13"/>
              </a:cxn>
            </a:cxnLst>
            <a:rect l="0" t="0" r="r" b="b"/>
            <a:pathLst>
              <a:path w="226" h="90">
                <a:moveTo>
                  <a:pt x="0" y="13"/>
                </a:moveTo>
                <a:cubicBezTo>
                  <a:pt x="0" y="77"/>
                  <a:pt x="0" y="77"/>
                  <a:pt x="0" y="77"/>
                </a:cubicBezTo>
                <a:cubicBezTo>
                  <a:pt x="0" y="84"/>
                  <a:pt x="5" y="90"/>
                  <a:pt x="13" y="90"/>
                </a:cubicBezTo>
                <a:cubicBezTo>
                  <a:pt x="226" y="90"/>
                  <a:pt x="226" y="90"/>
                  <a:pt x="226" y="90"/>
                </a:cubicBezTo>
                <a:cubicBezTo>
                  <a:pt x="226" y="0"/>
                  <a:pt x="226" y="0"/>
                  <a:pt x="226" y="0"/>
                </a:cubicBezTo>
                <a:cubicBezTo>
                  <a:pt x="13" y="0"/>
                  <a:pt x="13" y="0"/>
                  <a:pt x="13" y="0"/>
                </a:cubicBezTo>
                <a:cubicBezTo>
                  <a:pt x="5" y="0"/>
                  <a:pt x="0" y="5"/>
                  <a:pt x="0" y="13"/>
                </a:cubicBezTo>
                <a:close/>
              </a:path>
            </a:pathLst>
          </a:custGeom>
          <a:solidFill>
            <a:srgbClr val="000000"/>
          </a:solidFill>
          <a:ln>
            <a:solidFill>
              <a:srgbClr val="009A44"/>
            </a:solidFill>
          </a:ln>
        </p:spPr>
        <p:txBody>
          <a:bodyPr vert="horz" wrap="square" lIns="45720" tIns="22860" rIns="45720" bIns="22860" numCol="1" anchor="ctr" anchorCtr="0" compatLnSpc="1">
            <a:prstTxWarp prst="textNoShape">
              <a:avLst/>
            </a:prstTxWarp>
          </a:bodyPr>
          <a:lstStyle/>
          <a:p>
            <a:r>
              <a:rPr lang="en-US" sz="1300">
                <a:solidFill>
                  <a:schemeClr val="bg1"/>
                </a:solidFill>
                <a:ea typeface="Lato" pitchFamily="34" charset="0"/>
                <a:cs typeface="Lato" pitchFamily="34" charset="0"/>
              </a:rPr>
              <a:t>Devotion save me now.</a:t>
            </a:r>
            <a:endParaRPr lang="en-US" sz="1300" dirty="0">
              <a:solidFill>
                <a:schemeClr val="bg1"/>
              </a:solidFill>
              <a:ea typeface="Lato" pitchFamily="34" charset="0"/>
              <a:cs typeface="Lato" pitchFamily="34" charset="0"/>
            </a:endParaRPr>
          </a:p>
        </p:txBody>
      </p:sp>
      <p:sp>
        <p:nvSpPr>
          <p:cNvPr id="101" name="Freeform 12"/>
          <p:cNvSpPr>
            <a:spLocks/>
          </p:cNvSpPr>
          <p:nvPr/>
        </p:nvSpPr>
        <p:spPr bwMode="auto">
          <a:xfrm>
            <a:off x="2012034" y="5435322"/>
            <a:ext cx="537119" cy="700499"/>
          </a:xfrm>
          <a:custGeom>
            <a:avLst/>
            <a:gdLst>
              <a:gd name="T0" fmla="*/ 13 w 69"/>
              <a:gd name="T1" fmla="*/ 0 h 90"/>
              <a:gd name="T2" fmla="*/ 69 w 69"/>
              <a:gd name="T3" fmla="*/ 0 h 90"/>
              <a:gd name="T4" fmla="*/ 69 w 69"/>
              <a:gd name="T5" fmla="*/ 90 h 90"/>
              <a:gd name="T6" fmla="*/ 13 w 69"/>
              <a:gd name="T7" fmla="*/ 90 h 90"/>
              <a:gd name="T8" fmla="*/ 0 w 69"/>
              <a:gd name="T9" fmla="*/ 77 h 90"/>
              <a:gd name="T10" fmla="*/ 0 w 69"/>
              <a:gd name="T11" fmla="*/ 13 h 90"/>
              <a:gd name="T12" fmla="*/ 13 w 69"/>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69" h="90">
                <a:moveTo>
                  <a:pt x="13" y="0"/>
                </a:moveTo>
                <a:cubicBezTo>
                  <a:pt x="69" y="0"/>
                  <a:pt x="69" y="0"/>
                  <a:pt x="69" y="0"/>
                </a:cubicBezTo>
                <a:cubicBezTo>
                  <a:pt x="69" y="90"/>
                  <a:pt x="69" y="90"/>
                  <a:pt x="69" y="90"/>
                </a:cubicBezTo>
                <a:cubicBezTo>
                  <a:pt x="13" y="90"/>
                  <a:pt x="13" y="90"/>
                  <a:pt x="13" y="90"/>
                </a:cubicBezTo>
                <a:cubicBezTo>
                  <a:pt x="6" y="90"/>
                  <a:pt x="0" y="84"/>
                  <a:pt x="0" y="77"/>
                </a:cubicBezTo>
                <a:cubicBezTo>
                  <a:pt x="0" y="13"/>
                  <a:pt x="0" y="13"/>
                  <a:pt x="0" y="13"/>
                </a:cubicBezTo>
                <a:cubicBezTo>
                  <a:pt x="0" y="5"/>
                  <a:pt x="6" y="0"/>
                  <a:pt x="13" y="0"/>
                </a:cubicBezTo>
                <a:close/>
              </a:path>
            </a:pathLst>
          </a:custGeom>
          <a:solidFill>
            <a:srgbClr val="000000"/>
          </a:solidFill>
          <a:ln>
            <a:solidFill>
              <a:srgbClr val="046A38"/>
            </a:solidFill>
          </a:ln>
        </p:spPr>
        <p:txBody>
          <a:bodyPr vert="horz" wrap="square" lIns="45720" tIns="22860" rIns="45720" bIns="22860" numCol="1" anchor="ctr" anchorCtr="0" compatLnSpc="1">
            <a:prstTxWarp prst="textNoShape">
              <a:avLst/>
            </a:prstTxWarp>
          </a:bodyPr>
          <a:lstStyle/>
          <a:p>
            <a:pPr algn="ctr"/>
            <a:r>
              <a:rPr lang="en-US" sz="3600" b="1">
                <a:solidFill>
                  <a:schemeClr val="bg1"/>
                </a:solidFill>
                <a:cs typeface="Lato Regular"/>
              </a:rPr>
              <a:t>D</a:t>
            </a:r>
            <a:endParaRPr lang="en-US" sz="3600" b="1" dirty="0">
              <a:solidFill>
                <a:schemeClr val="bg1"/>
              </a:solidFill>
              <a:cs typeface="Lato Regular"/>
            </a:endParaRPr>
          </a:p>
        </p:txBody>
      </p:sp>
      <p:sp>
        <p:nvSpPr>
          <p:cNvPr id="102" name="Freeform 13"/>
          <p:cNvSpPr>
            <a:spLocks/>
          </p:cNvSpPr>
          <p:nvPr/>
        </p:nvSpPr>
        <p:spPr bwMode="auto">
          <a:xfrm>
            <a:off x="2596133" y="5435322"/>
            <a:ext cx="1759310" cy="700499"/>
          </a:xfrm>
          <a:custGeom>
            <a:avLst/>
            <a:gdLst>
              <a:gd name="T0" fmla="*/ 226 w 226"/>
              <a:gd name="T1" fmla="*/ 13 h 90"/>
              <a:gd name="T2" fmla="*/ 226 w 226"/>
              <a:gd name="T3" fmla="*/ 77 h 90"/>
              <a:gd name="T4" fmla="*/ 214 w 226"/>
              <a:gd name="T5" fmla="*/ 90 h 90"/>
              <a:gd name="T6" fmla="*/ 0 w 226"/>
              <a:gd name="T7" fmla="*/ 90 h 90"/>
              <a:gd name="T8" fmla="*/ 0 w 226"/>
              <a:gd name="T9" fmla="*/ 0 h 90"/>
              <a:gd name="T10" fmla="*/ 214 w 226"/>
              <a:gd name="T11" fmla="*/ 0 h 90"/>
              <a:gd name="T12" fmla="*/ 226 w 226"/>
              <a:gd name="T13" fmla="*/ 13 h 90"/>
            </a:gdLst>
            <a:ahLst/>
            <a:cxnLst>
              <a:cxn ang="0">
                <a:pos x="T0" y="T1"/>
              </a:cxn>
              <a:cxn ang="0">
                <a:pos x="T2" y="T3"/>
              </a:cxn>
              <a:cxn ang="0">
                <a:pos x="T4" y="T5"/>
              </a:cxn>
              <a:cxn ang="0">
                <a:pos x="T6" y="T7"/>
              </a:cxn>
              <a:cxn ang="0">
                <a:pos x="T8" y="T9"/>
              </a:cxn>
              <a:cxn ang="0">
                <a:pos x="T10" y="T11"/>
              </a:cxn>
              <a:cxn ang="0">
                <a:pos x="T12" y="T13"/>
              </a:cxn>
            </a:cxnLst>
            <a:rect l="0" t="0" r="r" b="b"/>
            <a:pathLst>
              <a:path w="226" h="90">
                <a:moveTo>
                  <a:pt x="226" y="13"/>
                </a:moveTo>
                <a:cubicBezTo>
                  <a:pt x="226" y="77"/>
                  <a:pt x="226" y="77"/>
                  <a:pt x="226" y="77"/>
                </a:cubicBezTo>
                <a:cubicBezTo>
                  <a:pt x="226" y="84"/>
                  <a:pt x="221" y="90"/>
                  <a:pt x="214" y="90"/>
                </a:cubicBezTo>
                <a:cubicBezTo>
                  <a:pt x="0" y="90"/>
                  <a:pt x="0" y="90"/>
                  <a:pt x="0" y="90"/>
                </a:cubicBezTo>
                <a:cubicBezTo>
                  <a:pt x="0" y="0"/>
                  <a:pt x="0" y="0"/>
                  <a:pt x="0" y="0"/>
                </a:cubicBezTo>
                <a:cubicBezTo>
                  <a:pt x="214" y="0"/>
                  <a:pt x="214" y="0"/>
                  <a:pt x="214" y="0"/>
                </a:cubicBezTo>
                <a:cubicBezTo>
                  <a:pt x="221" y="0"/>
                  <a:pt x="226" y="5"/>
                  <a:pt x="226" y="13"/>
                </a:cubicBezTo>
                <a:close/>
              </a:path>
            </a:pathLst>
          </a:custGeom>
          <a:solidFill>
            <a:srgbClr val="000000"/>
          </a:solidFill>
          <a:ln>
            <a:solidFill>
              <a:srgbClr val="046A38"/>
            </a:solidFill>
          </a:ln>
        </p:spPr>
        <p:txBody>
          <a:bodyPr vert="horz" wrap="square" lIns="45720" tIns="22860" rIns="45720" bIns="22860" numCol="1" anchor="ctr" anchorCtr="0" compatLnSpc="1">
            <a:prstTxWarp prst="textNoShape">
              <a:avLst/>
            </a:prstTxWarp>
          </a:bodyPr>
          <a:lstStyle/>
          <a:p>
            <a:r>
              <a:rPr lang="en-US" sz="1300">
                <a:solidFill>
                  <a:schemeClr val="bg1"/>
                </a:solidFill>
                <a:ea typeface="Lato" pitchFamily="34" charset="0"/>
                <a:cs typeface="Lato" pitchFamily="34" charset="0"/>
              </a:rPr>
              <a:t>Devotion save me now.</a:t>
            </a:r>
            <a:endParaRPr lang="en-US" sz="1300" dirty="0">
              <a:solidFill>
                <a:schemeClr val="bg1"/>
              </a:solidFill>
              <a:ea typeface="Lato" pitchFamily="34" charset="0"/>
              <a:cs typeface="Lato" pitchFamily="34" charset="0"/>
            </a:endParaRPr>
          </a:p>
        </p:txBody>
      </p:sp>
      <p:sp>
        <p:nvSpPr>
          <p:cNvPr id="113" name="Oval 1164"/>
          <p:cNvSpPr>
            <a:spLocks noChangeArrowheads="1"/>
          </p:cNvSpPr>
          <p:nvPr/>
        </p:nvSpPr>
        <p:spPr bwMode="auto">
          <a:xfrm>
            <a:off x="4656449" y="3347810"/>
            <a:ext cx="224198" cy="224714"/>
          </a:xfrm>
          <a:prstGeom prst="ellipse">
            <a:avLst/>
          </a:prstGeom>
          <a:solidFill>
            <a:srgbClr val="FFFFFF"/>
          </a:solidFill>
          <a:ln w="9525">
            <a:no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14" name="Freeform 1165"/>
          <p:cNvSpPr>
            <a:spLocks noEditPoints="1"/>
          </p:cNvSpPr>
          <p:nvPr/>
        </p:nvSpPr>
        <p:spPr bwMode="auto">
          <a:xfrm>
            <a:off x="4582999" y="3275123"/>
            <a:ext cx="371096" cy="37008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solidFill>
            <a:srgbClr val="000000"/>
          </a:solidFill>
          <a:ln w="9525">
            <a:solidFill>
              <a:srgbClr val="63666A"/>
            </a:solid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15" name="TextBox 31"/>
          <p:cNvSpPr txBox="1">
            <a:spLocks noChangeArrowheads="1"/>
          </p:cNvSpPr>
          <p:nvPr/>
        </p:nvSpPr>
        <p:spPr bwMode="auto">
          <a:xfrm>
            <a:off x="4929801" y="3154776"/>
            <a:ext cx="12868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86BC25"/>
                </a:solidFill>
                <a:latin typeface="+mn-lt"/>
                <a:ea typeface="Lato Black" pitchFamily="34" charset="0"/>
                <a:cs typeface="Lato Black" pitchFamily="34" charset="0"/>
              </a:rPr>
              <a:t>73</a:t>
            </a:r>
            <a:r>
              <a:rPr lang="id-ID" sz="3200" b="1" dirty="0">
                <a:solidFill>
                  <a:srgbClr val="86BC25"/>
                </a:solidFill>
                <a:latin typeface="+mn-lt"/>
                <a:ea typeface="Lato Black" pitchFamily="34" charset="0"/>
                <a:cs typeface="Lato Black" pitchFamily="34" charset="0"/>
              </a:rPr>
              <a:t>%</a:t>
            </a:r>
          </a:p>
        </p:txBody>
      </p:sp>
      <p:sp>
        <p:nvSpPr>
          <p:cNvPr id="117" name="TextBox 96"/>
          <p:cNvSpPr txBox="1"/>
          <p:nvPr/>
        </p:nvSpPr>
        <p:spPr>
          <a:xfrm>
            <a:off x="6514582" y="3272344"/>
            <a:ext cx="4921768" cy="400110"/>
          </a:xfrm>
          <a:prstGeom prst="rect">
            <a:avLst/>
          </a:prstGeom>
          <a:noFill/>
        </p:spPr>
        <p:txBody>
          <a:bodyPr wrap="square" lIns="0" tIns="0" rIns="0" bIns="0" rtlCol="0" anchor="ctr">
            <a:spAutoFit/>
          </a:bodyPr>
          <a:lstStyle/>
          <a:p>
            <a:r>
              <a:rPr lang="en-US" sz="1300" dirty="0">
                <a:solidFill>
                  <a:srgbClr val="BBBCBC"/>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119" name="Oval 1164"/>
          <p:cNvSpPr>
            <a:spLocks noChangeArrowheads="1"/>
          </p:cNvSpPr>
          <p:nvPr/>
        </p:nvSpPr>
        <p:spPr bwMode="auto">
          <a:xfrm>
            <a:off x="4648633" y="4142298"/>
            <a:ext cx="224198" cy="224714"/>
          </a:xfrm>
          <a:prstGeom prst="ellipse">
            <a:avLst/>
          </a:prstGeom>
          <a:solidFill>
            <a:srgbClr val="FFFFFF"/>
          </a:solidFill>
          <a:ln w="9525">
            <a:noFill/>
            <a:round/>
            <a:headEnd/>
            <a:tailEnd/>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sp>
        <p:nvSpPr>
          <p:cNvPr id="120" name="Freeform 1165"/>
          <p:cNvSpPr>
            <a:spLocks noEditPoints="1"/>
          </p:cNvSpPr>
          <p:nvPr/>
        </p:nvSpPr>
        <p:spPr bwMode="auto">
          <a:xfrm>
            <a:off x="4575183" y="4069611"/>
            <a:ext cx="371096" cy="37008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solidFill>
            <a:srgbClr val="000000"/>
          </a:solidFill>
          <a:ln w="9525">
            <a:solidFill>
              <a:srgbClr val="63666A"/>
            </a:solidFill>
            <a:round/>
            <a:headEnd/>
            <a:tailEnd/>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sp>
        <p:nvSpPr>
          <p:cNvPr id="121" name="TextBox 31"/>
          <p:cNvSpPr txBox="1">
            <a:spLocks noChangeArrowheads="1"/>
          </p:cNvSpPr>
          <p:nvPr/>
        </p:nvSpPr>
        <p:spPr bwMode="auto">
          <a:xfrm>
            <a:off x="4921984" y="3949264"/>
            <a:ext cx="12868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43B02A"/>
                </a:solidFill>
                <a:latin typeface="+mn-lt"/>
                <a:ea typeface="Lato Black" pitchFamily="34" charset="0"/>
                <a:cs typeface="Lato Black" pitchFamily="34" charset="0"/>
              </a:rPr>
              <a:t>65</a:t>
            </a:r>
            <a:r>
              <a:rPr lang="id-ID" sz="3200" b="1" dirty="0">
                <a:solidFill>
                  <a:srgbClr val="43B02A"/>
                </a:solidFill>
                <a:latin typeface="+mn-lt"/>
                <a:ea typeface="Lato Black" pitchFamily="34" charset="0"/>
                <a:cs typeface="Lato Black" pitchFamily="34" charset="0"/>
              </a:rPr>
              <a:t>%</a:t>
            </a:r>
          </a:p>
        </p:txBody>
      </p:sp>
      <p:sp>
        <p:nvSpPr>
          <p:cNvPr id="123" name="TextBox 102"/>
          <p:cNvSpPr txBox="1"/>
          <p:nvPr/>
        </p:nvSpPr>
        <p:spPr>
          <a:xfrm>
            <a:off x="6514582" y="4046841"/>
            <a:ext cx="4921768" cy="400110"/>
          </a:xfrm>
          <a:prstGeom prst="rect">
            <a:avLst/>
          </a:prstGeom>
          <a:noFill/>
        </p:spPr>
        <p:txBody>
          <a:bodyPr wrap="square" lIns="0" tIns="0" rIns="0" bIns="0" rtlCol="0" anchor="ctr">
            <a:spAutoFit/>
          </a:bodyPr>
          <a:lstStyle/>
          <a:p>
            <a:r>
              <a:rPr lang="en-US" sz="1300" dirty="0">
                <a:solidFill>
                  <a:srgbClr val="BBBCBC"/>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125" name="Oval 1164"/>
          <p:cNvSpPr>
            <a:spLocks noChangeArrowheads="1"/>
          </p:cNvSpPr>
          <p:nvPr/>
        </p:nvSpPr>
        <p:spPr bwMode="auto">
          <a:xfrm>
            <a:off x="4651726" y="4900276"/>
            <a:ext cx="224198" cy="224714"/>
          </a:xfrm>
          <a:prstGeom prst="ellipse">
            <a:avLst/>
          </a:prstGeom>
          <a:solidFill>
            <a:srgbClr val="FFFFFF"/>
          </a:solidFill>
          <a:ln w="9525">
            <a:no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26" name="Freeform 1165"/>
          <p:cNvSpPr>
            <a:spLocks noEditPoints="1"/>
          </p:cNvSpPr>
          <p:nvPr/>
        </p:nvSpPr>
        <p:spPr bwMode="auto">
          <a:xfrm>
            <a:off x="4578276" y="4827589"/>
            <a:ext cx="371096" cy="37008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solidFill>
            <a:srgbClr val="000000"/>
          </a:solidFill>
          <a:ln w="9525">
            <a:solidFill>
              <a:srgbClr val="63666A"/>
            </a:solid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27" name="TextBox 31"/>
          <p:cNvSpPr txBox="1">
            <a:spLocks noChangeArrowheads="1"/>
          </p:cNvSpPr>
          <p:nvPr/>
        </p:nvSpPr>
        <p:spPr bwMode="auto">
          <a:xfrm>
            <a:off x="4925077" y="4707241"/>
            <a:ext cx="12868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009A44"/>
                </a:solidFill>
                <a:latin typeface="+mn-lt"/>
                <a:ea typeface="Lato Black" pitchFamily="34" charset="0"/>
                <a:cs typeface="Lato Black" pitchFamily="34" charset="0"/>
              </a:rPr>
              <a:t>24</a:t>
            </a:r>
            <a:r>
              <a:rPr lang="id-ID" sz="3200" b="1" dirty="0">
                <a:solidFill>
                  <a:srgbClr val="009A44"/>
                </a:solidFill>
                <a:latin typeface="+mn-lt"/>
                <a:ea typeface="Lato Black" pitchFamily="34" charset="0"/>
                <a:cs typeface="Lato Black" pitchFamily="34" charset="0"/>
              </a:rPr>
              <a:t>%</a:t>
            </a:r>
          </a:p>
        </p:txBody>
      </p:sp>
      <p:sp>
        <p:nvSpPr>
          <p:cNvPr id="129" name="TextBox 108"/>
          <p:cNvSpPr txBox="1"/>
          <p:nvPr/>
        </p:nvSpPr>
        <p:spPr>
          <a:xfrm>
            <a:off x="6514582" y="4768587"/>
            <a:ext cx="4921768" cy="400110"/>
          </a:xfrm>
          <a:prstGeom prst="rect">
            <a:avLst/>
          </a:prstGeom>
          <a:noFill/>
        </p:spPr>
        <p:txBody>
          <a:bodyPr wrap="square" lIns="0" tIns="0" rIns="0" bIns="0" rtlCol="0" anchor="ctr">
            <a:spAutoFit/>
          </a:bodyPr>
          <a:lstStyle/>
          <a:p>
            <a:r>
              <a:rPr lang="en-US" sz="1300" dirty="0">
                <a:solidFill>
                  <a:srgbClr val="BBBCBC"/>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131" name="Oval 1164"/>
          <p:cNvSpPr>
            <a:spLocks noChangeArrowheads="1"/>
          </p:cNvSpPr>
          <p:nvPr/>
        </p:nvSpPr>
        <p:spPr bwMode="auto">
          <a:xfrm>
            <a:off x="4651726" y="5706363"/>
            <a:ext cx="224198" cy="224714"/>
          </a:xfrm>
          <a:prstGeom prst="ellipse">
            <a:avLst/>
          </a:prstGeom>
          <a:solidFill>
            <a:srgbClr val="FFFFFF"/>
          </a:solidFill>
          <a:ln w="9525">
            <a:no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32" name="Freeform 1165"/>
          <p:cNvSpPr>
            <a:spLocks noEditPoints="1"/>
          </p:cNvSpPr>
          <p:nvPr/>
        </p:nvSpPr>
        <p:spPr bwMode="auto">
          <a:xfrm>
            <a:off x="4578276" y="5633676"/>
            <a:ext cx="371096" cy="37008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solidFill>
            <a:srgbClr val="000000"/>
          </a:solidFill>
          <a:ln w="9525">
            <a:solidFill>
              <a:srgbClr val="63666A"/>
            </a:solid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33" name="TextBox 31"/>
          <p:cNvSpPr txBox="1">
            <a:spLocks noChangeArrowheads="1"/>
          </p:cNvSpPr>
          <p:nvPr/>
        </p:nvSpPr>
        <p:spPr bwMode="auto">
          <a:xfrm>
            <a:off x="4925077" y="5513329"/>
            <a:ext cx="12868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046A38"/>
                </a:solidFill>
                <a:latin typeface="+mn-lt"/>
                <a:ea typeface="Lato Black" pitchFamily="34" charset="0"/>
                <a:cs typeface="Lato Black" pitchFamily="34" charset="0"/>
              </a:rPr>
              <a:t>28</a:t>
            </a:r>
            <a:r>
              <a:rPr lang="id-ID" sz="3200" b="1" dirty="0">
                <a:solidFill>
                  <a:srgbClr val="046A38"/>
                </a:solidFill>
                <a:latin typeface="+mn-lt"/>
                <a:ea typeface="Lato Black" pitchFamily="34" charset="0"/>
                <a:cs typeface="Lato Black" pitchFamily="34" charset="0"/>
              </a:rPr>
              <a:t>%</a:t>
            </a:r>
          </a:p>
        </p:txBody>
      </p:sp>
      <p:sp>
        <p:nvSpPr>
          <p:cNvPr id="135" name="TextBox 114"/>
          <p:cNvSpPr txBox="1"/>
          <p:nvPr/>
        </p:nvSpPr>
        <p:spPr>
          <a:xfrm>
            <a:off x="6514582" y="5563075"/>
            <a:ext cx="4921768" cy="400110"/>
          </a:xfrm>
          <a:prstGeom prst="rect">
            <a:avLst/>
          </a:prstGeom>
          <a:noFill/>
        </p:spPr>
        <p:txBody>
          <a:bodyPr wrap="square" lIns="0" tIns="0" rIns="0" bIns="0" rtlCol="0" anchor="ctr">
            <a:spAutoFit/>
          </a:bodyPr>
          <a:lstStyle/>
          <a:p>
            <a:r>
              <a:rPr lang="en-US" sz="1300" dirty="0">
                <a:solidFill>
                  <a:srgbClr val="BBBCBC"/>
                </a:solidFill>
                <a:ea typeface="Lato" pitchFamily="34" charset="0"/>
                <a:cs typeface="Lato" pitchFamily="34" charset="0"/>
              </a:rPr>
              <a:t>This is dummy text it is not here to be read. The is just text to show where you could insert text. Please replace with your text content here.</a:t>
            </a:r>
          </a:p>
        </p:txBody>
      </p:sp>
      <p:cxnSp>
        <p:nvCxnSpPr>
          <p:cNvPr id="46" name="Straight Connector 45"/>
          <p:cNvCxnSpPr/>
          <p:nvPr/>
        </p:nvCxnSpPr>
        <p:spPr>
          <a:xfrm>
            <a:off x="633020" y="6299200"/>
            <a:ext cx="11057330" cy="0"/>
          </a:xfrm>
          <a:prstGeom prst="line">
            <a:avLst/>
          </a:prstGeom>
          <a:noFill/>
          <a:ln>
            <a:solidFill>
              <a:srgbClr val="009A44"/>
            </a:solidFill>
          </a:ln>
        </p:spPr>
      </p:cxnSp>
      <p:grpSp>
        <p:nvGrpSpPr>
          <p:cNvPr id="5" name="Group 4"/>
          <p:cNvGrpSpPr/>
          <p:nvPr/>
        </p:nvGrpSpPr>
        <p:grpSpPr>
          <a:xfrm>
            <a:off x="6299091" y="3240134"/>
            <a:ext cx="0" cy="2772612"/>
            <a:chOff x="6299091" y="3240134"/>
            <a:chExt cx="0" cy="2772612"/>
          </a:xfrm>
        </p:grpSpPr>
        <p:cxnSp>
          <p:nvCxnSpPr>
            <p:cNvPr id="3" name="Straight Connector 2"/>
            <p:cNvCxnSpPr/>
            <p:nvPr/>
          </p:nvCxnSpPr>
          <p:spPr>
            <a:xfrm>
              <a:off x="6299091" y="3240134"/>
              <a:ext cx="0" cy="499417"/>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299091" y="3997866"/>
              <a:ext cx="0" cy="499417"/>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299091" y="4755598"/>
              <a:ext cx="0" cy="499417"/>
            </a:xfrm>
            <a:prstGeom prst="line">
              <a:avLst/>
            </a:prstGeom>
            <a:ln>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6299091" y="5513329"/>
              <a:ext cx="0" cy="499417"/>
            </a:xfrm>
            <a:prstGeom prst="line">
              <a:avLst/>
            </a:prstGeom>
            <a:ln>
              <a:solidFill>
                <a:srgbClr val="046A38"/>
              </a:solidFill>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1679128" y="3240134"/>
            <a:ext cx="0" cy="2772612"/>
            <a:chOff x="6299091" y="3240134"/>
            <a:chExt cx="0" cy="2772612"/>
          </a:xfrm>
        </p:grpSpPr>
        <p:cxnSp>
          <p:nvCxnSpPr>
            <p:cNvPr id="42" name="Straight Connector 41"/>
            <p:cNvCxnSpPr/>
            <p:nvPr/>
          </p:nvCxnSpPr>
          <p:spPr>
            <a:xfrm>
              <a:off x="6299091" y="3240134"/>
              <a:ext cx="0" cy="499417"/>
            </a:xfrm>
            <a:prstGeom prst="line">
              <a:avLst/>
            </a:prstGeom>
            <a:ln w="9525">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299091" y="3997866"/>
              <a:ext cx="0" cy="499417"/>
            </a:xfrm>
            <a:prstGeom prst="line">
              <a:avLst/>
            </a:prstGeom>
            <a:ln w="9525">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299091" y="4755598"/>
              <a:ext cx="0" cy="499417"/>
            </a:xfrm>
            <a:prstGeom prst="line">
              <a:avLst/>
            </a:prstGeom>
            <a:ln w="9525">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299091" y="5513329"/>
              <a:ext cx="0" cy="499417"/>
            </a:xfrm>
            <a:prstGeom prst="line">
              <a:avLst/>
            </a:prstGeom>
            <a:ln w="9525">
              <a:solidFill>
                <a:srgbClr val="046A38"/>
              </a:solidFill>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490429" y="1706342"/>
            <a:ext cx="2343259" cy="4592858"/>
            <a:chOff x="83523" y="709457"/>
            <a:chExt cx="3178711" cy="6230367"/>
          </a:xfrm>
        </p:grpSpPr>
        <p:sp>
          <p:nvSpPr>
            <p:cNvPr id="55" name="Rectangle 54"/>
            <p:cNvSpPr/>
            <p:nvPr/>
          </p:nvSpPr>
          <p:spPr bwMode="gray">
            <a:xfrm>
              <a:off x="2985135" y="1568321"/>
              <a:ext cx="62019" cy="789939"/>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9" name="Rectangle 48"/>
            <p:cNvSpPr/>
            <p:nvPr/>
          </p:nvSpPr>
          <p:spPr bwMode="gray">
            <a:xfrm>
              <a:off x="291867" y="1412540"/>
              <a:ext cx="2798996" cy="195634"/>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0" name="Isosceles Triangle 49"/>
            <p:cNvSpPr/>
            <p:nvPr/>
          </p:nvSpPr>
          <p:spPr bwMode="gray">
            <a:xfrm>
              <a:off x="290407" y="709457"/>
              <a:ext cx="2724489" cy="703060"/>
            </a:xfrm>
            <a:prstGeom prst="triangle">
              <a:avLst>
                <a:gd name="adj" fmla="val 27431"/>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1" name="Rectangle 50"/>
            <p:cNvSpPr/>
            <p:nvPr/>
          </p:nvSpPr>
          <p:spPr bwMode="gray">
            <a:xfrm>
              <a:off x="83523" y="1365101"/>
              <a:ext cx="261135" cy="290513"/>
            </a:xfrm>
            <a:prstGeom prst="rect">
              <a:avLst/>
            </a:prstGeom>
            <a:solidFill>
              <a:srgbClr val="43B02A"/>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2" name="Rectangle 51"/>
            <p:cNvSpPr/>
            <p:nvPr/>
          </p:nvSpPr>
          <p:spPr bwMode="gray">
            <a:xfrm>
              <a:off x="918767" y="709457"/>
              <a:ext cx="255868" cy="2019959"/>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3" name="Rectangle 52"/>
            <p:cNvSpPr/>
            <p:nvPr/>
          </p:nvSpPr>
          <p:spPr bwMode="gray">
            <a:xfrm>
              <a:off x="891469" y="1336526"/>
              <a:ext cx="312507" cy="347662"/>
            </a:xfrm>
            <a:prstGeom prst="rect">
              <a:avLst/>
            </a:prstGeom>
            <a:solidFill>
              <a:srgbClr val="43B02A"/>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4" name="Rectangle 53"/>
            <p:cNvSpPr/>
            <p:nvPr/>
          </p:nvSpPr>
          <p:spPr bwMode="gray">
            <a:xfrm>
              <a:off x="871143" y="2387270"/>
              <a:ext cx="351116" cy="4552554"/>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6" name="Rectangle 55"/>
            <p:cNvSpPr/>
            <p:nvPr/>
          </p:nvSpPr>
          <p:spPr bwMode="gray">
            <a:xfrm>
              <a:off x="2904118" y="2291532"/>
              <a:ext cx="224052" cy="115647"/>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7" name="Rectangle 56"/>
            <p:cNvSpPr/>
            <p:nvPr/>
          </p:nvSpPr>
          <p:spPr bwMode="gray">
            <a:xfrm>
              <a:off x="2770054" y="2376691"/>
              <a:ext cx="492180" cy="219944"/>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Tree>
    <p:custDataLst>
      <p:tags r:id="rId1"/>
    </p:custDataLst>
    <p:extLst>
      <p:ext uri="{BB962C8B-B14F-4D97-AF65-F5344CB8AC3E}">
        <p14:creationId xmlns:p14="http://schemas.microsoft.com/office/powerpoint/2010/main" val="310017771"/>
      </p:ext>
    </p:extLst>
  </p:cSld>
  <p:clrMapOvr>
    <a:masterClrMapping/>
  </p:clrMapOvr>
  <p:transition>
    <p:fade/>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C2076A4-AF8F-4327-81A6-3DEAE1CFE8E5}"/>
              </a:ext>
            </a:extLst>
          </p:cNvPr>
          <p:cNvGrpSpPr/>
          <p:nvPr/>
        </p:nvGrpSpPr>
        <p:grpSpPr>
          <a:xfrm>
            <a:off x="1370450" y="263055"/>
            <a:ext cx="9104385" cy="5503714"/>
            <a:chOff x="2091075" y="1295301"/>
            <a:chExt cx="7405919" cy="4476970"/>
          </a:xfrm>
        </p:grpSpPr>
        <p:sp>
          <p:nvSpPr>
            <p:cNvPr id="44" name="Arc 43">
              <a:extLst>
                <a:ext uri="{FF2B5EF4-FFF2-40B4-BE49-F238E27FC236}">
                  <a16:creationId xmlns:a16="http://schemas.microsoft.com/office/drawing/2014/main" id="{99CDF594-F36B-2642-98A6-35DDB94C6481}"/>
                </a:ext>
              </a:extLst>
            </p:cNvPr>
            <p:cNvSpPr/>
            <p:nvPr/>
          </p:nvSpPr>
          <p:spPr>
            <a:xfrm rot="5400000">
              <a:off x="2867724" y="1295301"/>
              <a:ext cx="1906634" cy="1906633"/>
            </a:xfrm>
            <a:prstGeom prst="arc">
              <a:avLst>
                <a:gd name="adj1" fmla="val 16200000"/>
                <a:gd name="adj2" fmla="val 5403925"/>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5" name="Oval 44">
              <a:extLst>
                <a:ext uri="{FF2B5EF4-FFF2-40B4-BE49-F238E27FC236}">
                  <a16:creationId xmlns:a16="http://schemas.microsoft.com/office/drawing/2014/main" id="{7E5195A3-CC06-1B4B-BED9-3B518462CE56}"/>
                </a:ext>
              </a:extLst>
            </p:cNvPr>
            <p:cNvSpPr/>
            <p:nvPr/>
          </p:nvSpPr>
          <p:spPr bwMode="gray">
            <a:xfrm>
              <a:off x="2804171" y="2244204"/>
              <a:ext cx="127109" cy="127109"/>
            </a:xfrm>
            <a:prstGeom prst="ellipse">
              <a:avLst/>
            </a:prstGeom>
            <a:solidFill>
              <a:schemeClr val="tx2"/>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6" name="Oval 45">
              <a:extLst>
                <a:ext uri="{FF2B5EF4-FFF2-40B4-BE49-F238E27FC236}">
                  <a16:creationId xmlns:a16="http://schemas.microsoft.com/office/drawing/2014/main" id="{E800414F-3DA2-764D-B872-7EFF7E4EAA63}"/>
                </a:ext>
              </a:extLst>
            </p:cNvPr>
            <p:cNvSpPr/>
            <p:nvPr/>
          </p:nvSpPr>
          <p:spPr bwMode="gray">
            <a:xfrm>
              <a:off x="4706390" y="2244204"/>
              <a:ext cx="127109" cy="127109"/>
            </a:xfrm>
            <a:prstGeom prst="ellipse">
              <a:avLst/>
            </a:prstGeom>
            <a:solidFill>
              <a:schemeClr val="tx2"/>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9" name="Oval 78">
              <a:extLst>
                <a:ext uri="{FF2B5EF4-FFF2-40B4-BE49-F238E27FC236}">
                  <a16:creationId xmlns:a16="http://schemas.microsoft.com/office/drawing/2014/main" id="{E4940989-D8F4-894E-BA13-28B58AB98534}"/>
                </a:ext>
              </a:extLst>
            </p:cNvPr>
            <p:cNvSpPr/>
            <p:nvPr/>
          </p:nvSpPr>
          <p:spPr bwMode="gray">
            <a:xfrm>
              <a:off x="4578017" y="2659515"/>
              <a:ext cx="127109" cy="127109"/>
            </a:xfrm>
            <a:prstGeom prst="ellipse">
              <a:avLst/>
            </a:prstGeom>
            <a:solidFill>
              <a:schemeClr val="accent1"/>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0" name="Oval 79">
              <a:extLst>
                <a:ext uri="{FF2B5EF4-FFF2-40B4-BE49-F238E27FC236}">
                  <a16:creationId xmlns:a16="http://schemas.microsoft.com/office/drawing/2014/main" id="{5CA9E01A-897D-9F46-AF2E-C659CEC9689B}"/>
                </a:ext>
              </a:extLst>
            </p:cNvPr>
            <p:cNvSpPr/>
            <p:nvPr/>
          </p:nvSpPr>
          <p:spPr bwMode="gray">
            <a:xfrm>
              <a:off x="2931280" y="2659515"/>
              <a:ext cx="127109" cy="127109"/>
            </a:xfrm>
            <a:prstGeom prst="ellipse">
              <a:avLst/>
            </a:prstGeom>
            <a:solidFill>
              <a:schemeClr val="accent6">
                <a:lumMod val="60000"/>
                <a:lumOff val="40000"/>
              </a:schemeClr>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1" name="Oval 80">
              <a:extLst>
                <a:ext uri="{FF2B5EF4-FFF2-40B4-BE49-F238E27FC236}">
                  <a16:creationId xmlns:a16="http://schemas.microsoft.com/office/drawing/2014/main" id="{CEAEBADE-9FD8-6B4C-825E-2DA47A3F34C6}"/>
                </a:ext>
              </a:extLst>
            </p:cNvPr>
            <p:cNvSpPr/>
            <p:nvPr/>
          </p:nvSpPr>
          <p:spPr bwMode="gray">
            <a:xfrm>
              <a:off x="3250595" y="2998735"/>
              <a:ext cx="127109" cy="127109"/>
            </a:xfrm>
            <a:prstGeom prst="ellipse">
              <a:avLst/>
            </a:prstGeom>
            <a:solidFill>
              <a:srgbClr val="00A3E0"/>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2" name="Oval 81">
              <a:extLst>
                <a:ext uri="{FF2B5EF4-FFF2-40B4-BE49-F238E27FC236}">
                  <a16:creationId xmlns:a16="http://schemas.microsoft.com/office/drawing/2014/main" id="{83C6395D-4ECB-DD46-885E-E1C534980F5A}"/>
                </a:ext>
              </a:extLst>
            </p:cNvPr>
            <p:cNvSpPr/>
            <p:nvPr/>
          </p:nvSpPr>
          <p:spPr bwMode="gray">
            <a:xfrm>
              <a:off x="3757488" y="3138380"/>
              <a:ext cx="127109" cy="127109"/>
            </a:xfrm>
            <a:prstGeom prst="ellipse">
              <a:avLst/>
            </a:prstGeom>
            <a:solidFill>
              <a:srgbClr val="43B02A"/>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3" name="Oval 82">
              <a:extLst>
                <a:ext uri="{FF2B5EF4-FFF2-40B4-BE49-F238E27FC236}">
                  <a16:creationId xmlns:a16="http://schemas.microsoft.com/office/drawing/2014/main" id="{355012C9-DAD7-844D-8D42-C85FBC54F932}"/>
                </a:ext>
              </a:extLst>
            </p:cNvPr>
            <p:cNvSpPr/>
            <p:nvPr/>
          </p:nvSpPr>
          <p:spPr bwMode="gray">
            <a:xfrm>
              <a:off x="4250851" y="2998735"/>
              <a:ext cx="127109" cy="127109"/>
            </a:xfrm>
            <a:prstGeom prst="ellipse">
              <a:avLst/>
            </a:prstGeom>
            <a:solidFill>
              <a:schemeClr val="accent3"/>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84" name="Group 498">
              <a:extLst>
                <a:ext uri="{FF2B5EF4-FFF2-40B4-BE49-F238E27FC236}">
                  <a16:creationId xmlns:a16="http://schemas.microsoft.com/office/drawing/2014/main" id="{2FD84F1D-AB72-2349-B9C8-5C018A48DDFB}"/>
                </a:ext>
              </a:extLst>
            </p:cNvPr>
            <p:cNvGrpSpPr>
              <a:grpSpLocks noChangeAspect="1"/>
            </p:cNvGrpSpPr>
            <p:nvPr/>
          </p:nvGrpSpPr>
          <p:grpSpPr bwMode="auto">
            <a:xfrm>
              <a:off x="5080670" y="3143355"/>
              <a:ext cx="457200" cy="457200"/>
              <a:chOff x="1543" y="2005"/>
              <a:chExt cx="340" cy="340"/>
            </a:xfrm>
            <a:solidFill>
              <a:schemeClr val="accent6"/>
            </a:solidFill>
          </p:grpSpPr>
          <p:sp>
            <p:nvSpPr>
              <p:cNvPr id="85" name="Freeform 499">
                <a:extLst>
                  <a:ext uri="{FF2B5EF4-FFF2-40B4-BE49-F238E27FC236}">
                    <a16:creationId xmlns:a16="http://schemas.microsoft.com/office/drawing/2014/main" id="{7310ED11-B9F1-3345-9A9A-C8356AA46D4A}"/>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solidFill>
                <a:schemeClr val="accent1"/>
              </a:solidFill>
              <a:ln w="19050" algn="ctr">
                <a:noFill/>
                <a:miter lim="800000"/>
                <a:headEnd/>
                <a:tailEnd/>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86" name="Freeform 500">
                <a:extLst>
                  <a:ext uri="{FF2B5EF4-FFF2-40B4-BE49-F238E27FC236}">
                    <a16:creationId xmlns:a16="http://schemas.microsoft.com/office/drawing/2014/main" id="{D1CE2C75-238B-D64C-ACC7-9D5F19C9600E}"/>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solidFill>
                <a:schemeClr val="accent1"/>
              </a:solidFill>
              <a:ln w="19050" algn="ctr">
                <a:noFill/>
                <a:miter lim="800000"/>
                <a:headEnd/>
                <a:tailEnd/>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grpSp>
        <p:grpSp>
          <p:nvGrpSpPr>
            <p:cNvPr id="87" name="Group 897">
              <a:extLst>
                <a:ext uri="{FF2B5EF4-FFF2-40B4-BE49-F238E27FC236}">
                  <a16:creationId xmlns:a16="http://schemas.microsoft.com/office/drawing/2014/main" id="{0A6C69D4-D0CE-4848-8BDA-E8BD434851E7}"/>
                </a:ext>
              </a:extLst>
            </p:cNvPr>
            <p:cNvGrpSpPr>
              <a:grpSpLocks noChangeAspect="1"/>
            </p:cNvGrpSpPr>
            <p:nvPr/>
          </p:nvGrpSpPr>
          <p:grpSpPr bwMode="auto">
            <a:xfrm>
              <a:off x="4572820" y="3751112"/>
              <a:ext cx="369021" cy="369021"/>
              <a:chOff x="3891" y="3455"/>
              <a:chExt cx="340" cy="340"/>
            </a:xfrm>
            <a:solidFill>
              <a:schemeClr val="accent4"/>
            </a:solidFill>
          </p:grpSpPr>
          <p:sp>
            <p:nvSpPr>
              <p:cNvPr id="88" name="Freeform 898">
                <a:extLst>
                  <a:ext uri="{FF2B5EF4-FFF2-40B4-BE49-F238E27FC236}">
                    <a16:creationId xmlns:a16="http://schemas.microsoft.com/office/drawing/2014/main" id="{47CAB8A9-9771-BE4D-8FE9-B98C586718B5}"/>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3"/>
              </a:solidFill>
              <a:ln w="19050" algn="ctr">
                <a:noFill/>
                <a:miter lim="800000"/>
                <a:headEnd/>
                <a:tailEnd/>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89" name="Oval 899">
                <a:extLst>
                  <a:ext uri="{FF2B5EF4-FFF2-40B4-BE49-F238E27FC236}">
                    <a16:creationId xmlns:a16="http://schemas.microsoft.com/office/drawing/2014/main" id="{A1F03188-3186-2D40-96F4-50B094726608}"/>
                  </a:ext>
                </a:extLst>
              </p:cNvPr>
              <p:cNvSpPr>
                <a:spLocks noChangeArrowheads="1"/>
              </p:cNvSpPr>
              <p:nvPr/>
            </p:nvSpPr>
            <p:spPr bwMode="auto">
              <a:xfrm>
                <a:off x="3969" y="3533"/>
                <a:ext cx="113" cy="113"/>
              </a:xfrm>
              <a:prstGeom prst="ellipse">
                <a:avLst/>
              </a:prstGeom>
              <a:solidFill>
                <a:schemeClr val="accent3"/>
              </a:solidFill>
              <a:ln w="19050" algn="ctr">
                <a:noFill/>
                <a:miter lim="800000"/>
                <a:headEnd/>
                <a:tailEnd/>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grpSp>
        <p:sp>
          <p:nvSpPr>
            <p:cNvPr id="90" name="Freeform 254">
              <a:extLst>
                <a:ext uri="{FF2B5EF4-FFF2-40B4-BE49-F238E27FC236}">
                  <a16:creationId xmlns:a16="http://schemas.microsoft.com/office/drawing/2014/main" id="{3050CC63-D90F-4949-9AAF-E30959BCD792}"/>
                </a:ext>
              </a:extLst>
            </p:cNvPr>
            <p:cNvSpPr>
              <a:spLocks noChangeAspect="1" noEditPoints="1"/>
            </p:cNvSpPr>
            <p:nvPr/>
          </p:nvSpPr>
          <p:spPr bwMode="auto">
            <a:xfrm>
              <a:off x="3545916" y="3935622"/>
              <a:ext cx="550253"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rgbClr val="43B02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91" name="Freeform 760">
              <a:extLst>
                <a:ext uri="{FF2B5EF4-FFF2-40B4-BE49-F238E27FC236}">
                  <a16:creationId xmlns:a16="http://schemas.microsoft.com/office/drawing/2014/main" id="{D9C2E37C-ACCB-B645-B0C3-CD237BB9A603}"/>
                </a:ext>
              </a:extLst>
            </p:cNvPr>
            <p:cNvSpPr>
              <a:spLocks noChangeAspect="1" noEditPoints="1"/>
            </p:cNvSpPr>
            <p:nvPr/>
          </p:nvSpPr>
          <p:spPr bwMode="auto">
            <a:xfrm>
              <a:off x="2641296" y="3707021"/>
              <a:ext cx="457200" cy="457200"/>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rgbClr val="00A3E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92" name="Freeform 230">
              <a:extLst>
                <a:ext uri="{FF2B5EF4-FFF2-40B4-BE49-F238E27FC236}">
                  <a16:creationId xmlns:a16="http://schemas.microsoft.com/office/drawing/2014/main" id="{159FE442-3C34-DB46-BE66-AB866164163C}"/>
                </a:ext>
              </a:extLst>
            </p:cNvPr>
            <p:cNvSpPr>
              <a:spLocks noChangeAspect="1" noEditPoints="1"/>
            </p:cNvSpPr>
            <p:nvPr/>
          </p:nvSpPr>
          <p:spPr bwMode="auto">
            <a:xfrm>
              <a:off x="2259135" y="3234795"/>
              <a:ext cx="274320" cy="274320"/>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chemeClr val="accent6">
                <a:lumMod val="60000"/>
                <a:lumOff val="40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cxnSp>
          <p:nvCxnSpPr>
            <p:cNvPr id="93" name="Straight Connector 92">
              <a:extLst>
                <a:ext uri="{FF2B5EF4-FFF2-40B4-BE49-F238E27FC236}">
                  <a16:creationId xmlns:a16="http://schemas.microsoft.com/office/drawing/2014/main" id="{90EC6877-90F1-9742-86DB-A765A6D64C4C}"/>
                </a:ext>
              </a:extLst>
            </p:cNvPr>
            <p:cNvCxnSpPr/>
            <p:nvPr/>
          </p:nvCxnSpPr>
          <p:spPr>
            <a:xfrm>
              <a:off x="3821041" y="3371955"/>
              <a:ext cx="0" cy="457200"/>
            </a:xfrm>
            <a:prstGeom prst="line">
              <a:avLst/>
            </a:prstGeom>
            <a:ln w="3175">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A8C6FC5A-49C4-EB42-BCA3-47276484F830}"/>
                </a:ext>
              </a:extLst>
            </p:cNvPr>
            <p:cNvCxnSpPr/>
            <p:nvPr/>
          </p:nvCxnSpPr>
          <p:spPr>
            <a:xfrm>
              <a:off x="4401281" y="3219243"/>
              <a:ext cx="187144" cy="411480"/>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9720778-4EC4-4C44-9A61-FD41CF1ABA07}"/>
                </a:ext>
              </a:extLst>
            </p:cNvPr>
            <p:cNvCxnSpPr/>
            <p:nvPr/>
          </p:nvCxnSpPr>
          <p:spPr>
            <a:xfrm flipH="1">
              <a:off x="3083676" y="3219243"/>
              <a:ext cx="187144" cy="411480"/>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938F200-F301-5945-AD89-62CE4808DEE0}"/>
                </a:ext>
              </a:extLst>
            </p:cNvPr>
            <p:cNvCxnSpPr/>
            <p:nvPr/>
          </p:nvCxnSpPr>
          <p:spPr>
            <a:xfrm>
              <a:off x="4721527" y="2802977"/>
              <a:ext cx="307848" cy="322867"/>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0B1E87DA-6BE0-3047-BD44-4FA80393E02E}"/>
                </a:ext>
              </a:extLst>
            </p:cNvPr>
            <p:cNvCxnSpPr/>
            <p:nvPr/>
          </p:nvCxnSpPr>
          <p:spPr>
            <a:xfrm flipH="1">
              <a:off x="2575227" y="2844252"/>
              <a:ext cx="307848" cy="322867"/>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25D4E53A-5E33-0449-A1BA-FA337EB2C5B6}"/>
                </a:ext>
              </a:extLst>
            </p:cNvPr>
            <p:cNvSpPr/>
            <p:nvPr/>
          </p:nvSpPr>
          <p:spPr>
            <a:xfrm>
              <a:off x="2091075" y="3597223"/>
              <a:ext cx="158698" cy="153888"/>
            </a:xfrm>
            <a:prstGeom prst="rect">
              <a:avLst/>
            </a:prstGeom>
          </p:spPr>
          <p:txBody>
            <a:bodyPr wrap="none" lIns="0" tIns="0" rIns="0" bIns="0">
              <a:spAutoFit/>
            </a:bodyPr>
            <a:lstStyle/>
            <a:p>
              <a:r>
                <a:rPr lang="en-GB" sz="1000" b="1" dirty="0">
                  <a:solidFill>
                    <a:schemeClr val="bg1"/>
                  </a:solidFill>
                </a:rPr>
                <a:t>2%</a:t>
              </a:r>
            </a:p>
          </p:txBody>
        </p:sp>
        <p:sp>
          <p:nvSpPr>
            <p:cNvPr id="109" name="Rectangle 108">
              <a:extLst>
                <a:ext uri="{FF2B5EF4-FFF2-40B4-BE49-F238E27FC236}">
                  <a16:creationId xmlns:a16="http://schemas.microsoft.com/office/drawing/2014/main" id="{D2930583-1692-6A43-BB72-FF6C195BCC53}"/>
                </a:ext>
              </a:extLst>
            </p:cNvPr>
            <p:cNvSpPr/>
            <p:nvPr/>
          </p:nvSpPr>
          <p:spPr>
            <a:xfrm>
              <a:off x="2601712" y="4284183"/>
              <a:ext cx="224420" cy="153888"/>
            </a:xfrm>
            <a:prstGeom prst="rect">
              <a:avLst/>
            </a:prstGeom>
          </p:spPr>
          <p:txBody>
            <a:bodyPr wrap="none" lIns="0" tIns="0" rIns="0" bIns="0">
              <a:spAutoFit/>
            </a:bodyPr>
            <a:lstStyle/>
            <a:p>
              <a:r>
                <a:rPr lang="en-GB" sz="1000" b="1" dirty="0">
                  <a:solidFill>
                    <a:schemeClr val="bg1"/>
                  </a:solidFill>
                </a:rPr>
                <a:t>18%</a:t>
              </a:r>
            </a:p>
          </p:txBody>
        </p:sp>
        <p:sp>
          <p:nvSpPr>
            <p:cNvPr id="110" name="Rectangle 109">
              <a:extLst>
                <a:ext uri="{FF2B5EF4-FFF2-40B4-BE49-F238E27FC236}">
                  <a16:creationId xmlns:a16="http://schemas.microsoft.com/office/drawing/2014/main" id="{984CC3BA-143F-AB48-ACC4-FFAB275C5EA5}"/>
                </a:ext>
              </a:extLst>
            </p:cNvPr>
            <p:cNvSpPr/>
            <p:nvPr/>
          </p:nvSpPr>
          <p:spPr>
            <a:xfrm>
              <a:off x="3670424" y="4580903"/>
              <a:ext cx="224420" cy="153888"/>
            </a:xfrm>
            <a:prstGeom prst="rect">
              <a:avLst/>
            </a:prstGeom>
          </p:spPr>
          <p:txBody>
            <a:bodyPr wrap="none" lIns="0" tIns="0" rIns="0" bIns="0">
              <a:spAutoFit/>
            </a:bodyPr>
            <a:lstStyle/>
            <a:p>
              <a:r>
                <a:rPr lang="en-GB" sz="1000" b="1" dirty="0">
                  <a:solidFill>
                    <a:schemeClr val="bg1"/>
                  </a:solidFill>
                </a:rPr>
                <a:t>32%</a:t>
              </a:r>
            </a:p>
          </p:txBody>
        </p:sp>
        <p:sp>
          <p:nvSpPr>
            <p:cNvPr id="111" name="Rectangle 110">
              <a:extLst>
                <a:ext uri="{FF2B5EF4-FFF2-40B4-BE49-F238E27FC236}">
                  <a16:creationId xmlns:a16="http://schemas.microsoft.com/office/drawing/2014/main" id="{6679F291-C301-B743-AC82-42E008AFAD5D}"/>
                </a:ext>
              </a:extLst>
            </p:cNvPr>
            <p:cNvSpPr/>
            <p:nvPr/>
          </p:nvSpPr>
          <p:spPr>
            <a:xfrm>
              <a:off x="4875451" y="4207239"/>
              <a:ext cx="224420" cy="153888"/>
            </a:xfrm>
            <a:prstGeom prst="rect">
              <a:avLst/>
            </a:prstGeom>
          </p:spPr>
          <p:txBody>
            <a:bodyPr wrap="none" lIns="0" tIns="0" rIns="0" bIns="0">
              <a:spAutoFit/>
            </a:bodyPr>
            <a:lstStyle/>
            <a:p>
              <a:r>
                <a:rPr lang="en-GB" sz="1000" b="1" dirty="0">
                  <a:solidFill>
                    <a:schemeClr val="bg1"/>
                  </a:solidFill>
                </a:rPr>
                <a:t>14%</a:t>
              </a:r>
            </a:p>
          </p:txBody>
        </p:sp>
        <p:sp>
          <p:nvSpPr>
            <p:cNvPr id="112" name="Rectangle 111">
              <a:extLst>
                <a:ext uri="{FF2B5EF4-FFF2-40B4-BE49-F238E27FC236}">
                  <a16:creationId xmlns:a16="http://schemas.microsoft.com/office/drawing/2014/main" id="{705FBF5A-D915-E446-A087-882F721E31F5}"/>
                </a:ext>
              </a:extLst>
            </p:cNvPr>
            <p:cNvSpPr/>
            <p:nvPr/>
          </p:nvSpPr>
          <p:spPr>
            <a:xfrm>
              <a:off x="5469579" y="3630077"/>
              <a:ext cx="224420" cy="153888"/>
            </a:xfrm>
            <a:prstGeom prst="rect">
              <a:avLst/>
            </a:prstGeom>
          </p:spPr>
          <p:txBody>
            <a:bodyPr wrap="none" lIns="0" tIns="0" rIns="0" bIns="0">
              <a:spAutoFit/>
            </a:bodyPr>
            <a:lstStyle/>
            <a:p>
              <a:r>
                <a:rPr lang="en-GB" sz="1000" b="1" dirty="0">
                  <a:solidFill>
                    <a:schemeClr val="bg1"/>
                  </a:solidFill>
                </a:rPr>
                <a:t>23%</a:t>
              </a:r>
            </a:p>
          </p:txBody>
        </p:sp>
        <p:sp>
          <p:nvSpPr>
            <p:cNvPr id="113" name="Oval 112">
              <a:extLst>
                <a:ext uri="{FF2B5EF4-FFF2-40B4-BE49-F238E27FC236}">
                  <a16:creationId xmlns:a16="http://schemas.microsoft.com/office/drawing/2014/main" id="{E00054AC-BF33-3B48-A10D-5F50AACC72DA}"/>
                </a:ext>
              </a:extLst>
            </p:cNvPr>
            <p:cNvSpPr/>
            <p:nvPr/>
          </p:nvSpPr>
          <p:spPr bwMode="gray">
            <a:xfrm>
              <a:off x="3133355" y="1665288"/>
              <a:ext cx="1371600" cy="1371600"/>
            </a:xfrm>
            <a:prstGeom prst="ellipse">
              <a:avLst/>
            </a:prstGeom>
            <a:solidFill>
              <a:schemeClr val="accent1"/>
            </a:solidFill>
            <a:ln w="19050" algn="ctr">
              <a:noFill/>
              <a:miter lim="800000"/>
              <a:headEnd/>
              <a:tailEnd/>
            </a:ln>
          </p:spPr>
          <p:txBody>
            <a:bodyPr wrap="none" lIns="88900" tIns="88900" rIns="88900" bIns="88900" rtlCol="0" anchor="ctr"/>
            <a:lstStyle/>
            <a:p>
              <a:pPr lvl="0" algn="ctr"/>
              <a:r>
                <a:rPr lang="en-GB" sz="1000" dirty="0">
                  <a:solidFill>
                    <a:prstClr val="white"/>
                  </a:solidFill>
                </a:rPr>
                <a:t>Lorem ipsum</a:t>
              </a:r>
              <a:endParaRPr lang="en-GB" sz="1600" dirty="0">
                <a:solidFill>
                  <a:schemeClr val="bg1"/>
                </a:solidFill>
              </a:endParaRPr>
            </a:p>
          </p:txBody>
        </p:sp>
        <p:sp>
          <p:nvSpPr>
            <p:cNvPr id="114" name="Oval 113">
              <a:extLst>
                <a:ext uri="{FF2B5EF4-FFF2-40B4-BE49-F238E27FC236}">
                  <a16:creationId xmlns:a16="http://schemas.microsoft.com/office/drawing/2014/main" id="{49C001A8-ABCD-8C46-9844-5DBC2343ABB0}"/>
                </a:ext>
              </a:extLst>
            </p:cNvPr>
            <p:cNvSpPr/>
            <p:nvPr/>
          </p:nvSpPr>
          <p:spPr bwMode="gray">
            <a:xfrm>
              <a:off x="2506585" y="5204269"/>
              <a:ext cx="127109" cy="127109"/>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5" name="Oval 114">
              <a:extLst>
                <a:ext uri="{FF2B5EF4-FFF2-40B4-BE49-F238E27FC236}">
                  <a16:creationId xmlns:a16="http://schemas.microsoft.com/office/drawing/2014/main" id="{5951AF38-808E-C348-8CF4-A30784E2C649}"/>
                </a:ext>
              </a:extLst>
            </p:cNvPr>
            <p:cNvSpPr/>
            <p:nvPr/>
          </p:nvSpPr>
          <p:spPr bwMode="gray">
            <a:xfrm>
              <a:off x="2506585" y="5645162"/>
              <a:ext cx="127109" cy="127109"/>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6" name="Oval 115">
              <a:extLst>
                <a:ext uri="{FF2B5EF4-FFF2-40B4-BE49-F238E27FC236}">
                  <a16:creationId xmlns:a16="http://schemas.microsoft.com/office/drawing/2014/main" id="{678869AE-1F7C-BB47-A76D-42D231E3E655}"/>
                </a:ext>
              </a:extLst>
            </p:cNvPr>
            <p:cNvSpPr/>
            <p:nvPr/>
          </p:nvSpPr>
          <p:spPr bwMode="gray">
            <a:xfrm>
              <a:off x="4236726" y="5204269"/>
              <a:ext cx="127109" cy="127109"/>
            </a:xfrm>
            <a:prstGeom prst="ellips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7" name="Oval 116">
              <a:extLst>
                <a:ext uri="{FF2B5EF4-FFF2-40B4-BE49-F238E27FC236}">
                  <a16:creationId xmlns:a16="http://schemas.microsoft.com/office/drawing/2014/main" id="{6F7AEDF9-267F-5D43-ABD2-A5D4E00FA637}"/>
                </a:ext>
              </a:extLst>
            </p:cNvPr>
            <p:cNvSpPr/>
            <p:nvPr/>
          </p:nvSpPr>
          <p:spPr bwMode="gray">
            <a:xfrm>
              <a:off x="4236726" y="5435430"/>
              <a:ext cx="127109" cy="127109"/>
            </a:xfrm>
            <a:prstGeom prst="ellipse">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8" name="Oval 117">
              <a:extLst>
                <a:ext uri="{FF2B5EF4-FFF2-40B4-BE49-F238E27FC236}">
                  <a16:creationId xmlns:a16="http://schemas.microsoft.com/office/drawing/2014/main" id="{16C29495-770B-7D44-8456-836CD7BFB687}"/>
                </a:ext>
              </a:extLst>
            </p:cNvPr>
            <p:cNvSpPr/>
            <p:nvPr/>
          </p:nvSpPr>
          <p:spPr bwMode="gray">
            <a:xfrm>
              <a:off x="2506585" y="5435430"/>
              <a:ext cx="127109" cy="127109"/>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9" name="Rectangle 118">
              <a:extLst>
                <a:ext uri="{FF2B5EF4-FFF2-40B4-BE49-F238E27FC236}">
                  <a16:creationId xmlns:a16="http://schemas.microsoft.com/office/drawing/2014/main" id="{33DB952A-7CD2-894C-B53E-80B3C7B2C6B7}"/>
                </a:ext>
              </a:extLst>
            </p:cNvPr>
            <p:cNvSpPr/>
            <p:nvPr/>
          </p:nvSpPr>
          <p:spPr>
            <a:xfrm>
              <a:off x="2731787" y="5201528"/>
              <a:ext cx="442041" cy="550790"/>
            </a:xfrm>
            <a:prstGeom prst="rect">
              <a:avLst/>
            </a:prstGeom>
          </p:spPr>
          <p:txBody>
            <a:bodyPr wrap="none" lIns="0" tIns="0" rIns="0" bIns="0">
              <a:spAutoFit/>
            </a:bodyPr>
            <a:lstStyle/>
            <a:p>
              <a:pPr>
                <a:spcAft>
                  <a:spcPts val="1200"/>
                </a:spcAft>
              </a:pPr>
              <a:r>
                <a:rPr lang="en-GB" sz="800" dirty="0">
                  <a:solidFill>
                    <a:schemeClr val="bg1"/>
                  </a:solidFill>
                </a:rPr>
                <a:t>Lorem ipsum</a:t>
              </a:r>
            </a:p>
            <a:p>
              <a:pPr>
                <a:spcAft>
                  <a:spcPts val="1200"/>
                </a:spcAft>
              </a:pPr>
              <a:r>
                <a:rPr lang="en-GB" sz="800" dirty="0">
                  <a:solidFill>
                    <a:schemeClr val="bg1"/>
                  </a:solidFill>
                </a:rPr>
                <a:t>Lorem ipsum</a:t>
              </a:r>
            </a:p>
            <a:p>
              <a:pPr>
                <a:spcAft>
                  <a:spcPts val="1200"/>
                </a:spcAft>
              </a:pPr>
              <a:r>
                <a:rPr lang="en-GB" sz="800" dirty="0">
                  <a:solidFill>
                    <a:schemeClr val="bg1"/>
                  </a:solidFill>
                </a:rPr>
                <a:t>Lorem ipsum</a:t>
              </a:r>
            </a:p>
          </p:txBody>
        </p:sp>
        <p:sp>
          <p:nvSpPr>
            <p:cNvPr id="120" name="Rectangle 119">
              <a:extLst>
                <a:ext uri="{FF2B5EF4-FFF2-40B4-BE49-F238E27FC236}">
                  <a16:creationId xmlns:a16="http://schemas.microsoft.com/office/drawing/2014/main" id="{81A3E333-B300-8F4F-9444-3E02DB7D4997}"/>
                </a:ext>
              </a:extLst>
            </p:cNvPr>
            <p:cNvSpPr/>
            <p:nvPr/>
          </p:nvSpPr>
          <p:spPr>
            <a:xfrm>
              <a:off x="4472482" y="5201529"/>
              <a:ext cx="543418" cy="348813"/>
            </a:xfrm>
            <a:prstGeom prst="rect">
              <a:avLst/>
            </a:prstGeom>
          </p:spPr>
          <p:txBody>
            <a:bodyPr wrap="none" lIns="0" tIns="0" rIns="0" bIns="0">
              <a:spAutoFit/>
            </a:bodyPr>
            <a:lstStyle/>
            <a:p>
              <a:pPr>
                <a:spcAft>
                  <a:spcPts val="800"/>
                </a:spcAft>
              </a:pPr>
              <a:r>
                <a:rPr lang="en-GB" sz="800" dirty="0">
                  <a:solidFill>
                    <a:schemeClr val="bg1"/>
                  </a:solidFill>
                </a:rPr>
                <a:t>Lorem ipsum</a:t>
              </a:r>
            </a:p>
            <a:p>
              <a:pPr>
                <a:spcAft>
                  <a:spcPts val="800"/>
                </a:spcAft>
              </a:pPr>
              <a:r>
                <a:rPr lang="en-GB" sz="800" dirty="0">
                  <a:solidFill>
                    <a:schemeClr val="bg1"/>
                  </a:solidFill>
                </a:rPr>
                <a:t>Lorem ipsum</a:t>
              </a:r>
            </a:p>
          </p:txBody>
        </p:sp>
        <p:sp>
          <p:nvSpPr>
            <p:cNvPr id="121" name="Arc 120">
              <a:extLst>
                <a:ext uri="{FF2B5EF4-FFF2-40B4-BE49-F238E27FC236}">
                  <a16:creationId xmlns:a16="http://schemas.microsoft.com/office/drawing/2014/main" id="{43EE9CDE-0F12-7746-ACB5-5BB41D354039}"/>
                </a:ext>
              </a:extLst>
            </p:cNvPr>
            <p:cNvSpPr/>
            <p:nvPr/>
          </p:nvSpPr>
          <p:spPr>
            <a:xfrm rot="5400000">
              <a:off x="7147304" y="1295302"/>
              <a:ext cx="1906634" cy="1906633"/>
            </a:xfrm>
            <a:prstGeom prst="arc">
              <a:avLst>
                <a:gd name="adj1" fmla="val 16200000"/>
                <a:gd name="adj2" fmla="val 5403925"/>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22" name="Oval 121">
              <a:extLst>
                <a:ext uri="{FF2B5EF4-FFF2-40B4-BE49-F238E27FC236}">
                  <a16:creationId xmlns:a16="http://schemas.microsoft.com/office/drawing/2014/main" id="{E9D2C179-43EF-B441-BB30-5AD2857CBB6E}"/>
                </a:ext>
              </a:extLst>
            </p:cNvPr>
            <p:cNvSpPr/>
            <p:nvPr/>
          </p:nvSpPr>
          <p:spPr bwMode="gray">
            <a:xfrm>
              <a:off x="7083751" y="2244205"/>
              <a:ext cx="127109" cy="127109"/>
            </a:xfrm>
            <a:prstGeom prst="ellipse">
              <a:avLst/>
            </a:prstGeom>
            <a:solidFill>
              <a:schemeClr val="tx2"/>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3" name="Oval 122">
              <a:extLst>
                <a:ext uri="{FF2B5EF4-FFF2-40B4-BE49-F238E27FC236}">
                  <a16:creationId xmlns:a16="http://schemas.microsoft.com/office/drawing/2014/main" id="{D6D2C21E-6BA4-7D47-9341-19CB47DF697F}"/>
                </a:ext>
              </a:extLst>
            </p:cNvPr>
            <p:cNvSpPr/>
            <p:nvPr/>
          </p:nvSpPr>
          <p:spPr bwMode="gray">
            <a:xfrm>
              <a:off x="8985970" y="2244205"/>
              <a:ext cx="127109" cy="127109"/>
            </a:xfrm>
            <a:prstGeom prst="ellipse">
              <a:avLst/>
            </a:prstGeom>
            <a:solidFill>
              <a:schemeClr val="tx2"/>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4" name="Oval 123">
              <a:extLst>
                <a:ext uri="{FF2B5EF4-FFF2-40B4-BE49-F238E27FC236}">
                  <a16:creationId xmlns:a16="http://schemas.microsoft.com/office/drawing/2014/main" id="{447C5E18-26E7-B74A-91C9-6B8A546BEA02}"/>
                </a:ext>
              </a:extLst>
            </p:cNvPr>
            <p:cNvSpPr/>
            <p:nvPr/>
          </p:nvSpPr>
          <p:spPr bwMode="gray">
            <a:xfrm>
              <a:off x="8692392" y="2878003"/>
              <a:ext cx="127109" cy="127109"/>
            </a:xfrm>
            <a:prstGeom prst="ellipse">
              <a:avLst/>
            </a:prstGeom>
            <a:solidFill>
              <a:srgbClr val="6FC2B4"/>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5" name="Oval 124">
              <a:extLst>
                <a:ext uri="{FF2B5EF4-FFF2-40B4-BE49-F238E27FC236}">
                  <a16:creationId xmlns:a16="http://schemas.microsoft.com/office/drawing/2014/main" id="{B4365BFF-6648-9A48-A547-D2CB6E215340}"/>
                </a:ext>
              </a:extLst>
            </p:cNvPr>
            <p:cNvSpPr/>
            <p:nvPr/>
          </p:nvSpPr>
          <p:spPr bwMode="gray">
            <a:xfrm>
              <a:off x="7378810" y="2878003"/>
              <a:ext cx="127109" cy="127109"/>
            </a:xfrm>
            <a:prstGeom prst="ellipse">
              <a:avLst/>
            </a:prstGeom>
            <a:solidFill>
              <a:srgbClr val="0097A9"/>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6" name="Oval 125">
              <a:extLst>
                <a:ext uri="{FF2B5EF4-FFF2-40B4-BE49-F238E27FC236}">
                  <a16:creationId xmlns:a16="http://schemas.microsoft.com/office/drawing/2014/main" id="{72659E14-80EF-904A-A6EE-6C6A69AF1C78}"/>
                </a:ext>
              </a:extLst>
            </p:cNvPr>
            <p:cNvSpPr/>
            <p:nvPr/>
          </p:nvSpPr>
          <p:spPr bwMode="gray">
            <a:xfrm>
              <a:off x="8035182" y="3138380"/>
              <a:ext cx="127109" cy="127109"/>
            </a:xfrm>
            <a:prstGeom prst="ellipse">
              <a:avLst/>
            </a:prstGeom>
            <a:solidFill>
              <a:srgbClr val="00ABAB"/>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127" name="Straight Connector 126">
              <a:extLst>
                <a:ext uri="{FF2B5EF4-FFF2-40B4-BE49-F238E27FC236}">
                  <a16:creationId xmlns:a16="http://schemas.microsoft.com/office/drawing/2014/main" id="{30E579B7-E6B2-2C4F-80A0-064091E03812}"/>
                </a:ext>
              </a:extLst>
            </p:cNvPr>
            <p:cNvCxnSpPr/>
            <p:nvPr/>
          </p:nvCxnSpPr>
          <p:spPr>
            <a:xfrm>
              <a:off x="8100621" y="3371956"/>
              <a:ext cx="0" cy="457200"/>
            </a:xfrm>
            <a:prstGeom prst="line">
              <a:avLst/>
            </a:prstGeom>
            <a:ln w="3175">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E6BA6F9-5781-8A44-A50E-F14326754C64}"/>
                </a:ext>
              </a:extLst>
            </p:cNvPr>
            <p:cNvCxnSpPr/>
            <p:nvPr/>
          </p:nvCxnSpPr>
          <p:spPr>
            <a:xfrm>
              <a:off x="8826880" y="3035400"/>
              <a:ext cx="261185" cy="411480"/>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3C2E7049-5F05-8B48-86A3-5A2C6470F8E4}"/>
                </a:ext>
              </a:extLst>
            </p:cNvPr>
            <p:cNvSpPr/>
            <p:nvPr/>
          </p:nvSpPr>
          <p:spPr>
            <a:xfrm>
              <a:off x="6677288" y="4207239"/>
              <a:ext cx="224420" cy="153888"/>
            </a:xfrm>
            <a:prstGeom prst="rect">
              <a:avLst/>
            </a:prstGeom>
          </p:spPr>
          <p:txBody>
            <a:bodyPr wrap="none" lIns="0" tIns="0" rIns="0" bIns="0">
              <a:spAutoFit/>
            </a:bodyPr>
            <a:lstStyle/>
            <a:p>
              <a:r>
                <a:rPr lang="en-GB" sz="1000" b="1" dirty="0">
                  <a:solidFill>
                    <a:schemeClr val="bg1"/>
                  </a:solidFill>
                </a:rPr>
                <a:t>55%</a:t>
              </a:r>
            </a:p>
          </p:txBody>
        </p:sp>
        <p:sp>
          <p:nvSpPr>
            <p:cNvPr id="130" name="Rectangle 129">
              <a:extLst>
                <a:ext uri="{FF2B5EF4-FFF2-40B4-BE49-F238E27FC236}">
                  <a16:creationId xmlns:a16="http://schemas.microsoft.com/office/drawing/2014/main" id="{E0B6F12F-D9BA-994B-82D8-58CA8546AD74}"/>
                </a:ext>
              </a:extLst>
            </p:cNvPr>
            <p:cNvSpPr/>
            <p:nvPr/>
          </p:nvSpPr>
          <p:spPr>
            <a:xfrm>
              <a:off x="7950004" y="4580904"/>
              <a:ext cx="224420" cy="153888"/>
            </a:xfrm>
            <a:prstGeom prst="rect">
              <a:avLst/>
            </a:prstGeom>
          </p:spPr>
          <p:txBody>
            <a:bodyPr wrap="none" lIns="0" tIns="0" rIns="0" bIns="0">
              <a:spAutoFit/>
            </a:bodyPr>
            <a:lstStyle/>
            <a:p>
              <a:r>
                <a:rPr lang="en-GB" sz="1000" b="1" dirty="0">
                  <a:solidFill>
                    <a:schemeClr val="bg1"/>
                  </a:solidFill>
                </a:rPr>
                <a:t>35%</a:t>
              </a:r>
            </a:p>
          </p:txBody>
        </p:sp>
        <p:sp>
          <p:nvSpPr>
            <p:cNvPr id="131" name="Rectangle 130">
              <a:extLst>
                <a:ext uri="{FF2B5EF4-FFF2-40B4-BE49-F238E27FC236}">
                  <a16:creationId xmlns:a16="http://schemas.microsoft.com/office/drawing/2014/main" id="{5AC34F00-0ED1-BA42-927C-956B3BDBEC1F}"/>
                </a:ext>
              </a:extLst>
            </p:cNvPr>
            <p:cNvSpPr/>
            <p:nvPr/>
          </p:nvSpPr>
          <p:spPr>
            <a:xfrm>
              <a:off x="9272574" y="4018952"/>
              <a:ext cx="224420" cy="153888"/>
            </a:xfrm>
            <a:prstGeom prst="rect">
              <a:avLst/>
            </a:prstGeom>
          </p:spPr>
          <p:txBody>
            <a:bodyPr wrap="none" lIns="0" tIns="0" rIns="0" bIns="0">
              <a:spAutoFit/>
            </a:bodyPr>
            <a:lstStyle/>
            <a:p>
              <a:r>
                <a:rPr lang="en-GB" sz="1000" b="1" dirty="0">
                  <a:solidFill>
                    <a:schemeClr val="bg1"/>
                  </a:solidFill>
                </a:rPr>
                <a:t>10%</a:t>
              </a:r>
            </a:p>
          </p:txBody>
        </p:sp>
        <p:sp>
          <p:nvSpPr>
            <p:cNvPr id="132" name="Oval 131">
              <a:extLst>
                <a:ext uri="{FF2B5EF4-FFF2-40B4-BE49-F238E27FC236}">
                  <a16:creationId xmlns:a16="http://schemas.microsoft.com/office/drawing/2014/main" id="{1493688B-8CDF-3C43-895B-7D3FE12F5DEB}"/>
                </a:ext>
              </a:extLst>
            </p:cNvPr>
            <p:cNvSpPr/>
            <p:nvPr/>
          </p:nvSpPr>
          <p:spPr bwMode="gray">
            <a:xfrm>
              <a:off x="7412935" y="1665289"/>
              <a:ext cx="1371600" cy="1371600"/>
            </a:xfrm>
            <a:prstGeom prst="ellipse">
              <a:avLst/>
            </a:prstGeom>
            <a:solidFill>
              <a:srgbClr val="046A38"/>
            </a:solidFill>
            <a:ln w="19050" algn="ctr">
              <a:noFill/>
              <a:miter lim="800000"/>
              <a:headEnd/>
              <a:tailEnd/>
            </a:ln>
          </p:spPr>
          <p:txBody>
            <a:bodyPr wrap="none" lIns="88900" tIns="88900" rIns="88900" bIns="88900" rtlCol="0" anchor="ctr"/>
            <a:lstStyle/>
            <a:p>
              <a:pPr lvl="0" algn="ctr"/>
              <a:r>
                <a:rPr lang="en-GB" sz="1000" dirty="0">
                  <a:solidFill>
                    <a:prstClr val="white"/>
                  </a:solidFill>
                </a:rPr>
                <a:t>Lorem ipsum</a:t>
              </a:r>
              <a:endParaRPr lang="en-GB" sz="1600" dirty="0">
                <a:solidFill>
                  <a:schemeClr val="bg1"/>
                </a:solidFill>
              </a:endParaRPr>
            </a:p>
          </p:txBody>
        </p:sp>
        <p:cxnSp>
          <p:nvCxnSpPr>
            <p:cNvPr id="133" name="Straight Connector 132">
              <a:extLst>
                <a:ext uri="{FF2B5EF4-FFF2-40B4-BE49-F238E27FC236}">
                  <a16:creationId xmlns:a16="http://schemas.microsoft.com/office/drawing/2014/main" id="{6CE4F9C4-96DC-F643-868D-E41BE05B11D2}"/>
                </a:ext>
              </a:extLst>
            </p:cNvPr>
            <p:cNvCxnSpPr/>
            <p:nvPr/>
          </p:nvCxnSpPr>
          <p:spPr>
            <a:xfrm flipH="1">
              <a:off x="7129048" y="3035400"/>
              <a:ext cx="261185" cy="411480"/>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sp>
          <p:nvSpPr>
            <p:cNvPr id="134" name="Freeform 589">
              <a:extLst>
                <a:ext uri="{FF2B5EF4-FFF2-40B4-BE49-F238E27FC236}">
                  <a16:creationId xmlns:a16="http://schemas.microsoft.com/office/drawing/2014/main" id="{00E6CEC5-4E3B-DC44-8271-9F99ABA8D9CC}"/>
                </a:ext>
              </a:extLst>
            </p:cNvPr>
            <p:cNvSpPr>
              <a:spLocks noChangeAspect="1" noEditPoints="1"/>
            </p:cNvSpPr>
            <p:nvPr/>
          </p:nvSpPr>
          <p:spPr bwMode="auto">
            <a:xfrm>
              <a:off x="9086323" y="3522510"/>
              <a:ext cx="370763" cy="369676"/>
            </a:xfrm>
            <a:custGeom>
              <a:avLst/>
              <a:gdLst>
                <a:gd name="T0" fmla="*/ 267 w 512"/>
                <a:gd name="T1" fmla="*/ 160 h 512"/>
                <a:gd name="T2" fmla="*/ 287 w 512"/>
                <a:gd name="T3" fmla="*/ 348 h 512"/>
                <a:gd name="T4" fmla="*/ 256 w 512"/>
                <a:gd name="T5" fmla="*/ 388 h 512"/>
                <a:gd name="T6" fmla="*/ 224 w 512"/>
                <a:gd name="T7" fmla="*/ 348 h 512"/>
                <a:gd name="T8" fmla="*/ 244 w 512"/>
                <a:gd name="T9" fmla="*/ 160 h 512"/>
                <a:gd name="T10" fmla="*/ 267 w 512"/>
                <a:gd name="T11" fmla="*/ 160 h 512"/>
                <a:gd name="T12" fmla="*/ 269 w 512"/>
                <a:gd name="T13" fmla="*/ 138 h 512"/>
                <a:gd name="T14" fmla="*/ 274 w 512"/>
                <a:gd name="T15" fmla="*/ 117 h 512"/>
                <a:gd name="T16" fmla="*/ 237 w 512"/>
                <a:gd name="T17" fmla="*/ 117 h 512"/>
                <a:gd name="T18" fmla="*/ 243 w 512"/>
                <a:gd name="T19" fmla="*/ 138 h 512"/>
                <a:gd name="T20" fmla="*/ 269 w 512"/>
                <a:gd name="T21" fmla="*/ 138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9 w 512"/>
                <a:gd name="T33" fmla="*/ 351 h 512"/>
                <a:gd name="T34" fmla="*/ 288 w 512"/>
                <a:gd name="T35" fmla="*/ 150 h 512"/>
                <a:gd name="T36" fmla="*/ 298 w 512"/>
                <a:gd name="T37" fmla="*/ 109 h 512"/>
                <a:gd name="T38" fmla="*/ 296 w 512"/>
                <a:gd name="T39" fmla="*/ 100 h 512"/>
                <a:gd name="T40" fmla="*/ 288 w 512"/>
                <a:gd name="T41" fmla="*/ 96 h 512"/>
                <a:gd name="T42" fmla="*/ 224 w 512"/>
                <a:gd name="T43" fmla="*/ 96 h 512"/>
                <a:gd name="T44" fmla="*/ 215 w 512"/>
                <a:gd name="T45" fmla="*/ 100 h 512"/>
                <a:gd name="T46" fmla="*/ 213 w 512"/>
                <a:gd name="T47" fmla="*/ 109 h 512"/>
                <a:gd name="T48" fmla="*/ 224 w 512"/>
                <a:gd name="T49" fmla="*/ 150 h 512"/>
                <a:gd name="T50" fmla="*/ 202 w 512"/>
                <a:gd name="T51" fmla="*/ 351 h 512"/>
                <a:gd name="T52" fmla="*/ 205 w 512"/>
                <a:gd name="T53" fmla="*/ 358 h 512"/>
                <a:gd name="T54" fmla="*/ 247 w 512"/>
                <a:gd name="T55" fmla="*/ 412 h 512"/>
                <a:gd name="T56" fmla="*/ 256 w 512"/>
                <a:gd name="T57" fmla="*/ 416 h 512"/>
                <a:gd name="T58" fmla="*/ 264 w 512"/>
                <a:gd name="T59" fmla="*/ 412 h 512"/>
                <a:gd name="T60" fmla="*/ 307 w 512"/>
                <a:gd name="T61" fmla="*/ 358 h 512"/>
                <a:gd name="T62" fmla="*/ 309 w 512"/>
                <a:gd name="T6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67" y="160"/>
                  </a:moveTo>
                  <a:cubicBezTo>
                    <a:pt x="287" y="348"/>
                    <a:pt x="287" y="348"/>
                    <a:pt x="287" y="348"/>
                  </a:cubicBezTo>
                  <a:cubicBezTo>
                    <a:pt x="256" y="388"/>
                    <a:pt x="256" y="388"/>
                    <a:pt x="256" y="388"/>
                  </a:cubicBezTo>
                  <a:cubicBezTo>
                    <a:pt x="224" y="348"/>
                    <a:pt x="224" y="348"/>
                    <a:pt x="224" y="348"/>
                  </a:cubicBezTo>
                  <a:cubicBezTo>
                    <a:pt x="244" y="160"/>
                    <a:pt x="244" y="160"/>
                    <a:pt x="244" y="160"/>
                  </a:cubicBezTo>
                  <a:lnTo>
                    <a:pt x="267" y="160"/>
                  </a:lnTo>
                  <a:close/>
                  <a:moveTo>
                    <a:pt x="269" y="138"/>
                  </a:moveTo>
                  <a:cubicBezTo>
                    <a:pt x="274" y="117"/>
                    <a:pt x="274" y="117"/>
                    <a:pt x="274" y="117"/>
                  </a:cubicBezTo>
                  <a:cubicBezTo>
                    <a:pt x="237" y="117"/>
                    <a:pt x="237" y="117"/>
                    <a:pt x="237" y="117"/>
                  </a:cubicBezTo>
                  <a:cubicBezTo>
                    <a:pt x="243" y="138"/>
                    <a:pt x="243" y="138"/>
                    <a:pt x="243" y="138"/>
                  </a:cubicBezTo>
                  <a:lnTo>
                    <a:pt x="269"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9" y="351"/>
                  </a:moveTo>
                  <a:cubicBezTo>
                    <a:pt x="288" y="150"/>
                    <a:pt x="288" y="150"/>
                    <a:pt x="288" y="150"/>
                  </a:cubicBezTo>
                  <a:cubicBezTo>
                    <a:pt x="298" y="109"/>
                    <a:pt x="298" y="109"/>
                    <a:pt x="298" y="109"/>
                  </a:cubicBezTo>
                  <a:cubicBezTo>
                    <a:pt x="299" y="106"/>
                    <a:pt x="298" y="102"/>
                    <a:pt x="296" y="100"/>
                  </a:cubicBezTo>
                  <a:cubicBezTo>
                    <a:pt x="294" y="97"/>
                    <a:pt x="291" y="96"/>
                    <a:pt x="288" y="96"/>
                  </a:cubicBezTo>
                  <a:cubicBezTo>
                    <a:pt x="224" y="96"/>
                    <a:pt x="224" y="96"/>
                    <a:pt x="224" y="96"/>
                  </a:cubicBezTo>
                  <a:cubicBezTo>
                    <a:pt x="220" y="96"/>
                    <a:pt x="217" y="97"/>
                    <a:pt x="215" y="100"/>
                  </a:cubicBezTo>
                  <a:cubicBezTo>
                    <a:pt x="213" y="102"/>
                    <a:pt x="213" y="106"/>
                    <a:pt x="213" y="109"/>
                  </a:cubicBezTo>
                  <a:cubicBezTo>
                    <a:pt x="224" y="150"/>
                    <a:pt x="224" y="150"/>
                    <a:pt x="224" y="150"/>
                  </a:cubicBezTo>
                  <a:cubicBezTo>
                    <a:pt x="202" y="351"/>
                    <a:pt x="202" y="351"/>
                    <a:pt x="202" y="351"/>
                  </a:cubicBezTo>
                  <a:cubicBezTo>
                    <a:pt x="202" y="353"/>
                    <a:pt x="203" y="356"/>
                    <a:pt x="205" y="358"/>
                  </a:cubicBezTo>
                  <a:cubicBezTo>
                    <a:pt x="247" y="412"/>
                    <a:pt x="247" y="412"/>
                    <a:pt x="247" y="412"/>
                  </a:cubicBezTo>
                  <a:cubicBezTo>
                    <a:pt x="249" y="414"/>
                    <a:pt x="252" y="416"/>
                    <a:pt x="256" y="416"/>
                  </a:cubicBezTo>
                  <a:cubicBezTo>
                    <a:pt x="259" y="416"/>
                    <a:pt x="262" y="414"/>
                    <a:pt x="264" y="412"/>
                  </a:cubicBezTo>
                  <a:cubicBezTo>
                    <a:pt x="307" y="358"/>
                    <a:pt x="307" y="358"/>
                    <a:pt x="307" y="358"/>
                  </a:cubicBezTo>
                  <a:cubicBezTo>
                    <a:pt x="308" y="356"/>
                    <a:pt x="309" y="353"/>
                    <a:pt x="309" y="351"/>
                  </a:cubicBezTo>
                  <a:close/>
                </a:path>
              </a:pathLst>
            </a:custGeom>
            <a:solidFill>
              <a:srgbClr val="6FC2B4"/>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135" name="Freeform 615">
              <a:extLst>
                <a:ext uri="{FF2B5EF4-FFF2-40B4-BE49-F238E27FC236}">
                  <a16:creationId xmlns:a16="http://schemas.microsoft.com/office/drawing/2014/main" id="{B8CAD0AE-0044-8244-A7C5-4B48E0CC386C}"/>
                </a:ext>
              </a:extLst>
            </p:cNvPr>
            <p:cNvSpPr>
              <a:spLocks noChangeAspect="1" noEditPoints="1"/>
            </p:cNvSpPr>
            <p:nvPr/>
          </p:nvSpPr>
          <p:spPr bwMode="auto">
            <a:xfrm>
              <a:off x="7827108" y="3935623"/>
              <a:ext cx="548640" cy="548640"/>
            </a:xfrm>
            <a:custGeom>
              <a:avLst/>
              <a:gdLst>
                <a:gd name="T0" fmla="*/ 234 w 512"/>
                <a:gd name="T1" fmla="*/ 234 h 512"/>
                <a:gd name="T2" fmla="*/ 277 w 512"/>
                <a:gd name="T3" fmla="*/ 234 h 512"/>
                <a:gd name="T4" fmla="*/ 277 w 512"/>
                <a:gd name="T5" fmla="*/ 277 h 512"/>
                <a:gd name="T6" fmla="*/ 234 w 512"/>
                <a:gd name="T7" fmla="*/ 277 h 512"/>
                <a:gd name="T8" fmla="*/ 234 w 512"/>
                <a:gd name="T9" fmla="*/ 234 h 512"/>
                <a:gd name="T10" fmla="*/ 117 w 512"/>
                <a:gd name="T11" fmla="*/ 304 h 512"/>
                <a:gd name="T12" fmla="*/ 213 w 512"/>
                <a:gd name="T13" fmla="*/ 270 h 512"/>
                <a:gd name="T14" fmla="*/ 213 w 512"/>
                <a:gd name="T15" fmla="*/ 252 h 512"/>
                <a:gd name="T16" fmla="*/ 117 w 512"/>
                <a:gd name="T17" fmla="*/ 208 h 512"/>
                <a:gd name="T18" fmla="*/ 117 w 512"/>
                <a:gd name="T19" fmla="*/ 304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192 h 512"/>
                <a:gd name="T32" fmla="*/ 411 w 512"/>
                <a:gd name="T33" fmla="*/ 183 h 512"/>
                <a:gd name="T34" fmla="*/ 401 w 512"/>
                <a:gd name="T35" fmla="*/ 182 h 512"/>
                <a:gd name="T36" fmla="*/ 298 w 512"/>
                <a:gd name="T37" fmla="*/ 229 h 512"/>
                <a:gd name="T38" fmla="*/ 277 w 512"/>
                <a:gd name="T39" fmla="*/ 213 h 512"/>
                <a:gd name="T40" fmla="*/ 234 w 512"/>
                <a:gd name="T41" fmla="*/ 213 h 512"/>
                <a:gd name="T42" fmla="*/ 214 w 512"/>
                <a:gd name="T43" fmla="*/ 229 h 512"/>
                <a:gd name="T44" fmla="*/ 111 w 512"/>
                <a:gd name="T45" fmla="*/ 182 h 512"/>
                <a:gd name="T46" fmla="*/ 101 w 512"/>
                <a:gd name="T47" fmla="*/ 183 h 512"/>
                <a:gd name="T48" fmla="*/ 96 w 512"/>
                <a:gd name="T49" fmla="*/ 192 h 512"/>
                <a:gd name="T50" fmla="*/ 96 w 512"/>
                <a:gd name="T51" fmla="*/ 320 h 512"/>
                <a:gd name="T52" fmla="*/ 100 w 512"/>
                <a:gd name="T53" fmla="*/ 328 h 512"/>
                <a:gd name="T54" fmla="*/ 106 w 512"/>
                <a:gd name="T55" fmla="*/ 330 h 512"/>
                <a:gd name="T56" fmla="*/ 110 w 512"/>
                <a:gd name="T57" fmla="*/ 330 h 512"/>
                <a:gd name="T58" fmla="*/ 218 w 512"/>
                <a:gd name="T59" fmla="*/ 290 h 512"/>
                <a:gd name="T60" fmla="*/ 234 w 512"/>
                <a:gd name="T61" fmla="*/ 298 h 512"/>
                <a:gd name="T62" fmla="*/ 277 w 512"/>
                <a:gd name="T63" fmla="*/ 298 h 512"/>
                <a:gd name="T64" fmla="*/ 293 w 512"/>
                <a:gd name="T65" fmla="*/ 290 h 512"/>
                <a:gd name="T66" fmla="*/ 401 w 512"/>
                <a:gd name="T67" fmla="*/ 330 h 512"/>
                <a:gd name="T68" fmla="*/ 405 w 512"/>
                <a:gd name="T69" fmla="*/ 330 h 512"/>
                <a:gd name="T70" fmla="*/ 411 w 512"/>
                <a:gd name="T71" fmla="*/ 328 h 512"/>
                <a:gd name="T72" fmla="*/ 416 w 512"/>
                <a:gd name="T73" fmla="*/ 320 h 512"/>
                <a:gd name="T74" fmla="*/ 416 w 512"/>
                <a:gd name="T75" fmla="*/ 192 h 512"/>
                <a:gd name="T76" fmla="*/ 298 w 512"/>
                <a:gd name="T77" fmla="*/ 270 h 512"/>
                <a:gd name="T78" fmla="*/ 394 w 512"/>
                <a:gd name="T79" fmla="*/ 304 h 512"/>
                <a:gd name="T80" fmla="*/ 394 w 512"/>
                <a:gd name="T81" fmla="*/ 208 h 512"/>
                <a:gd name="T82" fmla="*/ 298 w 512"/>
                <a:gd name="T83" fmla="*/ 252 h 512"/>
                <a:gd name="T84" fmla="*/ 298 w 512"/>
                <a:gd name="T85" fmla="*/ 2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34" y="234"/>
                  </a:moveTo>
                  <a:cubicBezTo>
                    <a:pt x="277" y="234"/>
                    <a:pt x="277" y="234"/>
                    <a:pt x="277" y="234"/>
                  </a:cubicBezTo>
                  <a:cubicBezTo>
                    <a:pt x="277" y="277"/>
                    <a:pt x="277" y="277"/>
                    <a:pt x="277" y="277"/>
                  </a:cubicBezTo>
                  <a:cubicBezTo>
                    <a:pt x="234" y="277"/>
                    <a:pt x="234" y="277"/>
                    <a:pt x="234" y="277"/>
                  </a:cubicBezTo>
                  <a:lnTo>
                    <a:pt x="234" y="234"/>
                  </a:lnTo>
                  <a:close/>
                  <a:moveTo>
                    <a:pt x="117" y="304"/>
                  </a:moveTo>
                  <a:cubicBezTo>
                    <a:pt x="213" y="270"/>
                    <a:pt x="213" y="270"/>
                    <a:pt x="213" y="270"/>
                  </a:cubicBezTo>
                  <a:cubicBezTo>
                    <a:pt x="213" y="252"/>
                    <a:pt x="213" y="252"/>
                    <a:pt x="213" y="252"/>
                  </a:cubicBezTo>
                  <a:cubicBezTo>
                    <a:pt x="117" y="208"/>
                    <a:pt x="117" y="208"/>
                    <a:pt x="117" y="208"/>
                  </a:cubicBezTo>
                  <a:lnTo>
                    <a:pt x="117" y="30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8"/>
                    <a:pt x="414" y="185"/>
                    <a:pt x="411" y="183"/>
                  </a:cubicBezTo>
                  <a:cubicBezTo>
                    <a:pt x="408" y="181"/>
                    <a:pt x="404" y="180"/>
                    <a:pt x="401" y="182"/>
                  </a:cubicBezTo>
                  <a:cubicBezTo>
                    <a:pt x="298" y="229"/>
                    <a:pt x="298" y="229"/>
                    <a:pt x="298" y="229"/>
                  </a:cubicBezTo>
                  <a:cubicBezTo>
                    <a:pt x="295" y="220"/>
                    <a:pt x="287" y="213"/>
                    <a:pt x="277" y="213"/>
                  </a:cubicBezTo>
                  <a:cubicBezTo>
                    <a:pt x="234" y="213"/>
                    <a:pt x="234" y="213"/>
                    <a:pt x="234" y="213"/>
                  </a:cubicBezTo>
                  <a:cubicBezTo>
                    <a:pt x="224" y="213"/>
                    <a:pt x="216" y="220"/>
                    <a:pt x="214" y="229"/>
                  </a:cubicBezTo>
                  <a:cubicBezTo>
                    <a:pt x="111" y="182"/>
                    <a:pt x="111" y="182"/>
                    <a:pt x="111" y="182"/>
                  </a:cubicBezTo>
                  <a:cubicBezTo>
                    <a:pt x="107" y="180"/>
                    <a:pt x="104" y="181"/>
                    <a:pt x="101" y="183"/>
                  </a:cubicBezTo>
                  <a:cubicBezTo>
                    <a:pt x="98" y="185"/>
                    <a:pt x="96" y="188"/>
                    <a:pt x="96" y="192"/>
                  </a:cubicBezTo>
                  <a:cubicBezTo>
                    <a:pt x="96" y="320"/>
                    <a:pt x="96" y="320"/>
                    <a:pt x="96" y="320"/>
                  </a:cubicBezTo>
                  <a:cubicBezTo>
                    <a:pt x="96" y="323"/>
                    <a:pt x="97" y="326"/>
                    <a:pt x="100" y="328"/>
                  </a:cubicBezTo>
                  <a:cubicBezTo>
                    <a:pt x="102" y="330"/>
                    <a:pt x="104" y="330"/>
                    <a:pt x="106" y="330"/>
                  </a:cubicBezTo>
                  <a:cubicBezTo>
                    <a:pt x="108" y="330"/>
                    <a:pt x="109" y="330"/>
                    <a:pt x="110" y="330"/>
                  </a:cubicBezTo>
                  <a:cubicBezTo>
                    <a:pt x="218" y="290"/>
                    <a:pt x="218" y="290"/>
                    <a:pt x="218" y="290"/>
                  </a:cubicBezTo>
                  <a:cubicBezTo>
                    <a:pt x="222" y="295"/>
                    <a:pt x="228" y="298"/>
                    <a:pt x="234" y="298"/>
                  </a:cubicBezTo>
                  <a:cubicBezTo>
                    <a:pt x="277" y="298"/>
                    <a:pt x="277" y="298"/>
                    <a:pt x="277" y="298"/>
                  </a:cubicBezTo>
                  <a:cubicBezTo>
                    <a:pt x="284" y="298"/>
                    <a:pt x="290" y="295"/>
                    <a:pt x="293" y="290"/>
                  </a:cubicBezTo>
                  <a:cubicBezTo>
                    <a:pt x="401" y="330"/>
                    <a:pt x="401" y="330"/>
                    <a:pt x="401" y="330"/>
                  </a:cubicBezTo>
                  <a:cubicBezTo>
                    <a:pt x="403" y="330"/>
                    <a:pt x="404" y="330"/>
                    <a:pt x="405" y="330"/>
                  </a:cubicBezTo>
                  <a:cubicBezTo>
                    <a:pt x="407" y="330"/>
                    <a:pt x="409" y="330"/>
                    <a:pt x="411" y="328"/>
                  </a:cubicBezTo>
                  <a:cubicBezTo>
                    <a:pt x="414" y="326"/>
                    <a:pt x="416" y="323"/>
                    <a:pt x="416" y="320"/>
                  </a:cubicBezTo>
                  <a:lnTo>
                    <a:pt x="416" y="192"/>
                  </a:lnTo>
                  <a:close/>
                  <a:moveTo>
                    <a:pt x="298" y="270"/>
                  </a:moveTo>
                  <a:cubicBezTo>
                    <a:pt x="394" y="304"/>
                    <a:pt x="394" y="304"/>
                    <a:pt x="394" y="304"/>
                  </a:cubicBezTo>
                  <a:cubicBezTo>
                    <a:pt x="394" y="208"/>
                    <a:pt x="394" y="208"/>
                    <a:pt x="394" y="208"/>
                  </a:cubicBezTo>
                  <a:cubicBezTo>
                    <a:pt x="298" y="252"/>
                    <a:pt x="298" y="252"/>
                    <a:pt x="298" y="252"/>
                  </a:cubicBezTo>
                  <a:lnTo>
                    <a:pt x="298" y="270"/>
                  </a:lnTo>
                  <a:close/>
                </a:path>
              </a:pathLst>
            </a:custGeom>
            <a:solidFill>
              <a:srgbClr val="00ABAB"/>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136" name="Freeform 393">
              <a:extLst>
                <a:ext uri="{FF2B5EF4-FFF2-40B4-BE49-F238E27FC236}">
                  <a16:creationId xmlns:a16="http://schemas.microsoft.com/office/drawing/2014/main" id="{72E8AE66-FB73-C249-9B56-C25E086B4192}"/>
                </a:ext>
              </a:extLst>
            </p:cNvPr>
            <p:cNvSpPr>
              <a:spLocks noChangeAspect="1" noEditPoints="1"/>
            </p:cNvSpPr>
            <p:nvPr/>
          </p:nvSpPr>
          <p:spPr bwMode="auto">
            <a:xfrm>
              <a:off x="6570779" y="3488287"/>
              <a:ext cx="638204" cy="640080"/>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rgbClr val="0097A9"/>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grpSp>
          <p:nvGrpSpPr>
            <p:cNvPr id="137" name="Group 136">
              <a:extLst>
                <a:ext uri="{FF2B5EF4-FFF2-40B4-BE49-F238E27FC236}">
                  <a16:creationId xmlns:a16="http://schemas.microsoft.com/office/drawing/2014/main" id="{0B8A069B-9DC4-994A-ADF0-4D7AA7410305}"/>
                </a:ext>
              </a:extLst>
            </p:cNvPr>
            <p:cNvGrpSpPr/>
            <p:nvPr/>
          </p:nvGrpSpPr>
          <p:grpSpPr>
            <a:xfrm>
              <a:off x="7702843" y="5186651"/>
              <a:ext cx="667244" cy="570742"/>
              <a:chOff x="6178842" y="5186651"/>
              <a:chExt cx="667244" cy="570742"/>
            </a:xfrm>
          </p:grpSpPr>
          <p:sp>
            <p:nvSpPr>
              <p:cNvPr id="138" name="Oval 137">
                <a:extLst>
                  <a:ext uri="{FF2B5EF4-FFF2-40B4-BE49-F238E27FC236}">
                    <a16:creationId xmlns:a16="http://schemas.microsoft.com/office/drawing/2014/main" id="{C46B9E10-85A0-1D4A-BD33-D399806122B5}"/>
                  </a:ext>
                </a:extLst>
              </p:cNvPr>
              <p:cNvSpPr/>
              <p:nvPr/>
            </p:nvSpPr>
            <p:spPr bwMode="gray">
              <a:xfrm>
                <a:off x="6178842" y="5189391"/>
                <a:ext cx="127109" cy="127109"/>
              </a:xfrm>
              <a:prstGeom prst="ellipse">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39" name="Oval 138">
                <a:extLst>
                  <a:ext uri="{FF2B5EF4-FFF2-40B4-BE49-F238E27FC236}">
                    <a16:creationId xmlns:a16="http://schemas.microsoft.com/office/drawing/2014/main" id="{B5AB5171-D69B-B340-BF76-B697404D2FDD}"/>
                  </a:ext>
                </a:extLst>
              </p:cNvPr>
              <p:cNvSpPr/>
              <p:nvPr/>
            </p:nvSpPr>
            <p:spPr bwMode="gray">
              <a:xfrm>
                <a:off x="6178842" y="5630284"/>
                <a:ext cx="127109" cy="127109"/>
              </a:xfrm>
              <a:prstGeom prst="ellipse">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40" name="Oval 139">
                <a:extLst>
                  <a:ext uri="{FF2B5EF4-FFF2-40B4-BE49-F238E27FC236}">
                    <a16:creationId xmlns:a16="http://schemas.microsoft.com/office/drawing/2014/main" id="{4ED90904-B3D3-C64C-AD80-E801308A1282}"/>
                  </a:ext>
                </a:extLst>
              </p:cNvPr>
              <p:cNvSpPr/>
              <p:nvPr/>
            </p:nvSpPr>
            <p:spPr bwMode="gray">
              <a:xfrm>
                <a:off x="6178843" y="5420553"/>
                <a:ext cx="127109" cy="127109"/>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41" name="Rectangle 140">
                <a:extLst>
                  <a:ext uri="{FF2B5EF4-FFF2-40B4-BE49-F238E27FC236}">
                    <a16:creationId xmlns:a16="http://schemas.microsoft.com/office/drawing/2014/main" id="{C888BC7F-6DD5-E045-B63B-4A185C735C56}"/>
                  </a:ext>
                </a:extLst>
              </p:cNvPr>
              <p:cNvSpPr/>
              <p:nvPr/>
            </p:nvSpPr>
            <p:spPr>
              <a:xfrm>
                <a:off x="6404045" y="5186651"/>
                <a:ext cx="442041" cy="550790"/>
              </a:xfrm>
              <a:prstGeom prst="rect">
                <a:avLst/>
              </a:prstGeom>
            </p:spPr>
            <p:txBody>
              <a:bodyPr wrap="none" lIns="0" tIns="0" rIns="0" bIns="0">
                <a:spAutoFit/>
              </a:bodyPr>
              <a:lstStyle/>
              <a:p>
                <a:pPr>
                  <a:spcAft>
                    <a:spcPts val="1200"/>
                  </a:spcAft>
                </a:pPr>
                <a:r>
                  <a:rPr lang="en-GB" sz="800" dirty="0">
                    <a:solidFill>
                      <a:schemeClr val="bg1"/>
                    </a:solidFill>
                  </a:rPr>
                  <a:t>Lorem ipsum</a:t>
                </a:r>
              </a:p>
              <a:p>
                <a:pPr>
                  <a:spcAft>
                    <a:spcPts val="1200"/>
                  </a:spcAft>
                </a:pPr>
                <a:r>
                  <a:rPr lang="en-GB" sz="800" dirty="0">
                    <a:solidFill>
                      <a:schemeClr val="bg1"/>
                    </a:solidFill>
                  </a:rPr>
                  <a:t>Lorem ipsum</a:t>
                </a:r>
              </a:p>
              <a:p>
                <a:pPr>
                  <a:spcAft>
                    <a:spcPts val="1200"/>
                  </a:spcAft>
                </a:pPr>
                <a:r>
                  <a:rPr lang="en-GB" sz="800" dirty="0">
                    <a:solidFill>
                      <a:schemeClr val="bg1"/>
                    </a:solidFill>
                  </a:rPr>
                  <a:t>Lorem ipsum</a:t>
                </a:r>
              </a:p>
            </p:txBody>
          </p:sp>
        </p:grpSp>
      </p:grpSp>
    </p:spTree>
    <p:custDataLst>
      <p:tags r:id="rId1"/>
    </p:custDataLst>
    <p:extLst>
      <p:ext uri="{BB962C8B-B14F-4D97-AF65-F5344CB8AC3E}">
        <p14:creationId xmlns:p14="http://schemas.microsoft.com/office/powerpoint/2010/main" val="2959768437"/>
      </p:ext>
    </p:extLst>
  </p:cSld>
  <p:clrMapOvr>
    <a:masterClrMapping/>
  </p:clrMapOvr>
  <p:transition>
    <p:fade/>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CF0D7D3-9B73-9244-93AE-66A221DAC8AD}"/>
              </a:ext>
            </a:extLst>
          </p:cNvPr>
          <p:cNvGrpSpPr/>
          <p:nvPr/>
        </p:nvGrpSpPr>
        <p:grpSpPr>
          <a:xfrm>
            <a:off x="2749297" y="200067"/>
            <a:ext cx="6693407" cy="6309360"/>
            <a:chOff x="376238" y="39754"/>
            <a:chExt cx="6693407" cy="6309360"/>
          </a:xfrm>
        </p:grpSpPr>
        <p:cxnSp>
          <p:nvCxnSpPr>
            <p:cNvPr id="15" name="Straight Arrow Connector 14">
              <a:extLst>
                <a:ext uri="{FF2B5EF4-FFF2-40B4-BE49-F238E27FC236}">
                  <a16:creationId xmlns:a16="http://schemas.microsoft.com/office/drawing/2014/main" id="{19F7D115-FA1E-4D4A-93EE-FDD834CB924E}"/>
                </a:ext>
              </a:extLst>
            </p:cNvPr>
            <p:cNvCxnSpPr>
              <a:endCxn id="40" idx="2"/>
            </p:cNvCxnSpPr>
            <p:nvPr/>
          </p:nvCxnSpPr>
          <p:spPr>
            <a:xfrm>
              <a:off x="1093904" y="2874607"/>
              <a:ext cx="717503" cy="0"/>
            </a:xfrm>
            <a:prstGeom prst="straightConnector1">
              <a:avLst/>
            </a:prstGeom>
            <a:noFill/>
            <a:ln w="6350" cap="flat" cmpd="sng" algn="ctr">
              <a:solidFill>
                <a:srgbClr val="75787B"/>
              </a:solidFill>
              <a:prstDash val="solid"/>
              <a:headEnd type="none" w="med" len="med"/>
              <a:tailEnd type="triangle" w="med" len="med"/>
            </a:ln>
            <a:effectLst/>
          </p:spPr>
        </p:cxnSp>
        <p:cxnSp>
          <p:nvCxnSpPr>
            <p:cNvPr id="16" name="Straight Arrow Connector 15">
              <a:extLst>
                <a:ext uri="{FF2B5EF4-FFF2-40B4-BE49-F238E27FC236}">
                  <a16:creationId xmlns:a16="http://schemas.microsoft.com/office/drawing/2014/main" id="{478ABB01-72FF-A643-9A9A-173D91BE8DE4}"/>
                </a:ext>
              </a:extLst>
            </p:cNvPr>
            <p:cNvCxnSpPr>
              <a:endCxn id="39" idx="2"/>
            </p:cNvCxnSpPr>
            <p:nvPr/>
          </p:nvCxnSpPr>
          <p:spPr>
            <a:xfrm>
              <a:off x="1093904" y="3514264"/>
              <a:ext cx="717503" cy="0"/>
            </a:xfrm>
            <a:prstGeom prst="straightConnector1">
              <a:avLst/>
            </a:prstGeom>
            <a:noFill/>
            <a:ln w="6350" cap="flat" cmpd="sng" algn="ctr">
              <a:solidFill>
                <a:srgbClr val="75787B"/>
              </a:solidFill>
              <a:prstDash val="solid"/>
              <a:headEnd type="none" w="med" len="med"/>
              <a:tailEnd type="triangle" w="med" len="med"/>
            </a:ln>
            <a:effectLst/>
          </p:spPr>
        </p:cxnSp>
        <p:sp>
          <p:nvSpPr>
            <p:cNvPr id="17" name="Rounded Rectangle 16">
              <a:extLst>
                <a:ext uri="{FF2B5EF4-FFF2-40B4-BE49-F238E27FC236}">
                  <a16:creationId xmlns:a16="http://schemas.microsoft.com/office/drawing/2014/main" id="{32ED388F-2CF7-2E40-9664-9081B536299E}"/>
                </a:ext>
              </a:extLst>
            </p:cNvPr>
            <p:cNvSpPr/>
            <p:nvPr/>
          </p:nvSpPr>
          <p:spPr bwMode="gray">
            <a:xfrm>
              <a:off x="1288472" y="2890802"/>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18" name="Rounded Rectangle 17">
              <a:extLst>
                <a:ext uri="{FF2B5EF4-FFF2-40B4-BE49-F238E27FC236}">
                  <a16:creationId xmlns:a16="http://schemas.microsoft.com/office/drawing/2014/main" id="{8E2631A0-2EE7-F348-8BA9-4CA33743205B}"/>
                </a:ext>
              </a:extLst>
            </p:cNvPr>
            <p:cNvSpPr/>
            <p:nvPr/>
          </p:nvSpPr>
          <p:spPr bwMode="gray">
            <a:xfrm>
              <a:off x="1059451" y="2890802"/>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19" name="Rounded Rectangle 18">
              <a:extLst>
                <a:ext uri="{FF2B5EF4-FFF2-40B4-BE49-F238E27FC236}">
                  <a16:creationId xmlns:a16="http://schemas.microsoft.com/office/drawing/2014/main" id="{6403B107-BFAF-694E-B46A-3EC7A4BBD100}"/>
                </a:ext>
              </a:extLst>
            </p:cNvPr>
            <p:cNvSpPr/>
            <p:nvPr/>
          </p:nvSpPr>
          <p:spPr bwMode="gray">
            <a:xfrm>
              <a:off x="830429" y="2890802"/>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0" name="Rounded Rectangle 19">
              <a:extLst>
                <a:ext uri="{FF2B5EF4-FFF2-40B4-BE49-F238E27FC236}">
                  <a16:creationId xmlns:a16="http://schemas.microsoft.com/office/drawing/2014/main" id="{7D236AD1-EBDC-424C-85CC-91188B84EBA2}"/>
                </a:ext>
              </a:extLst>
            </p:cNvPr>
            <p:cNvSpPr/>
            <p:nvPr/>
          </p:nvSpPr>
          <p:spPr bwMode="gray">
            <a:xfrm>
              <a:off x="601407" y="2890802"/>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1" name="Rounded Rectangle 20">
              <a:extLst>
                <a:ext uri="{FF2B5EF4-FFF2-40B4-BE49-F238E27FC236}">
                  <a16:creationId xmlns:a16="http://schemas.microsoft.com/office/drawing/2014/main" id="{33382E3D-AB79-2240-9225-5A698AED9973}"/>
                </a:ext>
              </a:extLst>
            </p:cNvPr>
            <p:cNvSpPr/>
            <p:nvPr/>
          </p:nvSpPr>
          <p:spPr bwMode="gray">
            <a:xfrm flipV="1">
              <a:off x="1288472" y="3269767"/>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2" name="Rounded Rectangle 21">
              <a:extLst>
                <a:ext uri="{FF2B5EF4-FFF2-40B4-BE49-F238E27FC236}">
                  <a16:creationId xmlns:a16="http://schemas.microsoft.com/office/drawing/2014/main" id="{E70F4B20-2995-0B4F-BCDB-50A525CB5D0C}"/>
                </a:ext>
              </a:extLst>
            </p:cNvPr>
            <p:cNvSpPr/>
            <p:nvPr/>
          </p:nvSpPr>
          <p:spPr bwMode="gray">
            <a:xfrm flipV="1">
              <a:off x="1059451" y="3269767"/>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3" name="Rounded Rectangle 22">
              <a:extLst>
                <a:ext uri="{FF2B5EF4-FFF2-40B4-BE49-F238E27FC236}">
                  <a16:creationId xmlns:a16="http://schemas.microsoft.com/office/drawing/2014/main" id="{0F60B083-4722-4D4C-B301-96C6FB79CEE6}"/>
                </a:ext>
              </a:extLst>
            </p:cNvPr>
            <p:cNvSpPr/>
            <p:nvPr/>
          </p:nvSpPr>
          <p:spPr bwMode="gray">
            <a:xfrm flipV="1">
              <a:off x="830429" y="3269767"/>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4" name="Rounded Rectangle 23">
              <a:extLst>
                <a:ext uri="{FF2B5EF4-FFF2-40B4-BE49-F238E27FC236}">
                  <a16:creationId xmlns:a16="http://schemas.microsoft.com/office/drawing/2014/main" id="{8DB4C172-AA0C-5C4C-A577-579A280938B0}"/>
                </a:ext>
              </a:extLst>
            </p:cNvPr>
            <p:cNvSpPr/>
            <p:nvPr/>
          </p:nvSpPr>
          <p:spPr bwMode="gray">
            <a:xfrm flipV="1">
              <a:off x="601407" y="3269767"/>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5" name="Rectangle 24">
              <a:extLst>
                <a:ext uri="{FF2B5EF4-FFF2-40B4-BE49-F238E27FC236}">
                  <a16:creationId xmlns:a16="http://schemas.microsoft.com/office/drawing/2014/main" id="{E365E9CB-14A3-5542-B6AE-C9CD50A6201F}"/>
                </a:ext>
              </a:extLst>
            </p:cNvPr>
            <p:cNvSpPr/>
            <p:nvPr/>
          </p:nvSpPr>
          <p:spPr bwMode="gray">
            <a:xfrm>
              <a:off x="2154577" y="64519"/>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GB" sz="850" dirty="0">
                  <a:solidFill>
                    <a:sysClr val="windowText" lastClr="000000"/>
                  </a:solidFill>
                </a:rPr>
                <a:t>Need for pursuit support</a:t>
              </a:r>
            </a:p>
          </p:txBody>
        </p:sp>
        <p:sp>
          <p:nvSpPr>
            <p:cNvPr id="26" name="Rectangle 25">
              <a:extLst>
                <a:ext uri="{FF2B5EF4-FFF2-40B4-BE49-F238E27FC236}">
                  <a16:creationId xmlns:a16="http://schemas.microsoft.com/office/drawing/2014/main" id="{8EEA1AF1-F777-2E4D-990C-5050D8854260}"/>
                </a:ext>
              </a:extLst>
            </p:cNvPr>
            <p:cNvSpPr/>
            <p:nvPr/>
          </p:nvSpPr>
          <p:spPr bwMode="gray">
            <a:xfrm>
              <a:off x="2154577" y="704176"/>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fr-FR" sz="850" dirty="0" err="1">
                  <a:solidFill>
                    <a:sysClr val="windowText" lastClr="000000"/>
                  </a:solidFill>
                </a:rPr>
                <a:t>Lorem</a:t>
              </a:r>
              <a:r>
                <a:rPr lang="fr-FR" sz="850" dirty="0">
                  <a:solidFill>
                    <a:sysClr val="windowText" lastClr="000000"/>
                  </a:solidFill>
                </a:rPr>
                <a:t> </a:t>
              </a:r>
              <a:r>
                <a:rPr lang="fr-FR" sz="850" dirty="0" err="1">
                  <a:solidFill>
                    <a:sysClr val="windowText" lastClr="000000"/>
                  </a:solidFill>
                </a:rPr>
                <a:t>ipsum</a:t>
              </a:r>
              <a:r>
                <a:rPr lang="fr-FR" sz="850" dirty="0">
                  <a:solidFill>
                    <a:sysClr val="windowText" lastClr="000000"/>
                  </a:solidFill>
                </a:rPr>
                <a:t> </a:t>
              </a:r>
              <a:r>
                <a:rPr lang="fr-FR" sz="850" dirty="0" err="1">
                  <a:solidFill>
                    <a:sysClr val="windowText" lastClr="000000"/>
                  </a:solidFill>
                </a:rPr>
                <a:t>dolor</a:t>
              </a:r>
              <a:r>
                <a:rPr lang="fr-FR" sz="850" dirty="0">
                  <a:solidFill>
                    <a:sysClr val="windowText" lastClr="000000"/>
                  </a:solidFill>
                </a:rPr>
                <a:t> </a:t>
              </a:r>
              <a:r>
                <a:rPr lang="fr-FR" sz="850" dirty="0" err="1">
                  <a:solidFill>
                    <a:sysClr val="windowText" lastClr="000000"/>
                  </a:solidFill>
                </a:rPr>
                <a:t>sit</a:t>
              </a:r>
              <a:r>
                <a:rPr lang="fr-FR" sz="850" dirty="0">
                  <a:solidFill>
                    <a:sysClr val="windowText" lastClr="000000"/>
                  </a:solidFill>
                </a:rPr>
                <a:t> </a:t>
              </a:r>
              <a:r>
                <a:rPr lang="fr-FR" sz="850" dirty="0" err="1">
                  <a:solidFill>
                    <a:sysClr val="windowText" lastClr="000000"/>
                  </a:solidFill>
                </a:rPr>
                <a:t>amet</a:t>
              </a:r>
              <a:r>
                <a:rPr lang="fr-FR" sz="850" dirty="0">
                  <a:solidFill>
                    <a:sysClr val="windowText" lastClr="000000"/>
                  </a:solidFill>
                </a:rPr>
                <a:t>, </a:t>
              </a:r>
              <a:r>
                <a:rPr lang="fr-FR" sz="850" dirty="0" err="1">
                  <a:solidFill>
                    <a:sysClr val="windowText" lastClr="000000"/>
                  </a:solidFill>
                </a:rPr>
                <a:t>consectetur</a:t>
              </a:r>
              <a:r>
                <a:rPr lang="fr-FR" sz="850" dirty="0">
                  <a:solidFill>
                    <a:sysClr val="windowText" lastClr="000000"/>
                  </a:solidFill>
                </a:rPr>
                <a:t> </a:t>
              </a:r>
              <a:r>
                <a:rPr lang="fr-FR" sz="850" dirty="0" err="1">
                  <a:solidFill>
                    <a:sysClr val="windowText" lastClr="000000"/>
                  </a:solidFill>
                </a:rPr>
                <a:t>adipiscing</a:t>
              </a:r>
              <a:r>
                <a:rPr lang="fr-FR" sz="850" dirty="0">
                  <a:solidFill>
                    <a:sysClr val="windowText" lastClr="000000"/>
                  </a:solidFill>
                </a:rPr>
                <a:t> </a:t>
              </a:r>
              <a:r>
                <a:rPr lang="fr-FR" sz="850" dirty="0" err="1">
                  <a:solidFill>
                    <a:sysClr val="windowText" lastClr="000000"/>
                  </a:solidFill>
                </a:rPr>
                <a:t>elit</a:t>
              </a:r>
              <a:r>
                <a:rPr lang="fr-FR" sz="850" dirty="0">
                  <a:solidFill>
                    <a:sysClr val="windowText" lastClr="000000"/>
                  </a:solidFill>
                </a:rPr>
                <a:t>, </a:t>
              </a:r>
              <a:r>
                <a:rPr lang="fr-FR" sz="850" dirty="0" err="1">
                  <a:solidFill>
                    <a:sysClr val="windowText" lastClr="000000"/>
                  </a:solidFill>
                </a:rPr>
                <a:t>sed</a:t>
              </a:r>
              <a:r>
                <a:rPr lang="fr-FR" sz="850" dirty="0">
                  <a:solidFill>
                    <a:sysClr val="windowText" lastClr="000000"/>
                  </a:solidFill>
                </a:rPr>
                <a:t> do </a:t>
              </a:r>
              <a:r>
                <a:rPr lang="fr-FR" sz="850" dirty="0" err="1">
                  <a:solidFill>
                    <a:sysClr val="windowText" lastClr="000000"/>
                  </a:solidFill>
                </a:rPr>
                <a:t>eiusmod</a:t>
              </a:r>
              <a:r>
                <a:rPr lang="fr-FR" sz="850" dirty="0">
                  <a:solidFill>
                    <a:sysClr val="windowText" lastClr="000000"/>
                  </a:solidFill>
                </a:rPr>
                <a:t> te</a:t>
              </a:r>
            </a:p>
          </p:txBody>
        </p:sp>
        <p:sp>
          <p:nvSpPr>
            <p:cNvPr id="27" name="Rectangle 26">
              <a:extLst>
                <a:ext uri="{FF2B5EF4-FFF2-40B4-BE49-F238E27FC236}">
                  <a16:creationId xmlns:a16="http://schemas.microsoft.com/office/drawing/2014/main" id="{549D56D2-9B65-344B-A2F6-961030C4E859}"/>
                </a:ext>
              </a:extLst>
            </p:cNvPr>
            <p:cNvSpPr/>
            <p:nvPr/>
          </p:nvSpPr>
          <p:spPr bwMode="gray">
            <a:xfrm>
              <a:off x="2154577" y="1983490"/>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sz="850" dirty="0">
                  <a:solidFill>
                    <a:sysClr val="windowText" lastClr="000000"/>
                  </a:solidFill>
                </a:rPr>
                <a:t>Lorem ipsum dolor sit </a:t>
              </a:r>
              <a:r>
                <a:rPr lang="en-US" sz="850" dirty="0" err="1">
                  <a:solidFill>
                    <a:sysClr val="windowText" lastClr="000000"/>
                  </a:solidFill>
                </a:rPr>
                <a:t>amet</a:t>
              </a:r>
              <a:r>
                <a:rPr lang="en-US" sz="850" dirty="0">
                  <a:solidFill>
                    <a:sysClr val="windowText" lastClr="000000"/>
                  </a:solidFill>
                </a:rPr>
                <a:t>, </a:t>
              </a:r>
              <a:r>
                <a:rPr lang="en-US" sz="850" dirty="0" err="1">
                  <a:solidFill>
                    <a:sysClr val="windowText" lastClr="000000"/>
                  </a:solidFill>
                </a:rPr>
                <a:t>consectetur</a:t>
              </a:r>
              <a:r>
                <a:rPr lang="en-US" sz="850" dirty="0">
                  <a:solidFill>
                    <a:sysClr val="windowText" lastClr="000000"/>
                  </a:solidFill>
                </a:rPr>
                <a:t> </a:t>
              </a:r>
              <a:r>
                <a:rPr lang="en-US" sz="850" dirty="0" err="1">
                  <a:solidFill>
                    <a:sysClr val="windowText" lastClr="000000"/>
                  </a:solidFill>
                </a:rPr>
                <a:t>adipiscing</a:t>
              </a:r>
              <a:r>
                <a:rPr lang="en-US" sz="850" dirty="0">
                  <a:solidFill>
                    <a:sysClr val="windowText" lastClr="000000"/>
                  </a:solidFill>
                </a:rPr>
                <a:t> </a:t>
              </a:r>
              <a:r>
                <a:rPr lang="en-US" sz="850" dirty="0" err="1">
                  <a:solidFill>
                    <a:sysClr val="windowText" lastClr="000000"/>
                  </a:solidFill>
                </a:rPr>
                <a:t>elit</a:t>
              </a:r>
              <a:r>
                <a:rPr lang="en-US" sz="850" dirty="0">
                  <a:solidFill>
                    <a:sysClr val="windowText" lastClr="000000"/>
                  </a:solidFill>
                </a:rPr>
                <a:t>, </a:t>
              </a:r>
              <a:r>
                <a:rPr lang="en-US" sz="850" dirty="0" err="1">
                  <a:solidFill>
                    <a:sysClr val="windowText" lastClr="000000"/>
                  </a:solidFill>
                </a:rPr>
                <a:t>sed</a:t>
              </a:r>
              <a:r>
                <a:rPr lang="en-US" sz="850" dirty="0">
                  <a:solidFill>
                    <a:sysClr val="windowText" lastClr="000000"/>
                  </a:solidFill>
                </a:rPr>
                <a:t> do </a:t>
              </a:r>
              <a:r>
                <a:rPr lang="en-US" sz="850" dirty="0" err="1">
                  <a:solidFill>
                    <a:sysClr val="windowText" lastClr="000000"/>
                  </a:solidFill>
                </a:rPr>
                <a:t>eiusmod</a:t>
              </a:r>
              <a:r>
                <a:rPr lang="en-US" sz="850" dirty="0">
                  <a:solidFill>
                    <a:sysClr val="windowText" lastClr="000000"/>
                  </a:solidFill>
                </a:rPr>
                <a:t> </a:t>
              </a:r>
              <a:r>
                <a:rPr lang="en-US" sz="850" dirty="0" err="1">
                  <a:solidFill>
                    <a:sysClr val="windowText" lastClr="000000"/>
                  </a:solidFill>
                </a:rPr>
                <a:t>te</a:t>
              </a:r>
              <a:endParaRPr lang="en-US" sz="850" dirty="0">
                <a:solidFill>
                  <a:sysClr val="windowText" lastClr="000000"/>
                </a:solidFill>
              </a:endParaRPr>
            </a:p>
          </p:txBody>
        </p:sp>
        <p:sp>
          <p:nvSpPr>
            <p:cNvPr id="28" name="Rectangle 27">
              <a:extLst>
                <a:ext uri="{FF2B5EF4-FFF2-40B4-BE49-F238E27FC236}">
                  <a16:creationId xmlns:a16="http://schemas.microsoft.com/office/drawing/2014/main" id="{08A45265-1783-154D-A74A-4C26702AFECE}"/>
                </a:ext>
              </a:extLst>
            </p:cNvPr>
            <p:cNvSpPr/>
            <p:nvPr/>
          </p:nvSpPr>
          <p:spPr bwMode="gray">
            <a:xfrm>
              <a:off x="2154577" y="1343833"/>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GB" sz="850" dirty="0">
                  <a:solidFill>
                    <a:sysClr val="windowText" lastClr="000000"/>
                  </a:solidFill>
                </a:rPr>
                <a:t>Lorem ipsum </a:t>
              </a:r>
              <a:r>
                <a:rPr lang="en-GB" sz="850" dirty="0" err="1">
                  <a:solidFill>
                    <a:sysClr val="windowText" lastClr="000000"/>
                  </a:solidFill>
                </a:rPr>
                <a:t>dolor</a:t>
              </a:r>
              <a:r>
                <a:rPr lang="en-GB" sz="850" dirty="0">
                  <a:solidFill>
                    <a:sysClr val="windowText" lastClr="000000"/>
                  </a:solidFill>
                </a:rPr>
                <a:t> sit </a:t>
              </a:r>
              <a:r>
                <a:rPr lang="en-GB" sz="850" dirty="0" err="1">
                  <a:solidFill>
                    <a:sysClr val="windowText" lastClr="000000"/>
                  </a:solidFill>
                </a:rPr>
                <a:t>amet</a:t>
              </a:r>
              <a:r>
                <a:rPr lang="en-GB" sz="850" dirty="0">
                  <a:solidFill>
                    <a:sysClr val="windowText" lastClr="000000"/>
                  </a:solidFill>
                </a:rPr>
                <a:t>, </a:t>
              </a:r>
              <a:r>
                <a:rPr lang="en-GB" sz="850" dirty="0" err="1">
                  <a:solidFill>
                    <a:sysClr val="windowText" lastClr="000000"/>
                  </a:solidFill>
                </a:rPr>
                <a:t>consectetur</a:t>
              </a:r>
              <a:r>
                <a:rPr lang="en-GB" sz="850" dirty="0">
                  <a:solidFill>
                    <a:sysClr val="windowText" lastClr="000000"/>
                  </a:solidFill>
                </a:rPr>
                <a:t> </a:t>
              </a:r>
              <a:r>
                <a:rPr lang="en-GB" sz="850" dirty="0" err="1">
                  <a:solidFill>
                    <a:sysClr val="windowText" lastClr="000000"/>
                  </a:solidFill>
                </a:rPr>
                <a:t>adipiscing</a:t>
              </a:r>
              <a:r>
                <a:rPr lang="en-GB" sz="850" dirty="0">
                  <a:solidFill>
                    <a:sysClr val="windowText" lastClr="000000"/>
                  </a:solidFill>
                </a:rPr>
                <a:t> </a:t>
              </a:r>
              <a:r>
                <a:rPr lang="en-GB" sz="850" dirty="0" err="1">
                  <a:solidFill>
                    <a:sysClr val="windowText" lastClr="000000"/>
                  </a:solidFill>
                </a:rPr>
                <a:t>elit</a:t>
              </a:r>
              <a:r>
                <a:rPr lang="en-GB" sz="850" dirty="0">
                  <a:solidFill>
                    <a:sysClr val="windowText" lastClr="000000"/>
                  </a:solidFill>
                </a:rPr>
                <a:t>, </a:t>
              </a:r>
              <a:r>
                <a:rPr lang="en-GB" sz="850" dirty="0" err="1">
                  <a:solidFill>
                    <a:sysClr val="windowText" lastClr="000000"/>
                  </a:solidFill>
                </a:rPr>
                <a:t>sed</a:t>
              </a:r>
              <a:r>
                <a:rPr lang="en-GB" sz="850" dirty="0">
                  <a:solidFill>
                    <a:sysClr val="windowText" lastClr="000000"/>
                  </a:solidFill>
                </a:rPr>
                <a:t> do </a:t>
              </a:r>
              <a:r>
                <a:rPr lang="en-GB" sz="850" dirty="0" err="1">
                  <a:solidFill>
                    <a:sysClr val="windowText" lastClr="000000"/>
                  </a:solidFill>
                </a:rPr>
                <a:t>eiusmod</a:t>
              </a:r>
              <a:r>
                <a:rPr lang="en-GB" sz="850" dirty="0">
                  <a:solidFill>
                    <a:sysClr val="windowText" lastClr="000000"/>
                  </a:solidFill>
                </a:rPr>
                <a:t> </a:t>
              </a:r>
              <a:r>
                <a:rPr lang="en-GB" sz="850" dirty="0" err="1">
                  <a:solidFill>
                    <a:sysClr val="windowText" lastClr="000000"/>
                  </a:solidFill>
                </a:rPr>
                <a:t>te</a:t>
              </a:r>
              <a:endParaRPr lang="en-GB" sz="850" dirty="0">
                <a:solidFill>
                  <a:sysClr val="windowText" lastClr="000000"/>
                </a:solidFill>
              </a:endParaRPr>
            </a:p>
          </p:txBody>
        </p:sp>
        <p:sp>
          <p:nvSpPr>
            <p:cNvPr id="29" name="Rectangle 28">
              <a:extLst>
                <a:ext uri="{FF2B5EF4-FFF2-40B4-BE49-F238E27FC236}">
                  <a16:creationId xmlns:a16="http://schemas.microsoft.com/office/drawing/2014/main" id="{84B73DE2-5D0D-084C-9118-5463C82EAC68}"/>
                </a:ext>
              </a:extLst>
            </p:cNvPr>
            <p:cNvSpPr/>
            <p:nvPr/>
          </p:nvSpPr>
          <p:spPr bwMode="gray">
            <a:xfrm>
              <a:off x="2154577" y="2623147"/>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sz="850" dirty="0">
                  <a:solidFill>
                    <a:sysClr val="windowText" lastClr="000000"/>
                  </a:solidFill>
                </a:rPr>
                <a:t>Lorem ipsum dolor sit </a:t>
              </a:r>
              <a:r>
                <a:rPr lang="en-US" sz="850" dirty="0" err="1">
                  <a:solidFill>
                    <a:sysClr val="windowText" lastClr="000000"/>
                  </a:solidFill>
                </a:rPr>
                <a:t>amet</a:t>
              </a:r>
              <a:r>
                <a:rPr lang="en-US" sz="850" dirty="0">
                  <a:solidFill>
                    <a:sysClr val="windowText" lastClr="000000"/>
                  </a:solidFill>
                </a:rPr>
                <a:t>, </a:t>
              </a:r>
              <a:r>
                <a:rPr lang="en-US" sz="850" dirty="0" err="1">
                  <a:solidFill>
                    <a:sysClr val="windowText" lastClr="000000"/>
                  </a:solidFill>
                </a:rPr>
                <a:t>consectetur</a:t>
              </a:r>
              <a:r>
                <a:rPr lang="en-US" sz="850" dirty="0">
                  <a:solidFill>
                    <a:sysClr val="windowText" lastClr="000000"/>
                  </a:solidFill>
                </a:rPr>
                <a:t> </a:t>
              </a:r>
              <a:r>
                <a:rPr lang="en-US" sz="850" dirty="0" err="1">
                  <a:solidFill>
                    <a:sysClr val="windowText" lastClr="000000"/>
                  </a:solidFill>
                </a:rPr>
                <a:t>adipiscing</a:t>
              </a:r>
              <a:r>
                <a:rPr lang="en-US" sz="850" dirty="0">
                  <a:solidFill>
                    <a:sysClr val="windowText" lastClr="000000"/>
                  </a:solidFill>
                </a:rPr>
                <a:t> </a:t>
              </a:r>
              <a:r>
                <a:rPr lang="en-US" sz="850" dirty="0" err="1">
                  <a:solidFill>
                    <a:sysClr val="windowText" lastClr="000000"/>
                  </a:solidFill>
                </a:rPr>
                <a:t>elit</a:t>
              </a:r>
              <a:r>
                <a:rPr lang="en-US" sz="850" dirty="0">
                  <a:solidFill>
                    <a:sysClr val="windowText" lastClr="000000"/>
                  </a:solidFill>
                </a:rPr>
                <a:t>, </a:t>
              </a:r>
              <a:r>
                <a:rPr lang="en-US" sz="850" dirty="0" err="1">
                  <a:solidFill>
                    <a:sysClr val="windowText" lastClr="000000"/>
                  </a:solidFill>
                </a:rPr>
                <a:t>sed</a:t>
              </a:r>
              <a:r>
                <a:rPr lang="en-US" sz="850" dirty="0">
                  <a:solidFill>
                    <a:sysClr val="windowText" lastClr="000000"/>
                  </a:solidFill>
                </a:rPr>
                <a:t> do </a:t>
              </a:r>
              <a:r>
                <a:rPr lang="en-US" sz="850" dirty="0" err="1">
                  <a:solidFill>
                    <a:sysClr val="windowText" lastClr="000000"/>
                  </a:solidFill>
                </a:rPr>
                <a:t>eiusmod</a:t>
              </a:r>
              <a:r>
                <a:rPr lang="en-US" sz="850" dirty="0">
                  <a:solidFill>
                    <a:sysClr val="windowText" lastClr="000000"/>
                  </a:solidFill>
                </a:rPr>
                <a:t> </a:t>
              </a:r>
              <a:r>
                <a:rPr lang="en-US" sz="850" dirty="0" err="1">
                  <a:solidFill>
                    <a:sysClr val="windowText" lastClr="000000"/>
                  </a:solidFill>
                </a:rPr>
                <a:t>te</a:t>
              </a:r>
              <a:endParaRPr lang="en-US" sz="850" dirty="0">
                <a:solidFill>
                  <a:sysClr val="windowText" lastClr="000000"/>
                </a:solidFill>
              </a:endParaRPr>
            </a:p>
          </p:txBody>
        </p:sp>
        <p:sp>
          <p:nvSpPr>
            <p:cNvPr id="30" name="Rectangle 29">
              <a:extLst>
                <a:ext uri="{FF2B5EF4-FFF2-40B4-BE49-F238E27FC236}">
                  <a16:creationId xmlns:a16="http://schemas.microsoft.com/office/drawing/2014/main" id="{8EBE2401-1AF9-874E-BECB-BA37FE6943EB}"/>
                </a:ext>
              </a:extLst>
            </p:cNvPr>
            <p:cNvSpPr/>
            <p:nvPr/>
          </p:nvSpPr>
          <p:spPr bwMode="gray">
            <a:xfrm>
              <a:off x="2154577" y="4542118"/>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GB" sz="850" dirty="0">
                  <a:solidFill>
                    <a:sysClr val="windowText" lastClr="000000"/>
                  </a:solidFill>
                </a:rPr>
                <a:t>Lorem ipsum </a:t>
              </a:r>
              <a:r>
                <a:rPr lang="en-GB" sz="850" dirty="0" err="1">
                  <a:solidFill>
                    <a:sysClr val="windowText" lastClr="000000"/>
                  </a:solidFill>
                </a:rPr>
                <a:t>dolor</a:t>
              </a:r>
              <a:r>
                <a:rPr lang="en-GB" sz="850" dirty="0">
                  <a:solidFill>
                    <a:sysClr val="windowText" lastClr="000000"/>
                  </a:solidFill>
                </a:rPr>
                <a:t> sit </a:t>
              </a:r>
              <a:r>
                <a:rPr lang="en-GB" sz="850" dirty="0" err="1">
                  <a:solidFill>
                    <a:sysClr val="windowText" lastClr="000000"/>
                  </a:solidFill>
                </a:rPr>
                <a:t>amet</a:t>
              </a:r>
              <a:r>
                <a:rPr lang="en-GB" sz="850" dirty="0">
                  <a:solidFill>
                    <a:sysClr val="windowText" lastClr="000000"/>
                  </a:solidFill>
                </a:rPr>
                <a:t>, </a:t>
              </a:r>
              <a:r>
                <a:rPr lang="en-GB" sz="850" dirty="0" err="1">
                  <a:solidFill>
                    <a:sysClr val="windowText" lastClr="000000"/>
                  </a:solidFill>
                </a:rPr>
                <a:t>consectetur</a:t>
              </a:r>
              <a:r>
                <a:rPr lang="en-GB" sz="850" dirty="0">
                  <a:solidFill>
                    <a:sysClr val="windowText" lastClr="000000"/>
                  </a:solidFill>
                </a:rPr>
                <a:t> </a:t>
              </a:r>
              <a:r>
                <a:rPr lang="en-GB" sz="850" dirty="0" err="1">
                  <a:solidFill>
                    <a:sysClr val="windowText" lastClr="000000"/>
                  </a:solidFill>
                </a:rPr>
                <a:t>adipiscing</a:t>
              </a:r>
              <a:r>
                <a:rPr lang="en-GB" sz="850" dirty="0">
                  <a:solidFill>
                    <a:sysClr val="windowText" lastClr="000000"/>
                  </a:solidFill>
                </a:rPr>
                <a:t> </a:t>
              </a:r>
              <a:r>
                <a:rPr lang="en-GB" sz="850" dirty="0" err="1">
                  <a:solidFill>
                    <a:sysClr val="windowText" lastClr="000000"/>
                  </a:solidFill>
                </a:rPr>
                <a:t>elit</a:t>
              </a:r>
              <a:r>
                <a:rPr lang="en-GB" sz="850" dirty="0">
                  <a:solidFill>
                    <a:sysClr val="windowText" lastClr="000000"/>
                  </a:solidFill>
                </a:rPr>
                <a:t>, </a:t>
              </a:r>
              <a:r>
                <a:rPr lang="en-GB" sz="850" dirty="0" err="1">
                  <a:solidFill>
                    <a:sysClr val="windowText" lastClr="000000"/>
                  </a:solidFill>
                </a:rPr>
                <a:t>sed</a:t>
              </a:r>
              <a:r>
                <a:rPr lang="en-GB" sz="850" dirty="0">
                  <a:solidFill>
                    <a:sysClr val="windowText" lastClr="000000"/>
                  </a:solidFill>
                </a:rPr>
                <a:t> do </a:t>
              </a:r>
              <a:r>
                <a:rPr lang="en-GB" sz="850" dirty="0" err="1">
                  <a:solidFill>
                    <a:sysClr val="windowText" lastClr="000000"/>
                  </a:solidFill>
                </a:rPr>
                <a:t>eiusmod</a:t>
              </a:r>
              <a:r>
                <a:rPr lang="en-GB" sz="850" dirty="0">
                  <a:solidFill>
                    <a:sysClr val="windowText" lastClr="000000"/>
                  </a:solidFill>
                </a:rPr>
                <a:t> </a:t>
              </a:r>
              <a:r>
                <a:rPr lang="en-GB" sz="850" dirty="0" err="1">
                  <a:solidFill>
                    <a:sysClr val="windowText" lastClr="000000"/>
                  </a:solidFill>
                </a:rPr>
                <a:t>te</a:t>
              </a:r>
              <a:endParaRPr lang="en-GB" sz="850" dirty="0">
                <a:solidFill>
                  <a:sysClr val="windowText" lastClr="000000"/>
                </a:solidFill>
              </a:endParaRPr>
            </a:p>
          </p:txBody>
        </p:sp>
        <p:sp>
          <p:nvSpPr>
            <p:cNvPr id="31" name="Rectangle 30">
              <a:extLst>
                <a:ext uri="{FF2B5EF4-FFF2-40B4-BE49-F238E27FC236}">
                  <a16:creationId xmlns:a16="http://schemas.microsoft.com/office/drawing/2014/main" id="{D7220DC0-1AFC-DC45-8C79-68361D6D4D35}"/>
                </a:ext>
              </a:extLst>
            </p:cNvPr>
            <p:cNvSpPr/>
            <p:nvPr/>
          </p:nvSpPr>
          <p:spPr bwMode="gray">
            <a:xfrm>
              <a:off x="2154577" y="3262804"/>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GB" sz="850" dirty="0">
                  <a:solidFill>
                    <a:sysClr val="windowText" lastClr="000000"/>
                  </a:solidFill>
                </a:rPr>
                <a:t>Lorem ipsum </a:t>
              </a:r>
              <a:r>
                <a:rPr lang="en-GB" sz="850" dirty="0" err="1">
                  <a:solidFill>
                    <a:sysClr val="windowText" lastClr="000000"/>
                  </a:solidFill>
                </a:rPr>
                <a:t>dolor</a:t>
              </a:r>
              <a:r>
                <a:rPr lang="en-GB" sz="850" dirty="0">
                  <a:solidFill>
                    <a:sysClr val="windowText" lastClr="000000"/>
                  </a:solidFill>
                </a:rPr>
                <a:t> sit </a:t>
              </a:r>
              <a:r>
                <a:rPr lang="en-GB" sz="850" dirty="0" err="1">
                  <a:solidFill>
                    <a:sysClr val="windowText" lastClr="000000"/>
                  </a:solidFill>
                </a:rPr>
                <a:t>amet</a:t>
              </a:r>
              <a:r>
                <a:rPr lang="en-GB" sz="850" dirty="0">
                  <a:solidFill>
                    <a:sysClr val="windowText" lastClr="000000"/>
                  </a:solidFill>
                </a:rPr>
                <a:t>, </a:t>
              </a:r>
              <a:r>
                <a:rPr lang="en-GB" sz="850" dirty="0" err="1">
                  <a:solidFill>
                    <a:sysClr val="windowText" lastClr="000000"/>
                  </a:solidFill>
                </a:rPr>
                <a:t>consectetur</a:t>
              </a:r>
              <a:r>
                <a:rPr lang="en-GB" sz="850" dirty="0">
                  <a:solidFill>
                    <a:sysClr val="windowText" lastClr="000000"/>
                  </a:solidFill>
                </a:rPr>
                <a:t> </a:t>
              </a:r>
              <a:r>
                <a:rPr lang="en-GB" sz="850" dirty="0" err="1">
                  <a:solidFill>
                    <a:sysClr val="windowText" lastClr="000000"/>
                  </a:solidFill>
                </a:rPr>
                <a:t>adipiscing</a:t>
              </a:r>
              <a:r>
                <a:rPr lang="en-GB" sz="850" dirty="0">
                  <a:solidFill>
                    <a:sysClr val="windowText" lastClr="000000"/>
                  </a:solidFill>
                </a:rPr>
                <a:t> </a:t>
              </a:r>
              <a:r>
                <a:rPr lang="en-GB" sz="850" dirty="0" err="1">
                  <a:solidFill>
                    <a:sysClr val="windowText" lastClr="000000"/>
                  </a:solidFill>
                </a:rPr>
                <a:t>elit</a:t>
              </a:r>
              <a:r>
                <a:rPr lang="en-GB" sz="850" dirty="0">
                  <a:solidFill>
                    <a:sysClr val="windowText" lastClr="000000"/>
                  </a:solidFill>
                </a:rPr>
                <a:t>, </a:t>
              </a:r>
              <a:r>
                <a:rPr lang="en-GB" sz="850" dirty="0" err="1">
                  <a:solidFill>
                    <a:sysClr val="windowText" lastClr="000000"/>
                  </a:solidFill>
                </a:rPr>
                <a:t>sed</a:t>
              </a:r>
              <a:r>
                <a:rPr lang="en-GB" sz="850" dirty="0">
                  <a:solidFill>
                    <a:sysClr val="windowText" lastClr="000000"/>
                  </a:solidFill>
                </a:rPr>
                <a:t> do </a:t>
              </a:r>
              <a:r>
                <a:rPr lang="en-GB" sz="850" dirty="0" err="1">
                  <a:solidFill>
                    <a:sysClr val="windowText" lastClr="000000"/>
                  </a:solidFill>
                </a:rPr>
                <a:t>eiusmod</a:t>
              </a:r>
              <a:r>
                <a:rPr lang="en-GB" sz="850" dirty="0">
                  <a:solidFill>
                    <a:sysClr val="windowText" lastClr="000000"/>
                  </a:solidFill>
                </a:rPr>
                <a:t> </a:t>
              </a:r>
              <a:r>
                <a:rPr lang="en-GB" sz="850" dirty="0" err="1">
                  <a:solidFill>
                    <a:sysClr val="windowText" lastClr="000000"/>
                  </a:solidFill>
                </a:rPr>
                <a:t>te</a:t>
              </a:r>
              <a:endParaRPr lang="en-GB" sz="850" dirty="0">
                <a:solidFill>
                  <a:sysClr val="windowText" lastClr="000000"/>
                </a:solidFill>
              </a:endParaRPr>
            </a:p>
          </p:txBody>
        </p:sp>
        <p:sp>
          <p:nvSpPr>
            <p:cNvPr id="32" name="Rectangle 31">
              <a:extLst>
                <a:ext uri="{FF2B5EF4-FFF2-40B4-BE49-F238E27FC236}">
                  <a16:creationId xmlns:a16="http://schemas.microsoft.com/office/drawing/2014/main" id="{52CC379D-6A82-E745-AB30-86F906A57860}"/>
                </a:ext>
              </a:extLst>
            </p:cNvPr>
            <p:cNvSpPr/>
            <p:nvPr/>
          </p:nvSpPr>
          <p:spPr bwMode="gray">
            <a:xfrm>
              <a:off x="2154577" y="3902461"/>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sz="850" dirty="0">
                  <a:solidFill>
                    <a:sysClr val="windowText" lastClr="000000"/>
                  </a:solidFill>
                </a:rPr>
                <a:t>Lorem ipsum dolor sit </a:t>
              </a:r>
              <a:r>
                <a:rPr lang="en-US" sz="850" dirty="0" err="1">
                  <a:solidFill>
                    <a:sysClr val="windowText" lastClr="000000"/>
                  </a:solidFill>
                </a:rPr>
                <a:t>amet</a:t>
              </a:r>
              <a:r>
                <a:rPr lang="en-US" sz="850" dirty="0">
                  <a:solidFill>
                    <a:sysClr val="windowText" lastClr="000000"/>
                  </a:solidFill>
                </a:rPr>
                <a:t>, </a:t>
              </a:r>
              <a:r>
                <a:rPr lang="en-US" sz="850" dirty="0" err="1">
                  <a:solidFill>
                    <a:sysClr val="windowText" lastClr="000000"/>
                  </a:solidFill>
                </a:rPr>
                <a:t>consectetur</a:t>
              </a:r>
              <a:r>
                <a:rPr lang="en-US" sz="850" dirty="0">
                  <a:solidFill>
                    <a:sysClr val="windowText" lastClr="000000"/>
                  </a:solidFill>
                </a:rPr>
                <a:t> </a:t>
              </a:r>
              <a:r>
                <a:rPr lang="en-US" sz="850" dirty="0" err="1">
                  <a:solidFill>
                    <a:sysClr val="windowText" lastClr="000000"/>
                  </a:solidFill>
                </a:rPr>
                <a:t>adipiscing</a:t>
              </a:r>
              <a:r>
                <a:rPr lang="en-US" sz="850" dirty="0">
                  <a:solidFill>
                    <a:sysClr val="windowText" lastClr="000000"/>
                  </a:solidFill>
                </a:rPr>
                <a:t> </a:t>
              </a:r>
              <a:r>
                <a:rPr lang="en-US" sz="850" dirty="0" err="1">
                  <a:solidFill>
                    <a:sysClr val="windowText" lastClr="000000"/>
                  </a:solidFill>
                </a:rPr>
                <a:t>elit</a:t>
              </a:r>
              <a:r>
                <a:rPr lang="en-US" sz="850" dirty="0">
                  <a:solidFill>
                    <a:sysClr val="windowText" lastClr="000000"/>
                  </a:solidFill>
                </a:rPr>
                <a:t>, </a:t>
              </a:r>
              <a:r>
                <a:rPr lang="en-US" sz="850" dirty="0" err="1">
                  <a:solidFill>
                    <a:sysClr val="windowText" lastClr="000000"/>
                  </a:solidFill>
                </a:rPr>
                <a:t>sed</a:t>
              </a:r>
              <a:r>
                <a:rPr lang="en-US" sz="850" dirty="0">
                  <a:solidFill>
                    <a:sysClr val="windowText" lastClr="000000"/>
                  </a:solidFill>
                </a:rPr>
                <a:t> do </a:t>
              </a:r>
              <a:r>
                <a:rPr lang="en-US" sz="850" dirty="0" err="1">
                  <a:solidFill>
                    <a:sysClr val="windowText" lastClr="000000"/>
                  </a:solidFill>
                </a:rPr>
                <a:t>eiusmod</a:t>
              </a:r>
              <a:r>
                <a:rPr lang="en-US" sz="850" dirty="0">
                  <a:solidFill>
                    <a:sysClr val="windowText" lastClr="000000"/>
                  </a:solidFill>
                </a:rPr>
                <a:t> </a:t>
              </a:r>
              <a:r>
                <a:rPr lang="en-US" sz="850" dirty="0" err="1">
                  <a:solidFill>
                    <a:sysClr val="windowText" lastClr="000000"/>
                  </a:solidFill>
                </a:rPr>
                <a:t>te</a:t>
              </a:r>
              <a:endParaRPr lang="en-US" sz="850" dirty="0">
                <a:solidFill>
                  <a:sysClr val="windowText" lastClr="000000"/>
                </a:solidFill>
              </a:endParaRPr>
            </a:p>
          </p:txBody>
        </p:sp>
        <p:sp>
          <p:nvSpPr>
            <p:cNvPr id="33" name="Rectangle 32">
              <a:extLst>
                <a:ext uri="{FF2B5EF4-FFF2-40B4-BE49-F238E27FC236}">
                  <a16:creationId xmlns:a16="http://schemas.microsoft.com/office/drawing/2014/main" id="{798DD66D-85A5-FF4D-9ED1-63BEBCE86885}"/>
                </a:ext>
              </a:extLst>
            </p:cNvPr>
            <p:cNvSpPr/>
            <p:nvPr/>
          </p:nvSpPr>
          <p:spPr bwMode="gray">
            <a:xfrm>
              <a:off x="2154577" y="5181775"/>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sz="850" dirty="0">
                  <a:solidFill>
                    <a:sysClr val="windowText" lastClr="000000"/>
                  </a:solidFill>
                </a:rPr>
                <a:t>Lorem ipsum dolor sit </a:t>
              </a:r>
              <a:r>
                <a:rPr lang="en-US" sz="850" dirty="0" err="1">
                  <a:solidFill>
                    <a:sysClr val="windowText" lastClr="000000"/>
                  </a:solidFill>
                </a:rPr>
                <a:t>amet</a:t>
              </a:r>
              <a:r>
                <a:rPr lang="en-US" sz="850" dirty="0">
                  <a:solidFill>
                    <a:sysClr val="windowText" lastClr="000000"/>
                  </a:solidFill>
                </a:rPr>
                <a:t>, </a:t>
              </a:r>
              <a:r>
                <a:rPr lang="en-US" sz="850" dirty="0" err="1">
                  <a:solidFill>
                    <a:sysClr val="windowText" lastClr="000000"/>
                  </a:solidFill>
                </a:rPr>
                <a:t>consectetur</a:t>
              </a:r>
              <a:r>
                <a:rPr lang="en-US" sz="850" dirty="0">
                  <a:solidFill>
                    <a:sysClr val="windowText" lastClr="000000"/>
                  </a:solidFill>
                </a:rPr>
                <a:t> </a:t>
              </a:r>
              <a:r>
                <a:rPr lang="en-US" sz="850" dirty="0" err="1">
                  <a:solidFill>
                    <a:sysClr val="windowText" lastClr="000000"/>
                  </a:solidFill>
                </a:rPr>
                <a:t>adipiscing</a:t>
              </a:r>
              <a:r>
                <a:rPr lang="en-US" sz="850" dirty="0">
                  <a:solidFill>
                    <a:sysClr val="windowText" lastClr="000000"/>
                  </a:solidFill>
                </a:rPr>
                <a:t> </a:t>
              </a:r>
              <a:r>
                <a:rPr lang="en-US" sz="850" dirty="0" err="1">
                  <a:solidFill>
                    <a:sysClr val="windowText" lastClr="000000"/>
                  </a:solidFill>
                </a:rPr>
                <a:t>elit</a:t>
              </a:r>
              <a:r>
                <a:rPr lang="en-US" sz="850" dirty="0">
                  <a:solidFill>
                    <a:sysClr val="windowText" lastClr="000000"/>
                  </a:solidFill>
                </a:rPr>
                <a:t>, </a:t>
              </a:r>
              <a:r>
                <a:rPr lang="en-US" sz="850" dirty="0" err="1">
                  <a:solidFill>
                    <a:sysClr val="windowText" lastClr="000000"/>
                  </a:solidFill>
                </a:rPr>
                <a:t>sed</a:t>
              </a:r>
              <a:r>
                <a:rPr lang="en-US" sz="850" dirty="0">
                  <a:solidFill>
                    <a:sysClr val="windowText" lastClr="000000"/>
                  </a:solidFill>
                </a:rPr>
                <a:t> do </a:t>
              </a:r>
              <a:r>
                <a:rPr lang="en-US" sz="850" dirty="0" err="1">
                  <a:solidFill>
                    <a:sysClr val="windowText" lastClr="000000"/>
                  </a:solidFill>
                </a:rPr>
                <a:t>eiusmod</a:t>
              </a:r>
              <a:r>
                <a:rPr lang="en-US" sz="850" dirty="0">
                  <a:solidFill>
                    <a:sysClr val="windowText" lastClr="000000"/>
                  </a:solidFill>
                </a:rPr>
                <a:t> </a:t>
              </a:r>
              <a:r>
                <a:rPr lang="en-US" sz="850" dirty="0" err="1">
                  <a:solidFill>
                    <a:sysClr val="windowText" lastClr="000000"/>
                  </a:solidFill>
                </a:rPr>
                <a:t>te</a:t>
              </a:r>
              <a:endParaRPr lang="en-US" sz="850" dirty="0">
                <a:solidFill>
                  <a:sysClr val="windowText" lastClr="000000"/>
                </a:solidFill>
              </a:endParaRPr>
            </a:p>
          </p:txBody>
        </p:sp>
        <p:sp>
          <p:nvSpPr>
            <p:cNvPr id="34" name="Rectangle 33">
              <a:extLst>
                <a:ext uri="{FF2B5EF4-FFF2-40B4-BE49-F238E27FC236}">
                  <a16:creationId xmlns:a16="http://schemas.microsoft.com/office/drawing/2014/main" id="{DF63F0EE-9137-9940-A4AC-3BDD84313CD4}"/>
                </a:ext>
              </a:extLst>
            </p:cNvPr>
            <p:cNvSpPr/>
            <p:nvPr/>
          </p:nvSpPr>
          <p:spPr bwMode="gray">
            <a:xfrm>
              <a:off x="2154577" y="5821429"/>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sz="850" dirty="0">
                  <a:solidFill>
                    <a:sysClr val="windowText" lastClr="000000"/>
                  </a:solidFill>
                </a:rPr>
                <a:t>Lorem ipsum dolor sit </a:t>
              </a:r>
              <a:r>
                <a:rPr lang="en-US" sz="850" dirty="0" err="1">
                  <a:solidFill>
                    <a:sysClr val="windowText" lastClr="000000"/>
                  </a:solidFill>
                </a:rPr>
                <a:t>amet</a:t>
              </a:r>
              <a:r>
                <a:rPr lang="en-US" sz="850" dirty="0">
                  <a:solidFill>
                    <a:sysClr val="windowText" lastClr="000000"/>
                  </a:solidFill>
                </a:rPr>
                <a:t>, </a:t>
              </a:r>
              <a:r>
                <a:rPr lang="en-US" sz="850" dirty="0" err="1">
                  <a:solidFill>
                    <a:sysClr val="windowText" lastClr="000000"/>
                  </a:solidFill>
                </a:rPr>
                <a:t>consectetur</a:t>
              </a:r>
              <a:r>
                <a:rPr lang="en-US" sz="850" dirty="0">
                  <a:solidFill>
                    <a:sysClr val="windowText" lastClr="000000"/>
                  </a:solidFill>
                </a:rPr>
                <a:t> </a:t>
              </a:r>
              <a:r>
                <a:rPr lang="en-US" sz="850" dirty="0" err="1">
                  <a:solidFill>
                    <a:sysClr val="windowText" lastClr="000000"/>
                  </a:solidFill>
                </a:rPr>
                <a:t>adipiscing</a:t>
              </a:r>
              <a:r>
                <a:rPr lang="en-US" sz="850" dirty="0">
                  <a:solidFill>
                    <a:sysClr val="windowText" lastClr="000000"/>
                  </a:solidFill>
                </a:rPr>
                <a:t> </a:t>
              </a:r>
              <a:r>
                <a:rPr lang="en-US" sz="850" dirty="0" err="1">
                  <a:solidFill>
                    <a:sysClr val="windowText" lastClr="000000"/>
                  </a:solidFill>
                </a:rPr>
                <a:t>elit</a:t>
              </a:r>
              <a:r>
                <a:rPr lang="en-US" sz="850" dirty="0">
                  <a:solidFill>
                    <a:sysClr val="windowText" lastClr="000000"/>
                  </a:solidFill>
                </a:rPr>
                <a:t>, </a:t>
              </a:r>
              <a:r>
                <a:rPr lang="en-US" sz="850" dirty="0" err="1">
                  <a:solidFill>
                    <a:sysClr val="windowText" lastClr="000000"/>
                  </a:solidFill>
                </a:rPr>
                <a:t>sed</a:t>
              </a:r>
              <a:r>
                <a:rPr lang="en-US" sz="850" dirty="0">
                  <a:solidFill>
                    <a:sysClr val="windowText" lastClr="000000"/>
                  </a:solidFill>
                </a:rPr>
                <a:t> do </a:t>
              </a:r>
              <a:r>
                <a:rPr lang="en-US" sz="850" dirty="0" err="1">
                  <a:solidFill>
                    <a:sysClr val="windowText" lastClr="000000"/>
                  </a:solidFill>
                </a:rPr>
                <a:t>eiusmod</a:t>
              </a:r>
              <a:r>
                <a:rPr lang="en-US" sz="850" dirty="0">
                  <a:solidFill>
                    <a:sysClr val="windowText" lastClr="000000"/>
                  </a:solidFill>
                </a:rPr>
                <a:t> </a:t>
              </a:r>
              <a:r>
                <a:rPr lang="en-US" sz="850" dirty="0" err="1">
                  <a:solidFill>
                    <a:sysClr val="windowText" lastClr="000000"/>
                  </a:solidFill>
                </a:rPr>
                <a:t>te</a:t>
              </a:r>
              <a:endParaRPr lang="en-US" sz="850" dirty="0">
                <a:solidFill>
                  <a:sysClr val="windowText" lastClr="000000"/>
                </a:solidFill>
              </a:endParaRPr>
            </a:p>
          </p:txBody>
        </p:sp>
        <p:cxnSp>
          <p:nvCxnSpPr>
            <p:cNvPr id="35" name="Elbow Connector 34">
              <a:extLst>
                <a:ext uri="{FF2B5EF4-FFF2-40B4-BE49-F238E27FC236}">
                  <a16:creationId xmlns:a16="http://schemas.microsoft.com/office/drawing/2014/main" id="{39CDD5B6-3CB9-584B-9F17-94CB49420659}"/>
                </a:ext>
              </a:extLst>
            </p:cNvPr>
            <p:cNvCxnSpPr>
              <a:stCxn id="20" idx="2"/>
              <a:endCxn id="41" idx="2"/>
            </p:cNvCxnSpPr>
            <p:nvPr/>
          </p:nvCxnSpPr>
          <p:spPr>
            <a:xfrm rot="16200000" flipH="1">
              <a:off x="-213412" y="4048070"/>
              <a:ext cx="2953788" cy="1095850"/>
            </a:xfrm>
            <a:prstGeom prst="bentConnector2">
              <a:avLst/>
            </a:prstGeom>
            <a:noFill/>
            <a:ln w="6350" cap="flat" cmpd="sng" algn="ctr">
              <a:solidFill>
                <a:srgbClr val="75787B"/>
              </a:solidFill>
              <a:prstDash val="solid"/>
              <a:headEnd type="none" w="med" len="med"/>
              <a:tailEnd type="triangle" w="med" len="med"/>
            </a:ln>
            <a:effectLst/>
          </p:spPr>
        </p:cxnSp>
        <p:cxnSp>
          <p:nvCxnSpPr>
            <p:cNvPr id="36" name="Elbow Connector 35">
              <a:extLst>
                <a:ext uri="{FF2B5EF4-FFF2-40B4-BE49-F238E27FC236}">
                  <a16:creationId xmlns:a16="http://schemas.microsoft.com/office/drawing/2014/main" id="{DB623B13-ED8B-084C-B94A-4CC3515B0265}"/>
                </a:ext>
              </a:extLst>
            </p:cNvPr>
            <p:cNvCxnSpPr>
              <a:stCxn id="19" idx="2"/>
              <a:endCxn id="42" idx="2"/>
            </p:cNvCxnSpPr>
            <p:nvPr/>
          </p:nvCxnSpPr>
          <p:spPr>
            <a:xfrm rot="16200000" flipH="1">
              <a:off x="220926" y="3842754"/>
              <a:ext cx="2314134" cy="866828"/>
            </a:xfrm>
            <a:prstGeom prst="bentConnector2">
              <a:avLst/>
            </a:prstGeom>
            <a:noFill/>
            <a:ln w="6350" cap="flat" cmpd="sng" algn="ctr">
              <a:solidFill>
                <a:srgbClr val="75787B"/>
              </a:solidFill>
              <a:prstDash val="solid"/>
              <a:headEnd type="none" w="med" len="med"/>
              <a:tailEnd type="triangle" w="med" len="med"/>
            </a:ln>
            <a:effectLst/>
          </p:spPr>
        </p:cxnSp>
        <p:cxnSp>
          <p:nvCxnSpPr>
            <p:cNvPr id="37" name="Elbow Connector 36">
              <a:extLst>
                <a:ext uri="{FF2B5EF4-FFF2-40B4-BE49-F238E27FC236}">
                  <a16:creationId xmlns:a16="http://schemas.microsoft.com/office/drawing/2014/main" id="{B2636AD7-C1DD-A84A-9558-3F24A205D9BE}"/>
                </a:ext>
              </a:extLst>
            </p:cNvPr>
            <p:cNvCxnSpPr>
              <a:stCxn id="18" idx="2"/>
              <a:endCxn id="43" idx="2"/>
            </p:cNvCxnSpPr>
            <p:nvPr/>
          </p:nvCxnSpPr>
          <p:spPr>
            <a:xfrm rot="16200000" flipH="1">
              <a:off x="655266" y="3637436"/>
              <a:ext cx="1674477" cy="637806"/>
            </a:xfrm>
            <a:prstGeom prst="bentConnector2">
              <a:avLst/>
            </a:prstGeom>
            <a:noFill/>
            <a:ln w="6350" cap="flat" cmpd="sng" algn="ctr">
              <a:solidFill>
                <a:srgbClr val="75787B"/>
              </a:solidFill>
              <a:prstDash val="solid"/>
              <a:headEnd type="none" w="med" len="med"/>
              <a:tailEnd type="triangle" w="med" len="med"/>
            </a:ln>
            <a:effectLst/>
          </p:spPr>
        </p:cxnSp>
        <p:cxnSp>
          <p:nvCxnSpPr>
            <p:cNvPr id="38" name="Elbow Connector 37">
              <a:extLst>
                <a:ext uri="{FF2B5EF4-FFF2-40B4-BE49-F238E27FC236}">
                  <a16:creationId xmlns:a16="http://schemas.microsoft.com/office/drawing/2014/main" id="{A65593C5-502E-6E4E-8D8D-5EDEE511EBD7}"/>
                </a:ext>
              </a:extLst>
            </p:cNvPr>
            <p:cNvCxnSpPr>
              <a:stCxn id="17" idx="2"/>
              <a:endCxn id="44" idx="2"/>
            </p:cNvCxnSpPr>
            <p:nvPr/>
          </p:nvCxnSpPr>
          <p:spPr>
            <a:xfrm rot="16200000" flipH="1">
              <a:off x="1089604" y="3432118"/>
              <a:ext cx="1034820" cy="408785"/>
            </a:xfrm>
            <a:prstGeom prst="bentConnector2">
              <a:avLst/>
            </a:prstGeom>
            <a:noFill/>
            <a:ln w="6350" cap="flat" cmpd="sng" algn="ctr">
              <a:solidFill>
                <a:srgbClr val="75787B"/>
              </a:solidFill>
              <a:prstDash val="solid"/>
              <a:headEnd type="none" w="med" len="med"/>
              <a:tailEnd type="triangle" w="med" len="med"/>
            </a:ln>
            <a:effectLst/>
          </p:spPr>
        </p:cxnSp>
        <p:sp>
          <p:nvSpPr>
            <p:cNvPr id="39" name="Oval 38">
              <a:extLst>
                <a:ext uri="{FF2B5EF4-FFF2-40B4-BE49-F238E27FC236}">
                  <a16:creationId xmlns:a16="http://schemas.microsoft.com/office/drawing/2014/main" id="{67DF2DD7-59E4-B44E-8B9C-5CDFA32C2408}"/>
                </a:ext>
              </a:extLst>
            </p:cNvPr>
            <p:cNvSpPr/>
            <p:nvPr/>
          </p:nvSpPr>
          <p:spPr bwMode="gray">
            <a:xfrm>
              <a:off x="1811407" y="3238039"/>
              <a:ext cx="552450" cy="552450"/>
            </a:xfrm>
            <a:prstGeom prst="ellipse">
              <a:avLst/>
            </a:prstGeom>
            <a:solidFill>
              <a:srgbClr val="046A3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0" name="Oval 39">
              <a:extLst>
                <a:ext uri="{FF2B5EF4-FFF2-40B4-BE49-F238E27FC236}">
                  <a16:creationId xmlns:a16="http://schemas.microsoft.com/office/drawing/2014/main" id="{35247E1B-FC9E-1243-953B-0A2526412EEE}"/>
                </a:ext>
              </a:extLst>
            </p:cNvPr>
            <p:cNvSpPr/>
            <p:nvPr/>
          </p:nvSpPr>
          <p:spPr bwMode="gray">
            <a:xfrm>
              <a:off x="1811407" y="2598382"/>
              <a:ext cx="552450" cy="552450"/>
            </a:xfrm>
            <a:prstGeom prst="ellipse">
              <a:avLst/>
            </a:prstGeom>
            <a:solidFill>
              <a:srgbClr val="0076A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1" name="Oval 40">
              <a:extLst>
                <a:ext uri="{FF2B5EF4-FFF2-40B4-BE49-F238E27FC236}">
                  <a16:creationId xmlns:a16="http://schemas.microsoft.com/office/drawing/2014/main" id="{B6373660-43E1-E242-BDC1-7106C34D71CD}"/>
                </a:ext>
              </a:extLst>
            </p:cNvPr>
            <p:cNvSpPr/>
            <p:nvPr/>
          </p:nvSpPr>
          <p:spPr bwMode="gray">
            <a:xfrm>
              <a:off x="1811407" y="5796664"/>
              <a:ext cx="552450" cy="552450"/>
            </a:xfrm>
            <a:prstGeom prst="ellipse">
              <a:avLst/>
            </a:prstGeom>
            <a:solidFill>
              <a:srgbClr val="86BC25"/>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2" name="Oval 41">
              <a:extLst>
                <a:ext uri="{FF2B5EF4-FFF2-40B4-BE49-F238E27FC236}">
                  <a16:creationId xmlns:a16="http://schemas.microsoft.com/office/drawing/2014/main" id="{B2CF660A-7225-2B42-893E-AB0C03D358A0}"/>
                </a:ext>
              </a:extLst>
            </p:cNvPr>
            <p:cNvSpPr/>
            <p:nvPr/>
          </p:nvSpPr>
          <p:spPr bwMode="gray">
            <a:xfrm>
              <a:off x="1811407" y="5157010"/>
              <a:ext cx="552450" cy="552450"/>
            </a:xfrm>
            <a:prstGeom prst="ellipse">
              <a:avLst/>
            </a:prstGeom>
            <a:solidFill>
              <a:srgbClr val="86BC25"/>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3" name="Oval 42">
              <a:extLst>
                <a:ext uri="{FF2B5EF4-FFF2-40B4-BE49-F238E27FC236}">
                  <a16:creationId xmlns:a16="http://schemas.microsoft.com/office/drawing/2014/main" id="{D3361F2B-DBCE-3B4D-8F23-58E8077EC2AB}"/>
                </a:ext>
              </a:extLst>
            </p:cNvPr>
            <p:cNvSpPr/>
            <p:nvPr/>
          </p:nvSpPr>
          <p:spPr bwMode="gray">
            <a:xfrm>
              <a:off x="1811407" y="4517353"/>
              <a:ext cx="552450" cy="552450"/>
            </a:xfrm>
            <a:prstGeom prst="ellipse">
              <a:avLst/>
            </a:prstGeom>
            <a:solidFill>
              <a:srgbClr val="0076A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4" name="Oval 43">
              <a:extLst>
                <a:ext uri="{FF2B5EF4-FFF2-40B4-BE49-F238E27FC236}">
                  <a16:creationId xmlns:a16="http://schemas.microsoft.com/office/drawing/2014/main" id="{1D6CBCB3-937F-B44D-A3A5-CADE1F08C039}"/>
                </a:ext>
              </a:extLst>
            </p:cNvPr>
            <p:cNvSpPr/>
            <p:nvPr/>
          </p:nvSpPr>
          <p:spPr bwMode="gray">
            <a:xfrm>
              <a:off x="1811407" y="3877696"/>
              <a:ext cx="552450" cy="552450"/>
            </a:xfrm>
            <a:prstGeom prst="ellipse">
              <a:avLst/>
            </a:prstGeom>
            <a:solidFill>
              <a:srgbClr val="0076A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5" name="Oval 44">
              <a:extLst>
                <a:ext uri="{FF2B5EF4-FFF2-40B4-BE49-F238E27FC236}">
                  <a16:creationId xmlns:a16="http://schemas.microsoft.com/office/drawing/2014/main" id="{EDD572A4-85EB-1F4C-9005-31AAA7C6DD9F}"/>
                </a:ext>
              </a:extLst>
            </p:cNvPr>
            <p:cNvSpPr/>
            <p:nvPr/>
          </p:nvSpPr>
          <p:spPr bwMode="gray">
            <a:xfrm flipV="1">
              <a:off x="1811407" y="39754"/>
              <a:ext cx="552450" cy="552450"/>
            </a:xfrm>
            <a:prstGeom prst="ellipse">
              <a:avLst/>
            </a:prstGeom>
            <a:solidFill>
              <a:srgbClr val="86BC25"/>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6" name="Oval 45">
              <a:extLst>
                <a:ext uri="{FF2B5EF4-FFF2-40B4-BE49-F238E27FC236}">
                  <a16:creationId xmlns:a16="http://schemas.microsoft.com/office/drawing/2014/main" id="{2B278092-DB35-CC44-BE1A-FCBFE4C78961}"/>
                </a:ext>
              </a:extLst>
            </p:cNvPr>
            <p:cNvSpPr/>
            <p:nvPr/>
          </p:nvSpPr>
          <p:spPr bwMode="gray">
            <a:xfrm flipV="1">
              <a:off x="1811407" y="679408"/>
              <a:ext cx="552450" cy="552450"/>
            </a:xfrm>
            <a:prstGeom prst="ellipse">
              <a:avLst/>
            </a:prstGeom>
            <a:solidFill>
              <a:srgbClr val="046A3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7" name="Oval 46">
              <a:extLst>
                <a:ext uri="{FF2B5EF4-FFF2-40B4-BE49-F238E27FC236}">
                  <a16:creationId xmlns:a16="http://schemas.microsoft.com/office/drawing/2014/main" id="{2614508F-4AA1-414E-B1E2-DA7151EDD229}"/>
                </a:ext>
              </a:extLst>
            </p:cNvPr>
            <p:cNvSpPr/>
            <p:nvPr/>
          </p:nvSpPr>
          <p:spPr bwMode="gray">
            <a:xfrm flipV="1">
              <a:off x="1811407" y="1319065"/>
              <a:ext cx="552450" cy="552450"/>
            </a:xfrm>
            <a:prstGeom prst="ellipse">
              <a:avLst/>
            </a:prstGeom>
            <a:solidFill>
              <a:srgbClr val="046A3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8" name="Oval 47">
              <a:extLst>
                <a:ext uri="{FF2B5EF4-FFF2-40B4-BE49-F238E27FC236}">
                  <a16:creationId xmlns:a16="http://schemas.microsoft.com/office/drawing/2014/main" id="{32103070-FBCF-0540-9603-71B5E9C46E8C}"/>
                </a:ext>
              </a:extLst>
            </p:cNvPr>
            <p:cNvSpPr/>
            <p:nvPr/>
          </p:nvSpPr>
          <p:spPr bwMode="gray">
            <a:xfrm flipV="1">
              <a:off x="1811407" y="1958722"/>
              <a:ext cx="552450" cy="552450"/>
            </a:xfrm>
            <a:prstGeom prst="ellipse">
              <a:avLst/>
            </a:prstGeom>
            <a:solidFill>
              <a:srgbClr val="046A3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cxnSp>
          <p:nvCxnSpPr>
            <p:cNvPr id="49" name="Elbow Connector 48">
              <a:extLst>
                <a:ext uri="{FF2B5EF4-FFF2-40B4-BE49-F238E27FC236}">
                  <a16:creationId xmlns:a16="http://schemas.microsoft.com/office/drawing/2014/main" id="{CF4F734C-CA68-B64A-81B0-705DA3B5BD85}"/>
                </a:ext>
              </a:extLst>
            </p:cNvPr>
            <p:cNvCxnSpPr>
              <a:stCxn id="24" idx="2"/>
              <a:endCxn id="45" idx="2"/>
            </p:cNvCxnSpPr>
            <p:nvPr/>
          </p:nvCxnSpPr>
          <p:spPr>
            <a:xfrm rot="5400000" flipH="1" flipV="1">
              <a:off x="-213412" y="1244948"/>
              <a:ext cx="2953788" cy="1095850"/>
            </a:xfrm>
            <a:prstGeom prst="bentConnector2">
              <a:avLst/>
            </a:prstGeom>
            <a:noFill/>
            <a:ln w="6350" cap="flat" cmpd="sng" algn="ctr">
              <a:solidFill>
                <a:srgbClr val="75787B"/>
              </a:solidFill>
              <a:prstDash val="solid"/>
              <a:headEnd type="none" w="med" len="med"/>
              <a:tailEnd type="triangle" w="med" len="med"/>
            </a:ln>
            <a:effectLst/>
          </p:spPr>
        </p:cxnSp>
        <p:cxnSp>
          <p:nvCxnSpPr>
            <p:cNvPr id="50" name="Elbow Connector 49">
              <a:extLst>
                <a:ext uri="{FF2B5EF4-FFF2-40B4-BE49-F238E27FC236}">
                  <a16:creationId xmlns:a16="http://schemas.microsoft.com/office/drawing/2014/main" id="{62704933-3439-744E-9B41-BFC47DD7DB9C}"/>
                </a:ext>
              </a:extLst>
            </p:cNvPr>
            <p:cNvCxnSpPr>
              <a:stCxn id="23" idx="2"/>
              <a:endCxn id="46" idx="2"/>
            </p:cNvCxnSpPr>
            <p:nvPr/>
          </p:nvCxnSpPr>
          <p:spPr>
            <a:xfrm rot="5400000" flipH="1" flipV="1">
              <a:off x="220926" y="1679286"/>
              <a:ext cx="2314134" cy="866828"/>
            </a:xfrm>
            <a:prstGeom prst="bentConnector2">
              <a:avLst/>
            </a:prstGeom>
            <a:noFill/>
            <a:ln w="6350" cap="flat" cmpd="sng" algn="ctr">
              <a:solidFill>
                <a:srgbClr val="75787B"/>
              </a:solidFill>
              <a:prstDash val="solid"/>
              <a:headEnd type="none" w="med" len="med"/>
              <a:tailEnd type="triangle" w="med" len="med"/>
            </a:ln>
            <a:effectLst/>
          </p:spPr>
        </p:cxnSp>
        <p:cxnSp>
          <p:nvCxnSpPr>
            <p:cNvPr id="51" name="Elbow Connector 50">
              <a:extLst>
                <a:ext uri="{FF2B5EF4-FFF2-40B4-BE49-F238E27FC236}">
                  <a16:creationId xmlns:a16="http://schemas.microsoft.com/office/drawing/2014/main" id="{EEDA39FD-BDE3-EF4A-B467-139969AD8CB1}"/>
                </a:ext>
              </a:extLst>
            </p:cNvPr>
            <p:cNvCxnSpPr>
              <a:stCxn id="22" idx="2"/>
              <a:endCxn id="47" idx="2"/>
            </p:cNvCxnSpPr>
            <p:nvPr/>
          </p:nvCxnSpPr>
          <p:spPr>
            <a:xfrm rot="5400000" flipH="1" flipV="1">
              <a:off x="655266" y="2113626"/>
              <a:ext cx="1674477" cy="637806"/>
            </a:xfrm>
            <a:prstGeom prst="bentConnector2">
              <a:avLst/>
            </a:prstGeom>
            <a:noFill/>
            <a:ln w="6350" cap="flat" cmpd="sng" algn="ctr">
              <a:solidFill>
                <a:srgbClr val="75787B"/>
              </a:solidFill>
              <a:prstDash val="solid"/>
              <a:headEnd type="none" w="med" len="med"/>
              <a:tailEnd type="triangle" w="med" len="med"/>
            </a:ln>
            <a:effectLst/>
          </p:spPr>
        </p:cxnSp>
        <p:cxnSp>
          <p:nvCxnSpPr>
            <p:cNvPr id="64" name="Elbow Connector 63">
              <a:extLst>
                <a:ext uri="{FF2B5EF4-FFF2-40B4-BE49-F238E27FC236}">
                  <a16:creationId xmlns:a16="http://schemas.microsoft.com/office/drawing/2014/main" id="{847BC7EC-0E77-2E44-8031-32278D1B7497}"/>
                </a:ext>
              </a:extLst>
            </p:cNvPr>
            <p:cNvCxnSpPr>
              <a:stCxn id="21" idx="2"/>
              <a:endCxn id="48" idx="2"/>
            </p:cNvCxnSpPr>
            <p:nvPr/>
          </p:nvCxnSpPr>
          <p:spPr>
            <a:xfrm rot="5400000" flipH="1" flipV="1">
              <a:off x="1089604" y="2547965"/>
              <a:ext cx="1034820" cy="408785"/>
            </a:xfrm>
            <a:prstGeom prst="bentConnector2">
              <a:avLst/>
            </a:prstGeom>
            <a:noFill/>
            <a:ln w="6350" cap="flat" cmpd="sng" algn="ctr">
              <a:solidFill>
                <a:srgbClr val="75787B"/>
              </a:solidFill>
              <a:prstDash val="solid"/>
              <a:headEnd type="none" w="med" len="med"/>
              <a:tailEnd type="triangle" w="med" len="med"/>
            </a:ln>
            <a:effectLst/>
          </p:spPr>
        </p:cxnSp>
        <p:grpSp>
          <p:nvGrpSpPr>
            <p:cNvPr id="65" name="Group 64">
              <a:extLst>
                <a:ext uri="{FF2B5EF4-FFF2-40B4-BE49-F238E27FC236}">
                  <a16:creationId xmlns:a16="http://schemas.microsoft.com/office/drawing/2014/main" id="{A63A6E12-C50E-8D49-A9AB-E32514B5B34C}"/>
                </a:ext>
              </a:extLst>
            </p:cNvPr>
            <p:cNvGrpSpPr/>
            <p:nvPr/>
          </p:nvGrpSpPr>
          <p:grpSpPr>
            <a:xfrm>
              <a:off x="376238" y="2589862"/>
              <a:ext cx="1209144" cy="1209144"/>
              <a:chOff x="746442" y="2197259"/>
              <a:chExt cx="1568134" cy="1568134"/>
            </a:xfrm>
          </p:grpSpPr>
          <p:sp>
            <p:nvSpPr>
              <p:cNvPr id="182" name="Oval 181">
                <a:extLst>
                  <a:ext uri="{FF2B5EF4-FFF2-40B4-BE49-F238E27FC236}">
                    <a16:creationId xmlns:a16="http://schemas.microsoft.com/office/drawing/2014/main" id="{31A6CA74-3C20-DD4F-9799-CDA7612DE5DE}"/>
                  </a:ext>
                </a:extLst>
              </p:cNvPr>
              <p:cNvSpPr/>
              <p:nvPr/>
            </p:nvSpPr>
            <p:spPr bwMode="gray">
              <a:xfrm>
                <a:off x="746442" y="2197259"/>
                <a:ext cx="1568134" cy="1568134"/>
              </a:xfrm>
              <a:prstGeom prst="ellipse">
                <a:avLst/>
              </a:prstGeom>
              <a:solidFill>
                <a:srgbClr val="0097A9"/>
              </a:solidFill>
              <a:ln w="19050" algn="ctr">
                <a:noFill/>
                <a:miter lim="800000"/>
                <a:headEnd/>
                <a:tailEnd/>
              </a:ln>
            </p:spPr>
            <p:txBody>
              <a:bodyPr rot="0" spcFirstLastPara="0" vert="horz" wrap="non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000" b="1" dirty="0">
                  <a:solidFill>
                    <a:sysClr val="window" lastClr="FFFFFF"/>
                  </a:solidFill>
                </a:endParaRPr>
              </a:p>
            </p:txBody>
          </p:sp>
          <p:sp>
            <p:nvSpPr>
              <p:cNvPr id="183" name="Oval 182">
                <a:extLst>
                  <a:ext uri="{FF2B5EF4-FFF2-40B4-BE49-F238E27FC236}">
                    <a16:creationId xmlns:a16="http://schemas.microsoft.com/office/drawing/2014/main" id="{E471FE3A-7D0B-3A49-B6AC-E42F5E01E06A}"/>
                  </a:ext>
                </a:extLst>
              </p:cNvPr>
              <p:cNvSpPr/>
              <p:nvPr/>
            </p:nvSpPr>
            <p:spPr bwMode="gray">
              <a:xfrm>
                <a:off x="844711" y="2295528"/>
                <a:ext cx="1371598" cy="1371598"/>
              </a:xfrm>
              <a:prstGeom prst="ellipse">
                <a:avLst/>
              </a:prstGeom>
              <a:solidFill>
                <a:sysClr val="window" lastClr="FFFFFF"/>
              </a:solidFill>
              <a:ln w="19050" algn="ctr">
                <a:noFill/>
                <a:miter lim="800000"/>
                <a:headEnd/>
                <a:tailEnd/>
              </a:ln>
            </p:spPr>
            <p:txBody>
              <a:bodyPr rot="0" spcFirstLastPara="0" vert="horz" wrap="non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Wingdings 2" pitchFamily="18" charset="2"/>
                  <a:buNone/>
                  <a:defRPr/>
                </a:pPr>
                <a:r>
                  <a:rPr lang="en-GB" sz="1000" b="1" dirty="0">
                    <a:solidFill>
                      <a:srgbClr val="0097A9"/>
                    </a:solidFill>
                  </a:rPr>
                  <a:t>Lorem ipsum d</a:t>
                </a:r>
              </a:p>
              <a:p>
                <a:pPr algn="ctr">
                  <a:buFont typeface="Wingdings 2" pitchFamily="18" charset="2"/>
                  <a:buNone/>
                  <a:defRPr/>
                </a:pPr>
                <a:r>
                  <a:rPr lang="en-GB" sz="1000" b="1" dirty="0" err="1">
                    <a:solidFill>
                      <a:srgbClr val="0097A9"/>
                    </a:solidFill>
                  </a:rPr>
                  <a:t>olor</a:t>
                </a:r>
                <a:r>
                  <a:rPr lang="en-GB" sz="1000" b="1" dirty="0">
                    <a:solidFill>
                      <a:srgbClr val="0097A9"/>
                    </a:solidFill>
                  </a:rPr>
                  <a:t> sit </a:t>
                </a:r>
                <a:r>
                  <a:rPr lang="en-GB" sz="1000" b="1" dirty="0" err="1">
                    <a:solidFill>
                      <a:srgbClr val="0097A9"/>
                    </a:solidFill>
                  </a:rPr>
                  <a:t>amet</a:t>
                </a:r>
                <a:r>
                  <a:rPr lang="en-GB" sz="1000" b="1" dirty="0">
                    <a:solidFill>
                      <a:srgbClr val="0097A9"/>
                    </a:solidFill>
                  </a:rPr>
                  <a:t>, </a:t>
                </a:r>
              </a:p>
              <a:p>
                <a:pPr algn="ctr">
                  <a:buFont typeface="Wingdings 2" pitchFamily="18" charset="2"/>
                  <a:buNone/>
                  <a:defRPr/>
                </a:pPr>
                <a:r>
                  <a:rPr lang="en-GB" sz="1000" b="1" dirty="0" err="1">
                    <a:solidFill>
                      <a:srgbClr val="0097A9"/>
                    </a:solidFill>
                  </a:rPr>
                  <a:t>consect</a:t>
                </a:r>
                <a:endParaRPr lang="en-GB" sz="1000" b="1" dirty="0">
                  <a:solidFill>
                    <a:srgbClr val="0097A9"/>
                  </a:solidFill>
                </a:endParaRPr>
              </a:p>
            </p:txBody>
          </p:sp>
        </p:grpSp>
        <p:sp>
          <p:nvSpPr>
            <p:cNvPr id="66" name="Rounded Rectangle 147">
              <a:extLst>
                <a:ext uri="{FF2B5EF4-FFF2-40B4-BE49-F238E27FC236}">
                  <a16:creationId xmlns:a16="http://schemas.microsoft.com/office/drawing/2014/main" id="{4F4C3109-AD15-9049-8707-331C3B84F900}"/>
                </a:ext>
              </a:extLst>
            </p:cNvPr>
            <p:cNvSpPr/>
            <p:nvPr/>
          </p:nvSpPr>
          <p:spPr bwMode="gray">
            <a:xfrm>
              <a:off x="5522317" y="182101"/>
              <a:ext cx="1547328" cy="1138773"/>
            </a:xfrm>
            <a:prstGeom prst="rect">
              <a:avLst/>
            </a:prstGeom>
            <a:solidFill>
              <a:srgbClr val="75787B"/>
            </a:solidFill>
            <a:ln w="19050" algn="ctr">
              <a:noFill/>
              <a:miter lim="800000"/>
              <a:headEnd/>
              <a:tailEnd/>
            </a:ln>
          </p:spPr>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00"/>
                </a:spcAft>
                <a:defRPr/>
              </a:pPr>
              <a:r>
                <a:rPr lang="en-US" sz="850" dirty="0">
                  <a:solidFill>
                    <a:sysClr val="window" lastClr="FFFFFF"/>
                  </a:solidFill>
                </a:rPr>
                <a:t>Lorem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a:t>
              </a:r>
              <a:endParaRPr lang="en-GB" sz="850" dirty="0">
                <a:solidFill>
                  <a:sysClr val="window" lastClr="FFFFFF"/>
                </a:solidFill>
              </a:endParaRPr>
            </a:p>
          </p:txBody>
        </p:sp>
        <p:sp>
          <p:nvSpPr>
            <p:cNvPr id="67" name="Rounded Rectangle 214">
              <a:extLst>
                <a:ext uri="{FF2B5EF4-FFF2-40B4-BE49-F238E27FC236}">
                  <a16:creationId xmlns:a16="http://schemas.microsoft.com/office/drawing/2014/main" id="{CFECD91D-E306-0B4E-96F3-05DF838E67AF}"/>
                </a:ext>
              </a:extLst>
            </p:cNvPr>
            <p:cNvSpPr/>
            <p:nvPr/>
          </p:nvSpPr>
          <p:spPr bwMode="gray">
            <a:xfrm>
              <a:off x="5522317" y="1517387"/>
              <a:ext cx="1547328" cy="1138773"/>
            </a:xfrm>
            <a:prstGeom prst="rect">
              <a:avLst/>
            </a:prstGeom>
            <a:solidFill>
              <a:srgbClr val="75787B"/>
            </a:solidFill>
            <a:ln w="19050" algn="ctr">
              <a:noFill/>
              <a:miter lim="800000"/>
              <a:headEnd/>
              <a:tailEnd/>
            </a:ln>
          </p:spPr>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00"/>
                </a:spcAft>
                <a:defRPr/>
              </a:pPr>
              <a:r>
                <a:rPr lang="en-US" sz="850" dirty="0">
                  <a:solidFill>
                    <a:sysClr val="window" lastClr="FFFFFF"/>
                  </a:solidFill>
                </a:rPr>
                <a:t>Lorem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a:t>
              </a:r>
              <a:endParaRPr lang="en-US" sz="850" dirty="0">
                <a:solidFill>
                  <a:sysClr val="window" lastClr="FFFFFF"/>
                </a:solidFill>
              </a:endParaRPr>
            </a:p>
          </p:txBody>
        </p:sp>
        <p:sp>
          <p:nvSpPr>
            <p:cNvPr id="68" name="Rounded Rectangle 215">
              <a:extLst>
                <a:ext uri="{FF2B5EF4-FFF2-40B4-BE49-F238E27FC236}">
                  <a16:creationId xmlns:a16="http://schemas.microsoft.com/office/drawing/2014/main" id="{D6278452-661D-5C43-926C-189B951C7CD7}"/>
                </a:ext>
              </a:extLst>
            </p:cNvPr>
            <p:cNvSpPr/>
            <p:nvPr/>
          </p:nvSpPr>
          <p:spPr bwMode="gray">
            <a:xfrm>
              <a:off x="5522317" y="2801377"/>
              <a:ext cx="1547328" cy="877163"/>
            </a:xfrm>
            <a:prstGeom prst="rect">
              <a:avLst/>
            </a:prstGeom>
            <a:solidFill>
              <a:srgbClr val="75787B"/>
            </a:solidFill>
            <a:ln w="19050" algn="ctr">
              <a:noFill/>
              <a:miter lim="800000"/>
              <a:headEnd/>
              <a:tailEnd/>
            </a:ln>
          </p:spPr>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00"/>
                </a:spcAft>
                <a:defRPr/>
              </a:pPr>
              <a:r>
                <a:rPr lang="en-US" sz="850" dirty="0">
                  <a:solidFill>
                    <a:sysClr val="window" lastClr="FFFFFF"/>
                  </a:solidFill>
                </a:rPr>
                <a:t>Lorem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a:t>
              </a:r>
              <a:endParaRPr lang="en-US" sz="850" dirty="0">
                <a:solidFill>
                  <a:sysClr val="window" lastClr="FFFFFF"/>
                </a:solidFill>
              </a:endParaRPr>
            </a:p>
          </p:txBody>
        </p:sp>
        <p:sp>
          <p:nvSpPr>
            <p:cNvPr id="69" name="Rounded Rectangle 216">
              <a:extLst>
                <a:ext uri="{FF2B5EF4-FFF2-40B4-BE49-F238E27FC236}">
                  <a16:creationId xmlns:a16="http://schemas.microsoft.com/office/drawing/2014/main" id="{B76E7887-BDDA-444B-A4C7-7485BD4EFEA9}"/>
                </a:ext>
              </a:extLst>
            </p:cNvPr>
            <p:cNvSpPr/>
            <p:nvPr/>
          </p:nvSpPr>
          <p:spPr bwMode="gray">
            <a:xfrm>
              <a:off x="5522317" y="3954563"/>
              <a:ext cx="1547328" cy="877163"/>
            </a:xfrm>
            <a:prstGeom prst="rect">
              <a:avLst/>
            </a:prstGeom>
            <a:solidFill>
              <a:srgbClr val="75787B"/>
            </a:solidFill>
            <a:ln w="19050" algn="ctr">
              <a:noFill/>
              <a:miter lim="800000"/>
              <a:headEnd/>
              <a:tailEnd/>
            </a:ln>
          </p:spPr>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00"/>
                </a:spcAft>
                <a:defRPr/>
              </a:pPr>
              <a:r>
                <a:rPr lang="en-US" sz="850" dirty="0">
                  <a:solidFill>
                    <a:sysClr val="window" lastClr="FFFFFF"/>
                  </a:solidFill>
                </a:rPr>
                <a:t>Lorem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a:t>
              </a:r>
              <a:endParaRPr lang="en-US" sz="850" dirty="0">
                <a:solidFill>
                  <a:sysClr val="window" lastClr="FFFFFF"/>
                </a:solidFill>
              </a:endParaRPr>
            </a:p>
          </p:txBody>
        </p:sp>
        <p:sp>
          <p:nvSpPr>
            <p:cNvPr id="70" name="Rounded Rectangle 217">
              <a:extLst>
                <a:ext uri="{FF2B5EF4-FFF2-40B4-BE49-F238E27FC236}">
                  <a16:creationId xmlns:a16="http://schemas.microsoft.com/office/drawing/2014/main" id="{49CCE848-5EED-024E-9AF0-66A359AB545D}"/>
                </a:ext>
              </a:extLst>
            </p:cNvPr>
            <p:cNvSpPr/>
            <p:nvPr/>
          </p:nvSpPr>
          <p:spPr bwMode="gray">
            <a:xfrm>
              <a:off x="5522317" y="5093642"/>
              <a:ext cx="1547328" cy="1138773"/>
            </a:xfrm>
            <a:prstGeom prst="rect">
              <a:avLst/>
            </a:prstGeom>
            <a:solidFill>
              <a:srgbClr val="75787B"/>
            </a:solidFill>
            <a:ln w="19050" algn="ctr">
              <a:noFill/>
              <a:miter lim="800000"/>
              <a:headEnd/>
              <a:tailEnd/>
            </a:ln>
          </p:spPr>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00"/>
                </a:spcAft>
                <a:defRPr/>
              </a:pPr>
              <a:r>
                <a:rPr lang="en-US" sz="850" dirty="0">
                  <a:solidFill>
                    <a:sysClr val="window" lastClr="FFFFFF"/>
                  </a:solidFill>
                </a:rPr>
                <a:t>Lorem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a:t>
              </a:r>
              <a:endParaRPr lang="en-US" sz="850" dirty="0">
                <a:solidFill>
                  <a:sysClr val="window" lastClr="FFFFFF"/>
                </a:solidFill>
              </a:endParaRPr>
            </a:p>
          </p:txBody>
        </p:sp>
        <p:cxnSp>
          <p:nvCxnSpPr>
            <p:cNvPr id="71" name="Elbow Connector 70">
              <a:extLst>
                <a:ext uri="{FF2B5EF4-FFF2-40B4-BE49-F238E27FC236}">
                  <a16:creationId xmlns:a16="http://schemas.microsoft.com/office/drawing/2014/main" id="{13E239C6-AB34-9A4D-8A98-7111EB105D35}"/>
                </a:ext>
              </a:extLst>
            </p:cNvPr>
            <p:cNvCxnSpPr>
              <a:stCxn id="33" idx="3"/>
              <a:endCxn id="70" idx="1"/>
            </p:cNvCxnSpPr>
            <p:nvPr/>
          </p:nvCxnSpPr>
          <p:spPr>
            <a:xfrm>
              <a:off x="5179147" y="5433235"/>
              <a:ext cx="343170" cy="229794"/>
            </a:xfrm>
            <a:prstGeom prst="bentConnector3">
              <a:avLst/>
            </a:prstGeom>
            <a:noFill/>
            <a:ln w="6350" cap="flat" cmpd="sng" algn="ctr">
              <a:solidFill>
                <a:schemeClr val="tx1"/>
              </a:solidFill>
              <a:prstDash val="solid"/>
              <a:headEnd type="none" w="med" len="med"/>
              <a:tailEnd type="triangle" w="med" len="med"/>
            </a:ln>
            <a:effectLst/>
          </p:spPr>
        </p:cxnSp>
        <p:cxnSp>
          <p:nvCxnSpPr>
            <p:cNvPr id="72" name="Elbow Connector 71">
              <a:extLst>
                <a:ext uri="{FF2B5EF4-FFF2-40B4-BE49-F238E27FC236}">
                  <a16:creationId xmlns:a16="http://schemas.microsoft.com/office/drawing/2014/main" id="{9C08727B-5C94-C849-8288-8340D42B5ECA}"/>
                </a:ext>
              </a:extLst>
            </p:cNvPr>
            <p:cNvCxnSpPr>
              <a:stCxn id="33" idx="3"/>
              <a:endCxn id="69" idx="1"/>
            </p:cNvCxnSpPr>
            <p:nvPr/>
          </p:nvCxnSpPr>
          <p:spPr>
            <a:xfrm flipV="1">
              <a:off x="5179147" y="4393145"/>
              <a:ext cx="343170" cy="1040090"/>
            </a:xfrm>
            <a:prstGeom prst="bentConnector3">
              <a:avLst/>
            </a:prstGeom>
            <a:noFill/>
            <a:ln w="6350" cap="flat" cmpd="sng" algn="ctr">
              <a:solidFill>
                <a:schemeClr val="tx1"/>
              </a:solidFill>
              <a:prstDash val="solid"/>
              <a:headEnd type="none" w="med" len="med"/>
              <a:tailEnd type="triangle" w="med" len="med"/>
            </a:ln>
            <a:effectLst/>
          </p:spPr>
        </p:cxnSp>
        <p:cxnSp>
          <p:nvCxnSpPr>
            <p:cNvPr id="73" name="Elbow Connector 72">
              <a:extLst>
                <a:ext uri="{FF2B5EF4-FFF2-40B4-BE49-F238E27FC236}">
                  <a16:creationId xmlns:a16="http://schemas.microsoft.com/office/drawing/2014/main" id="{ABFCBD0C-9E2C-2547-86D6-BDE44429FE63}"/>
                </a:ext>
              </a:extLst>
            </p:cNvPr>
            <p:cNvCxnSpPr>
              <a:stCxn id="32" idx="3"/>
              <a:endCxn id="68" idx="1"/>
            </p:cNvCxnSpPr>
            <p:nvPr/>
          </p:nvCxnSpPr>
          <p:spPr>
            <a:xfrm flipV="1">
              <a:off x="5179147" y="3239959"/>
              <a:ext cx="343170" cy="913962"/>
            </a:xfrm>
            <a:prstGeom prst="bentConnector3">
              <a:avLst/>
            </a:prstGeom>
            <a:noFill/>
            <a:ln w="6350" cap="flat" cmpd="sng" algn="ctr">
              <a:solidFill>
                <a:schemeClr val="tx1"/>
              </a:solidFill>
              <a:prstDash val="solid"/>
              <a:headEnd type="none" w="med" len="med"/>
              <a:tailEnd type="triangle" w="med" len="med"/>
            </a:ln>
            <a:effectLst/>
          </p:spPr>
        </p:cxnSp>
        <p:cxnSp>
          <p:nvCxnSpPr>
            <p:cNvPr id="74" name="Elbow Connector 73">
              <a:extLst>
                <a:ext uri="{FF2B5EF4-FFF2-40B4-BE49-F238E27FC236}">
                  <a16:creationId xmlns:a16="http://schemas.microsoft.com/office/drawing/2014/main" id="{7FE9577B-E33D-4644-BF88-901B21B08C44}"/>
                </a:ext>
              </a:extLst>
            </p:cNvPr>
            <p:cNvCxnSpPr>
              <a:stCxn id="31" idx="3"/>
              <a:endCxn id="67" idx="1"/>
            </p:cNvCxnSpPr>
            <p:nvPr/>
          </p:nvCxnSpPr>
          <p:spPr>
            <a:xfrm flipV="1">
              <a:off x="5179147" y="2086774"/>
              <a:ext cx="343170" cy="1427490"/>
            </a:xfrm>
            <a:prstGeom prst="bentConnector3">
              <a:avLst>
                <a:gd name="adj1" fmla="val 50000"/>
              </a:avLst>
            </a:prstGeom>
            <a:noFill/>
            <a:ln w="6350" cap="flat" cmpd="sng" algn="ctr">
              <a:solidFill>
                <a:schemeClr val="tx1"/>
              </a:solidFill>
              <a:prstDash val="solid"/>
              <a:headEnd type="none" w="med" len="med"/>
              <a:tailEnd type="triangle" w="med" len="med"/>
            </a:ln>
            <a:effectLst/>
          </p:spPr>
        </p:cxnSp>
        <p:cxnSp>
          <p:nvCxnSpPr>
            <p:cNvPr id="75" name="Elbow Connector 74">
              <a:extLst>
                <a:ext uri="{FF2B5EF4-FFF2-40B4-BE49-F238E27FC236}">
                  <a16:creationId xmlns:a16="http://schemas.microsoft.com/office/drawing/2014/main" id="{E671DBCC-BD81-2449-A7C6-45AE9508570C}"/>
                </a:ext>
              </a:extLst>
            </p:cNvPr>
            <p:cNvCxnSpPr>
              <a:stCxn id="29" idx="3"/>
              <a:endCxn id="66" idx="1"/>
            </p:cNvCxnSpPr>
            <p:nvPr/>
          </p:nvCxnSpPr>
          <p:spPr>
            <a:xfrm flipV="1">
              <a:off x="5179147" y="751488"/>
              <a:ext cx="343170" cy="2123119"/>
            </a:xfrm>
            <a:prstGeom prst="bentConnector3">
              <a:avLst>
                <a:gd name="adj1" fmla="val 50000"/>
              </a:avLst>
            </a:prstGeom>
            <a:noFill/>
            <a:ln w="6350" cap="flat" cmpd="sng" algn="ctr">
              <a:solidFill>
                <a:schemeClr val="tx1"/>
              </a:solidFill>
              <a:prstDash val="solid"/>
              <a:headEnd type="none" w="med" len="med"/>
              <a:tailEnd type="triangle" w="med" len="med"/>
            </a:ln>
            <a:effectLst/>
          </p:spPr>
        </p:cxnSp>
        <p:grpSp>
          <p:nvGrpSpPr>
            <p:cNvPr id="77" name="Group 76">
              <a:extLst>
                <a:ext uri="{FF2B5EF4-FFF2-40B4-BE49-F238E27FC236}">
                  <a16:creationId xmlns:a16="http://schemas.microsoft.com/office/drawing/2014/main" id="{127EAB29-23E5-9941-9865-A77DD13AFEDA}"/>
                </a:ext>
              </a:extLst>
            </p:cNvPr>
            <p:cNvGrpSpPr>
              <a:grpSpLocks noChangeAspect="1"/>
            </p:cNvGrpSpPr>
            <p:nvPr/>
          </p:nvGrpSpPr>
          <p:grpSpPr bwMode="auto">
            <a:xfrm>
              <a:off x="1904134" y="132382"/>
              <a:ext cx="367043" cy="367031"/>
              <a:chOff x="3780" y="2658"/>
              <a:chExt cx="340" cy="340"/>
            </a:xfrm>
            <a:solidFill>
              <a:sysClr val="window" lastClr="FFFFFF"/>
            </a:solidFill>
          </p:grpSpPr>
          <p:sp>
            <p:nvSpPr>
              <p:cNvPr id="168" name="Freeform 167">
                <a:extLst>
                  <a:ext uri="{FF2B5EF4-FFF2-40B4-BE49-F238E27FC236}">
                    <a16:creationId xmlns:a16="http://schemas.microsoft.com/office/drawing/2014/main" id="{F352782B-2AA3-3046-805C-7918068BD6ED}"/>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9" name="Freeform 168">
                <a:extLst>
                  <a:ext uri="{FF2B5EF4-FFF2-40B4-BE49-F238E27FC236}">
                    <a16:creationId xmlns:a16="http://schemas.microsoft.com/office/drawing/2014/main" id="{FC6F0DD3-952B-ED41-8F35-2E44B891691B}"/>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0" name="Freeform 169">
                <a:extLst>
                  <a:ext uri="{FF2B5EF4-FFF2-40B4-BE49-F238E27FC236}">
                    <a16:creationId xmlns:a16="http://schemas.microsoft.com/office/drawing/2014/main" id="{6F1BB8D8-7ABE-ED45-A0F5-2F2CE715AD87}"/>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1" name="Freeform 170">
                <a:extLst>
                  <a:ext uri="{FF2B5EF4-FFF2-40B4-BE49-F238E27FC236}">
                    <a16:creationId xmlns:a16="http://schemas.microsoft.com/office/drawing/2014/main" id="{328BE008-2545-F840-95AA-3B28E3484825}"/>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2" name="Freeform 171">
                <a:extLst>
                  <a:ext uri="{FF2B5EF4-FFF2-40B4-BE49-F238E27FC236}">
                    <a16:creationId xmlns:a16="http://schemas.microsoft.com/office/drawing/2014/main" id="{1349658A-8262-5946-9537-9A0A1B870A8C}"/>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3" name="Freeform 172">
                <a:extLst>
                  <a:ext uri="{FF2B5EF4-FFF2-40B4-BE49-F238E27FC236}">
                    <a16:creationId xmlns:a16="http://schemas.microsoft.com/office/drawing/2014/main" id="{0C7E2C19-645E-A94A-9B0C-B72190F7B91B}"/>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4" name="Freeform 173">
                <a:extLst>
                  <a:ext uri="{FF2B5EF4-FFF2-40B4-BE49-F238E27FC236}">
                    <a16:creationId xmlns:a16="http://schemas.microsoft.com/office/drawing/2014/main" id="{BF643588-CD96-C54D-96CC-63C3598C6EA9}"/>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5" name="Freeform 174">
                <a:extLst>
                  <a:ext uri="{FF2B5EF4-FFF2-40B4-BE49-F238E27FC236}">
                    <a16:creationId xmlns:a16="http://schemas.microsoft.com/office/drawing/2014/main" id="{07F1FEC8-B9A0-D34F-816B-79C0D29ACBD7}"/>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6" name="Freeform 175">
                <a:extLst>
                  <a:ext uri="{FF2B5EF4-FFF2-40B4-BE49-F238E27FC236}">
                    <a16:creationId xmlns:a16="http://schemas.microsoft.com/office/drawing/2014/main" id="{C63B3B67-B23C-2E4F-B906-F1EB9418B32B}"/>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78" name="Group 77">
              <a:extLst>
                <a:ext uri="{FF2B5EF4-FFF2-40B4-BE49-F238E27FC236}">
                  <a16:creationId xmlns:a16="http://schemas.microsoft.com/office/drawing/2014/main" id="{195036CD-49D2-E146-9069-1816B7D65F65}"/>
                </a:ext>
              </a:extLst>
            </p:cNvPr>
            <p:cNvGrpSpPr>
              <a:grpSpLocks noChangeAspect="1"/>
            </p:cNvGrpSpPr>
            <p:nvPr/>
          </p:nvGrpSpPr>
          <p:grpSpPr bwMode="auto">
            <a:xfrm>
              <a:off x="1904134" y="772036"/>
              <a:ext cx="367043" cy="367031"/>
              <a:chOff x="3780" y="2658"/>
              <a:chExt cx="340" cy="340"/>
            </a:xfrm>
            <a:solidFill>
              <a:sysClr val="window" lastClr="FFFFFF"/>
            </a:solidFill>
          </p:grpSpPr>
          <p:sp>
            <p:nvSpPr>
              <p:cNvPr id="159" name="Freeform 158">
                <a:extLst>
                  <a:ext uri="{FF2B5EF4-FFF2-40B4-BE49-F238E27FC236}">
                    <a16:creationId xmlns:a16="http://schemas.microsoft.com/office/drawing/2014/main" id="{E0966984-4274-6D4F-B922-0EA7143313D3}"/>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0" name="Freeform 159">
                <a:extLst>
                  <a:ext uri="{FF2B5EF4-FFF2-40B4-BE49-F238E27FC236}">
                    <a16:creationId xmlns:a16="http://schemas.microsoft.com/office/drawing/2014/main" id="{E5B6C588-C3B1-704F-BF17-FC9B644B731D}"/>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1" name="Freeform 160">
                <a:extLst>
                  <a:ext uri="{FF2B5EF4-FFF2-40B4-BE49-F238E27FC236}">
                    <a16:creationId xmlns:a16="http://schemas.microsoft.com/office/drawing/2014/main" id="{F81BEEC1-C5A9-4541-9EDE-BE9D1EAE324A}"/>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2" name="Freeform 161">
                <a:extLst>
                  <a:ext uri="{FF2B5EF4-FFF2-40B4-BE49-F238E27FC236}">
                    <a16:creationId xmlns:a16="http://schemas.microsoft.com/office/drawing/2014/main" id="{02FCBD00-C8B7-F147-9345-8C4B0258E258}"/>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3" name="Freeform 162">
                <a:extLst>
                  <a:ext uri="{FF2B5EF4-FFF2-40B4-BE49-F238E27FC236}">
                    <a16:creationId xmlns:a16="http://schemas.microsoft.com/office/drawing/2014/main" id="{08874F9E-9408-BB41-8A4F-784BC32568E6}"/>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4" name="Freeform 163">
                <a:extLst>
                  <a:ext uri="{FF2B5EF4-FFF2-40B4-BE49-F238E27FC236}">
                    <a16:creationId xmlns:a16="http://schemas.microsoft.com/office/drawing/2014/main" id="{15DC8704-7A8F-0B46-8B33-DE5FC31479F2}"/>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5" name="Freeform 164">
                <a:extLst>
                  <a:ext uri="{FF2B5EF4-FFF2-40B4-BE49-F238E27FC236}">
                    <a16:creationId xmlns:a16="http://schemas.microsoft.com/office/drawing/2014/main" id="{A46772B5-201F-C240-BD59-4E93F2B7470C}"/>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6" name="Freeform 165">
                <a:extLst>
                  <a:ext uri="{FF2B5EF4-FFF2-40B4-BE49-F238E27FC236}">
                    <a16:creationId xmlns:a16="http://schemas.microsoft.com/office/drawing/2014/main" id="{B6E819A6-4B4F-9B45-96B1-FC8990BCE76C}"/>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7" name="Freeform 166">
                <a:extLst>
                  <a:ext uri="{FF2B5EF4-FFF2-40B4-BE49-F238E27FC236}">
                    <a16:creationId xmlns:a16="http://schemas.microsoft.com/office/drawing/2014/main" id="{23A21ADA-77E1-B444-B381-4FE93711E68C}"/>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79" name="Group 78">
              <a:extLst>
                <a:ext uri="{FF2B5EF4-FFF2-40B4-BE49-F238E27FC236}">
                  <a16:creationId xmlns:a16="http://schemas.microsoft.com/office/drawing/2014/main" id="{E03F455E-B4C2-7641-B106-062C8160912E}"/>
                </a:ext>
              </a:extLst>
            </p:cNvPr>
            <p:cNvGrpSpPr>
              <a:grpSpLocks noChangeAspect="1"/>
            </p:cNvGrpSpPr>
            <p:nvPr/>
          </p:nvGrpSpPr>
          <p:grpSpPr bwMode="auto">
            <a:xfrm>
              <a:off x="1904134" y="1411693"/>
              <a:ext cx="367043" cy="367031"/>
              <a:chOff x="3780" y="2658"/>
              <a:chExt cx="340" cy="340"/>
            </a:xfrm>
            <a:solidFill>
              <a:sysClr val="window" lastClr="FFFFFF"/>
            </a:solidFill>
          </p:grpSpPr>
          <p:sp>
            <p:nvSpPr>
              <p:cNvPr id="150" name="Freeform 149">
                <a:extLst>
                  <a:ext uri="{FF2B5EF4-FFF2-40B4-BE49-F238E27FC236}">
                    <a16:creationId xmlns:a16="http://schemas.microsoft.com/office/drawing/2014/main" id="{35B2B224-BFAC-1747-9E60-90F2A82F0227}"/>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1" name="Freeform 150">
                <a:extLst>
                  <a:ext uri="{FF2B5EF4-FFF2-40B4-BE49-F238E27FC236}">
                    <a16:creationId xmlns:a16="http://schemas.microsoft.com/office/drawing/2014/main" id="{94B42145-65AC-CA45-A2C7-BEB277A8BACE}"/>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2" name="Freeform 151">
                <a:extLst>
                  <a:ext uri="{FF2B5EF4-FFF2-40B4-BE49-F238E27FC236}">
                    <a16:creationId xmlns:a16="http://schemas.microsoft.com/office/drawing/2014/main" id="{33677563-8BDC-5141-AA89-A196B264BBEF}"/>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3" name="Freeform 152">
                <a:extLst>
                  <a:ext uri="{FF2B5EF4-FFF2-40B4-BE49-F238E27FC236}">
                    <a16:creationId xmlns:a16="http://schemas.microsoft.com/office/drawing/2014/main" id="{20BC5398-70B1-3649-9789-20D31AF7387E}"/>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4" name="Freeform 153">
                <a:extLst>
                  <a:ext uri="{FF2B5EF4-FFF2-40B4-BE49-F238E27FC236}">
                    <a16:creationId xmlns:a16="http://schemas.microsoft.com/office/drawing/2014/main" id="{647ADDBA-7A6A-5140-90CC-419B09400F10}"/>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5" name="Freeform 154">
                <a:extLst>
                  <a:ext uri="{FF2B5EF4-FFF2-40B4-BE49-F238E27FC236}">
                    <a16:creationId xmlns:a16="http://schemas.microsoft.com/office/drawing/2014/main" id="{C7FF462E-9A7E-AE48-8D5A-B2A59962F395}"/>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6" name="Freeform 155">
                <a:extLst>
                  <a:ext uri="{FF2B5EF4-FFF2-40B4-BE49-F238E27FC236}">
                    <a16:creationId xmlns:a16="http://schemas.microsoft.com/office/drawing/2014/main" id="{9B870F36-B49B-3E4F-A38D-874AB6182AE1}"/>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7" name="Freeform 156">
                <a:extLst>
                  <a:ext uri="{FF2B5EF4-FFF2-40B4-BE49-F238E27FC236}">
                    <a16:creationId xmlns:a16="http://schemas.microsoft.com/office/drawing/2014/main" id="{DF379D92-117C-5F4E-AC32-1979B2E27BFD}"/>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8" name="Freeform 157">
                <a:extLst>
                  <a:ext uri="{FF2B5EF4-FFF2-40B4-BE49-F238E27FC236}">
                    <a16:creationId xmlns:a16="http://schemas.microsoft.com/office/drawing/2014/main" id="{D8D78D15-88D7-C741-BDEF-0AB5A13A8D5E}"/>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0" name="Group 79">
              <a:extLst>
                <a:ext uri="{FF2B5EF4-FFF2-40B4-BE49-F238E27FC236}">
                  <a16:creationId xmlns:a16="http://schemas.microsoft.com/office/drawing/2014/main" id="{7ACAC349-9B24-8749-ACB3-3336E6A51F76}"/>
                </a:ext>
              </a:extLst>
            </p:cNvPr>
            <p:cNvGrpSpPr>
              <a:grpSpLocks noChangeAspect="1"/>
            </p:cNvGrpSpPr>
            <p:nvPr/>
          </p:nvGrpSpPr>
          <p:grpSpPr bwMode="auto">
            <a:xfrm>
              <a:off x="1904134" y="2051350"/>
              <a:ext cx="367043" cy="367031"/>
              <a:chOff x="3780" y="2658"/>
              <a:chExt cx="340" cy="340"/>
            </a:xfrm>
            <a:solidFill>
              <a:sysClr val="window" lastClr="FFFFFF"/>
            </a:solidFill>
          </p:grpSpPr>
          <p:sp>
            <p:nvSpPr>
              <p:cNvPr id="141" name="Freeform 140">
                <a:extLst>
                  <a:ext uri="{FF2B5EF4-FFF2-40B4-BE49-F238E27FC236}">
                    <a16:creationId xmlns:a16="http://schemas.microsoft.com/office/drawing/2014/main" id="{980F627E-3F35-0E47-B112-4759EF0D50B5}"/>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2" name="Freeform 141">
                <a:extLst>
                  <a:ext uri="{FF2B5EF4-FFF2-40B4-BE49-F238E27FC236}">
                    <a16:creationId xmlns:a16="http://schemas.microsoft.com/office/drawing/2014/main" id="{D292C596-5825-5D44-9994-97EB4739ED38}"/>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3" name="Freeform 142">
                <a:extLst>
                  <a:ext uri="{FF2B5EF4-FFF2-40B4-BE49-F238E27FC236}">
                    <a16:creationId xmlns:a16="http://schemas.microsoft.com/office/drawing/2014/main" id="{A5A06003-2351-DE47-84ED-76F4D9F61643}"/>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4" name="Freeform 143">
                <a:extLst>
                  <a:ext uri="{FF2B5EF4-FFF2-40B4-BE49-F238E27FC236}">
                    <a16:creationId xmlns:a16="http://schemas.microsoft.com/office/drawing/2014/main" id="{76544148-289A-4D40-A510-C6632060376B}"/>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5" name="Freeform 144">
                <a:extLst>
                  <a:ext uri="{FF2B5EF4-FFF2-40B4-BE49-F238E27FC236}">
                    <a16:creationId xmlns:a16="http://schemas.microsoft.com/office/drawing/2014/main" id="{F71DA729-D680-DA40-9B63-E5ED21200417}"/>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6" name="Freeform 145">
                <a:extLst>
                  <a:ext uri="{FF2B5EF4-FFF2-40B4-BE49-F238E27FC236}">
                    <a16:creationId xmlns:a16="http://schemas.microsoft.com/office/drawing/2014/main" id="{7BD02430-6C11-A04A-8946-4A788DCC60ED}"/>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7" name="Freeform 146">
                <a:extLst>
                  <a:ext uri="{FF2B5EF4-FFF2-40B4-BE49-F238E27FC236}">
                    <a16:creationId xmlns:a16="http://schemas.microsoft.com/office/drawing/2014/main" id="{CE427F29-1D21-7545-B1CA-2E11BE19826C}"/>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8" name="Freeform 147">
                <a:extLst>
                  <a:ext uri="{FF2B5EF4-FFF2-40B4-BE49-F238E27FC236}">
                    <a16:creationId xmlns:a16="http://schemas.microsoft.com/office/drawing/2014/main" id="{EF122A02-02C8-CD41-A4E2-04645D6D2035}"/>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9" name="Freeform 148">
                <a:extLst>
                  <a:ext uri="{FF2B5EF4-FFF2-40B4-BE49-F238E27FC236}">
                    <a16:creationId xmlns:a16="http://schemas.microsoft.com/office/drawing/2014/main" id="{4569659E-CDA2-E647-97FF-EA13928E6285}"/>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1" name="Group 80">
              <a:extLst>
                <a:ext uri="{FF2B5EF4-FFF2-40B4-BE49-F238E27FC236}">
                  <a16:creationId xmlns:a16="http://schemas.microsoft.com/office/drawing/2014/main" id="{3AFF85B9-CC1B-E94A-A1B1-A1D57BCB2FE4}"/>
                </a:ext>
              </a:extLst>
            </p:cNvPr>
            <p:cNvGrpSpPr>
              <a:grpSpLocks noChangeAspect="1"/>
            </p:cNvGrpSpPr>
            <p:nvPr/>
          </p:nvGrpSpPr>
          <p:grpSpPr bwMode="auto">
            <a:xfrm>
              <a:off x="1904134" y="2691010"/>
              <a:ext cx="367043" cy="367031"/>
              <a:chOff x="3780" y="2658"/>
              <a:chExt cx="340" cy="340"/>
            </a:xfrm>
            <a:solidFill>
              <a:sysClr val="window" lastClr="FFFFFF"/>
            </a:solidFill>
          </p:grpSpPr>
          <p:sp>
            <p:nvSpPr>
              <p:cNvPr id="132" name="Freeform 131">
                <a:extLst>
                  <a:ext uri="{FF2B5EF4-FFF2-40B4-BE49-F238E27FC236}">
                    <a16:creationId xmlns:a16="http://schemas.microsoft.com/office/drawing/2014/main" id="{7C3B0A7A-9220-9846-9795-5393653B9C20}"/>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3" name="Freeform 132">
                <a:extLst>
                  <a:ext uri="{FF2B5EF4-FFF2-40B4-BE49-F238E27FC236}">
                    <a16:creationId xmlns:a16="http://schemas.microsoft.com/office/drawing/2014/main" id="{D6BB82C3-E85B-8D47-967D-04CB0266A743}"/>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4" name="Freeform 133">
                <a:extLst>
                  <a:ext uri="{FF2B5EF4-FFF2-40B4-BE49-F238E27FC236}">
                    <a16:creationId xmlns:a16="http://schemas.microsoft.com/office/drawing/2014/main" id="{3B486DDD-7AB6-904E-A55A-FB1732409393}"/>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5" name="Freeform 134">
                <a:extLst>
                  <a:ext uri="{FF2B5EF4-FFF2-40B4-BE49-F238E27FC236}">
                    <a16:creationId xmlns:a16="http://schemas.microsoft.com/office/drawing/2014/main" id="{01615036-2245-0243-8CC2-545F0AE15645}"/>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6" name="Freeform 135">
                <a:extLst>
                  <a:ext uri="{FF2B5EF4-FFF2-40B4-BE49-F238E27FC236}">
                    <a16:creationId xmlns:a16="http://schemas.microsoft.com/office/drawing/2014/main" id="{89535F47-F98A-9445-A68B-D34644F3504F}"/>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7" name="Freeform 136">
                <a:extLst>
                  <a:ext uri="{FF2B5EF4-FFF2-40B4-BE49-F238E27FC236}">
                    <a16:creationId xmlns:a16="http://schemas.microsoft.com/office/drawing/2014/main" id="{8A483AE3-FF86-534F-A296-DC8BB96DB539}"/>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8" name="Freeform 137">
                <a:extLst>
                  <a:ext uri="{FF2B5EF4-FFF2-40B4-BE49-F238E27FC236}">
                    <a16:creationId xmlns:a16="http://schemas.microsoft.com/office/drawing/2014/main" id="{F14F8C16-4FF6-0541-B170-57B39CACD828}"/>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9" name="Freeform 138">
                <a:extLst>
                  <a:ext uri="{FF2B5EF4-FFF2-40B4-BE49-F238E27FC236}">
                    <a16:creationId xmlns:a16="http://schemas.microsoft.com/office/drawing/2014/main" id="{DB6D2F85-6012-5B48-B615-742E61D6BD43}"/>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0" name="Freeform 139">
                <a:extLst>
                  <a:ext uri="{FF2B5EF4-FFF2-40B4-BE49-F238E27FC236}">
                    <a16:creationId xmlns:a16="http://schemas.microsoft.com/office/drawing/2014/main" id="{E72D1943-BC5B-CB41-A1BF-1A411C10DFCE}"/>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2" name="Group 81">
              <a:extLst>
                <a:ext uri="{FF2B5EF4-FFF2-40B4-BE49-F238E27FC236}">
                  <a16:creationId xmlns:a16="http://schemas.microsoft.com/office/drawing/2014/main" id="{59F343A9-1908-AC46-9C82-45F3ABDD9E3F}"/>
                </a:ext>
              </a:extLst>
            </p:cNvPr>
            <p:cNvGrpSpPr>
              <a:grpSpLocks noChangeAspect="1"/>
            </p:cNvGrpSpPr>
            <p:nvPr/>
          </p:nvGrpSpPr>
          <p:grpSpPr bwMode="auto">
            <a:xfrm>
              <a:off x="1904134" y="3330667"/>
              <a:ext cx="367043" cy="367031"/>
              <a:chOff x="3780" y="2658"/>
              <a:chExt cx="340" cy="340"/>
            </a:xfrm>
            <a:solidFill>
              <a:sysClr val="window" lastClr="FFFFFF"/>
            </a:solidFill>
          </p:grpSpPr>
          <p:sp>
            <p:nvSpPr>
              <p:cNvPr id="123" name="Freeform 122">
                <a:extLst>
                  <a:ext uri="{FF2B5EF4-FFF2-40B4-BE49-F238E27FC236}">
                    <a16:creationId xmlns:a16="http://schemas.microsoft.com/office/drawing/2014/main" id="{D98F470B-FBFB-F047-93DE-F3CE56ED9924}"/>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4" name="Freeform 123">
                <a:extLst>
                  <a:ext uri="{FF2B5EF4-FFF2-40B4-BE49-F238E27FC236}">
                    <a16:creationId xmlns:a16="http://schemas.microsoft.com/office/drawing/2014/main" id="{88A1B456-E89E-9743-B590-06CC575E74E0}"/>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5" name="Freeform 124">
                <a:extLst>
                  <a:ext uri="{FF2B5EF4-FFF2-40B4-BE49-F238E27FC236}">
                    <a16:creationId xmlns:a16="http://schemas.microsoft.com/office/drawing/2014/main" id="{8D6E3DA4-9F37-BC4B-BA17-CD964430C1A4}"/>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6" name="Freeform 125">
                <a:extLst>
                  <a:ext uri="{FF2B5EF4-FFF2-40B4-BE49-F238E27FC236}">
                    <a16:creationId xmlns:a16="http://schemas.microsoft.com/office/drawing/2014/main" id="{CDA00664-4FD6-7B4E-8DB3-39C61ADEA2B9}"/>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7" name="Freeform 126">
                <a:extLst>
                  <a:ext uri="{FF2B5EF4-FFF2-40B4-BE49-F238E27FC236}">
                    <a16:creationId xmlns:a16="http://schemas.microsoft.com/office/drawing/2014/main" id="{F4664B48-71E5-F44A-BEFC-09C434B21161}"/>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8" name="Freeform 127">
                <a:extLst>
                  <a:ext uri="{FF2B5EF4-FFF2-40B4-BE49-F238E27FC236}">
                    <a16:creationId xmlns:a16="http://schemas.microsoft.com/office/drawing/2014/main" id="{12410054-3B8A-2346-A10A-4FE01AB4E20B}"/>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9" name="Freeform 128">
                <a:extLst>
                  <a:ext uri="{FF2B5EF4-FFF2-40B4-BE49-F238E27FC236}">
                    <a16:creationId xmlns:a16="http://schemas.microsoft.com/office/drawing/2014/main" id="{982E7346-4694-5147-8927-D88354A55E1D}"/>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0" name="Freeform 129">
                <a:extLst>
                  <a:ext uri="{FF2B5EF4-FFF2-40B4-BE49-F238E27FC236}">
                    <a16:creationId xmlns:a16="http://schemas.microsoft.com/office/drawing/2014/main" id="{8EA73144-7657-4045-8B70-8433AFABD054}"/>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1" name="Freeform 130">
                <a:extLst>
                  <a:ext uri="{FF2B5EF4-FFF2-40B4-BE49-F238E27FC236}">
                    <a16:creationId xmlns:a16="http://schemas.microsoft.com/office/drawing/2014/main" id="{383AF3A2-E19A-4C4F-835D-5CDBFDCD5F15}"/>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3" name="Group 82">
              <a:extLst>
                <a:ext uri="{FF2B5EF4-FFF2-40B4-BE49-F238E27FC236}">
                  <a16:creationId xmlns:a16="http://schemas.microsoft.com/office/drawing/2014/main" id="{3485AEAE-2C75-2D47-A83C-FA401E5CB750}"/>
                </a:ext>
              </a:extLst>
            </p:cNvPr>
            <p:cNvGrpSpPr>
              <a:grpSpLocks noChangeAspect="1"/>
            </p:cNvGrpSpPr>
            <p:nvPr/>
          </p:nvGrpSpPr>
          <p:grpSpPr bwMode="auto">
            <a:xfrm>
              <a:off x="1904134" y="3970324"/>
              <a:ext cx="367043" cy="367031"/>
              <a:chOff x="3780" y="2658"/>
              <a:chExt cx="340" cy="340"/>
            </a:xfrm>
            <a:solidFill>
              <a:sysClr val="window" lastClr="FFFFFF"/>
            </a:solidFill>
          </p:grpSpPr>
          <p:sp>
            <p:nvSpPr>
              <p:cNvPr id="114" name="Freeform 113">
                <a:extLst>
                  <a:ext uri="{FF2B5EF4-FFF2-40B4-BE49-F238E27FC236}">
                    <a16:creationId xmlns:a16="http://schemas.microsoft.com/office/drawing/2014/main" id="{144CC3EB-E397-4A47-A615-74FD163C7AD2}"/>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5" name="Freeform 114">
                <a:extLst>
                  <a:ext uri="{FF2B5EF4-FFF2-40B4-BE49-F238E27FC236}">
                    <a16:creationId xmlns:a16="http://schemas.microsoft.com/office/drawing/2014/main" id="{3AAD3B04-91B3-6346-89B7-F37BFE414D57}"/>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6" name="Freeform 115">
                <a:extLst>
                  <a:ext uri="{FF2B5EF4-FFF2-40B4-BE49-F238E27FC236}">
                    <a16:creationId xmlns:a16="http://schemas.microsoft.com/office/drawing/2014/main" id="{F7703CDC-CB88-0049-BB33-584BED959F2D}"/>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7" name="Freeform 116">
                <a:extLst>
                  <a:ext uri="{FF2B5EF4-FFF2-40B4-BE49-F238E27FC236}">
                    <a16:creationId xmlns:a16="http://schemas.microsoft.com/office/drawing/2014/main" id="{4207D20B-67AB-D54F-AF0B-042653069B28}"/>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8" name="Freeform 117">
                <a:extLst>
                  <a:ext uri="{FF2B5EF4-FFF2-40B4-BE49-F238E27FC236}">
                    <a16:creationId xmlns:a16="http://schemas.microsoft.com/office/drawing/2014/main" id="{DAEE615A-3374-4642-80C9-8119DDA9B2E6}"/>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9" name="Freeform 118">
                <a:extLst>
                  <a:ext uri="{FF2B5EF4-FFF2-40B4-BE49-F238E27FC236}">
                    <a16:creationId xmlns:a16="http://schemas.microsoft.com/office/drawing/2014/main" id="{10EC4946-AE9C-7848-875C-0A5DB7CD2C3A}"/>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0" name="Freeform 119">
                <a:extLst>
                  <a:ext uri="{FF2B5EF4-FFF2-40B4-BE49-F238E27FC236}">
                    <a16:creationId xmlns:a16="http://schemas.microsoft.com/office/drawing/2014/main" id="{A86B7AB6-6957-224A-B88D-15845765C382}"/>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1" name="Freeform 120">
                <a:extLst>
                  <a:ext uri="{FF2B5EF4-FFF2-40B4-BE49-F238E27FC236}">
                    <a16:creationId xmlns:a16="http://schemas.microsoft.com/office/drawing/2014/main" id="{3A9AB29A-B01E-8142-9582-5B8FFD973A41}"/>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2" name="Freeform 121">
                <a:extLst>
                  <a:ext uri="{FF2B5EF4-FFF2-40B4-BE49-F238E27FC236}">
                    <a16:creationId xmlns:a16="http://schemas.microsoft.com/office/drawing/2014/main" id="{C4879BEC-F3AF-BC44-94D2-2D2FE7F2B3A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4" name="Group 83">
              <a:extLst>
                <a:ext uri="{FF2B5EF4-FFF2-40B4-BE49-F238E27FC236}">
                  <a16:creationId xmlns:a16="http://schemas.microsoft.com/office/drawing/2014/main" id="{DD867BEF-301F-1B48-B652-57A7C9890A57}"/>
                </a:ext>
              </a:extLst>
            </p:cNvPr>
            <p:cNvGrpSpPr>
              <a:grpSpLocks noChangeAspect="1"/>
            </p:cNvGrpSpPr>
            <p:nvPr/>
          </p:nvGrpSpPr>
          <p:grpSpPr bwMode="auto">
            <a:xfrm>
              <a:off x="1904134" y="4609981"/>
              <a:ext cx="367043" cy="367031"/>
              <a:chOff x="3780" y="2658"/>
              <a:chExt cx="340" cy="340"/>
            </a:xfrm>
            <a:solidFill>
              <a:sysClr val="window" lastClr="FFFFFF"/>
            </a:solidFill>
          </p:grpSpPr>
          <p:sp>
            <p:nvSpPr>
              <p:cNvPr id="105" name="Freeform 104">
                <a:extLst>
                  <a:ext uri="{FF2B5EF4-FFF2-40B4-BE49-F238E27FC236}">
                    <a16:creationId xmlns:a16="http://schemas.microsoft.com/office/drawing/2014/main" id="{A5042D9D-E372-044B-905F-7CE83780A13A}"/>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6" name="Freeform 105">
                <a:extLst>
                  <a:ext uri="{FF2B5EF4-FFF2-40B4-BE49-F238E27FC236}">
                    <a16:creationId xmlns:a16="http://schemas.microsoft.com/office/drawing/2014/main" id="{561A7411-7309-A045-A7FA-02CE913822B9}"/>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7" name="Freeform 106">
                <a:extLst>
                  <a:ext uri="{FF2B5EF4-FFF2-40B4-BE49-F238E27FC236}">
                    <a16:creationId xmlns:a16="http://schemas.microsoft.com/office/drawing/2014/main" id="{AF679004-40B5-E845-A664-7BBCA92EFB76}"/>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8" name="Freeform 107">
                <a:extLst>
                  <a:ext uri="{FF2B5EF4-FFF2-40B4-BE49-F238E27FC236}">
                    <a16:creationId xmlns:a16="http://schemas.microsoft.com/office/drawing/2014/main" id="{2E67760C-310B-404F-B48E-1C52E8AB9446}"/>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9" name="Freeform 108">
                <a:extLst>
                  <a:ext uri="{FF2B5EF4-FFF2-40B4-BE49-F238E27FC236}">
                    <a16:creationId xmlns:a16="http://schemas.microsoft.com/office/drawing/2014/main" id="{6352AACB-4D67-A646-B751-4165579B35F2}"/>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0" name="Freeform 109">
                <a:extLst>
                  <a:ext uri="{FF2B5EF4-FFF2-40B4-BE49-F238E27FC236}">
                    <a16:creationId xmlns:a16="http://schemas.microsoft.com/office/drawing/2014/main" id="{112B4095-4733-3E45-8144-6ABFB5DB17D5}"/>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1" name="Freeform 110">
                <a:extLst>
                  <a:ext uri="{FF2B5EF4-FFF2-40B4-BE49-F238E27FC236}">
                    <a16:creationId xmlns:a16="http://schemas.microsoft.com/office/drawing/2014/main" id="{7BAEAA50-BEDA-8E43-9761-FC744D3DE533}"/>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2" name="Freeform 111">
                <a:extLst>
                  <a:ext uri="{FF2B5EF4-FFF2-40B4-BE49-F238E27FC236}">
                    <a16:creationId xmlns:a16="http://schemas.microsoft.com/office/drawing/2014/main" id="{34716843-B783-184A-9266-6B507A43BD27}"/>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3" name="Freeform 112">
                <a:extLst>
                  <a:ext uri="{FF2B5EF4-FFF2-40B4-BE49-F238E27FC236}">
                    <a16:creationId xmlns:a16="http://schemas.microsoft.com/office/drawing/2014/main" id="{26C13639-BFFF-1A49-8AF4-64A967C5669D}"/>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5" name="Group 84">
              <a:extLst>
                <a:ext uri="{FF2B5EF4-FFF2-40B4-BE49-F238E27FC236}">
                  <a16:creationId xmlns:a16="http://schemas.microsoft.com/office/drawing/2014/main" id="{F2562D51-38B6-A24B-8ECE-278FC01FF963}"/>
                </a:ext>
              </a:extLst>
            </p:cNvPr>
            <p:cNvGrpSpPr>
              <a:grpSpLocks noChangeAspect="1"/>
            </p:cNvGrpSpPr>
            <p:nvPr/>
          </p:nvGrpSpPr>
          <p:grpSpPr bwMode="auto">
            <a:xfrm>
              <a:off x="1904134" y="5249638"/>
              <a:ext cx="367043" cy="367031"/>
              <a:chOff x="3780" y="2658"/>
              <a:chExt cx="340" cy="340"/>
            </a:xfrm>
            <a:solidFill>
              <a:sysClr val="window" lastClr="FFFFFF"/>
            </a:solidFill>
          </p:grpSpPr>
          <p:sp>
            <p:nvSpPr>
              <p:cNvPr id="96" name="Freeform 95">
                <a:extLst>
                  <a:ext uri="{FF2B5EF4-FFF2-40B4-BE49-F238E27FC236}">
                    <a16:creationId xmlns:a16="http://schemas.microsoft.com/office/drawing/2014/main" id="{77A98755-47A1-0543-80B6-995234B570C6}"/>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7" name="Freeform 96">
                <a:extLst>
                  <a:ext uri="{FF2B5EF4-FFF2-40B4-BE49-F238E27FC236}">
                    <a16:creationId xmlns:a16="http://schemas.microsoft.com/office/drawing/2014/main" id="{3FE6B62E-E493-5342-A7A2-4477C572A7F2}"/>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8" name="Freeform 97">
                <a:extLst>
                  <a:ext uri="{FF2B5EF4-FFF2-40B4-BE49-F238E27FC236}">
                    <a16:creationId xmlns:a16="http://schemas.microsoft.com/office/drawing/2014/main" id="{0B75EB63-AEE5-4A48-99F2-135C5CB14E6E}"/>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9" name="Freeform 98">
                <a:extLst>
                  <a:ext uri="{FF2B5EF4-FFF2-40B4-BE49-F238E27FC236}">
                    <a16:creationId xmlns:a16="http://schemas.microsoft.com/office/drawing/2014/main" id="{CBE50531-61DB-1743-AD61-DA1B4304FB7E}"/>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0" name="Freeform 99">
                <a:extLst>
                  <a:ext uri="{FF2B5EF4-FFF2-40B4-BE49-F238E27FC236}">
                    <a16:creationId xmlns:a16="http://schemas.microsoft.com/office/drawing/2014/main" id="{D7366FE7-5753-9241-AC39-26B1B8915F8A}"/>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1" name="Freeform 100">
                <a:extLst>
                  <a:ext uri="{FF2B5EF4-FFF2-40B4-BE49-F238E27FC236}">
                    <a16:creationId xmlns:a16="http://schemas.microsoft.com/office/drawing/2014/main" id="{62349D4C-F899-D645-BF81-F41B2AE1BB99}"/>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2" name="Freeform 101">
                <a:extLst>
                  <a:ext uri="{FF2B5EF4-FFF2-40B4-BE49-F238E27FC236}">
                    <a16:creationId xmlns:a16="http://schemas.microsoft.com/office/drawing/2014/main" id="{3316DCD4-A06A-3246-B61A-662487AFBA77}"/>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3" name="Freeform 102">
                <a:extLst>
                  <a:ext uri="{FF2B5EF4-FFF2-40B4-BE49-F238E27FC236}">
                    <a16:creationId xmlns:a16="http://schemas.microsoft.com/office/drawing/2014/main" id="{551CCE70-6A64-0B4C-A94E-39BC3E346C10}"/>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4" name="Freeform 103">
                <a:extLst>
                  <a:ext uri="{FF2B5EF4-FFF2-40B4-BE49-F238E27FC236}">
                    <a16:creationId xmlns:a16="http://schemas.microsoft.com/office/drawing/2014/main" id="{255165FB-0135-944D-BFA5-804B7A6E1DB3}"/>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6" name="Group 85">
              <a:extLst>
                <a:ext uri="{FF2B5EF4-FFF2-40B4-BE49-F238E27FC236}">
                  <a16:creationId xmlns:a16="http://schemas.microsoft.com/office/drawing/2014/main" id="{7EBD8483-756D-EF44-8846-6AFB27D16432}"/>
                </a:ext>
              </a:extLst>
            </p:cNvPr>
            <p:cNvGrpSpPr>
              <a:grpSpLocks noChangeAspect="1"/>
            </p:cNvGrpSpPr>
            <p:nvPr/>
          </p:nvGrpSpPr>
          <p:grpSpPr bwMode="auto">
            <a:xfrm>
              <a:off x="1904134" y="5889292"/>
              <a:ext cx="367043" cy="367031"/>
              <a:chOff x="3780" y="2658"/>
              <a:chExt cx="340" cy="340"/>
            </a:xfrm>
            <a:solidFill>
              <a:sysClr val="window" lastClr="FFFFFF"/>
            </a:solidFill>
          </p:grpSpPr>
          <p:sp>
            <p:nvSpPr>
              <p:cNvPr id="87" name="Freeform 86">
                <a:extLst>
                  <a:ext uri="{FF2B5EF4-FFF2-40B4-BE49-F238E27FC236}">
                    <a16:creationId xmlns:a16="http://schemas.microsoft.com/office/drawing/2014/main" id="{6A7130EC-F0C9-1644-8603-75F4F0D911C7}"/>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88" name="Freeform 87">
                <a:extLst>
                  <a:ext uri="{FF2B5EF4-FFF2-40B4-BE49-F238E27FC236}">
                    <a16:creationId xmlns:a16="http://schemas.microsoft.com/office/drawing/2014/main" id="{80AD2510-67DE-B549-B6A1-5A8D9585B2F1}"/>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89" name="Freeform 88">
                <a:extLst>
                  <a:ext uri="{FF2B5EF4-FFF2-40B4-BE49-F238E27FC236}">
                    <a16:creationId xmlns:a16="http://schemas.microsoft.com/office/drawing/2014/main" id="{46281F32-C147-5A44-8139-B07ACDC9DF05}"/>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0" name="Freeform 89">
                <a:extLst>
                  <a:ext uri="{FF2B5EF4-FFF2-40B4-BE49-F238E27FC236}">
                    <a16:creationId xmlns:a16="http://schemas.microsoft.com/office/drawing/2014/main" id="{68CA3E92-2E97-A54F-A869-F5E826061628}"/>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1" name="Freeform 90">
                <a:extLst>
                  <a:ext uri="{FF2B5EF4-FFF2-40B4-BE49-F238E27FC236}">
                    <a16:creationId xmlns:a16="http://schemas.microsoft.com/office/drawing/2014/main" id="{4E41B6F9-1610-214E-9568-F7600424E583}"/>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2" name="Freeform 91">
                <a:extLst>
                  <a:ext uri="{FF2B5EF4-FFF2-40B4-BE49-F238E27FC236}">
                    <a16:creationId xmlns:a16="http://schemas.microsoft.com/office/drawing/2014/main" id="{D3DB5FC0-B49E-D347-8EA1-1E55860AC062}"/>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3" name="Freeform 92">
                <a:extLst>
                  <a:ext uri="{FF2B5EF4-FFF2-40B4-BE49-F238E27FC236}">
                    <a16:creationId xmlns:a16="http://schemas.microsoft.com/office/drawing/2014/main" id="{B04E92B4-A0FA-0B4A-B386-8C5FCAE8C7A6}"/>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4" name="Freeform 93">
                <a:extLst>
                  <a:ext uri="{FF2B5EF4-FFF2-40B4-BE49-F238E27FC236}">
                    <a16:creationId xmlns:a16="http://schemas.microsoft.com/office/drawing/2014/main" id="{1FECB62E-8C28-8A40-89F0-208925DC949C}"/>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5" name="Freeform 94">
                <a:extLst>
                  <a:ext uri="{FF2B5EF4-FFF2-40B4-BE49-F238E27FC236}">
                    <a16:creationId xmlns:a16="http://schemas.microsoft.com/office/drawing/2014/main" id="{B3FE5E4D-B77C-2745-A79B-7E12F992F9C2}"/>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spTree>
    <p:custDataLst>
      <p:tags r:id="rId1"/>
    </p:custDataLst>
    <p:extLst>
      <p:ext uri="{BB962C8B-B14F-4D97-AF65-F5344CB8AC3E}">
        <p14:creationId xmlns:p14="http://schemas.microsoft.com/office/powerpoint/2010/main" val="1712537602"/>
      </p:ext>
    </p:extLst>
  </p:cSld>
  <p:clrMapOvr>
    <a:masterClrMapping/>
  </p:clrMapOvr>
  <p:transition>
    <p:fade/>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6FEA799-CE17-439D-9F0F-2B099CDC7B98}"/>
              </a:ext>
            </a:extLst>
          </p:cNvPr>
          <p:cNvGrpSpPr/>
          <p:nvPr/>
        </p:nvGrpSpPr>
        <p:grpSpPr>
          <a:xfrm>
            <a:off x="1287585" y="728734"/>
            <a:ext cx="9616830" cy="5400531"/>
            <a:chOff x="1889236" y="1613836"/>
            <a:chExt cx="8413530" cy="4724793"/>
          </a:xfrm>
        </p:grpSpPr>
        <p:sp>
          <p:nvSpPr>
            <p:cNvPr id="87" name="Pentagon 86">
              <a:extLst>
                <a:ext uri="{FF2B5EF4-FFF2-40B4-BE49-F238E27FC236}">
                  <a16:creationId xmlns:a16="http://schemas.microsoft.com/office/drawing/2014/main" id="{F96553BF-2851-504D-B5AF-C88A2DB50E3A}"/>
                </a:ext>
              </a:extLst>
            </p:cNvPr>
            <p:cNvSpPr/>
            <p:nvPr/>
          </p:nvSpPr>
          <p:spPr>
            <a:xfrm flipH="1">
              <a:off x="1889236" y="2189463"/>
              <a:ext cx="2075343" cy="1191488"/>
            </a:xfrm>
            <a:prstGeom prst="homePlat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88" name="Pentagon 87">
              <a:extLst>
                <a:ext uri="{FF2B5EF4-FFF2-40B4-BE49-F238E27FC236}">
                  <a16:creationId xmlns:a16="http://schemas.microsoft.com/office/drawing/2014/main" id="{EEF6EC7F-BB91-A84A-BA86-862866E33CC5}"/>
                </a:ext>
              </a:extLst>
            </p:cNvPr>
            <p:cNvSpPr/>
            <p:nvPr/>
          </p:nvSpPr>
          <p:spPr>
            <a:xfrm flipH="1">
              <a:off x="1889236" y="3380950"/>
              <a:ext cx="2075343" cy="1191488"/>
            </a:xfrm>
            <a:prstGeom prst="homePlat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89" name="Pentagon 88">
              <a:extLst>
                <a:ext uri="{FF2B5EF4-FFF2-40B4-BE49-F238E27FC236}">
                  <a16:creationId xmlns:a16="http://schemas.microsoft.com/office/drawing/2014/main" id="{4D3BF4F2-8123-564F-9740-76193CBB0232}"/>
                </a:ext>
              </a:extLst>
            </p:cNvPr>
            <p:cNvSpPr/>
            <p:nvPr/>
          </p:nvSpPr>
          <p:spPr>
            <a:xfrm flipH="1">
              <a:off x="1889236" y="4572438"/>
              <a:ext cx="2075343" cy="1191488"/>
            </a:xfrm>
            <a:prstGeom prst="homePlat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90" name="Rectangle 8">
              <a:extLst>
                <a:ext uri="{FF2B5EF4-FFF2-40B4-BE49-F238E27FC236}">
                  <a16:creationId xmlns:a16="http://schemas.microsoft.com/office/drawing/2014/main" id="{9B93E8A0-D2A4-7648-918C-CC913C8040ED}"/>
                </a:ext>
              </a:extLst>
            </p:cNvPr>
            <p:cNvSpPr/>
            <p:nvPr/>
          </p:nvSpPr>
          <p:spPr>
            <a:xfrm>
              <a:off x="3964580" y="3187838"/>
              <a:ext cx="579166" cy="158143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165100 h 1183745"/>
                <a:gd name="connsiteX1" fmla="*/ 1696507 w 1696507"/>
                <a:gd name="connsiteY1" fmla="*/ 0 h 1183745"/>
                <a:gd name="connsiteX2" fmla="*/ 1696507 w 1696507"/>
                <a:gd name="connsiteY2" fmla="*/ 1183745 h 1183745"/>
                <a:gd name="connsiteX3" fmla="*/ 0 w 1696507"/>
                <a:gd name="connsiteY3" fmla="*/ 1183745 h 1183745"/>
                <a:gd name="connsiteX4" fmla="*/ 0 w 1696507"/>
                <a:gd name="connsiteY4" fmla="*/ 165100 h 1183745"/>
                <a:gd name="connsiteX0" fmla="*/ 0 w 1696507"/>
                <a:gd name="connsiteY0" fmla="*/ 165100 h 1352020"/>
                <a:gd name="connsiteX1" fmla="*/ 1696507 w 1696507"/>
                <a:gd name="connsiteY1" fmla="*/ 0 h 1352020"/>
                <a:gd name="connsiteX2" fmla="*/ 1696507 w 1696507"/>
                <a:gd name="connsiteY2" fmla="*/ 1352020 h 1352020"/>
                <a:gd name="connsiteX3" fmla="*/ 0 w 1696507"/>
                <a:gd name="connsiteY3" fmla="*/ 1183745 h 1352020"/>
                <a:gd name="connsiteX4" fmla="*/ 0 w 1696507"/>
                <a:gd name="connsiteY4" fmla="*/ 165100 h 1352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352020">
                  <a:moveTo>
                    <a:pt x="0" y="165100"/>
                  </a:moveTo>
                  <a:lnTo>
                    <a:pt x="1696507" y="0"/>
                  </a:lnTo>
                  <a:lnTo>
                    <a:pt x="1696507" y="1352020"/>
                  </a:lnTo>
                  <a:lnTo>
                    <a:pt x="0" y="1183745"/>
                  </a:lnTo>
                  <a:lnTo>
                    <a:pt x="0" y="165100"/>
                  </a:lnTo>
                  <a:close/>
                </a:path>
              </a:pathLst>
            </a:custGeom>
            <a:solidFill>
              <a:schemeClr val="accent2">
                <a:lumMod val="5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91" name="Rectangle 9">
              <a:extLst>
                <a:ext uri="{FF2B5EF4-FFF2-40B4-BE49-F238E27FC236}">
                  <a16:creationId xmlns:a16="http://schemas.microsoft.com/office/drawing/2014/main" id="{52F68F2F-4D50-204E-9AE6-75DB65FB3ABB}"/>
                </a:ext>
              </a:extLst>
            </p:cNvPr>
            <p:cNvSpPr/>
            <p:nvPr/>
          </p:nvSpPr>
          <p:spPr>
            <a:xfrm>
              <a:off x="3964580" y="1613836"/>
              <a:ext cx="579166" cy="1767117"/>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482600 h 1501245"/>
                <a:gd name="connsiteX1" fmla="*/ 1696507 w 1696507"/>
                <a:gd name="connsiteY1" fmla="*/ 0 h 1501245"/>
                <a:gd name="connsiteX2" fmla="*/ 1696507 w 1696507"/>
                <a:gd name="connsiteY2" fmla="*/ 1501245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92125 h 1510770"/>
                <a:gd name="connsiteX1" fmla="*/ 1693332 w 1696507"/>
                <a:gd name="connsiteY1" fmla="*/ 0 h 1510770"/>
                <a:gd name="connsiteX2" fmla="*/ 1696507 w 1696507"/>
                <a:gd name="connsiteY2" fmla="*/ 1342495 h 1510770"/>
                <a:gd name="connsiteX3" fmla="*/ 0 w 1696507"/>
                <a:gd name="connsiteY3" fmla="*/ 1510770 h 1510770"/>
                <a:gd name="connsiteX4" fmla="*/ 0 w 1696507"/>
                <a:gd name="connsiteY4" fmla="*/ 492125 h 1510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10770">
                  <a:moveTo>
                    <a:pt x="0" y="492125"/>
                  </a:moveTo>
                  <a:lnTo>
                    <a:pt x="1693332" y="0"/>
                  </a:lnTo>
                  <a:cubicBezTo>
                    <a:pt x="1694390" y="447498"/>
                    <a:pt x="1695449" y="894997"/>
                    <a:pt x="1696507" y="1342495"/>
                  </a:cubicBezTo>
                  <a:lnTo>
                    <a:pt x="0" y="1510770"/>
                  </a:lnTo>
                  <a:lnTo>
                    <a:pt x="0" y="492125"/>
                  </a:lnTo>
                  <a:close/>
                </a:path>
              </a:pathLst>
            </a:custGeom>
            <a:solidFill>
              <a:schemeClr val="accent3">
                <a:lumMod val="5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92" name="Rectangle 10">
              <a:extLst>
                <a:ext uri="{FF2B5EF4-FFF2-40B4-BE49-F238E27FC236}">
                  <a16:creationId xmlns:a16="http://schemas.microsoft.com/office/drawing/2014/main" id="{9077CD67-3506-4441-8B9E-EE36F5496A08}"/>
                </a:ext>
              </a:extLst>
            </p:cNvPr>
            <p:cNvSpPr/>
            <p:nvPr/>
          </p:nvSpPr>
          <p:spPr>
            <a:xfrm>
              <a:off x="3964580" y="4572437"/>
              <a:ext cx="579166" cy="1755976"/>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018645"/>
                <a:gd name="connsiteX1" fmla="*/ 1696507 w 1696507"/>
                <a:gd name="connsiteY1" fmla="*/ 168275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501245"/>
                <a:gd name="connsiteX1" fmla="*/ 1696507 w 1696507"/>
                <a:gd name="connsiteY1" fmla="*/ 168275 h 1501245"/>
                <a:gd name="connsiteX2" fmla="*/ 1696507 w 1696507"/>
                <a:gd name="connsiteY2" fmla="*/ 1501245 h 1501245"/>
                <a:gd name="connsiteX3" fmla="*/ 0 w 1696507"/>
                <a:gd name="connsiteY3" fmla="*/ 1018645 h 1501245"/>
                <a:gd name="connsiteX4" fmla="*/ 0 w 1696507"/>
                <a:gd name="connsiteY4" fmla="*/ 0 h 1501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01245">
                  <a:moveTo>
                    <a:pt x="0" y="0"/>
                  </a:moveTo>
                  <a:lnTo>
                    <a:pt x="1696507" y="168275"/>
                  </a:lnTo>
                  <a:lnTo>
                    <a:pt x="1696507" y="1501245"/>
                  </a:lnTo>
                  <a:lnTo>
                    <a:pt x="0" y="1018645"/>
                  </a:lnTo>
                  <a:lnTo>
                    <a:pt x="0" y="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93" name="Rectangle 92">
              <a:extLst>
                <a:ext uri="{FF2B5EF4-FFF2-40B4-BE49-F238E27FC236}">
                  <a16:creationId xmlns:a16="http://schemas.microsoft.com/office/drawing/2014/main" id="{F88863CC-C474-B547-9987-A93550C3A06B}"/>
                </a:ext>
              </a:extLst>
            </p:cNvPr>
            <p:cNvSpPr/>
            <p:nvPr/>
          </p:nvSpPr>
          <p:spPr>
            <a:xfrm>
              <a:off x="2612629" y="2449259"/>
              <a:ext cx="1111233" cy="646331"/>
            </a:xfrm>
            <a:prstGeom prst="rect">
              <a:avLst/>
            </a:prstGeom>
          </p:spPr>
          <p:txBody>
            <a:bodyPr wrap="square" lIns="0" tIns="0" rIns="0" bIns="0">
              <a:spAutoFit/>
            </a:bodyPr>
            <a:lstStyle/>
            <a:p>
              <a:r>
                <a:rPr lang="en-US" sz="1400" b="1" dirty="0">
                  <a:solidFill>
                    <a:prstClr val="white"/>
                  </a:solidFill>
                </a:rPr>
                <a:t>Lorem ipsum </a:t>
              </a:r>
              <a:r>
                <a:rPr lang="en-US" sz="1400" b="1" dirty="0" err="1">
                  <a:solidFill>
                    <a:prstClr val="white"/>
                  </a:solidFill>
                </a:rPr>
                <a:t>dolorLorem</a:t>
              </a:r>
              <a:r>
                <a:rPr lang="en-US" sz="1400" b="1" dirty="0">
                  <a:solidFill>
                    <a:prstClr val="white"/>
                  </a:solidFill>
                </a:rPr>
                <a:t> ipsum dolor  </a:t>
              </a:r>
            </a:p>
          </p:txBody>
        </p:sp>
        <p:sp>
          <p:nvSpPr>
            <p:cNvPr id="94" name="Rectangle 93">
              <a:extLst>
                <a:ext uri="{FF2B5EF4-FFF2-40B4-BE49-F238E27FC236}">
                  <a16:creationId xmlns:a16="http://schemas.microsoft.com/office/drawing/2014/main" id="{15612620-0AB4-8141-9839-933D5E13A5E3}"/>
                </a:ext>
              </a:extLst>
            </p:cNvPr>
            <p:cNvSpPr/>
            <p:nvPr/>
          </p:nvSpPr>
          <p:spPr>
            <a:xfrm>
              <a:off x="2612627" y="3655276"/>
              <a:ext cx="1316865" cy="646331"/>
            </a:xfrm>
            <a:prstGeom prst="rect">
              <a:avLst/>
            </a:prstGeom>
          </p:spPr>
          <p:txBody>
            <a:bodyPr wrap="square" lIns="0" tIns="0" rIns="0" bIns="0">
              <a:spAutoFit/>
            </a:bodyPr>
            <a:lstStyle/>
            <a:p>
              <a:r>
                <a:rPr lang="en-US" sz="1400" b="1" dirty="0">
                  <a:solidFill>
                    <a:prstClr val="white"/>
                  </a:solidFill>
                </a:rPr>
                <a:t>Lorem ipsum dolor Lorem ipsum dolor </a:t>
              </a:r>
            </a:p>
          </p:txBody>
        </p:sp>
        <p:sp>
          <p:nvSpPr>
            <p:cNvPr id="153" name="Rectangle 152">
              <a:extLst>
                <a:ext uri="{FF2B5EF4-FFF2-40B4-BE49-F238E27FC236}">
                  <a16:creationId xmlns:a16="http://schemas.microsoft.com/office/drawing/2014/main" id="{95D117F0-2E83-C74C-AA19-43A8D06836B2}"/>
                </a:ext>
              </a:extLst>
            </p:cNvPr>
            <p:cNvSpPr/>
            <p:nvPr/>
          </p:nvSpPr>
          <p:spPr>
            <a:xfrm>
              <a:off x="2612629" y="4753510"/>
              <a:ext cx="1111233" cy="646331"/>
            </a:xfrm>
            <a:prstGeom prst="rect">
              <a:avLst/>
            </a:prstGeom>
          </p:spPr>
          <p:txBody>
            <a:bodyPr wrap="square" lIns="0" tIns="0" rIns="0" bIns="0">
              <a:spAutoFit/>
            </a:bodyPr>
            <a:lstStyle/>
            <a:p>
              <a:r>
                <a:rPr lang="en-US" sz="1400" b="1" dirty="0">
                  <a:solidFill>
                    <a:prstClr val="white"/>
                  </a:solidFill>
                </a:rPr>
                <a:t>Lorem ipsum dolor Lorem ipsum dolor </a:t>
              </a:r>
            </a:p>
          </p:txBody>
        </p:sp>
        <p:sp>
          <p:nvSpPr>
            <p:cNvPr id="154" name="Round Same Side Corner Rectangle 153">
              <a:extLst>
                <a:ext uri="{FF2B5EF4-FFF2-40B4-BE49-F238E27FC236}">
                  <a16:creationId xmlns:a16="http://schemas.microsoft.com/office/drawing/2014/main" id="{E8159ABD-A6D5-744E-ABEC-AE186B7C7971}"/>
                </a:ext>
              </a:extLst>
            </p:cNvPr>
            <p:cNvSpPr/>
            <p:nvPr/>
          </p:nvSpPr>
          <p:spPr>
            <a:xfrm rot="5400000">
              <a:off x="5803008" y="355503"/>
              <a:ext cx="1574621" cy="4093141"/>
            </a:xfrm>
            <a:prstGeom prst="round2Same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155" name="Round Same Side Corner Rectangle 154">
              <a:extLst>
                <a:ext uri="{FF2B5EF4-FFF2-40B4-BE49-F238E27FC236}">
                  <a16:creationId xmlns:a16="http://schemas.microsoft.com/office/drawing/2014/main" id="{711BD2E6-155D-3741-BD54-E66E6783A833}"/>
                </a:ext>
              </a:extLst>
            </p:cNvPr>
            <p:cNvSpPr/>
            <p:nvPr/>
          </p:nvSpPr>
          <p:spPr>
            <a:xfrm rot="5400000">
              <a:off x="5803008" y="1930126"/>
              <a:ext cx="1574621" cy="4093141"/>
            </a:xfrm>
            <a:prstGeom prst="round2Same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156" name="Round Same Side Corner Rectangle 155">
              <a:extLst>
                <a:ext uri="{FF2B5EF4-FFF2-40B4-BE49-F238E27FC236}">
                  <a16:creationId xmlns:a16="http://schemas.microsoft.com/office/drawing/2014/main" id="{657ED715-C782-1A4C-97E0-A9C847683075}"/>
                </a:ext>
              </a:extLst>
            </p:cNvPr>
            <p:cNvSpPr/>
            <p:nvPr/>
          </p:nvSpPr>
          <p:spPr>
            <a:xfrm rot="5400000">
              <a:off x="5803008" y="3504748"/>
              <a:ext cx="1574621" cy="4093141"/>
            </a:xfrm>
            <a:prstGeom prst="round2Same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157" name="Rounded Rectangle 156">
              <a:extLst>
                <a:ext uri="{FF2B5EF4-FFF2-40B4-BE49-F238E27FC236}">
                  <a16:creationId xmlns:a16="http://schemas.microsoft.com/office/drawing/2014/main" id="{19C8B8FE-BCFE-214C-B581-04D666081E50}"/>
                </a:ext>
              </a:extLst>
            </p:cNvPr>
            <p:cNvSpPr/>
            <p:nvPr/>
          </p:nvSpPr>
          <p:spPr>
            <a:xfrm>
              <a:off x="4875026" y="1741321"/>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58" name="Rounded Rectangle 157">
              <a:extLst>
                <a:ext uri="{FF2B5EF4-FFF2-40B4-BE49-F238E27FC236}">
                  <a16:creationId xmlns:a16="http://schemas.microsoft.com/office/drawing/2014/main" id="{E1C1F00B-B08E-0944-A0C5-261153773E28}"/>
                </a:ext>
              </a:extLst>
            </p:cNvPr>
            <p:cNvSpPr/>
            <p:nvPr/>
          </p:nvSpPr>
          <p:spPr>
            <a:xfrm>
              <a:off x="6031871" y="1741321"/>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59" name="Rounded Rectangle 158">
              <a:extLst>
                <a:ext uri="{FF2B5EF4-FFF2-40B4-BE49-F238E27FC236}">
                  <a16:creationId xmlns:a16="http://schemas.microsoft.com/office/drawing/2014/main" id="{260DF6B3-9F7D-EA4A-B764-6BED693359A8}"/>
                </a:ext>
              </a:extLst>
            </p:cNvPr>
            <p:cNvSpPr/>
            <p:nvPr/>
          </p:nvSpPr>
          <p:spPr>
            <a:xfrm>
              <a:off x="7188716" y="1741321"/>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0" name="Rounded Rectangle 159">
              <a:extLst>
                <a:ext uri="{FF2B5EF4-FFF2-40B4-BE49-F238E27FC236}">
                  <a16:creationId xmlns:a16="http://schemas.microsoft.com/office/drawing/2014/main" id="{ECFF14E8-3D9E-5642-82D2-43B5C82E1BB2}"/>
                </a:ext>
              </a:extLst>
            </p:cNvPr>
            <p:cNvSpPr/>
            <p:nvPr/>
          </p:nvSpPr>
          <p:spPr>
            <a:xfrm>
              <a:off x="4875026" y="3315944"/>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1" name="Rounded Rectangle 160">
              <a:extLst>
                <a:ext uri="{FF2B5EF4-FFF2-40B4-BE49-F238E27FC236}">
                  <a16:creationId xmlns:a16="http://schemas.microsoft.com/office/drawing/2014/main" id="{6B99EA06-4AE1-7847-9EC2-F040DA049D43}"/>
                </a:ext>
              </a:extLst>
            </p:cNvPr>
            <p:cNvSpPr/>
            <p:nvPr/>
          </p:nvSpPr>
          <p:spPr>
            <a:xfrm>
              <a:off x="6031871" y="3315944"/>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2" name="Rounded Rectangle 161">
              <a:extLst>
                <a:ext uri="{FF2B5EF4-FFF2-40B4-BE49-F238E27FC236}">
                  <a16:creationId xmlns:a16="http://schemas.microsoft.com/office/drawing/2014/main" id="{106780E4-499F-1D4D-AA93-10A9E10372DF}"/>
                </a:ext>
              </a:extLst>
            </p:cNvPr>
            <p:cNvSpPr/>
            <p:nvPr/>
          </p:nvSpPr>
          <p:spPr>
            <a:xfrm>
              <a:off x="7188716" y="3315944"/>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3" name="Rounded Rectangle 162">
              <a:extLst>
                <a:ext uri="{FF2B5EF4-FFF2-40B4-BE49-F238E27FC236}">
                  <a16:creationId xmlns:a16="http://schemas.microsoft.com/office/drawing/2014/main" id="{253BA622-8541-FB42-B33D-8DB739CE3C36}"/>
                </a:ext>
              </a:extLst>
            </p:cNvPr>
            <p:cNvSpPr/>
            <p:nvPr/>
          </p:nvSpPr>
          <p:spPr>
            <a:xfrm>
              <a:off x="4875026" y="4890566"/>
              <a:ext cx="1695317"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4" name="Rounded Rectangle 163">
              <a:extLst>
                <a:ext uri="{FF2B5EF4-FFF2-40B4-BE49-F238E27FC236}">
                  <a16:creationId xmlns:a16="http://schemas.microsoft.com/office/drawing/2014/main" id="{E09B330A-4032-9B48-8291-92F8FB4AFBFB}"/>
                </a:ext>
              </a:extLst>
            </p:cNvPr>
            <p:cNvSpPr/>
            <p:nvPr/>
          </p:nvSpPr>
          <p:spPr>
            <a:xfrm>
              <a:off x="6610294" y="4890566"/>
              <a:ext cx="1695317"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5" name="Right Brace 164">
              <a:extLst>
                <a:ext uri="{FF2B5EF4-FFF2-40B4-BE49-F238E27FC236}">
                  <a16:creationId xmlns:a16="http://schemas.microsoft.com/office/drawing/2014/main" id="{74CCACA5-9967-C04A-A340-797E25022F14}"/>
                </a:ext>
              </a:extLst>
            </p:cNvPr>
            <p:cNvSpPr/>
            <p:nvPr/>
          </p:nvSpPr>
          <p:spPr>
            <a:xfrm>
              <a:off x="8705521" y="1888676"/>
              <a:ext cx="257813" cy="1026790"/>
            </a:xfrm>
            <a:prstGeom prst="rightBrace">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66" name="Rectangle 165">
              <a:extLst>
                <a:ext uri="{FF2B5EF4-FFF2-40B4-BE49-F238E27FC236}">
                  <a16:creationId xmlns:a16="http://schemas.microsoft.com/office/drawing/2014/main" id="{C509954E-C5ED-6A42-8D2E-4221A33CA2A7}"/>
                </a:ext>
              </a:extLst>
            </p:cNvPr>
            <p:cNvSpPr/>
            <p:nvPr/>
          </p:nvSpPr>
          <p:spPr>
            <a:xfrm>
              <a:off x="9073577" y="1962856"/>
              <a:ext cx="1229189" cy="923330"/>
            </a:xfrm>
            <a:prstGeom prst="rect">
              <a:avLst/>
            </a:prstGeom>
          </p:spPr>
          <p:txBody>
            <a:bodyPr wrap="square" lIns="0" tIns="0" rIns="0" bIns="0">
              <a:spAutoFit/>
            </a:bodyPr>
            <a:lstStyle/>
            <a:p>
              <a:r>
                <a:rPr lang="en-US" sz="1200" dirty="0">
                  <a:solidFill>
                    <a:srgbClr val="313131"/>
                  </a:solidFill>
                </a:rPr>
                <a:t>Lorem ipsum dolor Lorem ipsum dolor Lorem ipsum dolor Lorem ipsum dolor Lorem ipsum dolor </a:t>
              </a:r>
            </a:p>
          </p:txBody>
        </p:sp>
        <p:sp>
          <p:nvSpPr>
            <p:cNvPr id="167" name="Right Brace 166">
              <a:extLst>
                <a:ext uri="{FF2B5EF4-FFF2-40B4-BE49-F238E27FC236}">
                  <a16:creationId xmlns:a16="http://schemas.microsoft.com/office/drawing/2014/main" id="{B2099198-1E17-FF4C-9FD2-3ABB5A1B51BC}"/>
                </a:ext>
              </a:extLst>
            </p:cNvPr>
            <p:cNvSpPr/>
            <p:nvPr/>
          </p:nvSpPr>
          <p:spPr>
            <a:xfrm>
              <a:off x="8705521" y="3463299"/>
              <a:ext cx="257813" cy="1026790"/>
            </a:xfrm>
            <a:prstGeom prst="rightBrace">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68" name="Rectangle 167">
              <a:extLst>
                <a:ext uri="{FF2B5EF4-FFF2-40B4-BE49-F238E27FC236}">
                  <a16:creationId xmlns:a16="http://schemas.microsoft.com/office/drawing/2014/main" id="{E3C30602-4899-014C-B314-4356092E9032}"/>
                </a:ext>
              </a:extLst>
            </p:cNvPr>
            <p:cNvSpPr/>
            <p:nvPr/>
          </p:nvSpPr>
          <p:spPr>
            <a:xfrm>
              <a:off x="9073577" y="3513743"/>
              <a:ext cx="1229189" cy="923330"/>
            </a:xfrm>
            <a:prstGeom prst="rect">
              <a:avLst/>
            </a:prstGeom>
          </p:spPr>
          <p:txBody>
            <a:bodyPr wrap="square" lIns="0" tIns="0" rIns="0" bIns="0">
              <a:spAutoFit/>
            </a:bodyPr>
            <a:lstStyle/>
            <a:p>
              <a:r>
                <a:rPr lang="en-US" sz="1200" dirty="0">
                  <a:solidFill>
                    <a:srgbClr val="313131"/>
                  </a:solidFill>
                </a:rPr>
                <a:t>Lorem ipsum dolor Lorem ipsum dolor Lorem ipsum dolor Lorem ipsum dolor Lorem ipsum dolor </a:t>
              </a:r>
            </a:p>
          </p:txBody>
        </p:sp>
        <p:sp>
          <p:nvSpPr>
            <p:cNvPr id="169" name="Right Brace 168">
              <a:extLst>
                <a:ext uri="{FF2B5EF4-FFF2-40B4-BE49-F238E27FC236}">
                  <a16:creationId xmlns:a16="http://schemas.microsoft.com/office/drawing/2014/main" id="{3DED3FEE-CFB2-0944-A829-A8670F53F620}"/>
                </a:ext>
              </a:extLst>
            </p:cNvPr>
            <p:cNvSpPr/>
            <p:nvPr/>
          </p:nvSpPr>
          <p:spPr>
            <a:xfrm>
              <a:off x="8705521" y="5037921"/>
              <a:ext cx="257813" cy="1026790"/>
            </a:xfrm>
            <a:prstGeom prst="rightBrace">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70" name="Rectangle 169">
              <a:extLst>
                <a:ext uri="{FF2B5EF4-FFF2-40B4-BE49-F238E27FC236}">
                  <a16:creationId xmlns:a16="http://schemas.microsoft.com/office/drawing/2014/main" id="{6294E3CE-250B-0047-A041-AD77909314B6}"/>
                </a:ext>
              </a:extLst>
            </p:cNvPr>
            <p:cNvSpPr/>
            <p:nvPr/>
          </p:nvSpPr>
          <p:spPr>
            <a:xfrm>
              <a:off x="9073577" y="5180955"/>
              <a:ext cx="1229188" cy="923330"/>
            </a:xfrm>
            <a:prstGeom prst="rect">
              <a:avLst/>
            </a:prstGeom>
          </p:spPr>
          <p:txBody>
            <a:bodyPr wrap="square" lIns="0" tIns="0" rIns="0" bIns="0">
              <a:spAutoFit/>
            </a:bodyPr>
            <a:lstStyle/>
            <a:p>
              <a:r>
                <a:rPr lang="en-US" sz="1200" dirty="0">
                  <a:solidFill>
                    <a:srgbClr val="313131"/>
                  </a:solidFill>
                </a:rPr>
                <a:t>Lorem ipsum dolor Lorem ipsum dolor Lorem ipsum dolor Lorem ipsum dolor Lorem ipsum dolor </a:t>
              </a:r>
            </a:p>
          </p:txBody>
        </p:sp>
      </p:grpSp>
    </p:spTree>
    <p:custDataLst>
      <p:tags r:id="rId1"/>
    </p:custDataLst>
    <p:extLst>
      <p:ext uri="{BB962C8B-B14F-4D97-AF65-F5344CB8AC3E}">
        <p14:creationId xmlns:p14="http://schemas.microsoft.com/office/powerpoint/2010/main" val="1132077200"/>
      </p:ext>
    </p:extLst>
  </p:cSld>
  <p:clrMapOvr>
    <a:masterClrMapping/>
  </p:clrMapOvr>
  <p:transition>
    <p:fade/>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p:cNvSpPr txBox="1">
            <a:spLocks/>
          </p:cNvSpPr>
          <p:nvPr/>
        </p:nvSpPr>
        <p:spPr>
          <a:xfrm>
            <a:off x="478304" y="1212586"/>
            <a:ext cx="5635242" cy="703339"/>
          </a:xfrm>
          <a:prstGeom prst="rect">
            <a:avLst/>
          </a:prstGeom>
          <a:effectLst/>
        </p:spPr>
        <p:txBody>
          <a:bodyPr vert="horz" wrap="square" lIns="68580" tIns="34290" rIns="68580" bIns="3429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u="none" strike="noStrike" kern="1200">
                <a:solidFill>
                  <a:schemeClr val="tx1">
                    <a:lumMod val="100000"/>
                  </a:schemeClr>
                </a:solidFill>
                <a:latin typeface="Verdana"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64" indent="-171464" defTabSz="685860">
              <a:lnSpc>
                <a:spcPct val="100000"/>
              </a:lnSpc>
              <a:spcBef>
                <a:spcPts val="750"/>
              </a:spcBef>
              <a:defRPr/>
            </a:pPr>
            <a:r>
              <a:rPr lang="en-AU" sz="1100" dirty="0">
                <a:solidFill>
                  <a:schemeClr val="bg1"/>
                </a:solidFill>
                <a:latin typeface="+mn-lt"/>
                <a:ea typeface="Verdana" panose="020B0604030504040204" pitchFamily="34" charset="0"/>
                <a:cs typeface="Verdana" panose="020B0604030504040204" pitchFamily="34" charset="0"/>
              </a:rPr>
              <a:t>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a:t>
            </a:r>
          </a:p>
          <a:p>
            <a:pPr marL="171464" indent="-171464" defTabSz="685860">
              <a:lnSpc>
                <a:spcPct val="100000"/>
              </a:lnSpc>
              <a:spcBef>
                <a:spcPts val="750"/>
              </a:spcBef>
              <a:defRPr/>
            </a:pPr>
            <a:r>
              <a:rPr lang="en-AU" sz="1100" dirty="0">
                <a:solidFill>
                  <a:schemeClr val="bg1"/>
                </a:solidFill>
                <a:latin typeface="+mn-lt"/>
                <a:ea typeface="Verdana" panose="020B0604030504040204" pitchFamily="34" charset="0"/>
                <a:cs typeface="Verdana" panose="020B0604030504040204" pitchFamily="34" charset="0"/>
              </a:rPr>
              <a:t>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a:t>
            </a:r>
          </a:p>
        </p:txBody>
      </p:sp>
      <p:sp>
        <p:nvSpPr>
          <p:cNvPr id="4" name="Title 4"/>
          <p:cNvSpPr txBox="1">
            <a:spLocks/>
          </p:cNvSpPr>
          <p:nvPr/>
        </p:nvSpPr>
        <p:spPr>
          <a:xfrm>
            <a:off x="9124615" y="1241611"/>
            <a:ext cx="1951300" cy="25057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AU" sz="1100" dirty="0">
                <a:solidFill>
                  <a:schemeClr val="bg1"/>
                </a:solidFill>
                <a:latin typeface="+mn-lt"/>
                <a:ea typeface="Verdana" panose="020B0604030504040204" pitchFamily="34" charset="0"/>
                <a:cs typeface="Verdana" panose="020B0604030504040204" pitchFamily="34" charset="0"/>
              </a:rPr>
              <a:t>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a:t>
            </a:r>
          </a:p>
        </p:txBody>
      </p:sp>
      <p:cxnSp>
        <p:nvCxnSpPr>
          <p:cNvPr id="5" name="直接连接符 4"/>
          <p:cNvCxnSpPr/>
          <p:nvPr/>
        </p:nvCxnSpPr>
        <p:spPr>
          <a:xfrm>
            <a:off x="534069" y="1126178"/>
            <a:ext cx="7445375" cy="0"/>
          </a:xfrm>
          <a:prstGeom prst="line">
            <a:avLst/>
          </a:prstGeom>
          <a:ln w="38100">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6" name="直接连接符 5"/>
          <p:cNvCxnSpPr/>
          <p:nvPr/>
        </p:nvCxnSpPr>
        <p:spPr>
          <a:xfrm>
            <a:off x="8157244" y="1135134"/>
            <a:ext cx="3629025" cy="0"/>
          </a:xfrm>
          <a:prstGeom prst="line">
            <a:avLst/>
          </a:prstGeom>
          <a:ln w="38100">
            <a:solidFill>
              <a:srgbClr val="6FC2B4"/>
            </a:solidFill>
          </a:ln>
        </p:spPr>
        <p:style>
          <a:lnRef idx="1">
            <a:schemeClr val="accent1"/>
          </a:lnRef>
          <a:fillRef idx="0">
            <a:schemeClr val="accent1"/>
          </a:fillRef>
          <a:effectRef idx="0">
            <a:schemeClr val="accent1"/>
          </a:effectRef>
          <a:fontRef idx="minor">
            <a:schemeClr val="tx1"/>
          </a:fontRef>
        </p:style>
      </p:cxnSp>
      <p:sp>
        <p:nvSpPr>
          <p:cNvPr id="7" name="Text Placeholder 3"/>
          <p:cNvSpPr txBox="1">
            <a:spLocks/>
          </p:cNvSpPr>
          <p:nvPr/>
        </p:nvSpPr>
        <p:spPr>
          <a:xfrm>
            <a:off x="8157244" y="1702534"/>
            <a:ext cx="1725613" cy="1131079"/>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US" sz="900" dirty="0">
                <a:solidFill>
                  <a:schemeClr val="bg1"/>
                </a:solidFill>
                <a:ea typeface="Verdana" panose="020B0604030504040204" pitchFamily="34" charset="0"/>
                <a:cs typeface="Verdana" panose="020B0604030504040204" pitchFamily="34" charset="0"/>
              </a:rPr>
              <a:t>Lorem ipsum dolor Lorem ipsum dolor Lorem ipsum dolor Lorem ipsum dolor Lorem ipsum dolor </a:t>
            </a:r>
            <a:endParaRPr lang="en-AU" sz="900" dirty="0">
              <a:solidFill>
                <a:schemeClr val="accent6">
                  <a:lumMod val="20000"/>
                  <a:lumOff val="80000"/>
                </a:schemeClr>
              </a:solidFill>
              <a:ea typeface="Verdana" panose="020B0604030504040204" pitchFamily="34" charset="0"/>
              <a:cs typeface="Verdana" panose="020B0604030504040204" pitchFamily="34" charset="0"/>
            </a:endParaRPr>
          </a:p>
        </p:txBody>
      </p:sp>
      <p:sp>
        <p:nvSpPr>
          <p:cNvPr id="8" name="矩形 7"/>
          <p:cNvSpPr/>
          <p:nvPr/>
        </p:nvSpPr>
        <p:spPr>
          <a:xfrm>
            <a:off x="9882857" y="1661729"/>
            <a:ext cx="1903412" cy="784830"/>
          </a:xfrm>
          <a:prstGeom prst="rect">
            <a:avLst/>
          </a:prstGeom>
        </p:spPr>
        <p:txBody>
          <a:bodyPr wrap="square">
            <a:spAutoFit/>
          </a:bodyPr>
          <a:lstStyle/>
          <a:p>
            <a:pPr algn="ctr"/>
            <a:r>
              <a:rPr lang="en-US" sz="900" kern="0" dirty="0">
                <a:solidFill>
                  <a:schemeClr val="bg1"/>
                </a:solidFill>
                <a:ea typeface="Verdana" panose="020B0604030504040204" pitchFamily="34" charset="0"/>
                <a:cs typeface="Verdana" panose="020B0604030504040204" pitchFamily="34" charset="0"/>
              </a:rPr>
              <a:t>Lorem ipsum dolor Lorem ipsum dolor Lorem ipsum dolor Lorem ipsum dolor Lorem ipsum dolor Lorem ipsum dolor Lorem ipsum dolor </a:t>
            </a:r>
            <a:endParaRPr lang="en-AU" sz="900" i="1" dirty="0">
              <a:solidFill>
                <a:schemeClr val="bg1"/>
              </a:solidFill>
              <a:ea typeface="Verdana" panose="020B0604030504040204" pitchFamily="34" charset="0"/>
              <a:cs typeface="Verdana" panose="020B0604030504040204" pitchFamily="34" charset="0"/>
            </a:endParaRPr>
          </a:p>
        </p:txBody>
      </p:sp>
      <p:grpSp>
        <p:nvGrpSpPr>
          <p:cNvPr id="9" name="Group 60">
            <a:extLst>
              <a:ext uri="{FF2B5EF4-FFF2-40B4-BE49-F238E27FC236}">
                <a16:creationId xmlns:a16="http://schemas.microsoft.com/office/drawing/2014/main" id="{C9B25C5A-A49D-2645-B6F7-F44732F776AF}"/>
              </a:ext>
            </a:extLst>
          </p:cNvPr>
          <p:cNvGrpSpPr/>
          <p:nvPr/>
        </p:nvGrpSpPr>
        <p:grpSpPr>
          <a:xfrm>
            <a:off x="8229848" y="2871017"/>
            <a:ext cx="1611034" cy="1604846"/>
            <a:chOff x="4318131" y="2247236"/>
            <a:chExt cx="2155371" cy="2158378"/>
          </a:xfrm>
        </p:grpSpPr>
        <p:sp>
          <p:nvSpPr>
            <p:cNvPr id="10" name="Oval 61">
              <a:extLst>
                <a:ext uri="{FF2B5EF4-FFF2-40B4-BE49-F238E27FC236}">
                  <a16:creationId xmlns:a16="http://schemas.microsoft.com/office/drawing/2014/main" id="{8F5CEE59-150D-5842-85EC-11CC60D3921A}"/>
                </a:ext>
              </a:extLst>
            </p:cNvPr>
            <p:cNvSpPr/>
            <p:nvPr/>
          </p:nvSpPr>
          <p:spPr bwMode="gray">
            <a:xfrm>
              <a:off x="4318131" y="2247236"/>
              <a:ext cx="2155371" cy="2158378"/>
            </a:xfrm>
            <a:prstGeom prst="ellipse">
              <a:avLst/>
            </a:prstGeom>
            <a:solidFill>
              <a:srgbClr val="00ABAB"/>
            </a:solidFill>
            <a:ln w="19050" algn="ctr">
              <a:noFill/>
              <a:miter lim="800000"/>
              <a:headEnd/>
              <a:tailEnd/>
            </a:ln>
          </p:spPr>
          <p:txBody>
            <a:bodyPr wrap="square" lIns="66675" tIns="0" rIns="66675" bIns="0" rtlCol="0" anchor="t"/>
            <a:lstStyle/>
            <a:p>
              <a:pPr algn="ctr" defTabSz="685860">
                <a:lnSpc>
                  <a:spcPct val="106000"/>
                </a:lnSpc>
                <a:defRPr/>
              </a:pPr>
              <a:r>
                <a:rPr lang="en-US" sz="900" kern="0" dirty="0">
                  <a:solidFill>
                    <a:schemeClr val="bg1"/>
                  </a:solidFill>
                  <a:ea typeface="Verdana" panose="020B0604030504040204" pitchFamily="34" charset="0"/>
                  <a:cs typeface="Verdana" panose="020B0604030504040204" pitchFamily="34" charset="0"/>
                </a:rPr>
                <a:t>Lorem ipsum dolor </a:t>
              </a:r>
              <a:endParaRPr lang="en-US" sz="900" b="1" kern="0" baseline="30000" dirty="0">
                <a:solidFill>
                  <a:schemeClr val="bg1"/>
                </a:solidFill>
                <a:ea typeface="Verdana" panose="020B0604030504040204" pitchFamily="34" charset="0"/>
                <a:cs typeface="Verdana" panose="020B0604030504040204" pitchFamily="34" charset="0"/>
              </a:endParaRPr>
            </a:p>
          </p:txBody>
        </p:sp>
        <p:sp>
          <p:nvSpPr>
            <p:cNvPr id="11" name="Oval 62">
              <a:extLst>
                <a:ext uri="{FF2B5EF4-FFF2-40B4-BE49-F238E27FC236}">
                  <a16:creationId xmlns:a16="http://schemas.microsoft.com/office/drawing/2014/main" id="{10B4E65E-D893-AA43-9959-157A995A6F2B}"/>
                </a:ext>
              </a:extLst>
            </p:cNvPr>
            <p:cNvSpPr/>
            <p:nvPr/>
          </p:nvSpPr>
          <p:spPr bwMode="gray">
            <a:xfrm>
              <a:off x="4710016" y="3034013"/>
              <a:ext cx="1371601" cy="1371601"/>
            </a:xfrm>
            <a:prstGeom prst="ellipse">
              <a:avLst/>
            </a:prstGeom>
            <a:solidFill>
              <a:srgbClr val="63666A"/>
            </a:solidFill>
            <a:ln w="19050" algn="ctr">
              <a:noFill/>
              <a:miter lim="800000"/>
              <a:headEnd/>
              <a:tailEnd/>
            </a:ln>
          </p:spPr>
          <p:txBody>
            <a:bodyPr wrap="square" lIns="0" tIns="0" rIns="0" bIns="0" rtlCol="0" anchor="ctr"/>
            <a:lstStyle/>
            <a:p>
              <a:pPr algn="ctr" defTabSz="685860">
                <a:lnSpc>
                  <a:spcPct val="106000"/>
                </a:lnSpc>
                <a:defRPr/>
              </a:pPr>
              <a:r>
                <a:rPr lang="en-US" sz="900" kern="0" dirty="0">
                  <a:solidFill>
                    <a:schemeClr val="bg1"/>
                  </a:solidFill>
                  <a:ea typeface="Verdana" panose="020B0604030504040204" pitchFamily="34" charset="0"/>
                  <a:cs typeface="Verdana" panose="020B0604030504040204" pitchFamily="34" charset="0"/>
                </a:rPr>
                <a:t>Lorem ipsum dolor </a:t>
              </a:r>
              <a:endParaRPr lang="en-US" sz="1050" b="1" kern="0" dirty="0">
                <a:solidFill>
                  <a:schemeClr val="bg1"/>
                </a:solidFill>
                <a:ea typeface="Verdana" panose="020B0604030504040204" pitchFamily="34" charset="0"/>
                <a:cs typeface="Verdana" panose="020B0604030504040204" pitchFamily="34" charset="0"/>
              </a:endParaRPr>
            </a:p>
          </p:txBody>
        </p:sp>
      </p:grpSp>
      <p:grpSp>
        <p:nvGrpSpPr>
          <p:cNvPr id="12" name="Group 66"/>
          <p:cNvGrpSpPr/>
          <p:nvPr/>
        </p:nvGrpSpPr>
        <p:grpSpPr>
          <a:xfrm>
            <a:off x="10096568" y="2841480"/>
            <a:ext cx="1625118" cy="1662238"/>
            <a:chOff x="7573643" y="2762262"/>
            <a:chExt cx="2155371" cy="2158378"/>
          </a:xfrm>
        </p:grpSpPr>
        <p:grpSp>
          <p:nvGrpSpPr>
            <p:cNvPr id="13" name="Group 67">
              <a:extLst>
                <a:ext uri="{FF2B5EF4-FFF2-40B4-BE49-F238E27FC236}">
                  <a16:creationId xmlns:a16="http://schemas.microsoft.com/office/drawing/2014/main" id="{6B3528D3-8D99-9C46-909F-822083FDC4DC}"/>
                </a:ext>
              </a:extLst>
            </p:cNvPr>
            <p:cNvGrpSpPr/>
            <p:nvPr/>
          </p:nvGrpSpPr>
          <p:grpSpPr>
            <a:xfrm>
              <a:off x="7573643" y="2762262"/>
              <a:ext cx="2155371" cy="2158378"/>
              <a:chOff x="1054591" y="2247236"/>
              <a:chExt cx="2155371" cy="2158378"/>
            </a:xfrm>
          </p:grpSpPr>
          <p:sp>
            <p:nvSpPr>
              <p:cNvPr id="15" name="Oval 69">
                <a:extLst>
                  <a:ext uri="{FF2B5EF4-FFF2-40B4-BE49-F238E27FC236}">
                    <a16:creationId xmlns:a16="http://schemas.microsoft.com/office/drawing/2014/main" id="{81B1ED6D-CD04-F843-AC9C-B8C1023CFD92}"/>
                  </a:ext>
                </a:extLst>
              </p:cNvPr>
              <p:cNvSpPr/>
              <p:nvPr/>
            </p:nvSpPr>
            <p:spPr bwMode="gray">
              <a:xfrm>
                <a:off x="1054591" y="2247236"/>
                <a:ext cx="2155371" cy="2158378"/>
              </a:xfrm>
              <a:prstGeom prst="ellipse">
                <a:avLst/>
              </a:prstGeom>
              <a:solidFill>
                <a:srgbClr val="6FC2B4"/>
              </a:solidFill>
              <a:ln w="19050" algn="ctr">
                <a:noFill/>
                <a:miter lim="800000"/>
                <a:headEnd/>
                <a:tailEnd/>
              </a:ln>
            </p:spPr>
            <p:txBody>
              <a:bodyPr wrap="square" lIns="66675" tIns="0" rIns="66675" bIns="66675" rtlCol="0" anchor="t"/>
              <a:lstStyle/>
              <a:p>
                <a:pPr algn="ctr" defTabSz="685860">
                  <a:lnSpc>
                    <a:spcPct val="106000"/>
                  </a:lnSpc>
                  <a:defRPr/>
                </a:pPr>
                <a:endParaRPr lang="en-US" sz="1050" b="1" kern="0" dirty="0">
                  <a:solidFill>
                    <a:srgbClr val="FFFFFF"/>
                  </a:solidFill>
                  <a:ea typeface="Verdana" panose="020B0604030504040204" pitchFamily="34" charset="0"/>
                  <a:cs typeface="Verdana" panose="020B0604030504040204" pitchFamily="34" charset="0"/>
                </a:endParaRPr>
              </a:p>
            </p:txBody>
          </p:sp>
          <p:sp>
            <p:nvSpPr>
              <p:cNvPr id="16" name="Oval 70">
                <a:extLst>
                  <a:ext uri="{FF2B5EF4-FFF2-40B4-BE49-F238E27FC236}">
                    <a16:creationId xmlns:a16="http://schemas.microsoft.com/office/drawing/2014/main" id="{54489D72-8E8F-3543-A780-33023952C5D1}"/>
                  </a:ext>
                </a:extLst>
              </p:cNvPr>
              <p:cNvSpPr/>
              <p:nvPr/>
            </p:nvSpPr>
            <p:spPr bwMode="gray">
              <a:xfrm>
                <a:off x="1450323" y="3010307"/>
                <a:ext cx="1392518" cy="1395307"/>
              </a:xfrm>
              <a:prstGeom prst="ellipse">
                <a:avLst/>
              </a:prstGeom>
              <a:solidFill>
                <a:srgbClr val="63666A"/>
              </a:solidFill>
              <a:ln w="19050" algn="ctr">
                <a:noFill/>
                <a:miter lim="800000"/>
                <a:headEnd/>
                <a:tailEnd/>
              </a:ln>
            </p:spPr>
            <p:txBody>
              <a:bodyPr wrap="square" lIns="66675" tIns="0" rIns="66675" bIns="0" rtlCol="0" anchor="ctr"/>
              <a:lstStyle/>
              <a:p>
                <a:pPr algn="ctr" defTabSz="685860">
                  <a:lnSpc>
                    <a:spcPct val="106000"/>
                  </a:lnSpc>
                  <a:defRPr/>
                </a:pPr>
                <a:r>
                  <a:rPr lang="en-US" sz="900" kern="0" dirty="0">
                    <a:solidFill>
                      <a:srgbClr val="FFFFFF"/>
                    </a:solidFill>
                    <a:ea typeface="Verdana" panose="020B0604030504040204" pitchFamily="34" charset="0"/>
                    <a:cs typeface="Verdana" panose="020B0604030504040204" pitchFamily="34" charset="0"/>
                  </a:rPr>
                  <a:t>Lorem ipsum dolor </a:t>
                </a:r>
                <a:endParaRPr lang="en-US" sz="900" b="1" kern="0" baseline="30000" dirty="0">
                  <a:solidFill>
                    <a:srgbClr val="FFFFFF"/>
                  </a:solidFill>
                  <a:ea typeface="Verdana" panose="020B0604030504040204" pitchFamily="34" charset="0"/>
                  <a:cs typeface="Verdana" panose="020B0604030504040204" pitchFamily="34" charset="0"/>
                </a:endParaRPr>
              </a:p>
            </p:txBody>
          </p:sp>
        </p:grpSp>
        <p:sp>
          <p:nvSpPr>
            <p:cNvPr id="14" name="Rectangle 68"/>
            <p:cNvSpPr/>
            <p:nvPr/>
          </p:nvSpPr>
          <p:spPr>
            <a:xfrm>
              <a:off x="7866679" y="3018374"/>
              <a:ext cx="1597908" cy="302479"/>
            </a:xfrm>
            <a:prstGeom prst="rect">
              <a:avLst/>
            </a:prstGeom>
          </p:spPr>
          <p:txBody>
            <a:bodyPr wrap="square">
              <a:spAutoFit/>
            </a:bodyPr>
            <a:lstStyle/>
            <a:p>
              <a:pPr algn="ctr" defTabSz="685860">
                <a:lnSpc>
                  <a:spcPct val="106000"/>
                </a:lnSpc>
                <a:defRPr/>
              </a:pPr>
              <a:r>
                <a:rPr lang="en-US" sz="900" kern="0" dirty="0">
                  <a:solidFill>
                    <a:srgbClr val="FFFFFF"/>
                  </a:solidFill>
                  <a:ea typeface="Verdana" panose="020B0604030504040204" pitchFamily="34" charset="0"/>
                  <a:cs typeface="Verdana" panose="020B0604030504040204" pitchFamily="34" charset="0"/>
                </a:rPr>
                <a:t>Lorem ipsum dolor </a:t>
              </a:r>
              <a:endParaRPr lang="en-US" sz="900" b="1" kern="0" dirty="0">
                <a:solidFill>
                  <a:srgbClr val="FFFFFF"/>
                </a:solidFill>
                <a:ea typeface="Verdana" panose="020B0604030504040204" pitchFamily="34" charset="0"/>
                <a:cs typeface="Verdana" panose="020B0604030504040204" pitchFamily="34" charset="0"/>
              </a:endParaRPr>
            </a:p>
          </p:txBody>
        </p:sp>
      </p:grpSp>
      <p:sp>
        <p:nvSpPr>
          <p:cNvPr id="17" name="Rectangle 64"/>
          <p:cNvSpPr/>
          <p:nvPr/>
        </p:nvSpPr>
        <p:spPr>
          <a:xfrm>
            <a:off x="8101148" y="4766057"/>
            <a:ext cx="3685121" cy="507831"/>
          </a:xfrm>
          <a:prstGeom prst="rect">
            <a:avLst/>
          </a:prstGeom>
        </p:spPr>
        <p:txBody>
          <a:bodyPr wrap="square">
            <a:spAutoFit/>
          </a:bodyPr>
          <a:lstStyle/>
          <a:p>
            <a:r>
              <a:rPr lang="en-AU" sz="900" dirty="0">
                <a:solidFill>
                  <a:schemeClr val="bg1"/>
                </a:solidFill>
                <a:ea typeface="Verdana" panose="020B0604030504040204" pitchFamily="34" charset="0"/>
                <a:cs typeface="Verdana" panose="020B0604030504040204" pitchFamily="34" charset="0"/>
              </a:rPr>
              <a:t>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a:t>
            </a:r>
            <a:endParaRPr lang="en-AU" sz="900" b="1" dirty="0">
              <a:solidFill>
                <a:schemeClr val="bg1"/>
              </a:solidFill>
              <a:ea typeface="Verdana" panose="020B0604030504040204" pitchFamily="34" charset="0"/>
              <a:cs typeface="Verdana" panose="020B0604030504040204" pitchFamily="34" charset="0"/>
            </a:endParaRPr>
          </a:p>
        </p:txBody>
      </p:sp>
      <p:sp>
        <p:nvSpPr>
          <p:cNvPr id="18" name="Rectangle 11"/>
          <p:cNvSpPr/>
          <p:nvPr/>
        </p:nvSpPr>
        <p:spPr bwMode="gray">
          <a:xfrm>
            <a:off x="1668356" y="4828799"/>
            <a:ext cx="1069777" cy="420308"/>
          </a:xfrm>
          <a:prstGeom prst="rect">
            <a:avLst/>
          </a:prstGeom>
          <a:solidFill>
            <a:schemeClr val="tx1"/>
          </a:solidFill>
          <a:ln w="9525"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defTabSz="685860">
              <a:lnSpc>
                <a:spcPct val="106000"/>
              </a:lnSpc>
              <a:defRPr/>
            </a:pPr>
            <a:r>
              <a:rPr lang="en-AU" sz="1000" b="1" kern="0" dirty="0">
                <a:solidFill>
                  <a:srgbClr val="62B5E5"/>
                </a:solidFill>
                <a:ea typeface="Verdana" panose="020B0604030504040204" pitchFamily="34" charset="0"/>
                <a:cs typeface="Verdana" panose="020B0604030504040204" pitchFamily="34" charset="0"/>
              </a:rPr>
              <a:t>Lorem ipsum </a:t>
            </a:r>
            <a:r>
              <a:rPr lang="en-AU" sz="1000" b="1" kern="0" dirty="0" err="1">
                <a:solidFill>
                  <a:srgbClr val="62B5E5"/>
                </a:solidFill>
                <a:ea typeface="Verdana" panose="020B0604030504040204" pitchFamily="34" charset="0"/>
                <a:cs typeface="Verdana" panose="020B0604030504040204" pitchFamily="34" charset="0"/>
              </a:rPr>
              <a:t>dolor</a:t>
            </a:r>
            <a:r>
              <a:rPr lang="en-AU" sz="1000" b="1" kern="0" dirty="0">
                <a:solidFill>
                  <a:srgbClr val="62B5E5"/>
                </a:solidFill>
                <a:ea typeface="Verdana" panose="020B0604030504040204" pitchFamily="34" charset="0"/>
                <a:cs typeface="Verdana" panose="020B0604030504040204" pitchFamily="34" charset="0"/>
              </a:rPr>
              <a:t> </a:t>
            </a:r>
          </a:p>
        </p:txBody>
      </p:sp>
      <p:sp>
        <p:nvSpPr>
          <p:cNvPr id="19" name="Rectangle 37"/>
          <p:cNvSpPr/>
          <p:nvPr/>
        </p:nvSpPr>
        <p:spPr bwMode="gray">
          <a:xfrm>
            <a:off x="1684191" y="3926901"/>
            <a:ext cx="1038106" cy="635602"/>
          </a:xfrm>
          <a:prstGeom prst="rect">
            <a:avLst/>
          </a:prstGeom>
          <a:solidFill>
            <a:schemeClr val="tx1"/>
          </a:solidFill>
          <a:ln w="9525"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defTabSz="685860">
              <a:lnSpc>
                <a:spcPct val="106000"/>
              </a:lnSpc>
              <a:defRPr/>
            </a:pPr>
            <a:r>
              <a:rPr lang="en-AU" sz="1000" b="1" kern="0" dirty="0">
                <a:solidFill>
                  <a:srgbClr val="A0DCFF"/>
                </a:solidFill>
                <a:ea typeface="Verdana" panose="020B0604030504040204" pitchFamily="34" charset="0"/>
                <a:cs typeface="Verdana" panose="020B0604030504040204" pitchFamily="34" charset="0"/>
              </a:rPr>
              <a:t>Lorem ipsum </a:t>
            </a:r>
            <a:r>
              <a:rPr lang="en-AU" sz="1000" b="1" kern="0" dirty="0" err="1">
                <a:solidFill>
                  <a:srgbClr val="A0DCFF"/>
                </a:solidFill>
                <a:ea typeface="Verdana" panose="020B0604030504040204" pitchFamily="34" charset="0"/>
                <a:cs typeface="Verdana" panose="020B0604030504040204" pitchFamily="34" charset="0"/>
              </a:rPr>
              <a:t>dolor</a:t>
            </a:r>
            <a:r>
              <a:rPr lang="en-AU" sz="1000" b="1" kern="0" dirty="0">
                <a:solidFill>
                  <a:srgbClr val="A0DCFF"/>
                </a:solidFill>
                <a:ea typeface="Verdana" panose="020B0604030504040204" pitchFamily="34" charset="0"/>
                <a:cs typeface="Verdana" panose="020B0604030504040204" pitchFamily="34" charset="0"/>
              </a:rPr>
              <a:t> </a:t>
            </a:r>
          </a:p>
        </p:txBody>
      </p:sp>
      <p:sp>
        <p:nvSpPr>
          <p:cNvPr id="20" name="Rectangle 39"/>
          <p:cNvSpPr/>
          <p:nvPr/>
        </p:nvSpPr>
        <p:spPr bwMode="gray">
          <a:xfrm>
            <a:off x="1803915" y="3201530"/>
            <a:ext cx="798658" cy="403936"/>
          </a:xfrm>
          <a:prstGeom prst="rect">
            <a:avLst/>
          </a:prstGeom>
          <a:solidFill>
            <a:schemeClr val="tx1"/>
          </a:solidFill>
          <a:ln w="9525"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defTabSz="685860">
              <a:lnSpc>
                <a:spcPct val="106000"/>
              </a:lnSpc>
              <a:defRPr/>
            </a:pPr>
            <a:r>
              <a:rPr lang="en-AU" sz="1000" b="1" kern="0" dirty="0">
                <a:solidFill>
                  <a:srgbClr val="0076A8"/>
                </a:solidFill>
                <a:ea typeface="Verdana" panose="020B0604030504040204" pitchFamily="34" charset="0"/>
                <a:cs typeface="Verdana" panose="020B0604030504040204" pitchFamily="34" charset="0"/>
              </a:rPr>
              <a:t>Lorem ipsum </a:t>
            </a:r>
            <a:r>
              <a:rPr lang="en-AU" sz="1000" b="1" kern="0" dirty="0" err="1">
                <a:solidFill>
                  <a:srgbClr val="0076A8"/>
                </a:solidFill>
                <a:ea typeface="Verdana" panose="020B0604030504040204" pitchFamily="34" charset="0"/>
                <a:cs typeface="Verdana" panose="020B0604030504040204" pitchFamily="34" charset="0"/>
              </a:rPr>
              <a:t>dolor</a:t>
            </a:r>
            <a:r>
              <a:rPr lang="en-AU" sz="1000" b="1" kern="0" dirty="0">
                <a:solidFill>
                  <a:srgbClr val="0076A8"/>
                </a:solidFill>
                <a:ea typeface="Verdana" panose="020B0604030504040204" pitchFamily="34" charset="0"/>
                <a:cs typeface="Verdana" panose="020B0604030504040204" pitchFamily="34" charset="0"/>
              </a:rPr>
              <a:t> </a:t>
            </a:r>
          </a:p>
        </p:txBody>
      </p:sp>
      <p:sp>
        <p:nvSpPr>
          <p:cNvPr id="21" name="Rectangle 3"/>
          <p:cNvSpPr/>
          <p:nvPr/>
        </p:nvSpPr>
        <p:spPr>
          <a:xfrm>
            <a:off x="1837325" y="2053101"/>
            <a:ext cx="731839" cy="921280"/>
          </a:xfrm>
          <a:prstGeom prst="rect">
            <a:avLst/>
          </a:prstGeom>
        </p:spPr>
        <p:txBody>
          <a:bodyPr wrap="square" anchor="ctr">
            <a:noAutofit/>
          </a:bodyPr>
          <a:lstStyle/>
          <a:p>
            <a:pPr algn="ctr" defTabSz="685860">
              <a:lnSpc>
                <a:spcPct val="106000"/>
              </a:lnSpc>
              <a:defRPr/>
            </a:pPr>
            <a:r>
              <a:rPr lang="en-AU" sz="1000" b="1" kern="0" dirty="0">
                <a:solidFill>
                  <a:srgbClr val="6FC2B4"/>
                </a:solidFill>
                <a:ea typeface="Verdana" panose="020B0604030504040204" pitchFamily="34" charset="0"/>
                <a:cs typeface="Verdana" panose="020B0604030504040204" pitchFamily="34" charset="0"/>
              </a:rPr>
              <a:t>Lorem ipsum </a:t>
            </a:r>
            <a:r>
              <a:rPr lang="en-AU" sz="1000" b="1" kern="0" dirty="0" err="1">
                <a:solidFill>
                  <a:srgbClr val="6FC2B4"/>
                </a:solidFill>
                <a:ea typeface="Verdana" panose="020B0604030504040204" pitchFamily="34" charset="0"/>
                <a:cs typeface="Verdana" panose="020B0604030504040204" pitchFamily="34" charset="0"/>
              </a:rPr>
              <a:t>dolor</a:t>
            </a:r>
            <a:r>
              <a:rPr lang="en-AU" sz="1000" b="1" kern="0" dirty="0">
                <a:solidFill>
                  <a:srgbClr val="6FC2B4"/>
                </a:solidFill>
                <a:ea typeface="Verdana" panose="020B0604030504040204" pitchFamily="34" charset="0"/>
                <a:cs typeface="Verdana" panose="020B0604030504040204" pitchFamily="34" charset="0"/>
              </a:rPr>
              <a:t> </a:t>
            </a:r>
          </a:p>
        </p:txBody>
      </p:sp>
      <p:grpSp>
        <p:nvGrpSpPr>
          <p:cNvPr id="22" name="Group 795"/>
          <p:cNvGrpSpPr>
            <a:grpSpLocks noChangeAspect="1"/>
          </p:cNvGrpSpPr>
          <p:nvPr/>
        </p:nvGrpSpPr>
        <p:grpSpPr bwMode="auto">
          <a:xfrm>
            <a:off x="553581" y="2212039"/>
            <a:ext cx="578685" cy="578685"/>
            <a:chOff x="7361" y="3009"/>
            <a:chExt cx="340" cy="340"/>
          </a:xfrm>
          <a:solidFill>
            <a:srgbClr val="6FC2B4"/>
          </a:solidFill>
        </p:grpSpPr>
        <p:sp>
          <p:nvSpPr>
            <p:cNvPr id="23" name="Freeform 796"/>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24" name="Freeform 797"/>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25" name="Freeform 798"/>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26" name="Freeform 799"/>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ln>
                  <a:solidFill>
                    <a:srgbClr val="0097A9"/>
                  </a:solidFill>
                </a:ln>
                <a:ea typeface="Verdana" panose="020B0604030504040204" pitchFamily="34" charset="0"/>
                <a:cs typeface="Verdana" panose="020B0604030504040204" pitchFamily="34" charset="0"/>
              </a:endParaRPr>
            </a:p>
          </p:txBody>
        </p:sp>
        <p:sp>
          <p:nvSpPr>
            <p:cNvPr id="27" name="Freeform 800"/>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28" name="Freeform 801"/>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29" name="Freeform 802"/>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grpSp>
      <p:grpSp>
        <p:nvGrpSpPr>
          <p:cNvPr id="30" name="Group 49"/>
          <p:cNvGrpSpPr>
            <a:grpSpLocks noChangeAspect="1"/>
          </p:cNvGrpSpPr>
          <p:nvPr/>
        </p:nvGrpSpPr>
        <p:grpSpPr bwMode="auto">
          <a:xfrm>
            <a:off x="556382" y="3093656"/>
            <a:ext cx="573082" cy="573082"/>
            <a:chOff x="1925" y="6"/>
            <a:chExt cx="340" cy="340"/>
          </a:xfrm>
          <a:solidFill>
            <a:srgbClr val="0076A8"/>
          </a:solidFill>
        </p:grpSpPr>
        <p:sp>
          <p:nvSpPr>
            <p:cNvPr id="31" name="Freeform 50"/>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32" name="Freeform 51"/>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grpSp>
      <p:grpSp>
        <p:nvGrpSpPr>
          <p:cNvPr id="33" name="Group 308"/>
          <p:cNvGrpSpPr>
            <a:grpSpLocks noChangeAspect="1"/>
          </p:cNvGrpSpPr>
          <p:nvPr/>
        </p:nvGrpSpPr>
        <p:grpSpPr bwMode="auto">
          <a:xfrm>
            <a:off x="558594" y="4771367"/>
            <a:ext cx="568659" cy="570331"/>
            <a:chOff x="2955" y="1719"/>
            <a:chExt cx="340" cy="341"/>
          </a:xfrm>
          <a:solidFill>
            <a:srgbClr val="62B5E5"/>
          </a:solidFill>
        </p:grpSpPr>
        <p:sp>
          <p:nvSpPr>
            <p:cNvPr id="34" name="Freeform 309"/>
            <p:cNvSpPr>
              <a:spLocks noEditPoints="1"/>
            </p:cNvSpPr>
            <p:nvPr/>
          </p:nvSpPr>
          <p:spPr bwMode="auto">
            <a:xfrm>
              <a:off x="2955" y="17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35" name="Freeform 310"/>
            <p:cNvSpPr>
              <a:spLocks noEditPoints="1"/>
            </p:cNvSpPr>
            <p:nvPr/>
          </p:nvSpPr>
          <p:spPr bwMode="auto">
            <a:xfrm>
              <a:off x="3019" y="1761"/>
              <a:ext cx="212" cy="235"/>
            </a:xfrm>
            <a:custGeom>
              <a:avLst/>
              <a:gdLst>
                <a:gd name="T0" fmla="*/ 256 w 320"/>
                <a:gd name="T1" fmla="*/ 193 h 353"/>
                <a:gd name="T2" fmla="*/ 64 w 320"/>
                <a:gd name="T3" fmla="*/ 193 h 353"/>
                <a:gd name="T4" fmla="*/ 160 w 320"/>
                <a:gd name="T5" fmla="*/ 118 h 353"/>
                <a:gd name="T6" fmla="*/ 143 w 320"/>
                <a:gd name="T7" fmla="*/ 150 h 353"/>
                <a:gd name="T8" fmla="*/ 180 w 320"/>
                <a:gd name="T9" fmla="*/ 171 h 353"/>
                <a:gd name="T10" fmla="*/ 180 w 320"/>
                <a:gd name="T11" fmla="*/ 214 h 353"/>
                <a:gd name="T12" fmla="*/ 138 w 320"/>
                <a:gd name="T13" fmla="*/ 193 h 353"/>
                <a:gd name="T14" fmla="*/ 180 w 320"/>
                <a:gd name="T15" fmla="*/ 171 h 353"/>
                <a:gd name="T16" fmla="*/ 231 w 320"/>
                <a:gd name="T17" fmla="*/ 214 h 353"/>
                <a:gd name="T18" fmla="*/ 202 w 320"/>
                <a:gd name="T19" fmla="*/ 193 h 353"/>
                <a:gd name="T20" fmla="*/ 231 w 320"/>
                <a:gd name="T21" fmla="*/ 171 h 353"/>
                <a:gd name="T22" fmla="*/ 160 w 320"/>
                <a:gd name="T23" fmla="*/ 267 h 353"/>
                <a:gd name="T24" fmla="*/ 176 w 320"/>
                <a:gd name="T25" fmla="*/ 235 h 353"/>
                <a:gd name="T26" fmla="*/ 118 w 320"/>
                <a:gd name="T27" fmla="*/ 214 h 353"/>
                <a:gd name="T28" fmla="*/ 85 w 320"/>
                <a:gd name="T29" fmla="*/ 193 h 353"/>
                <a:gd name="T30" fmla="*/ 118 w 320"/>
                <a:gd name="T31" fmla="*/ 171 h 353"/>
                <a:gd name="T32" fmla="*/ 118 w 320"/>
                <a:gd name="T33" fmla="*/ 214 h 353"/>
                <a:gd name="T34" fmla="*/ 121 w 320"/>
                <a:gd name="T35" fmla="*/ 235 h 353"/>
                <a:gd name="T36" fmla="*/ 98 w 320"/>
                <a:gd name="T37" fmla="*/ 235 h 353"/>
                <a:gd name="T38" fmla="*/ 198 w 320"/>
                <a:gd name="T39" fmla="*/ 235 h 353"/>
                <a:gd name="T40" fmla="*/ 191 w 320"/>
                <a:gd name="T41" fmla="*/ 261 h 353"/>
                <a:gd name="T42" fmla="*/ 198 w 320"/>
                <a:gd name="T43" fmla="*/ 150 h 353"/>
                <a:gd name="T44" fmla="*/ 221 w 320"/>
                <a:gd name="T45" fmla="*/ 150 h 353"/>
                <a:gd name="T46" fmla="*/ 121 w 320"/>
                <a:gd name="T47" fmla="*/ 150 h 353"/>
                <a:gd name="T48" fmla="*/ 129 w 320"/>
                <a:gd name="T49" fmla="*/ 125 h 353"/>
                <a:gd name="T50" fmla="*/ 160 w 320"/>
                <a:gd name="T51" fmla="*/ 353 h 353"/>
                <a:gd name="T52" fmla="*/ 10 w 320"/>
                <a:gd name="T53" fmla="*/ 193 h 353"/>
                <a:gd name="T54" fmla="*/ 160 w 320"/>
                <a:gd name="T55" fmla="*/ 331 h 353"/>
                <a:gd name="T56" fmla="*/ 160 w 320"/>
                <a:gd name="T57" fmla="*/ 54 h 353"/>
                <a:gd name="T58" fmla="*/ 167 w 320"/>
                <a:gd name="T59" fmla="*/ 68 h 353"/>
                <a:gd name="T60" fmla="*/ 160 w 320"/>
                <a:gd name="T61" fmla="*/ 86 h 353"/>
                <a:gd name="T62" fmla="*/ 120 w 320"/>
                <a:gd name="T63" fmla="*/ 51 h 353"/>
                <a:gd name="T64" fmla="*/ 152 w 320"/>
                <a:gd name="T65" fmla="*/ 4 h 353"/>
                <a:gd name="T66" fmla="*/ 167 w 320"/>
                <a:gd name="T67" fmla="*/ 19 h 353"/>
                <a:gd name="T68" fmla="*/ 160 w 320"/>
                <a:gd name="T69" fmla="*/ 3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53">
                  <a:moveTo>
                    <a:pt x="160" y="289"/>
                  </a:moveTo>
                  <a:cubicBezTo>
                    <a:pt x="213" y="289"/>
                    <a:pt x="256" y="246"/>
                    <a:pt x="256" y="193"/>
                  </a:cubicBezTo>
                  <a:cubicBezTo>
                    <a:pt x="256" y="140"/>
                    <a:pt x="213" y="97"/>
                    <a:pt x="160" y="97"/>
                  </a:cubicBezTo>
                  <a:cubicBezTo>
                    <a:pt x="107" y="97"/>
                    <a:pt x="64" y="140"/>
                    <a:pt x="64" y="193"/>
                  </a:cubicBezTo>
                  <a:cubicBezTo>
                    <a:pt x="64" y="246"/>
                    <a:pt x="107" y="289"/>
                    <a:pt x="160" y="289"/>
                  </a:cubicBezTo>
                  <a:close/>
                  <a:moveTo>
                    <a:pt x="160" y="118"/>
                  </a:moveTo>
                  <a:cubicBezTo>
                    <a:pt x="164" y="118"/>
                    <a:pt x="171" y="129"/>
                    <a:pt x="176" y="150"/>
                  </a:cubicBezTo>
                  <a:cubicBezTo>
                    <a:pt x="143" y="150"/>
                    <a:pt x="143" y="150"/>
                    <a:pt x="143" y="150"/>
                  </a:cubicBezTo>
                  <a:cubicBezTo>
                    <a:pt x="148" y="129"/>
                    <a:pt x="156" y="118"/>
                    <a:pt x="160" y="118"/>
                  </a:cubicBezTo>
                  <a:close/>
                  <a:moveTo>
                    <a:pt x="180" y="171"/>
                  </a:moveTo>
                  <a:cubicBezTo>
                    <a:pt x="181" y="178"/>
                    <a:pt x="181" y="185"/>
                    <a:pt x="181" y="193"/>
                  </a:cubicBezTo>
                  <a:cubicBezTo>
                    <a:pt x="181" y="200"/>
                    <a:pt x="181" y="207"/>
                    <a:pt x="180" y="214"/>
                  </a:cubicBezTo>
                  <a:cubicBezTo>
                    <a:pt x="139" y="214"/>
                    <a:pt x="139" y="214"/>
                    <a:pt x="139" y="214"/>
                  </a:cubicBezTo>
                  <a:cubicBezTo>
                    <a:pt x="139" y="207"/>
                    <a:pt x="138" y="200"/>
                    <a:pt x="138" y="193"/>
                  </a:cubicBezTo>
                  <a:cubicBezTo>
                    <a:pt x="138" y="185"/>
                    <a:pt x="139" y="178"/>
                    <a:pt x="139" y="171"/>
                  </a:cubicBezTo>
                  <a:lnTo>
                    <a:pt x="180" y="171"/>
                  </a:lnTo>
                  <a:close/>
                  <a:moveTo>
                    <a:pt x="234" y="193"/>
                  </a:moveTo>
                  <a:cubicBezTo>
                    <a:pt x="234" y="200"/>
                    <a:pt x="233" y="207"/>
                    <a:pt x="231" y="214"/>
                  </a:cubicBezTo>
                  <a:cubicBezTo>
                    <a:pt x="201" y="214"/>
                    <a:pt x="201" y="214"/>
                    <a:pt x="201" y="214"/>
                  </a:cubicBezTo>
                  <a:cubicBezTo>
                    <a:pt x="202" y="207"/>
                    <a:pt x="202" y="200"/>
                    <a:pt x="202" y="193"/>
                  </a:cubicBezTo>
                  <a:cubicBezTo>
                    <a:pt x="202" y="186"/>
                    <a:pt x="202" y="178"/>
                    <a:pt x="201" y="171"/>
                  </a:cubicBezTo>
                  <a:cubicBezTo>
                    <a:pt x="231" y="171"/>
                    <a:pt x="231" y="171"/>
                    <a:pt x="231" y="171"/>
                  </a:cubicBezTo>
                  <a:cubicBezTo>
                    <a:pt x="233" y="178"/>
                    <a:pt x="234" y="185"/>
                    <a:pt x="234" y="193"/>
                  </a:cubicBezTo>
                  <a:close/>
                  <a:moveTo>
                    <a:pt x="160" y="267"/>
                  </a:moveTo>
                  <a:cubicBezTo>
                    <a:pt x="156" y="267"/>
                    <a:pt x="148" y="256"/>
                    <a:pt x="143" y="235"/>
                  </a:cubicBezTo>
                  <a:cubicBezTo>
                    <a:pt x="176" y="235"/>
                    <a:pt x="176" y="235"/>
                    <a:pt x="176" y="235"/>
                  </a:cubicBezTo>
                  <a:cubicBezTo>
                    <a:pt x="171" y="256"/>
                    <a:pt x="164" y="267"/>
                    <a:pt x="160" y="267"/>
                  </a:cubicBezTo>
                  <a:close/>
                  <a:moveTo>
                    <a:pt x="118" y="214"/>
                  </a:moveTo>
                  <a:cubicBezTo>
                    <a:pt x="88" y="214"/>
                    <a:pt x="88" y="214"/>
                    <a:pt x="88" y="214"/>
                  </a:cubicBezTo>
                  <a:cubicBezTo>
                    <a:pt x="86" y="207"/>
                    <a:pt x="85" y="200"/>
                    <a:pt x="85" y="193"/>
                  </a:cubicBezTo>
                  <a:cubicBezTo>
                    <a:pt x="85" y="185"/>
                    <a:pt x="86" y="178"/>
                    <a:pt x="88" y="171"/>
                  </a:cubicBezTo>
                  <a:cubicBezTo>
                    <a:pt x="118" y="171"/>
                    <a:pt x="118" y="171"/>
                    <a:pt x="118" y="171"/>
                  </a:cubicBezTo>
                  <a:cubicBezTo>
                    <a:pt x="117" y="178"/>
                    <a:pt x="117" y="186"/>
                    <a:pt x="117" y="193"/>
                  </a:cubicBezTo>
                  <a:cubicBezTo>
                    <a:pt x="117" y="200"/>
                    <a:pt x="117" y="207"/>
                    <a:pt x="118" y="214"/>
                  </a:cubicBezTo>
                  <a:close/>
                  <a:moveTo>
                    <a:pt x="98" y="235"/>
                  </a:moveTo>
                  <a:cubicBezTo>
                    <a:pt x="121" y="235"/>
                    <a:pt x="121" y="235"/>
                    <a:pt x="121" y="235"/>
                  </a:cubicBezTo>
                  <a:cubicBezTo>
                    <a:pt x="123" y="245"/>
                    <a:pt x="126" y="253"/>
                    <a:pt x="129" y="261"/>
                  </a:cubicBezTo>
                  <a:cubicBezTo>
                    <a:pt x="117" y="255"/>
                    <a:pt x="106" y="246"/>
                    <a:pt x="98" y="235"/>
                  </a:cubicBezTo>
                  <a:close/>
                  <a:moveTo>
                    <a:pt x="191" y="261"/>
                  </a:moveTo>
                  <a:cubicBezTo>
                    <a:pt x="194" y="253"/>
                    <a:pt x="196" y="245"/>
                    <a:pt x="198" y="235"/>
                  </a:cubicBezTo>
                  <a:cubicBezTo>
                    <a:pt x="221" y="235"/>
                    <a:pt x="221" y="235"/>
                    <a:pt x="221" y="235"/>
                  </a:cubicBezTo>
                  <a:cubicBezTo>
                    <a:pt x="213" y="246"/>
                    <a:pt x="203" y="255"/>
                    <a:pt x="191" y="261"/>
                  </a:cubicBezTo>
                  <a:close/>
                  <a:moveTo>
                    <a:pt x="221" y="150"/>
                  </a:moveTo>
                  <a:cubicBezTo>
                    <a:pt x="198" y="150"/>
                    <a:pt x="198" y="150"/>
                    <a:pt x="198" y="150"/>
                  </a:cubicBezTo>
                  <a:cubicBezTo>
                    <a:pt x="196" y="141"/>
                    <a:pt x="194" y="132"/>
                    <a:pt x="191" y="125"/>
                  </a:cubicBezTo>
                  <a:cubicBezTo>
                    <a:pt x="203" y="130"/>
                    <a:pt x="213" y="139"/>
                    <a:pt x="221" y="150"/>
                  </a:cubicBezTo>
                  <a:close/>
                  <a:moveTo>
                    <a:pt x="129" y="125"/>
                  </a:moveTo>
                  <a:cubicBezTo>
                    <a:pt x="126" y="132"/>
                    <a:pt x="123" y="141"/>
                    <a:pt x="121" y="150"/>
                  </a:cubicBezTo>
                  <a:cubicBezTo>
                    <a:pt x="98" y="150"/>
                    <a:pt x="98" y="150"/>
                    <a:pt x="98" y="150"/>
                  </a:cubicBezTo>
                  <a:cubicBezTo>
                    <a:pt x="106" y="139"/>
                    <a:pt x="117" y="130"/>
                    <a:pt x="129" y="125"/>
                  </a:cubicBezTo>
                  <a:close/>
                  <a:moveTo>
                    <a:pt x="320" y="193"/>
                  </a:moveTo>
                  <a:cubicBezTo>
                    <a:pt x="320" y="281"/>
                    <a:pt x="248" y="353"/>
                    <a:pt x="160" y="353"/>
                  </a:cubicBezTo>
                  <a:cubicBezTo>
                    <a:pt x="76" y="353"/>
                    <a:pt x="6" y="287"/>
                    <a:pt x="0" y="204"/>
                  </a:cubicBezTo>
                  <a:cubicBezTo>
                    <a:pt x="0" y="198"/>
                    <a:pt x="4" y="193"/>
                    <a:pt x="10" y="193"/>
                  </a:cubicBezTo>
                  <a:cubicBezTo>
                    <a:pt x="16" y="192"/>
                    <a:pt x="21" y="197"/>
                    <a:pt x="21" y="203"/>
                  </a:cubicBezTo>
                  <a:cubicBezTo>
                    <a:pt x="26" y="275"/>
                    <a:pt x="87" y="331"/>
                    <a:pt x="160" y="331"/>
                  </a:cubicBezTo>
                  <a:cubicBezTo>
                    <a:pt x="236" y="331"/>
                    <a:pt x="298" y="269"/>
                    <a:pt x="298" y="193"/>
                  </a:cubicBezTo>
                  <a:cubicBezTo>
                    <a:pt x="298" y="116"/>
                    <a:pt x="236" y="54"/>
                    <a:pt x="160" y="54"/>
                  </a:cubicBezTo>
                  <a:cubicBezTo>
                    <a:pt x="153" y="54"/>
                    <a:pt x="153" y="54"/>
                    <a:pt x="153" y="54"/>
                  </a:cubicBezTo>
                  <a:cubicBezTo>
                    <a:pt x="167" y="68"/>
                    <a:pt x="167" y="68"/>
                    <a:pt x="167" y="68"/>
                  </a:cubicBezTo>
                  <a:cubicBezTo>
                    <a:pt x="171" y="72"/>
                    <a:pt x="171" y="79"/>
                    <a:pt x="167" y="83"/>
                  </a:cubicBezTo>
                  <a:cubicBezTo>
                    <a:pt x="165" y="85"/>
                    <a:pt x="162" y="86"/>
                    <a:pt x="160" y="86"/>
                  </a:cubicBezTo>
                  <a:cubicBezTo>
                    <a:pt x="157" y="86"/>
                    <a:pt x="154" y="85"/>
                    <a:pt x="152" y="83"/>
                  </a:cubicBezTo>
                  <a:cubicBezTo>
                    <a:pt x="120" y="51"/>
                    <a:pt x="120" y="51"/>
                    <a:pt x="120" y="51"/>
                  </a:cubicBezTo>
                  <a:cubicBezTo>
                    <a:pt x="116" y="47"/>
                    <a:pt x="116" y="40"/>
                    <a:pt x="120" y="36"/>
                  </a:cubicBezTo>
                  <a:cubicBezTo>
                    <a:pt x="152" y="4"/>
                    <a:pt x="152" y="4"/>
                    <a:pt x="152" y="4"/>
                  </a:cubicBezTo>
                  <a:cubicBezTo>
                    <a:pt x="156" y="0"/>
                    <a:pt x="163" y="0"/>
                    <a:pt x="167" y="4"/>
                  </a:cubicBezTo>
                  <a:cubicBezTo>
                    <a:pt x="171" y="8"/>
                    <a:pt x="171" y="15"/>
                    <a:pt x="167" y="19"/>
                  </a:cubicBezTo>
                  <a:cubicBezTo>
                    <a:pt x="153" y="33"/>
                    <a:pt x="153" y="33"/>
                    <a:pt x="153" y="33"/>
                  </a:cubicBezTo>
                  <a:cubicBezTo>
                    <a:pt x="160" y="33"/>
                    <a:pt x="160" y="33"/>
                    <a:pt x="160" y="33"/>
                  </a:cubicBezTo>
                  <a:cubicBezTo>
                    <a:pt x="248" y="33"/>
                    <a:pt x="320" y="104"/>
                    <a:pt x="320" y="19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grpSp>
      <p:cxnSp>
        <p:nvCxnSpPr>
          <p:cNvPr id="110" name="直接连接符 109"/>
          <p:cNvCxnSpPr/>
          <p:nvPr/>
        </p:nvCxnSpPr>
        <p:spPr>
          <a:xfrm>
            <a:off x="7036826" y="2095623"/>
            <a:ext cx="933245" cy="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11" name="直接连接符 110"/>
          <p:cNvCxnSpPr/>
          <p:nvPr/>
        </p:nvCxnSpPr>
        <p:spPr>
          <a:xfrm>
            <a:off x="7970071" y="2086169"/>
            <a:ext cx="0" cy="3594379"/>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12" name="直接连接符 111"/>
          <p:cNvCxnSpPr/>
          <p:nvPr/>
        </p:nvCxnSpPr>
        <p:spPr>
          <a:xfrm>
            <a:off x="7381860" y="3266117"/>
            <a:ext cx="588211" cy="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13" name="直接连接符 112"/>
          <p:cNvCxnSpPr/>
          <p:nvPr/>
        </p:nvCxnSpPr>
        <p:spPr>
          <a:xfrm>
            <a:off x="6827010" y="5680548"/>
            <a:ext cx="1143061" cy="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sp>
        <p:nvSpPr>
          <p:cNvPr id="114" name="Rectangle 18"/>
          <p:cNvSpPr/>
          <p:nvPr/>
        </p:nvSpPr>
        <p:spPr bwMode="gray">
          <a:xfrm>
            <a:off x="7239106" y="2476776"/>
            <a:ext cx="807391" cy="421299"/>
          </a:xfrm>
          <a:prstGeom prst="rect">
            <a:avLst/>
          </a:prstGeom>
          <a:noFill/>
          <a:ln w="19050" algn="ctr">
            <a:noFill/>
            <a:miter lim="800000"/>
            <a:headEnd/>
            <a:tailEnd/>
          </a:ln>
        </p:spPr>
        <p:txBody>
          <a:bodyPr wrap="square" lIns="66675" tIns="66675" rIns="66675" bIns="66675" rtlCol="0" anchor="ctr"/>
          <a:lstStyle/>
          <a:p>
            <a:pPr algn="ctr" defTabSz="685860">
              <a:lnSpc>
                <a:spcPct val="106000"/>
              </a:lnSpc>
              <a:defRPr/>
            </a:pPr>
            <a:r>
              <a:rPr lang="en-AU" sz="900" b="1" kern="0" dirty="0">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Lorem ipsum </a:t>
            </a:r>
            <a:r>
              <a:rPr lang="en-AU" sz="900" b="1" kern="0" dirty="0" err="1">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dolor</a:t>
            </a:r>
            <a:r>
              <a:rPr lang="en-AU" sz="900" b="1" kern="0" dirty="0">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 </a:t>
            </a:r>
          </a:p>
        </p:txBody>
      </p:sp>
      <p:sp>
        <p:nvSpPr>
          <p:cNvPr id="115" name="Rectangle 18"/>
          <p:cNvSpPr/>
          <p:nvPr/>
        </p:nvSpPr>
        <p:spPr bwMode="gray">
          <a:xfrm>
            <a:off x="7276010" y="4216911"/>
            <a:ext cx="807391" cy="421299"/>
          </a:xfrm>
          <a:prstGeom prst="rect">
            <a:avLst/>
          </a:prstGeom>
          <a:noFill/>
          <a:ln w="19050" algn="ctr">
            <a:noFill/>
            <a:miter lim="800000"/>
            <a:headEnd/>
            <a:tailEnd/>
          </a:ln>
        </p:spPr>
        <p:txBody>
          <a:bodyPr wrap="square" lIns="66675" tIns="66675" rIns="66675" bIns="66675" rtlCol="0" anchor="ctr"/>
          <a:lstStyle/>
          <a:p>
            <a:pPr algn="ctr" defTabSz="685860">
              <a:lnSpc>
                <a:spcPct val="106000"/>
              </a:lnSpc>
              <a:defRPr/>
            </a:pPr>
            <a:r>
              <a:rPr lang="en-AU" sz="900" b="1" kern="0" dirty="0">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Lorem ipsum </a:t>
            </a:r>
            <a:r>
              <a:rPr lang="en-AU" sz="900" b="1" kern="0" dirty="0" err="1">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dolor</a:t>
            </a:r>
            <a:r>
              <a:rPr lang="en-AU" sz="900" b="1" kern="0" dirty="0">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 </a:t>
            </a:r>
          </a:p>
        </p:txBody>
      </p:sp>
      <p:sp>
        <p:nvSpPr>
          <p:cNvPr id="116" name="Freeform 49"/>
          <p:cNvSpPr>
            <a:spLocks noEditPoints="1"/>
          </p:cNvSpPr>
          <p:nvPr/>
        </p:nvSpPr>
        <p:spPr bwMode="auto">
          <a:xfrm>
            <a:off x="6885421" y="2494427"/>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50"/>
          <p:cNvSpPr>
            <a:spLocks noEditPoints="1"/>
          </p:cNvSpPr>
          <p:nvPr/>
        </p:nvSpPr>
        <p:spPr bwMode="auto">
          <a:xfrm>
            <a:off x="6969760" y="2563628"/>
            <a:ext cx="183816" cy="229229"/>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solidFill>
            <a:srgbClr val="62B5E5"/>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18" name="Group 913"/>
          <p:cNvGrpSpPr>
            <a:grpSpLocks noChangeAspect="1"/>
          </p:cNvGrpSpPr>
          <p:nvPr/>
        </p:nvGrpSpPr>
        <p:grpSpPr bwMode="auto">
          <a:xfrm>
            <a:off x="6925315" y="4244039"/>
            <a:ext cx="367041" cy="367041"/>
            <a:chOff x="4563" y="3912"/>
            <a:chExt cx="340" cy="340"/>
          </a:xfrm>
          <a:solidFill>
            <a:srgbClr val="62B5E5"/>
          </a:solidFill>
        </p:grpSpPr>
        <p:sp>
          <p:nvSpPr>
            <p:cNvPr id="119" name="Freeform 914"/>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915"/>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1" name="Group 749"/>
          <p:cNvGrpSpPr>
            <a:grpSpLocks noChangeAspect="1"/>
          </p:cNvGrpSpPr>
          <p:nvPr/>
        </p:nvGrpSpPr>
        <p:grpSpPr bwMode="auto">
          <a:xfrm>
            <a:off x="556200" y="3936907"/>
            <a:ext cx="573446" cy="573446"/>
            <a:chOff x="3520" y="2686"/>
            <a:chExt cx="340" cy="340"/>
          </a:xfrm>
          <a:solidFill>
            <a:srgbClr val="A0DCFF"/>
          </a:solidFill>
        </p:grpSpPr>
        <p:sp>
          <p:nvSpPr>
            <p:cNvPr id="122"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125" name="直接连接符 124"/>
          <p:cNvCxnSpPr>
            <a:endCxn id="32" idx="5"/>
          </p:cNvCxnSpPr>
          <p:nvPr/>
        </p:nvCxnSpPr>
        <p:spPr>
          <a:xfrm flipH="1">
            <a:off x="842923" y="2817646"/>
            <a:ext cx="1" cy="27601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26" name="直接连接符 125"/>
          <p:cNvCxnSpPr/>
          <p:nvPr/>
        </p:nvCxnSpPr>
        <p:spPr>
          <a:xfrm flipH="1">
            <a:off x="842922" y="3634807"/>
            <a:ext cx="1" cy="27601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27" name="直接连接符 126"/>
          <p:cNvCxnSpPr/>
          <p:nvPr/>
        </p:nvCxnSpPr>
        <p:spPr>
          <a:xfrm flipH="1">
            <a:off x="839402" y="4510353"/>
            <a:ext cx="1" cy="27601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28" name="直接连接符 127"/>
          <p:cNvCxnSpPr/>
          <p:nvPr/>
        </p:nvCxnSpPr>
        <p:spPr>
          <a:xfrm flipV="1">
            <a:off x="1130540" y="2521197"/>
            <a:ext cx="608283" cy="1"/>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29" name="直接连接符 128"/>
          <p:cNvCxnSpPr/>
          <p:nvPr/>
        </p:nvCxnSpPr>
        <p:spPr>
          <a:xfrm flipV="1">
            <a:off x="1146557" y="3373915"/>
            <a:ext cx="566593" cy="1"/>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30" name="直接连接符 129"/>
          <p:cNvCxnSpPr/>
          <p:nvPr/>
        </p:nvCxnSpPr>
        <p:spPr>
          <a:xfrm flipV="1">
            <a:off x="1135239" y="4213530"/>
            <a:ext cx="577911" cy="1"/>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31" name="直接连接符 130"/>
          <p:cNvCxnSpPr/>
          <p:nvPr/>
        </p:nvCxnSpPr>
        <p:spPr>
          <a:xfrm flipV="1">
            <a:off x="1104487" y="5037704"/>
            <a:ext cx="563869" cy="1"/>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pic>
        <p:nvPicPr>
          <p:cNvPr id="150" name="图片 1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07582" y="2141976"/>
            <a:ext cx="3183029" cy="3414766"/>
          </a:xfrm>
          <a:prstGeom prst="rect">
            <a:avLst/>
          </a:prstGeom>
        </p:spPr>
      </p:pic>
      <p:sp>
        <p:nvSpPr>
          <p:cNvPr id="151" name="矩形 150"/>
          <p:cNvSpPr/>
          <p:nvPr/>
        </p:nvSpPr>
        <p:spPr>
          <a:xfrm>
            <a:off x="3865368" y="2917304"/>
            <a:ext cx="518091" cy="348813"/>
          </a:xfrm>
          <a:prstGeom prst="rect">
            <a:avLst/>
          </a:prstGeom>
        </p:spPr>
        <p:txBody>
          <a:bodyPr wrap="none">
            <a:spAutoFit/>
          </a:bodyPr>
          <a:lstStyle/>
          <a:p>
            <a:pPr algn="ctr" defTabSz="685860">
              <a:lnSpc>
                <a:spcPts val="1005"/>
              </a:lnSpc>
              <a:defRPr/>
            </a:pPr>
            <a:r>
              <a:rPr lang="en-AU" sz="900" kern="0" dirty="0">
                <a:solidFill>
                  <a:srgbClr val="FFFFFF"/>
                </a:solidFill>
                <a:ea typeface="Verdana" panose="020B0604030504040204" pitchFamily="34" charset="0"/>
                <a:cs typeface="Verdana" panose="020B0604030504040204" pitchFamily="34" charset="0"/>
              </a:rPr>
              <a:t>Family </a:t>
            </a:r>
          </a:p>
          <a:p>
            <a:pPr algn="ctr" defTabSz="685860">
              <a:lnSpc>
                <a:spcPts val="1005"/>
              </a:lnSpc>
              <a:defRPr/>
            </a:pPr>
            <a:r>
              <a:rPr lang="en-AU" sz="900" kern="0" dirty="0">
                <a:solidFill>
                  <a:srgbClr val="FFFFFF"/>
                </a:solidFill>
                <a:ea typeface="Verdana" panose="020B0604030504040204" pitchFamily="34" charset="0"/>
                <a:cs typeface="Verdana" panose="020B0604030504040204" pitchFamily="34" charset="0"/>
              </a:rPr>
              <a:t>Office</a:t>
            </a:r>
          </a:p>
        </p:txBody>
      </p:sp>
      <p:sp>
        <p:nvSpPr>
          <p:cNvPr id="152" name="矩形 151"/>
          <p:cNvSpPr/>
          <p:nvPr/>
        </p:nvSpPr>
        <p:spPr>
          <a:xfrm>
            <a:off x="4514364" y="2571519"/>
            <a:ext cx="871249" cy="477054"/>
          </a:xfrm>
          <a:prstGeom prst="rect">
            <a:avLst/>
          </a:prstGeom>
        </p:spPr>
        <p:txBody>
          <a:bodyPr wrap="square">
            <a:spAutoFit/>
          </a:bodyPr>
          <a:lstStyle/>
          <a:p>
            <a:pPr algn="ctr" defTabSz="685860">
              <a:lnSpc>
                <a:spcPts val="1005"/>
              </a:lnSpc>
              <a:defRPr/>
            </a:pPr>
            <a:r>
              <a:rPr lang="en-AU" sz="900" kern="0" dirty="0">
                <a:solidFill>
                  <a:srgbClr val="FFFFFF"/>
                </a:solidFill>
                <a:ea typeface="Verdana" panose="020B0604030504040204" pitchFamily="34" charset="0"/>
                <a:cs typeface="Verdana" panose="020B0604030504040204" pitchFamily="34" charset="0"/>
              </a:rPr>
              <a:t>Family Enterprise  Consulting</a:t>
            </a:r>
          </a:p>
        </p:txBody>
      </p:sp>
      <p:sp>
        <p:nvSpPr>
          <p:cNvPr id="153" name="矩形 152"/>
          <p:cNvSpPr/>
          <p:nvPr/>
        </p:nvSpPr>
        <p:spPr>
          <a:xfrm>
            <a:off x="5361402" y="2995546"/>
            <a:ext cx="553223" cy="239168"/>
          </a:xfrm>
          <a:prstGeom prst="rect">
            <a:avLst/>
          </a:prstGeom>
        </p:spPr>
        <p:txBody>
          <a:bodyPr wrap="square">
            <a:spAutoFit/>
          </a:bodyPr>
          <a:lstStyle/>
          <a:p>
            <a:pPr algn="ctr" defTabSz="685860">
              <a:lnSpc>
                <a:spcPct val="106000"/>
              </a:lnSpc>
              <a:defRPr/>
            </a:pPr>
            <a:r>
              <a:rPr lang="en-AU" sz="900" kern="0" dirty="0">
                <a:ea typeface="Verdana" panose="020B0604030504040204" pitchFamily="34" charset="0"/>
                <a:cs typeface="Verdana" panose="020B0604030504040204" pitchFamily="34" charset="0"/>
              </a:rPr>
              <a:t>T&amp;L</a:t>
            </a:r>
          </a:p>
        </p:txBody>
      </p:sp>
      <p:sp>
        <p:nvSpPr>
          <p:cNvPr id="154" name="矩形 153"/>
          <p:cNvSpPr/>
          <p:nvPr/>
        </p:nvSpPr>
        <p:spPr>
          <a:xfrm>
            <a:off x="3608284" y="3505043"/>
            <a:ext cx="553223" cy="288092"/>
          </a:xfrm>
          <a:prstGeom prst="rect">
            <a:avLst/>
          </a:prstGeom>
        </p:spPr>
        <p:txBody>
          <a:bodyPr wrap="square">
            <a:spAutoFit/>
          </a:bodyPr>
          <a:lstStyle/>
          <a:p>
            <a:pPr algn="ctr" defTabSz="685860">
              <a:lnSpc>
                <a:spcPct val="106000"/>
              </a:lnSpc>
              <a:defRPr/>
            </a:pPr>
            <a:r>
              <a:rPr lang="en-AU" sz="1200" b="1" kern="0" dirty="0">
                <a:solidFill>
                  <a:srgbClr val="FFFFFF"/>
                </a:solidFill>
                <a:ea typeface="Verdana" panose="020B0604030504040204" pitchFamily="34" charset="0"/>
                <a:cs typeface="Verdana" panose="020B0604030504040204" pitchFamily="34" charset="0"/>
              </a:rPr>
              <a:t>FA</a:t>
            </a:r>
          </a:p>
        </p:txBody>
      </p:sp>
      <p:sp>
        <p:nvSpPr>
          <p:cNvPr id="155" name="矩形 154"/>
          <p:cNvSpPr/>
          <p:nvPr/>
        </p:nvSpPr>
        <p:spPr>
          <a:xfrm>
            <a:off x="3737894" y="4132553"/>
            <a:ext cx="553223" cy="288092"/>
          </a:xfrm>
          <a:prstGeom prst="rect">
            <a:avLst/>
          </a:prstGeom>
        </p:spPr>
        <p:txBody>
          <a:bodyPr wrap="square">
            <a:spAutoFit/>
          </a:bodyPr>
          <a:lstStyle/>
          <a:p>
            <a:pPr algn="ctr" defTabSz="685860">
              <a:lnSpc>
                <a:spcPct val="106000"/>
              </a:lnSpc>
              <a:defRPr/>
            </a:pPr>
            <a:r>
              <a:rPr lang="en-AU" sz="1200" b="1" kern="0" dirty="0">
                <a:solidFill>
                  <a:srgbClr val="FFFFFF"/>
                </a:solidFill>
                <a:ea typeface="Verdana" panose="020B0604030504040204" pitchFamily="34" charset="0"/>
                <a:cs typeface="Verdana" panose="020B0604030504040204" pitchFamily="34" charset="0"/>
              </a:rPr>
              <a:t>RA</a:t>
            </a:r>
          </a:p>
        </p:txBody>
      </p:sp>
      <p:sp>
        <p:nvSpPr>
          <p:cNvPr id="156" name="矩形 155"/>
          <p:cNvSpPr/>
          <p:nvPr/>
        </p:nvSpPr>
        <p:spPr>
          <a:xfrm>
            <a:off x="5588620" y="3394982"/>
            <a:ext cx="553223" cy="288092"/>
          </a:xfrm>
          <a:prstGeom prst="rect">
            <a:avLst/>
          </a:prstGeom>
        </p:spPr>
        <p:txBody>
          <a:bodyPr wrap="square">
            <a:spAutoFit/>
          </a:bodyPr>
          <a:lstStyle/>
          <a:p>
            <a:pPr algn="ctr" defTabSz="685860">
              <a:lnSpc>
                <a:spcPct val="106000"/>
              </a:lnSpc>
              <a:defRPr/>
            </a:pPr>
            <a:r>
              <a:rPr lang="en-AU" sz="1200" b="1" kern="0" dirty="0">
                <a:solidFill>
                  <a:srgbClr val="FFFFFF"/>
                </a:solidFill>
                <a:ea typeface="Verdana" panose="020B0604030504040204" pitchFamily="34" charset="0"/>
                <a:cs typeface="Verdana" panose="020B0604030504040204" pitchFamily="34" charset="0"/>
              </a:rPr>
              <a:t>A&amp;A</a:t>
            </a:r>
          </a:p>
        </p:txBody>
      </p:sp>
      <p:sp>
        <p:nvSpPr>
          <p:cNvPr id="157" name="矩形 156"/>
          <p:cNvSpPr/>
          <p:nvPr/>
        </p:nvSpPr>
        <p:spPr>
          <a:xfrm>
            <a:off x="4854235" y="4031234"/>
            <a:ext cx="553223" cy="288092"/>
          </a:xfrm>
          <a:prstGeom prst="rect">
            <a:avLst/>
          </a:prstGeom>
        </p:spPr>
        <p:txBody>
          <a:bodyPr wrap="square">
            <a:spAutoFit/>
          </a:bodyPr>
          <a:lstStyle/>
          <a:p>
            <a:pPr algn="ctr" defTabSz="685860">
              <a:lnSpc>
                <a:spcPct val="106000"/>
              </a:lnSpc>
              <a:defRPr/>
            </a:pPr>
            <a:r>
              <a:rPr lang="en-AU" sz="1200" b="1" kern="0" dirty="0">
                <a:solidFill>
                  <a:srgbClr val="FFFFFF"/>
                </a:solidFill>
                <a:ea typeface="Verdana" panose="020B0604030504040204" pitchFamily="34" charset="0"/>
                <a:cs typeface="Verdana" panose="020B0604030504040204" pitchFamily="34" charset="0"/>
              </a:rPr>
              <a:t>CON</a:t>
            </a:r>
          </a:p>
        </p:txBody>
      </p:sp>
    </p:spTree>
    <p:custDataLst>
      <p:tags r:id="rId1"/>
    </p:custDataLst>
    <p:extLst>
      <p:ext uri="{BB962C8B-B14F-4D97-AF65-F5344CB8AC3E}">
        <p14:creationId xmlns:p14="http://schemas.microsoft.com/office/powerpoint/2010/main" val="1608218376"/>
      </p:ext>
    </p:extLst>
  </p:cSld>
  <p:clrMapOvr>
    <a:masterClrMapping/>
  </p:clrMapOvr>
  <p:transition>
    <p:fade/>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2EB3234-82E7-43B2-A92F-E54149239BD6}"/>
              </a:ext>
            </a:extLst>
          </p:cNvPr>
          <p:cNvGrpSpPr/>
          <p:nvPr/>
        </p:nvGrpSpPr>
        <p:grpSpPr>
          <a:xfrm>
            <a:off x="2363190" y="691461"/>
            <a:ext cx="7228691" cy="5475078"/>
            <a:chOff x="3119539" y="1359111"/>
            <a:chExt cx="5902326" cy="4470477"/>
          </a:xfrm>
        </p:grpSpPr>
        <p:pic>
          <p:nvPicPr>
            <p:cNvPr id="44" name="Picture 14">
              <a:extLst>
                <a:ext uri="{FF2B5EF4-FFF2-40B4-BE49-F238E27FC236}">
                  <a16:creationId xmlns:a16="http://schemas.microsoft.com/office/drawing/2014/main" id="{BDB91328-54B9-1C4D-88EC-68E8FBFA214C}"/>
                </a:ext>
              </a:extLst>
            </p:cNvPr>
            <p:cNvPicPr>
              <a:picLocks noChangeAspect="1"/>
            </p:cNvPicPr>
            <p:nvPr/>
          </p:nvPicPr>
          <p:blipFill>
            <a:blip r:embed="rId4"/>
            <a:stretch>
              <a:fillRect/>
            </a:stretch>
          </p:blipFill>
          <p:spPr>
            <a:xfrm>
              <a:off x="3119539" y="1359111"/>
              <a:ext cx="5902326" cy="4470477"/>
            </a:xfrm>
            <a:prstGeom prst="rect">
              <a:avLst/>
            </a:prstGeom>
          </p:spPr>
        </p:pic>
        <p:sp>
          <p:nvSpPr>
            <p:cNvPr id="45" name="Oval 121">
              <a:extLst>
                <a:ext uri="{FF2B5EF4-FFF2-40B4-BE49-F238E27FC236}">
                  <a16:creationId xmlns:a16="http://schemas.microsoft.com/office/drawing/2014/main" id="{09B6123F-4ACE-5A4A-A679-9FDD1B61F917}"/>
                </a:ext>
              </a:extLst>
            </p:cNvPr>
            <p:cNvSpPr>
              <a:spLocks noChangeAspect="1"/>
            </p:cNvSpPr>
            <p:nvPr/>
          </p:nvSpPr>
          <p:spPr>
            <a:xfrm>
              <a:off x="5000797" y="1796182"/>
              <a:ext cx="2115310" cy="2115311"/>
            </a:xfrm>
            <a:prstGeom prst="ellips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ea typeface="+mn-ea"/>
                <a:cs typeface="+mn-cs"/>
              </a:endParaRPr>
            </a:p>
          </p:txBody>
        </p:sp>
        <p:sp>
          <p:nvSpPr>
            <p:cNvPr id="46" name="Oval 122">
              <a:extLst>
                <a:ext uri="{FF2B5EF4-FFF2-40B4-BE49-F238E27FC236}">
                  <a16:creationId xmlns:a16="http://schemas.microsoft.com/office/drawing/2014/main" id="{97070441-0AF2-FC45-B4D6-D824BA692838}"/>
                </a:ext>
              </a:extLst>
            </p:cNvPr>
            <p:cNvSpPr>
              <a:spLocks noChangeAspect="1"/>
            </p:cNvSpPr>
            <p:nvPr/>
          </p:nvSpPr>
          <p:spPr>
            <a:xfrm>
              <a:off x="6014266" y="2984121"/>
              <a:ext cx="2013460" cy="2013461"/>
            </a:xfrm>
            <a:prstGeom prst="ellipse">
              <a:avLst/>
            </a:prstGeom>
            <a:solidFill>
              <a:srgbClr val="C4D6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ea typeface="+mn-ea"/>
                <a:cs typeface="+mn-cs"/>
              </a:endParaRPr>
            </a:p>
          </p:txBody>
        </p:sp>
        <p:sp>
          <p:nvSpPr>
            <p:cNvPr id="47" name="Oval 123">
              <a:extLst>
                <a:ext uri="{FF2B5EF4-FFF2-40B4-BE49-F238E27FC236}">
                  <a16:creationId xmlns:a16="http://schemas.microsoft.com/office/drawing/2014/main" id="{97F9E9AC-0F02-5B4A-8AAE-FDC91805A63C}"/>
                </a:ext>
              </a:extLst>
            </p:cNvPr>
            <p:cNvSpPr>
              <a:spLocks noChangeAspect="1"/>
            </p:cNvSpPr>
            <p:nvPr/>
          </p:nvSpPr>
          <p:spPr>
            <a:xfrm>
              <a:off x="3966085" y="2947378"/>
              <a:ext cx="2056413" cy="2056414"/>
            </a:xfrm>
            <a:prstGeom prst="ellipse">
              <a:avLst/>
            </a:prstGeom>
            <a:solidFill>
              <a:srgbClr val="86BC25"/>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ea typeface="+mn-ea"/>
                <a:cs typeface="+mn-cs"/>
              </a:endParaRPr>
            </a:p>
          </p:txBody>
        </p:sp>
        <p:sp>
          <p:nvSpPr>
            <p:cNvPr id="48" name="object 12">
              <a:extLst>
                <a:ext uri="{FF2B5EF4-FFF2-40B4-BE49-F238E27FC236}">
                  <a16:creationId xmlns:a16="http://schemas.microsoft.com/office/drawing/2014/main" id="{2AAEB2F9-5A26-074D-A952-D6C0CB8F52B0}"/>
                </a:ext>
              </a:extLst>
            </p:cNvPr>
            <p:cNvSpPr txBox="1"/>
            <p:nvPr/>
          </p:nvSpPr>
          <p:spPr>
            <a:xfrm>
              <a:off x="4446136" y="3857320"/>
              <a:ext cx="1280422" cy="684803"/>
            </a:xfrm>
            <a:prstGeom prst="rect">
              <a:avLst/>
            </a:prstGeom>
          </p:spPr>
          <p:txBody>
            <a:bodyPr vert="horz" wrap="square" lIns="0" tIns="0" rIns="0" bIns="0" rtlCol="0">
              <a:spAutoFit/>
            </a:bodyPr>
            <a:lstStyle/>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altLang="zh-CN"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a:t>
              </a:r>
              <a:endParaRPr kumimoji="0" sz="800" b="0" i="0" u="none" strike="noStrike" kern="1200" cap="none" spc="0" normalizeH="0" baseline="0" noProof="0" dirty="0">
                <a:ln>
                  <a:noFill/>
                </a:ln>
                <a:solidFill>
                  <a:srgbClr val="000000"/>
                </a:solidFill>
                <a:effectLst/>
                <a:uLnTx/>
                <a:uFillTx/>
                <a:ea typeface="+mn-ea"/>
                <a:cs typeface="Verdana"/>
              </a:endParaRPr>
            </a:p>
          </p:txBody>
        </p:sp>
        <p:sp>
          <p:nvSpPr>
            <p:cNvPr id="49" name="object 59">
              <a:extLst>
                <a:ext uri="{FF2B5EF4-FFF2-40B4-BE49-F238E27FC236}">
                  <a16:creationId xmlns:a16="http://schemas.microsoft.com/office/drawing/2014/main" id="{8ED6E895-10D5-E847-A21D-2A3A24F0468A}"/>
                </a:ext>
              </a:extLst>
            </p:cNvPr>
            <p:cNvSpPr txBox="1"/>
            <p:nvPr/>
          </p:nvSpPr>
          <p:spPr>
            <a:xfrm>
              <a:off x="4452534" y="3510929"/>
              <a:ext cx="1242058" cy="1538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x</a:t>
              </a:r>
              <a:endParaRPr kumimoji="0"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50" name="Oval 126">
              <a:extLst>
                <a:ext uri="{FF2B5EF4-FFF2-40B4-BE49-F238E27FC236}">
                  <a16:creationId xmlns:a16="http://schemas.microsoft.com/office/drawing/2014/main" id="{4BDB9D86-6F35-A547-AFE4-5F75D0CFE912}"/>
                </a:ext>
              </a:extLst>
            </p:cNvPr>
            <p:cNvSpPr/>
            <p:nvPr/>
          </p:nvSpPr>
          <p:spPr>
            <a:xfrm>
              <a:off x="4847994" y="2859162"/>
              <a:ext cx="2042826" cy="2042826"/>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ea typeface="+mn-ea"/>
                <a:cs typeface="+mn-cs"/>
              </a:endParaRPr>
            </a:p>
          </p:txBody>
        </p:sp>
        <p:sp>
          <p:nvSpPr>
            <p:cNvPr id="51" name="object 11">
              <a:extLst>
                <a:ext uri="{FF2B5EF4-FFF2-40B4-BE49-F238E27FC236}">
                  <a16:creationId xmlns:a16="http://schemas.microsoft.com/office/drawing/2014/main" id="{AEDEA92B-35D8-BD42-9529-9EE0FF53E6E4}"/>
                </a:ext>
              </a:extLst>
            </p:cNvPr>
            <p:cNvSpPr txBox="1"/>
            <p:nvPr/>
          </p:nvSpPr>
          <p:spPr>
            <a:xfrm>
              <a:off x="4232956" y="2612757"/>
              <a:ext cx="549289" cy="137858"/>
            </a:xfrm>
            <a:prstGeom prst="rect">
              <a:avLst/>
            </a:prstGeom>
          </p:spPr>
          <p:txBody>
            <a:bodyPr vert="horz" wrap="square" lIns="0" tIns="0" rIns="0" bIns="0" rtlCol="0">
              <a:spAutoFit/>
            </a:bodyPr>
            <a:lstStyle/>
            <a:p>
              <a:pPr marL="0" marR="5080" lvl="0" indent="0" algn="ctr" defTabSz="914400" rtl="0" eaLnBrk="1" fontAlgn="auto" latinLnBrk="0" hangingPunct="1">
                <a:lnSpc>
                  <a:spcPct val="103699"/>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Human</a:t>
              </a:r>
              <a:endParaRPr kumimoji="0" sz="9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53" name="object 13">
              <a:extLst>
                <a:ext uri="{FF2B5EF4-FFF2-40B4-BE49-F238E27FC236}">
                  <a16:creationId xmlns:a16="http://schemas.microsoft.com/office/drawing/2014/main" id="{EC344344-309E-914E-9D28-B1CBA29A1C96}"/>
                </a:ext>
              </a:extLst>
            </p:cNvPr>
            <p:cNvSpPr txBox="1"/>
            <p:nvPr/>
          </p:nvSpPr>
          <p:spPr>
            <a:xfrm>
              <a:off x="6439353" y="3481454"/>
              <a:ext cx="1286350" cy="153888"/>
            </a:xfrm>
            <a:prstGeom prst="rect">
              <a:avLst/>
            </a:prstGeom>
          </p:spPr>
          <p:txBody>
            <a:bodyPr vert="horz" wrap="square" lIns="0" tIns="0" rIns="0" bIns="0" rtlCol="0">
              <a:spAutoFit/>
            </a:bodyPr>
            <a:lstStyle/>
            <a:p>
              <a:pPr lvl="0" defTabSz="914400">
                <a:defRPr/>
              </a:pPr>
              <a:r>
                <a:rPr lang="en-US" altLang="zh-CN" sz="1000" b="1" dirty="0">
                  <a:solidFill>
                    <a:srgbClr val="000000"/>
                  </a:solidFill>
                  <a:ea typeface="Verdana" panose="020B0604030504040204" pitchFamily="34" charset="0"/>
                  <a:cs typeface="Verdana" panose="020B0604030504040204" pitchFamily="34" charset="0"/>
                </a:rPr>
                <a:t>xxxxxxxxxx</a:t>
              </a:r>
              <a:endParaRPr lang="en-US" sz="1000" b="1" dirty="0">
                <a:solidFill>
                  <a:srgbClr val="000000"/>
                </a:solidFill>
                <a:ea typeface="Verdana" panose="020B0604030504040204" pitchFamily="34" charset="0"/>
                <a:cs typeface="Verdana" panose="020B0604030504040204" pitchFamily="34" charset="0"/>
              </a:endParaRPr>
            </a:p>
          </p:txBody>
        </p:sp>
        <p:sp>
          <p:nvSpPr>
            <p:cNvPr id="55" name="object 11">
              <a:extLst>
                <a:ext uri="{FF2B5EF4-FFF2-40B4-BE49-F238E27FC236}">
                  <a16:creationId xmlns:a16="http://schemas.microsoft.com/office/drawing/2014/main" id="{485DF18E-A095-8743-8A64-B35E6C27E8C5}"/>
                </a:ext>
              </a:extLst>
            </p:cNvPr>
            <p:cNvSpPr txBox="1"/>
            <p:nvPr/>
          </p:nvSpPr>
          <p:spPr>
            <a:xfrm>
              <a:off x="7343739" y="2649489"/>
              <a:ext cx="549289" cy="137858"/>
            </a:xfrm>
            <a:prstGeom prst="rect">
              <a:avLst/>
            </a:prstGeom>
          </p:spPr>
          <p:txBody>
            <a:bodyPr vert="horz" wrap="square" lIns="0" tIns="0" rIns="0" bIns="0" rtlCol="0">
              <a:spAutoFit/>
            </a:bodyPr>
            <a:lstStyle/>
            <a:p>
              <a:pPr marL="0" marR="5080" lvl="0" indent="0" algn="ctr" defTabSz="914400" rtl="0" eaLnBrk="1" fontAlgn="auto" latinLnBrk="0" hangingPunct="1">
                <a:lnSpc>
                  <a:spcPct val="103699"/>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Business</a:t>
              </a:r>
              <a:endParaRPr kumimoji="0" sz="9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56" name="object 11">
              <a:extLst>
                <a:ext uri="{FF2B5EF4-FFF2-40B4-BE49-F238E27FC236}">
                  <a16:creationId xmlns:a16="http://schemas.microsoft.com/office/drawing/2014/main" id="{08B1030E-16E5-C94E-BCE4-3847E4B7C08A}"/>
                </a:ext>
              </a:extLst>
            </p:cNvPr>
            <p:cNvSpPr txBox="1"/>
            <p:nvPr/>
          </p:nvSpPr>
          <p:spPr>
            <a:xfrm>
              <a:off x="6736981" y="5626399"/>
              <a:ext cx="758252" cy="137858"/>
            </a:xfrm>
            <a:prstGeom prst="rect">
              <a:avLst/>
            </a:prstGeom>
          </p:spPr>
          <p:txBody>
            <a:bodyPr vert="horz" wrap="square" lIns="0" tIns="0" rIns="0" bIns="0" rtlCol="0">
              <a:spAutoFit/>
            </a:bodyPr>
            <a:lstStyle/>
            <a:p>
              <a:pPr marL="0" marR="5080" lvl="0" indent="0" algn="ctr" defTabSz="914400" rtl="0" eaLnBrk="1" fontAlgn="auto" latinLnBrk="0" hangingPunct="1">
                <a:lnSpc>
                  <a:spcPct val="103699"/>
                </a:lnSpc>
                <a:spcBef>
                  <a:spcPts val="0"/>
                </a:spcBef>
                <a:spcAft>
                  <a:spcPts val="0"/>
                </a:spcAft>
                <a:buClrTx/>
                <a:buSzTx/>
                <a:buFontTx/>
                <a:buNone/>
                <a:tabLst/>
                <a:defRPr/>
              </a:pPr>
              <a:r>
                <a:rPr kumimoji="0" lang="en-US" sz="900" b="0" i="0" u="none" strike="noStrike" kern="1200" cap="none" spc="-10" normalizeH="0" baseline="0" noProof="0" dirty="0">
                  <a:ln>
                    <a:noFill/>
                  </a:ln>
                  <a:solidFill>
                    <a:srgbClr val="000000"/>
                  </a:solidFill>
                  <a:effectLst/>
                  <a:uLnTx/>
                  <a:uFillTx/>
                  <a:ea typeface="Verdana" panose="020B0604030504040204" pitchFamily="34" charset="0"/>
                  <a:cs typeface="Verdana" panose="020B0604030504040204" pitchFamily="34" charset="0"/>
                </a:rPr>
                <a:t>Tech</a:t>
              </a:r>
              <a:endParaRPr kumimoji="0" sz="900" b="0" i="0" u="none" strike="noStrike" kern="1200" cap="none" spc="-1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57" name="object 11">
              <a:extLst>
                <a:ext uri="{FF2B5EF4-FFF2-40B4-BE49-F238E27FC236}">
                  <a16:creationId xmlns:a16="http://schemas.microsoft.com/office/drawing/2014/main" id="{30271FA1-E696-304C-892F-648750560999}"/>
                </a:ext>
              </a:extLst>
            </p:cNvPr>
            <p:cNvSpPr txBox="1"/>
            <p:nvPr/>
          </p:nvSpPr>
          <p:spPr>
            <a:xfrm>
              <a:off x="5632535" y="2141490"/>
              <a:ext cx="1258285" cy="153119"/>
            </a:xfrm>
            <a:prstGeom prst="rect">
              <a:avLst/>
            </a:prstGeom>
          </p:spPr>
          <p:txBody>
            <a:bodyPr vert="horz" wrap="square" lIns="0" tIns="0" rIns="0" bIns="0" rtlCol="0">
              <a:spAutoFit/>
            </a:bodyPr>
            <a:lstStyle/>
            <a:p>
              <a:pPr lvl="0" defTabSz="914400">
                <a:defRPr/>
              </a:pPr>
              <a:r>
                <a:rPr lang="en-US" altLang="zh-CN" sz="1000" b="1" dirty="0">
                  <a:solidFill>
                    <a:srgbClr val="000000"/>
                  </a:solidFill>
                  <a:ea typeface="Verdana" panose="020B0604030504040204" pitchFamily="34" charset="0"/>
                  <a:cs typeface="Verdana" panose="020B0604030504040204" pitchFamily="34" charset="0"/>
                </a:rPr>
                <a:t>xxxxxxxxxx</a:t>
              </a:r>
              <a:endParaRPr lang="en-US" sz="1000" b="1" dirty="0">
                <a:solidFill>
                  <a:srgbClr val="000000"/>
                </a:solidFill>
                <a:ea typeface="Verdana" panose="020B0604030504040204" pitchFamily="34" charset="0"/>
                <a:cs typeface="Verdana" panose="020B0604030504040204" pitchFamily="34" charset="0"/>
              </a:endParaRPr>
            </a:p>
          </p:txBody>
        </p:sp>
        <p:sp>
          <p:nvSpPr>
            <p:cNvPr id="58" name="Rectangle 137">
              <a:extLst>
                <a:ext uri="{FF2B5EF4-FFF2-40B4-BE49-F238E27FC236}">
                  <a16:creationId xmlns:a16="http://schemas.microsoft.com/office/drawing/2014/main" id="{2DF97780-EC3D-054C-AD96-E4D3E254F026}"/>
                </a:ext>
              </a:extLst>
            </p:cNvPr>
            <p:cNvSpPr/>
            <p:nvPr/>
          </p:nvSpPr>
          <p:spPr>
            <a:xfrm>
              <a:off x="5538908" y="4798343"/>
              <a:ext cx="902811"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a:t>
              </a:r>
            </a:p>
          </p:txBody>
        </p:sp>
        <p:grpSp>
          <p:nvGrpSpPr>
            <p:cNvPr id="60" name="Group 192">
              <a:extLst>
                <a:ext uri="{FF2B5EF4-FFF2-40B4-BE49-F238E27FC236}">
                  <a16:creationId xmlns:a16="http://schemas.microsoft.com/office/drawing/2014/main" id="{F37A1D70-0FCB-9545-B712-F88010769FDF}"/>
                </a:ext>
              </a:extLst>
            </p:cNvPr>
            <p:cNvGrpSpPr>
              <a:grpSpLocks noChangeAspect="1"/>
            </p:cNvGrpSpPr>
            <p:nvPr/>
          </p:nvGrpSpPr>
          <p:grpSpPr bwMode="auto">
            <a:xfrm>
              <a:off x="7433000" y="2318792"/>
              <a:ext cx="321519" cy="321519"/>
              <a:chOff x="378" y="713"/>
              <a:chExt cx="340" cy="340"/>
            </a:xfrm>
            <a:solidFill>
              <a:schemeClr val="accent5"/>
            </a:solidFill>
          </p:grpSpPr>
          <p:sp>
            <p:nvSpPr>
              <p:cNvPr id="61" name="Freeform 193">
                <a:extLst>
                  <a:ext uri="{FF2B5EF4-FFF2-40B4-BE49-F238E27FC236}">
                    <a16:creationId xmlns:a16="http://schemas.microsoft.com/office/drawing/2014/main" id="{A0DF0533-D46F-724E-A430-3B6EFC41BF0F}"/>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sp>
            <p:nvSpPr>
              <p:cNvPr id="62" name="Freeform 194">
                <a:extLst>
                  <a:ext uri="{FF2B5EF4-FFF2-40B4-BE49-F238E27FC236}">
                    <a16:creationId xmlns:a16="http://schemas.microsoft.com/office/drawing/2014/main" id="{30B7CAE1-77C4-DF49-B89E-F21B1C5DE70F}"/>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grpSp>
        <p:grpSp>
          <p:nvGrpSpPr>
            <p:cNvPr id="63" name="Group 759">
              <a:extLst>
                <a:ext uri="{FF2B5EF4-FFF2-40B4-BE49-F238E27FC236}">
                  <a16:creationId xmlns:a16="http://schemas.microsoft.com/office/drawing/2014/main" id="{7B670C7D-4A3D-F14E-A085-83A2A99A63F5}"/>
                </a:ext>
              </a:extLst>
            </p:cNvPr>
            <p:cNvGrpSpPr>
              <a:grpSpLocks noChangeAspect="1"/>
            </p:cNvGrpSpPr>
            <p:nvPr/>
          </p:nvGrpSpPr>
          <p:grpSpPr bwMode="auto">
            <a:xfrm>
              <a:off x="4331051" y="2260792"/>
              <a:ext cx="334447" cy="334447"/>
              <a:chOff x="2732" y="2698"/>
              <a:chExt cx="340" cy="340"/>
            </a:xfrm>
            <a:solidFill>
              <a:schemeClr val="accent5"/>
            </a:solidFill>
          </p:grpSpPr>
          <p:sp>
            <p:nvSpPr>
              <p:cNvPr id="64" name="Freeform 760">
                <a:extLst>
                  <a:ext uri="{FF2B5EF4-FFF2-40B4-BE49-F238E27FC236}">
                    <a16:creationId xmlns:a16="http://schemas.microsoft.com/office/drawing/2014/main" id="{6E02C250-9928-1548-BFDC-C5F16D96DC68}"/>
                  </a:ext>
                </a:extLst>
              </p:cNvPr>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sp>
            <p:nvSpPr>
              <p:cNvPr id="65" name="Freeform 761">
                <a:extLst>
                  <a:ext uri="{FF2B5EF4-FFF2-40B4-BE49-F238E27FC236}">
                    <a16:creationId xmlns:a16="http://schemas.microsoft.com/office/drawing/2014/main" id="{0AB5B058-8CCD-5949-A223-66F05D46C33F}"/>
                  </a:ext>
                </a:extLst>
              </p:cNvPr>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grpSp>
        <p:grpSp>
          <p:nvGrpSpPr>
            <p:cNvPr id="66" name="Group 459">
              <a:extLst>
                <a:ext uri="{FF2B5EF4-FFF2-40B4-BE49-F238E27FC236}">
                  <a16:creationId xmlns:a16="http://schemas.microsoft.com/office/drawing/2014/main" id="{36077C26-3C8F-004B-9A80-0E4D6DD956CE}"/>
                </a:ext>
              </a:extLst>
            </p:cNvPr>
            <p:cNvGrpSpPr>
              <a:grpSpLocks noChangeAspect="1"/>
            </p:cNvGrpSpPr>
            <p:nvPr/>
          </p:nvGrpSpPr>
          <p:grpSpPr bwMode="auto">
            <a:xfrm>
              <a:off x="6948627" y="5264451"/>
              <a:ext cx="347305" cy="347305"/>
              <a:chOff x="1918" y="1565"/>
              <a:chExt cx="340" cy="340"/>
            </a:xfrm>
            <a:solidFill>
              <a:schemeClr val="accent5"/>
            </a:solidFill>
          </p:grpSpPr>
          <p:sp>
            <p:nvSpPr>
              <p:cNvPr id="67" name="Freeform 460">
                <a:extLst>
                  <a:ext uri="{FF2B5EF4-FFF2-40B4-BE49-F238E27FC236}">
                    <a16:creationId xmlns:a16="http://schemas.microsoft.com/office/drawing/2014/main" id="{A195F414-67F9-3E42-AB6D-0CC34D763EE2}"/>
                  </a:ext>
                </a:extLst>
              </p:cNvPr>
              <p:cNvSpPr>
                <a:spLocks noEditPoints="1"/>
              </p:cNvSpPr>
              <p:nvPr/>
            </p:nvSpPr>
            <p:spPr bwMode="auto">
              <a:xfrm>
                <a:off x="2010" y="1636"/>
                <a:ext cx="156" cy="199"/>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sp>
            <p:nvSpPr>
              <p:cNvPr id="68" name="Freeform 461">
                <a:extLst>
                  <a:ext uri="{FF2B5EF4-FFF2-40B4-BE49-F238E27FC236}">
                    <a16:creationId xmlns:a16="http://schemas.microsoft.com/office/drawing/2014/main" id="{237ED60E-916A-1440-A2A6-66941114028F}"/>
                  </a:ext>
                </a:extLst>
              </p:cNvPr>
              <p:cNvSpPr>
                <a:spLocks noEditPoints="1"/>
              </p:cNvSpPr>
              <p:nvPr/>
            </p:nvSpPr>
            <p:spPr bwMode="auto">
              <a:xfrm>
                <a:off x="1918" y="156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grpSp>
        <p:sp>
          <p:nvSpPr>
            <p:cNvPr id="82" name="object 12">
              <a:extLst>
                <a:ext uri="{FF2B5EF4-FFF2-40B4-BE49-F238E27FC236}">
                  <a16:creationId xmlns:a16="http://schemas.microsoft.com/office/drawing/2014/main" id="{2AAEB2F9-5A26-074D-A952-D6C0CB8F52B0}"/>
                </a:ext>
              </a:extLst>
            </p:cNvPr>
            <p:cNvSpPr txBox="1"/>
            <p:nvPr/>
          </p:nvSpPr>
          <p:spPr>
            <a:xfrm>
              <a:off x="6443417" y="3803804"/>
              <a:ext cx="1280422" cy="684803"/>
            </a:xfrm>
            <a:prstGeom prst="rect">
              <a:avLst/>
            </a:prstGeom>
          </p:spPr>
          <p:txBody>
            <a:bodyPr vert="horz" wrap="square" lIns="0" tIns="0" rIns="0" bIns="0" rtlCol="0">
              <a:spAutoFit/>
            </a:bodyPr>
            <a:lstStyle/>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altLang="zh-CN"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a:t>
              </a:r>
              <a:endParaRPr kumimoji="0" sz="800" b="0" i="0" u="none" strike="noStrike" kern="1200" cap="none" spc="0" normalizeH="0" baseline="0" noProof="0" dirty="0">
                <a:ln>
                  <a:noFill/>
                </a:ln>
                <a:solidFill>
                  <a:srgbClr val="000000"/>
                </a:solidFill>
                <a:effectLst/>
                <a:uLnTx/>
                <a:uFillTx/>
                <a:ea typeface="+mn-ea"/>
                <a:cs typeface="Verdana"/>
              </a:endParaRPr>
            </a:p>
          </p:txBody>
        </p:sp>
        <p:sp>
          <p:nvSpPr>
            <p:cNvPr id="83" name="object 12">
              <a:extLst>
                <a:ext uri="{FF2B5EF4-FFF2-40B4-BE49-F238E27FC236}">
                  <a16:creationId xmlns:a16="http://schemas.microsoft.com/office/drawing/2014/main" id="{2AAEB2F9-5A26-074D-A952-D6C0CB8F52B0}"/>
                </a:ext>
              </a:extLst>
            </p:cNvPr>
            <p:cNvSpPr txBox="1"/>
            <p:nvPr/>
          </p:nvSpPr>
          <p:spPr>
            <a:xfrm>
              <a:off x="5621346" y="2456146"/>
              <a:ext cx="1280422" cy="684803"/>
            </a:xfrm>
            <a:prstGeom prst="rect">
              <a:avLst/>
            </a:prstGeom>
          </p:spPr>
          <p:txBody>
            <a:bodyPr vert="horz" wrap="square" lIns="0" tIns="0" rIns="0" bIns="0" rtlCol="0">
              <a:spAutoFit/>
            </a:bodyPr>
            <a:lstStyle/>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altLang="zh-CN"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a:t>
              </a:r>
              <a:endParaRPr kumimoji="0" sz="800" b="0" i="0" u="none" strike="noStrike" kern="1200" cap="none" spc="0" normalizeH="0" baseline="0" noProof="0" dirty="0">
                <a:ln>
                  <a:noFill/>
                </a:ln>
                <a:solidFill>
                  <a:srgbClr val="000000"/>
                </a:solidFill>
                <a:effectLst/>
                <a:uLnTx/>
                <a:uFillTx/>
                <a:ea typeface="+mn-ea"/>
                <a:cs typeface="Verdana"/>
              </a:endParaRPr>
            </a:p>
          </p:txBody>
        </p:sp>
      </p:grpSp>
    </p:spTree>
    <p:custDataLst>
      <p:tags r:id="rId1"/>
    </p:custDataLst>
    <p:extLst>
      <p:ext uri="{BB962C8B-B14F-4D97-AF65-F5344CB8AC3E}">
        <p14:creationId xmlns:p14="http://schemas.microsoft.com/office/powerpoint/2010/main" val="336082000"/>
      </p:ext>
    </p:extLst>
  </p:cSld>
  <p:clrMapOvr>
    <a:masterClrMapping/>
  </p:clrMapOvr>
  <p:transition>
    <p:fade/>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48"/>
          <p:cNvGrpSpPr/>
          <p:nvPr/>
        </p:nvGrpSpPr>
        <p:grpSpPr>
          <a:xfrm>
            <a:off x="4355959" y="728561"/>
            <a:ext cx="4472662" cy="4736511"/>
            <a:chOff x="2685292" y="1665288"/>
            <a:chExt cx="3902075" cy="4132263"/>
          </a:xfrm>
        </p:grpSpPr>
        <p:sp>
          <p:nvSpPr>
            <p:cNvPr id="5" name="Line 5"/>
            <p:cNvSpPr>
              <a:spLocks noChangeShapeType="1"/>
            </p:cNvSpPr>
            <p:nvPr/>
          </p:nvSpPr>
          <p:spPr bwMode="auto">
            <a:xfrm>
              <a:off x="3599692" y="1665288"/>
              <a:ext cx="0" cy="4132263"/>
            </a:xfrm>
            <a:prstGeom prst="line">
              <a:avLst/>
            </a:prstGeom>
            <a:noFill/>
            <a:ln w="11113" cap="flat">
              <a:solidFill>
                <a:srgbClr val="96989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 name="Line 6"/>
            <p:cNvSpPr>
              <a:spLocks noChangeShapeType="1"/>
            </p:cNvSpPr>
            <p:nvPr/>
          </p:nvSpPr>
          <p:spPr bwMode="auto">
            <a:xfrm>
              <a:off x="4520442" y="1665288"/>
              <a:ext cx="0" cy="4132263"/>
            </a:xfrm>
            <a:prstGeom prst="line">
              <a:avLst/>
            </a:prstGeom>
            <a:noFill/>
            <a:ln w="11113" cap="flat">
              <a:solidFill>
                <a:srgbClr val="96989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 name="Line 7"/>
            <p:cNvSpPr>
              <a:spLocks noChangeShapeType="1"/>
            </p:cNvSpPr>
            <p:nvPr/>
          </p:nvSpPr>
          <p:spPr bwMode="auto">
            <a:xfrm>
              <a:off x="5441192" y="1665288"/>
              <a:ext cx="0" cy="4132263"/>
            </a:xfrm>
            <a:prstGeom prst="line">
              <a:avLst/>
            </a:prstGeom>
            <a:noFill/>
            <a:ln w="11113" cap="flat">
              <a:solidFill>
                <a:srgbClr val="96989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 name="Line 8"/>
            <p:cNvSpPr>
              <a:spLocks noChangeShapeType="1"/>
            </p:cNvSpPr>
            <p:nvPr/>
          </p:nvSpPr>
          <p:spPr bwMode="auto">
            <a:xfrm>
              <a:off x="6360354" y="1665288"/>
              <a:ext cx="0" cy="4132263"/>
            </a:xfrm>
            <a:prstGeom prst="line">
              <a:avLst/>
            </a:prstGeom>
            <a:noFill/>
            <a:ln w="11113" cap="flat">
              <a:solidFill>
                <a:srgbClr val="96989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nvGrpSpPr>
            <p:cNvPr id="9" name="组合 46"/>
            <p:cNvGrpSpPr/>
            <p:nvPr/>
          </p:nvGrpSpPr>
          <p:grpSpPr>
            <a:xfrm>
              <a:off x="2685292" y="1882776"/>
              <a:ext cx="3902075" cy="1074737"/>
              <a:chOff x="2685292" y="1882776"/>
              <a:chExt cx="3902075" cy="1074737"/>
            </a:xfrm>
            <a:solidFill>
              <a:srgbClr val="00A3E0"/>
            </a:solidFill>
          </p:grpSpPr>
          <p:sp>
            <p:nvSpPr>
              <p:cNvPr id="19" name="Freeform 9"/>
              <p:cNvSpPr>
                <a:spLocks/>
              </p:cNvSpPr>
              <p:nvPr/>
            </p:nvSpPr>
            <p:spPr bwMode="auto">
              <a:xfrm>
                <a:off x="2685292" y="2757488"/>
                <a:ext cx="1616075" cy="200025"/>
              </a:xfrm>
              <a:custGeom>
                <a:avLst/>
                <a:gdLst>
                  <a:gd name="T0" fmla="*/ 1018 w 1018"/>
                  <a:gd name="T1" fmla="*/ 126 h 126"/>
                  <a:gd name="T2" fmla="*/ 0 w 1018"/>
                  <a:gd name="T3" fmla="*/ 126 h 126"/>
                  <a:gd name="T4" fmla="*/ 0 w 1018"/>
                  <a:gd name="T5" fmla="*/ 0 h 126"/>
                  <a:gd name="T6" fmla="*/ 1018 w 1018"/>
                  <a:gd name="T7" fmla="*/ 0 h 126"/>
                  <a:gd name="T8" fmla="*/ 1018 w 1018"/>
                  <a:gd name="T9" fmla="*/ 126 h 126"/>
                  <a:gd name="T10" fmla="*/ 1018 w 1018"/>
                  <a:gd name="T11" fmla="*/ 126 h 126"/>
                </a:gdLst>
                <a:ahLst/>
                <a:cxnLst>
                  <a:cxn ang="0">
                    <a:pos x="T0" y="T1"/>
                  </a:cxn>
                  <a:cxn ang="0">
                    <a:pos x="T2" y="T3"/>
                  </a:cxn>
                  <a:cxn ang="0">
                    <a:pos x="T4" y="T5"/>
                  </a:cxn>
                  <a:cxn ang="0">
                    <a:pos x="T6" y="T7"/>
                  </a:cxn>
                  <a:cxn ang="0">
                    <a:pos x="T8" y="T9"/>
                  </a:cxn>
                  <a:cxn ang="0">
                    <a:pos x="T10" y="T11"/>
                  </a:cxn>
                </a:cxnLst>
                <a:rect l="0" t="0" r="r" b="b"/>
                <a:pathLst>
                  <a:path w="1018" h="126">
                    <a:moveTo>
                      <a:pt x="1018" y="126"/>
                    </a:moveTo>
                    <a:lnTo>
                      <a:pt x="0" y="126"/>
                    </a:lnTo>
                    <a:lnTo>
                      <a:pt x="0" y="0"/>
                    </a:lnTo>
                    <a:lnTo>
                      <a:pt x="1018" y="0"/>
                    </a:lnTo>
                    <a:lnTo>
                      <a:pt x="1018" y="126"/>
                    </a:lnTo>
                    <a:lnTo>
                      <a:pt x="1018" y="12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Freeform 10"/>
              <p:cNvSpPr>
                <a:spLocks/>
              </p:cNvSpPr>
              <p:nvPr/>
            </p:nvSpPr>
            <p:spPr bwMode="auto">
              <a:xfrm>
                <a:off x="2685292" y="1882776"/>
                <a:ext cx="3902075" cy="201613"/>
              </a:xfrm>
              <a:custGeom>
                <a:avLst/>
                <a:gdLst>
                  <a:gd name="T0" fmla="*/ 2458 w 2458"/>
                  <a:gd name="T1" fmla="*/ 127 h 127"/>
                  <a:gd name="T2" fmla="*/ 0 w 2458"/>
                  <a:gd name="T3" fmla="*/ 127 h 127"/>
                  <a:gd name="T4" fmla="*/ 0 w 2458"/>
                  <a:gd name="T5" fmla="*/ 0 h 127"/>
                  <a:gd name="T6" fmla="*/ 2458 w 2458"/>
                  <a:gd name="T7" fmla="*/ 0 h 127"/>
                  <a:gd name="T8" fmla="*/ 2458 w 2458"/>
                  <a:gd name="T9" fmla="*/ 127 h 127"/>
                  <a:gd name="T10" fmla="*/ 2458 w 2458"/>
                  <a:gd name="T11" fmla="*/ 127 h 127"/>
                </a:gdLst>
                <a:ahLst/>
                <a:cxnLst>
                  <a:cxn ang="0">
                    <a:pos x="T0" y="T1"/>
                  </a:cxn>
                  <a:cxn ang="0">
                    <a:pos x="T2" y="T3"/>
                  </a:cxn>
                  <a:cxn ang="0">
                    <a:pos x="T4" y="T5"/>
                  </a:cxn>
                  <a:cxn ang="0">
                    <a:pos x="T6" y="T7"/>
                  </a:cxn>
                  <a:cxn ang="0">
                    <a:pos x="T8" y="T9"/>
                  </a:cxn>
                  <a:cxn ang="0">
                    <a:pos x="T10" y="T11"/>
                  </a:cxn>
                </a:cxnLst>
                <a:rect l="0" t="0" r="r" b="b"/>
                <a:pathLst>
                  <a:path w="2458" h="127">
                    <a:moveTo>
                      <a:pt x="2458" y="127"/>
                    </a:moveTo>
                    <a:lnTo>
                      <a:pt x="0" y="127"/>
                    </a:lnTo>
                    <a:lnTo>
                      <a:pt x="0" y="0"/>
                    </a:lnTo>
                    <a:lnTo>
                      <a:pt x="2458" y="0"/>
                    </a:lnTo>
                    <a:lnTo>
                      <a:pt x="2458" y="127"/>
                    </a:lnTo>
                    <a:lnTo>
                      <a:pt x="2458" y="12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10" name="组合 45"/>
            <p:cNvGrpSpPr/>
            <p:nvPr/>
          </p:nvGrpSpPr>
          <p:grpSpPr>
            <a:xfrm>
              <a:off x="2685292" y="2319338"/>
              <a:ext cx="1627188" cy="3271838"/>
              <a:chOff x="2685292" y="2319338"/>
              <a:chExt cx="1627188" cy="3271838"/>
            </a:xfrm>
            <a:solidFill>
              <a:srgbClr val="86BC25"/>
            </a:solidFill>
          </p:grpSpPr>
          <p:sp>
            <p:nvSpPr>
              <p:cNvPr id="12" name="Freeform 11"/>
              <p:cNvSpPr>
                <a:spLocks/>
              </p:cNvSpPr>
              <p:nvPr/>
            </p:nvSpPr>
            <p:spPr bwMode="auto">
              <a:xfrm>
                <a:off x="2685292" y="4516438"/>
                <a:ext cx="303213" cy="200025"/>
              </a:xfrm>
              <a:custGeom>
                <a:avLst/>
                <a:gdLst>
                  <a:gd name="T0" fmla="*/ 191 w 191"/>
                  <a:gd name="T1" fmla="*/ 126 h 126"/>
                  <a:gd name="T2" fmla="*/ 0 w 191"/>
                  <a:gd name="T3" fmla="*/ 126 h 126"/>
                  <a:gd name="T4" fmla="*/ 0 w 191"/>
                  <a:gd name="T5" fmla="*/ 0 h 126"/>
                  <a:gd name="T6" fmla="*/ 191 w 191"/>
                  <a:gd name="T7" fmla="*/ 0 h 126"/>
                  <a:gd name="T8" fmla="*/ 191 w 191"/>
                  <a:gd name="T9" fmla="*/ 126 h 126"/>
                  <a:gd name="T10" fmla="*/ 191 w 191"/>
                  <a:gd name="T11" fmla="*/ 126 h 126"/>
                </a:gdLst>
                <a:ahLst/>
                <a:cxnLst>
                  <a:cxn ang="0">
                    <a:pos x="T0" y="T1"/>
                  </a:cxn>
                  <a:cxn ang="0">
                    <a:pos x="T2" y="T3"/>
                  </a:cxn>
                  <a:cxn ang="0">
                    <a:pos x="T4" y="T5"/>
                  </a:cxn>
                  <a:cxn ang="0">
                    <a:pos x="T6" y="T7"/>
                  </a:cxn>
                  <a:cxn ang="0">
                    <a:pos x="T8" y="T9"/>
                  </a:cxn>
                  <a:cxn ang="0">
                    <a:pos x="T10" y="T11"/>
                  </a:cxn>
                </a:cxnLst>
                <a:rect l="0" t="0" r="r" b="b"/>
                <a:pathLst>
                  <a:path w="191" h="126">
                    <a:moveTo>
                      <a:pt x="191" y="126"/>
                    </a:moveTo>
                    <a:lnTo>
                      <a:pt x="0" y="126"/>
                    </a:lnTo>
                    <a:lnTo>
                      <a:pt x="0" y="0"/>
                    </a:lnTo>
                    <a:lnTo>
                      <a:pt x="191" y="0"/>
                    </a:lnTo>
                    <a:lnTo>
                      <a:pt x="191" y="126"/>
                    </a:lnTo>
                    <a:lnTo>
                      <a:pt x="191"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 name="Freeform 12"/>
              <p:cNvSpPr>
                <a:spLocks/>
              </p:cNvSpPr>
              <p:nvPr/>
            </p:nvSpPr>
            <p:spPr bwMode="auto">
              <a:xfrm>
                <a:off x="2685292" y="4073526"/>
                <a:ext cx="303213" cy="200025"/>
              </a:xfrm>
              <a:custGeom>
                <a:avLst/>
                <a:gdLst>
                  <a:gd name="T0" fmla="*/ 191 w 191"/>
                  <a:gd name="T1" fmla="*/ 126 h 126"/>
                  <a:gd name="T2" fmla="*/ 0 w 191"/>
                  <a:gd name="T3" fmla="*/ 126 h 126"/>
                  <a:gd name="T4" fmla="*/ 0 w 191"/>
                  <a:gd name="T5" fmla="*/ 0 h 126"/>
                  <a:gd name="T6" fmla="*/ 191 w 191"/>
                  <a:gd name="T7" fmla="*/ 0 h 126"/>
                  <a:gd name="T8" fmla="*/ 191 w 191"/>
                  <a:gd name="T9" fmla="*/ 126 h 126"/>
                  <a:gd name="T10" fmla="*/ 191 w 191"/>
                  <a:gd name="T11" fmla="*/ 126 h 126"/>
                </a:gdLst>
                <a:ahLst/>
                <a:cxnLst>
                  <a:cxn ang="0">
                    <a:pos x="T0" y="T1"/>
                  </a:cxn>
                  <a:cxn ang="0">
                    <a:pos x="T2" y="T3"/>
                  </a:cxn>
                  <a:cxn ang="0">
                    <a:pos x="T4" y="T5"/>
                  </a:cxn>
                  <a:cxn ang="0">
                    <a:pos x="T6" y="T7"/>
                  </a:cxn>
                  <a:cxn ang="0">
                    <a:pos x="T8" y="T9"/>
                  </a:cxn>
                  <a:cxn ang="0">
                    <a:pos x="T10" y="T11"/>
                  </a:cxn>
                </a:cxnLst>
                <a:rect l="0" t="0" r="r" b="b"/>
                <a:pathLst>
                  <a:path w="191" h="126">
                    <a:moveTo>
                      <a:pt x="191" y="126"/>
                    </a:moveTo>
                    <a:lnTo>
                      <a:pt x="0" y="126"/>
                    </a:lnTo>
                    <a:lnTo>
                      <a:pt x="0" y="0"/>
                    </a:lnTo>
                    <a:lnTo>
                      <a:pt x="191" y="0"/>
                    </a:lnTo>
                    <a:lnTo>
                      <a:pt x="191" y="126"/>
                    </a:lnTo>
                    <a:lnTo>
                      <a:pt x="191"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 name="Freeform 13"/>
              <p:cNvSpPr>
                <a:spLocks/>
              </p:cNvSpPr>
              <p:nvPr/>
            </p:nvSpPr>
            <p:spPr bwMode="auto">
              <a:xfrm>
                <a:off x="2685292" y="4953001"/>
                <a:ext cx="179388" cy="201613"/>
              </a:xfrm>
              <a:custGeom>
                <a:avLst/>
                <a:gdLst>
                  <a:gd name="T0" fmla="*/ 113 w 113"/>
                  <a:gd name="T1" fmla="*/ 127 h 127"/>
                  <a:gd name="T2" fmla="*/ 0 w 113"/>
                  <a:gd name="T3" fmla="*/ 127 h 127"/>
                  <a:gd name="T4" fmla="*/ 0 w 113"/>
                  <a:gd name="T5" fmla="*/ 0 h 127"/>
                  <a:gd name="T6" fmla="*/ 113 w 113"/>
                  <a:gd name="T7" fmla="*/ 0 h 127"/>
                  <a:gd name="T8" fmla="*/ 113 w 113"/>
                  <a:gd name="T9" fmla="*/ 127 h 127"/>
                  <a:gd name="T10" fmla="*/ 113 w 113"/>
                  <a:gd name="T11" fmla="*/ 127 h 127"/>
                </a:gdLst>
                <a:ahLst/>
                <a:cxnLst>
                  <a:cxn ang="0">
                    <a:pos x="T0" y="T1"/>
                  </a:cxn>
                  <a:cxn ang="0">
                    <a:pos x="T2" y="T3"/>
                  </a:cxn>
                  <a:cxn ang="0">
                    <a:pos x="T4" y="T5"/>
                  </a:cxn>
                  <a:cxn ang="0">
                    <a:pos x="T6" y="T7"/>
                  </a:cxn>
                  <a:cxn ang="0">
                    <a:pos x="T8" y="T9"/>
                  </a:cxn>
                  <a:cxn ang="0">
                    <a:pos x="T10" y="T11"/>
                  </a:cxn>
                </a:cxnLst>
                <a:rect l="0" t="0" r="r" b="b"/>
                <a:pathLst>
                  <a:path w="113" h="127">
                    <a:moveTo>
                      <a:pt x="113" y="127"/>
                    </a:moveTo>
                    <a:lnTo>
                      <a:pt x="0" y="127"/>
                    </a:lnTo>
                    <a:lnTo>
                      <a:pt x="0" y="0"/>
                    </a:lnTo>
                    <a:lnTo>
                      <a:pt x="113" y="0"/>
                    </a:lnTo>
                    <a:lnTo>
                      <a:pt x="113" y="127"/>
                    </a:lnTo>
                    <a:lnTo>
                      <a:pt x="113"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 name="Freeform 14"/>
              <p:cNvSpPr>
                <a:spLocks/>
              </p:cNvSpPr>
              <p:nvPr/>
            </p:nvSpPr>
            <p:spPr bwMode="auto">
              <a:xfrm>
                <a:off x="2685292" y="3200401"/>
                <a:ext cx="777875" cy="200025"/>
              </a:xfrm>
              <a:custGeom>
                <a:avLst/>
                <a:gdLst>
                  <a:gd name="T0" fmla="*/ 490 w 490"/>
                  <a:gd name="T1" fmla="*/ 126 h 126"/>
                  <a:gd name="T2" fmla="*/ 0 w 490"/>
                  <a:gd name="T3" fmla="*/ 126 h 126"/>
                  <a:gd name="T4" fmla="*/ 0 w 490"/>
                  <a:gd name="T5" fmla="*/ 0 h 126"/>
                  <a:gd name="T6" fmla="*/ 490 w 490"/>
                  <a:gd name="T7" fmla="*/ 0 h 126"/>
                  <a:gd name="T8" fmla="*/ 490 w 490"/>
                  <a:gd name="T9" fmla="*/ 126 h 126"/>
                  <a:gd name="T10" fmla="*/ 490 w 490"/>
                  <a:gd name="T11" fmla="*/ 126 h 126"/>
                </a:gdLst>
                <a:ahLst/>
                <a:cxnLst>
                  <a:cxn ang="0">
                    <a:pos x="T0" y="T1"/>
                  </a:cxn>
                  <a:cxn ang="0">
                    <a:pos x="T2" y="T3"/>
                  </a:cxn>
                  <a:cxn ang="0">
                    <a:pos x="T4" y="T5"/>
                  </a:cxn>
                  <a:cxn ang="0">
                    <a:pos x="T6" y="T7"/>
                  </a:cxn>
                  <a:cxn ang="0">
                    <a:pos x="T8" y="T9"/>
                  </a:cxn>
                  <a:cxn ang="0">
                    <a:pos x="T10" y="T11"/>
                  </a:cxn>
                </a:cxnLst>
                <a:rect l="0" t="0" r="r" b="b"/>
                <a:pathLst>
                  <a:path w="490" h="126">
                    <a:moveTo>
                      <a:pt x="490" y="126"/>
                    </a:moveTo>
                    <a:lnTo>
                      <a:pt x="0" y="126"/>
                    </a:lnTo>
                    <a:lnTo>
                      <a:pt x="0" y="0"/>
                    </a:lnTo>
                    <a:lnTo>
                      <a:pt x="490" y="0"/>
                    </a:lnTo>
                    <a:lnTo>
                      <a:pt x="490" y="126"/>
                    </a:lnTo>
                    <a:lnTo>
                      <a:pt x="490"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 name="Freeform 15"/>
              <p:cNvSpPr>
                <a:spLocks/>
              </p:cNvSpPr>
              <p:nvPr/>
            </p:nvSpPr>
            <p:spPr bwMode="auto">
              <a:xfrm>
                <a:off x="2685292" y="3636963"/>
                <a:ext cx="350838" cy="200025"/>
              </a:xfrm>
              <a:custGeom>
                <a:avLst/>
                <a:gdLst>
                  <a:gd name="T0" fmla="*/ 221 w 221"/>
                  <a:gd name="T1" fmla="*/ 126 h 126"/>
                  <a:gd name="T2" fmla="*/ 0 w 221"/>
                  <a:gd name="T3" fmla="*/ 126 h 126"/>
                  <a:gd name="T4" fmla="*/ 0 w 221"/>
                  <a:gd name="T5" fmla="*/ 0 h 126"/>
                  <a:gd name="T6" fmla="*/ 221 w 221"/>
                  <a:gd name="T7" fmla="*/ 0 h 126"/>
                  <a:gd name="T8" fmla="*/ 221 w 221"/>
                  <a:gd name="T9" fmla="*/ 126 h 126"/>
                  <a:gd name="T10" fmla="*/ 221 w 221"/>
                  <a:gd name="T11" fmla="*/ 126 h 126"/>
                </a:gdLst>
                <a:ahLst/>
                <a:cxnLst>
                  <a:cxn ang="0">
                    <a:pos x="T0" y="T1"/>
                  </a:cxn>
                  <a:cxn ang="0">
                    <a:pos x="T2" y="T3"/>
                  </a:cxn>
                  <a:cxn ang="0">
                    <a:pos x="T4" y="T5"/>
                  </a:cxn>
                  <a:cxn ang="0">
                    <a:pos x="T6" y="T7"/>
                  </a:cxn>
                  <a:cxn ang="0">
                    <a:pos x="T8" y="T9"/>
                  </a:cxn>
                  <a:cxn ang="0">
                    <a:pos x="T10" y="T11"/>
                  </a:cxn>
                </a:cxnLst>
                <a:rect l="0" t="0" r="r" b="b"/>
                <a:pathLst>
                  <a:path w="221" h="126">
                    <a:moveTo>
                      <a:pt x="221" y="126"/>
                    </a:moveTo>
                    <a:lnTo>
                      <a:pt x="0" y="126"/>
                    </a:lnTo>
                    <a:lnTo>
                      <a:pt x="0" y="0"/>
                    </a:lnTo>
                    <a:lnTo>
                      <a:pt x="221" y="0"/>
                    </a:lnTo>
                    <a:lnTo>
                      <a:pt x="221" y="126"/>
                    </a:lnTo>
                    <a:lnTo>
                      <a:pt x="221"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 name="Freeform 16"/>
              <p:cNvSpPr>
                <a:spLocks/>
              </p:cNvSpPr>
              <p:nvPr/>
            </p:nvSpPr>
            <p:spPr bwMode="auto">
              <a:xfrm>
                <a:off x="2685292" y="2319338"/>
                <a:ext cx="1627188" cy="201613"/>
              </a:xfrm>
              <a:custGeom>
                <a:avLst/>
                <a:gdLst>
                  <a:gd name="T0" fmla="*/ 1025 w 1025"/>
                  <a:gd name="T1" fmla="*/ 127 h 127"/>
                  <a:gd name="T2" fmla="*/ 0 w 1025"/>
                  <a:gd name="T3" fmla="*/ 127 h 127"/>
                  <a:gd name="T4" fmla="*/ 0 w 1025"/>
                  <a:gd name="T5" fmla="*/ 0 h 127"/>
                  <a:gd name="T6" fmla="*/ 1025 w 1025"/>
                  <a:gd name="T7" fmla="*/ 0 h 127"/>
                  <a:gd name="T8" fmla="*/ 1025 w 1025"/>
                  <a:gd name="T9" fmla="*/ 127 h 127"/>
                  <a:gd name="T10" fmla="*/ 1025 w 1025"/>
                  <a:gd name="T11" fmla="*/ 127 h 127"/>
                </a:gdLst>
                <a:ahLst/>
                <a:cxnLst>
                  <a:cxn ang="0">
                    <a:pos x="T0" y="T1"/>
                  </a:cxn>
                  <a:cxn ang="0">
                    <a:pos x="T2" y="T3"/>
                  </a:cxn>
                  <a:cxn ang="0">
                    <a:pos x="T4" y="T5"/>
                  </a:cxn>
                  <a:cxn ang="0">
                    <a:pos x="T6" y="T7"/>
                  </a:cxn>
                  <a:cxn ang="0">
                    <a:pos x="T8" y="T9"/>
                  </a:cxn>
                  <a:cxn ang="0">
                    <a:pos x="T10" y="T11"/>
                  </a:cxn>
                </a:cxnLst>
                <a:rect l="0" t="0" r="r" b="b"/>
                <a:pathLst>
                  <a:path w="1025" h="127">
                    <a:moveTo>
                      <a:pt x="1025" y="127"/>
                    </a:moveTo>
                    <a:lnTo>
                      <a:pt x="0" y="127"/>
                    </a:lnTo>
                    <a:lnTo>
                      <a:pt x="0" y="0"/>
                    </a:lnTo>
                    <a:lnTo>
                      <a:pt x="1025" y="0"/>
                    </a:lnTo>
                    <a:lnTo>
                      <a:pt x="1025" y="127"/>
                    </a:lnTo>
                    <a:lnTo>
                      <a:pt x="1025"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Freeform 17"/>
              <p:cNvSpPr>
                <a:spLocks/>
              </p:cNvSpPr>
              <p:nvPr/>
            </p:nvSpPr>
            <p:spPr bwMode="auto">
              <a:xfrm>
                <a:off x="2685292" y="5389563"/>
                <a:ext cx="119063" cy="201613"/>
              </a:xfrm>
              <a:custGeom>
                <a:avLst/>
                <a:gdLst>
                  <a:gd name="T0" fmla="*/ 75 w 75"/>
                  <a:gd name="T1" fmla="*/ 127 h 127"/>
                  <a:gd name="T2" fmla="*/ 0 w 75"/>
                  <a:gd name="T3" fmla="*/ 127 h 127"/>
                  <a:gd name="T4" fmla="*/ 0 w 75"/>
                  <a:gd name="T5" fmla="*/ 0 h 127"/>
                  <a:gd name="T6" fmla="*/ 75 w 75"/>
                  <a:gd name="T7" fmla="*/ 0 h 127"/>
                  <a:gd name="T8" fmla="*/ 75 w 75"/>
                  <a:gd name="T9" fmla="*/ 127 h 127"/>
                  <a:gd name="T10" fmla="*/ 75 w 75"/>
                  <a:gd name="T11" fmla="*/ 127 h 127"/>
                </a:gdLst>
                <a:ahLst/>
                <a:cxnLst>
                  <a:cxn ang="0">
                    <a:pos x="T0" y="T1"/>
                  </a:cxn>
                  <a:cxn ang="0">
                    <a:pos x="T2" y="T3"/>
                  </a:cxn>
                  <a:cxn ang="0">
                    <a:pos x="T4" y="T5"/>
                  </a:cxn>
                  <a:cxn ang="0">
                    <a:pos x="T6" y="T7"/>
                  </a:cxn>
                  <a:cxn ang="0">
                    <a:pos x="T8" y="T9"/>
                  </a:cxn>
                  <a:cxn ang="0">
                    <a:pos x="T10" y="T11"/>
                  </a:cxn>
                </a:cxnLst>
                <a:rect l="0" t="0" r="r" b="b"/>
                <a:pathLst>
                  <a:path w="75" h="127">
                    <a:moveTo>
                      <a:pt x="75" y="127"/>
                    </a:moveTo>
                    <a:lnTo>
                      <a:pt x="0" y="127"/>
                    </a:lnTo>
                    <a:lnTo>
                      <a:pt x="0" y="0"/>
                    </a:lnTo>
                    <a:lnTo>
                      <a:pt x="75" y="0"/>
                    </a:lnTo>
                    <a:lnTo>
                      <a:pt x="75" y="127"/>
                    </a:lnTo>
                    <a:lnTo>
                      <a:pt x="75"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1" name="Line 18"/>
            <p:cNvSpPr>
              <a:spLocks noChangeShapeType="1"/>
            </p:cNvSpPr>
            <p:nvPr/>
          </p:nvSpPr>
          <p:spPr bwMode="auto">
            <a:xfrm flipV="1">
              <a:off x="2685292" y="1665288"/>
              <a:ext cx="0" cy="4132263"/>
            </a:xfrm>
            <a:prstGeom prst="line">
              <a:avLst/>
            </a:prstGeom>
            <a:noFill/>
            <a:ln w="23813" cap="flat">
              <a:solidFill>
                <a:srgbClr val="696B7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1" name="Freeform 43"/>
          <p:cNvSpPr>
            <a:spLocks/>
          </p:cNvSpPr>
          <p:nvPr/>
        </p:nvSpPr>
        <p:spPr bwMode="auto">
          <a:xfrm>
            <a:off x="4643171" y="4448882"/>
            <a:ext cx="981395" cy="306064"/>
          </a:xfrm>
          <a:custGeom>
            <a:avLst/>
            <a:gdLst>
              <a:gd name="T0" fmla="*/ 122 w 143"/>
              <a:gd name="T1" fmla="*/ 0 h 44"/>
              <a:gd name="T2" fmla="*/ 50 w 143"/>
              <a:gd name="T3" fmla="*/ 0 h 44"/>
              <a:gd name="T4" fmla="*/ 29 w 143"/>
              <a:gd name="T5" fmla="*/ 17 h 44"/>
              <a:gd name="T6" fmla="*/ 0 w 143"/>
              <a:gd name="T7" fmla="*/ 22 h 44"/>
              <a:gd name="T8" fmla="*/ 29 w 143"/>
              <a:gd name="T9" fmla="*/ 27 h 44"/>
              <a:gd name="T10" fmla="*/ 50 w 143"/>
              <a:gd name="T11" fmla="*/ 44 h 44"/>
              <a:gd name="T12" fmla="*/ 122 w 143"/>
              <a:gd name="T13" fmla="*/ 44 h 44"/>
              <a:gd name="T14" fmla="*/ 143 w 143"/>
              <a:gd name="T15" fmla="*/ 22 h 44"/>
              <a:gd name="T16" fmla="*/ 122 w 143"/>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44">
                <a:moveTo>
                  <a:pt x="122" y="0"/>
                </a:moveTo>
                <a:cubicBezTo>
                  <a:pt x="50" y="0"/>
                  <a:pt x="50" y="0"/>
                  <a:pt x="50" y="0"/>
                </a:cubicBezTo>
                <a:cubicBezTo>
                  <a:pt x="40" y="0"/>
                  <a:pt x="31" y="7"/>
                  <a:pt x="29" y="17"/>
                </a:cubicBezTo>
                <a:cubicBezTo>
                  <a:pt x="0" y="22"/>
                  <a:pt x="0" y="22"/>
                  <a:pt x="0" y="22"/>
                </a:cubicBezTo>
                <a:cubicBezTo>
                  <a:pt x="29" y="27"/>
                  <a:pt x="29" y="27"/>
                  <a:pt x="29" y="27"/>
                </a:cubicBezTo>
                <a:cubicBezTo>
                  <a:pt x="31" y="37"/>
                  <a:pt x="40" y="44"/>
                  <a:pt x="50" y="44"/>
                </a:cubicBezTo>
                <a:cubicBezTo>
                  <a:pt x="122" y="44"/>
                  <a:pt x="122" y="44"/>
                  <a:pt x="122" y="44"/>
                </a:cubicBezTo>
                <a:cubicBezTo>
                  <a:pt x="134" y="44"/>
                  <a:pt x="143" y="34"/>
                  <a:pt x="143" y="22"/>
                </a:cubicBezTo>
                <a:cubicBezTo>
                  <a:pt x="143" y="10"/>
                  <a:pt x="134" y="0"/>
                  <a:pt x="122"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 name="Freeform 43"/>
          <p:cNvSpPr>
            <a:spLocks/>
          </p:cNvSpPr>
          <p:nvPr/>
        </p:nvSpPr>
        <p:spPr bwMode="auto">
          <a:xfrm>
            <a:off x="4643171" y="4947370"/>
            <a:ext cx="981395" cy="306064"/>
          </a:xfrm>
          <a:custGeom>
            <a:avLst/>
            <a:gdLst>
              <a:gd name="T0" fmla="*/ 122 w 143"/>
              <a:gd name="T1" fmla="*/ 0 h 44"/>
              <a:gd name="T2" fmla="*/ 50 w 143"/>
              <a:gd name="T3" fmla="*/ 0 h 44"/>
              <a:gd name="T4" fmla="*/ 29 w 143"/>
              <a:gd name="T5" fmla="*/ 17 h 44"/>
              <a:gd name="T6" fmla="*/ 0 w 143"/>
              <a:gd name="T7" fmla="*/ 22 h 44"/>
              <a:gd name="T8" fmla="*/ 29 w 143"/>
              <a:gd name="T9" fmla="*/ 27 h 44"/>
              <a:gd name="T10" fmla="*/ 50 w 143"/>
              <a:gd name="T11" fmla="*/ 44 h 44"/>
              <a:gd name="T12" fmla="*/ 122 w 143"/>
              <a:gd name="T13" fmla="*/ 44 h 44"/>
              <a:gd name="T14" fmla="*/ 143 w 143"/>
              <a:gd name="T15" fmla="*/ 22 h 44"/>
              <a:gd name="T16" fmla="*/ 122 w 143"/>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44">
                <a:moveTo>
                  <a:pt x="122" y="0"/>
                </a:moveTo>
                <a:cubicBezTo>
                  <a:pt x="50" y="0"/>
                  <a:pt x="50" y="0"/>
                  <a:pt x="50" y="0"/>
                </a:cubicBezTo>
                <a:cubicBezTo>
                  <a:pt x="40" y="0"/>
                  <a:pt x="31" y="7"/>
                  <a:pt x="29" y="17"/>
                </a:cubicBezTo>
                <a:cubicBezTo>
                  <a:pt x="0" y="22"/>
                  <a:pt x="0" y="22"/>
                  <a:pt x="0" y="22"/>
                </a:cubicBezTo>
                <a:cubicBezTo>
                  <a:pt x="29" y="27"/>
                  <a:pt x="29" y="27"/>
                  <a:pt x="29" y="27"/>
                </a:cubicBezTo>
                <a:cubicBezTo>
                  <a:pt x="31" y="37"/>
                  <a:pt x="40" y="44"/>
                  <a:pt x="50" y="44"/>
                </a:cubicBezTo>
                <a:cubicBezTo>
                  <a:pt x="122" y="44"/>
                  <a:pt x="122" y="44"/>
                  <a:pt x="122" y="44"/>
                </a:cubicBezTo>
                <a:cubicBezTo>
                  <a:pt x="134" y="44"/>
                  <a:pt x="143" y="34"/>
                  <a:pt x="143" y="22"/>
                </a:cubicBezTo>
                <a:cubicBezTo>
                  <a:pt x="143" y="10"/>
                  <a:pt x="134" y="0"/>
                  <a:pt x="122"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9"/>
          <p:cNvSpPr>
            <a:spLocks/>
          </p:cNvSpPr>
          <p:nvPr/>
        </p:nvSpPr>
        <p:spPr bwMode="auto">
          <a:xfrm>
            <a:off x="8923762" y="958004"/>
            <a:ext cx="1210837" cy="306566"/>
          </a:xfrm>
          <a:custGeom>
            <a:avLst/>
            <a:gdLst>
              <a:gd name="T0" fmla="*/ 147 w 168"/>
              <a:gd name="T1" fmla="*/ 0 h 43"/>
              <a:gd name="T2" fmla="*/ 50 w 168"/>
              <a:gd name="T3" fmla="*/ 0 h 43"/>
              <a:gd name="T4" fmla="*/ 29 w 168"/>
              <a:gd name="T5" fmla="*/ 17 h 43"/>
              <a:gd name="T6" fmla="*/ 0 w 168"/>
              <a:gd name="T7" fmla="*/ 22 h 43"/>
              <a:gd name="T8" fmla="*/ 29 w 168"/>
              <a:gd name="T9" fmla="*/ 27 h 43"/>
              <a:gd name="T10" fmla="*/ 50 w 168"/>
              <a:gd name="T11" fmla="*/ 43 h 43"/>
              <a:gd name="T12" fmla="*/ 147 w 168"/>
              <a:gd name="T13" fmla="*/ 43 h 43"/>
              <a:gd name="T14" fmla="*/ 168 w 168"/>
              <a:gd name="T15" fmla="*/ 22 h 43"/>
              <a:gd name="T16" fmla="*/ 147 w 168"/>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43">
                <a:moveTo>
                  <a:pt x="147" y="0"/>
                </a:moveTo>
                <a:cubicBezTo>
                  <a:pt x="50" y="0"/>
                  <a:pt x="50" y="0"/>
                  <a:pt x="50" y="0"/>
                </a:cubicBezTo>
                <a:cubicBezTo>
                  <a:pt x="40" y="0"/>
                  <a:pt x="32" y="7"/>
                  <a:pt x="29" y="17"/>
                </a:cubicBezTo>
                <a:cubicBezTo>
                  <a:pt x="0" y="22"/>
                  <a:pt x="0" y="22"/>
                  <a:pt x="0" y="22"/>
                </a:cubicBezTo>
                <a:cubicBezTo>
                  <a:pt x="29" y="27"/>
                  <a:pt x="29" y="27"/>
                  <a:pt x="29" y="27"/>
                </a:cubicBezTo>
                <a:cubicBezTo>
                  <a:pt x="32" y="36"/>
                  <a:pt x="40" y="43"/>
                  <a:pt x="50" y="43"/>
                </a:cubicBezTo>
                <a:cubicBezTo>
                  <a:pt x="147" y="43"/>
                  <a:pt x="147" y="43"/>
                  <a:pt x="147" y="43"/>
                </a:cubicBezTo>
                <a:cubicBezTo>
                  <a:pt x="159" y="43"/>
                  <a:pt x="168" y="34"/>
                  <a:pt x="168" y="22"/>
                </a:cubicBezTo>
                <a:cubicBezTo>
                  <a:pt x="168" y="10"/>
                  <a:pt x="159" y="0"/>
                  <a:pt x="147"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4" name="Freeform 42"/>
          <p:cNvSpPr>
            <a:spLocks/>
          </p:cNvSpPr>
          <p:nvPr/>
        </p:nvSpPr>
        <p:spPr bwMode="auto">
          <a:xfrm>
            <a:off x="6345602" y="1445610"/>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solidFill>
                <a:schemeClr val="accent1"/>
              </a:solidFill>
            </a:endParaRPr>
          </a:p>
        </p:txBody>
      </p:sp>
      <p:sp>
        <p:nvSpPr>
          <p:cNvPr id="25" name="Freeform 42"/>
          <p:cNvSpPr>
            <a:spLocks/>
          </p:cNvSpPr>
          <p:nvPr/>
        </p:nvSpPr>
        <p:spPr bwMode="auto">
          <a:xfrm>
            <a:off x="6345602" y="1927504"/>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solidFill>
                <a:schemeClr val="accent2"/>
              </a:solidFill>
            </a:endParaRPr>
          </a:p>
        </p:txBody>
      </p:sp>
      <p:sp>
        <p:nvSpPr>
          <p:cNvPr id="26" name="Freeform 42"/>
          <p:cNvSpPr>
            <a:spLocks/>
          </p:cNvSpPr>
          <p:nvPr/>
        </p:nvSpPr>
        <p:spPr bwMode="auto">
          <a:xfrm>
            <a:off x="5380847" y="2437467"/>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7" name="Freeform 42"/>
          <p:cNvSpPr>
            <a:spLocks/>
          </p:cNvSpPr>
          <p:nvPr/>
        </p:nvSpPr>
        <p:spPr bwMode="auto">
          <a:xfrm>
            <a:off x="4893272" y="2926684"/>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8" name="Freeform 42"/>
          <p:cNvSpPr>
            <a:spLocks/>
          </p:cNvSpPr>
          <p:nvPr/>
        </p:nvSpPr>
        <p:spPr bwMode="auto">
          <a:xfrm>
            <a:off x="4837170" y="3432760"/>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9" name="Freeform 42"/>
          <p:cNvSpPr>
            <a:spLocks/>
          </p:cNvSpPr>
          <p:nvPr/>
        </p:nvSpPr>
        <p:spPr bwMode="auto">
          <a:xfrm>
            <a:off x="4772714" y="3946571"/>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0" name="文本框 44"/>
          <p:cNvSpPr txBox="1"/>
          <p:nvPr/>
        </p:nvSpPr>
        <p:spPr>
          <a:xfrm>
            <a:off x="9266076" y="999144"/>
            <a:ext cx="509755"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2"/>
                </a:solidFill>
              </a:rPr>
              <a:t>170,000</a:t>
            </a:r>
            <a:endParaRPr lang="zh-CN" altLang="en-US" sz="1200" dirty="0">
              <a:solidFill>
                <a:schemeClr val="accent2"/>
              </a:solidFill>
            </a:endParaRPr>
          </a:p>
        </p:txBody>
      </p:sp>
      <p:sp>
        <p:nvSpPr>
          <p:cNvPr id="31" name="矩形 47"/>
          <p:cNvSpPr/>
          <p:nvPr/>
        </p:nvSpPr>
        <p:spPr>
          <a:xfrm>
            <a:off x="296922" y="3986730"/>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2" name="矩形 49"/>
          <p:cNvSpPr/>
          <p:nvPr/>
        </p:nvSpPr>
        <p:spPr>
          <a:xfrm>
            <a:off x="296922" y="4489521"/>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3" name="矩形 50"/>
          <p:cNvSpPr/>
          <p:nvPr/>
        </p:nvSpPr>
        <p:spPr>
          <a:xfrm>
            <a:off x="296922" y="4992315"/>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4" name="矩形 51"/>
          <p:cNvSpPr/>
          <p:nvPr/>
        </p:nvSpPr>
        <p:spPr>
          <a:xfrm>
            <a:off x="296922" y="3483939"/>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5" name="矩形 52"/>
          <p:cNvSpPr/>
          <p:nvPr/>
        </p:nvSpPr>
        <p:spPr>
          <a:xfrm>
            <a:off x="296922" y="2981148"/>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6" name="矩形 53"/>
          <p:cNvSpPr/>
          <p:nvPr/>
        </p:nvSpPr>
        <p:spPr>
          <a:xfrm>
            <a:off x="296922" y="2478357"/>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7" name="矩形 54"/>
          <p:cNvSpPr/>
          <p:nvPr/>
        </p:nvSpPr>
        <p:spPr>
          <a:xfrm>
            <a:off x="296922" y="1975566"/>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8" name="矩形 55"/>
          <p:cNvSpPr/>
          <p:nvPr/>
        </p:nvSpPr>
        <p:spPr>
          <a:xfrm>
            <a:off x="296922" y="1472775"/>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9" name="矩形 56"/>
          <p:cNvSpPr/>
          <p:nvPr/>
        </p:nvSpPr>
        <p:spPr>
          <a:xfrm>
            <a:off x="296922" y="969984"/>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40" name="文本框 58"/>
          <p:cNvSpPr txBox="1"/>
          <p:nvPr/>
        </p:nvSpPr>
        <p:spPr>
          <a:xfrm>
            <a:off x="6687916" y="1486751"/>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70,776</a:t>
            </a:r>
            <a:endParaRPr lang="zh-CN" altLang="en-US" sz="1200" dirty="0">
              <a:solidFill>
                <a:schemeClr val="accent1"/>
              </a:solidFill>
            </a:endParaRPr>
          </a:p>
        </p:txBody>
      </p:sp>
      <p:sp>
        <p:nvSpPr>
          <p:cNvPr id="41" name="文本框 60"/>
          <p:cNvSpPr txBox="1"/>
          <p:nvPr/>
        </p:nvSpPr>
        <p:spPr>
          <a:xfrm>
            <a:off x="6687916" y="1975566"/>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2"/>
                </a:solidFill>
              </a:rPr>
              <a:t>70,000</a:t>
            </a:r>
            <a:endParaRPr lang="zh-CN" altLang="en-US" sz="1200" dirty="0">
              <a:solidFill>
                <a:schemeClr val="accent2"/>
              </a:solidFill>
            </a:endParaRPr>
          </a:p>
        </p:txBody>
      </p:sp>
      <p:sp>
        <p:nvSpPr>
          <p:cNvPr id="42" name="文本框 62"/>
          <p:cNvSpPr txBox="1"/>
          <p:nvPr/>
        </p:nvSpPr>
        <p:spPr>
          <a:xfrm>
            <a:off x="5710248" y="2481252"/>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34,000</a:t>
            </a:r>
            <a:endParaRPr lang="zh-CN" altLang="en-US" sz="1200" dirty="0">
              <a:solidFill>
                <a:schemeClr val="accent1"/>
              </a:solidFill>
            </a:endParaRPr>
          </a:p>
        </p:txBody>
      </p:sp>
      <p:sp>
        <p:nvSpPr>
          <p:cNvPr id="43" name="文本框 64"/>
          <p:cNvSpPr txBox="1"/>
          <p:nvPr/>
        </p:nvSpPr>
        <p:spPr>
          <a:xfrm>
            <a:off x="5235585" y="2956399"/>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15,000</a:t>
            </a:r>
            <a:endParaRPr lang="zh-CN" altLang="en-US" sz="1200" dirty="0">
              <a:solidFill>
                <a:schemeClr val="accent1"/>
              </a:solidFill>
            </a:endParaRPr>
          </a:p>
        </p:txBody>
      </p:sp>
      <p:sp>
        <p:nvSpPr>
          <p:cNvPr id="44" name="文本框 66"/>
          <p:cNvSpPr txBox="1"/>
          <p:nvPr/>
        </p:nvSpPr>
        <p:spPr>
          <a:xfrm>
            <a:off x="5163190" y="3475754"/>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13,600</a:t>
            </a:r>
            <a:endParaRPr lang="zh-CN" altLang="en-US" sz="1200" dirty="0">
              <a:solidFill>
                <a:schemeClr val="accent1"/>
              </a:solidFill>
            </a:endParaRPr>
          </a:p>
        </p:txBody>
      </p:sp>
      <p:sp>
        <p:nvSpPr>
          <p:cNvPr id="45" name="文本框 68"/>
          <p:cNvSpPr txBox="1"/>
          <p:nvPr/>
        </p:nvSpPr>
        <p:spPr>
          <a:xfrm>
            <a:off x="5104829" y="3989730"/>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13,000</a:t>
            </a:r>
            <a:endParaRPr lang="zh-CN" altLang="en-US" sz="1200" dirty="0">
              <a:solidFill>
                <a:schemeClr val="accent1"/>
              </a:solidFill>
            </a:endParaRPr>
          </a:p>
        </p:txBody>
      </p:sp>
      <p:sp>
        <p:nvSpPr>
          <p:cNvPr id="46" name="文本框 70"/>
          <p:cNvSpPr txBox="1"/>
          <p:nvPr/>
        </p:nvSpPr>
        <p:spPr>
          <a:xfrm>
            <a:off x="4985485" y="4489521"/>
            <a:ext cx="352661"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7,500</a:t>
            </a:r>
            <a:endParaRPr lang="zh-CN" altLang="en-US" sz="1200" dirty="0">
              <a:solidFill>
                <a:schemeClr val="accent1"/>
              </a:solidFill>
            </a:endParaRPr>
          </a:p>
        </p:txBody>
      </p:sp>
      <p:sp>
        <p:nvSpPr>
          <p:cNvPr id="47" name="文本框 72"/>
          <p:cNvSpPr txBox="1"/>
          <p:nvPr/>
        </p:nvSpPr>
        <p:spPr>
          <a:xfrm>
            <a:off x="4966441" y="4991832"/>
            <a:ext cx="352661"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5,150</a:t>
            </a:r>
            <a:endParaRPr lang="zh-CN" altLang="en-US" sz="1200" dirty="0">
              <a:solidFill>
                <a:schemeClr val="accent1"/>
              </a:solidFill>
            </a:endParaRPr>
          </a:p>
        </p:txBody>
      </p:sp>
      <p:sp>
        <p:nvSpPr>
          <p:cNvPr id="48" name="矩形 85"/>
          <p:cNvSpPr/>
          <p:nvPr/>
        </p:nvSpPr>
        <p:spPr>
          <a:xfrm>
            <a:off x="296922" y="5495110"/>
            <a:ext cx="3922017" cy="224284"/>
          </a:xfrm>
          <a:prstGeom prst="rect">
            <a:avLst/>
          </a:prstGeom>
        </p:spPr>
        <p:txBody>
          <a:bodyPr wrap="square" lIns="0" tIns="0" rIns="0" bIns="0">
            <a:spAutoFit/>
          </a:bodyPr>
          <a:lstStyle/>
          <a:p>
            <a:pPr algn="r"/>
            <a:r>
              <a:rPr lang="en-US" altLang="zh-CN" sz="1200" dirty="0"/>
              <a:t>Unit: </a:t>
            </a:r>
            <a:r>
              <a:rPr lang="zh-CN" altLang="en-US" sz="1200" dirty="0"/>
              <a:t>￡</a:t>
            </a:r>
          </a:p>
        </p:txBody>
      </p:sp>
      <p:sp>
        <p:nvSpPr>
          <p:cNvPr id="49" name="文本框 86"/>
          <p:cNvSpPr txBox="1"/>
          <p:nvPr/>
        </p:nvSpPr>
        <p:spPr>
          <a:xfrm>
            <a:off x="4306082" y="5510091"/>
            <a:ext cx="118763" cy="224284"/>
          </a:xfrm>
          <a:prstGeom prst="rect">
            <a:avLst/>
          </a:prstGeom>
          <a:noFill/>
        </p:spPr>
        <p:txBody>
          <a:bodyPr wrap="none" lIns="0" tIns="0" rIns="0" bIns="0" rtlCol="0">
            <a:spAutoFit/>
          </a:bodyPr>
          <a:lstStyle/>
          <a:p>
            <a:pPr>
              <a:spcBef>
                <a:spcPts val="600"/>
              </a:spcBef>
              <a:buSzPct val="100000"/>
            </a:pPr>
            <a:r>
              <a:rPr lang="en-US" altLang="zh-CN" sz="1200" dirty="0">
                <a:solidFill>
                  <a:srgbClr val="313131"/>
                </a:solidFill>
              </a:rPr>
              <a:t>0</a:t>
            </a:r>
            <a:endParaRPr lang="zh-CN" altLang="en-US" sz="1200" dirty="0">
              <a:solidFill>
                <a:srgbClr val="313131"/>
              </a:solidFill>
            </a:endParaRPr>
          </a:p>
        </p:txBody>
      </p:sp>
      <p:sp>
        <p:nvSpPr>
          <p:cNvPr id="50" name="文本框 87"/>
          <p:cNvSpPr txBox="1"/>
          <p:nvPr/>
        </p:nvSpPr>
        <p:spPr>
          <a:xfrm>
            <a:off x="5075866" y="5510091"/>
            <a:ext cx="661950" cy="224284"/>
          </a:xfrm>
          <a:prstGeom prst="rect">
            <a:avLst/>
          </a:prstGeom>
          <a:noFill/>
        </p:spPr>
        <p:txBody>
          <a:bodyPr wrap="none" lIns="0" tIns="0" rIns="0" bIns="0" rtlCol="0">
            <a:spAutoFit/>
          </a:bodyPr>
          <a:lstStyle/>
          <a:p>
            <a:pPr algn="ctr">
              <a:spcBef>
                <a:spcPts val="600"/>
              </a:spcBef>
              <a:buSzPct val="100000"/>
            </a:pPr>
            <a:r>
              <a:rPr lang="en-US" altLang="zh-CN" sz="1200" dirty="0">
                <a:solidFill>
                  <a:srgbClr val="313131"/>
                </a:solidFill>
              </a:rPr>
              <a:t>40,000</a:t>
            </a:r>
            <a:endParaRPr lang="zh-CN" altLang="en-US" sz="1200" dirty="0">
              <a:solidFill>
                <a:srgbClr val="313131"/>
              </a:solidFill>
            </a:endParaRPr>
          </a:p>
        </p:txBody>
      </p:sp>
      <p:sp>
        <p:nvSpPr>
          <p:cNvPr id="51" name="文本框 88"/>
          <p:cNvSpPr txBox="1"/>
          <p:nvPr/>
        </p:nvSpPr>
        <p:spPr>
          <a:xfrm>
            <a:off x="6133108" y="5510091"/>
            <a:ext cx="661950" cy="224284"/>
          </a:xfrm>
          <a:prstGeom prst="rect">
            <a:avLst/>
          </a:prstGeom>
          <a:noFill/>
        </p:spPr>
        <p:txBody>
          <a:bodyPr wrap="none" lIns="0" tIns="0" rIns="0" bIns="0" rtlCol="0">
            <a:spAutoFit/>
          </a:bodyPr>
          <a:lstStyle/>
          <a:p>
            <a:pPr algn="ctr">
              <a:spcBef>
                <a:spcPts val="600"/>
              </a:spcBef>
              <a:buSzPct val="100000"/>
            </a:pPr>
            <a:r>
              <a:rPr lang="en-US" altLang="zh-CN" sz="1200" dirty="0">
                <a:solidFill>
                  <a:srgbClr val="313131"/>
                </a:solidFill>
              </a:rPr>
              <a:t>80,000</a:t>
            </a:r>
            <a:endParaRPr lang="zh-CN" altLang="en-US" sz="1200" dirty="0">
              <a:solidFill>
                <a:srgbClr val="313131"/>
              </a:solidFill>
            </a:endParaRPr>
          </a:p>
        </p:txBody>
      </p:sp>
      <p:sp>
        <p:nvSpPr>
          <p:cNvPr id="52" name="文本框 89"/>
          <p:cNvSpPr txBox="1"/>
          <p:nvPr/>
        </p:nvSpPr>
        <p:spPr>
          <a:xfrm>
            <a:off x="7125689" y="5510091"/>
            <a:ext cx="780713" cy="224284"/>
          </a:xfrm>
          <a:prstGeom prst="rect">
            <a:avLst/>
          </a:prstGeom>
          <a:noFill/>
        </p:spPr>
        <p:txBody>
          <a:bodyPr wrap="none" lIns="0" tIns="0" rIns="0" bIns="0" rtlCol="0">
            <a:spAutoFit/>
          </a:bodyPr>
          <a:lstStyle/>
          <a:p>
            <a:pPr algn="ctr">
              <a:spcBef>
                <a:spcPts val="600"/>
              </a:spcBef>
              <a:buSzPct val="100000"/>
            </a:pPr>
            <a:r>
              <a:rPr lang="en-US" altLang="zh-CN" sz="1200" dirty="0">
                <a:solidFill>
                  <a:srgbClr val="313131"/>
                </a:solidFill>
              </a:rPr>
              <a:t>120,000</a:t>
            </a:r>
            <a:endParaRPr lang="zh-CN" altLang="en-US" sz="1200" dirty="0">
              <a:solidFill>
                <a:srgbClr val="313131"/>
              </a:solidFill>
            </a:endParaRPr>
          </a:p>
        </p:txBody>
      </p:sp>
      <p:sp>
        <p:nvSpPr>
          <p:cNvPr id="53" name="文本框 90"/>
          <p:cNvSpPr txBox="1"/>
          <p:nvPr/>
        </p:nvSpPr>
        <p:spPr>
          <a:xfrm>
            <a:off x="8189385" y="5510091"/>
            <a:ext cx="780713" cy="224284"/>
          </a:xfrm>
          <a:prstGeom prst="rect">
            <a:avLst/>
          </a:prstGeom>
          <a:noFill/>
        </p:spPr>
        <p:txBody>
          <a:bodyPr wrap="none" lIns="0" tIns="0" rIns="0" bIns="0" rtlCol="0">
            <a:spAutoFit/>
          </a:bodyPr>
          <a:lstStyle/>
          <a:p>
            <a:pPr algn="ctr">
              <a:spcBef>
                <a:spcPts val="600"/>
              </a:spcBef>
              <a:buSzPct val="100000"/>
            </a:pPr>
            <a:r>
              <a:rPr lang="en-US" altLang="zh-CN" sz="1200" dirty="0">
                <a:solidFill>
                  <a:srgbClr val="313131"/>
                </a:solidFill>
              </a:rPr>
              <a:t>160,000</a:t>
            </a:r>
            <a:endParaRPr lang="zh-CN" altLang="en-US" sz="1200" dirty="0">
              <a:solidFill>
                <a:srgbClr val="313131"/>
              </a:solidFill>
            </a:endParaRPr>
          </a:p>
        </p:txBody>
      </p:sp>
      <p:sp>
        <p:nvSpPr>
          <p:cNvPr id="54" name="矩形 91"/>
          <p:cNvSpPr/>
          <p:nvPr/>
        </p:nvSpPr>
        <p:spPr bwMode="gray">
          <a:xfrm>
            <a:off x="4561578" y="6045782"/>
            <a:ext cx="121469" cy="121469"/>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55" name="矩形 92"/>
          <p:cNvSpPr/>
          <p:nvPr/>
        </p:nvSpPr>
        <p:spPr bwMode="gray">
          <a:xfrm>
            <a:off x="6940445" y="6045782"/>
            <a:ext cx="121469" cy="121469"/>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56" name="矩形 93"/>
          <p:cNvSpPr/>
          <p:nvPr/>
        </p:nvSpPr>
        <p:spPr>
          <a:xfrm>
            <a:off x="4791352" y="5994375"/>
            <a:ext cx="1367201" cy="224284"/>
          </a:xfrm>
          <a:prstGeom prst="rect">
            <a:avLst/>
          </a:prstGeom>
        </p:spPr>
        <p:txBody>
          <a:bodyPr wrap="none" lIns="0" tIns="0" rIns="0" bIns="0">
            <a:spAutoFit/>
          </a:bodyPr>
          <a:lstStyle/>
          <a:p>
            <a:r>
              <a:rPr lang="en-US" altLang="zh-CN" sz="1200" dirty="0"/>
              <a:t>Lorem ipsum </a:t>
            </a:r>
            <a:r>
              <a:rPr lang="en-US" altLang="zh-CN" sz="1200" dirty="0" err="1"/>
              <a:t>dolo</a:t>
            </a:r>
            <a:endParaRPr lang="zh-CN" altLang="en-US" sz="1200" dirty="0"/>
          </a:p>
        </p:txBody>
      </p:sp>
      <p:sp>
        <p:nvSpPr>
          <p:cNvPr id="57" name="矩形 94"/>
          <p:cNvSpPr/>
          <p:nvPr/>
        </p:nvSpPr>
        <p:spPr>
          <a:xfrm>
            <a:off x="7167803" y="5994375"/>
            <a:ext cx="1367201" cy="224284"/>
          </a:xfrm>
          <a:prstGeom prst="rect">
            <a:avLst/>
          </a:prstGeom>
        </p:spPr>
        <p:txBody>
          <a:bodyPr wrap="none" lIns="0" tIns="0" rIns="0" bIns="0">
            <a:spAutoFit/>
          </a:bodyPr>
          <a:lstStyle/>
          <a:p>
            <a:r>
              <a:rPr lang="en-US" altLang="zh-CN" sz="1200" dirty="0"/>
              <a:t>Lorem ipsum </a:t>
            </a:r>
            <a:r>
              <a:rPr lang="en-US" altLang="zh-CN" sz="1200" dirty="0" err="1"/>
              <a:t>dolo</a:t>
            </a:r>
            <a:endParaRPr lang="zh-CN" altLang="en-US" sz="1200" dirty="0"/>
          </a:p>
        </p:txBody>
      </p:sp>
    </p:spTree>
    <p:custDataLst>
      <p:tags r:id="rId1"/>
    </p:custDataLst>
    <p:extLst>
      <p:ext uri="{BB962C8B-B14F-4D97-AF65-F5344CB8AC3E}">
        <p14:creationId xmlns:p14="http://schemas.microsoft.com/office/powerpoint/2010/main" val="1795563040"/>
      </p:ext>
    </p:extLst>
  </p:cSld>
  <p:clrMapOvr>
    <a:masterClrMapping/>
  </p:clrMapOvr>
  <p:transition>
    <p:fade/>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a:extLst>
              <a:ext uri="{FF2B5EF4-FFF2-40B4-BE49-F238E27FC236}">
                <a16:creationId xmlns:a16="http://schemas.microsoft.com/office/drawing/2014/main" id="{8A5E4B3A-2C01-4F27-9DED-8D5ABD2AC96F}"/>
              </a:ext>
            </a:extLst>
          </p:cNvPr>
          <p:cNvSpPr/>
          <p:nvPr/>
        </p:nvSpPr>
        <p:spPr>
          <a:xfrm>
            <a:off x="5097280" y="1248638"/>
            <a:ext cx="2022839" cy="5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mj-lt"/>
                <a:ea typeface="Open Sans" pitchFamily="34" charset="0"/>
                <a:cs typeface="Open Sans" pitchFamily="34" charset="0"/>
              </a:rPr>
              <a:t>xxxxxx</a:t>
            </a:r>
            <a:endParaRPr lang="en-US" sz="1200" b="1" dirty="0">
              <a:solidFill>
                <a:schemeClr val="bg1"/>
              </a:solidFill>
              <a:latin typeface="+mj-lt"/>
              <a:ea typeface="Open Sans" pitchFamily="34" charset="0"/>
              <a:cs typeface="Open Sans" pitchFamily="34" charset="0"/>
            </a:endParaRPr>
          </a:p>
        </p:txBody>
      </p:sp>
      <p:sp>
        <p:nvSpPr>
          <p:cNvPr id="7" name="Freeform 20">
            <a:extLst>
              <a:ext uri="{FF2B5EF4-FFF2-40B4-BE49-F238E27FC236}">
                <a16:creationId xmlns:a16="http://schemas.microsoft.com/office/drawing/2014/main" id="{191D6A4A-B456-4CDA-9E30-E07A38E88B77}"/>
              </a:ext>
            </a:extLst>
          </p:cNvPr>
          <p:cNvSpPr>
            <a:spLocks noEditPoints="1"/>
          </p:cNvSpPr>
          <p:nvPr/>
        </p:nvSpPr>
        <p:spPr bwMode="auto">
          <a:xfrm>
            <a:off x="7195370" y="1248638"/>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20">
            <a:extLst>
              <a:ext uri="{FF2B5EF4-FFF2-40B4-BE49-F238E27FC236}">
                <a16:creationId xmlns:a16="http://schemas.microsoft.com/office/drawing/2014/main" id="{FDE01195-9AD2-45D2-8D85-BE96ECA634CA}"/>
              </a:ext>
            </a:extLst>
          </p:cNvPr>
          <p:cNvSpPr>
            <a:spLocks noEditPoints="1"/>
          </p:cNvSpPr>
          <p:nvPr/>
        </p:nvSpPr>
        <p:spPr bwMode="auto">
          <a:xfrm>
            <a:off x="7561485" y="1248638"/>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20">
            <a:extLst>
              <a:ext uri="{FF2B5EF4-FFF2-40B4-BE49-F238E27FC236}">
                <a16:creationId xmlns:a16="http://schemas.microsoft.com/office/drawing/2014/main" id="{520DEDDB-7EED-4B79-B5F9-9DDF8813FF97}"/>
              </a:ext>
            </a:extLst>
          </p:cNvPr>
          <p:cNvSpPr>
            <a:spLocks noEditPoints="1"/>
          </p:cNvSpPr>
          <p:nvPr/>
        </p:nvSpPr>
        <p:spPr bwMode="auto">
          <a:xfrm>
            <a:off x="7929646" y="12500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20">
            <a:extLst>
              <a:ext uri="{FF2B5EF4-FFF2-40B4-BE49-F238E27FC236}">
                <a16:creationId xmlns:a16="http://schemas.microsoft.com/office/drawing/2014/main" id="{E5D23BF3-FEBC-4DE2-9779-8AB3B39B16C0}"/>
              </a:ext>
            </a:extLst>
          </p:cNvPr>
          <p:cNvSpPr>
            <a:spLocks noEditPoints="1"/>
          </p:cNvSpPr>
          <p:nvPr/>
        </p:nvSpPr>
        <p:spPr bwMode="auto">
          <a:xfrm>
            <a:off x="8295761" y="12500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Freeform 20">
            <a:extLst>
              <a:ext uri="{FF2B5EF4-FFF2-40B4-BE49-F238E27FC236}">
                <a16:creationId xmlns:a16="http://schemas.microsoft.com/office/drawing/2014/main" id="{C73AA7F9-D666-4285-85D2-E1227F46BF7C}"/>
              </a:ext>
            </a:extLst>
          </p:cNvPr>
          <p:cNvSpPr>
            <a:spLocks noEditPoints="1"/>
          </p:cNvSpPr>
          <p:nvPr/>
        </p:nvSpPr>
        <p:spPr bwMode="auto">
          <a:xfrm>
            <a:off x="8652503" y="12500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Freeform 20">
            <a:extLst>
              <a:ext uri="{FF2B5EF4-FFF2-40B4-BE49-F238E27FC236}">
                <a16:creationId xmlns:a16="http://schemas.microsoft.com/office/drawing/2014/main" id="{C6B98589-6584-4DDB-9D3E-D09ED150F94C}"/>
              </a:ext>
            </a:extLst>
          </p:cNvPr>
          <p:cNvSpPr>
            <a:spLocks noEditPoints="1"/>
          </p:cNvSpPr>
          <p:nvPr/>
        </p:nvSpPr>
        <p:spPr bwMode="auto">
          <a:xfrm>
            <a:off x="9018620" y="12500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Freeform 20">
            <a:extLst>
              <a:ext uri="{FF2B5EF4-FFF2-40B4-BE49-F238E27FC236}">
                <a16:creationId xmlns:a16="http://schemas.microsoft.com/office/drawing/2014/main" id="{B660F603-A94C-48B8-9876-EE54C1D6DB39}"/>
              </a:ext>
            </a:extLst>
          </p:cNvPr>
          <p:cNvSpPr>
            <a:spLocks noEditPoints="1"/>
          </p:cNvSpPr>
          <p:nvPr/>
        </p:nvSpPr>
        <p:spPr bwMode="auto">
          <a:xfrm>
            <a:off x="9386780" y="125139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Freeform 20">
            <a:extLst>
              <a:ext uri="{FF2B5EF4-FFF2-40B4-BE49-F238E27FC236}">
                <a16:creationId xmlns:a16="http://schemas.microsoft.com/office/drawing/2014/main" id="{D0BF77DC-E6B4-4BBF-A394-EEE1F42F0F77}"/>
              </a:ext>
            </a:extLst>
          </p:cNvPr>
          <p:cNvSpPr>
            <a:spLocks noEditPoints="1"/>
          </p:cNvSpPr>
          <p:nvPr/>
        </p:nvSpPr>
        <p:spPr bwMode="auto">
          <a:xfrm>
            <a:off x="9752896" y="125139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Freeform 20">
            <a:extLst>
              <a:ext uri="{FF2B5EF4-FFF2-40B4-BE49-F238E27FC236}">
                <a16:creationId xmlns:a16="http://schemas.microsoft.com/office/drawing/2014/main" id="{72FD0D05-007E-40B3-9615-56D468C519DE}"/>
              </a:ext>
            </a:extLst>
          </p:cNvPr>
          <p:cNvSpPr>
            <a:spLocks noEditPoints="1"/>
          </p:cNvSpPr>
          <p:nvPr/>
        </p:nvSpPr>
        <p:spPr bwMode="auto">
          <a:xfrm>
            <a:off x="10128385" y="12452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Freeform 20">
            <a:extLst>
              <a:ext uri="{FF2B5EF4-FFF2-40B4-BE49-F238E27FC236}">
                <a16:creationId xmlns:a16="http://schemas.microsoft.com/office/drawing/2014/main" id="{5FC3567D-0F78-44FE-BD4D-4AA8BB37B0F7}"/>
              </a:ext>
            </a:extLst>
          </p:cNvPr>
          <p:cNvSpPr>
            <a:spLocks noEditPoints="1"/>
          </p:cNvSpPr>
          <p:nvPr/>
        </p:nvSpPr>
        <p:spPr bwMode="auto">
          <a:xfrm>
            <a:off x="10494500" y="12452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Freeform 20">
            <a:extLst>
              <a:ext uri="{FF2B5EF4-FFF2-40B4-BE49-F238E27FC236}">
                <a16:creationId xmlns:a16="http://schemas.microsoft.com/office/drawing/2014/main" id="{F681EBD6-40A4-4FDB-BAC7-094AB62B7D21}"/>
              </a:ext>
            </a:extLst>
          </p:cNvPr>
          <p:cNvSpPr>
            <a:spLocks noEditPoints="1"/>
          </p:cNvSpPr>
          <p:nvPr/>
        </p:nvSpPr>
        <p:spPr bwMode="auto">
          <a:xfrm>
            <a:off x="1376380" y="12452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 name="Freeform 20">
            <a:extLst>
              <a:ext uri="{FF2B5EF4-FFF2-40B4-BE49-F238E27FC236}">
                <a16:creationId xmlns:a16="http://schemas.microsoft.com/office/drawing/2014/main" id="{0313B5BE-E1B1-44AE-BF31-047245B358A1}"/>
              </a:ext>
            </a:extLst>
          </p:cNvPr>
          <p:cNvSpPr>
            <a:spLocks noEditPoints="1"/>
          </p:cNvSpPr>
          <p:nvPr/>
        </p:nvSpPr>
        <p:spPr bwMode="auto">
          <a:xfrm>
            <a:off x="1742496" y="12452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Freeform 20">
            <a:extLst>
              <a:ext uri="{FF2B5EF4-FFF2-40B4-BE49-F238E27FC236}">
                <a16:creationId xmlns:a16="http://schemas.microsoft.com/office/drawing/2014/main" id="{384A01F0-C138-4BCE-9AAE-EBF469C9D920}"/>
              </a:ext>
            </a:extLst>
          </p:cNvPr>
          <p:cNvSpPr>
            <a:spLocks noEditPoints="1"/>
          </p:cNvSpPr>
          <p:nvPr/>
        </p:nvSpPr>
        <p:spPr bwMode="auto">
          <a:xfrm>
            <a:off x="2110656" y="12465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Freeform 20">
            <a:extLst>
              <a:ext uri="{FF2B5EF4-FFF2-40B4-BE49-F238E27FC236}">
                <a16:creationId xmlns:a16="http://schemas.microsoft.com/office/drawing/2014/main" id="{EC0CDAF3-000E-4EDA-983D-5BA5FFC8A6FC}"/>
              </a:ext>
            </a:extLst>
          </p:cNvPr>
          <p:cNvSpPr>
            <a:spLocks noEditPoints="1"/>
          </p:cNvSpPr>
          <p:nvPr/>
        </p:nvSpPr>
        <p:spPr bwMode="auto">
          <a:xfrm>
            <a:off x="2476772" y="12465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Freeform 20">
            <a:extLst>
              <a:ext uri="{FF2B5EF4-FFF2-40B4-BE49-F238E27FC236}">
                <a16:creationId xmlns:a16="http://schemas.microsoft.com/office/drawing/2014/main" id="{06C1B09F-8172-48E6-99C3-0FC2C1F3975C}"/>
              </a:ext>
            </a:extLst>
          </p:cNvPr>
          <p:cNvSpPr>
            <a:spLocks noEditPoints="1"/>
          </p:cNvSpPr>
          <p:nvPr/>
        </p:nvSpPr>
        <p:spPr bwMode="auto">
          <a:xfrm>
            <a:off x="2833513" y="12465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 name="Freeform 20">
            <a:extLst>
              <a:ext uri="{FF2B5EF4-FFF2-40B4-BE49-F238E27FC236}">
                <a16:creationId xmlns:a16="http://schemas.microsoft.com/office/drawing/2014/main" id="{636310D8-FFDB-4597-925A-318D572B7288}"/>
              </a:ext>
            </a:extLst>
          </p:cNvPr>
          <p:cNvSpPr>
            <a:spLocks noEditPoints="1"/>
          </p:cNvSpPr>
          <p:nvPr/>
        </p:nvSpPr>
        <p:spPr bwMode="auto">
          <a:xfrm>
            <a:off x="3199629" y="12465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3" name="Freeform 20">
            <a:extLst>
              <a:ext uri="{FF2B5EF4-FFF2-40B4-BE49-F238E27FC236}">
                <a16:creationId xmlns:a16="http://schemas.microsoft.com/office/drawing/2014/main" id="{DB6A1BE1-CABD-4559-9A9F-1A447D772244}"/>
              </a:ext>
            </a:extLst>
          </p:cNvPr>
          <p:cNvSpPr>
            <a:spLocks noEditPoints="1"/>
          </p:cNvSpPr>
          <p:nvPr/>
        </p:nvSpPr>
        <p:spPr bwMode="auto">
          <a:xfrm>
            <a:off x="3567790" y="124796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4" name="Freeform 20">
            <a:extLst>
              <a:ext uri="{FF2B5EF4-FFF2-40B4-BE49-F238E27FC236}">
                <a16:creationId xmlns:a16="http://schemas.microsoft.com/office/drawing/2014/main" id="{0F3213A8-6418-4702-9274-B7B042C6F0FC}"/>
              </a:ext>
            </a:extLst>
          </p:cNvPr>
          <p:cNvSpPr>
            <a:spLocks noEditPoints="1"/>
          </p:cNvSpPr>
          <p:nvPr/>
        </p:nvSpPr>
        <p:spPr bwMode="auto">
          <a:xfrm>
            <a:off x="3933907" y="124796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5" name="Freeform 20">
            <a:extLst>
              <a:ext uri="{FF2B5EF4-FFF2-40B4-BE49-F238E27FC236}">
                <a16:creationId xmlns:a16="http://schemas.microsoft.com/office/drawing/2014/main" id="{1EBAB32D-4B78-43FC-9E20-15DB0340D98B}"/>
              </a:ext>
            </a:extLst>
          </p:cNvPr>
          <p:cNvSpPr>
            <a:spLocks noEditPoints="1"/>
          </p:cNvSpPr>
          <p:nvPr/>
        </p:nvSpPr>
        <p:spPr bwMode="auto">
          <a:xfrm>
            <a:off x="4309395" y="12417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Freeform 20">
            <a:extLst>
              <a:ext uri="{FF2B5EF4-FFF2-40B4-BE49-F238E27FC236}">
                <a16:creationId xmlns:a16="http://schemas.microsoft.com/office/drawing/2014/main" id="{50D4E586-BCA3-4204-8955-FBE9FF299333}"/>
              </a:ext>
            </a:extLst>
          </p:cNvPr>
          <p:cNvSpPr>
            <a:spLocks noEditPoints="1"/>
          </p:cNvSpPr>
          <p:nvPr/>
        </p:nvSpPr>
        <p:spPr bwMode="auto">
          <a:xfrm>
            <a:off x="4675511" y="12417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Rectangle 25">
            <a:extLst>
              <a:ext uri="{FF2B5EF4-FFF2-40B4-BE49-F238E27FC236}">
                <a16:creationId xmlns:a16="http://schemas.microsoft.com/office/drawing/2014/main" id="{346D2B07-33E1-4F93-A721-6B65EA1EF672}"/>
              </a:ext>
            </a:extLst>
          </p:cNvPr>
          <p:cNvSpPr/>
          <p:nvPr/>
        </p:nvSpPr>
        <p:spPr>
          <a:xfrm>
            <a:off x="5097280" y="2106782"/>
            <a:ext cx="2022839" cy="5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mj-lt"/>
                <a:ea typeface="Open Sans" pitchFamily="34" charset="0"/>
                <a:cs typeface="Open Sans" pitchFamily="34" charset="0"/>
              </a:rPr>
              <a:t>xxxxxxxxx</a:t>
            </a:r>
            <a:endParaRPr lang="en-US" sz="1200" b="1" dirty="0">
              <a:solidFill>
                <a:schemeClr val="bg1"/>
              </a:solidFill>
              <a:latin typeface="+mj-lt"/>
              <a:ea typeface="Open Sans" pitchFamily="34" charset="0"/>
              <a:cs typeface="Open Sans" pitchFamily="34" charset="0"/>
            </a:endParaRPr>
          </a:p>
        </p:txBody>
      </p:sp>
      <p:sp>
        <p:nvSpPr>
          <p:cNvPr id="28" name="Freeform 20">
            <a:extLst>
              <a:ext uri="{FF2B5EF4-FFF2-40B4-BE49-F238E27FC236}">
                <a16:creationId xmlns:a16="http://schemas.microsoft.com/office/drawing/2014/main" id="{F2DB675C-70F3-460E-A5D3-BD5780381A2B}"/>
              </a:ext>
            </a:extLst>
          </p:cNvPr>
          <p:cNvSpPr>
            <a:spLocks noEditPoints="1"/>
          </p:cNvSpPr>
          <p:nvPr/>
        </p:nvSpPr>
        <p:spPr bwMode="auto">
          <a:xfrm>
            <a:off x="7195370" y="210678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Freeform 20">
            <a:extLst>
              <a:ext uri="{FF2B5EF4-FFF2-40B4-BE49-F238E27FC236}">
                <a16:creationId xmlns:a16="http://schemas.microsoft.com/office/drawing/2014/main" id="{39D38A2F-9290-4808-A3FA-E155FD8AAFB1}"/>
              </a:ext>
            </a:extLst>
          </p:cNvPr>
          <p:cNvSpPr>
            <a:spLocks noEditPoints="1"/>
          </p:cNvSpPr>
          <p:nvPr/>
        </p:nvSpPr>
        <p:spPr bwMode="auto">
          <a:xfrm>
            <a:off x="7561485" y="210678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Freeform 20">
            <a:extLst>
              <a:ext uri="{FF2B5EF4-FFF2-40B4-BE49-F238E27FC236}">
                <a16:creationId xmlns:a16="http://schemas.microsoft.com/office/drawing/2014/main" id="{B240FFF4-FCA8-49C2-AA4D-7C64BD504EB7}"/>
              </a:ext>
            </a:extLst>
          </p:cNvPr>
          <p:cNvSpPr>
            <a:spLocks noEditPoints="1"/>
          </p:cNvSpPr>
          <p:nvPr/>
        </p:nvSpPr>
        <p:spPr bwMode="auto">
          <a:xfrm>
            <a:off x="7929646" y="21081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Freeform 20">
            <a:extLst>
              <a:ext uri="{FF2B5EF4-FFF2-40B4-BE49-F238E27FC236}">
                <a16:creationId xmlns:a16="http://schemas.microsoft.com/office/drawing/2014/main" id="{7DA46D69-BE72-4168-B775-16346F74289B}"/>
              </a:ext>
            </a:extLst>
          </p:cNvPr>
          <p:cNvSpPr>
            <a:spLocks noEditPoints="1"/>
          </p:cNvSpPr>
          <p:nvPr/>
        </p:nvSpPr>
        <p:spPr bwMode="auto">
          <a:xfrm>
            <a:off x="8295761" y="21081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Freeform 20">
            <a:extLst>
              <a:ext uri="{FF2B5EF4-FFF2-40B4-BE49-F238E27FC236}">
                <a16:creationId xmlns:a16="http://schemas.microsoft.com/office/drawing/2014/main" id="{2E09C3C2-8A56-453C-8B17-9D26BD29B0EE}"/>
              </a:ext>
            </a:extLst>
          </p:cNvPr>
          <p:cNvSpPr>
            <a:spLocks noEditPoints="1"/>
          </p:cNvSpPr>
          <p:nvPr/>
        </p:nvSpPr>
        <p:spPr bwMode="auto">
          <a:xfrm>
            <a:off x="8652503" y="21081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Freeform 20">
            <a:extLst>
              <a:ext uri="{FF2B5EF4-FFF2-40B4-BE49-F238E27FC236}">
                <a16:creationId xmlns:a16="http://schemas.microsoft.com/office/drawing/2014/main" id="{797118D9-E747-4463-8B41-BDD3753429E6}"/>
              </a:ext>
            </a:extLst>
          </p:cNvPr>
          <p:cNvSpPr>
            <a:spLocks noEditPoints="1"/>
          </p:cNvSpPr>
          <p:nvPr/>
        </p:nvSpPr>
        <p:spPr bwMode="auto">
          <a:xfrm>
            <a:off x="9018620" y="21081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 name="Freeform 20">
            <a:extLst>
              <a:ext uri="{FF2B5EF4-FFF2-40B4-BE49-F238E27FC236}">
                <a16:creationId xmlns:a16="http://schemas.microsoft.com/office/drawing/2014/main" id="{63161A32-3EC6-48CC-8B21-3633B1D39C7C}"/>
              </a:ext>
            </a:extLst>
          </p:cNvPr>
          <p:cNvSpPr>
            <a:spLocks noEditPoints="1"/>
          </p:cNvSpPr>
          <p:nvPr/>
        </p:nvSpPr>
        <p:spPr bwMode="auto">
          <a:xfrm>
            <a:off x="9386780" y="21095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 name="Freeform 20">
            <a:extLst>
              <a:ext uri="{FF2B5EF4-FFF2-40B4-BE49-F238E27FC236}">
                <a16:creationId xmlns:a16="http://schemas.microsoft.com/office/drawing/2014/main" id="{08D5183C-F1E6-4593-BB17-D3EC19F83A40}"/>
              </a:ext>
            </a:extLst>
          </p:cNvPr>
          <p:cNvSpPr>
            <a:spLocks noEditPoints="1"/>
          </p:cNvSpPr>
          <p:nvPr/>
        </p:nvSpPr>
        <p:spPr bwMode="auto">
          <a:xfrm>
            <a:off x="9752896" y="21095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6" name="Freeform 20">
            <a:extLst>
              <a:ext uri="{FF2B5EF4-FFF2-40B4-BE49-F238E27FC236}">
                <a16:creationId xmlns:a16="http://schemas.microsoft.com/office/drawing/2014/main" id="{A5305266-1E0C-4D32-BAC3-371AA378EB75}"/>
              </a:ext>
            </a:extLst>
          </p:cNvPr>
          <p:cNvSpPr>
            <a:spLocks noEditPoints="1"/>
          </p:cNvSpPr>
          <p:nvPr/>
        </p:nvSpPr>
        <p:spPr bwMode="auto">
          <a:xfrm>
            <a:off x="10128385" y="21033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 name="Freeform 20">
            <a:extLst>
              <a:ext uri="{FF2B5EF4-FFF2-40B4-BE49-F238E27FC236}">
                <a16:creationId xmlns:a16="http://schemas.microsoft.com/office/drawing/2014/main" id="{05296507-3FF0-4765-9D4B-5EA560A6D2F1}"/>
              </a:ext>
            </a:extLst>
          </p:cNvPr>
          <p:cNvSpPr>
            <a:spLocks noEditPoints="1"/>
          </p:cNvSpPr>
          <p:nvPr/>
        </p:nvSpPr>
        <p:spPr bwMode="auto">
          <a:xfrm>
            <a:off x="10494500" y="21033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 name="Freeform 20">
            <a:extLst>
              <a:ext uri="{FF2B5EF4-FFF2-40B4-BE49-F238E27FC236}">
                <a16:creationId xmlns:a16="http://schemas.microsoft.com/office/drawing/2014/main" id="{524EFDA5-5DB4-4CF3-9892-D8A9B9AA1E2E}"/>
              </a:ext>
            </a:extLst>
          </p:cNvPr>
          <p:cNvSpPr>
            <a:spLocks noEditPoints="1"/>
          </p:cNvSpPr>
          <p:nvPr/>
        </p:nvSpPr>
        <p:spPr bwMode="auto">
          <a:xfrm>
            <a:off x="1376380" y="21033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 name="Freeform 20">
            <a:extLst>
              <a:ext uri="{FF2B5EF4-FFF2-40B4-BE49-F238E27FC236}">
                <a16:creationId xmlns:a16="http://schemas.microsoft.com/office/drawing/2014/main" id="{3E16A193-0657-4023-81F7-70DC94F86536}"/>
              </a:ext>
            </a:extLst>
          </p:cNvPr>
          <p:cNvSpPr>
            <a:spLocks noEditPoints="1"/>
          </p:cNvSpPr>
          <p:nvPr/>
        </p:nvSpPr>
        <p:spPr bwMode="auto">
          <a:xfrm>
            <a:off x="1742496" y="21033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 name="Freeform 20">
            <a:extLst>
              <a:ext uri="{FF2B5EF4-FFF2-40B4-BE49-F238E27FC236}">
                <a16:creationId xmlns:a16="http://schemas.microsoft.com/office/drawing/2014/main" id="{99EF9D90-68EF-457A-929B-6FB04DD1FE71}"/>
              </a:ext>
            </a:extLst>
          </p:cNvPr>
          <p:cNvSpPr>
            <a:spLocks noEditPoints="1"/>
          </p:cNvSpPr>
          <p:nvPr/>
        </p:nvSpPr>
        <p:spPr bwMode="auto">
          <a:xfrm>
            <a:off x="2110656" y="21047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Freeform 20">
            <a:extLst>
              <a:ext uri="{FF2B5EF4-FFF2-40B4-BE49-F238E27FC236}">
                <a16:creationId xmlns:a16="http://schemas.microsoft.com/office/drawing/2014/main" id="{DFA7A2D0-BD4A-4CEF-8415-5CAB9BC9E48E}"/>
              </a:ext>
            </a:extLst>
          </p:cNvPr>
          <p:cNvSpPr>
            <a:spLocks noEditPoints="1"/>
          </p:cNvSpPr>
          <p:nvPr/>
        </p:nvSpPr>
        <p:spPr bwMode="auto">
          <a:xfrm>
            <a:off x="2476772" y="21047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Freeform 20">
            <a:extLst>
              <a:ext uri="{FF2B5EF4-FFF2-40B4-BE49-F238E27FC236}">
                <a16:creationId xmlns:a16="http://schemas.microsoft.com/office/drawing/2014/main" id="{95BE806F-4FFF-495F-A58F-FFD0573785AC}"/>
              </a:ext>
            </a:extLst>
          </p:cNvPr>
          <p:cNvSpPr>
            <a:spLocks noEditPoints="1"/>
          </p:cNvSpPr>
          <p:nvPr/>
        </p:nvSpPr>
        <p:spPr bwMode="auto">
          <a:xfrm>
            <a:off x="2833513" y="21047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Freeform 41">
            <a:extLst>
              <a:ext uri="{FF2B5EF4-FFF2-40B4-BE49-F238E27FC236}">
                <a16:creationId xmlns:a16="http://schemas.microsoft.com/office/drawing/2014/main" id="{871752BF-69CE-4BB5-B1F1-ADCB17D31901}"/>
              </a:ext>
            </a:extLst>
          </p:cNvPr>
          <p:cNvSpPr>
            <a:spLocks noEditPoints="1"/>
          </p:cNvSpPr>
          <p:nvPr/>
        </p:nvSpPr>
        <p:spPr bwMode="auto">
          <a:xfrm>
            <a:off x="3199629" y="21047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20">
            <a:extLst>
              <a:ext uri="{FF2B5EF4-FFF2-40B4-BE49-F238E27FC236}">
                <a16:creationId xmlns:a16="http://schemas.microsoft.com/office/drawing/2014/main" id="{173693B1-8E83-443D-9501-ECDC82F1F92C}"/>
              </a:ext>
            </a:extLst>
          </p:cNvPr>
          <p:cNvSpPr>
            <a:spLocks noEditPoints="1"/>
          </p:cNvSpPr>
          <p:nvPr/>
        </p:nvSpPr>
        <p:spPr bwMode="auto">
          <a:xfrm>
            <a:off x="3567790" y="210611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 name="Freeform 20">
            <a:extLst>
              <a:ext uri="{FF2B5EF4-FFF2-40B4-BE49-F238E27FC236}">
                <a16:creationId xmlns:a16="http://schemas.microsoft.com/office/drawing/2014/main" id="{7A74811A-A4A4-45E6-A9D9-0AF5AB66DB5B}"/>
              </a:ext>
            </a:extLst>
          </p:cNvPr>
          <p:cNvSpPr>
            <a:spLocks noEditPoints="1"/>
          </p:cNvSpPr>
          <p:nvPr/>
        </p:nvSpPr>
        <p:spPr bwMode="auto">
          <a:xfrm>
            <a:off x="3933907" y="210611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 name="Freeform 20">
            <a:extLst>
              <a:ext uri="{FF2B5EF4-FFF2-40B4-BE49-F238E27FC236}">
                <a16:creationId xmlns:a16="http://schemas.microsoft.com/office/drawing/2014/main" id="{4BDD8020-01F5-46F8-9282-03BEC07E3C33}"/>
              </a:ext>
            </a:extLst>
          </p:cNvPr>
          <p:cNvSpPr>
            <a:spLocks noEditPoints="1"/>
          </p:cNvSpPr>
          <p:nvPr/>
        </p:nvSpPr>
        <p:spPr bwMode="auto">
          <a:xfrm>
            <a:off x="4309395" y="209993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 name="Freeform 20">
            <a:extLst>
              <a:ext uri="{FF2B5EF4-FFF2-40B4-BE49-F238E27FC236}">
                <a16:creationId xmlns:a16="http://schemas.microsoft.com/office/drawing/2014/main" id="{7289091F-92A4-41DF-BC8F-19C99CEFF5B4}"/>
              </a:ext>
            </a:extLst>
          </p:cNvPr>
          <p:cNvSpPr>
            <a:spLocks noEditPoints="1"/>
          </p:cNvSpPr>
          <p:nvPr/>
        </p:nvSpPr>
        <p:spPr bwMode="auto">
          <a:xfrm>
            <a:off x="4675511" y="209993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8" name="Rectangle 47">
            <a:extLst>
              <a:ext uri="{FF2B5EF4-FFF2-40B4-BE49-F238E27FC236}">
                <a16:creationId xmlns:a16="http://schemas.microsoft.com/office/drawing/2014/main" id="{3608B86D-BA91-4CD3-8B4F-BCFA2F65FEEA}"/>
              </a:ext>
            </a:extLst>
          </p:cNvPr>
          <p:cNvSpPr/>
          <p:nvPr/>
        </p:nvSpPr>
        <p:spPr>
          <a:xfrm>
            <a:off x="5097280" y="2980931"/>
            <a:ext cx="2022839" cy="5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mj-lt"/>
                <a:ea typeface="Open Sans" pitchFamily="34" charset="0"/>
                <a:cs typeface="Open Sans" pitchFamily="34" charset="0"/>
              </a:rPr>
              <a:t>xxxx</a:t>
            </a:r>
            <a:endParaRPr lang="en-US" sz="1200" b="1" dirty="0">
              <a:solidFill>
                <a:schemeClr val="bg1"/>
              </a:solidFill>
              <a:latin typeface="+mj-lt"/>
              <a:ea typeface="Open Sans" pitchFamily="34" charset="0"/>
              <a:cs typeface="Open Sans" pitchFamily="34" charset="0"/>
            </a:endParaRPr>
          </a:p>
        </p:txBody>
      </p:sp>
      <p:sp>
        <p:nvSpPr>
          <p:cNvPr id="49" name="Freeform 20">
            <a:extLst>
              <a:ext uri="{FF2B5EF4-FFF2-40B4-BE49-F238E27FC236}">
                <a16:creationId xmlns:a16="http://schemas.microsoft.com/office/drawing/2014/main" id="{283A5824-CCB6-4B3A-88E4-34A0D4784954}"/>
              </a:ext>
            </a:extLst>
          </p:cNvPr>
          <p:cNvSpPr>
            <a:spLocks noEditPoints="1"/>
          </p:cNvSpPr>
          <p:nvPr/>
        </p:nvSpPr>
        <p:spPr bwMode="auto">
          <a:xfrm>
            <a:off x="7209688" y="298093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0" name="Freeform 20">
            <a:extLst>
              <a:ext uri="{FF2B5EF4-FFF2-40B4-BE49-F238E27FC236}">
                <a16:creationId xmlns:a16="http://schemas.microsoft.com/office/drawing/2014/main" id="{4D095AB2-FDC0-4D27-ACD6-41BA3E184236}"/>
              </a:ext>
            </a:extLst>
          </p:cNvPr>
          <p:cNvSpPr>
            <a:spLocks noEditPoints="1"/>
          </p:cNvSpPr>
          <p:nvPr/>
        </p:nvSpPr>
        <p:spPr bwMode="auto">
          <a:xfrm>
            <a:off x="7575803" y="298093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 name="Freeform 20">
            <a:extLst>
              <a:ext uri="{FF2B5EF4-FFF2-40B4-BE49-F238E27FC236}">
                <a16:creationId xmlns:a16="http://schemas.microsoft.com/office/drawing/2014/main" id="{8EBFBDF2-A93E-4563-A708-97DE0B7379E1}"/>
              </a:ext>
            </a:extLst>
          </p:cNvPr>
          <p:cNvSpPr>
            <a:spLocks noEditPoints="1"/>
          </p:cNvSpPr>
          <p:nvPr/>
        </p:nvSpPr>
        <p:spPr bwMode="auto">
          <a:xfrm>
            <a:off x="7943963" y="298230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2" name="Freeform 20">
            <a:extLst>
              <a:ext uri="{FF2B5EF4-FFF2-40B4-BE49-F238E27FC236}">
                <a16:creationId xmlns:a16="http://schemas.microsoft.com/office/drawing/2014/main" id="{6C145614-5CBE-4BF4-8E7A-B32846B172BE}"/>
              </a:ext>
            </a:extLst>
          </p:cNvPr>
          <p:cNvSpPr>
            <a:spLocks noEditPoints="1"/>
          </p:cNvSpPr>
          <p:nvPr/>
        </p:nvSpPr>
        <p:spPr bwMode="auto">
          <a:xfrm>
            <a:off x="8310079" y="298230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3" name="Freeform 20">
            <a:extLst>
              <a:ext uri="{FF2B5EF4-FFF2-40B4-BE49-F238E27FC236}">
                <a16:creationId xmlns:a16="http://schemas.microsoft.com/office/drawing/2014/main" id="{694AAC6C-C566-4A6A-BD96-56F3CCA96308}"/>
              </a:ext>
            </a:extLst>
          </p:cNvPr>
          <p:cNvSpPr>
            <a:spLocks noEditPoints="1"/>
          </p:cNvSpPr>
          <p:nvPr/>
        </p:nvSpPr>
        <p:spPr bwMode="auto">
          <a:xfrm>
            <a:off x="8666821" y="298230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4" name="Freeform 20">
            <a:extLst>
              <a:ext uri="{FF2B5EF4-FFF2-40B4-BE49-F238E27FC236}">
                <a16:creationId xmlns:a16="http://schemas.microsoft.com/office/drawing/2014/main" id="{9A2CA038-4C71-4288-B084-91CAA8755884}"/>
              </a:ext>
            </a:extLst>
          </p:cNvPr>
          <p:cNvSpPr>
            <a:spLocks noEditPoints="1"/>
          </p:cNvSpPr>
          <p:nvPr/>
        </p:nvSpPr>
        <p:spPr bwMode="auto">
          <a:xfrm>
            <a:off x="9032936" y="298230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 name="Freeform 20">
            <a:extLst>
              <a:ext uri="{FF2B5EF4-FFF2-40B4-BE49-F238E27FC236}">
                <a16:creationId xmlns:a16="http://schemas.microsoft.com/office/drawing/2014/main" id="{AF0B8287-D857-4276-945B-1E8BAF09B7F3}"/>
              </a:ext>
            </a:extLst>
          </p:cNvPr>
          <p:cNvSpPr>
            <a:spLocks noEditPoints="1"/>
          </p:cNvSpPr>
          <p:nvPr/>
        </p:nvSpPr>
        <p:spPr bwMode="auto">
          <a:xfrm>
            <a:off x="9401098" y="29836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Freeform 20">
            <a:extLst>
              <a:ext uri="{FF2B5EF4-FFF2-40B4-BE49-F238E27FC236}">
                <a16:creationId xmlns:a16="http://schemas.microsoft.com/office/drawing/2014/main" id="{FA969D49-9586-4C03-9EB2-96A352819547}"/>
              </a:ext>
            </a:extLst>
          </p:cNvPr>
          <p:cNvSpPr>
            <a:spLocks noEditPoints="1"/>
          </p:cNvSpPr>
          <p:nvPr/>
        </p:nvSpPr>
        <p:spPr bwMode="auto">
          <a:xfrm>
            <a:off x="9767212" y="29836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 name="Freeform 20">
            <a:extLst>
              <a:ext uri="{FF2B5EF4-FFF2-40B4-BE49-F238E27FC236}">
                <a16:creationId xmlns:a16="http://schemas.microsoft.com/office/drawing/2014/main" id="{A0353D35-C969-44A3-9E7F-70E310C3EA78}"/>
              </a:ext>
            </a:extLst>
          </p:cNvPr>
          <p:cNvSpPr>
            <a:spLocks noEditPoints="1"/>
          </p:cNvSpPr>
          <p:nvPr/>
        </p:nvSpPr>
        <p:spPr bwMode="auto">
          <a:xfrm>
            <a:off x="10142702" y="297750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 name="Freeform 20">
            <a:extLst>
              <a:ext uri="{FF2B5EF4-FFF2-40B4-BE49-F238E27FC236}">
                <a16:creationId xmlns:a16="http://schemas.microsoft.com/office/drawing/2014/main" id="{F419B8FF-3EAA-4AC3-8F9B-F869722D48FB}"/>
              </a:ext>
            </a:extLst>
          </p:cNvPr>
          <p:cNvSpPr>
            <a:spLocks noEditPoints="1"/>
          </p:cNvSpPr>
          <p:nvPr/>
        </p:nvSpPr>
        <p:spPr bwMode="auto">
          <a:xfrm>
            <a:off x="10508819" y="297750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9" name="Freeform 20">
            <a:extLst>
              <a:ext uri="{FF2B5EF4-FFF2-40B4-BE49-F238E27FC236}">
                <a16:creationId xmlns:a16="http://schemas.microsoft.com/office/drawing/2014/main" id="{C86BD20F-55C0-4162-A842-A342ED46DC0A}"/>
              </a:ext>
            </a:extLst>
          </p:cNvPr>
          <p:cNvSpPr>
            <a:spLocks noEditPoints="1"/>
          </p:cNvSpPr>
          <p:nvPr/>
        </p:nvSpPr>
        <p:spPr bwMode="auto">
          <a:xfrm>
            <a:off x="1390698" y="297750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0" name="Freeform 20">
            <a:extLst>
              <a:ext uri="{FF2B5EF4-FFF2-40B4-BE49-F238E27FC236}">
                <a16:creationId xmlns:a16="http://schemas.microsoft.com/office/drawing/2014/main" id="{EE21CF88-7282-4427-8014-79AFEC10C12C}"/>
              </a:ext>
            </a:extLst>
          </p:cNvPr>
          <p:cNvSpPr>
            <a:spLocks noEditPoints="1"/>
          </p:cNvSpPr>
          <p:nvPr/>
        </p:nvSpPr>
        <p:spPr bwMode="auto">
          <a:xfrm>
            <a:off x="1756814" y="297750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1" name="Freeform 20">
            <a:extLst>
              <a:ext uri="{FF2B5EF4-FFF2-40B4-BE49-F238E27FC236}">
                <a16:creationId xmlns:a16="http://schemas.microsoft.com/office/drawing/2014/main" id="{50658A3E-201A-4C14-BEB1-C7670EBE80BD}"/>
              </a:ext>
            </a:extLst>
          </p:cNvPr>
          <p:cNvSpPr>
            <a:spLocks noEditPoints="1"/>
          </p:cNvSpPr>
          <p:nvPr/>
        </p:nvSpPr>
        <p:spPr bwMode="auto">
          <a:xfrm>
            <a:off x="2124974" y="29788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2" name="Freeform 20">
            <a:extLst>
              <a:ext uri="{FF2B5EF4-FFF2-40B4-BE49-F238E27FC236}">
                <a16:creationId xmlns:a16="http://schemas.microsoft.com/office/drawing/2014/main" id="{91769BC5-2E4F-4AF2-8728-4085E49416F5}"/>
              </a:ext>
            </a:extLst>
          </p:cNvPr>
          <p:cNvSpPr>
            <a:spLocks noEditPoints="1"/>
          </p:cNvSpPr>
          <p:nvPr/>
        </p:nvSpPr>
        <p:spPr bwMode="auto">
          <a:xfrm>
            <a:off x="2491090" y="29788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3" name="Freeform 20">
            <a:extLst>
              <a:ext uri="{FF2B5EF4-FFF2-40B4-BE49-F238E27FC236}">
                <a16:creationId xmlns:a16="http://schemas.microsoft.com/office/drawing/2014/main" id="{CB4EBE60-3689-497B-8CF1-BD043D1116CE}"/>
              </a:ext>
            </a:extLst>
          </p:cNvPr>
          <p:cNvSpPr>
            <a:spLocks noEditPoints="1"/>
          </p:cNvSpPr>
          <p:nvPr/>
        </p:nvSpPr>
        <p:spPr bwMode="auto">
          <a:xfrm>
            <a:off x="2847831" y="29788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4" name="Freeform 63">
            <a:extLst>
              <a:ext uri="{FF2B5EF4-FFF2-40B4-BE49-F238E27FC236}">
                <a16:creationId xmlns:a16="http://schemas.microsoft.com/office/drawing/2014/main" id="{1DB57D07-B75E-4CDF-A477-2874CB4A8A17}"/>
              </a:ext>
            </a:extLst>
          </p:cNvPr>
          <p:cNvSpPr>
            <a:spLocks noEditPoints="1"/>
          </p:cNvSpPr>
          <p:nvPr/>
        </p:nvSpPr>
        <p:spPr bwMode="auto">
          <a:xfrm>
            <a:off x="3213947" y="29788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5" name="Freeform 20">
            <a:extLst>
              <a:ext uri="{FF2B5EF4-FFF2-40B4-BE49-F238E27FC236}">
                <a16:creationId xmlns:a16="http://schemas.microsoft.com/office/drawing/2014/main" id="{1FB56061-68D3-4A42-B659-5AF5042652C0}"/>
              </a:ext>
            </a:extLst>
          </p:cNvPr>
          <p:cNvSpPr>
            <a:spLocks noEditPoints="1"/>
          </p:cNvSpPr>
          <p:nvPr/>
        </p:nvSpPr>
        <p:spPr bwMode="auto">
          <a:xfrm>
            <a:off x="3582108" y="298026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6" name="Freeform 20">
            <a:extLst>
              <a:ext uri="{FF2B5EF4-FFF2-40B4-BE49-F238E27FC236}">
                <a16:creationId xmlns:a16="http://schemas.microsoft.com/office/drawing/2014/main" id="{EDC264C3-FD2A-45A5-9382-D2D4257AD9F7}"/>
              </a:ext>
            </a:extLst>
          </p:cNvPr>
          <p:cNvSpPr>
            <a:spLocks noEditPoints="1"/>
          </p:cNvSpPr>
          <p:nvPr/>
        </p:nvSpPr>
        <p:spPr bwMode="auto">
          <a:xfrm>
            <a:off x="3948224" y="298026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7" name="Freeform 20">
            <a:extLst>
              <a:ext uri="{FF2B5EF4-FFF2-40B4-BE49-F238E27FC236}">
                <a16:creationId xmlns:a16="http://schemas.microsoft.com/office/drawing/2014/main" id="{AF234CBD-ADBC-45D9-8CB3-3584BF4EC8E3}"/>
              </a:ext>
            </a:extLst>
          </p:cNvPr>
          <p:cNvSpPr>
            <a:spLocks noEditPoints="1"/>
          </p:cNvSpPr>
          <p:nvPr/>
        </p:nvSpPr>
        <p:spPr bwMode="auto">
          <a:xfrm>
            <a:off x="4323712" y="2974083"/>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Freeform 20">
            <a:extLst>
              <a:ext uri="{FF2B5EF4-FFF2-40B4-BE49-F238E27FC236}">
                <a16:creationId xmlns:a16="http://schemas.microsoft.com/office/drawing/2014/main" id="{1D2E16B1-0D44-40ED-A836-3A5B21D80EA5}"/>
              </a:ext>
            </a:extLst>
          </p:cNvPr>
          <p:cNvSpPr>
            <a:spLocks noEditPoints="1"/>
          </p:cNvSpPr>
          <p:nvPr/>
        </p:nvSpPr>
        <p:spPr bwMode="auto">
          <a:xfrm>
            <a:off x="4689829" y="2974083"/>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9" name="Rectangle 69">
            <a:extLst>
              <a:ext uri="{FF2B5EF4-FFF2-40B4-BE49-F238E27FC236}">
                <a16:creationId xmlns:a16="http://schemas.microsoft.com/office/drawing/2014/main" id="{2C0F5664-85B7-4044-8401-DB3105D3BDCE}"/>
              </a:ext>
            </a:extLst>
          </p:cNvPr>
          <p:cNvSpPr/>
          <p:nvPr/>
        </p:nvSpPr>
        <p:spPr>
          <a:xfrm>
            <a:off x="5097280" y="3872647"/>
            <a:ext cx="2022839" cy="5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mj-lt"/>
                <a:ea typeface="Open Sans" pitchFamily="34" charset="0"/>
                <a:cs typeface="Open Sans" pitchFamily="34" charset="0"/>
              </a:rPr>
              <a:t>xxxxx</a:t>
            </a:r>
            <a:endParaRPr lang="en-US" sz="1200" b="1" dirty="0">
              <a:solidFill>
                <a:schemeClr val="bg1"/>
              </a:solidFill>
              <a:latin typeface="+mj-lt"/>
              <a:ea typeface="Open Sans" pitchFamily="34" charset="0"/>
              <a:cs typeface="Open Sans" pitchFamily="34" charset="0"/>
            </a:endParaRPr>
          </a:p>
        </p:txBody>
      </p:sp>
      <p:sp>
        <p:nvSpPr>
          <p:cNvPr id="70" name="Freeform 20">
            <a:extLst>
              <a:ext uri="{FF2B5EF4-FFF2-40B4-BE49-F238E27FC236}">
                <a16:creationId xmlns:a16="http://schemas.microsoft.com/office/drawing/2014/main" id="{FD84AC5B-3A35-4A8A-AF48-FA1DCA932D58}"/>
              </a:ext>
            </a:extLst>
          </p:cNvPr>
          <p:cNvSpPr>
            <a:spLocks noEditPoints="1"/>
          </p:cNvSpPr>
          <p:nvPr/>
        </p:nvSpPr>
        <p:spPr bwMode="auto">
          <a:xfrm>
            <a:off x="7209688" y="387264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1" name="Freeform 20">
            <a:extLst>
              <a:ext uri="{FF2B5EF4-FFF2-40B4-BE49-F238E27FC236}">
                <a16:creationId xmlns:a16="http://schemas.microsoft.com/office/drawing/2014/main" id="{CAA8ACD2-CDB0-4D31-B6CD-14439B95E53C}"/>
              </a:ext>
            </a:extLst>
          </p:cNvPr>
          <p:cNvSpPr>
            <a:spLocks noEditPoints="1"/>
          </p:cNvSpPr>
          <p:nvPr/>
        </p:nvSpPr>
        <p:spPr bwMode="auto">
          <a:xfrm>
            <a:off x="7575803" y="387264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2" name="Freeform 20">
            <a:extLst>
              <a:ext uri="{FF2B5EF4-FFF2-40B4-BE49-F238E27FC236}">
                <a16:creationId xmlns:a16="http://schemas.microsoft.com/office/drawing/2014/main" id="{EB89887E-29FB-4996-A743-FF20C8AAC2AB}"/>
              </a:ext>
            </a:extLst>
          </p:cNvPr>
          <p:cNvSpPr>
            <a:spLocks noEditPoints="1"/>
          </p:cNvSpPr>
          <p:nvPr/>
        </p:nvSpPr>
        <p:spPr bwMode="auto">
          <a:xfrm>
            <a:off x="7943963" y="38740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3" name="Freeform 20">
            <a:extLst>
              <a:ext uri="{FF2B5EF4-FFF2-40B4-BE49-F238E27FC236}">
                <a16:creationId xmlns:a16="http://schemas.microsoft.com/office/drawing/2014/main" id="{688A9049-9E08-4DCA-BF35-B4A03E4A9D9B}"/>
              </a:ext>
            </a:extLst>
          </p:cNvPr>
          <p:cNvSpPr>
            <a:spLocks noEditPoints="1"/>
          </p:cNvSpPr>
          <p:nvPr/>
        </p:nvSpPr>
        <p:spPr bwMode="auto">
          <a:xfrm>
            <a:off x="8310079" y="38740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4" name="Freeform 20">
            <a:extLst>
              <a:ext uri="{FF2B5EF4-FFF2-40B4-BE49-F238E27FC236}">
                <a16:creationId xmlns:a16="http://schemas.microsoft.com/office/drawing/2014/main" id="{0A1ED689-9215-4470-8665-DDA822616374}"/>
              </a:ext>
            </a:extLst>
          </p:cNvPr>
          <p:cNvSpPr>
            <a:spLocks noEditPoints="1"/>
          </p:cNvSpPr>
          <p:nvPr/>
        </p:nvSpPr>
        <p:spPr bwMode="auto">
          <a:xfrm>
            <a:off x="8666821" y="38740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5" name="Freeform 20">
            <a:extLst>
              <a:ext uri="{FF2B5EF4-FFF2-40B4-BE49-F238E27FC236}">
                <a16:creationId xmlns:a16="http://schemas.microsoft.com/office/drawing/2014/main" id="{073BCEEE-7144-4238-B63B-A724E092DA3F}"/>
              </a:ext>
            </a:extLst>
          </p:cNvPr>
          <p:cNvSpPr>
            <a:spLocks noEditPoints="1"/>
          </p:cNvSpPr>
          <p:nvPr/>
        </p:nvSpPr>
        <p:spPr bwMode="auto">
          <a:xfrm>
            <a:off x="9032936" y="38740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 name="Freeform 20">
            <a:extLst>
              <a:ext uri="{FF2B5EF4-FFF2-40B4-BE49-F238E27FC236}">
                <a16:creationId xmlns:a16="http://schemas.microsoft.com/office/drawing/2014/main" id="{869BDF67-E53B-4F80-81BD-545F8A9E8C81}"/>
              </a:ext>
            </a:extLst>
          </p:cNvPr>
          <p:cNvSpPr>
            <a:spLocks noEditPoints="1"/>
          </p:cNvSpPr>
          <p:nvPr/>
        </p:nvSpPr>
        <p:spPr bwMode="auto">
          <a:xfrm>
            <a:off x="9401098" y="38754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7" name="Freeform 20">
            <a:extLst>
              <a:ext uri="{FF2B5EF4-FFF2-40B4-BE49-F238E27FC236}">
                <a16:creationId xmlns:a16="http://schemas.microsoft.com/office/drawing/2014/main" id="{6C61FFEC-397B-45BB-A898-37BA88F05EA7}"/>
              </a:ext>
            </a:extLst>
          </p:cNvPr>
          <p:cNvSpPr>
            <a:spLocks noEditPoints="1"/>
          </p:cNvSpPr>
          <p:nvPr/>
        </p:nvSpPr>
        <p:spPr bwMode="auto">
          <a:xfrm>
            <a:off x="9767212" y="38754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8" name="Freeform 20">
            <a:extLst>
              <a:ext uri="{FF2B5EF4-FFF2-40B4-BE49-F238E27FC236}">
                <a16:creationId xmlns:a16="http://schemas.microsoft.com/office/drawing/2014/main" id="{4E300721-5A97-4CCE-999C-A8E7562B25AD}"/>
              </a:ext>
            </a:extLst>
          </p:cNvPr>
          <p:cNvSpPr>
            <a:spLocks noEditPoints="1"/>
          </p:cNvSpPr>
          <p:nvPr/>
        </p:nvSpPr>
        <p:spPr bwMode="auto">
          <a:xfrm>
            <a:off x="10142702" y="38692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9" name="Freeform 20">
            <a:extLst>
              <a:ext uri="{FF2B5EF4-FFF2-40B4-BE49-F238E27FC236}">
                <a16:creationId xmlns:a16="http://schemas.microsoft.com/office/drawing/2014/main" id="{D7B54D3A-C64C-4D5D-AA85-86DA607E1908}"/>
              </a:ext>
            </a:extLst>
          </p:cNvPr>
          <p:cNvSpPr>
            <a:spLocks noEditPoints="1"/>
          </p:cNvSpPr>
          <p:nvPr/>
        </p:nvSpPr>
        <p:spPr bwMode="auto">
          <a:xfrm>
            <a:off x="10508819" y="38692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0" name="Freeform 20">
            <a:extLst>
              <a:ext uri="{FF2B5EF4-FFF2-40B4-BE49-F238E27FC236}">
                <a16:creationId xmlns:a16="http://schemas.microsoft.com/office/drawing/2014/main" id="{ADA53303-B2A3-4AD1-A2B3-2F132C0AA160}"/>
              </a:ext>
            </a:extLst>
          </p:cNvPr>
          <p:cNvSpPr>
            <a:spLocks noEditPoints="1"/>
          </p:cNvSpPr>
          <p:nvPr/>
        </p:nvSpPr>
        <p:spPr bwMode="auto">
          <a:xfrm>
            <a:off x="1390698" y="38692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1" name="Freeform 20">
            <a:extLst>
              <a:ext uri="{FF2B5EF4-FFF2-40B4-BE49-F238E27FC236}">
                <a16:creationId xmlns:a16="http://schemas.microsoft.com/office/drawing/2014/main" id="{13E78B78-5FEC-471C-A4EB-9F130AEED78B}"/>
              </a:ext>
            </a:extLst>
          </p:cNvPr>
          <p:cNvSpPr>
            <a:spLocks noEditPoints="1"/>
          </p:cNvSpPr>
          <p:nvPr/>
        </p:nvSpPr>
        <p:spPr bwMode="auto">
          <a:xfrm>
            <a:off x="1756814" y="38692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2" name="Freeform 20">
            <a:extLst>
              <a:ext uri="{FF2B5EF4-FFF2-40B4-BE49-F238E27FC236}">
                <a16:creationId xmlns:a16="http://schemas.microsoft.com/office/drawing/2014/main" id="{47D1A903-627A-4A09-8F7C-6633EAFCA4EC}"/>
              </a:ext>
            </a:extLst>
          </p:cNvPr>
          <p:cNvSpPr>
            <a:spLocks noEditPoints="1"/>
          </p:cNvSpPr>
          <p:nvPr/>
        </p:nvSpPr>
        <p:spPr bwMode="auto">
          <a:xfrm>
            <a:off x="2124974" y="38706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3" name="Freeform 20">
            <a:extLst>
              <a:ext uri="{FF2B5EF4-FFF2-40B4-BE49-F238E27FC236}">
                <a16:creationId xmlns:a16="http://schemas.microsoft.com/office/drawing/2014/main" id="{17A5FB6A-AECB-4073-B029-1B66ECDD846E}"/>
              </a:ext>
            </a:extLst>
          </p:cNvPr>
          <p:cNvSpPr>
            <a:spLocks noEditPoints="1"/>
          </p:cNvSpPr>
          <p:nvPr/>
        </p:nvSpPr>
        <p:spPr bwMode="auto">
          <a:xfrm>
            <a:off x="2491090" y="38706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4" name="Freeform 20">
            <a:extLst>
              <a:ext uri="{FF2B5EF4-FFF2-40B4-BE49-F238E27FC236}">
                <a16:creationId xmlns:a16="http://schemas.microsoft.com/office/drawing/2014/main" id="{67F94916-A7D3-49EC-B672-68809A2C4D6E}"/>
              </a:ext>
            </a:extLst>
          </p:cNvPr>
          <p:cNvSpPr>
            <a:spLocks noEditPoints="1"/>
          </p:cNvSpPr>
          <p:nvPr/>
        </p:nvSpPr>
        <p:spPr bwMode="auto">
          <a:xfrm>
            <a:off x="2847831" y="38706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5" name="Freeform 85">
            <a:extLst>
              <a:ext uri="{FF2B5EF4-FFF2-40B4-BE49-F238E27FC236}">
                <a16:creationId xmlns:a16="http://schemas.microsoft.com/office/drawing/2014/main" id="{5DBDCD14-7B88-4EAA-863E-243B3D04C620}"/>
              </a:ext>
            </a:extLst>
          </p:cNvPr>
          <p:cNvSpPr>
            <a:spLocks noEditPoints="1"/>
          </p:cNvSpPr>
          <p:nvPr/>
        </p:nvSpPr>
        <p:spPr bwMode="auto">
          <a:xfrm>
            <a:off x="3213947" y="38706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6" name="Freeform 20">
            <a:extLst>
              <a:ext uri="{FF2B5EF4-FFF2-40B4-BE49-F238E27FC236}">
                <a16:creationId xmlns:a16="http://schemas.microsoft.com/office/drawing/2014/main" id="{19A8B7A5-F1F4-4F8D-B5D1-6A04DE98430C}"/>
              </a:ext>
            </a:extLst>
          </p:cNvPr>
          <p:cNvSpPr>
            <a:spLocks noEditPoints="1"/>
          </p:cNvSpPr>
          <p:nvPr/>
        </p:nvSpPr>
        <p:spPr bwMode="auto">
          <a:xfrm>
            <a:off x="3582108" y="38719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7" name="Freeform 20">
            <a:extLst>
              <a:ext uri="{FF2B5EF4-FFF2-40B4-BE49-F238E27FC236}">
                <a16:creationId xmlns:a16="http://schemas.microsoft.com/office/drawing/2014/main" id="{0E985CF3-56B9-49AD-94F7-484A2C24AF0C}"/>
              </a:ext>
            </a:extLst>
          </p:cNvPr>
          <p:cNvSpPr>
            <a:spLocks noEditPoints="1"/>
          </p:cNvSpPr>
          <p:nvPr/>
        </p:nvSpPr>
        <p:spPr bwMode="auto">
          <a:xfrm>
            <a:off x="3948224" y="38719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8" name="Freeform 20">
            <a:extLst>
              <a:ext uri="{FF2B5EF4-FFF2-40B4-BE49-F238E27FC236}">
                <a16:creationId xmlns:a16="http://schemas.microsoft.com/office/drawing/2014/main" id="{F0920E2E-4270-4AC0-BC3D-6F6130D6DA6D}"/>
              </a:ext>
            </a:extLst>
          </p:cNvPr>
          <p:cNvSpPr>
            <a:spLocks noEditPoints="1"/>
          </p:cNvSpPr>
          <p:nvPr/>
        </p:nvSpPr>
        <p:spPr bwMode="auto">
          <a:xfrm>
            <a:off x="4323712" y="386579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9" name="Freeform 20">
            <a:extLst>
              <a:ext uri="{FF2B5EF4-FFF2-40B4-BE49-F238E27FC236}">
                <a16:creationId xmlns:a16="http://schemas.microsoft.com/office/drawing/2014/main" id="{B37E518C-A246-456B-ADE2-1E7F4B2A0903}"/>
              </a:ext>
            </a:extLst>
          </p:cNvPr>
          <p:cNvSpPr>
            <a:spLocks noEditPoints="1"/>
          </p:cNvSpPr>
          <p:nvPr/>
        </p:nvSpPr>
        <p:spPr bwMode="auto">
          <a:xfrm>
            <a:off x="4689829" y="386579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0" name="Rectangle 92">
            <a:extLst>
              <a:ext uri="{FF2B5EF4-FFF2-40B4-BE49-F238E27FC236}">
                <a16:creationId xmlns:a16="http://schemas.microsoft.com/office/drawing/2014/main" id="{F02AA3D3-1697-4084-8C17-38D858DC205B}"/>
              </a:ext>
            </a:extLst>
          </p:cNvPr>
          <p:cNvSpPr/>
          <p:nvPr/>
        </p:nvSpPr>
        <p:spPr>
          <a:xfrm>
            <a:off x="5097280" y="4766801"/>
            <a:ext cx="2022839" cy="5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mj-lt"/>
                <a:ea typeface="Open Sans" pitchFamily="34" charset="0"/>
                <a:cs typeface="Open Sans" pitchFamily="34" charset="0"/>
              </a:rPr>
              <a:t>xxxx</a:t>
            </a:r>
            <a:endParaRPr lang="en-US" sz="1200" b="1" dirty="0">
              <a:solidFill>
                <a:schemeClr val="bg1"/>
              </a:solidFill>
              <a:latin typeface="+mj-lt"/>
              <a:ea typeface="Open Sans" pitchFamily="34" charset="0"/>
              <a:cs typeface="Open Sans" pitchFamily="34" charset="0"/>
            </a:endParaRPr>
          </a:p>
        </p:txBody>
      </p:sp>
      <p:sp>
        <p:nvSpPr>
          <p:cNvPr id="91" name="Freeform 20">
            <a:extLst>
              <a:ext uri="{FF2B5EF4-FFF2-40B4-BE49-F238E27FC236}">
                <a16:creationId xmlns:a16="http://schemas.microsoft.com/office/drawing/2014/main" id="{B11C9EF1-E64C-4718-8A7D-6297E74523E5}"/>
              </a:ext>
            </a:extLst>
          </p:cNvPr>
          <p:cNvSpPr>
            <a:spLocks noEditPoints="1"/>
          </p:cNvSpPr>
          <p:nvPr/>
        </p:nvSpPr>
        <p:spPr bwMode="auto">
          <a:xfrm>
            <a:off x="7209688" y="476680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2" name="Freeform 20">
            <a:extLst>
              <a:ext uri="{FF2B5EF4-FFF2-40B4-BE49-F238E27FC236}">
                <a16:creationId xmlns:a16="http://schemas.microsoft.com/office/drawing/2014/main" id="{4B2A9B2C-D255-4D50-8E2E-9BC828B55878}"/>
              </a:ext>
            </a:extLst>
          </p:cNvPr>
          <p:cNvSpPr>
            <a:spLocks noEditPoints="1"/>
          </p:cNvSpPr>
          <p:nvPr/>
        </p:nvSpPr>
        <p:spPr bwMode="auto">
          <a:xfrm>
            <a:off x="7575803" y="476680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3" name="Freeform 20">
            <a:extLst>
              <a:ext uri="{FF2B5EF4-FFF2-40B4-BE49-F238E27FC236}">
                <a16:creationId xmlns:a16="http://schemas.microsoft.com/office/drawing/2014/main" id="{F381ED52-B835-4D07-877A-487DE05A6A71}"/>
              </a:ext>
            </a:extLst>
          </p:cNvPr>
          <p:cNvSpPr>
            <a:spLocks noEditPoints="1"/>
          </p:cNvSpPr>
          <p:nvPr/>
        </p:nvSpPr>
        <p:spPr bwMode="auto">
          <a:xfrm>
            <a:off x="7943963" y="47681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4" name="Freeform 20">
            <a:extLst>
              <a:ext uri="{FF2B5EF4-FFF2-40B4-BE49-F238E27FC236}">
                <a16:creationId xmlns:a16="http://schemas.microsoft.com/office/drawing/2014/main" id="{1C1D2CEC-7C43-45F5-BB08-5EE57E09A493}"/>
              </a:ext>
            </a:extLst>
          </p:cNvPr>
          <p:cNvSpPr>
            <a:spLocks noEditPoints="1"/>
          </p:cNvSpPr>
          <p:nvPr/>
        </p:nvSpPr>
        <p:spPr bwMode="auto">
          <a:xfrm>
            <a:off x="8310079" y="47681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5" name="Freeform 20">
            <a:extLst>
              <a:ext uri="{FF2B5EF4-FFF2-40B4-BE49-F238E27FC236}">
                <a16:creationId xmlns:a16="http://schemas.microsoft.com/office/drawing/2014/main" id="{DC2C4F6C-9BF5-4353-ABD2-73EE4E10B842}"/>
              </a:ext>
            </a:extLst>
          </p:cNvPr>
          <p:cNvSpPr>
            <a:spLocks noEditPoints="1"/>
          </p:cNvSpPr>
          <p:nvPr/>
        </p:nvSpPr>
        <p:spPr bwMode="auto">
          <a:xfrm>
            <a:off x="8666821" y="47681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6" name="Freeform 20">
            <a:extLst>
              <a:ext uri="{FF2B5EF4-FFF2-40B4-BE49-F238E27FC236}">
                <a16:creationId xmlns:a16="http://schemas.microsoft.com/office/drawing/2014/main" id="{B5F473DB-C5B6-464A-8256-B01B96C5F109}"/>
              </a:ext>
            </a:extLst>
          </p:cNvPr>
          <p:cNvSpPr>
            <a:spLocks noEditPoints="1"/>
          </p:cNvSpPr>
          <p:nvPr/>
        </p:nvSpPr>
        <p:spPr bwMode="auto">
          <a:xfrm>
            <a:off x="9032936" y="47681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7" name="Freeform 20">
            <a:extLst>
              <a:ext uri="{FF2B5EF4-FFF2-40B4-BE49-F238E27FC236}">
                <a16:creationId xmlns:a16="http://schemas.microsoft.com/office/drawing/2014/main" id="{240667F6-36D2-4AA0-968F-2760F482EE59}"/>
              </a:ext>
            </a:extLst>
          </p:cNvPr>
          <p:cNvSpPr>
            <a:spLocks noEditPoints="1"/>
          </p:cNvSpPr>
          <p:nvPr/>
        </p:nvSpPr>
        <p:spPr bwMode="auto">
          <a:xfrm>
            <a:off x="9401098" y="476955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8" name="Freeform 20">
            <a:extLst>
              <a:ext uri="{FF2B5EF4-FFF2-40B4-BE49-F238E27FC236}">
                <a16:creationId xmlns:a16="http://schemas.microsoft.com/office/drawing/2014/main" id="{383187AF-9063-4C54-A03C-62AB3657E9F6}"/>
              </a:ext>
            </a:extLst>
          </p:cNvPr>
          <p:cNvSpPr>
            <a:spLocks noEditPoints="1"/>
          </p:cNvSpPr>
          <p:nvPr/>
        </p:nvSpPr>
        <p:spPr bwMode="auto">
          <a:xfrm>
            <a:off x="9767212" y="476955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9" name="Freeform 20">
            <a:extLst>
              <a:ext uri="{FF2B5EF4-FFF2-40B4-BE49-F238E27FC236}">
                <a16:creationId xmlns:a16="http://schemas.microsoft.com/office/drawing/2014/main" id="{8602813A-E8E0-4CF1-8725-7289ACA48BD4}"/>
              </a:ext>
            </a:extLst>
          </p:cNvPr>
          <p:cNvSpPr>
            <a:spLocks noEditPoints="1"/>
          </p:cNvSpPr>
          <p:nvPr/>
        </p:nvSpPr>
        <p:spPr bwMode="auto">
          <a:xfrm>
            <a:off x="10142702" y="47633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0" name="Freeform 20">
            <a:extLst>
              <a:ext uri="{FF2B5EF4-FFF2-40B4-BE49-F238E27FC236}">
                <a16:creationId xmlns:a16="http://schemas.microsoft.com/office/drawing/2014/main" id="{76E34D35-EA24-4060-820E-F32D3F9483BA}"/>
              </a:ext>
            </a:extLst>
          </p:cNvPr>
          <p:cNvSpPr>
            <a:spLocks noEditPoints="1"/>
          </p:cNvSpPr>
          <p:nvPr/>
        </p:nvSpPr>
        <p:spPr bwMode="auto">
          <a:xfrm>
            <a:off x="10508819" y="47633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1" name="Freeform 20">
            <a:extLst>
              <a:ext uri="{FF2B5EF4-FFF2-40B4-BE49-F238E27FC236}">
                <a16:creationId xmlns:a16="http://schemas.microsoft.com/office/drawing/2014/main" id="{D041FBBB-7658-4B08-819F-22A47E93D599}"/>
              </a:ext>
            </a:extLst>
          </p:cNvPr>
          <p:cNvSpPr>
            <a:spLocks noEditPoints="1"/>
          </p:cNvSpPr>
          <p:nvPr/>
        </p:nvSpPr>
        <p:spPr bwMode="auto">
          <a:xfrm>
            <a:off x="1390698" y="47633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2" name="Freeform 20">
            <a:extLst>
              <a:ext uri="{FF2B5EF4-FFF2-40B4-BE49-F238E27FC236}">
                <a16:creationId xmlns:a16="http://schemas.microsoft.com/office/drawing/2014/main" id="{97778D25-57C6-435B-9123-6082345794CC}"/>
              </a:ext>
            </a:extLst>
          </p:cNvPr>
          <p:cNvSpPr>
            <a:spLocks noEditPoints="1"/>
          </p:cNvSpPr>
          <p:nvPr/>
        </p:nvSpPr>
        <p:spPr bwMode="auto">
          <a:xfrm>
            <a:off x="1756814" y="47633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 name="Freeform 20">
            <a:extLst>
              <a:ext uri="{FF2B5EF4-FFF2-40B4-BE49-F238E27FC236}">
                <a16:creationId xmlns:a16="http://schemas.microsoft.com/office/drawing/2014/main" id="{C3636543-24AF-430E-8776-56B6B1EE8AFB}"/>
              </a:ext>
            </a:extLst>
          </p:cNvPr>
          <p:cNvSpPr>
            <a:spLocks noEditPoints="1"/>
          </p:cNvSpPr>
          <p:nvPr/>
        </p:nvSpPr>
        <p:spPr bwMode="auto">
          <a:xfrm>
            <a:off x="2124974" y="47647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Freeform 20">
            <a:extLst>
              <a:ext uri="{FF2B5EF4-FFF2-40B4-BE49-F238E27FC236}">
                <a16:creationId xmlns:a16="http://schemas.microsoft.com/office/drawing/2014/main" id="{A0A5DB7A-3A50-49FC-82FE-23B8A1DA82EF}"/>
              </a:ext>
            </a:extLst>
          </p:cNvPr>
          <p:cNvSpPr>
            <a:spLocks noEditPoints="1"/>
          </p:cNvSpPr>
          <p:nvPr/>
        </p:nvSpPr>
        <p:spPr bwMode="auto">
          <a:xfrm>
            <a:off x="2491090" y="47647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 name="Freeform 20">
            <a:extLst>
              <a:ext uri="{FF2B5EF4-FFF2-40B4-BE49-F238E27FC236}">
                <a16:creationId xmlns:a16="http://schemas.microsoft.com/office/drawing/2014/main" id="{7DBA2C0F-825C-437B-B97E-C3EDFDB09BE2}"/>
              </a:ext>
            </a:extLst>
          </p:cNvPr>
          <p:cNvSpPr>
            <a:spLocks noEditPoints="1"/>
          </p:cNvSpPr>
          <p:nvPr/>
        </p:nvSpPr>
        <p:spPr bwMode="auto">
          <a:xfrm>
            <a:off x="2847831" y="47647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6" name="Freeform 108">
            <a:extLst>
              <a:ext uri="{FF2B5EF4-FFF2-40B4-BE49-F238E27FC236}">
                <a16:creationId xmlns:a16="http://schemas.microsoft.com/office/drawing/2014/main" id="{5D94B159-DAB4-40FA-857E-52C1EA636A61}"/>
              </a:ext>
            </a:extLst>
          </p:cNvPr>
          <p:cNvSpPr>
            <a:spLocks noEditPoints="1"/>
          </p:cNvSpPr>
          <p:nvPr/>
        </p:nvSpPr>
        <p:spPr bwMode="auto">
          <a:xfrm>
            <a:off x="3213947" y="47647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 name="Freeform 20">
            <a:extLst>
              <a:ext uri="{FF2B5EF4-FFF2-40B4-BE49-F238E27FC236}">
                <a16:creationId xmlns:a16="http://schemas.microsoft.com/office/drawing/2014/main" id="{7D5EE8DB-1015-416C-9EC9-0E94855FB3F0}"/>
              </a:ext>
            </a:extLst>
          </p:cNvPr>
          <p:cNvSpPr>
            <a:spLocks noEditPoints="1"/>
          </p:cNvSpPr>
          <p:nvPr/>
        </p:nvSpPr>
        <p:spPr bwMode="auto">
          <a:xfrm>
            <a:off x="3582108" y="476613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Freeform 20">
            <a:extLst>
              <a:ext uri="{FF2B5EF4-FFF2-40B4-BE49-F238E27FC236}">
                <a16:creationId xmlns:a16="http://schemas.microsoft.com/office/drawing/2014/main" id="{F1F2BD34-76BB-4D84-AA8E-374C26AF7097}"/>
              </a:ext>
            </a:extLst>
          </p:cNvPr>
          <p:cNvSpPr>
            <a:spLocks noEditPoints="1"/>
          </p:cNvSpPr>
          <p:nvPr/>
        </p:nvSpPr>
        <p:spPr bwMode="auto">
          <a:xfrm>
            <a:off x="3948224" y="476613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20">
            <a:extLst>
              <a:ext uri="{FF2B5EF4-FFF2-40B4-BE49-F238E27FC236}">
                <a16:creationId xmlns:a16="http://schemas.microsoft.com/office/drawing/2014/main" id="{E00FF785-2EF9-49A7-A0F1-48EFA04224A4}"/>
              </a:ext>
            </a:extLst>
          </p:cNvPr>
          <p:cNvSpPr>
            <a:spLocks noEditPoints="1"/>
          </p:cNvSpPr>
          <p:nvPr/>
        </p:nvSpPr>
        <p:spPr bwMode="auto">
          <a:xfrm>
            <a:off x="4323712" y="47599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 name="Freeform 20">
            <a:extLst>
              <a:ext uri="{FF2B5EF4-FFF2-40B4-BE49-F238E27FC236}">
                <a16:creationId xmlns:a16="http://schemas.microsoft.com/office/drawing/2014/main" id="{6D0556D3-37F6-4186-BC28-12556F424F97}"/>
              </a:ext>
            </a:extLst>
          </p:cNvPr>
          <p:cNvSpPr>
            <a:spLocks noEditPoints="1"/>
          </p:cNvSpPr>
          <p:nvPr/>
        </p:nvSpPr>
        <p:spPr bwMode="auto">
          <a:xfrm>
            <a:off x="4689829" y="47599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11" name="Group 114">
            <a:extLst>
              <a:ext uri="{FF2B5EF4-FFF2-40B4-BE49-F238E27FC236}">
                <a16:creationId xmlns:a16="http://schemas.microsoft.com/office/drawing/2014/main" id="{3907BF17-DE27-4541-BE7F-15368BC35534}"/>
              </a:ext>
            </a:extLst>
          </p:cNvPr>
          <p:cNvGrpSpPr/>
          <p:nvPr/>
        </p:nvGrpSpPr>
        <p:grpSpPr>
          <a:xfrm rot="5400000">
            <a:off x="10968642" y="1088768"/>
            <a:ext cx="682540" cy="783370"/>
            <a:chOff x="914400" y="1257300"/>
            <a:chExt cx="838200" cy="962025"/>
          </a:xfrm>
          <a:solidFill>
            <a:schemeClr val="accent2"/>
          </a:solidFill>
        </p:grpSpPr>
        <p:sp>
          <p:nvSpPr>
            <p:cNvPr id="112" name="Oval 115">
              <a:extLst>
                <a:ext uri="{FF2B5EF4-FFF2-40B4-BE49-F238E27FC236}">
                  <a16:creationId xmlns:a16="http://schemas.microsoft.com/office/drawing/2014/main" id="{A29C8677-579B-451D-903B-ACFD555C7294}"/>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3" name="Isosceles Triangle 116">
              <a:extLst>
                <a:ext uri="{FF2B5EF4-FFF2-40B4-BE49-F238E27FC236}">
                  <a16:creationId xmlns:a16="http://schemas.microsoft.com/office/drawing/2014/main" id="{38539C66-DBA8-4439-8997-83FE084803F9}"/>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14" name="Text Box 10">
            <a:extLst>
              <a:ext uri="{FF2B5EF4-FFF2-40B4-BE49-F238E27FC236}">
                <a16:creationId xmlns:a16="http://schemas.microsoft.com/office/drawing/2014/main" id="{223789DB-89C3-4207-BC7A-D573110480C7}"/>
              </a:ext>
            </a:extLst>
          </p:cNvPr>
          <p:cNvSpPr txBox="1">
            <a:spLocks noChangeArrowheads="1"/>
          </p:cNvSpPr>
          <p:nvPr/>
        </p:nvSpPr>
        <p:spPr bwMode="auto">
          <a:xfrm>
            <a:off x="10918227" y="1327937"/>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60%</a:t>
            </a:r>
            <a:endParaRPr lang="en-US" sz="1050">
              <a:solidFill>
                <a:schemeClr val="bg1"/>
              </a:solidFill>
              <a:latin typeface="+mj-lt"/>
              <a:ea typeface="Open Sans" pitchFamily="34" charset="0"/>
              <a:cs typeface="Open Sans" pitchFamily="34" charset="0"/>
            </a:endParaRPr>
          </a:p>
        </p:txBody>
      </p:sp>
      <p:grpSp>
        <p:nvGrpSpPr>
          <p:cNvPr id="115" name="Group 119">
            <a:extLst>
              <a:ext uri="{FF2B5EF4-FFF2-40B4-BE49-F238E27FC236}">
                <a16:creationId xmlns:a16="http://schemas.microsoft.com/office/drawing/2014/main" id="{94C9B0E8-8EAC-4447-BEC7-19B53DD0E0CF}"/>
              </a:ext>
            </a:extLst>
          </p:cNvPr>
          <p:cNvGrpSpPr/>
          <p:nvPr/>
        </p:nvGrpSpPr>
        <p:grpSpPr>
          <a:xfrm rot="5400000">
            <a:off x="10968642" y="1978667"/>
            <a:ext cx="682540" cy="783370"/>
            <a:chOff x="914400" y="1257300"/>
            <a:chExt cx="838200" cy="962025"/>
          </a:xfrm>
          <a:solidFill>
            <a:schemeClr val="accent2"/>
          </a:solidFill>
        </p:grpSpPr>
        <p:sp>
          <p:nvSpPr>
            <p:cNvPr id="116" name="Oval 120">
              <a:extLst>
                <a:ext uri="{FF2B5EF4-FFF2-40B4-BE49-F238E27FC236}">
                  <a16:creationId xmlns:a16="http://schemas.microsoft.com/office/drawing/2014/main" id="{6A0DC9DA-910D-413F-BADA-06F70EA996FA}"/>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7" name="Isosceles Triangle 121">
              <a:extLst>
                <a:ext uri="{FF2B5EF4-FFF2-40B4-BE49-F238E27FC236}">
                  <a16:creationId xmlns:a16="http://schemas.microsoft.com/office/drawing/2014/main" id="{161D3415-C142-4E81-A1B2-FA2B33CC3713}"/>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18" name="Text Box 10">
            <a:extLst>
              <a:ext uri="{FF2B5EF4-FFF2-40B4-BE49-F238E27FC236}">
                <a16:creationId xmlns:a16="http://schemas.microsoft.com/office/drawing/2014/main" id="{5C798A83-9E78-4040-93D6-6D195DC6DC10}"/>
              </a:ext>
            </a:extLst>
          </p:cNvPr>
          <p:cNvSpPr txBox="1">
            <a:spLocks noChangeArrowheads="1"/>
          </p:cNvSpPr>
          <p:nvPr/>
        </p:nvSpPr>
        <p:spPr bwMode="auto">
          <a:xfrm>
            <a:off x="10918227" y="2217837"/>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70%</a:t>
            </a:r>
            <a:endParaRPr lang="en-US" sz="1050">
              <a:solidFill>
                <a:schemeClr val="bg1"/>
              </a:solidFill>
              <a:latin typeface="+mj-lt"/>
              <a:ea typeface="Open Sans" pitchFamily="34" charset="0"/>
              <a:cs typeface="Open Sans" pitchFamily="34" charset="0"/>
            </a:endParaRPr>
          </a:p>
        </p:txBody>
      </p:sp>
      <p:grpSp>
        <p:nvGrpSpPr>
          <p:cNvPr id="119" name="Group 123">
            <a:extLst>
              <a:ext uri="{FF2B5EF4-FFF2-40B4-BE49-F238E27FC236}">
                <a16:creationId xmlns:a16="http://schemas.microsoft.com/office/drawing/2014/main" id="{8E4B406D-45E9-4CB4-9F08-59F59414B549}"/>
              </a:ext>
            </a:extLst>
          </p:cNvPr>
          <p:cNvGrpSpPr/>
          <p:nvPr/>
        </p:nvGrpSpPr>
        <p:grpSpPr>
          <a:xfrm rot="5400000">
            <a:off x="10968642" y="2833101"/>
            <a:ext cx="682540" cy="783370"/>
            <a:chOff x="914400" y="1257300"/>
            <a:chExt cx="838200" cy="962025"/>
          </a:xfrm>
          <a:solidFill>
            <a:schemeClr val="accent2"/>
          </a:solidFill>
        </p:grpSpPr>
        <p:sp>
          <p:nvSpPr>
            <p:cNvPr id="120" name="Oval 124">
              <a:extLst>
                <a:ext uri="{FF2B5EF4-FFF2-40B4-BE49-F238E27FC236}">
                  <a16:creationId xmlns:a16="http://schemas.microsoft.com/office/drawing/2014/main" id="{2858BA85-5792-43B6-AECD-12325609A01B}"/>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21" name="Isosceles Triangle 125">
              <a:extLst>
                <a:ext uri="{FF2B5EF4-FFF2-40B4-BE49-F238E27FC236}">
                  <a16:creationId xmlns:a16="http://schemas.microsoft.com/office/drawing/2014/main" id="{EE9F66A6-DC6A-447D-8D0A-324E6EA5B26D}"/>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22" name="Text Box 10">
            <a:extLst>
              <a:ext uri="{FF2B5EF4-FFF2-40B4-BE49-F238E27FC236}">
                <a16:creationId xmlns:a16="http://schemas.microsoft.com/office/drawing/2014/main" id="{49948CCC-6673-44AA-B635-E2BE4C7D1304}"/>
              </a:ext>
            </a:extLst>
          </p:cNvPr>
          <p:cNvSpPr txBox="1">
            <a:spLocks noChangeArrowheads="1"/>
          </p:cNvSpPr>
          <p:nvPr/>
        </p:nvSpPr>
        <p:spPr bwMode="auto">
          <a:xfrm>
            <a:off x="10918227" y="3072270"/>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60%</a:t>
            </a:r>
            <a:endParaRPr lang="en-US" sz="1050">
              <a:solidFill>
                <a:schemeClr val="bg1"/>
              </a:solidFill>
              <a:latin typeface="+mj-lt"/>
              <a:ea typeface="Open Sans" pitchFamily="34" charset="0"/>
              <a:cs typeface="Open Sans" pitchFamily="34" charset="0"/>
            </a:endParaRPr>
          </a:p>
        </p:txBody>
      </p:sp>
      <p:grpSp>
        <p:nvGrpSpPr>
          <p:cNvPr id="123" name="Group 127">
            <a:extLst>
              <a:ext uri="{FF2B5EF4-FFF2-40B4-BE49-F238E27FC236}">
                <a16:creationId xmlns:a16="http://schemas.microsoft.com/office/drawing/2014/main" id="{1F3EC023-1030-48F7-B366-7BDCC721EBC1}"/>
              </a:ext>
            </a:extLst>
          </p:cNvPr>
          <p:cNvGrpSpPr/>
          <p:nvPr/>
        </p:nvGrpSpPr>
        <p:grpSpPr>
          <a:xfrm rot="5400000">
            <a:off x="10968642" y="3756572"/>
            <a:ext cx="682540" cy="783370"/>
            <a:chOff x="914400" y="1257300"/>
            <a:chExt cx="838200" cy="962025"/>
          </a:xfrm>
          <a:solidFill>
            <a:schemeClr val="accent2"/>
          </a:solidFill>
        </p:grpSpPr>
        <p:sp>
          <p:nvSpPr>
            <p:cNvPr id="124" name="Oval 128">
              <a:extLst>
                <a:ext uri="{FF2B5EF4-FFF2-40B4-BE49-F238E27FC236}">
                  <a16:creationId xmlns:a16="http://schemas.microsoft.com/office/drawing/2014/main" id="{65B4AA15-18EE-44AB-A8F1-758BB677D4FC}"/>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25" name="Isosceles Triangle 129">
              <a:extLst>
                <a:ext uri="{FF2B5EF4-FFF2-40B4-BE49-F238E27FC236}">
                  <a16:creationId xmlns:a16="http://schemas.microsoft.com/office/drawing/2014/main" id="{D711F7A5-4396-456E-81BB-A2FB4F9DF1BB}"/>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26" name="Text Box 10">
            <a:extLst>
              <a:ext uri="{FF2B5EF4-FFF2-40B4-BE49-F238E27FC236}">
                <a16:creationId xmlns:a16="http://schemas.microsoft.com/office/drawing/2014/main" id="{5B71E54E-EABA-4DB0-BA36-BE22397B7E50}"/>
              </a:ext>
            </a:extLst>
          </p:cNvPr>
          <p:cNvSpPr txBox="1">
            <a:spLocks noChangeArrowheads="1"/>
          </p:cNvSpPr>
          <p:nvPr/>
        </p:nvSpPr>
        <p:spPr bwMode="auto">
          <a:xfrm>
            <a:off x="10918227" y="3995741"/>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80%</a:t>
            </a:r>
            <a:endParaRPr lang="en-US" sz="1050">
              <a:solidFill>
                <a:schemeClr val="bg1"/>
              </a:solidFill>
              <a:latin typeface="+mj-lt"/>
              <a:ea typeface="Open Sans" pitchFamily="34" charset="0"/>
              <a:cs typeface="Open Sans" pitchFamily="34" charset="0"/>
            </a:endParaRPr>
          </a:p>
        </p:txBody>
      </p:sp>
      <p:grpSp>
        <p:nvGrpSpPr>
          <p:cNvPr id="127" name="Group 131">
            <a:extLst>
              <a:ext uri="{FF2B5EF4-FFF2-40B4-BE49-F238E27FC236}">
                <a16:creationId xmlns:a16="http://schemas.microsoft.com/office/drawing/2014/main" id="{D4963BC6-B544-4E46-B67A-C9CC16557968}"/>
              </a:ext>
            </a:extLst>
          </p:cNvPr>
          <p:cNvGrpSpPr/>
          <p:nvPr/>
        </p:nvGrpSpPr>
        <p:grpSpPr>
          <a:xfrm rot="5400000">
            <a:off x="10968642" y="4680042"/>
            <a:ext cx="682540" cy="783370"/>
            <a:chOff x="914400" y="1257300"/>
            <a:chExt cx="838200" cy="962025"/>
          </a:xfrm>
          <a:solidFill>
            <a:schemeClr val="accent2"/>
          </a:solidFill>
        </p:grpSpPr>
        <p:sp>
          <p:nvSpPr>
            <p:cNvPr id="128" name="Oval 132">
              <a:extLst>
                <a:ext uri="{FF2B5EF4-FFF2-40B4-BE49-F238E27FC236}">
                  <a16:creationId xmlns:a16="http://schemas.microsoft.com/office/drawing/2014/main" id="{744633B2-E621-4FEE-B312-4055D7DD304A}"/>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29" name="Isosceles Triangle 133">
              <a:extLst>
                <a:ext uri="{FF2B5EF4-FFF2-40B4-BE49-F238E27FC236}">
                  <a16:creationId xmlns:a16="http://schemas.microsoft.com/office/drawing/2014/main" id="{E4F8086D-5A1A-488B-BF36-3AC8047D14AE}"/>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30" name="Text Box 10">
            <a:extLst>
              <a:ext uri="{FF2B5EF4-FFF2-40B4-BE49-F238E27FC236}">
                <a16:creationId xmlns:a16="http://schemas.microsoft.com/office/drawing/2014/main" id="{2973EC5A-25A2-4381-BE4F-2DACAA335768}"/>
              </a:ext>
            </a:extLst>
          </p:cNvPr>
          <p:cNvSpPr txBox="1">
            <a:spLocks noChangeArrowheads="1"/>
          </p:cNvSpPr>
          <p:nvPr/>
        </p:nvSpPr>
        <p:spPr bwMode="auto">
          <a:xfrm>
            <a:off x="10918227" y="4919212"/>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30%</a:t>
            </a:r>
            <a:endParaRPr lang="en-US" sz="1050">
              <a:solidFill>
                <a:schemeClr val="bg1"/>
              </a:solidFill>
              <a:latin typeface="+mj-lt"/>
              <a:ea typeface="Open Sans" pitchFamily="34" charset="0"/>
              <a:cs typeface="Open Sans" pitchFamily="34" charset="0"/>
            </a:endParaRPr>
          </a:p>
        </p:txBody>
      </p:sp>
      <p:grpSp>
        <p:nvGrpSpPr>
          <p:cNvPr id="131" name="Group 135">
            <a:extLst>
              <a:ext uri="{FF2B5EF4-FFF2-40B4-BE49-F238E27FC236}">
                <a16:creationId xmlns:a16="http://schemas.microsoft.com/office/drawing/2014/main" id="{07A5BA66-EFDC-4631-987D-4684D5081CEB}"/>
              </a:ext>
            </a:extLst>
          </p:cNvPr>
          <p:cNvGrpSpPr/>
          <p:nvPr/>
        </p:nvGrpSpPr>
        <p:grpSpPr>
          <a:xfrm rot="16200000" flipH="1">
            <a:off x="502644" y="1102038"/>
            <a:ext cx="682540" cy="783370"/>
            <a:chOff x="914400" y="1257300"/>
            <a:chExt cx="838200" cy="962025"/>
          </a:xfrm>
          <a:solidFill>
            <a:schemeClr val="accent2"/>
          </a:solidFill>
        </p:grpSpPr>
        <p:sp>
          <p:nvSpPr>
            <p:cNvPr id="132" name="Oval 136">
              <a:extLst>
                <a:ext uri="{FF2B5EF4-FFF2-40B4-BE49-F238E27FC236}">
                  <a16:creationId xmlns:a16="http://schemas.microsoft.com/office/drawing/2014/main" id="{A0E7CFF1-C5BD-4890-8BB1-5E9DAB940CCB}"/>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3" name="Isosceles Triangle 137">
              <a:extLst>
                <a:ext uri="{FF2B5EF4-FFF2-40B4-BE49-F238E27FC236}">
                  <a16:creationId xmlns:a16="http://schemas.microsoft.com/office/drawing/2014/main" id="{A61BD8CE-0714-4A3A-8A44-E2EEDEC12575}"/>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34" name="Text Box 10">
            <a:extLst>
              <a:ext uri="{FF2B5EF4-FFF2-40B4-BE49-F238E27FC236}">
                <a16:creationId xmlns:a16="http://schemas.microsoft.com/office/drawing/2014/main" id="{00C87115-85C3-4A76-89B4-4A51091F48F7}"/>
              </a:ext>
            </a:extLst>
          </p:cNvPr>
          <p:cNvSpPr txBox="1">
            <a:spLocks noChangeArrowheads="1"/>
          </p:cNvSpPr>
          <p:nvPr/>
        </p:nvSpPr>
        <p:spPr bwMode="auto">
          <a:xfrm>
            <a:off x="349620" y="1341207"/>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50%</a:t>
            </a:r>
            <a:endParaRPr lang="en-US" sz="1050">
              <a:solidFill>
                <a:schemeClr val="bg1"/>
              </a:solidFill>
              <a:latin typeface="+mj-lt"/>
              <a:ea typeface="Open Sans" pitchFamily="34" charset="0"/>
              <a:cs typeface="Open Sans" pitchFamily="34" charset="0"/>
            </a:endParaRPr>
          </a:p>
        </p:txBody>
      </p:sp>
      <p:grpSp>
        <p:nvGrpSpPr>
          <p:cNvPr id="135" name="Group 139">
            <a:extLst>
              <a:ext uri="{FF2B5EF4-FFF2-40B4-BE49-F238E27FC236}">
                <a16:creationId xmlns:a16="http://schemas.microsoft.com/office/drawing/2014/main" id="{E98EAC59-8DB1-497D-A405-7ECE807BBAC3}"/>
              </a:ext>
            </a:extLst>
          </p:cNvPr>
          <p:cNvGrpSpPr/>
          <p:nvPr/>
        </p:nvGrpSpPr>
        <p:grpSpPr>
          <a:xfrm rot="16200000" flipH="1">
            <a:off x="502644" y="1991938"/>
            <a:ext cx="682540" cy="783370"/>
            <a:chOff x="914400" y="1257300"/>
            <a:chExt cx="838200" cy="962025"/>
          </a:xfrm>
          <a:solidFill>
            <a:schemeClr val="accent2"/>
          </a:solidFill>
        </p:grpSpPr>
        <p:sp>
          <p:nvSpPr>
            <p:cNvPr id="136" name="Oval 140">
              <a:extLst>
                <a:ext uri="{FF2B5EF4-FFF2-40B4-BE49-F238E27FC236}">
                  <a16:creationId xmlns:a16="http://schemas.microsoft.com/office/drawing/2014/main" id="{2DE5CC9B-6E2F-4E53-8FE6-DB724DD4BA2C}"/>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7" name="Isosceles Triangle 141">
              <a:extLst>
                <a:ext uri="{FF2B5EF4-FFF2-40B4-BE49-F238E27FC236}">
                  <a16:creationId xmlns:a16="http://schemas.microsoft.com/office/drawing/2014/main" id="{06059014-15BF-4AEA-BCF1-5A079A13540C}"/>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38" name="Text Box 10">
            <a:extLst>
              <a:ext uri="{FF2B5EF4-FFF2-40B4-BE49-F238E27FC236}">
                <a16:creationId xmlns:a16="http://schemas.microsoft.com/office/drawing/2014/main" id="{0D8D5EAE-A680-46E4-BC5C-2D469C1D08CF}"/>
              </a:ext>
            </a:extLst>
          </p:cNvPr>
          <p:cNvSpPr txBox="1">
            <a:spLocks noChangeArrowheads="1"/>
          </p:cNvSpPr>
          <p:nvPr/>
        </p:nvSpPr>
        <p:spPr bwMode="auto">
          <a:xfrm>
            <a:off x="349620" y="2231107"/>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70%</a:t>
            </a:r>
            <a:endParaRPr lang="en-US" sz="1050">
              <a:solidFill>
                <a:schemeClr val="bg1"/>
              </a:solidFill>
              <a:latin typeface="+mj-lt"/>
              <a:ea typeface="Open Sans" pitchFamily="34" charset="0"/>
              <a:cs typeface="Open Sans" pitchFamily="34" charset="0"/>
            </a:endParaRPr>
          </a:p>
        </p:txBody>
      </p:sp>
      <p:grpSp>
        <p:nvGrpSpPr>
          <p:cNvPr id="139" name="Group 143">
            <a:extLst>
              <a:ext uri="{FF2B5EF4-FFF2-40B4-BE49-F238E27FC236}">
                <a16:creationId xmlns:a16="http://schemas.microsoft.com/office/drawing/2014/main" id="{8D010E71-5946-46C6-A234-EA562DE67840}"/>
              </a:ext>
            </a:extLst>
          </p:cNvPr>
          <p:cNvGrpSpPr/>
          <p:nvPr/>
        </p:nvGrpSpPr>
        <p:grpSpPr>
          <a:xfrm rot="16200000" flipH="1">
            <a:off x="502644" y="2846372"/>
            <a:ext cx="682540" cy="783370"/>
            <a:chOff x="914400" y="1257300"/>
            <a:chExt cx="838200" cy="962025"/>
          </a:xfrm>
          <a:solidFill>
            <a:schemeClr val="accent2"/>
          </a:solidFill>
        </p:grpSpPr>
        <p:sp>
          <p:nvSpPr>
            <p:cNvPr id="140" name="Oval 144">
              <a:extLst>
                <a:ext uri="{FF2B5EF4-FFF2-40B4-BE49-F238E27FC236}">
                  <a16:creationId xmlns:a16="http://schemas.microsoft.com/office/drawing/2014/main" id="{AC71A39B-F029-45FB-B0A7-B3672B2FFF0E}"/>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1" name="Isosceles Triangle 145">
              <a:extLst>
                <a:ext uri="{FF2B5EF4-FFF2-40B4-BE49-F238E27FC236}">
                  <a16:creationId xmlns:a16="http://schemas.microsoft.com/office/drawing/2014/main" id="{F3A754CE-A0CD-462C-A984-1EB0AC3164B8}"/>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42" name="Text Box 10">
            <a:extLst>
              <a:ext uri="{FF2B5EF4-FFF2-40B4-BE49-F238E27FC236}">
                <a16:creationId xmlns:a16="http://schemas.microsoft.com/office/drawing/2014/main" id="{E5E28D57-4678-4A61-B1F6-F0043762CDFE}"/>
              </a:ext>
            </a:extLst>
          </p:cNvPr>
          <p:cNvSpPr txBox="1">
            <a:spLocks noChangeArrowheads="1"/>
          </p:cNvSpPr>
          <p:nvPr/>
        </p:nvSpPr>
        <p:spPr bwMode="auto">
          <a:xfrm>
            <a:off x="349620" y="3085541"/>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40%</a:t>
            </a:r>
            <a:endParaRPr lang="en-US" sz="1050">
              <a:solidFill>
                <a:schemeClr val="bg1"/>
              </a:solidFill>
              <a:latin typeface="+mj-lt"/>
              <a:ea typeface="Open Sans" pitchFamily="34" charset="0"/>
              <a:cs typeface="Open Sans" pitchFamily="34" charset="0"/>
            </a:endParaRPr>
          </a:p>
        </p:txBody>
      </p:sp>
      <p:grpSp>
        <p:nvGrpSpPr>
          <p:cNvPr id="143" name="Group 147">
            <a:extLst>
              <a:ext uri="{FF2B5EF4-FFF2-40B4-BE49-F238E27FC236}">
                <a16:creationId xmlns:a16="http://schemas.microsoft.com/office/drawing/2014/main" id="{DE6AE448-1DB6-48E8-800A-FBD84CB684E6}"/>
              </a:ext>
            </a:extLst>
          </p:cNvPr>
          <p:cNvGrpSpPr/>
          <p:nvPr/>
        </p:nvGrpSpPr>
        <p:grpSpPr>
          <a:xfrm rot="16200000" flipH="1">
            <a:off x="502644" y="3769842"/>
            <a:ext cx="682540" cy="783370"/>
            <a:chOff x="914400" y="1257300"/>
            <a:chExt cx="838200" cy="962025"/>
          </a:xfrm>
          <a:solidFill>
            <a:schemeClr val="accent2"/>
          </a:solidFill>
        </p:grpSpPr>
        <p:sp>
          <p:nvSpPr>
            <p:cNvPr id="144" name="Oval 148">
              <a:extLst>
                <a:ext uri="{FF2B5EF4-FFF2-40B4-BE49-F238E27FC236}">
                  <a16:creationId xmlns:a16="http://schemas.microsoft.com/office/drawing/2014/main" id="{7D46040B-5A56-4602-B292-6D6899DD2E01}"/>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5" name="Isosceles Triangle 149">
              <a:extLst>
                <a:ext uri="{FF2B5EF4-FFF2-40B4-BE49-F238E27FC236}">
                  <a16:creationId xmlns:a16="http://schemas.microsoft.com/office/drawing/2014/main" id="{B5320931-D6FC-4640-9992-772C0927212E}"/>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46" name="Text Box 10">
            <a:extLst>
              <a:ext uri="{FF2B5EF4-FFF2-40B4-BE49-F238E27FC236}">
                <a16:creationId xmlns:a16="http://schemas.microsoft.com/office/drawing/2014/main" id="{346DA09B-CB70-45B8-868F-5EF5EDFD34BF}"/>
              </a:ext>
            </a:extLst>
          </p:cNvPr>
          <p:cNvSpPr txBox="1">
            <a:spLocks noChangeArrowheads="1"/>
          </p:cNvSpPr>
          <p:nvPr/>
        </p:nvSpPr>
        <p:spPr bwMode="auto">
          <a:xfrm>
            <a:off x="349620" y="4009011"/>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60%</a:t>
            </a:r>
            <a:endParaRPr lang="en-US" sz="1050">
              <a:solidFill>
                <a:schemeClr val="bg1"/>
              </a:solidFill>
              <a:latin typeface="+mj-lt"/>
              <a:ea typeface="Open Sans" pitchFamily="34" charset="0"/>
              <a:cs typeface="Open Sans" pitchFamily="34" charset="0"/>
            </a:endParaRPr>
          </a:p>
        </p:txBody>
      </p:sp>
      <p:grpSp>
        <p:nvGrpSpPr>
          <p:cNvPr id="147" name="Group 151">
            <a:extLst>
              <a:ext uri="{FF2B5EF4-FFF2-40B4-BE49-F238E27FC236}">
                <a16:creationId xmlns:a16="http://schemas.microsoft.com/office/drawing/2014/main" id="{64406D0F-E044-4B37-A361-27957776287C}"/>
              </a:ext>
            </a:extLst>
          </p:cNvPr>
          <p:cNvGrpSpPr/>
          <p:nvPr/>
        </p:nvGrpSpPr>
        <p:grpSpPr>
          <a:xfrm rot="16200000" flipH="1">
            <a:off x="502644" y="4693313"/>
            <a:ext cx="682540" cy="783370"/>
            <a:chOff x="914400" y="1257300"/>
            <a:chExt cx="838200" cy="962025"/>
          </a:xfrm>
          <a:solidFill>
            <a:schemeClr val="accent2"/>
          </a:solidFill>
        </p:grpSpPr>
        <p:sp>
          <p:nvSpPr>
            <p:cNvPr id="148" name="Oval 152">
              <a:extLst>
                <a:ext uri="{FF2B5EF4-FFF2-40B4-BE49-F238E27FC236}">
                  <a16:creationId xmlns:a16="http://schemas.microsoft.com/office/drawing/2014/main" id="{2FC477E4-7EE9-4DD1-91AF-6DC7A071734B}"/>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9" name="Isosceles Triangle 153">
              <a:extLst>
                <a:ext uri="{FF2B5EF4-FFF2-40B4-BE49-F238E27FC236}">
                  <a16:creationId xmlns:a16="http://schemas.microsoft.com/office/drawing/2014/main" id="{920D4037-302A-4964-A546-0392F0F5A11F}"/>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50" name="Text Box 10">
            <a:extLst>
              <a:ext uri="{FF2B5EF4-FFF2-40B4-BE49-F238E27FC236}">
                <a16:creationId xmlns:a16="http://schemas.microsoft.com/office/drawing/2014/main" id="{AA2C941D-3BF0-4EF1-AC02-8260562575EF}"/>
              </a:ext>
            </a:extLst>
          </p:cNvPr>
          <p:cNvSpPr txBox="1">
            <a:spLocks noChangeArrowheads="1"/>
          </p:cNvSpPr>
          <p:nvPr/>
        </p:nvSpPr>
        <p:spPr bwMode="auto">
          <a:xfrm>
            <a:off x="349620" y="4932482"/>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80%</a:t>
            </a:r>
            <a:endParaRPr lang="en-US" sz="1050">
              <a:solidFill>
                <a:schemeClr val="bg1"/>
              </a:solidFill>
              <a:latin typeface="+mj-lt"/>
              <a:ea typeface="Open Sans" pitchFamily="34" charset="0"/>
              <a:cs typeface="Open Sans" pitchFamily="34" charset="0"/>
            </a:endParaRPr>
          </a:p>
        </p:txBody>
      </p:sp>
    </p:spTree>
    <p:custDataLst>
      <p:tags r:id="rId1"/>
    </p:custDataLst>
    <p:extLst>
      <p:ext uri="{BB962C8B-B14F-4D97-AF65-F5344CB8AC3E}">
        <p14:creationId xmlns:p14="http://schemas.microsoft.com/office/powerpoint/2010/main" val="4277321554"/>
      </p:ext>
    </p:extLst>
  </p:cSld>
  <p:clrMapOvr>
    <a:masterClrMapping/>
  </p:clrMapOvr>
  <p:transition>
    <p:fade/>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 Box 10">
            <a:extLst>
              <a:ext uri="{FF2B5EF4-FFF2-40B4-BE49-F238E27FC236}">
                <a16:creationId xmlns:a16="http://schemas.microsoft.com/office/drawing/2014/main" id="{1DB914F7-99AB-475F-ACB1-E4D9377C5743}"/>
              </a:ext>
            </a:extLst>
          </p:cNvPr>
          <p:cNvSpPr txBox="1">
            <a:spLocks noChangeArrowheads="1"/>
          </p:cNvSpPr>
          <p:nvPr/>
        </p:nvSpPr>
        <p:spPr bwMode="auto">
          <a:xfrm>
            <a:off x="9358905" y="3765227"/>
            <a:ext cx="1468883" cy="215444"/>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err="1">
                <a:solidFill>
                  <a:schemeClr val="bg1"/>
                </a:solidFill>
                <a:latin typeface="Open Sans" pitchFamily="34" charset="0"/>
                <a:ea typeface="Open Sans" pitchFamily="34" charset="0"/>
                <a:cs typeface="Open Sans" pitchFamily="34" charset="0"/>
              </a:rPr>
              <a:t>Xxxxxxx</a:t>
            </a:r>
            <a:endParaRPr lang="en-US" sz="900" dirty="0">
              <a:solidFill>
                <a:schemeClr val="bg1"/>
              </a:solidFill>
              <a:latin typeface="Open Sans" pitchFamily="34" charset="0"/>
              <a:ea typeface="Open Sans" pitchFamily="34" charset="0"/>
              <a:cs typeface="Open Sans" pitchFamily="34" charset="0"/>
            </a:endParaRPr>
          </a:p>
        </p:txBody>
      </p:sp>
      <p:grpSp>
        <p:nvGrpSpPr>
          <p:cNvPr id="59" name="组合 58">
            <a:extLst>
              <a:ext uri="{FF2B5EF4-FFF2-40B4-BE49-F238E27FC236}">
                <a16:creationId xmlns:a16="http://schemas.microsoft.com/office/drawing/2014/main" id="{18EA7FC2-9B57-4B4F-9521-10EB8EEBB994}"/>
              </a:ext>
            </a:extLst>
          </p:cNvPr>
          <p:cNvGrpSpPr/>
          <p:nvPr/>
        </p:nvGrpSpPr>
        <p:grpSpPr>
          <a:xfrm>
            <a:off x="6313776" y="2088811"/>
            <a:ext cx="4481582" cy="3414301"/>
            <a:chOff x="6702741" y="2850811"/>
            <a:chExt cx="4481582" cy="3414301"/>
          </a:xfrm>
        </p:grpSpPr>
        <p:sp>
          <p:nvSpPr>
            <p:cNvPr id="16" name="Text Box 10">
              <a:extLst>
                <a:ext uri="{FF2B5EF4-FFF2-40B4-BE49-F238E27FC236}">
                  <a16:creationId xmlns:a16="http://schemas.microsoft.com/office/drawing/2014/main" id="{0E5CD6ED-64C5-4CA3-B668-F0A405BF4AB3}"/>
                </a:ext>
              </a:extLst>
            </p:cNvPr>
            <p:cNvSpPr txBox="1">
              <a:spLocks noChangeArrowheads="1"/>
            </p:cNvSpPr>
            <p:nvPr/>
          </p:nvSpPr>
          <p:spPr bwMode="auto">
            <a:xfrm>
              <a:off x="6702741" y="2850811"/>
              <a:ext cx="3425771" cy="100027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latin typeface="+mj-lt"/>
                  <a:ea typeface="Open Sans" pitchFamily="34" charset="0"/>
                  <a:cs typeface="Open Sans" pitchFamily="34" charset="0"/>
                </a:rPr>
                <a:t>Xxxxxxx</a:t>
              </a:r>
              <a:endParaRPr lang="en-US" altLang="zh-CN" sz="2000" b="1" dirty="0">
                <a:solidFill>
                  <a:schemeClr val="bg1"/>
                </a:solidFill>
                <a:latin typeface="+mj-lt"/>
                <a:ea typeface="Open Sans" pitchFamily="34" charset="0"/>
                <a:cs typeface="Open Sans" pitchFamily="34" charset="0"/>
              </a:endParaRPr>
            </a:p>
            <a:p>
              <a:pPr defTabSz="1088232"/>
              <a:r>
                <a:rPr lang="en-US" altLang="zh-CN" sz="1400" dirty="0" err="1">
                  <a:solidFill>
                    <a:schemeClr val="bg1">
                      <a:lumMod val="65000"/>
                    </a:schemeClr>
                  </a:solidFill>
                  <a:latin typeface="+mj-lt"/>
                  <a:ea typeface="Open Sans" pitchFamily="34" charset="0"/>
                  <a:cs typeface="Open Sans" pitchFamily="34" charset="0"/>
                </a:rPr>
                <a:t>Xxxxxxxxxxxxxx</a:t>
              </a:r>
              <a:endParaRPr lang="en-US" altLang="zh-CN" sz="1400" dirty="0">
                <a:solidFill>
                  <a:schemeClr val="bg1">
                    <a:lumMod val="65000"/>
                  </a:schemeClr>
                </a:solidFill>
                <a:latin typeface="+mj-lt"/>
                <a:ea typeface="Open Sans" pitchFamily="34" charset="0"/>
                <a:cs typeface="Open Sans" pitchFamily="34" charset="0"/>
              </a:endParaRPr>
            </a:p>
            <a:p>
              <a:pPr defTabSz="1088232"/>
              <a:r>
                <a:rPr lang="en-US" altLang="zh-CN" sz="1400" dirty="0" err="1">
                  <a:solidFill>
                    <a:schemeClr val="bg1">
                      <a:lumMod val="65000"/>
                    </a:schemeClr>
                  </a:solidFill>
                  <a:latin typeface="+mj-lt"/>
                  <a:ea typeface="Open Sans" pitchFamily="34" charset="0"/>
                  <a:cs typeface="Open Sans" pitchFamily="34" charset="0"/>
                </a:rPr>
                <a:t>Xxxxxxxxxxxxxxxxxx</a:t>
              </a:r>
              <a:endParaRPr lang="en-US" altLang="zh-CN" sz="1400" dirty="0">
                <a:solidFill>
                  <a:schemeClr val="bg1">
                    <a:lumMod val="65000"/>
                  </a:schemeClr>
                </a:solidFill>
                <a:latin typeface="+mj-lt"/>
                <a:ea typeface="Open Sans" pitchFamily="34" charset="0"/>
                <a:cs typeface="Open Sans" pitchFamily="34" charset="0"/>
              </a:endParaRPr>
            </a:p>
            <a:p>
              <a:pPr defTabSz="1088232"/>
              <a:r>
                <a:rPr lang="en-US" altLang="zh-CN" sz="1400" dirty="0" err="1">
                  <a:solidFill>
                    <a:schemeClr val="bg1">
                      <a:lumMod val="65000"/>
                    </a:schemeClr>
                  </a:solidFill>
                  <a:latin typeface="+mj-lt"/>
                  <a:ea typeface="Open Sans" pitchFamily="34" charset="0"/>
                  <a:cs typeface="Open Sans" pitchFamily="34" charset="0"/>
                </a:rPr>
                <a:t>xxxxxxxxxxxx</a:t>
              </a:r>
              <a:endParaRPr lang="en-US" altLang="zh-CN" sz="1400" dirty="0">
                <a:solidFill>
                  <a:schemeClr val="bg1">
                    <a:lumMod val="65000"/>
                  </a:schemeClr>
                </a:solidFill>
                <a:latin typeface="+mj-lt"/>
                <a:ea typeface="Open Sans" pitchFamily="34" charset="0"/>
                <a:cs typeface="Open Sans" pitchFamily="34" charset="0"/>
              </a:endParaRPr>
            </a:p>
          </p:txBody>
        </p:sp>
        <p:sp>
          <p:nvSpPr>
            <p:cNvPr id="18" name="Rectangle 9">
              <a:extLst>
                <a:ext uri="{FF2B5EF4-FFF2-40B4-BE49-F238E27FC236}">
                  <a16:creationId xmlns:a16="http://schemas.microsoft.com/office/drawing/2014/main" id="{4834DF0B-0874-4312-B6E3-64745B087C7C}"/>
                </a:ext>
              </a:extLst>
            </p:cNvPr>
            <p:cNvSpPr/>
            <p:nvPr/>
          </p:nvSpPr>
          <p:spPr>
            <a:xfrm>
              <a:off x="6797901" y="3984060"/>
              <a:ext cx="2093527" cy="362818"/>
            </a:xfrm>
            <a:prstGeom prst="snip2DiagRect">
              <a:avLst/>
            </a:pr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 name="Text Box 10">
              <a:extLst>
                <a:ext uri="{FF2B5EF4-FFF2-40B4-BE49-F238E27FC236}">
                  <a16:creationId xmlns:a16="http://schemas.microsoft.com/office/drawing/2014/main" id="{67B09CCE-3753-468A-9F43-B86ACBCEE24B}"/>
                </a:ext>
              </a:extLst>
            </p:cNvPr>
            <p:cNvSpPr txBox="1">
              <a:spLocks noChangeArrowheads="1"/>
            </p:cNvSpPr>
            <p:nvPr/>
          </p:nvSpPr>
          <p:spPr bwMode="auto">
            <a:xfrm>
              <a:off x="6893061" y="4020173"/>
              <a:ext cx="856443" cy="261610"/>
            </a:xfrm>
            <a:prstGeom prst="rect">
              <a:avLst/>
            </a:prstGeom>
            <a:noFill/>
            <a:ln w="9525">
              <a:noFill/>
              <a:miter lim="800000"/>
              <a:headEnd/>
              <a:tailEnd/>
            </a:ln>
          </p:spPr>
          <p:txBody>
            <a:bodyPr wrap="square" lIns="45720" tIns="22860" rIns="45720" bIns="22860">
              <a:spAutoFit/>
            </a:bodyPr>
            <a:lstStyle/>
            <a:p>
              <a:pPr defTabSz="1088232"/>
              <a:r>
                <a:rPr lang="en-US" sz="1400" b="1">
                  <a:solidFill>
                    <a:schemeClr val="bg1"/>
                  </a:solidFill>
                  <a:latin typeface="+mj-lt"/>
                  <a:ea typeface="Open Sans" pitchFamily="34" charset="0"/>
                  <a:cs typeface="Open Sans" pitchFamily="34" charset="0"/>
                </a:rPr>
                <a:t>58%</a:t>
              </a:r>
              <a:endParaRPr lang="en-US" sz="1000">
                <a:solidFill>
                  <a:schemeClr val="bg1"/>
                </a:solidFill>
                <a:latin typeface="+mj-lt"/>
                <a:ea typeface="Open Sans" pitchFamily="34" charset="0"/>
                <a:cs typeface="Open Sans" pitchFamily="34" charset="0"/>
              </a:endParaRPr>
            </a:p>
          </p:txBody>
        </p:sp>
        <p:sp>
          <p:nvSpPr>
            <p:cNvPr id="20" name="Rectangle 13">
              <a:extLst>
                <a:ext uri="{FF2B5EF4-FFF2-40B4-BE49-F238E27FC236}">
                  <a16:creationId xmlns:a16="http://schemas.microsoft.com/office/drawing/2014/main" id="{85F6DF24-265F-4005-A9AB-A6BAC26283C6}"/>
                </a:ext>
              </a:extLst>
            </p:cNvPr>
            <p:cNvSpPr/>
            <p:nvPr/>
          </p:nvSpPr>
          <p:spPr>
            <a:xfrm>
              <a:off x="6797901" y="4459861"/>
              <a:ext cx="2854809" cy="362818"/>
            </a:xfrm>
            <a:prstGeom prst="snip2DiagRect">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1" name="Text Box 10">
              <a:extLst>
                <a:ext uri="{FF2B5EF4-FFF2-40B4-BE49-F238E27FC236}">
                  <a16:creationId xmlns:a16="http://schemas.microsoft.com/office/drawing/2014/main" id="{C58A367D-6707-4978-8840-15B49BEB3215}"/>
                </a:ext>
              </a:extLst>
            </p:cNvPr>
            <p:cNvSpPr txBox="1">
              <a:spLocks noChangeArrowheads="1"/>
            </p:cNvSpPr>
            <p:nvPr/>
          </p:nvSpPr>
          <p:spPr bwMode="auto">
            <a:xfrm>
              <a:off x="6893061" y="4495975"/>
              <a:ext cx="856443" cy="261610"/>
            </a:xfrm>
            <a:prstGeom prst="rect">
              <a:avLst/>
            </a:prstGeom>
            <a:noFill/>
            <a:ln w="9525">
              <a:noFill/>
              <a:miter lim="800000"/>
              <a:headEnd/>
              <a:tailEnd/>
            </a:ln>
          </p:spPr>
          <p:txBody>
            <a:bodyPr wrap="square" lIns="45720" tIns="22860" rIns="45720" bIns="22860">
              <a:spAutoFit/>
            </a:bodyPr>
            <a:lstStyle/>
            <a:p>
              <a:pPr defTabSz="1088232"/>
              <a:r>
                <a:rPr lang="en-US" sz="1400" b="1">
                  <a:solidFill>
                    <a:schemeClr val="bg1"/>
                  </a:solidFill>
                  <a:latin typeface="+mj-lt"/>
                  <a:ea typeface="Open Sans" pitchFamily="34" charset="0"/>
                  <a:cs typeface="Open Sans" pitchFamily="34" charset="0"/>
                </a:rPr>
                <a:t>72%</a:t>
              </a:r>
              <a:endParaRPr lang="en-US" sz="1000">
                <a:solidFill>
                  <a:schemeClr val="bg1"/>
                </a:solidFill>
                <a:latin typeface="+mj-lt"/>
                <a:ea typeface="Open Sans" pitchFamily="34" charset="0"/>
                <a:cs typeface="Open Sans" pitchFamily="34" charset="0"/>
              </a:endParaRPr>
            </a:p>
          </p:txBody>
        </p:sp>
        <p:sp>
          <p:nvSpPr>
            <p:cNvPr id="22" name="Rectangle 15">
              <a:extLst>
                <a:ext uri="{FF2B5EF4-FFF2-40B4-BE49-F238E27FC236}">
                  <a16:creationId xmlns:a16="http://schemas.microsoft.com/office/drawing/2014/main" id="{F6E4F94C-56A6-4198-A480-896407327A8D}"/>
                </a:ext>
              </a:extLst>
            </p:cNvPr>
            <p:cNvSpPr/>
            <p:nvPr/>
          </p:nvSpPr>
          <p:spPr>
            <a:xfrm>
              <a:off x="6797901" y="4950691"/>
              <a:ext cx="2827968" cy="362818"/>
            </a:xfrm>
            <a:prstGeom prst="snip2DiagRect">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Text Box 10">
              <a:extLst>
                <a:ext uri="{FF2B5EF4-FFF2-40B4-BE49-F238E27FC236}">
                  <a16:creationId xmlns:a16="http://schemas.microsoft.com/office/drawing/2014/main" id="{EE61B9AB-12B9-4E38-A42D-119B7AB08932}"/>
                </a:ext>
              </a:extLst>
            </p:cNvPr>
            <p:cNvSpPr txBox="1">
              <a:spLocks noChangeArrowheads="1"/>
            </p:cNvSpPr>
            <p:nvPr/>
          </p:nvSpPr>
          <p:spPr bwMode="auto">
            <a:xfrm>
              <a:off x="6893061" y="4986804"/>
              <a:ext cx="856443" cy="261610"/>
            </a:xfrm>
            <a:prstGeom prst="rect">
              <a:avLst/>
            </a:prstGeom>
            <a:noFill/>
            <a:ln w="9525">
              <a:noFill/>
              <a:miter lim="800000"/>
              <a:headEnd/>
              <a:tailEnd/>
            </a:ln>
          </p:spPr>
          <p:txBody>
            <a:bodyPr wrap="square" lIns="45720" tIns="22860" rIns="45720" bIns="22860">
              <a:spAutoFit/>
            </a:bodyPr>
            <a:lstStyle/>
            <a:p>
              <a:pPr defTabSz="1088232"/>
              <a:r>
                <a:rPr lang="en-US" sz="1400" b="1">
                  <a:solidFill>
                    <a:schemeClr val="bg1"/>
                  </a:solidFill>
                  <a:latin typeface="+mj-lt"/>
                  <a:ea typeface="Open Sans" pitchFamily="34" charset="0"/>
                  <a:cs typeface="Open Sans" pitchFamily="34" charset="0"/>
                </a:rPr>
                <a:t>70%</a:t>
              </a:r>
              <a:endParaRPr lang="en-US" sz="1000">
                <a:solidFill>
                  <a:schemeClr val="bg1"/>
                </a:solidFill>
                <a:latin typeface="+mj-lt"/>
                <a:ea typeface="Open Sans" pitchFamily="34" charset="0"/>
                <a:cs typeface="Open Sans" pitchFamily="34" charset="0"/>
              </a:endParaRPr>
            </a:p>
          </p:txBody>
        </p:sp>
        <p:sp>
          <p:nvSpPr>
            <p:cNvPr id="24" name="Rectangle 17">
              <a:extLst>
                <a:ext uri="{FF2B5EF4-FFF2-40B4-BE49-F238E27FC236}">
                  <a16:creationId xmlns:a16="http://schemas.microsoft.com/office/drawing/2014/main" id="{63BADC8E-9C0C-4B60-B7DF-5889E396DDC0}"/>
                </a:ext>
              </a:extLst>
            </p:cNvPr>
            <p:cNvSpPr/>
            <p:nvPr/>
          </p:nvSpPr>
          <p:spPr>
            <a:xfrm>
              <a:off x="6797901" y="5411464"/>
              <a:ext cx="2664489" cy="362818"/>
            </a:xfrm>
            <a:prstGeom prst="snip2Diag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5" name="Text Box 10">
              <a:extLst>
                <a:ext uri="{FF2B5EF4-FFF2-40B4-BE49-F238E27FC236}">
                  <a16:creationId xmlns:a16="http://schemas.microsoft.com/office/drawing/2014/main" id="{9C2D92A1-C585-4BE2-93EE-A059594CDE7B}"/>
                </a:ext>
              </a:extLst>
            </p:cNvPr>
            <p:cNvSpPr txBox="1">
              <a:spLocks noChangeArrowheads="1"/>
            </p:cNvSpPr>
            <p:nvPr/>
          </p:nvSpPr>
          <p:spPr bwMode="auto">
            <a:xfrm>
              <a:off x="6893061" y="5447578"/>
              <a:ext cx="856443" cy="261610"/>
            </a:xfrm>
            <a:prstGeom prst="rect">
              <a:avLst/>
            </a:prstGeom>
            <a:noFill/>
            <a:ln w="9525">
              <a:noFill/>
              <a:miter lim="800000"/>
              <a:headEnd/>
              <a:tailEnd/>
            </a:ln>
          </p:spPr>
          <p:txBody>
            <a:bodyPr wrap="square" lIns="45720" tIns="22860" rIns="45720" bIns="22860">
              <a:spAutoFit/>
            </a:bodyPr>
            <a:lstStyle/>
            <a:p>
              <a:pPr defTabSz="1088232"/>
              <a:r>
                <a:rPr lang="en-US" sz="1400" b="1">
                  <a:solidFill>
                    <a:schemeClr val="bg1"/>
                  </a:solidFill>
                  <a:latin typeface="+mj-lt"/>
                  <a:ea typeface="Open Sans" pitchFamily="34" charset="0"/>
                  <a:cs typeface="Open Sans" pitchFamily="34" charset="0"/>
                </a:rPr>
                <a:t>67%</a:t>
              </a:r>
              <a:endParaRPr lang="en-US" sz="1000">
                <a:solidFill>
                  <a:schemeClr val="bg1"/>
                </a:solidFill>
                <a:latin typeface="+mj-lt"/>
                <a:ea typeface="Open Sans" pitchFamily="34" charset="0"/>
                <a:cs typeface="Open Sans" pitchFamily="34" charset="0"/>
              </a:endParaRPr>
            </a:p>
          </p:txBody>
        </p:sp>
        <p:sp>
          <p:nvSpPr>
            <p:cNvPr id="26" name="Rectangle 19">
              <a:extLst>
                <a:ext uri="{FF2B5EF4-FFF2-40B4-BE49-F238E27FC236}">
                  <a16:creationId xmlns:a16="http://schemas.microsoft.com/office/drawing/2014/main" id="{C91D8099-06DF-4BCA-9E96-B609C7347368}"/>
                </a:ext>
              </a:extLst>
            </p:cNvPr>
            <p:cNvSpPr/>
            <p:nvPr/>
          </p:nvSpPr>
          <p:spPr>
            <a:xfrm>
              <a:off x="6797901" y="5902294"/>
              <a:ext cx="1617725" cy="362818"/>
            </a:xfrm>
            <a:prstGeom prst="snip2DiagRect">
              <a:avLst/>
            </a:prstGeom>
            <a:solidFill>
              <a:srgbClr val="62B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7" name="Text Box 10">
              <a:extLst>
                <a:ext uri="{FF2B5EF4-FFF2-40B4-BE49-F238E27FC236}">
                  <a16:creationId xmlns:a16="http://schemas.microsoft.com/office/drawing/2014/main" id="{13A1FDB9-97E9-411E-934A-1928D724AEED}"/>
                </a:ext>
              </a:extLst>
            </p:cNvPr>
            <p:cNvSpPr txBox="1">
              <a:spLocks noChangeArrowheads="1"/>
            </p:cNvSpPr>
            <p:nvPr/>
          </p:nvSpPr>
          <p:spPr bwMode="auto">
            <a:xfrm>
              <a:off x="6893061" y="5938408"/>
              <a:ext cx="856443" cy="261610"/>
            </a:xfrm>
            <a:prstGeom prst="rect">
              <a:avLst/>
            </a:prstGeom>
            <a:noFill/>
            <a:ln w="9525">
              <a:noFill/>
              <a:miter lim="800000"/>
              <a:headEnd/>
              <a:tailEnd/>
            </a:ln>
          </p:spPr>
          <p:txBody>
            <a:bodyPr wrap="square" lIns="45720" tIns="22860" rIns="45720" bIns="22860">
              <a:spAutoFit/>
            </a:bodyPr>
            <a:lstStyle/>
            <a:p>
              <a:pPr defTabSz="1088232"/>
              <a:r>
                <a:rPr lang="en-US" sz="1400" b="1">
                  <a:solidFill>
                    <a:schemeClr val="bg1"/>
                  </a:solidFill>
                  <a:latin typeface="+mj-lt"/>
                  <a:ea typeface="Open Sans" pitchFamily="34" charset="0"/>
                  <a:cs typeface="Open Sans" pitchFamily="34" charset="0"/>
                </a:rPr>
                <a:t>39%</a:t>
              </a:r>
              <a:endParaRPr lang="en-US" sz="1000">
                <a:solidFill>
                  <a:schemeClr val="bg1"/>
                </a:solidFill>
                <a:latin typeface="+mj-lt"/>
                <a:ea typeface="Open Sans" pitchFamily="34" charset="0"/>
                <a:cs typeface="Open Sans" pitchFamily="34" charset="0"/>
              </a:endParaRPr>
            </a:p>
          </p:txBody>
        </p:sp>
        <p:sp>
          <p:nvSpPr>
            <p:cNvPr id="42" name="Text Box 10">
              <a:extLst>
                <a:ext uri="{FF2B5EF4-FFF2-40B4-BE49-F238E27FC236}">
                  <a16:creationId xmlns:a16="http://schemas.microsoft.com/office/drawing/2014/main" id="{8B92E1D9-9D68-4D52-9B10-FC33D1AAFBAF}"/>
                </a:ext>
              </a:extLst>
            </p:cNvPr>
            <p:cNvSpPr txBox="1">
              <a:spLocks noChangeArrowheads="1"/>
            </p:cNvSpPr>
            <p:nvPr/>
          </p:nvSpPr>
          <p:spPr bwMode="auto">
            <a:xfrm>
              <a:off x="8980999" y="4050028"/>
              <a:ext cx="1468883" cy="215444"/>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44" name="Text Box 10">
              <a:extLst>
                <a:ext uri="{FF2B5EF4-FFF2-40B4-BE49-F238E27FC236}">
                  <a16:creationId xmlns:a16="http://schemas.microsoft.com/office/drawing/2014/main" id="{87B5A32A-7EAC-4936-B720-6AAEAD32F40C}"/>
                </a:ext>
              </a:extLst>
            </p:cNvPr>
            <p:cNvSpPr txBox="1">
              <a:spLocks noChangeArrowheads="1"/>
            </p:cNvSpPr>
            <p:nvPr/>
          </p:nvSpPr>
          <p:spPr bwMode="auto">
            <a:xfrm>
              <a:off x="9715440" y="5018057"/>
              <a:ext cx="1468883" cy="215444"/>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45" name="Text Box 10">
              <a:extLst>
                <a:ext uri="{FF2B5EF4-FFF2-40B4-BE49-F238E27FC236}">
                  <a16:creationId xmlns:a16="http://schemas.microsoft.com/office/drawing/2014/main" id="{51ED3147-883A-434A-948B-5A693E401137}"/>
                </a:ext>
              </a:extLst>
            </p:cNvPr>
            <p:cNvSpPr txBox="1">
              <a:spLocks noChangeArrowheads="1"/>
            </p:cNvSpPr>
            <p:nvPr/>
          </p:nvSpPr>
          <p:spPr bwMode="auto">
            <a:xfrm>
              <a:off x="9511570" y="5478830"/>
              <a:ext cx="1468883" cy="215444"/>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46" name="Text Box 10">
              <a:extLst>
                <a:ext uri="{FF2B5EF4-FFF2-40B4-BE49-F238E27FC236}">
                  <a16:creationId xmlns:a16="http://schemas.microsoft.com/office/drawing/2014/main" id="{E730AEAE-F8E0-4DC4-9796-F6F368092602}"/>
                </a:ext>
              </a:extLst>
            </p:cNvPr>
            <p:cNvSpPr txBox="1">
              <a:spLocks noChangeArrowheads="1"/>
            </p:cNvSpPr>
            <p:nvPr/>
          </p:nvSpPr>
          <p:spPr bwMode="auto">
            <a:xfrm>
              <a:off x="8510786" y="5969660"/>
              <a:ext cx="1468883" cy="215444"/>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grpSp>
      <p:grpSp>
        <p:nvGrpSpPr>
          <p:cNvPr id="60" name="组合 59">
            <a:extLst>
              <a:ext uri="{FF2B5EF4-FFF2-40B4-BE49-F238E27FC236}">
                <a16:creationId xmlns:a16="http://schemas.microsoft.com/office/drawing/2014/main" id="{04D20A06-E0F7-4063-9BD8-5BA4A3510BD6}"/>
              </a:ext>
            </a:extLst>
          </p:cNvPr>
          <p:cNvGrpSpPr/>
          <p:nvPr/>
        </p:nvGrpSpPr>
        <p:grpSpPr>
          <a:xfrm>
            <a:off x="900079" y="2088811"/>
            <a:ext cx="4978145" cy="3417096"/>
            <a:chOff x="469237" y="2850811"/>
            <a:chExt cx="4978145" cy="3417096"/>
          </a:xfrm>
        </p:grpSpPr>
        <p:sp>
          <p:nvSpPr>
            <p:cNvPr id="17" name="Text Box 10">
              <a:extLst>
                <a:ext uri="{FF2B5EF4-FFF2-40B4-BE49-F238E27FC236}">
                  <a16:creationId xmlns:a16="http://schemas.microsoft.com/office/drawing/2014/main" id="{549B9295-9953-4D54-9954-3580CBD94CFE}"/>
                </a:ext>
              </a:extLst>
            </p:cNvPr>
            <p:cNvSpPr txBox="1">
              <a:spLocks noChangeArrowheads="1"/>
            </p:cNvSpPr>
            <p:nvPr/>
          </p:nvSpPr>
          <p:spPr bwMode="auto">
            <a:xfrm>
              <a:off x="2021611" y="2850811"/>
              <a:ext cx="3425771" cy="100027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latin typeface="+mj-lt"/>
                  <a:ea typeface="Open Sans" pitchFamily="34" charset="0"/>
                  <a:cs typeface="Open Sans" pitchFamily="34" charset="0"/>
                </a:rPr>
                <a:t>Xxxxxxx</a:t>
              </a:r>
              <a:endParaRPr lang="en-US" altLang="zh-CN" sz="2000" b="1" dirty="0">
                <a:solidFill>
                  <a:schemeClr val="bg1"/>
                </a:solidFill>
                <a:latin typeface="+mj-lt"/>
                <a:ea typeface="Open Sans" pitchFamily="34" charset="0"/>
                <a:cs typeface="Open Sans" pitchFamily="34" charset="0"/>
              </a:endParaRPr>
            </a:p>
            <a:p>
              <a:pPr algn="r" defTabSz="1088232"/>
              <a:r>
                <a:rPr lang="en-US" altLang="zh-CN" sz="1400" dirty="0" err="1">
                  <a:solidFill>
                    <a:schemeClr val="bg1">
                      <a:lumMod val="65000"/>
                    </a:schemeClr>
                  </a:solidFill>
                  <a:latin typeface="+mj-lt"/>
                  <a:ea typeface="Open Sans" pitchFamily="34" charset="0"/>
                  <a:cs typeface="Open Sans" pitchFamily="34" charset="0"/>
                </a:rPr>
                <a:t>Xxxxxxxxxxxxxx</a:t>
              </a:r>
              <a:endParaRPr lang="en-US" altLang="zh-CN" sz="1400" dirty="0">
                <a:solidFill>
                  <a:schemeClr val="bg1">
                    <a:lumMod val="65000"/>
                  </a:schemeClr>
                </a:solidFill>
                <a:latin typeface="+mj-lt"/>
                <a:ea typeface="Open Sans" pitchFamily="34" charset="0"/>
                <a:cs typeface="Open Sans" pitchFamily="34" charset="0"/>
              </a:endParaRPr>
            </a:p>
            <a:p>
              <a:pPr algn="r" defTabSz="1088232"/>
              <a:r>
                <a:rPr lang="en-US" altLang="zh-CN" sz="1400" dirty="0" err="1">
                  <a:solidFill>
                    <a:schemeClr val="bg1">
                      <a:lumMod val="65000"/>
                    </a:schemeClr>
                  </a:solidFill>
                  <a:latin typeface="+mj-lt"/>
                  <a:ea typeface="Open Sans" pitchFamily="34" charset="0"/>
                  <a:cs typeface="Open Sans" pitchFamily="34" charset="0"/>
                </a:rPr>
                <a:t>Xxxxxxxxxxxxxxxxxx</a:t>
              </a:r>
              <a:endParaRPr lang="en-US" altLang="zh-CN" sz="1400" dirty="0">
                <a:solidFill>
                  <a:schemeClr val="bg1">
                    <a:lumMod val="65000"/>
                  </a:schemeClr>
                </a:solidFill>
                <a:latin typeface="+mj-lt"/>
                <a:ea typeface="Open Sans" pitchFamily="34" charset="0"/>
                <a:cs typeface="Open Sans" pitchFamily="34" charset="0"/>
              </a:endParaRPr>
            </a:p>
            <a:p>
              <a:pPr algn="r" defTabSz="1088232"/>
              <a:r>
                <a:rPr lang="en-US" altLang="zh-CN" sz="1400" dirty="0" err="1">
                  <a:solidFill>
                    <a:schemeClr val="bg1">
                      <a:lumMod val="65000"/>
                    </a:schemeClr>
                  </a:solidFill>
                  <a:latin typeface="+mj-lt"/>
                  <a:ea typeface="Open Sans" pitchFamily="34" charset="0"/>
                  <a:cs typeface="Open Sans" pitchFamily="34" charset="0"/>
                </a:rPr>
                <a:t>xxxxxxxxxxxx</a:t>
              </a:r>
              <a:endParaRPr lang="en-US" altLang="zh-CN" sz="1400" dirty="0">
                <a:solidFill>
                  <a:schemeClr val="bg1">
                    <a:lumMod val="65000"/>
                  </a:schemeClr>
                </a:solidFill>
                <a:latin typeface="+mj-lt"/>
                <a:ea typeface="Open Sans" pitchFamily="34" charset="0"/>
                <a:cs typeface="Open Sans" pitchFamily="34" charset="0"/>
              </a:endParaRPr>
            </a:p>
          </p:txBody>
        </p:sp>
        <p:sp>
          <p:nvSpPr>
            <p:cNvPr id="28" name="Rectangle 21">
              <a:extLst>
                <a:ext uri="{FF2B5EF4-FFF2-40B4-BE49-F238E27FC236}">
                  <a16:creationId xmlns:a16="http://schemas.microsoft.com/office/drawing/2014/main" id="{DF049FD5-47E0-4CD8-B866-4E2F7298CAA0}"/>
                </a:ext>
              </a:extLst>
            </p:cNvPr>
            <p:cNvSpPr/>
            <p:nvPr/>
          </p:nvSpPr>
          <p:spPr>
            <a:xfrm>
              <a:off x="3265039" y="3985457"/>
              <a:ext cx="2093527" cy="362818"/>
            </a:xfrm>
            <a:prstGeom prst="snip2DiagRect">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9" name="Text Box 10">
              <a:extLst>
                <a:ext uri="{FF2B5EF4-FFF2-40B4-BE49-F238E27FC236}">
                  <a16:creationId xmlns:a16="http://schemas.microsoft.com/office/drawing/2014/main" id="{5C411C59-1C30-46A3-BFB5-923521E2CA49}"/>
                </a:ext>
              </a:extLst>
            </p:cNvPr>
            <p:cNvSpPr txBox="1">
              <a:spLocks noChangeArrowheads="1"/>
            </p:cNvSpPr>
            <p:nvPr/>
          </p:nvSpPr>
          <p:spPr bwMode="auto">
            <a:xfrm>
              <a:off x="4418893" y="4022968"/>
              <a:ext cx="856443" cy="261610"/>
            </a:xfrm>
            <a:prstGeom prst="rect">
              <a:avLst/>
            </a:prstGeom>
            <a:noFill/>
            <a:ln w="9525">
              <a:noFill/>
              <a:miter lim="800000"/>
              <a:headEnd/>
              <a:tailEnd/>
            </a:ln>
          </p:spPr>
          <p:txBody>
            <a:bodyPr wrap="square" lIns="45720" tIns="22860" rIns="45720" bIns="22860">
              <a:spAutoFit/>
            </a:bodyPr>
            <a:lstStyle/>
            <a:p>
              <a:pPr algn="r" defTabSz="1088232"/>
              <a:r>
                <a:rPr lang="en-US" sz="1400" b="1">
                  <a:solidFill>
                    <a:schemeClr val="bg1"/>
                  </a:solidFill>
                  <a:latin typeface="+mj-lt"/>
                  <a:ea typeface="Open Sans" pitchFamily="34" charset="0"/>
                  <a:cs typeface="Open Sans" pitchFamily="34" charset="0"/>
                </a:rPr>
                <a:t>55%</a:t>
              </a:r>
              <a:endParaRPr lang="en-US" sz="1000">
                <a:solidFill>
                  <a:schemeClr val="bg1"/>
                </a:solidFill>
                <a:latin typeface="+mj-lt"/>
                <a:ea typeface="Open Sans" pitchFamily="34" charset="0"/>
                <a:cs typeface="Open Sans" pitchFamily="34" charset="0"/>
              </a:endParaRPr>
            </a:p>
          </p:txBody>
        </p:sp>
        <p:sp>
          <p:nvSpPr>
            <p:cNvPr id="30" name="Rectangle 23">
              <a:extLst>
                <a:ext uri="{FF2B5EF4-FFF2-40B4-BE49-F238E27FC236}">
                  <a16:creationId xmlns:a16="http://schemas.microsoft.com/office/drawing/2014/main" id="{120E2EE2-822E-40F5-9FC8-0B18158BD981}"/>
                </a:ext>
              </a:extLst>
            </p:cNvPr>
            <p:cNvSpPr/>
            <p:nvPr/>
          </p:nvSpPr>
          <p:spPr>
            <a:xfrm>
              <a:off x="2503757" y="4462656"/>
              <a:ext cx="2854809" cy="362818"/>
            </a:xfrm>
            <a:prstGeom prst="snip2Diag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1" name="Text Box 10">
              <a:extLst>
                <a:ext uri="{FF2B5EF4-FFF2-40B4-BE49-F238E27FC236}">
                  <a16:creationId xmlns:a16="http://schemas.microsoft.com/office/drawing/2014/main" id="{6D08B6C5-A0A2-486B-8930-4196AAF0BB1C}"/>
                </a:ext>
              </a:extLst>
            </p:cNvPr>
            <p:cNvSpPr txBox="1">
              <a:spLocks noChangeArrowheads="1"/>
            </p:cNvSpPr>
            <p:nvPr/>
          </p:nvSpPr>
          <p:spPr bwMode="auto">
            <a:xfrm>
              <a:off x="4418893" y="4498769"/>
              <a:ext cx="856443" cy="261610"/>
            </a:xfrm>
            <a:prstGeom prst="rect">
              <a:avLst/>
            </a:prstGeom>
            <a:noFill/>
            <a:ln w="9525">
              <a:noFill/>
              <a:miter lim="800000"/>
              <a:headEnd/>
              <a:tailEnd/>
            </a:ln>
          </p:spPr>
          <p:txBody>
            <a:bodyPr wrap="square" lIns="45720" tIns="22860" rIns="45720" bIns="22860">
              <a:spAutoFit/>
            </a:bodyPr>
            <a:lstStyle/>
            <a:p>
              <a:pPr algn="r" defTabSz="1088232"/>
              <a:r>
                <a:rPr lang="en-US" sz="1400" b="1" dirty="0">
                  <a:solidFill>
                    <a:schemeClr val="bg1"/>
                  </a:solidFill>
                  <a:latin typeface="+mj-lt"/>
                  <a:ea typeface="Open Sans" pitchFamily="34" charset="0"/>
                  <a:cs typeface="Open Sans" pitchFamily="34" charset="0"/>
                </a:rPr>
                <a:t>69%</a:t>
              </a:r>
              <a:endParaRPr lang="en-US" sz="1000" dirty="0">
                <a:solidFill>
                  <a:schemeClr val="bg1"/>
                </a:solidFill>
                <a:latin typeface="+mj-lt"/>
                <a:ea typeface="Open Sans" pitchFamily="34" charset="0"/>
                <a:cs typeface="Open Sans" pitchFamily="34" charset="0"/>
              </a:endParaRPr>
            </a:p>
          </p:txBody>
        </p:sp>
        <p:sp>
          <p:nvSpPr>
            <p:cNvPr id="32" name="Rectangle 25">
              <a:extLst>
                <a:ext uri="{FF2B5EF4-FFF2-40B4-BE49-F238E27FC236}">
                  <a16:creationId xmlns:a16="http://schemas.microsoft.com/office/drawing/2014/main" id="{B2FCDB0B-9117-44A4-962A-4439152D0BF4}"/>
                </a:ext>
              </a:extLst>
            </p:cNvPr>
            <p:cNvSpPr/>
            <p:nvPr/>
          </p:nvSpPr>
          <p:spPr>
            <a:xfrm>
              <a:off x="2027956" y="4953486"/>
              <a:ext cx="3330611" cy="362818"/>
            </a:xfrm>
            <a:prstGeom prst="snip2Diag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 name="Text Box 10">
              <a:extLst>
                <a:ext uri="{FF2B5EF4-FFF2-40B4-BE49-F238E27FC236}">
                  <a16:creationId xmlns:a16="http://schemas.microsoft.com/office/drawing/2014/main" id="{032BAC1B-7F7B-4BEA-BE05-AB29F7C2137D}"/>
                </a:ext>
              </a:extLst>
            </p:cNvPr>
            <p:cNvSpPr txBox="1">
              <a:spLocks noChangeArrowheads="1"/>
            </p:cNvSpPr>
            <p:nvPr/>
          </p:nvSpPr>
          <p:spPr bwMode="auto">
            <a:xfrm>
              <a:off x="4418893" y="4989599"/>
              <a:ext cx="856443" cy="261610"/>
            </a:xfrm>
            <a:prstGeom prst="rect">
              <a:avLst/>
            </a:prstGeom>
            <a:noFill/>
            <a:ln w="9525">
              <a:noFill/>
              <a:miter lim="800000"/>
              <a:headEnd/>
              <a:tailEnd/>
            </a:ln>
          </p:spPr>
          <p:txBody>
            <a:bodyPr wrap="square" lIns="45720" tIns="22860" rIns="45720" bIns="22860">
              <a:spAutoFit/>
            </a:bodyPr>
            <a:lstStyle/>
            <a:p>
              <a:pPr algn="r" defTabSz="1088232"/>
              <a:r>
                <a:rPr lang="en-US" sz="1400" b="1">
                  <a:solidFill>
                    <a:schemeClr val="bg1"/>
                  </a:solidFill>
                  <a:latin typeface="+mj-lt"/>
                  <a:ea typeface="Open Sans" pitchFamily="34" charset="0"/>
                  <a:cs typeface="Open Sans" pitchFamily="34" charset="0"/>
                </a:rPr>
                <a:t>83%</a:t>
              </a:r>
              <a:endParaRPr lang="en-US" sz="1000">
                <a:solidFill>
                  <a:schemeClr val="bg1"/>
                </a:solidFill>
                <a:latin typeface="+mj-lt"/>
                <a:ea typeface="Open Sans" pitchFamily="34" charset="0"/>
                <a:cs typeface="Open Sans" pitchFamily="34" charset="0"/>
              </a:endParaRPr>
            </a:p>
          </p:txBody>
        </p:sp>
        <p:sp>
          <p:nvSpPr>
            <p:cNvPr id="34" name="Rectangle 27">
              <a:extLst>
                <a:ext uri="{FF2B5EF4-FFF2-40B4-BE49-F238E27FC236}">
                  <a16:creationId xmlns:a16="http://schemas.microsoft.com/office/drawing/2014/main" id="{C3B6C898-C14B-4A0B-A310-1CABA5333537}"/>
                </a:ext>
              </a:extLst>
            </p:cNvPr>
            <p:cNvSpPr/>
            <p:nvPr/>
          </p:nvSpPr>
          <p:spPr>
            <a:xfrm>
              <a:off x="2694078" y="5414259"/>
              <a:ext cx="2664489" cy="362818"/>
            </a:xfrm>
            <a:prstGeom prst="snip2Diag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5" name="Text Box 10">
              <a:extLst>
                <a:ext uri="{FF2B5EF4-FFF2-40B4-BE49-F238E27FC236}">
                  <a16:creationId xmlns:a16="http://schemas.microsoft.com/office/drawing/2014/main" id="{4BD69994-7E3E-4060-8389-EC4B2C60C973}"/>
                </a:ext>
              </a:extLst>
            </p:cNvPr>
            <p:cNvSpPr txBox="1">
              <a:spLocks noChangeArrowheads="1"/>
            </p:cNvSpPr>
            <p:nvPr/>
          </p:nvSpPr>
          <p:spPr bwMode="auto">
            <a:xfrm>
              <a:off x="4418893" y="5450373"/>
              <a:ext cx="856443" cy="261610"/>
            </a:xfrm>
            <a:prstGeom prst="rect">
              <a:avLst/>
            </a:prstGeom>
            <a:noFill/>
            <a:ln w="9525">
              <a:noFill/>
              <a:miter lim="800000"/>
              <a:headEnd/>
              <a:tailEnd/>
            </a:ln>
          </p:spPr>
          <p:txBody>
            <a:bodyPr wrap="square" lIns="45720" tIns="22860" rIns="45720" bIns="22860">
              <a:spAutoFit/>
            </a:bodyPr>
            <a:lstStyle/>
            <a:p>
              <a:pPr algn="r" defTabSz="1088232"/>
              <a:r>
                <a:rPr lang="en-US" sz="1400" b="1">
                  <a:solidFill>
                    <a:schemeClr val="bg1"/>
                  </a:solidFill>
                  <a:latin typeface="+mj-lt"/>
                  <a:ea typeface="Open Sans" pitchFamily="34" charset="0"/>
                  <a:cs typeface="Open Sans" pitchFamily="34" charset="0"/>
                </a:rPr>
                <a:t>68%</a:t>
              </a:r>
              <a:endParaRPr lang="en-US" sz="1000">
                <a:solidFill>
                  <a:schemeClr val="bg1"/>
                </a:solidFill>
                <a:latin typeface="+mj-lt"/>
                <a:ea typeface="Open Sans" pitchFamily="34" charset="0"/>
                <a:cs typeface="Open Sans" pitchFamily="34" charset="0"/>
              </a:endParaRPr>
            </a:p>
          </p:txBody>
        </p:sp>
        <p:sp>
          <p:nvSpPr>
            <p:cNvPr id="36" name="Rectangle 29">
              <a:extLst>
                <a:ext uri="{FF2B5EF4-FFF2-40B4-BE49-F238E27FC236}">
                  <a16:creationId xmlns:a16="http://schemas.microsoft.com/office/drawing/2014/main" id="{1F76703F-4417-40CE-AD75-E5E7DF221488}"/>
                </a:ext>
              </a:extLst>
            </p:cNvPr>
            <p:cNvSpPr/>
            <p:nvPr/>
          </p:nvSpPr>
          <p:spPr>
            <a:xfrm>
              <a:off x="3265039" y="5905089"/>
              <a:ext cx="2093527" cy="362818"/>
            </a:xfrm>
            <a:prstGeom prst="snip2DiagRect">
              <a:avLst/>
            </a:prstGeom>
            <a:solidFill>
              <a:srgbClr val="C4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7" name="Text Box 10">
              <a:extLst>
                <a:ext uri="{FF2B5EF4-FFF2-40B4-BE49-F238E27FC236}">
                  <a16:creationId xmlns:a16="http://schemas.microsoft.com/office/drawing/2014/main" id="{41740733-5E96-48C6-8E4C-94352F1B0AA2}"/>
                </a:ext>
              </a:extLst>
            </p:cNvPr>
            <p:cNvSpPr txBox="1">
              <a:spLocks noChangeArrowheads="1"/>
            </p:cNvSpPr>
            <p:nvPr/>
          </p:nvSpPr>
          <p:spPr bwMode="auto">
            <a:xfrm>
              <a:off x="4418893" y="5941202"/>
              <a:ext cx="856443" cy="261610"/>
            </a:xfrm>
            <a:prstGeom prst="rect">
              <a:avLst/>
            </a:prstGeom>
            <a:noFill/>
            <a:ln w="9525">
              <a:noFill/>
              <a:miter lim="800000"/>
              <a:headEnd/>
              <a:tailEnd/>
            </a:ln>
          </p:spPr>
          <p:txBody>
            <a:bodyPr wrap="square" lIns="45720" tIns="22860" rIns="45720" bIns="22860">
              <a:spAutoFit/>
            </a:bodyPr>
            <a:lstStyle/>
            <a:p>
              <a:pPr algn="r" defTabSz="1088232"/>
              <a:r>
                <a:rPr lang="en-US" sz="1400" b="1">
                  <a:solidFill>
                    <a:schemeClr val="bg1"/>
                  </a:solidFill>
                  <a:latin typeface="+mj-lt"/>
                  <a:ea typeface="Open Sans" pitchFamily="34" charset="0"/>
                  <a:cs typeface="Open Sans" pitchFamily="34" charset="0"/>
                </a:rPr>
                <a:t>68%</a:t>
              </a:r>
              <a:endParaRPr lang="en-US" sz="1000">
                <a:solidFill>
                  <a:schemeClr val="bg1"/>
                </a:solidFill>
                <a:latin typeface="+mj-lt"/>
                <a:ea typeface="Open Sans" pitchFamily="34" charset="0"/>
                <a:cs typeface="Open Sans" pitchFamily="34" charset="0"/>
              </a:endParaRPr>
            </a:p>
          </p:txBody>
        </p:sp>
        <p:grpSp>
          <p:nvGrpSpPr>
            <p:cNvPr id="53" name="组合 52">
              <a:extLst>
                <a:ext uri="{FF2B5EF4-FFF2-40B4-BE49-F238E27FC236}">
                  <a16:creationId xmlns:a16="http://schemas.microsoft.com/office/drawing/2014/main" id="{0F3C9038-E2C2-4B8D-8C21-427EBCF5F01A}"/>
                </a:ext>
              </a:extLst>
            </p:cNvPr>
            <p:cNvGrpSpPr/>
            <p:nvPr/>
          </p:nvGrpSpPr>
          <p:grpSpPr>
            <a:xfrm>
              <a:off x="469237" y="4050028"/>
              <a:ext cx="2741764" cy="2135076"/>
              <a:chOff x="466965" y="4050028"/>
              <a:chExt cx="2741764" cy="2135076"/>
            </a:xfrm>
          </p:grpSpPr>
          <p:sp>
            <p:nvSpPr>
              <p:cNvPr id="54" name="Text Box 10">
                <a:extLst>
                  <a:ext uri="{FF2B5EF4-FFF2-40B4-BE49-F238E27FC236}">
                    <a16:creationId xmlns:a16="http://schemas.microsoft.com/office/drawing/2014/main" id="{86F54B33-47E1-4AD1-9697-2BF8B80DCF87}"/>
                  </a:ext>
                </a:extLst>
              </p:cNvPr>
              <p:cNvSpPr txBox="1">
                <a:spLocks noChangeArrowheads="1"/>
              </p:cNvSpPr>
              <p:nvPr/>
            </p:nvSpPr>
            <p:spPr bwMode="auto">
              <a:xfrm>
                <a:off x="1739846" y="4050028"/>
                <a:ext cx="1468883" cy="215444"/>
              </a:xfrm>
              <a:prstGeom prst="rect">
                <a:avLst/>
              </a:prstGeom>
              <a:noFill/>
              <a:ln w="9525">
                <a:noFill/>
                <a:miter lim="800000"/>
                <a:headEnd/>
                <a:tailEnd/>
              </a:ln>
            </p:spPr>
            <p:txBody>
              <a:bodyPr wrap="square" lIns="45720" tIns="22860" rIns="45720" bIns="22860">
                <a:spAutoFit/>
              </a:bodyPr>
              <a:lstStyle/>
              <a:p>
                <a:pPr algn="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55" name="Text Box 10">
                <a:extLst>
                  <a:ext uri="{FF2B5EF4-FFF2-40B4-BE49-F238E27FC236}">
                    <a16:creationId xmlns:a16="http://schemas.microsoft.com/office/drawing/2014/main" id="{5F7564C9-7190-488E-9DD4-1E50B55682CD}"/>
                  </a:ext>
                </a:extLst>
              </p:cNvPr>
              <p:cNvSpPr txBox="1">
                <a:spLocks noChangeArrowheads="1"/>
              </p:cNvSpPr>
              <p:nvPr/>
            </p:nvSpPr>
            <p:spPr bwMode="auto">
              <a:xfrm>
                <a:off x="924882" y="4527227"/>
                <a:ext cx="1468883" cy="215444"/>
              </a:xfrm>
              <a:prstGeom prst="rect">
                <a:avLst/>
              </a:prstGeom>
              <a:noFill/>
              <a:ln w="9525">
                <a:noFill/>
                <a:miter lim="800000"/>
                <a:headEnd/>
                <a:tailEnd/>
              </a:ln>
            </p:spPr>
            <p:txBody>
              <a:bodyPr wrap="square" lIns="45720" tIns="22860" rIns="45720" bIns="22860">
                <a:spAutoFit/>
              </a:bodyPr>
              <a:lstStyle/>
              <a:p>
                <a:pPr algn="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56" name="Text Box 10">
                <a:extLst>
                  <a:ext uri="{FF2B5EF4-FFF2-40B4-BE49-F238E27FC236}">
                    <a16:creationId xmlns:a16="http://schemas.microsoft.com/office/drawing/2014/main" id="{19691A0F-DA8A-4834-94ED-2A877336E6FC}"/>
                  </a:ext>
                </a:extLst>
              </p:cNvPr>
              <p:cNvSpPr txBox="1">
                <a:spLocks noChangeArrowheads="1"/>
              </p:cNvSpPr>
              <p:nvPr/>
            </p:nvSpPr>
            <p:spPr bwMode="auto">
              <a:xfrm>
                <a:off x="466965" y="5018057"/>
                <a:ext cx="1468883" cy="215444"/>
              </a:xfrm>
              <a:prstGeom prst="rect">
                <a:avLst/>
              </a:prstGeom>
              <a:noFill/>
              <a:ln w="9525">
                <a:noFill/>
                <a:miter lim="800000"/>
                <a:headEnd/>
                <a:tailEnd/>
              </a:ln>
            </p:spPr>
            <p:txBody>
              <a:bodyPr wrap="square" lIns="45720" tIns="22860" rIns="45720" bIns="22860">
                <a:spAutoFit/>
              </a:bodyPr>
              <a:lstStyle/>
              <a:p>
                <a:pPr algn="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57" name="Text Box 10">
                <a:extLst>
                  <a:ext uri="{FF2B5EF4-FFF2-40B4-BE49-F238E27FC236}">
                    <a16:creationId xmlns:a16="http://schemas.microsoft.com/office/drawing/2014/main" id="{36F53389-CB61-4E88-93AD-CC31D32F937B}"/>
                  </a:ext>
                </a:extLst>
              </p:cNvPr>
              <p:cNvSpPr txBox="1">
                <a:spLocks noChangeArrowheads="1"/>
              </p:cNvSpPr>
              <p:nvPr/>
            </p:nvSpPr>
            <p:spPr bwMode="auto">
              <a:xfrm>
                <a:off x="1170160" y="5478830"/>
                <a:ext cx="1468883" cy="215444"/>
              </a:xfrm>
              <a:prstGeom prst="rect">
                <a:avLst/>
              </a:prstGeom>
              <a:noFill/>
              <a:ln w="9525">
                <a:noFill/>
                <a:miter lim="800000"/>
                <a:headEnd/>
                <a:tailEnd/>
              </a:ln>
            </p:spPr>
            <p:txBody>
              <a:bodyPr wrap="square" lIns="45720" tIns="22860" rIns="45720" bIns="22860">
                <a:spAutoFit/>
              </a:bodyPr>
              <a:lstStyle/>
              <a:p>
                <a:pPr algn="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58" name="Text Box 10">
                <a:extLst>
                  <a:ext uri="{FF2B5EF4-FFF2-40B4-BE49-F238E27FC236}">
                    <a16:creationId xmlns:a16="http://schemas.microsoft.com/office/drawing/2014/main" id="{7D61212A-3277-4F7C-9ED0-3C4F9E5EFA91}"/>
                  </a:ext>
                </a:extLst>
              </p:cNvPr>
              <p:cNvSpPr txBox="1">
                <a:spLocks noChangeArrowheads="1"/>
              </p:cNvSpPr>
              <p:nvPr/>
            </p:nvSpPr>
            <p:spPr bwMode="auto">
              <a:xfrm>
                <a:off x="1739846" y="5969660"/>
                <a:ext cx="1468883" cy="215444"/>
              </a:xfrm>
              <a:prstGeom prst="rect">
                <a:avLst/>
              </a:prstGeom>
              <a:noFill/>
              <a:ln w="9525">
                <a:noFill/>
                <a:miter lim="800000"/>
                <a:headEnd/>
                <a:tailEnd/>
              </a:ln>
            </p:spPr>
            <p:txBody>
              <a:bodyPr wrap="square" lIns="45720" tIns="22860" rIns="45720" bIns="22860">
                <a:spAutoFit/>
              </a:bodyPr>
              <a:lstStyle/>
              <a:p>
                <a:pPr algn="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grpSp>
      </p:grpSp>
      <p:grpSp>
        <p:nvGrpSpPr>
          <p:cNvPr id="47" name="Group 541">
            <a:extLst>
              <a:ext uri="{FF2B5EF4-FFF2-40B4-BE49-F238E27FC236}">
                <a16:creationId xmlns:a16="http://schemas.microsoft.com/office/drawing/2014/main" id="{B0F08F3B-9914-45CF-BA07-52836E39C084}"/>
              </a:ext>
            </a:extLst>
          </p:cNvPr>
          <p:cNvGrpSpPr>
            <a:grpSpLocks noChangeAspect="1"/>
          </p:cNvGrpSpPr>
          <p:nvPr/>
        </p:nvGrpSpPr>
        <p:grpSpPr bwMode="auto">
          <a:xfrm>
            <a:off x="4742644" y="821042"/>
            <a:ext cx="1188720" cy="1188720"/>
            <a:chOff x="5326" y="2494"/>
            <a:chExt cx="340" cy="340"/>
          </a:xfrm>
          <a:solidFill>
            <a:schemeClr val="bg1"/>
          </a:solidFill>
        </p:grpSpPr>
        <p:sp>
          <p:nvSpPr>
            <p:cNvPr id="48" name="Freeform 542">
              <a:extLst>
                <a:ext uri="{FF2B5EF4-FFF2-40B4-BE49-F238E27FC236}">
                  <a16:creationId xmlns:a16="http://schemas.microsoft.com/office/drawing/2014/main" id="{7B7F4374-2488-456A-833C-FB5E7E528CC1}"/>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543">
              <a:extLst>
                <a:ext uri="{FF2B5EF4-FFF2-40B4-BE49-F238E27FC236}">
                  <a16:creationId xmlns:a16="http://schemas.microsoft.com/office/drawing/2014/main" id="{523F5673-021D-4024-B4EC-A32F5163E1CC}"/>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0" name="Group 49">
            <a:extLst>
              <a:ext uri="{FF2B5EF4-FFF2-40B4-BE49-F238E27FC236}">
                <a16:creationId xmlns:a16="http://schemas.microsoft.com/office/drawing/2014/main" id="{D1D59C85-A2ED-439D-8840-213ABB7510CB}"/>
              </a:ext>
            </a:extLst>
          </p:cNvPr>
          <p:cNvGrpSpPr/>
          <p:nvPr/>
        </p:nvGrpSpPr>
        <p:grpSpPr>
          <a:xfrm>
            <a:off x="6294972" y="843600"/>
            <a:ext cx="1188719" cy="1188719"/>
            <a:chOff x="3306294" y="3523460"/>
            <a:chExt cx="434188" cy="435261"/>
          </a:xfrm>
          <a:solidFill>
            <a:schemeClr val="bg1"/>
          </a:solidFill>
        </p:grpSpPr>
        <p:sp>
          <p:nvSpPr>
            <p:cNvPr id="51" name="Freeform 5">
              <a:extLst>
                <a:ext uri="{FF2B5EF4-FFF2-40B4-BE49-F238E27FC236}">
                  <a16:creationId xmlns:a16="http://schemas.microsoft.com/office/drawing/2014/main" id="{C3154459-98D1-4DB4-B4B6-8BF0270FD965}"/>
                </a:ext>
              </a:extLst>
            </p:cNvPr>
            <p:cNvSpPr>
              <a:spLocks noEditPoints="1"/>
            </p:cNvSpPr>
            <p:nvPr/>
          </p:nvSpPr>
          <p:spPr bwMode="auto">
            <a:xfrm>
              <a:off x="3408834" y="3577733"/>
              <a:ext cx="214949" cy="311912"/>
            </a:xfrm>
            <a:custGeom>
              <a:avLst/>
              <a:gdLst>
                <a:gd name="T0" fmla="*/ 851 w 1666"/>
                <a:gd name="T1" fmla="*/ 1061 h 2414"/>
                <a:gd name="T2" fmla="*/ 851 w 1666"/>
                <a:gd name="T3" fmla="*/ 1061 h 2414"/>
                <a:gd name="T4" fmla="*/ 859 w 1666"/>
                <a:gd name="T5" fmla="*/ 1061 h 2414"/>
                <a:gd name="T6" fmla="*/ 908 w 1666"/>
                <a:gd name="T7" fmla="*/ 1106 h 2414"/>
                <a:gd name="T8" fmla="*/ 1123 w 1666"/>
                <a:gd name="T9" fmla="*/ 1562 h 2414"/>
                <a:gd name="T10" fmla="*/ 1280 w 1666"/>
                <a:gd name="T11" fmla="*/ 2237 h 2414"/>
                <a:gd name="T12" fmla="*/ 1542 w 1666"/>
                <a:gd name="T13" fmla="*/ 1725 h 2414"/>
                <a:gd name="T14" fmla="*/ 1480 w 1666"/>
                <a:gd name="T15" fmla="*/ 1298 h 2414"/>
                <a:gd name="T16" fmla="*/ 1327 w 1666"/>
                <a:gd name="T17" fmla="*/ 984 h 2414"/>
                <a:gd name="T18" fmla="*/ 1216 w 1666"/>
                <a:gd name="T19" fmla="*/ 1211 h 2414"/>
                <a:gd name="T20" fmla="*/ 1075 w 1666"/>
                <a:gd name="T21" fmla="*/ 1097 h 2414"/>
                <a:gd name="T22" fmla="*/ 1036 w 1666"/>
                <a:gd name="T23" fmla="*/ 789 h 2414"/>
                <a:gd name="T24" fmla="*/ 855 w 1666"/>
                <a:gd name="T25" fmla="*/ 228 h 2414"/>
                <a:gd name="T26" fmla="*/ 800 w 1666"/>
                <a:gd name="T27" fmla="*/ 166 h 2414"/>
                <a:gd name="T28" fmla="*/ 433 w 1666"/>
                <a:gd name="T29" fmla="*/ 1153 h 2414"/>
                <a:gd name="T30" fmla="*/ 286 w 1666"/>
                <a:gd name="T31" fmla="*/ 1979 h 2414"/>
                <a:gd name="T32" fmla="*/ 474 w 1666"/>
                <a:gd name="T33" fmla="*/ 2228 h 2414"/>
                <a:gd name="T34" fmla="*/ 498 w 1666"/>
                <a:gd name="T35" fmla="*/ 1729 h 2414"/>
                <a:gd name="T36" fmla="*/ 800 w 1666"/>
                <a:gd name="T37" fmla="*/ 1092 h 2414"/>
                <a:gd name="T38" fmla="*/ 851 w 1666"/>
                <a:gd name="T39" fmla="*/ 1061 h 2414"/>
                <a:gd name="T40" fmla="*/ 851 w 1666"/>
                <a:gd name="T41" fmla="*/ 1061 h 2414"/>
                <a:gd name="T42" fmla="*/ 578 w 1666"/>
                <a:gd name="T43" fmla="*/ 2298 h 2414"/>
                <a:gd name="T44" fmla="*/ 578 w 1666"/>
                <a:gd name="T45" fmla="*/ 2298 h 2414"/>
                <a:gd name="T46" fmla="*/ 578 w 1666"/>
                <a:gd name="T47" fmla="*/ 2298 h 2414"/>
                <a:gd name="T48" fmla="*/ 578 w 1666"/>
                <a:gd name="T49" fmla="*/ 2298 h 2414"/>
                <a:gd name="T50" fmla="*/ 578 w 1666"/>
                <a:gd name="T51" fmla="*/ 2298 h 2414"/>
                <a:gd name="T52" fmla="*/ 578 w 1666"/>
                <a:gd name="T53" fmla="*/ 2298 h 2414"/>
                <a:gd name="T54" fmla="*/ 578 w 1666"/>
                <a:gd name="T55" fmla="*/ 2298 h 2414"/>
                <a:gd name="T56" fmla="*/ 578 w 1666"/>
                <a:gd name="T57" fmla="*/ 2298 h 2414"/>
                <a:gd name="T58" fmla="*/ 578 w 1666"/>
                <a:gd name="T59" fmla="*/ 2298 h 2414"/>
                <a:gd name="T60" fmla="*/ 563 w 1666"/>
                <a:gd name="T61" fmla="*/ 2410 h 2414"/>
                <a:gd name="T62" fmla="*/ 563 w 1666"/>
                <a:gd name="T63" fmla="*/ 2410 h 2414"/>
                <a:gd name="T64" fmla="*/ 524 w 1666"/>
                <a:gd name="T65" fmla="*/ 2400 h 2414"/>
                <a:gd name="T66" fmla="*/ 181 w 1666"/>
                <a:gd name="T67" fmla="*/ 2029 h 2414"/>
                <a:gd name="T68" fmla="*/ 339 w 1666"/>
                <a:gd name="T69" fmla="*/ 1085 h 2414"/>
                <a:gd name="T70" fmla="*/ 682 w 1666"/>
                <a:gd name="T71" fmla="*/ 95 h 2414"/>
                <a:gd name="T72" fmla="*/ 725 w 1666"/>
                <a:gd name="T73" fmla="*/ 16 h 2414"/>
                <a:gd name="T74" fmla="*/ 815 w 1666"/>
                <a:gd name="T75" fmla="*/ 23 h 2414"/>
                <a:gd name="T76" fmla="*/ 947 w 1666"/>
                <a:gd name="T77" fmla="*/ 158 h 2414"/>
                <a:gd name="T78" fmla="*/ 1153 w 1666"/>
                <a:gd name="T79" fmla="*/ 789 h 2414"/>
                <a:gd name="T80" fmla="*/ 1184 w 1666"/>
                <a:gd name="T81" fmla="*/ 1056 h 2414"/>
                <a:gd name="T82" fmla="*/ 1195 w 1666"/>
                <a:gd name="T83" fmla="*/ 1079 h 2414"/>
                <a:gd name="T84" fmla="*/ 1209 w 1666"/>
                <a:gd name="T85" fmla="*/ 903 h 2414"/>
                <a:gd name="T86" fmla="*/ 1255 w 1666"/>
                <a:gd name="T87" fmla="*/ 823 h 2414"/>
                <a:gd name="T88" fmla="*/ 1346 w 1666"/>
                <a:gd name="T89" fmla="*/ 835 h 2414"/>
                <a:gd name="T90" fmla="*/ 1591 w 1666"/>
                <a:gd name="T91" fmla="*/ 1262 h 2414"/>
                <a:gd name="T92" fmla="*/ 1658 w 1666"/>
                <a:gd name="T93" fmla="*/ 1733 h 2414"/>
                <a:gd name="T94" fmla="*/ 1239 w 1666"/>
                <a:gd name="T95" fmla="*/ 2397 h 2414"/>
                <a:gd name="T96" fmla="*/ 1141 w 1666"/>
                <a:gd name="T97" fmla="*/ 2380 h 2414"/>
                <a:gd name="T98" fmla="*/ 1131 w 1666"/>
                <a:gd name="T99" fmla="*/ 2280 h 2414"/>
                <a:gd name="T100" fmla="*/ 1029 w 1666"/>
                <a:gd name="T101" fmla="*/ 1630 h 2414"/>
                <a:gd name="T102" fmla="*/ 839 w 1666"/>
                <a:gd name="T103" fmla="*/ 1273 h 2414"/>
                <a:gd name="T104" fmla="*/ 604 w 1666"/>
                <a:gd name="T105" fmla="*/ 1777 h 2414"/>
                <a:gd name="T106" fmla="*/ 632 w 1666"/>
                <a:gd name="T107" fmla="*/ 2282 h 2414"/>
                <a:gd name="T108" fmla="*/ 624 w 1666"/>
                <a:gd name="T109" fmla="*/ 2383 h 2414"/>
                <a:gd name="T110" fmla="*/ 563 w 1666"/>
                <a:gd name="T111" fmla="*/ 2410 h 2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6" h="2414">
                  <a:moveTo>
                    <a:pt x="851" y="1061"/>
                  </a:moveTo>
                  <a:lnTo>
                    <a:pt x="851" y="1061"/>
                  </a:lnTo>
                  <a:cubicBezTo>
                    <a:pt x="854" y="1061"/>
                    <a:pt x="856" y="1061"/>
                    <a:pt x="859" y="1061"/>
                  </a:cubicBezTo>
                  <a:cubicBezTo>
                    <a:pt x="883" y="1064"/>
                    <a:pt x="902" y="1082"/>
                    <a:pt x="908" y="1106"/>
                  </a:cubicBezTo>
                  <a:cubicBezTo>
                    <a:pt x="909" y="1108"/>
                    <a:pt x="968" y="1350"/>
                    <a:pt x="1123" y="1562"/>
                  </a:cubicBezTo>
                  <a:cubicBezTo>
                    <a:pt x="1294" y="1797"/>
                    <a:pt x="1349" y="2036"/>
                    <a:pt x="1280" y="2237"/>
                  </a:cubicBezTo>
                  <a:cubicBezTo>
                    <a:pt x="1440" y="2121"/>
                    <a:pt x="1528" y="1949"/>
                    <a:pt x="1542" y="1725"/>
                  </a:cubicBezTo>
                  <a:cubicBezTo>
                    <a:pt x="1549" y="1639"/>
                    <a:pt x="1543" y="1495"/>
                    <a:pt x="1480" y="1298"/>
                  </a:cubicBezTo>
                  <a:cubicBezTo>
                    <a:pt x="1430" y="1142"/>
                    <a:pt x="1373" y="1044"/>
                    <a:pt x="1327" y="984"/>
                  </a:cubicBezTo>
                  <a:cubicBezTo>
                    <a:pt x="1322" y="1115"/>
                    <a:pt x="1283" y="1196"/>
                    <a:pt x="1216" y="1211"/>
                  </a:cubicBezTo>
                  <a:cubicBezTo>
                    <a:pt x="1189" y="1216"/>
                    <a:pt x="1120" y="1217"/>
                    <a:pt x="1075" y="1097"/>
                  </a:cubicBezTo>
                  <a:cubicBezTo>
                    <a:pt x="1050" y="1030"/>
                    <a:pt x="1036" y="921"/>
                    <a:pt x="1036" y="789"/>
                  </a:cubicBezTo>
                  <a:cubicBezTo>
                    <a:pt x="1036" y="581"/>
                    <a:pt x="972" y="381"/>
                    <a:pt x="855" y="228"/>
                  </a:cubicBezTo>
                  <a:cubicBezTo>
                    <a:pt x="838" y="206"/>
                    <a:pt x="820" y="185"/>
                    <a:pt x="800" y="166"/>
                  </a:cubicBezTo>
                  <a:cubicBezTo>
                    <a:pt x="799" y="359"/>
                    <a:pt x="746" y="727"/>
                    <a:pt x="433" y="1153"/>
                  </a:cubicBezTo>
                  <a:cubicBezTo>
                    <a:pt x="132" y="1573"/>
                    <a:pt x="244" y="1892"/>
                    <a:pt x="286" y="1979"/>
                  </a:cubicBezTo>
                  <a:cubicBezTo>
                    <a:pt x="334" y="2081"/>
                    <a:pt x="397" y="2164"/>
                    <a:pt x="474" y="2228"/>
                  </a:cubicBezTo>
                  <a:cubicBezTo>
                    <a:pt x="425" y="2101"/>
                    <a:pt x="407" y="1931"/>
                    <a:pt x="498" y="1729"/>
                  </a:cubicBezTo>
                  <a:cubicBezTo>
                    <a:pt x="683" y="1315"/>
                    <a:pt x="799" y="1094"/>
                    <a:pt x="800" y="1092"/>
                  </a:cubicBezTo>
                  <a:cubicBezTo>
                    <a:pt x="810" y="1073"/>
                    <a:pt x="830" y="1061"/>
                    <a:pt x="851" y="1061"/>
                  </a:cubicBezTo>
                  <a:lnTo>
                    <a:pt x="851" y="1061"/>
                  </a:lnTo>
                  <a:close/>
                  <a:moveTo>
                    <a:pt x="578" y="2298"/>
                  </a:moveTo>
                  <a:lnTo>
                    <a:pt x="578" y="2298"/>
                  </a:lnTo>
                  <a:cubicBezTo>
                    <a:pt x="578" y="2298"/>
                    <a:pt x="578" y="2298"/>
                    <a:pt x="578" y="2298"/>
                  </a:cubicBezTo>
                  <a:cubicBezTo>
                    <a:pt x="578" y="2298"/>
                    <a:pt x="578" y="2298"/>
                    <a:pt x="578" y="2298"/>
                  </a:cubicBezTo>
                  <a:lnTo>
                    <a:pt x="578" y="2298"/>
                  </a:lnTo>
                  <a:close/>
                  <a:moveTo>
                    <a:pt x="578" y="2298"/>
                  </a:moveTo>
                  <a:lnTo>
                    <a:pt x="578" y="2298"/>
                  </a:lnTo>
                  <a:lnTo>
                    <a:pt x="578" y="2298"/>
                  </a:lnTo>
                  <a:lnTo>
                    <a:pt x="578" y="2298"/>
                  </a:lnTo>
                  <a:close/>
                  <a:moveTo>
                    <a:pt x="563" y="2410"/>
                  </a:moveTo>
                  <a:lnTo>
                    <a:pt x="563" y="2410"/>
                  </a:lnTo>
                  <a:cubicBezTo>
                    <a:pt x="550" y="2410"/>
                    <a:pt x="536" y="2407"/>
                    <a:pt x="524" y="2400"/>
                  </a:cubicBezTo>
                  <a:cubicBezTo>
                    <a:pt x="375" y="2322"/>
                    <a:pt x="260" y="2197"/>
                    <a:pt x="181" y="2029"/>
                  </a:cubicBezTo>
                  <a:cubicBezTo>
                    <a:pt x="132" y="1927"/>
                    <a:pt x="0" y="1557"/>
                    <a:pt x="339" y="1085"/>
                  </a:cubicBezTo>
                  <a:cubicBezTo>
                    <a:pt x="680" y="621"/>
                    <a:pt x="692" y="238"/>
                    <a:pt x="682" y="95"/>
                  </a:cubicBezTo>
                  <a:cubicBezTo>
                    <a:pt x="679" y="62"/>
                    <a:pt x="697" y="31"/>
                    <a:pt x="725" y="16"/>
                  </a:cubicBezTo>
                  <a:cubicBezTo>
                    <a:pt x="754" y="0"/>
                    <a:pt x="790" y="3"/>
                    <a:pt x="815" y="23"/>
                  </a:cubicBezTo>
                  <a:cubicBezTo>
                    <a:pt x="863" y="61"/>
                    <a:pt x="908" y="106"/>
                    <a:pt x="947" y="158"/>
                  </a:cubicBezTo>
                  <a:cubicBezTo>
                    <a:pt x="1080" y="331"/>
                    <a:pt x="1153" y="555"/>
                    <a:pt x="1153" y="789"/>
                  </a:cubicBezTo>
                  <a:cubicBezTo>
                    <a:pt x="1153" y="905"/>
                    <a:pt x="1164" y="1002"/>
                    <a:pt x="1184" y="1056"/>
                  </a:cubicBezTo>
                  <a:cubicBezTo>
                    <a:pt x="1188" y="1065"/>
                    <a:pt x="1191" y="1073"/>
                    <a:pt x="1195" y="1079"/>
                  </a:cubicBezTo>
                  <a:cubicBezTo>
                    <a:pt x="1205" y="1051"/>
                    <a:pt x="1215" y="996"/>
                    <a:pt x="1209" y="903"/>
                  </a:cubicBezTo>
                  <a:cubicBezTo>
                    <a:pt x="1207" y="869"/>
                    <a:pt x="1225" y="838"/>
                    <a:pt x="1255" y="823"/>
                  </a:cubicBezTo>
                  <a:cubicBezTo>
                    <a:pt x="1285" y="808"/>
                    <a:pt x="1321" y="813"/>
                    <a:pt x="1346" y="835"/>
                  </a:cubicBezTo>
                  <a:cubicBezTo>
                    <a:pt x="1415" y="895"/>
                    <a:pt x="1513" y="1017"/>
                    <a:pt x="1591" y="1262"/>
                  </a:cubicBezTo>
                  <a:cubicBezTo>
                    <a:pt x="1660" y="1478"/>
                    <a:pt x="1666" y="1637"/>
                    <a:pt x="1658" y="1733"/>
                  </a:cubicBezTo>
                  <a:cubicBezTo>
                    <a:pt x="1635" y="2117"/>
                    <a:pt x="1417" y="2306"/>
                    <a:pt x="1239" y="2397"/>
                  </a:cubicBezTo>
                  <a:cubicBezTo>
                    <a:pt x="1206" y="2414"/>
                    <a:pt x="1166" y="2407"/>
                    <a:pt x="1141" y="2380"/>
                  </a:cubicBezTo>
                  <a:cubicBezTo>
                    <a:pt x="1115" y="2352"/>
                    <a:pt x="1111" y="2312"/>
                    <a:pt x="1131" y="2280"/>
                  </a:cubicBezTo>
                  <a:cubicBezTo>
                    <a:pt x="1182" y="2197"/>
                    <a:pt x="1274" y="1967"/>
                    <a:pt x="1029" y="1630"/>
                  </a:cubicBezTo>
                  <a:cubicBezTo>
                    <a:pt x="936" y="1504"/>
                    <a:pt x="876" y="1370"/>
                    <a:pt x="839" y="1273"/>
                  </a:cubicBezTo>
                  <a:cubicBezTo>
                    <a:pt x="788" y="1378"/>
                    <a:pt x="707" y="1547"/>
                    <a:pt x="604" y="1777"/>
                  </a:cubicBezTo>
                  <a:cubicBezTo>
                    <a:pt x="503" y="2002"/>
                    <a:pt x="564" y="2176"/>
                    <a:pt x="632" y="2282"/>
                  </a:cubicBezTo>
                  <a:cubicBezTo>
                    <a:pt x="653" y="2315"/>
                    <a:pt x="650" y="2355"/>
                    <a:pt x="624" y="2383"/>
                  </a:cubicBezTo>
                  <a:cubicBezTo>
                    <a:pt x="607" y="2401"/>
                    <a:pt x="585" y="2410"/>
                    <a:pt x="563" y="24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6">
              <a:extLst>
                <a:ext uri="{FF2B5EF4-FFF2-40B4-BE49-F238E27FC236}">
                  <a16:creationId xmlns:a16="http://schemas.microsoft.com/office/drawing/2014/main" id="{D281BABD-C7C0-4C08-911A-018B9F95EE79}"/>
                </a:ext>
              </a:extLst>
            </p:cNvPr>
            <p:cNvSpPr>
              <a:spLocks noEditPoints="1"/>
            </p:cNvSpPr>
            <p:nvPr/>
          </p:nvSpPr>
          <p:spPr bwMode="auto">
            <a:xfrm>
              <a:off x="3306294" y="3523460"/>
              <a:ext cx="434188" cy="435261"/>
            </a:xfrm>
            <a:custGeom>
              <a:avLst/>
              <a:gdLst>
                <a:gd name="T0" fmla="*/ 1684 w 3367"/>
                <a:gd name="T1" fmla="*/ 138 h 3367"/>
                <a:gd name="T2" fmla="*/ 1684 w 3367"/>
                <a:gd name="T3" fmla="*/ 138 h 3367"/>
                <a:gd name="T4" fmla="*/ 3223 w 3367"/>
                <a:gd name="T5" fmla="*/ 1683 h 3367"/>
                <a:gd name="T6" fmla="*/ 1684 w 3367"/>
                <a:gd name="T7" fmla="*/ 3222 h 3367"/>
                <a:gd name="T8" fmla="*/ 139 w 3367"/>
                <a:gd name="T9" fmla="*/ 1683 h 3367"/>
                <a:gd name="T10" fmla="*/ 1684 w 3367"/>
                <a:gd name="T11" fmla="*/ 138 h 3367"/>
                <a:gd name="T12" fmla="*/ 1684 w 3367"/>
                <a:gd name="T13" fmla="*/ 0 h 3367"/>
                <a:gd name="T14" fmla="*/ 1684 w 3367"/>
                <a:gd name="T15" fmla="*/ 0 h 3367"/>
                <a:gd name="T16" fmla="*/ 0 w 3367"/>
                <a:gd name="T17" fmla="*/ 1683 h 3367"/>
                <a:gd name="T18" fmla="*/ 1684 w 3367"/>
                <a:gd name="T19" fmla="*/ 3367 h 3367"/>
                <a:gd name="T20" fmla="*/ 3367 w 3367"/>
                <a:gd name="T21" fmla="*/ 1683 h 3367"/>
                <a:gd name="T22" fmla="*/ 1684 w 3367"/>
                <a:gd name="T23" fmla="*/ 0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7" h="3367">
                  <a:moveTo>
                    <a:pt x="1684" y="138"/>
                  </a:moveTo>
                  <a:lnTo>
                    <a:pt x="1684" y="138"/>
                  </a:lnTo>
                  <a:cubicBezTo>
                    <a:pt x="2532" y="138"/>
                    <a:pt x="3223" y="828"/>
                    <a:pt x="3223" y="1683"/>
                  </a:cubicBezTo>
                  <a:cubicBezTo>
                    <a:pt x="3223" y="2531"/>
                    <a:pt x="2532" y="3222"/>
                    <a:pt x="1684" y="3222"/>
                  </a:cubicBezTo>
                  <a:cubicBezTo>
                    <a:pt x="829" y="3222"/>
                    <a:pt x="139" y="2531"/>
                    <a:pt x="139" y="1683"/>
                  </a:cubicBezTo>
                  <a:cubicBezTo>
                    <a:pt x="139" y="828"/>
                    <a:pt x="829" y="138"/>
                    <a:pt x="1684" y="138"/>
                  </a:cubicBezTo>
                  <a:close/>
                  <a:moveTo>
                    <a:pt x="1684" y="0"/>
                  </a:moveTo>
                  <a:lnTo>
                    <a:pt x="1684" y="0"/>
                  </a:lnTo>
                  <a:cubicBezTo>
                    <a:pt x="750" y="0"/>
                    <a:pt x="0" y="749"/>
                    <a:pt x="0" y="1683"/>
                  </a:cubicBezTo>
                  <a:cubicBezTo>
                    <a:pt x="0" y="2610"/>
                    <a:pt x="750" y="3367"/>
                    <a:pt x="1684" y="3367"/>
                  </a:cubicBezTo>
                  <a:cubicBezTo>
                    <a:pt x="2611" y="3367"/>
                    <a:pt x="3367" y="2610"/>
                    <a:pt x="3367" y="1683"/>
                  </a:cubicBezTo>
                  <a:cubicBezTo>
                    <a:pt x="3367" y="749"/>
                    <a:pt x="2611" y="0"/>
                    <a:pt x="16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966721775"/>
      </p:ext>
    </p:extLst>
  </p:cSld>
  <p:clrMapOvr>
    <a:masterClrMapping/>
  </p:clrMapOvr>
  <p:transition>
    <p:fade/>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83266B7-3FD7-4A7E-AE0D-D44C3237511A}"/>
              </a:ext>
            </a:extLst>
          </p:cNvPr>
          <p:cNvGrpSpPr/>
          <p:nvPr/>
        </p:nvGrpSpPr>
        <p:grpSpPr>
          <a:xfrm>
            <a:off x="962257" y="595312"/>
            <a:ext cx="10267486" cy="5058609"/>
            <a:chOff x="1802791" y="1103313"/>
            <a:chExt cx="8273448" cy="4076182"/>
          </a:xfrm>
        </p:grpSpPr>
        <p:sp>
          <p:nvSpPr>
            <p:cNvPr id="15" name="Freeform 7"/>
            <p:cNvSpPr>
              <a:spLocks/>
            </p:cNvSpPr>
            <p:nvPr/>
          </p:nvSpPr>
          <p:spPr bwMode="auto">
            <a:xfrm>
              <a:off x="7650974" y="1523019"/>
              <a:ext cx="7944" cy="0"/>
            </a:xfrm>
            <a:custGeom>
              <a:avLst/>
              <a:gdLst>
                <a:gd name="T0" fmla="*/ 0 w 10"/>
                <a:gd name="T1" fmla="*/ 0 w 10"/>
                <a:gd name="T2" fmla="*/ 10 w 10"/>
                <a:gd name="T3" fmla="*/ 0 w 10"/>
              </a:gdLst>
              <a:ahLst/>
              <a:cxnLst>
                <a:cxn ang="0">
                  <a:pos x="T0" y="0"/>
                </a:cxn>
                <a:cxn ang="0">
                  <a:pos x="T1" y="0"/>
                </a:cxn>
                <a:cxn ang="0">
                  <a:pos x="T2" y="0"/>
                </a:cxn>
                <a:cxn ang="0">
                  <a:pos x="T3" y="0"/>
                </a:cxn>
              </a:cxnLst>
              <a:rect l="0" t="0" r="r" b="b"/>
              <a:pathLst>
                <a:path w="10">
                  <a:moveTo>
                    <a:pt x="0" y="0"/>
                  </a:moveTo>
                  <a:lnTo>
                    <a:pt x="0" y="0"/>
                  </a:lnTo>
                  <a:lnTo>
                    <a:pt x="10" y="0"/>
                  </a:lnTo>
                  <a:lnTo>
                    <a:pt x="0" y="0"/>
                  </a:lnTo>
                  <a:close/>
                </a:path>
              </a:pathLst>
            </a:custGeom>
            <a:solidFill>
              <a:srgbClr val="F157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16" name="Rectangle 9"/>
            <p:cNvSpPr>
              <a:spLocks noChangeArrowheads="1"/>
            </p:cNvSpPr>
            <p:nvPr/>
          </p:nvSpPr>
          <p:spPr bwMode="auto">
            <a:xfrm>
              <a:off x="7105243" y="2210940"/>
              <a:ext cx="794" cy="795"/>
            </a:xfrm>
            <a:prstGeom prst="rect">
              <a:avLst/>
            </a:prstGeom>
            <a:solidFill>
              <a:srgbClr val="FAA2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17" name="Rectangle 11"/>
            <p:cNvSpPr>
              <a:spLocks noChangeArrowheads="1"/>
            </p:cNvSpPr>
            <p:nvPr/>
          </p:nvSpPr>
          <p:spPr bwMode="auto">
            <a:xfrm>
              <a:off x="8078343" y="2891713"/>
              <a:ext cx="794" cy="795"/>
            </a:xfrm>
            <a:prstGeom prst="rect">
              <a:avLst/>
            </a:prstGeom>
            <a:solidFill>
              <a:srgbClr val="7192A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18" name="Rectangle 13"/>
            <p:cNvSpPr>
              <a:spLocks noChangeArrowheads="1"/>
            </p:cNvSpPr>
            <p:nvPr/>
          </p:nvSpPr>
          <p:spPr bwMode="auto">
            <a:xfrm>
              <a:off x="7413457" y="3563748"/>
              <a:ext cx="794" cy="795"/>
            </a:xfrm>
            <a:prstGeom prst="rect">
              <a:avLst/>
            </a:prstGeom>
            <a:solidFill>
              <a:srgbClr val="29BC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9" name="TextBox 155"/>
            <p:cNvSpPr txBox="1"/>
            <p:nvPr/>
          </p:nvSpPr>
          <p:spPr bwMode="auto">
            <a:xfrm>
              <a:off x="2623015" y="2076106"/>
              <a:ext cx="1690300" cy="322405"/>
            </a:xfrm>
            <a:prstGeom prst="rect">
              <a:avLst/>
            </a:prstGeom>
            <a:noFill/>
          </p:spPr>
          <p:txBody>
            <a:bodyPr wrap="none">
              <a:spAutoFit/>
            </a:bodyPr>
            <a:lstStyle/>
            <a:p>
              <a:r>
                <a:rPr lang="en-US" altLang="zh-CN" sz="2000" b="1" dirty="0">
                  <a:solidFill>
                    <a:schemeClr val="bg1"/>
                  </a:solidFill>
                </a:rPr>
                <a:t>Lorem ipsum </a:t>
              </a:r>
              <a:r>
                <a:rPr lang="en-US" altLang="zh-CN" sz="2000" b="1" dirty="0" err="1">
                  <a:solidFill>
                    <a:schemeClr val="bg1"/>
                  </a:solidFill>
                </a:rPr>
                <a:t>dolo</a:t>
              </a:r>
              <a:endParaRPr lang="zh-CN" altLang="en-US" sz="2000" b="1" dirty="0">
                <a:solidFill>
                  <a:schemeClr val="bg1"/>
                </a:solidFill>
              </a:endParaRPr>
            </a:p>
          </p:txBody>
        </p:sp>
        <p:sp>
          <p:nvSpPr>
            <p:cNvPr id="30" name="TextBox 156"/>
            <p:cNvSpPr txBox="1"/>
            <p:nvPr/>
          </p:nvSpPr>
          <p:spPr>
            <a:xfrm>
              <a:off x="2623015" y="2362120"/>
              <a:ext cx="1765585" cy="238069"/>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nvGrpSpPr>
            <p:cNvPr id="31" name="กลุ่ม 157"/>
            <p:cNvGrpSpPr/>
            <p:nvPr/>
          </p:nvGrpSpPr>
          <p:grpSpPr>
            <a:xfrm>
              <a:off x="4359116" y="1574184"/>
              <a:ext cx="3473767" cy="1400469"/>
              <a:chOff x="9672277" y="3190017"/>
              <a:chExt cx="8355651" cy="3368629"/>
            </a:xfrm>
          </p:grpSpPr>
          <p:sp>
            <p:nvSpPr>
              <p:cNvPr id="32" name="Freeform 6"/>
              <p:cNvSpPr>
                <a:spLocks/>
              </p:cNvSpPr>
              <p:nvPr/>
            </p:nvSpPr>
            <p:spPr bwMode="auto">
              <a:xfrm>
                <a:off x="9672277" y="3190017"/>
                <a:ext cx="8355651" cy="3368629"/>
              </a:xfrm>
              <a:custGeom>
                <a:avLst/>
                <a:gdLst>
                  <a:gd name="T0" fmla="*/ 416 w 439"/>
                  <a:gd name="T1" fmla="*/ 0 h 177"/>
                  <a:gd name="T2" fmla="*/ 367 w 439"/>
                  <a:gd name="T3" fmla="*/ 2 h 177"/>
                  <a:gd name="T4" fmla="*/ 367 w 439"/>
                  <a:gd name="T5" fmla="*/ 2 h 177"/>
                  <a:gd name="T6" fmla="*/ 332 w 439"/>
                  <a:gd name="T7" fmla="*/ 3 h 177"/>
                  <a:gd name="T8" fmla="*/ 296 w 439"/>
                  <a:gd name="T9" fmla="*/ 52 h 177"/>
                  <a:gd name="T10" fmla="*/ 334 w 439"/>
                  <a:gd name="T11" fmla="*/ 51 h 177"/>
                  <a:gd name="T12" fmla="*/ 315 w 439"/>
                  <a:gd name="T13" fmla="*/ 75 h 177"/>
                  <a:gd name="T14" fmla="*/ 280 w 439"/>
                  <a:gd name="T15" fmla="*/ 88 h 177"/>
                  <a:gd name="T16" fmla="*/ 280 w 439"/>
                  <a:gd name="T17" fmla="*/ 89 h 177"/>
                  <a:gd name="T18" fmla="*/ 15 w 439"/>
                  <a:gd name="T19" fmla="*/ 89 h 177"/>
                  <a:gd name="T20" fmla="*/ 0 w 439"/>
                  <a:gd name="T21" fmla="*/ 94 h 177"/>
                  <a:gd name="T22" fmla="*/ 0 w 439"/>
                  <a:gd name="T23" fmla="*/ 130 h 177"/>
                  <a:gd name="T24" fmla="*/ 0 w 439"/>
                  <a:gd name="T25" fmla="*/ 130 h 177"/>
                  <a:gd name="T26" fmla="*/ 0 w 439"/>
                  <a:gd name="T27" fmla="*/ 177 h 177"/>
                  <a:gd name="T28" fmla="*/ 15 w 439"/>
                  <a:gd name="T29" fmla="*/ 172 h 177"/>
                  <a:gd name="T30" fmla="*/ 298 w 439"/>
                  <a:gd name="T31" fmla="*/ 172 h 177"/>
                  <a:gd name="T32" fmla="*/ 301 w 439"/>
                  <a:gd name="T33" fmla="*/ 171 h 177"/>
                  <a:gd name="T34" fmla="*/ 360 w 439"/>
                  <a:gd name="T35" fmla="*/ 148 h 177"/>
                  <a:gd name="T36" fmla="*/ 395 w 439"/>
                  <a:gd name="T37" fmla="*/ 100 h 177"/>
                  <a:gd name="T38" fmla="*/ 403 w 439"/>
                  <a:gd name="T39" fmla="*/ 130 h 177"/>
                  <a:gd name="T40" fmla="*/ 439 w 439"/>
                  <a:gd name="T41" fmla="*/ 81 h 177"/>
                  <a:gd name="T42" fmla="*/ 416 w 439"/>
                  <a:gd name="T4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9" h="177">
                    <a:moveTo>
                      <a:pt x="416" y="0"/>
                    </a:moveTo>
                    <a:cubicBezTo>
                      <a:pt x="367" y="2"/>
                      <a:pt x="367" y="2"/>
                      <a:pt x="367" y="2"/>
                    </a:cubicBezTo>
                    <a:cubicBezTo>
                      <a:pt x="367" y="2"/>
                      <a:pt x="367" y="2"/>
                      <a:pt x="367" y="2"/>
                    </a:cubicBezTo>
                    <a:cubicBezTo>
                      <a:pt x="332" y="3"/>
                      <a:pt x="332" y="3"/>
                      <a:pt x="332" y="3"/>
                    </a:cubicBezTo>
                    <a:cubicBezTo>
                      <a:pt x="296" y="52"/>
                      <a:pt x="296" y="52"/>
                      <a:pt x="296" y="52"/>
                    </a:cubicBezTo>
                    <a:cubicBezTo>
                      <a:pt x="334" y="51"/>
                      <a:pt x="334" y="51"/>
                      <a:pt x="334" y="51"/>
                    </a:cubicBezTo>
                    <a:cubicBezTo>
                      <a:pt x="315" y="75"/>
                      <a:pt x="315" y="75"/>
                      <a:pt x="315" y="75"/>
                    </a:cubicBezTo>
                    <a:cubicBezTo>
                      <a:pt x="315" y="75"/>
                      <a:pt x="306" y="89"/>
                      <a:pt x="280" y="88"/>
                    </a:cubicBezTo>
                    <a:cubicBezTo>
                      <a:pt x="280" y="89"/>
                      <a:pt x="280" y="89"/>
                      <a:pt x="280" y="89"/>
                    </a:cubicBezTo>
                    <a:cubicBezTo>
                      <a:pt x="219" y="89"/>
                      <a:pt x="27" y="89"/>
                      <a:pt x="15" y="89"/>
                    </a:cubicBezTo>
                    <a:cubicBezTo>
                      <a:pt x="0" y="89"/>
                      <a:pt x="0" y="94"/>
                      <a:pt x="0" y="94"/>
                    </a:cubicBezTo>
                    <a:cubicBezTo>
                      <a:pt x="0" y="130"/>
                      <a:pt x="0" y="130"/>
                      <a:pt x="0" y="130"/>
                    </a:cubicBezTo>
                    <a:cubicBezTo>
                      <a:pt x="0" y="130"/>
                      <a:pt x="0" y="130"/>
                      <a:pt x="0" y="130"/>
                    </a:cubicBezTo>
                    <a:cubicBezTo>
                      <a:pt x="0" y="177"/>
                      <a:pt x="0" y="177"/>
                      <a:pt x="0" y="177"/>
                    </a:cubicBezTo>
                    <a:cubicBezTo>
                      <a:pt x="1" y="176"/>
                      <a:pt x="1" y="172"/>
                      <a:pt x="15" y="172"/>
                    </a:cubicBezTo>
                    <a:cubicBezTo>
                      <a:pt x="29" y="172"/>
                      <a:pt x="298" y="172"/>
                      <a:pt x="298" y="172"/>
                    </a:cubicBezTo>
                    <a:cubicBezTo>
                      <a:pt x="298" y="172"/>
                      <a:pt x="299" y="171"/>
                      <a:pt x="301" y="171"/>
                    </a:cubicBezTo>
                    <a:cubicBezTo>
                      <a:pt x="312" y="171"/>
                      <a:pt x="345" y="169"/>
                      <a:pt x="360" y="148"/>
                    </a:cubicBezTo>
                    <a:cubicBezTo>
                      <a:pt x="369" y="137"/>
                      <a:pt x="382" y="117"/>
                      <a:pt x="395" y="100"/>
                    </a:cubicBezTo>
                    <a:cubicBezTo>
                      <a:pt x="403" y="130"/>
                      <a:pt x="403" y="130"/>
                      <a:pt x="403" y="130"/>
                    </a:cubicBezTo>
                    <a:cubicBezTo>
                      <a:pt x="439" y="81"/>
                      <a:pt x="439" y="81"/>
                      <a:pt x="439" y="81"/>
                    </a:cubicBezTo>
                    <a:lnTo>
                      <a:pt x="416" y="0"/>
                    </a:lnTo>
                    <a:close/>
                  </a:path>
                </a:pathLst>
              </a:custGeom>
              <a:solidFill>
                <a:schemeClr val="accent1"/>
              </a:solidFill>
              <a:ln>
                <a:solidFill>
                  <a:schemeClr val="accent1"/>
                </a:solidFill>
              </a:ln>
            </p:spPr>
            <p:txBody>
              <a:bodyPr vert="horz" wrap="square" lIns="45720" tIns="22860" rIns="45720" bIns="22860" numCol="1" anchor="t" anchorCtr="0" compatLnSpc="1">
                <a:prstTxWarp prst="textNoShape">
                  <a:avLst/>
                </a:prstTxWarp>
              </a:bodyPr>
              <a:lstStyle/>
              <a:p>
                <a:endParaRPr lang="th-TH" sz="900"/>
              </a:p>
            </p:txBody>
          </p:sp>
          <p:sp>
            <p:nvSpPr>
              <p:cNvPr id="33" name="TextBox 159"/>
              <p:cNvSpPr txBox="1"/>
              <p:nvPr/>
            </p:nvSpPr>
            <p:spPr>
              <a:xfrm>
                <a:off x="9875838" y="5029200"/>
                <a:ext cx="4246863" cy="572640"/>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sp>
          <p:nvSpPr>
            <p:cNvPr id="35" name="TextBox 161"/>
            <p:cNvSpPr txBox="1"/>
            <p:nvPr/>
          </p:nvSpPr>
          <p:spPr>
            <a:xfrm>
              <a:off x="7762528" y="1465519"/>
              <a:ext cx="1410619" cy="238069"/>
            </a:xfrm>
            <a:prstGeom prst="rect">
              <a:avLst/>
            </a:prstGeom>
            <a:noFill/>
          </p:spPr>
          <p:txBody>
            <a:bodyPr wrap="square" lIns="109710" tIns="54855" rIns="109710" bIns="54855" rtlCol="0">
              <a:spAutoFit/>
            </a:bodyPr>
            <a:lstStyle/>
            <a:p>
              <a:pPr algn="ctr"/>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sp>
          <p:nvSpPr>
            <p:cNvPr id="36" name="TextBox 31"/>
            <p:cNvSpPr txBox="1">
              <a:spLocks noChangeArrowheads="1"/>
            </p:cNvSpPr>
            <p:nvPr/>
          </p:nvSpPr>
          <p:spPr bwMode="auto">
            <a:xfrm>
              <a:off x="7797806" y="1103313"/>
              <a:ext cx="1340063" cy="40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700" b="1" dirty="0">
                  <a:solidFill>
                    <a:schemeClr val="accent1"/>
                  </a:solidFill>
                  <a:latin typeface="+mn-lt"/>
                  <a:ea typeface="Lato Black" pitchFamily="34" charset="0"/>
                  <a:cs typeface="Lato Black" pitchFamily="34" charset="0"/>
                </a:rPr>
                <a:t>35%</a:t>
              </a:r>
              <a:endParaRPr lang="id-ID" sz="2700" b="1" dirty="0">
                <a:solidFill>
                  <a:schemeClr val="accent1"/>
                </a:solidFill>
                <a:latin typeface="+mn-lt"/>
                <a:ea typeface="Lato Black" pitchFamily="34" charset="0"/>
                <a:cs typeface="Lato Black" pitchFamily="34" charset="0"/>
              </a:endParaRPr>
            </a:p>
          </p:txBody>
        </p:sp>
        <p:sp>
          <p:nvSpPr>
            <p:cNvPr id="40" name="TextBox 166"/>
            <p:cNvSpPr txBox="1"/>
            <p:nvPr/>
          </p:nvSpPr>
          <p:spPr bwMode="auto">
            <a:xfrm>
              <a:off x="2623015" y="2877353"/>
              <a:ext cx="1690300" cy="322405"/>
            </a:xfrm>
            <a:prstGeom prst="rect">
              <a:avLst/>
            </a:prstGeom>
            <a:noFill/>
          </p:spPr>
          <p:txBody>
            <a:bodyPr wrap="none">
              <a:spAutoFit/>
            </a:bodyPr>
            <a:lstStyle/>
            <a:p>
              <a:r>
                <a:rPr lang="en-US" altLang="zh-CN" sz="2000" b="1" dirty="0">
                  <a:solidFill>
                    <a:schemeClr val="bg1"/>
                  </a:solidFill>
                </a:rPr>
                <a:t>Lorem ipsum </a:t>
              </a:r>
              <a:r>
                <a:rPr lang="en-US" altLang="zh-CN" sz="2000" b="1" dirty="0" err="1">
                  <a:solidFill>
                    <a:schemeClr val="bg1"/>
                  </a:solidFill>
                </a:rPr>
                <a:t>dolo</a:t>
              </a:r>
              <a:endParaRPr lang="zh-CN" altLang="en-US" sz="2000" b="1" dirty="0">
                <a:solidFill>
                  <a:schemeClr val="bg1"/>
                </a:solidFill>
              </a:endParaRPr>
            </a:p>
          </p:txBody>
        </p:sp>
        <p:sp>
          <p:nvSpPr>
            <p:cNvPr id="41" name="TextBox 167"/>
            <p:cNvSpPr txBox="1"/>
            <p:nvPr/>
          </p:nvSpPr>
          <p:spPr>
            <a:xfrm>
              <a:off x="2623015" y="3175166"/>
              <a:ext cx="1765585" cy="238069"/>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nvGrpSpPr>
            <p:cNvPr id="42" name="กลุ่ม 168"/>
            <p:cNvGrpSpPr/>
            <p:nvPr/>
          </p:nvGrpSpPr>
          <p:grpSpPr>
            <a:xfrm>
              <a:off x="4359116" y="2241639"/>
              <a:ext cx="2928037" cy="1392526"/>
              <a:chOff x="9672277" y="4795485"/>
              <a:chExt cx="7042975" cy="3349522"/>
            </a:xfrm>
          </p:grpSpPr>
          <p:sp>
            <p:nvSpPr>
              <p:cNvPr id="43" name="Freeform 8"/>
              <p:cNvSpPr>
                <a:spLocks/>
              </p:cNvSpPr>
              <p:nvPr/>
            </p:nvSpPr>
            <p:spPr bwMode="auto">
              <a:xfrm>
                <a:off x="9672277" y="4795485"/>
                <a:ext cx="7042975" cy="3349522"/>
              </a:xfrm>
              <a:custGeom>
                <a:avLst/>
                <a:gdLst>
                  <a:gd name="T0" fmla="*/ 347 w 370"/>
                  <a:gd name="T1" fmla="*/ 0 h 176"/>
                  <a:gd name="T2" fmla="*/ 297 w 370"/>
                  <a:gd name="T3" fmla="*/ 1 h 176"/>
                  <a:gd name="T4" fmla="*/ 297 w 370"/>
                  <a:gd name="T5" fmla="*/ 1 h 176"/>
                  <a:gd name="T6" fmla="*/ 262 w 370"/>
                  <a:gd name="T7" fmla="*/ 2 h 176"/>
                  <a:gd name="T8" fmla="*/ 226 w 370"/>
                  <a:gd name="T9" fmla="*/ 52 h 176"/>
                  <a:gd name="T10" fmla="*/ 264 w 370"/>
                  <a:gd name="T11" fmla="*/ 50 h 176"/>
                  <a:gd name="T12" fmla="*/ 245 w 370"/>
                  <a:gd name="T13" fmla="*/ 74 h 176"/>
                  <a:gd name="T14" fmla="*/ 210 w 370"/>
                  <a:gd name="T15" fmla="*/ 88 h 176"/>
                  <a:gd name="T16" fmla="*/ 210 w 370"/>
                  <a:gd name="T17" fmla="*/ 88 h 176"/>
                  <a:gd name="T18" fmla="*/ 15 w 370"/>
                  <a:gd name="T19" fmla="*/ 88 h 176"/>
                  <a:gd name="T20" fmla="*/ 0 w 370"/>
                  <a:gd name="T21" fmla="*/ 94 h 176"/>
                  <a:gd name="T22" fmla="*/ 0 w 370"/>
                  <a:gd name="T23" fmla="*/ 129 h 176"/>
                  <a:gd name="T24" fmla="*/ 0 w 370"/>
                  <a:gd name="T25" fmla="*/ 129 h 176"/>
                  <a:gd name="T26" fmla="*/ 0 w 370"/>
                  <a:gd name="T27" fmla="*/ 176 h 176"/>
                  <a:gd name="T28" fmla="*/ 15 w 370"/>
                  <a:gd name="T29" fmla="*/ 171 h 176"/>
                  <a:gd name="T30" fmla="*/ 217 w 370"/>
                  <a:gd name="T31" fmla="*/ 171 h 176"/>
                  <a:gd name="T32" fmla="*/ 220 w 370"/>
                  <a:gd name="T33" fmla="*/ 170 h 176"/>
                  <a:gd name="T34" fmla="*/ 228 w 370"/>
                  <a:gd name="T35" fmla="*/ 170 h 176"/>
                  <a:gd name="T36" fmla="*/ 290 w 370"/>
                  <a:gd name="T37" fmla="*/ 147 h 176"/>
                  <a:gd name="T38" fmla="*/ 325 w 370"/>
                  <a:gd name="T39" fmla="*/ 99 h 176"/>
                  <a:gd name="T40" fmla="*/ 334 w 370"/>
                  <a:gd name="T41" fmla="*/ 130 h 176"/>
                  <a:gd name="T42" fmla="*/ 370 w 370"/>
                  <a:gd name="T43" fmla="*/ 81 h 176"/>
                  <a:gd name="T44" fmla="*/ 347 w 370"/>
                  <a:gd name="T45"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0" h="176">
                    <a:moveTo>
                      <a:pt x="347" y="0"/>
                    </a:moveTo>
                    <a:cubicBezTo>
                      <a:pt x="297" y="1"/>
                      <a:pt x="297" y="1"/>
                      <a:pt x="297" y="1"/>
                    </a:cubicBezTo>
                    <a:cubicBezTo>
                      <a:pt x="297" y="1"/>
                      <a:pt x="297" y="1"/>
                      <a:pt x="297" y="1"/>
                    </a:cubicBezTo>
                    <a:cubicBezTo>
                      <a:pt x="262" y="2"/>
                      <a:pt x="262" y="2"/>
                      <a:pt x="262" y="2"/>
                    </a:cubicBezTo>
                    <a:cubicBezTo>
                      <a:pt x="226" y="52"/>
                      <a:pt x="226" y="52"/>
                      <a:pt x="226" y="52"/>
                    </a:cubicBezTo>
                    <a:cubicBezTo>
                      <a:pt x="264" y="50"/>
                      <a:pt x="264" y="50"/>
                      <a:pt x="264" y="50"/>
                    </a:cubicBezTo>
                    <a:cubicBezTo>
                      <a:pt x="245" y="74"/>
                      <a:pt x="245" y="74"/>
                      <a:pt x="245" y="74"/>
                    </a:cubicBezTo>
                    <a:cubicBezTo>
                      <a:pt x="245" y="74"/>
                      <a:pt x="236" y="88"/>
                      <a:pt x="210" y="88"/>
                    </a:cubicBezTo>
                    <a:cubicBezTo>
                      <a:pt x="210" y="88"/>
                      <a:pt x="210" y="88"/>
                      <a:pt x="210" y="88"/>
                    </a:cubicBezTo>
                    <a:cubicBezTo>
                      <a:pt x="176" y="88"/>
                      <a:pt x="28" y="88"/>
                      <a:pt x="15" y="88"/>
                    </a:cubicBezTo>
                    <a:cubicBezTo>
                      <a:pt x="0" y="88"/>
                      <a:pt x="0" y="94"/>
                      <a:pt x="0" y="94"/>
                    </a:cubicBezTo>
                    <a:cubicBezTo>
                      <a:pt x="0" y="129"/>
                      <a:pt x="0" y="129"/>
                      <a:pt x="0" y="129"/>
                    </a:cubicBezTo>
                    <a:cubicBezTo>
                      <a:pt x="0" y="129"/>
                      <a:pt x="0" y="129"/>
                      <a:pt x="0" y="129"/>
                    </a:cubicBezTo>
                    <a:cubicBezTo>
                      <a:pt x="0" y="176"/>
                      <a:pt x="0" y="176"/>
                      <a:pt x="0" y="176"/>
                    </a:cubicBezTo>
                    <a:cubicBezTo>
                      <a:pt x="1" y="175"/>
                      <a:pt x="1" y="171"/>
                      <a:pt x="15" y="171"/>
                    </a:cubicBezTo>
                    <a:cubicBezTo>
                      <a:pt x="29" y="171"/>
                      <a:pt x="217" y="171"/>
                      <a:pt x="217" y="171"/>
                    </a:cubicBezTo>
                    <a:cubicBezTo>
                      <a:pt x="217" y="171"/>
                      <a:pt x="218" y="171"/>
                      <a:pt x="220" y="170"/>
                    </a:cubicBezTo>
                    <a:cubicBezTo>
                      <a:pt x="228" y="170"/>
                      <a:pt x="228" y="170"/>
                      <a:pt x="228" y="170"/>
                    </a:cubicBezTo>
                    <a:cubicBezTo>
                      <a:pt x="228" y="170"/>
                      <a:pt x="272" y="172"/>
                      <a:pt x="290" y="147"/>
                    </a:cubicBezTo>
                    <a:cubicBezTo>
                      <a:pt x="299" y="136"/>
                      <a:pt x="313" y="117"/>
                      <a:pt x="325" y="99"/>
                    </a:cubicBezTo>
                    <a:cubicBezTo>
                      <a:pt x="334" y="130"/>
                      <a:pt x="334" y="130"/>
                      <a:pt x="334" y="130"/>
                    </a:cubicBezTo>
                    <a:cubicBezTo>
                      <a:pt x="370" y="81"/>
                      <a:pt x="370" y="81"/>
                      <a:pt x="370" y="81"/>
                    </a:cubicBezTo>
                    <a:lnTo>
                      <a:pt x="347" y="0"/>
                    </a:lnTo>
                    <a:close/>
                  </a:path>
                </a:pathLst>
              </a:custGeom>
              <a:solidFill>
                <a:srgbClr val="C4D600"/>
              </a:solidFill>
              <a:ln>
                <a:noFill/>
              </a:ln>
            </p:spPr>
            <p:txBody>
              <a:bodyPr vert="horz" wrap="square" lIns="45720" tIns="22860" rIns="45720" bIns="22860" numCol="1" anchor="t" anchorCtr="0" compatLnSpc="1">
                <a:prstTxWarp prst="textNoShape">
                  <a:avLst/>
                </a:prstTxWarp>
              </a:bodyPr>
              <a:lstStyle/>
              <a:p>
                <a:endParaRPr lang="th-TH" sz="900">
                  <a:solidFill>
                    <a:srgbClr val="E3E48D"/>
                  </a:solidFill>
                </a:endParaRPr>
              </a:p>
            </p:txBody>
          </p:sp>
          <p:sp>
            <p:nvSpPr>
              <p:cNvPr id="44" name="TextBox 170"/>
              <p:cNvSpPr txBox="1"/>
              <p:nvPr/>
            </p:nvSpPr>
            <p:spPr>
              <a:xfrm>
                <a:off x="9952037" y="6629402"/>
                <a:ext cx="4246863" cy="572640"/>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sp>
          <p:nvSpPr>
            <p:cNvPr id="46" name="TextBox 172"/>
            <p:cNvSpPr txBox="1"/>
            <p:nvPr/>
          </p:nvSpPr>
          <p:spPr>
            <a:xfrm>
              <a:off x="8034465" y="2384218"/>
              <a:ext cx="1410619" cy="238069"/>
            </a:xfrm>
            <a:prstGeom prst="rect">
              <a:avLst/>
            </a:prstGeom>
            <a:noFill/>
          </p:spPr>
          <p:txBody>
            <a:bodyPr wrap="square" lIns="109710" tIns="54855" rIns="109710" bIns="54855" rtlCol="0">
              <a:spAutoFit/>
            </a:bodyPr>
            <a:lstStyle/>
            <a:p>
              <a:pPr algn="ctr"/>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sp>
          <p:nvSpPr>
            <p:cNvPr id="47" name="TextBox 31"/>
            <p:cNvSpPr txBox="1">
              <a:spLocks noChangeArrowheads="1"/>
            </p:cNvSpPr>
            <p:nvPr/>
          </p:nvSpPr>
          <p:spPr bwMode="auto">
            <a:xfrm>
              <a:off x="8019561" y="2022012"/>
              <a:ext cx="144042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700" b="1" dirty="0">
                  <a:solidFill>
                    <a:srgbClr val="C4D600"/>
                  </a:solidFill>
                  <a:latin typeface="+mn-lt"/>
                  <a:ea typeface="Lato Black" pitchFamily="34" charset="0"/>
                  <a:cs typeface="Lato Black" pitchFamily="34" charset="0"/>
                </a:rPr>
                <a:t>72%</a:t>
              </a:r>
              <a:endParaRPr lang="id-ID" sz="2700" b="1" dirty="0">
                <a:solidFill>
                  <a:srgbClr val="C4D600"/>
                </a:solidFill>
                <a:latin typeface="+mn-lt"/>
                <a:ea typeface="Lato Black" pitchFamily="34" charset="0"/>
                <a:cs typeface="Lato Black" pitchFamily="34" charset="0"/>
              </a:endParaRPr>
            </a:p>
          </p:txBody>
        </p:sp>
        <p:sp>
          <p:nvSpPr>
            <p:cNvPr id="57" name="TextBox 183"/>
            <p:cNvSpPr txBox="1"/>
            <p:nvPr/>
          </p:nvSpPr>
          <p:spPr bwMode="auto">
            <a:xfrm>
              <a:off x="2623015" y="3663431"/>
              <a:ext cx="1690300" cy="322405"/>
            </a:xfrm>
            <a:prstGeom prst="rect">
              <a:avLst/>
            </a:prstGeom>
            <a:noFill/>
          </p:spPr>
          <p:txBody>
            <a:bodyPr wrap="none">
              <a:spAutoFit/>
            </a:bodyPr>
            <a:lstStyle/>
            <a:p>
              <a:r>
                <a:rPr lang="en-US" altLang="zh-CN" sz="2000" b="1" dirty="0">
                  <a:solidFill>
                    <a:schemeClr val="bg1"/>
                  </a:solidFill>
                </a:rPr>
                <a:t>Lorem ipsum </a:t>
              </a:r>
              <a:r>
                <a:rPr lang="en-US" altLang="zh-CN" sz="2000" b="1" dirty="0" err="1">
                  <a:solidFill>
                    <a:schemeClr val="bg1"/>
                  </a:solidFill>
                </a:rPr>
                <a:t>dolo</a:t>
              </a:r>
              <a:endParaRPr lang="zh-CN" altLang="en-US" sz="2000" b="1" dirty="0">
                <a:solidFill>
                  <a:schemeClr val="bg1"/>
                </a:solidFill>
              </a:endParaRPr>
            </a:p>
          </p:txBody>
        </p:sp>
        <p:sp>
          <p:nvSpPr>
            <p:cNvPr id="58" name="TextBox 184"/>
            <p:cNvSpPr txBox="1"/>
            <p:nvPr/>
          </p:nvSpPr>
          <p:spPr>
            <a:xfrm>
              <a:off x="2623015" y="3941071"/>
              <a:ext cx="1765585" cy="238069"/>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nvGrpSpPr>
            <p:cNvPr id="59" name="กลุ่ม 185"/>
            <p:cNvGrpSpPr/>
            <p:nvPr/>
          </p:nvGrpSpPr>
          <p:grpSpPr>
            <a:xfrm>
              <a:off x="4359116" y="2891713"/>
              <a:ext cx="3901136" cy="1392526"/>
              <a:chOff x="9672277" y="6359142"/>
              <a:chExt cx="9383627" cy="3349522"/>
            </a:xfrm>
          </p:grpSpPr>
          <p:sp>
            <p:nvSpPr>
              <p:cNvPr id="60" name="Freeform 10"/>
              <p:cNvSpPr>
                <a:spLocks/>
              </p:cNvSpPr>
              <p:nvPr/>
            </p:nvSpPr>
            <p:spPr bwMode="auto">
              <a:xfrm>
                <a:off x="9672277" y="6359142"/>
                <a:ext cx="9383627" cy="3349522"/>
              </a:xfrm>
              <a:custGeom>
                <a:avLst/>
                <a:gdLst>
                  <a:gd name="T0" fmla="*/ 470 w 493"/>
                  <a:gd name="T1" fmla="*/ 0 h 176"/>
                  <a:gd name="T2" fmla="*/ 420 w 493"/>
                  <a:gd name="T3" fmla="*/ 2 h 176"/>
                  <a:gd name="T4" fmla="*/ 420 w 493"/>
                  <a:gd name="T5" fmla="*/ 2 h 176"/>
                  <a:gd name="T6" fmla="*/ 385 w 493"/>
                  <a:gd name="T7" fmla="*/ 3 h 176"/>
                  <a:gd name="T8" fmla="*/ 349 w 493"/>
                  <a:gd name="T9" fmla="*/ 52 h 176"/>
                  <a:gd name="T10" fmla="*/ 387 w 493"/>
                  <a:gd name="T11" fmla="*/ 51 h 176"/>
                  <a:gd name="T12" fmla="*/ 368 w 493"/>
                  <a:gd name="T13" fmla="*/ 74 h 176"/>
                  <a:gd name="T14" fmla="*/ 341 w 493"/>
                  <a:gd name="T15" fmla="*/ 88 h 176"/>
                  <a:gd name="T16" fmla="*/ 15 w 493"/>
                  <a:gd name="T17" fmla="*/ 88 h 176"/>
                  <a:gd name="T18" fmla="*/ 0 w 493"/>
                  <a:gd name="T19" fmla="*/ 94 h 176"/>
                  <a:gd name="T20" fmla="*/ 0 w 493"/>
                  <a:gd name="T21" fmla="*/ 129 h 176"/>
                  <a:gd name="T22" fmla="*/ 0 w 493"/>
                  <a:gd name="T23" fmla="*/ 129 h 176"/>
                  <a:gd name="T24" fmla="*/ 0 w 493"/>
                  <a:gd name="T25" fmla="*/ 176 h 176"/>
                  <a:gd name="T26" fmla="*/ 15 w 493"/>
                  <a:gd name="T27" fmla="*/ 171 h 176"/>
                  <a:gd name="T28" fmla="*/ 356 w 493"/>
                  <a:gd name="T29" fmla="*/ 171 h 176"/>
                  <a:gd name="T30" fmla="*/ 357 w 493"/>
                  <a:gd name="T31" fmla="*/ 171 h 176"/>
                  <a:gd name="T32" fmla="*/ 413 w 493"/>
                  <a:gd name="T33" fmla="*/ 148 h 176"/>
                  <a:gd name="T34" fmla="*/ 448 w 493"/>
                  <a:gd name="T35" fmla="*/ 100 h 176"/>
                  <a:gd name="T36" fmla="*/ 457 w 493"/>
                  <a:gd name="T37" fmla="*/ 130 h 176"/>
                  <a:gd name="T38" fmla="*/ 493 w 493"/>
                  <a:gd name="T39" fmla="*/ 81 h 176"/>
                  <a:gd name="T40" fmla="*/ 470 w 493"/>
                  <a:gd name="T4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3" h="176">
                    <a:moveTo>
                      <a:pt x="470" y="0"/>
                    </a:moveTo>
                    <a:cubicBezTo>
                      <a:pt x="420" y="2"/>
                      <a:pt x="420" y="2"/>
                      <a:pt x="420" y="2"/>
                    </a:cubicBezTo>
                    <a:cubicBezTo>
                      <a:pt x="420" y="2"/>
                      <a:pt x="420" y="2"/>
                      <a:pt x="420" y="2"/>
                    </a:cubicBezTo>
                    <a:cubicBezTo>
                      <a:pt x="385" y="3"/>
                      <a:pt x="385" y="3"/>
                      <a:pt x="385" y="3"/>
                    </a:cubicBezTo>
                    <a:cubicBezTo>
                      <a:pt x="349" y="52"/>
                      <a:pt x="349" y="52"/>
                      <a:pt x="349" y="52"/>
                    </a:cubicBezTo>
                    <a:cubicBezTo>
                      <a:pt x="387" y="51"/>
                      <a:pt x="387" y="51"/>
                      <a:pt x="387" y="51"/>
                    </a:cubicBezTo>
                    <a:cubicBezTo>
                      <a:pt x="368" y="74"/>
                      <a:pt x="368" y="74"/>
                      <a:pt x="368" y="74"/>
                    </a:cubicBezTo>
                    <a:cubicBezTo>
                      <a:pt x="368" y="74"/>
                      <a:pt x="361" y="86"/>
                      <a:pt x="341" y="88"/>
                    </a:cubicBezTo>
                    <a:cubicBezTo>
                      <a:pt x="277" y="88"/>
                      <a:pt x="27" y="88"/>
                      <a:pt x="15" y="88"/>
                    </a:cubicBezTo>
                    <a:cubicBezTo>
                      <a:pt x="0" y="88"/>
                      <a:pt x="0" y="94"/>
                      <a:pt x="0" y="94"/>
                    </a:cubicBezTo>
                    <a:cubicBezTo>
                      <a:pt x="0" y="129"/>
                      <a:pt x="0" y="129"/>
                      <a:pt x="0" y="129"/>
                    </a:cubicBezTo>
                    <a:cubicBezTo>
                      <a:pt x="0" y="129"/>
                      <a:pt x="0" y="129"/>
                      <a:pt x="0" y="129"/>
                    </a:cubicBezTo>
                    <a:cubicBezTo>
                      <a:pt x="0" y="176"/>
                      <a:pt x="0" y="176"/>
                      <a:pt x="0" y="176"/>
                    </a:cubicBezTo>
                    <a:cubicBezTo>
                      <a:pt x="1" y="175"/>
                      <a:pt x="1" y="171"/>
                      <a:pt x="15" y="171"/>
                    </a:cubicBezTo>
                    <a:cubicBezTo>
                      <a:pt x="29" y="171"/>
                      <a:pt x="356" y="171"/>
                      <a:pt x="356" y="171"/>
                    </a:cubicBezTo>
                    <a:cubicBezTo>
                      <a:pt x="356" y="171"/>
                      <a:pt x="356" y="171"/>
                      <a:pt x="357" y="171"/>
                    </a:cubicBezTo>
                    <a:cubicBezTo>
                      <a:pt x="370" y="170"/>
                      <a:pt x="399" y="167"/>
                      <a:pt x="413" y="148"/>
                    </a:cubicBezTo>
                    <a:cubicBezTo>
                      <a:pt x="422" y="136"/>
                      <a:pt x="436" y="117"/>
                      <a:pt x="448" y="100"/>
                    </a:cubicBezTo>
                    <a:cubicBezTo>
                      <a:pt x="457" y="130"/>
                      <a:pt x="457" y="130"/>
                      <a:pt x="457" y="130"/>
                    </a:cubicBezTo>
                    <a:cubicBezTo>
                      <a:pt x="493" y="81"/>
                      <a:pt x="493" y="81"/>
                      <a:pt x="493" y="81"/>
                    </a:cubicBezTo>
                    <a:lnTo>
                      <a:pt x="470" y="0"/>
                    </a:lnTo>
                    <a:close/>
                  </a:path>
                </a:pathLst>
              </a:custGeom>
              <a:solidFill>
                <a:schemeClr val="accent2"/>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61" name="TextBox 187"/>
              <p:cNvSpPr txBox="1"/>
              <p:nvPr/>
            </p:nvSpPr>
            <p:spPr>
              <a:xfrm>
                <a:off x="9952037" y="8305800"/>
                <a:ext cx="4246863" cy="572640"/>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sp>
          <p:nvSpPr>
            <p:cNvPr id="63" name="TextBox 189"/>
            <p:cNvSpPr txBox="1"/>
            <p:nvPr/>
          </p:nvSpPr>
          <p:spPr>
            <a:xfrm>
              <a:off x="8564346" y="3341057"/>
              <a:ext cx="1410619" cy="238069"/>
            </a:xfrm>
            <a:prstGeom prst="rect">
              <a:avLst/>
            </a:prstGeom>
            <a:noFill/>
          </p:spPr>
          <p:txBody>
            <a:bodyPr wrap="square" lIns="109710" tIns="54855" rIns="109710" bIns="54855" rtlCol="0">
              <a:spAutoFit/>
            </a:bodyPr>
            <a:lstStyle/>
            <a:p>
              <a:pPr algn="ctr"/>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sp>
          <p:nvSpPr>
            <p:cNvPr id="64" name="TextBox 31"/>
            <p:cNvSpPr txBox="1">
              <a:spLocks noChangeArrowheads="1"/>
            </p:cNvSpPr>
            <p:nvPr/>
          </p:nvSpPr>
          <p:spPr bwMode="auto">
            <a:xfrm>
              <a:off x="8463071" y="2978851"/>
              <a:ext cx="1613168" cy="40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700" b="1" dirty="0">
                  <a:solidFill>
                    <a:schemeClr val="accent2"/>
                  </a:solidFill>
                  <a:latin typeface="+mn-lt"/>
                  <a:ea typeface="Lato Black" pitchFamily="34" charset="0"/>
                  <a:cs typeface="Lato Black" pitchFamily="34" charset="0"/>
                </a:rPr>
                <a:t>49%</a:t>
              </a:r>
              <a:endParaRPr lang="id-ID" sz="2700" b="1" dirty="0">
                <a:solidFill>
                  <a:schemeClr val="accent2"/>
                </a:solidFill>
                <a:latin typeface="+mn-lt"/>
                <a:ea typeface="Lato Black" pitchFamily="34" charset="0"/>
                <a:cs typeface="Lato Black" pitchFamily="34" charset="0"/>
              </a:endParaRPr>
            </a:p>
          </p:txBody>
        </p:sp>
        <p:sp>
          <p:nvSpPr>
            <p:cNvPr id="75" name="TextBox 201"/>
            <p:cNvSpPr txBox="1"/>
            <p:nvPr/>
          </p:nvSpPr>
          <p:spPr bwMode="auto">
            <a:xfrm>
              <a:off x="2623015" y="4464678"/>
              <a:ext cx="1690300" cy="322405"/>
            </a:xfrm>
            <a:prstGeom prst="rect">
              <a:avLst/>
            </a:prstGeom>
            <a:noFill/>
          </p:spPr>
          <p:txBody>
            <a:bodyPr wrap="none">
              <a:spAutoFit/>
            </a:bodyPr>
            <a:lstStyle/>
            <a:p>
              <a:r>
                <a:rPr lang="en-US" altLang="zh-CN" sz="2000" b="1" dirty="0">
                  <a:solidFill>
                    <a:schemeClr val="bg1"/>
                  </a:solidFill>
                </a:rPr>
                <a:t>Lorem ipsum </a:t>
              </a:r>
              <a:r>
                <a:rPr lang="en-US" altLang="zh-CN" sz="2000" b="1" dirty="0" err="1">
                  <a:solidFill>
                    <a:schemeClr val="bg1"/>
                  </a:solidFill>
                </a:rPr>
                <a:t>dolo</a:t>
              </a:r>
              <a:endParaRPr lang="zh-CN" altLang="en-US" sz="2000" b="1" dirty="0">
                <a:solidFill>
                  <a:schemeClr val="bg1"/>
                </a:solidFill>
              </a:endParaRPr>
            </a:p>
          </p:txBody>
        </p:sp>
        <p:sp>
          <p:nvSpPr>
            <p:cNvPr id="76" name="TextBox 202"/>
            <p:cNvSpPr txBox="1"/>
            <p:nvPr/>
          </p:nvSpPr>
          <p:spPr>
            <a:xfrm>
              <a:off x="2623015" y="4748598"/>
              <a:ext cx="1765585" cy="238069"/>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nvGrpSpPr>
            <p:cNvPr id="77" name="กลุ่ม 203"/>
            <p:cNvGrpSpPr/>
            <p:nvPr/>
          </p:nvGrpSpPr>
          <p:grpSpPr>
            <a:xfrm>
              <a:off x="4359116" y="3543282"/>
              <a:ext cx="3236251" cy="1400469"/>
              <a:chOff x="9672277" y="7926395"/>
              <a:chExt cx="7784341" cy="3368629"/>
            </a:xfrm>
          </p:grpSpPr>
          <p:sp>
            <p:nvSpPr>
              <p:cNvPr id="78" name="Freeform 12"/>
              <p:cNvSpPr>
                <a:spLocks/>
              </p:cNvSpPr>
              <p:nvPr/>
            </p:nvSpPr>
            <p:spPr bwMode="auto">
              <a:xfrm>
                <a:off x="9672277" y="7926395"/>
                <a:ext cx="7784341" cy="3368629"/>
              </a:xfrm>
              <a:custGeom>
                <a:avLst/>
                <a:gdLst>
                  <a:gd name="T0" fmla="*/ 386 w 409"/>
                  <a:gd name="T1" fmla="*/ 0 h 177"/>
                  <a:gd name="T2" fmla="*/ 336 w 409"/>
                  <a:gd name="T3" fmla="*/ 1 h 177"/>
                  <a:gd name="T4" fmla="*/ 336 w 409"/>
                  <a:gd name="T5" fmla="*/ 2 h 177"/>
                  <a:gd name="T6" fmla="*/ 301 w 409"/>
                  <a:gd name="T7" fmla="*/ 3 h 177"/>
                  <a:gd name="T8" fmla="*/ 265 w 409"/>
                  <a:gd name="T9" fmla="*/ 52 h 177"/>
                  <a:gd name="T10" fmla="*/ 303 w 409"/>
                  <a:gd name="T11" fmla="*/ 51 h 177"/>
                  <a:gd name="T12" fmla="*/ 284 w 409"/>
                  <a:gd name="T13" fmla="*/ 74 h 177"/>
                  <a:gd name="T14" fmla="*/ 249 w 409"/>
                  <a:gd name="T15" fmla="*/ 88 h 177"/>
                  <a:gd name="T16" fmla="*/ 249 w 409"/>
                  <a:gd name="T17" fmla="*/ 89 h 177"/>
                  <a:gd name="T18" fmla="*/ 15 w 409"/>
                  <a:gd name="T19" fmla="*/ 89 h 177"/>
                  <a:gd name="T20" fmla="*/ 0 w 409"/>
                  <a:gd name="T21" fmla="*/ 94 h 177"/>
                  <a:gd name="T22" fmla="*/ 0 w 409"/>
                  <a:gd name="T23" fmla="*/ 130 h 177"/>
                  <a:gd name="T24" fmla="*/ 0 w 409"/>
                  <a:gd name="T25" fmla="*/ 130 h 177"/>
                  <a:gd name="T26" fmla="*/ 0 w 409"/>
                  <a:gd name="T27" fmla="*/ 177 h 177"/>
                  <a:gd name="T28" fmla="*/ 15 w 409"/>
                  <a:gd name="T29" fmla="*/ 172 h 177"/>
                  <a:gd name="T30" fmla="*/ 267 w 409"/>
                  <a:gd name="T31" fmla="*/ 170 h 177"/>
                  <a:gd name="T32" fmla="*/ 329 w 409"/>
                  <a:gd name="T33" fmla="*/ 148 h 177"/>
                  <a:gd name="T34" fmla="*/ 364 w 409"/>
                  <a:gd name="T35" fmla="*/ 99 h 177"/>
                  <a:gd name="T36" fmla="*/ 373 w 409"/>
                  <a:gd name="T37" fmla="*/ 130 h 177"/>
                  <a:gd name="T38" fmla="*/ 409 w 409"/>
                  <a:gd name="T39" fmla="*/ 81 h 177"/>
                  <a:gd name="T40" fmla="*/ 386 w 409"/>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9" h="177">
                    <a:moveTo>
                      <a:pt x="386" y="0"/>
                    </a:moveTo>
                    <a:cubicBezTo>
                      <a:pt x="336" y="1"/>
                      <a:pt x="336" y="1"/>
                      <a:pt x="336" y="1"/>
                    </a:cubicBezTo>
                    <a:cubicBezTo>
                      <a:pt x="336" y="2"/>
                      <a:pt x="336" y="2"/>
                      <a:pt x="336" y="2"/>
                    </a:cubicBezTo>
                    <a:cubicBezTo>
                      <a:pt x="301" y="3"/>
                      <a:pt x="301" y="3"/>
                      <a:pt x="301" y="3"/>
                    </a:cubicBezTo>
                    <a:cubicBezTo>
                      <a:pt x="265" y="52"/>
                      <a:pt x="265" y="52"/>
                      <a:pt x="265" y="52"/>
                    </a:cubicBezTo>
                    <a:cubicBezTo>
                      <a:pt x="303" y="51"/>
                      <a:pt x="303" y="51"/>
                      <a:pt x="303" y="51"/>
                    </a:cubicBezTo>
                    <a:cubicBezTo>
                      <a:pt x="284" y="74"/>
                      <a:pt x="284" y="74"/>
                      <a:pt x="284" y="74"/>
                    </a:cubicBezTo>
                    <a:cubicBezTo>
                      <a:pt x="284" y="74"/>
                      <a:pt x="275" y="88"/>
                      <a:pt x="249" y="88"/>
                    </a:cubicBezTo>
                    <a:cubicBezTo>
                      <a:pt x="249" y="89"/>
                      <a:pt x="249" y="89"/>
                      <a:pt x="249" y="89"/>
                    </a:cubicBezTo>
                    <a:cubicBezTo>
                      <a:pt x="215" y="89"/>
                      <a:pt x="28" y="89"/>
                      <a:pt x="15" y="89"/>
                    </a:cubicBezTo>
                    <a:cubicBezTo>
                      <a:pt x="0" y="89"/>
                      <a:pt x="0" y="94"/>
                      <a:pt x="0" y="94"/>
                    </a:cubicBezTo>
                    <a:cubicBezTo>
                      <a:pt x="0" y="130"/>
                      <a:pt x="0" y="130"/>
                      <a:pt x="0" y="130"/>
                    </a:cubicBezTo>
                    <a:cubicBezTo>
                      <a:pt x="0" y="130"/>
                      <a:pt x="0" y="130"/>
                      <a:pt x="0" y="130"/>
                    </a:cubicBezTo>
                    <a:cubicBezTo>
                      <a:pt x="0" y="177"/>
                      <a:pt x="0" y="177"/>
                      <a:pt x="0" y="177"/>
                    </a:cubicBezTo>
                    <a:cubicBezTo>
                      <a:pt x="1" y="176"/>
                      <a:pt x="1" y="172"/>
                      <a:pt x="15" y="172"/>
                    </a:cubicBezTo>
                    <a:cubicBezTo>
                      <a:pt x="29" y="172"/>
                      <a:pt x="267" y="170"/>
                      <a:pt x="267" y="170"/>
                    </a:cubicBezTo>
                    <a:cubicBezTo>
                      <a:pt x="267" y="170"/>
                      <a:pt x="311" y="172"/>
                      <a:pt x="329" y="148"/>
                    </a:cubicBezTo>
                    <a:cubicBezTo>
                      <a:pt x="338" y="136"/>
                      <a:pt x="352" y="117"/>
                      <a:pt x="364" y="99"/>
                    </a:cubicBezTo>
                    <a:cubicBezTo>
                      <a:pt x="373" y="130"/>
                      <a:pt x="373" y="130"/>
                      <a:pt x="373" y="130"/>
                    </a:cubicBezTo>
                    <a:cubicBezTo>
                      <a:pt x="409" y="81"/>
                      <a:pt x="409" y="81"/>
                      <a:pt x="409" y="81"/>
                    </a:cubicBezTo>
                    <a:lnTo>
                      <a:pt x="386" y="0"/>
                    </a:lnTo>
                    <a:close/>
                  </a:path>
                </a:pathLst>
              </a:custGeom>
              <a:solidFill>
                <a:schemeClr val="accent4"/>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79" name="TextBox 205"/>
              <p:cNvSpPr txBox="1"/>
              <p:nvPr/>
            </p:nvSpPr>
            <p:spPr>
              <a:xfrm>
                <a:off x="9952037" y="10012572"/>
                <a:ext cx="4246863" cy="572640"/>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sp>
          <p:nvSpPr>
            <p:cNvPr id="81" name="TextBox 207"/>
            <p:cNvSpPr txBox="1"/>
            <p:nvPr/>
          </p:nvSpPr>
          <p:spPr>
            <a:xfrm>
              <a:off x="7969465" y="4464418"/>
              <a:ext cx="1410619" cy="238069"/>
            </a:xfrm>
            <a:prstGeom prst="rect">
              <a:avLst/>
            </a:prstGeom>
            <a:noFill/>
          </p:spPr>
          <p:txBody>
            <a:bodyPr wrap="square" lIns="109710" tIns="54855" rIns="109710" bIns="54855" rtlCol="0">
              <a:spAutoFit/>
            </a:bodyPr>
            <a:lstStyle/>
            <a:p>
              <a:pPr algn="ctr"/>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sp>
          <p:nvSpPr>
            <p:cNvPr id="82" name="TextBox 31"/>
            <p:cNvSpPr txBox="1">
              <a:spLocks noChangeArrowheads="1"/>
            </p:cNvSpPr>
            <p:nvPr/>
          </p:nvSpPr>
          <p:spPr bwMode="auto">
            <a:xfrm>
              <a:off x="7815016" y="4102212"/>
              <a:ext cx="1719517" cy="40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700" b="1" dirty="0">
                  <a:solidFill>
                    <a:schemeClr val="accent4"/>
                  </a:solidFill>
                  <a:latin typeface="+mn-lt"/>
                  <a:ea typeface="Lato Black" pitchFamily="34" charset="0"/>
                  <a:cs typeface="Lato Black" pitchFamily="34" charset="0"/>
                </a:rPr>
                <a:t>68%</a:t>
              </a:r>
              <a:endParaRPr lang="id-ID" sz="2700" b="1" dirty="0">
                <a:solidFill>
                  <a:schemeClr val="accent4"/>
                </a:solidFill>
                <a:latin typeface="+mn-lt"/>
                <a:ea typeface="Lato Black" pitchFamily="34" charset="0"/>
                <a:cs typeface="Lato Black" pitchFamily="34" charset="0"/>
              </a:endParaRPr>
            </a:p>
          </p:txBody>
        </p:sp>
        <p:sp>
          <p:nvSpPr>
            <p:cNvPr id="84" name="Freeform 645"/>
            <p:cNvSpPr>
              <a:spLocks noChangeAspect="1" noEditPoints="1"/>
            </p:cNvSpPr>
            <p:nvPr/>
          </p:nvSpPr>
          <p:spPr bwMode="auto">
            <a:xfrm>
              <a:off x="1802791" y="2095057"/>
              <a:ext cx="648000" cy="648000"/>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85" name="Freeform 645"/>
            <p:cNvSpPr>
              <a:spLocks noChangeAspect="1" noEditPoints="1"/>
            </p:cNvSpPr>
            <p:nvPr/>
          </p:nvSpPr>
          <p:spPr bwMode="auto">
            <a:xfrm>
              <a:off x="1802791" y="2907203"/>
              <a:ext cx="648000" cy="648000"/>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86" name="Freeform 645"/>
            <p:cNvSpPr>
              <a:spLocks noChangeAspect="1" noEditPoints="1"/>
            </p:cNvSpPr>
            <p:nvPr/>
          </p:nvSpPr>
          <p:spPr bwMode="auto">
            <a:xfrm>
              <a:off x="1802791" y="3719349"/>
              <a:ext cx="648000" cy="648000"/>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87" name="Freeform 645"/>
            <p:cNvSpPr>
              <a:spLocks noChangeAspect="1" noEditPoints="1"/>
            </p:cNvSpPr>
            <p:nvPr/>
          </p:nvSpPr>
          <p:spPr bwMode="auto">
            <a:xfrm>
              <a:off x="1802791" y="4531495"/>
              <a:ext cx="648000" cy="648000"/>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Tree>
    <p:custDataLst>
      <p:tags r:id="rId1"/>
    </p:custDataLst>
    <p:extLst>
      <p:ext uri="{BB962C8B-B14F-4D97-AF65-F5344CB8AC3E}">
        <p14:creationId xmlns:p14="http://schemas.microsoft.com/office/powerpoint/2010/main" val="1447274289"/>
      </p:ext>
    </p:extLst>
  </p:cSld>
  <p:clrMapOvr>
    <a:masterClrMapping/>
  </p:clrMapOvr>
  <p:transition>
    <p:fade/>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5C0C7393-93AD-0D4D-B0F1-092F77E98FEF}"/>
              </a:ext>
            </a:extLst>
          </p:cNvPr>
          <p:cNvSpPr/>
          <p:nvPr/>
        </p:nvSpPr>
        <p:spPr bwMode="gray">
          <a:xfrm flipV="1">
            <a:off x="1524000" y="1665289"/>
            <a:ext cx="3048000" cy="347663"/>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6" name="Rectangle 85">
            <a:extLst>
              <a:ext uri="{FF2B5EF4-FFF2-40B4-BE49-F238E27FC236}">
                <a16:creationId xmlns:a16="http://schemas.microsoft.com/office/drawing/2014/main" id="{D11B94EC-BDF6-8A4E-8D6D-C4AE462B4323}"/>
              </a:ext>
            </a:extLst>
          </p:cNvPr>
          <p:cNvSpPr/>
          <p:nvPr/>
        </p:nvSpPr>
        <p:spPr bwMode="gray">
          <a:xfrm flipV="1">
            <a:off x="1524000" y="2008188"/>
            <a:ext cx="4529138" cy="347663"/>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7" name="Rectangle 86">
            <a:extLst>
              <a:ext uri="{FF2B5EF4-FFF2-40B4-BE49-F238E27FC236}">
                <a16:creationId xmlns:a16="http://schemas.microsoft.com/office/drawing/2014/main" id="{D29E5902-81F7-DC44-96B3-99431CBB145C}"/>
              </a:ext>
            </a:extLst>
          </p:cNvPr>
          <p:cNvSpPr/>
          <p:nvPr/>
        </p:nvSpPr>
        <p:spPr bwMode="gray">
          <a:xfrm flipV="1">
            <a:off x="1523999" y="2345533"/>
            <a:ext cx="6086476" cy="347663"/>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8" name="Rectangle 87">
            <a:extLst>
              <a:ext uri="{FF2B5EF4-FFF2-40B4-BE49-F238E27FC236}">
                <a16:creationId xmlns:a16="http://schemas.microsoft.com/office/drawing/2014/main" id="{4BE8606B-EDDC-F449-8C1F-9532AB11C6E6}"/>
              </a:ext>
            </a:extLst>
          </p:cNvPr>
          <p:cNvSpPr/>
          <p:nvPr/>
        </p:nvSpPr>
        <p:spPr bwMode="gray">
          <a:xfrm flipV="1">
            <a:off x="1523999" y="2693988"/>
            <a:ext cx="7572376" cy="34766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Rectangle 88">
            <a:extLst>
              <a:ext uri="{FF2B5EF4-FFF2-40B4-BE49-F238E27FC236}">
                <a16:creationId xmlns:a16="http://schemas.microsoft.com/office/drawing/2014/main" id="{B6AECA4B-2A44-CE44-9BBC-BDDA56A10AF6}"/>
              </a:ext>
            </a:extLst>
          </p:cNvPr>
          <p:cNvSpPr/>
          <p:nvPr/>
        </p:nvSpPr>
        <p:spPr bwMode="gray">
          <a:xfrm>
            <a:off x="4500558" y="1664389"/>
            <a:ext cx="76200" cy="2538413"/>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0" name="Rectangle 89">
            <a:extLst>
              <a:ext uri="{FF2B5EF4-FFF2-40B4-BE49-F238E27FC236}">
                <a16:creationId xmlns:a16="http://schemas.microsoft.com/office/drawing/2014/main" id="{23EB67FF-8692-D449-BAB2-2798B69A0D6E}"/>
              </a:ext>
            </a:extLst>
          </p:cNvPr>
          <p:cNvSpPr/>
          <p:nvPr/>
        </p:nvSpPr>
        <p:spPr bwMode="gray">
          <a:xfrm>
            <a:off x="6017020" y="2008920"/>
            <a:ext cx="76200" cy="219456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1" name="Rectangle 90">
            <a:extLst>
              <a:ext uri="{FF2B5EF4-FFF2-40B4-BE49-F238E27FC236}">
                <a16:creationId xmlns:a16="http://schemas.microsoft.com/office/drawing/2014/main" id="{26635743-4602-F847-B24C-778F4BD36DF3}"/>
              </a:ext>
            </a:extLst>
          </p:cNvPr>
          <p:cNvSpPr/>
          <p:nvPr/>
        </p:nvSpPr>
        <p:spPr bwMode="gray">
          <a:xfrm>
            <a:off x="7535006" y="2345289"/>
            <a:ext cx="73152" cy="1852288"/>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2" name="Rectangle 91">
            <a:extLst>
              <a:ext uri="{FF2B5EF4-FFF2-40B4-BE49-F238E27FC236}">
                <a16:creationId xmlns:a16="http://schemas.microsoft.com/office/drawing/2014/main" id="{24B477BD-BD3F-F44F-A3F5-D0708D8F0500}"/>
              </a:ext>
            </a:extLst>
          </p:cNvPr>
          <p:cNvSpPr/>
          <p:nvPr/>
        </p:nvSpPr>
        <p:spPr bwMode="gray">
          <a:xfrm>
            <a:off x="9051467" y="2694721"/>
            <a:ext cx="73152" cy="150285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3" name="Oval 92">
            <a:extLst>
              <a:ext uri="{FF2B5EF4-FFF2-40B4-BE49-F238E27FC236}">
                <a16:creationId xmlns:a16="http://schemas.microsoft.com/office/drawing/2014/main" id="{73E3C48D-E383-0048-A4CF-4933B984D635}"/>
              </a:ext>
            </a:extLst>
          </p:cNvPr>
          <p:cNvSpPr/>
          <p:nvPr/>
        </p:nvSpPr>
        <p:spPr bwMode="gray">
          <a:xfrm>
            <a:off x="3861192" y="3874520"/>
            <a:ext cx="1354935" cy="1354935"/>
          </a:xfrm>
          <a:prstGeom prst="ellips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6" name="Oval 175">
            <a:extLst>
              <a:ext uri="{FF2B5EF4-FFF2-40B4-BE49-F238E27FC236}">
                <a16:creationId xmlns:a16="http://schemas.microsoft.com/office/drawing/2014/main" id="{F8807B42-E860-BD4E-8CE9-2FDC5EF66099}"/>
              </a:ext>
            </a:extLst>
          </p:cNvPr>
          <p:cNvSpPr/>
          <p:nvPr/>
        </p:nvSpPr>
        <p:spPr bwMode="gray">
          <a:xfrm>
            <a:off x="4024103" y="4037431"/>
            <a:ext cx="1029115" cy="102911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7" name="Oval 176">
            <a:extLst>
              <a:ext uri="{FF2B5EF4-FFF2-40B4-BE49-F238E27FC236}">
                <a16:creationId xmlns:a16="http://schemas.microsoft.com/office/drawing/2014/main" id="{147F14D7-81A3-3247-928F-45A00E9BF20C}"/>
              </a:ext>
            </a:extLst>
          </p:cNvPr>
          <p:cNvSpPr/>
          <p:nvPr/>
        </p:nvSpPr>
        <p:spPr bwMode="gray">
          <a:xfrm>
            <a:off x="5377654" y="3874520"/>
            <a:ext cx="1354935" cy="135493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8" name="Oval 177">
            <a:extLst>
              <a:ext uri="{FF2B5EF4-FFF2-40B4-BE49-F238E27FC236}">
                <a16:creationId xmlns:a16="http://schemas.microsoft.com/office/drawing/2014/main" id="{D16D499F-B357-A142-9D21-6375284CA54D}"/>
              </a:ext>
            </a:extLst>
          </p:cNvPr>
          <p:cNvSpPr/>
          <p:nvPr/>
        </p:nvSpPr>
        <p:spPr bwMode="gray">
          <a:xfrm>
            <a:off x="5540565" y="4037431"/>
            <a:ext cx="1029115" cy="102911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9" name="Oval 178">
            <a:extLst>
              <a:ext uri="{FF2B5EF4-FFF2-40B4-BE49-F238E27FC236}">
                <a16:creationId xmlns:a16="http://schemas.microsoft.com/office/drawing/2014/main" id="{126C9638-3F70-6F48-8D9D-52CD118E5579}"/>
              </a:ext>
            </a:extLst>
          </p:cNvPr>
          <p:cNvSpPr/>
          <p:nvPr/>
        </p:nvSpPr>
        <p:spPr bwMode="gray">
          <a:xfrm>
            <a:off x="6894116" y="3874520"/>
            <a:ext cx="1354935" cy="1354935"/>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0" name="Oval 179">
            <a:extLst>
              <a:ext uri="{FF2B5EF4-FFF2-40B4-BE49-F238E27FC236}">
                <a16:creationId xmlns:a16="http://schemas.microsoft.com/office/drawing/2014/main" id="{310F38E3-BF2B-964E-8CDE-8B13D5DDDA49}"/>
              </a:ext>
            </a:extLst>
          </p:cNvPr>
          <p:cNvSpPr/>
          <p:nvPr/>
        </p:nvSpPr>
        <p:spPr bwMode="gray">
          <a:xfrm>
            <a:off x="7057469" y="4037431"/>
            <a:ext cx="1029115" cy="102911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1" name="Oval 180">
            <a:extLst>
              <a:ext uri="{FF2B5EF4-FFF2-40B4-BE49-F238E27FC236}">
                <a16:creationId xmlns:a16="http://schemas.microsoft.com/office/drawing/2014/main" id="{EB3FA97B-1FB6-6D42-B42D-D8EED5474E9E}"/>
              </a:ext>
            </a:extLst>
          </p:cNvPr>
          <p:cNvSpPr/>
          <p:nvPr/>
        </p:nvSpPr>
        <p:spPr bwMode="gray">
          <a:xfrm>
            <a:off x="8410577" y="3874520"/>
            <a:ext cx="1354935" cy="135493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2" name="Oval 181">
            <a:extLst>
              <a:ext uri="{FF2B5EF4-FFF2-40B4-BE49-F238E27FC236}">
                <a16:creationId xmlns:a16="http://schemas.microsoft.com/office/drawing/2014/main" id="{DAACAC59-B883-704E-9443-0D4F7CAC64FE}"/>
              </a:ext>
            </a:extLst>
          </p:cNvPr>
          <p:cNvSpPr/>
          <p:nvPr/>
        </p:nvSpPr>
        <p:spPr bwMode="gray">
          <a:xfrm>
            <a:off x="8573488" y="4037431"/>
            <a:ext cx="1029115" cy="102911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3" name="Rectangle 182">
            <a:extLst>
              <a:ext uri="{FF2B5EF4-FFF2-40B4-BE49-F238E27FC236}">
                <a16:creationId xmlns:a16="http://schemas.microsoft.com/office/drawing/2014/main" id="{8E74AEEC-1C6A-4C4C-BF43-E4F02168DDBC}"/>
              </a:ext>
            </a:extLst>
          </p:cNvPr>
          <p:cNvSpPr/>
          <p:nvPr/>
        </p:nvSpPr>
        <p:spPr>
          <a:xfrm>
            <a:off x="3777373" y="5406034"/>
            <a:ext cx="1422395" cy="369332"/>
          </a:xfrm>
          <a:prstGeom prst="rect">
            <a:avLst/>
          </a:prstGeom>
        </p:spPr>
        <p:txBody>
          <a:bodyPr wrap="square" lIns="0" tIns="0" rIns="0" bIns="0">
            <a:spAutoFit/>
          </a:bodyPr>
          <a:lstStyle/>
          <a:p>
            <a:pPr algn="ctr"/>
            <a:r>
              <a:rPr lang="en-US" sz="1200" dirty="0"/>
              <a:t>Lorem ipsum dolor sit </a:t>
            </a:r>
            <a:r>
              <a:rPr lang="en-US" sz="1200" dirty="0" err="1"/>
              <a:t>amet</a:t>
            </a:r>
            <a:r>
              <a:rPr lang="en-US" sz="1200" dirty="0"/>
              <a:t>, </a:t>
            </a:r>
            <a:r>
              <a:rPr lang="en-US" sz="1200" dirty="0" err="1"/>
              <a:t>consectetur</a:t>
            </a:r>
            <a:r>
              <a:rPr lang="en-US" sz="1200" dirty="0"/>
              <a:t> </a:t>
            </a:r>
            <a:endParaRPr lang="en-US" sz="1200" b="1" dirty="0">
              <a:solidFill>
                <a:schemeClr val="tx2"/>
              </a:solidFill>
            </a:endParaRPr>
          </a:p>
        </p:txBody>
      </p:sp>
      <p:sp>
        <p:nvSpPr>
          <p:cNvPr id="184" name="Rectangle 183">
            <a:extLst>
              <a:ext uri="{FF2B5EF4-FFF2-40B4-BE49-F238E27FC236}">
                <a16:creationId xmlns:a16="http://schemas.microsoft.com/office/drawing/2014/main" id="{65AC171C-ABE3-084F-8E98-298B6D9546F5}"/>
              </a:ext>
            </a:extLst>
          </p:cNvPr>
          <p:cNvSpPr/>
          <p:nvPr/>
        </p:nvSpPr>
        <p:spPr>
          <a:xfrm>
            <a:off x="5384803" y="5406034"/>
            <a:ext cx="1422395" cy="369332"/>
          </a:xfrm>
          <a:prstGeom prst="rect">
            <a:avLst/>
          </a:prstGeom>
        </p:spPr>
        <p:txBody>
          <a:bodyPr wrap="square" lIns="0" tIns="0" rIns="0" bIns="0">
            <a:spAutoFit/>
          </a:bodyPr>
          <a:lstStyle/>
          <a:p>
            <a:pPr algn="ctr"/>
            <a:r>
              <a:rPr lang="en-US" sz="1200" dirty="0"/>
              <a:t>Lorem ipsum dolor sit </a:t>
            </a:r>
            <a:r>
              <a:rPr lang="en-US" sz="1200" dirty="0" err="1"/>
              <a:t>amet</a:t>
            </a:r>
            <a:r>
              <a:rPr lang="en-US" sz="1200" dirty="0"/>
              <a:t>, </a:t>
            </a:r>
            <a:r>
              <a:rPr lang="en-US" sz="1200" dirty="0" err="1"/>
              <a:t>consectetur</a:t>
            </a:r>
            <a:r>
              <a:rPr lang="en-US" sz="1200" dirty="0"/>
              <a:t> </a:t>
            </a:r>
            <a:endParaRPr lang="en-US" sz="1200" b="1" dirty="0">
              <a:solidFill>
                <a:schemeClr val="accent1"/>
              </a:solidFill>
            </a:endParaRPr>
          </a:p>
        </p:txBody>
      </p:sp>
      <p:sp>
        <p:nvSpPr>
          <p:cNvPr id="185" name="Rectangle 184">
            <a:extLst>
              <a:ext uri="{FF2B5EF4-FFF2-40B4-BE49-F238E27FC236}">
                <a16:creationId xmlns:a16="http://schemas.microsoft.com/office/drawing/2014/main" id="{DB2D192C-598C-2242-A027-0573D1EA1AE8}"/>
              </a:ext>
            </a:extLst>
          </p:cNvPr>
          <p:cNvSpPr/>
          <p:nvPr/>
        </p:nvSpPr>
        <p:spPr>
          <a:xfrm>
            <a:off x="6899278" y="5406034"/>
            <a:ext cx="1422395" cy="369332"/>
          </a:xfrm>
          <a:prstGeom prst="rect">
            <a:avLst/>
          </a:prstGeom>
        </p:spPr>
        <p:txBody>
          <a:bodyPr wrap="square" lIns="0" tIns="0" rIns="0" bIns="0">
            <a:spAutoFit/>
          </a:bodyPr>
          <a:lstStyle/>
          <a:p>
            <a:pPr algn="ctr"/>
            <a:r>
              <a:rPr lang="en-US" sz="1200" dirty="0"/>
              <a:t>Lorem ipsum dolor sit </a:t>
            </a:r>
            <a:r>
              <a:rPr lang="en-US" sz="1200" dirty="0" err="1"/>
              <a:t>amet</a:t>
            </a:r>
            <a:r>
              <a:rPr lang="en-US" sz="1200" dirty="0"/>
              <a:t>, </a:t>
            </a:r>
            <a:r>
              <a:rPr lang="en-US" sz="1200" dirty="0" err="1"/>
              <a:t>consectetur</a:t>
            </a:r>
            <a:r>
              <a:rPr lang="en-US" sz="1200" dirty="0"/>
              <a:t> </a:t>
            </a:r>
            <a:endParaRPr lang="en-US" sz="1200" b="1" dirty="0">
              <a:solidFill>
                <a:schemeClr val="accent2"/>
              </a:solidFill>
            </a:endParaRPr>
          </a:p>
        </p:txBody>
      </p:sp>
      <p:sp>
        <p:nvSpPr>
          <p:cNvPr id="186" name="Rectangle 185">
            <a:extLst>
              <a:ext uri="{FF2B5EF4-FFF2-40B4-BE49-F238E27FC236}">
                <a16:creationId xmlns:a16="http://schemas.microsoft.com/office/drawing/2014/main" id="{246EC434-6410-A24E-97CF-D9356CC26FCE}"/>
              </a:ext>
            </a:extLst>
          </p:cNvPr>
          <p:cNvSpPr/>
          <p:nvPr/>
        </p:nvSpPr>
        <p:spPr>
          <a:xfrm>
            <a:off x="8382001" y="5406034"/>
            <a:ext cx="1422395" cy="369332"/>
          </a:xfrm>
          <a:prstGeom prst="rect">
            <a:avLst/>
          </a:prstGeom>
        </p:spPr>
        <p:txBody>
          <a:bodyPr wrap="square" lIns="0" tIns="0" rIns="0" bIns="0">
            <a:spAutoFit/>
          </a:bodyPr>
          <a:lstStyle/>
          <a:p>
            <a:pPr algn="ctr"/>
            <a:r>
              <a:rPr lang="en-US" sz="1200" dirty="0"/>
              <a:t>Lorem ipsum dolor sit </a:t>
            </a:r>
            <a:r>
              <a:rPr lang="en-US" sz="1200" dirty="0" err="1"/>
              <a:t>amet</a:t>
            </a:r>
            <a:r>
              <a:rPr lang="en-US" sz="1200" dirty="0"/>
              <a:t>, </a:t>
            </a:r>
            <a:r>
              <a:rPr lang="en-US" sz="1200" dirty="0" err="1"/>
              <a:t>consectetur</a:t>
            </a:r>
            <a:r>
              <a:rPr lang="en-US" sz="1200" dirty="0"/>
              <a:t> </a:t>
            </a:r>
            <a:endParaRPr lang="en-US" sz="1200" b="1" dirty="0">
              <a:solidFill>
                <a:schemeClr val="accent3"/>
              </a:solidFill>
            </a:endParaRPr>
          </a:p>
        </p:txBody>
      </p:sp>
      <p:sp>
        <p:nvSpPr>
          <p:cNvPr id="187" name="Rectangle 186">
            <a:extLst>
              <a:ext uri="{FF2B5EF4-FFF2-40B4-BE49-F238E27FC236}">
                <a16:creationId xmlns:a16="http://schemas.microsoft.com/office/drawing/2014/main" id="{288E2E94-0F23-3246-8031-C66D117D25DB}"/>
              </a:ext>
            </a:extLst>
          </p:cNvPr>
          <p:cNvSpPr/>
          <p:nvPr/>
        </p:nvSpPr>
        <p:spPr>
          <a:xfrm>
            <a:off x="4092971" y="4322695"/>
            <a:ext cx="891379" cy="458587"/>
          </a:xfrm>
          <a:prstGeom prst="rect">
            <a:avLst/>
          </a:prstGeom>
        </p:spPr>
        <p:txBody>
          <a:bodyPr wrap="square" lIns="0" rIns="0">
            <a:spAutoFit/>
          </a:bodyPr>
          <a:lstStyle/>
          <a:p>
            <a:pPr algn="ctr">
              <a:lnSpc>
                <a:spcPct val="85000"/>
              </a:lnSpc>
            </a:pPr>
            <a:r>
              <a:rPr lang="en-US" sz="2800" dirty="0">
                <a:solidFill>
                  <a:schemeClr val="tx2"/>
                </a:solidFill>
              </a:rPr>
              <a:t>37%</a:t>
            </a:r>
            <a:endParaRPr lang="en-US" sz="2000" dirty="0">
              <a:solidFill>
                <a:schemeClr val="tx2"/>
              </a:solidFill>
            </a:endParaRPr>
          </a:p>
        </p:txBody>
      </p:sp>
      <p:sp>
        <p:nvSpPr>
          <p:cNvPr id="188" name="Rectangle 187">
            <a:extLst>
              <a:ext uri="{FF2B5EF4-FFF2-40B4-BE49-F238E27FC236}">
                <a16:creationId xmlns:a16="http://schemas.microsoft.com/office/drawing/2014/main" id="{1D7B7095-A966-2F4E-88BC-4DB6111DBBF3}"/>
              </a:ext>
            </a:extLst>
          </p:cNvPr>
          <p:cNvSpPr/>
          <p:nvPr/>
        </p:nvSpPr>
        <p:spPr>
          <a:xfrm>
            <a:off x="5572231" y="4322695"/>
            <a:ext cx="965780" cy="458587"/>
          </a:xfrm>
          <a:prstGeom prst="rect">
            <a:avLst/>
          </a:prstGeom>
        </p:spPr>
        <p:txBody>
          <a:bodyPr wrap="square" lIns="0" rIns="0">
            <a:spAutoFit/>
          </a:bodyPr>
          <a:lstStyle/>
          <a:p>
            <a:pPr algn="ctr">
              <a:lnSpc>
                <a:spcPct val="85000"/>
              </a:lnSpc>
            </a:pPr>
            <a:r>
              <a:rPr lang="en-US" sz="2800" dirty="0">
                <a:solidFill>
                  <a:schemeClr val="accent1"/>
                </a:solidFill>
              </a:rPr>
              <a:t>45%</a:t>
            </a:r>
            <a:endParaRPr lang="en-US" sz="2000" dirty="0">
              <a:solidFill>
                <a:schemeClr val="accent1"/>
              </a:solidFill>
            </a:endParaRPr>
          </a:p>
        </p:txBody>
      </p:sp>
      <p:sp>
        <p:nvSpPr>
          <p:cNvPr id="189" name="Rectangle 188">
            <a:extLst>
              <a:ext uri="{FF2B5EF4-FFF2-40B4-BE49-F238E27FC236}">
                <a16:creationId xmlns:a16="http://schemas.microsoft.com/office/drawing/2014/main" id="{6EF415B4-FE2C-C349-AC87-3B13AEC55985}"/>
              </a:ext>
            </a:extLst>
          </p:cNvPr>
          <p:cNvSpPr/>
          <p:nvPr/>
        </p:nvSpPr>
        <p:spPr>
          <a:xfrm>
            <a:off x="7095476" y="4322695"/>
            <a:ext cx="953101" cy="458587"/>
          </a:xfrm>
          <a:prstGeom prst="rect">
            <a:avLst/>
          </a:prstGeom>
        </p:spPr>
        <p:txBody>
          <a:bodyPr wrap="square" lIns="0" rIns="0">
            <a:spAutoFit/>
          </a:bodyPr>
          <a:lstStyle/>
          <a:p>
            <a:pPr algn="ctr">
              <a:lnSpc>
                <a:spcPct val="85000"/>
              </a:lnSpc>
            </a:pPr>
            <a:r>
              <a:rPr lang="en-US" sz="2800" dirty="0">
                <a:solidFill>
                  <a:schemeClr val="accent2"/>
                </a:solidFill>
              </a:rPr>
              <a:t>66%</a:t>
            </a:r>
            <a:endParaRPr lang="en-US" sz="2000" dirty="0">
              <a:solidFill>
                <a:schemeClr val="accent2"/>
              </a:solidFill>
            </a:endParaRPr>
          </a:p>
        </p:txBody>
      </p:sp>
      <p:sp>
        <p:nvSpPr>
          <p:cNvPr id="190" name="Rectangle 189">
            <a:extLst>
              <a:ext uri="{FF2B5EF4-FFF2-40B4-BE49-F238E27FC236}">
                <a16:creationId xmlns:a16="http://schemas.microsoft.com/office/drawing/2014/main" id="{B94CA404-B33D-6A43-9117-738A2F3BBC4E}"/>
              </a:ext>
            </a:extLst>
          </p:cNvPr>
          <p:cNvSpPr/>
          <p:nvPr/>
        </p:nvSpPr>
        <p:spPr>
          <a:xfrm>
            <a:off x="8763336" y="4322695"/>
            <a:ext cx="649416" cy="458587"/>
          </a:xfrm>
          <a:prstGeom prst="rect">
            <a:avLst/>
          </a:prstGeom>
        </p:spPr>
        <p:txBody>
          <a:bodyPr wrap="square" lIns="0" rIns="0">
            <a:spAutoFit/>
          </a:bodyPr>
          <a:lstStyle/>
          <a:p>
            <a:pPr algn="ctr">
              <a:lnSpc>
                <a:spcPct val="85000"/>
              </a:lnSpc>
            </a:pPr>
            <a:r>
              <a:rPr lang="en-US" sz="2800" dirty="0">
                <a:solidFill>
                  <a:schemeClr val="accent3"/>
                </a:solidFill>
              </a:rPr>
              <a:t>7%</a:t>
            </a:r>
            <a:endParaRPr lang="en-US" sz="2000" dirty="0">
              <a:solidFill>
                <a:schemeClr val="accent3"/>
              </a:solidFill>
            </a:endParaRPr>
          </a:p>
        </p:txBody>
      </p:sp>
      <p:sp>
        <p:nvSpPr>
          <p:cNvPr id="191" name="Rectangle 190">
            <a:extLst>
              <a:ext uri="{FF2B5EF4-FFF2-40B4-BE49-F238E27FC236}">
                <a16:creationId xmlns:a16="http://schemas.microsoft.com/office/drawing/2014/main" id="{E7FFCDFE-1BE8-544B-8302-D98B0CBF8D72}"/>
              </a:ext>
            </a:extLst>
          </p:cNvPr>
          <p:cNvSpPr/>
          <p:nvPr/>
        </p:nvSpPr>
        <p:spPr>
          <a:xfrm>
            <a:off x="1904796" y="1665288"/>
            <a:ext cx="652743" cy="369332"/>
          </a:xfrm>
          <a:prstGeom prst="rect">
            <a:avLst/>
          </a:prstGeom>
        </p:spPr>
        <p:txBody>
          <a:bodyPr wrap="none">
            <a:spAutoFit/>
          </a:bodyPr>
          <a:lstStyle/>
          <a:p>
            <a:r>
              <a:rPr lang="en-US" b="1" dirty="0">
                <a:solidFill>
                  <a:schemeClr val="bg1"/>
                </a:solidFill>
              </a:rPr>
              <a:t>2905</a:t>
            </a:r>
          </a:p>
        </p:txBody>
      </p:sp>
      <p:sp>
        <p:nvSpPr>
          <p:cNvPr id="192" name="Rectangle 191">
            <a:extLst>
              <a:ext uri="{FF2B5EF4-FFF2-40B4-BE49-F238E27FC236}">
                <a16:creationId xmlns:a16="http://schemas.microsoft.com/office/drawing/2014/main" id="{5398DA05-EE90-AC47-87EB-8047410E7DB4}"/>
              </a:ext>
            </a:extLst>
          </p:cNvPr>
          <p:cNvSpPr/>
          <p:nvPr/>
        </p:nvSpPr>
        <p:spPr>
          <a:xfrm>
            <a:off x="1904796" y="2024625"/>
            <a:ext cx="652743" cy="369332"/>
          </a:xfrm>
          <a:prstGeom prst="rect">
            <a:avLst/>
          </a:prstGeom>
        </p:spPr>
        <p:txBody>
          <a:bodyPr wrap="none">
            <a:spAutoFit/>
          </a:bodyPr>
          <a:lstStyle/>
          <a:p>
            <a:r>
              <a:rPr lang="en-US" b="1" dirty="0">
                <a:solidFill>
                  <a:schemeClr val="bg1"/>
                </a:solidFill>
              </a:rPr>
              <a:t>3415</a:t>
            </a:r>
          </a:p>
        </p:txBody>
      </p:sp>
      <p:sp>
        <p:nvSpPr>
          <p:cNvPr id="193" name="Rectangle 192">
            <a:extLst>
              <a:ext uri="{FF2B5EF4-FFF2-40B4-BE49-F238E27FC236}">
                <a16:creationId xmlns:a16="http://schemas.microsoft.com/office/drawing/2014/main" id="{727DC36D-73E2-1B47-8427-6DAF97D0CFFB}"/>
              </a:ext>
            </a:extLst>
          </p:cNvPr>
          <p:cNvSpPr/>
          <p:nvPr/>
        </p:nvSpPr>
        <p:spPr>
          <a:xfrm>
            <a:off x="1904796" y="2355683"/>
            <a:ext cx="652743" cy="369332"/>
          </a:xfrm>
          <a:prstGeom prst="rect">
            <a:avLst/>
          </a:prstGeom>
        </p:spPr>
        <p:txBody>
          <a:bodyPr wrap="none">
            <a:spAutoFit/>
          </a:bodyPr>
          <a:lstStyle/>
          <a:p>
            <a:r>
              <a:rPr lang="en-US" b="1" dirty="0">
                <a:solidFill>
                  <a:schemeClr val="bg1"/>
                </a:solidFill>
              </a:rPr>
              <a:t>4905</a:t>
            </a:r>
          </a:p>
        </p:txBody>
      </p:sp>
      <p:sp>
        <p:nvSpPr>
          <p:cNvPr id="194" name="Rectangle 193">
            <a:extLst>
              <a:ext uri="{FF2B5EF4-FFF2-40B4-BE49-F238E27FC236}">
                <a16:creationId xmlns:a16="http://schemas.microsoft.com/office/drawing/2014/main" id="{FCA5391B-8310-0E48-B9EA-A9ADB9D32DD1}"/>
              </a:ext>
            </a:extLst>
          </p:cNvPr>
          <p:cNvSpPr/>
          <p:nvPr/>
        </p:nvSpPr>
        <p:spPr>
          <a:xfrm>
            <a:off x="1904796" y="2686089"/>
            <a:ext cx="652743" cy="369332"/>
          </a:xfrm>
          <a:prstGeom prst="rect">
            <a:avLst/>
          </a:prstGeom>
        </p:spPr>
        <p:txBody>
          <a:bodyPr wrap="none">
            <a:spAutoFit/>
          </a:bodyPr>
          <a:lstStyle/>
          <a:p>
            <a:r>
              <a:rPr lang="en-US" b="1" dirty="0">
                <a:solidFill>
                  <a:schemeClr val="bg1"/>
                </a:solidFill>
              </a:rPr>
              <a:t>4489</a:t>
            </a:r>
          </a:p>
        </p:txBody>
      </p:sp>
      <p:grpSp>
        <p:nvGrpSpPr>
          <p:cNvPr id="195" name="Group 112">
            <a:extLst>
              <a:ext uri="{FF2B5EF4-FFF2-40B4-BE49-F238E27FC236}">
                <a16:creationId xmlns:a16="http://schemas.microsoft.com/office/drawing/2014/main" id="{2C65DB84-E9AA-A147-9035-CA0F316E6960}"/>
              </a:ext>
            </a:extLst>
          </p:cNvPr>
          <p:cNvGrpSpPr>
            <a:grpSpLocks noChangeAspect="1"/>
          </p:cNvGrpSpPr>
          <p:nvPr/>
        </p:nvGrpSpPr>
        <p:grpSpPr bwMode="auto">
          <a:xfrm>
            <a:off x="4669168" y="1584048"/>
            <a:ext cx="379210" cy="379210"/>
            <a:chOff x="1157" y="393"/>
            <a:chExt cx="340" cy="340"/>
          </a:xfrm>
          <a:solidFill>
            <a:schemeClr val="tx2"/>
          </a:solidFill>
        </p:grpSpPr>
        <p:sp>
          <p:nvSpPr>
            <p:cNvPr id="196" name="Freeform 113">
              <a:extLst>
                <a:ext uri="{FF2B5EF4-FFF2-40B4-BE49-F238E27FC236}">
                  <a16:creationId xmlns:a16="http://schemas.microsoft.com/office/drawing/2014/main" id="{6C8630D9-8C3D-2749-8FC3-50FCF3A81249}"/>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7" name="Freeform 114">
              <a:extLst>
                <a:ext uri="{FF2B5EF4-FFF2-40B4-BE49-F238E27FC236}">
                  <a16:creationId xmlns:a16="http://schemas.microsoft.com/office/drawing/2014/main" id="{C3EC068C-4E23-1F4F-9A64-77564F7F1B8F}"/>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8" name="Group 35">
            <a:extLst>
              <a:ext uri="{FF2B5EF4-FFF2-40B4-BE49-F238E27FC236}">
                <a16:creationId xmlns:a16="http://schemas.microsoft.com/office/drawing/2014/main" id="{3CAD0EC3-92BB-CB41-B17A-1A23ABF02EC9}"/>
              </a:ext>
            </a:extLst>
          </p:cNvPr>
          <p:cNvGrpSpPr>
            <a:grpSpLocks noChangeAspect="1"/>
          </p:cNvGrpSpPr>
          <p:nvPr/>
        </p:nvGrpSpPr>
        <p:grpSpPr bwMode="auto">
          <a:xfrm>
            <a:off x="6186488" y="1924440"/>
            <a:ext cx="384048" cy="384048"/>
            <a:chOff x="2709" y="6"/>
            <a:chExt cx="340" cy="340"/>
          </a:xfrm>
          <a:solidFill>
            <a:schemeClr val="accent1"/>
          </a:solidFill>
        </p:grpSpPr>
        <p:sp>
          <p:nvSpPr>
            <p:cNvPr id="199" name="Freeform 36">
              <a:extLst>
                <a:ext uri="{FF2B5EF4-FFF2-40B4-BE49-F238E27FC236}">
                  <a16:creationId xmlns:a16="http://schemas.microsoft.com/office/drawing/2014/main" id="{BC835FE6-22F9-224F-BE85-E01622D44A26}"/>
                </a:ext>
              </a:extLst>
            </p:cNvPr>
            <p:cNvSpPr>
              <a:spLocks noEditPoints="1"/>
            </p:cNvSpPr>
            <p:nvPr/>
          </p:nvSpPr>
          <p:spPr bwMode="auto">
            <a:xfrm>
              <a:off x="2779" y="84"/>
              <a:ext cx="71" cy="92"/>
            </a:xfrm>
            <a:custGeom>
              <a:avLst/>
              <a:gdLst>
                <a:gd name="T0" fmla="*/ 54 w 107"/>
                <a:gd name="T1" fmla="*/ 139 h 139"/>
                <a:gd name="T2" fmla="*/ 61 w 107"/>
                <a:gd name="T3" fmla="*/ 136 h 139"/>
                <a:gd name="T4" fmla="*/ 107 w 107"/>
                <a:gd name="T5" fmla="*/ 53 h 139"/>
                <a:gd name="T6" fmla="*/ 54 w 107"/>
                <a:gd name="T7" fmla="*/ 0 h 139"/>
                <a:gd name="T8" fmla="*/ 0 w 107"/>
                <a:gd name="T9" fmla="*/ 53 h 139"/>
                <a:gd name="T10" fmla="*/ 46 w 107"/>
                <a:gd name="T11" fmla="*/ 136 h 139"/>
                <a:gd name="T12" fmla="*/ 54 w 107"/>
                <a:gd name="T13" fmla="*/ 139 h 139"/>
                <a:gd name="T14" fmla="*/ 54 w 107"/>
                <a:gd name="T15" fmla="*/ 21 h 139"/>
                <a:gd name="T16" fmla="*/ 86 w 107"/>
                <a:gd name="T17" fmla="*/ 53 h 139"/>
                <a:gd name="T18" fmla="*/ 54 w 107"/>
                <a:gd name="T19" fmla="*/ 113 h 139"/>
                <a:gd name="T20" fmla="*/ 22 w 107"/>
                <a:gd name="T21" fmla="*/ 53 h 139"/>
                <a:gd name="T22" fmla="*/ 54 w 107"/>
                <a:gd name="T23" fmla="*/ 2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139">
                  <a:moveTo>
                    <a:pt x="54" y="139"/>
                  </a:moveTo>
                  <a:cubicBezTo>
                    <a:pt x="56" y="139"/>
                    <a:pt x="59" y="138"/>
                    <a:pt x="61" y="136"/>
                  </a:cubicBezTo>
                  <a:cubicBezTo>
                    <a:pt x="107" y="90"/>
                    <a:pt x="107" y="55"/>
                    <a:pt x="107" y="53"/>
                  </a:cubicBezTo>
                  <a:cubicBezTo>
                    <a:pt x="107" y="24"/>
                    <a:pt x="83" y="0"/>
                    <a:pt x="54" y="0"/>
                  </a:cubicBezTo>
                  <a:cubicBezTo>
                    <a:pt x="24" y="0"/>
                    <a:pt x="0" y="24"/>
                    <a:pt x="0" y="53"/>
                  </a:cubicBezTo>
                  <a:cubicBezTo>
                    <a:pt x="0" y="55"/>
                    <a:pt x="0" y="90"/>
                    <a:pt x="46" y="136"/>
                  </a:cubicBezTo>
                  <a:cubicBezTo>
                    <a:pt x="48" y="138"/>
                    <a:pt x="51" y="139"/>
                    <a:pt x="54" y="139"/>
                  </a:cubicBezTo>
                  <a:close/>
                  <a:moveTo>
                    <a:pt x="54" y="21"/>
                  </a:moveTo>
                  <a:cubicBezTo>
                    <a:pt x="71" y="21"/>
                    <a:pt x="86" y="36"/>
                    <a:pt x="86" y="53"/>
                  </a:cubicBezTo>
                  <a:cubicBezTo>
                    <a:pt x="86" y="54"/>
                    <a:pt x="85" y="78"/>
                    <a:pt x="54" y="113"/>
                  </a:cubicBezTo>
                  <a:cubicBezTo>
                    <a:pt x="23" y="78"/>
                    <a:pt x="22" y="54"/>
                    <a:pt x="22" y="53"/>
                  </a:cubicBezTo>
                  <a:cubicBezTo>
                    <a:pt x="22" y="36"/>
                    <a:pt x="36" y="21"/>
                    <a:pt x="54"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0" name="Oval 37">
              <a:extLst>
                <a:ext uri="{FF2B5EF4-FFF2-40B4-BE49-F238E27FC236}">
                  <a16:creationId xmlns:a16="http://schemas.microsoft.com/office/drawing/2014/main" id="{79A90126-D91B-5B47-9E66-18920D41FF65}"/>
                </a:ext>
              </a:extLst>
            </p:cNvPr>
            <p:cNvSpPr>
              <a:spLocks noChangeArrowheads="1"/>
            </p:cNvSpPr>
            <p:nvPr/>
          </p:nvSpPr>
          <p:spPr bwMode="auto">
            <a:xfrm>
              <a:off x="2808" y="112"/>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1" name="Freeform 38">
              <a:extLst>
                <a:ext uri="{FF2B5EF4-FFF2-40B4-BE49-F238E27FC236}">
                  <a16:creationId xmlns:a16="http://schemas.microsoft.com/office/drawing/2014/main" id="{7962DB6B-8A89-764C-AD7A-28F0A4BBD300}"/>
                </a:ext>
              </a:extLst>
            </p:cNvPr>
            <p:cNvSpPr>
              <a:spLocks noEditPoints="1"/>
            </p:cNvSpPr>
            <p:nvPr/>
          </p:nvSpPr>
          <p:spPr bwMode="auto">
            <a:xfrm>
              <a:off x="2808" y="105"/>
              <a:ext cx="170" cy="170"/>
            </a:xfrm>
            <a:custGeom>
              <a:avLst/>
              <a:gdLst>
                <a:gd name="T0" fmla="*/ 128 w 256"/>
                <a:gd name="T1" fmla="*/ 0 h 256"/>
                <a:gd name="T2" fmla="*/ 93 w 256"/>
                <a:gd name="T3" fmla="*/ 5 h 256"/>
                <a:gd name="T4" fmla="*/ 86 w 256"/>
                <a:gd name="T5" fmla="*/ 18 h 256"/>
                <a:gd name="T6" fmla="*/ 94 w 256"/>
                <a:gd name="T7" fmla="*/ 25 h 256"/>
                <a:gd name="T8" fmla="*/ 78 w 256"/>
                <a:gd name="T9" fmla="*/ 75 h 256"/>
                <a:gd name="T10" fmla="*/ 75 w 256"/>
                <a:gd name="T11" fmla="*/ 75 h 256"/>
                <a:gd name="T12" fmla="*/ 64 w 256"/>
                <a:gd name="T13" fmla="*/ 85 h 256"/>
                <a:gd name="T14" fmla="*/ 75 w 256"/>
                <a:gd name="T15" fmla="*/ 96 h 256"/>
                <a:gd name="T16" fmla="*/ 75 w 256"/>
                <a:gd name="T17" fmla="*/ 96 h 256"/>
                <a:gd name="T18" fmla="*/ 73 w 256"/>
                <a:gd name="T19" fmla="*/ 128 h 256"/>
                <a:gd name="T20" fmla="*/ 75 w 256"/>
                <a:gd name="T21" fmla="*/ 160 h 256"/>
                <a:gd name="T22" fmla="*/ 26 w 256"/>
                <a:gd name="T23" fmla="*/ 160 h 256"/>
                <a:gd name="T24" fmla="*/ 22 w 256"/>
                <a:gd name="T25" fmla="*/ 138 h 256"/>
                <a:gd name="T26" fmla="*/ 10 w 256"/>
                <a:gd name="T27" fmla="*/ 128 h 256"/>
                <a:gd name="T28" fmla="*/ 1 w 256"/>
                <a:gd name="T29" fmla="*/ 140 h 256"/>
                <a:gd name="T30" fmla="*/ 128 w 256"/>
                <a:gd name="T31" fmla="*/ 256 h 256"/>
                <a:gd name="T32" fmla="*/ 256 w 256"/>
                <a:gd name="T33" fmla="*/ 128 h 256"/>
                <a:gd name="T34" fmla="*/ 128 w 256"/>
                <a:gd name="T35" fmla="*/ 0 h 256"/>
                <a:gd name="T36" fmla="*/ 36 w 256"/>
                <a:gd name="T37" fmla="*/ 181 h 256"/>
                <a:gd name="T38" fmla="*/ 78 w 256"/>
                <a:gd name="T39" fmla="*/ 181 h 256"/>
                <a:gd name="T40" fmla="*/ 93 w 256"/>
                <a:gd name="T41" fmla="*/ 229 h 256"/>
                <a:gd name="T42" fmla="*/ 36 w 256"/>
                <a:gd name="T43" fmla="*/ 181 h 256"/>
                <a:gd name="T44" fmla="*/ 220 w 256"/>
                <a:gd name="T45" fmla="*/ 75 h 256"/>
                <a:gd name="T46" fmla="*/ 178 w 256"/>
                <a:gd name="T47" fmla="*/ 75 h 256"/>
                <a:gd name="T48" fmla="*/ 163 w 256"/>
                <a:gd name="T49" fmla="*/ 27 h 256"/>
                <a:gd name="T50" fmla="*/ 220 w 256"/>
                <a:gd name="T51" fmla="*/ 75 h 256"/>
                <a:gd name="T52" fmla="*/ 128 w 256"/>
                <a:gd name="T53" fmla="*/ 21 h 256"/>
                <a:gd name="T54" fmla="*/ 156 w 256"/>
                <a:gd name="T55" fmla="*/ 75 h 256"/>
                <a:gd name="T56" fmla="*/ 100 w 256"/>
                <a:gd name="T57" fmla="*/ 75 h 256"/>
                <a:gd name="T58" fmla="*/ 128 w 256"/>
                <a:gd name="T59" fmla="*/ 21 h 256"/>
                <a:gd name="T60" fmla="*/ 128 w 256"/>
                <a:gd name="T61" fmla="*/ 235 h 256"/>
                <a:gd name="T62" fmla="*/ 100 w 256"/>
                <a:gd name="T63" fmla="*/ 181 h 256"/>
                <a:gd name="T64" fmla="*/ 156 w 256"/>
                <a:gd name="T65" fmla="*/ 181 h 256"/>
                <a:gd name="T66" fmla="*/ 128 w 256"/>
                <a:gd name="T67" fmla="*/ 235 h 256"/>
                <a:gd name="T68" fmla="*/ 160 w 256"/>
                <a:gd name="T69" fmla="*/ 160 h 256"/>
                <a:gd name="T70" fmla="*/ 96 w 256"/>
                <a:gd name="T71" fmla="*/ 160 h 256"/>
                <a:gd name="T72" fmla="*/ 95 w 256"/>
                <a:gd name="T73" fmla="*/ 128 h 256"/>
                <a:gd name="T74" fmla="*/ 96 w 256"/>
                <a:gd name="T75" fmla="*/ 96 h 256"/>
                <a:gd name="T76" fmla="*/ 160 w 256"/>
                <a:gd name="T77" fmla="*/ 96 h 256"/>
                <a:gd name="T78" fmla="*/ 161 w 256"/>
                <a:gd name="T79" fmla="*/ 128 h 256"/>
                <a:gd name="T80" fmla="*/ 160 w 256"/>
                <a:gd name="T81" fmla="*/ 160 h 256"/>
                <a:gd name="T82" fmla="*/ 163 w 256"/>
                <a:gd name="T83" fmla="*/ 229 h 256"/>
                <a:gd name="T84" fmla="*/ 178 w 256"/>
                <a:gd name="T85" fmla="*/ 181 h 256"/>
                <a:gd name="T86" fmla="*/ 220 w 256"/>
                <a:gd name="T87" fmla="*/ 181 h 256"/>
                <a:gd name="T88" fmla="*/ 163 w 256"/>
                <a:gd name="T89" fmla="*/ 229 h 256"/>
                <a:gd name="T90" fmla="*/ 181 w 256"/>
                <a:gd name="T91" fmla="*/ 160 h 256"/>
                <a:gd name="T92" fmla="*/ 183 w 256"/>
                <a:gd name="T93" fmla="*/ 128 h 256"/>
                <a:gd name="T94" fmla="*/ 181 w 256"/>
                <a:gd name="T95" fmla="*/ 96 h 256"/>
                <a:gd name="T96" fmla="*/ 230 w 256"/>
                <a:gd name="T97" fmla="*/ 96 h 256"/>
                <a:gd name="T98" fmla="*/ 235 w 256"/>
                <a:gd name="T99" fmla="*/ 128 h 256"/>
                <a:gd name="T100" fmla="*/ 230 w 256"/>
                <a:gd name="T101" fmla="*/ 160 h 256"/>
                <a:gd name="T102" fmla="*/ 181 w 256"/>
                <a:gd name="T103" fmla="*/ 16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6" h="256">
                  <a:moveTo>
                    <a:pt x="128" y="0"/>
                  </a:moveTo>
                  <a:cubicBezTo>
                    <a:pt x="116" y="0"/>
                    <a:pt x="104" y="2"/>
                    <a:pt x="93" y="5"/>
                  </a:cubicBezTo>
                  <a:cubicBezTo>
                    <a:pt x="87" y="6"/>
                    <a:pt x="84" y="12"/>
                    <a:pt x="86" y="18"/>
                  </a:cubicBezTo>
                  <a:cubicBezTo>
                    <a:pt x="87" y="22"/>
                    <a:pt x="90" y="25"/>
                    <a:pt x="94" y="25"/>
                  </a:cubicBezTo>
                  <a:cubicBezTo>
                    <a:pt x="87" y="39"/>
                    <a:pt x="81" y="56"/>
                    <a:pt x="78" y="75"/>
                  </a:cubicBezTo>
                  <a:cubicBezTo>
                    <a:pt x="75" y="75"/>
                    <a:pt x="75" y="75"/>
                    <a:pt x="75" y="75"/>
                  </a:cubicBezTo>
                  <a:cubicBezTo>
                    <a:pt x="69" y="75"/>
                    <a:pt x="64" y="79"/>
                    <a:pt x="64" y="85"/>
                  </a:cubicBezTo>
                  <a:cubicBezTo>
                    <a:pt x="64" y="91"/>
                    <a:pt x="69" y="96"/>
                    <a:pt x="75" y="96"/>
                  </a:cubicBezTo>
                  <a:cubicBezTo>
                    <a:pt x="75" y="96"/>
                    <a:pt x="75" y="96"/>
                    <a:pt x="75" y="96"/>
                  </a:cubicBezTo>
                  <a:cubicBezTo>
                    <a:pt x="74" y="106"/>
                    <a:pt x="73" y="117"/>
                    <a:pt x="73" y="128"/>
                  </a:cubicBezTo>
                  <a:cubicBezTo>
                    <a:pt x="73" y="139"/>
                    <a:pt x="74" y="150"/>
                    <a:pt x="75" y="160"/>
                  </a:cubicBezTo>
                  <a:cubicBezTo>
                    <a:pt x="26" y="160"/>
                    <a:pt x="26" y="160"/>
                    <a:pt x="26" y="160"/>
                  </a:cubicBezTo>
                  <a:cubicBezTo>
                    <a:pt x="24" y="153"/>
                    <a:pt x="22" y="145"/>
                    <a:pt x="22" y="138"/>
                  </a:cubicBezTo>
                  <a:cubicBezTo>
                    <a:pt x="21" y="132"/>
                    <a:pt x="16" y="127"/>
                    <a:pt x="10" y="128"/>
                  </a:cubicBezTo>
                  <a:cubicBezTo>
                    <a:pt x="4" y="129"/>
                    <a:pt x="0" y="134"/>
                    <a:pt x="1" y="140"/>
                  </a:cubicBezTo>
                  <a:cubicBezTo>
                    <a:pt x="6" y="206"/>
                    <a:pt x="61" y="256"/>
                    <a:pt x="128" y="256"/>
                  </a:cubicBezTo>
                  <a:cubicBezTo>
                    <a:pt x="199" y="256"/>
                    <a:pt x="256" y="199"/>
                    <a:pt x="256" y="128"/>
                  </a:cubicBezTo>
                  <a:cubicBezTo>
                    <a:pt x="256" y="57"/>
                    <a:pt x="199" y="0"/>
                    <a:pt x="128" y="0"/>
                  </a:cubicBezTo>
                  <a:close/>
                  <a:moveTo>
                    <a:pt x="36" y="181"/>
                  </a:moveTo>
                  <a:cubicBezTo>
                    <a:pt x="78" y="181"/>
                    <a:pt x="78" y="181"/>
                    <a:pt x="78" y="181"/>
                  </a:cubicBezTo>
                  <a:cubicBezTo>
                    <a:pt x="81" y="200"/>
                    <a:pt x="86" y="216"/>
                    <a:pt x="93" y="229"/>
                  </a:cubicBezTo>
                  <a:cubicBezTo>
                    <a:pt x="69" y="220"/>
                    <a:pt x="48" y="204"/>
                    <a:pt x="36" y="181"/>
                  </a:cubicBezTo>
                  <a:close/>
                  <a:moveTo>
                    <a:pt x="220" y="75"/>
                  </a:moveTo>
                  <a:cubicBezTo>
                    <a:pt x="178" y="75"/>
                    <a:pt x="178" y="75"/>
                    <a:pt x="178" y="75"/>
                  </a:cubicBezTo>
                  <a:cubicBezTo>
                    <a:pt x="175" y="57"/>
                    <a:pt x="170" y="40"/>
                    <a:pt x="163" y="27"/>
                  </a:cubicBezTo>
                  <a:cubicBezTo>
                    <a:pt x="187" y="36"/>
                    <a:pt x="207" y="53"/>
                    <a:pt x="220" y="75"/>
                  </a:cubicBezTo>
                  <a:close/>
                  <a:moveTo>
                    <a:pt x="128" y="21"/>
                  </a:moveTo>
                  <a:cubicBezTo>
                    <a:pt x="137" y="21"/>
                    <a:pt x="150" y="41"/>
                    <a:pt x="156" y="75"/>
                  </a:cubicBezTo>
                  <a:cubicBezTo>
                    <a:pt x="100" y="75"/>
                    <a:pt x="100" y="75"/>
                    <a:pt x="100" y="75"/>
                  </a:cubicBezTo>
                  <a:cubicBezTo>
                    <a:pt x="106" y="41"/>
                    <a:pt x="119" y="21"/>
                    <a:pt x="128" y="21"/>
                  </a:cubicBezTo>
                  <a:close/>
                  <a:moveTo>
                    <a:pt x="128" y="235"/>
                  </a:moveTo>
                  <a:cubicBezTo>
                    <a:pt x="119" y="235"/>
                    <a:pt x="106" y="215"/>
                    <a:pt x="100" y="181"/>
                  </a:cubicBezTo>
                  <a:cubicBezTo>
                    <a:pt x="156" y="181"/>
                    <a:pt x="156" y="181"/>
                    <a:pt x="156" y="181"/>
                  </a:cubicBezTo>
                  <a:cubicBezTo>
                    <a:pt x="150" y="215"/>
                    <a:pt x="137" y="235"/>
                    <a:pt x="128" y="235"/>
                  </a:cubicBezTo>
                  <a:close/>
                  <a:moveTo>
                    <a:pt x="160" y="160"/>
                  </a:moveTo>
                  <a:cubicBezTo>
                    <a:pt x="96" y="160"/>
                    <a:pt x="96" y="160"/>
                    <a:pt x="96" y="160"/>
                  </a:cubicBezTo>
                  <a:cubicBezTo>
                    <a:pt x="95" y="150"/>
                    <a:pt x="95" y="139"/>
                    <a:pt x="95" y="128"/>
                  </a:cubicBezTo>
                  <a:cubicBezTo>
                    <a:pt x="95" y="117"/>
                    <a:pt x="95" y="106"/>
                    <a:pt x="96" y="96"/>
                  </a:cubicBezTo>
                  <a:cubicBezTo>
                    <a:pt x="160" y="96"/>
                    <a:pt x="160" y="96"/>
                    <a:pt x="160" y="96"/>
                  </a:cubicBezTo>
                  <a:cubicBezTo>
                    <a:pt x="161" y="106"/>
                    <a:pt x="161" y="117"/>
                    <a:pt x="161" y="128"/>
                  </a:cubicBezTo>
                  <a:cubicBezTo>
                    <a:pt x="161" y="139"/>
                    <a:pt x="161" y="150"/>
                    <a:pt x="160" y="160"/>
                  </a:cubicBezTo>
                  <a:close/>
                  <a:moveTo>
                    <a:pt x="163" y="229"/>
                  </a:moveTo>
                  <a:cubicBezTo>
                    <a:pt x="170" y="216"/>
                    <a:pt x="175" y="199"/>
                    <a:pt x="178" y="181"/>
                  </a:cubicBezTo>
                  <a:cubicBezTo>
                    <a:pt x="220" y="181"/>
                    <a:pt x="220" y="181"/>
                    <a:pt x="220" y="181"/>
                  </a:cubicBezTo>
                  <a:cubicBezTo>
                    <a:pt x="207" y="203"/>
                    <a:pt x="187" y="220"/>
                    <a:pt x="163" y="229"/>
                  </a:cubicBezTo>
                  <a:close/>
                  <a:moveTo>
                    <a:pt x="181" y="160"/>
                  </a:moveTo>
                  <a:cubicBezTo>
                    <a:pt x="182" y="150"/>
                    <a:pt x="183" y="139"/>
                    <a:pt x="183" y="128"/>
                  </a:cubicBezTo>
                  <a:cubicBezTo>
                    <a:pt x="183" y="117"/>
                    <a:pt x="182" y="106"/>
                    <a:pt x="181" y="96"/>
                  </a:cubicBezTo>
                  <a:cubicBezTo>
                    <a:pt x="230" y="96"/>
                    <a:pt x="230" y="96"/>
                    <a:pt x="230" y="96"/>
                  </a:cubicBezTo>
                  <a:cubicBezTo>
                    <a:pt x="233" y="106"/>
                    <a:pt x="235" y="117"/>
                    <a:pt x="235" y="128"/>
                  </a:cubicBezTo>
                  <a:cubicBezTo>
                    <a:pt x="235" y="139"/>
                    <a:pt x="233" y="150"/>
                    <a:pt x="230" y="160"/>
                  </a:cubicBezTo>
                  <a:lnTo>
                    <a:pt x="181" y="16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2" name="Freeform 39">
              <a:extLst>
                <a:ext uri="{FF2B5EF4-FFF2-40B4-BE49-F238E27FC236}">
                  <a16:creationId xmlns:a16="http://schemas.microsoft.com/office/drawing/2014/main" id="{2326DCAE-2684-DF48-9B36-F6D527528364}"/>
                </a:ext>
              </a:extLst>
            </p:cNvPr>
            <p:cNvSpPr>
              <a:spLocks noEditPoints="1"/>
            </p:cNvSpPr>
            <p:nvPr/>
          </p:nvSpPr>
          <p:spPr bwMode="auto">
            <a:xfrm>
              <a:off x="2709"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03" name="Group 39">
            <a:extLst>
              <a:ext uri="{FF2B5EF4-FFF2-40B4-BE49-F238E27FC236}">
                <a16:creationId xmlns:a16="http://schemas.microsoft.com/office/drawing/2014/main" id="{80FA63BC-F417-F345-9485-E40E06804CB8}"/>
              </a:ext>
            </a:extLst>
          </p:cNvPr>
          <p:cNvGrpSpPr>
            <a:grpSpLocks noChangeAspect="1"/>
          </p:cNvGrpSpPr>
          <p:nvPr/>
        </p:nvGrpSpPr>
        <p:grpSpPr bwMode="auto">
          <a:xfrm>
            <a:off x="7709091" y="2279724"/>
            <a:ext cx="384048" cy="384048"/>
            <a:chOff x="3987" y="1509"/>
            <a:chExt cx="340" cy="340"/>
          </a:xfrm>
          <a:solidFill>
            <a:schemeClr val="accent2"/>
          </a:solidFill>
        </p:grpSpPr>
        <p:sp>
          <p:nvSpPr>
            <p:cNvPr id="204" name="Freeform 40">
              <a:extLst>
                <a:ext uri="{FF2B5EF4-FFF2-40B4-BE49-F238E27FC236}">
                  <a16:creationId xmlns:a16="http://schemas.microsoft.com/office/drawing/2014/main" id="{1B08A7D0-745A-E243-BCB0-246861508A8C}"/>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5" name="Freeform 41">
              <a:extLst>
                <a:ext uri="{FF2B5EF4-FFF2-40B4-BE49-F238E27FC236}">
                  <a16:creationId xmlns:a16="http://schemas.microsoft.com/office/drawing/2014/main" id="{6DF94C0E-FCE7-3741-8AA8-FA7AB79EDFFD}"/>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06" name="Group 1032">
            <a:extLst>
              <a:ext uri="{FF2B5EF4-FFF2-40B4-BE49-F238E27FC236}">
                <a16:creationId xmlns:a16="http://schemas.microsoft.com/office/drawing/2014/main" id="{7F50942D-D699-B941-B35C-0DE192FD6FE0}"/>
              </a:ext>
            </a:extLst>
          </p:cNvPr>
          <p:cNvGrpSpPr>
            <a:grpSpLocks noChangeAspect="1"/>
          </p:cNvGrpSpPr>
          <p:nvPr/>
        </p:nvGrpSpPr>
        <p:grpSpPr bwMode="auto">
          <a:xfrm>
            <a:off x="9186686" y="2671875"/>
            <a:ext cx="384048" cy="384048"/>
            <a:chOff x="6579" y="4030"/>
            <a:chExt cx="340" cy="340"/>
          </a:xfrm>
          <a:solidFill>
            <a:schemeClr val="accent3"/>
          </a:solidFill>
        </p:grpSpPr>
        <p:sp>
          <p:nvSpPr>
            <p:cNvPr id="207" name="Freeform 1033">
              <a:extLst>
                <a:ext uri="{FF2B5EF4-FFF2-40B4-BE49-F238E27FC236}">
                  <a16:creationId xmlns:a16="http://schemas.microsoft.com/office/drawing/2014/main" id="{D0ABCB9C-883B-424A-B7CF-A87E4ACEBACC}"/>
                </a:ext>
              </a:extLst>
            </p:cNvPr>
            <p:cNvSpPr>
              <a:spLocks noEditPoints="1"/>
            </p:cNvSpPr>
            <p:nvPr/>
          </p:nvSpPr>
          <p:spPr bwMode="auto">
            <a:xfrm>
              <a:off x="6579" y="403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8" name="Freeform 1034">
              <a:extLst>
                <a:ext uri="{FF2B5EF4-FFF2-40B4-BE49-F238E27FC236}">
                  <a16:creationId xmlns:a16="http://schemas.microsoft.com/office/drawing/2014/main" id="{B1799500-DEDB-AB43-B6DD-9CDDC1F25071}"/>
                </a:ext>
              </a:extLst>
            </p:cNvPr>
            <p:cNvSpPr>
              <a:spLocks noEditPoints="1"/>
            </p:cNvSpPr>
            <p:nvPr/>
          </p:nvSpPr>
          <p:spPr bwMode="auto">
            <a:xfrm>
              <a:off x="6657" y="4122"/>
              <a:ext cx="170" cy="170"/>
            </a:xfrm>
            <a:custGeom>
              <a:avLst/>
              <a:gdLst>
                <a:gd name="T0" fmla="*/ 256 w 256"/>
                <a:gd name="T1" fmla="*/ 118 h 256"/>
                <a:gd name="T2" fmla="*/ 245 w 256"/>
                <a:gd name="T3" fmla="*/ 64 h 256"/>
                <a:gd name="T4" fmla="*/ 192 w 256"/>
                <a:gd name="T5" fmla="*/ 75 h 256"/>
                <a:gd name="T6" fmla="*/ 171 w 256"/>
                <a:gd name="T7" fmla="*/ 86 h 256"/>
                <a:gd name="T8" fmla="*/ 181 w 256"/>
                <a:gd name="T9" fmla="*/ 64 h 256"/>
                <a:gd name="T10" fmla="*/ 192 w 256"/>
                <a:gd name="T11" fmla="*/ 11 h 256"/>
                <a:gd name="T12" fmla="*/ 139 w 256"/>
                <a:gd name="T13" fmla="*/ 0 h 256"/>
                <a:gd name="T14" fmla="*/ 128 w 256"/>
                <a:gd name="T15" fmla="*/ 22 h 256"/>
                <a:gd name="T16" fmla="*/ 64 w 256"/>
                <a:gd name="T17" fmla="*/ 11 h 256"/>
                <a:gd name="T18" fmla="*/ 11 w 256"/>
                <a:gd name="T19" fmla="*/ 0 h 256"/>
                <a:gd name="T20" fmla="*/ 0 w 256"/>
                <a:gd name="T21" fmla="*/ 54 h 256"/>
                <a:gd name="T22" fmla="*/ 21 w 256"/>
                <a:gd name="T23" fmla="*/ 64 h 256"/>
                <a:gd name="T24" fmla="*/ 11 w 256"/>
                <a:gd name="T25" fmla="*/ 128 h 256"/>
                <a:gd name="T26" fmla="*/ 0 w 256"/>
                <a:gd name="T27" fmla="*/ 182 h 256"/>
                <a:gd name="T28" fmla="*/ 53 w 256"/>
                <a:gd name="T29" fmla="*/ 192 h 256"/>
                <a:gd name="T30" fmla="*/ 64 w 256"/>
                <a:gd name="T31" fmla="*/ 171 h 256"/>
                <a:gd name="T32" fmla="*/ 85 w 256"/>
                <a:gd name="T33" fmla="*/ 192 h 256"/>
                <a:gd name="T34" fmla="*/ 64 w 256"/>
                <a:gd name="T35" fmla="*/ 203 h 256"/>
                <a:gd name="T36" fmla="*/ 75 w 256"/>
                <a:gd name="T37" fmla="*/ 256 h 256"/>
                <a:gd name="T38" fmla="*/ 128 w 256"/>
                <a:gd name="T39" fmla="*/ 246 h 256"/>
                <a:gd name="T40" fmla="*/ 192 w 256"/>
                <a:gd name="T41" fmla="*/ 235 h 256"/>
                <a:gd name="T42" fmla="*/ 203 w 256"/>
                <a:gd name="T43" fmla="*/ 256 h 256"/>
                <a:gd name="T44" fmla="*/ 256 w 256"/>
                <a:gd name="T45" fmla="*/ 246 h 256"/>
                <a:gd name="T46" fmla="*/ 245 w 256"/>
                <a:gd name="T47" fmla="*/ 192 h 256"/>
                <a:gd name="T48" fmla="*/ 235 w 256"/>
                <a:gd name="T49" fmla="*/ 128 h 256"/>
                <a:gd name="T50" fmla="*/ 213 w 256"/>
                <a:gd name="T51" fmla="*/ 86 h 256"/>
                <a:gd name="T52" fmla="*/ 235 w 256"/>
                <a:gd name="T53" fmla="*/ 107 h 256"/>
                <a:gd name="T54" fmla="*/ 213 w 256"/>
                <a:gd name="T55" fmla="*/ 86 h 256"/>
                <a:gd name="T56" fmla="*/ 171 w 256"/>
                <a:gd name="T57" fmla="*/ 171 h 256"/>
                <a:gd name="T58" fmla="*/ 149 w 256"/>
                <a:gd name="T59" fmla="*/ 150 h 256"/>
                <a:gd name="T60" fmla="*/ 149 w 256"/>
                <a:gd name="T61" fmla="*/ 22 h 256"/>
                <a:gd name="T62" fmla="*/ 171 w 256"/>
                <a:gd name="T63" fmla="*/ 43 h 256"/>
                <a:gd name="T64" fmla="*/ 149 w 256"/>
                <a:gd name="T65" fmla="*/ 22 h 256"/>
                <a:gd name="T66" fmla="*/ 43 w 256"/>
                <a:gd name="T67" fmla="*/ 22 h 256"/>
                <a:gd name="T68" fmla="*/ 21 w 256"/>
                <a:gd name="T69" fmla="*/ 43 h 256"/>
                <a:gd name="T70" fmla="*/ 43 w 256"/>
                <a:gd name="T71" fmla="*/ 171 h 256"/>
                <a:gd name="T72" fmla="*/ 21 w 256"/>
                <a:gd name="T73" fmla="*/ 150 h 256"/>
                <a:gd name="T74" fmla="*/ 43 w 256"/>
                <a:gd name="T75" fmla="*/ 171 h 256"/>
                <a:gd name="T76" fmla="*/ 43 w 256"/>
                <a:gd name="T77" fmla="*/ 128 h 256"/>
                <a:gd name="T78" fmla="*/ 53 w 256"/>
                <a:gd name="T79" fmla="*/ 64 h 256"/>
                <a:gd name="T80" fmla="*/ 64 w 256"/>
                <a:gd name="T81" fmla="*/ 43 h 256"/>
                <a:gd name="T82" fmla="*/ 128 w 256"/>
                <a:gd name="T83" fmla="*/ 54 h 256"/>
                <a:gd name="T84" fmla="*/ 149 w 256"/>
                <a:gd name="T85" fmla="*/ 64 h 256"/>
                <a:gd name="T86" fmla="*/ 139 w 256"/>
                <a:gd name="T87" fmla="*/ 128 h 256"/>
                <a:gd name="T88" fmla="*/ 128 w 256"/>
                <a:gd name="T89" fmla="*/ 150 h 256"/>
                <a:gd name="T90" fmla="*/ 64 w 256"/>
                <a:gd name="T91" fmla="*/ 139 h 256"/>
                <a:gd name="T92" fmla="*/ 107 w 256"/>
                <a:gd name="T93" fmla="*/ 235 h 256"/>
                <a:gd name="T94" fmla="*/ 85 w 256"/>
                <a:gd name="T95" fmla="*/ 214 h 256"/>
                <a:gd name="T96" fmla="*/ 107 w 256"/>
                <a:gd name="T97" fmla="*/ 235 h 256"/>
                <a:gd name="T98" fmla="*/ 213 w 256"/>
                <a:gd name="T99" fmla="*/ 235 h 256"/>
                <a:gd name="T100" fmla="*/ 235 w 256"/>
                <a:gd name="T101" fmla="*/ 214 h 256"/>
                <a:gd name="T102" fmla="*/ 213 w 256"/>
                <a:gd name="T103" fmla="*/ 192 h 256"/>
                <a:gd name="T104" fmla="*/ 192 w 256"/>
                <a:gd name="T105" fmla="*/ 203 h 256"/>
                <a:gd name="T106" fmla="*/ 128 w 256"/>
                <a:gd name="T107" fmla="*/ 214 h 256"/>
                <a:gd name="T108" fmla="*/ 117 w 256"/>
                <a:gd name="T109" fmla="*/ 192 h 256"/>
                <a:gd name="T110" fmla="*/ 107 w 256"/>
                <a:gd name="T111" fmla="*/ 171 h 256"/>
                <a:gd name="T112" fmla="*/ 128 w 256"/>
                <a:gd name="T113" fmla="*/ 182 h 256"/>
                <a:gd name="T114" fmla="*/ 181 w 256"/>
                <a:gd name="T115" fmla="*/ 192 h 256"/>
                <a:gd name="T116" fmla="*/ 192 w 256"/>
                <a:gd name="T117" fmla="*/ 139 h 256"/>
                <a:gd name="T118" fmla="*/ 171 w 256"/>
                <a:gd name="T119" fmla="*/ 128 h 256"/>
                <a:gd name="T120" fmla="*/ 192 w 256"/>
                <a:gd name="T121" fmla="*/ 107 h 256"/>
                <a:gd name="T122" fmla="*/ 203 w 256"/>
                <a:gd name="T123" fmla="*/ 128 h 256"/>
                <a:gd name="T124" fmla="*/ 213 w 256"/>
                <a:gd name="T125"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 h="256">
                  <a:moveTo>
                    <a:pt x="245" y="128"/>
                  </a:moveTo>
                  <a:cubicBezTo>
                    <a:pt x="251" y="128"/>
                    <a:pt x="256" y="124"/>
                    <a:pt x="256" y="118"/>
                  </a:cubicBezTo>
                  <a:cubicBezTo>
                    <a:pt x="256" y="75"/>
                    <a:pt x="256" y="75"/>
                    <a:pt x="256" y="75"/>
                  </a:cubicBezTo>
                  <a:cubicBezTo>
                    <a:pt x="256" y="69"/>
                    <a:pt x="251" y="64"/>
                    <a:pt x="245" y="64"/>
                  </a:cubicBezTo>
                  <a:cubicBezTo>
                    <a:pt x="203" y="64"/>
                    <a:pt x="203" y="64"/>
                    <a:pt x="203" y="64"/>
                  </a:cubicBezTo>
                  <a:cubicBezTo>
                    <a:pt x="197" y="64"/>
                    <a:pt x="192" y="69"/>
                    <a:pt x="192" y="75"/>
                  </a:cubicBezTo>
                  <a:cubicBezTo>
                    <a:pt x="192" y="86"/>
                    <a:pt x="192" y="86"/>
                    <a:pt x="192" y="86"/>
                  </a:cubicBezTo>
                  <a:cubicBezTo>
                    <a:pt x="171" y="86"/>
                    <a:pt x="171" y="86"/>
                    <a:pt x="171" y="86"/>
                  </a:cubicBezTo>
                  <a:cubicBezTo>
                    <a:pt x="171" y="64"/>
                    <a:pt x="171" y="64"/>
                    <a:pt x="171" y="64"/>
                  </a:cubicBezTo>
                  <a:cubicBezTo>
                    <a:pt x="181" y="64"/>
                    <a:pt x="181" y="64"/>
                    <a:pt x="181" y="64"/>
                  </a:cubicBezTo>
                  <a:cubicBezTo>
                    <a:pt x="187" y="64"/>
                    <a:pt x="192" y="60"/>
                    <a:pt x="192" y="54"/>
                  </a:cubicBezTo>
                  <a:cubicBezTo>
                    <a:pt x="192" y="11"/>
                    <a:pt x="192" y="11"/>
                    <a:pt x="192" y="11"/>
                  </a:cubicBezTo>
                  <a:cubicBezTo>
                    <a:pt x="192" y="5"/>
                    <a:pt x="187" y="0"/>
                    <a:pt x="181" y="0"/>
                  </a:cubicBezTo>
                  <a:cubicBezTo>
                    <a:pt x="139" y="0"/>
                    <a:pt x="139" y="0"/>
                    <a:pt x="139" y="0"/>
                  </a:cubicBezTo>
                  <a:cubicBezTo>
                    <a:pt x="133" y="0"/>
                    <a:pt x="128" y="5"/>
                    <a:pt x="128" y="11"/>
                  </a:cubicBezTo>
                  <a:cubicBezTo>
                    <a:pt x="128" y="22"/>
                    <a:pt x="128" y="22"/>
                    <a:pt x="128" y="22"/>
                  </a:cubicBezTo>
                  <a:cubicBezTo>
                    <a:pt x="64" y="22"/>
                    <a:pt x="64" y="22"/>
                    <a:pt x="64" y="22"/>
                  </a:cubicBezTo>
                  <a:cubicBezTo>
                    <a:pt x="64" y="11"/>
                    <a:pt x="64" y="11"/>
                    <a:pt x="64" y="11"/>
                  </a:cubicBezTo>
                  <a:cubicBezTo>
                    <a:pt x="64" y="5"/>
                    <a:pt x="59" y="0"/>
                    <a:pt x="53" y="0"/>
                  </a:cubicBezTo>
                  <a:cubicBezTo>
                    <a:pt x="11" y="0"/>
                    <a:pt x="11" y="0"/>
                    <a:pt x="11" y="0"/>
                  </a:cubicBezTo>
                  <a:cubicBezTo>
                    <a:pt x="5" y="0"/>
                    <a:pt x="0" y="5"/>
                    <a:pt x="0" y="11"/>
                  </a:cubicBezTo>
                  <a:cubicBezTo>
                    <a:pt x="0" y="54"/>
                    <a:pt x="0" y="54"/>
                    <a:pt x="0" y="54"/>
                  </a:cubicBezTo>
                  <a:cubicBezTo>
                    <a:pt x="0" y="60"/>
                    <a:pt x="5" y="64"/>
                    <a:pt x="11" y="64"/>
                  </a:cubicBezTo>
                  <a:cubicBezTo>
                    <a:pt x="21" y="64"/>
                    <a:pt x="21" y="64"/>
                    <a:pt x="21" y="64"/>
                  </a:cubicBezTo>
                  <a:cubicBezTo>
                    <a:pt x="21" y="128"/>
                    <a:pt x="21" y="128"/>
                    <a:pt x="21" y="128"/>
                  </a:cubicBezTo>
                  <a:cubicBezTo>
                    <a:pt x="11" y="128"/>
                    <a:pt x="11" y="128"/>
                    <a:pt x="11" y="128"/>
                  </a:cubicBezTo>
                  <a:cubicBezTo>
                    <a:pt x="5" y="128"/>
                    <a:pt x="0" y="133"/>
                    <a:pt x="0" y="139"/>
                  </a:cubicBezTo>
                  <a:cubicBezTo>
                    <a:pt x="0" y="182"/>
                    <a:pt x="0" y="182"/>
                    <a:pt x="0" y="182"/>
                  </a:cubicBezTo>
                  <a:cubicBezTo>
                    <a:pt x="0" y="188"/>
                    <a:pt x="5" y="192"/>
                    <a:pt x="11" y="192"/>
                  </a:cubicBezTo>
                  <a:cubicBezTo>
                    <a:pt x="53" y="192"/>
                    <a:pt x="53" y="192"/>
                    <a:pt x="53" y="192"/>
                  </a:cubicBezTo>
                  <a:cubicBezTo>
                    <a:pt x="59" y="192"/>
                    <a:pt x="64" y="188"/>
                    <a:pt x="64" y="182"/>
                  </a:cubicBezTo>
                  <a:cubicBezTo>
                    <a:pt x="64" y="171"/>
                    <a:pt x="64" y="171"/>
                    <a:pt x="64" y="171"/>
                  </a:cubicBezTo>
                  <a:cubicBezTo>
                    <a:pt x="85" y="171"/>
                    <a:pt x="85" y="171"/>
                    <a:pt x="85" y="171"/>
                  </a:cubicBezTo>
                  <a:cubicBezTo>
                    <a:pt x="85" y="192"/>
                    <a:pt x="85" y="192"/>
                    <a:pt x="85" y="192"/>
                  </a:cubicBezTo>
                  <a:cubicBezTo>
                    <a:pt x="75" y="192"/>
                    <a:pt x="75" y="192"/>
                    <a:pt x="75" y="192"/>
                  </a:cubicBezTo>
                  <a:cubicBezTo>
                    <a:pt x="69" y="192"/>
                    <a:pt x="64" y="197"/>
                    <a:pt x="64" y="203"/>
                  </a:cubicBezTo>
                  <a:cubicBezTo>
                    <a:pt x="64" y="246"/>
                    <a:pt x="64" y="246"/>
                    <a:pt x="64" y="246"/>
                  </a:cubicBezTo>
                  <a:cubicBezTo>
                    <a:pt x="64" y="252"/>
                    <a:pt x="69" y="256"/>
                    <a:pt x="75" y="256"/>
                  </a:cubicBezTo>
                  <a:cubicBezTo>
                    <a:pt x="117" y="256"/>
                    <a:pt x="117" y="256"/>
                    <a:pt x="117" y="256"/>
                  </a:cubicBezTo>
                  <a:cubicBezTo>
                    <a:pt x="123" y="256"/>
                    <a:pt x="128" y="252"/>
                    <a:pt x="128" y="246"/>
                  </a:cubicBezTo>
                  <a:cubicBezTo>
                    <a:pt x="128" y="235"/>
                    <a:pt x="128" y="235"/>
                    <a:pt x="128" y="235"/>
                  </a:cubicBezTo>
                  <a:cubicBezTo>
                    <a:pt x="192" y="235"/>
                    <a:pt x="192" y="235"/>
                    <a:pt x="192" y="235"/>
                  </a:cubicBezTo>
                  <a:cubicBezTo>
                    <a:pt x="192" y="246"/>
                    <a:pt x="192" y="246"/>
                    <a:pt x="192" y="246"/>
                  </a:cubicBezTo>
                  <a:cubicBezTo>
                    <a:pt x="192" y="252"/>
                    <a:pt x="197" y="256"/>
                    <a:pt x="203" y="256"/>
                  </a:cubicBezTo>
                  <a:cubicBezTo>
                    <a:pt x="245" y="256"/>
                    <a:pt x="245" y="256"/>
                    <a:pt x="245" y="256"/>
                  </a:cubicBezTo>
                  <a:cubicBezTo>
                    <a:pt x="251" y="256"/>
                    <a:pt x="256" y="252"/>
                    <a:pt x="256" y="246"/>
                  </a:cubicBezTo>
                  <a:cubicBezTo>
                    <a:pt x="256" y="203"/>
                    <a:pt x="256" y="203"/>
                    <a:pt x="256" y="203"/>
                  </a:cubicBezTo>
                  <a:cubicBezTo>
                    <a:pt x="256" y="197"/>
                    <a:pt x="251" y="192"/>
                    <a:pt x="245" y="192"/>
                  </a:cubicBezTo>
                  <a:cubicBezTo>
                    <a:pt x="235" y="192"/>
                    <a:pt x="235" y="192"/>
                    <a:pt x="235" y="192"/>
                  </a:cubicBezTo>
                  <a:cubicBezTo>
                    <a:pt x="235" y="128"/>
                    <a:pt x="235" y="128"/>
                    <a:pt x="235" y="128"/>
                  </a:cubicBezTo>
                  <a:lnTo>
                    <a:pt x="245" y="128"/>
                  </a:lnTo>
                  <a:close/>
                  <a:moveTo>
                    <a:pt x="213" y="86"/>
                  </a:moveTo>
                  <a:cubicBezTo>
                    <a:pt x="235" y="86"/>
                    <a:pt x="235" y="86"/>
                    <a:pt x="235" y="86"/>
                  </a:cubicBezTo>
                  <a:cubicBezTo>
                    <a:pt x="235" y="107"/>
                    <a:pt x="235" y="107"/>
                    <a:pt x="235" y="107"/>
                  </a:cubicBezTo>
                  <a:cubicBezTo>
                    <a:pt x="213" y="107"/>
                    <a:pt x="213" y="107"/>
                    <a:pt x="213" y="107"/>
                  </a:cubicBezTo>
                  <a:lnTo>
                    <a:pt x="213" y="86"/>
                  </a:lnTo>
                  <a:close/>
                  <a:moveTo>
                    <a:pt x="171" y="150"/>
                  </a:moveTo>
                  <a:cubicBezTo>
                    <a:pt x="171" y="171"/>
                    <a:pt x="171" y="171"/>
                    <a:pt x="171" y="171"/>
                  </a:cubicBezTo>
                  <a:cubicBezTo>
                    <a:pt x="149" y="171"/>
                    <a:pt x="149" y="171"/>
                    <a:pt x="149" y="171"/>
                  </a:cubicBezTo>
                  <a:cubicBezTo>
                    <a:pt x="149" y="150"/>
                    <a:pt x="149" y="150"/>
                    <a:pt x="149" y="150"/>
                  </a:cubicBezTo>
                  <a:lnTo>
                    <a:pt x="171" y="150"/>
                  </a:lnTo>
                  <a:close/>
                  <a:moveTo>
                    <a:pt x="149" y="22"/>
                  </a:moveTo>
                  <a:cubicBezTo>
                    <a:pt x="171" y="22"/>
                    <a:pt x="171" y="22"/>
                    <a:pt x="171" y="22"/>
                  </a:cubicBezTo>
                  <a:cubicBezTo>
                    <a:pt x="171" y="43"/>
                    <a:pt x="171" y="43"/>
                    <a:pt x="171" y="43"/>
                  </a:cubicBezTo>
                  <a:cubicBezTo>
                    <a:pt x="149" y="43"/>
                    <a:pt x="149" y="43"/>
                    <a:pt x="149" y="43"/>
                  </a:cubicBezTo>
                  <a:lnTo>
                    <a:pt x="149" y="22"/>
                  </a:lnTo>
                  <a:close/>
                  <a:moveTo>
                    <a:pt x="21" y="22"/>
                  </a:moveTo>
                  <a:cubicBezTo>
                    <a:pt x="43" y="22"/>
                    <a:pt x="43" y="22"/>
                    <a:pt x="43" y="22"/>
                  </a:cubicBezTo>
                  <a:cubicBezTo>
                    <a:pt x="43" y="43"/>
                    <a:pt x="43" y="43"/>
                    <a:pt x="43" y="43"/>
                  </a:cubicBezTo>
                  <a:cubicBezTo>
                    <a:pt x="21" y="43"/>
                    <a:pt x="21" y="43"/>
                    <a:pt x="21" y="43"/>
                  </a:cubicBezTo>
                  <a:lnTo>
                    <a:pt x="21" y="22"/>
                  </a:lnTo>
                  <a:close/>
                  <a:moveTo>
                    <a:pt x="43" y="171"/>
                  </a:moveTo>
                  <a:cubicBezTo>
                    <a:pt x="21" y="171"/>
                    <a:pt x="21" y="171"/>
                    <a:pt x="21" y="171"/>
                  </a:cubicBezTo>
                  <a:cubicBezTo>
                    <a:pt x="21" y="150"/>
                    <a:pt x="21" y="150"/>
                    <a:pt x="21" y="150"/>
                  </a:cubicBezTo>
                  <a:cubicBezTo>
                    <a:pt x="43" y="150"/>
                    <a:pt x="43" y="150"/>
                    <a:pt x="43" y="150"/>
                  </a:cubicBezTo>
                  <a:lnTo>
                    <a:pt x="43" y="171"/>
                  </a:lnTo>
                  <a:close/>
                  <a:moveTo>
                    <a:pt x="53" y="128"/>
                  </a:moveTo>
                  <a:cubicBezTo>
                    <a:pt x="43" y="128"/>
                    <a:pt x="43" y="128"/>
                    <a:pt x="43" y="128"/>
                  </a:cubicBezTo>
                  <a:cubicBezTo>
                    <a:pt x="43" y="64"/>
                    <a:pt x="43" y="64"/>
                    <a:pt x="43" y="64"/>
                  </a:cubicBezTo>
                  <a:cubicBezTo>
                    <a:pt x="53" y="64"/>
                    <a:pt x="53" y="64"/>
                    <a:pt x="53" y="64"/>
                  </a:cubicBezTo>
                  <a:cubicBezTo>
                    <a:pt x="59" y="64"/>
                    <a:pt x="64" y="60"/>
                    <a:pt x="64" y="54"/>
                  </a:cubicBezTo>
                  <a:cubicBezTo>
                    <a:pt x="64" y="43"/>
                    <a:pt x="64" y="43"/>
                    <a:pt x="64" y="43"/>
                  </a:cubicBezTo>
                  <a:cubicBezTo>
                    <a:pt x="128" y="43"/>
                    <a:pt x="128" y="43"/>
                    <a:pt x="128" y="43"/>
                  </a:cubicBezTo>
                  <a:cubicBezTo>
                    <a:pt x="128" y="54"/>
                    <a:pt x="128" y="54"/>
                    <a:pt x="128" y="54"/>
                  </a:cubicBezTo>
                  <a:cubicBezTo>
                    <a:pt x="128" y="60"/>
                    <a:pt x="133" y="64"/>
                    <a:pt x="139" y="64"/>
                  </a:cubicBezTo>
                  <a:cubicBezTo>
                    <a:pt x="149" y="64"/>
                    <a:pt x="149" y="64"/>
                    <a:pt x="149" y="64"/>
                  </a:cubicBezTo>
                  <a:cubicBezTo>
                    <a:pt x="149" y="128"/>
                    <a:pt x="149" y="128"/>
                    <a:pt x="149" y="128"/>
                  </a:cubicBezTo>
                  <a:cubicBezTo>
                    <a:pt x="139" y="128"/>
                    <a:pt x="139" y="128"/>
                    <a:pt x="139" y="128"/>
                  </a:cubicBezTo>
                  <a:cubicBezTo>
                    <a:pt x="133" y="128"/>
                    <a:pt x="128" y="133"/>
                    <a:pt x="128" y="139"/>
                  </a:cubicBezTo>
                  <a:cubicBezTo>
                    <a:pt x="128" y="150"/>
                    <a:pt x="128" y="150"/>
                    <a:pt x="128" y="150"/>
                  </a:cubicBezTo>
                  <a:cubicBezTo>
                    <a:pt x="64" y="150"/>
                    <a:pt x="64" y="150"/>
                    <a:pt x="64" y="150"/>
                  </a:cubicBezTo>
                  <a:cubicBezTo>
                    <a:pt x="64" y="139"/>
                    <a:pt x="64" y="139"/>
                    <a:pt x="64" y="139"/>
                  </a:cubicBezTo>
                  <a:cubicBezTo>
                    <a:pt x="64" y="133"/>
                    <a:pt x="59" y="128"/>
                    <a:pt x="53" y="128"/>
                  </a:cubicBezTo>
                  <a:close/>
                  <a:moveTo>
                    <a:pt x="107" y="235"/>
                  </a:moveTo>
                  <a:cubicBezTo>
                    <a:pt x="85" y="235"/>
                    <a:pt x="85" y="235"/>
                    <a:pt x="85" y="235"/>
                  </a:cubicBezTo>
                  <a:cubicBezTo>
                    <a:pt x="85" y="214"/>
                    <a:pt x="85" y="214"/>
                    <a:pt x="85" y="214"/>
                  </a:cubicBezTo>
                  <a:cubicBezTo>
                    <a:pt x="107" y="214"/>
                    <a:pt x="107" y="214"/>
                    <a:pt x="107" y="214"/>
                  </a:cubicBezTo>
                  <a:lnTo>
                    <a:pt x="107" y="235"/>
                  </a:lnTo>
                  <a:close/>
                  <a:moveTo>
                    <a:pt x="235" y="235"/>
                  </a:moveTo>
                  <a:cubicBezTo>
                    <a:pt x="213" y="235"/>
                    <a:pt x="213" y="235"/>
                    <a:pt x="213" y="235"/>
                  </a:cubicBezTo>
                  <a:cubicBezTo>
                    <a:pt x="213" y="214"/>
                    <a:pt x="213" y="214"/>
                    <a:pt x="213" y="214"/>
                  </a:cubicBezTo>
                  <a:cubicBezTo>
                    <a:pt x="235" y="214"/>
                    <a:pt x="235" y="214"/>
                    <a:pt x="235" y="214"/>
                  </a:cubicBezTo>
                  <a:lnTo>
                    <a:pt x="235" y="235"/>
                  </a:lnTo>
                  <a:close/>
                  <a:moveTo>
                    <a:pt x="213" y="192"/>
                  </a:moveTo>
                  <a:cubicBezTo>
                    <a:pt x="203" y="192"/>
                    <a:pt x="203" y="192"/>
                    <a:pt x="203" y="192"/>
                  </a:cubicBezTo>
                  <a:cubicBezTo>
                    <a:pt x="197" y="192"/>
                    <a:pt x="192" y="197"/>
                    <a:pt x="192" y="203"/>
                  </a:cubicBezTo>
                  <a:cubicBezTo>
                    <a:pt x="192" y="214"/>
                    <a:pt x="192" y="214"/>
                    <a:pt x="192" y="214"/>
                  </a:cubicBezTo>
                  <a:cubicBezTo>
                    <a:pt x="128" y="214"/>
                    <a:pt x="128" y="214"/>
                    <a:pt x="128" y="214"/>
                  </a:cubicBezTo>
                  <a:cubicBezTo>
                    <a:pt x="128" y="203"/>
                    <a:pt x="128" y="203"/>
                    <a:pt x="128" y="203"/>
                  </a:cubicBezTo>
                  <a:cubicBezTo>
                    <a:pt x="128" y="197"/>
                    <a:pt x="123" y="192"/>
                    <a:pt x="117" y="192"/>
                  </a:cubicBezTo>
                  <a:cubicBezTo>
                    <a:pt x="107" y="192"/>
                    <a:pt x="107" y="192"/>
                    <a:pt x="107" y="192"/>
                  </a:cubicBezTo>
                  <a:cubicBezTo>
                    <a:pt x="107" y="171"/>
                    <a:pt x="107" y="171"/>
                    <a:pt x="107" y="171"/>
                  </a:cubicBezTo>
                  <a:cubicBezTo>
                    <a:pt x="128" y="171"/>
                    <a:pt x="128" y="171"/>
                    <a:pt x="128" y="171"/>
                  </a:cubicBezTo>
                  <a:cubicBezTo>
                    <a:pt x="128" y="182"/>
                    <a:pt x="128" y="182"/>
                    <a:pt x="128" y="182"/>
                  </a:cubicBezTo>
                  <a:cubicBezTo>
                    <a:pt x="128" y="188"/>
                    <a:pt x="133" y="192"/>
                    <a:pt x="139" y="192"/>
                  </a:cubicBezTo>
                  <a:cubicBezTo>
                    <a:pt x="181" y="192"/>
                    <a:pt x="181" y="192"/>
                    <a:pt x="181" y="192"/>
                  </a:cubicBezTo>
                  <a:cubicBezTo>
                    <a:pt x="187" y="192"/>
                    <a:pt x="192" y="188"/>
                    <a:pt x="192" y="182"/>
                  </a:cubicBezTo>
                  <a:cubicBezTo>
                    <a:pt x="192" y="139"/>
                    <a:pt x="192" y="139"/>
                    <a:pt x="192" y="139"/>
                  </a:cubicBezTo>
                  <a:cubicBezTo>
                    <a:pt x="192" y="133"/>
                    <a:pt x="187" y="128"/>
                    <a:pt x="181" y="128"/>
                  </a:cubicBezTo>
                  <a:cubicBezTo>
                    <a:pt x="171" y="128"/>
                    <a:pt x="171" y="128"/>
                    <a:pt x="171" y="128"/>
                  </a:cubicBezTo>
                  <a:cubicBezTo>
                    <a:pt x="171" y="107"/>
                    <a:pt x="171" y="107"/>
                    <a:pt x="171" y="107"/>
                  </a:cubicBezTo>
                  <a:cubicBezTo>
                    <a:pt x="192" y="107"/>
                    <a:pt x="192" y="107"/>
                    <a:pt x="192" y="107"/>
                  </a:cubicBezTo>
                  <a:cubicBezTo>
                    <a:pt x="192" y="118"/>
                    <a:pt x="192" y="118"/>
                    <a:pt x="192" y="118"/>
                  </a:cubicBezTo>
                  <a:cubicBezTo>
                    <a:pt x="192" y="124"/>
                    <a:pt x="197" y="128"/>
                    <a:pt x="203" y="128"/>
                  </a:cubicBezTo>
                  <a:cubicBezTo>
                    <a:pt x="213" y="128"/>
                    <a:pt x="213" y="128"/>
                    <a:pt x="213" y="128"/>
                  </a:cubicBezTo>
                  <a:lnTo>
                    <a:pt x="213" y="19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ustDataLst>
      <p:tags r:id="rId1"/>
    </p:custDataLst>
    <p:extLst>
      <p:ext uri="{BB962C8B-B14F-4D97-AF65-F5344CB8AC3E}">
        <p14:creationId xmlns:p14="http://schemas.microsoft.com/office/powerpoint/2010/main" val="323214141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Box 31"/>
          <p:cNvSpPr txBox="1">
            <a:spLocks noChangeArrowheads="1"/>
          </p:cNvSpPr>
          <p:nvPr/>
        </p:nvSpPr>
        <p:spPr bwMode="auto">
          <a:xfrm>
            <a:off x="636545" y="2187052"/>
            <a:ext cx="16422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009A44"/>
                </a:solidFill>
                <a:latin typeface="+mn-lt"/>
                <a:ea typeface="Lato Black" pitchFamily="34" charset="0"/>
                <a:cs typeface="Lato Black" pitchFamily="34" charset="0"/>
              </a:rPr>
              <a:t>68</a:t>
            </a:r>
            <a:r>
              <a:rPr lang="id-ID" sz="3200" b="1" dirty="0">
                <a:solidFill>
                  <a:srgbClr val="009A44"/>
                </a:solidFill>
                <a:latin typeface="+mn-lt"/>
                <a:ea typeface="Lato Black" pitchFamily="34" charset="0"/>
                <a:cs typeface="Lato Black" pitchFamily="34" charset="0"/>
              </a:rPr>
              <a:t>%</a:t>
            </a:r>
          </a:p>
        </p:txBody>
      </p:sp>
      <p:sp>
        <p:nvSpPr>
          <p:cNvPr id="65" name="TextBox 118"/>
          <p:cNvSpPr txBox="1"/>
          <p:nvPr/>
        </p:nvSpPr>
        <p:spPr>
          <a:xfrm>
            <a:off x="636545" y="2964505"/>
            <a:ext cx="3224808" cy="911000"/>
          </a:xfrm>
          <a:prstGeom prst="rect">
            <a:avLst/>
          </a:prstGeom>
          <a:noFill/>
        </p:spPr>
        <p:txBody>
          <a:bodyPr wrap="square" lIns="109710" tIns="54855" rIns="109710" bIns="54855" rtlCol="0">
            <a:spAutoFit/>
          </a:bodyPr>
          <a:lstStyle/>
          <a:p>
            <a:pPr marL="93980" indent="-93980">
              <a:buFont typeface="Arial" panose="020B0604020202020204" pitchFamily="34" charset="0"/>
              <a:buChar char="•"/>
            </a:pPr>
            <a:r>
              <a:rPr lang="en-US" altLang="zh-CN" sz="1300" dirty="0">
                <a:solidFill>
                  <a:srgbClr val="BBBCBC"/>
                </a:solidFill>
              </a:rPr>
              <a:t>This is dummy text it is not here to be read. The is just text to show where you could insert text. Please replace with your text content here.</a:t>
            </a:r>
          </a:p>
        </p:txBody>
      </p:sp>
      <p:sp>
        <p:nvSpPr>
          <p:cNvPr id="69" name="TextBox 31"/>
          <p:cNvSpPr txBox="1">
            <a:spLocks noChangeArrowheads="1"/>
          </p:cNvSpPr>
          <p:nvPr/>
        </p:nvSpPr>
        <p:spPr bwMode="auto">
          <a:xfrm>
            <a:off x="8549152" y="2217435"/>
            <a:ext cx="16422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C4D600"/>
                </a:solidFill>
                <a:latin typeface="+mn-lt"/>
                <a:ea typeface="Lato Black" pitchFamily="34" charset="0"/>
                <a:cs typeface="Lato Black" pitchFamily="34" charset="0"/>
              </a:rPr>
              <a:t>63</a:t>
            </a:r>
            <a:r>
              <a:rPr lang="id-ID" sz="3200" b="1" dirty="0">
                <a:solidFill>
                  <a:srgbClr val="C4D600"/>
                </a:solidFill>
                <a:latin typeface="+mn-lt"/>
                <a:ea typeface="Lato Black" pitchFamily="34" charset="0"/>
                <a:cs typeface="Lato Black" pitchFamily="34" charset="0"/>
              </a:rPr>
              <a:t>%</a:t>
            </a:r>
          </a:p>
        </p:txBody>
      </p:sp>
      <p:sp>
        <p:nvSpPr>
          <p:cNvPr id="71" name="TextBox 124"/>
          <p:cNvSpPr txBox="1"/>
          <p:nvPr/>
        </p:nvSpPr>
        <p:spPr>
          <a:xfrm>
            <a:off x="8549152" y="2962632"/>
            <a:ext cx="3160248" cy="911000"/>
          </a:xfrm>
          <a:prstGeom prst="rect">
            <a:avLst/>
          </a:prstGeom>
          <a:noFill/>
        </p:spPr>
        <p:txBody>
          <a:bodyPr wrap="square" lIns="109710" tIns="54855" rIns="109710" bIns="54855" rtlCol="0">
            <a:spAutoFit/>
          </a:bodyPr>
          <a:lstStyle/>
          <a:p>
            <a:pPr marL="93980" indent="-93980">
              <a:buFont typeface="Arial" panose="020B0604020202020204" pitchFamily="34" charset="0"/>
              <a:buChar char="•"/>
            </a:pPr>
            <a:r>
              <a:rPr lang="en-US" altLang="zh-CN" sz="1300" dirty="0">
                <a:solidFill>
                  <a:srgbClr val="BBBCBC"/>
                </a:solidFill>
              </a:rPr>
              <a:t>This is dummy text it is not here to be read. The is just text to show where you could insert text. Please replace with your text content here.</a:t>
            </a:r>
          </a:p>
        </p:txBody>
      </p:sp>
      <p:sp>
        <p:nvSpPr>
          <p:cNvPr id="75" name="TextBox 31"/>
          <p:cNvSpPr txBox="1">
            <a:spLocks noChangeArrowheads="1"/>
          </p:cNvSpPr>
          <p:nvPr/>
        </p:nvSpPr>
        <p:spPr bwMode="auto">
          <a:xfrm>
            <a:off x="636545" y="4078003"/>
            <a:ext cx="16422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43B02A"/>
                </a:solidFill>
                <a:latin typeface="+mn-lt"/>
                <a:ea typeface="Lato Black" pitchFamily="34" charset="0"/>
                <a:cs typeface="Lato Black" pitchFamily="34" charset="0"/>
              </a:rPr>
              <a:t>74</a:t>
            </a:r>
            <a:r>
              <a:rPr lang="id-ID" sz="3200" b="1" dirty="0">
                <a:solidFill>
                  <a:srgbClr val="43B02A"/>
                </a:solidFill>
                <a:latin typeface="+mn-lt"/>
                <a:ea typeface="Lato Black" pitchFamily="34" charset="0"/>
                <a:cs typeface="Lato Black" pitchFamily="34" charset="0"/>
              </a:rPr>
              <a:t>%</a:t>
            </a:r>
          </a:p>
        </p:txBody>
      </p:sp>
      <p:sp>
        <p:nvSpPr>
          <p:cNvPr id="77" name="TextBox 130"/>
          <p:cNvSpPr txBox="1"/>
          <p:nvPr/>
        </p:nvSpPr>
        <p:spPr>
          <a:xfrm>
            <a:off x="636545" y="4853254"/>
            <a:ext cx="3224808" cy="710946"/>
          </a:xfrm>
          <a:prstGeom prst="rect">
            <a:avLst/>
          </a:prstGeom>
          <a:noFill/>
        </p:spPr>
        <p:txBody>
          <a:bodyPr wrap="square" lIns="109710" tIns="54855" rIns="109710" bIns="54855" rtlCol="0">
            <a:spAutoFit/>
          </a:bodyPr>
          <a:lstStyle/>
          <a:p>
            <a:pPr marL="93980" indent="-93980">
              <a:buFont typeface="Arial" panose="020B0604020202020204" pitchFamily="34" charset="0"/>
              <a:buChar char="•"/>
            </a:pPr>
            <a:r>
              <a:rPr lang="en-US" altLang="zh-CN" sz="1300" dirty="0">
                <a:solidFill>
                  <a:srgbClr val="BBBCBC"/>
                </a:solidFill>
              </a:rPr>
              <a:t>This is dummy text it is not here to be read. The is just text to show where you could insert text. </a:t>
            </a:r>
          </a:p>
        </p:txBody>
      </p:sp>
      <p:sp>
        <p:nvSpPr>
          <p:cNvPr id="81" name="TextBox 31"/>
          <p:cNvSpPr txBox="1">
            <a:spLocks noChangeArrowheads="1"/>
          </p:cNvSpPr>
          <p:nvPr/>
        </p:nvSpPr>
        <p:spPr bwMode="auto">
          <a:xfrm>
            <a:off x="8549152" y="4031688"/>
            <a:ext cx="16422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86BC25"/>
                </a:solidFill>
                <a:latin typeface="+mn-lt"/>
                <a:ea typeface="Lato Black" pitchFamily="34" charset="0"/>
                <a:cs typeface="Lato Black" pitchFamily="34" charset="0"/>
              </a:rPr>
              <a:t>82</a:t>
            </a:r>
            <a:r>
              <a:rPr lang="id-ID" sz="3200" b="1" dirty="0">
                <a:solidFill>
                  <a:srgbClr val="86BC25"/>
                </a:solidFill>
                <a:latin typeface="+mn-lt"/>
                <a:ea typeface="Lato Black" pitchFamily="34" charset="0"/>
                <a:cs typeface="Lato Black" pitchFamily="34" charset="0"/>
              </a:rPr>
              <a:t>%</a:t>
            </a:r>
          </a:p>
        </p:txBody>
      </p:sp>
      <p:sp>
        <p:nvSpPr>
          <p:cNvPr id="83" name="TextBox 136"/>
          <p:cNvSpPr txBox="1"/>
          <p:nvPr/>
        </p:nvSpPr>
        <p:spPr>
          <a:xfrm>
            <a:off x="8549152" y="4813256"/>
            <a:ext cx="3160248" cy="710946"/>
          </a:xfrm>
          <a:prstGeom prst="rect">
            <a:avLst/>
          </a:prstGeom>
          <a:noFill/>
        </p:spPr>
        <p:txBody>
          <a:bodyPr wrap="square" lIns="109710" tIns="54855" rIns="109710" bIns="54855" rtlCol="0">
            <a:spAutoFit/>
          </a:bodyPr>
          <a:lstStyle/>
          <a:p>
            <a:pPr marL="93980" indent="-93980">
              <a:buFont typeface="Arial" panose="020B0604020202020204" pitchFamily="34" charset="0"/>
              <a:buChar char="•"/>
            </a:pPr>
            <a:r>
              <a:rPr lang="en-US" altLang="zh-CN" sz="1300" dirty="0">
                <a:solidFill>
                  <a:srgbClr val="BBBCBC"/>
                </a:solidFill>
              </a:rPr>
              <a:t>This is dummy text it is not here to be read. The is just text to show where you could insert text. </a:t>
            </a:r>
          </a:p>
        </p:txBody>
      </p:sp>
      <p:grpSp>
        <p:nvGrpSpPr>
          <p:cNvPr id="5" name="Group 4"/>
          <p:cNvGrpSpPr/>
          <p:nvPr/>
        </p:nvGrpSpPr>
        <p:grpSpPr>
          <a:xfrm>
            <a:off x="3996531" y="2843678"/>
            <a:ext cx="4206082" cy="2468563"/>
            <a:chOff x="3996531" y="3830637"/>
            <a:chExt cx="4206082" cy="2468563"/>
          </a:xfrm>
        </p:grpSpPr>
        <p:sp>
          <p:nvSpPr>
            <p:cNvPr id="13" name="Freeform 7"/>
            <p:cNvSpPr>
              <a:spLocks/>
            </p:cNvSpPr>
            <p:nvPr/>
          </p:nvSpPr>
          <p:spPr bwMode="auto">
            <a:xfrm>
              <a:off x="3996531" y="3845719"/>
              <a:ext cx="1500982" cy="1416844"/>
            </a:xfrm>
            <a:custGeom>
              <a:avLst/>
              <a:gdLst>
                <a:gd name="T0" fmla="*/ 165 w 197"/>
                <a:gd name="T1" fmla="*/ 0 h 186"/>
                <a:gd name="T2" fmla="*/ 0 w 197"/>
                <a:gd name="T3" fmla="*/ 0 h 186"/>
                <a:gd name="T4" fmla="*/ 0 w 197"/>
                <a:gd name="T5" fmla="*/ 5 h 186"/>
                <a:gd name="T6" fmla="*/ 0 w 197"/>
                <a:gd name="T7" fmla="*/ 8 h 186"/>
                <a:gd name="T8" fmla="*/ 0 w 197"/>
                <a:gd name="T9" fmla="*/ 11 h 186"/>
                <a:gd name="T10" fmla="*/ 1 w 197"/>
                <a:gd name="T11" fmla="*/ 16 h 186"/>
                <a:gd name="T12" fmla="*/ 1 w 197"/>
                <a:gd name="T13" fmla="*/ 18 h 186"/>
                <a:gd name="T14" fmla="*/ 1 w 197"/>
                <a:gd name="T15" fmla="*/ 23 h 186"/>
                <a:gd name="T16" fmla="*/ 1 w 197"/>
                <a:gd name="T17" fmla="*/ 24 h 186"/>
                <a:gd name="T18" fmla="*/ 2 w 197"/>
                <a:gd name="T19" fmla="*/ 29 h 186"/>
                <a:gd name="T20" fmla="*/ 2 w 197"/>
                <a:gd name="T21" fmla="*/ 30 h 186"/>
                <a:gd name="T22" fmla="*/ 3 w 197"/>
                <a:gd name="T23" fmla="*/ 36 h 186"/>
                <a:gd name="T24" fmla="*/ 3 w 197"/>
                <a:gd name="T25" fmla="*/ 36 h 186"/>
                <a:gd name="T26" fmla="*/ 11 w 197"/>
                <a:gd name="T27" fmla="*/ 74 h 186"/>
                <a:gd name="T28" fmla="*/ 11 w 197"/>
                <a:gd name="T29" fmla="*/ 74 h 186"/>
                <a:gd name="T30" fmla="*/ 13 w 197"/>
                <a:gd name="T31" fmla="*/ 80 h 186"/>
                <a:gd name="T32" fmla="*/ 13 w 197"/>
                <a:gd name="T33" fmla="*/ 80 h 186"/>
                <a:gd name="T34" fmla="*/ 15 w 197"/>
                <a:gd name="T35" fmla="*/ 85 h 186"/>
                <a:gd name="T36" fmla="*/ 15 w 197"/>
                <a:gd name="T37" fmla="*/ 87 h 186"/>
                <a:gd name="T38" fmla="*/ 17 w 197"/>
                <a:gd name="T39" fmla="*/ 91 h 186"/>
                <a:gd name="T40" fmla="*/ 18 w 197"/>
                <a:gd name="T41" fmla="*/ 93 h 186"/>
                <a:gd name="T42" fmla="*/ 19 w 197"/>
                <a:gd name="T43" fmla="*/ 97 h 186"/>
                <a:gd name="T44" fmla="*/ 20 w 197"/>
                <a:gd name="T45" fmla="*/ 100 h 186"/>
                <a:gd name="T46" fmla="*/ 21 w 197"/>
                <a:gd name="T47" fmla="*/ 103 h 186"/>
                <a:gd name="T48" fmla="*/ 23 w 197"/>
                <a:gd name="T49" fmla="*/ 106 h 186"/>
                <a:gd name="T50" fmla="*/ 24 w 197"/>
                <a:gd name="T51" fmla="*/ 108 h 186"/>
                <a:gd name="T52" fmla="*/ 26 w 197"/>
                <a:gd name="T53" fmla="*/ 112 h 186"/>
                <a:gd name="T54" fmla="*/ 27 w 197"/>
                <a:gd name="T55" fmla="*/ 114 h 186"/>
                <a:gd name="T56" fmla="*/ 29 w 197"/>
                <a:gd name="T57" fmla="*/ 119 h 186"/>
                <a:gd name="T58" fmla="*/ 29 w 197"/>
                <a:gd name="T59" fmla="*/ 119 h 186"/>
                <a:gd name="T60" fmla="*/ 32 w 197"/>
                <a:gd name="T61" fmla="*/ 125 h 186"/>
                <a:gd name="T62" fmla="*/ 32 w 197"/>
                <a:gd name="T63" fmla="*/ 125 h 186"/>
                <a:gd name="T64" fmla="*/ 53 w 197"/>
                <a:gd name="T65" fmla="*/ 157 h 186"/>
                <a:gd name="T66" fmla="*/ 53 w 197"/>
                <a:gd name="T67" fmla="*/ 157 h 186"/>
                <a:gd name="T68" fmla="*/ 57 w 197"/>
                <a:gd name="T69" fmla="*/ 162 h 186"/>
                <a:gd name="T70" fmla="*/ 57 w 197"/>
                <a:gd name="T71" fmla="*/ 162 h 186"/>
                <a:gd name="T72" fmla="*/ 61 w 197"/>
                <a:gd name="T73" fmla="*/ 167 h 186"/>
                <a:gd name="T74" fmla="*/ 61 w 197"/>
                <a:gd name="T75" fmla="*/ 168 h 186"/>
                <a:gd name="T76" fmla="*/ 65 w 197"/>
                <a:gd name="T77" fmla="*/ 172 h 186"/>
                <a:gd name="T78" fmla="*/ 66 w 197"/>
                <a:gd name="T79" fmla="*/ 173 h 186"/>
                <a:gd name="T80" fmla="*/ 69 w 197"/>
                <a:gd name="T81" fmla="*/ 176 h 186"/>
                <a:gd name="T82" fmla="*/ 71 w 197"/>
                <a:gd name="T83" fmla="*/ 179 h 186"/>
                <a:gd name="T84" fmla="*/ 73 w 197"/>
                <a:gd name="T85" fmla="*/ 181 h 186"/>
                <a:gd name="T86" fmla="*/ 78 w 197"/>
                <a:gd name="T87" fmla="*/ 186 h 186"/>
                <a:gd name="T88" fmla="*/ 78 w 197"/>
                <a:gd name="T89" fmla="*/ 186 h 186"/>
                <a:gd name="T90" fmla="*/ 197 w 197"/>
                <a:gd name="T91" fmla="*/ 67 h 186"/>
                <a:gd name="T92" fmla="*/ 165 w 197"/>
                <a:gd name="T9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7" h="186">
                  <a:moveTo>
                    <a:pt x="165" y="0"/>
                  </a:moveTo>
                  <a:cubicBezTo>
                    <a:pt x="0" y="0"/>
                    <a:pt x="0" y="0"/>
                    <a:pt x="0" y="0"/>
                  </a:cubicBezTo>
                  <a:cubicBezTo>
                    <a:pt x="0" y="1"/>
                    <a:pt x="0" y="3"/>
                    <a:pt x="0" y="5"/>
                  </a:cubicBezTo>
                  <a:cubicBezTo>
                    <a:pt x="0" y="6"/>
                    <a:pt x="0" y="7"/>
                    <a:pt x="0" y="8"/>
                  </a:cubicBezTo>
                  <a:cubicBezTo>
                    <a:pt x="0" y="9"/>
                    <a:pt x="0" y="10"/>
                    <a:pt x="0" y="11"/>
                  </a:cubicBezTo>
                  <a:cubicBezTo>
                    <a:pt x="0" y="13"/>
                    <a:pt x="1" y="14"/>
                    <a:pt x="1" y="16"/>
                  </a:cubicBezTo>
                  <a:cubicBezTo>
                    <a:pt x="1" y="16"/>
                    <a:pt x="1" y="17"/>
                    <a:pt x="1" y="18"/>
                  </a:cubicBezTo>
                  <a:cubicBezTo>
                    <a:pt x="1" y="19"/>
                    <a:pt x="1" y="21"/>
                    <a:pt x="1" y="23"/>
                  </a:cubicBezTo>
                  <a:cubicBezTo>
                    <a:pt x="1" y="23"/>
                    <a:pt x="1" y="23"/>
                    <a:pt x="1" y="24"/>
                  </a:cubicBezTo>
                  <a:cubicBezTo>
                    <a:pt x="1" y="26"/>
                    <a:pt x="2" y="28"/>
                    <a:pt x="2" y="29"/>
                  </a:cubicBezTo>
                  <a:cubicBezTo>
                    <a:pt x="2" y="30"/>
                    <a:pt x="2" y="30"/>
                    <a:pt x="2" y="30"/>
                  </a:cubicBezTo>
                  <a:cubicBezTo>
                    <a:pt x="2" y="32"/>
                    <a:pt x="2" y="34"/>
                    <a:pt x="3" y="36"/>
                  </a:cubicBezTo>
                  <a:cubicBezTo>
                    <a:pt x="3" y="36"/>
                    <a:pt x="3" y="36"/>
                    <a:pt x="3" y="36"/>
                  </a:cubicBezTo>
                  <a:cubicBezTo>
                    <a:pt x="5" y="49"/>
                    <a:pt x="7" y="61"/>
                    <a:pt x="11" y="74"/>
                  </a:cubicBezTo>
                  <a:cubicBezTo>
                    <a:pt x="11" y="74"/>
                    <a:pt x="11" y="74"/>
                    <a:pt x="11" y="74"/>
                  </a:cubicBezTo>
                  <a:cubicBezTo>
                    <a:pt x="12" y="76"/>
                    <a:pt x="12" y="78"/>
                    <a:pt x="13" y="80"/>
                  </a:cubicBezTo>
                  <a:cubicBezTo>
                    <a:pt x="13" y="80"/>
                    <a:pt x="13" y="80"/>
                    <a:pt x="13" y="80"/>
                  </a:cubicBezTo>
                  <a:cubicBezTo>
                    <a:pt x="14" y="82"/>
                    <a:pt x="14" y="84"/>
                    <a:pt x="15" y="85"/>
                  </a:cubicBezTo>
                  <a:cubicBezTo>
                    <a:pt x="15" y="86"/>
                    <a:pt x="15" y="86"/>
                    <a:pt x="15" y="87"/>
                  </a:cubicBezTo>
                  <a:cubicBezTo>
                    <a:pt x="16" y="88"/>
                    <a:pt x="16" y="90"/>
                    <a:pt x="17" y="91"/>
                  </a:cubicBezTo>
                  <a:cubicBezTo>
                    <a:pt x="17" y="92"/>
                    <a:pt x="17" y="93"/>
                    <a:pt x="18" y="93"/>
                  </a:cubicBezTo>
                  <a:cubicBezTo>
                    <a:pt x="18" y="94"/>
                    <a:pt x="19" y="96"/>
                    <a:pt x="19" y="97"/>
                  </a:cubicBezTo>
                  <a:cubicBezTo>
                    <a:pt x="19" y="98"/>
                    <a:pt x="20" y="99"/>
                    <a:pt x="20" y="100"/>
                  </a:cubicBezTo>
                  <a:cubicBezTo>
                    <a:pt x="21" y="101"/>
                    <a:pt x="21" y="102"/>
                    <a:pt x="21" y="103"/>
                  </a:cubicBezTo>
                  <a:cubicBezTo>
                    <a:pt x="22" y="104"/>
                    <a:pt x="22" y="105"/>
                    <a:pt x="23" y="106"/>
                  </a:cubicBezTo>
                  <a:cubicBezTo>
                    <a:pt x="23" y="107"/>
                    <a:pt x="24" y="108"/>
                    <a:pt x="24" y="108"/>
                  </a:cubicBezTo>
                  <a:cubicBezTo>
                    <a:pt x="25" y="110"/>
                    <a:pt x="25" y="111"/>
                    <a:pt x="26" y="112"/>
                  </a:cubicBezTo>
                  <a:cubicBezTo>
                    <a:pt x="26" y="113"/>
                    <a:pt x="26" y="113"/>
                    <a:pt x="27" y="114"/>
                  </a:cubicBezTo>
                  <a:cubicBezTo>
                    <a:pt x="27" y="115"/>
                    <a:pt x="28" y="117"/>
                    <a:pt x="29" y="119"/>
                  </a:cubicBezTo>
                  <a:cubicBezTo>
                    <a:pt x="29" y="119"/>
                    <a:pt x="29" y="119"/>
                    <a:pt x="29" y="119"/>
                  </a:cubicBezTo>
                  <a:cubicBezTo>
                    <a:pt x="30" y="121"/>
                    <a:pt x="31" y="123"/>
                    <a:pt x="32" y="125"/>
                  </a:cubicBezTo>
                  <a:cubicBezTo>
                    <a:pt x="32" y="125"/>
                    <a:pt x="32" y="125"/>
                    <a:pt x="32" y="125"/>
                  </a:cubicBezTo>
                  <a:cubicBezTo>
                    <a:pt x="38" y="136"/>
                    <a:pt x="45" y="147"/>
                    <a:pt x="53" y="157"/>
                  </a:cubicBezTo>
                  <a:cubicBezTo>
                    <a:pt x="53" y="157"/>
                    <a:pt x="53" y="157"/>
                    <a:pt x="53" y="157"/>
                  </a:cubicBezTo>
                  <a:cubicBezTo>
                    <a:pt x="54" y="159"/>
                    <a:pt x="55" y="160"/>
                    <a:pt x="57" y="162"/>
                  </a:cubicBezTo>
                  <a:cubicBezTo>
                    <a:pt x="57" y="162"/>
                    <a:pt x="57" y="162"/>
                    <a:pt x="57" y="162"/>
                  </a:cubicBezTo>
                  <a:cubicBezTo>
                    <a:pt x="58" y="164"/>
                    <a:pt x="59" y="165"/>
                    <a:pt x="61" y="167"/>
                  </a:cubicBezTo>
                  <a:cubicBezTo>
                    <a:pt x="61" y="167"/>
                    <a:pt x="61" y="168"/>
                    <a:pt x="61" y="168"/>
                  </a:cubicBezTo>
                  <a:cubicBezTo>
                    <a:pt x="62" y="169"/>
                    <a:pt x="64" y="170"/>
                    <a:pt x="65" y="172"/>
                  </a:cubicBezTo>
                  <a:cubicBezTo>
                    <a:pt x="65" y="172"/>
                    <a:pt x="66" y="173"/>
                    <a:pt x="66" y="173"/>
                  </a:cubicBezTo>
                  <a:cubicBezTo>
                    <a:pt x="67" y="174"/>
                    <a:pt x="68" y="175"/>
                    <a:pt x="69" y="176"/>
                  </a:cubicBezTo>
                  <a:cubicBezTo>
                    <a:pt x="70" y="177"/>
                    <a:pt x="70" y="178"/>
                    <a:pt x="71" y="179"/>
                  </a:cubicBezTo>
                  <a:cubicBezTo>
                    <a:pt x="72" y="180"/>
                    <a:pt x="73" y="180"/>
                    <a:pt x="73" y="181"/>
                  </a:cubicBezTo>
                  <a:cubicBezTo>
                    <a:pt x="75" y="183"/>
                    <a:pt x="76" y="184"/>
                    <a:pt x="78" y="186"/>
                  </a:cubicBezTo>
                  <a:cubicBezTo>
                    <a:pt x="78" y="186"/>
                    <a:pt x="78" y="186"/>
                    <a:pt x="78" y="186"/>
                  </a:cubicBezTo>
                  <a:cubicBezTo>
                    <a:pt x="197" y="67"/>
                    <a:pt x="197" y="67"/>
                    <a:pt x="197" y="67"/>
                  </a:cubicBezTo>
                  <a:cubicBezTo>
                    <a:pt x="178" y="50"/>
                    <a:pt x="166" y="24"/>
                    <a:pt x="165" y="0"/>
                  </a:cubicBezTo>
                  <a:close/>
                </a:path>
              </a:pathLst>
            </a:custGeom>
            <a:solidFill>
              <a:srgbClr val="000000"/>
            </a:solidFill>
            <a:ln w="12700" cap="rnd">
              <a:solidFill>
                <a:srgbClr val="009A44"/>
              </a:solidFill>
              <a:round/>
            </a:ln>
          </p:spPr>
          <p:txBody>
            <a:bodyPr vert="horz" wrap="square" lIns="45720" tIns="22860" rIns="45720" bIns="22860" numCol="1" anchor="t" anchorCtr="0" compatLnSpc="1">
              <a:prstTxWarp prst="textNoShape">
                <a:avLst/>
              </a:prstTxWarp>
            </a:bodyPr>
            <a:lstStyle/>
            <a:p>
              <a:endParaRPr lang="th-TH" sz="900"/>
            </a:p>
          </p:txBody>
        </p:sp>
        <p:sp>
          <p:nvSpPr>
            <p:cNvPr id="14" name="Freeform 8"/>
            <p:cNvSpPr>
              <a:spLocks/>
            </p:cNvSpPr>
            <p:nvPr/>
          </p:nvSpPr>
          <p:spPr bwMode="auto">
            <a:xfrm>
              <a:off x="4324350" y="4394200"/>
              <a:ext cx="1623219" cy="1905000"/>
            </a:xfrm>
            <a:custGeom>
              <a:avLst/>
              <a:gdLst>
                <a:gd name="T0" fmla="*/ 0 w 213"/>
                <a:gd name="T1" fmla="*/ 160 h 250"/>
                <a:gd name="T2" fmla="*/ 1 w 213"/>
                <a:gd name="T3" fmla="*/ 160 h 250"/>
                <a:gd name="T4" fmla="*/ 6 w 213"/>
                <a:gd name="T5" fmla="*/ 166 h 250"/>
                <a:gd name="T6" fmla="*/ 9 w 213"/>
                <a:gd name="T7" fmla="*/ 168 h 250"/>
                <a:gd name="T8" fmla="*/ 12 w 213"/>
                <a:gd name="T9" fmla="*/ 171 h 250"/>
                <a:gd name="T10" fmla="*/ 15 w 213"/>
                <a:gd name="T11" fmla="*/ 174 h 250"/>
                <a:gd name="T12" fmla="*/ 17 w 213"/>
                <a:gd name="T13" fmla="*/ 175 h 250"/>
                <a:gd name="T14" fmla="*/ 21 w 213"/>
                <a:gd name="T15" fmla="*/ 179 h 250"/>
                <a:gd name="T16" fmla="*/ 23 w 213"/>
                <a:gd name="T17" fmla="*/ 180 h 250"/>
                <a:gd name="T18" fmla="*/ 28 w 213"/>
                <a:gd name="T19" fmla="*/ 184 h 250"/>
                <a:gd name="T20" fmla="*/ 28 w 213"/>
                <a:gd name="T21" fmla="*/ 185 h 250"/>
                <a:gd name="T22" fmla="*/ 34 w 213"/>
                <a:gd name="T23" fmla="*/ 189 h 250"/>
                <a:gd name="T24" fmla="*/ 34 w 213"/>
                <a:gd name="T25" fmla="*/ 189 h 250"/>
                <a:gd name="T26" fmla="*/ 70 w 213"/>
                <a:gd name="T27" fmla="*/ 212 h 250"/>
                <a:gd name="T28" fmla="*/ 71 w 213"/>
                <a:gd name="T29" fmla="*/ 213 h 250"/>
                <a:gd name="T30" fmla="*/ 77 w 213"/>
                <a:gd name="T31" fmla="*/ 216 h 250"/>
                <a:gd name="T32" fmla="*/ 77 w 213"/>
                <a:gd name="T33" fmla="*/ 216 h 250"/>
                <a:gd name="T34" fmla="*/ 83 w 213"/>
                <a:gd name="T35" fmla="*/ 219 h 250"/>
                <a:gd name="T36" fmla="*/ 84 w 213"/>
                <a:gd name="T37" fmla="*/ 220 h 250"/>
                <a:gd name="T38" fmla="*/ 89 w 213"/>
                <a:gd name="T39" fmla="*/ 222 h 250"/>
                <a:gd name="T40" fmla="*/ 92 w 213"/>
                <a:gd name="T41" fmla="*/ 223 h 250"/>
                <a:gd name="T42" fmla="*/ 96 w 213"/>
                <a:gd name="T43" fmla="*/ 225 h 250"/>
                <a:gd name="T44" fmla="*/ 99 w 213"/>
                <a:gd name="T45" fmla="*/ 226 h 250"/>
                <a:gd name="T46" fmla="*/ 102 w 213"/>
                <a:gd name="T47" fmla="*/ 227 h 250"/>
                <a:gd name="T48" fmla="*/ 106 w 213"/>
                <a:gd name="T49" fmla="*/ 229 h 250"/>
                <a:gd name="T50" fmla="*/ 109 w 213"/>
                <a:gd name="T51" fmla="*/ 230 h 250"/>
                <a:gd name="T52" fmla="*/ 114 w 213"/>
                <a:gd name="T53" fmla="*/ 232 h 250"/>
                <a:gd name="T54" fmla="*/ 115 w 213"/>
                <a:gd name="T55" fmla="*/ 232 h 250"/>
                <a:gd name="T56" fmla="*/ 121 w 213"/>
                <a:gd name="T57" fmla="*/ 234 h 250"/>
                <a:gd name="T58" fmla="*/ 122 w 213"/>
                <a:gd name="T59" fmla="*/ 234 h 250"/>
                <a:gd name="T60" fmla="*/ 128 w 213"/>
                <a:gd name="T61" fmla="*/ 236 h 250"/>
                <a:gd name="T62" fmla="*/ 129 w 213"/>
                <a:gd name="T63" fmla="*/ 237 h 250"/>
                <a:gd name="T64" fmla="*/ 171 w 213"/>
                <a:gd name="T65" fmla="*/ 246 h 250"/>
                <a:gd name="T66" fmla="*/ 171 w 213"/>
                <a:gd name="T67" fmla="*/ 246 h 250"/>
                <a:gd name="T68" fmla="*/ 178 w 213"/>
                <a:gd name="T69" fmla="*/ 247 h 250"/>
                <a:gd name="T70" fmla="*/ 179 w 213"/>
                <a:gd name="T71" fmla="*/ 247 h 250"/>
                <a:gd name="T72" fmla="*/ 185 w 213"/>
                <a:gd name="T73" fmla="*/ 248 h 250"/>
                <a:gd name="T74" fmla="*/ 187 w 213"/>
                <a:gd name="T75" fmla="*/ 248 h 250"/>
                <a:gd name="T76" fmla="*/ 193 w 213"/>
                <a:gd name="T77" fmla="*/ 248 h 250"/>
                <a:gd name="T78" fmla="*/ 195 w 213"/>
                <a:gd name="T79" fmla="*/ 248 h 250"/>
                <a:gd name="T80" fmla="*/ 200 w 213"/>
                <a:gd name="T81" fmla="*/ 249 h 250"/>
                <a:gd name="T82" fmla="*/ 204 w 213"/>
                <a:gd name="T83" fmla="*/ 249 h 250"/>
                <a:gd name="T84" fmla="*/ 207 w 213"/>
                <a:gd name="T85" fmla="*/ 250 h 250"/>
                <a:gd name="T86" fmla="*/ 213 w 213"/>
                <a:gd name="T87" fmla="*/ 250 h 250"/>
                <a:gd name="T88" fmla="*/ 213 w 213"/>
                <a:gd name="T89" fmla="*/ 20 h 250"/>
                <a:gd name="T90" fmla="*/ 160 w 213"/>
                <a:gd name="T91" fmla="*/ 0 h 250"/>
                <a:gd name="T92" fmla="*/ 0 w 213"/>
                <a:gd name="T93" fmla="*/ 16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250">
                  <a:moveTo>
                    <a:pt x="0" y="160"/>
                  </a:moveTo>
                  <a:cubicBezTo>
                    <a:pt x="0" y="160"/>
                    <a:pt x="1" y="160"/>
                    <a:pt x="1" y="160"/>
                  </a:cubicBezTo>
                  <a:cubicBezTo>
                    <a:pt x="2" y="162"/>
                    <a:pt x="4" y="164"/>
                    <a:pt x="6" y="166"/>
                  </a:cubicBezTo>
                  <a:cubicBezTo>
                    <a:pt x="7" y="166"/>
                    <a:pt x="8" y="167"/>
                    <a:pt x="9" y="168"/>
                  </a:cubicBezTo>
                  <a:cubicBezTo>
                    <a:pt x="10" y="169"/>
                    <a:pt x="11" y="170"/>
                    <a:pt x="12" y="171"/>
                  </a:cubicBezTo>
                  <a:cubicBezTo>
                    <a:pt x="13" y="172"/>
                    <a:pt x="14" y="173"/>
                    <a:pt x="15" y="174"/>
                  </a:cubicBezTo>
                  <a:cubicBezTo>
                    <a:pt x="16" y="174"/>
                    <a:pt x="16" y="175"/>
                    <a:pt x="17" y="175"/>
                  </a:cubicBezTo>
                  <a:cubicBezTo>
                    <a:pt x="18" y="177"/>
                    <a:pt x="20" y="178"/>
                    <a:pt x="21" y="179"/>
                  </a:cubicBezTo>
                  <a:cubicBezTo>
                    <a:pt x="22" y="179"/>
                    <a:pt x="22" y="180"/>
                    <a:pt x="23" y="180"/>
                  </a:cubicBezTo>
                  <a:cubicBezTo>
                    <a:pt x="24" y="181"/>
                    <a:pt x="26" y="183"/>
                    <a:pt x="28" y="184"/>
                  </a:cubicBezTo>
                  <a:cubicBezTo>
                    <a:pt x="28" y="184"/>
                    <a:pt x="28" y="184"/>
                    <a:pt x="28" y="185"/>
                  </a:cubicBezTo>
                  <a:cubicBezTo>
                    <a:pt x="30" y="186"/>
                    <a:pt x="32" y="187"/>
                    <a:pt x="34" y="189"/>
                  </a:cubicBezTo>
                  <a:cubicBezTo>
                    <a:pt x="34" y="189"/>
                    <a:pt x="34" y="189"/>
                    <a:pt x="34" y="189"/>
                  </a:cubicBezTo>
                  <a:cubicBezTo>
                    <a:pt x="45" y="198"/>
                    <a:pt x="58" y="205"/>
                    <a:pt x="70" y="212"/>
                  </a:cubicBezTo>
                  <a:cubicBezTo>
                    <a:pt x="71" y="212"/>
                    <a:pt x="71" y="212"/>
                    <a:pt x="71" y="213"/>
                  </a:cubicBezTo>
                  <a:cubicBezTo>
                    <a:pt x="73" y="214"/>
                    <a:pt x="75" y="215"/>
                    <a:pt x="77" y="216"/>
                  </a:cubicBezTo>
                  <a:cubicBezTo>
                    <a:pt x="77" y="216"/>
                    <a:pt x="77" y="216"/>
                    <a:pt x="77" y="216"/>
                  </a:cubicBezTo>
                  <a:cubicBezTo>
                    <a:pt x="79" y="217"/>
                    <a:pt x="81" y="218"/>
                    <a:pt x="83" y="219"/>
                  </a:cubicBezTo>
                  <a:cubicBezTo>
                    <a:pt x="83" y="219"/>
                    <a:pt x="84" y="219"/>
                    <a:pt x="84" y="220"/>
                  </a:cubicBezTo>
                  <a:cubicBezTo>
                    <a:pt x="86" y="220"/>
                    <a:pt x="88" y="221"/>
                    <a:pt x="89" y="222"/>
                  </a:cubicBezTo>
                  <a:cubicBezTo>
                    <a:pt x="90" y="222"/>
                    <a:pt x="91" y="223"/>
                    <a:pt x="92" y="223"/>
                  </a:cubicBezTo>
                  <a:cubicBezTo>
                    <a:pt x="93" y="223"/>
                    <a:pt x="94" y="224"/>
                    <a:pt x="96" y="225"/>
                  </a:cubicBezTo>
                  <a:cubicBezTo>
                    <a:pt x="97" y="225"/>
                    <a:pt x="98" y="226"/>
                    <a:pt x="99" y="226"/>
                  </a:cubicBezTo>
                  <a:cubicBezTo>
                    <a:pt x="100" y="226"/>
                    <a:pt x="101" y="227"/>
                    <a:pt x="102" y="227"/>
                  </a:cubicBezTo>
                  <a:cubicBezTo>
                    <a:pt x="104" y="228"/>
                    <a:pt x="105" y="228"/>
                    <a:pt x="106" y="229"/>
                  </a:cubicBezTo>
                  <a:cubicBezTo>
                    <a:pt x="107" y="229"/>
                    <a:pt x="108" y="230"/>
                    <a:pt x="109" y="230"/>
                  </a:cubicBezTo>
                  <a:cubicBezTo>
                    <a:pt x="110" y="230"/>
                    <a:pt x="112" y="231"/>
                    <a:pt x="114" y="232"/>
                  </a:cubicBezTo>
                  <a:cubicBezTo>
                    <a:pt x="114" y="232"/>
                    <a:pt x="115" y="232"/>
                    <a:pt x="115" y="232"/>
                  </a:cubicBezTo>
                  <a:cubicBezTo>
                    <a:pt x="117" y="233"/>
                    <a:pt x="119" y="234"/>
                    <a:pt x="121" y="234"/>
                  </a:cubicBezTo>
                  <a:cubicBezTo>
                    <a:pt x="121" y="234"/>
                    <a:pt x="122" y="234"/>
                    <a:pt x="122" y="234"/>
                  </a:cubicBezTo>
                  <a:cubicBezTo>
                    <a:pt x="124" y="235"/>
                    <a:pt x="126" y="236"/>
                    <a:pt x="128" y="236"/>
                  </a:cubicBezTo>
                  <a:cubicBezTo>
                    <a:pt x="129" y="236"/>
                    <a:pt x="129" y="237"/>
                    <a:pt x="129" y="237"/>
                  </a:cubicBezTo>
                  <a:cubicBezTo>
                    <a:pt x="143" y="241"/>
                    <a:pt x="157" y="244"/>
                    <a:pt x="171" y="246"/>
                  </a:cubicBezTo>
                  <a:cubicBezTo>
                    <a:pt x="171" y="246"/>
                    <a:pt x="171" y="246"/>
                    <a:pt x="171" y="246"/>
                  </a:cubicBezTo>
                  <a:cubicBezTo>
                    <a:pt x="174" y="246"/>
                    <a:pt x="176" y="247"/>
                    <a:pt x="178" y="247"/>
                  </a:cubicBezTo>
                  <a:cubicBezTo>
                    <a:pt x="179" y="247"/>
                    <a:pt x="179" y="247"/>
                    <a:pt x="179" y="247"/>
                  </a:cubicBezTo>
                  <a:cubicBezTo>
                    <a:pt x="181" y="247"/>
                    <a:pt x="183" y="247"/>
                    <a:pt x="185" y="248"/>
                  </a:cubicBezTo>
                  <a:cubicBezTo>
                    <a:pt x="186" y="248"/>
                    <a:pt x="186" y="248"/>
                    <a:pt x="187" y="248"/>
                  </a:cubicBezTo>
                  <a:cubicBezTo>
                    <a:pt x="189" y="248"/>
                    <a:pt x="191" y="248"/>
                    <a:pt x="193" y="248"/>
                  </a:cubicBezTo>
                  <a:cubicBezTo>
                    <a:pt x="193" y="248"/>
                    <a:pt x="194" y="248"/>
                    <a:pt x="195" y="248"/>
                  </a:cubicBezTo>
                  <a:cubicBezTo>
                    <a:pt x="197" y="248"/>
                    <a:pt x="198" y="249"/>
                    <a:pt x="200" y="249"/>
                  </a:cubicBezTo>
                  <a:cubicBezTo>
                    <a:pt x="201" y="249"/>
                    <a:pt x="202" y="249"/>
                    <a:pt x="204" y="249"/>
                  </a:cubicBezTo>
                  <a:cubicBezTo>
                    <a:pt x="205" y="249"/>
                    <a:pt x="206" y="250"/>
                    <a:pt x="207" y="250"/>
                  </a:cubicBezTo>
                  <a:cubicBezTo>
                    <a:pt x="209" y="250"/>
                    <a:pt x="213" y="250"/>
                    <a:pt x="213" y="250"/>
                  </a:cubicBezTo>
                  <a:cubicBezTo>
                    <a:pt x="213" y="20"/>
                    <a:pt x="213" y="20"/>
                    <a:pt x="213" y="20"/>
                  </a:cubicBezTo>
                  <a:cubicBezTo>
                    <a:pt x="192" y="19"/>
                    <a:pt x="175" y="11"/>
                    <a:pt x="160" y="0"/>
                  </a:cubicBezTo>
                  <a:lnTo>
                    <a:pt x="0" y="160"/>
                  </a:lnTo>
                  <a:close/>
                </a:path>
              </a:pathLst>
            </a:custGeom>
            <a:solidFill>
              <a:srgbClr val="000000"/>
            </a:solidFill>
            <a:ln w="12700" cap="rnd">
              <a:solidFill>
                <a:srgbClr val="43B02A"/>
              </a:solidFill>
              <a:round/>
            </a:ln>
          </p:spPr>
          <p:txBody>
            <a:bodyPr vert="horz" wrap="square" lIns="45720" tIns="22860" rIns="45720" bIns="22860" numCol="1" anchor="t" anchorCtr="0" compatLnSpc="1">
              <a:prstTxWarp prst="textNoShape">
                <a:avLst/>
              </a:prstTxWarp>
            </a:bodyPr>
            <a:lstStyle/>
            <a:p>
              <a:endParaRPr lang="th-TH" sz="900"/>
            </a:p>
          </p:txBody>
        </p:sp>
        <p:sp>
          <p:nvSpPr>
            <p:cNvPr id="15" name="Freeform 9"/>
            <p:cNvSpPr>
              <a:spLocks/>
            </p:cNvSpPr>
            <p:nvPr/>
          </p:nvSpPr>
          <p:spPr bwMode="auto">
            <a:xfrm>
              <a:off x="6008687" y="4325937"/>
              <a:ext cx="1439863" cy="1524000"/>
            </a:xfrm>
            <a:custGeom>
              <a:avLst/>
              <a:gdLst>
                <a:gd name="T0" fmla="*/ 0 w 189"/>
                <a:gd name="T1" fmla="*/ 200 h 200"/>
                <a:gd name="T2" fmla="*/ 2 w 189"/>
                <a:gd name="T3" fmla="*/ 200 h 200"/>
                <a:gd name="T4" fmla="*/ 8 w 189"/>
                <a:gd name="T5" fmla="*/ 200 h 200"/>
                <a:gd name="T6" fmla="*/ 12 w 189"/>
                <a:gd name="T7" fmla="*/ 200 h 200"/>
                <a:gd name="T8" fmla="*/ 15 w 189"/>
                <a:gd name="T9" fmla="*/ 200 h 200"/>
                <a:gd name="T10" fmla="*/ 19 w 189"/>
                <a:gd name="T11" fmla="*/ 200 h 200"/>
                <a:gd name="T12" fmla="*/ 21 w 189"/>
                <a:gd name="T13" fmla="*/ 200 h 200"/>
                <a:gd name="T14" fmla="*/ 26 w 189"/>
                <a:gd name="T15" fmla="*/ 200 h 200"/>
                <a:gd name="T16" fmla="*/ 27 w 189"/>
                <a:gd name="T17" fmla="*/ 200 h 200"/>
                <a:gd name="T18" fmla="*/ 33 w 189"/>
                <a:gd name="T19" fmla="*/ 199 h 200"/>
                <a:gd name="T20" fmla="*/ 34 w 189"/>
                <a:gd name="T21" fmla="*/ 199 h 200"/>
                <a:gd name="T22" fmla="*/ 40 w 189"/>
                <a:gd name="T23" fmla="*/ 198 h 200"/>
                <a:gd name="T24" fmla="*/ 40 w 189"/>
                <a:gd name="T25" fmla="*/ 198 h 200"/>
                <a:gd name="T26" fmla="*/ 77 w 189"/>
                <a:gd name="T27" fmla="*/ 190 h 200"/>
                <a:gd name="T28" fmla="*/ 78 w 189"/>
                <a:gd name="T29" fmla="*/ 190 h 200"/>
                <a:gd name="T30" fmla="*/ 83 w 189"/>
                <a:gd name="T31" fmla="*/ 188 h 200"/>
                <a:gd name="T32" fmla="*/ 84 w 189"/>
                <a:gd name="T33" fmla="*/ 188 h 200"/>
                <a:gd name="T34" fmla="*/ 89 w 189"/>
                <a:gd name="T35" fmla="*/ 186 h 200"/>
                <a:gd name="T36" fmla="*/ 90 w 189"/>
                <a:gd name="T37" fmla="*/ 186 h 200"/>
                <a:gd name="T38" fmla="*/ 95 w 189"/>
                <a:gd name="T39" fmla="*/ 184 h 200"/>
                <a:gd name="T40" fmla="*/ 97 w 189"/>
                <a:gd name="T41" fmla="*/ 183 h 200"/>
                <a:gd name="T42" fmla="*/ 101 w 189"/>
                <a:gd name="T43" fmla="*/ 182 h 200"/>
                <a:gd name="T44" fmla="*/ 103 w 189"/>
                <a:gd name="T45" fmla="*/ 181 h 200"/>
                <a:gd name="T46" fmla="*/ 106 w 189"/>
                <a:gd name="T47" fmla="*/ 179 h 200"/>
                <a:gd name="T48" fmla="*/ 110 w 189"/>
                <a:gd name="T49" fmla="*/ 178 h 200"/>
                <a:gd name="T50" fmla="*/ 112 w 189"/>
                <a:gd name="T51" fmla="*/ 177 h 200"/>
                <a:gd name="T52" fmla="*/ 116 w 189"/>
                <a:gd name="T53" fmla="*/ 175 h 200"/>
                <a:gd name="T54" fmla="*/ 117 w 189"/>
                <a:gd name="T55" fmla="*/ 174 h 200"/>
                <a:gd name="T56" fmla="*/ 122 w 189"/>
                <a:gd name="T57" fmla="*/ 172 h 200"/>
                <a:gd name="T58" fmla="*/ 123 w 189"/>
                <a:gd name="T59" fmla="*/ 172 h 200"/>
                <a:gd name="T60" fmla="*/ 128 w 189"/>
                <a:gd name="T61" fmla="*/ 169 h 200"/>
                <a:gd name="T62" fmla="*/ 128 w 189"/>
                <a:gd name="T63" fmla="*/ 169 h 200"/>
                <a:gd name="T64" fmla="*/ 161 w 189"/>
                <a:gd name="T65" fmla="*/ 148 h 200"/>
                <a:gd name="T66" fmla="*/ 161 w 189"/>
                <a:gd name="T67" fmla="*/ 148 h 200"/>
                <a:gd name="T68" fmla="*/ 166 w 189"/>
                <a:gd name="T69" fmla="*/ 144 h 200"/>
                <a:gd name="T70" fmla="*/ 166 w 189"/>
                <a:gd name="T71" fmla="*/ 144 h 200"/>
                <a:gd name="T72" fmla="*/ 171 w 189"/>
                <a:gd name="T73" fmla="*/ 140 h 200"/>
                <a:gd name="T74" fmla="*/ 172 w 189"/>
                <a:gd name="T75" fmla="*/ 139 h 200"/>
                <a:gd name="T76" fmla="*/ 175 w 189"/>
                <a:gd name="T77" fmla="*/ 136 h 200"/>
                <a:gd name="T78" fmla="*/ 177 w 189"/>
                <a:gd name="T79" fmla="*/ 135 h 200"/>
                <a:gd name="T80" fmla="*/ 180 w 189"/>
                <a:gd name="T81" fmla="*/ 132 h 200"/>
                <a:gd name="T82" fmla="*/ 183 w 189"/>
                <a:gd name="T83" fmla="*/ 130 h 200"/>
                <a:gd name="T84" fmla="*/ 185 w 189"/>
                <a:gd name="T85" fmla="*/ 128 h 200"/>
                <a:gd name="T86" fmla="*/ 189 w 189"/>
                <a:gd name="T87" fmla="*/ 123 h 200"/>
                <a:gd name="T88" fmla="*/ 66 w 189"/>
                <a:gd name="T89" fmla="*/ 0 h 200"/>
                <a:gd name="T90" fmla="*/ 0 w 189"/>
                <a:gd name="T91" fmla="*/ 29 h 200"/>
                <a:gd name="T92" fmla="*/ 0 w 189"/>
                <a:gd name="T9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9" h="200">
                  <a:moveTo>
                    <a:pt x="0" y="200"/>
                  </a:moveTo>
                  <a:cubicBezTo>
                    <a:pt x="0" y="200"/>
                    <a:pt x="2" y="200"/>
                    <a:pt x="2" y="200"/>
                  </a:cubicBezTo>
                  <a:cubicBezTo>
                    <a:pt x="4" y="200"/>
                    <a:pt x="6" y="200"/>
                    <a:pt x="8" y="200"/>
                  </a:cubicBezTo>
                  <a:cubicBezTo>
                    <a:pt x="9" y="200"/>
                    <a:pt x="10" y="200"/>
                    <a:pt x="12" y="200"/>
                  </a:cubicBezTo>
                  <a:cubicBezTo>
                    <a:pt x="13" y="200"/>
                    <a:pt x="14" y="200"/>
                    <a:pt x="15" y="200"/>
                  </a:cubicBezTo>
                  <a:cubicBezTo>
                    <a:pt x="16" y="200"/>
                    <a:pt x="18" y="200"/>
                    <a:pt x="19" y="200"/>
                  </a:cubicBezTo>
                  <a:cubicBezTo>
                    <a:pt x="20" y="200"/>
                    <a:pt x="21" y="200"/>
                    <a:pt x="21" y="200"/>
                  </a:cubicBezTo>
                  <a:cubicBezTo>
                    <a:pt x="23" y="200"/>
                    <a:pt x="25" y="200"/>
                    <a:pt x="26" y="200"/>
                  </a:cubicBezTo>
                  <a:cubicBezTo>
                    <a:pt x="27" y="200"/>
                    <a:pt x="27" y="200"/>
                    <a:pt x="27" y="200"/>
                  </a:cubicBezTo>
                  <a:cubicBezTo>
                    <a:pt x="29" y="199"/>
                    <a:pt x="31" y="199"/>
                    <a:pt x="33" y="199"/>
                  </a:cubicBezTo>
                  <a:cubicBezTo>
                    <a:pt x="33" y="199"/>
                    <a:pt x="34" y="199"/>
                    <a:pt x="34" y="199"/>
                  </a:cubicBezTo>
                  <a:cubicBezTo>
                    <a:pt x="36" y="199"/>
                    <a:pt x="38" y="198"/>
                    <a:pt x="40" y="198"/>
                  </a:cubicBezTo>
                  <a:cubicBezTo>
                    <a:pt x="40" y="198"/>
                    <a:pt x="40" y="198"/>
                    <a:pt x="40" y="198"/>
                  </a:cubicBezTo>
                  <a:cubicBezTo>
                    <a:pt x="53" y="196"/>
                    <a:pt x="65" y="193"/>
                    <a:pt x="77" y="190"/>
                  </a:cubicBezTo>
                  <a:cubicBezTo>
                    <a:pt x="77" y="190"/>
                    <a:pt x="77" y="190"/>
                    <a:pt x="78" y="190"/>
                  </a:cubicBezTo>
                  <a:cubicBezTo>
                    <a:pt x="79" y="189"/>
                    <a:pt x="81" y="189"/>
                    <a:pt x="83" y="188"/>
                  </a:cubicBezTo>
                  <a:cubicBezTo>
                    <a:pt x="83" y="188"/>
                    <a:pt x="84" y="188"/>
                    <a:pt x="84" y="188"/>
                  </a:cubicBezTo>
                  <a:cubicBezTo>
                    <a:pt x="86" y="187"/>
                    <a:pt x="87" y="187"/>
                    <a:pt x="89" y="186"/>
                  </a:cubicBezTo>
                  <a:cubicBezTo>
                    <a:pt x="90" y="186"/>
                    <a:pt x="90" y="186"/>
                    <a:pt x="90" y="186"/>
                  </a:cubicBezTo>
                  <a:cubicBezTo>
                    <a:pt x="92" y="185"/>
                    <a:pt x="93" y="185"/>
                    <a:pt x="95" y="184"/>
                  </a:cubicBezTo>
                  <a:cubicBezTo>
                    <a:pt x="96" y="184"/>
                    <a:pt x="96" y="183"/>
                    <a:pt x="97" y="183"/>
                  </a:cubicBezTo>
                  <a:cubicBezTo>
                    <a:pt x="98" y="183"/>
                    <a:pt x="99" y="182"/>
                    <a:pt x="101" y="182"/>
                  </a:cubicBezTo>
                  <a:cubicBezTo>
                    <a:pt x="102" y="181"/>
                    <a:pt x="103" y="181"/>
                    <a:pt x="103" y="181"/>
                  </a:cubicBezTo>
                  <a:cubicBezTo>
                    <a:pt x="104" y="180"/>
                    <a:pt x="105" y="180"/>
                    <a:pt x="106" y="179"/>
                  </a:cubicBezTo>
                  <a:cubicBezTo>
                    <a:pt x="107" y="179"/>
                    <a:pt x="109" y="178"/>
                    <a:pt x="110" y="178"/>
                  </a:cubicBezTo>
                  <a:cubicBezTo>
                    <a:pt x="111" y="178"/>
                    <a:pt x="111" y="177"/>
                    <a:pt x="112" y="177"/>
                  </a:cubicBezTo>
                  <a:cubicBezTo>
                    <a:pt x="113" y="176"/>
                    <a:pt x="115" y="176"/>
                    <a:pt x="116" y="175"/>
                  </a:cubicBezTo>
                  <a:cubicBezTo>
                    <a:pt x="117" y="175"/>
                    <a:pt x="117" y="175"/>
                    <a:pt x="117" y="174"/>
                  </a:cubicBezTo>
                  <a:cubicBezTo>
                    <a:pt x="119" y="174"/>
                    <a:pt x="121" y="173"/>
                    <a:pt x="122" y="172"/>
                  </a:cubicBezTo>
                  <a:cubicBezTo>
                    <a:pt x="123" y="172"/>
                    <a:pt x="123" y="172"/>
                    <a:pt x="123" y="172"/>
                  </a:cubicBezTo>
                  <a:cubicBezTo>
                    <a:pt x="125" y="171"/>
                    <a:pt x="127" y="170"/>
                    <a:pt x="128" y="169"/>
                  </a:cubicBezTo>
                  <a:cubicBezTo>
                    <a:pt x="128" y="169"/>
                    <a:pt x="128" y="169"/>
                    <a:pt x="128" y="169"/>
                  </a:cubicBezTo>
                  <a:cubicBezTo>
                    <a:pt x="140" y="163"/>
                    <a:pt x="151" y="156"/>
                    <a:pt x="161" y="148"/>
                  </a:cubicBezTo>
                  <a:cubicBezTo>
                    <a:pt x="161" y="148"/>
                    <a:pt x="161" y="148"/>
                    <a:pt x="161" y="148"/>
                  </a:cubicBezTo>
                  <a:cubicBezTo>
                    <a:pt x="162" y="147"/>
                    <a:pt x="164" y="145"/>
                    <a:pt x="166" y="144"/>
                  </a:cubicBezTo>
                  <a:cubicBezTo>
                    <a:pt x="166" y="144"/>
                    <a:pt x="166" y="144"/>
                    <a:pt x="166" y="144"/>
                  </a:cubicBezTo>
                  <a:cubicBezTo>
                    <a:pt x="168" y="143"/>
                    <a:pt x="169" y="141"/>
                    <a:pt x="171" y="140"/>
                  </a:cubicBezTo>
                  <a:cubicBezTo>
                    <a:pt x="171" y="140"/>
                    <a:pt x="171" y="140"/>
                    <a:pt x="172" y="139"/>
                  </a:cubicBezTo>
                  <a:cubicBezTo>
                    <a:pt x="173" y="138"/>
                    <a:pt x="174" y="137"/>
                    <a:pt x="175" y="136"/>
                  </a:cubicBezTo>
                  <a:cubicBezTo>
                    <a:pt x="176" y="136"/>
                    <a:pt x="176" y="135"/>
                    <a:pt x="177" y="135"/>
                  </a:cubicBezTo>
                  <a:cubicBezTo>
                    <a:pt x="178" y="134"/>
                    <a:pt x="179" y="133"/>
                    <a:pt x="180" y="132"/>
                  </a:cubicBezTo>
                  <a:cubicBezTo>
                    <a:pt x="181" y="131"/>
                    <a:pt x="182" y="130"/>
                    <a:pt x="183" y="130"/>
                  </a:cubicBezTo>
                  <a:cubicBezTo>
                    <a:pt x="183" y="129"/>
                    <a:pt x="184" y="128"/>
                    <a:pt x="185" y="128"/>
                  </a:cubicBezTo>
                  <a:cubicBezTo>
                    <a:pt x="187" y="126"/>
                    <a:pt x="188" y="124"/>
                    <a:pt x="189" y="123"/>
                  </a:cubicBezTo>
                  <a:cubicBezTo>
                    <a:pt x="66" y="0"/>
                    <a:pt x="66" y="0"/>
                    <a:pt x="66" y="0"/>
                  </a:cubicBezTo>
                  <a:cubicBezTo>
                    <a:pt x="49" y="17"/>
                    <a:pt x="29" y="28"/>
                    <a:pt x="0" y="29"/>
                  </a:cubicBezTo>
                  <a:lnTo>
                    <a:pt x="0" y="200"/>
                  </a:lnTo>
                  <a:close/>
                </a:path>
              </a:pathLst>
            </a:custGeom>
            <a:solidFill>
              <a:srgbClr val="000000"/>
            </a:solidFill>
            <a:ln w="12700" cap="rnd">
              <a:solidFill>
                <a:srgbClr val="86BC25"/>
              </a:solidFill>
              <a:round/>
            </a:ln>
          </p:spPr>
          <p:txBody>
            <a:bodyPr vert="horz" wrap="square" lIns="45720" tIns="22860" rIns="45720" bIns="22860" numCol="1" anchor="t" anchorCtr="0" compatLnSpc="1">
              <a:prstTxWarp prst="textNoShape">
                <a:avLst/>
              </a:prstTxWarp>
            </a:bodyPr>
            <a:lstStyle/>
            <a:p>
              <a:endParaRPr lang="th-TH" sz="900"/>
            </a:p>
          </p:txBody>
        </p:sp>
        <p:sp>
          <p:nvSpPr>
            <p:cNvPr id="16" name="Freeform 10"/>
            <p:cNvSpPr>
              <a:spLocks/>
            </p:cNvSpPr>
            <p:nvPr/>
          </p:nvSpPr>
          <p:spPr bwMode="auto">
            <a:xfrm>
              <a:off x="6572250" y="3853656"/>
              <a:ext cx="1630363" cy="1454944"/>
            </a:xfrm>
            <a:custGeom>
              <a:avLst/>
              <a:gdLst>
                <a:gd name="T0" fmla="*/ 21 w 214"/>
                <a:gd name="T1" fmla="*/ 0 h 191"/>
                <a:gd name="T2" fmla="*/ 0 w 214"/>
                <a:gd name="T3" fmla="*/ 54 h 191"/>
                <a:gd name="T4" fmla="*/ 136 w 214"/>
                <a:gd name="T5" fmla="*/ 191 h 191"/>
                <a:gd name="T6" fmla="*/ 141 w 214"/>
                <a:gd name="T7" fmla="*/ 187 h 191"/>
                <a:gd name="T8" fmla="*/ 143 w 214"/>
                <a:gd name="T9" fmla="*/ 185 h 191"/>
                <a:gd name="T10" fmla="*/ 145 w 214"/>
                <a:gd name="T11" fmla="*/ 182 h 191"/>
                <a:gd name="T12" fmla="*/ 148 w 214"/>
                <a:gd name="T13" fmla="*/ 179 h 191"/>
                <a:gd name="T14" fmla="*/ 149 w 214"/>
                <a:gd name="T15" fmla="*/ 178 h 191"/>
                <a:gd name="T16" fmla="*/ 153 w 214"/>
                <a:gd name="T17" fmla="*/ 174 h 191"/>
                <a:gd name="T18" fmla="*/ 153 w 214"/>
                <a:gd name="T19" fmla="*/ 173 h 191"/>
                <a:gd name="T20" fmla="*/ 157 w 214"/>
                <a:gd name="T21" fmla="*/ 168 h 191"/>
                <a:gd name="T22" fmla="*/ 157 w 214"/>
                <a:gd name="T23" fmla="*/ 168 h 191"/>
                <a:gd name="T24" fmla="*/ 161 w 214"/>
                <a:gd name="T25" fmla="*/ 163 h 191"/>
                <a:gd name="T26" fmla="*/ 161 w 214"/>
                <a:gd name="T27" fmla="*/ 163 h 191"/>
                <a:gd name="T28" fmla="*/ 182 w 214"/>
                <a:gd name="T29" fmla="*/ 131 h 191"/>
                <a:gd name="T30" fmla="*/ 182 w 214"/>
                <a:gd name="T31" fmla="*/ 130 h 191"/>
                <a:gd name="T32" fmla="*/ 185 w 214"/>
                <a:gd name="T33" fmla="*/ 125 h 191"/>
                <a:gd name="T34" fmla="*/ 185 w 214"/>
                <a:gd name="T35" fmla="*/ 124 h 191"/>
                <a:gd name="T36" fmla="*/ 187 w 214"/>
                <a:gd name="T37" fmla="*/ 120 h 191"/>
                <a:gd name="T38" fmla="*/ 188 w 214"/>
                <a:gd name="T39" fmla="*/ 118 h 191"/>
                <a:gd name="T40" fmla="*/ 190 w 214"/>
                <a:gd name="T41" fmla="*/ 114 h 191"/>
                <a:gd name="T42" fmla="*/ 191 w 214"/>
                <a:gd name="T43" fmla="*/ 112 h 191"/>
                <a:gd name="T44" fmla="*/ 193 w 214"/>
                <a:gd name="T45" fmla="*/ 108 h 191"/>
                <a:gd name="T46" fmla="*/ 194 w 214"/>
                <a:gd name="T47" fmla="*/ 106 h 191"/>
                <a:gd name="T48" fmla="*/ 195 w 214"/>
                <a:gd name="T49" fmla="*/ 103 h 191"/>
                <a:gd name="T50" fmla="*/ 196 w 214"/>
                <a:gd name="T51" fmla="*/ 99 h 191"/>
                <a:gd name="T52" fmla="*/ 197 w 214"/>
                <a:gd name="T53" fmla="*/ 97 h 191"/>
                <a:gd name="T54" fmla="*/ 199 w 214"/>
                <a:gd name="T55" fmla="*/ 93 h 191"/>
                <a:gd name="T56" fmla="*/ 199 w 214"/>
                <a:gd name="T57" fmla="*/ 91 h 191"/>
                <a:gd name="T58" fmla="*/ 201 w 214"/>
                <a:gd name="T59" fmla="*/ 86 h 191"/>
                <a:gd name="T60" fmla="*/ 201 w 214"/>
                <a:gd name="T61" fmla="*/ 85 h 191"/>
                <a:gd name="T62" fmla="*/ 203 w 214"/>
                <a:gd name="T63" fmla="*/ 80 h 191"/>
                <a:gd name="T64" fmla="*/ 203 w 214"/>
                <a:gd name="T65" fmla="*/ 79 h 191"/>
                <a:gd name="T66" fmla="*/ 211 w 214"/>
                <a:gd name="T67" fmla="*/ 42 h 191"/>
                <a:gd name="T68" fmla="*/ 211 w 214"/>
                <a:gd name="T69" fmla="*/ 42 h 191"/>
                <a:gd name="T70" fmla="*/ 212 w 214"/>
                <a:gd name="T71" fmla="*/ 36 h 191"/>
                <a:gd name="T72" fmla="*/ 212 w 214"/>
                <a:gd name="T73" fmla="*/ 35 h 191"/>
                <a:gd name="T74" fmla="*/ 213 w 214"/>
                <a:gd name="T75" fmla="*/ 30 h 191"/>
                <a:gd name="T76" fmla="*/ 213 w 214"/>
                <a:gd name="T77" fmla="*/ 28 h 191"/>
                <a:gd name="T78" fmla="*/ 213 w 214"/>
                <a:gd name="T79" fmla="*/ 23 h 191"/>
                <a:gd name="T80" fmla="*/ 213 w 214"/>
                <a:gd name="T81" fmla="*/ 21 h 191"/>
                <a:gd name="T82" fmla="*/ 214 w 214"/>
                <a:gd name="T83" fmla="*/ 17 h 191"/>
                <a:gd name="T84" fmla="*/ 214 w 214"/>
                <a:gd name="T85" fmla="*/ 14 h 191"/>
                <a:gd name="T86" fmla="*/ 214 w 214"/>
                <a:gd name="T87" fmla="*/ 10 h 191"/>
                <a:gd name="T88" fmla="*/ 214 w 214"/>
                <a:gd name="T89" fmla="*/ 0 h 191"/>
                <a:gd name="T90" fmla="*/ 21 w 214"/>
                <a:gd name="T91"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4" h="191">
                  <a:moveTo>
                    <a:pt x="21" y="0"/>
                  </a:moveTo>
                  <a:cubicBezTo>
                    <a:pt x="19" y="21"/>
                    <a:pt x="11" y="40"/>
                    <a:pt x="0" y="54"/>
                  </a:cubicBezTo>
                  <a:cubicBezTo>
                    <a:pt x="136" y="191"/>
                    <a:pt x="136" y="191"/>
                    <a:pt x="136" y="191"/>
                  </a:cubicBezTo>
                  <a:cubicBezTo>
                    <a:pt x="138" y="190"/>
                    <a:pt x="139" y="188"/>
                    <a:pt x="141" y="187"/>
                  </a:cubicBezTo>
                  <a:cubicBezTo>
                    <a:pt x="141" y="186"/>
                    <a:pt x="142" y="185"/>
                    <a:pt x="143" y="185"/>
                  </a:cubicBezTo>
                  <a:cubicBezTo>
                    <a:pt x="144" y="184"/>
                    <a:pt x="144" y="183"/>
                    <a:pt x="145" y="182"/>
                  </a:cubicBezTo>
                  <a:cubicBezTo>
                    <a:pt x="146" y="181"/>
                    <a:pt x="147" y="180"/>
                    <a:pt x="148" y="179"/>
                  </a:cubicBezTo>
                  <a:cubicBezTo>
                    <a:pt x="148" y="179"/>
                    <a:pt x="149" y="178"/>
                    <a:pt x="149" y="178"/>
                  </a:cubicBezTo>
                  <a:cubicBezTo>
                    <a:pt x="150" y="176"/>
                    <a:pt x="152" y="175"/>
                    <a:pt x="153" y="174"/>
                  </a:cubicBezTo>
                  <a:cubicBezTo>
                    <a:pt x="153" y="173"/>
                    <a:pt x="153" y="173"/>
                    <a:pt x="153" y="173"/>
                  </a:cubicBezTo>
                  <a:cubicBezTo>
                    <a:pt x="155" y="171"/>
                    <a:pt x="156" y="170"/>
                    <a:pt x="157" y="168"/>
                  </a:cubicBezTo>
                  <a:cubicBezTo>
                    <a:pt x="157" y="168"/>
                    <a:pt x="157" y="168"/>
                    <a:pt x="157" y="168"/>
                  </a:cubicBezTo>
                  <a:cubicBezTo>
                    <a:pt x="159" y="166"/>
                    <a:pt x="160" y="165"/>
                    <a:pt x="161" y="163"/>
                  </a:cubicBezTo>
                  <a:cubicBezTo>
                    <a:pt x="161" y="163"/>
                    <a:pt x="161" y="163"/>
                    <a:pt x="161" y="163"/>
                  </a:cubicBezTo>
                  <a:cubicBezTo>
                    <a:pt x="169" y="153"/>
                    <a:pt x="176" y="142"/>
                    <a:pt x="182" y="131"/>
                  </a:cubicBezTo>
                  <a:cubicBezTo>
                    <a:pt x="182" y="131"/>
                    <a:pt x="182" y="130"/>
                    <a:pt x="182" y="130"/>
                  </a:cubicBezTo>
                  <a:cubicBezTo>
                    <a:pt x="183" y="129"/>
                    <a:pt x="184" y="127"/>
                    <a:pt x="185" y="125"/>
                  </a:cubicBezTo>
                  <a:cubicBezTo>
                    <a:pt x="185" y="125"/>
                    <a:pt x="185" y="125"/>
                    <a:pt x="185" y="124"/>
                  </a:cubicBezTo>
                  <a:cubicBezTo>
                    <a:pt x="186" y="123"/>
                    <a:pt x="187" y="121"/>
                    <a:pt x="187" y="120"/>
                  </a:cubicBezTo>
                  <a:cubicBezTo>
                    <a:pt x="188" y="119"/>
                    <a:pt x="188" y="119"/>
                    <a:pt x="188" y="118"/>
                  </a:cubicBezTo>
                  <a:cubicBezTo>
                    <a:pt x="189" y="117"/>
                    <a:pt x="189" y="115"/>
                    <a:pt x="190" y="114"/>
                  </a:cubicBezTo>
                  <a:cubicBezTo>
                    <a:pt x="190" y="113"/>
                    <a:pt x="191" y="113"/>
                    <a:pt x="191" y="112"/>
                  </a:cubicBezTo>
                  <a:cubicBezTo>
                    <a:pt x="192" y="111"/>
                    <a:pt x="192" y="110"/>
                    <a:pt x="193" y="108"/>
                  </a:cubicBezTo>
                  <a:cubicBezTo>
                    <a:pt x="193" y="107"/>
                    <a:pt x="193" y="107"/>
                    <a:pt x="194" y="106"/>
                  </a:cubicBezTo>
                  <a:cubicBezTo>
                    <a:pt x="194" y="105"/>
                    <a:pt x="195" y="104"/>
                    <a:pt x="195" y="103"/>
                  </a:cubicBezTo>
                  <a:cubicBezTo>
                    <a:pt x="195" y="102"/>
                    <a:pt x="196" y="100"/>
                    <a:pt x="196" y="99"/>
                  </a:cubicBezTo>
                  <a:cubicBezTo>
                    <a:pt x="197" y="98"/>
                    <a:pt x="197" y="98"/>
                    <a:pt x="197" y="97"/>
                  </a:cubicBezTo>
                  <a:cubicBezTo>
                    <a:pt x="198" y="96"/>
                    <a:pt x="198" y="94"/>
                    <a:pt x="199" y="93"/>
                  </a:cubicBezTo>
                  <a:cubicBezTo>
                    <a:pt x="199" y="92"/>
                    <a:pt x="199" y="92"/>
                    <a:pt x="199" y="91"/>
                  </a:cubicBezTo>
                  <a:cubicBezTo>
                    <a:pt x="200" y="90"/>
                    <a:pt x="200" y="88"/>
                    <a:pt x="201" y="86"/>
                  </a:cubicBezTo>
                  <a:cubicBezTo>
                    <a:pt x="201" y="86"/>
                    <a:pt x="201" y="86"/>
                    <a:pt x="201" y="85"/>
                  </a:cubicBezTo>
                  <a:cubicBezTo>
                    <a:pt x="202" y="83"/>
                    <a:pt x="202" y="82"/>
                    <a:pt x="203" y="80"/>
                  </a:cubicBezTo>
                  <a:cubicBezTo>
                    <a:pt x="203" y="80"/>
                    <a:pt x="203" y="79"/>
                    <a:pt x="203" y="79"/>
                  </a:cubicBezTo>
                  <a:cubicBezTo>
                    <a:pt x="207" y="67"/>
                    <a:pt x="209" y="55"/>
                    <a:pt x="211" y="42"/>
                  </a:cubicBezTo>
                  <a:cubicBezTo>
                    <a:pt x="211" y="42"/>
                    <a:pt x="211" y="42"/>
                    <a:pt x="211" y="42"/>
                  </a:cubicBezTo>
                  <a:cubicBezTo>
                    <a:pt x="211" y="40"/>
                    <a:pt x="212" y="38"/>
                    <a:pt x="212" y="36"/>
                  </a:cubicBezTo>
                  <a:cubicBezTo>
                    <a:pt x="212" y="36"/>
                    <a:pt x="212" y="35"/>
                    <a:pt x="212" y="35"/>
                  </a:cubicBezTo>
                  <a:cubicBezTo>
                    <a:pt x="212" y="33"/>
                    <a:pt x="212" y="31"/>
                    <a:pt x="213" y="30"/>
                  </a:cubicBezTo>
                  <a:cubicBezTo>
                    <a:pt x="213" y="29"/>
                    <a:pt x="213" y="29"/>
                    <a:pt x="213" y="28"/>
                  </a:cubicBezTo>
                  <a:cubicBezTo>
                    <a:pt x="213" y="27"/>
                    <a:pt x="213" y="25"/>
                    <a:pt x="213" y="23"/>
                  </a:cubicBezTo>
                  <a:cubicBezTo>
                    <a:pt x="213" y="23"/>
                    <a:pt x="213" y="22"/>
                    <a:pt x="213" y="21"/>
                  </a:cubicBezTo>
                  <a:cubicBezTo>
                    <a:pt x="213" y="20"/>
                    <a:pt x="214" y="18"/>
                    <a:pt x="214" y="17"/>
                  </a:cubicBezTo>
                  <a:cubicBezTo>
                    <a:pt x="214" y="16"/>
                    <a:pt x="214" y="15"/>
                    <a:pt x="214" y="14"/>
                  </a:cubicBezTo>
                  <a:cubicBezTo>
                    <a:pt x="214" y="13"/>
                    <a:pt x="214" y="11"/>
                    <a:pt x="214" y="10"/>
                  </a:cubicBezTo>
                  <a:cubicBezTo>
                    <a:pt x="214" y="7"/>
                    <a:pt x="214" y="2"/>
                    <a:pt x="214" y="0"/>
                  </a:cubicBezTo>
                  <a:lnTo>
                    <a:pt x="21" y="0"/>
                  </a:lnTo>
                  <a:close/>
                </a:path>
              </a:pathLst>
            </a:custGeom>
            <a:solidFill>
              <a:srgbClr val="000000"/>
            </a:solidFill>
            <a:ln w="12700" cap="rnd">
              <a:solidFill>
                <a:srgbClr val="C4D600"/>
              </a:solidFill>
              <a:round/>
            </a:ln>
          </p:spPr>
          <p:txBody>
            <a:bodyPr vert="horz" wrap="square" lIns="45720" tIns="22860" rIns="45720" bIns="22860" numCol="1" anchor="t" anchorCtr="0" compatLnSpc="1">
              <a:prstTxWarp prst="textNoShape">
                <a:avLst/>
              </a:prstTxWarp>
            </a:bodyPr>
            <a:lstStyle/>
            <a:p>
              <a:endParaRPr lang="th-TH" sz="900"/>
            </a:p>
          </p:txBody>
        </p:sp>
        <p:sp>
          <p:nvSpPr>
            <p:cNvPr id="18" name="Rectangle 11"/>
            <p:cNvSpPr>
              <a:spLocks noChangeArrowheads="1"/>
            </p:cNvSpPr>
            <p:nvPr/>
          </p:nvSpPr>
          <p:spPr bwMode="auto">
            <a:xfrm>
              <a:off x="6023769" y="3830637"/>
              <a:ext cx="794" cy="794"/>
            </a:xfrm>
            <a:prstGeom prst="rect">
              <a:avLst/>
            </a:prstGeom>
            <a:solidFill>
              <a:schemeClr val="accent6"/>
            </a:solidFill>
            <a:ln w="9525" cap="rnd">
              <a:solidFill>
                <a:srgbClr val="000000"/>
              </a:solidFill>
              <a:round/>
              <a:headEnd/>
              <a:tailEnd/>
            </a:ln>
          </p:spPr>
          <p:txBody>
            <a:bodyPr vert="horz" wrap="square" lIns="45720" tIns="22860" rIns="45720" bIns="22860" numCol="1" anchor="t" anchorCtr="0" compatLnSpc="1">
              <a:prstTxWarp prst="textNoShape">
                <a:avLst/>
              </a:prstTxWarp>
            </a:bodyPr>
            <a:lstStyle/>
            <a:p>
              <a:endParaRPr lang="th-TH" sz="900"/>
            </a:p>
          </p:txBody>
        </p:sp>
        <p:sp>
          <p:nvSpPr>
            <p:cNvPr id="19" name="Rectangle 12"/>
            <p:cNvSpPr>
              <a:spLocks noChangeArrowheads="1"/>
            </p:cNvSpPr>
            <p:nvPr/>
          </p:nvSpPr>
          <p:spPr bwMode="auto">
            <a:xfrm>
              <a:off x="6015831" y="3830637"/>
              <a:ext cx="7938" cy="794"/>
            </a:xfrm>
            <a:prstGeom prst="rect">
              <a:avLst/>
            </a:prstGeom>
            <a:solidFill>
              <a:schemeClr val="accent6"/>
            </a:solidFill>
            <a:ln w="9525" cap="rnd">
              <a:solidFill>
                <a:srgbClr val="000000"/>
              </a:solidFill>
              <a:round/>
              <a:headEnd/>
              <a:tailEnd/>
            </a:ln>
          </p:spPr>
          <p:txBody>
            <a:bodyPr vert="horz" wrap="square" lIns="45720" tIns="22860" rIns="45720" bIns="22860" numCol="1" anchor="t" anchorCtr="0" compatLnSpc="1">
              <a:prstTxWarp prst="textNoShape">
                <a:avLst/>
              </a:prstTxWarp>
            </a:bodyPr>
            <a:lstStyle/>
            <a:p>
              <a:endParaRPr lang="th-TH" sz="900"/>
            </a:p>
          </p:txBody>
        </p:sp>
        <p:sp>
          <p:nvSpPr>
            <p:cNvPr id="20" name="Freeform 13"/>
            <p:cNvSpPr>
              <a:spLocks/>
            </p:cNvSpPr>
            <p:nvPr/>
          </p:nvSpPr>
          <p:spPr bwMode="auto">
            <a:xfrm>
              <a:off x="6015831" y="3830637"/>
              <a:ext cx="7938" cy="0"/>
            </a:xfrm>
            <a:custGeom>
              <a:avLst/>
              <a:gdLst>
                <a:gd name="T0" fmla="*/ 0 w 10"/>
                <a:gd name="T1" fmla="*/ 0 w 10"/>
                <a:gd name="T2" fmla="*/ 10 w 10"/>
                <a:gd name="T3" fmla="*/ 0 w 10"/>
              </a:gdLst>
              <a:ahLst/>
              <a:cxnLst>
                <a:cxn ang="0">
                  <a:pos x="T0" y="0"/>
                </a:cxn>
                <a:cxn ang="0">
                  <a:pos x="T1" y="0"/>
                </a:cxn>
                <a:cxn ang="0">
                  <a:pos x="T2" y="0"/>
                </a:cxn>
                <a:cxn ang="0">
                  <a:pos x="T3" y="0"/>
                </a:cxn>
              </a:cxnLst>
              <a:rect l="0" t="0" r="r" b="b"/>
              <a:pathLst>
                <a:path w="10">
                  <a:moveTo>
                    <a:pt x="0" y="0"/>
                  </a:moveTo>
                  <a:lnTo>
                    <a:pt x="0" y="0"/>
                  </a:lnTo>
                  <a:lnTo>
                    <a:pt x="10" y="0"/>
                  </a:lnTo>
                  <a:lnTo>
                    <a:pt x="0" y="0"/>
                  </a:lnTo>
                  <a:close/>
                </a:path>
              </a:pathLst>
            </a:custGeom>
            <a:solidFill>
              <a:schemeClr val="accent6"/>
            </a:solidFill>
            <a:ln w="9525" cap="rnd">
              <a:solidFill>
                <a:srgbClr val="000000"/>
              </a:solidFill>
              <a:round/>
              <a:headEnd/>
              <a:tailEnd/>
            </a:ln>
          </p:spPr>
          <p:txBody>
            <a:bodyPr vert="horz" wrap="square" lIns="45720" tIns="22860" rIns="45720" bIns="22860" numCol="1" anchor="t" anchorCtr="0" compatLnSpc="1">
              <a:prstTxWarp prst="textNoShape">
                <a:avLst/>
              </a:prstTxWarp>
            </a:bodyPr>
            <a:lstStyle/>
            <a:p>
              <a:endParaRPr lang="th-TH" sz="900"/>
            </a:p>
          </p:txBody>
        </p:sp>
        <p:sp>
          <p:nvSpPr>
            <p:cNvPr id="84" name="Freeform 650"/>
            <p:cNvSpPr>
              <a:spLocks noEditPoints="1"/>
            </p:cNvSpPr>
            <p:nvPr/>
          </p:nvSpPr>
          <p:spPr bwMode="auto">
            <a:xfrm>
              <a:off x="4473861" y="4007481"/>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FFFFFF"/>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5" name="Freeform 650"/>
            <p:cNvSpPr>
              <a:spLocks noEditPoints="1"/>
            </p:cNvSpPr>
            <p:nvPr/>
          </p:nvSpPr>
          <p:spPr bwMode="auto">
            <a:xfrm>
              <a:off x="5175912" y="5047556"/>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FFFFFF"/>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6" name="Freeform 650"/>
            <p:cNvSpPr>
              <a:spLocks noEditPoints="1"/>
            </p:cNvSpPr>
            <p:nvPr/>
          </p:nvSpPr>
          <p:spPr bwMode="auto">
            <a:xfrm>
              <a:off x="6325113" y="4859581"/>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FFFFFF"/>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7" name="Freeform 650"/>
            <p:cNvSpPr>
              <a:spLocks noEditPoints="1"/>
            </p:cNvSpPr>
            <p:nvPr/>
          </p:nvSpPr>
          <p:spPr bwMode="auto">
            <a:xfrm>
              <a:off x="7135367" y="4018019"/>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FFFFFF"/>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8" name="Group 7"/>
          <p:cNvGrpSpPr/>
          <p:nvPr/>
        </p:nvGrpSpPr>
        <p:grpSpPr>
          <a:xfrm>
            <a:off x="537835" y="2778125"/>
            <a:ext cx="3346552" cy="128250"/>
            <a:chOff x="537835" y="2778125"/>
            <a:chExt cx="3346552" cy="128250"/>
          </a:xfrm>
        </p:grpSpPr>
        <p:sp>
          <p:nvSpPr>
            <p:cNvPr id="61" name="Oval 1164"/>
            <p:cNvSpPr>
              <a:spLocks noChangeArrowheads="1"/>
            </p:cNvSpPr>
            <p:nvPr/>
          </p:nvSpPr>
          <p:spPr bwMode="auto">
            <a:xfrm>
              <a:off x="537835" y="2778125"/>
              <a:ext cx="127954" cy="128250"/>
            </a:xfrm>
            <a:prstGeom prst="ellipse">
              <a:avLst/>
            </a:prstGeom>
            <a:solidFill>
              <a:srgbClr val="009A44"/>
            </a:solidFill>
            <a:ln w="73025" cmpd="thinThick">
              <a:solidFill>
                <a:srgbClr val="009A44"/>
              </a:solidFill>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cxnSp>
          <p:nvCxnSpPr>
            <p:cNvPr id="4" name="Straight Connector 3"/>
            <p:cNvCxnSpPr/>
            <p:nvPr/>
          </p:nvCxnSpPr>
          <p:spPr>
            <a:xfrm flipV="1">
              <a:off x="606136" y="2846337"/>
              <a:ext cx="3278251" cy="1"/>
            </a:xfrm>
            <a:prstGeom prst="line">
              <a:avLst/>
            </a:prstGeom>
            <a:ln>
              <a:solidFill>
                <a:srgbClr val="009A44"/>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537835" y="4658387"/>
            <a:ext cx="3351940" cy="128250"/>
            <a:chOff x="537835" y="4658387"/>
            <a:chExt cx="3351940" cy="128250"/>
          </a:xfrm>
        </p:grpSpPr>
        <p:cxnSp>
          <p:nvCxnSpPr>
            <p:cNvPr id="48" name="Straight Connector 47"/>
            <p:cNvCxnSpPr/>
            <p:nvPr/>
          </p:nvCxnSpPr>
          <p:spPr>
            <a:xfrm flipV="1">
              <a:off x="611524" y="4722512"/>
              <a:ext cx="3278251" cy="1"/>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49" name="Oval 1164"/>
            <p:cNvSpPr>
              <a:spLocks noChangeArrowheads="1"/>
            </p:cNvSpPr>
            <p:nvPr/>
          </p:nvSpPr>
          <p:spPr bwMode="auto">
            <a:xfrm>
              <a:off x="537835" y="4658387"/>
              <a:ext cx="127954" cy="128250"/>
            </a:xfrm>
            <a:prstGeom prst="ellipse">
              <a:avLst/>
            </a:prstGeom>
            <a:solidFill>
              <a:srgbClr val="43B02A"/>
            </a:solidFill>
            <a:ln w="73025" cmpd="thinThick">
              <a:solidFill>
                <a:srgbClr val="43B02A"/>
              </a:solidFill>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grpSp>
      <p:grpSp>
        <p:nvGrpSpPr>
          <p:cNvPr id="9" name="Group 8"/>
          <p:cNvGrpSpPr/>
          <p:nvPr/>
        </p:nvGrpSpPr>
        <p:grpSpPr>
          <a:xfrm>
            <a:off x="8327891" y="2778125"/>
            <a:ext cx="3381509" cy="128250"/>
            <a:chOff x="8327891" y="2778125"/>
            <a:chExt cx="3381509" cy="128250"/>
          </a:xfrm>
        </p:grpSpPr>
        <p:cxnSp>
          <p:nvCxnSpPr>
            <p:cNvPr id="46" name="Straight Connector 45"/>
            <p:cNvCxnSpPr/>
            <p:nvPr/>
          </p:nvCxnSpPr>
          <p:spPr>
            <a:xfrm flipV="1">
              <a:off x="8396568" y="2846337"/>
              <a:ext cx="3312832" cy="1"/>
            </a:xfrm>
            <a:prstGeom prst="line">
              <a:avLst/>
            </a:prstGeom>
            <a:ln>
              <a:solidFill>
                <a:srgbClr val="C4D600"/>
              </a:solidFill>
            </a:ln>
          </p:spPr>
          <p:style>
            <a:lnRef idx="1">
              <a:schemeClr val="accent1"/>
            </a:lnRef>
            <a:fillRef idx="0">
              <a:schemeClr val="accent1"/>
            </a:fillRef>
            <a:effectRef idx="0">
              <a:schemeClr val="accent1"/>
            </a:effectRef>
            <a:fontRef idx="minor">
              <a:schemeClr val="tx1"/>
            </a:fontRef>
          </p:style>
        </p:cxnSp>
        <p:sp>
          <p:nvSpPr>
            <p:cNvPr id="50" name="Oval 1164"/>
            <p:cNvSpPr>
              <a:spLocks noChangeArrowheads="1"/>
            </p:cNvSpPr>
            <p:nvPr/>
          </p:nvSpPr>
          <p:spPr bwMode="auto">
            <a:xfrm>
              <a:off x="8327891" y="2778125"/>
              <a:ext cx="127954" cy="128250"/>
            </a:xfrm>
            <a:prstGeom prst="ellipse">
              <a:avLst/>
            </a:prstGeom>
            <a:solidFill>
              <a:srgbClr val="C4D600"/>
            </a:solidFill>
            <a:ln w="73025" cmpd="thinThick">
              <a:solidFill>
                <a:srgbClr val="C4D600"/>
              </a:solidFill>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grpSp>
      <p:grpSp>
        <p:nvGrpSpPr>
          <p:cNvPr id="10" name="Group 9"/>
          <p:cNvGrpSpPr/>
          <p:nvPr/>
        </p:nvGrpSpPr>
        <p:grpSpPr>
          <a:xfrm>
            <a:off x="8327891" y="4658387"/>
            <a:ext cx="3381509" cy="128250"/>
            <a:chOff x="8327891" y="4658387"/>
            <a:chExt cx="3381509" cy="128250"/>
          </a:xfrm>
        </p:grpSpPr>
        <p:cxnSp>
          <p:nvCxnSpPr>
            <p:cNvPr id="47" name="Straight Connector 46"/>
            <p:cNvCxnSpPr/>
            <p:nvPr/>
          </p:nvCxnSpPr>
          <p:spPr>
            <a:xfrm flipV="1">
              <a:off x="8396568" y="4722512"/>
              <a:ext cx="3312832" cy="1"/>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51" name="Oval 1164"/>
            <p:cNvSpPr>
              <a:spLocks noChangeArrowheads="1"/>
            </p:cNvSpPr>
            <p:nvPr/>
          </p:nvSpPr>
          <p:spPr bwMode="auto">
            <a:xfrm>
              <a:off x="8327891" y="4658387"/>
              <a:ext cx="127954" cy="128250"/>
            </a:xfrm>
            <a:prstGeom prst="ellipse">
              <a:avLst/>
            </a:prstGeom>
            <a:solidFill>
              <a:srgbClr val="86BC25"/>
            </a:solidFill>
            <a:ln w="73025" cmpd="thinThick">
              <a:solidFill>
                <a:srgbClr val="86BC25"/>
              </a:solidFill>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grpSp>
    </p:spTree>
    <p:custDataLst>
      <p:tags r:id="rId1"/>
    </p:custDataLst>
    <p:extLst>
      <p:ext uri="{BB962C8B-B14F-4D97-AF65-F5344CB8AC3E}">
        <p14:creationId xmlns:p14="http://schemas.microsoft.com/office/powerpoint/2010/main" val="14947567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63"/>
                                        </p:tgtEl>
                                        <p:attrNameLst>
                                          <p:attrName>style.visibility</p:attrName>
                                        </p:attrNameLst>
                                      </p:cBhvr>
                                      <p:to>
                                        <p:strVal val="visible"/>
                                      </p:to>
                                    </p:set>
                                    <p:anim calcmode="lin" valueType="num">
                                      <p:cBhvr>
                                        <p:cTn id="7" dur="500" fill="hold"/>
                                        <p:tgtEl>
                                          <p:spTgt spid="63"/>
                                        </p:tgtEl>
                                        <p:attrNameLst>
                                          <p:attrName>ppt_w</p:attrName>
                                        </p:attrNameLst>
                                      </p:cBhvr>
                                      <p:tavLst>
                                        <p:tav tm="0">
                                          <p:val>
                                            <p:fltVal val="0"/>
                                          </p:val>
                                        </p:tav>
                                        <p:tav tm="100000">
                                          <p:val>
                                            <p:strVal val="#ppt_w"/>
                                          </p:val>
                                        </p:tav>
                                      </p:tavLst>
                                    </p:anim>
                                    <p:anim calcmode="lin" valueType="num">
                                      <p:cBhvr>
                                        <p:cTn id="8" dur="500" fill="hold"/>
                                        <p:tgtEl>
                                          <p:spTgt spid="63"/>
                                        </p:tgtEl>
                                        <p:attrNameLst>
                                          <p:attrName>ppt_h</p:attrName>
                                        </p:attrNameLst>
                                      </p:cBhvr>
                                      <p:tavLst>
                                        <p:tav tm="0">
                                          <p:val>
                                            <p:fltVal val="0"/>
                                          </p:val>
                                        </p:tav>
                                        <p:tav tm="100000">
                                          <p:val>
                                            <p:strVal val="#ppt_h"/>
                                          </p:val>
                                        </p:tav>
                                      </p:tavLst>
                                    </p:anim>
                                    <p:animEffect transition="in" filter="fade">
                                      <p:cBhvr>
                                        <p:cTn id="9" dur="500"/>
                                        <p:tgtEl>
                                          <p:spTgt spid="63"/>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65"/>
                                        </p:tgtEl>
                                        <p:attrNameLst>
                                          <p:attrName>style.visibility</p:attrName>
                                        </p:attrNameLst>
                                      </p:cBhvr>
                                      <p:to>
                                        <p:strVal val="visible"/>
                                      </p:to>
                                    </p:set>
                                    <p:anim calcmode="lin" valueType="num">
                                      <p:cBhvr>
                                        <p:cTn id="13" dur="500" fill="hold"/>
                                        <p:tgtEl>
                                          <p:spTgt spid="65"/>
                                        </p:tgtEl>
                                        <p:attrNameLst>
                                          <p:attrName>ppt_w</p:attrName>
                                        </p:attrNameLst>
                                      </p:cBhvr>
                                      <p:tavLst>
                                        <p:tav tm="0">
                                          <p:val>
                                            <p:fltVal val="0"/>
                                          </p:val>
                                        </p:tav>
                                        <p:tav tm="100000">
                                          <p:val>
                                            <p:strVal val="#ppt_w"/>
                                          </p:val>
                                        </p:tav>
                                      </p:tavLst>
                                    </p:anim>
                                    <p:anim calcmode="lin" valueType="num">
                                      <p:cBhvr>
                                        <p:cTn id="14" dur="500" fill="hold"/>
                                        <p:tgtEl>
                                          <p:spTgt spid="65"/>
                                        </p:tgtEl>
                                        <p:attrNameLst>
                                          <p:attrName>ppt_h</p:attrName>
                                        </p:attrNameLst>
                                      </p:cBhvr>
                                      <p:tavLst>
                                        <p:tav tm="0">
                                          <p:val>
                                            <p:fltVal val="0"/>
                                          </p:val>
                                        </p:tav>
                                        <p:tav tm="100000">
                                          <p:val>
                                            <p:strVal val="#ppt_h"/>
                                          </p:val>
                                        </p:tav>
                                      </p:tavLst>
                                    </p:anim>
                                    <p:animEffect transition="in" filter="fade">
                                      <p:cBhvr>
                                        <p:cTn id="15" dur="500"/>
                                        <p:tgtEl>
                                          <p:spTgt spid="65"/>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p:cTn id="19" dur="500" fill="hold"/>
                                        <p:tgtEl>
                                          <p:spTgt spid="69"/>
                                        </p:tgtEl>
                                        <p:attrNameLst>
                                          <p:attrName>ppt_w</p:attrName>
                                        </p:attrNameLst>
                                      </p:cBhvr>
                                      <p:tavLst>
                                        <p:tav tm="0">
                                          <p:val>
                                            <p:fltVal val="0"/>
                                          </p:val>
                                        </p:tav>
                                        <p:tav tm="100000">
                                          <p:val>
                                            <p:strVal val="#ppt_w"/>
                                          </p:val>
                                        </p:tav>
                                      </p:tavLst>
                                    </p:anim>
                                    <p:anim calcmode="lin" valueType="num">
                                      <p:cBhvr>
                                        <p:cTn id="20" dur="500" fill="hold"/>
                                        <p:tgtEl>
                                          <p:spTgt spid="69"/>
                                        </p:tgtEl>
                                        <p:attrNameLst>
                                          <p:attrName>ppt_h</p:attrName>
                                        </p:attrNameLst>
                                      </p:cBhvr>
                                      <p:tavLst>
                                        <p:tav tm="0">
                                          <p:val>
                                            <p:fltVal val="0"/>
                                          </p:val>
                                        </p:tav>
                                        <p:tav tm="100000">
                                          <p:val>
                                            <p:strVal val="#ppt_h"/>
                                          </p:val>
                                        </p:tav>
                                      </p:tavLst>
                                    </p:anim>
                                    <p:animEffect transition="in" filter="fade">
                                      <p:cBhvr>
                                        <p:cTn id="21" dur="500"/>
                                        <p:tgtEl>
                                          <p:spTgt spid="69"/>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71"/>
                                        </p:tgtEl>
                                        <p:attrNameLst>
                                          <p:attrName>style.visibility</p:attrName>
                                        </p:attrNameLst>
                                      </p:cBhvr>
                                      <p:to>
                                        <p:strVal val="visible"/>
                                      </p:to>
                                    </p:set>
                                    <p:anim calcmode="lin" valueType="num">
                                      <p:cBhvr>
                                        <p:cTn id="25" dur="500" fill="hold"/>
                                        <p:tgtEl>
                                          <p:spTgt spid="71"/>
                                        </p:tgtEl>
                                        <p:attrNameLst>
                                          <p:attrName>ppt_w</p:attrName>
                                        </p:attrNameLst>
                                      </p:cBhvr>
                                      <p:tavLst>
                                        <p:tav tm="0">
                                          <p:val>
                                            <p:fltVal val="0"/>
                                          </p:val>
                                        </p:tav>
                                        <p:tav tm="100000">
                                          <p:val>
                                            <p:strVal val="#ppt_w"/>
                                          </p:val>
                                        </p:tav>
                                      </p:tavLst>
                                    </p:anim>
                                    <p:anim calcmode="lin" valueType="num">
                                      <p:cBhvr>
                                        <p:cTn id="26" dur="500" fill="hold"/>
                                        <p:tgtEl>
                                          <p:spTgt spid="71"/>
                                        </p:tgtEl>
                                        <p:attrNameLst>
                                          <p:attrName>ppt_h</p:attrName>
                                        </p:attrNameLst>
                                      </p:cBhvr>
                                      <p:tavLst>
                                        <p:tav tm="0">
                                          <p:val>
                                            <p:fltVal val="0"/>
                                          </p:val>
                                        </p:tav>
                                        <p:tav tm="100000">
                                          <p:val>
                                            <p:strVal val="#ppt_h"/>
                                          </p:val>
                                        </p:tav>
                                      </p:tavLst>
                                    </p:anim>
                                    <p:animEffect transition="in" filter="fade">
                                      <p:cBhvr>
                                        <p:cTn id="27" dur="500"/>
                                        <p:tgtEl>
                                          <p:spTgt spid="71"/>
                                        </p:tgtEl>
                                      </p:cBhvr>
                                    </p:animEffect>
                                  </p:childTnLst>
                                </p:cTn>
                              </p:par>
                            </p:childTnLst>
                          </p:cTn>
                        </p:par>
                        <p:par>
                          <p:cTn id="28" fill="hold">
                            <p:stCondLst>
                              <p:cond delay="2000"/>
                            </p:stCondLst>
                            <p:childTnLst>
                              <p:par>
                                <p:cTn id="29" presetID="53" presetClass="entr" presetSubtype="16" fill="hold" grpId="0" nodeType="afterEffect">
                                  <p:stCondLst>
                                    <p:cond delay="0"/>
                                  </p:stCondLst>
                                  <p:childTnLst>
                                    <p:set>
                                      <p:cBhvr>
                                        <p:cTn id="30" dur="1" fill="hold">
                                          <p:stCondLst>
                                            <p:cond delay="0"/>
                                          </p:stCondLst>
                                        </p:cTn>
                                        <p:tgtEl>
                                          <p:spTgt spid="75"/>
                                        </p:tgtEl>
                                        <p:attrNameLst>
                                          <p:attrName>style.visibility</p:attrName>
                                        </p:attrNameLst>
                                      </p:cBhvr>
                                      <p:to>
                                        <p:strVal val="visible"/>
                                      </p:to>
                                    </p:set>
                                    <p:anim calcmode="lin" valueType="num">
                                      <p:cBhvr>
                                        <p:cTn id="31" dur="500" fill="hold"/>
                                        <p:tgtEl>
                                          <p:spTgt spid="75"/>
                                        </p:tgtEl>
                                        <p:attrNameLst>
                                          <p:attrName>ppt_w</p:attrName>
                                        </p:attrNameLst>
                                      </p:cBhvr>
                                      <p:tavLst>
                                        <p:tav tm="0">
                                          <p:val>
                                            <p:fltVal val="0"/>
                                          </p:val>
                                        </p:tav>
                                        <p:tav tm="100000">
                                          <p:val>
                                            <p:strVal val="#ppt_w"/>
                                          </p:val>
                                        </p:tav>
                                      </p:tavLst>
                                    </p:anim>
                                    <p:anim calcmode="lin" valueType="num">
                                      <p:cBhvr>
                                        <p:cTn id="32" dur="500" fill="hold"/>
                                        <p:tgtEl>
                                          <p:spTgt spid="75"/>
                                        </p:tgtEl>
                                        <p:attrNameLst>
                                          <p:attrName>ppt_h</p:attrName>
                                        </p:attrNameLst>
                                      </p:cBhvr>
                                      <p:tavLst>
                                        <p:tav tm="0">
                                          <p:val>
                                            <p:fltVal val="0"/>
                                          </p:val>
                                        </p:tav>
                                        <p:tav tm="100000">
                                          <p:val>
                                            <p:strVal val="#ppt_h"/>
                                          </p:val>
                                        </p:tav>
                                      </p:tavLst>
                                    </p:anim>
                                    <p:animEffect transition="in" filter="fade">
                                      <p:cBhvr>
                                        <p:cTn id="33" dur="500"/>
                                        <p:tgtEl>
                                          <p:spTgt spid="75"/>
                                        </p:tgtEl>
                                      </p:cBhvr>
                                    </p:animEffect>
                                  </p:childTnLst>
                                </p:cTn>
                              </p:par>
                            </p:childTnLst>
                          </p:cTn>
                        </p:par>
                        <p:par>
                          <p:cTn id="34" fill="hold">
                            <p:stCondLst>
                              <p:cond delay="2500"/>
                            </p:stCondLst>
                            <p:childTnLst>
                              <p:par>
                                <p:cTn id="35" presetID="53" presetClass="entr" presetSubtype="16" fill="hold" grpId="0" nodeType="afterEffect">
                                  <p:stCondLst>
                                    <p:cond delay="0"/>
                                  </p:stCondLst>
                                  <p:childTnLst>
                                    <p:set>
                                      <p:cBhvr>
                                        <p:cTn id="36" dur="1" fill="hold">
                                          <p:stCondLst>
                                            <p:cond delay="0"/>
                                          </p:stCondLst>
                                        </p:cTn>
                                        <p:tgtEl>
                                          <p:spTgt spid="77"/>
                                        </p:tgtEl>
                                        <p:attrNameLst>
                                          <p:attrName>style.visibility</p:attrName>
                                        </p:attrNameLst>
                                      </p:cBhvr>
                                      <p:to>
                                        <p:strVal val="visible"/>
                                      </p:to>
                                    </p:set>
                                    <p:anim calcmode="lin" valueType="num">
                                      <p:cBhvr>
                                        <p:cTn id="37" dur="500" fill="hold"/>
                                        <p:tgtEl>
                                          <p:spTgt spid="77"/>
                                        </p:tgtEl>
                                        <p:attrNameLst>
                                          <p:attrName>ppt_w</p:attrName>
                                        </p:attrNameLst>
                                      </p:cBhvr>
                                      <p:tavLst>
                                        <p:tav tm="0">
                                          <p:val>
                                            <p:fltVal val="0"/>
                                          </p:val>
                                        </p:tav>
                                        <p:tav tm="100000">
                                          <p:val>
                                            <p:strVal val="#ppt_w"/>
                                          </p:val>
                                        </p:tav>
                                      </p:tavLst>
                                    </p:anim>
                                    <p:anim calcmode="lin" valueType="num">
                                      <p:cBhvr>
                                        <p:cTn id="38" dur="500" fill="hold"/>
                                        <p:tgtEl>
                                          <p:spTgt spid="77"/>
                                        </p:tgtEl>
                                        <p:attrNameLst>
                                          <p:attrName>ppt_h</p:attrName>
                                        </p:attrNameLst>
                                      </p:cBhvr>
                                      <p:tavLst>
                                        <p:tav tm="0">
                                          <p:val>
                                            <p:fltVal val="0"/>
                                          </p:val>
                                        </p:tav>
                                        <p:tav tm="100000">
                                          <p:val>
                                            <p:strVal val="#ppt_h"/>
                                          </p:val>
                                        </p:tav>
                                      </p:tavLst>
                                    </p:anim>
                                    <p:animEffect transition="in" filter="fade">
                                      <p:cBhvr>
                                        <p:cTn id="39" dur="500"/>
                                        <p:tgtEl>
                                          <p:spTgt spid="77"/>
                                        </p:tgtEl>
                                      </p:cBhvr>
                                    </p:animEffect>
                                  </p:childTnLst>
                                </p:cTn>
                              </p:par>
                            </p:childTnLst>
                          </p:cTn>
                        </p:par>
                        <p:par>
                          <p:cTn id="40" fill="hold">
                            <p:stCondLst>
                              <p:cond delay="3000"/>
                            </p:stCondLst>
                            <p:childTnLst>
                              <p:par>
                                <p:cTn id="41" presetID="53" presetClass="entr" presetSubtype="16" fill="hold" grpId="0" nodeType="afterEffect">
                                  <p:stCondLst>
                                    <p:cond delay="0"/>
                                  </p:stCondLst>
                                  <p:childTnLst>
                                    <p:set>
                                      <p:cBhvr>
                                        <p:cTn id="42" dur="1" fill="hold">
                                          <p:stCondLst>
                                            <p:cond delay="0"/>
                                          </p:stCondLst>
                                        </p:cTn>
                                        <p:tgtEl>
                                          <p:spTgt spid="81"/>
                                        </p:tgtEl>
                                        <p:attrNameLst>
                                          <p:attrName>style.visibility</p:attrName>
                                        </p:attrNameLst>
                                      </p:cBhvr>
                                      <p:to>
                                        <p:strVal val="visible"/>
                                      </p:to>
                                    </p:set>
                                    <p:anim calcmode="lin" valueType="num">
                                      <p:cBhvr>
                                        <p:cTn id="43" dur="500" fill="hold"/>
                                        <p:tgtEl>
                                          <p:spTgt spid="81"/>
                                        </p:tgtEl>
                                        <p:attrNameLst>
                                          <p:attrName>ppt_w</p:attrName>
                                        </p:attrNameLst>
                                      </p:cBhvr>
                                      <p:tavLst>
                                        <p:tav tm="0">
                                          <p:val>
                                            <p:fltVal val="0"/>
                                          </p:val>
                                        </p:tav>
                                        <p:tav tm="100000">
                                          <p:val>
                                            <p:strVal val="#ppt_w"/>
                                          </p:val>
                                        </p:tav>
                                      </p:tavLst>
                                    </p:anim>
                                    <p:anim calcmode="lin" valueType="num">
                                      <p:cBhvr>
                                        <p:cTn id="44" dur="500" fill="hold"/>
                                        <p:tgtEl>
                                          <p:spTgt spid="81"/>
                                        </p:tgtEl>
                                        <p:attrNameLst>
                                          <p:attrName>ppt_h</p:attrName>
                                        </p:attrNameLst>
                                      </p:cBhvr>
                                      <p:tavLst>
                                        <p:tav tm="0">
                                          <p:val>
                                            <p:fltVal val="0"/>
                                          </p:val>
                                        </p:tav>
                                        <p:tav tm="100000">
                                          <p:val>
                                            <p:strVal val="#ppt_h"/>
                                          </p:val>
                                        </p:tav>
                                      </p:tavLst>
                                    </p:anim>
                                    <p:animEffect transition="in" filter="fade">
                                      <p:cBhvr>
                                        <p:cTn id="45" dur="500"/>
                                        <p:tgtEl>
                                          <p:spTgt spid="81"/>
                                        </p:tgtEl>
                                      </p:cBhvr>
                                    </p:animEffect>
                                  </p:childTnLst>
                                </p:cTn>
                              </p:par>
                            </p:childTnLst>
                          </p:cTn>
                        </p:par>
                        <p:par>
                          <p:cTn id="46" fill="hold">
                            <p:stCondLst>
                              <p:cond delay="3500"/>
                            </p:stCondLst>
                            <p:childTnLst>
                              <p:par>
                                <p:cTn id="47" presetID="53" presetClass="entr" presetSubtype="16" fill="hold" grpId="0" nodeType="afterEffect">
                                  <p:stCondLst>
                                    <p:cond delay="0"/>
                                  </p:stCondLst>
                                  <p:childTnLst>
                                    <p:set>
                                      <p:cBhvr>
                                        <p:cTn id="48" dur="1" fill="hold">
                                          <p:stCondLst>
                                            <p:cond delay="0"/>
                                          </p:stCondLst>
                                        </p:cTn>
                                        <p:tgtEl>
                                          <p:spTgt spid="83"/>
                                        </p:tgtEl>
                                        <p:attrNameLst>
                                          <p:attrName>style.visibility</p:attrName>
                                        </p:attrNameLst>
                                      </p:cBhvr>
                                      <p:to>
                                        <p:strVal val="visible"/>
                                      </p:to>
                                    </p:set>
                                    <p:anim calcmode="lin" valueType="num">
                                      <p:cBhvr>
                                        <p:cTn id="49" dur="500" fill="hold"/>
                                        <p:tgtEl>
                                          <p:spTgt spid="83"/>
                                        </p:tgtEl>
                                        <p:attrNameLst>
                                          <p:attrName>ppt_w</p:attrName>
                                        </p:attrNameLst>
                                      </p:cBhvr>
                                      <p:tavLst>
                                        <p:tav tm="0">
                                          <p:val>
                                            <p:fltVal val="0"/>
                                          </p:val>
                                        </p:tav>
                                        <p:tav tm="100000">
                                          <p:val>
                                            <p:strVal val="#ppt_w"/>
                                          </p:val>
                                        </p:tav>
                                      </p:tavLst>
                                    </p:anim>
                                    <p:anim calcmode="lin" valueType="num">
                                      <p:cBhvr>
                                        <p:cTn id="50" dur="500" fill="hold"/>
                                        <p:tgtEl>
                                          <p:spTgt spid="83"/>
                                        </p:tgtEl>
                                        <p:attrNameLst>
                                          <p:attrName>ppt_h</p:attrName>
                                        </p:attrNameLst>
                                      </p:cBhvr>
                                      <p:tavLst>
                                        <p:tav tm="0">
                                          <p:val>
                                            <p:fltVal val="0"/>
                                          </p:val>
                                        </p:tav>
                                        <p:tav tm="100000">
                                          <p:val>
                                            <p:strVal val="#ppt_h"/>
                                          </p:val>
                                        </p:tav>
                                      </p:tavLst>
                                    </p:anim>
                                    <p:animEffect transition="in" filter="fade">
                                      <p:cBhvr>
                                        <p:cTn id="51"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5" grpId="0"/>
      <p:bldP spid="69" grpId="0"/>
      <p:bldP spid="71" grpId="0"/>
      <p:bldP spid="75" grpId="0"/>
      <p:bldP spid="77" grpId="0"/>
      <p:bldP spid="81" grpId="0"/>
      <p:bldP spid="83" grpId="0"/>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图表 5"/>
          <p:cNvGraphicFramePr>
            <a:graphicFrameLocks noGrp="1"/>
          </p:cNvGraphicFramePr>
          <p:nvPr>
            <p:ph idx="4294967295"/>
          </p:nvPr>
        </p:nvGraphicFramePr>
        <p:xfrm>
          <a:off x="0" y="1665288"/>
          <a:ext cx="11252200" cy="4633912"/>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1298623973"/>
      </p:ext>
    </p:extLst>
  </p:cSld>
  <p:clrMapOvr>
    <a:masterClrMapping/>
  </p:clrMapOvr>
  <p:transition>
    <p:fade/>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图表 8"/>
          <p:cNvGraphicFramePr>
            <a:graphicFrameLocks noGrp="1"/>
          </p:cNvGraphicFramePr>
          <p:nvPr>
            <p:ph idx="4294967295"/>
          </p:nvPr>
        </p:nvGraphicFramePr>
        <p:xfrm>
          <a:off x="0" y="1652588"/>
          <a:ext cx="11252200" cy="4633912"/>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3856963751"/>
      </p:ext>
    </p:extLst>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p:nvPr/>
        </p:nvGraphicFramePr>
        <p:xfrm>
          <a:off x="469900" y="1554052"/>
          <a:ext cx="11252200" cy="4156901"/>
        </p:xfrm>
        <a:graphic>
          <a:graphicData uri="http://schemas.openxmlformats.org/drawingml/2006/chart">
            <c:chart xmlns:c="http://schemas.openxmlformats.org/drawingml/2006/chart" xmlns:r="http://schemas.openxmlformats.org/officeDocument/2006/relationships" r:id="rId4"/>
          </a:graphicData>
        </a:graphic>
      </p:graphicFrame>
      <p:grpSp>
        <p:nvGrpSpPr>
          <p:cNvPr id="2" name="Group 1"/>
          <p:cNvGrpSpPr/>
          <p:nvPr/>
        </p:nvGrpSpPr>
        <p:grpSpPr>
          <a:xfrm>
            <a:off x="1106501" y="2024743"/>
            <a:ext cx="9977717" cy="2911532"/>
            <a:chOff x="785610" y="2024743"/>
            <a:chExt cx="4977058" cy="2911532"/>
          </a:xfrm>
        </p:grpSpPr>
        <p:grpSp>
          <p:nvGrpSpPr>
            <p:cNvPr id="41" name="Group 40"/>
            <p:cNvGrpSpPr/>
            <p:nvPr/>
          </p:nvGrpSpPr>
          <p:grpSpPr>
            <a:xfrm>
              <a:off x="785610" y="2434455"/>
              <a:ext cx="768382" cy="2501820"/>
              <a:chOff x="785610" y="2434455"/>
              <a:chExt cx="768382" cy="2501820"/>
            </a:xfrm>
          </p:grpSpPr>
          <p:sp>
            <p:nvSpPr>
              <p:cNvPr id="24" name="Pentagon 23"/>
              <p:cNvSpPr/>
              <p:nvPr/>
            </p:nvSpPr>
            <p:spPr bwMode="gray">
              <a:xfrm rot="16200000">
                <a:off x="-360878" y="3580943"/>
                <a:ext cx="2501820" cy="208844"/>
              </a:xfrm>
              <a:prstGeom prst="homePlat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 name="Pentagon 24"/>
              <p:cNvSpPr/>
              <p:nvPr/>
            </p:nvSpPr>
            <p:spPr bwMode="gray">
              <a:xfrm rot="16200000">
                <a:off x="425316" y="4085190"/>
                <a:ext cx="1493323" cy="208843"/>
              </a:xfrm>
              <a:prstGeom prst="homePlat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Pentagon 25"/>
              <p:cNvSpPr/>
              <p:nvPr/>
            </p:nvSpPr>
            <p:spPr bwMode="gray">
              <a:xfrm rot="16200000">
                <a:off x="806393" y="4188675"/>
                <a:ext cx="1286355" cy="208843"/>
              </a:xfrm>
              <a:prstGeom prst="homePlat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42" name="Group 41"/>
            <p:cNvGrpSpPr/>
            <p:nvPr/>
          </p:nvGrpSpPr>
          <p:grpSpPr>
            <a:xfrm>
              <a:off x="2189407" y="2374005"/>
              <a:ext cx="766984" cy="2562269"/>
              <a:chOff x="785610" y="2374005"/>
              <a:chExt cx="766984" cy="2562269"/>
            </a:xfrm>
          </p:grpSpPr>
          <p:sp>
            <p:nvSpPr>
              <p:cNvPr id="43" name="Pentagon 42"/>
              <p:cNvSpPr/>
              <p:nvPr/>
            </p:nvSpPr>
            <p:spPr bwMode="gray">
              <a:xfrm rot="16200000">
                <a:off x="116224" y="4058044"/>
                <a:ext cx="1547615" cy="208844"/>
              </a:xfrm>
              <a:prstGeom prst="homePlat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Pentagon 43"/>
              <p:cNvSpPr/>
              <p:nvPr/>
            </p:nvSpPr>
            <p:spPr bwMode="gray">
              <a:xfrm rot="16200000">
                <a:off x="-112988" y="3550717"/>
                <a:ext cx="2562267" cy="208843"/>
              </a:xfrm>
              <a:prstGeom prst="homePlat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5" name="Pentagon 44"/>
              <p:cNvSpPr/>
              <p:nvPr/>
            </p:nvSpPr>
            <p:spPr bwMode="gray">
              <a:xfrm rot="16200000">
                <a:off x="804995" y="4188675"/>
                <a:ext cx="1286355" cy="208843"/>
              </a:xfrm>
              <a:prstGeom prst="homePlat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46" name="Group 45"/>
            <p:cNvGrpSpPr/>
            <p:nvPr/>
          </p:nvGrpSpPr>
          <p:grpSpPr>
            <a:xfrm>
              <a:off x="3590427" y="2839250"/>
              <a:ext cx="766987" cy="2097024"/>
              <a:chOff x="785610" y="2839250"/>
              <a:chExt cx="766987" cy="2097024"/>
            </a:xfrm>
          </p:grpSpPr>
          <p:sp>
            <p:nvSpPr>
              <p:cNvPr id="47" name="Pentagon 46"/>
              <p:cNvSpPr/>
              <p:nvPr/>
            </p:nvSpPr>
            <p:spPr bwMode="gray">
              <a:xfrm rot="16200000">
                <a:off x="-158480" y="3783340"/>
                <a:ext cx="2097024" cy="208844"/>
              </a:xfrm>
              <a:prstGeom prst="homePlat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Pentagon 47"/>
              <p:cNvSpPr/>
              <p:nvPr/>
            </p:nvSpPr>
            <p:spPr bwMode="gray">
              <a:xfrm rot="16200000">
                <a:off x="599881" y="4261671"/>
                <a:ext cx="1140360" cy="208843"/>
              </a:xfrm>
              <a:prstGeom prst="homePlat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Pentagon 48"/>
              <p:cNvSpPr/>
              <p:nvPr/>
            </p:nvSpPr>
            <p:spPr bwMode="gray">
              <a:xfrm rot="16200000">
                <a:off x="528372" y="3912048"/>
                <a:ext cx="1839608" cy="208843"/>
              </a:xfrm>
              <a:prstGeom prst="homePlat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50" name="Group 49"/>
            <p:cNvGrpSpPr/>
            <p:nvPr/>
          </p:nvGrpSpPr>
          <p:grpSpPr>
            <a:xfrm>
              <a:off x="4995684" y="2024743"/>
              <a:ext cx="766984" cy="2911531"/>
              <a:chOff x="791362" y="2024743"/>
              <a:chExt cx="766984" cy="2911531"/>
            </a:xfrm>
          </p:grpSpPr>
          <p:sp>
            <p:nvSpPr>
              <p:cNvPr id="51" name="Pentagon 50"/>
              <p:cNvSpPr/>
              <p:nvPr/>
            </p:nvSpPr>
            <p:spPr bwMode="gray">
              <a:xfrm rot="16200000">
                <a:off x="-425512" y="3510554"/>
                <a:ext cx="2642591" cy="208844"/>
              </a:xfrm>
              <a:prstGeom prst="homePlat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Pentagon 51"/>
              <p:cNvSpPr/>
              <p:nvPr/>
            </p:nvSpPr>
            <p:spPr bwMode="gray">
              <a:xfrm rot="16200000">
                <a:off x="332480" y="3988521"/>
                <a:ext cx="1686660" cy="208843"/>
              </a:xfrm>
              <a:prstGeom prst="homePlat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Pentagon 52"/>
              <p:cNvSpPr/>
              <p:nvPr/>
            </p:nvSpPr>
            <p:spPr bwMode="gray">
              <a:xfrm rot="16200000">
                <a:off x="-1841" y="3376087"/>
                <a:ext cx="2911531" cy="208843"/>
              </a:xfrm>
              <a:prstGeom prst="homePlat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spTree>
    <p:custDataLst>
      <p:tags r:id="rId1"/>
    </p:custDataLst>
    <p:extLst>
      <p:ext uri="{BB962C8B-B14F-4D97-AF65-F5344CB8AC3E}">
        <p14:creationId xmlns:p14="http://schemas.microsoft.com/office/powerpoint/2010/main" val="2505129278"/>
      </p:ext>
    </p:extLst>
  </p:cSld>
  <p:clrMapOvr>
    <a:masterClrMapping/>
  </p:clrMapOvr>
  <p:transition>
    <p:fade/>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1" name="Text Placeholder 3"/>
          <p:cNvSpPr txBox="1">
            <a:spLocks/>
          </p:cNvSpPr>
          <p:nvPr/>
        </p:nvSpPr>
        <p:spPr>
          <a:xfrm>
            <a:off x="1765034" y="5307366"/>
            <a:ext cx="1711154" cy="840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907" dirty="0">
                <a:ea typeface="Montserrat" charset="0"/>
                <a:cs typeface="Montserrat" charset="0"/>
              </a:rPr>
              <a:t>This PowerPoint template offers a range of options for text, image, charts and iconography along with an appendix of</a:t>
            </a:r>
          </a:p>
        </p:txBody>
      </p:sp>
      <p:sp>
        <p:nvSpPr>
          <p:cNvPr id="4" name="文本框 3"/>
          <p:cNvSpPr txBox="1"/>
          <p:nvPr/>
        </p:nvSpPr>
        <p:spPr>
          <a:xfrm>
            <a:off x="2384587" y="4740881"/>
            <a:ext cx="518091" cy="231923"/>
          </a:xfrm>
          <a:prstGeom prst="rect">
            <a:avLst/>
          </a:prstGeom>
          <a:noFill/>
        </p:spPr>
        <p:txBody>
          <a:bodyPr wrap="none" rtlCol="0">
            <a:spAutoFit/>
          </a:bodyPr>
          <a:lstStyle/>
          <a:p>
            <a:r>
              <a:rPr lang="en-US" sz="907" b="1" dirty="0">
                <a:solidFill>
                  <a:srgbClr val="2C5234"/>
                </a:solidFill>
                <a:latin typeface="Verdana" panose="020B0604030504040204" pitchFamily="34" charset="0"/>
                <a:ea typeface="Verdana" panose="020B0604030504040204" pitchFamily="34" charset="0"/>
                <a:cs typeface="Verdana" panose="020B0604030504040204" pitchFamily="34" charset="0"/>
              </a:rPr>
              <a:t>2014</a:t>
            </a:r>
          </a:p>
        </p:txBody>
      </p:sp>
      <p:sp>
        <p:nvSpPr>
          <p:cNvPr id="2" name="等腰三角形 1"/>
          <p:cNvSpPr/>
          <p:nvPr/>
        </p:nvSpPr>
        <p:spPr bwMode="gray">
          <a:xfrm flipV="1">
            <a:off x="2526886" y="5033653"/>
            <a:ext cx="210532" cy="119773"/>
          </a:xfrm>
          <a:prstGeom prst="triangle">
            <a:avLst/>
          </a:prstGeom>
          <a:solidFill>
            <a:srgbClr val="046A38"/>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en-US" sz="1452" b="1" dirty="0">
              <a:solidFill>
                <a:schemeClr val="bg1"/>
              </a:solidFill>
            </a:endParaRPr>
          </a:p>
        </p:txBody>
      </p:sp>
      <p:sp>
        <p:nvSpPr>
          <p:cNvPr id="136" name="文本框 135"/>
          <p:cNvSpPr txBox="1"/>
          <p:nvPr/>
        </p:nvSpPr>
        <p:spPr>
          <a:xfrm>
            <a:off x="4126862" y="4740881"/>
            <a:ext cx="518091" cy="231923"/>
          </a:xfrm>
          <a:prstGeom prst="rect">
            <a:avLst/>
          </a:prstGeom>
          <a:noFill/>
        </p:spPr>
        <p:txBody>
          <a:bodyPr wrap="none" rtlCol="0">
            <a:spAutoFit/>
          </a:bodyPr>
          <a:lstStyle/>
          <a:p>
            <a:r>
              <a:rPr lang="en-US" sz="907" b="1" dirty="0">
                <a:solidFill>
                  <a:srgbClr val="009A44"/>
                </a:solidFill>
                <a:latin typeface="Verdana" panose="020B0604030504040204" pitchFamily="34" charset="0"/>
                <a:ea typeface="Verdana" panose="020B0604030504040204" pitchFamily="34" charset="0"/>
                <a:cs typeface="Verdana" panose="020B0604030504040204" pitchFamily="34" charset="0"/>
              </a:rPr>
              <a:t>2015</a:t>
            </a:r>
          </a:p>
        </p:txBody>
      </p:sp>
      <p:sp>
        <p:nvSpPr>
          <p:cNvPr id="137" name="等腰三角形 136"/>
          <p:cNvSpPr/>
          <p:nvPr/>
        </p:nvSpPr>
        <p:spPr bwMode="gray">
          <a:xfrm flipV="1">
            <a:off x="4288451" y="5033653"/>
            <a:ext cx="210532" cy="119773"/>
          </a:xfrm>
          <a:prstGeom prst="triangle">
            <a:avLst/>
          </a:prstGeom>
          <a:solidFill>
            <a:srgbClr val="43B02A"/>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en-US" sz="1452" b="1" dirty="0">
              <a:solidFill>
                <a:schemeClr val="bg1"/>
              </a:solidFill>
            </a:endParaRPr>
          </a:p>
        </p:txBody>
      </p:sp>
      <p:sp>
        <p:nvSpPr>
          <p:cNvPr id="139" name="文本框 138"/>
          <p:cNvSpPr txBox="1"/>
          <p:nvPr/>
        </p:nvSpPr>
        <p:spPr>
          <a:xfrm>
            <a:off x="5847662" y="4740881"/>
            <a:ext cx="518091" cy="231923"/>
          </a:xfrm>
          <a:prstGeom prst="rect">
            <a:avLst/>
          </a:prstGeom>
          <a:noFill/>
        </p:spPr>
        <p:txBody>
          <a:bodyPr wrap="none" rtlCol="0">
            <a:spAutoFit/>
          </a:bodyPr>
          <a:lstStyle/>
          <a:p>
            <a:r>
              <a:rPr lang="en-US" sz="907" b="1" dirty="0">
                <a:solidFill>
                  <a:srgbClr val="86BC25"/>
                </a:solidFill>
                <a:latin typeface="Verdana" panose="020B0604030504040204" pitchFamily="34" charset="0"/>
                <a:ea typeface="Verdana" panose="020B0604030504040204" pitchFamily="34" charset="0"/>
                <a:cs typeface="Verdana" panose="020B0604030504040204" pitchFamily="34" charset="0"/>
              </a:rPr>
              <a:t>2016</a:t>
            </a:r>
          </a:p>
        </p:txBody>
      </p:sp>
      <p:sp>
        <p:nvSpPr>
          <p:cNvPr id="140" name="等腰三角形 139"/>
          <p:cNvSpPr/>
          <p:nvPr/>
        </p:nvSpPr>
        <p:spPr bwMode="gray">
          <a:xfrm flipV="1">
            <a:off x="5999604" y="5033653"/>
            <a:ext cx="210532" cy="119773"/>
          </a:xfrm>
          <a:prstGeom prst="triangle">
            <a:avLst/>
          </a:prstGeom>
          <a:solidFill>
            <a:srgbClr val="C4D600"/>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en-US" sz="1452" b="1" dirty="0">
              <a:solidFill>
                <a:schemeClr val="bg1"/>
              </a:solidFill>
            </a:endParaRPr>
          </a:p>
        </p:txBody>
      </p:sp>
      <p:sp>
        <p:nvSpPr>
          <p:cNvPr id="142" name="文本框 141"/>
          <p:cNvSpPr txBox="1"/>
          <p:nvPr/>
        </p:nvSpPr>
        <p:spPr>
          <a:xfrm>
            <a:off x="7570390" y="4740881"/>
            <a:ext cx="518091" cy="231923"/>
          </a:xfrm>
          <a:prstGeom prst="rect">
            <a:avLst/>
          </a:prstGeom>
          <a:noFill/>
        </p:spPr>
        <p:txBody>
          <a:bodyPr wrap="none" rtlCol="0">
            <a:spAutoFit/>
          </a:bodyPr>
          <a:lstStyle/>
          <a:p>
            <a:r>
              <a:rPr lang="en-US" sz="907" b="1" dirty="0">
                <a:solidFill>
                  <a:srgbClr val="007680"/>
                </a:solidFill>
                <a:latin typeface="Verdana" panose="020B0604030504040204" pitchFamily="34" charset="0"/>
                <a:ea typeface="Verdana" panose="020B0604030504040204" pitchFamily="34" charset="0"/>
                <a:cs typeface="Verdana" panose="020B0604030504040204" pitchFamily="34" charset="0"/>
              </a:rPr>
              <a:t>2017</a:t>
            </a:r>
          </a:p>
        </p:txBody>
      </p:sp>
      <p:sp>
        <p:nvSpPr>
          <p:cNvPr id="143" name="等腰三角形 142"/>
          <p:cNvSpPr/>
          <p:nvPr/>
        </p:nvSpPr>
        <p:spPr bwMode="gray">
          <a:xfrm flipV="1">
            <a:off x="7731979" y="5033653"/>
            <a:ext cx="210532" cy="119773"/>
          </a:xfrm>
          <a:prstGeom prst="triangle">
            <a:avLst/>
          </a:prstGeom>
          <a:solidFill>
            <a:srgbClr val="00ABAB"/>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en-US" sz="1452" b="1" dirty="0">
              <a:solidFill>
                <a:schemeClr val="bg1"/>
              </a:solidFill>
            </a:endParaRPr>
          </a:p>
        </p:txBody>
      </p:sp>
      <p:sp>
        <p:nvSpPr>
          <p:cNvPr id="145" name="文本框 144"/>
          <p:cNvSpPr txBox="1"/>
          <p:nvPr/>
        </p:nvSpPr>
        <p:spPr>
          <a:xfrm>
            <a:off x="9342520" y="4740881"/>
            <a:ext cx="518091" cy="231923"/>
          </a:xfrm>
          <a:prstGeom prst="rect">
            <a:avLst/>
          </a:prstGeom>
          <a:noFill/>
        </p:spPr>
        <p:txBody>
          <a:bodyPr wrap="none" rtlCol="0">
            <a:spAutoFit/>
          </a:bodyPr>
          <a:lstStyle/>
          <a:p>
            <a:r>
              <a:rPr lang="en-US" sz="907" b="1" dirty="0">
                <a:solidFill>
                  <a:srgbClr val="6FC2B4"/>
                </a:solidFill>
                <a:latin typeface="Verdana" panose="020B0604030504040204" pitchFamily="34" charset="0"/>
                <a:ea typeface="Verdana" panose="020B0604030504040204" pitchFamily="34" charset="0"/>
                <a:cs typeface="Verdana" panose="020B0604030504040204" pitchFamily="34" charset="0"/>
              </a:rPr>
              <a:t>2018</a:t>
            </a:r>
          </a:p>
        </p:txBody>
      </p:sp>
      <p:sp>
        <p:nvSpPr>
          <p:cNvPr id="146" name="等腰三角形 145"/>
          <p:cNvSpPr/>
          <p:nvPr/>
        </p:nvSpPr>
        <p:spPr bwMode="gray">
          <a:xfrm flipV="1">
            <a:off x="9504108" y="5033653"/>
            <a:ext cx="210532" cy="119773"/>
          </a:xfrm>
          <a:prstGeom prst="triangle">
            <a:avLst/>
          </a:prstGeom>
          <a:solidFill>
            <a:srgbClr val="9DD4CF"/>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en-US" sz="1452" b="1" dirty="0">
              <a:solidFill>
                <a:schemeClr val="bg1"/>
              </a:solidFill>
            </a:endParaRPr>
          </a:p>
        </p:txBody>
      </p:sp>
      <p:sp>
        <p:nvSpPr>
          <p:cNvPr id="2054" name="Freeform 6"/>
          <p:cNvSpPr>
            <a:spLocks/>
          </p:cNvSpPr>
          <p:nvPr/>
        </p:nvSpPr>
        <p:spPr bwMode="auto">
          <a:xfrm>
            <a:off x="5385549" y="2227993"/>
            <a:ext cx="728156" cy="2431182"/>
          </a:xfrm>
          <a:custGeom>
            <a:avLst/>
            <a:gdLst/>
            <a:ahLst/>
            <a:cxnLst>
              <a:cxn ang="0">
                <a:pos x="0" y="1105"/>
              </a:cxn>
              <a:cxn ang="0">
                <a:pos x="425" y="1419"/>
              </a:cxn>
              <a:cxn ang="0">
                <a:pos x="425" y="0"/>
              </a:cxn>
              <a:cxn ang="0">
                <a:pos x="0" y="1105"/>
              </a:cxn>
              <a:cxn ang="0">
                <a:pos x="0" y="1105"/>
              </a:cxn>
            </a:cxnLst>
            <a:rect l="0" t="0" r="r" b="b"/>
            <a:pathLst>
              <a:path w="425" h="1419">
                <a:moveTo>
                  <a:pt x="0" y="1105"/>
                </a:moveTo>
                <a:lnTo>
                  <a:pt x="425" y="1419"/>
                </a:lnTo>
                <a:lnTo>
                  <a:pt x="425" y="0"/>
                </a:lnTo>
                <a:lnTo>
                  <a:pt x="0" y="1105"/>
                </a:lnTo>
                <a:lnTo>
                  <a:pt x="0" y="1105"/>
                </a:lnTo>
                <a:close/>
              </a:path>
            </a:pathLst>
          </a:custGeom>
          <a:solidFill>
            <a:srgbClr val="86BC25"/>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55" name="Freeform 7"/>
          <p:cNvSpPr>
            <a:spLocks/>
          </p:cNvSpPr>
          <p:nvPr/>
        </p:nvSpPr>
        <p:spPr bwMode="auto">
          <a:xfrm>
            <a:off x="6113707" y="2227993"/>
            <a:ext cx="729869" cy="2431182"/>
          </a:xfrm>
          <a:custGeom>
            <a:avLst/>
            <a:gdLst/>
            <a:ahLst/>
            <a:cxnLst>
              <a:cxn ang="0">
                <a:pos x="426" y="1105"/>
              </a:cxn>
              <a:cxn ang="0">
                <a:pos x="0" y="1419"/>
              </a:cxn>
              <a:cxn ang="0">
                <a:pos x="0" y="0"/>
              </a:cxn>
              <a:cxn ang="0">
                <a:pos x="426" y="1105"/>
              </a:cxn>
              <a:cxn ang="0">
                <a:pos x="426" y="1105"/>
              </a:cxn>
            </a:cxnLst>
            <a:rect l="0" t="0" r="r" b="b"/>
            <a:pathLst>
              <a:path w="426" h="1419">
                <a:moveTo>
                  <a:pt x="426" y="1105"/>
                </a:moveTo>
                <a:lnTo>
                  <a:pt x="0" y="1419"/>
                </a:lnTo>
                <a:lnTo>
                  <a:pt x="0" y="0"/>
                </a:lnTo>
                <a:lnTo>
                  <a:pt x="426" y="1105"/>
                </a:lnTo>
                <a:lnTo>
                  <a:pt x="426" y="1105"/>
                </a:lnTo>
                <a:close/>
              </a:path>
            </a:pathLst>
          </a:custGeom>
          <a:solidFill>
            <a:srgbClr val="C4D600"/>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56" name="Freeform 8"/>
          <p:cNvSpPr>
            <a:spLocks/>
          </p:cNvSpPr>
          <p:nvPr/>
        </p:nvSpPr>
        <p:spPr bwMode="auto">
          <a:xfrm>
            <a:off x="4386692" y="3057233"/>
            <a:ext cx="728156" cy="1601942"/>
          </a:xfrm>
          <a:custGeom>
            <a:avLst/>
            <a:gdLst/>
            <a:ahLst/>
            <a:cxnLst>
              <a:cxn ang="0">
                <a:pos x="425" y="621"/>
              </a:cxn>
              <a:cxn ang="0">
                <a:pos x="0" y="935"/>
              </a:cxn>
              <a:cxn ang="0">
                <a:pos x="0" y="0"/>
              </a:cxn>
              <a:cxn ang="0">
                <a:pos x="425" y="621"/>
              </a:cxn>
              <a:cxn ang="0">
                <a:pos x="425" y="621"/>
              </a:cxn>
            </a:cxnLst>
            <a:rect l="0" t="0" r="r" b="b"/>
            <a:pathLst>
              <a:path w="425" h="935">
                <a:moveTo>
                  <a:pt x="425" y="621"/>
                </a:moveTo>
                <a:lnTo>
                  <a:pt x="0" y="935"/>
                </a:lnTo>
                <a:lnTo>
                  <a:pt x="0" y="0"/>
                </a:lnTo>
                <a:lnTo>
                  <a:pt x="425" y="621"/>
                </a:lnTo>
                <a:lnTo>
                  <a:pt x="425" y="621"/>
                </a:lnTo>
                <a:close/>
              </a:path>
            </a:pathLst>
          </a:custGeom>
          <a:solidFill>
            <a:srgbClr val="43B02A"/>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57" name="Freeform 9"/>
          <p:cNvSpPr>
            <a:spLocks/>
          </p:cNvSpPr>
          <p:nvPr/>
        </p:nvSpPr>
        <p:spPr bwMode="auto">
          <a:xfrm>
            <a:off x="3658536" y="3057233"/>
            <a:ext cx="728156" cy="1601942"/>
          </a:xfrm>
          <a:custGeom>
            <a:avLst/>
            <a:gdLst/>
            <a:ahLst/>
            <a:cxnLst>
              <a:cxn ang="0">
                <a:pos x="0" y="621"/>
              </a:cxn>
              <a:cxn ang="0">
                <a:pos x="425" y="935"/>
              </a:cxn>
              <a:cxn ang="0">
                <a:pos x="425" y="0"/>
              </a:cxn>
              <a:cxn ang="0">
                <a:pos x="0" y="621"/>
              </a:cxn>
              <a:cxn ang="0">
                <a:pos x="0" y="621"/>
              </a:cxn>
            </a:cxnLst>
            <a:rect l="0" t="0" r="r" b="b"/>
            <a:pathLst>
              <a:path w="425" h="935">
                <a:moveTo>
                  <a:pt x="0" y="621"/>
                </a:moveTo>
                <a:lnTo>
                  <a:pt x="425" y="935"/>
                </a:lnTo>
                <a:lnTo>
                  <a:pt x="425" y="0"/>
                </a:lnTo>
                <a:lnTo>
                  <a:pt x="0" y="621"/>
                </a:lnTo>
                <a:lnTo>
                  <a:pt x="0" y="621"/>
                </a:lnTo>
                <a:close/>
              </a:path>
            </a:pathLst>
          </a:custGeom>
          <a:solidFill>
            <a:srgbClr val="009A44"/>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58" name="Freeform 10"/>
          <p:cNvSpPr>
            <a:spLocks/>
          </p:cNvSpPr>
          <p:nvPr/>
        </p:nvSpPr>
        <p:spPr bwMode="auto">
          <a:xfrm>
            <a:off x="1914390" y="2769399"/>
            <a:ext cx="728156" cy="1889777"/>
          </a:xfrm>
          <a:custGeom>
            <a:avLst/>
            <a:gdLst/>
            <a:ahLst/>
            <a:cxnLst>
              <a:cxn ang="0">
                <a:pos x="0" y="789"/>
              </a:cxn>
              <a:cxn ang="0">
                <a:pos x="425" y="1103"/>
              </a:cxn>
              <a:cxn ang="0">
                <a:pos x="425" y="0"/>
              </a:cxn>
              <a:cxn ang="0">
                <a:pos x="0" y="789"/>
              </a:cxn>
              <a:cxn ang="0">
                <a:pos x="0" y="789"/>
              </a:cxn>
            </a:cxnLst>
            <a:rect l="0" t="0" r="r" b="b"/>
            <a:pathLst>
              <a:path w="425" h="1103">
                <a:moveTo>
                  <a:pt x="0" y="789"/>
                </a:moveTo>
                <a:lnTo>
                  <a:pt x="425" y="1103"/>
                </a:lnTo>
                <a:lnTo>
                  <a:pt x="425" y="0"/>
                </a:lnTo>
                <a:lnTo>
                  <a:pt x="0" y="789"/>
                </a:lnTo>
                <a:lnTo>
                  <a:pt x="0" y="789"/>
                </a:lnTo>
                <a:close/>
              </a:path>
            </a:pathLst>
          </a:custGeom>
          <a:solidFill>
            <a:srgbClr val="2C5234"/>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59" name="Freeform 11"/>
          <p:cNvSpPr>
            <a:spLocks/>
          </p:cNvSpPr>
          <p:nvPr/>
        </p:nvSpPr>
        <p:spPr bwMode="auto">
          <a:xfrm>
            <a:off x="2642545" y="2769399"/>
            <a:ext cx="731583" cy="1889777"/>
          </a:xfrm>
          <a:custGeom>
            <a:avLst/>
            <a:gdLst/>
            <a:ahLst/>
            <a:cxnLst>
              <a:cxn ang="0">
                <a:pos x="427" y="789"/>
              </a:cxn>
              <a:cxn ang="0">
                <a:pos x="0" y="1103"/>
              </a:cxn>
              <a:cxn ang="0">
                <a:pos x="0" y="0"/>
              </a:cxn>
              <a:cxn ang="0">
                <a:pos x="427" y="789"/>
              </a:cxn>
              <a:cxn ang="0">
                <a:pos x="427" y="789"/>
              </a:cxn>
            </a:cxnLst>
            <a:rect l="0" t="0" r="r" b="b"/>
            <a:pathLst>
              <a:path w="427" h="1103">
                <a:moveTo>
                  <a:pt x="427" y="789"/>
                </a:moveTo>
                <a:lnTo>
                  <a:pt x="0" y="1103"/>
                </a:lnTo>
                <a:lnTo>
                  <a:pt x="0" y="0"/>
                </a:lnTo>
                <a:lnTo>
                  <a:pt x="427" y="789"/>
                </a:lnTo>
                <a:lnTo>
                  <a:pt x="427" y="789"/>
                </a:lnTo>
                <a:close/>
              </a:path>
            </a:pathLst>
          </a:custGeom>
          <a:solidFill>
            <a:srgbClr val="046A38"/>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0" name="Freeform 12"/>
          <p:cNvSpPr>
            <a:spLocks/>
          </p:cNvSpPr>
          <p:nvPr/>
        </p:nvSpPr>
        <p:spPr bwMode="auto">
          <a:xfrm>
            <a:off x="7121190" y="2118342"/>
            <a:ext cx="728156" cy="2540835"/>
          </a:xfrm>
          <a:custGeom>
            <a:avLst/>
            <a:gdLst/>
            <a:ahLst/>
            <a:cxnLst>
              <a:cxn ang="0">
                <a:pos x="0" y="1169"/>
              </a:cxn>
              <a:cxn ang="0">
                <a:pos x="425" y="1483"/>
              </a:cxn>
              <a:cxn ang="0">
                <a:pos x="425" y="0"/>
              </a:cxn>
              <a:cxn ang="0">
                <a:pos x="0" y="1169"/>
              </a:cxn>
              <a:cxn ang="0">
                <a:pos x="0" y="1169"/>
              </a:cxn>
            </a:cxnLst>
            <a:rect l="0" t="0" r="r" b="b"/>
            <a:pathLst>
              <a:path w="425" h="1483">
                <a:moveTo>
                  <a:pt x="0" y="1169"/>
                </a:moveTo>
                <a:lnTo>
                  <a:pt x="425" y="1483"/>
                </a:lnTo>
                <a:lnTo>
                  <a:pt x="425" y="0"/>
                </a:lnTo>
                <a:lnTo>
                  <a:pt x="0" y="1169"/>
                </a:lnTo>
                <a:lnTo>
                  <a:pt x="0" y="1169"/>
                </a:lnTo>
                <a:close/>
              </a:path>
            </a:pathLst>
          </a:custGeom>
          <a:solidFill>
            <a:srgbClr val="007680"/>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1" name="Freeform 13"/>
          <p:cNvSpPr>
            <a:spLocks/>
          </p:cNvSpPr>
          <p:nvPr/>
        </p:nvSpPr>
        <p:spPr bwMode="auto">
          <a:xfrm>
            <a:off x="7845858" y="2118342"/>
            <a:ext cx="729869" cy="2540835"/>
          </a:xfrm>
          <a:custGeom>
            <a:avLst/>
            <a:gdLst/>
            <a:ahLst/>
            <a:cxnLst>
              <a:cxn ang="0">
                <a:pos x="426" y="1169"/>
              </a:cxn>
              <a:cxn ang="0">
                <a:pos x="0" y="1483"/>
              </a:cxn>
              <a:cxn ang="0">
                <a:pos x="0" y="0"/>
              </a:cxn>
              <a:cxn ang="0">
                <a:pos x="426" y="1169"/>
              </a:cxn>
              <a:cxn ang="0">
                <a:pos x="426" y="1169"/>
              </a:cxn>
            </a:cxnLst>
            <a:rect l="0" t="0" r="r" b="b"/>
            <a:pathLst>
              <a:path w="426" h="1483">
                <a:moveTo>
                  <a:pt x="426" y="1169"/>
                </a:moveTo>
                <a:lnTo>
                  <a:pt x="0" y="1483"/>
                </a:lnTo>
                <a:lnTo>
                  <a:pt x="0" y="0"/>
                </a:lnTo>
                <a:lnTo>
                  <a:pt x="426" y="1169"/>
                </a:lnTo>
                <a:lnTo>
                  <a:pt x="426" y="1169"/>
                </a:lnTo>
                <a:close/>
              </a:path>
            </a:pathLst>
          </a:custGeom>
          <a:solidFill>
            <a:srgbClr val="00ABAB"/>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2" name="Freeform 14"/>
          <p:cNvSpPr>
            <a:spLocks/>
          </p:cNvSpPr>
          <p:nvPr/>
        </p:nvSpPr>
        <p:spPr bwMode="auto">
          <a:xfrm>
            <a:off x="8849856" y="2454151"/>
            <a:ext cx="728156" cy="2205026"/>
          </a:xfrm>
          <a:custGeom>
            <a:avLst/>
            <a:gdLst/>
            <a:ahLst/>
            <a:cxnLst>
              <a:cxn ang="0">
                <a:pos x="0" y="973"/>
              </a:cxn>
              <a:cxn ang="0">
                <a:pos x="425" y="1287"/>
              </a:cxn>
              <a:cxn ang="0">
                <a:pos x="425" y="0"/>
              </a:cxn>
              <a:cxn ang="0">
                <a:pos x="0" y="973"/>
              </a:cxn>
              <a:cxn ang="0">
                <a:pos x="0" y="973"/>
              </a:cxn>
            </a:cxnLst>
            <a:rect l="0" t="0" r="r" b="b"/>
            <a:pathLst>
              <a:path w="425" h="1287">
                <a:moveTo>
                  <a:pt x="0" y="973"/>
                </a:moveTo>
                <a:lnTo>
                  <a:pt x="425" y="1287"/>
                </a:lnTo>
                <a:lnTo>
                  <a:pt x="425" y="0"/>
                </a:lnTo>
                <a:lnTo>
                  <a:pt x="0" y="973"/>
                </a:lnTo>
                <a:lnTo>
                  <a:pt x="0" y="973"/>
                </a:lnTo>
                <a:close/>
              </a:path>
            </a:pathLst>
          </a:custGeom>
          <a:solidFill>
            <a:srgbClr val="6FC2B4"/>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3" name="Freeform 15"/>
          <p:cNvSpPr>
            <a:spLocks/>
          </p:cNvSpPr>
          <p:nvPr/>
        </p:nvSpPr>
        <p:spPr bwMode="auto">
          <a:xfrm>
            <a:off x="9578012" y="2454151"/>
            <a:ext cx="729869" cy="2205026"/>
          </a:xfrm>
          <a:custGeom>
            <a:avLst/>
            <a:gdLst/>
            <a:ahLst/>
            <a:cxnLst>
              <a:cxn ang="0">
                <a:pos x="426" y="973"/>
              </a:cxn>
              <a:cxn ang="0">
                <a:pos x="0" y="1287"/>
              </a:cxn>
              <a:cxn ang="0">
                <a:pos x="0" y="0"/>
              </a:cxn>
              <a:cxn ang="0">
                <a:pos x="426" y="973"/>
              </a:cxn>
              <a:cxn ang="0">
                <a:pos x="426" y="973"/>
              </a:cxn>
            </a:cxnLst>
            <a:rect l="0" t="0" r="r" b="b"/>
            <a:pathLst>
              <a:path w="426" h="1287">
                <a:moveTo>
                  <a:pt x="426" y="973"/>
                </a:moveTo>
                <a:lnTo>
                  <a:pt x="0" y="1287"/>
                </a:lnTo>
                <a:lnTo>
                  <a:pt x="0" y="0"/>
                </a:lnTo>
                <a:lnTo>
                  <a:pt x="426" y="973"/>
                </a:lnTo>
                <a:lnTo>
                  <a:pt x="426" y="973"/>
                </a:lnTo>
                <a:close/>
              </a:path>
            </a:pathLst>
          </a:custGeom>
          <a:solidFill>
            <a:srgbClr val="9DD4CF"/>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4" name="Freeform 16"/>
          <p:cNvSpPr>
            <a:spLocks noEditPoints="1"/>
          </p:cNvSpPr>
          <p:nvPr/>
        </p:nvSpPr>
        <p:spPr bwMode="auto">
          <a:xfrm>
            <a:off x="2743629" y="1976137"/>
            <a:ext cx="6729871" cy="918333"/>
          </a:xfrm>
          <a:custGeom>
            <a:avLst/>
            <a:gdLst/>
            <a:ahLst/>
            <a:cxnLst>
              <a:cxn ang="0">
                <a:pos x="3897" y="173"/>
              </a:cxn>
              <a:cxn ang="0">
                <a:pos x="3838" y="161"/>
              </a:cxn>
              <a:cxn ang="0">
                <a:pos x="3779" y="149"/>
              </a:cxn>
              <a:cxn ang="0">
                <a:pos x="3718" y="137"/>
              </a:cxn>
              <a:cxn ang="0">
                <a:pos x="3659" y="128"/>
              </a:cxn>
              <a:cxn ang="0">
                <a:pos x="3600" y="116"/>
              </a:cxn>
              <a:cxn ang="0">
                <a:pos x="3541" y="104"/>
              </a:cxn>
              <a:cxn ang="0">
                <a:pos x="3479" y="92"/>
              </a:cxn>
              <a:cxn ang="0">
                <a:pos x="3420" y="80"/>
              </a:cxn>
              <a:cxn ang="0">
                <a:pos x="3361" y="69"/>
              </a:cxn>
              <a:cxn ang="0">
                <a:pos x="3300" y="59"/>
              </a:cxn>
              <a:cxn ang="0">
                <a:pos x="3241" y="47"/>
              </a:cxn>
              <a:cxn ang="0">
                <a:pos x="3182" y="36"/>
              </a:cxn>
              <a:cxn ang="0">
                <a:pos x="3120" y="24"/>
              </a:cxn>
              <a:cxn ang="0">
                <a:pos x="3061" y="12"/>
              </a:cxn>
              <a:cxn ang="0">
                <a:pos x="2879" y="3"/>
              </a:cxn>
              <a:cxn ang="0">
                <a:pos x="2818" y="7"/>
              </a:cxn>
              <a:cxn ang="0">
                <a:pos x="2759" y="10"/>
              </a:cxn>
              <a:cxn ang="0">
                <a:pos x="2697" y="14"/>
              </a:cxn>
              <a:cxn ang="0">
                <a:pos x="2636" y="17"/>
              </a:cxn>
              <a:cxn ang="0">
                <a:pos x="2574" y="21"/>
              </a:cxn>
              <a:cxn ang="0">
                <a:pos x="2515" y="24"/>
              </a:cxn>
              <a:cxn ang="0">
                <a:pos x="2454" y="29"/>
              </a:cxn>
              <a:cxn ang="0">
                <a:pos x="2393" y="33"/>
              </a:cxn>
              <a:cxn ang="0">
                <a:pos x="2334" y="36"/>
              </a:cxn>
              <a:cxn ang="0">
                <a:pos x="2272" y="40"/>
              </a:cxn>
              <a:cxn ang="0">
                <a:pos x="2211" y="43"/>
              </a:cxn>
              <a:cxn ang="0">
                <a:pos x="2152" y="47"/>
              </a:cxn>
              <a:cxn ang="0">
                <a:pos x="2090" y="52"/>
              </a:cxn>
              <a:cxn ang="0">
                <a:pos x="1885" y="97"/>
              </a:cxn>
              <a:cxn ang="0">
                <a:pos x="1828" y="123"/>
              </a:cxn>
              <a:cxn ang="0">
                <a:pos x="1774" y="149"/>
              </a:cxn>
              <a:cxn ang="0">
                <a:pos x="1719" y="175"/>
              </a:cxn>
              <a:cxn ang="0">
                <a:pos x="1663" y="201"/>
              </a:cxn>
              <a:cxn ang="0">
                <a:pos x="1608" y="227"/>
              </a:cxn>
              <a:cxn ang="0">
                <a:pos x="1554" y="253"/>
              </a:cxn>
              <a:cxn ang="0">
                <a:pos x="1500" y="279"/>
              </a:cxn>
              <a:cxn ang="0">
                <a:pos x="1443" y="305"/>
              </a:cxn>
              <a:cxn ang="0">
                <a:pos x="1389" y="331"/>
              </a:cxn>
              <a:cxn ang="0">
                <a:pos x="1334" y="357"/>
              </a:cxn>
              <a:cxn ang="0">
                <a:pos x="1280" y="383"/>
              </a:cxn>
              <a:cxn ang="0">
                <a:pos x="1223" y="409"/>
              </a:cxn>
              <a:cxn ang="0">
                <a:pos x="1169" y="435"/>
              </a:cxn>
              <a:cxn ang="0">
                <a:pos x="1115" y="461"/>
              </a:cxn>
              <a:cxn ang="0">
                <a:pos x="1058" y="487"/>
              </a:cxn>
              <a:cxn ang="0">
                <a:pos x="893" y="525"/>
              </a:cxn>
              <a:cxn ang="0">
                <a:pos x="831" y="515"/>
              </a:cxn>
              <a:cxn ang="0">
                <a:pos x="772" y="506"/>
              </a:cxn>
              <a:cxn ang="0">
                <a:pos x="711" y="494"/>
              </a:cxn>
              <a:cxn ang="0">
                <a:pos x="652" y="484"/>
              </a:cxn>
              <a:cxn ang="0">
                <a:pos x="593" y="473"/>
              </a:cxn>
              <a:cxn ang="0">
                <a:pos x="531" y="463"/>
              </a:cxn>
              <a:cxn ang="0">
                <a:pos x="472" y="454"/>
              </a:cxn>
              <a:cxn ang="0">
                <a:pos x="413" y="442"/>
              </a:cxn>
              <a:cxn ang="0">
                <a:pos x="352" y="432"/>
              </a:cxn>
              <a:cxn ang="0">
                <a:pos x="293" y="423"/>
              </a:cxn>
              <a:cxn ang="0">
                <a:pos x="231" y="411"/>
              </a:cxn>
              <a:cxn ang="0">
                <a:pos x="172" y="402"/>
              </a:cxn>
              <a:cxn ang="0">
                <a:pos x="113" y="392"/>
              </a:cxn>
              <a:cxn ang="0">
                <a:pos x="52" y="380"/>
              </a:cxn>
            </a:cxnLst>
            <a:rect l="0" t="0" r="r" b="b"/>
            <a:pathLst>
              <a:path w="3928" h="536">
                <a:moveTo>
                  <a:pt x="3928" y="177"/>
                </a:moveTo>
                <a:lnTo>
                  <a:pt x="3926" y="189"/>
                </a:lnTo>
                <a:lnTo>
                  <a:pt x="3907" y="184"/>
                </a:lnTo>
                <a:lnTo>
                  <a:pt x="3909" y="175"/>
                </a:lnTo>
                <a:lnTo>
                  <a:pt x="3928" y="177"/>
                </a:lnTo>
                <a:lnTo>
                  <a:pt x="3928" y="177"/>
                </a:lnTo>
                <a:close/>
                <a:moveTo>
                  <a:pt x="3897" y="173"/>
                </a:moveTo>
                <a:lnTo>
                  <a:pt x="3897" y="182"/>
                </a:lnTo>
                <a:lnTo>
                  <a:pt x="3876" y="177"/>
                </a:lnTo>
                <a:lnTo>
                  <a:pt x="3878" y="168"/>
                </a:lnTo>
                <a:lnTo>
                  <a:pt x="3897" y="173"/>
                </a:lnTo>
                <a:lnTo>
                  <a:pt x="3897" y="173"/>
                </a:lnTo>
                <a:close/>
                <a:moveTo>
                  <a:pt x="3869" y="166"/>
                </a:moveTo>
                <a:lnTo>
                  <a:pt x="3867" y="177"/>
                </a:lnTo>
                <a:lnTo>
                  <a:pt x="3845" y="173"/>
                </a:lnTo>
                <a:lnTo>
                  <a:pt x="3848" y="163"/>
                </a:lnTo>
                <a:lnTo>
                  <a:pt x="3869" y="166"/>
                </a:lnTo>
                <a:lnTo>
                  <a:pt x="3869" y="166"/>
                </a:lnTo>
                <a:close/>
                <a:moveTo>
                  <a:pt x="3838" y="161"/>
                </a:moveTo>
                <a:lnTo>
                  <a:pt x="3836" y="170"/>
                </a:lnTo>
                <a:lnTo>
                  <a:pt x="3817" y="168"/>
                </a:lnTo>
                <a:lnTo>
                  <a:pt x="3819" y="156"/>
                </a:lnTo>
                <a:lnTo>
                  <a:pt x="3838" y="161"/>
                </a:lnTo>
                <a:lnTo>
                  <a:pt x="3838" y="161"/>
                </a:lnTo>
                <a:close/>
                <a:moveTo>
                  <a:pt x="3807" y="156"/>
                </a:moveTo>
                <a:lnTo>
                  <a:pt x="3807" y="166"/>
                </a:lnTo>
                <a:lnTo>
                  <a:pt x="3786" y="161"/>
                </a:lnTo>
                <a:lnTo>
                  <a:pt x="3789" y="151"/>
                </a:lnTo>
                <a:lnTo>
                  <a:pt x="3807" y="156"/>
                </a:lnTo>
                <a:lnTo>
                  <a:pt x="3807" y="156"/>
                </a:lnTo>
                <a:close/>
                <a:moveTo>
                  <a:pt x="3779" y="149"/>
                </a:moveTo>
                <a:lnTo>
                  <a:pt x="3777" y="158"/>
                </a:lnTo>
                <a:lnTo>
                  <a:pt x="3756" y="156"/>
                </a:lnTo>
                <a:lnTo>
                  <a:pt x="3758" y="147"/>
                </a:lnTo>
                <a:lnTo>
                  <a:pt x="3779" y="149"/>
                </a:lnTo>
                <a:lnTo>
                  <a:pt x="3779" y="149"/>
                </a:lnTo>
                <a:close/>
                <a:moveTo>
                  <a:pt x="3748" y="144"/>
                </a:moveTo>
                <a:lnTo>
                  <a:pt x="3746" y="154"/>
                </a:lnTo>
                <a:lnTo>
                  <a:pt x="3727" y="149"/>
                </a:lnTo>
                <a:lnTo>
                  <a:pt x="3730" y="140"/>
                </a:lnTo>
                <a:lnTo>
                  <a:pt x="3748" y="144"/>
                </a:lnTo>
                <a:lnTo>
                  <a:pt x="3748" y="144"/>
                </a:lnTo>
                <a:close/>
                <a:moveTo>
                  <a:pt x="3718" y="137"/>
                </a:moveTo>
                <a:lnTo>
                  <a:pt x="3718" y="149"/>
                </a:lnTo>
                <a:lnTo>
                  <a:pt x="3696" y="144"/>
                </a:lnTo>
                <a:lnTo>
                  <a:pt x="3699" y="135"/>
                </a:lnTo>
                <a:lnTo>
                  <a:pt x="3718" y="137"/>
                </a:lnTo>
                <a:lnTo>
                  <a:pt x="3718" y="137"/>
                </a:lnTo>
                <a:close/>
                <a:moveTo>
                  <a:pt x="3689" y="132"/>
                </a:moveTo>
                <a:lnTo>
                  <a:pt x="3687" y="142"/>
                </a:lnTo>
                <a:lnTo>
                  <a:pt x="3668" y="140"/>
                </a:lnTo>
                <a:lnTo>
                  <a:pt x="3668" y="128"/>
                </a:lnTo>
                <a:lnTo>
                  <a:pt x="3689" y="132"/>
                </a:lnTo>
                <a:lnTo>
                  <a:pt x="3689" y="132"/>
                </a:lnTo>
                <a:close/>
                <a:moveTo>
                  <a:pt x="3659" y="128"/>
                </a:moveTo>
                <a:lnTo>
                  <a:pt x="3656" y="137"/>
                </a:lnTo>
                <a:lnTo>
                  <a:pt x="3637" y="132"/>
                </a:lnTo>
                <a:lnTo>
                  <a:pt x="3640" y="123"/>
                </a:lnTo>
                <a:lnTo>
                  <a:pt x="3659" y="128"/>
                </a:lnTo>
                <a:lnTo>
                  <a:pt x="3659" y="128"/>
                </a:lnTo>
                <a:close/>
                <a:moveTo>
                  <a:pt x="3628" y="121"/>
                </a:moveTo>
                <a:lnTo>
                  <a:pt x="3628" y="130"/>
                </a:lnTo>
                <a:lnTo>
                  <a:pt x="3607" y="128"/>
                </a:lnTo>
                <a:lnTo>
                  <a:pt x="3609" y="118"/>
                </a:lnTo>
                <a:lnTo>
                  <a:pt x="3628" y="121"/>
                </a:lnTo>
                <a:lnTo>
                  <a:pt x="3628" y="121"/>
                </a:lnTo>
                <a:close/>
                <a:moveTo>
                  <a:pt x="3600" y="116"/>
                </a:moveTo>
                <a:lnTo>
                  <a:pt x="3597" y="125"/>
                </a:lnTo>
                <a:lnTo>
                  <a:pt x="3578" y="121"/>
                </a:lnTo>
                <a:lnTo>
                  <a:pt x="3578" y="111"/>
                </a:lnTo>
                <a:lnTo>
                  <a:pt x="3600" y="116"/>
                </a:lnTo>
                <a:lnTo>
                  <a:pt x="3600" y="116"/>
                </a:lnTo>
                <a:close/>
                <a:moveTo>
                  <a:pt x="3569" y="109"/>
                </a:moveTo>
                <a:lnTo>
                  <a:pt x="3567" y="118"/>
                </a:lnTo>
                <a:lnTo>
                  <a:pt x="3548" y="116"/>
                </a:lnTo>
                <a:lnTo>
                  <a:pt x="3550" y="106"/>
                </a:lnTo>
                <a:lnTo>
                  <a:pt x="3569" y="109"/>
                </a:lnTo>
                <a:lnTo>
                  <a:pt x="3569" y="109"/>
                </a:lnTo>
                <a:close/>
                <a:moveTo>
                  <a:pt x="3541" y="104"/>
                </a:moveTo>
                <a:lnTo>
                  <a:pt x="3538" y="114"/>
                </a:lnTo>
                <a:lnTo>
                  <a:pt x="3517" y="109"/>
                </a:lnTo>
                <a:lnTo>
                  <a:pt x="3519" y="99"/>
                </a:lnTo>
                <a:lnTo>
                  <a:pt x="3541" y="104"/>
                </a:lnTo>
                <a:lnTo>
                  <a:pt x="3541" y="104"/>
                </a:lnTo>
                <a:close/>
                <a:moveTo>
                  <a:pt x="3510" y="97"/>
                </a:moveTo>
                <a:lnTo>
                  <a:pt x="3507" y="109"/>
                </a:lnTo>
                <a:lnTo>
                  <a:pt x="3489" y="104"/>
                </a:lnTo>
                <a:lnTo>
                  <a:pt x="3489" y="95"/>
                </a:lnTo>
                <a:lnTo>
                  <a:pt x="3510" y="97"/>
                </a:lnTo>
                <a:lnTo>
                  <a:pt x="3510" y="97"/>
                </a:lnTo>
                <a:close/>
                <a:moveTo>
                  <a:pt x="3479" y="92"/>
                </a:moveTo>
                <a:lnTo>
                  <a:pt x="3477" y="102"/>
                </a:lnTo>
                <a:lnTo>
                  <a:pt x="3458" y="99"/>
                </a:lnTo>
                <a:lnTo>
                  <a:pt x="3460" y="88"/>
                </a:lnTo>
                <a:lnTo>
                  <a:pt x="3479" y="92"/>
                </a:lnTo>
                <a:lnTo>
                  <a:pt x="3479" y="92"/>
                </a:lnTo>
                <a:close/>
                <a:moveTo>
                  <a:pt x="3451" y="88"/>
                </a:moveTo>
                <a:lnTo>
                  <a:pt x="3448" y="97"/>
                </a:lnTo>
                <a:lnTo>
                  <a:pt x="3427" y="92"/>
                </a:lnTo>
                <a:lnTo>
                  <a:pt x="3430" y="83"/>
                </a:lnTo>
                <a:lnTo>
                  <a:pt x="3451" y="88"/>
                </a:lnTo>
                <a:lnTo>
                  <a:pt x="3451" y="88"/>
                </a:lnTo>
                <a:close/>
                <a:moveTo>
                  <a:pt x="3420" y="80"/>
                </a:moveTo>
                <a:lnTo>
                  <a:pt x="3418" y="90"/>
                </a:lnTo>
                <a:lnTo>
                  <a:pt x="3399" y="88"/>
                </a:lnTo>
                <a:lnTo>
                  <a:pt x="3401" y="78"/>
                </a:lnTo>
                <a:lnTo>
                  <a:pt x="3420" y="80"/>
                </a:lnTo>
                <a:lnTo>
                  <a:pt x="3420" y="80"/>
                </a:lnTo>
                <a:close/>
                <a:moveTo>
                  <a:pt x="3389" y="76"/>
                </a:moveTo>
                <a:lnTo>
                  <a:pt x="3389" y="85"/>
                </a:lnTo>
                <a:lnTo>
                  <a:pt x="3368" y="80"/>
                </a:lnTo>
                <a:lnTo>
                  <a:pt x="3370" y="71"/>
                </a:lnTo>
                <a:lnTo>
                  <a:pt x="3389" y="76"/>
                </a:lnTo>
                <a:lnTo>
                  <a:pt x="3389" y="76"/>
                </a:lnTo>
                <a:close/>
                <a:moveTo>
                  <a:pt x="3361" y="69"/>
                </a:moveTo>
                <a:lnTo>
                  <a:pt x="3359" y="80"/>
                </a:lnTo>
                <a:lnTo>
                  <a:pt x="3337" y="76"/>
                </a:lnTo>
                <a:lnTo>
                  <a:pt x="3340" y="66"/>
                </a:lnTo>
                <a:lnTo>
                  <a:pt x="3361" y="69"/>
                </a:lnTo>
                <a:lnTo>
                  <a:pt x="3361" y="69"/>
                </a:lnTo>
                <a:close/>
                <a:moveTo>
                  <a:pt x="3330" y="64"/>
                </a:moveTo>
                <a:lnTo>
                  <a:pt x="3328" y="73"/>
                </a:lnTo>
                <a:lnTo>
                  <a:pt x="3309" y="71"/>
                </a:lnTo>
                <a:lnTo>
                  <a:pt x="3311" y="59"/>
                </a:lnTo>
                <a:lnTo>
                  <a:pt x="3330" y="64"/>
                </a:lnTo>
                <a:lnTo>
                  <a:pt x="3330" y="64"/>
                </a:lnTo>
                <a:close/>
                <a:moveTo>
                  <a:pt x="3300" y="59"/>
                </a:moveTo>
                <a:lnTo>
                  <a:pt x="3300" y="69"/>
                </a:lnTo>
                <a:lnTo>
                  <a:pt x="3278" y="64"/>
                </a:lnTo>
                <a:lnTo>
                  <a:pt x="3281" y="54"/>
                </a:lnTo>
                <a:lnTo>
                  <a:pt x="3300" y="59"/>
                </a:lnTo>
                <a:lnTo>
                  <a:pt x="3300" y="59"/>
                </a:lnTo>
                <a:close/>
                <a:moveTo>
                  <a:pt x="3271" y="52"/>
                </a:moveTo>
                <a:lnTo>
                  <a:pt x="3269" y="62"/>
                </a:lnTo>
                <a:lnTo>
                  <a:pt x="3248" y="59"/>
                </a:lnTo>
                <a:lnTo>
                  <a:pt x="3250" y="47"/>
                </a:lnTo>
                <a:lnTo>
                  <a:pt x="3271" y="52"/>
                </a:lnTo>
                <a:lnTo>
                  <a:pt x="3271" y="52"/>
                </a:lnTo>
                <a:close/>
                <a:moveTo>
                  <a:pt x="3241" y="47"/>
                </a:moveTo>
                <a:lnTo>
                  <a:pt x="3238" y="57"/>
                </a:lnTo>
                <a:lnTo>
                  <a:pt x="3219" y="52"/>
                </a:lnTo>
                <a:lnTo>
                  <a:pt x="3222" y="43"/>
                </a:lnTo>
                <a:lnTo>
                  <a:pt x="3241" y="47"/>
                </a:lnTo>
                <a:lnTo>
                  <a:pt x="3241" y="47"/>
                </a:lnTo>
                <a:close/>
                <a:moveTo>
                  <a:pt x="3210" y="40"/>
                </a:moveTo>
                <a:lnTo>
                  <a:pt x="3210" y="50"/>
                </a:lnTo>
                <a:lnTo>
                  <a:pt x="3189" y="47"/>
                </a:lnTo>
                <a:lnTo>
                  <a:pt x="3191" y="38"/>
                </a:lnTo>
                <a:lnTo>
                  <a:pt x="3210" y="40"/>
                </a:lnTo>
                <a:lnTo>
                  <a:pt x="3210" y="40"/>
                </a:lnTo>
                <a:close/>
                <a:moveTo>
                  <a:pt x="3182" y="36"/>
                </a:moveTo>
                <a:lnTo>
                  <a:pt x="3179" y="45"/>
                </a:lnTo>
                <a:lnTo>
                  <a:pt x="3160" y="40"/>
                </a:lnTo>
                <a:lnTo>
                  <a:pt x="3160" y="31"/>
                </a:lnTo>
                <a:lnTo>
                  <a:pt x="3182" y="36"/>
                </a:lnTo>
                <a:lnTo>
                  <a:pt x="3182" y="36"/>
                </a:lnTo>
                <a:close/>
                <a:moveTo>
                  <a:pt x="3151" y="29"/>
                </a:moveTo>
                <a:lnTo>
                  <a:pt x="3148" y="40"/>
                </a:lnTo>
                <a:lnTo>
                  <a:pt x="3130" y="36"/>
                </a:lnTo>
                <a:lnTo>
                  <a:pt x="3132" y="26"/>
                </a:lnTo>
                <a:lnTo>
                  <a:pt x="3151" y="29"/>
                </a:lnTo>
                <a:lnTo>
                  <a:pt x="3151" y="29"/>
                </a:lnTo>
                <a:close/>
                <a:moveTo>
                  <a:pt x="3120" y="24"/>
                </a:moveTo>
                <a:lnTo>
                  <a:pt x="3120" y="33"/>
                </a:lnTo>
                <a:lnTo>
                  <a:pt x="3099" y="31"/>
                </a:lnTo>
                <a:lnTo>
                  <a:pt x="3101" y="19"/>
                </a:lnTo>
                <a:lnTo>
                  <a:pt x="3120" y="24"/>
                </a:lnTo>
                <a:lnTo>
                  <a:pt x="3120" y="24"/>
                </a:lnTo>
                <a:close/>
                <a:moveTo>
                  <a:pt x="3092" y="19"/>
                </a:moveTo>
                <a:lnTo>
                  <a:pt x="3089" y="29"/>
                </a:lnTo>
                <a:lnTo>
                  <a:pt x="3071" y="24"/>
                </a:lnTo>
                <a:lnTo>
                  <a:pt x="3071" y="14"/>
                </a:lnTo>
                <a:lnTo>
                  <a:pt x="3092" y="19"/>
                </a:lnTo>
                <a:lnTo>
                  <a:pt x="3092" y="19"/>
                </a:lnTo>
                <a:close/>
                <a:moveTo>
                  <a:pt x="3061" y="12"/>
                </a:moveTo>
                <a:lnTo>
                  <a:pt x="3059" y="21"/>
                </a:lnTo>
                <a:lnTo>
                  <a:pt x="3040" y="19"/>
                </a:lnTo>
                <a:lnTo>
                  <a:pt x="3042" y="10"/>
                </a:lnTo>
                <a:lnTo>
                  <a:pt x="3061" y="12"/>
                </a:lnTo>
                <a:lnTo>
                  <a:pt x="3061" y="12"/>
                </a:lnTo>
                <a:close/>
                <a:moveTo>
                  <a:pt x="2910" y="0"/>
                </a:moveTo>
                <a:lnTo>
                  <a:pt x="2910" y="12"/>
                </a:lnTo>
                <a:lnTo>
                  <a:pt x="2891" y="12"/>
                </a:lnTo>
                <a:lnTo>
                  <a:pt x="2889" y="3"/>
                </a:lnTo>
                <a:lnTo>
                  <a:pt x="2910" y="0"/>
                </a:lnTo>
                <a:lnTo>
                  <a:pt x="2910" y="0"/>
                </a:lnTo>
                <a:close/>
                <a:moveTo>
                  <a:pt x="2879" y="3"/>
                </a:moveTo>
                <a:lnTo>
                  <a:pt x="2879" y="12"/>
                </a:lnTo>
                <a:lnTo>
                  <a:pt x="2860" y="14"/>
                </a:lnTo>
                <a:lnTo>
                  <a:pt x="2860" y="3"/>
                </a:lnTo>
                <a:lnTo>
                  <a:pt x="2879" y="3"/>
                </a:lnTo>
                <a:lnTo>
                  <a:pt x="2879" y="3"/>
                </a:lnTo>
                <a:close/>
                <a:moveTo>
                  <a:pt x="2848" y="5"/>
                </a:moveTo>
                <a:lnTo>
                  <a:pt x="2851" y="14"/>
                </a:lnTo>
                <a:lnTo>
                  <a:pt x="2830" y="17"/>
                </a:lnTo>
                <a:lnTo>
                  <a:pt x="2830" y="5"/>
                </a:lnTo>
                <a:lnTo>
                  <a:pt x="2848" y="5"/>
                </a:lnTo>
                <a:lnTo>
                  <a:pt x="2848" y="5"/>
                </a:lnTo>
                <a:close/>
                <a:moveTo>
                  <a:pt x="2818" y="7"/>
                </a:moveTo>
                <a:lnTo>
                  <a:pt x="2820" y="17"/>
                </a:lnTo>
                <a:lnTo>
                  <a:pt x="2799" y="17"/>
                </a:lnTo>
                <a:lnTo>
                  <a:pt x="2799" y="7"/>
                </a:lnTo>
                <a:lnTo>
                  <a:pt x="2818" y="7"/>
                </a:lnTo>
                <a:lnTo>
                  <a:pt x="2818" y="7"/>
                </a:lnTo>
                <a:close/>
                <a:moveTo>
                  <a:pt x="2789" y="7"/>
                </a:moveTo>
                <a:lnTo>
                  <a:pt x="2789" y="19"/>
                </a:lnTo>
                <a:lnTo>
                  <a:pt x="2768" y="19"/>
                </a:lnTo>
                <a:lnTo>
                  <a:pt x="2768" y="10"/>
                </a:lnTo>
                <a:lnTo>
                  <a:pt x="2789" y="7"/>
                </a:lnTo>
                <a:lnTo>
                  <a:pt x="2789" y="7"/>
                </a:lnTo>
                <a:close/>
                <a:moveTo>
                  <a:pt x="2759" y="10"/>
                </a:moveTo>
                <a:lnTo>
                  <a:pt x="2759" y="19"/>
                </a:lnTo>
                <a:lnTo>
                  <a:pt x="2737" y="21"/>
                </a:lnTo>
                <a:lnTo>
                  <a:pt x="2737" y="12"/>
                </a:lnTo>
                <a:lnTo>
                  <a:pt x="2759" y="10"/>
                </a:lnTo>
                <a:lnTo>
                  <a:pt x="2759" y="10"/>
                </a:lnTo>
                <a:close/>
                <a:moveTo>
                  <a:pt x="2728" y="12"/>
                </a:moveTo>
                <a:lnTo>
                  <a:pt x="2728" y="21"/>
                </a:lnTo>
                <a:lnTo>
                  <a:pt x="2709" y="24"/>
                </a:lnTo>
                <a:lnTo>
                  <a:pt x="2707" y="12"/>
                </a:lnTo>
                <a:lnTo>
                  <a:pt x="2728" y="12"/>
                </a:lnTo>
                <a:lnTo>
                  <a:pt x="2728" y="12"/>
                </a:lnTo>
                <a:close/>
                <a:moveTo>
                  <a:pt x="2697" y="14"/>
                </a:moveTo>
                <a:lnTo>
                  <a:pt x="2697" y="24"/>
                </a:lnTo>
                <a:lnTo>
                  <a:pt x="2678" y="24"/>
                </a:lnTo>
                <a:lnTo>
                  <a:pt x="2676" y="14"/>
                </a:lnTo>
                <a:lnTo>
                  <a:pt x="2697" y="14"/>
                </a:lnTo>
                <a:lnTo>
                  <a:pt x="2697" y="14"/>
                </a:lnTo>
                <a:close/>
                <a:moveTo>
                  <a:pt x="2667" y="17"/>
                </a:moveTo>
                <a:lnTo>
                  <a:pt x="2667" y="26"/>
                </a:lnTo>
                <a:lnTo>
                  <a:pt x="2648" y="26"/>
                </a:lnTo>
                <a:lnTo>
                  <a:pt x="2648" y="17"/>
                </a:lnTo>
                <a:lnTo>
                  <a:pt x="2667" y="17"/>
                </a:lnTo>
                <a:lnTo>
                  <a:pt x="2667" y="17"/>
                </a:lnTo>
                <a:close/>
                <a:moveTo>
                  <a:pt x="2636" y="17"/>
                </a:moveTo>
                <a:lnTo>
                  <a:pt x="2638" y="29"/>
                </a:lnTo>
                <a:lnTo>
                  <a:pt x="2617" y="29"/>
                </a:lnTo>
                <a:lnTo>
                  <a:pt x="2617" y="19"/>
                </a:lnTo>
                <a:lnTo>
                  <a:pt x="2636" y="17"/>
                </a:lnTo>
                <a:lnTo>
                  <a:pt x="2636" y="17"/>
                </a:lnTo>
                <a:close/>
                <a:moveTo>
                  <a:pt x="2605" y="19"/>
                </a:moveTo>
                <a:lnTo>
                  <a:pt x="2608" y="29"/>
                </a:lnTo>
                <a:lnTo>
                  <a:pt x="2586" y="31"/>
                </a:lnTo>
                <a:lnTo>
                  <a:pt x="2586" y="21"/>
                </a:lnTo>
                <a:lnTo>
                  <a:pt x="2605" y="19"/>
                </a:lnTo>
                <a:lnTo>
                  <a:pt x="2605" y="19"/>
                </a:lnTo>
                <a:close/>
                <a:moveTo>
                  <a:pt x="2574" y="21"/>
                </a:moveTo>
                <a:lnTo>
                  <a:pt x="2577" y="31"/>
                </a:lnTo>
                <a:lnTo>
                  <a:pt x="2556" y="33"/>
                </a:lnTo>
                <a:lnTo>
                  <a:pt x="2556" y="21"/>
                </a:lnTo>
                <a:lnTo>
                  <a:pt x="2574" y="21"/>
                </a:lnTo>
                <a:lnTo>
                  <a:pt x="2574" y="21"/>
                </a:lnTo>
                <a:close/>
                <a:moveTo>
                  <a:pt x="2546" y="24"/>
                </a:moveTo>
                <a:lnTo>
                  <a:pt x="2546" y="33"/>
                </a:lnTo>
                <a:lnTo>
                  <a:pt x="2525" y="33"/>
                </a:lnTo>
                <a:lnTo>
                  <a:pt x="2525" y="24"/>
                </a:lnTo>
                <a:lnTo>
                  <a:pt x="2546" y="24"/>
                </a:lnTo>
                <a:lnTo>
                  <a:pt x="2546" y="24"/>
                </a:lnTo>
                <a:close/>
                <a:moveTo>
                  <a:pt x="2515" y="24"/>
                </a:moveTo>
                <a:lnTo>
                  <a:pt x="2515" y="36"/>
                </a:lnTo>
                <a:lnTo>
                  <a:pt x="2497" y="36"/>
                </a:lnTo>
                <a:lnTo>
                  <a:pt x="2494" y="26"/>
                </a:lnTo>
                <a:lnTo>
                  <a:pt x="2515" y="24"/>
                </a:lnTo>
                <a:lnTo>
                  <a:pt x="2515" y="24"/>
                </a:lnTo>
                <a:close/>
                <a:moveTo>
                  <a:pt x="2485" y="26"/>
                </a:moveTo>
                <a:lnTo>
                  <a:pt x="2485" y="38"/>
                </a:lnTo>
                <a:lnTo>
                  <a:pt x="2466" y="38"/>
                </a:lnTo>
                <a:lnTo>
                  <a:pt x="2463" y="29"/>
                </a:lnTo>
                <a:lnTo>
                  <a:pt x="2485" y="26"/>
                </a:lnTo>
                <a:lnTo>
                  <a:pt x="2485" y="26"/>
                </a:lnTo>
                <a:close/>
                <a:moveTo>
                  <a:pt x="2454" y="29"/>
                </a:moveTo>
                <a:lnTo>
                  <a:pt x="2454" y="38"/>
                </a:lnTo>
                <a:lnTo>
                  <a:pt x="2435" y="40"/>
                </a:lnTo>
                <a:lnTo>
                  <a:pt x="2435" y="31"/>
                </a:lnTo>
                <a:lnTo>
                  <a:pt x="2454" y="29"/>
                </a:lnTo>
                <a:lnTo>
                  <a:pt x="2454" y="29"/>
                </a:lnTo>
                <a:close/>
                <a:moveTo>
                  <a:pt x="2423" y="31"/>
                </a:moveTo>
                <a:lnTo>
                  <a:pt x="2426" y="40"/>
                </a:lnTo>
                <a:lnTo>
                  <a:pt x="2404" y="43"/>
                </a:lnTo>
                <a:lnTo>
                  <a:pt x="2404" y="31"/>
                </a:lnTo>
                <a:lnTo>
                  <a:pt x="2423" y="31"/>
                </a:lnTo>
                <a:lnTo>
                  <a:pt x="2423" y="31"/>
                </a:lnTo>
                <a:close/>
                <a:moveTo>
                  <a:pt x="2393" y="33"/>
                </a:moveTo>
                <a:lnTo>
                  <a:pt x="2395" y="43"/>
                </a:lnTo>
                <a:lnTo>
                  <a:pt x="2374" y="43"/>
                </a:lnTo>
                <a:lnTo>
                  <a:pt x="2374" y="33"/>
                </a:lnTo>
                <a:lnTo>
                  <a:pt x="2393" y="33"/>
                </a:lnTo>
                <a:lnTo>
                  <a:pt x="2393" y="33"/>
                </a:lnTo>
                <a:close/>
                <a:moveTo>
                  <a:pt x="2364" y="33"/>
                </a:moveTo>
                <a:lnTo>
                  <a:pt x="2364" y="45"/>
                </a:lnTo>
                <a:lnTo>
                  <a:pt x="2343" y="45"/>
                </a:lnTo>
                <a:lnTo>
                  <a:pt x="2343" y="36"/>
                </a:lnTo>
                <a:lnTo>
                  <a:pt x="2364" y="33"/>
                </a:lnTo>
                <a:lnTo>
                  <a:pt x="2364" y="33"/>
                </a:lnTo>
                <a:close/>
                <a:moveTo>
                  <a:pt x="2334" y="36"/>
                </a:moveTo>
                <a:lnTo>
                  <a:pt x="2334" y="45"/>
                </a:lnTo>
                <a:lnTo>
                  <a:pt x="2312" y="47"/>
                </a:lnTo>
                <a:lnTo>
                  <a:pt x="2312" y="38"/>
                </a:lnTo>
                <a:lnTo>
                  <a:pt x="2334" y="36"/>
                </a:lnTo>
                <a:lnTo>
                  <a:pt x="2334" y="36"/>
                </a:lnTo>
                <a:close/>
                <a:moveTo>
                  <a:pt x="2303" y="38"/>
                </a:moveTo>
                <a:lnTo>
                  <a:pt x="2303" y="47"/>
                </a:lnTo>
                <a:lnTo>
                  <a:pt x="2284" y="50"/>
                </a:lnTo>
                <a:lnTo>
                  <a:pt x="2282" y="40"/>
                </a:lnTo>
                <a:lnTo>
                  <a:pt x="2303" y="38"/>
                </a:lnTo>
                <a:lnTo>
                  <a:pt x="2303" y="38"/>
                </a:lnTo>
                <a:close/>
                <a:moveTo>
                  <a:pt x="2272" y="40"/>
                </a:moveTo>
                <a:lnTo>
                  <a:pt x="2272" y="50"/>
                </a:lnTo>
                <a:lnTo>
                  <a:pt x="2253" y="52"/>
                </a:lnTo>
                <a:lnTo>
                  <a:pt x="2253" y="40"/>
                </a:lnTo>
                <a:lnTo>
                  <a:pt x="2272" y="40"/>
                </a:lnTo>
                <a:lnTo>
                  <a:pt x="2272" y="40"/>
                </a:lnTo>
                <a:close/>
                <a:moveTo>
                  <a:pt x="2241" y="43"/>
                </a:moveTo>
                <a:lnTo>
                  <a:pt x="2241" y="52"/>
                </a:lnTo>
                <a:lnTo>
                  <a:pt x="2223" y="52"/>
                </a:lnTo>
                <a:lnTo>
                  <a:pt x="2223" y="43"/>
                </a:lnTo>
                <a:lnTo>
                  <a:pt x="2241" y="43"/>
                </a:lnTo>
                <a:lnTo>
                  <a:pt x="2241" y="43"/>
                </a:lnTo>
                <a:close/>
                <a:moveTo>
                  <a:pt x="2211" y="43"/>
                </a:moveTo>
                <a:lnTo>
                  <a:pt x="2213" y="54"/>
                </a:lnTo>
                <a:lnTo>
                  <a:pt x="2192" y="54"/>
                </a:lnTo>
                <a:lnTo>
                  <a:pt x="2192" y="45"/>
                </a:lnTo>
                <a:lnTo>
                  <a:pt x="2211" y="43"/>
                </a:lnTo>
                <a:lnTo>
                  <a:pt x="2211" y="43"/>
                </a:lnTo>
                <a:close/>
                <a:moveTo>
                  <a:pt x="2180" y="45"/>
                </a:moveTo>
                <a:lnTo>
                  <a:pt x="2182" y="54"/>
                </a:lnTo>
                <a:lnTo>
                  <a:pt x="2161" y="57"/>
                </a:lnTo>
                <a:lnTo>
                  <a:pt x="2161" y="47"/>
                </a:lnTo>
                <a:lnTo>
                  <a:pt x="2180" y="45"/>
                </a:lnTo>
                <a:lnTo>
                  <a:pt x="2180" y="45"/>
                </a:lnTo>
                <a:close/>
                <a:moveTo>
                  <a:pt x="2152" y="47"/>
                </a:moveTo>
                <a:lnTo>
                  <a:pt x="2152" y="57"/>
                </a:lnTo>
                <a:lnTo>
                  <a:pt x="2130" y="59"/>
                </a:lnTo>
                <a:lnTo>
                  <a:pt x="2130" y="47"/>
                </a:lnTo>
                <a:lnTo>
                  <a:pt x="2152" y="47"/>
                </a:lnTo>
                <a:lnTo>
                  <a:pt x="2152" y="47"/>
                </a:lnTo>
                <a:close/>
                <a:moveTo>
                  <a:pt x="2121" y="50"/>
                </a:moveTo>
                <a:lnTo>
                  <a:pt x="2121" y="59"/>
                </a:lnTo>
                <a:lnTo>
                  <a:pt x="2100" y="62"/>
                </a:lnTo>
                <a:lnTo>
                  <a:pt x="2100" y="50"/>
                </a:lnTo>
                <a:lnTo>
                  <a:pt x="2121" y="50"/>
                </a:lnTo>
                <a:lnTo>
                  <a:pt x="2121" y="50"/>
                </a:lnTo>
                <a:close/>
                <a:moveTo>
                  <a:pt x="2090" y="52"/>
                </a:moveTo>
                <a:lnTo>
                  <a:pt x="2090" y="62"/>
                </a:lnTo>
                <a:lnTo>
                  <a:pt x="2071" y="62"/>
                </a:lnTo>
                <a:lnTo>
                  <a:pt x="2069" y="52"/>
                </a:lnTo>
                <a:lnTo>
                  <a:pt x="2090" y="52"/>
                </a:lnTo>
                <a:lnTo>
                  <a:pt x="2090" y="52"/>
                </a:lnTo>
                <a:close/>
                <a:moveTo>
                  <a:pt x="2060" y="52"/>
                </a:moveTo>
                <a:lnTo>
                  <a:pt x="2060" y="64"/>
                </a:lnTo>
                <a:lnTo>
                  <a:pt x="2041" y="64"/>
                </a:lnTo>
                <a:lnTo>
                  <a:pt x="2041" y="54"/>
                </a:lnTo>
                <a:lnTo>
                  <a:pt x="2060" y="52"/>
                </a:lnTo>
                <a:lnTo>
                  <a:pt x="2060" y="52"/>
                </a:lnTo>
                <a:close/>
                <a:moveTo>
                  <a:pt x="1885" y="97"/>
                </a:moveTo>
                <a:lnTo>
                  <a:pt x="1887" y="104"/>
                </a:lnTo>
                <a:lnTo>
                  <a:pt x="1871" y="114"/>
                </a:lnTo>
                <a:lnTo>
                  <a:pt x="1866" y="104"/>
                </a:lnTo>
                <a:lnTo>
                  <a:pt x="1885" y="97"/>
                </a:lnTo>
                <a:lnTo>
                  <a:pt x="1885" y="97"/>
                </a:lnTo>
                <a:close/>
                <a:moveTo>
                  <a:pt x="1856" y="109"/>
                </a:moveTo>
                <a:lnTo>
                  <a:pt x="1861" y="118"/>
                </a:lnTo>
                <a:lnTo>
                  <a:pt x="1842" y="128"/>
                </a:lnTo>
                <a:lnTo>
                  <a:pt x="1838" y="118"/>
                </a:lnTo>
                <a:lnTo>
                  <a:pt x="1856" y="109"/>
                </a:lnTo>
                <a:lnTo>
                  <a:pt x="1856" y="109"/>
                </a:lnTo>
                <a:close/>
                <a:moveTo>
                  <a:pt x="1828" y="123"/>
                </a:moveTo>
                <a:lnTo>
                  <a:pt x="1833" y="130"/>
                </a:lnTo>
                <a:lnTo>
                  <a:pt x="1814" y="140"/>
                </a:lnTo>
                <a:lnTo>
                  <a:pt x="1812" y="130"/>
                </a:lnTo>
                <a:lnTo>
                  <a:pt x="1828" y="123"/>
                </a:lnTo>
                <a:lnTo>
                  <a:pt x="1828" y="123"/>
                </a:lnTo>
                <a:close/>
                <a:moveTo>
                  <a:pt x="1802" y="135"/>
                </a:moveTo>
                <a:lnTo>
                  <a:pt x="1807" y="144"/>
                </a:lnTo>
                <a:lnTo>
                  <a:pt x="1788" y="154"/>
                </a:lnTo>
                <a:lnTo>
                  <a:pt x="1783" y="144"/>
                </a:lnTo>
                <a:lnTo>
                  <a:pt x="1802" y="135"/>
                </a:lnTo>
                <a:lnTo>
                  <a:pt x="1802" y="135"/>
                </a:lnTo>
                <a:close/>
                <a:moveTo>
                  <a:pt x="1774" y="149"/>
                </a:moveTo>
                <a:lnTo>
                  <a:pt x="1779" y="156"/>
                </a:lnTo>
                <a:lnTo>
                  <a:pt x="1760" y="166"/>
                </a:lnTo>
                <a:lnTo>
                  <a:pt x="1755" y="156"/>
                </a:lnTo>
                <a:lnTo>
                  <a:pt x="1774" y="149"/>
                </a:lnTo>
                <a:lnTo>
                  <a:pt x="1774" y="149"/>
                </a:lnTo>
                <a:close/>
                <a:moveTo>
                  <a:pt x="1745" y="161"/>
                </a:moveTo>
                <a:lnTo>
                  <a:pt x="1750" y="170"/>
                </a:lnTo>
                <a:lnTo>
                  <a:pt x="1731" y="180"/>
                </a:lnTo>
                <a:lnTo>
                  <a:pt x="1729" y="170"/>
                </a:lnTo>
                <a:lnTo>
                  <a:pt x="1745" y="161"/>
                </a:lnTo>
                <a:lnTo>
                  <a:pt x="1745" y="161"/>
                </a:lnTo>
                <a:close/>
                <a:moveTo>
                  <a:pt x="1719" y="175"/>
                </a:moveTo>
                <a:lnTo>
                  <a:pt x="1724" y="182"/>
                </a:lnTo>
                <a:lnTo>
                  <a:pt x="1705" y="192"/>
                </a:lnTo>
                <a:lnTo>
                  <a:pt x="1701" y="182"/>
                </a:lnTo>
                <a:lnTo>
                  <a:pt x="1719" y="175"/>
                </a:lnTo>
                <a:lnTo>
                  <a:pt x="1719" y="175"/>
                </a:lnTo>
                <a:close/>
                <a:moveTo>
                  <a:pt x="1691" y="187"/>
                </a:moveTo>
                <a:lnTo>
                  <a:pt x="1696" y="196"/>
                </a:lnTo>
                <a:lnTo>
                  <a:pt x="1677" y="206"/>
                </a:lnTo>
                <a:lnTo>
                  <a:pt x="1672" y="196"/>
                </a:lnTo>
                <a:lnTo>
                  <a:pt x="1691" y="187"/>
                </a:lnTo>
                <a:lnTo>
                  <a:pt x="1691" y="187"/>
                </a:lnTo>
                <a:close/>
                <a:moveTo>
                  <a:pt x="1663" y="201"/>
                </a:moveTo>
                <a:lnTo>
                  <a:pt x="1667" y="210"/>
                </a:lnTo>
                <a:lnTo>
                  <a:pt x="1651" y="217"/>
                </a:lnTo>
                <a:lnTo>
                  <a:pt x="1646" y="208"/>
                </a:lnTo>
                <a:lnTo>
                  <a:pt x="1663" y="201"/>
                </a:lnTo>
                <a:lnTo>
                  <a:pt x="1663" y="201"/>
                </a:lnTo>
                <a:close/>
                <a:moveTo>
                  <a:pt x="1637" y="213"/>
                </a:moveTo>
                <a:lnTo>
                  <a:pt x="1642" y="222"/>
                </a:lnTo>
                <a:lnTo>
                  <a:pt x="1623" y="232"/>
                </a:lnTo>
                <a:lnTo>
                  <a:pt x="1618" y="222"/>
                </a:lnTo>
                <a:lnTo>
                  <a:pt x="1637" y="213"/>
                </a:lnTo>
                <a:lnTo>
                  <a:pt x="1637" y="213"/>
                </a:lnTo>
                <a:close/>
                <a:moveTo>
                  <a:pt x="1608" y="227"/>
                </a:moveTo>
                <a:lnTo>
                  <a:pt x="1613" y="236"/>
                </a:lnTo>
                <a:lnTo>
                  <a:pt x="1594" y="243"/>
                </a:lnTo>
                <a:lnTo>
                  <a:pt x="1590" y="234"/>
                </a:lnTo>
                <a:lnTo>
                  <a:pt x="1608" y="227"/>
                </a:lnTo>
                <a:lnTo>
                  <a:pt x="1608" y="227"/>
                </a:lnTo>
                <a:close/>
                <a:moveTo>
                  <a:pt x="1582" y="239"/>
                </a:moveTo>
                <a:lnTo>
                  <a:pt x="1585" y="248"/>
                </a:lnTo>
                <a:lnTo>
                  <a:pt x="1568" y="258"/>
                </a:lnTo>
                <a:lnTo>
                  <a:pt x="1564" y="248"/>
                </a:lnTo>
                <a:lnTo>
                  <a:pt x="1582" y="239"/>
                </a:lnTo>
                <a:lnTo>
                  <a:pt x="1582" y="239"/>
                </a:lnTo>
                <a:close/>
                <a:moveTo>
                  <a:pt x="1554" y="253"/>
                </a:moveTo>
                <a:lnTo>
                  <a:pt x="1559" y="262"/>
                </a:lnTo>
                <a:lnTo>
                  <a:pt x="1540" y="269"/>
                </a:lnTo>
                <a:lnTo>
                  <a:pt x="1535" y="260"/>
                </a:lnTo>
                <a:lnTo>
                  <a:pt x="1554" y="253"/>
                </a:lnTo>
                <a:lnTo>
                  <a:pt x="1554" y="253"/>
                </a:lnTo>
                <a:close/>
                <a:moveTo>
                  <a:pt x="1526" y="265"/>
                </a:moveTo>
                <a:lnTo>
                  <a:pt x="1530" y="274"/>
                </a:lnTo>
                <a:lnTo>
                  <a:pt x="1512" y="284"/>
                </a:lnTo>
                <a:lnTo>
                  <a:pt x="1509" y="274"/>
                </a:lnTo>
                <a:lnTo>
                  <a:pt x="1526" y="265"/>
                </a:lnTo>
                <a:lnTo>
                  <a:pt x="1526" y="265"/>
                </a:lnTo>
                <a:close/>
                <a:moveTo>
                  <a:pt x="1500" y="279"/>
                </a:moveTo>
                <a:lnTo>
                  <a:pt x="1502" y="288"/>
                </a:lnTo>
                <a:lnTo>
                  <a:pt x="1486" y="295"/>
                </a:lnTo>
                <a:lnTo>
                  <a:pt x="1481" y="286"/>
                </a:lnTo>
                <a:lnTo>
                  <a:pt x="1500" y="279"/>
                </a:lnTo>
                <a:lnTo>
                  <a:pt x="1500" y="279"/>
                </a:lnTo>
                <a:close/>
                <a:moveTo>
                  <a:pt x="1471" y="291"/>
                </a:moveTo>
                <a:lnTo>
                  <a:pt x="1476" y="300"/>
                </a:lnTo>
                <a:lnTo>
                  <a:pt x="1457" y="310"/>
                </a:lnTo>
                <a:lnTo>
                  <a:pt x="1453" y="300"/>
                </a:lnTo>
                <a:lnTo>
                  <a:pt x="1471" y="291"/>
                </a:lnTo>
                <a:lnTo>
                  <a:pt x="1471" y="291"/>
                </a:lnTo>
                <a:close/>
                <a:moveTo>
                  <a:pt x="1443" y="305"/>
                </a:moveTo>
                <a:lnTo>
                  <a:pt x="1448" y="314"/>
                </a:lnTo>
                <a:lnTo>
                  <a:pt x="1429" y="321"/>
                </a:lnTo>
                <a:lnTo>
                  <a:pt x="1427" y="312"/>
                </a:lnTo>
                <a:lnTo>
                  <a:pt x="1443" y="305"/>
                </a:lnTo>
                <a:lnTo>
                  <a:pt x="1443" y="305"/>
                </a:lnTo>
                <a:close/>
                <a:moveTo>
                  <a:pt x="1417" y="317"/>
                </a:moveTo>
                <a:lnTo>
                  <a:pt x="1422" y="326"/>
                </a:lnTo>
                <a:lnTo>
                  <a:pt x="1403" y="336"/>
                </a:lnTo>
                <a:lnTo>
                  <a:pt x="1398" y="326"/>
                </a:lnTo>
                <a:lnTo>
                  <a:pt x="1417" y="317"/>
                </a:lnTo>
                <a:lnTo>
                  <a:pt x="1417" y="317"/>
                </a:lnTo>
                <a:close/>
                <a:moveTo>
                  <a:pt x="1389" y="331"/>
                </a:moveTo>
                <a:lnTo>
                  <a:pt x="1393" y="340"/>
                </a:lnTo>
                <a:lnTo>
                  <a:pt x="1375" y="347"/>
                </a:lnTo>
                <a:lnTo>
                  <a:pt x="1370" y="338"/>
                </a:lnTo>
                <a:lnTo>
                  <a:pt x="1389" y="331"/>
                </a:lnTo>
                <a:lnTo>
                  <a:pt x="1389" y="331"/>
                </a:lnTo>
                <a:close/>
                <a:moveTo>
                  <a:pt x="1360" y="343"/>
                </a:moveTo>
                <a:lnTo>
                  <a:pt x="1365" y="352"/>
                </a:lnTo>
                <a:lnTo>
                  <a:pt x="1346" y="362"/>
                </a:lnTo>
                <a:lnTo>
                  <a:pt x="1344" y="352"/>
                </a:lnTo>
                <a:lnTo>
                  <a:pt x="1360" y="343"/>
                </a:lnTo>
                <a:lnTo>
                  <a:pt x="1360" y="343"/>
                </a:lnTo>
                <a:close/>
                <a:moveTo>
                  <a:pt x="1334" y="357"/>
                </a:moveTo>
                <a:lnTo>
                  <a:pt x="1339" y="366"/>
                </a:lnTo>
                <a:lnTo>
                  <a:pt x="1320" y="373"/>
                </a:lnTo>
                <a:lnTo>
                  <a:pt x="1316" y="364"/>
                </a:lnTo>
                <a:lnTo>
                  <a:pt x="1334" y="357"/>
                </a:lnTo>
                <a:lnTo>
                  <a:pt x="1334" y="357"/>
                </a:lnTo>
                <a:close/>
                <a:moveTo>
                  <a:pt x="1306" y="369"/>
                </a:moveTo>
                <a:lnTo>
                  <a:pt x="1311" y="378"/>
                </a:lnTo>
                <a:lnTo>
                  <a:pt x="1292" y="388"/>
                </a:lnTo>
                <a:lnTo>
                  <a:pt x="1287" y="378"/>
                </a:lnTo>
                <a:lnTo>
                  <a:pt x="1306" y="369"/>
                </a:lnTo>
                <a:lnTo>
                  <a:pt x="1306" y="369"/>
                </a:lnTo>
                <a:close/>
                <a:moveTo>
                  <a:pt x="1280" y="383"/>
                </a:moveTo>
                <a:lnTo>
                  <a:pt x="1282" y="392"/>
                </a:lnTo>
                <a:lnTo>
                  <a:pt x="1266" y="399"/>
                </a:lnTo>
                <a:lnTo>
                  <a:pt x="1261" y="392"/>
                </a:lnTo>
                <a:lnTo>
                  <a:pt x="1280" y="383"/>
                </a:lnTo>
                <a:lnTo>
                  <a:pt x="1280" y="383"/>
                </a:lnTo>
                <a:close/>
                <a:moveTo>
                  <a:pt x="1252" y="395"/>
                </a:moveTo>
                <a:lnTo>
                  <a:pt x="1256" y="404"/>
                </a:lnTo>
                <a:lnTo>
                  <a:pt x="1238" y="414"/>
                </a:lnTo>
                <a:lnTo>
                  <a:pt x="1233" y="404"/>
                </a:lnTo>
                <a:lnTo>
                  <a:pt x="1252" y="395"/>
                </a:lnTo>
                <a:lnTo>
                  <a:pt x="1252" y="395"/>
                </a:lnTo>
                <a:close/>
                <a:moveTo>
                  <a:pt x="1223" y="409"/>
                </a:moveTo>
                <a:lnTo>
                  <a:pt x="1228" y="418"/>
                </a:lnTo>
                <a:lnTo>
                  <a:pt x="1209" y="425"/>
                </a:lnTo>
                <a:lnTo>
                  <a:pt x="1205" y="418"/>
                </a:lnTo>
                <a:lnTo>
                  <a:pt x="1223" y="409"/>
                </a:lnTo>
                <a:lnTo>
                  <a:pt x="1223" y="409"/>
                </a:lnTo>
                <a:close/>
                <a:moveTo>
                  <a:pt x="1197" y="421"/>
                </a:moveTo>
                <a:lnTo>
                  <a:pt x="1200" y="430"/>
                </a:lnTo>
                <a:lnTo>
                  <a:pt x="1183" y="440"/>
                </a:lnTo>
                <a:lnTo>
                  <a:pt x="1179" y="430"/>
                </a:lnTo>
                <a:lnTo>
                  <a:pt x="1197" y="421"/>
                </a:lnTo>
                <a:lnTo>
                  <a:pt x="1197" y="421"/>
                </a:lnTo>
                <a:close/>
                <a:moveTo>
                  <a:pt x="1169" y="435"/>
                </a:moveTo>
                <a:lnTo>
                  <a:pt x="1174" y="444"/>
                </a:lnTo>
                <a:lnTo>
                  <a:pt x="1155" y="451"/>
                </a:lnTo>
                <a:lnTo>
                  <a:pt x="1150" y="444"/>
                </a:lnTo>
                <a:lnTo>
                  <a:pt x="1169" y="435"/>
                </a:lnTo>
                <a:lnTo>
                  <a:pt x="1169" y="435"/>
                </a:lnTo>
                <a:close/>
                <a:moveTo>
                  <a:pt x="1141" y="447"/>
                </a:moveTo>
                <a:lnTo>
                  <a:pt x="1145" y="456"/>
                </a:lnTo>
                <a:lnTo>
                  <a:pt x="1127" y="466"/>
                </a:lnTo>
                <a:lnTo>
                  <a:pt x="1124" y="456"/>
                </a:lnTo>
                <a:lnTo>
                  <a:pt x="1141" y="447"/>
                </a:lnTo>
                <a:lnTo>
                  <a:pt x="1141" y="447"/>
                </a:lnTo>
                <a:close/>
                <a:moveTo>
                  <a:pt x="1115" y="461"/>
                </a:moveTo>
                <a:lnTo>
                  <a:pt x="1120" y="470"/>
                </a:lnTo>
                <a:lnTo>
                  <a:pt x="1101" y="477"/>
                </a:lnTo>
                <a:lnTo>
                  <a:pt x="1096" y="470"/>
                </a:lnTo>
                <a:lnTo>
                  <a:pt x="1115" y="461"/>
                </a:lnTo>
                <a:lnTo>
                  <a:pt x="1115" y="461"/>
                </a:lnTo>
                <a:close/>
                <a:moveTo>
                  <a:pt x="1086" y="473"/>
                </a:moveTo>
                <a:lnTo>
                  <a:pt x="1091" y="482"/>
                </a:lnTo>
                <a:lnTo>
                  <a:pt x="1072" y="492"/>
                </a:lnTo>
                <a:lnTo>
                  <a:pt x="1068" y="482"/>
                </a:lnTo>
                <a:lnTo>
                  <a:pt x="1086" y="473"/>
                </a:lnTo>
                <a:lnTo>
                  <a:pt x="1086" y="473"/>
                </a:lnTo>
                <a:close/>
                <a:moveTo>
                  <a:pt x="1058" y="487"/>
                </a:moveTo>
                <a:lnTo>
                  <a:pt x="1063" y="496"/>
                </a:lnTo>
                <a:lnTo>
                  <a:pt x="1046" y="503"/>
                </a:lnTo>
                <a:lnTo>
                  <a:pt x="1042" y="496"/>
                </a:lnTo>
                <a:lnTo>
                  <a:pt x="1058" y="487"/>
                </a:lnTo>
                <a:lnTo>
                  <a:pt x="1058" y="487"/>
                </a:lnTo>
                <a:close/>
                <a:moveTo>
                  <a:pt x="1032" y="499"/>
                </a:moveTo>
                <a:lnTo>
                  <a:pt x="1037" y="508"/>
                </a:lnTo>
                <a:lnTo>
                  <a:pt x="1018" y="518"/>
                </a:lnTo>
                <a:lnTo>
                  <a:pt x="1013" y="508"/>
                </a:lnTo>
                <a:lnTo>
                  <a:pt x="1032" y="499"/>
                </a:lnTo>
                <a:lnTo>
                  <a:pt x="1032" y="499"/>
                </a:lnTo>
                <a:close/>
                <a:moveTo>
                  <a:pt x="893" y="525"/>
                </a:moveTo>
                <a:lnTo>
                  <a:pt x="890" y="536"/>
                </a:lnTo>
                <a:lnTo>
                  <a:pt x="869" y="532"/>
                </a:lnTo>
                <a:lnTo>
                  <a:pt x="871" y="522"/>
                </a:lnTo>
                <a:lnTo>
                  <a:pt x="893" y="525"/>
                </a:lnTo>
                <a:lnTo>
                  <a:pt x="893" y="525"/>
                </a:lnTo>
                <a:close/>
                <a:moveTo>
                  <a:pt x="862" y="520"/>
                </a:moveTo>
                <a:lnTo>
                  <a:pt x="860" y="529"/>
                </a:lnTo>
                <a:lnTo>
                  <a:pt x="841" y="527"/>
                </a:lnTo>
                <a:lnTo>
                  <a:pt x="843" y="518"/>
                </a:lnTo>
                <a:lnTo>
                  <a:pt x="862" y="520"/>
                </a:lnTo>
                <a:lnTo>
                  <a:pt x="862" y="520"/>
                </a:lnTo>
                <a:close/>
                <a:moveTo>
                  <a:pt x="831" y="515"/>
                </a:moveTo>
                <a:lnTo>
                  <a:pt x="831" y="525"/>
                </a:lnTo>
                <a:lnTo>
                  <a:pt x="810" y="522"/>
                </a:lnTo>
                <a:lnTo>
                  <a:pt x="812" y="513"/>
                </a:lnTo>
                <a:lnTo>
                  <a:pt x="831" y="515"/>
                </a:lnTo>
                <a:lnTo>
                  <a:pt x="831" y="515"/>
                </a:lnTo>
                <a:close/>
                <a:moveTo>
                  <a:pt x="803" y="510"/>
                </a:moveTo>
                <a:lnTo>
                  <a:pt x="801" y="520"/>
                </a:lnTo>
                <a:lnTo>
                  <a:pt x="779" y="518"/>
                </a:lnTo>
                <a:lnTo>
                  <a:pt x="782" y="506"/>
                </a:lnTo>
                <a:lnTo>
                  <a:pt x="803" y="510"/>
                </a:lnTo>
                <a:lnTo>
                  <a:pt x="803" y="510"/>
                </a:lnTo>
                <a:close/>
                <a:moveTo>
                  <a:pt x="772" y="506"/>
                </a:moveTo>
                <a:lnTo>
                  <a:pt x="770" y="515"/>
                </a:lnTo>
                <a:lnTo>
                  <a:pt x="751" y="510"/>
                </a:lnTo>
                <a:lnTo>
                  <a:pt x="751" y="501"/>
                </a:lnTo>
                <a:lnTo>
                  <a:pt x="772" y="506"/>
                </a:lnTo>
                <a:lnTo>
                  <a:pt x="772" y="506"/>
                </a:lnTo>
                <a:close/>
                <a:moveTo>
                  <a:pt x="742" y="499"/>
                </a:moveTo>
                <a:lnTo>
                  <a:pt x="739" y="510"/>
                </a:lnTo>
                <a:lnTo>
                  <a:pt x="720" y="506"/>
                </a:lnTo>
                <a:lnTo>
                  <a:pt x="723" y="496"/>
                </a:lnTo>
                <a:lnTo>
                  <a:pt x="742" y="499"/>
                </a:lnTo>
                <a:lnTo>
                  <a:pt x="742" y="499"/>
                </a:lnTo>
                <a:close/>
                <a:moveTo>
                  <a:pt x="711" y="494"/>
                </a:moveTo>
                <a:lnTo>
                  <a:pt x="711" y="503"/>
                </a:lnTo>
                <a:lnTo>
                  <a:pt x="690" y="501"/>
                </a:lnTo>
                <a:lnTo>
                  <a:pt x="692" y="492"/>
                </a:lnTo>
                <a:lnTo>
                  <a:pt x="711" y="494"/>
                </a:lnTo>
                <a:lnTo>
                  <a:pt x="711" y="494"/>
                </a:lnTo>
                <a:close/>
                <a:moveTo>
                  <a:pt x="683" y="489"/>
                </a:moveTo>
                <a:lnTo>
                  <a:pt x="680" y="499"/>
                </a:lnTo>
                <a:lnTo>
                  <a:pt x="661" y="496"/>
                </a:lnTo>
                <a:lnTo>
                  <a:pt x="661" y="487"/>
                </a:lnTo>
                <a:lnTo>
                  <a:pt x="683" y="489"/>
                </a:lnTo>
                <a:lnTo>
                  <a:pt x="683" y="489"/>
                </a:lnTo>
                <a:close/>
                <a:moveTo>
                  <a:pt x="652" y="484"/>
                </a:moveTo>
                <a:lnTo>
                  <a:pt x="649" y="494"/>
                </a:lnTo>
                <a:lnTo>
                  <a:pt x="631" y="492"/>
                </a:lnTo>
                <a:lnTo>
                  <a:pt x="633" y="480"/>
                </a:lnTo>
                <a:lnTo>
                  <a:pt x="652" y="484"/>
                </a:lnTo>
                <a:lnTo>
                  <a:pt x="652" y="484"/>
                </a:lnTo>
                <a:close/>
                <a:moveTo>
                  <a:pt x="621" y="480"/>
                </a:moveTo>
                <a:lnTo>
                  <a:pt x="621" y="489"/>
                </a:lnTo>
                <a:lnTo>
                  <a:pt x="600" y="484"/>
                </a:lnTo>
                <a:lnTo>
                  <a:pt x="602" y="475"/>
                </a:lnTo>
                <a:lnTo>
                  <a:pt x="621" y="480"/>
                </a:lnTo>
                <a:lnTo>
                  <a:pt x="621" y="480"/>
                </a:lnTo>
                <a:close/>
                <a:moveTo>
                  <a:pt x="593" y="473"/>
                </a:moveTo>
                <a:lnTo>
                  <a:pt x="590" y="484"/>
                </a:lnTo>
                <a:lnTo>
                  <a:pt x="572" y="480"/>
                </a:lnTo>
                <a:lnTo>
                  <a:pt x="572" y="470"/>
                </a:lnTo>
                <a:lnTo>
                  <a:pt x="593" y="473"/>
                </a:lnTo>
                <a:lnTo>
                  <a:pt x="593" y="473"/>
                </a:lnTo>
                <a:close/>
                <a:moveTo>
                  <a:pt x="562" y="468"/>
                </a:moveTo>
                <a:lnTo>
                  <a:pt x="560" y="480"/>
                </a:lnTo>
                <a:lnTo>
                  <a:pt x="541" y="475"/>
                </a:lnTo>
                <a:lnTo>
                  <a:pt x="543" y="466"/>
                </a:lnTo>
                <a:lnTo>
                  <a:pt x="562" y="468"/>
                </a:lnTo>
                <a:lnTo>
                  <a:pt x="562" y="468"/>
                </a:lnTo>
                <a:close/>
                <a:moveTo>
                  <a:pt x="531" y="463"/>
                </a:moveTo>
                <a:lnTo>
                  <a:pt x="531" y="473"/>
                </a:lnTo>
                <a:lnTo>
                  <a:pt x="510" y="470"/>
                </a:lnTo>
                <a:lnTo>
                  <a:pt x="512" y="461"/>
                </a:lnTo>
                <a:lnTo>
                  <a:pt x="531" y="463"/>
                </a:lnTo>
                <a:lnTo>
                  <a:pt x="531" y="463"/>
                </a:lnTo>
                <a:close/>
                <a:moveTo>
                  <a:pt x="503" y="458"/>
                </a:moveTo>
                <a:lnTo>
                  <a:pt x="501" y="468"/>
                </a:lnTo>
                <a:lnTo>
                  <a:pt x="479" y="466"/>
                </a:lnTo>
                <a:lnTo>
                  <a:pt x="482" y="454"/>
                </a:lnTo>
                <a:lnTo>
                  <a:pt x="503" y="458"/>
                </a:lnTo>
                <a:lnTo>
                  <a:pt x="503" y="458"/>
                </a:lnTo>
                <a:close/>
                <a:moveTo>
                  <a:pt x="472" y="454"/>
                </a:moveTo>
                <a:lnTo>
                  <a:pt x="470" y="463"/>
                </a:lnTo>
                <a:lnTo>
                  <a:pt x="451" y="458"/>
                </a:lnTo>
                <a:lnTo>
                  <a:pt x="453" y="449"/>
                </a:lnTo>
                <a:lnTo>
                  <a:pt x="472" y="454"/>
                </a:lnTo>
                <a:lnTo>
                  <a:pt x="472" y="454"/>
                </a:lnTo>
                <a:close/>
                <a:moveTo>
                  <a:pt x="442" y="449"/>
                </a:moveTo>
                <a:lnTo>
                  <a:pt x="442" y="458"/>
                </a:lnTo>
                <a:lnTo>
                  <a:pt x="420" y="454"/>
                </a:lnTo>
                <a:lnTo>
                  <a:pt x="423" y="444"/>
                </a:lnTo>
                <a:lnTo>
                  <a:pt x="442" y="449"/>
                </a:lnTo>
                <a:lnTo>
                  <a:pt x="442" y="449"/>
                </a:lnTo>
                <a:close/>
                <a:moveTo>
                  <a:pt x="413" y="442"/>
                </a:moveTo>
                <a:lnTo>
                  <a:pt x="411" y="454"/>
                </a:lnTo>
                <a:lnTo>
                  <a:pt x="390" y="449"/>
                </a:lnTo>
                <a:lnTo>
                  <a:pt x="392" y="440"/>
                </a:lnTo>
                <a:lnTo>
                  <a:pt x="413" y="442"/>
                </a:lnTo>
                <a:lnTo>
                  <a:pt x="413" y="442"/>
                </a:lnTo>
                <a:close/>
                <a:moveTo>
                  <a:pt x="383" y="437"/>
                </a:moveTo>
                <a:lnTo>
                  <a:pt x="380" y="447"/>
                </a:lnTo>
                <a:lnTo>
                  <a:pt x="361" y="444"/>
                </a:lnTo>
                <a:lnTo>
                  <a:pt x="361" y="435"/>
                </a:lnTo>
                <a:lnTo>
                  <a:pt x="383" y="437"/>
                </a:lnTo>
                <a:lnTo>
                  <a:pt x="383" y="437"/>
                </a:lnTo>
                <a:close/>
                <a:moveTo>
                  <a:pt x="352" y="432"/>
                </a:moveTo>
                <a:lnTo>
                  <a:pt x="349" y="442"/>
                </a:lnTo>
                <a:lnTo>
                  <a:pt x="331" y="440"/>
                </a:lnTo>
                <a:lnTo>
                  <a:pt x="333" y="430"/>
                </a:lnTo>
                <a:lnTo>
                  <a:pt x="352" y="432"/>
                </a:lnTo>
                <a:lnTo>
                  <a:pt x="352" y="432"/>
                </a:lnTo>
                <a:close/>
                <a:moveTo>
                  <a:pt x="324" y="428"/>
                </a:moveTo>
                <a:lnTo>
                  <a:pt x="321" y="437"/>
                </a:lnTo>
                <a:lnTo>
                  <a:pt x="300" y="435"/>
                </a:lnTo>
                <a:lnTo>
                  <a:pt x="302" y="423"/>
                </a:lnTo>
                <a:lnTo>
                  <a:pt x="324" y="428"/>
                </a:lnTo>
                <a:lnTo>
                  <a:pt x="324" y="428"/>
                </a:lnTo>
                <a:close/>
                <a:moveTo>
                  <a:pt x="293" y="423"/>
                </a:moveTo>
                <a:lnTo>
                  <a:pt x="290" y="432"/>
                </a:lnTo>
                <a:lnTo>
                  <a:pt x="272" y="428"/>
                </a:lnTo>
                <a:lnTo>
                  <a:pt x="272" y="418"/>
                </a:lnTo>
                <a:lnTo>
                  <a:pt x="293" y="423"/>
                </a:lnTo>
                <a:lnTo>
                  <a:pt x="293" y="423"/>
                </a:lnTo>
                <a:close/>
                <a:moveTo>
                  <a:pt x="262" y="416"/>
                </a:moveTo>
                <a:lnTo>
                  <a:pt x="260" y="428"/>
                </a:lnTo>
                <a:lnTo>
                  <a:pt x="241" y="423"/>
                </a:lnTo>
                <a:lnTo>
                  <a:pt x="243" y="414"/>
                </a:lnTo>
                <a:lnTo>
                  <a:pt x="262" y="416"/>
                </a:lnTo>
                <a:lnTo>
                  <a:pt x="262" y="416"/>
                </a:lnTo>
                <a:close/>
                <a:moveTo>
                  <a:pt x="231" y="411"/>
                </a:moveTo>
                <a:lnTo>
                  <a:pt x="231" y="421"/>
                </a:lnTo>
                <a:lnTo>
                  <a:pt x="210" y="418"/>
                </a:lnTo>
                <a:lnTo>
                  <a:pt x="212" y="409"/>
                </a:lnTo>
                <a:lnTo>
                  <a:pt x="231" y="411"/>
                </a:lnTo>
                <a:lnTo>
                  <a:pt x="231" y="411"/>
                </a:lnTo>
                <a:close/>
                <a:moveTo>
                  <a:pt x="203" y="406"/>
                </a:moveTo>
                <a:lnTo>
                  <a:pt x="201" y="416"/>
                </a:lnTo>
                <a:lnTo>
                  <a:pt x="182" y="414"/>
                </a:lnTo>
                <a:lnTo>
                  <a:pt x="182" y="404"/>
                </a:lnTo>
                <a:lnTo>
                  <a:pt x="203" y="406"/>
                </a:lnTo>
                <a:lnTo>
                  <a:pt x="203" y="406"/>
                </a:lnTo>
                <a:close/>
                <a:moveTo>
                  <a:pt x="172" y="402"/>
                </a:moveTo>
                <a:lnTo>
                  <a:pt x="170" y="411"/>
                </a:lnTo>
                <a:lnTo>
                  <a:pt x="151" y="409"/>
                </a:lnTo>
                <a:lnTo>
                  <a:pt x="153" y="397"/>
                </a:lnTo>
                <a:lnTo>
                  <a:pt x="172" y="402"/>
                </a:lnTo>
                <a:lnTo>
                  <a:pt x="172" y="402"/>
                </a:lnTo>
                <a:close/>
                <a:moveTo>
                  <a:pt x="142" y="397"/>
                </a:moveTo>
                <a:lnTo>
                  <a:pt x="142" y="406"/>
                </a:lnTo>
                <a:lnTo>
                  <a:pt x="120" y="402"/>
                </a:lnTo>
                <a:lnTo>
                  <a:pt x="123" y="392"/>
                </a:lnTo>
                <a:lnTo>
                  <a:pt x="142" y="397"/>
                </a:lnTo>
                <a:lnTo>
                  <a:pt x="142" y="397"/>
                </a:lnTo>
                <a:close/>
                <a:moveTo>
                  <a:pt x="113" y="392"/>
                </a:moveTo>
                <a:lnTo>
                  <a:pt x="111" y="402"/>
                </a:lnTo>
                <a:lnTo>
                  <a:pt x="92" y="397"/>
                </a:lnTo>
                <a:lnTo>
                  <a:pt x="92" y="388"/>
                </a:lnTo>
                <a:lnTo>
                  <a:pt x="113" y="392"/>
                </a:lnTo>
                <a:lnTo>
                  <a:pt x="113" y="392"/>
                </a:lnTo>
                <a:close/>
                <a:moveTo>
                  <a:pt x="83" y="385"/>
                </a:moveTo>
                <a:lnTo>
                  <a:pt x="80" y="397"/>
                </a:lnTo>
                <a:lnTo>
                  <a:pt x="61" y="392"/>
                </a:lnTo>
                <a:lnTo>
                  <a:pt x="64" y="383"/>
                </a:lnTo>
                <a:lnTo>
                  <a:pt x="83" y="385"/>
                </a:lnTo>
                <a:lnTo>
                  <a:pt x="83" y="385"/>
                </a:lnTo>
                <a:close/>
                <a:moveTo>
                  <a:pt x="52" y="380"/>
                </a:moveTo>
                <a:lnTo>
                  <a:pt x="52" y="390"/>
                </a:lnTo>
                <a:lnTo>
                  <a:pt x="31" y="388"/>
                </a:lnTo>
                <a:lnTo>
                  <a:pt x="33" y="378"/>
                </a:lnTo>
                <a:lnTo>
                  <a:pt x="52" y="380"/>
                </a:lnTo>
                <a:lnTo>
                  <a:pt x="52" y="380"/>
                </a:lnTo>
                <a:close/>
                <a:moveTo>
                  <a:pt x="24" y="376"/>
                </a:moveTo>
                <a:lnTo>
                  <a:pt x="21" y="385"/>
                </a:lnTo>
                <a:lnTo>
                  <a:pt x="0" y="383"/>
                </a:lnTo>
                <a:lnTo>
                  <a:pt x="2" y="373"/>
                </a:lnTo>
                <a:lnTo>
                  <a:pt x="24" y="376"/>
                </a:lnTo>
                <a:lnTo>
                  <a:pt x="24" y="376"/>
                </a:lnTo>
                <a:close/>
              </a:path>
            </a:pathLst>
          </a:custGeom>
          <a:solidFill>
            <a:srgbClr val="A7A8AA"/>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5" name="Freeform 17"/>
          <p:cNvSpPr>
            <a:spLocks noEditPoints="1"/>
          </p:cNvSpPr>
          <p:nvPr/>
        </p:nvSpPr>
        <p:spPr bwMode="auto">
          <a:xfrm>
            <a:off x="2556880" y="2519256"/>
            <a:ext cx="174758" cy="173045"/>
          </a:xfrm>
          <a:custGeom>
            <a:avLst/>
            <a:gdLst/>
            <a:ahLst/>
            <a:cxnLst>
              <a:cxn ang="0">
                <a:pos x="21" y="0"/>
              </a:cxn>
              <a:cxn ang="0">
                <a:pos x="43" y="21"/>
              </a:cxn>
              <a:cxn ang="0">
                <a:pos x="21" y="43"/>
              </a:cxn>
              <a:cxn ang="0">
                <a:pos x="0" y="21"/>
              </a:cxn>
              <a:cxn ang="0">
                <a:pos x="21" y="0"/>
              </a:cxn>
              <a:cxn ang="0">
                <a:pos x="21" y="4"/>
              </a:cxn>
              <a:cxn ang="0">
                <a:pos x="4" y="21"/>
              </a:cxn>
              <a:cxn ang="0">
                <a:pos x="21" y="39"/>
              </a:cxn>
              <a:cxn ang="0">
                <a:pos x="39" y="21"/>
              </a:cxn>
              <a:cxn ang="0">
                <a:pos x="21" y="4"/>
              </a:cxn>
            </a:cxnLst>
            <a:rect l="0" t="0" r="r" b="b"/>
            <a:pathLst>
              <a:path w="43" h="43">
                <a:moveTo>
                  <a:pt x="21" y="0"/>
                </a:moveTo>
                <a:cubicBezTo>
                  <a:pt x="33" y="0"/>
                  <a:pt x="43" y="9"/>
                  <a:pt x="43" y="21"/>
                </a:cubicBezTo>
                <a:cubicBezTo>
                  <a:pt x="43" y="33"/>
                  <a:pt x="33" y="43"/>
                  <a:pt x="21" y="43"/>
                </a:cubicBezTo>
                <a:cubicBezTo>
                  <a:pt x="10" y="43"/>
                  <a:pt x="0" y="33"/>
                  <a:pt x="0" y="21"/>
                </a:cubicBezTo>
                <a:cubicBezTo>
                  <a:pt x="0" y="9"/>
                  <a:pt x="10" y="0"/>
                  <a:pt x="21" y="0"/>
                </a:cubicBezTo>
                <a:close/>
                <a:moveTo>
                  <a:pt x="21" y="4"/>
                </a:moveTo>
                <a:cubicBezTo>
                  <a:pt x="12" y="4"/>
                  <a:pt x="4" y="12"/>
                  <a:pt x="4" y="21"/>
                </a:cubicBezTo>
                <a:cubicBezTo>
                  <a:pt x="4" y="31"/>
                  <a:pt x="12" y="39"/>
                  <a:pt x="21" y="39"/>
                </a:cubicBezTo>
                <a:cubicBezTo>
                  <a:pt x="31" y="39"/>
                  <a:pt x="39" y="31"/>
                  <a:pt x="39" y="21"/>
                </a:cubicBezTo>
                <a:cubicBezTo>
                  <a:pt x="39" y="12"/>
                  <a:pt x="31" y="4"/>
                  <a:pt x="21" y="4"/>
                </a:cubicBezTo>
                <a:close/>
              </a:path>
            </a:pathLst>
          </a:custGeom>
          <a:solidFill>
            <a:srgbClr val="1E415A"/>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66" name="Oval 18"/>
          <p:cNvSpPr>
            <a:spLocks noChangeArrowheads="1"/>
          </p:cNvSpPr>
          <p:nvPr/>
        </p:nvSpPr>
        <p:spPr bwMode="auto">
          <a:xfrm>
            <a:off x="2597999" y="2558662"/>
            <a:ext cx="92518" cy="94233"/>
          </a:xfrm>
          <a:prstGeom prst="ellipse">
            <a:avLst/>
          </a:prstGeom>
          <a:solidFill>
            <a:srgbClr val="1E415A"/>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67" name="Freeform 19"/>
          <p:cNvSpPr>
            <a:spLocks noEditPoints="1"/>
          </p:cNvSpPr>
          <p:nvPr/>
        </p:nvSpPr>
        <p:spPr bwMode="auto">
          <a:xfrm>
            <a:off x="4294172" y="2819084"/>
            <a:ext cx="173045" cy="173045"/>
          </a:xfrm>
          <a:custGeom>
            <a:avLst/>
            <a:gdLst/>
            <a:ahLst/>
            <a:cxnLst>
              <a:cxn ang="0">
                <a:pos x="21" y="0"/>
              </a:cxn>
              <a:cxn ang="0">
                <a:pos x="43" y="21"/>
              </a:cxn>
              <a:cxn ang="0">
                <a:pos x="21" y="43"/>
              </a:cxn>
              <a:cxn ang="0">
                <a:pos x="0" y="21"/>
              </a:cxn>
              <a:cxn ang="0">
                <a:pos x="21" y="0"/>
              </a:cxn>
              <a:cxn ang="0">
                <a:pos x="21" y="4"/>
              </a:cxn>
              <a:cxn ang="0">
                <a:pos x="4" y="21"/>
              </a:cxn>
              <a:cxn ang="0">
                <a:pos x="21" y="38"/>
              </a:cxn>
              <a:cxn ang="0">
                <a:pos x="39" y="21"/>
              </a:cxn>
              <a:cxn ang="0">
                <a:pos x="21" y="4"/>
              </a:cxn>
            </a:cxnLst>
            <a:rect l="0" t="0" r="r" b="b"/>
            <a:pathLst>
              <a:path w="43" h="43">
                <a:moveTo>
                  <a:pt x="21" y="0"/>
                </a:moveTo>
                <a:cubicBezTo>
                  <a:pt x="33" y="0"/>
                  <a:pt x="43" y="9"/>
                  <a:pt x="43" y="21"/>
                </a:cubicBezTo>
                <a:cubicBezTo>
                  <a:pt x="43" y="33"/>
                  <a:pt x="33" y="43"/>
                  <a:pt x="21" y="43"/>
                </a:cubicBezTo>
                <a:cubicBezTo>
                  <a:pt x="10" y="43"/>
                  <a:pt x="0" y="33"/>
                  <a:pt x="0" y="21"/>
                </a:cubicBezTo>
                <a:cubicBezTo>
                  <a:pt x="0" y="9"/>
                  <a:pt x="10" y="0"/>
                  <a:pt x="21" y="0"/>
                </a:cubicBezTo>
                <a:close/>
                <a:moveTo>
                  <a:pt x="21" y="4"/>
                </a:moveTo>
                <a:cubicBezTo>
                  <a:pt x="12" y="4"/>
                  <a:pt x="4" y="12"/>
                  <a:pt x="4" y="21"/>
                </a:cubicBezTo>
                <a:cubicBezTo>
                  <a:pt x="4" y="31"/>
                  <a:pt x="12" y="38"/>
                  <a:pt x="21" y="38"/>
                </a:cubicBezTo>
                <a:cubicBezTo>
                  <a:pt x="31" y="38"/>
                  <a:pt x="39" y="31"/>
                  <a:pt x="39" y="21"/>
                </a:cubicBezTo>
                <a:cubicBezTo>
                  <a:pt x="39" y="12"/>
                  <a:pt x="31" y="4"/>
                  <a:pt x="21" y="4"/>
                </a:cubicBezTo>
                <a:close/>
              </a:path>
            </a:pathLst>
          </a:custGeom>
          <a:solidFill>
            <a:srgbClr val="2F496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8" name="Oval 20"/>
          <p:cNvSpPr>
            <a:spLocks noChangeArrowheads="1"/>
          </p:cNvSpPr>
          <p:nvPr/>
        </p:nvSpPr>
        <p:spPr bwMode="auto">
          <a:xfrm>
            <a:off x="4333579" y="2855065"/>
            <a:ext cx="94233" cy="95944"/>
          </a:xfrm>
          <a:prstGeom prst="ellipse">
            <a:avLst/>
          </a:prstGeom>
          <a:solidFill>
            <a:srgbClr val="2F496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9" name="Freeform 21"/>
          <p:cNvSpPr>
            <a:spLocks noEditPoints="1"/>
          </p:cNvSpPr>
          <p:nvPr/>
        </p:nvSpPr>
        <p:spPr bwMode="auto">
          <a:xfrm>
            <a:off x="6021186" y="1996699"/>
            <a:ext cx="174758" cy="178183"/>
          </a:xfrm>
          <a:custGeom>
            <a:avLst/>
            <a:gdLst/>
            <a:ahLst/>
            <a:cxnLst>
              <a:cxn ang="0">
                <a:pos x="21" y="0"/>
              </a:cxn>
              <a:cxn ang="0">
                <a:pos x="43" y="22"/>
              </a:cxn>
              <a:cxn ang="0">
                <a:pos x="21" y="44"/>
              </a:cxn>
              <a:cxn ang="0">
                <a:pos x="0" y="22"/>
              </a:cxn>
              <a:cxn ang="0">
                <a:pos x="21" y="0"/>
              </a:cxn>
              <a:cxn ang="0">
                <a:pos x="21" y="5"/>
              </a:cxn>
              <a:cxn ang="0">
                <a:pos x="4" y="22"/>
              </a:cxn>
              <a:cxn ang="0">
                <a:pos x="21" y="39"/>
              </a:cxn>
              <a:cxn ang="0">
                <a:pos x="38" y="22"/>
              </a:cxn>
              <a:cxn ang="0">
                <a:pos x="21" y="5"/>
              </a:cxn>
            </a:cxnLst>
            <a:rect l="0" t="0" r="r" b="b"/>
            <a:pathLst>
              <a:path w="43" h="44">
                <a:moveTo>
                  <a:pt x="21" y="0"/>
                </a:moveTo>
                <a:cubicBezTo>
                  <a:pt x="33" y="0"/>
                  <a:pt x="43" y="10"/>
                  <a:pt x="43" y="22"/>
                </a:cubicBezTo>
                <a:cubicBezTo>
                  <a:pt x="43" y="34"/>
                  <a:pt x="33" y="44"/>
                  <a:pt x="21" y="44"/>
                </a:cubicBezTo>
                <a:cubicBezTo>
                  <a:pt x="9" y="44"/>
                  <a:pt x="0" y="34"/>
                  <a:pt x="0" y="22"/>
                </a:cubicBezTo>
                <a:cubicBezTo>
                  <a:pt x="0" y="10"/>
                  <a:pt x="9" y="0"/>
                  <a:pt x="21" y="0"/>
                </a:cubicBezTo>
                <a:close/>
                <a:moveTo>
                  <a:pt x="21" y="5"/>
                </a:moveTo>
                <a:cubicBezTo>
                  <a:pt x="12" y="5"/>
                  <a:pt x="4" y="12"/>
                  <a:pt x="4" y="22"/>
                </a:cubicBezTo>
                <a:cubicBezTo>
                  <a:pt x="4" y="32"/>
                  <a:pt x="12" y="39"/>
                  <a:pt x="21" y="39"/>
                </a:cubicBezTo>
                <a:cubicBezTo>
                  <a:pt x="31" y="39"/>
                  <a:pt x="38" y="32"/>
                  <a:pt x="38" y="22"/>
                </a:cubicBezTo>
                <a:cubicBezTo>
                  <a:pt x="38" y="12"/>
                  <a:pt x="31" y="5"/>
                  <a:pt x="21" y="5"/>
                </a:cubicBezTo>
                <a:close/>
              </a:path>
            </a:pathLst>
          </a:custGeom>
          <a:solidFill>
            <a:srgbClr val="365F82"/>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70" name="Oval 22"/>
          <p:cNvSpPr>
            <a:spLocks noChangeArrowheads="1"/>
          </p:cNvSpPr>
          <p:nvPr/>
        </p:nvSpPr>
        <p:spPr bwMode="auto">
          <a:xfrm>
            <a:off x="6062306" y="2037818"/>
            <a:ext cx="92518" cy="95944"/>
          </a:xfrm>
          <a:prstGeom prst="ellipse">
            <a:avLst/>
          </a:prstGeom>
          <a:solidFill>
            <a:srgbClr val="365F82"/>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71" name="Freeform 23"/>
          <p:cNvSpPr>
            <a:spLocks noEditPoints="1"/>
          </p:cNvSpPr>
          <p:nvPr/>
        </p:nvSpPr>
        <p:spPr bwMode="auto">
          <a:xfrm>
            <a:off x="7756767" y="1892184"/>
            <a:ext cx="174758" cy="173045"/>
          </a:xfrm>
          <a:custGeom>
            <a:avLst/>
            <a:gdLst/>
            <a:ahLst/>
            <a:cxnLst>
              <a:cxn ang="0">
                <a:pos x="22" y="0"/>
              </a:cxn>
              <a:cxn ang="0">
                <a:pos x="43" y="22"/>
              </a:cxn>
              <a:cxn ang="0">
                <a:pos x="22" y="43"/>
              </a:cxn>
              <a:cxn ang="0">
                <a:pos x="0" y="22"/>
              </a:cxn>
              <a:cxn ang="0">
                <a:pos x="22" y="0"/>
              </a:cxn>
              <a:cxn ang="0">
                <a:pos x="22" y="4"/>
              </a:cxn>
              <a:cxn ang="0">
                <a:pos x="4" y="22"/>
              </a:cxn>
              <a:cxn ang="0">
                <a:pos x="22" y="39"/>
              </a:cxn>
              <a:cxn ang="0">
                <a:pos x="39" y="22"/>
              </a:cxn>
              <a:cxn ang="0">
                <a:pos x="22" y="4"/>
              </a:cxn>
            </a:cxnLst>
            <a:rect l="0" t="0" r="r" b="b"/>
            <a:pathLst>
              <a:path w="43" h="43">
                <a:moveTo>
                  <a:pt x="22" y="0"/>
                </a:moveTo>
                <a:cubicBezTo>
                  <a:pt x="33" y="0"/>
                  <a:pt x="43" y="10"/>
                  <a:pt x="43" y="22"/>
                </a:cubicBezTo>
                <a:cubicBezTo>
                  <a:pt x="43" y="33"/>
                  <a:pt x="33" y="43"/>
                  <a:pt x="22" y="43"/>
                </a:cubicBezTo>
                <a:cubicBezTo>
                  <a:pt x="10" y="43"/>
                  <a:pt x="0" y="33"/>
                  <a:pt x="0" y="22"/>
                </a:cubicBezTo>
                <a:cubicBezTo>
                  <a:pt x="0" y="10"/>
                  <a:pt x="10" y="0"/>
                  <a:pt x="22" y="0"/>
                </a:cubicBezTo>
                <a:close/>
                <a:moveTo>
                  <a:pt x="22" y="4"/>
                </a:moveTo>
                <a:cubicBezTo>
                  <a:pt x="12" y="4"/>
                  <a:pt x="4" y="12"/>
                  <a:pt x="4" y="22"/>
                </a:cubicBezTo>
                <a:cubicBezTo>
                  <a:pt x="4" y="31"/>
                  <a:pt x="12" y="39"/>
                  <a:pt x="22" y="39"/>
                </a:cubicBezTo>
                <a:cubicBezTo>
                  <a:pt x="31" y="39"/>
                  <a:pt x="39" y="31"/>
                  <a:pt x="39" y="22"/>
                </a:cubicBezTo>
                <a:cubicBezTo>
                  <a:pt x="39" y="12"/>
                  <a:pt x="31" y="4"/>
                  <a:pt x="22" y="4"/>
                </a:cubicBezTo>
                <a:close/>
              </a:path>
            </a:pathLst>
          </a:custGeom>
          <a:solidFill>
            <a:srgbClr val="00ABAB"/>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72" name="Oval 24"/>
          <p:cNvSpPr>
            <a:spLocks noChangeArrowheads="1"/>
          </p:cNvSpPr>
          <p:nvPr/>
        </p:nvSpPr>
        <p:spPr bwMode="auto">
          <a:xfrm>
            <a:off x="7797886" y="1931593"/>
            <a:ext cx="92518" cy="94233"/>
          </a:xfrm>
          <a:prstGeom prst="ellipse">
            <a:avLst/>
          </a:prstGeom>
          <a:solidFill>
            <a:srgbClr val="00ABAB"/>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73" name="Freeform 25"/>
          <p:cNvSpPr>
            <a:spLocks noEditPoints="1"/>
          </p:cNvSpPr>
          <p:nvPr/>
        </p:nvSpPr>
        <p:spPr bwMode="auto">
          <a:xfrm>
            <a:off x="9485493" y="2222854"/>
            <a:ext cx="174758" cy="174758"/>
          </a:xfrm>
          <a:custGeom>
            <a:avLst/>
            <a:gdLst/>
            <a:ahLst/>
            <a:cxnLst>
              <a:cxn ang="0">
                <a:pos x="22" y="0"/>
              </a:cxn>
              <a:cxn ang="0">
                <a:pos x="43" y="21"/>
              </a:cxn>
              <a:cxn ang="0">
                <a:pos x="22" y="43"/>
              </a:cxn>
              <a:cxn ang="0">
                <a:pos x="0" y="21"/>
              </a:cxn>
              <a:cxn ang="0">
                <a:pos x="22" y="0"/>
              </a:cxn>
              <a:cxn ang="0">
                <a:pos x="22" y="4"/>
              </a:cxn>
              <a:cxn ang="0">
                <a:pos x="4" y="21"/>
              </a:cxn>
              <a:cxn ang="0">
                <a:pos x="22" y="39"/>
              </a:cxn>
              <a:cxn ang="0">
                <a:pos x="39" y="21"/>
              </a:cxn>
              <a:cxn ang="0">
                <a:pos x="22" y="4"/>
              </a:cxn>
            </a:cxnLst>
            <a:rect l="0" t="0" r="r" b="b"/>
            <a:pathLst>
              <a:path w="43" h="43">
                <a:moveTo>
                  <a:pt x="22" y="0"/>
                </a:moveTo>
                <a:cubicBezTo>
                  <a:pt x="33" y="0"/>
                  <a:pt x="43" y="9"/>
                  <a:pt x="43" y="21"/>
                </a:cubicBezTo>
                <a:cubicBezTo>
                  <a:pt x="43" y="33"/>
                  <a:pt x="33" y="43"/>
                  <a:pt x="22" y="43"/>
                </a:cubicBezTo>
                <a:cubicBezTo>
                  <a:pt x="10" y="43"/>
                  <a:pt x="0" y="33"/>
                  <a:pt x="0" y="21"/>
                </a:cubicBezTo>
                <a:cubicBezTo>
                  <a:pt x="0" y="9"/>
                  <a:pt x="10" y="0"/>
                  <a:pt x="22" y="0"/>
                </a:cubicBezTo>
                <a:close/>
                <a:moveTo>
                  <a:pt x="22" y="4"/>
                </a:moveTo>
                <a:cubicBezTo>
                  <a:pt x="12" y="4"/>
                  <a:pt x="4" y="12"/>
                  <a:pt x="4" y="21"/>
                </a:cubicBezTo>
                <a:cubicBezTo>
                  <a:pt x="4" y="31"/>
                  <a:pt x="12" y="39"/>
                  <a:pt x="22" y="39"/>
                </a:cubicBezTo>
                <a:cubicBezTo>
                  <a:pt x="31" y="39"/>
                  <a:pt x="39" y="31"/>
                  <a:pt x="39" y="21"/>
                </a:cubicBezTo>
                <a:cubicBezTo>
                  <a:pt x="39" y="12"/>
                  <a:pt x="31" y="4"/>
                  <a:pt x="22" y="4"/>
                </a:cubicBezTo>
                <a:close/>
              </a:path>
            </a:pathLst>
          </a:custGeom>
          <a:solidFill>
            <a:srgbClr val="243C5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74" name="Oval 26"/>
          <p:cNvSpPr>
            <a:spLocks noChangeArrowheads="1"/>
          </p:cNvSpPr>
          <p:nvPr/>
        </p:nvSpPr>
        <p:spPr bwMode="auto">
          <a:xfrm>
            <a:off x="9526613" y="2263973"/>
            <a:ext cx="92518" cy="92518"/>
          </a:xfrm>
          <a:prstGeom prst="ellipse">
            <a:avLst/>
          </a:prstGeom>
          <a:solidFill>
            <a:srgbClr val="243C5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120" name="Freeform 72"/>
          <p:cNvSpPr>
            <a:spLocks/>
          </p:cNvSpPr>
          <p:nvPr/>
        </p:nvSpPr>
        <p:spPr bwMode="auto">
          <a:xfrm>
            <a:off x="1974356" y="4020113"/>
            <a:ext cx="457454" cy="635637"/>
          </a:xfrm>
          <a:custGeom>
            <a:avLst/>
            <a:gdLst/>
            <a:ahLst/>
            <a:cxnLst>
              <a:cxn ang="0">
                <a:pos x="113" y="57"/>
              </a:cxn>
              <a:cxn ang="0">
                <a:pos x="74" y="110"/>
              </a:cxn>
              <a:cxn ang="0">
                <a:pos x="57" y="157"/>
              </a:cxn>
              <a:cxn ang="0">
                <a:pos x="40" y="110"/>
              </a:cxn>
              <a:cxn ang="0">
                <a:pos x="0" y="57"/>
              </a:cxn>
              <a:cxn ang="0">
                <a:pos x="57" y="0"/>
              </a:cxn>
              <a:cxn ang="0">
                <a:pos x="113" y="57"/>
              </a:cxn>
            </a:cxnLst>
            <a:rect l="0" t="0" r="r" b="b"/>
            <a:pathLst>
              <a:path w="113" h="157">
                <a:moveTo>
                  <a:pt x="113" y="57"/>
                </a:moveTo>
                <a:cubicBezTo>
                  <a:pt x="113" y="82"/>
                  <a:pt x="96" y="103"/>
                  <a:pt x="74" y="110"/>
                </a:cubicBezTo>
                <a:cubicBezTo>
                  <a:pt x="57" y="157"/>
                  <a:pt x="57" y="157"/>
                  <a:pt x="57" y="157"/>
                </a:cubicBezTo>
                <a:cubicBezTo>
                  <a:pt x="40" y="110"/>
                  <a:pt x="40" y="110"/>
                  <a:pt x="40" y="110"/>
                </a:cubicBezTo>
                <a:cubicBezTo>
                  <a:pt x="17" y="103"/>
                  <a:pt x="0" y="82"/>
                  <a:pt x="0" y="57"/>
                </a:cubicBezTo>
                <a:cubicBezTo>
                  <a:pt x="0" y="26"/>
                  <a:pt x="26" y="0"/>
                  <a:pt x="57" y="0"/>
                </a:cubicBezTo>
                <a:cubicBezTo>
                  <a:pt x="88" y="0"/>
                  <a:pt x="113" y="26"/>
                  <a:pt x="113" y="57"/>
                </a:cubicBezTo>
                <a:close/>
              </a:path>
            </a:pathLst>
          </a:custGeom>
          <a:solidFill>
            <a:schemeClr val="bg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122" name="Freeform 74"/>
          <p:cNvSpPr>
            <a:spLocks/>
          </p:cNvSpPr>
          <p:nvPr/>
        </p:nvSpPr>
        <p:spPr bwMode="auto">
          <a:xfrm>
            <a:off x="3723641" y="4020114"/>
            <a:ext cx="452315" cy="635637"/>
          </a:xfrm>
          <a:custGeom>
            <a:avLst/>
            <a:gdLst/>
            <a:ahLst/>
            <a:cxnLst>
              <a:cxn ang="0">
                <a:pos x="112" y="57"/>
              </a:cxn>
              <a:cxn ang="0">
                <a:pos x="73" y="110"/>
              </a:cxn>
              <a:cxn ang="0">
                <a:pos x="56" y="157"/>
              </a:cxn>
              <a:cxn ang="0">
                <a:pos x="39" y="110"/>
              </a:cxn>
              <a:cxn ang="0">
                <a:pos x="0" y="57"/>
              </a:cxn>
              <a:cxn ang="0">
                <a:pos x="56" y="0"/>
              </a:cxn>
              <a:cxn ang="0">
                <a:pos x="112" y="57"/>
              </a:cxn>
            </a:cxnLst>
            <a:rect l="0" t="0" r="r" b="b"/>
            <a:pathLst>
              <a:path w="112" h="157">
                <a:moveTo>
                  <a:pt x="112" y="57"/>
                </a:moveTo>
                <a:cubicBezTo>
                  <a:pt x="112" y="82"/>
                  <a:pt x="96" y="103"/>
                  <a:pt x="73" y="110"/>
                </a:cubicBezTo>
                <a:cubicBezTo>
                  <a:pt x="56" y="157"/>
                  <a:pt x="56" y="157"/>
                  <a:pt x="56" y="157"/>
                </a:cubicBezTo>
                <a:cubicBezTo>
                  <a:pt x="39" y="110"/>
                  <a:pt x="39" y="110"/>
                  <a:pt x="39" y="110"/>
                </a:cubicBezTo>
                <a:cubicBezTo>
                  <a:pt x="16" y="103"/>
                  <a:pt x="0" y="82"/>
                  <a:pt x="0" y="57"/>
                </a:cubicBezTo>
                <a:cubicBezTo>
                  <a:pt x="0" y="26"/>
                  <a:pt x="25" y="0"/>
                  <a:pt x="56" y="0"/>
                </a:cubicBezTo>
                <a:cubicBezTo>
                  <a:pt x="87" y="0"/>
                  <a:pt x="112" y="26"/>
                  <a:pt x="112" y="57"/>
                </a:cubicBezTo>
                <a:close/>
              </a:path>
            </a:pathLst>
          </a:custGeom>
          <a:solidFill>
            <a:schemeClr val="bg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124" name="Freeform 76"/>
          <p:cNvSpPr>
            <a:spLocks/>
          </p:cNvSpPr>
          <p:nvPr/>
        </p:nvSpPr>
        <p:spPr bwMode="auto">
          <a:xfrm>
            <a:off x="5447227" y="4020116"/>
            <a:ext cx="452315" cy="635638"/>
          </a:xfrm>
          <a:custGeom>
            <a:avLst/>
            <a:gdLst/>
            <a:ahLst/>
            <a:cxnLst>
              <a:cxn ang="0">
                <a:pos x="112" y="57"/>
              </a:cxn>
              <a:cxn ang="0">
                <a:pos x="73" y="110"/>
              </a:cxn>
              <a:cxn ang="0">
                <a:pos x="56" y="157"/>
              </a:cxn>
              <a:cxn ang="0">
                <a:pos x="39" y="110"/>
              </a:cxn>
              <a:cxn ang="0">
                <a:pos x="0" y="57"/>
              </a:cxn>
              <a:cxn ang="0">
                <a:pos x="56" y="0"/>
              </a:cxn>
              <a:cxn ang="0">
                <a:pos x="112" y="57"/>
              </a:cxn>
            </a:cxnLst>
            <a:rect l="0" t="0" r="r" b="b"/>
            <a:pathLst>
              <a:path w="112" h="157">
                <a:moveTo>
                  <a:pt x="112" y="57"/>
                </a:moveTo>
                <a:cubicBezTo>
                  <a:pt x="112" y="82"/>
                  <a:pt x="96" y="103"/>
                  <a:pt x="73" y="110"/>
                </a:cubicBezTo>
                <a:cubicBezTo>
                  <a:pt x="56" y="157"/>
                  <a:pt x="56" y="157"/>
                  <a:pt x="56" y="157"/>
                </a:cubicBezTo>
                <a:cubicBezTo>
                  <a:pt x="39" y="110"/>
                  <a:pt x="39" y="110"/>
                  <a:pt x="39" y="110"/>
                </a:cubicBezTo>
                <a:cubicBezTo>
                  <a:pt x="16" y="103"/>
                  <a:pt x="0" y="82"/>
                  <a:pt x="0" y="57"/>
                </a:cubicBezTo>
                <a:cubicBezTo>
                  <a:pt x="0" y="26"/>
                  <a:pt x="25" y="0"/>
                  <a:pt x="56" y="0"/>
                </a:cubicBezTo>
                <a:cubicBezTo>
                  <a:pt x="87" y="0"/>
                  <a:pt x="112" y="26"/>
                  <a:pt x="112" y="57"/>
                </a:cubicBezTo>
                <a:close/>
              </a:path>
            </a:pathLst>
          </a:custGeom>
          <a:solidFill>
            <a:schemeClr val="bg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126" name="Freeform 78"/>
          <p:cNvSpPr>
            <a:spLocks/>
          </p:cNvSpPr>
          <p:nvPr/>
        </p:nvSpPr>
        <p:spPr bwMode="auto">
          <a:xfrm>
            <a:off x="7191376" y="4020116"/>
            <a:ext cx="452315" cy="635638"/>
          </a:xfrm>
          <a:custGeom>
            <a:avLst/>
            <a:gdLst/>
            <a:ahLst/>
            <a:cxnLst>
              <a:cxn ang="0">
                <a:pos x="112" y="57"/>
              </a:cxn>
              <a:cxn ang="0">
                <a:pos x="73" y="110"/>
              </a:cxn>
              <a:cxn ang="0">
                <a:pos x="56" y="157"/>
              </a:cxn>
              <a:cxn ang="0">
                <a:pos x="39" y="110"/>
              </a:cxn>
              <a:cxn ang="0">
                <a:pos x="0" y="57"/>
              </a:cxn>
              <a:cxn ang="0">
                <a:pos x="56" y="0"/>
              </a:cxn>
              <a:cxn ang="0">
                <a:pos x="112" y="57"/>
              </a:cxn>
            </a:cxnLst>
            <a:rect l="0" t="0" r="r" b="b"/>
            <a:pathLst>
              <a:path w="112" h="157">
                <a:moveTo>
                  <a:pt x="112" y="57"/>
                </a:moveTo>
                <a:cubicBezTo>
                  <a:pt x="112" y="82"/>
                  <a:pt x="96" y="103"/>
                  <a:pt x="73" y="110"/>
                </a:cubicBezTo>
                <a:cubicBezTo>
                  <a:pt x="56" y="157"/>
                  <a:pt x="56" y="157"/>
                  <a:pt x="56" y="157"/>
                </a:cubicBezTo>
                <a:cubicBezTo>
                  <a:pt x="39" y="110"/>
                  <a:pt x="39" y="110"/>
                  <a:pt x="39" y="110"/>
                </a:cubicBezTo>
                <a:cubicBezTo>
                  <a:pt x="16" y="103"/>
                  <a:pt x="0" y="82"/>
                  <a:pt x="0" y="57"/>
                </a:cubicBezTo>
                <a:cubicBezTo>
                  <a:pt x="0" y="26"/>
                  <a:pt x="25" y="0"/>
                  <a:pt x="56" y="0"/>
                </a:cubicBezTo>
                <a:cubicBezTo>
                  <a:pt x="87" y="0"/>
                  <a:pt x="112" y="26"/>
                  <a:pt x="112" y="57"/>
                </a:cubicBezTo>
                <a:close/>
              </a:path>
            </a:pathLst>
          </a:custGeom>
          <a:solidFill>
            <a:schemeClr val="bg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128" name="Freeform 80"/>
          <p:cNvSpPr>
            <a:spLocks/>
          </p:cNvSpPr>
          <p:nvPr/>
        </p:nvSpPr>
        <p:spPr bwMode="auto">
          <a:xfrm>
            <a:off x="8914961" y="4020117"/>
            <a:ext cx="454027" cy="635638"/>
          </a:xfrm>
          <a:custGeom>
            <a:avLst/>
            <a:gdLst/>
            <a:ahLst/>
            <a:cxnLst>
              <a:cxn ang="0">
                <a:pos x="112" y="57"/>
              </a:cxn>
              <a:cxn ang="0">
                <a:pos x="73" y="110"/>
              </a:cxn>
              <a:cxn ang="0">
                <a:pos x="56" y="157"/>
              </a:cxn>
              <a:cxn ang="0">
                <a:pos x="39" y="110"/>
              </a:cxn>
              <a:cxn ang="0">
                <a:pos x="0" y="57"/>
              </a:cxn>
              <a:cxn ang="0">
                <a:pos x="56" y="0"/>
              </a:cxn>
              <a:cxn ang="0">
                <a:pos x="112" y="57"/>
              </a:cxn>
            </a:cxnLst>
            <a:rect l="0" t="0" r="r" b="b"/>
            <a:pathLst>
              <a:path w="112" h="157">
                <a:moveTo>
                  <a:pt x="112" y="57"/>
                </a:moveTo>
                <a:cubicBezTo>
                  <a:pt x="112" y="82"/>
                  <a:pt x="96" y="103"/>
                  <a:pt x="73" y="110"/>
                </a:cubicBezTo>
                <a:cubicBezTo>
                  <a:pt x="56" y="157"/>
                  <a:pt x="56" y="157"/>
                  <a:pt x="56" y="157"/>
                </a:cubicBezTo>
                <a:cubicBezTo>
                  <a:pt x="39" y="110"/>
                  <a:pt x="39" y="110"/>
                  <a:pt x="39" y="110"/>
                </a:cubicBezTo>
                <a:cubicBezTo>
                  <a:pt x="16" y="103"/>
                  <a:pt x="0" y="82"/>
                  <a:pt x="0" y="57"/>
                </a:cubicBezTo>
                <a:cubicBezTo>
                  <a:pt x="0" y="26"/>
                  <a:pt x="25" y="0"/>
                  <a:pt x="56" y="0"/>
                </a:cubicBezTo>
                <a:cubicBezTo>
                  <a:pt x="87" y="0"/>
                  <a:pt x="112" y="26"/>
                  <a:pt x="112" y="57"/>
                </a:cubicBezTo>
                <a:close/>
              </a:path>
            </a:pathLst>
          </a:custGeom>
          <a:solidFill>
            <a:schemeClr val="bg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157" name="Freeform 141"/>
          <p:cNvSpPr>
            <a:spLocks noChangeAspect="1" noEditPoints="1"/>
          </p:cNvSpPr>
          <p:nvPr/>
        </p:nvSpPr>
        <p:spPr bwMode="auto">
          <a:xfrm>
            <a:off x="8975684" y="4073410"/>
            <a:ext cx="333508" cy="333509"/>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rgbClr val="6FC2B4"/>
          </a:solidFill>
          <a:ln>
            <a:noFill/>
          </a:ln>
        </p:spPr>
        <p:txBody>
          <a:bodyPr vert="horz" wrap="square" lIns="82953" tIns="41476" rIns="82953" bIns="41476" numCol="1" anchor="t" anchorCtr="0" compatLnSpc="1">
            <a:prstTxWarp prst="textNoShape">
              <a:avLst/>
            </a:prstTxWarp>
          </a:bodyPr>
          <a:lstStyle/>
          <a:p>
            <a:endParaRPr lang="en-GB" sz="1633"/>
          </a:p>
        </p:txBody>
      </p:sp>
      <p:sp>
        <p:nvSpPr>
          <p:cNvPr id="164" name="Freeform 429"/>
          <p:cNvSpPr>
            <a:spLocks noChangeAspect="1" noEditPoints="1"/>
          </p:cNvSpPr>
          <p:nvPr/>
        </p:nvSpPr>
        <p:spPr bwMode="auto">
          <a:xfrm>
            <a:off x="2048556" y="4073410"/>
            <a:ext cx="334769" cy="33575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7 w 512"/>
              <a:gd name="T11" fmla="*/ 245 h 512"/>
              <a:gd name="T12" fmla="*/ 277 w 512"/>
              <a:gd name="T13" fmla="*/ 245 h 512"/>
              <a:gd name="T14" fmla="*/ 288 w 512"/>
              <a:gd name="T15" fmla="*/ 256 h 512"/>
              <a:gd name="T16" fmla="*/ 277 w 512"/>
              <a:gd name="T17" fmla="*/ 266 h 512"/>
              <a:gd name="T18" fmla="*/ 220 w 512"/>
              <a:gd name="T19" fmla="*/ 266 h 512"/>
              <a:gd name="T20" fmla="*/ 181 w 512"/>
              <a:gd name="T21" fmla="*/ 394 h 512"/>
              <a:gd name="T22" fmla="*/ 341 w 512"/>
              <a:gd name="T23" fmla="*/ 394 h 512"/>
              <a:gd name="T24" fmla="*/ 352 w 512"/>
              <a:gd name="T25" fmla="*/ 405 h 512"/>
              <a:gd name="T26" fmla="*/ 341 w 512"/>
              <a:gd name="T27" fmla="*/ 416 h 512"/>
              <a:gd name="T28" fmla="*/ 160 w 512"/>
              <a:gd name="T29" fmla="*/ 416 h 512"/>
              <a:gd name="T30" fmla="*/ 150 w 512"/>
              <a:gd name="T31" fmla="*/ 410 h 512"/>
              <a:gd name="T32" fmla="*/ 151 w 512"/>
              <a:gd name="T33" fmla="*/ 399 h 512"/>
              <a:gd name="T34" fmla="*/ 156 w 512"/>
              <a:gd name="T35" fmla="*/ 392 h 512"/>
              <a:gd name="T36" fmla="*/ 197 w 512"/>
              <a:gd name="T37" fmla="*/ 266 h 512"/>
              <a:gd name="T38" fmla="*/ 149 w 512"/>
              <a:gd name="T39" fmla="*/ 266 h 512"/>
              <a:gd name="T40" fmla="*/ 138 w 512"/>
              <a:gd name="T41" fmla="*/ 256 h 512"/>
              <a:gd name="T42" fmla="*/ 149 w 512"/>
              <a:gd name="T43" fmla="*/ 245 h 512"/>
              <a:gd name="T44" fmla="*/ 178 w 512"/>
              <a:gd name="T45" fmla="*/ 245 h 512"/>
              <a:gd name="T46" fmla="*/ 160 w 512"/>
              <a:gd name="T47" fmla="*/ 192 h 512"/>
              <a:gd name="T48" fmla="*/ 256 w 512"/>
              <a:gd name="T49" fmla="*/ 96 h 512"/>
              <a:gd name="T50" fmla="*/ 352 w 512"/>
              <a:gd name="T51" fmla="*/ 192 h 512"/>
              <a:gd name="T52" fmla="*/ 341 w 512"/>
              <a:gd name="T53" fmla="*/ 202 h 512"/>
              <a:gd name="T54" fmla="*/ 330 w 512"/>
              <a:gd name="T55" fmla="*/ 192 h 512"/>
              <a:gd name="T56" fmla="*/ 256 w 512"/>
              <a:gd name="T57" fmla="*/ 117 h 512"/>
              <a:gd name="T58" fmla="*/ 181 w 512"/>
              <a:gd name="T59" fmla="*/ 192 h 512"/>
              <a:gd name="T60" fmla="*/ 207 w 512"/>
              <a:gd name="T6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7" y="245"/>
                </a:moveTo>
                <a:cubicBezTo>
                  <a:pt x="277" y="245"/>
                  <a:pt x="277" y="245"/>
                  <a:pt x="277" y="245"/>
                </a:cubicBezTo>
                <a:cubicBezTo>
                  <a:pt x="283" y="245"/>
                  <a:pt x="288" y="250"/>
                  <a:pt x="288" y="256"/>
                </a:cubicBezTo>
                <a:cubicBezTo>
                  <a:pt x="288" y="262"/>
                  <a:pt x="283" y="266"/>
                  <a:pt x="277" y="266"/>
                </a:cubicBezTo>
                <a:cubicBezTo>
                  <a:pt x="220" y="266"/>
                  <a:pt x="220" y="266"/>
                  <a:pt x="220" y="266"/>
                </a:cubicBezTo>
                <a:cubicBezTo>
                  <a:pt x="238" y="312"/>
                  <a:pt x="203" y="366"/>
                  <a:pt x="181" y="394"/>
                </a:cubicBezTo>
                <a:cubicBezTo>
                  <a:pt x="341" y="394"/>
                  <a:pt x="341" y="394"/>
                  <a:pt x="341" y="394"/>
                </a:cubicBezTo>
                <a:cubicBezTo>
                  <a:pt x="347" y="394"/>
                  <a:pt x="352" y="399"/>
                  <a:pt x="352" y="405"/>
                </a:cubicBezTo>
                <a:cubicBezTo>
                  <a:pt x="352" y="411"/>
                  <a:pt x="347" y="416"/>
                  <a:pt x="341" y="416"/>
                </a:cubicBezTo>
                <a:cubicBezTo>
                  <a:pt x="160" y="416"/>
                  <a:pt x="160" y="416"/>
                  <a:pt x="160" y="416"/>
                </a:cubicBezTo>
                <a:cubicBezTo>
                  <a:pt x="156" y="416"/>
                  <a:pt x="152" y="414"/>
                  <a:pt x="150" y="410"/>
                </a:cubicBezTo>
                <a:cubicBezTo>
                  <a:pt x="148" y="407"/>
                  <a:pt x="149" y="402"/>
                  <a:pt x="151" y="399"/>
                </a:cubicBezTo>
                <a:cubicBezTo>
                  <a:pt x="152" y="398"/>
                  <a:pt x="153" y="396"/>
                  <a:pt x="156" y="392"/>
                </a:cubicBezTo>
                <a:cubicBezTo>
                  <a:pt x="200" y="337"/>
                  <a:pt x="214" y="294"/>
                  <a:pt x="197" y="266"/>
                </a:cubicBezTo>
                <a:cubicBezTo>
                  <a:pt x="149" y="266"/>
                  <a:pt x="149" y="266"/>
                  <a:pt x="149" y="266"/>
                </a:cubicBezTo>
                <a:cubicBezTo>
                  <a:pt x="143" y="266"/>
                  <a:pt x="138" y="262"/>
                  <a:pt x="138" y="256"/>
                </a:cubicBezTo>
                <a:cubicBezTo>
                  <a:pt x="138" y="250"/>
                  <a:pt x="143" y="245"/>
                  <a:pt x="149" y="245"/>
                </a:cubicBezTo>
                <a:cubicBezTo>
                  <a:pt x="178" y="245"/>
                  <a:pt x="178" y="245"/>
                  <a:pt x="178" y="245"/>
                </a:cubicBezTo>
                <a:cubicBezTo>
                  <a:pt x="166" y="229"/>
                  <a:pt x="160" y="210"/>
                  <a:pt x="160" y="192"/>
                </a:cubicBezTo>
                <a:cubicBezTo>
                  <a:pt x="160" y="139"/>
                  <a:pt x="203" y="96"/>
                  <a:pt x="256" y="96"/>
                </a:cubicBezTo>
                <a:cubicBezTo>
                  <a:pt x="309" y="96"/>
                  <a:pt x="352" y="139"/>
                  <a:pt x="352" y="192"/>
                </a:cubicBezTo>
                <a:cubicBezTo>
                  <a:pt x="352" y="198"/>
                  <a:pt x="347" y="202"/>
                  <a:pt x="341" y="202"/>
                </a:cubicBezTo>
                <a:cubicBezTo>
                  <a:pt x="335" y="202"/>
                  <a:pt x="330" y="198"/>
                  <a:pt x="330" y="192"/>
                </a:cubicBezTo>
                <a:cubicBezTo>
                  <a:pt x="330" y="150"/>
                  <a:pt x="297" y="117"/>
                  <a:pt x="256" y="117"/>
                </a:cubicBezTo>
                <a:cubicBezTo>
                  <a:pt x="214" y="117"/>
                  <a:pt x="181" y="150"/>
                  <a:pt x="181" y="192"/>
                </a:cubicBezTo>
                <a:cubicBezTo>
                  <a:pt x="181" y="210"/>
                  <a:pt x="190" y="230"/>
                  <a:pt x="207" y="245"/>
                </a:cubicBezTo>
                <a:close/>
              </a:path>
            </a:pathLst>
          </a:custGeom>
          <a:solidFill>
            <a:srgbClr val="046A38"/>
          </a:solidFill>
          <a:ln>
            <a:noFill/>
          </a:ln>
        </p:spPr>
        <p:txBody>
          <a:bodyPr vert="horz" wrap="square" lIns="82953" tIns="41476" rIns="82953" bIns="41476" numCol="1" anchor="t" anchorCtr="0" compatLnSpc="1">
            <a:prstTxWarp prst="textNoShape">
              <a:avLst/>
            </a:prstTxWarp>
          </a:bodyPr>
          <a:lstStyle/>
          <a:p>
            <a:endParaRPr lang="en-GB" sz="1633"/>
          </a:p>
        </p:txBody>
      </p:sp>
      <p:sp>
        <p:nvSpPr>
          <p:cNvPr id="165" name="Freeform 941"/>
          <p:cNvSpPr>
            <a:spLocks noChangeAspect="1" noEditPoints="1"/>
          </p:cNvSpPr>
          <p:nvPr/>
        </p:nvSpPr>
        <p:spPr bwMode="auto">
          <a:xfrm>
            <a:off x="7252538" y="4073408"/>
            <a:ext cx="335363" cy="3353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2 w 512"/>
              <a:gd name="T11" fmla="*/ 277 h 512"/>
              <a:gd name="T12" fmla="*/ 266 w 512"/>
              <a:gd name="T13" fmla="*/ 277 h 512"/>
              <a:gd name="T14" fmla="*/ 266 w 512"/>
              <a:gd name="T15" fmla="*/ 405 h 512"/>
              <a:gd name="T16" fmla="*/ 256 w 512"/>
              <a:gd name="T17" fmla="*/ 416 h 512"/>
              <a:gd name="T18" fmla="*/ 245 w 512"/>
              <a:gd name="T19" fmla="*/ 405 h 512"/>
              <a:gd name="T20" fmla="*/ 245 w 512"/>
              <a:gd name="T21" fmla="*/ 277 h 512"/>
              <a:gd name="T22" fmla="*/ 149 w 512"/>
              <a:gd name="T23" fmla="*/ 277 h 512"/>
              <a:gd name="T24" fmla="*/ 138 w 512"/>
              <a:gd name="T25" fmla="*/ 266 h 512"/>
              <a:gd name="T26" fmla="*/ 149 w 512"/>
              <a:gd name="T27" fmla="*/ 256 h 512"/>
              <a:gd name="T28" fmla="*/ 242 w 512"/>
              <a:gd name="T29" fmla="*/ 256 h 512"/>
              <a:gd name="T30" fmla="*/ 141 w 512"/>
              <a:gd name="T31" fmla="*/ 134 h 512"/>
              <a:gd name="T32" fmla="*/ 142 w 512"/>
              <a:gd name="T33" fmla="*/ 119 h 512"/>
              <a:gd name="T34" fmla="*/ 157 w 512"/>
              <a:gd name="T35" fmla="*/ 121 h 512"/>
              <a:gd name="T36" fmla="*/ 256 w 512"/>
              <a:gd name="T37" fmla="*/ 239 h 512"/>
              <a:gd name="T38" fmla="*/ 354 w 512"/>
              <a:gd name="T39" fmla="*/ 121 h 512"/>
              <a:gd name="T40" fmla="*/ 369 w 512"/>
              <a:gd name="T41" fmla="*/ 119 h 512"/>
              <a:gd name="T42" fmla="*/ 371 w 512"/>
              <a:gd name="T43" fmla="*/ 134 h 512"/>
              <a:gd name="T44" fmla="*/ 270 w 512"/>
              <a:gd name="T45" fmla="*/ 256 h 512"/>
              <a:gd name="T46" fmla="*/ 362 w 512"/>
              <a:gd name="T47" fmla="*/ 256 h 512"/>
              <a:gd name="T48" fmla="*/ 373 w 512"/>
              <a:gd name="T49" fmla="*/ 266 h 512"/>
              <a:gd name="T50" fmla="*/ 362 w 512"/>
              <a:gd name="T5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277"/>
                </a:moveTo>
                <a:cubicBezTo>
                  <a:pt x="266" y="277"/>
                  <a:pt x="266" y="277"/>
                  <a:pt x="266" y="277"/>
                </a:cubicBezTo>
                <a:cubicBezTo>
                  <a:pt x="266" y="405"/>
                  <a:pt x="266" y="405"/>
                  <a:pt x="266" y="405"/>
                </a:cubicBezTo>
                <a:cubicBezTo>
                  <a:pt x="266" y="411"/>
                  <a:pt x="262" y="416"/>
                  <a:pt x="256" y="416"/>
                </a:cubicBezTo>
                <a:cubicBezTo>
                  <a:pt x="250" y="416"/>
                  <a:pt x="245" y="411"/>
                  <a:pt x="245" y="405"/>
                </a:cubicBezTo>
                <a:cubicBezTo>
                  <a:pt x="245" y="277"/>
                  <a:pt x="245" y="277"/>
                  <a:pt x="245" y="277"/>
                </a:cubicBezTo>
                <a:cubicBezTo>
                  <a:pt x="149" y="277"/>
                  <a:pt x="149" y="277"/>
                  <a:pt x="149" y="277"/>
                </a:cubicBezTo>
                <a:cubicBezTo>
                  <a:pt x="143" y="277"/>
                  <a:pt x="138" y="272"/>
                  <a:pt x="138" y="266"/>
                </a:cubicBezTo>
                <a:cubicBezTo>
                  <a:pt x="138" y="260"/>
                  <a:pt x="143" y="256"/>
                  <a:pt x="149" y="256"/>
                </a:cubicBezTo>
                <a:cubicBezTo>
                  <a:pt x="242" y="256"/>
                  <a:pt x="242" y="256"/>
                  <a:pt x="242" y="256"/>
                </a:cubicBezTo>
                <a:cubicBezTo>
                  <a:pt x="141" y="134"/>
                  <a:pt x="141" y="134"/>
                  <a:pt x="141" y="134"/>
                </a:cubicBezTo>
                <a:cubicBezTo>
                  <a:pt x="137" y="130"/>
                  <a:pt x="138" y="123"/>
                  <a:pt x="142" y="119"/>
                </a:cubicBezTo>
                <a:cubicBezTo>
                  <a:pt x="147" y="116"/>
                  <a:pt x="153" y="116"/>
                  <a:pt x="157" y="121"/>
                </a:cubicBezTo>
                <a:cubicBezTo>
                  <a:pt x="256" y="239"/>
                  <a:pt x="256" y="239"/>
                  <a:pt x="256" y="239"/>
                </a:cubicBezTo>
                <a:cubicBezTo>
                  <a:pt x="354" y="121"/>
                  <a:pt x="354" y="121"/>
                  <a:pt x="354" y="121"/>
                </a:cubicBezTo>
                <a:cubicBezTo>
                  <a:pt x="358" y="116"/>
                  <a:pt x="365" y="116"/>
                  <a:pt x="369" y="119"/>
                </a:cubicBezTo>
                <a:cubicBezTo>
                  <a:pt x="374" y="123"/>
                  <a:pt x="374" y="130"/>
                  <a:pt x="371" y="134"/>
                </a:cubicBezTo>
                <a:cubicBezTo>
                  <a:pt x="270" y="256"/>
                  <a:pt x="270" y="256"/>
                  <a:pt x="270" y="256"/>
                </a:cubicBezTo>
                <a:cubicBezTo>
                  <a:pt x="362" y="256"/>
                  <a:pt x="362" y="256"/>
                  <a:pt x="362" y="256"/>
                </a:cubicBezTo>
                <a:cubicBezTo>
                  <a:pt x="368" y="256"/>
                  <a:pt x="373" y="260"/>
                  <a:pt x="373" y="266"/>
                </a:cubicBezTo>
                <a:cubicBezTo>
                  <a:pt x="373" y="272"/>
                  <a:pt x="368" y="277"/>
                  <a:pt x="362" y="277"/>
                </a:cubicBezTo>
                <a:close/>
              </a:path>
            </a:pathLst>
          </a:custGeom>
          <a:solidFill>
            <a:srgbClr val="007680"/>
          </a:solidFill>
          <a:ln>
            <a:noFill/>
          </a:ln>
        </p:spPr>
        <p:txBody>
          <a:bodyPr vert="horz" wrap="square" lIns="82953" tIns="41476" rIns="82953" bIns="41476" numCol="1" anchor="t" anchorCtr="0" compatLnSpc="1">
            <a:prstTxWarp prst="textNoShape">
              <a:avLst/>
            </a:prstTxWarp>
          </a:bodyPr>
          <a:lstStyle/>
          <a:p>
            <a:endParaRPr lang="en-GB" sz="1633"/>
          </a:p>
        </p:txBody>
      </p:sp>
      <p:sp>
        <p:nvSpPr>
          <p:cNvPr id="172" name="Freeform 351"/>
          <p:cNvSpPr>
            <a:spLocks noChangeAspect="1" noEditPoints="1"/>
          </p:cNvSpPr>
          <p:nvPr/>
        </p:nvSpPr>
        <p:spPr bwMode="auto">
          <a:xfrm>
            <a:off x="5503667" y="4073404"/>
            <a:ext cx="334769" cy="334769"/>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1"/>
          </a:solidFill>
          <a:ln>
            <a:noFill/>
          </a:ln>
        </p:spPr>
        <p:txBody>
          <a:bodyPr vert="horz" wrap="square" lIns="82953" tIns="41476" rIns="82953" bIns="41476" numCol="1" anchor="t" anchorCtr="0" compatLnSpc="1">
            <a:prstTxWarp prst="textNoShape">
              <a:avLst/>
            </a:prstTxWarp>
          </a:bodyPr>
          <a:lstStyle/>
          <a:p>
            <a:endParaRPr lang="en-GB" sz="1633"/>
          </a:p>
        </p:txBody>
      </p:sp>
      <p:grpSp>
        <p:nvGrpSpPr>
          <p:cNvPr id="173" name="Group 374"/>
          <p:cNvGrpSpPr>
            <a:grpSpLocks noChangeAspect="1"/>
          </p:cNvGrpSpPr>
          <p:nvPr/>
        </p:nvGrpSpPr>
        <p:grpSpPr bwMode="auto">
          <a:xfrm>
            <a:off x="3785309" y="4073403"/>
            <a:ext cx="333508" cy="333508"/>
            <a:chOff x="6996" y="1195"/>
            <a:chExt cx="340" cy="340"/>
          </a:xfrm>
          <a:solidFill>
            <a:srgbClr val="43B02A"/>
          </a:solidFill>
        </p:grpSpPr>
        <p:sp>
          <p:nvSpPr>
            <p:cNvPr id="174" name="Freeform 375"/>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1633"/>
            </a:p>
          </p:txBody>
        </p:sp>
        <p:sp>
          <p:nvSpPr>
            <p:cNvPr id="175" name="Freeform 376"/>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1633"/>
            </a:p>
          </p:txBody>
        </p:sp>
        <p:sp>
          <p:nvSpPr>
            <p:cNvPr id="176" name="Freeform 377"/>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1633"/>
            </a:p>
          </p:txBody>
        </p:sp>
      </p:grpSp>
      <p:sp>
        <p:nvSpPr>
          <p:cNvPr id="203" name="Text Placeholder 3"/>
          <p:cNvSpPr txBox="1">
            <a:spLocks/>
          </p:cNvSpPr>
          <p:nvPr/>
        </p:nvSpPr>
        <p:spPr>
          <a:xfrm>
            <a:off x="3470173" y="5307366"/>
            <a:ext cx="1711154" cy="840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907" dirty="0">
                <a:ea typeface="Montserrat" charset="0"/>
                <a:cs typeface="Montserrat" charset="0"/>
              </a:rPr>
              <a:t>This PowerPoint template offers a range of options for text, image, charts and iconography along with an appendix of</a:t>
            </a:r>
          </a:p>
        </p:txBody>
      </p:sp>
      <p:sp>
        <p:nvSpPr>
          <p:cNvPr id="204" name="Text Placeholder 3"/>
          <p:cNvSpPr txBox="1">
            <a:spLocks/>
          </p:cNvSpPr>
          <p:nvPr/>
        </p:nvSpPr>
        <p:spPr>
          <a:xfrm>
            <a:off x="5241143" y="5307366"/>
            <a:ext cx="1711154" cy="840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907" dirty="0">
                <a:ea typeface="Montserrat" charset="0"/>
                <a:cs typeface="Montserrat" charset="0"/>
              </a:rPr>
              <a:t>This PowerPoint template offers a range of options for text, image, charts and iconography along with an appendix of</a:t>
            </a:r>
          </a:p>
        </p:txBody>
      </p:sp>
      <p:sp>
        <p:nvSpPr>
          <p:cNvPr id="205" name="Text Placeholder 3"/>
          <p:cNvSpPr txBox="1">
            <a:spLocks/>
          </p:cNvSpPr>
          <p:nvPr/>
        </p:nvSpPr>
        <p:spPr>
          <a:xfrm>
            <a:off x="6973933" y="5307366"/>
            <a:ext cx="1711154" cy="840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907" dirty="0">
                <a:ea typeface="Montserrat" charset="0"/>
                <a:cs typeface="Montserrat" charset="0"/>
              </a:rPr>
              <a:t>This PowerPoint template offers a range of options for text, image, charts and iconography along with an appendix of</a:t>
            </a:r>
          </a:p>
        </p:txBody>
      </p:sp>
      <p:sp>
        <p:nvSpPr>
          <p:cNvPr id="206" name="Text Placeholder 3"/>
          <p:cNvSpPr txBox="1">
            <a:spLocks/>
          </p:cNvSpPr>
          <p:nvPr/>
        </p:nvSpPr>
        <p:spPr>
          <a:xfrm>
            <a:off x="8734374" y="5307366"/>
            <a:ext cx="1711154" cy="840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907" dirty="0">
                <a:ea typeface="Montserrat" charset="0"/>
                <a:cs typeface="Montserrat" charset="0"/>
              </a:rPr>
              <a:t>This PowerPoint template offers a range of options for text, image, charts and iconography along with an appendix of</a:t>
            </a:r>
          </a:p>
        </p:txBody>
      </p:sp>
      <p:sp>
        <p:nvSpPr>
          <p:cNvPr id="207" name="文本框 206"/>
          <p:cNvSpPr txBox="1"/>
          <p:nvPr/>
        </p:nvSpPr>
        <p:spPr>
          <a:xfrm>
            <a:off x="2305314" y="2206215"/>
            <a:ext cx="601447" cy="231923"/>
          </a:xfrm>
          <a:prstGeom prst="rect">
            <a:avLst/>
          </a:prstGeom>
          <a:noFill/>
        </p:spPr>
        <p:txBody>
          <a:bodyPr wrap="none" rtlCol="0">
            <a:spAutoFit/>
          </a:bodyPr>
          <a:lstStyle/>
          <a:p>
            <a:r>
              <a:rPr lang="en-US" sz="907" b="1" dirty="0">
                <a:solidFill>
                  <a:srgbClr val="2C5234"/>
                </a:solidFill>
                <a:latin typeface="Verdana" panose="020B0604030504040204" pitchFamily="34" charset="0"/>
                <a:ea typeface="Verdana" panose="020B0604030504040204" pitchFamily="34" charset="0"/>
                <a:cs typeface="Verdana" panose="020B0604030504040204" pitchFamily="34" charset="0"/>
              </a:rPr>
              <a:t>$1000</a:t>
            </a:r>
          </a:p>
        </p:txBody>
      </p:sp>
      <p:sp>
        <p:nvSpPr>
          <p:cNvPr id="208" name="文本框 207"/>
          <p:cNvSpPr txBox="1"/>
          <p:nvPr/>
        </p:nvSpPr>
        <p:spPr>
          <a:xfrm>
            <a:off x="4106459" y="2473507"/>
            <a:ext cx="518091" cy="231923"/>
          </a:xfrm>
          <a:prstGeom prst="rect">
            <a:avLst/>
          </a:prstGeom>
          <a:noFill/>
        </p:spPr>
        <p:txBody>
          <a:bodyPr wrap="none" rtlCol="0">
            <a:spAutoFit/>
          </a:bodyPr>
          <a:lstStyle/>
          <a:p>
            <a:r>
              <a:rPr lang="en-US" sz="907" b="1" dirty="0">
                <a:latin typeface="Verdana" panose="020B0604030504040204" pitchFamily="34" charset="0"/>
                <a:ea typeface="Verdana" panose="020B0604030504040204" pitchFamily="34" charset="0"/>
                <a:cs typeface="Verdana" panose="020B0604030504040204" pitchFamily="34" charset="0"/>
              </a:rPr>
              <a:t>$750</a:t>
            </a:r>
          </a:p>
        </p:txBody>
      </p:sp>
      <p:sp>
        <p:nvSpPr>
          <p:cNvPr id="209" name="文本框 208"/>
          <p:cNvSpPr txBox="1"/>
          <p:nvPr/>
        </p:nvSpPr>
        <p:spPr>
          <a:xfrm>
            <a:off x="5765741" y="1700820"/>
            <a:ext cx="601447" cy="231923"/>
          </a:xfrm>
          <a:prstGeom prst="rect">
            <a:avLst/>
          </a:prstGeom>
          <a:noFill/>
        </p:spPr>
        <p:txBody>
          <a:bodyPr wrap="none" rtlCol="0">
            <a:spAutoFit/>
          </a:bodyPr>
          <a:lstStyle/>
          <a:p>
            <a:r>
              <a:rPr lang="en-US" sz="907" b="1" dirty="0">
                <a:latin typeface="Verdana" panose="020B0604030504040204" pitchFamily="34" charset="0"/>
                <a:ea typeface="Verdana" panose="020B0604030504040204" pitchFamily="34" charset="0"/>
                <a:cs typeface="Verdana" panose="020B0604030504040204" pitchFamily="34" charset="0"/>
              </a:rPr>
              <a:t>$1200</a:t>
            </a:r>
          </a:p>
        </p:txBody>
      </p:sp>
      <p:sp>
        <p:nvSpPr>
          <p:cNvPr id="210" name="文本框 209"/>
          <p:cNvSpPr txBox="1"/>
          <p:nvPr/>
        </p:nvSpPr>
        <p:spPr>
          <a:xfrm>
            <a:off x="7512390" y="1575175"/>
            <a:ext cx="601447" cy="231923"/>
          </a:xfrm>
          <a:prstGeom prst="rect">
            <a:avLst/>
          </a:prstGeom>
          <a:noFill/>
        </p:spPr>
        <p:txBody>
          <a:bodyPr wrap="none" rtlCol="0">
            <a:spAutoFit/>
          </a:bodyPr>
          <a:lstStyle/>
          <a:p>
            <a:r>
              <a:rPr lang="en-US" sz="907" b="1" dirty="0">
                <a:solidFill>
                  <a:srgbClr val="007680"/>
                </a:solidFill>
                <a:latin typeface="Verdana" panose="020B0604030504040204" pitchFamily="34" charset="0"/>
                <a:ea typeface="Verdana" panose="020B0604030504040204" pitchFamily="34" charset="0"/>
                <a:cs typeface="Verdana" panose="020B0604030504040204" pitchFamily="34" charset="0"/>
              </a:rPr>
              <a:t>$1300</a:t>
            </a:r>
          </a:p>
        </p:txBody>
      </p:sp>
      <p:sp>
        <p:nvSpPr>
          <p:cNvPr id="211" name="文本框 210"/>
          <p:cNvSpPr txBox="1"/>
          <p:nvPr/>
        </p:nvSpPr>
        <p:spPr>
          <a:xfrm>
            <a:off x="9217241" y="1927788"/>
            <a:ext cx="601447" cy="231923"/>
          </a:xfrm>
          <a:prstGeom prst="rect">
            <a:avLst/>
          </a:prstGeom>
          <a:noFill/>
        </p:spPr>
        <p:txBody>
          <a:bodyPr wrap="none" rtlCol="0">
            <a:spAutoFit/>
          </a:bodyPr>
          <a:lstStyle/>
          <a:p>
            <a:r>
              <a:rPr lang="en-US" sz="907" b="1" dirty="0">
                <a:latin typeface="Verdana" panose="020B0604030504040204" pitchFamily="34" charset="0"/>
                <a:ea typeface="Verdana" panose="020B0604030504040204" pitchFamily="34" charset="0"/>
                <a:cs typeface="Verdana" panose="020B0604030504040204" pitchFamily="34" charset="0"/>
              </a:rPr>
              <a:t>$1100</a:t>
            </a:r>
          </a:p>
        </p:txBody>
      </p:sp>
    </p:spTree>
    <p:custDataLst>
      <p:tags r:id="rId1"/>
    </p:custDataLst>
    <p:extLst>
      <p:ext uri="{BB962C8B-B14F-4D97-AF65-F5344CB8AC3E}">
        <p14:creationId xmlns:p14="http://schemas.microsoft.com/office/powerpoint/2010/main" val="2457893559"/>
      </p:ext>
    </p:extLst>
  </p:cSld>
  <p:clrMapOvr>
    <a:masterClrMapping/>
  </p:clrMapOvr>
  <p:transition>
    <p:fade/>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ound Same Side Corner Rectangle 30">
            <a:extLst>
              <a:ext uri="{FF2B5EF4-FFF2-40B4-BE49-F238E27FC236}">
                <a16:creationId xmlns:a16="http://schemas.microsoft.com/office/drawing/2014/main" id="{B3D0D03B-6830-6D48-8CC0-B4745E4DF160}"/>
              </a:ext>
            </a:extLst>
          </p:cNvPr>
          <p:cNvSpPr/>
          <p:nvPr/>
        </p:nvSpPr>
        <p:spPr>
          <a:xfrm>
            <a:off x="5287627" y="2601525"/>
            <a:ext cx="685800" cy="2034132"/>
          </a:xfrm>
          <a:prstGeom prst="round2SameRect">
            <a:avLst>
              <a:gd name="adj1" fmla="val 50000"/>
              <a:gd name="adj2" fmla="val 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2" name="Round Same Side Corner Rectangle 31">
            <a:extLst>
              <a:ext uri="{FF2B5EF4-FFF2-40B4-BE49-F238E27FC236}">
                <a16:creationId xmlns:a16="http://schemas.microsoft.com/office/drawing/2014/main" id="{A456B152-E135-3B48-9E70-E3F9072732BC}"/>
              </a:ext>
            </a:extLst>
          </p:cNvPr>
          <p:cNvSpPr/>
          <p:nvPr/>
        </p:nvSpPr>
        <p:spPr>
          <a:xfrm>
            <a:off x="5971330" y="2183230"/>
            <a:ext cx="685800" cy="2452429"/>
          </a:xfrm>
          <a:prstGeom prst="round2SameRect">
            <a:avLst>
              <a:gd name="adj1" fmla="val 50000"/>
              <a:gd name="adj2" fmla="val 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3" name="Round Same Side Corner Rectangle 32">
            <a:extLst>
              <a:ext uri="{FF2B5EF4-FFF2-40B4-BE49-F238E27FC236}">
                <a16:creationId xmlns:a16="http://schemas.microsoft.com/office/drawing/2014/main" id="{0CE519A9-AC89-FC47-9235-F8DE590F867D}"/>
              </a:ext>
            </a:extLst>
          </p:cNvPr>
          <p:cNvSpPr/>
          <p:nvPr/>
        </p:nvSpPr>
        <p:spPr>
          <a:xfrm>
            <a:off x="6655034" y="2885241"/>
            <a:ext cx="685800" cy="1750418"/>
          </a:xfrm>
          <a:prstGeom prst="round2SameRect">
            <a:avLst>
              <a:gd name="adj1" fmla="val 50000"/>
              <a:gd name="adj2" fmla="val 0"/>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4" name="Round Same Side Corner Rectangle 33">
            <a:extLst>
              <a:ext uri="{FF2B5EF4-FFF2-40B4-BE49-F238E27FC236}">
                <a16:creationId xmlns:a16="http://schemas.microsoft.com/office/drawing/2014/main" id="{5BDD03A1-448A-4C4F-88C1-C244E8838BB3}"/>
              </a:ext>
            </a:extLst>
          </p:cNvPr>
          <p:cNvSpPr/>
          <p:nvPr/>
        </p:nvSpPr>
        <p:spPr>
          <a:xfrm>
            <a:off x="4602735" y="1119891"/>
            <a:ext cx="685800" cy="3515769"/>
          </a:xfrm>
          <a:prstGeom prst="round2SameRect">
            <a:avLst>
              <a:gd name="adj1" fmla="val 50000"/>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5" name="Rectangle 34">
            <a:extLst>
              <a:ext uri="{FF2B5EF4-FFF2-40B4-BE49-F238E27FC236}">
                <a16:creationId xmlns:a16="http://schemas.microsoft.com/office/drawing/2014/main" id="{22AC62AE-CA30-F644-8B0C-89B5D13BACBB}"/>
              </a:ext>
            </a:extLst>
          </p:cNvPr>
          <p:cNvSpPr/>
          <p:nvPr/>
        </p:nvSpPr>
        <p:spPr>
          <a:xfrm>
            <a:off x="5335255" y="2803603"/>
            <a:ext cx="590549"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algn="ctr"/>
            <a:r>
              <a:rPr lang="en-US" dirty="0">
                <a:solidFill>
                  <a:srgbClr val="FFFFFF"/>
                </a:solidFill>
              </a:rPr>
              <a:t>60%</a:t>
            </a:r>
          </a:p>
        </p:txBody>
      </p:sp>
      <p:sp>
        <p:nvSpPr>
          <p:cNvPr id="36" name="Rectangle 35">
            <a:extLst>
              <a:ext uri="{FF2B5EF4-FFF2-40B4-BE49-F238E27FC236}">
                <a16:creationId xmlns:a16="http://schemas.microsoft.com/office/drawing/2014/main" id="{297E711C-C7A8-B74F-92E3-92F991C87A57}"/>
              </a:ext>
            </a:extLst>
          </p:cNvPr>
          <p:cNvSpPr/>
          <p:nvPr/>
        </p:nvSpPr>
        <p:spPr>
          <a:xfrm>
            <a:off x="6002598" y="2371008"/>
            <a:ext cx="623269"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algn="ctr"/>
            <a:r>
              <a:rPr lang="en-US" dirty="0">
                <a:solidFill>
                  <a:srgbClr val="FFFFFF"/>
                </a:solidFill>
              </a:rPr>
              <a:t>75%</a:t>
            </a:r>
          </a:p>
        </p:txBody>
      </p:sp>
      <p:sp>
        <p:nvSpPr>
          <p:cNvPr id="37" name="Rectangle 36">
            <a:extLst>
              <a:ext uri="{FF2B5EF4-FFF2-40B4-BE49-F238E27FC236}">
                <a16:creationId xmlns:a16="http://schemas.microsoft.com/office/drawing/2014/main" id="{5EE99E2B-CEC5-1C47-9F6C-94666E5ECD6E}"/>
              </a:ext>
            </a:extLst>
          </p:cNvPr>
          <p:cNvSpPr/>
          <p:nvPr/>
        </p:nvSpPr>
        <p:spPr>
          <a:xfrm>
            <a:off x="4642205" y="1361580"/>
            <a:ext cx="606860"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algn="ctr"/>
            <a:r>
              <a:rPr lang="en-US" dirty="0">
                <a:solidFill>
                  <a:srgbClr val="FFFFFF"/>
                </a:solidFill>
              </a:rPr>
              <a:t>90%</a:t>
            </a:r>
          </a:p>
        </p:txBody>
      </p:sp>
      <p:sp>
        <p:nvSpPr>
          <p:cNvPr id="38" name="Rectangle 37">
            <a:extLst>
              <a:ext uri="{FF2B5EF4-FFF2-40B4-BE49-F238E27FC236}">
                <a16:creationId xmlns:a16="http://schemas.microsoft.com/office/drawing/2014/main" id="{75CFEF37-CAD8-FD47-AC1E-FF2A23E58D87}"/>
              </a:ext>
            </a:extLst>
          </p:cNvPr>
          <p:cNvSpPr/>
          <p:nvPr/>
        </p:nvSpPr>
        <p:spPr>
          <a:xfrm>
            <a:off x="6688757" y="3120096"/>
            <a:ext cx="618359"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algn="ctr"/>
            <a:r>
              <a:rPr lang="en-US" dirty="0">
                <a:solidFill>
                  <a:srgbClr val="FFFFFF"/>
                </a:solidFill>
              </a:rPr>
              <a:t>50%</a:t>
            </a:r>
          </a:p>
        </p:txBody>
      </p:sp>
      <p:sp>
        <p:nvSpPr>
          <p:cNvPr id="39" name="Freeform 38">
            <a:extLst>
              <a:ext uri="{FF2B5EF4-FFF2-40B4-BE49-F238E27FC236}">
                <a16:creationId xmlns:a16="http://schemas.microsoft.com/office/drawing/2014/main" id="{82E38C42-286E-A644-97E8-61C10AC5AC45}"/>
              </a:ext>
            </a:extLst>
          </p:cNvPr>
          <p:cNvSpPr/>
          <p:nvPr/>
        </p:nvSpPr>
        <p:spPr>
          <a:xfrm rot="16200000" flipH="1">
            <a:off x="5220462" y="4157489"/>
            <a:ext cx="279117" cy="1219693"/>
          </a:xfrm>
          <a:custGeom>
            <a:avLst/>
            <a:gdLst>
              <a:gd name="connsiteX0" fmla="*/ 0 w 279117"/>
              <a:gd name="connsiteY0" fmla="*/ 1219693 h 1219693"/>
              <a:gd name="connsiteX1" fmla="*/ 279117 w 279117"/>
              <a:gd name="connsiteY1" fmla="*/ 1219693 h 1219693"/>
              <a:gd name="connsiteX2" fmla="*/ 279117 w 279117"/>
              <a:gd name="connsiteY2" fmla="*/ 0 h 1219693"/>
              <a:gd name="connsiteX3" fmla="*/ 449 w 279117"/>
              <a:gd name="connsiteY3" fmla="*/ 525561 h 1219693"/>
              <a:gd name="connsiteX4" fmla="*/ 0 w 279117"/>
              <a:gd name="connsiteY4" fmla="*/ 1219693 h 121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117" h="1219693">
                <a:moveTo>
                  <a:pt x="0" y="1219693"/>
                </a:moveTo>
                <a:lnTo>
                  <a:pt x="279117" y="1219693"/>
                </a:lnTo>
                <a:lnTo>
                  <a:pt x="279117" y="0"/>
                </a:lnTo>
                <a:lnTo>
                  <a:pt x="449" y="525561"/>
                </a:lnTo>
                <a:lnTo>
                  <a:pt x="0" y="1219693"/>
                </a:lnTo>
                <a:close/>
              </a:path>
            </a:pathLst>
          </a:cu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solidFill>
                <a:srgbClr val="FFFFFF"/>
              </a:solidFill>
            </a:endParaRPr>
          </a:p>
        </p:txBody>
      </p:sp>
      <p:sp>
        <p:nvSpPr>
          <p:cNvPr id="40" name="Rectangle 39">
            <a:extLst>
              <a:ext uri="{FF2B5EF4-FFF2-40B4-BE49-F238E27FC236}">
                <a16:creationId xmlns:a16="http://schemas.microsoft.com/office/drawing/2014/main" id="{0CD35CE8-9E21-0F48-82CF-F064202891B1}"/>
              </a:ext>
            </a:extLst>
          </p:cNvPr>
          <p:cNvSpPr/>
          <p:nvPr/>
        </p:nvSpPr>
        <p:spPr>
          <a:xfrm>
            <a:off x="4728766" y="4906890"/>
            <a:ext cx="1256494" cy="195111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350" dirty="0">
              <a:solidFill>
                <a:srgbClr val="FFFFFF"/>
              </a:solidFill>
            </a:endParaRPr>
          </a:p>
        </p:txBody>
      </p:sp>
      <p:sp>
        <p:nvSpPr>
          <p:cNvPr id="41" name="Rectangle 40">
            <a:extLst>
              <a:ext uri="{FF2B5EF4-FFF2-40B4-BE49-F238E27FC236}">
                <a16:creationId xmlns:a16="http://schemas.microsoft.com/office/drawing/2014/main" id="{9C99AEEB-4C62-554B-8219-96C36B926DEF}"/>
              </a:ext>
            </a:extLst>
          </p:cNvPr>
          <p:cNvSpPr/>
          <p:nvPr/>
        </p:nvSpPr>
        <p:spPr>
          <a:xfrm>
            <a:off x="5947845" y="4906890"/>
            <a:ext cx="1256494" cy="195111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900" dirty="0">
              <a:solidFill>
                <a:srgbClr val="FFFFFF"/>
              </a:solidFill>
            </a:endParaRPr>
          </a:p>
        </p:txBody>
      </p:sp>
      <p:sp>
        <p:nvSpPr>
          <p:cNvPr id="42" name="Rectangle 41">
            <a:extLst>
              <a:ext uri="{FF2B5EF4-FFF2-40B4-BE49-F238E27FC236}">
                <a16:creationId xmlns:a16="http://schemas.microsoft.com/office/drawing/2014/main" id="{59D964C6-87BE-064E-866A-DF004670ABC6}"/>
              </a:ext>
            </a:extLst>
          </p:cNvPr>
          <p:cNvSpPr/>
          <p:nvPr/>
        </p:nvSpPr>
        <p:spPr>
          <a:xfrm>
            <a:off x="7201506" y="4906890"/>
            <a:ext cx="1256494" cy="1951111"/>
          </a:xfrm>
          <a:prstGeom prst="rect">
            <a:avLst/>
          </a:pr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350" dirty="0">
              <a:solidFill>
                <a:srgbClr val="FFFFFF"/>
              </a:solidFill>
            </a:endParaRPr>
          </a:p>
        </p:txBody>
      </p:sp>
      <p:sp>
        <p:nvSpPr>
          <p:cNvPr id="43" name="Rectangle 42">
            <a:extLst>
              <a:ext uri="{FF2B5EF4-FFF2-40B4-BE49-F238E27FC236}">
                <a16:creationId xmlns:a16="http://schemas.microsoft.com/office/drawing/2014/main" id="{FE5B5EB2-D503-BF48-A51E-3C2ED8CB4324}"/>
              </a:ext>
            </a:extLst>
          </p:cNvPr>
          <p:cNvSpPr/>
          <p:nvPr/>
        </p:nvSpPr>
        <p:spPr>
          <a:xfrm>
            <a:off x="3496966" y="4906890"/>
            <a:ext cx="1256494" cy="195111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350" dirty="0">
              <a:solidFill>
                <a:srgbClr val="FFFFFF"/>
              </a:solidFill>
            </a:endParaRPr>
          </a:p>
        </p:txBody>
      </p:sp>
      <p:sp>
        <p:nvSpPr>
          <p:cNvPr id="44" name="Freeform 43">
            <a:extLst>
              <a:ext uri="{FF2B5EF4-FFF2-40B4-BE49-F238E27FC236}">
                <a16:creationId xmlns:a16="http://schemas.microsoft.com/office/drawing/2014/main" id="{1230AB18-4205-E242-8B8B-81D4864D6138}"/>
              </a:ext>
            </a:extLst>
          </p:cNvPr>
          <p:cNvSpPr/>
          <p:nvPr/>
        </p:nvSpPr>
        <p:spPr>
          <a:xfrm rot="16200000" flipH="1">
            <a:off x="4245020" y="3875822"/>
            <a:ext cx="278858" cy="1783285"/>
          </a:xfrm>
          <a:custGeom>
            <a:avLst/>
            <a:gdLst>
              <a:gd name="connsiteX0" fmla="*/ 0 w 278858"/>
              <a:gd name="connsiteY0" fmla="*/ 1783285 h 1783285"/>
              <a:gd name="connsiteX1" fmla="*/ 278858 w 278858"/>
              <a:gd name="connsiteY1" fmla="*/ 1257365 h 1783285"/>
              <a:gd name="connsiteX2" fmla="*/ 278858 w 278858"/>
              <a:gd name="connsiteY2" fmla="*/ 0 h 1783285"/>
              <a:gd name="connsiteX3" fmla="*/ 244 w 278858"/>
              <a:gd name="connsiteY3" fmla="*/ 1115123 h 1783285"/>
              <a:gd name="connsiteX4" fmla="*/ 0 w 278858"/>
              <a:gd name="connsiteY4" fmla="*/ 1783285 h 1783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858" h="1783285">
                <a:moveTo>
                  <a:pt x="0" y="1783285"/>
                </a:moveTo>
                <a:lnTo>
                  <a:pt x="278858" y="1257365"/>
                </a:lnTo>
                <a:lnTo>
                  <a:pt x="278858" y="0"/>
                </a:lnTo>
                <a:lnTo>
                  <a:pt x="244" y="1115123"/>
                </a:lnTo>
                <a:lnTo>
                  <a:pt x="0" y="1783285"/>
                </a:lnTo>
                <a:close/>
              </a:path>
            </a:pathLst>
          </a:cu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solidFill>
                <a:srgbClr val="FFFFFF"/>
              </a:solidFill>
            </a:endParaRPr>
          </a:p>
        </p:txBody>
      </p:sp>
      <p:sp>
        <p:nvSpPr>
          <p:cNvPr id="45" name="Freeform 44">
            <a:extLst>
              <a:ext uri="{FF2B5EF4-FFF2-40B4-BE49-F238E27FC236}">
                <a16:creationId xmlns:a16="http://schemas.microsoft.com/office/drawing/2014/main" id="{321FB729-3A51-0449-AE75-97580A455F54}"/>
              </a:ext>
            </a:extLst>
          </p:cNvPr>
          <p:cNvSpPr/>
          <p:nvPr/>
        </p:nvSpPr>
        <p:spPr>
          <a:xfrm rot="5400000">
            <a:off x="6439623" y="4157490"/>
            <a:ext cx="279117" cy="1219693"/>
          </a:xfrm>
          <a:custGeom>
            <a:avLst/>
            <a:gdLst>
              <a:gd name="connsiteX0" fmla="*/ 0 w 279117"/>
              <a:gd name="connsiteY0" fmla="*/ 1219693 h 1219693"/>
              <a:gd name="connsiteX1" fmla="*/ 279117 w 279117"/>
              <a:gd name="connsiteY1" fmla="*/ 1219693 h 1219693"/>
              <a:gd name="connsiteX2" fmla="*/ 279117 w 279117"/>
              <a:gd name="connsiteY2" fmla="*/ 0 h 1219693"/>
              <a:gd name="connsiteX3" fmla="*/ 449 w 279117"/>
              <a:gd name="connsiteY3" fmla="*/ 525561 h 1219693"/>
              <a:gd name="connsiteX4" fmla="*/ 0 w 279117"/>
              <a:gd name="connsiteY4" fmla="*/ 1219693 h 121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117" h="1219693">
                <a:moveTo>
                  <a:pt x="0" y="1219693"/>
                </a:moveTo>
                <a:lnTo>
                  <a:pt x="279117" y="1219693"/>
                </a:lnTo>
                <a:lnTo>
                  <a:pt x="279117" y="0"/>
                </a:lnTo>
                <a:lnTo>
                  <a:pt x="449" y="525561"/>
                </a:lnTo>
                <a:lnTo>
                  <a:pt x="0" y="1219693"/>
                </a:ln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46" name="Freeform 45">
            <a:extLst>
              <a:ext uri="{FF2B5EF4-FFF2-40B4-BE49-F238E27FC236}">
                <a16:creationId xmlns:a16="http://schemas.microsoft.com/office/drawing/2014/main" id="{9D76C5DE-7FCC-4A49-8C36-17962AF0B0DB}"/>
              </a:ext>
            </a:extLst>
          </p:cNvPr>
          <p:cNvSpPr/>
          <p:nvPr/>
        </p:nvSpPr>
        <p:spPr>
          <a:xfrm rot="5400000">
            <a:off x="7415321" y="3875823"/>
            <a:ext cx="278858" cy="1783285"/>
          </a:xfrm>
          <a:custGeom>
            <a:avLst/>
            <a:gdLst>
              <a:gd name="connsiteX0" fmla="*/ 0 w 278858"/>
              <a:gd name="connsiteY0" fmla="*/ 1783285 h 1783285"/>
              <a:gd name="connsiteX1" fmla="*/ 278858 w 278858"/>
              <a:gd name="connsiteY1" fmla="*/ 1257365 h 1783285"/>
              <a:gd name="connsiteX2" fmla="*/ 278858 w 278858"/>
              <a:gd name="connsiteY2" fmla="*/ 0 h 1783285"/>
              <a:gd name="connsiteX3" fmla="*/ 244 w 278858"/>
              <a:gd name="connsiteY3" fmla="*/ 1115123 h 1783285"/>
              <a:gd name="connsiteX4" fmla="*/ 0 w 278858"/>
              <a:gd name="connsiteY4" fmla="*/ 1783285 h 1783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858" h="1783285">
                <a:moveTo>
                  <a:pt x="0" y="1783285"/>
                </a:moveTo>
                <a:lnTo>
                  <a:pt x="278858" y="1257365"/>
                </a:lnTo>
                <a:lnTo>
                  <a:pt x="278858" y="0"/>
                </a:lnTo>
                <a:lnTo>
                  <a:pt x="244" y="1115123"/>
                </a:lnTo>
                <a:lnTo>
                  <a:pt x="0" y="1783285"/>
                </a:lnTo>
                <a:close/>
              </a:path>
            </a:pathLst>
          </a:cu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custDataLst>
      <p:tags r:id="rId1"/>
    </p:custDataLst>
    <p:extLst>
      <p:ext uri="{BB962C8B-B14F-4D97-AF65-F5344CB8AC3E}">
        <p14:creationId xmlns:p14="http://schemas.microsoft.com/office/powerpoint/2010/main" val="1421150482"/>
      </p:ext>
    </p:extLst>
  </p:cSld>
  <p:clrMapOvr>
    <a:masterClrMapping/>
  </p:clrMapOvr>
  <p:transition>
    <p:fade/>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21">
            <a:extLst>
              <a:ext uri="{FF2B5EF4-FFF2-40B4-BE49-F238E27FC236}">
                <a16:creationId xmlns:a16="http://schemas.microsoft.com/office/drawing/2014/main" id="{42191727-7D49-4940-A502-294E5CE6D1FC}"/>
              </a:ext>
            </a:extLst>
          </p:cNvPr>
          <p:cNvGrpSpPr/>
          <p:nvPr/>
        </p:nvGrpSpPr>
        <p:grpSpPr>
          <a:xfrm>
            <a:off x="862873" y="2255044"/>
            <a:ext cx="1445911" cy="812101"/>
            <a:chOff x="813240" y="1953097"/>
            <a:chExt cx="1047714" cy="765695"/>
          </a:xfrm>
          <a:solidFill>
            <a:schemeClr val="accent2"/>
          </a:solidFill>
        </p:grpSpPr>
        <p:sp>
          <p:nvSpPr>
            <p:cNvPr id="6" name="Freeform 6">
              <a:extLst>
                <a:ext uri="{FF2B5EF4-FFF2-40B4-BE49-F238E27FC236}">
                  <a16:creationId xmlns:a16="http://schemas.microsoft.com/office/drawing/2014/main" id="{CA17EB1F-FEA1-4939-A5F7-59A2A247FAEA}"/>
                </a:ext>
              </a:extLst>
            </p:cNvPr>
            <p:cNvSpPr>
              <a:spLocks/>
            </p:cNvSpPr>
            <p:nvPr/>
          </p:nvSpPr>
          <p:spPr bwMode="auto">
            <a:xfrm>
              <a:off x="813240" y="2584851"/>
              <a:ext cx="1047714" cy="133941"/>
            </a:xfrm>
            <a:custGeom>
              <a:avLst/>
              <a:gdLst>
                <a:gd name="T0" fmla="*/ 0 w 594"/>
                <a:gd name="T1" fmla="*/ 0 h 76"/>
                <a:gd name="T2" fmla="*/ 297 w 594"/>
                <a:gd name="T3" fmla="*/ 0 h 76"/>
                <a:gd name="T4" fmla="*/ 594 w 594"/>
                <a:gd name="T5" fmla="*/ 0 h 76"/>
                <a:gd name="T6" fmla="*/ 594 w 594"/>
                <a:gd name="T7" fmla="*/ 55 h 76"/>
                <a:gd name="T8" fmla="*/ 585 w 594"/>
                <a:gd name="T9" fmla="*/ 75 h 76"/>
                <a:gd name="T10" fmla="*/ 297 w 594"/>
                <a:gd name="T11" fmla="*/ 76 h 76"/>
                <a:gd name="T12" fmla="*/ 9 w 594"/>
                <a:gd name="T13" fmla="*/ 75 h 76"/>
                <a:gd name="T14" fmla="*/ 0 w 594"/>
                <a:gd name="T15" fmla="*/ 55 h 76"/>
                <a:gd name="T16" fmla="*/ 0 w 594"/>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4" h="76">
                  <a:moveTo>
                    <a:pt x="0" y="0"/>
                  </a:moveTo>
                  <a:cubicBezTo>
                    <a:pt x="297" y="0"/>
                    <a:pt x="297" y="0"/>
                    <a:pt x="297" y="0"/>
                  </a:cubicBezTo>
                  <a:cubicBezTo>
                    <a:pt x="594" y="0"/>
                    <a:pt x="594" y="0"/>
                    <a:pt x="594" y="0"/>
                  </a:cubicBezTo>
                  <a:cubicBezTo>
                    <a:pt x="594" y="55"/>
                    <a:pt x="594" y="55"/>
                    <a:pt x="594" y="55"/>
                  </a:cubicBezTo>
                  <a:cubicBezTo>
                    <a:pt x="594" y="70"/>
                    <a:pt x="592" y="73"/>
                    <a:pt x="585" y="75"/>
                  </a:cubicBezTo>
                  <a:cubicBezTo>
                    <a:pt x="297" y="76"/>
                    <a:pt x="297" y="76"/>
                    <a:pt x="297" y="76"/>
                  </a:cubicBezTo>
                  <a:cubicBezTo>
                    <a:pt x="9" y="75"/>
                    <a:pt x="9" y="75"/>
                    <a:pt x="9" y="75"/>
                  </a:cubicBezTo>
                  <a:cubicBezTo>
                    <a:pt x="3" y="73"/>
                    <a:pt x="0" y="70"/>
                    <a:pt x="0" y="55"/>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Rectangle 7">
              <a:extLst>
                <a:ext uri="{FF2B5EF4-FFF2-40B4-BE49-F238E27FC236}">
                  <a16:creationId xmlns:a16="http://schemas.microsoft.com/office/drawing/2014/main" id="{79EF5128-231D-4B6D-8A90-E91132B544CE}"/>
                </a:ext>
              </a:extLst>
            </p:cNvPr>
            <p:cNvSpPr>
              <a:spLocks noChangeArrowheads="1"/>
            </p:cNvSpPr>
            <p:nvPr/>
          </p:nvSpPr>
          <p:spPr bwMode="auto">
            <a:xfrm>
              <a:off x="813240" y="1953097"/>
              <a:ext cx="1047714" cy="635474"/>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8" name="Group 2">
            <a:extLst>
              <a:ext uri="{FF2B5EF4-FFF2-40B4-BE49-F238E27FC236}">
                <a16:creationId xmlns:a16="http://schemas.microsoft.com/office/drawing/2014/main" id="{2D1DFB58-AA28-4A8A-8629-24A312511489}"/>
              </a:ext>
            </a:extLst>
          </p:cNvPr>
          <p:cNvGrpSpPr/>
          <p:nvPr/>
        </p:nvGrpSpPr>
        <p:grpSpPr>
          <a:xfrm>
            <a:off x="592792" y="1340347"/>
            <a:ext cx="1987099" cy="1756788"/>
            <a:chOff x="617538" y="1090669"/>
            <a:chExt cx="1439862" cy="1656399"/>
          </a:xfrm>
        </p:grpSpPr>
        <p:sp>
          <p:nvSpPr>
            <p:cNvPr id="9" name="Freeform 5">
              <a:extLst>
                <a:ext uri="{FF2B5EF4-FFF2-40B4-BE49-F238E27FC236}">
                  <a16:creationId xmlns:a16="http://schemas.microsoft.com/office/drawing/2014/main" id="{F12F530F-C068-42C7-A871-2E5D0B5D4824}"/>
                </a:ext>
              </a:extLst>
            </p:cNvPr>
            <p:cNvSpPr>
              <a:spLocks noEditPoints="1"/>
            </p:cNvSpPr>
            <p:nvPr/>
          </p:nvSpPr>
          <p:spPr bwMode="auto">
            <a:xfrm>
              <a:off x="617538" y="1090669"/>
              <a:ext cx="1439862" cy="1656399"/>
            </a:xfrm>
            <a:custGeom>
              <a:avLst/>
              <a:gdLst>
                <a:gd name="T0" fmla="*/ 0 w 816"/>
                <a:gd name="T1" fmla="*/ 93 h 939"/>
                <a:gd name="T2" fmla="*/ 99 w 816"/>
                <a:gd name="T3" fmla="*/ 93 h 939"/>
                <a:gd name="T4" fmla="*/ 99 w 816"/>
                <a:gd name="T5" fmla="*/ 890 h 939"/>
                <a:gd name="T6" fmla="*/ 144 w 816"/>
                <a:gd name="T7" fmla="*/ 939 h 939"/>
                <a:gd name="T8" fmla="*/ 424 w 816"/>
                <a:gd name="T9" fmla="*/ 939 h 939"/>
                <a:gd name="T10" fmla="*/ 816 w 816"/>
                <a:gd name="T11" fmla="*/ 93 h 939"/>
                <a:gd name="T12" fmla="*/ 718 w 816"/>
                <a:gd name="T13" fmla="*/ 93 h 939"/>
                <a:gd name="T14" fmla="*/ 718 w 816"/>
                <a:gd name="T15" fmla="*/ 890 h 939"/>
                <a:gd name="T16" fmla="*/ 673 w 816"/>
                <a:gd name="T17" fmla="*/ 939 h 939"/>
                <a:gd name="T18" fmla="*/ 392 w 816"/>
                <a:gd name="T19" fmla="*/ 939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6" h="939">
                  <a:moveTo>
                    <a:pt x="0" y="93"/>
                  </a:moveTo>
                  <a:cubicBezTo>
                    <a:pt x="9" y="0"/>
                    <a:pt x="102" y="5"/>
                    <a:pt x="99" y="93"/>
                  </a:cubicBezTo>
                  <a:cubicBezTo>
                    <a:pt x="99" y="890"/>
                    <a:pt x="99" y="890"/>
                    <a:pt x="99" y="890"/>
                  </a:cubicBezTo>
                  <a:cubicBezTo>
                    <a:pt x="97" y="929"/>
                    <a:pt x="112" y="938"/>
                    <a:pt x="144" y="939"/>
                  </a:cubicBezTo>
                  <a:cubicBezTo>
                    <a:pt x="424" y="939"/>
                    <a:pt x="424" y="939"/>
                    <a:pt x="424" y="939"/>
                  </a:cubicBezTo>
                  <a:moveTo>
                    <a:pt x="816" y="93"/>
                  </a:moveTo>
                  <a:cubicBezTo>
                    <a:pt x="807" y="0"/>
                    <a:pt x="715" y="5"/>
                    <a:pt x="718" y="93"/>
                  </a:cubicBezTo>
                  <a:cubicBezTo>
                    <a:pt x="718" y="890"/>
                    <a:pt x="718" y="890"/>
                    <a:pt x="718" y="890"/>
                  </a:cubicBezTo>
                  <a:cubicBezTo>
                    <a:pt x="719" y="929"/>
                    <a:pt x="705" y="938"/>
                    <a:pt x="673" y="939"/>
                  </a:cubicBezTo>
                  <a:cubicBezTo>
                    <a:pt x="392" y="939"/>
                    <a:pt x="392" y="939"/>
                    <a:pt x="392" y="939"/>
                  </a:cubicBezTo>
                </a:path>
              </a:pathLst>
            </a:custGeom>
            <a:noFill/>
            <a:ln w="19050" cap="flat">
              <a:solidFill>
                <a:srgbClr val="BBBC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Line 8">
              <a:extLst>
                <a:ext uri="{FF2B5EF4-FFF2-40B4-BE49-F238E27FC236}">
                  <a16:creationId xmlns:a16="http://schemas.microsoft.com/office/drawing/2014/main" id="{74B68991-653B-4A73-913A-5AFF10BAB5C7}"/>
                </a:ext>
              </a:extLst>
            </p:cNvPr>
            <p:cNvSpPr>
              <a:spLocks noChangeShapeType="1"/>
            </p:cNvSpPr>
            <p:nvPr/>
          </p:nvSpPr>
          <p:spPr bwMode="auto">
            <a:xfrm>
              <a:off x="793893" y="1401708"/>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Line 9">
              <a:extLst>
                <a:ext uri="{FF2B5EF4-FFF2-40B4-BE49-F238E27FC236}">
                  <a16:creationId xmlns:a16="http://schemas.microsoft.com/office/drawing/2014/main" id="{9C22BF97-D8D8-4BBD-8015-A30A74F2C87F}"/>
                </a:ext>
              </a:extLst>
            </p:cNvPr>
            <p:cNvSpPr>
              <a:spLocks noChangeShapeType="1"/>
            </p:cNvSpPr>
            <p:nvPr/>
          </p:nvSpPr>
          <p:spPr bwMode="auto">
            <a:xfrm>
              <a:off x="793893" y="1554996"/>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Line 10">
              <a:extLst>
                <a:ext uri="{FF2B5EF4-FFF2-40B4-BE49-F238E27FC236}">
                  <a16:creationId xmlns:a16="http://schemas.microsoft.com/office/drawing/2014/main" id="{C467BC91-B71D-43D5-ACBD-6149AD43288E}"/>
                </a:ext>
              </a:extLst>
            </p:cNvPr>
            <p:cNvSpPr>
              <a:spLocks noChangeShapeType="1"/>
            </p:cNvSpPr>
            <p:nvPr/>
          </p:nvSpPr>
          <p:spPr bwMode="auto">
            <a:xfrm>
              <a:off x="793893" y="1723910"/>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Line 11">
              <a:extLst>
                <a:ext uri="{FF2B5EF4-FFF2-40B4-BE49-F238E27FC236}">
                  <a16:creationId xmlns:a16="http://schemas.microsoft.com/office/drawing/2014/main" id="{75AAFC56-2E4C-4B92-9E7C-EABDC3AA85B7}"/>
                </a:ext>
              </a:extLst>
            </p:cNvPr>
            <p:cNvSpPr>
              <a:spLocks noChangeShapeType="1"/>
            </p:cNvSpPr>
            <p:nvPr/>
          </p:nvSpPr>
          <p:spPr bwMode="auto">
            <a:xfrm>
              <a:off x="793893" y="1893569"/>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Line 12">
              <a:extLst>
                <a:ext uri="{FF2B5EF4-FFF2-40B4-BE49-F238E27FC236}">
                  <a16:creationId xmlns:a16="http://schemas.microsoft.com/office/drawing/2014/main" id="{0797B337-46D9-4533-B28E-C73C46257E8D}"/>
                </a:ext>
              </a:extLst>
            </p:cNvPr>
            <p:cNvSpPr>
              <a:spLocks noChangeShapeType="1"/>
            </p:cNvSpPr>
            <p:nvPr/>
          </p:nvSpPr>
          <p:spPr bwMode="auto">
            <a:xfrm>
              <a:off x="793893" y="2050577"/>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Line 13">
              <a:extLst>
                <a:ext uri="{FF2B5EF4-FFF2-40B4-BE49-F238E27FC236}">
                  <a16:creationId xmlns:a16="http://schemas.microsoft.com/office/drawing/2014/main" id="{40BF2572-9FB5-44CD-AC7F-4DC7CE907B80}"/>
                </a:ext>
              </a:extLst>
            </p:cNvPr>
            <p:cNvSpPr>
              <a:spLocks noChangeShapeType="1"/>
            </p:cNvSpPr>
            <p:nvPr/>
          </p:nvSpPr>
          <p:spPr bwMode="auto">
            <a:xfrm>
              <a:off x="793893" y="2205353"/>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Line 14">
              <a:extLst>
                <a:ext uri="{FF2B5EF4-FFF2-40B4-BE49-F238E27FC236}">
                  <a16:creationId xmlns:a16="http://schemas.microsoft.com/office/drawing/2014/main" id="{CF9D695B-90CB-4EF4-A55B-52752CED9F7F}"/>
                </a:ext>
              </a:extLst>
            </p:cNvPr>
            <p:cNvSpPr>
              <a:spLocks noChangeShapeType="1"/>
            </p:cNvSpPr>
            <p:nvPr/>
          </p:nvSpPr>
          <p:spPr bwMode="auto">
            <a:xfrm>
              <a:off x="793893" y="2375011"/>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Line 15">
              <a:extLst>
                <a:ext uri="{FF2B5EF4-FFF2-40B4-BE49-F238E27FC236}">
                  <a16:creationId xmlns:a16="http://schemas.microsoft.com/office/drawing/2014/main" id="{F9D43952-FFD9-46C6-8482-57F77DDBD528}"/>
                </a:ext>
              </a:extLst>
            </p:cNvPr>
            <p:cNvSpPr>
              <a:spLocks noChangeShapeType="1"/>
            </p:cNvSpPr>
            <p:nvPr/>
          </p:nvSpPr>
          <p:spPr bwMode="auto">
            <a:xfrm>
              <a:off x="793893" y="2544668"/>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8" name="Rounded Rectangle 17">
            <a:extLst>
              <a:ext uri="{FF2B5EF4-FFF2-40B4-BE49-F238E27FC236}">
                <a16:creationId xmlns:a16="http://schemas.microsoft.com/office/drawing/2014/main" id="{7759C419-EBC2-479E-A1F0-E6C05640291C}"/>
              </a:ext>
            </a:extLst>
          </p:cNvPr>
          <p:cNvSpPr/>
          <p:nvPr/>
        </p:nvSpPr>
        <p:spPr>
          <a:xfrm>
            <a:off x="476676" y="3323176"/>
            <a:ext cx="2208376" cy="2020455"/>
          </a:xfrm>
          <a:prstGeom prst="round2Diag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 name="Text Box 10">
            <a:extLst>
              <a:ext uri="{FF2B5EF4-FFF2-40B4-BE49-F238E27FC236}">
                <a16:creationId xmlns:a16="http://schemas.microsoft.com/office/drawing/2014/main" id="{AB67E82A-CA80-499D-9D6A-75CA76209750}"/>
              </a:ext>
            </a:extLst>
          </p:cNvPr>
          <p:cNvSpPr txBox="1">
            <a:spLocks noChangeArrowheads="1"/>
          </p:cNvSpPr>
          <p:nvPr/>
        </p:nvSpPr>
        <p:spPr bwMode="auto">
          <a:xfrm>
            <a:off x="616796" y="3451128"/>
            <a:ext cx="1963094" cy="1277273"/>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600" b="1" dirty="0" err="1">
                <a:solidFill>
                  <a:schemeClr val="accent2"/>
                </a:solidFill>
                <a:ea typeface="Open Sans" pitchFamily="34" charset="0"/>
                <a:cs typeface="Open Sans" pitchFamily="34" charset="0"/>
              </a:rPr>
              <a:t>xxxxxxxxx</a:t>
            </a:r>
            <a:endParaRPr lang="en-US" altLang="zh-CN" sz="1600" b="1" dirty="0">
              <a:solidFill>
                <a:schemeClr val="accent2"/>
              </a:solidFill>
              <a:ea typeface="Open Sans" pitchFamily="34" charset="0"/>
              <a:cs typeface="Open Sans" pitchFamily="34" charset="0"/>
            </a:endParaRPr>
          </a:p>
          <a:p>
            <a:pPr defTabSz="1088232"/>
            <a:r>
              <a:rPr lang="en-US" altLang="zh-CN" sz="1200" dirty="0">
                <a:solidFill>
                  <a:schemeClr val="bg1">
                    <a:lumMod val="65000"/>
                  </a:schemeClr>
                </a:solidFill>
                <a:ea typeface="Open Sans" pitchFamily="34" charset="0"/>
                <a:cs typeface="Open Sans" pitchFamily="34" charset="0"/>
              </a:rPr>
              <a:t>xxxxxxxxxxxxxxxxxxxxxxxxxxxxxxxxxxxxxxxxxxxxxxxxxxxxxxxxxxxxxxxxxxxxxxxxxxxxxxxxxxxxxxxx</a:t>
            </a:r>
          </a:p>
        </p:txBody>
      </p:sp>
      <p:sp>
        <p:nvSpPr>
          <p:cNvPr id="20" name="Text Box 10">
            <a:extLst>
              <a:ext uri="{FF2B5EF4-FFF2-40B4-BE49-F238E27FC236}">
                <a16:creationId xmlns:a16="http://schemas.microsoft.com/office/drawing/2014/main" id="{FC74595B-F911-4B3D-9F78-6B1E20383C90}"/>
              </a:ext>
            </a:extLst>
          </p:cNvPr>
          <p:cNvSpPr txBox="1">
            <a:spLocks noChangeArrowheads="1"/>
          </p:cNvSpPr>
          <p:nvPr/>
        </p:nvSpPr>
        <p:spPr bwMode="auto">
          <a:xfrm>
            <a:off x="1000762" y="1698918"/>
            <a:ext cx="1160203" cy="415498"/>
          </a:xfrm>
          <a:prstGeom prst="rect">
            <a:avLst/>
          </a:prstGeom>
          <a:noFill/>
          <a:ln w="9525">
            <a:noFill/>
            <a:miter lim="800000"/>
            <a:headEnd/>
            <a:tailEnd/>
          </a:ln>
        </p:spPr>
        <p:txBody>
          <a:bodyPr wrap="square" lIns="45720" tIns="22860" rIns="45720" bIns="22860">
            <a:spAutoFit/>
          </a:bodyPr>
          <a:lstStyle/>
          <a:p>
            <a:pPr algn="ctr" defTabSz="1088232"/>
            <a:r>
              <a:rPr lang="en-US" sz="2400" dirty="0">
                <a:solidFill>
                  <a:schemeClr val="accent2"/>
                </a:solidFill>
                <a:latin typeface="+mj-lt"/>
                <a:ea typeface="Open Sans Light" pitchFamily="34" charset="0"/>
                <a:cs typeface="Open Sans Light" pitchFamily="34" charset="0"/>
              </a:rPr>
              <a:t>54%</a:t>
            </a:r>
            <a:endParaRPr lang="en-US" sz="1600" dirty="0">
              <a:solidFill>
                <a:schemeClr val="accent2"/>
              </a:solidFill>
              <a:latin typeface="+mj-lt"/>
              <a:ea typeface="Open Sans Light" pitchFamily="34" charset="0"/>
              <a:cs typeface="Open Sans Light" pitchFamily="34" charset="0"/>
            </a:endParaRPr>
          </a:p>
        </p:txBody>
      </p:sp>
      <p:grpSp>
        <p:nvGrpSpPr>
          <p:cNvPr id="21" name="Group 19">
            <a:extLst>
              <a:ext uri="{FF2B5EF4-FFF2-40B4-BE49-F238E27FC236}">
                <a16:creationId xmlns:a16="http://schemas.microsoft.com/office/drawing/2014/main" id="{DC613A83-B2BE-4AB8-A50F-E1B36BF768FC}"/>
              </a:ext>
            </a:extLst>
          </p:cNvPr>
          <p:cNvGrpSpPr/>
          <p:nvPr/>
        </p:nvGrpSpPr>
        <p:grpSpPr>
          <a:xfrm>
            <a:off x="3491891" y="1698918"/>
            <a:ext cx="1445911" cy="1368227"/>
            <a:chOff x="2718240" y="1428750"/>
            <a:chExt cx="1047714" cy="1290042"/>
          </a:xfrm>
          <a:solidFill>
            <a:srgbClr val="00ABAB"/>
          </a:solidFill>
        </p:grpSpPr>
        <p:sp>
          <p:nvSpPr>
            <p:cNvPr id="22" name="Freeform 37">
              <a:extLst>
                <a:ext uri="{FF2B5EF4-FFF2-40B4-BE49-F238E27FC236}">
                  <a16:creationId xmlns:a16="http://schemas.microsoft.com/office/drawing/2014/main" id="{2F0035C2-0BC2-4393-9C41-398689042268}"/>
                </a:ext>
              </a:extLst>
            </p:cNvPr>
            <p:cNvSpPr>
              <a:spLocks/>
            </p:cNvSpPr>
            <p:nvPr/>
          </p:nvSpPr>
          <p:spPr bwMode="auto">
            <a:xfrm>
              <a:off x="2718240" y="2584851"/>
              <a:ext cx="1047714" cy="133941"/>
            </a:xfrm>
            <a:custGeom>
              <a:avLst/>
              <a:gdLst>
                <a:gd name="T0" fmla="*/ 0 w 594"/>
                <a:gd name="T1" fmla="*/ 0 h 76"/>
                <a:gd name="T2" fmla="*/ 297 w 594"/>
                <a:gd name="T3" fmla="*/ 0 h 76"/>
                <a:gd name="T4" fmla="*/ 594 w 594"/>
                <a:gd name="T5" fmla="*/ 0 h 76"/>
                <a:gd name="T6" fmla="*/ 594 w 594"/>
                <a:gd name="T7" fmla="*/ 55 h 76"/>
                <a:gd name="T8" fmla="*/ 585 w 594"/>
                <a:gd name="T9" fmla="*/ 75 h 76"/>
                <a:gd name="T10" fmla="*/ 297 w 594"/>
                <a:gd name="T11" fmla="*/ 76 h 76"/>
                <a:gd name="T12" fmla="*/ 9 w 594"/>
                <a:gd name="T13" fmla="*/ 75 h 76"/>
                <a:gd name="T14" fmla="*/ 0 w 594"/>
                <a:gd name="T15" fmla="*/ 55 h 76"/>
                <a:gd name="T16" fmla="*/ 0 w 594"/>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4" h="76">
                  <a:moveTo>
                    <a:pt x="0" y="0"/>
                  </a:moveTo>
                  <a:cubicBezTo>
                    <a:pt x="297" y="0"/>
                    <a:pt x="297" y="0"/>
                    <a:pt x="297" y="0"/>
                  </a:cubicBezTo>
                  <a:cubicBezTo>
                    <a:pt x="594" y="0"/>
                    <a:pt x="594" y="0"/>
                    <a:pt x="594" y="0"/>
                  </a:cubicBezTo>
                  <a:cubicBezTo>
                    <a:pt x="594" y="55"/>
                    <a:pt x="594" y="55"/>
                    <a:pt x="594" y="55"/>
                  </a:cubicBezTo>
                  <a:cubicBezTo>
                    <a:pt x="594" y="70"/>
                    <a:pt x="592" y="73"/>
                    <a:pt x="585" y="75"/>
                  </a:cubicBezTo>
                  <a:cubicBezTo>
                    <a:pt x="297" y="76"/>
                    <a:pt x="297" y="76"/>
                    <a:pt x="297" y="76"/>
                  </a:cubicBezTo>
                  <a:cubicBezTo>
                    <a:pt x="9" y="75"/>
                    <a:pt x="9" y="75"/>
                    <a:pt x="9" y="75"/>
                  </a:cubicBezTo>
                  <a:cubicBezTo>
                    <a:pt x="3" y="73"/>
                    <a:pt x="0" y="70"/>
                    <a:pt x="0" y="55"/>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3" name="Rectangle 38">
              <a:extLst>
                <a:ext uri="{FF2B5EF4-FFF2-40B4-BE49-F238E27FC236}">
                  <a16:creationId xmlns:a16="http://schemas.microsoft.com/office/drawing/2014/main" id="{0C3C1C07-CA45-4BCB-9550-74A9B84BC55D}"/>
                </a:ext>
              </a:extLst>
            </p:cNvPr>
            <p:cNvSpPr>
              <a:spLocks noChangeArrowheads="1"/>
            </p:cNvSpPr>
            <p:nvPr/>
          </p:nvSpPr>
          <p:spPr bwMode="auto">
            <a:xfrm>
              <a:off x="2718240" y="1428750"/>
              <a:ext cx="1047714" cy="115982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4" name="Group 3">
            <a:extLst>
              <a:ext uri="{FF2B5EF4-FFF2-40B4-BE49-F238E27FC236}">
                <a16:creationId xmlns:a16="http://schemas.microsoft.com/office/drawing/2014/main" id="{45CFD96C-FA0A-4225-91A0-14D67380605F}"/>
              </a:ext>
            </a:extLst>
          </p:cNvPr>
          <p:cNvGrpSpPr/>
          <p:nvPr/>
        </p:nvGrpSpPr>
        <p:grpSpPr>
          <a:xfrm>
            <a:off x="3221810" y="1340347"/>
            <a:ext cx="1987099" cy="1756788"/>
            <a:chOff x="2522538" y="1090669"/>
            <a:chExt cx="1439862" cy="1656399"/>
          </a:xfrm>
        </p:grpSpPr>
        <p:sp>
          <p:nvSpPr>
            <p:cNvPr id="25" name="Freeform 36">
              <a:extLst>
                <a:ext uri="{FF2B5EF4-FFF2-40B4-BE49-F238E27FC236}">
                  <a16:creationId xmlns:a16="http://schemas.microsoft.com/office/drawing/2014/main" id="{0EDD55B3-B1B4-4885-B2A9-5C8AC0748878}"/>
                </a:ext>
              </a:extLst>
            </p:cNvPr>
            <p:cNvSpPr>
              <a:spLocks noEditPoints="1"/>
            </p:cNvSpPr>
            <p:nvPr/>
          </p:nvSpPr>
          <p:spPr bwMode="auto">
            <a:xfrm>
              <a:off x="2522538" y="1090669"/>
              <a:ext cx="1439862" cy="1656399"/>
            </a:xfrm>
            <a:custGeom>
              <a:avLst/>
              <a:gdLst>
                <a:gd name="T0" fmla="*/ 0 w 816"/>
                <a:gd name="T1" fmla="*/ 93 h 939"/>
                <a:gd name="T2" fmla="*/ 99 w 816"/>
                <a:gd name="T3" fmla="*/ 93 h 939"/>
                <a:gd name="T4" fmla="*/ 99 w 816"/>
                <a:gd name="T5" fmla="*/ 890 h 939"/>
                <a:gd name="T6" fmla="*/ 144 w 816"/>
                <a:gd name="T7" fmla="*/ 939 h 939"/>
                <a:gd name="T8" fmla="*/ 424 w 816"/>
                <a:gd name="T9" fmla="*/ 939 h 939"/>
                <a:gd name="T10" fmla="*/ 816 w 816"/>
                <a:gd name="T11" fmla="*/ 93 h 939"/>
                <a:gd name="T12" fmla="*/ 718 w 816"/>
                <a:gd name="T13" fmla="*/ 93 h 939"/>
                <a:gd name="T14" fmla="*/ 718 w 816"/>
                <a:gd name="T15" fmla="*/ 890 h 939"/>
                <a:gd name="T16" fmla="*/ 673 w 816"/>
                <a:gd name="T17" fmla="*/ 939 h 939"/>
                <a:gd name="T18" fmla="*/ 392 w 816"/>
                <a:gd name="T19" fmla="*/ 939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6" h="939">
                  <a:moveTo>
                    <a:pt x="0" y="93"/>
                  </a:moveTo>
                  <a:cubicBezTo>
                    <a:pt x="9" y="0"/>
                    <a:pt x="102" y="5"/>
                    <a:pt x="99" y="93"/>
                  </a:cubicBezTo>
                  <a:cubicBezTo>
                    <a:pt x="99" y="890"/>
                    <a:pt x="99" y="890"/>
                    <a:pt x="99" y="890"/>
                  </a:cubicBezTo>
                  <a:cubicBezTo>
                    <a:pt x="97" y="929"/>
                    <a:pt x="112" y="938"/>
                    <a:pt x="144" y="939"/>
                  </a:cubicBezTo>
                  <a:cubicBezTo>
                    <a:pt x="424" y="939"/>
                    <a:pt x="424" y="939"/>
                    <a:pt x="424" y="939"/>
                  </a:cubicBezTo>
                  <a:moveTo>
                    <a:pt x="816" y="93"/>
                  </a:moveTo>
                  <a:cubicBezTo>
                    <a:pt x="807" y="0"/>
                    <a:pt x="715" y="5"/>
                    <a:pt x="718" y="93"/>
                  </a:cubicBezTo>
                  <a:cubicBezTo>
                    <a:pt x="718" y="890"/>
                    <a:pt x="718" y="890"/>
                    <a:pt x="718" y="890"/>
                  </a:cubicBezTo>
                  <a:cubicBezTo>
                    <a:pt x="719" y="929"/>
                    <a:pt x="705" y="938"/>
                    <a:pt x="673" y="939"/>
                  </a:cubicBezTo>
                  <a:cubicBezTo>
                    <a:pt x="392" y="939"/>
                    <a:pt x="392" y="939"/>
                    <a:pt x="392" y="939"/>
                  </a:cubicBezTo>
                </a:path>
              </a:pathLst>
            </a:custGeom>
            <a:noFill/>
            <a:ln w="19050" cap="flat">
              <a:solidFill>
                <a:srgbClr val="BBBC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Line 8">
              <a:extLst>
                <a:ext uri="{FF2B5EF4-FFF2-40B4-BE49-F238E27FC236}">
                  <a16:creationId xmlns:a16="http://schemas.microsoft.com/office/drawing/2014/main" id="{8C6FA2FD-15F7-4D48-B7B7-DB09DA9FB717}"/>
                </a:ext>
              </a:extLst>
            </p:cNvPr>
            <p:cNvSpPr>
              <a:spLocks noChangeShapeType="1"/>
            </p:cNvSpPr>
            <p:nvPr/>
          </p:nvSpPr>
          <p:spPr bwMode="auto">
            <a:xfrm>
              <a:off x="2698893" y="1401708"/>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Line 9">
              <a:extLst>
                <a:ext uri="{FF2B5EF4-FFF2-40B4-BE49-F238E27FC236}">
                  <a16:creationId xmlns:a16="http://schemas.microsoft.com/office/drawing/2014/main" id="{6D29799D-B9BA-47E3-B2FB-4838705F0678}"/>
                </a:ext>
              </a:extLst>
            </p:cNvPr>
            <p:cNvSpPr>
              <a:spLocks noChangeShapeType="1"/>
            </p:cNvSpPr>
            <p:nvPr/>
          </p:nvSpPr>
          <p:spPr bwMode="auto">
            <a:xfrm>
              <a:off x="2698893" y="1554996"/>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Line 10">
              <a:extLst>
                <a:ext uri="{FF2B5EF4-FFF2-40B4-BE49-F238E27FC236}">
                  <a16:creationId xmlns:a16="http://schemas.microsoft.com/office/drawing/2014/main" id="{271E0398-F305-4B65-B82C-47850EAFBBD3}"/>
                </a:ext>
              </a:extLst>
            </p:cNvPr>
            <p:cNvSpPr>
              <a:spLocks noChangeShapeType="1"/>
            </p:cNvSpPr>
            <p:nvPr/>
          </p:nvSpPr>
          <p:spPr bwMode="auto">
            <a:xfrm>
              <a:off x="2698893" y="1723910"/>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Line 11">
              <a:extLst>
                <a:ext uri="{FF2B5EF4-FFF2-40B4-BE49-F238E27FC236}">
                  <a16:creationId xmlns:a16="http://schemas.microsoft.com/office/drawing/2014/main" id="{163B7C9C-EDCD-4338-9899-532A7D168A3D}"/>
                </a:ext>
              </a:extLst>
            </p:cNvPr>
            <p:cNvSpPr>
              <a:spLocks noChangeShapeType="1"/>
            </p:cNvSpPr>
            <p:nvPr/>
          </p:nvSpPr>
          <p:spPr bwMode="auto">
            <a:xfrm>
              <a:off x="2698893" y="1893569"/>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Line 12">
              <a:extLst>
                <a:ext uri="{FF2B5EF4-FFF2-40B4-BE49-F238E27FC236}">
                  <a16:creationId xmlns:a16="http://schemas.microsoft.com/office/drawing/2014/main" id="{622445D1-0202-4786-8953-BC37CC863041}"/>
                </a:ext>
              </a:extLst>
            </p:cNvPr>
            <p:cNvSpPr>
              <a:spLocks noChangeShapeType="1"/>
            </p:cNvSpPr>
            <p:nvPr/>
          </p:nvSpPr>
          <p:spPr bwMode="auto">
            <a:xfrm>
              <a:off x="2698893" y="2050577"/>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Line 13">
              <a:extLst>
                <a:ext uri="{FF2B5EF4-FFF2-40B4-BE49-F238E27FC236}">
                  <a16:creationId xmlns:a16="http://schemas.microsoft.com/office/drawing/2014/main" id="{FE1937DB-78FB-4DDC-871E-34ACF1079725}"/>
                </a:ext>
              </a:extLst>
            </p:cNvPr>
            <p:cNvSpPr>
              <a:spLocks noChangeShapeType="1"/>
            </p:cNvSpPr>
            <p:nvPr/>
          </p:nvSpPr>
          <p:spPr bwMode="auto">
            <a:xfrm>
              <a:off x="2698893" y="2205353"/>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Line 14">
              <a:extLst>
                <a:ext uri="{FF2B5EF4-FFF2-40B4-BE49-F238E27FC236}">
                  <a16:creationId xmlns:a16="http://schemas.microsoft.com/office/drawing/2014/main" id="{2B2F1490-CED3-4BCA-B947-00D8B67623EB}"/>
                </a:ext>
              </a:extLst>
            </p:cNvPr>
            <p:cNvSpPr>
              <a:spLocks noChangeShapeType="1"/>
            </p:cNvSpPr>
            <p:nvPr/>
          </p:nvSpPr>
          <p:spPr bwMode="auto">
            <a:xfrm>
              <a:off x="2698893" y="2375011"/>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Line 15">
              <a:extLst>
                <a:ext uri="{FF2B5EF4-FFF2-40B4-BE49-F238E27FC236}">
                  <a16:creationId xmlns:a16="http://schemas.microsoft.com/office/drawing/2014/main" id="{08F5BD32-5674-43D9-ACA4-D143E171048A}"/>
                </a:ext>
              </a:extLst>
            </p:cNvPr>
            <p:cNvSpPr>
              <a:spLocks noChangeShapeType="1"/>
            </p:cNvSpPr>
            <p:nvPr/>
          </p:nvSpPr>
          <p:spPr bwMode="auto">
            <a:xfrm>
              <a:off x="2698893" y="2544668"/>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4" name="Rounded Rectangle 47">
            <a:extLst>
              <a:ext uri="{FF2B5EF4-FFF2-40B4-BE49-F238E27FC236}">
                <a16:creationId xmlns:a16="http://schemas.microsoft.com/office/drawing/2014/main" id="{C5E6762B-4F4E-40D8-B09D-011733113674}"/>
              </a:ext>
            </a:extLst>
          </p:cNvPr>
          <p:cNvSpPr/>
          <p:nvPr/>
        </p:nvSpPr>
        <p:spPr>
          <a:xfrm>
            <a:off x="3105695" y="3323176"/>
            <a:ext cx="2208376" cy="2020455"/>
          </a:xfrm>
          <a:prstGeom prst="round2Diag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5" name="Text Box 10">
            <a:extLst>
              <a:ext uri="{FF2B5EF4-FFF2-40B4-BE49-F238E27FC236}">
                <a16:creationId xmlns:a16="http://schemas.microsoft.com/office/drawing/2014/main" id="{1000459C-006F-4BEF-860B-536F3319B4AD}"/>
              </a:ext>
            </a:extLst>
          </p:cNvPr>
          <p:cNvSpPr txBox="1">
            <a:spLocks noChangeArrowheads="1"/>
          </p:cNvSpPr>
          <p:nvPr/>
        </p:nvSpPr>
        <p:spPr bwMode="auto">
          <a:xfrm>
            <a:off x="3245815" y="3451128"/>
            <a:ext cx="1963094" cy="1277273"/>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600" b="1" dirty="0" err="1">
                <a:solidFill>
                  <a:schemeClr val="accent1"/>
                </a:solidFill>
                <a:ea typeface="Open Sans" pitchFamily="34" charset="0"/>
                <a:cs typeface="Open Sans" pitchFamily="34" charset="0"/>
              </a:rPr>
              <a:t>xxxxxxxxx</a:t>
            </a:r>
            <a:endParaRPr lang="en-US" altLang="zh-CN" sz="1600" b="1" dirty="0">
              <a:solidFill>
                <a:schemeClr val="accent1"/>
              </a:solidFill>
              <a:ea typeface="Open Sans" pitchFamily="34" charset="0"/>
              <a:cs typeface="Open Sans" pitchFamily="34" charset="0"/>
            </a:endParaRPr>
          </a:p>
          <a:p>
            <a:pPr defTabSz="1088232"/>
            <a:r>
              <a:rPr lang="en-US" altLang="zh-CN" sz="1200" dirty="0">
                <a:solidFill>
                  <a:schemeClr val="bg1">
                    <a:lumMod val="65000"/>
                  </a:schemeClr>
                </a:solidFill>
                <a:ea typeface="Open Sans" pitchFamily="34" charset="0"/>
                <a:cs typeface="Open Sans" pitchFamily="34" charset="0"/>
              </a:rPr>
              <a:t>xxxxxxxxxxxxxxxxxxxxxxxxxxxxxxxxxxxxxxxxxxxxxxxxxxxxxxxxxxxxxxxxxxxxxxxxxxxxxxxxxxxxxxxxxxxxxxxx</a:t>
            </a:r>
          </a:p>
        </p:txBody>
      </p:sp>
      <p:sp>
        <p:nvSpPr>
          <p:cNvPr id="36" name="Text Box 10">
            <a:extLst>
              <a:ext uri="{FF2B5EF4-FFF2-40B4-BE49-F238E27FC236}">
                <a16:creationId xmlns:a16="http://schemas.microsoft.com/office/drawing/2014/main" id="{180F3A8D-0C65-4365-856C-B1CBF2F40DEA}"/>
              </a:ext>
            </a:extLst>
          </p:cNvPr>
          <p:cNvSpPr txBox="1">
            <a:spLocks noChangeArrowheads="1"/>
          </p:cNvSpPr>
          <p:nvPr/>
        </p:nvSpPr>
        <p:spPr bwMode="auto">
          <a:xfrm>
            <a:off x="3629780" y="2198190"/>
            <a:ext cx="1160203" cy="415498"/>
          </a:xfrm>
          <a:prstGeom prst="rect">
            <a:avLst/>
          </a:prstGeom>
          <a:noFill/>
          <a:ln w="9525">
            <a:noFill/>
            <a:miter lim="800000"/>
            <a:headEnd/>
            <a:tailEnd/>
          </a:ln>
        </p:spPr>
        <p:txBody>
          <a:bodyPr wrap="square" lIns="45720" tIns="22860" rIns="45720" bIns="22860">
            <a:spAutoFit/>
          </a:bodyPr>
          <a:lstStyle/>
          <a:p>
            <a:pPr algn="ctr" defTabSz="1088232"/>
            <a:r>
              <a:rPr lang="en-US" sz="2400" dirty="0">
                <a:solidFill>
                  <a:srgbClr val="FFFFFF"/>
                </a:solidFill>
                <a:latin typeface="+mj-lt"/>
                <a:ea typeface="Open Sans Light" pitchFamily="34" charset="0"/>
                <a:cs typeface="Open Sans Light" pitchFamily="34" charset="0"/>
              </a:rPr>
              <a:t>85%</a:t>
            </a:r>
            <a:endParaRPr lang="en-US" sz="1600" dirty="0">
              <a:solidFill>
                <a:srgbClr val="FFFFFF"/>
              </a:solidFill>
              <a:latin typeface="+mj-lt"/>
              <a:ea typeface="Open Sans Light" pitchFamily="34" charset="0"/>
              <a:cs typeface="Open Sans Light" pitchFamily="34" charset="0"/>
            </a:endParaRPr>
          </a:p>
        </p:txBody>
      </p:sp>
      <p:grpSp>
        <p:nvGrpSpPr>
          <p:cNvPr id="37" name="Group 16">
            <a:extLst>
              <a:ext uri="{FF2B5EF4-FFF2-40B4-BE49-F238E27FC236}">
                <a16:creationId xmlns:a16="http://schemas.microsoft.com/office/drawing/2014/main" id="{09755EB6-1E8C-477B-BB6A-FD23BD59BF51}"/>
              </a:ext>
            </a:extLst>
          </p:cNvPr>
          <p:cNvGrpSpPr/>
          <p:nvPr/>
        </p:nvGrpSpPr>
        <p:grpSpPr>
          <a:xfrm>
            <a:off x="6120910" y="2702529"/>
            <a:ext cx="1445911" cy="364616"/>
            <a:chOff x="4623240" y="2375011"/>
            <a:chExt cx="1047714" cy="343781"/>
          </a:xfrm>
          <a:solidFill>
            <a:srgbClr val="C4D600"/>
          </a:solidFill>
        </p:grpSpPr>
        <p:sp>
          <p:nvSpPr>
            <p:cNvPr id="38" name="Freeform 52">
              <a:extLst>
                <a:ext uri="{FF2B5EF4-FFF2-40B4-BE49-F238E27FC236}">
                  <a16:creationId xmlns:a16="http://schemas.microsoft.com/office/drawing/2014/main" id="{BBE5FA45-DF54-4178-B067-F5AF60F5C755}"/>
                </a:ext>
              </a:extLst>
            </p:cNvPr>
            <p:cNvSpPr>
              <a:spLocks/>
            </p:cNvSpPr>
            <p:nvPr/>
          </p:nvSpPr>
          <p:spPr bwMode="auto">
            <a:xfrm>
              <a:off x="4623240" y="2584851"/>
              <a:ext cx="1047714" cy="133941"/>
            </a:xfrm>
            <a:custGeom>
              <a:avLst/>
              <a:gdLst>
                <a:gd name="T0" fmla="*/ 0 w 594"/>
                <a:gd name="T1" fmla="*/ 0 h 76"/>
                <a:gd name="T2" fmla="*/ 297 w 594"/>
                <a:gd name="T3" fmla="*/ 0 h 76"/>
                <a:gd name="T4" fmla="*/ 594 w 594"/>
                <a:gd name="T5" fmla="*/ 0 h 76"/>
                <a:gd name="T6" fmla="*/ 594 w 594"/>
                <a:gd name="T7" fmla="*/ 55 h 76"/>
                <a:gd name="T8" fmla="*/ 585 w 594"/>
                <a:gd name="T9" fmla="*/ 75 h 76"/>
                <a:gd name="T10" fmla="*/ 297 w 594"/>
                <a:gd name="T11" fmla="*/ 76 h 76"/>
                <a:gd name="T12" fmla="*/ 9 w 594"/>
                <a:gd name="T13" fmla="*/ 75 h 76"/>
                <a:gd name="T14" fmla="*/ 0 w 594"/>
                <a:gd name="T15" fmla="*/ 55 h 76"/>
                <a:gd name="T16" fmla="*/ 0 w 594"/>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4" h="76">
                  <a:moveTo>
                    <a:pt x="0" y="0"/>
                  </a:moveTo>
                  <a:cubicBezTo>
                    <a:pt x="297" y="0"/>
                    <a:pt x="297" y="0"/>
                    <a:pt x="297" y="0"/>
                  </a:cubicBezTo>
                  <a:cubicBezTo>
                    <a:pt x="594" y="0"/>
                    <a:pt x="594" y="0"/>
                    <a:pt x="594" y="0"/>
                  </a:cubicBezTo>
                  <a:cubicBezTo>
                    <a:pt x="594" y="55"/>
                    <a:pt x="594" y="55"/>
                    <a:pt x="594" y="55"/>
                  </a:cubicBezTo>
                  <a:cubicBezTo>
                    <a:pt x="594" y="70"/>
                    <a:pt x="592" y="73"/>
                    <a:pt x="585" y="75"/>
                  </a:cubicBezTo>
                  <a:cubicBezTo>
                    <a:pt x="297" y="76"/>
                    <a:pt x="297" y="76"/>
                    <a:pt x="297" y="76"/>
                  </a:cubicBezTo>
                  <a:cubicBezTo>
                    <a:pt x="9" y="75"/>
                    <a:pt x="9" y="75"/>
                    <a:pt x="9" y="75"/>
                  </a:cubicBezTo>
                  <a:cubicBezTo>
                    <a:pt x="3" y="73"/>
                    <a:pt x="0" y="70"/>
                    <a:pt x="0" y="55"/>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 name="Rectangle 53">
              <a:extLst>
                <a:ext uri="{FF2B5EF4-FFF2-40B4-BE49-F238E27FC236}">
                  <a16:creationId xmlns:a16="http://schemas.microsoft.com/office/drawing/2014/main" id="{BDEC386C-CE9A-4253-8B53-D54A0E7B6A02}"/>
                </a:ext>
              </a:extLst>
            </p:cNvPr>
            <p:cNvSpPr>
              <a:spLocks noChangeArrowheads="1"/>
            </p:cNvSpPr>
            <p:nvPr/>
          </p:nvSpPr>
          <p:spPr bwMode="auto">
            <a:xfrm>
              <a:off x="4623240" y="2375011"/>
              <a:ext cx="1047714" cy="21356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40" name="Group 4">
            <a:extLst>
              <a:ext uri="{FF2B5EF4-FFF2-40B4-BE49-F238E27FC236}">
                <a16:creationId xmlns:a16="http://schemas.microsoft.com/office/drawing/2014/main" id="{55A95C17-437C-41DB-A722-ED521EB3D13E}"/>
              </a:ext>
            </a:extLst>
          </p:cNvPr>
          <p:cNvGrpSpPr/>
          <p:nvPr/>
        </p:nvGrpSpPr>
        <p:grpSpPr>
          <a:xfrm>
            <a:off x="5850829" y="1340347"/>
            <a:ext cx="1987099" cy="1756788"/>
            <a:chOff x="4427538" y="1090669"/>
            <a:chExt cx="1439862" cy="1656399"/>
          </a:xfrm>
        </p:grpSpPr>
        <p:sp>
          <p:nvSpPr>
            <p:cNvPr id="41" name="Freeform 51">
              <a:extLst>
                <a:ext uri="{FF2B5EF4-FFF2-40B4-BE49-F238E27FC236}">
                  <a16:creationId xmlns:a16="http://schemas.microsoft.com/office/drawing/2014/main" id="{0195D082-3BEA-4C34-8DB2-13019B8E82CA}"/>
                </a:ext>
              </a:extLst>
            </p:cNvPr>
            <p:cNvSpPr>
              <a:spLocks noEditPoints="1"/>
            </p:cNvSpPr>
            <p:nvPr/>
          </p:nvSpPr>
          <p:spPr bwMode="auto">
            <a:xfrm>
              <a:off x="4427538" y="1090669"/>
              <a:ext cx="1439862" cy="1656399"/>
            </a:xfrm>
            <a:custGeom>
              <a:avLst/>
              <a:gdLst>
                <a:gd name="T0" fmla="*/ 0 w 816"/>
                <a:gd name="T1" fmla="*/ 93 h 939"/>
                <a:gd name="T2" fmla="*/ 99 w 816"/>
                <a:gd name="T3" fmla="*/ 93 h 939"/>
                <a:gd name="T4" fmla="*/ 99 w 816"/>
                <a:gd name="T5" fmla="*/ 890 h 939"/>
                <a:gd name="T6" fmla="*/ 144 w 816"/>
                <a:gd name="T7" fmla="*/ 939 h 939"/>
                <a:gd name="T8" fmla="*/ 424 w 816"/>
                <a:gd name="T9" fmla="*/ 939 h 939"/>
                <a:gd name="T10" fmla="*/ 816 w 816"/>
                <a:gd name="T11" fmla="*/ 93 h 939"/>
                <a:gd name="T12" fmla="*/ 718 w 816"/>
                <a:gd name="T13" fmla="*/ 93 h 939"/>
                <a:gd name="T14" fmla="*/ 718 w 816"/>
                <a:gd name="T15" fmla="*/ 890 h 939"/>
                <a:gd name="T16" fmla="*/ 673 w 816"/>
                <a:gd name="T17" fmla="*/ 939 h 939"/>
                <a:gd name="T18" fmla="*/ 392 w 816"/>
                <a:gd name="T19" fmla="*/ 939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6" h="939">
                  <a:moveTo>
                    <a:pt x="0" y="93"/>
                  </a:moveTo>
                  <a:cubicBezTo>
                    <a:pt x="9" y="0"/>
                    <a:pt x="102" y="5"/>
                    <a:pt x="99" y="93"/>
                  </a:cubicBezTo>
                  <a:cubicBezTo>
                    <a:pt x="99" y="890"/>
                    <a:pt x="99" y="890"/>
                    <a:pt x="99" y="890"/>
                  </a:cubicBezTo>
                  <a:cubicBezTo>
                    <a:pt x="97" y="929"/>
                    <a:pt x="112" y="938"/>
                    <a:pt x="144" y="939"/>
                  </a:cubicBezTo>
                  <a:cubicBezTo>
                    <a:pt x="424" y="939"/>
                    <a:pt x="424" y="939"/>
                    <a:pt x="424" y="939"/>
                  </a:cubicBezTo>
                  <a:moveTo>
                    <a:pt x="816" y="93"/>
                  </a:moveTo>
                  <a:cubicBezTo>
                    <a:pt x="807" y="0"/>
                    <a:pt x="715" y="5"/>
                    <a:pt x="718" y="93"/>
                  </a:cubicBezTo>
                  <a:cubicBezTo>
                    <a:pt x="718" y="890"/>
                    <a:pt x="718" y="890"/>
                    <a:pt x="718" y="890"/>
                  </a:cubicBezTo>
                  <a:cubicBezTo>
                    <a:pt x="719" y="929"/>
                    <a:pt x="705" y="938"/>
                    <a:pt x="673" y="939"/>
                  </a:cubicBezTo>
                  <a:cubicBezTo>
                    <a:pt x="392" y="939"/>
                    <a:pt x="392" y="939"/>
                    <a:pt x="392" y="939"/>
                  </a:cubicBezTo>
                </a:path>
              </a:pathLst>
            </a:custGeom>
            <a:noFill/>
            <a:ln w="19050" cap="flat">
              <a:solidFill>
                <a:srgbClr val="BBBC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Line 8">
              <a:extLst>
                <a:ext uri="{FF2B5EF4-FFF2-40B4-BE49-F238E27FC236}">
                  <a16:creationId xmlns:a16="http://schemas.microsoft.com/office/drawing/2014/main" id="{9C517C0D-0BA1-4B5E-9D74-8C8CC63CFCAC}"/>
                </a:ext>
              </a:extLst>
            </p:cNvPr>
            <p:cNvSpPr>
              <a:spLocks noChangeShapeType="1"/>
            </p:cNvSpPr>
            <p:nvPr/>
          </p:nvSpPr>
          <p:spPr bwMode="auto">
            <a:xfrm>
              <a:off x="4603893" y="1401708"/>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Line 9">
              <a:extLst>
                <a:ext uri="{FF2B5EF4-FFF2-40B4-BE49-F238E27FC236}">
                  <a16:creationId xmlns:a16="http://schemas.microsoft.com/office/drawing/2014/main" id="{970DDEC3-3831-4141-B430-5018D7D5B78D}"/>
                </a:ext>
              </a:extLst>
            </p:cNvPr>
            <p:cNvSpPr>
              <a:spLocks noChangeShapeType="1"/>
            </p:cNvSpPr>
            <p:nvPr/>
          </p:nvSpPr>
          <p:spPr bwMode="auto">
            <a:xfrm>
              <a:off x="4603893" y="1554996"/>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Line 10">
              <a:extLst>
                <a:ext uri="{FF2B5EF4-FFF2-40B4-BE49-F238E27FC236}">
                  <a16:creationId xmlns:a16="http://schemas.microsoft.com/office/drawing/2014/main" id="{52D5443F-872E-4860-B8BE-EEF8123B098A}"/>
                </a:ext>
              </a:extLst>
            </p:cNvPr>
            <p:cNvSpPr>
              <a:spLocks noChangeShapeType="1"/>
            </p:cNvSpPr>
            <p:nvPr/>
          </p:nvSpPr>
          <p:spPr bwMode="auto">
            <a:xfrm>
              <a:off x="4603893" y="1723910"/>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 name="Line 11">
              <a:extLst>
                <a:ext uri="{FF2B5EF4-FFF2-40B4-BE49-F238E27FC236}">
                  <a16:creationId xmlns:a16="http://schemas.microsoft.com/office/drawing/2014/main" id="{EB468AAF-E120-4D82-BDBC-A8A7B21B7F20}"/>
                </a:ext>
              </a:extLst>
            </p:cNvPr>
            <p:cNvSpPr>
              <a:spLocks noChangeShapeType="1"/>
            </p:cNvSpPr>
            <p:nvPr/>
          </p:nvSpPr>
          <p:spPr bwMode="auto">
            <a:xfrm>
              <a:off x="4603893" y="1893569"/>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 name="Line 12">
              <a:extLst>
                <a:ext uri="{FF2B5EF4-FFF2-40B4-BE49-F238E27FC236}">
                  <a16:creationId xmlns:a16="http://schemas.microsoft.com/office/drawing/2014/main" id="{61DB19AD-527A-47A8-A08F-35BF9FF038FD}"/>
                </a:ext>
              </a:extLst>
            </p:cNvPr>
            <p:cNvSpPr>
              <a:spLocks noChangeShapeType="1"/>
            </p:cNvSpPr>
            <p:nvPr/>
          </p:nvSpPr>
          <p:spPr bwMode="auto">
            <a:xfrm>
              <a:off x="4603893" y="2050577"/>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 name="Line 13">
              <a:extLst>
                <a:ext uri="{FF2B5EF4-FFF2-40B4-BE49-F238E27FC236}">
                  <a16:creationId xmlns:a16="http://schemas.microsoft.com/office/drawing/2014/main" id="{CDAFFE81-4212-4B8A-8C11-1025E4A5BA66}"/>
                </a:ext>
              </a:extLst>
            </p:cNvPr>
            <p:cNvSpPr>
              <a:spLocks noChangeShapeType="1"/>
            </p:cNvSpPr>
            <p:nvPr/>
          </p:nvSpPr>
          <p:spPr bwMode="auto">
            <a:xfrm>
              <a:off x="4603893" y="2205353"/>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8" name="Line 14">
              <a:extLst>
                <a:ext uri="{FF2B5EF4-FFF2-40B4-BE49-F238E27FC236}">
                  <a16:creationId xmlns:a16="http://schemas.microsoft.com/office/drawing/2014/main" id="{29C5ED93-906F-4D86-A14E-0A8D3DC87EA3}"/>
                </a:ext>
              </a:extLst>
            </p:cNvPr>
            <p:cNvSpPr>
              <a:spLocks noChangeShapeType="1"/>
            </p:cNvSpPr>
            <p:nvPr/>
          </p:nvSpPr>
          <p:spPr bwMode="auto">
            <a:xfrm>
              <a:off x="4603893" y="2375011"/>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9" name="Line 15">
              <a:extLst>
                <a:ext uri="{FF2B5EF4-FFF2-40B4-BE49-F238E27FC236}">
                  <a16:creationId xmlns:a16="http://schemas.microsoft.com/office/drawing/2014/main" id="{DD27727D-C922-47AB-8368-6EF3DFD4AC35}"/>
                </a:ext>
              </a:extLst>
            </p:cNvPr>
            <p:cNvSpPr>
              <a:spLocks noChangeShapeType="1"/>
            </p:cNvSpPr>
            <p:nvPr/>
          </p:nvSpPr>
          <p:spPr bwMode="auto">
            <a:xfrm>
              <a:off x="4603893" y="2544668"/>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50" name="Rounded Rectangle 62">
            <a:extLst>
              <a:ext uri="{FF2B5EF4-FFF2-40B4-BE49-F238E27FC236}">
                <a16:creationId xmlns:a16="http://schemas.microsoft.com/office/drawing/2014/main" id="{8FA17804-34F9-4280-9735-016917FEC744}"/>
              </a:ext>
            </a:extLst>
          </p:cNvPr>
          <p:cNvSpPr/>
          <p:nvPr/>
        </p:nvSpPr>
        <p:spPr>
          <a:xfrm>
            <a:off x="5734713" y="3323176"/>
            <a:ext cx="2208376" cy="2020455"/>
          </a:xfrm>
          <a:prstGeom prst="round2DiagRect">
            <a:avLst/>
          </a:prstGeom>
          <a:noFill/>
          <a:ln w="19050">
            <a:solidFill>
              <a:srgbClr val="C4D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1" name="Text Box 10">
            <a:extLst>
              <a:ext uri="{FF2B5EF4-FFF2-40B4-BE49-F238E27FC236}">
                <a16:creationId xmlns:a16="http://schemas.microsoft.com/office/drawing/2014/main" id="{699A5543-91D4-4E71-B85E-11BF4C8A43ED}"/>
              </a:ext>
            </a:extLst>
          </p:cNvPr>
          <p:cNvSpPr txBox="1">
            <a:spLocks noChangeArrowheads="1"/>
          </p:cNvSpPr>
          <p:nvPr/>
        </p:nvSpPr>
        <p:spPr bwMode="auto">
          <a:xfrm>
            <a:off x="5874834" y="3451128"/>
            <a:ext cx="1963094" cy="1461939"/>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600" b="1" dirty="0" err="1">
                <a:solidFill>
                  <a:srgbClr val="C4D600"/>
                </a:solidFill>
                <a:ea typeface="Open Sans" pitchFamily="34" charset="0"/>
                <a:cs typeface="Open Sans" pitchFamily="34" charset="0"/>
              </a:rPr>
              <a:t>xxxxxxxxx</a:t>
            </a:r>
            <a:endParaRPr lang="en-US" altLang="zh-CN" sz="1600" b="1" dirty="0">
              <a:solidFill>
                <a:srgbClr val="C4D600"/>
              </a:solidFill>
              <a:ea typeface="Open Sans" pitchFamily="34" charset="0"/>
              <a:cs typeface="Open Sans" pitchFamily="34" charset="0"/>
            </a:endParaRPr>
          </a:p>
          <a:p>
            <a:pPr defTabSz="1088232"/>
            <a:r>
              <a:rPr lang="en-US" altLang="zh-CN" sz="1200" dirty="0">
                <a:solidFill>
                  <a:schemeClr val="bg1">
                    <a:lumMod val="65000"/>
                  </a:schemeClr>
                </a:solidFill>
                <a:ea typeface="Open Sans" pitchFamily="34" charset="0"/>
                <a:cs typeface="Open Sans" pitchFamily="34" charset="0"/>
              </a:rPr>
              <a:t>xxxxxxxxxxxxxxxxxxxxxxxxxxxxxxxxxxxxxxxxxxxxxxxxxxxxxxxxxxxxxxxxxxxxxxxxxxxxxxxxxxxxxxxxxxxxxxxx</a:t>
            </a:r>
          </a:p>
        </p:txBody>
      </p:sp>
      <p:sp>
        <p:nvSpPr>
          <p:cNvPr id="52" name="Text Box 10">
            <a:extLst>
              <a:ext uri="{FF2B5EF4-FFF2-40B4-BE49-F238E27FC236}">
                <a16:creationId xmlns:a16="http://schemas.microsoft.com/office/drawing/2014/main" id="{EB8F219A-59DD-4D58-A669-108C7FD55D73}"/>
              </a:ext>
            </a:extLst>
          </p:cNvPr>
          <p:cNvSpPr txBox="1">
            <a:spLocks noChangeArrowheads="1"/>
          </p:cNvSpPr>
          <p:nvPr/>
        </p:nvSpPr>
        <p:spPr bwMode="auto">
          <a:xfrm>
            <a:off x="6258799" y="2151358"/>
            <a:ext cx="1160203" cy="415498"/>
          </a:xfrm>
          <a:prstGeom prst="rect">
            <a:avLst/>
          </a:prstGeom>
          <a:noFill/>
          <a:ln w="9525">
            <a:noFill/>
            <a:miter lim="800000"/>
            <a:headEnd/>
            <a:tailEnd/>
          </a:ln>
        </p:spPr>
        <p:txBody>
          <a:bodyPr wrap="square" lIns="45720" tIns="22860" rIns="45720" bIns="22860">
            <a:spAutoFit/>
          </a:bodyPr>
          <a:lstStyle/>
          <a:p>
            <a:pPr algn="ctr" defTabSz="1088232"/>
            <a:r>
              <a:rPr lang="en-US" sz="2400" dirty="0">
                <a:solidFill>
                  <a:srgbClr val="C4D600"/>
                </a:solidFill>
                <a:latin typeface="+mj-lt"/>
                <a:ea typeface="Open Sans Light" pitchFamily="34" charset="0"/>
                <a:cs typeface="Open Sans Light" pitchFamily="34" charset="0"/>
              </a:rPr>
              <a:t>12%</a:t>
            </a:r>
            <a:endParaRPr lang="en-US" sz="1600" dirty="0">
              <a:solidFill>
                <a:srgbClr val="C4D600"/>
              </a:solidFill>
              <a:latin typeface="+mj-lt"/>
              <a:ea typeface="Open Sans Light" pitchFamily="34" charset="0"/>
              <a:cs typeface="Open Sans Light" pitchFamily="34" charset="0"/>
            </a:endParaRPr>
          </a:p>
        </p:txBody>
      </p:sp>
      <p:cxnSp>
        <p:nvCxnSpPr>
          <p:cNvPr id="53" name="Straight Connector 65">
            <a:extLst>
              <a:ext uri="{FF2B5EF4-FFF2-40B4-BE49-F238E27FC236}">
                <a16:creationId xmlns:a16="http://schemas.microsoft.com/office/drawing/2014/main" id="{C45815B6-04BD-4FE7-A362-32C7D5ADCBCF}"/>
              </a:ext>
            </a:extLst>
          </p:cNvPr>
          <p:cNvCxnSpPr/>
          <p:nvPr/>
        </p:nvCxnSpPr>
        <p:spPr>
          <a:xfrm>
            <a:off x="8363732" y="1363067"/>
            <a:ext cx="0" cy="3960093"/>
          </a:xfrm>
          <a:prstGeom prst="line">
            <a:avLst/>
          </a:prstGeom>
          <a:ln w="19050">
            <a:solidFill>
              <a:srgbClr val="75787B"/>
            </a:solidFill>
            <a:prstDash val="dash"/>
          </a:ln>
        </p:spPr>
        <p:style>
          <a:lnRef idx="1">
            <a:schemeClr val="accent1"/>
          </a:lnRef>
          <a:fillRef idx="0">
            <a:schemeClr val="accent1"/>
          </a:fillRef>
          <a:effectRef idx="0">
            <a:schemeClr val="accent1"/>
          </a:effectRef>
          <a:fontRef idx="minor">
            <a:schemeClr val="tx1"/>
          </a:fontRef>
        </p:style>
      </p:cxnSp>
      <p:grpSp>
        <p:nvGrpSpPr>
          <p:cNvPr id="83" name="组合 82">
            <a:extLst>
              <a:ext uri="{FF2B5EF4-FFF2-40B4-BE49-F238E27FC236}">
                <a16:creationId xmlns:a16="http://schemas.microsoft.com/office/drawing/2014/main" id="{9BCE039B-AC2A-451C-B2B0-90CBAF51E7DB}"/>
              </a:ext>
            </a:extLst>
          </p:cNvPr>
          <p:cNvGrpSpPr/>
          <p:nvPr/>
        </p:nvGrpSpPr>
        <p:grpSpPr>
          <a:xfrm>
            <a:off x="8784375" y="2147348"/>
            <a:ext cx="2896303" cy="255224"/>
            <a:chOff x="8784375" y="2546269"/>
            <a:chExt cx="2896303" cy="287915"/>
          </a:xfrm>
        </p:grpSpPr>
        <p:sp>
          <p:nvSpPr>
            <p:cNvPr id="61" name="Oval 19">
              <a:extLst>
                <a:ext uri="{FF2B5EF4-FFF2-40B4-BE49-F238E27FC236}">
                  <a16:creationId xmlns:a16="http://schemas.microsoft.com/office/drawing/2014/main" id="{28F546E0-D7D2-4DEB-97D5-2D8E98EF664D}"/>
                </a:ext>
              </a:extLst>
            </p:cNvPr>
            <p:cNvSpPr>
              <a:spLocks noChangeArrowheads="1"/>
            </p:cNvSpPr>
            <p:nvPr/>
          </p:nvSpPr>
          <p:spPr bwMode="auto">
            <a:xfrm>
              <a:off x="8784375" y="2546269"/>
              <a:ext cx="254138"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2" name="Oval 20">
              <a:extLst>
                <a:ext uri="{FF2B5EF4-FFF2-40B4-BE49-F238E27FC236}">
                  <a16:creationId xmlns:a16="http://schemas.microsoft.com/office/drawing/2014/main" id="{DC20E41A-5895-4050-AC42-07C39AC575E4}"/>
                </a:ext>
              </a:extLst>
            </p:cNvPr>
            <p:cNvSpPr>
              <a:spLocks noChangeArrowheads="1"/>
            </p:cNvSpPr>
            <p:nvPr/>
          </p:nvSpPr>
          <p:spPr bwMode="auto">
            <a:xfrm>
              <a:off x="9080140" y="2546269"/>
              <a:ext cx="251948"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3" name="Oval 21">
              <a:extLst>
                <a:ext uri="{FF2B5EF4-FFF2-40B4-BE49-F238E27FC236}">
                  <a16:creationId xmlns:a16="http://schemas.microsoft.com/office/drawing/2014/main" id="{D3502E3F-F0C8-4F08-8F15-F5EFE5DC1984}"/>
                </a:ext>
              </a:extLst>
            </p:cNvPr>
            <p:cNvSpPr>
              <a:spLocks noChangeArrowheads="1"/>
            </p:cNvSpPr>
            <p:nvPr/>
          </p:nvSpPr>
          <p:spPr bwMode="auto">
            <a:xfrm>
              <a:off x="9373714" y="2546269"/>
              <a:ext cx="251948"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4" name="Oval 22">
              <a:extLst>
                <a:ext uri="{FF2B5EF4-FFF2-40B4-BE49-F238E27FC236}">
                  <a16:creationId xmlns:a16="http://schemas.microsoft.com/office/drawing/2014/main" id="{9BCFEB9A-837D-49C1-AECD-FC4442F3A9AA}"/>
                </a:ext>
              </a:extLst>
            </p:cNvPr>
            <p:cNvSpPr>
              <a:spLocks noChangeArrowheads="1"/>
            </p:cNvSpPr>
            <p:nvPr/>
          </p:nvSpPr>
          <p:spPr bwMode="auto">
            <a:xfrm>
              <a:off x="9667288" y="2546269"/>
              <a:ext cx="251948"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5" name="Oval 23">
              <a:extLst>
                <a:ext uri="{FF2B5EF4-FFF2-40B4-BE49-F238E27FC236}">
                  <a16:creationId xmlns:a16="http://schemas.microsoft.com/office/drawing/2014/main" id="{B82D7BDF-656F-43A2-8B12-8B0934F9AA47}"/>
                </a:ext>
              </a:extLst>
            </p:cNvPr>
            <p:cNvSpPr>
              <a:spLocks noChangeArrowheads="1"/>
            </p:cNvSpPr>
            <p:nvPr/>
          </p:nvSpPr>
          <p:spPr bwMode="auto">
            <a:xfrm>
              <a:off x="9952098" y="2546269"/>
              <a:ext cx="251948"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6" name="Oval 24">
              <a:extLst>
                <a:ext uri="{FF2B5EF4-FFF2-40B4-BE49-F238E27FC236}">
                  <a16:creationId xmlns:a16="http://schemas.microsoft.com/office/drawing/2014/main" id="{1D710D0A-83E4-40F4-A549-EC57D94E6F19}"/>
                </a:ext>
              </a:extLst>
            </p:cNvPr>
            <p:cNvSpPr>
              <a:spLocks noChangeArrowheads="1"/>
            </p:cNvSpPr>
            <p:nvPr/>
          </p:nvSpPr>
          <p:spPr bwMode="auto">
            <a:xfrm>
              <a:off x="10245672" y="2546269"/>
              <a:ext cx="249757"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7" name="Oval 25">
              <a:extLst>
                <a:ext uri="{FF2B5EF4-FFF2-40B4-BE49-F238E27FC236}">
                  <a16:creationId xmlns:a16="http://schemas.microsoft.com/office/drawing/2014/main" id="{3932F13B-3FF5-41D0-B33A-24701C4392D2}"/>
                </a:ext>
              </a:extLst>
            </p:cNvPr>
            <p:cNvSpPr>
              <a:spLocks noChangeArrowheads="1"/>
            </p:cNvSpPr>
            <p:nvPr/>
          </p:nvSpPr>
          <p:spPr bwMode="auto">
            <a:xfrm>
              <a:off x="10537054" y="2546269"/>
              <a:ext cx="254138"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Oval 26">
              <a:extLst>
                <a:ext uri="{FF2B5EF4-FFF2-40B4-BE49-F238E27FC236}">
                  <a16:creationId xmlns:a16="http://schemas.microsoft.com/office/drawing/2014/main" id="{BF2585E3-6E64-4C5B-A834-A4AE7D7140F7}"/>
                </a:ext>
              </a:extLst>
            </p:cNvPr>
            <p:cNvSpPr>
              <a:spLocks noChangeArrowheads="1"/>
            </p:cNvSpPr>
            <p:nvPr/>
          </p:nvSpPr>
          <p:spPr bwMode="auto">
            <a:xfrm>
              <a:off x="10832819" y="2546269"/>
              <a:ext cx="254138"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9" name="Oval 27">
              <a:extLst>
                <a:ext uri="{FF2B5EF4-FFF2-40B4-BE49-F238E27FC236}">
                  <a16:creationId xmlns:a16="http://schemas.microsoft.com/office/drawing/2014/main" id="{F70C8188-CDE7-4E33-9B1C-EC9ACD20A843}"/>
                </a:ext>
              </a:extLst>
            </p:cNvPr>
            <p:cNvSpPr>
              <a:spLocks noChangeArrowheads="1"/>
            </p:cNvSpPr>
            <p:nvPr/>
          </p:nvSpPr>
          <p:spPr bwMode="auto">
            <a:xfrm>
              <a:off x="11135157" y="2546269"/>
              <a:ext cx="249757"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0" name="Oval 28">
              <a:extLst>
                <a:ext uri="{FF2B5EF4-FFF2-40B4-BE49-F238E27FC236}">
                  <a16:creationId xmlns:a16="http://schemas.microsoft.com/office/drawing/2014/main" id="{82EA70A5-5ACE-4EF8-87D5-4886F9A807AF}"/>
                </a:ext>
              </a:extLst>
            </p:cNvPr>
            <p:cNvSpPr>
              <a:spLocks noChangeArrowheads="1"/>
            </p:cNvSpPr>
            <p:nvPr/>
          </p:nvSpPr>
          <p:spPr bwMode="auto">
            <a:xfrm>
              <a:off x="11430921" y="2546269"/>
              <a:ext cx="249757"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71" name="Text Box 10">
            <a:extLst>
              <a:ext uri="{FF2B5EF4-FFF2-40B4-BE49-F238E27FC236}">
                <a16:creationId xmlns:a16="http://schemas.microsoft.com/office/drawing/2014/main" id="{971C4A8F-57FD-4C11-9263-361AA36BEF26}"/>
              </a:ext>
            </a:extLst>
          </p:cNvPr>
          <p:cNvSpPr txBox="1">
            <a:spLocks noChangeArrowheads="1"/>
          </p:cNvSpPr>
          <p:nvPr/>
        </p:nvSpPr>
        <p:spPr bwMode="auto">
          <a:xfrm>
            <a:off x="8810344" y="2491205"/>
            <a:ext cx="2870334" cy="600164"/>
          </a:xfrm>
          <a:prstGeom prst="rect">
            <a:avLst/>
          </a:prstGeom>
          <a:noFill/>
          <a:ln w="9525">
            <a:noFill/>
            <a:miter lim="800000"/>
            <a:headEnd/>
            <a:tailEnd/>
          </a:ln>
        </p:spPr>
        <p:txBody>
          <a:bodyPr wrap="square" lIns="45720" tIns="22860" rIns="45720" bIns="22860">
            <a:spAutoFit/>
          </a:bodyPr>
          <a:lstStyle/>
          <a:p>
            <a:pPr algn="ctr" defTabSz="1088232"/>
            <a:r>
              <a:rPr lang="en-US" sz="1200" b="1" dirty="0" err="1">
                <a:solidFill>
                  <a:srgbClr val="007680"/>
                </a:solidFill>
                <a:latin typeface="+mj-lt"/>
                <a:ea typeface="Open Sans" pitchFamily="34" charset="0"/>
                <a:cs typeface="Open Sans" pitchFamily="34" charset="0"/>
              </a:rPr>
              <a:t>Xxxxxxxxxxx</a:t>
            </a:r>
            <a:endParaRPr lang="en-US" sz="1200" b="1" dirty="0">
              <a:solidFill>
                <a:srgbClr val="007680"/>
              </a:solidFill>
              <a:latin typeface="+mj-lt"/>
              <a:ea typeface="Open Sans" pitchFamily="34" charset="0"/>
              <a:cs typeface="Open Sans" pitchFamily="34" charset="0"/>
            </a:endParaRPr>
          </a:p>
          <a:p>
            <a:pPr algn="ctr" defTabSz="1088232"/>
            <a:r>
              <a:rPr lang="en-US" sz="1200" dirty="0" err="1">
                <a:solidFill>
                  <a:srgbClr val="D0D0CE"/>
                </a:solidFill>
                <a:latin typeface="+mj-lt"/>
                <a:ea typeface="Open Sans" pitchFamily="34" charset="0"/>
                <a:cs typeface="Open Sans" pitchFamily="34" charset="0"/>
              </a:rPr>
              <a:t>Xxxxxxxxxxxxx</a:t>
            </a:r>
            <a:endParaRPr lang="en-US" sz="1200" dirty="0">
              <a:solidFill>
                <a:srgbClr val="D0D0CE"/>
              </a:solidFill>
              <a:latin typeface="+mj-lt"/>
              <a:ea typeface="Open Sans" pitchFamily="34" charset="0"/>
              <a:cs typeface="Open Sans" pitchFamily="34" charset="0"/>
            </a:endParaRPr>
          </a:p>
          <a:p>
            <a:pPr algn="ctr" defTabSz="1088232"/>
            <a:r>
              <a:rPr lang="en-US" sz="1200" dirty="0" err="1">
                <a:solidFill>
                  <a:srgbClr val="D0D0CE"/>
                </a:solidFill>
                <a:latin typeface="+mj-lt"/>
                <a:ea typeface="Open Sans" pitchFamily="34" charset="0"/>
                <a:cs typeface="Open Sans" pitchFamily="34" charset="0"/>
              </a:rPr>
              <a:t>xxxxxxxxxxxxxxxxxx</a:t>
            </a:r>
            <a:endParaRPr lang="en-US" sz="1050" dirty="0">
              <a:solidFill>
                <a:srgbClr val="D0D0CE"/>
              </a:solidFill>
              <a:latin typeface="+mj-lt"/>
              <a:ea typeface="Open Sans" pitchFamily="34" charset="0"/>
              <a:cs typeface="Open Sans" pitchFamily="34" charset="0"/>
            </a:endParaRPr>
          </a:p>
        </p:txBody>
      </p:sp>
      <p:sp>
        <p:nvSpPr>
          <p:cNvPr id="82" name="Text Box 10">
            <a:extLst>
              <a:ext uri="{FF2B5EF4-FFF2-40B4-BE49-F238E27FC236}">
                <a16:creationId xmlns:a16="http://schemas.microsoft.com/office/drawing/2014/main" id="{E898FAAF-D693-468B-9C35-1979C0F2FEAC}"/>
              </a:ext>
            </a:extLst>
          </p:cNvPr>
          <p:cNvSpPr txBox="1">
            <a:spLocks noChangeArrowheads="1"/>
          </p:cNvSpPr>
          <p:nvPr/>
        </p:nvSpPr>
        <p:spPr bwMode="auto">
          <a:xfrm>
            <a:off x="8858542" y="4722131"/>
            <a:ext cx="2870334" cy="600164"/>
          </a:xfrm>
          <a:prstGeom prst="rect">
            <a:avLst/>
          </a:prstGeom>
          <a:noFill/>
          <a:ln w="9525">
            <a:noFill/>
            <a:miter lim="800000"/>
            <a:headEnd/>
            <a:tailEnd/>
          </a:ln>
        </p:spPr>
        <p:txBody>
          <a:bodyPr wrap="square" lIns="45720" tIns="22860" rIns="45720" bIns="22860">
            <a:spAutoFit/>
          </a:bodyPr>
          <a:lstStyle/>
          <a:p>
            <a:pPr algn="ctr" defTabSz="1088232"/>
            <a:r>
              <a:rPr lang="en-US" altLang="zh-CN" sz="1200" b="1" dirty="0" err="1">
                <a:solidFill>
                  <a:srgbClr val="00A3E0"/>
                </a:solidFill>
                <a:ea typeface="Open Sans" pitchFamily="34" charset="0"/>
                <a:cs typeface="Open Sans" pitchFamily="34" charset="0"/>
              </a:rPr>
              <a:t>Xxxxxxxxxxx</a:t>
            </a:r>
            <a:endParaRPr lang="en-US" altLang="zh-CN" sz="1200" b="1" dirty="0">
              <a:solidFill>
                <a:srgbClr val="00A3E0"/>
              </a:solidFill>
              <a:ea typeface="Open Sans" pitchFamily="34" charset="0"/>
              <a:cs typeface="Open Sans" pitchFamily="34" charset="0"/>
            </a:endParaRPr>
          </a:p>
          <a:p>
            <a:pPr algn="ctr" defTabSz="1088232"/>
            <a:r>
              <a:rPr lang="en-US" altLang="zh-CN" sz="1200" dirty="0" err="1">
                <a:solidFill>
                  <a:srgbClr val="D0D0CE"/>
                </a:solidFill>
                <a:ea typeface="Open Sans" pitchFamily="34" charset="0"/>
                <a:cs typeface="Open Sans" pitchFamily="34" charset="0"/>
              </a:rPr>
              <a:t>Xxxxxxxxxxxxx</a:t>
            </a:r>
            <a:endParaRPr lang="en-US" altLang="zh-CN" sz="1200" dirty="0">
              <a:solidFill>
                <a:srgbClr val="D0D0CE"/>
              </a:solidFill>
              <a:ea typeface="Open Sans" pitchFamily="34" charset="0"/>
              <a:cs typeface="Open Sans" pitchFamily="34" charset="0"/>
            </a:endParaRPr>
          </a:p>
          <a:p>
            <a:pPr algn="ctr" defTabSz="1088232"/>
            <a:r>
              <a:rPr lang="en-US" altLang="zh-CN" sz="1200" dirty="0" err="1">
                <a:solidFill>
                  <a:srgbClr val="D0D0CE"/>
                </a:solidFill>
                <a:ea typeface="Open Sans" pitchFamily="34" charset="0"/>
                <a:cs typeface="Open Sans" pitchFamily="34" charset="0"/>
              </a:rPr>
              <a:t>xxxxxxxxxxxxxxxxxx</a:t>
            </a:r>
            <a:endParaRPr lang="en-US" altLang="zh-CN" sz="1050" dirty="0">
              <a:solidFill>
                <a:srgbClr val="D0D0CE"/>
              </a:solidFill>
              <a:ea typeface="Open Sans" pitchFamily="34" charset="0"/>
              <a:cs typeface="Open Sans" pitchFamily="34" charset="0"/>
            </a:endParaRPr>
          </a:p>
        </p:txBody>
      </p:sp>
      <p:grpSp>
        <p:nvGrpSpPr>
          <p:cNvPr id="84" name="组合 83">
            <a:extLst>
              <a:ext uri="{FF2B5EF4-FFF2-40B4-BE49-F238E27FC236}">
                <a16:creationId xmlns:a16="http://schemas.microsoft.com/office/drawing/2014/main" id="{008A117A-C305-4701-AAF9-3DF08CA7CE42}"/>
              </a:ext>
            </a:extLst>
          </p:cNvPr>
          <p:cNvGrpSpPr/>
          <p:nvPr/>
        </p:nvGrpSpPr>
        <p:grpSpPr>
          <a:xfrm>
            <a:off x="8832573" y="4368164"/>
            <a:ext cx="2896303" cy="255224"/>
            <a:chOff x="8784375" y="2546269"/>
            <a:chExt cx="2896303" cy="287915"/>
          </a:xfrm>
        </p:grpSpPr>
        <p:sp>
          <p:nvSpPr>
            <p:cNvPr id="85" name="Oval 19">
              <a:extLst>
                <a:ext uri="{FF2B5EF4-FFF2-40B4-BE49-F238E27FC236}">
                  <a16:creationId xmlns:a16="http://schemas.microsoft.com/office/drawing/2014/main" id="{0A24E23B-898C-4BA5-BFD0-14202B36DDCE}"/>
                </a:ext>
              </a:extLst>
            </p:cNvPr>
            <p:cNvSpPr>
              <a:spLocks noChangeArrowheads="1"/>
            </p:cNvSpPr>
            <p:nvPr/>
          </p:nvSpPr>
          <p:spPr bwMode="auto">
            <a:xfrm>
              <a:off x="8784375" y="2546269"/>
              <a:ext cx="254138"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6" name="Oval 20">
              <a:extLst>
                <a:ext uri="{FF2B5EF4-FFF2-40B4-BE49-F238E27FC236}">
                  <a16:creationId xmlns:a16="http://schemas.microsoft.com/office/drawing/2014/main" id="{CB1B15DE-DCE1-4631-AFFB-F1285906E73A}"/>
                </a:ext>
              </a:extLst>
            </p:cNvPr>
            <p:cNvSpPr>
              <a:spLocks noChangeArrowheads="1"/>
            </p:cNvSpPr>
            <p:nvPr/>
          </p:nvSpPr>
          <p:spPr bwMode="auto">
            <a:xfrm>
              <a:off x="9080140" y="2546269"/>
              <a:ext cx="251948"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7" name="Oval 21">
              <a:extLst>
                <a:ext uri="{FF2B5EF4-FFF2-40B4-BE49-F238E27FC236}">
                  <a16:creationId xmlns:a16="http://schemas.microsoft.com/office/drawing/2014/main" id="{037F9E06-6F57-480A-8B57-88F90AB2723F}"/>
                </a:ext>
              </a:extLst>
            </p:cNvPr>
            <p:cNvSpPr>
              <a:spLocks noChangeArrowheads="1"/>
            </p:cNvSpPr>
            <p:nvPr/>
          </p:nvSpPr>
          <p:spPr bwMode="auto">
            <a:xfrm>
              <a:off x="9373714" y="2546269"/>
              <a:ext cx="251948"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8" name="Oval 22">
              <a:extLst>
                <a:ext uri="{FF2B5EF4-FFF2-40B4-BE49-F238E27FC236}">
                  <a16:creationId xmlns:a16="http://schemas.microsoft.com/office/drawing/2014/main" id="{76ED095A-F60E-4008-85D6-2E0147290E98}"/>
                </a:ext>
              </a:extLst>
            </p:cNvPr>
            <p:cNvSpPr>
              <a:spLocks noChangeArrowheads="1"/>
            </p:cNvSpPr>
            <p:nvPr/>
          </p:nvSpPr>
          <p:spPr bwMode="auto">
            <a:xfrm>
              <a:off x="9667288" y="2546269"/>
              <a:ext cx="251948"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9" name="Oval 23">
              <a:extLst>
                <a:ext uri="{FF2B5EF4-FFF2-40B4-BE49-F238E27FC236}">
                  <a16:creationId xmlns:a16="http://schemas.microsoft.com/office/drawing/2014/main" id="{6CCB2E9A-E9B2-49E2-83AF-F3D3CD3AD6A5}"/>
                </a:ext>
              </a:extLst>
            </p:cNvPr>
            <p:cNvSpPr>
              <a:spLocks noChangeArrowheads="1"/>
            </p:cNvSpPr>
            <p:nvPr/>
          </p:nvSpPr>
          <p:spPr bwMode="auto">
            <a:xfrm>
              <a:off x="9952098" y="2546269"/>
              <a:ext cx="251948"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0" name="Oval 24">
              <a:extLst>
                <a:ext uri="{FF2B5EF4-FFF2-40B4-BE49-F238E27FC236}">
                  <a16:creationId xmlns:a16="http://schemas.microsoft.com/office/drawing/2014/main" id="{EB75D2AF-D9F3-4E2A-8F98-66434CF341EC}"/>
                </a:ext>
              </a:extLst>
            </p:cNvPr>
            <p:cNvSpPr>
              <a:spLocks noChangeArrowheads="1"/>
            </p:cNvSpPr>
            <p:nvPr/>
          </p:nvSpPr>
          <p:spPr bwMode="auto">
            <a:xfrm>
              <a:off x="10245672" y="2546269"/>
              <a:ext cx="249757"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1" name="Oval 25">
              <a:extLst>
                <a:ext uri="{FF2B5EF4-FFF2-40B4-BE49-F238E27FC236}">
                  <a16:creationId xmlns:a16="http://schemas.microsoft.com/office/drawing/2014/main" id="{4BA045A7-AB98-42D1-BF28-7ADA62049C6A}"/>
                </a:ext>
              </a:extLst>
            </p:cNvPr>
            <p:cNvSpPr>
              <a:spLocks noChangeArrowheads="1"/>
            </p:cNvSpPr>
            <p:nvPr/>
          </p:nvSpPr>
          <p:spPr bwMode="auto">
            <a:xfrm>
              <a:off x="10537054" y="2546269"/>
              <a:ext cx="254138"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2" name="Oval 26">
              <a:extLst>
                <a:ext uri="{FF2B5EF4-FFF2-40B4-BE49-F238E27FC236}">
                  <a16:creationId xmlns:a16="http://schemas.microsoft.com/office/drawing/2014/main" id="{E92FE755-15D1-4E1C-8ED4-46C7C45FF88A}"/>
                </a:ext>
              </a:extLst>
            </p:cNvPr>
            <p:cNvSpPr>
              <a:spLocks noChangeArrowheads="1"/>
            </p:cNvSpPr>
            <p:nvPr/>
          </p:nvSpPr>
          <p:spPr bwMode="auto">
            <a:xfrm>
              <a:off x="10832819" y="2546269"/>
              <a:ext cx="254138"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3" name="Oval 27">
              <a:extLst>
                <a:ext uri="{FF2B5EF4-FFF2-40B4-BE49-F238E27FC236}">
                  <a16:creationId xmlns:a16="http://schemas.microsoft.com/office/drawing/2014/main" id="{05192437-F5EB-467F-95DE-21C9EB930CF0}"/>
                </a:ext>
              </a:extLst>
            </p:cNvPr>
            <p:cNvSpPr>
              <a:spLocks noChangeArrowheads="1"/>
            </p:cNvSpPr>
            <p:nvPr/>
          </p:nvSpPr>
          <p:spPr bwMode="auto">
            <a:xfrm>
              <a:off x="11135157" y="2546269"/>
              <a:ext cx="249757"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4" name="Oval 28">
              <a:extLst>
                <a:ext uri="{FF2B5EF4-FFF2-40B4-BE49-F238E27FC236}">
                  <a16:creationId xmlns:a16="http://schemas.microsoft.com/office/drawing/2014/main" id="{3F39AC62-BF80-496B-B485-C26E3DCA6F93}"/>
                </a:ext>
              </a:extLst>
            </p:cNvPr>
            <p:cNvSpPr>
              <a:spLocks noChangeArrowheads="1"/>
            </p:cNvSpPr>
            <p:nvPr/>
          </p:nvSpPr>
          <p:spPr bwMode="auto">
            <a:xfrm>
              <a:off x="11430921" y="2546269"/>
              <a:ext cx="249757"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95" name="Freeform 275">
            <a:extLst>
              <a:ext uri="{FF2B5EF4-FFF2-40B4-BE49-F238E27FC236}">
                <a16:creationId xmlns:a16="http://schemas.microsoft.com/office/drawing/2014/main" id="{0BB922FB-A331-4335-A1FE-DEAE34115DA1}"/>
              </a:ext>
            </a:extLst>
          </p:cNvPr>
          <p:cNvSpPr>
            <a:spLocks noChangeAspect="1" noEditPoints="1"/>
          </p:cNvSpPr>
          <p:nvPr/>
        </p:nvSpPr>
        <p:spPr bwMode="auto">
          <a:xfrm>
            <a:off x="9739616" y="965060"/>
            <a:ext cx="1025256" cy="1025256"/>
          </a:xfrm>
          <a:custGeom>
            <a:avLst/>
            <a:gdLst>
              <a:gd name="T0" fmla="*/ 352 w 512"/>
              <a:gd name="T1" fmla="*/ 320 h 512"/>
              <a:gd name="T2" fmla="*/ 117 w 512"/>
              <a:gd name="T3" fmla="*/ 192 h 512"/>
              <a:gd name="T4" fmla="*/ 309 w 512"/>
              <a:gd name="T5" fmla="*/ 224 h 512"/>
              <a:gd name="T6" fmla="*/ 330 w 512"/>
              <a:gd name="T7" fmla="*/ 224 h 512"/>
              <a:gd name="T8" fmla="*/ 320 w 512"/>
              <a:gd name="T9" fmla="*/ 298 h 512"/>
              <a:gd name="T10" fmla="*/ 309 w 512"/>
              <a:gd name="T11" fmla="*/ 224 h 512"/>
              <a:gd name="T12" fmla="*/ 277 w 512"/>
              <a:gd name="T13" fmla="*/ 213 h 512"/>
              <a:gd name="T14" fmla="*/ 288 w 512"/>
              <a:gd name="T15" fmla="*/ 288 h 512"/>
              <a:gd name="T16" fmla="*/ 266 w 512"/>
              <a:gd name="T17" fmla="*/ 288 h 512"/>
              <a:gd name="T18" fmla="*/ 224 w 512"/>
              <a:gd name="T19" fmla="*/ 224 h 512"/>
              <a:gd name="T20" fmla="*/ 245 w 512"/>
              <a:gd name="T21" fmla="*/ 224 h 512"/>
              <a:gd name="T22" fmla="*/ 234 w 512"/>
              <a:gd name="T23" fmla="*/ 298 h 512"/>
              <a:gd name="T24" fmla="*/ 224 w 512"/>
              <a:gd name="T25" fmla="*/ 224 h 512"/>
              <a:gd name="T26" fmla="*/ 192 w 512"/>
              <a:gd name="T27" fmla="*/ 213 h 512"/>
              <a:gd name="T28" fmla="*/ 202 w 512"/>
              <a:gd name="T29" fmla="*/ 288 h 512"/>
              <a:gd name="T30" fmla="*/ 181 w 512"/>
              <a:gd name="T31" fmla="*/ 288 h 512"/>
              <a:gd name="T32" fmla="*/ 138 w 512"/>
              <a:gd name="T33" fmla="*/ 224 h 512"/>
              <a:gd name="T34" fmla="*/ 160 w 512"/>
              <a:gd name="T35" fmla="*/ 224 h 512"/>
              <a:gd name="T36" fmla="*/ 149 w 512"/>
              <a:gd name="T37" fmla="*/ 298 h 512"/>
              <a:gd name="T38" fmla="*/ 138 w 512"/>
              <a:gd name="T39" fmla="*/ 224 h 512"/>
              <a:gd name="T40" fmla="*/ 394 w 512"/>
              <a:gd name="T41" fmla="*/ 234 h 512"/>
              <a:gd name="T42" fmla="*/ 373 w 512"/>
              <a:gd name="T43" fmla="*/ 277 h 512"/>
              <a:gd name="T44" fmla="*/ 256 w 512"/>
              <a:gd name="T45" fmla="*/ 0 h 512"/>
              <a:gd name="T46" fmla="*/ 256 w 512"/>
              <a:gd name="T47" fmla="*/ 512 h 512"/>
              <a:gd name="T48" fmla="*/ 256 w 512"/>
              <a:gd name="T49" fmla="*/ 0 h 512"/>
              <a:gd name="T50" fmla="*/ 405 w 512"/>
              <a:gd name="T51" fmla="*/ 298 h 512"/>
              <a:gd name="T52" fmla="*/ 373 w 512"/>
              <a:gd name="T53" fmla="*/ 330 h 512"/>
              <a:gd name="T54" fmla="*/ 106 w 512"/>
              <a:gd name="T55" fmla="*/ 341 h 512"/>
              <a:gd name="T56" fmla="*/ 96 w 512"/>
              <a:gd name="T57" fmla="*/ 181 h 512"/>
              <a:gd name="T58" fmla="*/ 362 w 512"/>
              <a:gd name="T59" fmla="*/ 170 h 512"/>
              <a:gd name="T60" fmla="*/ 373 w 512"/>
              <a:gd name="T61" fmla="*/ 213 h 512"/>
              <a:gd name="T62" fmla="*/ 416 w 512"/>
              <a:gd name="T6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309" y="224"/>
                </a:moveTo>
                <a:cubicBezTo>
                  <a:pt x="309" y="218"/>
                  <a:pt x="314" y="213"/>
                  <a:pt x="320" y="213"/>
                </a:cubicBezTo>
                <a:cubicBezTo>
                  <a:pt x="326" y="213"/>
                  <a:pt x="330" y="218"/>
                  <a:pt x="330" y="224"/>
                </a:cubicBezTo>
                <a:cubicBezTo>
                  <a:pt x="330" y="288"/>
                  <a:pt x="330" y="288"/>
                  <a:pt x="330" y="288"/>
                </a:cubicBezTo>
                <a:cubicBezTo>
                  <a:pt x="330" y="294"/>
                  <a:pt x="326" y="298"/>
                  <a:pt x="320" y="298"/>
                </a:cubicBezTo>
                <a:cubicBezTo>
                  <a:pt x="314" y="298"/>
                  <a:pt x="309" y="294"/>
                  <a:pt x="309" y="288"/>
                </a:cubicBezTo>
                <a:lnTo>
                  <a:pt x="309" y="224"/>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6" name="Freeform 444">
            <a:extLst>
              <a:ext uri="{FF2B5EF4-FFF2-40B4-BE49-F238E27FC236}">
                <a16:creationId xmlns:a16="http://schemas.microsoft.com/office/drawing/2014/main" id="{00E3CD71-3EDB-489C-BBD1-7896F9EE986B}"/>
              </a:ext>
            </a:extLst>
          </p:cNvPr>
          <p:cNvSpPr>
            <a:spLocks noChangeAspect="1" noEditPoints="1"/>
          </p:cNvSpPr>
          <p:nvPr/>
        </p:nvSpPr>
        <p:spPr bwMode="auto">
          <a:xfrm>
            <a:off x="9667288" y="3217138"/>
            <a:ext cx="1025256" cy="1025256"/>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56 w 512"/>
              <a:gd name="T11" fmla="*/ 245 h 512"/>
              <a:gd name="T12" fmla="*/ 277 w 512"/>
              <a:gd name="T13" fmla="*/ 245 h 512"/>
              <a:gd name="T14" fmla="*/ 277 w 512"/>
              <a:gd name="T15" fmla="*/ 224 h 512"/>
              <a:gd name="T16" fmla="*/ 288 w 512"/>
              <a:gd name="T17" fmla="*/ 213 h 512"/>
              <a:gd name="T18" fmla="*/ 298 w 512"/>
              <a:gd name="T19" fmla="*/ 224 h 512"/>
              <a:gd name="T20" fmla="*/ 298 w 512"/>
              <a:gd name="T21" fmla="*/ 245 h 512"/>
              <a:gd name="T22" fmla="*/ 320 w 512"/>
              <a:gd name="T23" fmla="*/ 245 h 512"/>
              <a:gd name="T24" fmla="*/ 330 w 512"/>
              <a:gd name="T25" fmla="*/ 256 h 512"/>
              <a:gd name="T26" fmla="*/ 320 w 512"/>
              <a:gd name="T27" fmla="*/ 266 h 512"/>
              <a:gd name="T28" fmla="*/ 298 w 512"/>
              <a:gd name="T29" fmla="*/ 266 h 512"/>
              <a:gd name="T30" fmla="*/ 298 w 512"/>
              <a:gd name="T31" fmla="*/ 288 h 512"/>
              <a:gd name="T32" fmla="*/ 288 w 512"/>
              <a:gd name="T33" fmla="*/ 298 h 512"/>
              <a:gd name="T34" fmla="*/ 277 w 512"/>
              <a:gd name="T35" fmla="*/ 288 h 512"/>
              <a:gd name="T36" fmla="*/ 277 w 512"/>
              <a:gd name="T37" fmla="*/ 266 h 512"/>
              <a:gd name="T38" fmla="*/ 256 w 512"/>
              <a:gd name="T39" fmla="*/ 266 h 512"/>
              <a:gd name="T40" fmla="*/ 245 w 512"/>
              <a:gd name="T41" fmla="*/ 256 h 512"/>
              <a:gd name="T42" fmla="*/ 256 w 512"/>
              <a:gd name="T43" fmla="*/ 245 h 512"/>
              <a:gd name="T44" fmla="*/ 149 w 512"/>
              <a:gd name="T45" fmla="*/ 245 h 512"/>
              <a:gd name="T46" fmla="*/ 213 w 512"/>
              <a:gd name="T47" fmla="*/ 245 h 512"/>
              <a:gd name="T48" fmla="*/ 224 w 512"/>
              <a:gd name="T49" fmla="*/ 256 h 512"/>
              <a:gd name="T50" fmla="*/ 213 w 512"/>
              <a:gd name="T51" fmla="*/ 266 h 512"/>
              <a:gd name="T52" fmla="*/ 149 w 512"/>
              <a:gd name="T53" fmla="*/ 266 h 512"/>
              <a:gd name="T54" fmla="*/ 138 w 512"/>
              <a:gd name="T55" fmla="*/ 256 h 512"/>
              <a:gd name="T56" fmla="*/ 149 w 512"/>
              <a:gd name="T57" fmla="*/ 245 h 512"/>
              <a:gd name="T58" fmla="*/ 373 w 512"/>
              <a:gd name="T59" fmla="*/ 234 h 512"/>
              <a:gd name="T60" fmla="*/ 394 w 512"/>
              <a:gd name="T61" fmla="*/ 234 h 512"/>
              <a:gd name="T62" fmla="*/ 394 w 512"/>
              <a:gd name="T63" fmla="*/ 277 h 512"/>
              <a:gd name="T64" fmla="*/ 373 w 512"/>
              <a:gd name="T65" fmla="*/ 277 h 512"/>
              <a:gd name="T66" fmla="*/ 373 w 512"/>
              <a:gd name="T67" fmla="*/ 234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416 w 512"/>
              <a:gd name="T79" fmla="*/ 288 h 512"/>
              <a:gd name="T80" fmla="*/ 405 w 512"/>
              <a:gd name="T81" fmla="*/ 298 h 512"/>
              <a:gd name="T82" fmla="*/ 373 w 512"/>
              <a:gd name="T83" fmla="*/ 298 h 512"/>
              <a:gd name="T84" fmla="*/ 373 w 512"/>
              <a:gd name="T85" fmla="*/ 330 h 512"/>
              <a:gd name="T86" fmla="*/ 362 w 512"/>
              <a:gd name="T87" fmla="*/ 341 h 512"/>
              <a:gd name="T88" fmla="*/ 106 w 512"/>
              <a:gd name="T89" fmla="*/ 341 h 512"/>
              <a:gd name="T90" fmla="*/ 96 w 512"/>
              <a:gd name="T91" fmla="*/ 330 h 512"/>
              <a:gd name="T92" fmla="*/ 96 w 512"/>
              <a:gd name="T93" fmla="*/ 181 h 512"/>
              <a:gd name="T94" fmla="*/ 106 w 512"/>
              <a:gd name="T95" fmla="*/ 170 h 512"/>
              <a:gd name="T96" fmla="*/ 362 w 512"/>
              <a:gd name="T97" fmla="*/ 170 h 512"/>
              <a:gd name="T98" fmla="*/ 373 w 512"/>
              <a:gd name="T99" fmla="*/ 181 h 512"/>
              <a:gd name="T100" fmla="*/ 373 w 512"/>
              <a:gd name="T101" fmla="*/ 213 h 512"/>
              <a:gd name="T102" fmla="*/ 405 w 512"/>
              <a:gd name="T103" fmla="*/ 213 h 512"/>
              <a:gd name="T104" fmla="*/ 416 w 512"/>
              <a:gd name="T105" fmla="*/ 224 h 512"/>
              <a:gd name="T106" fmla="*/ 416 w 512"/>
              <a:gd name="T107"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56" y="245"/>
                </a:moveTo>
                <a:cubicBezTo>
                  <a:pt x="277" y="245"/>
                  <a:pt x="277" y="245"/>
                  <a:pt x="277" y="245"/>
                </a:cubicBezTo>
                <a:cubicBezTo>
                  <a:pt x="277" y="224"/>
                  <a:pt x="277" y="224"/>
                  <a:pt x="277" y="224"/>
                </a:cubicBezTo>
                <a:cubicBezTo>
                  <a:pt x="277" y="218"/>
                  <a:pt x="282" y="213"/>
                  <a:pt x="288" y="213"/>
                </a:cubicBezTo>
                <a:cubicBezTo>
                  <a:pt x="294" y="213"/>
                  <a:pt x="298" y="218"/>
                  <a:pt x="298" y="224"/>
                </a:cubicBezTo>
                <a:cubicBezTo>
                  <a:pt x="298" y="245"/>
                  <a:pt x="298" y="245"/>
                  <a:pt x="298" y="245"/>
                </a:cubicBezTo>
                <a:cubicBezTo>
                  <a:pt x="320" y="245"/>
                  <a:pt x="320" y="245"/>
                  <a:pt x="320" y="245"/>
                </a:cubicBezTo>
                <a:cubicBezTo>
                  <a:pt x="326" y="245"/>
                  <a:pt x="330" y="250"/>
                  <a:pt x="330" y="256"/>
                </a:cubicBezTo>
                <a:cubicBezTo>
                  <a:pt x="330" y="262"/>
                  <a:pt x="326" y="266"/>
                  <a:pt x="320" y="266"/>
                </a:cubicBezTo>
                <a:cubicBezTo>
                  <a:pt x="298" y="266"/>
                  <a:pt x="298" y="266"/>
                  <a:pt x="298" y="266"/>
                </a:cubicBezTo>
                <a:cubicBezTo>
                  <a:pt x="298" y="288"/>
                  <a:pt x="298" y="288"/>
                  <a:pt x="298" y="288"/>
                </a:cubicBezTo>
                <a:cubicBezTo>
                  <a:pt x="298" y="294"/>
                  <a:pt x="294" y="298"/>
                  <a:pt x="288" y="298"/>
                </a:cubicBezTo>
                <a:cubicBezTo>
                  <a:pt x="282" y="298"/>
                  <a:pt x="277" y="294"/>
                  <a:pt x="277" y="288"/>
                </a:cubicBezTo>
                <a:cubicBezTo>
                  <a:pt x="277" y="266"/>
                  <a:pt x="277" y="266"/>
                  <a:pt x="277" y="266"/>
                </a:cubicBezTo>
                <a:cubicBezTo>
                  <a:pt x="256" y="266"/>
                  <a:pt x="256" y="266"/>
                  <a:pt x="256" y="266"/>
                </a:cubicBezTo>
                <a:cubicBezTo>
                  <a:pt x="250" y="266"/>
                  <a:pt x="245" y="262"/>
                  <a:pt x="245" y="256"/>
                </a:cubicBezTo>
                <a:cubicBezTo>
                  <a:pt x="245" y="250"/>
                  <a:pt x="250" y="245"/>
                  <a:pt x="256" y="245"/>
                </a:cubicBezTo>
                <a:close/>
                <a:moveTo>
                  <a:pt x="149" y="245"/>
                </a:moveTo>
                <a:cubicBezTo>
                  <a:pt x="213" y="245"/>
                  <a:pt x="213" y="245"/>
                  <a:pt x="213" y="245"/>
                </a:cubicBezTo>
                <a:cubicBezTo>
                  <a:pt x="219" y="245"/>
                  <a:pt x="224" y="250"/>
                  <a:pt x="224" y="256"/>
                </a:cubicBezTo>
                <a:cubicBezTo>
                  <a:pt x="224" y="262"/>
                  <a:pt x="219" y="266"/>
                  <a:pt x="213" y="266"/>
                </a:cubicBezTo>
                <a:cubicBezTo>
                  <a:pt x="149" y="266"/>
                  <a:pt x="149" y="266"/>
                  <a:pt x="149" y="266"/>
                </a:cubicBezTo>
                <a:cubicBezTo>
                  <a:pt x="143" y="266"/>
                  <a:pt x="138" y="262"/>
                  <a:pt x="138" y="256"/>
                </a:cubicBezTo>
                <a:cubicBezTo>
                  <a:pt x="138" y="250"/>
                  <a:pt x="143" y="245"/>
                  <a:pt x="149" y="245"/>
                </a:cubicBez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3585680440"/>
      </p:ext>
    </p:extLst>
  </p:cSld>
  <p:clrMapOvr>
    <a:masterClrMapping/>
  </p:clrMapOvr>
  <p:transition>
    <p:fade/>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234"/>
          <p:cNvGrpSpPr/>
          <p:nvPr/>
        </p:nvGrpSpPr>
        <p:grpSpPr>
          <a:xfrm>
            <a:off x="6153545" y="1588472"/>
            <a:ext cx="0" cy="1030734"/>
            <a:chOff x="4929625" y="1682072"/>
            <a:chExt cx="0" cy="1030734"/>
          </a:xfrm>
        </p:grpSpPr>
        <p:sp>
          <p:nvSpPr>
            <p:cNvPr id="5" name="Line 216"/>
            <p:cNvSpPr>
              <a:spLocks noChangeShapeType="1"/>
            </p:cNvSpPr>
            <p:nvPr/>
          </p:nvSpPr>
          <p:spPr bwMode="auto">
            <a:xfrm flipV="1">
              <a:off x="4929625" y="2644874"/>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 name="Line 217"/>
            <p:cNvSpPr>
              <a:spLocks noChangeShapeType="1"/>
            </p:cNvSpPr>
            <p:nvPr/>
          </p:nvSpPr>
          <p:spPr bwMode="auto">
            <a:xfrm flipV="1">
              <a:off x="4929625" y="2506398"/>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 name="Line 218"/>
            <p:cNvSpPr>
              <a:spLocks noChangeShapeType="1"/>
            </p:cNvSpPr>
            <p:nvPr/>
          </p:nvSpPr>
          <p:spPr bwMode="auto">
            <a:xfrm flipV="1">
              <a:off x="4929625" y="2369228"/>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 name="Line 219"/>
            <p:cNvSpPr>
              <a:spLocks noChangeShapeType="1"/>
            </p:cNvSpPr>
            <p:nvPr/>
          </p:nvSpPr>
          <p:spPr bwMode="auto">
            <a:xfrm flipV="1">
              <a:off x="4929625" y="2232058"/>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 name="Line 220"/>
            <p:cNvSpPr>
              <a:spLocks noChangeShapeType="1"/>
            </p:cNvSpPr>
            <p:nvPr/>
          </p:nvSpPr>
          <p:spPr bwMode="auto">
            <a:xfrm flipV="1">
              <a:off x="4929625" y="2093582"/>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 name="Line 221"/>
            <p:cNvSpPr>
              <a:spLocks noChangeShapeType="1"/>
            </p:cNvSpPr>
            <p:nvPr/>
          </p:nvSpPr>
          <p:spPr bwMode="auto">
            <a:xfrm flipV="1">
              <a:off x="4929625" y="1956412"/>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 name="Line 222"/>
            <p:cNvSpPr>
              <a:spLocks noChangeShapeType="1"/>
            </p:cNvSpPr>
            <p:nvPr/>
          </p:nvSpPr>
          <p:spPr bwMode="auto">
            <a:xfrm flipV="1">
              <a:off x="4929625" y="1819242"/>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 name="Line 223"/>
            <p:cNvSpPr>
              <a:spLocks noChangeShapeType="1"/>
            </p:cNvSpPr>
            <p:nvPr/>
          </p:nvSpPr>
          <p:spPr bwMode="auto">
            <a:xfrm flipV="1">
              <a:off x="4929625" y="1682072"/>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grpSp>
        <p:nvGrpSpPr>
          <p:cNvPr id="13" name="组合 240"/>
          <p:cNvGrpSpPr/>
          <p:nvPr/>
        </p:nvGrpSpPr>
        <p:grpSpPr>
          <a:xfrm>
            <a:off x="2480004" y="4002560"/>
            <a:ext cx="1332508" cy="455927"/>
            <a:chOff x="1218199" y="4588743"/>
            <a:chExt cx="1332508" cy="455927"/>
          </a:xfrm>
        </p:grpSpPr>
        <p:sp>
          <p:nvSpPr>
            <p:cNvPr id="14" name="Rectangle 5"/>
            <p:cNvSpPr>
              <a:spLocks noChangeArrowheads="1"/>
            </p:cNvSpPr>
            <p:nvPr/>
          </p:nvSpPr>
          <p:spPr bwMode="auto">
            <a:xfrm>
              <a:off x="1218199" y="4588743"/>
              <a:ext cx="1332508" cy="45592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 name="Rectangle 6"/>
            <p:cNvSpPr>
              <a:spLocks noChangeArrowheads="1"/>
            </p:cNvSpPr>
            <p:nvPr/>
          </p:nvSpPr>
          <p:spPr bwMode="auto">
            <a:xfrm>
              <a:off x="1411176" y="4622709"/>
              <a:ext cx="20999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r>
                <a:rPr lang="zh-CN" altLang="zh-CN" sz="2400" dirty="0">
                  <a:solidFill>
                    <a:srgbClr val="FFFFFF"/>
                  </a:solidFill>
                  <a:latin typeface="+mn-lt"/>
                </a:rPr>
                <a:t>A</a:t>
              </a:r>
              <a:endParaRPr lang="zh-CN" altLang="zh-CN" dirty="0">
                <a:solidFill>
                  <a:prstClr val="black"/>
                </a:solidFill>
                <a:latin typeface="+mn-lt"/>
              </a:endParaRPr>
            </a:p>
          </p:txBody>
        </p:sp>
        <p:sp>
          <p:nvSpPr>
            <p:cNvPr id="16" name="Rectangle 7"/>
            <p:cNvSpPr>
              <a:spLocks noChangeArrowheads="1"/>
            </p:cNvSpPr>
            <p:nvPr/>
          </p:nvSpPr>
          <p:spPr bwMode="auto">
            <a:xfrm>
              <a:off x="1560104" y="4622709"/>
              <a:ext cx="83497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r>
                <a:rPr lang="zh-CN" altLang="zh-CN" sz="2400" dirty="0">
                  <a:solidFill>
                    <a:srgbClr val="FFFFFF"/>
                  </a:solidFill>
                  <a:latin typeface="+mn-lt"/>
                </a:rPr>
                <a:t> zone</a:t>
              </a:r>
              <a:endParaRPr lang="zh-CN" altLang="zh-CN" dirty="0">
                <a:solidFill>
                  <a:prstClr val="black"/>
                </a:solidFill>
                <a:latin typeface="+mn-lt"/>
              </a:endParaRPr>
            </a:p>
          </p:txBody>
        </p:sp>
      </p:grpSp>
      <p:grpSp>
        <p:nvGrpSpPr>
          <p:cNvPr id="17" name="组合 238"/>
          <p:cNvGrpSpPr/>
          <p:nvPr/>
        </p:nvGrpSpPr>
        <p:grpSpPr>
          <a:xfrm>
            <a:off x="5471524" y="1234444"/>
            <a:ext cx="1332508" cy="421961"/>
            <a:chOff x="4247604" y="1484784"/>
            <a:chExt cx="1332508" cy="421961"/>
          </a:xfrm>
        </p:grpSpPr>
        <p:sp>
          <p:nvSpPr>
            <p:cNvPr id="18" name="Rectangle 8"/>
            <p:cNvSpPr>
              <a:spLocks noChangeArrowheads="1"/>
            </p:cNvSpPr>
            <p:nvPr/>
          </p:nvSpPr>
          <p:spPr bwMode="auto">
            <a:xfrm>
              <a:off x="4247604" y="1484784"/>
              <a:ext cx="1332508" cy="421961"/>
            </a:xfrm>
            <a:prstGeom prst="rect">
              <a:avLst/>
            </a:prstGeom>
            <a:solidFill>
              <a:srgbClr val="C4D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 name="Rectangle 9"/>
            <p:cNvSpPr>
              <a:spLocks noChangeArrowheads="1"/>
            </p:cNvSpPr>
            <p:nvPr/>
          </p:nvSpPr>
          <p:spPr bwMode="auto">
            <a:xfrm>
              <a:off x="4390573" y="1518750"/>
              <a:ext cx="104656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r>
                <a:rPr lang="zh-CN" altLang="zh-CN" sz="2400" dirty="0">
                  <a:solidFill>
                    <a:srgbClr val="FFFFFF"/>
                  </a:solidFill>
                  <a:latin typeface="+mn-lt"/>
                </a:rPr>
                <a:t>B zone</a:t>
              </a:r>
              <a:endParaRPr lang="zh-CN" altLang="zh-CN" dirty="0">
                <a:solidFill>
                  <a:prstClr val="black"/>
                </a:solidFill>
                <a:latin typeface="+mn-lt"/>
              </a:endParaRPr>
            </a:p>
          </p:txBody>
        </p:sp>
      </p:grpSp>
      <p:grpSp>
        <p:nvGrpSpPr>
          <p:cNvPr id="20" name="组合 239"/>
          <p:cNvGrpSpPr/>
          <p:nvPr/>
        </p:nvGrpSpPr>
        <p:grpSpPr>
          <a:xfrm>
            <a:off x="8672246" y="2850332"/>
            <a:ext cx="1332508" cy="438944"/>
            <a:chOff x="7410441" y="3436516"/>
            <a:chExt cx="1332508" cy="438944"/>
          </a:xfrm>
        </p:grpSpPr>
        <p:sp>
          <p:nvSpPr>
            <p:cNvPr id="21" name="Rectangle 10"/>
            <p:cNvSpPr>
              <a:spLocks noChangeArrowheads="1"/>
            </p:cNvSpPr>
            <p:nvPr/>
          </p:nvSpPr>
          <p:spPr bwMode="auto">
            <a:xfrm>
              <a:off x="7410441" y="3436516"/>
              <a:ext cx="1332508" cy="438944"/>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 name="Rectangle 11"/>
            <p:cNvSpPr>
              <a:spLocks noChangeArrowheads="1"/>
            </p:cNvSpPr>
            <p:nvPr/>
          </p:nvSpPr>
          <p:spPr bwMode="auto">
            <a:xfrm>
              <a:off x="7589692" y="3470482"/>
              <a:ext cx="10497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r>
                <a:rPr lang="zh-CN" altLang="zh-CN" sz="2400" dirty="0">
                  <a:solidFill>
                    <a:srgbClr val="FFFFFF"/>
                  </a:solidFill>
                  <a:latin typeface="+mn-lt"/>
                </a:rPr>
                <a:t>C zone</a:t>
              </a:r>
              <a:endParaRPr lang="zh-CN" altLang="zh-CN" dirty="0">
                <a:solidFill>
                  <a:prstClr val="black"/>
                </a:solidFill>
                <a:latin typeface="+mn-lt"/>
              </a:endParaRPr>
            </a:p>
          </p:txBody>
        </p:sp>
      </p:grpSp>
      <p:sp>
        <p:nvSpPr>
          <p:cNvPr id="24" name="Line 12"/>
          <p:cNvSpPr>
            <a:spLocks noChangeShapeType="1"/>
          </p:cNvSpPr>
          <p:nvPr/>
        </p:nvSpPr>
        <p:spPr bwMode="auto">
          <a:xfrm>
            <a:off x="4606791" y="196330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5" name="Line 13"/>
          <p:cNvSpPr>
            <a:spLocks noChangeShapeType="1"/>
          </p:cNvSpPr>
          <p:nvPr/>
        </p:nvSpPr>
        <p:spPr bwMode="auto">
          <a:xfrm>
            <a:off x="4606791" y="210047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6" name="Line 14"/>
          <p:cNvSpPr>
            <a:spLocks noChangeShapeType="1"/>
          </p:cNvSpPr>
          <p:nvPr/>
        </p:nvSpPr>
        <p:spPr bwMode="auto">
          <a:xfrm>
            <a:off x="4606791" y="223764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7" name="Line 15"/>
          <p:cNvSpPr>
            <a:spLocks noChangeShapeType="1"/>
          </p:cNvSpPr>
          <p:nvPr/>
        </p:nvSpPr>
        <p:spPr bwMode="auto">
          <a:xfrm>
            <a:off x="4606791" y="237611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8" name="Line 16"/>
          <p:cNvSpPr>
            <a:spLocks noChangeShapeType="1"/>
          </p:cNvSpPr>
          <p:nvPr/>
        </p:nvSpPr>
        <p:spPr bwMode="auto">
          <a:xfrm>
            <a:off x="4606791" y="251328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9" name="Line 17"/>
          <p:cNvSpPr>
            <a:spLocks noChangeShapeType="1"/>
          </p:cNvSpPr>
          <p:nvPr/>
        </p:nvSpPr>
        <p:spPr bwMode="auto">
          <a:xfrm>
            <a:off x="4606791" y="265045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0" name="Line 18"/>
          <p:cNvSpPr>
            <a:spLocks noChangeShapeType="1"/>
          </p:cNvSpPr>
          <p:nvPr/>
        </p:nvSpPr>
        <p:spPr bwMode="auto">
          <a:xfrm>
            <a:off x="4606791" y="278893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1" name="Line 19"/>
          <p:cNvSpPr>
            <a:spLocks noChangeShapeType="1"/>
          </p:cNvSpPr>
          <p:nvPr/>
        </p:nvSpPr>
        <p:spPr bwMode="auto">
          <a:xfrm>
            <a:off x="4606791" y="292610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2" name="Line 20"/>
          <p:cNvSpPr>
            <a:spLocks noChangeShapeType="1"/>
          </p:cNvSpPr>
          <p:nvPr/>
        </p:nvSpPr>
        <p:spPr bwMode="auto">
          <a:xfrm>
            <a:off x="4606791" y="306327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3" name="Line 21"/>
          <p:cNvSpPr>
            <a:spLocks noChangeShapeType="1"/>
          </p:cNvSpPr>
          <p:nvPr/>
        </p:nvSpPr>
        <p:spPr bwMode="auto">
          <a:xfrm>
            <a:off x="4606791" y="320044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4" name="Line 22"/>
          <p:cNvSpPr>
            <a:spLocks noChangeShapeType="1"/>
          </p:cNvSpPr>
          <p:nvPr/>
        </p:nvSpPr>
        <p:spPr bwMode="auto">
          <a:xfrm>
            <a:off x="4606791" y="333891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5" name="Line 23"/>
          <p:cNvSpPr>
            <a:spLocks noChangeShapeType="1"/>
          </p:cNvSpPr>
          <p:nvPr/>
        </p:nvSpPr>
        <p:spPr bwMode="auto">
          <a:xfrm>
            <a:off x="4606791" y="347608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6" name="Line 24"/>
          <p:cNvSpPr>
            <a:spLocks noChangeShapeType="1"/>
          </p:cNvSpPr>
          <p:nvPr/>
        </p:nvSpPr>
        <p:spPr bwMode="auto">
          <a:xfrm>
            <a:off x="4606791" y="361325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7" name="Line 25"/>
          <p:cNvSpPr>
            <a:spLocks noChangeShapeType="1"/>
          </p:cNvSpPr>
          <p:nvPr/>
        </p:nvSpPr>
        <p:spPr bwMode="auto">
          <a:xfrm>
            <a:off x="4606791" y="375042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8" name="Line 26"/>
          <p:cNvSpPr>
            <a:spLocks noChangeShapeType="1"/>
          </p:cNvSpPr>
          <p:nvPr/>
        </p:nvSpPr>
        <p:spPr bwMode="auto">
          <a:xfrm>
            <a:off x="4606791" y="38889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9" name="Line 27"/>
          <p:cNvSpPr>
            <a:spLocks noChangeShapeType="1"/>
          </p:cNvSpPr>
          <p:nvPr/>
        </p:nvSpPr>
        <p:spPr bwMode="auto">
          <a:xfrm>
            <a:off x="4606791" y="402607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0" name="Line 28"/>
          <p:cNvSpPr>
            <a:spLocks noChangeShapeType="1"/>
          </p:cNvSpPr>
          <p:nvPr/>
        </p:nvSpPr>
        <p:spPr bwMode="auto">
          <a:xfrm>
            <a:off x="4606791" y="416324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1" name="Line 29"/>
          <p:cNvSpPr>
            <a:spLocks noChangeShapeType="1"/>
          </p:cNvSpPr>
          <p:nvPr/>
        </p:nvSpPr>
        <p:spPr bwMode="auto">
          <a:xfrm>
            <a:off x="4606791" y="430041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2" name="Line 30"/>
          <p:cNvSpPr>
            <a:spLocks noChangeShapeType="1"/>
          </p:cNvSpPr>
          <p:nvPr/>
        </p:nvSpPr>
        <p:spPr bwMode="auto">
          <a:xfrm>
            <a:off x="4606791" y="443889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3" name="Line 31"/>
          <p:cNvSpPr>
            <a:spLocks noChangeShapeType="1"/>
          </p:cNvSpPr>
          <p:nvPr/>
        </p:nvSpPr>
        <p:spPr bwMode="auto">
          <a:xfrm>
            <a:off x="4606791" y="457606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4" name="Line 32"/>
          <p:cNvSpPr>
            <a:spLocks noChangeShapeType="1"/>
          </p:cNvSpPr>
          <p:nvPr/>
        </p:nvSpPr>
        <p:spPr bwMode="auto">
          <a:xfrm>
            <a:off x="4606791" y="471323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5" name="Line 33"/>
          <p:cNvSpPr>
            <a:spLocks noChangeShapeType="1"/>
          </p:cNvSpPr>
          <p:nvPr/>
        </p:nvSpPr>
        <p:spPr bwMode="auto">
          <a:xfrm>
            <a:off x="4606791" y="48517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6" name="Line 34"/>
          <p:cNvSpPr>
            <a:spLocks noChangeShapeType="1"/>
          </p:cNvSpPr>
          <p:nvPr/>
        </p:nvSpPr>
        <p:spPr bwMode="auto">
          <a:xfrm>
            <a:off x="4606791" y="498887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7" name="Line 35"/>
          <p:cNvSpPr>
            <a:spLocks noChangeShapeType="1"/>
          </p:cNvSpPr>
          <p:nvPr/>
        </p:nvSpPr>
        <p:spPr bwMode="auto">
          <a:xfrm>
            <a:off x="4606791" y="51260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8" name="Freeform 36"/>
          <p:cNvSpPr>
            <a:spLocks/>
          </p:cNvSpPr>
          <p:nvPr/>
        </p:nvSpPr>
        <p:spPr bwMode="auto">
          <a:xfrm>
            <a:off x="4606791" y="5263217"/>
            <a:ext cx="1306" cy="69238"/>
          </a:xfrm>
          <a:custGeom>
            <a:avLst/>
            <a:gdLst>
              <a:gd name="T0" fmla="*/ 0 w 2"/>
              <a:gd name="T1" fmla="*/ 0 h 105"/>
              <a:gd name="T2" fmla="*/ 0 w 2"/>
              <a:gd name="T3" fmla="*/ 67 h 105"/>
              <a:gd name="T4" fmla="*/ 0 w 2"/>
              <a:gd name="T5" fmla="*/ 99 h 105"/>
              <a:gd name="T6" fmla="*/ 2 w 2"/>
              <a:gd name="T7" fmla="*/ 105 h 105"/>
            </a:gdLst>
            <a:ahLst/>
            <a:cxnLst>
              <a:cxn ang="0">
                <a:pos x="T0" y="T1"/>
              </a:cxn>
              <a:cxn ang="0">
                <a:pos x="T2" y="T3"/>
              </a:cxn>
              <a:cxn ang="0">
                <a:pos x="T4" y="T5"/>
              </a:cxn>
              <a:cxn ang="0">
                <a:pos x="T6" y="T7"/>
              </a:cxn>
            </a:cxnLst>
            <a:rect l="0" t="0" r="r" b="b"/>
            <a:pathLst>
              <a:path w="2" h="105">
                <a:moveTo>
                  <a:pt x="0" y="0"/>
                </a:moveTo>
                <a:lnTo>
                  <a:pt x="0" y="67"/>
                </a:lnTo>
                <a:lnTo>
                  <a:pt x="0" y="99"/>
                </a:lnTo>
                <a:lnTo>
                  <a:pt x="2" y="105"/>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9" name="Freeform 37"/>
          <p:cNvSpPr>
            <a:spLocks/>
          </p:cNvSpPr>
          <p:nvPr/>
        </p:nvSpPr>
        <p:spPr bwMode="auto">
          <a:xfrm>
            <a:off x="4617242" y="5401693"/>
            <a:ext cx="19596" cy="64013"/>
          </a:xfrm>
          <a:custGeom>
            <a:avLst/>
            <a:gdLst>
              <a:gd name="T0" fmla="*/ 0 w 30"/>
              <a:gd name="T1" fmla="*/ 0 h 100"/>
              <a:gd name="T2" fmla="*/ 4 w 30"/>
              <a:gd name="T3" fmla="*/ 17 h 100"/>
              <a:gd name="T4" fmla="*/ 11 w 30"/>
              <a:gd name="T5" fmla="*/ 47 h 100"/>
              <a:gd name="T6" fmla="*/ 21 w 30"/>
              <a:gd name="T7" fmla="*/ 75 h 100"/>
              <a:gd name="T8" fmla="*/ 30 w 30"/>
              <a:gd name="T9" fmla="*/ 100 h 100"/>
            </a:gdLst>
            <a:ahLst/>
            <a:cxnLst>
              <a:cxn ang="0">
                <a:pos x="T0" y="T1"/>
              </a:cxn>
              <a:cxn ang="0">
                <a:pos x="T2" y="T3"/>
              </a:cxn>
              <a:cxn ang="0">
                <a:pos x="T4" y="T5"/>
              </a:cxn>
              <a:cxn ang="0">
                <a:pos x="T6" y="T7"/>
              </a:cxn>
              <a:cxn ang="0">
                <a:pos x="T8" y="T9"/>
              </a:cxn>
            </a:cxnLst>
            <a:rect l="0" t="0" r="r" b="b"/>
            <a:pathLst>
              <a:path w="30" h="100">
                <a:moveTo>
                  <a:pt x="0" y="0"/>
                </a:moveTo>
                <a:lnTo>
                  <a:pt x="4" y="17"/>
                </a:lnTo>
                <a:lnTo>
                  <a:pt x="11" y="47"/>
                </a:lnTo>
                <a:lnTo>
                  <a:pt x="21" y="75"/>
                </a:lnTo>
                <a:lnTo>
                  <a:pt x="30" y="10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0" name="Freeform 38"/>
          <p:cNvSpPr>
            <a:spLocks/>
          </p:cNvSpPr>
          <p:nvPr/>
        </p:nvSpPr>
        <p:spPr bwMode="auto">
          <a:xfrm>
            <a:off x="4669497" y="5527106"/>
            <a:ext cx="40498" cy="56174"/>
          </a:xfrm>
          <a:custGeom>
            <a:avLst/>
            <a:gdLst>
              <a:gd name="T0" fmla="*/ 0 w 62"/>
              <a:gd name="T1" fmla="*/ 0 h 84"/>
              <a:gd name="T2" fmla="*/ 13 w 62"/>
              <a:gd name="T3" fmla="*/ 19 h 84"/>
              <a:gd name="T4" fmla="*/ 30 w 62"/>
              <a:gd name="T5" fmla="*/ 45 h 84"/>
              <a:gd name="T6" fmla="*/ 49 w 62"/>
              <a:gd name="T7" fmla="*/ 68 h 84"/>
              <a:gd name="T8" fmla="*/ 62 w 62"/>
              <a:gd name="T9" fmla="*/ 84 h 84"/>
            </a:gdLst>
            <a:ahLst/>
            <a:cxnLst>
              <a:cxn ang="0">
                <a:pos x="T0" y="T1"/>
              </a:cxn>
              <a:cxn ang="0">
                <a:pos x="T2" y="T3"/>
              </a:cxn>
              <a:cxn ang="0">
                <a:pos x="T4" y="T5"/>
              </a:cxn>
              <a:cxn ang="0">
                <a:pos x="T6" y="T7"/>
              </a:cxn>
              <a:cxn ang="0">
                <a:pos x="T8" y="T9"/>
              </a:cxn>
            </a:cxnLst>
            <a:rect l="0" t="0" r="r" b="b"/>
            <a:pathLst>
              <a:path w="62" h="84">
                <a:moveTo>
                  <a:pt x="0" y="0"/>
                </a:moveTo>
                <a:lnTo>
                  <a:pt x="13" y="19"/>
                </a:lnTo>
                <a:lnTo>
                  <a:pt x="30" y="45"/>
                </a:lnTo>
                <a:lnTo>
                  <a:pt x="49" y="68"/>
                </a:lnTo>
                <a:lnTo>
                  <a:pt x="62" y="84"/>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1" name="Freeform 39"/>
          <p:cNvSpPr>
            <a:spLocks/>
          </p:cNvSpPr>
          <p:nvPr/>
        </p:nvSpPr>
        <p:spPr bwMode="auto">
          <a:xfrm>
            <a:off x="4759637" y="5630310"/>
            <a:ext cx="57481" cy="39191"/>
          </a:xfrm>
          <a:custGeom>
            <a:avLst/>
            <a:gdLst>
              <a:gd name="T0" fmla="*/ 0 w 86"/>
              <a:gd name="T1" fmla="*/ 0 h 58"/>
              <a:gd name="T2" fmla="*/ 21 w 86"/>
              <a:gd name="T3" fmla="*/ 15 h 58"/>
              <a:gd name="T4" fmla="*/ 45 w 86"/>
              <a:gd name="T5" fmla="*/ 34 h 58"/>
              <a:gd name="T6" fmla="*/ 71 w 86"/>
              <a:gd name="T7" fmla="*/ 51 h 58"/>
              <a:gd name="T8" fmla="*/ 86 w 86"/>
              <a:gd name="T9" fmla="*/ 58 h 58"/>
            </a:gdLst>
            <a:ahLst/>
            <a:cxnLst>
              <a:cxn ang="0">
                <a:pos x="T0" y="T1"/>
              </a:cxn>
              <a:cxn ang="0">
                <a:pos x="T2" y="T3"/>
              </a:cxn>
              <a:cxn ang="0">
                <a:pos x="T4" y="T5"/>
              </a:cxn>
              <a:cxn ang="0">
                <a:pos x="T6" y="T7"/>
              </a:cxn>
              <a:cxn ang="0">
                <a:pos x="T8" y="T9"/>
              </a:cxn>
            </a:cxnLst>
            <a:rect l="0" t="0" r="r" b="b"/>
            <a:pathLst>
              <a:path w="86" h="58">
                <a:moveTo>
                  <a:pt x="0" y="0"/>
                </a:moveTo>
                <a:lnTo>
                  <a:pt x="21" y="15"/>
                </a:lnTo>
                <a:lnTo>
                  <a:pt x="45" y="34"/>
                </a:lnTo>
                <a:lnTo>
                  <a:pt x="71" y="51"/>
                </a:lnTo>
                <a:lnTo>
                  <a:pt x="86" y="5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2" name="Freeform 40"/>
          <p:cNvSpPr>
            <a:spLocks/>
          </p:cNvSpPr>
          <p:nvPr/>
        </p:nvSpPr>
        <p:spPr bwMode="auto">
          <a:xfrm>
            <a:off x="4878518" y="5698242"/>
            <a:ext cx="65319" cy="18289"/>
          </a:xfrm>
          <a:custGeom>
            <a:avLst/>
            <a:gdLst>
              <a:gd name="T0" fmla="*/ 0 w 102"/>
              <a:gd name="T1" fmla="*/ 0 h 28"/>
              <a:gd name="T2" fmla="*/ 2 w 102"/>
              <a:gd name="T3" fmla="*/ 0 h 28"/>
              <a:gd name="T4" fmla="*/ 32 w 102"/>
              <a:gd name="T5" fmla="*/ 11 h 28"/>
              <a:gd name="T6" fmla="*/ 62 w 102"/>
              <a:gd name="T7" fmla="*/ 19 h 28"/>
              <a:gd name="T8" fmla="*/ 93 w 102"/>
              <a:gd name="T9" fmla="*/ 26 h 28"/>
              <a:gd name="T10" fmla="*/ 102 w 102"/>
              <a:gd name="T11" fmla="*/ 28 h 28"/>
            </a:gdLst>
            <a:ahLst/>
            <a:cxnLst>
              <a:cxn ang="0">
                <a:pos x="T0" y="T1"/>
              </a:cxn>
              <a:cxn ang="0">
                <a:pos x="T2" y="T3"/>
              </a:cxn>
              <a:cxn ang="0">
                <a:pos x="T4" y="T5"/>
              </a:cxn>
              <a:cxn ang="0">
                <a:pos x="T6" y="T7"/>
              </a:cxn>
              <a:cxn ang="0">
                <a:pos x="T8" y="T9"/>
              </a:cxn>
              <a:cxn ang="0">
                <a:pos x="T10" y="T11"/>
              </a:cxn>
            </a:cxnLst>
            <a:rect l="0" t="0" r="r" b="b"/>
            <a:pathLst>
              <a:path w="102" h="28">
                <a:moveTo>
                  <a:pt x="0" y="0"/>
                </a:moveTo>
                <a:lnTo>
                  <a:pt x="2" y="0"/>
                </a:lnTo>
                <a:lnTo>
                  <a:pt x="32" y="11"/>
                </a:lnTo>
                <a:lnTo>
                  <a:pt x="62" y="19"/>
                </a:lnTo>
                <a:lnTo>
                  <a:pt x="93" y="26"/>
                </a:lnTo>
                <a:lnTo>
                  <a:pt x="102" y="2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3" name="Freeform 41"/>
          <p:cNvSpPr>
            <a:spLocks/>
          </p:cNvSpPr>
          <p:nvPr/>
        </p:nvSpPr>
        <p:spPr bwMode="auto">
          <a:xfrm>
            <a:off x="5013075" y="5719144"/>
            <a:ext cx="69238" cy="5226"/>
          </a:xfrm>
          <a:custGeom>
            <a:avLst/>
            <a:gdLst>
              <a:gd name="T0" fmla="*/ 0 w 105"/>
              <a:gd name="T1" fmla="*/ 8 h 8"/>
              <a:gd name="T2" fmla="*/ 15 w 105"/>
              <a:gd name="T3" fmla="*/ 8 h 8"/>
              <a:gd name="T4" fmla="*/ 47 w 105"/>
              <a:gd name="T5" fmla="*/ 6 h 8"/>
              <a:gd name="T6" fmla="*/ 79 w 105"/>
              <a:gd name="T7" fmla="*/ 4 h 8"/>
              <a:gd name="T8" fmla="*/ 105 w 105"/>
              <a:gd name="T9" fmla="*/ 0 h 8"/>
            </a:gdLst>
            <a:ahLst/>
            <a:cxnLst>
              <a:cxn ang="0">
                <a:pos x="T0" y="T1"/>
              </a:cxn>
              <a:cxn ang="0">
                <a:pos x="T2" y="T3"/>
              </a:cxn>
              <a:cxn ang="0">
                <a:pos x="T4" y="T5"/>
              </a:cxn>
              <a:cxn ang="0">
                <a:pos x="T6" y="T7"/>
              </a:cxn>
              <a:cxn ang="0">
                <a:pos x="T8" y="T9"/>
              </a:cxn>
            </a:cxnLst>
            <a:rect l="0" t="0" r="r" b="b"/>
            <a:pathLst>
              <a:path w="105" h="8">
                <a:moveTo>
                  <a:pt x="0" y="8"/>
                </a:moveTo>
                <a:lnTo>
                  <a:pt x="15" y="8"/>
                </a:lnTo>
                <a:lnTo>
                  <a:pt x="47" y="6"/>
                </a:lnTo>
                <a:lnTo>
                  <a:pt x="79" y="4"/>
                </a:lnTo>
                <a:lnTo>
                  <a:pt x="105"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4" name="Freeform 42"/>
          <p:cNvSpPr>
            <a:spLocks/>
          </p:cNvSpPr>
          <p:nvPr/>
        </p:nvSpPr>
        <p:spPr bwMode="auto">
          <a:xfrm>
            <a:off x="5148939" y="5678646"/>
            <a:ext cx="62706" cy="26128"/>
          </a:xfrm>
          <a:custGeom>
            <a:avLst/>
            <a:gdLst>
              <a:gd name="T0" fmla="*/ 0 w 98"/>
              <a:gd name="T1" fmla="*/ 40 h 40"/>
              <a:gd name="T2" fmla="*/ 26 w 98"/>
              <a:gd name="T3" fmla="*/ 30 h 40"/>
              <a:gd name="T4" fmla="*/ 56 w 98"/>
              <a:gd name="T5" fmla="*/ 19 h 40"/>
              <a:gd name="T6" fmla="*/ 85 w 98"/>
              <a:gd name="T7" fmla="*/ 6 h 40"/>
              <a:gd name="T8" fmla="*/ 98 w 98"/>
              <a:gd name="T9" fmla="*/ 0 h 40"/>
            </a:gdLst>
            <a:ahLst/>
            <a:cxnLst>
              <a:cxn ang="0">
                <a:pos x="T0" y="T1"/>
              </a:cxn>
              <a:cxn ang="0">
                <a:pos x="T2" y="T3"/>
              </a:cxn>
              <a:cxn ang="0">
                <a:pos x="T4" y="T5"/>
              </a:cxn>
              <a:cxn ang="0">
                <a:pos x="T6" y="T7"/>
              </a:cxn>
              <a:cxn ang="0">
                <a:pos x="T8" y="T9"/>
              </a:cxn>
            </a:cxnLst>
            <a:rect l="0" t="0" r="r" b="b"/>
            <a:pathLst>
              <a:path w="98" h="40">
                <a:moveTo>
                  <a:pt x="0" y="40"/>
                </a:moveTo>
                <a:lnTo>
                  <a:pt x="26" y="30"/>
                </a:lnTo>
                <a:lnTo>
                  <a:pt x="56" y="19"/>
                </a:lnTo>
                <a:lnTo>
                  <a:pt x="85" y="6"/>
                </a:lnTo>
                <a:lnTo>
                  <a:pt x="98"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5" name="Freeform 43"/>
          <p:cNvSpPr>
            <a:spLocks/>
          </p:cNvSpPr>
          <p:nvPr/>
        </p:nvSpPr>
        <p:spPr bwMode="auto">
          <a:xfrm>
            <a:off x="5271739" y="5596344"/>
            <a:ext cx="50949" cy="45723"/>
          </a:xfrm>
          <a:custGeom>
            <a:avLst/>
            <a:gdLst>
              <a:gd name="T0" fmla="*/ 0 w 79"/>
              <a:gd name="T1" fmla="*/ 70 h 70"/>
              <a:gd name="T2" fmla="*/ 0 w 79"/>
              <a:gd name="T3" fmla="*/ 68 h 70"/>
              <a:gd name="T4" fmla="*/ 24 w 79"/>
              <a:gd name="T5" fmla="*/ 49 h 70"/>
              <a:gd name="T6" fmla="*/ 49 w 79"/>
              <a:gd name="T7" fmla="*/ 30 h 70"/>
              <a:gd name="T8" fmla="*/ 70 w 79"/>
              <a:gd name="T9" fmla="*/ 10 h 70"/>
              <a:gd name="T10" fmla="*/ 79 w 79"/>
              <a:gd name="T11" fmla="*/ 0 h 70"/>
            </a:gdLst>
            <a:ahLst/>
            <a:cxnLst>
              <a:cxn ang="0">
                <a:pos x="T0" y="T1"/>
              </a:cxn>
              <a:cxn ang="0">
                <a:pos x="T2" y="T3"/>
              </a:cxn>
              <a:cxn ang="0">
                <a:pos x="T4" y="T5"/>
              </a:cxn>
              <a:cxn ang="0">
                <a:pos x="T6" y="T7"/>
              </a:cxn>
              <a:cxn ang="0">
                <a:pos x="T8" y="T9"/>
              </a:cxn>
              <a:cxn ang="0">
                <a:pos x="T10" y="T11"/>
              </a:cxn>
            </a:cxnLst>
            <a:rect l="0" t="0" r="r" b="b"/>
            <a:pathLst>
              <a:path w="79" h="70">
                <a:moveTo>
                  <a:pt x="0" y="70"/>
                </a:moveTo>
                <a:lnTo>
                  <a:pt x="0" y="68"/>
                </a:lnTo>
                <a:lnTo>
                  <a:pt x="24" y="49"/>
                </a:lnTo>
                <a:lnTo>
                  <a:pt x="49" y="30"/>
                </a:lnTo>
                <a:lnTo>
                  <a:pt x="70" y="10"/>
                </a:lnTo>
                <a:lnTo>
                  <a:pt x="79"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6" name="Freeform 44"/>
          <p:cNvSpPr>
            <a:spLocks/>
          </p:cNvSpPr>
          <p:nvPr/>
        </p:nvSpPr>
        <p:spPr bwMode="auto">
          <a:xfrm>
            <a:off x="5365798" y="5483995"/>
            <a:ext cx="33966" cy="60093"/>
          </a:xfrm>
          <a:custGeom>
            <a:avLst/>
            <a:gdLst>
              <a:gd name="T0" fmla="*/ 0 w 52"/>
              <a:gd name="T1" fmla="*/ 92 h 92"/>
              <a:gd name="T2" fmla="*/ 4 w 52"/>
              <a:gd name="T3" fmla="*/ 87 h 92"/>
              <a:gd name="T4" fmla="*/ 19 w 52"/>
              <a:gd name="T5" fmla="*/ 62 h 92"/>
              <a:gd name="T6" fmla="*/ 35 w 52"/>
              <a:gd name="T7" fmla="*/ 34 h 92"/>
              <a:gd name="T8" fmla="*/ 49 w 52"/>
              <a:gd name="T9" fmla="*/ 8 h 92"/>
              <a:gd name="T10" fmla="*/ 52 w 52"/>
              <a:gd name="T11" fmla="*/ 0 h 92"/>
            </a:gdLst>
            <a:ahLst/>
            <a:cxnLst>
              <a:cxn ang="0">
                <a:pos x="T0" y="T1"/>
              </a:cxn>
              <a:cxn ang="0">
                <a:pos x="T2" y="T3"/>
              </a:cxn>
              <a:cxn ang="0">
                <a:pos x="T4" y="T5"/>
              </a:cxn>
              <a:cxn ang="0">
                <a:pos x="T6" y="T7"/>
              </a:cxn>
              <a:cxn ang="0">
                <a:pos x="T8" y="T9"/>
              </a:cxn>
              <a:cxn ang="0">
                <a:pos x="T10" y="T11"/>
              </a:cxn>
            </a:cxnLst>
            <a:rect l="0" t="0" r="r" b="b"/>
            <a:pathLst>
              <a:path w="52" h="92">
                <a:moveTo>
                  <a:pt x="0" y="92"/>
                </a:moveTo>
                <a:lnTo>
                  <a:pt x="4" y="87"/>
                </a:lnTo>
                <a:lnTo>
                  <a:pt x="19" y="62"/>
                </a:lnTo>
                <a:lnTo>
                  <a:pt x="35" y="34"/>
                </a:lnTo>
                <a:lnTo>
                  <a:pt x="49" y="8"/>
                </a:lnTo>
                <a:lnTo>
                  <a:pt x="52"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7" name="Freeform 45"/>
          <p:cNvSpPr>
            <a:spLocks/>
          </p:cNvSpPr>
          <p:nvPr/>
        </p:nvSpPr>
        <p:spPr bwMode="auto">
          <a:xfrm>
            <a:off x="5423279" y="5352051"/>
            <a:ext cx="13064" cy="67932"/>
          </a:xfrm>
          <a:custGeom>
            <a:avLst/>
            <a:gdLst>
              <a:gd name="T0" fmla="*/ 0 w 21"/>
              <a:gd name="T1" fmla="*/ 103 h 103"/>
              <a:gd name="T2" fmla="*/ 4 w 21"/>
              <a:gd name="T3" fmla="*/ 92 h 103"/>
              <a:gd name="T4" fmla="*/ 11 w 21"/>
              <a:gd name="T5" fmla="*/ 60 h 103"/>
              <a:gd name="T6" fmla="*/ 17 w 21"/>
              <a:gd name="T7" fmla="*/ 30 h 103"/>
              <a:gd name="T8" fmla="*/ 21 w 21"/>
              <a:gd name="T9" fmla="*/ 0 h 103"/>
            </a:gdLst>
            <a:ahLst/>
            <a:cxnLst>
              <a:cxn ang="0">
                <a:pos x="T0" y="T1"/>
              </a:cxn>
              <a:cxn ang="0">
                <a:pos x="T2" y="T3"/>
              </a:cxn>
              <a:cxn ang="0">
                <a:pos x="T4" y="T5"/>
              </a:cxn>
              <a:cxn ang="0">
                <a:pos x="T6" y="T7"/>
              </a:cxn>
              <a:cxn ang="0">
                <a:pos x="T8" y="T9"/>
              </a:cxn>
            </a:cxnLst>
            <a:rect l="0" t="0" r="r" b="b"/>
            <a:pathLst>
              <a:path w="21" h="103">
                <a:moveTo>
                  <a:pt x="0" y="103"/>
                </a:moveTo>
                <a:lnTo>
                  <a:pt x="4" y="92"/>
                </a:lnTo>
                <a:lnTo>
                  <a:pt x="11" y="60"/>
                </a:lnTo>
                <a:lnTo>
                  <a:pt x="17" y="30"/>
                </a:lnTo>
                <a:lnTo>
                  <a:pt x="21"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8" name="Line 46"/>
          <p:cNvSpPr>
            <a:spLocks noChangeShapeType="1"/>
          </p:cNvSpPr>
          <p:nvPr/>
        </p:nvSpPr>
        <p:spPr bwMode="auto">
          <a:xfrm flipV="1">
            <a:off x="5438955" y="521488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9" name="Line 47"/>
          <p:cNvSpPr>
            <a:spLocks noChangeShapeType="1"/>
          </p:cNvSpPr>
          <p:nvPr/>
        </p:nvSpPr>
        <p:spPr bwMode="auto">
          <a:xfrm flipV="1">
            <a:off x="5438955" y="507640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0" name="Line 48"/>
          <p:cNvSpPr>
            <a:spLocks noChangeShapeType="1"/>
          </p:cNvSpPr>
          <p:nvPr/>
        </p:nvSpPr>
        <p:spPr bwMode="auto">
          <a:xfrm flipV="1">
            <a:off x="5438955" y="493923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1" name="Line 49"/>
          <p:cNvSpPr>
            <a:spLocks noChangeShapeType="1"/>
          </p:cNvSpPr>
          <p:nvPr/>
        </p:nvSpPr>
        <p:spPr bwMode="auto">
          <a:xfrm flipV="1">
            <a:off x="5438955" y="480206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2" name="Line 50"/>
          <p:cNvSpPr>
            <a:spLocks noChangeShapeType="1"/>
          </p:cNvSpPr>
          <p:nvPr/>
        </p:nvSpPr>
        <p:spPr bwMode="auto">
          <a:xfrm flipV="1">
            <a:off x="5438955" y="466489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3" name="Line 51"/>
          <p:cNvSpPr>
            <a:spLocks noChangeShapeType="1"/>
          </p:cNvSpPr>
          <p:nvPr/>
        </p:nvSpPr>
        <p:spPr bwMode="auto">
          <a:xfrm flipV="1">
            <a:off x="5438955" y="452641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4" name="Line 52"/>
          <p:cNvSpPr>
            <a:spLocks noChangeShapeType="1"/>
          </p:cNvSpPr>
          <p:nvPr/>
        </p:nvSpPr>
        <p:spPr bwMode="auto">
          <a:xfrm flipV="1">
            <a:off x="5438955" y="438924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5" name="Line 53"/>
          <p:cNvSpPr>
            <a:spLocks noChangeShapeType="1"/>
          </p:cNvSpPr>
          <p:nvPr/>
        </p:nvSpPr>
        <p:spPr bwMode="auto">
          <a:xfrm flipV="1">
            <a:off x="5438955" y="425207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6" name="Line 54"/>
          <p:cNvSpPr>
            <a:spLocks noChangeShapeType="1"/>
          </p:cNvSpPr>
          <p:nvPr/>
        </p:nvSpPr>
        <p:spPr bwMode="auto">
          <a:xfrm flipV="1">
            <a:off x="5438955" y="411490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7" name="Line 55"/>
          <p:cNvSpPr>
            <a:spLocks noChangeShapeType="1"/>
          </p:cNvSpPr>
          <p:nvPr/>
        </p:nvSpPr>
        <p:spPr bwMode="auto">
          <a:xfrm flipV="1">
            <a:off x="5438955" y="397643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8" name="Line 56"/>
          <p:cNvSpPr>
            <a:spLocks noChangeShapeType="1"/>
          </p:cNvSpPr>
          <p:nvPr/>
        </p:nvSpPr>
        <p:spPr bwMode="auto">
          <a:xfrm flipV="1">
            <a:off x="5438955" y="383926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9" name="Line 57"/>
          <p:cNvSpPr>
            <a:spLocks noChangeShapeType="1"/>
          </p:cNvSpPr>
          <p:nvPr/>
        </p:nvSpPr>
        <p:spPr bwMode="auto">
          <a:xfrm flipV="1">
            <a:off x="5438955" y="370209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0" name="Line 58"/>
          <p:cNvSpPr>
            <a:spLocks noChangeShapeType="1"/>
          </p:cNvSpPr>
          <p:nvPr/>
        </p:nvSpPr>
        <p:spPr bwMode="auto">
          <a:xfrm flipV="1">
            <a:off x="5438955" y="356492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1" name="Line 59"/>
          <p:cNvSpPr>
            <a:spLocks noChangeShapeType="1"/>
          </p:cNvSpPr>
          <p:nvPr/>
        </p:nvSpPr>
        <p:spPr bwMode="auto">
          <a:xfrm flipV="1">
            <a:off x="5438955" y="34264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2" name="Line 60"/>
          <p:cNvSpPr>
            <a:spLocks noChangeShapeType="1"/>
          </p:cNvSpPr>
          <p:nvPr/>
        </p:nvSpPr>
        <p:spPr bwMode="auto">
          <a:xfrm flipV="1">
            <a:off x="5438955" y="328927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3" name="Line 61"/>
          <p:cNvSpPr>
            <a:spLocks noChangeShapeType="1"/>
          </p:cNvSpPr>
          <p:nvPr/>
        </p:nvSpPr>
        <p:spPr bwMode="auto">
          <a:xfrm flipV="1">
            <a:off x="5438955" y="31521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4" name="Line 62"/>
          <p:cNvSpPr>
            <a:spLocks noChangeShapeType="1"/>
          </p:cNvSpPr>
          <p:nvPr/>
        </p:nvSpPr>
        <p:spPr bwMode="auto">
          <a:xfrm flipV="1">
            <a:off x="5438955" y="301363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5" name="Line 63"/>
          <p:cNvSpPr>
            <a:spLocks noChangeShapeType="1"/>
          </p:cNvSpPr>
          <p:nvPr/>
        </p:nvSpPr>
        <p:spPr bwMode="auto">
          <a:xfrm flipV="1">
            <a:off x="5438955" y="287646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6" name="Line 64"/>
          <p:cNvSpPr>
            <a:spLocks noChangeShapeType="1"/>
          </p:cNvSpPr>
          <p:nvPr/>
        </p:nvSpPr>
        <p:spPr bwMode="auto">
          <a:xfrm flipV="1">
            <a:off x="5438955" y="273929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7" name="Line 65"/>
          <p:cNvSpPr>
            <a:spLocks noChangeShapeType="1"/>
          </p:cNvSpPr>
          <p:nvPr/>
        </p:nvSpPr>
        <p:spPr bwMode="auto">
          <a:xfrm flipV="1">
            <a:off x="5438955" y="260212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8" name="Line 66"/>
          <p:cNvSpPr>
            <a:spLocks noChangeShapeType="1"/>
          </p:cNvSpPr>
          <p:nvPr/>
        </p:nvSpPr>
        <p:spPr bwMode="auto">
          <a:xfrm flipV="1">
            <a:off x="5438955" y="246364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9" name="Line 67"/>
          <p:cNvSpPr>
            <a:spLocks noChangeShapeType="1"/>
          </p:cNvSpPr>
          <p:nvPr/>
        </p:nvSpPr>
        <p:spPr bwMode="auto">
          <a:xfrm flipV="1">
            <a:off x="5438955" y="232647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0" name="Line 68"/>
          <p:cNvSpPr>
            <a:spLocks noChangeShapeType="1"/>
          </p:cNvSpPr>
          <p:nvPr/>
        </p:nvSpPr>
        <p:spPr bwMode="auto">
          <a:xfrm flipV="1">
            <a:off x="5438955" y="21893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1" name="Line 69"/>
          <p:cNvSpPr>
            <a:spLocks noChangeShapeType="1"/>
          </p:cNvSpPr>
          <p:nvPr/>
        </p:nvSpPr>
        <p:spPr bwMode="auto">
          <a:xfrm flipV="1">
            <a:off x="5438955" y="205213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2" name="Line 70"/>
          <p:cNvSpPr>
            <a:spLocks noChangeShapeType="1"/>
          </p:cNvSpPr>
          <p:nvPr/>
        </p:nvSpPr>
        <p:spPr bwMode="auto">
          <a:xfrm flipV="1">
            <a:off x="5438955" y="1963301"/>
            <a:ext cx="0" cy="19596"/>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3" name="Freeform 71"/>
          <p:cNvSpPr>
            <a:spLocks/>
          </p:cNvSpPr>
          <p:nvPr/>
        </p:nvSpPr>
        <p:spPr bwMode="auto">
          <a:xfrm>
            <a:off x="4670804" y="3827505"/>
            <a:ext cx="702833" cy="1817175"/>
          </a:xfrm>
          <a:custGeom>
            <a:avLst/>
            <a:gdLst>
              <a:gd name="T0" fmla="*/ 0 w 1077"/>
              <a:gd name="T1" fmla="*/ 2164 h 2782"/>
              <a:gd name="T2" fmla="*/ 0 w 1077"/>
              <a:gd name="T3" fmla="*/ 2194 h 2782"/>
              <a:gd name="T4" fmla="*/ 5 w 1077"/>
              <a:gd name="T5" fmla="*/ 2258 h 2782"/>
              <a:gd name="T6" fmla="*/ 17 w 1077"/>
              <a:gd name="T7" fmla="*/ 2318 h 2782"/>
              <a:gd name="T8" fmla="*/ 32 w 1077"/>
              <a:gd name="T9" fmla="*/ 2376 h 2782"/>
              <a:gd name="T10" fmla="*/ 52 w 1077"/>
              <a:gd name="T11" fmla="*/ 2431 h 2782"/>
              <a:gd name="T12" fmla="*/ 79 w 1077"/>
              <a:gd name="T13" fmla="*/ 2484 h 2782"/>
              <a:gd name="T14" fmla="*/ 107 w 1077"/>
              <a:gd name="T15" fmla="*/ 2532 h 2782"/>
              <a:gd name="T16" fmla="*/ 141 w 1077"/>
              <a:gd name="T17" fmla="*/ 2579 h 2782"/>
              <a:gd name="T18" fmla="*/ 176 w 1077"/>
              <a:gd name="T19" fmla="*/ 2621 h 2782"/>
              <a:gd name="T20" fmla="*/ 216 w 1077"/>
              <a:gd name="T21" fmla="*/ 2658 h 2782"/>
              <a:gd name="T22" fmla="*/ 259 w 1077"/>
              <a:gd name="T23" fmla="*/ 2692 h 2782"/>
              <a:gd name="T24" fmla="*/ 304 w 1077"/>
              <a:gd name="T25" fmla="*/ 2720 h 2782"/>
              <a:gd name="T26" fmla="*/ 353 w 1077"/>
              <a:gd name="T27" fmla="*/ 2745 h 2782"/>
              <a:gd name="T28" fmla="*/ 404 w 1077"/>
              <a:gd name="T29" fmla="*/ 2762 h 2782"/>
              <a:gd name="T30" fmla="*/ 457 w 1077"/>
              <a:gd name="T31" fmla="*/ 2775 h 2782"/>
              <a:gd name="T32" fmla="*/ 511 w 1077"/>
              <a:gd name="T33" fmla="*/ 2781 h 2782"/>
              <a:gd name="T34" fmla="*/ 539 w 1077"/>
              <a:gd name="T35" fmla="*/ 2782 h 2782"/>
              <a:gd name="T36" fmla="*/ 594 w 1077"/>
              <a:gd name="T37" fmla="*/ 2779 h 2782"/>
              <a:gd name="T38" fmla="*/ 646 w 1077"/>
              <a:gd name="T39" fmla="*/ 2769 h 2782"/>
              <a:gd name="T40" fmla="*/ 699 w 1077"/>
              <a:gd name="T41" fmla="*/ 2754 h 2782"/>
              <a:gd name="T42" fmla="*/ 748 w 1077"/>
              <a:gd name="T43" fmla="*/ 2734 h 2782"/>
              <a:gd name="T44" fmla="*/ 795 w 1077"/>
              <a:gd name="T45" fmla="*/ 2707 h 2782"/>
              <a:gd name="T46" fmla="*/ 840 w 1077"/>
              <a:gd name="T47" fmla="*/ 2675 h 2782"/>
              <a:gd name="T48" fmla="*/ 881 w 1077"/>
              <a:gd name="T49" fmla="*/ 2640 h 2782"/>
              <a:gd name="T50" fmla="*/ 919 w 1077"/>
              <a:gd name="T51" fmla="*/ 2600 h 2782"/>
              <a:gd name="T52" fmla="*/ 955 w 1077"/>
              <a:gd name="T53" fmla="*/ 2557 h 2782"/>
              <a:gd name="T54" fmla="*/ 985 w 1077"/>
              <a:gd name="T55" fmla="*/ 2510 h 2782"/>
              <a:gd name="T56" fmla="*/ 1013 w 1077"/>
              <a:gd name="T57" fmla="*/ 2457 h 2782"/>
              <a:gd name="T58" fmla="*/ 1036 w 1077"/>
              <a:gd name="T59" fmla="*/ 2405 h 2782"/>
              <a:gd name="T60" fmla="*/ 1054 w 1077"/>
              <a:gd name="T61" fmla="*/ 2346 h 2782"/>
              <a:gd name="T62" fmla="*/ 1068 w 1077"/>
              <a:gd name="T63" fmla="*/ 2288 h 2782"/>
              <a:gd name="T64" fmla="*/ 1075 w 1077"/>
              <a:gd name="T65" fmla="*/ 2226 h 2782"/>
              <a:gd name="T66" fmla="*/ 1077 w 1077"/>
              <a:gd name="T67" fmla="*/ 2164 h 2782"/>
              <a:gd name="T68" fmla="*/ 0 w 1077"/>
              <a:gd name="T69" fmla="*/ 0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7" h="2782">
                <a:moveTo>
                  <a:pt x="0" y="0"/>
                </a:moveTo>
                <a:lnTo>
                  <a:pt x="0" y="2164"/>
                </a:lnTo>
                <a:lnTo>
                  <a:pt x="0" y="2164"/>
                </a:lnTo>
                <a:lnTo>
                  <a:pt x="0" y="2194"/>
                </a:lnTo>
                <a:lnTo>
                  <a:pt x="3" y="2226"/>
                </a:lnTo>
                <a:lnTo>
                  <a:pt x="5" y="2258"/>
                </a:lnTo>
                <a:lnTo>
                  <a:pt x="11" y="2288"/>
                </a:lnTo>
                <a:lnTo>
                  <a:pt x="17" y="2318"/>
                </a:lnTo>
                <a:lnTo>
                  <a:pt x="24" y="2346"/>
                </a:lnTo>
                <a:lnTo>
                  <a:pt x="32" y="2376"/>
                </a:lnTo>
                <a:lnTo>
                  <a:pt x="43" y="2405"/>
                </a:lnTo>
                <a:lnTo>
                  <a:pt x="52" y="2431"/>
                </a:lnTo>
                <a:lnTo>
                  <a:pt x="66" y="2457"/>
                </a:lnTo>
                <a:lnTo>
                  <a:pt x="79" y="2484"/>
                </a:lnTo>
                <a:lnTo>
                  <a:pt x="92" y="2510"/>
                </a:lnTo>
                <a:lnTo>
                  <a:pt x="107" y="2532"/>
                </a:lnTo>
                <a:lnTo>
                  <a:pt x="122" y="2557"/>
                </a:lnTo>
                <a:lnTo>
                  <a:pt x="141" y="2579"/>
                </a:lnTo>
                <a:lnTo>
                  <a:pt x="158" y="2600"/>
                </a:lnTo>
                <a:lnTo>
                  <a:pt x="176" y="2621"/>
                </a:lnTo>
                <a:lnTo>
                  <a:pt x="195" y="2640"/>
                </a:lnTo>
                <a:lnTo>
                  <a:pt x="216" y="2658"/>
                </a:lnTo>
                <a:lnTo>
                  <a:pt x="237" y="2675"/>
                </a:lnTo>
                <a:lnTo>
                  <a:pt x="259" y="2692"/>
                </a:lnTo>
                <a:lnTo>
                  <a:pt x="282" y="2707"/>
                </a:lnTo>
                <a:lnTo>
                  <a:pt x="304" y="2720"/>
                </a:lnTo>
                <a:lnTo>
                  <a:pt x="329" y="2734"/>
                </a:lnTo>
                <a:lnTo>
                  <a:pt x="353" y="2745"/>
                </a:lnTo>
                <a:lnTo>
                  <a:pt x="378" y="2754"/>
                </a:lnTo>
                <a:lnTo>
                  <a:pt x="404" y="2762"/>
                </a:lnTo>
                <a:lnTo>
                  <a:pt x="430" y="2769"/>
                </a:lnTo>
                <a:lnTo>
                  <a:pt x="457" y="2775"/>
                </a:lnTo>
                <a:lnTo>
                  <a:pt x="483" y="2779"/>
                </a:lnTo>
                <a:lnTo>
                  <a:pt x="511" y="2781"/>
                </a:lnTo>
                <a:lnTo>
                  <a:pt x="539" y="2782"/>
                </a:lnTo>
                <a:lnTo>
                  <a:pt x="539" y="2782"/>
                </a:lnTo>
                <a:lnTo>
                  <a:pt x="566" y="2781"/>
                </a:lnTo>
                <a:lnTo>
                  <a:pt x="594" y="2779"/>
                </a:lnTo>
                <a:lnTo>
                  <a:pt x="620" y="2775"/>
                </a:lnTo>
                <a:lnTo>
                  <a:pt x="646" y="2769"/>
                </a:lnTo>
                <a:lnTo>
                  <a:pt x="673" y="2762"/>
                </a:lnTo>
                <a:lnTo>
                  <a:pt x="699" y="2754"/>
                </a:lnTo>
                <a:lnTo>
                  <a:pt x="723" y="2745"/>
                </a:lnTo>
                <a:lnTo>
                  <a:pt x="748" y="2734"/>
                </a:lnTo>
                <a:lnTo>
                  <a:pt x="772" y="2720"/>
                </a:lnTo>
                <a:lnTo>
                  <a:pt x="795" y="2707"/>
                </a:lnTo>
                <a:lnTo>
                  <a:pt x="817" y="2692"/>
                </a:lnTo>
                <a:lnTo>
                  <a:pt x="840" y="2675"/>
                </a:lnTo>
                <a:lnTo>
                  <a:pt x="861" y="2658"/>
                </a:lnTo>
                <a:lnTo>
                  <a:pt x="881" y="2640"/>
                </a:lnTo>
                <a:lnTo>
                  <a:pt x="900" y="2621"/>
                </a:lnTo>
                <a:lnTo>
                  <a:pt x="919" y="2600"/>
                </a:lnTo>
                <a:lnTo>
                  <a:pt x="938" y="2579"/>
                </a:lnTo>
                <a:lnTo>
                  <a:pt x="955" y="2557"/>
                </a:lnTo>
                <a:lnTo>
                  <a:pt x="970" y="2532"/>
                </a:lnTo>
                <a:lnTo>
                  <a:pt x="985" y="2510"/>
                </a:lnTo>
                <a:lnTo>
                  <a:pt x="1000" y="2484"/>
                </a:lnTo>
                <a:lnTo>
                  <a:pt x="1013" y="2457"/>
                </a:lnTo>
                <a:lnTo>
                  <a:pt x="1024" y="2431"/>
                </a:lnTo>
                <a:lnTo>
                  <a:pt x="1036" y="2405"/>
                </a:lnTo>
                <a:lnTo>
                  <a:pt x="1045" y="2376"/>
                </a:lnTo>
                <a:lnTo>
                  <a:pt x="1054" y="2346"/>
                </a:lnTo>
                <a:lnTo>
                  <a:pt x="1060" y="2318"/>
                </a:lnTo>
                <a:lnTo>
                  <a:pt x="1068" y="2288"/>
                </a:lnTo>
                <a:lnTo>
                  <a:pt x="1071" y="2258"/>
                </a:lnTo>
                <a:lnTo>
                  <a:pt x="1075" y="2226"/>
                </a:lnTo>
                <a:lnTo>
                  <a:pt x="1077" y="2194"/>
                </a:lnTo>
                <a:lnTo>
                  <a:pt x="1077" y="2164"/>
                </a:lnTo>
                <a:lnTo>
                  <a:pt x="1077"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5" name="Line 72"/>
          <p:cNvSpPr>
            <a:spLocks noChangeShapeType="1"/>
          </p:cNvSpPr>
          <p:nvPr/>
        </p:nvSpPr>
        <p:spPr bwMode="auto">
          <a:xfrm>
            <a:off x="5745955" y="196330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6" name="Line 73"/>
          <p:cNvSpPr>
            <a:spLocks noChangeShapeType="1"/>
          </p:cNvSpPr>
          <p:nvPr/>
        </p:nvSpPr>
        <p:spPr bwMode="auto">
          <a:xfrm>
            <a:off x="5745955" y="210047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7" name="Line 74"/>
          <p:cNvSpPr>
            <a:spLocks noChangeShapeType="1"/>
          </p:cNvSpPr>
          <p:nvPr/>
        </p:nvSpPr>
        <p:spPr bwMode="auto">
          <a:xfrm>
            <a:off x="5745955" y="223764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8" name="Line 75"/>
          <p:cNvSpPr>
            <a:spLocks noChangeShapeType="1"/>
          </p:cNvSpPr>
          <p:nvPr/>
        </p:nvSpPr>
        <p:spPr bwMode="auto">
          <a:xfrm>
            <a:off x="5745955" y="237611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9" name="Line 76"/>
          <p:cNvSpPr>
            <a:spLocks noChangeShapeType="1"/>
          </p:cNvSpPr>
          <p:nvPr/>
        </p:nvSpPr>
        <p:spPr bwMode="auto">
          <a:xfrm>
            <a:off x="5745955" y="251328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0" name="Line 77"/>
          <p:cNvSpPr>
            <a:spLocks noChangeShapeType="1"/>
          </p:cNvSpPr>
          <p:nvPr/>
        </p:nvSpPr>
        <p:spPr bwMode="auto">
          <a:xfrm>
            <a:off x="5745955" y="265045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1" name="Line 78"/>
          <p:cNvSpPr>
            <a:spLocks noChangeShapeType="1"/>
          </p:cNvSpPr>
          <p:nvPr/>
        </p:nvSpPr>
        <p:spPr bwMode="auto">
          <a:xfrm>
            <a:off x="5745955" y="278893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2" name="Line 79"/>
          <p:cNvSpPr>
            <a:spLocks noChangeShapeType="1"/>
          </p:cNvSpPr>
          <p:nvPr/>
        </p:nvSpPr>
        <p:spPr bwMode="auto">
          <a:xfrm>
            <a:off x="5745955" y="292610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3" name="Line 80"/>
          <p:cNvSpPr>
            <a:spLocks noChangeShapeType="1"/>
          </p:cNvSpPr>
          <p:nvPr/>
        </p:nvSpPr>
        <p:spPr bwMode="auto">
          <a:xfrm>
            <a:off x="5745955" y="306327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4" name="Line 81"/>
          <p:cNvSpPr>
            <a:spLocks noChangeShapeType="1"/>
          </p:cNvSpPr>
          <p:nvPr/>
        </p:nvSpPr>
        <p:spPr bwMode="auto">
          <a:xfrm>
            <a:off x="5745955" y="320044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5" name="Line 82"/>
          <p:cNvSpPr>
            <a:spLocks noChangeShapeType="1"/>
          </p:cNvSpPr>
          <p:nvPr/>
        </p:nvSpPr>
        <p:spPr bwMode="auto">
          <a:xfrm>
            <a:off x="5745955" y="333891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6" name="Line 83"/>
          <p:cNvSpPr>
            <a:spLocks noChangeShapeType="1"/>
          </p:cNvSpPr>
          <p:nvPr/>
        </p:nvSpPr>
        <p:spPr bwMode="auto">
          <a:xfrm>
            <a:off x="5745955" y="347608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7" name="Line 84"/>
          <p:cNvSpPr>
            <a:spLocks noChangeShapeType="1"/>
          </p:cNvSpPr>
          <p:nvPr/>
        </p:nvSpPr>
        <p:spPr bwMode="auto">
          <a:xfrm>
            <a:off x="5745955" y="361325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8" name="Line 85"/>
          <p:cNvSpPr>
            <a:spLocks noChangeShapeType="1"/>
          </p:cNvSpPr>
          <p:nvPr/>
        </p:nvSpPr>
        <p:spPr bwMode="auto">
          <a:xfrm>
            <a:off x="5745955" y="375042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9" name="Line 86"/>
          <p:cNvSpPr>
            <a:spLocks noChangeShapeType="1"/>
          </p:cNvSpPr>
          <p:nvPr/>
        </p:nvSpPr>
        <p:spPr bwMode="auto">
          <a:xfrm>
            <a:off x="5745955" y="38889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0" name="Line 87"/>
          <p:cNvSpPr>
            <a:spLocks noChangeShapeType="1"/>
          </p:cNvSpPr>
          <p:nvPr/>
        </p:nvSpPr>
        <p:spPr bwMode="auto">
          <a:xfrm>
            <a:off x="5745955" y="402607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1" name="Line 88"/>
          <p:cNvSpPr>
            <a:spLocks noChangeShapeType="1"/>
          </p:cNvSpPr>
          <p:nvPr/>
        </p:nvSpPr>
        <p:spPr bwMode="auto">
          <a:xfrm>
            <a:off x="5745955" y="416324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2" name="Line 89"/>
          <p:cNvSpPr>
            <a:spLocks noChangeShapeType="1"/>
          </p:cNvSpPr>
          <p:nvPr/>
        </p:nvSpPr>
        <p:spPr bwMode="auto">
          <a:xfrm>
            <a:off x="5745955" y="430041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3" name="Line 90"/>
          <p:cNvSpPr>
            <a:spLocks noChangeShapeType="1"/>
          </p:cNvSpPr>
          <p:nvPr/>
        </p:nvSpPr>
        <p:spPr bwMode="auto">
          <a:xfrm>
            <a:off x="5745955" y="443889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4" name="Line 91"/>
          <p:cNvSpPr>
            <a:spLocks noChangeShapeType="1"/>
          </p:cNvSpPr>
          <p:nvPr/>
        </p:nvSpPr>
        <p:spPr bwMode="auto">
          <a:xfrm>
            <a:off x="5745955" y="457606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5" name="Line 92"/>
          <p:cNvSpPr>
            <a:spLocks noChangeShapeType="1"/>
          </p:cNvSpPr>
          <p:nvPr/>
        </p:nvSpPr>
        <p:spPr bwMode="auto">
          <a:xfrm>
            <a:off x="5745955" y="471323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6" name="Line 93"/>
          <p:cNvSpPr>
            <a:spLocks noChangeShapeType="1"/>
          </p:cNvSpPr>
          <p:nvPr/>
        </p:nvSpPr>
        <p:spPr bwMode="auto">
          <a:xfrm>
            <a:off x="5745955" y="48517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7" name="Line 94"/>
          <p:cNvSpPr>
            <a:spLocks noChangeShapeType="1"/>
          </p:cNvSpPr>
          <p:nvPr/>
        </p:nvSpPr>
        <p:spPr bwMode="auto">
          <a:xfrm>
            <a:off x="5745955" y="498887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8" name="Line 95"/>
          <p:cNvSpPr>
            <a:spLocks noChangeShapeType="1"/>
          </p:cNvSpPr>
          <p:nvPr/>
        </p:nvSpPr>
        <p:spPr bwMode="auto">
          <a:xfrm>
            <a:off x="5745955" y="51260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9" name="Freeform 96"/>
          <p:cNvSpPr>
            <a:spLocks/>
          </p:cNvSpPr>
          <p:nvPr/>
        </p:nvSpPr>
        <p:spPr bwMode="auto">
          <a:xfrm>
            <a:off x="5745955" y="5263217"/>
            <a:ext cx="1306" cy="69238"/>
          </a:xfrm>
          <a:custGeom>
            <a:avLst/>
            <a:gdLst>
              <a:gd name="T0" fmla="*/ 0 w 1"/>
              <a:gd name="T1" fmla="*/ 0 h 105"/>
              <a:gd name="T2" fmla="*/ 0 w 1"/>
              <a:gd name="T3" fmla="*/ 67 h 105"/>
              <a:gd name="T4" fmla="*/ 1 w 1"/>
              <a:gd name="T5" fmla="*/ 99 h 105"/>
              <a:gd name="T6" fmla="*/ 1 w 1"/>
              <a:gd name="T7" fmla="*/ 105 h 105"/>
            </a:gdLst>
            <a:ahLst/>
            <a:cxnLst>
              <a:cxn ang="0">
                <a:pos x="T0" y="T1"/>
              </a:cxn>
              <a:cxn ang="0">
                <a:pos x="T2" y="T3"/>
              </a:cxn>
              <a:cxn ang="0">
                <a:pos x="T4" y="T5"/>
              </a:cxn>
              <a:cxn ang="0">
                <a:pos x="T6" y="T7"/>
              </a:cxn>
            </a:cxnLst>
            <a:rect l="0" t="0" r="r" b="b"/>
            <a:pathLst>
              <a:path w="1" h="105">
                <a:moveTo>
                  <a:pt x="0" y="0"/>
                </a:moveTo>
                <a:lnTo>
                  <a:pt x="0" y="67"/>
                </a:lnTo>
                <a:lnTo>
                  <a:pt x="1" y="99"/>
                </a:lnTo>
                <a:lnTo>
                  <a:pt x="1" y="105"/>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0" name="Freeform 97"/>
          <p:cNvSpPr>
            <a:spLocks/>
          </p:cNvSpPr>
          <p:nvPr/>
        </p:nvSpPr>
        <p:spPr bwMode="auto">
          <a:xfrm>
            <a:off x="5757712" y="5401693"/>
            <a:ext cx="20902" cy="64013"/>
          </a:xfrm>
          <a:custGeom>
            <a:avLst/>
            <a:gdLst>
              <a:gd name="T0" fmla="*/ 0 w 32"/>
              <a:gd name="T1" fmla="*/ 0 h 100"/>
              <a:gd name="T2" fmla="*/ 4 w 32"/>
              <a:gd name="T3" fmla="*/ 17 h 100"/>
              <a:gd name="T4" fmla="*/ 14 w 32"/>
              <a:gd name="T5" fmla="*/ 47 h 100"/>
              <a:gd name="T6" fmla="*/ 23 w 32"/>
              <a:gd name="T7" fmla="*/ 75 h 100"/>
              <a:gd name="T8" fmla="*/ 32 w 32"/>
              <a:gd name="T9" fmla="*/ 100 h 100"/>
            </a:gdLst>
            <a:ahLst/>
            <a:cxnLst>
              <a:cxn ang="0">
                <a:pos x="T0" y="T1"/>
              </a:cxn>
              <a:cxn ang="0">
                <a:pos x="T2" y="T3"/>
              </a:cxn>
              <a:cxn ang="0">
                <a:pos x="T4" y="T5"/>
              </a:cxn>
              <a:cxn ang="0">
                <a:pos x="T6" y="T7"/>
              </a:cxn>
              <a:cxn ang="0">
                <a:pos x="T8" y="T9"/>
              </a:cxn>
            </a:cxnLst>
            <a:rect l="0" t="0" r="r" b="b"/>
            <a:pathLst>
              <a:path w="32" h="100">
                <a:moveTo>
                  <a:pt x="0" y="0"/>
                </a:moveTo>
                <a:lnTo>
                  <a:pt x="4" y="17"/>
                </a:lnTo>
                <a:lnTo>
                  <a:pt x="14" y="47"/>
                </a:lnTo>
                <a:lnTo>
                  <a:pt x="23" y="75"/>
                </a:lnTo>
                <a:lnTo>
                  <a:pt x="32" y="10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1" name="Freeform 98"/>
          <p:cNvSpPr>
            <a:spLocks/>
          </p:cNvSpPr>
          <p:nvPr/>
        </p:nvSpPr>
        <p:spPr bwMode="auto">
          <a:xfrm>
            <a:off x="5820418" y="5527106"/>
            <a:ext cx="40498" cy="56174"/>
          </a:xfrm>
          <a:custGeom>
            <a:avLst/>
            <a:gdLst>
              <a:gd name="T0" fmla="*/ 0 w 62"/>
              <a:gd name="T1" fmla="*/ 0 h 84"/>
              <a:gd name="T2" fmla="*/ 12 w 62"/>
              <a:gd name="T3" fmla="*/ 19 h 84"/>
              <a:gd name="T4" fmla="*/ 30 w 62"/>
              <a:gd name="T5" fmla="*/ 45 h 84"/>
              <a:gd name="T6" fmla="*/ 49 w 62"/>
              <a:gd name="T7" fmla="*/ 68 h 84"/>
              <a:gd name="T8" fmla="*/ 62 w 62"/>
              <a:gd name="T9" fmla="*/ 84 h 84"/>
            </a:gdLst>
            <a:ahLst/>
            <a:cxnLst>
              <a:cxn ang="0">
                <a:pos x="T0" y="T1"/>
              </a:cxn>
              <a:cxn ang="0">
                <a:pos x="T2" y="T3"/>
              </a:cxn>
              <a:cxn ang="0">
                <a:pos x="T4" y="T5"/>
              </a:cxn>
              <a:cxn ang="0">
                <a:pos x="T6" y="T7"/>
              </a:cxn>
              <a:cxn ang="0">
                <a:pos x="T8" y="T9"/>
              </a:cxn>
            </a:cxnLst>
            <a:rect l="0" t="0" r="r" b="b"/>
            <a:pathLst>
              <a:path w="62" h="84">
                <a:moveTo>
                  <a:pt x="0" y="0"/>
                </a:moveTo>
                <a:lnTo>
                  <a:pt x="12" y="19"/>
                </a:lnTo>
                <a:lnTo>
                  <a:pt x="30" y="45"/>
                </a:lnTo>
                <a:lnTo>
                  <a:pt x="49" y="68"/>
                </a:lnTo>
                <a:lnTo>
                  <a:pt x="62" y="84"/>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2" name="Freeform 99"/>
          <p:cNvSpPr>
            <a:spLocks/>
          </p:cNvSpPr>
          <p:nvPr/>
        </p:nvSpPr>
        <p:spPr bwMode="auto">
          <a:xfrm>
            <a:off x="5900107" y="5630310"/>
            <a:ext cx="56174" cy="39191"/>
          </a:xfrm>
          <a:custGeom>
            <a:avLst/>
            <a:gdLst>
              <a:gd name="T0" fmla="*/ 0 w 86"/>
              <a:gd name="T1" fmla="*/ 0 h 58"/>
              <a:gd name="T2" fmla="*/ 22 w 86"/>
              <a:gd name="T3" fmla="*/ 15 h 58"/>
              <a:gd name="T4" fmla="*/ 47 w 86"/>
              <a:gd name="T5" fmla="*/ 34 h 58"/>
              <a:gd name="T6" fmla="*/ 73 w 86"/>
              <a:gd name="T7" fmla="*/ 51 h 58"/>
              <a:gd name="T8" fmla="*/ 86 w 86"/>
              <a:gd name="T9" fmla="*/ 58 h 58"/>
            </a:gdLst>
            <a:ahLst/>
            <a:cxnLst>
              <a:cxn ang="0">
                <a:pos x="T0" y="T1"/>
              </a:cxn>
              <a:cxn ang="0">
                <a:pos x="T2" y="T3"/>
              </a:cxn>
              <a:cxn ang="0">
                <a:pos x="T4" y="T5"/>
              </a:cxn>
              <a:cxn ang="0">
                <a:pos x="T6" y="T7"/>
              </a:cxn>
              <a:cxn ang="0">
                <a:pos x="T8" y="T9"/>
              </a:cxn>
            </a:cxnLst>
            <a:rect l="0" t="0" r="r" b="b"/>
            <a:pathLst>
              <a:path w="86" h="58">
                <a:moveTo>
                  <a:pt x="0" y="0"/>
                </a:moveTo>
                <a:lnTo>
                  <a:pt x="22" y="15"/>
                </a:lnTo>
                <a:lnTo>
                  <a:pt x="47" y="34"/>
                </a:lnTo>
                <a:lnTo>
                  <a:pt x="73" y="51"/>
                </a:lnTo>
                <a:lnTo>
                  <a:pt x="86" y="5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3" name="Freeform 100"/>
          <p:cNvSpPr>
            <a:spLocks/>
          </p:cNvSpPr>
          <p:nvPr/>
        </p:nvSpPr>
        <p:spPr bwMode="auto">
          <a:xfrm>
            <a:off x="6029439" y="5698242"/>
            <a:ext cx="66625" cy="18289"/>
          </a:xfrm>
          <a:custGeom>
            <a:avLst/>
            <a:gdLst>
              <a:gd name="T0" fmla="*/ 0 w 101"/>
              <a:gd name="T1" fmla="*/ 0 h 28"/>
              <a:gd name="T2" fmla="*/ 2 w 101"/>
              <a:gd name="T3" fmla="*/ 0 h 28"/>
              <a:gd name="T4" fmla="*/ 32 w 101"/>
              <a:gd name="T5" fmla="*/ 11 h 28"/>
              <a:gd name="T6" fmla="*/ 62 w 101"/>
              <a:gd name="T7" fmla="*/ 19 h 28"/>
              <a:gd name="T8" fmla="*/ 92 w 101"/>
              <a:gd name="T9" fmla="*/ 26 h 28"/>
              <a:gd name="T10" fmla="*/ 101 w 101"/>
              <a:gd name="T11" fmla="*/ 28 h 28"/>
            </a:gdLst>
            <a:ahLst/>
            <a:cxnLst>
              <a:cxn ang="0">
                <a:pos x="T0" y="T1"/>
              </a:cxn>
              <a:cxn ang="0">
                <a:pos x="T2" y="T3"/>
              </a:cxn>
              <a:cxn ang="0">
                <a:pos x="T4" y="T5"/>
              </a:cxn>
              <a:cxn ang="0">
                <a:pos x="T6" y="T7"/>
              </a:cxn>
              <a:cxn ang="0">
                <a:pos x="T8" y="T9"/>
              </a:cxn>
              <a:cxn ang="0">
                <a:pos x="T10" y="T11"/>
              </a:cxn>
            </a:cxnLst>
            <a:rect l="0" t="0" r="r" b="b"/>
            <a:pathLst>
              <a:path w="101" h="28">
                <a:moveTo>
                  <a:pt x="0" y="0"/>
                </a:moveTo>
                <a:lnTo>
                  <a:pt x="2" y="0"/>
                </a:lnTo>
                <a:lnTo>
                  <a:pt x="32" y="11"/>
                </a:lnTo>
                <a:lnTo>
                  <a:pt x="62" y="19"/>
                </a:lnTo>
                <a:lnTo>
                  <a:pt x="92" y="26"/>
                </a:lnTo>
                <a:lnTo>
                  <a:pt x="101" y="2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4" name="Freeform 101"/>
          <p:cNvSpPr>
            <a:spLocks/>
          </p:cNvSpPr>
          <p:nvPr/>
        </p:nvSpPr>
        <p:spPr bwMode="auto">
          <a:xfrm>
            <a:off x="6163996" y="5719144"/>
            <a:ext cx="67932" cy="5226"/>
          </a:xfrm>
          <a:custGeom>
            <a:avLst/>
            <a:gdLst>
              <a:gd name="T0" fmla="*/ 0 w 103"/>
              <a:gd name="T1" fmla="*/ 8 h 8"/>
              <a:gd name="T2" fmla="*/ 13 w 103"/>
              <a:gd name="T3" fmla="*/ 8 h 8"/>
              <a:gd name="T4" fmla="*/ 47 w 103"/>
              <a:gd name="T5" fmla="*/ 6 h 8"/>
              <a:gd name="T6" fmla="*/ 79 w 103"/>
              <a:gd name="T7" fmla="*/ 4 h 8"/>
              <a:gd name="T8" fmla="*/ 103 w 103"/>
              <a:gd name="T9" fmla="*/ 0 h 8"/>
            </a:gdLst>
            <a:ahLst/>
            <a:cxnLst>
              <a:cxn ang="0">
                <a:pos x="T0" y="T1"/>
              </a:cxn>
              <a:cxn ang="0">
                <a:pos x="T2" y="T3"/>
              </a:cxn>
              <a:cxn ang="0">
                <a:pos x="T4" y="T5"/>
              </a:cxn>
              <a:cxn ang="0">
                <a:pos x="T6" y="T7"/>
              </a:cxn>
              <a:cxn ang="0">
                <a:pos x="T8" y="T9"/>
              </a:cxn>
            </a:cxnLst>
            <a:rect l="0" t="0" r="r" b="b"/>
            <a:pathLst>
              <a:path w="103" h="8">
                <a:moveTo>
                  <a:pt x="0" y="8"/>
                </a:moveTo>
                <a:lnTo>
                  <a:pt x="13" y="8"/>
                </a:lnTo>
                <a:lnTo>
                  <a:pt x="47" y="6"/>
                </a:lnTo>
                <a:lnTo>
                  <a:pt x="79" y="4"/>
                </a:lnTo>
                <a:lnTo>
                  <a:pt x="103"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5" name="Freeform 102"/>
          <p:cNvSpPr>
            <a:spLocks/>
          </p:cNvSpPr>
          <p:nvPr/>
        </p:nvSpPr>
        <p:spPr bwMode="auto">
          <a:xfrm>
            <a:off x="6289409" y="5678646"/>
            <a:ext cx="64013" cy="26128"/>
          </a:xfrm>
          <a:custGeom>
            <a:avLst/>
            <a:gdLst>
              <a:gd name="T0" fmla="*/ 0 w 98"/>
              <a:gd name="T1" fmla="*/ 40 h 40"/>
              <a:gd name="T2" fmla="*/ 27 w 98"/>
              <a:gd name="T3" fmla="*/ 30 h 40"/>
              <a:gd name="T4" fmla="*/ 55 w 98"/>
              <a:gd name="T5" fmla="*/ 19 h 40"/>
              <a:gd name="T6" fmla="*/ 83 w 98"/>
              <a:gd name="T7" fmla="*/ 6 h 40"/>
              <a:gd name="T8" fmla="*/ 98 w 98"/>
              <a:gd name="T9" fmla="*/ 0 h 40"/>
            </a:gdLst>
            <a:ahLst/>
            <a:cxnLst>
              <a:cxn ang="0">
                <a:pos x="T0" y="T1"/>
              </a:cxn>
              <a:cxn ang="0">
                <a:pos x="T2" y="T3"/>
              </a:cxn>
              <a:cxn ang="0">
                <a:pos x="T4" y="T5"/>
              </a:cxn>
              <a:cxn ang="0">
                <a:pos x="T6" y="T7"/>
              </a:cxn>
              <a:cxn ang="0">
                <a:pos x="T8" y="T9"/>
              </a:cxn>
            </a:cxnLst>
            <a:rect l="0" t="0" r="r" b="b"/>
            <a:pathLst>
              <a:path w="98" h="40">
                <a:moveTo>
                  <a:pt x="0" y="40"/>
                </a:moveTo>
                <a:lnTo>
                  <a:pt x="27" y="30"/>
                </a:lnTo>
                <a:lnTo>
                  <a:pt x="55" y="19"/>
                </a:lnTo>
                <a:lnTo>
                  <a:pt x="83" y="6"/>
                </a:lnTo>
                <a:lnTo>
                  <a:pt x="98"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6" name="Freeform 103"/>
          <p:cNvSpPr>
            <a:spLocks/>
          </p:cNvSpPr>
          <p:nvPr/>
        </p:nvSpPr>
        <p:spPr bwMode="auto">
          <a:xfrm>
            <a:off x="6410902" y="5596344"/>
            <a:ext cx="50949" cy="45723"/>
          </a:xfrm>
          <a:custGeom>
            <a:avLst/>
            <a:gdLst>
              <a:gd name="T0" fmla="*/ 0 w 79"/>
              <a:gd name="T1" fmla="*/ 70 h 70"/>
              <a:gd name="T2" fmla="*/ 1 w 79"/>
              <a:gd name="T3" fmla="*/ 68 h 70"/>
              <a:gd name="T4" fmla="*/ 26 w 79"/>
              <a:gd name="T5" fmla="*/ 49 h 70"/>
              <a:gd name="T6" fmla="*/ 48 w 79"/>
              <a:gd name="T7" fmla="*/ 30 h 70"/>
              <a:gd name="T8" fmla="*/ 71 w 79"/>
              <a:gd name="T9" fmla="*/ 10 h 70"/>
              <a:gd name="T10" fmla="*/ 79 w 79"/>
              <a:gd name="T11" fmla="*/ 0 h 70"/>
            </a:gdLst>
            <a:ahLst/>
            <a:cxnLst>
              <a:cxn ang="0">
                <a:pos x="T0" y="T1"/>
              </a:cxn>
              <a:cxn ang="0">
                <a:pos x="T2" y="T3"/>
              </a:cxn>
              <a:cxn ang="0">
                <a:pos x="T4" y="T5"/>
              </a:cxn>
              <a:cxn ang="0">
                <a:pos x="T6" y="T7"/>
              </a:cxn>
              <a:cxn ang="0">
                <a:pos x="T8" y="T9"/>
              </a:cxn>
              <a:cxn ang="0">
                <a:pos x="T10" y="T11"/>
              </a:cxn>
            </a:cxnLst>
            <a:rect l="0" t="0" r="r" b="b"/>
            <a:pathLst>
              <a:path w="79" h="70">
                <a:moveTo>
                  <a:pt x="0" y="70"/>
                </a:moveTo>
                <a:lnTo>
                  <a:pt x="1" y="68"/>
                </a:lnTo>
                <a:lnTo>
                  <a:pt x="26" y="49"/>
                </a:lnTo>
                <a:lnTo>
                  <a:pt x="48" y="30"/>
                </a:lnTo>
                <a:lnTo>
                  <a:pt x="71" y="10"/>
                </a:lnTo>
                <a:lnTo>
                  <a:pt x="79"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7" name="Freeform 104"/>
          <p:cNvSpPr>
            <a:spLocks/>
          </p:cNvSpPr>
          <p:nvPr/>
        </p:nvSpPr>
        <p:spPr bwMode="auto">
          <a:xfrm>
            <a:off x="6506268" y="5483995"/>
            <a:ext cx="32660" cy="60093"/>
          </a:xfrm>
          <a:custGeom>
            <a:avLst/>
            <a:gdLst>
              <a:gd name="T0" fmla="*/ 0 w 51"/>
              <a:gd name="T1" fmla="*/ 92 h 92"/>
              <a:gd name="T2" fmla="*/ 2 w 51"/>
              <a:gd name="T3" fmla="*/ 87 h 92"/>
              <a:gd name="T4" fmla="*/ 19 w 51"/>
              <a:gd name="T5" fmla="*/ 62 h 92"/>
              <a:gd name="T6" fmla="*/ 34 w 51"/>
              <a:gd name="T7" fmla="*/ 34 h 92"/>
              <a:gd name="T8" fmla="*/ 49 w 51"/>
              <a:gd name="T9" fmla="*/ 8 h 92"/>
              <a:gd name="T10" fmla="*/ 51 w 51"/>
              <a:gd name="T11" fmla="*/ 0 h 92"/>
            </a:gdLst>
            <a:ahLst/>
            <a:cxnLst>
              <a:cxn ang="0">
                <a:pos x="T0" y="T1"/>
              </a:cxn>
              <a:cxn ang="0">
                <a:pos x="T2" y="T3"/>
              </a:cxn>
              <a:cxn ang="0">
                <a:pos x="T4" y="T5"/>
              </a:cxn>
              <a:cxn ang="0">
                <a:pos x="T6" y="T7"/>
              </a:cxn>
              <a:cxn ang="0">
                <a:pos x="T8" y="T9"/>
              </a:cxn>
              <a:cxn ang="0">
                <a:pos x="T10" y="T11"/>
              </a:cxn>
            </a:cxnLst>
            <a:rect l="0" t="0" r="r" b="b"/>
            <a:pathLst>
              <a:path w="51" h="92">
                <a:moveTo>
                  <a:pt x="0" y="92"/>
                </a:moveTo>
                <a:lnTo>
                  <a:pt x="2" y="87"/>
                </a:lnTo>
                <a:lnTo>
                  <a:pt x="19" y="62"/>
                </a:lnTo>
                <a:lnTo>
                  <a:pt x="34" y="34"/>
                </a:lnTo>
                <a:lnTo>
                  <a:pt x="49" y="8"/>
                </a:lnTo>
                <a:lnTo>
                  <a:pt x="51"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8" name="Freeform 105"/>
          <p:cNvSpPr>
            <a:spLocks/>
          </p:cNvSpPr>
          <p:nvPr/>
        </p:nvSpPr>
        <p:spPr bwMode="auto">
          <a:xfrm>
            <a:off x="6563749" y="5352051"/>
            <a:ext cx="13064" cy="67932"/>
          </a:xfrm>
          <a:custGeom>
            <a:avLst/>
            <a:gdLst>
              <a:gd name="T0" fmla="*/ 0 w 18"/>
              <a:gd name="T1" fmla="*/ 103 h 103"/>
              <a:gd name="T2" fmla="*/ 1 w 18"/>
              <a:gd name="T3" fmla="*/ 92 h 103"/>
              <a:gd name="T4" fmla="*/ 9 w 18"/>
              <a:gd name="T5" fmla="*/ 60 h 103"/>
              <a:gd name="T6" fmla="*/ 15 w 18"/>
              <a:gd name="T7" fmla="*/ 30 h 103"/>
              <a:gd name="T8" fmla="*/ 18 w 18"/>
              <a:gd name="T9" fmla="*/ 0 h 103"/>
            </a:gdLst>
            <a:ahLst/>
            <a:cxnLst>
              <a:cxn ang="0">
                <a:pos x="T0" y="T1"/>
              </a:cxn>
              <a:cxn ang="0">
                <a:pos x="T2" y="T3"/>
              </a:cxn>
              <a:cxn ang="0">
                <a:pos x="T4" y="T5"/>
              </a:cxn>
              <a:cxn ang="0">
                <a:pos x="T6" y="T7"/>
              </a:cxn>
              <a:cxn ang="0">
                <a:pos x="T8" y="T9"/>
              </a:cxn>
            </a:cxnLst>
            <a:rect l="0" t="0" r="r" b="b"/>
            <a:pathLst>
              <a:path w="18" h="103">
                <a:moveTo>
                  <a:pt x="0" y="103"/>
                </a:moveTo>
                <a:lnTo>
                  <a:pt x="1" y="92"/>
                </a:lnTo>
                <a:lnTo>
                  <a:pt x="9" y="60"/>
                </a:lnTo>
                <a:lnTo>
                  <a:pt x="15" y="30"/>
                </a:lnTo>
                <a:lnTo>
                  <a:pt x="18"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9" name="Line 106"/>
          <p:cNvSpPr>
            <a:spLocks noChangeShapeType="1"/>
          </p:cNvSpPr>
          <p:nvPr/>
        </p:nvSpPr>
        <p:spPr bwMode="auto">
          <a:xfrm flipV="1">
            <a:off x="6579425" y="521488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0" name="Line 107"/>
          <p:cNvSpPr>
            <a:spLocks noChangeShapeType="1"/>
          </p:cNvSpPr>
          <p:nvPr/>
        </p:nvSpPr>
        <p:spPr bwMode="auto">
          <a:xfrm flipV="1">
            <a:off x="6579425" y="507640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1" name="Line 108"/>
          <p:cNvSpPr>
            <a:spLocks noChangeShapeType="1"/>
          </p:cNvSpPr>
          <p:nvPr/>
        </p:nvSpPr>
        <p:spPr bwMode="auto">
          <a:xfrm flipV="1">
            <a:off x="6579425" y="493923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2" name="Line 109"/>
          <p:cNvSpPr>
            <a:spLocks noChangeShapeType="1"/>
          </p:cNvSpPr>
          <p:nvPr/>
        </p:nvSpPr>
        <p:spPr bwMode="auto">
          <a:xfrm flipV="1">
            <a:off x="6579425" y="480206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3" name="Line 110"/>
          <p:cNvSpPr>
            <a:spLocks noChangeShapeType="1"/>
          </p:cNvSpPr>
          <p:nvPr/>
        </p:nvSpPr>
        <p:spPr bwMode="auto">
          <a:xfrm flipV="1">
            <a:off x="6579425" y="466489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4" name="Line 111"/>
          <p:cNvSpPr>
            <a:spLocks noChangeShapeType="1"/>
          </p:cNvSpPr>
          <p:nvPr/>
        </p:nvSpPr>
        <p:spPr bwMode="auto">
          <a:xfrm flipV="1">
            <a:off x="6579425" y="452641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5" name="Line 112"/>
          <p:cNvSpPr>
            <a:spLocks noChangeShapeType="1"/>
          </p:cNvSpPr>
          <p:nvPr/>
        </p:nvSpPr>
        <p:spPr bwMode="auto">
          <a:xfrm flipV="1">
            <a:off x="6579425" y="438924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6" name="Line 113"/>
          <p:cNvSpPr>
            <a:spLocks noChangeShapeType="1"/>
          </p:cNvSpPr>
          <p:nvPr/>
        </p:nvSpPr>
        <p:spPr bwMode="auto">
          <a:xfrm flipV="1">
            <a:off x="6579425" y="425207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7" name="Line 114"/>
          <p:cNvSpPr>
            <a:spLocks noChangeShapeType="1"/>
          </p:cNvSpPr>
          <p:nvPr/>
        </p:nvSpPr>
        <p:spPr bwMode="auto">
          <a:xfrm flipV="1">
            <a:off x="6579425" y="411490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8" name="Line 115"/>
          <p:cNvSpPr>
            <a:spLocks noChangeShapeType="1"/>
          </p:cNvSpPr>
          <p:nvPr/>
        </p:nvSpPr>
        <p:spPr bwMode="auto">
          <a:xfrm flipV="1">
            <a:off x="6579425" y="397643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9" name="Line 116"/>
          <p:cNvSpPr>
            <a:spLocks noChangeShapeType="1"/>
          </p:cNvSpPr>
          <p:nvPr/>
        </p:nvSpPr>
        <p:spPr bwMode="auto">
          <a:xfrm flipV="1">
            <a:off x="6579425" y="383926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0" name="Line 117"/>
          <p:cNvSpPr>
            <a:spLocks noChangeShapeType="1"/>
          </p:cNvSpPr>
          <p:nvPr/>
        </p:nvSpPr>
        <p:spPr bwMode="auto">
          <a:xfrm flipV="1">
            <a:off x="6579425" y="370209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1" name="Line 118"/>
          <p:cNvSpPr>
            <a:spLocks noChangeShapeType="1"/>
          </p:cNvSpPr>
          <p:nvPr/>
        </p:nvSpPr>
        <p:spPr bwMode="auto">
          <a:xfrm flipV="1">
            <a:off x="6579425" y="356492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2" name="Line 119"/>
          <p:cNvSpPr>
            <a:spLocks noChangeShapeType="1"/>
          </p:cNvSpPr>
          <p:nvPr/>
        </p:nvSpPr>
        <p:spPr bwMode="auto">
          <a:xfrm flipV="1">
            <a:off x="6579425" y="34264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3" name="Line 120"/>
          <p:cNvSpPr>
            <a:spLocks noChangeShapeType="1"/>
          </p:cNvSpPr>
          <p:nvPr/>
        </p:nvSpPr>
        <p:spPr bwMode="auto">
          <a:xfrm flipV="1">
            <a:off x="6579425" y="328927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4" name="Line 121"/>
          <p:cNvSpPr>
            <a:spLocks noChangeShapeType="1"/>
          </p:cNvSpPr>
          <p:nvPr/>
        </p:nvSpPr>
        <p:spPr bwMode="auto">
          <a:xfrm flipV="1">
            <a:off x="6579425" y="31521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5" name="Line 122"/>
          <p:cNvSpPr>
            <a:spLocks noChangeShapeType="1"/>
          </p:cNvSpPr>
          <p:nvPr/>
        </p:nvSpPr>
        <p:spPr bwMode="auto">
          <a:xfrm flipV="1">
            <a:off x="6579425" y="301363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6" name="Line 123"/>
          <p:cNvSpPr>
            <a:spLocks noChangeShapeType="1"/>
          </p:cNvSpPr>
          <p:nvPr/>
        </p:nvSpPr>
        <p:spPr bwMode="auto">
          <a:xfrm flipV="1">
            <a:off x="6579425" y="287646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7" name="Line 124"/>
          <p:cNvSpPr>
            <a:spLocks noChangeShapeType="1"/>
          </p:cNvSpPr>
          <p:nvPr/>
        </p:nvSpPr>
        <p:spPr bwMode="auto">
          <a:xfrm flipV="1">
            <a:off x="6579425" y="273929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8" name="Line 125"/>
          <p:cNvSpPr>
            <a:spLocks noChangeShapeType="1"/>
          </p:cNvSpPr>
          <p:nvPr/>
        </p:nvSpPr>
        <p:spPr bwMode="auto">
          <a:xfrm flipV="1">
            <a:off x="6579425" y="260212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9" name="Line 126"/>
          <p:cNvSpPr>
            <a:spLocks noChangeShapeType="1"/>
          </p:cNvSpPr>
          <p:nvPr/>
        </p:nvSpPr>
        <p:spPr bwMode="auto">
          <a:xfrm flipV="1">
            <a:off x="6579425" y="246364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0" name="Line 127"/>
          <p:cNvSpPr>
            <a:spLocks noChangeShapeType="1"/>
          </p:cNvSpPr>
          <p:nvPr/>
        </p:nvSpPr>
        <p:spPr bwMode="auto">
          <a:xfrm flipV="1">
            <a:off x="6579425" y="232647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1" name="Line 128"/>
          <p:cNvSpPr>
            <a:spLocks noChangeShapeType="1"/>
          </p:cNvSpPr>
          <p:nvPr/>
        </p:nvSpPr>
        <p:spPr bwMode="auto">
          <a:xfrm flipV="1">
            <a:off x="6579425" y="21893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2" name="Line 129"/>
          <p:cNvSpPr>
            <a:spLocks noChangeShapeType="1"/>
          </p:cNvSpPr>
          <p:nvPr/>
        </p:nvSpPr>
        <p:spPr bwMode="auto">
          <a:xfrm flipV="1">
            <a:off x="6579425" y="205213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3" name="Line 130"/>
          <p:cNvSpPr>
            <a:spLocks noChangeShapeType="1"/>
          </p:cNvSpPr>
          <p:nvPr/>
        </p:nvSpPr>
        <p:spPr bwMode="auto">
          <a:xfrm flipV="1">
            <a:off x="6579425" y="1963301"/>
            <a:ext cx="0" cy="19596"/>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4" name="Freeform 190"/>
          <p:cNvSpPr>
            <a:spLocks/>
          </p:cNvSpPr>
          <p:nvPr/>
        </p:nvSpPr>
        <p:spPr bwMode="auto">
          <a:xfrm>
            <a:off x="5811274" y="4629623"/>
            <a:ext cx="704139" cy="1015057"/>
          </a:xfrm>
          <a:custGeom>
            <a:avLst/>
            <a:gdLst>
              <a:gd name="T0" fmla="*/ 0 w 1077"/>
              <a:gd name="T1" fmla="*/ 934 h 1552"/>
              <a:gd name="T2" fmla="*/ 0 w 1077"/>
              <a:gd name="T3" fmla="*/ 964 h 1552"/>
              <a:gd name="T4" fmla="*/ 6 w 1077"/>
              <a:gd name="T5" fmla="*/ 1028 h 1552"/>
              <a:gd name="T6" fmla="*/ 17 w 1077"/>
              <a:gd name="T7" fmla="*/ 1088 h 1552"/>
              <a:gd name="T8" fmla="*/ 32 w 1077"/>
              <a:gd name="T9" fmla="*/ 1146 h 1552"/>
              <a:gd name="T10" fmla="*/ 53 w 1077"/>
              <a:gd name="T11" fmla="*/ 1201 h 1552"/>
              <a:gd name="T12" fmla="*/ 77 w 1077"/>
              <a:gd name="T13" fmla="*/ 1254 h 1552"/>
              <a:gd name="T14" fmla="*/ 107 w 1077"/>
              <a:gd name="T15" fmla="*/ 1302 h 1552"/>
              <a:gd name="T16" fmla="*/ 139 w 1077"/>
              <a:gd name="T17" fmla="*/ 1349 h 1552"/>
              <a:gd name="T18" fmla="*/ 175 w 1077"/>
              <a:gd name="T19" fmla="*/ 1391 h 1552"/>
              <a:gd name="T20" fmla="*/ 216 w 1077"/>
              <a:gd name="T21" fmla="*/ 1428 h 1552"/>
              <a:gd name="T22" fmla="*/ 260 w 1077"/>
              <a:gd name="T23" fmla="*/ 1462 h 1552"/>
              <a:gd name="T24" fmla="*/ 305 w 1077"/>
              <a:gd name="T25" fmla="*/ 1490 h 1552"/>
              <a:gd name="T26" fmla="*/ 354 w 1077"/>
              <a:gd name="T27" fmla="*/ 1515 h 1552"/>
              <a:gd name="T28" fmla="*/ 404 w 1077"/>
              <a:gd name="T29" fmla="*/ 1532 h 1552"/>
              <a:gd name="T30" fmla="*/ 457 w 1077"/>
              <a:gd name="T31" fmla="*/ 1545 h 1552"/>
              <a:gd name="T32" fmla="*/ 511 w 1077"/>
              <a:gd name="T33" fmla="*/ 1551 h 1552"/>
              <a:gd name="T34" fmla="*/ 538 w 1077"/>
              <a:gd name="T35" fmla="*/ 1552 h 1552"/>
              <a:gd name="T36" fmla="*/ 594 w 1077"/>
              <a:gd name="T37" fmla="*/ 1549 h 1552"/>
              <a:gd name="T38" fmla="*/ 647 w 1077"/>
              <a:gd name="T39" fmla="*/ 1539 h 1552"/>
              <a:gd name="T40" fmla="*/ 699 w 1077"/>
              <a:gd name="T41" fmla="*/ 1524 h 1552"/>
              <a:gd name="T42" fmla="*/ 748 w 1077"/>
              <a:gd name="T43" fmla="*/ 1504 h 1552"/>
              <a:gd name="T44" fmla="*/ 795 w 1077"/>
              <a:gd name="T45" fmla="*/ 1477 h 1552"/>
              <a:gd name="T46" fmla="*/ 840 w 1077"/>
              <a:gd name="T47" fmla="*/ 1445 h 1552"/>
              <a:gd name="T48" fmla="*/ 882 w 1077"/>
              <a:gd name="T49" fmla="*/ 1410 h 1552"/>
              <a:gd name="T50" fmla="*/ 919 w 1077"/>
              <a:gd name="T51" fmla="*/ 1370 h 1552"/>
              <a:gd name="T52" fmla="*/ 953 w 1077"/>
              <a:gd name="T53" fmla="*/ 1327 h 1552"/>
              <a:gd name="T54" fmla="*/ 985 w 1077"/>
              <a:gd name="T55" fmla="*/ 1280 h 1552"/>
              <a:gd name="T56" fmla="*/ 1012 w 1077"/>
              <a:gd name="T57" fmla="*/ 1227 h 1552"/>
              <a:gd name="T58" fmla="*/ 1034 w 1077"/>
              <a:gd name="T59" fmla="*/ 1175 h 1552"/>
              <a:gd name="T60" fmla="*/ 1053 w 1077"/>
              <a:gd name="T61" fmla="*/ 1116 h 1552"/>
              <a:gd name="T62" fmla="*/ 1066 w 1077"/>
              <a:gd name="T63" fmla="*/ 1058 h 1552"/>
              <a:gd name="T64" fmla="*/ 1074 w 1077"/>
              <a:gd name="T65" fmla="*/ 996 h 1552"/>
              <a:gd name="T66" fmla="*/ 1077 w 1077"/>
              <a:gd name="T67" fmla="*/ 934 h 1552"/>
              <a:gd name="T68" fmla="*/ 0 w 1077"/>
              <a:gd name="T69" fmla="*/ 0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7" h="1552">
                <a:moveTo>
                  <a:pt x="0" y="0"/>
                </a:moveTo>
                <a:lnTo>
                  <a:pt x="0" y="934"/>
                </a:lnTo>
                <a:lnTo>
                  <a:pt x="0" y="934"/>
                </a:lnTo>
                <a:lnTo>
                  <a:pt x="0" y="964"/>
                </a:lnTo>
                <a:lnTo>
                  <a:pt x="2" y="996"/>
                </a:lnTo>
                <a:lnTo>
                  <a:pt x="6" y="1028"/>
                </a:lnTo>
                <a:lnTo>
                  <a:pt x="10" y="1058"/>
                </a:lnTo>
                <a:lnTo>
                  <a:pt x="17" y="1088"/>
                </a:lnTo>
                <a:lnTo>
                  <a:pt x="23" y="1116"/>
                </a:lnTo>
                <a:lnTo>
                  <a:pt x="32" y="1146"/>
                </a:lnTo>
                <a:lnTo>
                  <a:pt x="42" y="1175"/>
                </a:lnTo>
                <a:lnTo>
                  <a:pt x="53" y="1201"/>
                </a:lnTo>
                <a:lnTo>
                  <a:pt x="64" y="1227"/>
                </a:lnTo>
                <a:lnTo>
                  <a:pt x="77" y="1254"/>
                </a:lnTo>
                <a:lnTo>
                  <a:pt x="92" y="1280"/>
                </a:lnTo>
                <a:lnTo>
                  <a:pt x="107" y="1302"/>
                </a:lnTo>
                <a:lnTo>
                  <a:pt x="122" y="1327"/>
                </a:lnTo>
                <a:lnTo>
                  <a:pt x="139" y="1349"/>
                </a:lnTo>
                <a:lnTo>
                  <a:pt x="158" y="1370"/>
                </a:lnTo>
                <a:lnTo>
                  <a:pt x="175" y="1391"/>
                </a:lnTo>
                <a:lnTo>
                  <a:pt x="196" y="1410"/>
                </a:lnTo>
                <a:lnTo>
                  <a:pt x="216" y="1428"/>
                </a:lnTo>
                <a:lnTo>
                  <a:pt x="237" y="1445"/>
                </a:lnTo>
                <a:lnTo>
                  <a:pt x="260" y="1462"/>
                </a:lnTo>
                <a:lnTo>
                  <a:pt x="282" y="1477"/>
                </a:lnTo>
                <a:lnTo>
                  <a:pt x="305" y="1490"/>
                </a:lnTo>
                <a:lnTo>
                  <a:pt x="329" y="1504"/>
                </a:lnTo>
                <a:lnTo>
                  <a:pt x="354" y="1515"/>
                </a:lnTo>
                <a:lnTo>
                  <a:pt x="378" y="1524"/>
                </a:lnTo>
                <a:lnTo>
                  <a:pt x="404" y="1532"/>
                </a:lnTo>
                <a:lnTo>
                  <a:pt x="429" y="1539"/>
                </a:lnTo>
                <a:lnTo>
                  <a:pt x="457" y="1545"/>
                </a:lnTo>
                <a:lnTo>
                  <a:pt x="483" y="1549"/>
                </a:lnTo>
                <a:lnTo>
                  <a:pt x="511" y="1551"/>
                </a:lnTo>
                <a:lnTo>
                  <a:pt x="538" y="1552"/>
                </a:lnTo>
                <a:lnTo>
                  <a:pt x="538" y="1552"/>
                </a:lnTo>
                <a:lnTo>
                  <a:pt x="566" y="1551"/>
                </a:lnTo>
                <a:lnTo>
                  <a:pt x="594" y="1549"/>
                </a:lnTo>
                <a:lnTo>
                  <a:pt x="621" y="1545"/>
                </a:lnTo>
                <a:lnTo>
                  <a:pt x="647" y="1539"/>
                </a:lnTo>
                <a:lnTo>
                  <a:pt x="673" y="1532"/>
                </a:lnTo>
                <a:lnTo>
                  <a:pt x="699" y="1524"/>
                </a:lnTo>
                <a:lnTo>
                  <a:pt x="724" y="1515"/>
                </a:lnTo>
                <a:lnTo>
                  <a:pt x="748" y="1504"/>
                </a:lnTo>
                <a:lnTo>
                  <a:pt x="773" y="1490"/>
                </a:lnTo>
                <a:lnTo>
                  <a:pt x="795" y="1477"/>
                </a:lnTo>
                <a:lnTo>
                  <a:pt x="818" y="1462"/>
                </a:lnTo>
                <a:lnTo>
                  <a:pt x="840" y="1445"/>
                </a:lnTo>
                <a:lnTo>
                  <a:pt x="861" y="1428"/>
                </a:lnTo>
                <a:lnTo>
                  <a:pt x="882" y="1410"/>
                </a:lnTo>
                <a:lnTo>
                  <a:pt x="901" y="1391"/>
                </a:lnTo>
                <a:lnTo>
                  <a:pt x="919" y="1370"/>
                </a:lnTo>
                <a:lnTo>
                  <a:pt x="936" y="1349"/>
                </a:lnTo>
                <a:lnTo>
                  <a:pt x="953" y="1327"/>
                </a:lnTo>
                <a:lnTo>
                  <a:pt x="970" y="1302"/>
                </a:lnTo>
                <a:lnTo>
                  <a:pt x="985" y="1280"/>
                </a:lnTo>
                <a:lnTo>
                  <a:pt x="998" y="1254"/>
                </a:lnTo>
                <a:lnTo>
                  <a:pt x="1012" y="1227"/>
                </a:lnTo>
                <a:lnTo>
                  <a:pt x="1025" y="1201"/>
                </a:lnTo>
                <a:lnTo>
                  <a:pt x="1034" y="1175"/>
                </a:lnTo>
                <a:lnTo>
                  <a:pt x="1045" y="1146"/>
                </a:lnTo>
                <a:lnTo>
                  <a:pt x="1053" y="1116"/>
                </a:lnTo>
                <a:lnTo>
                  <a:pt x="1060" y="1088"/>
                </a:lnTo>
                <a:lnTo>
                  <a:pt x="1066" y="1058"/>
                </a:lnTo>
                <a:lnTo>
                  <a:pt x="1072" y="1028"/>
                </a:lnTo>
                <a:lnTo>
                  <a:pt x="1074" y="996"/>
                </a:lnTo>
                <a:lnTo>
                  <a:pt x="1077" y="964"/>
                </a:lnTo>
                <a:lnTo>
                  <a:pt x="1077" y="934"/>
                </a:lnTo>
                <a:lnTo>
                  <a:pt x="1077" y="0"/>
                </a:lnTo>
                <a:lnTo>
                  <a:pt x="0" y="0"/>
                </a:lnTo>
                <a:close/>
              </a:path>
            </a:pathLst>
          </a:custGeom>
          <a:solidFill>
            <a:srgbClr val="C4D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6" name="Line 131"/>
          <p:cNvSpPr>
            <a:spLocks noChangeShapeType="1"/>
          </p:cNvSpPr>
          <p:nvPr/>
        </p:nvSpPr>
        <p:spPr bwMode="auto">
          <a:xfrm>
            <a:off x="6886425" y="196330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7" name="Line 132"/>
          <p:cNvSpPr>
            <a:spLocks noChangeShapeType="1"/>
          </p:cNvSpPr>
          <p:nvPr/>
        </p:nvSpPr>
        <p:spPr bwMode="auto">
          <a:xfrm>
            <a:off x="6886425" y="210047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8" name="Line 133"/>
          <p:cNvSpPr>
            <a:spLocks noChangeShapeType="1"/>
          </p:cNvSpPr>
          <p:nvPr/>
        </p:nvSpPr>
        <p:spPr bwMode="auto">
          <a:xfrm>
            <a:off x="6886425" y="223764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9" name="Line 134"/>
          <p:cNvSpPr>
            <a:spLocks noChangeShapeType="1"/>
          </p:cNvSpPr>
          <p:nvPr/>
        </p:nvSpPr>
        <p:spPr bwMode="auto">
          <a:xfrm>
            <a:off x="6886425" y="237611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0" name="Line 135"/>
          <p:cNvSpPr>
            <a:spLocks noChangeShapeType="1"/>
          </p:cNvSpPr>
          <p:nvPr/>
        </p:nvSpPr>
        <p:spPr bwMode="auto">
          <a:xfrm>
            <a:off x="6886425" y="251328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1" name="Line 136"/>
          <p:cNvSpPr>
            <a:spLocks noChangeShapeType="1"/>
          </p:cNvSpPr>
          <p:nvPr/>
        </p:nvSpPr>
        <p:spPr bwMode="auto">
          <a:xfrm>
            <a:off x="6886425" y="265045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2" name="Line 137"/>
          <p:cNvSpPr>
            <a:spLocks noChangeShapeType="1"/>
          </p:cNvSpPr>
          <p:nvPr/>
        </p:nvSpPr>
        <p:spPr bwMode="auto">
          <a:xfrm>
            <a:off x="6886425" y="278893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3" name="Line 138"/>
          <p:cNvSpPr>
            <a:spLocks noChangeShapeType="1"/>
          </p:cNvSpPr>
          <p:nvPr/>
        </p:nvSpPr>
        <p:spPr bwMode="auto">
          <a:xfrm>
            <a:off x="6886425" y="292610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4" name="Line 139"/>
          <p:cNvSpPr>
            <a:spLocks noChangeShapeType="1"/>
          </p:cNvSpPr>
          <p:nvPr/>
        </p:nvSpPr>
        <p:spPr bwMode="auto">
          <a:xfrm>
            <a:off x="6886425" y="306327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5" name="Line 140"/>
          <p:cNvSpPr>
            <a:spLocks noChangeShapeType="1"/>
          </p:cNvSpPr>
          <p:nvPr/>
        </p:nvSpPr>
        <p:spPr bwMode="auto">
          <a:xfrm>
            <a:off x="6886425" y="320044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6" name="Line 141"/>
          <p:cNvSpPr>
            <a:spLocks noChangeShapeType="1"/>
          </p:cNvSpPr>
          <p:nvPr/>
        </p:nvSpPr>
        <p:spPr bwMode="auto">
          <a:xfrm>
            <a:off x="6886425" y="333891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7" name="Line 142"/>
          <p:cNvSpPr>
            <a:spLocks noChangeShapeType="1"/>
          </p:cNvSpPr>
          <p:nvPr/>
        </p:nvSpPr>
        <p:spPr bwMode="auto">
          <a:xfrm>
            <a:off x="6886425" y="347608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8" name="Line 143"/>
          <p:cNvSpPr>
            <a:spLocks noChangeShapeType="1"/>
          </p:cNvSpPr>
          <p:nvPr/>
        </p:nvSpPr>
        <p:spPr bwMode="auto">
          <a:xfrm>
            <a:off x="6886425" y="361325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9" name="Line 144"/>
          <p:cNvSpPr>
            <a:spLocks noChangeShapeType="1"/>
          </p:cNvSpPr>
          <p:nvPr/>
        </p:nvSpPr>
        <p:spPr bwMode="auto">
          <a:xfrm>
            <a:off x="6886425" y="375042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0" name="Line 145"/>
          <p:cNvSpPr>
            <a:spLocks noChangeShapeType="1"/>
          </p:cNvSpPr>
          <p:nvPr/>
        </p:nvSpPr>
        <p:spPr bwMode="auto">
          <a:xfrm>
            <a:off x="6886425" y="38889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1" name="Line 146"/>
          <p:cNvSpPr>
            <a:spLocks noChangeShapeType="1"/>
          </p:cNvSpPr>
          <p:nvPr/>
        </p:nvSpPr>
        <p:spPr bwMode="auto">
          <a:xfrm>
            <a:off x="6886425" y="402607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2" name="Line 147"/>
          <p:cNvSpPr>
            <a:spLocks noChangeShapeType="1"/>
          </p:cNvSpPr>
          <p:nvPr/>
        </p:nvSpPr>
        <p:spPr bwMode="auto">
          <a:xfrm>
            <a:off x="6886425" y="416324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3" name="Line 148"/>
          <p:cNvSpPr>
            <a:spLocks noChangeShapeType="1"/>
          </p:cNvSpPr>
          <p:nvPr/>
        </p:nvSpPr>
        <p:spPr bwMode="auto">
          <a:xfrm>
            <a:off x="6886425" y="430041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4" name="Line 149"/>
          <p:cNvSpPr>
            <a:spLocks noChangeShapeType="1"/>
          </p:cNvSpPr>
          <p:nvPr/>
        </p:nvSpPr>
        <p:spPr bwMode="auto">
          <a:xfrm>
            <a:off x="6886425" y="443889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5" name="Line 150"/>
          <p:cNvSpPr>
            <a:spLocks noChangeShapeType="1"/>
          </p:cNvSpPr>
          <p:nvPr/>
        </p:nvSpPr>
        <p:spPr bwMode="auto">
          <a:xfrm>
            <a:off x="6886425" y="457606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6" name="Line 151"/>
          <p:cNvSpPr>
            <a:spLocks noChangeShapeType="1"/>
          </p:cNvSpPr>
          <p:nvPr/>
        </p:nvSpPr>
        <p:spPr bwMode="auto">
          <a:xfrm>
            <a:off x="6886425" y="471323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7" name="Line 152"/>
          <p:cNvSpPr>
            <a:spLocks noChangeShapeType="1"/>
          </p:cNvSpPr>
          <p:nvPr/>
        </p:nvSpPr>
        <p:spPr bwMode="auto">
          <a:xfrm>
            <a:off x="6886425" y="48517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8" name="Line 153"/>
          <p:cNvSpPr>
            <a:spLocks noChangeShapeType="1"/>
          </p:cNvSpPr>
          <p:nvPr/>
        </p:nvSpPr>
        <p:spPr bwMode="auto">
          <a:xfrm>
            <a:off x="6886425" y="498887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9" name="Line 154"/>
          <p:cNvSpPr>
            <a:spLocks noChangeShapeType="1"/>
          </p:cNvSpPr>
          <p:nvPr/>
        </p:nvSpPr>
        <p:spPr bwMode="auto">
          <a:xfrm>
            <a:off x="6886425" y="51260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0" name="Freeform 155"/>
          <p:cNvSpPr>
            <a:spLocks/>
          </p:cNvSpPr>
          <p:nvPr/>
        </p:nvSpPr>
        <p:spPr bwMode="auto">
          <a:xfrm>
            <a:off x="6886425" y="5263217"/>
            <a:ext cx="1306" cy="69238"/>
          </a:xfrm>
          <a:custGeom>
            <a:avLst/>
            <a:gdLst>
              <a:gd name="T0" fmla="*/ 0 w 2"/>
              <a:gd name="T1" fmla="*/ 0 h 105"/>
              <a:gd name="T2" fmla="*/ 0 w 2"/>
              <a:gd name="T3" fmla="*/ 67 h 105"/>
              <a:gd name="T4" fmla="*/ 0 w 2"/>
              <a:gd name="T5" fmla="*/ 99 h 105"/>
              <a:gd name="T6" fmla="*/ 2 w 2"/>
              <a:gd name="T7" fmla="*/ 105 h 105"/>
            </a:gdLst>
            <a:ahLst/>
            <a:cxnLst>
              <a:cxn ang="0">
                <a:pos x="T0" y="T1"/>
              </a:cxn>
              <a:cxn ang="0">
                <a:pos x="T2" y="T3"/>
              </a:cxn>
              <a:cxn ang="0">
                <a:pos x="T4" y="T5"/>
              </a:cxn>
              <a:cxn ang="0">
                <a:pos x="T6" y="T7"/>
              </a:cxn>
            </a:cxnLst>
            <a:rect l="0" t="0" r="r" b="b"/>
            <a:pathLst>
              <a:path w="2" h="105">
                <a:moveTo>
                  <a:pt x="0" y="0"/>
                </a:moveTo>
                <a:lnTo>
                  <a:pt x="0" y="67"/>
                </a:lnTo>
                <a:lnTo>
                  <a:pt x="0" y="99"/>
                </a:lnTo>
                <a:lnTo>
                  <a:pt x="2" y="105"/>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1" name="Freeform 156"/>
          <p:cNvSpPr>
            <a:spLocks/>
          </p:cNvSpPr>
          <p:nvPr/>
        </p:nvSpPr>
        <p:spPr bwMode="auto">
          <a:xfrm>
            <a:off x="6898183" y="5401693"/>
            <a:ext cx="20902" cy="64013"/>
          </a:xfrm>
          <a:custGeom>
            <a:avLst/>
            <a:gdLst>
              <a:gd name="T0" fmla="*/ 0 w 32"/>
              <a:gd name="T1" fmla="*/ 0 h 100"/>
              <a:gd name="T2" fmla="*/ 4 w 32"/>
              <a:gd name="T3" fmla="*/ 17 h 100"/>
              <a:gd name="T4" fmla="*/ 11 w 32"/>
              <a:gd name="T5" fmla="*/ 47 h 100"/>
              <a:gd name="T6" fmla="*/ 22 w 32"/>
              <a:gd name="T7" fmla="*/ 75 h 100"/>
              <a:gd name="T8" fmla="*/ 32 w 32"/>
              <a:gd name="T9" fmla="*/ 100 h 100"/>
            </a:gdLst>
            <a:ahLst/>
            <a:cxnLst>
              <a:cxn ang="0">
                <a:pos x="T0" y="T1"/>
              </a:cxn>
              <a:cxn ang="0">
                <a:pos x="T2" y="T3"/>
              </a:cxn>
              <a:cxn ang="0">
                <a:pos x="T4" y="T5"/>
              </a:cxn>
              <a:cxn ang="0">
                <a:pos x="T6" y="T7"/>
              </a:cxn>
              <a:cxn ang="0">
                <a:pos x="T8" y="T9"/>
              </a:cxn>
            </a:cxnLst>
            <a:rect l="0" t="0" r="r" b="b"/>
            <a:pathLst>
              <a:path w="32" h="100">
                <a:moveTo>
                  <a:pt x="0" y="0"/>
                </a:moveTo>
                <a:lnTo>
                  <a:pt x="4" y="17"/>
                </a:lnTo>
                <a:lnTo>
                  <a:pt x="11" y="47"/>
                </a:lnTo>
                <a:lnTo>
                  <a:pt x="22" y="75"/>
                </a:lnTo>
                <a:lnTo>
                  <a:pt x="32" y="10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2" name="Freeform 157"/>
          <p:cNvSpPr>
            <a:spLocks/>
          </p:cNvSpPr>
          <p:nvPr/>
        </p:nvSpPr>
        <p:spPr bwMode="auto">
          <a:xfrm>
            <a:off x="6949132" y="5527106"/>
            <a:ext cx="41804" cy="56174"/>
          </a:xfrm>
          <a:custGeom>
            <a:avLst/>
            <a:gdLst>
              <a:gd name="T0" fmla="*/ 0 w 64"/>
              <a:gd name="T1" fmla="*/ 0 h 84"/>
              <a:gd name="T2" fmla="*/ 13 w 64"/>
              <a:gd name="T3" fmla="*/ 19 h 84"/>
              <a:gd name="T4" fmla="*/ 30 w 64"/>
              <a:gd name="T5" fmla="*/ 45 h 84"/>
              <a:gd name="T6" fmla="*/ 49 w 64"/>
              <a:gd name="T7" fmla="*/ 68 h 84"/>
              <a:gd name="T8" fmla="*/ 64 w 64"/>
              <a:gd name="T9" fmla="*/ 84 h 84"/>
            </a:gdLst>
            <a:ahLst/>
            <a:cxnLst>
              <a:cxn ang="0">
                <a:pos x="T0" y="T1"/>
              </a:cxn>
              <a:cxn ang="0">
                <a:pos x="T2" y="T3"/>
              </a:cxn>
              <a:cxn ang="0">
                <a:pos x="T4" y="T5"/>
              </a:cxn>
              <a:cxn ang="0">
                <a:pos x="T6" y="T7"/>
              </a:cxn>
              <a:cxn ang="0">
                <a:pos x="T8" y="T9"/>
              </a:cxn>
            </a:cxnLst>
            <a:rect l="0" t="0" r="r" b="b"/>
            <a:pathLst>
              <a:path w="64" h="84">
                <a:moveTo>
                  <a:pt x="0" y="0"/>
                </a:moveTo>
                <a:lnTo>
                  <a:pt x="13" y="19"/>
                </a:lnTo>
                <a:lnTo>
                  <a:pt x="30" y="45"/>
                </a:lnTo>
                <a:lnTo>
                  <a:pt x="49" y="68"/>
                </a:lnTo>
                <a:lnTo>
                  <a:pt x="64" y="84"/>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3" name="Freeform 158"/>
          <p:cNvSpPr>
            <a:spLocks/>
          </p:cNvSpPr>
          <p:nvPr/>
        </p:nvSpPr>
        <p:spPr bwMode="auto">
          <a:xfrm>
            <a:off x="7040578" y="5630310"/>
            <a:ext cx="56174" cy="39191"/>
          </a:xfrm>
          <a:custGeom>
            <a:avLst/>
            <a:gdLst>
              <a:gd name="T0" fmla="*/ 0 w 86"/>
              <a:gd name="T1" fmla="*/ 0 h 58"/>
              <a:gd name="T2" fmla="*/ 21 w 86"/>
              <a:gd name="T3" fmla="*/ 15 h 58"/>
              <a:gd name="T4" fmla="*/ 45 w 86"/>
              <a:gd name="T5" fmla="*/ 34 h 58"/>
              <a:gd name="T6" fmla="*/ 71 w 86"/>
              <a:gd name="T7" fmla="*/ 51 h 58"/>
              <a:gd name="T8" fmla="*/ 86 w 86"/>
              <a:gd name="T9" fmla="*/ 58 h 58"/>
            </a:gdLst>
            <a:ahLst/>
            <a:cxnLst>
              <a:cxn ang="0">
                <a:pos x="T0" y="T1"/>
              </a:cxn>
              <a:cxn ang="0">
                <a:pos x="T2" y="T3"/>
              </a:cxn>
              <a:cxn ang="0">
                <a:pos x="T4" y="T5"/>
              </a:cxn>
              <a:cxn ang="0">
                <a:pos x="T6" y="T7"/>
              </a:cxn>
              <a:cxn ang="0">
                <a:pos x="T8" y="T9"/>
              </a:cxn>
            </a:cxnLst>
            <a:rect l="0" t="0" r="r" b="b"/>
            <a:pathLst>
              <a:path w="86" h="58">
                <a:moveTo>
                  <a:pt x="0" y="0"/>
                </a:moveTo>
                <a:lnTo>
                  <a:pt x="21" y="15"/>
                </a:lnTo>
                <a:lnTo>
                  <a:pt x="45" y="34"/>
                </a:lnTo>
                <a:lnTo>
                  <a:pt x="71" y="51"/>
                </a:lnTo>
                <a:lnTo>
                  <a:pt x="86" y="5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4" name="Freeform 159"/>
          <p:cNvSpPr>
            <a:spLocks/>
          </p:cNvSpPr>
          <p:nvPr/>
        </p:nvSpPr>
        <p:spPr bwMode="auto">
          <a:xfrm>
            <a:off x="7159459" y="5698242"/>
            <a:ext cx="65319" cy="18289"/>
          </a:xfrm>
          <a:custGeom>
            <a:avLst/>
            <a:gdLst>
              <a:gd name="T0" fmla="*/ 0 w 100"/>
              <a:gd name="T1" fmla="*/ 0 h 28"/>
              <a:gd name="T2" fmla="*/ 0 w 100"/>
              <a:gd name="T3" fmla="*/ 0 h 28"/>
              <a:gd name="T4" fmla="*/ 30 w 100"/>
              <a:gd name="T5" fmla="*/ 11 h 28"/>
              <a:gd name="T6" fmla="*/ 60 w 100"/>
              <a:gd name="T7" fmla="*/ 19 h 28"/>
              <a:gd name="T8" fmla="*/ 92 w 100"/>
              <a:gd name="T9" fmla="*/ 26 h 28"/>
              <a:gd name="T10" fmla="*/ 100 w 100"/>
              <a:gd name="T11" fmla="*/ 28 h 28"/>
            </a:gdLst>
            <a:ahLst/>
            <a:cxnLst>
              <a:cxn ang="0">
                <a:pos x="T0" y="T1"/>
              </a:cxn>
              <a:cxn ang="0">
                <a:pos x="T2" y="T3"/>
              </a:cxn>
              <a:cxn ang="0">
                <a:pos x="T4" y="T5"/>
              </a:cxn>
              <a:cxn ang="0">
                <a:pos x="T6" y="T7"/>
              </a:cxn>
              <a:cxn ang="0">
                <a:pos x="T8" y="T9"/>
              </a:cxn>
              <a:cxn ang="0">
                <a:pos x="T10" y="T11"/>
              </a:cxn>
            </a:cxnLst>
            <a:rect l="0" t="0" r="r" b="b"/>
            <a:pathLst>
              <a:path w="100" h="28">
                <a:moveTo>
                  <a:pt x="0" y="0"/>
                </a:moveTo>
                <a:lnTo>
                  <a:pt x="0" y="0"/>
                </a:lnTo>
                <a:lnTo>
                  <a:pt x="30" y="11"/>
                </a:lnTo>
                <a:lnTo>
                  <a:pt x="60" y="19"/>
                </a:lnTo>
                <a:lnTo>
                  <a:pt x="92" y="26"/>
                </a:lnTo>
                <a:lnTo>
                  <a:pt x="100" y="2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5" name="Freeform 160"/>
          <p:cNvSpPr>
            <a:spLocks/>
          </p:cNvSpPr>
          <p:nvPr/>
        </p:nvSpPr>
        <p:spPr bwMode="auto">
          <a:xfrm>
            <a:off x="7294016" y="5719144"/>
            <a:ext cx="67932" cy="5226"/>
          </a:xfrm>
          <a:custGeom>
            <a:avLst/>
            <a:gdLst>
              <a:gd name="T0" fmla="*/ 0 w 105"/>
              <a:gd name="T1" fmla="*/ 8 h 8"/>
              <a:gd name="T2" fmla="*/ 15 w 105"/>
              <a:gd name="T3" fmla="*/ 8 h 8"/>
              <a:gd name="T4" fmla="*/ 47 w 105"/>
              <a:gd name="T5" fmla="*/ 6 h 8"/>
              <a:gd name="T6" fmla="*/ 79 w 105"/>
              <a:gd name="T7" fmla="*/ 4 h 8"/>
              <a:gd name="T8" fmla="*/ 105 w 105"/>
              <a:gd name="T9" fmla="*/ 0 h 8"/>
            </a:gdLst>
            <a:ahLst/>
            <a:cxnLst>
              <a:cxn ang="0">
                <a:pos x="T0" y="T1"/>
              </a:cxn>
              <a:cxn ang="0">
                <a:pos x="T2" y="T3"/>
              </a:cxn>
              <a:cxn ang="0">
                <a:pos x="T4" y="T5"/>
              </a:cxn>
              <a:cxn ang="0">
                <a:pos x="T6" y="T7"/>
              </a:cxn>
              <a:cxn ang="0">
                <a:pos x="T8" y="T9"/>
              </a:cxn>
            </a:cxnLst>
            <a:rect l="0" t="0" r="r" b="b"/>
            <a:pathLst>
              <a:path w="105" h="8">
                <a:moveTo>
                  <a:pt x="0" y="8"/>
                </a:moveTo>
                <a:lnTo>
                  <a:pt x="15" y="8"/>
                </a:lnTo>
                <a:lnTo>
                  <a:pt x="47" y="6"/>
                </a:lnTo>
                <a:lnTo>
                  <a:pt x="79" y="4"/>
                </a:lnTo>
                <a:lnTo>
                  <a:pt x="105"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6" name="Freeform 161"/>
          <p:cNvSpPr>
            <a:spLocks/>
          </p:cNvSpPr>
          <p:nvPr/>
        </p:nvSpPr>
        <p:spPr bwMode="auto">
          <a:xfrm>
            <a:off x="7428573" y="5678646"/>
            <a:ext cx="64013" cy="26128"/>
          </a:xfrm>
          <a:custGeom>
            <a:avLst/>
            <a:gdLst>
              <a:gd name="T0" fmla="*/ 0 w 98"/>
              <a:gd name="T1" fmla="*/ 40 h 40"/>
              <a:gd name="T2" fmla="*/ 26 w 98"/>
              <a:gd name="T3" fmla="*/ 30 h 40"/>
              <a:gd name="T4" fmla="*/ 56 w 98"/>
              <a:gd name="T5" fmla="*/ 19 h 40"/>
              <a:gd name="T6" fmla="*/ 85 w 98"/>
              <a:gd name="T7" fmla="*/ 6 h 40"/>
              <a:gd name="T8" fmla="*/ 98 w 98"/>
              <a:gd name="T9" fmla="*/ 0 h 40"/>
            </a:gdLst>
            <a:ahLst/>
            <a:cxnLst>
              <a:cxn ang="0">
                <a:pos x="T0" y="T1"/>
              </a:cxn>
              <a:cxn ang="0">
                <a:pos x="T2" y="T3"/>
              </a:cxn>
              <a:cxn ang="0">
                <a:pos x="T4" y="T5"/>
              </a:cxn>
              <a:cxn ang="0">
                <a:pos x="T6" y="T7"/>
              </a:cxn>
              <a:cxn ang="0">
                <a:pos x="T8" y="T9"/>
              </a:cxn>
            </a:cxnLst>
            <a:rect l="0" t="0" r="r" b="b"/>
            <a:pathLst>
              <a:path w="98" h="40">
                <a:moveTo>
                  <a:pt x="0" y="40"/>
                </a:moveTo>
                <a:lnTo>
                  <a:pt x="26" y="30"/>
                </a:lnTo>
                <a:lnTo>
                  <a:pt x="56" y="19"/>
                </a:lnTo>
                <a:lnTo>
                  <a:pt x="85" y="6"/>
                </a:lnTo>
                <a:lnTo>
                  <a:pt x="98"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7" name="Freeform 162"/>
          <p:cNvSpPr>
            <a:spLocks/>
          </p:cNvSpPr>
          <p:nvPr/>
        </p:nvSpPr>
        <p:spPr bwMode="auto">
          <a:xfrm>
            <a:off x="7551373" y="5596344"/>
            <a:ext cx="50949" cy="45723"/>
          </a:xfrm>
          <a:custGeom>
            <a:avLst/>
            <a:gdLst>
              <a:gd name="T0" fmla="*/ 0 w 79"/>
              <a:gd name="T1" fmla="*/ 70 h 70"/>
              <a:gd name="T2" fmla="*/ 2 w 79"/>
              <a:gd name="T3" fmla="*/ 68 h 70"/>
              <a:gd name="T4" fmla="*/ 24 w 79"/>
              <a:gd name="T5" fmla="*/ 49 h 70"/>
              <a:gd name="T6" fmla="*/ 49 w 79"/>
              <a:gd name="T7" fmla="*/ 30 h 70"/>
              <a:gd name="T8" fmla="*/ 70 w 79"/>
              <a:gd name="T9" fmla="*/ 10 h 70"/>
              <a:gd name="T10" fmla="*/ 79 w 79"/>
              <a:gd name="T11" fmla="*/ 0 h 70"/>
            </a:gdLst>
            <a:ahLst/>
            <a:cxnLst>
              <a:cxn ang="0">
                <a:pos x="T0" y="T1"/>
              </a:cxn>
              <a:cxn ang="0">
                <a:pos x="T2" y="T3"/>
              </a:cxn>
              <a:cxn ang="0">
                <a:pos x="T4" y="T5"/>
              </a:cxn>
              <a:cxn ang="0">
                <a:pos x="T6" y="T7"/>
              </a:cxn>
              <a:cxn ang="0">
                <a:pos x="T8" y="T9"/>
              </a:cxn>
              <a:cxn ang="0">
                <a:pos x="T10" y="T11"/>
              </a:cxn>
            </a:cxnLst>
            <a:rect l="0" t="0" r="r" b="b"/>
            <a:pathLst>
              <a:path w="79" h="70">
                <a:moveTo>
                  <a:pt x="0" y="70"/>
                </a:moveTo>
                <a:lnTo>
                  <a:pt x="2" y="68"/>
                </a:lnTo>
                <a:lnTo>
                  <a:pt x="24" y="49"/>
                </a:lnTo>
                <a:lnTo>
                  <a:pt x="49" y="30"/>
                </a:lnTo>
                <a:lnTo>
                  <a:pt x="70" y="10"/>
                </a:lnTo>
                <a:lnTo>
                  <a:pt x="79"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8" name="Freeform 163"/>
          <p:cNvSpPr>
            <a:spLocks/>
          </p:cNvSpPr>
          <p:nvPr/>
        </p:nvSpPr>
        <p:spPr bwMode="auto">
          <a:xfrm>
            <a:off x="7645432" y="5483995"/>
            <a:ext cx="35272" cy="60093"/>
          </a:xfrm>
          <a:custGeom>
            <a:avLst/>
            <a:gdLst>
              <a:gd name="T0" fmla="*/ 0 w 52"/>
              <a:gd name="T1" fmla="*/ 92 h 92"/>
              <a:gd name="T2" fmla="*/ 3 w 52"/>
              <a:gd name="T3" fmla="*/ 87 h 92"/>
              <a:gd name="T4" fmla="*/ 20 w 52"/>
              <a:gd name="T5" fmla="*/ 62 h 92"/>
              <a:gd name="T6" fmla="*/ 35 w 52"/>
              <a:gd name="T7" fmla="*/ 34 h 92"/>
              <a:gd name="T8" fmla="*/ 49 w 52"/>
              <a:gd name="T9" fmla="*/ 8 h 92"/>
              <a:gd name="T10" fmla="*/ 52 w 52"/>
              <a:gd name="T11" fmla="*/ 0 h 92"/>
            </a:gdLst>
            <a:ahLst/>
            <a:cxnLst>
              <a:cxn ang="0">
                <a:pos x="T0" y="T1"/>
              </a:cxn>
              <a:cxn ang="0">
                <a:pos x="T2" y="T3"/>
              </a:cxn>
              <a:cxn ang="0">
                <a:pos x="T4" y="T5"/>
              </a:cxn>
              <a:cxn ang="0">
                <a:pos x="T6" y="T7"/>
              </a:cxn>
              <a:cxn ang="0">
                <a:pos x="T8" y="T9"/>
              </a:cxn>
              <a:cxn ang="0">
                <a:pos x="T10" y="T11"/>
              </a:cxn>
            </a:cxnLst>
            <a:rect l="0" t="0" r="r" b="b"/>
            <a:pathLst>
              <a:path w="52" h="92">
                <a:moveTo>
                  <a:pt x="0" y="92"/>
                </a:moveTo>
                <a:lnTo>
                  <a:pt x="3" y="87"/>
                </a:lnTo>
                <a:lnTo>
                  <a:pt x="20" y="62"/>
                </a:lnTo>
                <a:lnTo>
                  <a:pt x="35" y="34"/>
                </a:lnTo>
                <a:lnTo>
                  <a:pt x="49" y="8"/>
                </a:lnTo>
                <a:lnTo>
                  <a:pt x="52"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9" name="Freeform 164"/>
          <p:cNvSpPr>
            <a:spLocks/>
          </p:cNvSpPr>
          <p:nvPr/>
        </p:nvSpPr>
        <p:spPr bwMode="auto">
          <a:xfrm>
            <a:off x="7704219" y="5352051"/>
            <a:ext cx="13064" cy="67932"/>
          </a:xfrm>
          <a:custGeom>
            <a:avLst/>
            <a:gdLst>
              <a:gd name="T0" fmla="*/ 0 w 21"/>
              <a:gd name="T1" fmla="*/ 103 h 103"/>
              <a:gd name="T2" fmla="*/ 4 w 21"/>
              <a:gd name="T3" fmla="*/ 92 h 103"/>
              <a:gd name="T4" fmla="*/ 11 w 21"/>
              <a:gd name="T5" fmla="*/ 60 h 103"/>
              <a:gd name="T6" fmla="*/ 17 w 21"/>
              <a:gd name="T7" fmla="*/ 30 h 103"/>
              <a:gd name="T8" fmla="*/ 21 w 21"/>
              <a:gd name="T9" fmla="*/ 0 h 103"/>
            </a:gdLst>
            <a:ahLst/>
            <a:cxnLst>
              <a:cxn ang="0">
                <a:pos x="T0" y="T1"/>
              </a:cxn>
              <a:cxn ang="0">
                <a:pos x="T2" y="T3"/>
              </a:cxn>
              <a:cxn ang="0">
                <a:pos x="T4" y="T5"/>
              </a:cxn>
              <a:cxn ang="0">
                <a:pos x="T6" y="T7"/>
              </a:cxn>
              <a:cxn ang="0">
                <a:pos x="T8" y="T9"/>
              </a:cxn>
            </a:cxnLst>
            <a:rect l="0" t="0" r="r" b="b"/>
            <a:pathLst>
              <a:path w="21" h="103">
                <a:moveTo>
                  <a:pt x="0" y="103"/>
                </a:moveTo>
                <a:lnTo>
                  <a:pt x="4" y="92"/>
                </a:lnTo>
                <a:lnTo>
                  <a:pt x="11" y="60"/>
                </a:lnTo>
                <a:lnTo>
                  <a:pt x="17" y="30"/>
                </a:lnTo>
                <a:lnTo>
                  <a:pt x="21"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0" name="Line 165"/>
          <p:cNvSpPr>
            <a:spLocks noChangeShapeType="1"/>
          </p:cNvSpPr>
          <p:nvPr/>
        </p:nvSpPr>
        <p:spPr bwMode="auto">
          <a:xfrm flipV="1">
            <a:off x="7719896" y="521488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1" name="Line 166"/>
          <p:cNvSpPr>
            <a:spLocks noChangeShapeType="1"/>
          </p:cNvSpPr>
          <p:nvPr/>
        </p:nvSpPr>
        <p:spPr bwMode="auto">
          <a:xfrm flipV="1">
            <a:off x="7719896" y="507640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2" name="Line 167"/>
          <p:cNvSpPr>
            <a:spLocks noChangeShapeType="1"/>
          </p:cNvSpPr>
          <p:nvPr/>
        </p:nvSpPr>
        <p:spPr bwMode="auto">
          <a:xfrm flipV="1">
            <a:off x="7719896" y="493923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3" name="Line 168"/>
          <p:cNvSpPr>
            <a:spLocks noChangeShapeType="1"/>
          </p:cNvSpPr>
          <p:nvPr/>
        </p:nvSpPr>
        <p:spPr bwMode="auto">
          <a:xfrm flipV="1">
            <a:off x="7719896" y="480206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4" name="Line 169"/>
          <p:cNvSpPr>
            <a:spLocks noChangeShapeType="1"/>
          </p:cNvSpPr>
          <p:nvPr/>
        </p:nvSpPr>
        <p:spPr bwMode="auto">
          <a:xfrm flipV="1">
            <a:off x="7719896" y="466489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5" name="Line 170"/>
          <p:cNvSpPr>
            <a:spLocks noChangeShapeType="1"/>
          </p:cNvSpPr>
          <p:nvPr/>
        </p:nvSpPr>
        <p:spPr bwMode="auto">
          <a:xfrm flipV="1">
            <a:off x="7719896" y="452641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6" name="Line 171"/>
          <p:cNvSpPr>
            <a:spLocks noChangeShapeType="1"/>
          </p:cNvSpPr>
          <p:nvPr/>
        </p:nvSpPr>
        <p:spPr bwMode="auto">
          <a:xfrm flipV="1">
            <a:off x="7719896" y="438924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7" name="Line 172"/>
          <p:cNvSpPr>
            <a:spLocks noChangeShapeType="1"/>
          </p:cNvSpPr>
          <p:nvPr/>
        </p:nvSpPr>
        <p:spPr bwMode="auto">
          <a:xfrm flipV="1">
            <a:off x="7719896" y="425207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8" name="Line 173"/>
          <p:cNvSpPr>
            <a:spLocks noChangeShapeType="1"/>
          </p:cNvSpPr>
          <p:nvPr/>
        </p:nvSpPr>
        <p:spPr bwMode="auto">
          <a:xfrm flipV="1">
            <a:off x="7719896" y="411490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9" name="Line 174"/>
          <p:cNvSpPr>
            <a:spLocks noChangeShapeType="1"/>
          </p:cNvSpPr>
          <p:nvPr/>
        </p:nvSpPr>
        <p:spPr bwMode="auto">
          <a:xfrm flipV="1">
            <a:off x="7719896" y="397643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0" name="Line 175"/>
          <p:cNvSpPr>
            <a:spLocks noChangeShapeType="1"/>
          </p:cNvSpPr>
          <p:nvPr/>
        </p:nvSpPr>
        <p:spPr bwMode="auto">
          <a:xfrm flipV="1">
            <a:off x="7719896" y="383926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1" name="Line 176"/>
          <p:cNvSpPr>
            <a:spLocks noChangeShapeType="1"/>
          </p:cNvSpPr>
          <p:nvPr/>
        </p:nvSpPr>
        <p:spPr bwMode="auto">
          <a:xfrm flipV="1">
            <a:off x="7719896" y="370209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2" name="Line 177"/>
          <p:cNvSpPr>
            <a:spLocks noChangeShapeType="1"/>
          </p:cNvSpPr>
          <p:nvPr/>
        </p:nvSpPr>
        <p:spPr bwMode="auto">
          <a:xfrm flipV="1">
            <a:off x="7719896" y="356492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3" name="Line 178"/>
          <p:cNvSpPr>
            <a:spLocks noChangeShapeType="1"/>
          </p:cNvSpPr>
          <p:nvPr/>
        </p:nvSpPr>
        <p:spPr bwMode="auto">
          <a:xfrm flipV="1">
            <a:off x="7719896" y="34264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4" name="Line 179"/>
          <p:cNvSpPr>
            <a:spLocks noChangeShapeType="1"/>
          </p:cNvSpPr>
          <p:nvPr/>
        </p:nvSpPr>
        <p:spPr bwMode="auto">
          <a:xfrm flipV="1">
            <a:off x="7719896" y="328927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5" name="Line 180"/>
          <p:cNvSpPr>
            <a:spLocks noChangeShapeType="1"/>
          </p:cNvSpPr>
          <p:nvPr/>
        </p:nvSpPr>
        <p:spPr bwMode="auto">
          <a:xfrm flipV="1">
            <a:off x="7719896" y="31521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6" name="Line 181"/>
          <p:cNvSpPr>
            <a:spLocks noChangeShapeType="1"/>
          </p:cNvSpPr>
          <p:nvPr/>
        </p:nvSpPr>
        <p:spPr bwMode="auto">
          <a:xfrm flipV="1">
            <a:off x="7719896" y="301363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7" name="Line 182"/>
          <p:cNvSpPr>
            <a:spLocks noChangeShapeType="1"/>
          </p:cNvSpPr>
          <p:nvPr/>
        </p:nvSpPr>
        <p:spPr bwMode="auto">
          <a:xfrm flipV="1">
            <a:off x="7719896" y="287646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8" name="Line 183"/>
          <p:cNvSpPr>
            <a:spLocks noChangeShapeType="1"/>
          </p:cNvSpPr>
          <p:nvPr/>
        </p:nvSpPr>
        <p:spPr bwMode="auto">
          <a:xfrm flipV="1">
            <a:off x="7719896" y="273929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9" name="Line 184"/>
          <p:cNvSpPr>
            <a:spLocks noChangeShapeType="1"/>
          </p:cNvSpPr>
          <p:nvPr/>
        </p:nvSpPr>
        <p:spPr bwMode="auto">
          <a:xfrm flipV="1">
            <a:off x="7719896" y="260212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0" name="Line 185"/>
          <p:cNvSpPr>
            <a:spLocks noChangeShapeType="1"/>
          </p:cNvSpPr>
          <p:nvPr/>
        </p:nvSpPr>
        <p:spPr bwMode="auto">
          <a:xfrm flipV="1">
            <a:off x="7719896" y="246364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1" name="Line 186"/>
          <p:cNvSpPr>
            <a:spLocks noChangeShapeType="1"/>
          </p:cNvSpPr>
          <p:nvPr/>
        </p:nvSpPr>
        <p:spPr bwMode="auto">
          <a:xfrm flipV="1">
            <a:off x="7719896" y="232647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2" name="Line 187"/>
          <p:cNvSpPr>
            <a:spLocks noChangeShapeType="1"/>
          </p:cNvSpPr>
          <p:nvPr/>
        </p:nvSpPr>
        <p:spPr bwMode="auto">
          <a:xfrm flipV="1">
            <a:off x="7719896" y="21893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3" name="Line 188"/>
          <p:cNvSpPr>
            <a:spLocks noChangeShapeType="1"/>
          </p:cNvSpPr>
          <p:nvPr/>
        </p:nvSpPr>
        <p:spPr bwMode="auto">
          <a:xfrm flipV="1">
            <a:off x="7719896" y="205213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4" name="Line 189"/>
          <p:cNvSpPr>
            <a:spLocks noChangeShapeType="1"/>
          </p:cNvSpPr>
          <p:nvPr/>
        </p:nvSpPr>
        <p:spPr bwMode="auto">
          <a:xfrm flipV="1">
            <a:off x="7719896" y="1963301"/>
            <a:ext cx="0" cy="19596"/>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5" name="Freeform 191"/>
          <p:cNvSpPr>
            <a:spLocks/>
          </p:cNvSpPr>
          <p:nvPr/>
        </p:nvSpPr>
        <p:spPr bwMode="auto">
          <a:xfrm>
            <a:off x="6950438" y="2540721"/>
            <a:ext cx="704139" cy="3103959"/>
          </a:xfrm>
          <a:custGeom>
            <a:avLst/>
            <a:gdLst>
              <a:gd name="T0" fmla="*/ 0 w 1077"/>
              <a:gd name="T1" fmla="*/ 0 h 4752"/>
              <a:gd name="T2" fmla="*/ 0 w 1077"/>
              <a:gd name="T3" fmla="*/ 1970 h 4752"/>
              <a:gd name="T4" fmla="*/ 0 w 1077"/>
              <a:gd name="T5" fmla="*/ 4134 h 4752"/>
              <a:gd name="T6" fmla="*/ 3 w 1077"/>
              <a:gd name="T7" fmla="*/ 4196 h 4752"/>
              <a:gd name="T8" fmla="*/ 11 w 1077"/>
              <a:gd name="T9" fmla="*/ 4258 h 4752"/>
              <a:gd name="T10" fmla="*/ 24 w 1077"/>
              <a:gd name="T11" fmla="*/ 4316 h 4752"/>
              <a:gd name="T12" fmla="*/ 43 w 1077"/>
              <a:gd name="T13" fmla="*/ 4375 h 4752"/>
              <a:gd name="T14" fmla="*/ 65 w 1077"/>
              <a:gd name="T15" fmla="*/ 4427 h 4752"/>
              <a:gd name="T16" fmla="*/ 92 w 1077"/>
              <a:gd name="T17" fmla="*/ 4480 h 4752"/>
              <a:gd name="T18" fmla="*/ 124 w 1077"/>
              <a:gd name="T19" fmla="*/ 4527 h 4752"/>
              <a:gd name="T20" fmla="*/ 158 w 1077"/>
              <a:gd name="T21" fmla="*/ 4570 h 4752"/>
              <a:gd name="T22" fmla="*/ 195 w 1077"/>
              <a:gd name="T23" fmla="*/ 4610 h 4752"/>
              <a:gd name="T24" fmla="*/ 238 w 1077"/>
              <a:gd name="T25" fmla="*/ 4645 h 4752"/>
              <a:gd name="T26" fmla="*/ 282 w 1077"/>
              <a:gd name="T27" fmla="*/ 4677 h 4752"/>
              <a:gd name="T28" fmla="*/ 329 w 1077"/>
              <a:gd name="T29" fmla="*/ 4704 h 4752"/>
              <a:gd name="T30" fmla="*/ 379 w 1077"/>
              <a:gd name="T31" fmla="*/ 4724 h 4752"/>
              <a:gd name="T32" fmla="*/ 430 w 1077"/>
              <a:gd name="T33" fmla="*/ 4739 h 4752"/>
              <a:gd name="T34" fmla="*/ 483 w 1077"/>
              <a:gd name="T35" fmla="*/ 4749 h 4752"/>
              <a:gd name="T36" fmla="*/ 539 w 1077"/>
              <a:gd name="T37" fmla="*/ 4752 h 4752"/>
              <a:gd name="T38" fmla="*/ 567 w 1077"/>
              <a:gd name="T39" fmla="*/ 4751 h 4752"/>
              <a:gd name="T40" fmla="*/ 620 w 1077"/>
              <a:gd name="T41" fmla="*/ 4745 h 4752"/>
              <a:gd name="T42" fmla="*/ 673 w 1077"/>
              <a:gd name="T43" fmla="*/ 4732 h 4752"/>
              <a:gd name="T44" fmla="*/ 723 w 1077"/>
              <a:gd name="T45" fmla="*/ 4715 h 4752"/>
              <a:gd name="T46" fmla="*/ 772 w 1077"/>
              <a:gd name="T47" fmla="*/ 4690 h 4752"/>
              <a:gd name="T48" fmla="*/ 817 w 1077"/>
              <a:gd name="T49" fmla="*/ 4662 h 4752"/>
              <a:gd name="T50" fmla="*/ 861 w 1077"/>
              <a:gd name="T51" fmla="*/ 4628 h 4752"/>
              <a:gd name="T52" fmla="*/ 902 w 1077"/>
              <a:gd name="T53" fmla="*/ 4591 h 4752"/>
              <a:gd name="T54" fmla="*/ 938 w 1077"/>
              <a:gd name="T55" fmla="*/ 4549 h 4752"/>
              <a:gd name="T56" fmla="*/ 972 w 1077"/>
              <a:gd name="T57" fmla="*/ 4502 h 4752"/>
              <a:gd name="T58" fmla="*/ 1000 w 1077"/>
              <a:gd name="T59" fmla="*/ 4454 h 4752"/>
              <a:gd name="T60" fmla="*/ 1024 w 1077"/>
              <a:gd name="T61" fmla="*/ 4401 h 4752"/>
              <a:gd name="T62" fmla="*/ 1045 w 1077"/>
              <a:gd name="T63" fmla="*/ 4346 h 4752"/>
              <a:gd name="T64" fmla="*/ 1060 w 1077"/>
              <a:gd name="T65" fmla="*/ 4288 h 4752"/>
              <a:gd name="T66" fmla="*/ 1071 w 1077"/>
              <a:gd name="T67" fmla="*/ 4228 h 4752"/>
              <a:gd name="T68" fmla="*/ 1077 w 1077"/>
              <a:gd name="T69" fmla="*/ 4164 h 4752"/>
              <a:gd name="T70" fmla="*/ 1077 w 1077"/>
              <a:gd name="T71" fmla="*/ 2829 h 4752"/>
              <a:gd name="T72" fmla="*/ 1077 w 1077"/>
              <a:gd name="T73" fmla="*/ 0 h 4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77" h="4752">
                <a:moveTo>
                  <a:pt x="1077" y="0"/>
                </a:moveTo>
                <a:lnTo>
                  <a:pt x="0" y="0"/>
                </a:lnTo>
                <a:lnTo>
                  <a:pt x="0" y="1970"/>
                </a:lnTo>
                <a:lnTo>
                  <a:pt x="0" y="1970"/>
                </a:lnTo>
                <a:lnTo>
                  <a:pt x="0" y="4134"/>
                </a:lnTo>
                <a:lnTo>
                  <a:pt x="0" y="4134"/>
                </a:lnTo>
                <a:lnTo>
                  <a:pt x="0" y="4164"/>
                </a:lnTo>
                <a:lnTo>
                  <a:pt x="3" y="4196"/>
                </a:lnTo>
                <a:lnTo>
                  <a:pt x="5" y="4228"/>
                </a:lnTo>
                <a:lnTo>
                  <a:pt x="11" y="4258"/>
                </a:lnTo>
                <a:lnTo>
                  <a:pt x="17" y="4288"/>
                </a:lnTo>
                <a:lnTo>
                  <a:pt x="24" y="4316"/>
                </a:lnTo>
                <a:lnTo>
                  <a:pt x="34" y="4346"/>
                </a:lnTo>
                <a:lnTo>
                  <a:pt x="43" y="4375"/>
                </a:lnTo>
                <a:lnTo>
                  <a:pt x="52" y="4401"/>
                </a:lnTo>
                <a:lnTo>
                  <a:pt x="65" y="4427"/>
                </a:lnTo>
                <a:lnTo>
                  <a:pt x="79" y="4454"/>
                </a:lnTo>
                <a:lnTo>
                  <a:pt x="92" y="4480"/>
                </a:lnTo>
                <a:lnTo>
                  <a:pt x="107" y="4502"/>
                </a:lnTo>
                <a:lnTo>
                  <a:pt x="124" y="4527"/>
                </a:lnTo>
                <a:lnTo>
                  <a:pt x="141" y="4549"/>
                </a:lnTo>
                <a:lnTo>
                  <a:pt x="158" y="4570"/>
                </a:lnTo>
                <a:lnTo>
                  <a:pt x="176" y="4591"/>
                </a:lnTo>
                <a:lnTo>
                  <a:pt x="195" y="4610"/>
                </a:lnTo>
                <a:lnTo>
                  <a:pt x="216" y="4628"/>
                </a:lnTo>
                <a:lnTo>
                  <a:pt x="238" y="4645"/>
                </a:lnTo>
                <a:lnTo>
                  <a:pt x="259" y="4662"/>
                </a:lnTo>
                <a:lnTo>
                  <a:pt x="282" y="4677"/>
                </a:lnTo>
                <a:lnTo>
                  <a:pt x="306" y="4690"/>
                </a:lnTo>
                <a:lnTo>
                  <a:pt x="329" y="4704"/>
                </a:lnTo>
                <a:lnTo>
                  <a:pt x="353" y="4715"/>
                </a:lnTo>
                <a:lnTo>
                  <a:pt x="379" y="4724"/>
                </a:lnTo>
                <a:lnTo>
                  <a:pt x="404" y="4732"/>
                </a:lnTo>
                <a:lnTo>
                  <a:pt x="430" y="4739"/>
                </a:lnTo>
                <a:lnTo>
                  <a:pt x="457" y="4745"/>
                </a:lnTo>
                <a:lnTo>
                  <a:pt x="483" y="4749"/>
                </a:lnTo>
                <a:lnTo>
                  <a:pt x="511" y="4751"/>
                </a:lnTo>
                <a:lnTo>
                  <a:pt x="539" y="4752"/>
                </a:lnTo>
                <a:lnTo>
                  <a:pt x="539" y="4752"/>
                </a:lnTo>
                <a:lnTo>
                  <a:pt x="567" y="4751"/>
                </a:lnTo>
                <a:lnTo>
                  <a:pt x="594" y="4749"/>
                </a:lnTo>
                <a:lnTo>
                  <a:pt x="620" y="4745"/>
                </a:lnTo>
                <a:lnTo>
                  <a:pt x="648" y="4739"/>
                </a:lnTo>
                <a:lnTo>
                  <a:pt x="673" y="4732"/>
                </a:lnTo>
                <a:lnTo>
                  <a:pt x="699" y="4724"/>
                </a:lnTo>
                <a:lnTo>
                  <a:pt x="723" y="4715"/>
                </a:lnTo>
                <a:lnTo>
                  <a:pt x="748" y="4704"/>
                </a:lnTo>
                <a:lnTo>
                  <a:pt x="772" y="4690"/>
                </a:lnTo>
                <a:lnTo>
                  <a:pt x="795" y="4677"/>
                </a:lnTo>
                <a:lnTo>
                  <a:pt x="817" y="4662"/>
                </a:lnTo>
                <a:lnTo>
                  <a:pt x="840" y="4645"/>
                </a:lnTo>
                <a:lnTo>
                  <a:pt x="861" y="4628"/>
                </a:lnTo>
                <a:lnTo>
                  <a:pt x="881" y="4610"/>
                </a:lnTo>
                <a:lnTo>
                  <a:pt x="902" y="4591"/>
                </a:lnTo>
                <a:lnTo>
                  <a:pt x="921" y="4570"/>
                </a:lnTo>
                <a:lnTo>
                  <a:pt x="938" y="4549"/>
                </a:lnTo>
                <a:lnTo>
                  <a:pt x="955" y="4527"/>
                </a:lnTo>
                <a:lnTo>
                  <a:pt x="972" y="4502"/>
                </a:lnTo>
                <a:lnTo>
                  <a:pt x="987" y="4480"/>
                </a:lnTo>
                <a:lnTo>
                  <a:pt x="1000" y="4454"/>
                </a:lnTo>
                <a:lnTo>
                  <a:pt x="1013" y="4427"/>
                </a:lnTo>
                <a:lnTo>
                  <a:pt x="1024" y="4401"/>
                </a:lnTo>
                <a:lnTo>
                  <a:pt x="1036" y="4375"/>
                </a:lnTo>
                <a:lnTo>
                  <a:pt x="1045" y="4346"/>
                </a:lnTo>
                <a:lnTo>
                  <a:pt x="1054" y="4316"/>
                </a:lnTo>
                <a:lnTo>
                  <a:pt x="1060" y="4288"/>
                </a:lnTo>
                <a:lnTo>
                  <a:pt x="1067" y="4258"/>
                </a:lnTo>
                <a:lnTo>
                  <a:pt x="1071" y="4228"/>
                </a:lnTo>
                <a:lnTo>
                  <a:pt x="1075" y="4196"/>
                </a:lnTo>
                <a:lnTo>
                  <a:pt x="1077" y="4164"/>
                </a:lnTo>
                <a:lnTo>
                  <a:pt x="1077" y="4134"/>
                </a:lnTo>
                <a:lnTo>
                  <a:pt x="1077" y="2829"/>
                </a:lnTo>
                <a:lnTo>
                  <a:pt x="1077" y="2829"/>
                </a:lnTo>
                <a:lnTo>
                  <a:pt x="1077"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6" name="Rectangle 192"/>
          <p:cNvSpPr>
            <a:spLocks noChangeArrowheads="1"/>
          </p:cNvSpPr>
          <p:nvPr/>
        </p:nvSpPr>
        <p:spPr bwMode="auto">
          <a:xfrm>
            <a:off x="4690494" y="3353289"/>
            <a:ext cx="60272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algn="ctr"/>
            <a:r>
              <a:rPr lang="zh-CN" altLang="zh-CN" sz="2000" dirty="0">
                <a:solidFill>
                  <a:schemeClr val="accent1"/>
                </a:solidFill>
                <a:latin typeface="+mn-lt"/>
              </a:rPr>
              <a:t>48%</a:t>
            </a:r>
            <a:endParaRPr lang="zh-CN" altLang="zh-CN" sz="1800" dirty="0">
              <a:solidFill>
                <a:schemeClr val="accent1"/>
              </a:solidFill>
              <a:latin typeface="+mn-lt"/>
            </a:endParaRPr>
          </a:p>
        </p:txBody>
      </p:sp>
      <p:sp>
        <p:nvSpPr>
          <p:cNvPr id="207" name="Rectangle 193"/>
          <p:cNvSpPr>
            <a:spLocks noChangeArrowheads="1"/>
          </p:cNvSpPr>
          <p:nvPr/>
        </p:nvSpPr>
        <p:spPr bwMode="auto">
          <a:xfrm>
            <a:off x="5876744" y="4218113"/>
            <a:ext cx="60272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algn="ctr"/>
            <a:r>
              <a:rPr lang="zh-CN" altLang="zh-CN" sz="2000" dirty="0">
                <a:solidFill>
                  <a:srgbClr val="C4D600"/>
                </a:solidFill>
                <a:latin typeface="+mn-lt"/>
              </a:rPr>
              <a:t>22%</a:t>
            </a:r>
            <a:endParaRPr lang="zh-CN" altLang="zh-CN" sz="1800" dirty="0">
              <a:solidFill>
                <a:srgbClr val="C4D600"/>
              </a:solidFill>
              <a:latin typeface="+mn-lt"/>
            </a:endParaRPr>
          </a:p>
        </p:txBody>
      </p:sp>
      <p:sp>
        <p:nvSpPr>
          <p:cNvPr id="208" name="Rectangle 194"/>
          <p:cNvSpPr>
            <a:spLocks noChangeArrowheads="1"/>
          </p:cNvSpPr>
          <p:nvPr/>
        </p:nvSpPr>
        <p:spPr bwMode="auto">
          <a:xfrm>
            <a:off x="7001964" y="2169709"/>
            <a:ext cx="60272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algn="ctr"/>
            <a:r>
              <a:rPr lang="zh-CN" altLang="zh-CN" sz="2000" dirty="0">
                <a:solidFill>
                  <a:schemeClr val="accent3"/>
                </a:solidFill>
                <a:latin typeface="+mn-lt"/>
              </a:rPr>
              <a:t>89%</a:t>
            </a:r>
            <a:endParaRPr lang="zh-CN" altLang="zh-CN" sz="1800" dirty="0">
              <a:solidFill>
                <a:schemeClr val="accent3"/>
              </a:solidFill>
              <a:latin typeface="+mn-lt"/>
            </a:endParaRPr>
          </a:p>
        </p:txBody>
      </p:sp>
      <p:grpSp>
        <p:nvGrpSpPr>
          <p:cNvPr id="210" name="组合 231"/>
          <p:cNvGrpSpPr/>
          <p:nvPr/>
        </p:nvGrpSpPr>
        <p:grpSpPr>
          <a:xfrm>
            <a:off x="7503037" y="3020162"/>
            <a:ext cx="1131325" cy="462459"/>
            <a:chOff x="6241231" y="3449604"/>
            <a:chExt cx="1131325" cy="462459"/>
          </a:xfrm>
        </p:grpSpPr>
        <p:sp>
          <p:nvSpPr>
            <p:cNvPr id="211" name="Line 196"/>
            <p:cNvSpPr>
              <a:spLocks noChangeShapeType="1"/>
            </p:cNvSpPr>
            <p:nvPr/>
          </p:nvSpPr>
          <p:spPr bwMode="auto">
            <a:xfrm flipV="1">
              <a:off x="6241231" y="3867646"/>
              <a:ext cx="52255" cy="44417"/>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2" name="Line 197"/>
            <p:cNvSpPr>
              <a:spLocks noChangeShapeType="1"/>
            </p:cNvSpPr>
            <p:nvPr/>
          </p:nvSpPr>
          <p:spPr bwMode="auto">
            <a:xfrm flipV="1">
              <a:off x="6344435" y="3777506"/>
              <a:ext cx="52255" cy="45723"/>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3" name="Line 198"/>
            <p:cNvSpPr>
              <a:spLocks noChangeShapeType="1"/>
            </p:cNvSpPr>
            <p:nvPr/>
          </p:nvSpPr>
          <p:spPr bwMode="auto">
            <a:xfrm flipV="1">
              <a:off x="6447639" y="3687365"/>
              <a:ext cx="52255" cy="44417"/>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4" name="Line 199"/>
            <p:cNvSpPr>
              <a:spLocks noChangeShapeType="1"/>
            </p:cNvSpPr>
            <p:nvPr/>
          </p:nvSpPr>
          <p:spPr bwMode="auto">
            <a:xfrm flipV="1">
              <a:off x="6550843" y="3595919"/>
              <a:ext cx="52255" cy="45723"/>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5" name="Line 200"/>
            <p:cNvSpPr>
              <a:spLocks noChangeShapeType="1"/>
            </p:cNvSpPr>
            <p:nvPr/>
          </p:nvSpPr>
          <p:spPr bwMode="auto">
            <a:xfrm flipV="1">
              <a:off x="6654047" y="3504472"/>
              <a:ext cx="52255" cy="45723"/>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6" name="Freeform 201"/>
            <p:cNvSpPr>
              <a:spLocks/>
            </p:cNvSpPr>
            <p:nvPr/>
          </p:nvSpPr>
          <p:spPr bwMode="auto">
            <a:xfrm>
              <a:off x="6757251" y="3449604"/>
              <a:ext cx="65319" cy="10451"/>
            </a:xfrm>
            <a:custGeom>
              <a:avLst/>
              <a:gdLst>
                <a:gd name="T0" fmla="*/ 0 w 100"/>
                <a:gd name="T1" fmla="*/ 15 h 15"/>
                <a:gd name="T2" fmla="*/ 19 w 100"/>
                <a:gd name="T3" fmla="*/ 0 h 15"/>
                <a:gd name="T4" fmla="*/ 100 w 100"/>
                <a:gd name="T5" fmla="*/ 0 h 15"/>
              </a:gdLst>
              <a:ahLst/>
              <a:cxnLst>
                <a:cxn ang="0">
                  <a:pos x="T0" y="T1"/>
                </a:cxn>
                <a:cxn ang="0">
                  <a:pos x="T2" y="T3"/>
                </a:cxn>
                <a:cxn ang="0">
                  <a:pos x="T4" y="T5"/>
                </a:cxn>
              </a:cxnLst>
              <a:rect l="0" t="0" r="r" b="b"/>
              <a:pathLst>
                <a:path w="100" h="15">
                  <a:moveTo>
                    <a:pt x="0" y="15"/>
                  </a:moveTo>
                  <a:lnTo>
                    <a:pt x="19" y="0"/>
                  </a:lnTo>
                  <a:lnTo>
                    <a:pt x="100"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7" name="Line 202"/>
            <p:cNvSpPr>
              <a:spLocks noChangeShapeType="1"/>
            </p:cNvSpPr>
            <p:nvPr/>
          </p:nvSpPr>
          <p:spPr bwMode="auto">
            <a:xfrm>
              <a:off x="6891808" y="3449604"/>
              <a:ext cx="67932"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8" name="Line 203"/>
            <p:cNvSpPr>
              <a:spLocks noChangeShapeType="1"/>
            </p:cNvSpPr>
            <p:nvPr/>
          </p:nvSpPr>
          <p:spPr bwMode="auto">
            <a:xfrm>
              <a:off x="7028978" y="3449604"/>
              <a:ext cx="67932"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9" name="Line 204"/>
            <p:cNvSpPr>
              <a:spLocks noChangeShapeType="1"/>
            </p:cNvSpPr>
            <p:nvPr/>
          </p:nvSpPr>
          <p:spPr bwMode="auto">
            <a:xfrm>
              <a:off x="7166148" y="3449604"/>
              <a:ext cx="69238"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0" name="Line 206"/>
            <p:cNvSpPr>
              <a:spLocks noChangeShapeType="1"/>
            </p:cNvSpPr>
            <p:nvPr/>
          </p:nvSpPr>
          <p:spPr bwMode="auto">
            <a:xfrm>
              <a:off x="7303318" y="3449604"/>
              <a:ext cx="69238"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grpSp>
        <p:nvGrpSpPr>
          <p:cNvPr id="221" name="组合 232"/>
          <p:cNvGrpSpPr/>
          <p:nvPr/>
        </p:nvGrpSpPr>
        <p:grpSpPr>
          <a:xfrm>
            <a:off x="3869994" y="4156712"/>
            <a:ext cx="1008525" cy="448088"/>
            <a:chOff x="2608188" y="4586155"/>
            <a:chExt cx="1008525" cy="448088"/>
          </a:xfrm>
        </p:grpSpPr>
        <p:sp>
          <p:nvSpPr>
            <p:cNvPr id="222" name="Line 207"/>
            <p:cNvSpPr>
              <a:spLocks noChangeShapeType="1"/>
            </p:cNvSpPr>
            <p:nvPr/>
          </p:nvSpPr>
          <p:spPr bwMode="auto">
            <a:xfrm flipH="1" flipV="1">
              <a:off x="3563151" y="4989826"/>
              <a:ext cx="53562" cy="44417"/>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3" name="Line 208"/>
            <p:cNvSpPr>
              <a:spLocks noChangeShapeType="1"/>
            </p:cNvSpPr>
            <p:nvPr/>
          </p:nvSpPr>
          <p:spPr bwMode="auto">
            <a:xfrm flipH="1" flipV="1">
              <a:off x="3457335" y="4902299"/>
              <a:ext cx="53562" cy="43111"/>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4" name="Line 209"/>
            <p:cNvSpPr>
              <a:spLocks noChangeShapeType="1"/>
            </p:cNvSpPr>
            <p:nvPr/>
          </p:nvSpPr>
          <p:spPr bwMode="auto">
            <a:xfrm flipH="1" flipV="1">
              <a:off x="3351518" y="4814772"/>
              <a:ext cx="53562" cy="43111"/>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5" name="Line 210"/>
            <p:cNvSpPr>
              <a:spLocks noChangeShapeType="1"/>
            </p:cNvSpPr>
            <p:nvPr/>
          </p:nvSpPr>
          <p:spPr bwMode="auto">
            <a:xfrm flipH="1" flipV="1">
              <a:off x="3245701" y="4727244"/>
              <a:ext cx="52255" cy="43111"/>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6" name="Line 211"/>
            <p:cNvSpPr>
              <a:spLocks noChangeShapeType="1"/>
            </p:cNvSpPr>
            <p:nvPr/>
          </p:nvSpPr>
          <p:spPr bwMode="auto">
            <a:xfrm flipH="1" flipV="1">
              <a:off x="3138578" y="4639717"/>
              <a:ext cx="53562" cy="44417"/>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7" name="Freeform 212"/>
            <p:cNvSpPr>
              <a:spLocks/>
            </p:cNvSpPr>
            <p:nvPr/>
          </p:nvSpPr>
          <p:spPr bwMode="auto">
            <a:xfrm>
              <a:off x="3021004" y="4586155"/>
              <a:ext cx="65319" cy="10451"/>
            </a:xfrm>
            <a:custGeom>
              <a:avLst/>
              <a:gdLst>
                <a:gd name="T0" fmla="*/ 99 w 99"/>
                <a:gd name="T1" fmla="*/ 17 h 17"/>
                <a:gd name="T2" fmla="*/ 79 w 99"/>
                <a:gd name="T3" fmla="*/ 0 h 17"/>
                <a:gd name="T4" fmla="*/ 0 w 99"/>
                <a:gd name="T5" fmla="*/ 0 h 17"/>
              </a:gdLst>
              <a:ahLst/>
              <a:cxnLst>
                <a:cxn ang="0">
                  <a:pos x="T0" y="T1"/>
                </a:cxn>
                <a:cxn ang="0">
                  <a:pos x="T2" y="T3"/>
                </a:cxn>
                <a:cxn ang="0">
                  <a:pos x="T4" y="T5"/>
                </a:cxn>
              </a:cxnLst>
              <a:rect l="0" t="0" r="r" b="b"/>
              <a:pathLst>
                <a:path w="99" h="17">
                  <a:moveTo>
                    <a:pt x="99" y="17"/>
                  </a:moveTo>
                  <a:lnTo>
                    <a:pt x="79" y="0"/>
                  </a:lnTo>
                  <a:lnTo>
                    <a:pt x="0"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8" name="Line 213"/>
            <p:cNvSpPr>
              <a:spLocks noChangeShapeType="1"/>
            </p:cNvSpPr>
            <p:nvPr/>
          </p:nvSpPr>
          <p:spPr bwMode="auto">
            <a:xfrm flipH="1">
              <a:off x="2883834" y="4586155"/>
              <a:ext cx="67932"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9" name="Line 214"/>
            <p:cNvSpPr>
              <a:spLocks noChangeShapeType="1"/>
            </p:cNvSpPr>
            <p:nvPr/>
          </p:nvSpPr>
          <p:spPr bwMode="auto">
            <a:xfrm flipH="1">
              <a:off x="2745357" y="4586155"/>
              <a:ext cx="69238"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30" name="Line 215"/>
            <p:cNvSpPr>
              <a:spLocks noChangeShapeType="1"/>
            </p:cNvSpPr>
            <p:nvPr/>
          </p:nvSpPr>
          <p:spPr bwMode="auto">
            <a:xfrm flipH="1">
              <a:off x="2608188" y="4586155"/>
              <a:ext cx="69238"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spTree>
    <p:custDataLst>
      <p:tags r:id="rId1"/>
    </p:custDataLst>
    <p:extLst>
      <p:ext uri="{BB962C8B-B14F-4D97-AF65-F5344CB8AC3E}">
        <p14:creationId xmlns:p14="http://schemas.microsoft.com/office/powerpoint/2010/main" val="3650824824"/>
      </p:ext>
    </p:extLst>
  </p:cSld>
  <p:clrMapOvr>
    <a:masterClrMapping/>
  </p:clrMapOvr>
  <p:transition>
    <p:fade/>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
          <p:cNvSpPr/>
          <p:nvPr/>
        </p:nvSpPr>
        <p:spPr>
          <a:xfrm>
            <a:off x="2779477" y="3561688"/>
            <a:ext cx="2390137" cy="88494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8545" y="20083"/>
                  <a:pt x="17254" y="18521"/>
                  <a:pt x="15576" y="10666"/>
                </a:cubicBezTo>
                <a:cubicBezTo>
                  <a:pt x="13898" y="2812"/>
                  <a:pt x="12607" y="0"/>
                  <a:pt x="10800" y="0"/>
                </a:cubicBezTo>
                <a:cubicBezTo>
                  <a:pt x="8993" y="0"/>
                  <a:pt x="7702" y="2812"/>
                  <a:pt x="6024" y="10666"/>
                </a:cubicBezTo>
                <a:cubicBezTo>
                  <a:pt x="4346" y="18521"/>
                  <a:pt x="3055" y="19949"/>
                  <a:pt x="0" y="21600"/>
                </a:cubicBezTo>
                <a:cubicBezTo>
                  <a:pt x="0" y="21600"/>
                  <a:pt x="21600" y="21600"/>
                  <a:pt x="21600" y="21600"/>
                </a:cubicBezTo>
                <a:close/>
              </a:path>
            </a:pathLst>
          </a:custGeom>
          <a:solidFill>
            <a:schemeClr val="accent1"/>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2387"/>
          </a:p>
        </p:txBody>
      </p:sp>
      <p:sp>
        <p:nvSpPr>
          <p:cNvPr id="7" name="Shape 6"/>
          <p:cNvSpPr/>
          <p:nvPr/>
        </p:nvSpPr>
        <p:spPr>
          <a:xfrm>
            <a:off x="7022387" y="3156712"/>
            <a:ext cx="2390137" cy="12899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8545" y="20083"/>
                  <a:pt x="17254" y="18521"/>
                  <a:pt x="15576" y="10666"/>
                </a:cubicBezTo>
                <a:cubicBezTo>
                  <a:pt x="13898" y="2812"/>
                  <a:pt x="12607" y="0"/>
                  <a:pt x="10800" y="0"/>
                </a:cubicBezTo>
                <a:cubicBezTo>
                  <a:pt x="8993" y="0"/>
                  <a:pt x="7702" y="2812"/>
                  <a:pt x="6024" y="10666"/>
                </a:cubicBezTo>
                <a:cubicBezTo>
                  <a:pt x="4346" y="18521"/>
                  <a:pt x="3055" y="19949"/>
                  <a:pt x="0" y="21600"/>
                </a:cubicBezTo>
                <a:cubicBezTo>
                  <a:pt x="0" y="21600"/>
                  <a:pt x="21600" y="21600"/>
                  <a:pt x="21600" y="21600"/>
                </a:cubicBezTo>
                <a:close/>
              </a:path>
            </a:pathLst>
          </a:custGeom>
          <a:solidFill>
            <a:srgbClr val="2C5234"/>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2387"/>
          </a:p>
        </p:txBody>
      </p:sp>
      <p:sp>
        <p:nvSpPr>
          <p:cNvPr id="5" name="Shape 6"/>
          <p:cNvSpPr/>
          <p:nvPr/>
        </p:nvSpPr>
        <p:spPr>
          <a:xfrm>
            <a:off x="5967366" y="2879229"/>
            <a:ext cx="2390137" cy="156740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8545" y="20083"/>
                  <a:pt x="17254" y="18521"/>
                  <a:pt x="15576" y="10666"/>
                </a:cubicBezTo>
                <a:cubicBezTo>
                  <a:pt x="13898" y="2812"/>
                  <a:pt x="12607" y="0"/>
                  <a:pt x="10800" y="0"/>
                </a:cubicBezTo>
                <a:cubicBezTo>
                  <a:pt x="8993" y="0"/>
                  <a:pt x="7702" y="2812"/>
                  <a:pt x="6024" y="10666"/>
                </a:cubicBezTo>
                <a:cubicBezTo>
                  <a:pt x="4346" y="18521"/>
                  <a:pt x="3055" y="19949"/>
                  <a:pt x="0" y="21600"/>
                </a:cubicBezTo>
                <a:cubicBezTo>
                  <a:pt x="0" y="21600"/>
                  <a:pt x="21600" y="21600"/>
                  <a:pt x="21600" y="21600"/>
                </a:cubicBezTo>
                <a:close/>
              </a:path>
            </a:pathLst>
          </a:custGeom>
          <a:solidFill>
            <a:schemeClr val="accent3"/>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2387"/>
          </a:p>
        </p:txBody>
      </p:sp>
      <p:sp>
        <p:nvSpPr>
          <p:cNvPr id="6" name="Shape 6"/>
          <p:cNvSpPr/>
          <p:nvPr/>
        </p:nvSpPr>
        <p:spPr>
          <a:xfrm>
            <a:off x="4912343" y="2504251"/>
            <a:ext cx="2390137" cy="194238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8545" y="20083"/>
                  <a:pt x="17254" y="18521"/>
                  <a:pt x="15576" y="10666"/>
                </a:cubicBezTo>
                <a:cubicBezTo>
                  <a:pt x="13898" y="2812"/>
                  <a:pt x="12607" y="0"/>
                  <a:pt x="10800" y="0"/>
                </a:cubicBezTo>
                <a:cubicBezTo>
                  <a:pt x="8993" y="0"/>
                  <a:pt x="7702" y="2812"/>
                  <a:pt x="6024" y="10666"/>
                </a:cubicBezTo>
                <a:cubicBezTo>
                  <a:pt x="4346" y="18521"/>
                  <a:pt x="3055" y="19949"/>
                  <a:pt x="0" y="21600"/>
                </a:cubicBezTo>
                <a:cubicBezTo>
                  <a:pt x="0" y="21600"/>
                  <a:pt x="21600" y="21600"/>
                  <a:pt x="21600" y="21600"/>
                </a:cubicBezTo>
                <a:close/>
              </a:path>
            </a:pathLst>
          </a:custGeom>
          <a:solidFill>
            <a:schemeClr val="accent2"/>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2387"/>
          </a:p>
        </p:txBody>
      </p:sp>
      <p:sp>
        <p:nvSpPr>
          <p:cNvPr id="3" name="Shape 6"/>
          <p:cNvSpPr/>
          <p:nvPr/>
        </p:nvSpPr>
        <p:spPr>
          <a:xfrm>
            <a:off x="3834499" y="2969224"/>
            <a:ext cx="2390137" cy="147741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8545" y="20083"/>
                  <a:pt x="17254" y="18521"/>
                  <a:pt x="15576" y="10666"/>
                </a:cubicBezTo>
                <a:cubicBezTo>
                  <a:pt x="13898" y="2812"/>
                  <a:pt x="12607" y="0"/>
                  <a:pt x="10800" y="0"/>
                </a:cubicBezTo>
                <a:cubicBezTo>
                  <a:pt x="8993" y="0"/>
                  <a:pt x="7702" y="2812"/>
                  <a:pt x="6024" y="10666"/>
                </a:cubicBezTo>
                <a:cubicBezTo>
                  <a:pt x="4346" y="18521"/>
                  <a:pt x="3055" y="19949"/>
                  <a:pt x="0" y="21600"/>
                </a:cubicBezTo>
                <a:cubicBezTo>
                  <a:pt x="0" y="21600"/>
                  <a:pt x="21600" y="21600"/>
                  <a:pt x="21600" y="21600"/>
                </a:cubicBezTo>
                <a:close/>
              </a:path>
            </a:pathLst>
          </a:custGeom>
          <a:solidFill>
            <a:srgbClr val="C4D600"/>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2387"/>
          </a:p>
        </p:txBody>
      </p:sp>
      <p:grpSp>
        <p:nvGrpSpPr>
          <p:cNvPr id="19" name="Group 18"/>
          <p:cNvGrpSpPr/>
          <p:nvPr/>
        </p:nvGrpSpPr>
        <p:grpSpPr>
          <a:xfrm>
            <a:off x="3724222" y="2789237"/>
            <a:ext cx="639584" cy="627350"/>
            <a:chOff x="3115817" y="3139126"/>
            <a:chExt cx="688618" cy="675447"/>
          </a:xfrm>
        </p:grpSpPr>
        <p:sp>
          <p:nvSpPr>
            <p:cNvPr id="16" name="Oval Callout 15"/>
            <p:cNvSpPr/>
            <p:nvPr/>
          </p:nvSpPr>
          <p:spPr>
            <a:xfrm>
              <a:off x="3115817" y="3139126"/>
              <a:ext cx="688618" cy="675447"/>
            </a:xfrm>
            <a:prstGeom prst="wedgeEllipseCallout">
              <a:avLst>
                <a:gd name="adj1" fmla="val -5527"/>
                <a:gd name="adj2" fmla="val 6737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b="1"/>
            </a:p>
          </p:txBody>
        </p:sp>
        <p:sp>
          <p:nvSpPr>
            <p:cNvPr id="18" name="Oval 17"/>
            <p:cNvSpPr/>
            <p:nvPr/>
          </p:nvSpPr>
          <p:spPr>
            <a:xfrm>
              <a:off x="3259091" y="3271101"/>
              <a:ext cx="402070" cy="4020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b="1"/>
            </a:p>
          </p:txBody>
        </p:sp>
      </p:grpSp>
      <p:grpSp>
        <p:nvGrpSpPr>
          <p:cNvPr id="20" name="Group 19"/>
          <p:cNvGrpSpPr/>
          <p:nvPr/>
        </p:nvGrpSpPr>
        <p:grpSpPr>
          <a:xfrm>
            <a:off x="4744161" y="2124426"/>
            <a:ext cx="639584" cy="627350"/>
            <a:chOff x="3115817" y="3139126"/>
            <a:chExt cx="688618" cy="675447"/>
          </a:xfrm>
        </p:grpSpPr>
        <p:sp>
          <p:nvSpPr>
            <p:cNvPr id="21" name="Oval Callout 20"/>
            <p:cNvSpPr/>
            <p:nvPr/>
          </p:nvSpPr>
          <p:spPr>
            <a:xfrm>
              <a:off x="3115817" y="3139126"/>
              <a:ext cx="688618" cy="675447"/>
            </a:xfrm>
            <a:prstGeom prst="wedgeEllipseCallout">
              <a:avLst>
                <a:gd name="adj1" fmla="val -5527"/>
                <a:gd name="adj2" fmla="val 6737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p>
          </p:txBody>
        </p:sp>
        <p:sp>
          <p:nvSpPr>
            <p:cNvPr id="22" name="Oval 21"/>
            <p:cNvSpPr/>
            <p:nvPr/>
          </p:nvSpPr>
          <p:spPr>
            <a:xfrm>
              <a:off x="3259091" y="3271101"/>
              <a:ext cx="402070" cy="4020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p>
          </p:txBody>
        </p:sp>
      </p:grpSp>
      <p:grpSp>
        <p:nvGrpSpPr>
          <p:cNvPr id="23" name="Group 22"/>
          <p:cNvGrpSpPr/>
          <p:nvPr/>
        </p:nvGrpSpPr>
        <p:grpSpPr>
          <a:xfrm>
            <a:off x="5802619" y="1671441"/>
            <a:ext cx="639584" cy="627350"/>
            <a:chOff x="3115817" y="3139126"/>
            <a:chExt cx="688618" cy="675447"/>
          </a:xfrm>
        </p:grpSpPr>
        <p:sp>
          <p:nvSpPr>
            <p:cNvPr id="24" name="Oval Callout 23"/>
            <p:cNvSpPr/>
            <p:nvPr/>
          </p:nvSpPr>
          <p:spPr>
            <a:xfrm>
              <a:off x="3115817" y="3139126"/>
              <a:ext cx="688618" cy="675447"/>
            </a:xfrm>
            <a:prstGeom prst="wedgeEllipseCallout">
              <a:avLst>
                <a:gd name="adj1" fmla="val -5527"/>
                <a:gd name="adj2" fmla="val 6737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b="1"/>
            </a:p>
          </p:txBody>
        </p:sp>
        <p:sp>
          <p:nvSpPr>
            <p:cNvPr id="25" name="Oval 24"/>
            <p:cNvSpPr/>
            <p:nvPr/>
          </p:nvSpPr>
          <p:spPr>
            <a:xfrm>
              <a:off x="3259091" y="3271101"/>
              <a:ext cx="402070" cy="4020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b="1"/>
            </a:p>
          </p:txBody>
        </p:sp>
      </p:grpSp>
      <p:grpSp>
        <p:nvGrpSpPr>
          <p:cNvPr id="26" name="Group 25"/>
          <p:cNvGrpSpPr/>
          <p:nvPr/>
        </p:nvGrpSpPr>
        <p:grpSpPr>
          <a:xfrm>
            <a:off x="6875054" y="2076417"/>
            <a:ext cx="639584" cy="627350"/>
            <a:chOff x="3115817" y="3139126"/>
            <a:chExt cx="688618" cy="675447"/>
          </a:xfrm>
        </p:grpSpPr>
        <p:sp>
          <p:nvSpPr>
            <p:cNvPr id="27" name="Oval Callout 26"/>
            <p:cNvSpPr/>
            <p:nvPr/>
          </p:nvSpPr>
          <p:spPr>
            <a:xfrm>
              <a:off x="3115817" y="3139126"/>
              <a:ext cx="688618" cy="675447"/>
            </a:xfrm>
            <a:prstGeom prst="wedgeEllipseCallout">
              <a:avLst>
                <a:gd name="adj1" fmla="val -5527"/>
                <a:gd name="adj2" fmla="val 6737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solidFill>
                  <a:schemeClr val="tx1"/>
                </a:solidFill>
              </a:endParaRPr>
            </a:p>
          </p:txBody>
        </p:sp>
        <p:sp>
          <p:nvSpPr>
            <p:cNvPr id="28" name="Oval 27"/>
            <p:cNvSpPr/>
            <p:nvPr/>
          </p:nvSpPr>
          <p:spPr>
            <a:xfrm>
              <a:off x="3259091" y="3271101"/>
              <a:ext cx="402070" cy="4020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solidFill>
                  <a:schemeClr val="tx1"/>
                </a:solidFill>
              </a:endParaRPr>
            </a:p>
          </p:txBody>
        </p:sp>
      </p:grpSp>
      <p:grpSp>
        <p:nvGrpSpPr>
          <p:cNvPr id="29" name="Group 28"/>
          <p:cNvGrpSpPr/>
          <p:nvPr/>
        </p:nvGrpSpPr>
        <p:grpSpPr>
          <a:xfrm>
            <a:off x="7928557" y="2362934"/>
            <a:ext cx="639584" cy="627350"/>
            <a:chOff x="3115817" y="3139126"/>
            <a:chExt cx="688618" cy="675447"/>
          </a:xfrm>
        </p:grpSpPr>
        <p:sp>
          <p:nvSpPr>
            <p:cNvPr id="30" name="Oval Callout 29"/>
            <p:cNvSpPr/>
            <p:nvPr/>
          </p:nvSpPr>
          <p:spPr>
            <a:xfrm>
              <a:off x="3115817" y="3139126"/>
              <a:ext cx="688618" cy="675447"/>
            </a:xfrm>
            <a:prstGeom prst="wedgeEllipseCallout">
              <a:avLst>
                <a:gd name="adj1" fmla="val -5527"/>
                <a:gd name="adj2" fmla="val 6737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p>
          </p:txBody>
        </p:sp>
        <p:sp>
          <p:nvSpPr>
            <p:cNvPr id="31" name="Oval 30"/>
            <p:cNvSpPr/>
            <p:nvPr/>
          </p:nvSpPr>
          <p:spPr>
            <a:xfrm>
              <a:off x="3259091" y="3271101"/>
              <a:ext cx="402070" cy="4020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p>
          </p:txBody>
        </p:sp>
      </p:grpSp>
      <p:sp>
        <p:nvSpPr>
          <p:cNvPr id="32" name="TextBox 31"/>
          <p:cNvSpPr txBox="1"/>
          <p:nvPr/>
        </p:nvSpPr>
        <p:spPr>
          <a:xfrm>
            <a:off x="3802764" y="2978646"/>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8%</a:t>
            </a:r>
          </a:p>
        </p:txBody>
      </p:sp>
      <p:sp>
        <p:nvSpPr>
          <p:cNvPr id="33" name="TextBox 32"/>
          <p:cNvSpPr txBox="1"/>
          <p:nvPr/>
        </p:nvSpPr>
        <p:spPr>
          <a:xfrm>
            <a:off x="4829723" y="2329906"/>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13%</a:t>
            </a:r>
          </a:p>
        </p:txBody>
      </p:sp>
      <p:sp>
        <p:nvSpPr>
          <p:cNvPr id="34" name="TextBox 33"/>
          <p:cNvSpPr txBox="1"/>
          <p:nvPr/>
        </p:nvSpPr>
        <p:spPr>
          <a:xfrm>
            <a:off x="5888115" y="1861513"/>
            <a:ext cx="479991" cy="231923"/>
          </a:xfrm>
          <a:prstGeom prst="rect">
            <a:avLst/>
          </a:prstGeom>
          <a:noFill/>
        </p:spPr>
        <p:txBody>
          <a:bodyPr wrap="square" rtlCol="0">
            <a:spAutoFit/>
          </a:bodyPr>
          <a:lstStyle/>
          <a:p>
            <a:pPr algn="ctr"/>
            <a:r>
              <a:rPr lang="en-US" sz="907" b="1" dirty="0">
                <a:solidFill>
                  <a:schemeClr val="accent2"/>
                </a:solidFill>
                <a:ea typeface="Montserrat" charset="0"/>
                <a:cs typeface="Montserrat" charset="0"/>
              </a:rPr>
              <a:t>30%</a:t>
            </a:r>
          </a:p>
        </p:txBody>
      </p:sp>
      <p:sp>
        <p:nvSpPr>
          <p:cNvPr id="35" name="TextBox 34"/>
          <p:cNvSpPr txBox="1"/>
          <p:nvPr/>
        </p:nvSpPr>
        <p:spPr>
          <a:xfrm>
            <a:off x="6964114" y="2268554"/>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21%</a:t>
            </a:r>
          </a:p>
        </p:txBody>
      </p:sp>
      <p:sp>
        <p:nvSpPr>
          <p:cNvPr id="36" name="TextBox 35"/>
          <p:cNvSpPr txBox="1"/>
          <p:nvPr/>
        </p:nvSpPr>
        <p:spPr>
          <a:xfrm>
            <a:off x="8023354" y="2553723"/>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11%</a:t>
            </a:r>
          </a:p>
        </p:txBody>
      </p:sp>
      <p:cxnSp>
        <p:nvCxnSpPr>
          <p:cNvPr id="42" name="Straight Connector 41"/>
          <p:cNvCxnSpPr/>
          <p:nvPr/>
        </p:nvCxnSpPr>
        <p:spPr>
          <a:xfrm>
            <a:off x="3943338" y="4236649"/>
            <a:ext cx="0" cy="262484"/>
          </a:xfrm>
          <a:prstGeom prst="line">
            <a:avLst/>
          </a:prstGeom>
          <a:ln w="12700">
            <a:solidFill>
              <a:schemeClr val="tx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3160253" y="4608363"/>
            <a:ext cx="1381731" cy="220573"/>
          </a:xfrm>
          <a:prstGeom prst="rect">
            <a:avLst/>
          </a:prstGeom>
          <a:noFill/>
        </p:spPr>
        <p:txBody>
          <a:bodyPr wrap="square" numCol="1" spcCol="457200" rtlCol="0">
            <a:spAutoFit/>
          </a:bodyPr>
          <a:lstStyle/>
          <a:p>
            <a:pPr algn="ctr">
              <a:lnSpc>
                <a:spcPts val="954"/>
              </a:lnSpc>
            </a:pPr>
            <a:r>
              <a:rPr lang="en-US" altLang="zh-CN" sz="907" dirty="0">
                <a:solidFill>
                  <a:srgbClr val="63666A"/>
                </a:solidFill>
                <a:ea typeface="Montserrat" charset="0"/>
                <a:cs typeface="Montserrat" charset="0"/>
              </a:rPr>
              <a:t>2014</a:t>
            </a:r>
            <a:endParaRPr lang="en-US" sz="907" dirty="0">
              <a:solidFill>
                <a:srgbClr val="63666A"/>
              </a:solidFill>
              <a:ea typeface="Montserrat" charset="0"/>
              <a:cs typeface="Montserrat" charset="0"/>
            </a:endParaRPr>
          </a:p>
        </p:txBody>
      </p:sp>
      <p:cxnSp>
        <p:nvCxnSpPr>
          <p:cNvPr id="47" name="Straight Connector 46"/>
          <p:cNvCxnSpPr/>
          <p:nvPr/>
        </p:nvCxnSpPr>
        <p:spPr>
          <a:xfrm>
            <a:off x="5008274" y="4236649"/>
            <a:ext cx="0" cy="262484"/>
          </a:xfrm>
          <a:prstGeom prst="line">
            <a:avLst/>
          </a:prstGeom>
          <a:ln w="12700">
            <a:solidFill>
              <a:schemeClr val="tx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095710" y="4236649"/>
            <a:ext cx="0" cy="262484"/>
          </a:xfrm>
          <a:prstGeom prst="line">
            <a:avLst/>
          </a:prstGeom>
          <a:ln w="12700">
            <a:solidFill>
              <a:schemeClr val="tx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7168146" y="4236649"/>
            <a:ext cx="0" cy="262484"/>
          </a:xfrm>
          <a:prstGeom prst="line">
            <a:avLst/>
          </a:prstGeom>
          <a:ln w="12700">
            <a:solidFill>
              <a:schemeClr val="tx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8240581" y="4236649"/>
            <a:ext cx="0" cy="262484"/>
          </a:xfrm>
          <a:prstGeom prst="line">
            <a:avLst/>
          </a:prstGeom>
          <a:ln w="12700">
            <a:solidFill>
              <a:schemeClr val="tx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2050760" y="5090477"/>
            <a:ext cx="7898941" cy="915635"/>
          </a:xfrm>
          <a:prstGeom prst="rect">
            <a:avLst/>
          </a:prstGeom>
          <a:noFill/>
        </p:spPr>
        <p:txBody>
          <a:bodyPr wrap="square" numCol="1" spcCol="457200" rtlCol="0">
            <a:spAutoFit/>
          </a:bodyPr>
          <a:lstStyle/>
          <a:p>
            <a:r>
              <a:rPr lang="en-US" sz="1050" dirty="0"/>
              <a:t>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a:t>
            </a:r>
          </a:p>
          <a:p>
            <a:endParaRPr lang="en-US" sz="1050" dirty="0"/>
          </a:p>
        </p:txBody>
      </p:sp>
      <p:cxnSp>
        <p:nvCxnSpPr>
          <p:cNvPr id="43" name="直接连接符 42"/>
          <p:cNvCxnSpPr/>
          <p:nvPr/>
        </p:nvCxnSpPr>
        <p:spPr>
          <a:xfrm>
            <a:off x="2527450" y="1636012"/>
            <a:ext cx="16809" cy="2954038"/>
          </a:xfrm>
          <a:prstGeom prst="line">
            <a:avLst/>
          </a:prstGeom>
          <a:ln>
            <a:solidFill>
              <a:srgbClr val="97999B"/>
            </a:solidFill>
            <a:headEnd type="triangle"/>
          </a:ln>
        </p:spPr>
        <p:style>
          <a:lnRef idx="1">
            <a:schemeClr val="accent1"/>
          </a:lnRef>
          <a:fillRef idx="0">
            <a:schemeClr val="accent1"/>
          </a:fillRef>
          <a:effectRef idx="0">
            <a:schemeClr val="accent1"/>
          </a:effectRef>
          <a:fontRef idx="minor">
            <a:schemeClr val="tx1"/>
          </a:fontRef>
        </p:style>
      </p:cxnSp>
      <p:cxnSp>
        <p:nvCxnSpPr>
          <p:cNvPr id="56" name="直接连接符 55"/>
          <p:cNvCxnSpPr/>
          <p:nvPr/>
        </p:nvCxnSpPr>
        <p:spPr>
          <a:xfrm flipV="1">
            <a:off x="2542716" y="4552148"/>
            <a:ext cx="7201622" cy="40981"/>
          </a:xfrm>
          <a:prstGeom prst="line">
            <a:avLst/>
          </a:prstGeom>
          <a:ln>
            <a:solidFill>
              <a:srgbClr val="97999B"/>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43"/>
          <p:cNvSpPr txBox="1"/>
          <p:nvPr/>
        </p:nvSpPr>
        <p:spPr>
          <a:xfrm>
            <a:off x="4330808" y="4608363"/>
            <a:ext cx="1381731" cy="220573"/>
          </a:xfrm>
          <a:prstGeom prst="rect">
            <a:avLst/>
          </a:prstGeom>
          <a:noFill/>
        </p:spPr>
        <p:txBody>
          <a:bodyPr wrap="square" numCol="1" spcCol="457200" rtlCol="0">
            <a:spAutoFit/>
          </a:bodyPr>
          <a:lstStyle/>
          <a:p>
            <a:pPr algn="ctr">
              <a:lnSpc>
                <a:spcPts val="954"/>
              </a:lnSpc>
            </a:pPr>
            <a:r>
              <a:rPr lang="en-US" altLang="zh-CN" sz="907" dirty="0">
                <a:solidFill>
                  <a:srgbClr val="63666A"/>
                </a:solidFill>
                <a:ea typeface="Montserrat" charset="0"/>
                <a:cs typeface="Montserrat" charset="0"/>
              </a:rPr>
              <a:t>2015</a:t>
            </a:r>
            <a:endParaRPr lang="en-US" sz="907" dirty="0">
              <a:solidFill>
                <a:srgbClr val="63666A"/>
              </a:solidFill>
              <a:ea typeface="Montserrat" charset="0"/>
              <a:cs typeface="Montserrat" charset="0"/>
            </a:endParaRPr>
          </a:p>
        </p:txBody>
      </p:sp>
      <p:sp>
        <p:nvSpPr>
          <p:cNvPr id="60" name="TextBox 43"/>
          <p:cNvSpPr txBox="1"/>
          <p:nvPr/>
        </p:nvSpPr>
        <p:spPr>
          <a:xfrm>
            <a:off x="5405855" y="4608363"/>
            <a:ext cx="1381731" cy="220573"/>
          </a:xfrm>
          <a:prstGeom prst="rect">
            <a:avLst/>
          </a:prstGeom>
          <a:noFill/>
        </p:spPr>
        <p:txBody>
          <a:bodyPr wrap="square" numCol="1" spcCol="457200" rtlCol="0">
            <a:spAutoFit/>
          </a:bodyPr>
          <a:lstStyle/>
          <a:p>
            <a:pPr algn="ctr">
              <a:lnSpc>
                <a:spcPts val="954"/>
              </a:lnSpc>
            </a:pPr>
            <a:r>
              <a:rPr lang="en-US" altLang="zh-CN" sz="907" dirty="0">
                <a:solidFill>
                  <a:srgbClr val="63666A"/>
                </a:solidFill>
                <a:ea typeface="Montserrat" charset="0"/>
                <a:cs typeface="Montserrat" charset="0"/>
              </a:rPr>
              <a:t>2016</a:t>
            </a:r>
            <a:endParaRPr lang="en-US" sz="907" dirty="0">
              <a:solidFill>
                <a:srgbClr val="63666A"/>
              </a:solidFill>
              <a:ea typeface="Montserrat" charset="0"/>
              <a:cs typeface="Montserrat" charset="0"/>
            </a:endParaRPr>
          </a:p>
        </p:txBody>
      </p:sp>
      <p:sp>
        <p:nvSpPr>
          <p:cNvPr id="61" name="TextBox 43"/>
          <p:cNvSpPr txBox="1"/>
          <p:nvPr/>
        </p:nvSpPr>
        <p:spPr>
          <a:xfrm>
            <a:off x="6518059" y="4608363"/>
            <a:ext cx="1381731" cy="220573"/>
          </a:xfrm>
          <a:prstGeom prst="rect">
            <a:avLst/>
          </a:prstGeom>
          <a:noFill/>
        </p:spPr>
        <p:txBody>
          <a:bodyPr wrap="square" numCol="1" spcCol="457200" rtlCol="0">
            <a:spAutoFit/>
          </a:bodyPr>
          <a:lstStyle/>
          <a:p>
            <a:pPr algn="ctr">
              <a:lnSpc>
                <a:spcPts val="954"/>
              </a:lnSpc>
            </a:pPr>
            <a:r>
              <a:rPr lang="en-US" altLang="zh-CN" sz="907" dirty="0">
                <a:solidFill>
                  <a:srgbClr val="63666A"/>
                </a:solidFill>
                <a:ea typeface="Montserrat" charset="0"/>
                <a:cs typeface="Montserrat" charset="0"/>
              </a:rPr>
              <a:t>2017</a:t>
            </a:r>
            <a:endParaRPr lang="en-US" sz="907" dirty="0">
              <a:solidFill>
                <a:srgbClr val="63666A"/>
              </a:solidFill>
              <a:ea typeface="Montserrat" charset="0"/>
              <a:cs typeface="Montserrat" charset="0"/>
            </a:endParaRPr>
          </a:p>
        </p:txBody>
      </p:sp>
      <p:sp>
        <p:nvSpPr>
          <p:cNvPr id="62" name="TextBox 43"/>
          <p:cNvSpPr txBox="1"/>
          <p:nvPr/>
        </p:nvSpPr>
        <p:spPr>
          <a:xfrm>
            <a:off x="7635616" y="4608363"/>
            <a:ext cx="1381731" cy="220573"/>
          </a:xfrm>
          <a:prstGeom prst="rect">
            <a:avLst/>
          </a:prstGeom>
          <a:noFill/>
        </p:spPr>
        <p:txBody>
          <a:bodyPr wrap="square" numCol="1" spcCol="457200" rtlCol="0">
            <a:spAutoFit/>
          </a:bodyPr>
          <a:lstStyle/>
          <a:p>
            <a:pPr algn="ctr">
              <a:lnSpc>
                <a:spcPts val="954"/>
              </a:lnSpc>
            </a:pPr>
            <a:r>
              <a:rPr lang="en-US" altLang="zh-CN" sz="907" dirty="0">
                <a:solidFill>
                  <a:srgbClr val="63666A"/>
                </a:solidFill>
                <a:ea typeface="Montserrat" charset="0"/>
                <a:cs typeface="Montserrat" charset="0"/>
              </a:rPr>
              <a:t>2018</a:t>
            </a:r>
            <a:endParaRPr lang="en-US" sz="907" dirty="0">
              <a:solidFill>
                <a:srgbClr val="63666A"/>
              </a:solidFill>
              <a:ea typeface="Montserrat" charset="0"/>
              <a:cs typeface="Montserrat" charset="0"/>
            </a:endParaRPr>
          </a:p>
        </p:txBody>
      </p:sp>
      <p:cxnSp>
        <p:nvCxnSpPr>
          <p:cNvPr id="64" name="直接连接符 63"/>
          <p:cNvCxnSpPr/>
          <p:nvPr/>
        </p:nvCxnSpPr>
        <p:spPr>
          <a:xfrm flipH="1" flipV="1">
            <a:off x="2527449" y="2488582"/>
            <a:ext cx="73736" cy="1152"/>
          </a:xfrm>
          <a:prstGeom prst="line">
            <a:avLst/>
          </a:prstGeom>
          <a:ln>
            <a:solidFill>
              <a:srgbClr val="97999B"/>
            </a:solidFill>
          </a:ln>
        </p:spPr>
        <p:style>
          <a:lnRef idx="1">
            <a:schemeClr val="accent1"/>
          </a:lnRef>
          <a:fillRef idx="0">
            <a:schemeClr val="accent1"/>
          </a:fillRef>
          <a:effectRef idx="0">
            <a:schemeClr val="accent1"/>
          </a:effectRef>
          <a:fontRef idx="minor">
            <a:schemeClr val="tx1"/>
          </a:fontRef>
        </p:style>
      </p:cxnSp>
      <p:cxnSp>
        <p:nvCxnSpPr>
          <p:cNvPr id="70" name="直接连接符 69"/>
          <p:cNvCxnSpPr/>
          <p:nvPr/>
        </p:nvCxnSpPr>
        <p:spPr>
          <a:xfrm flipH="1" flipV="1">
            <a:off x="2532058" y="3184463"/>
            <a:ext cx="73736" cy="1152"/>
          </a:xfrm>
          <a:prstGeom prst="line">
            <a:avLst/>
          </a:prstGeom>
          <a:ln>
            <a:solidFill>
              <a:srgbClr val="97999B"/>
            </a:solidFill>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flipH="1" flipV="1">
            <a:off x="2536666" y="3894169"/>
            <a:ext cx="73736" cy="1152"/>
          </a:xfrm>
          <a:prstGeom prst="line">
            <a:avLst/>
          </a:prstGeom>
          <a:ln>
            <a:solidFill>
              <a:srgbClr val="97999B"/>
            </a:solidFill>
          </a:ln>
        </p:spPr>
        <p:style>
          <a:lnRef idx="1">
            <a:schemeClr val="accent1"/>
          </a:lnRef>
          <a:fillRef idx="0">
            <a:schemeClr val="accent1"/>
          </a:fillRef>
          <a:effectRef idx="0">
            <a:schemeClr val="accent1"/>
          </a:effectRef>
          <a:fontRef idx="minor">
            <a:schemeClr val="tx1"/>
          </a:fontRef>
        </p:style>
      </p:cxnSp>
      <p:sp>
        <p:nvSpPr>
          <p:cNvPr id="72" name="TextBox 31"/>
          <p:cNvSpPr txBox="1"/>
          <p:nvPr/>
        </p:nvSpPr>
        <p:spPr>
          <a:xfrm>
            <a:off x="2127120" y="3780522"/>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10%</a:t>
            </a:r>
          </a:p>
        </p:txBody>
      </p:sp>
      <p:sp>
        <p:nvSpPr>
          <p:cNvPr id="73" name="TextBox 31"/>
          <p:cNvSpPr txBox="1"/>
          <p:nvPr/>
        </p:nvSpPr>
        <p:spPr>
          <a:xfrm>
            <a:off x="2127120" y="3072779"/>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20%</a:t>
            </a:r>
          </a:p>
        </p:txBody>
      </p:sp>
      <p:sp>
        <p:nvSpPr>
          <p:cNvPr id="74" name="TextBox 31"/>
          <p:cNvSpPr txBox="1"/>
          <p:nvPr/>
        </p:nvSpPr>
        <p:spPr>
          <a:xfrm>
            <a:off x="2127120" y="2372290"/>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30%</a:t>
            </a:r>
          </a:p>
        </p:txBody>
      </p:sp>
    </p:spTree>
    <p:custDataLst>
      <p:tags r:id="rId1"/>
    </p:custDataLst>
    <p:extLst>
      <p:ext uri="{BB962C8B-B14F-4D97-AF65-F5344CB8AC3E}">
        <p14:creationId xmlns:p14="http://schemas.microsoft.com/office/powerpoint/2010/main" val="112962001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wipe(down)">
                                      <p:cBhvr>
                                        <p:cTn id="10" dur="500"/>
                                        <p:tgtEl>
                                          <p:spTgt spid="32"/>
                                        </p:tgtEl>
                                      </p:cBhvr>
                                    </p:animEffect>
                                  </p:childTnLst>
                                </p:cTn>
                              </p:par>
                              <p:par>
                                <p:cTn id="11" presetID="22" presetClass="entr" presetSubtype="4"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wipe(down)">
                                      <p:cBhvr>
                                        <p:cTn id="13" dur="500"/>
                                        <p:tgtEl>
                                          <p:spTgt spid="19"/>
                                        </p:tgtEl>
                                      </p:cBhvr>
                                    </p:animEffect>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grpId="0" nodeType="clickEffect">
                                  <p:stCondLst>
                                    <p:cond delay="0"/>
                                  </p:stCondLst>
                                  <p:childTnLst>
                                    <p:set>
                                      <p:cBhvr>
                                        <p:cTn id="17" dur="1" fill="hold">
                                          <p:stCondLst>
                                            <p:cond delay="0"/>
                                          </p:stCondLst>
                                        </p:cTn>
                                        <p:tgtEl>
                                          <p:spTgt spid="33"/>
                                        </p:tgtEl>
                                        <p:attrNameLst>
                                          <p:attrName>style.visibility</p:attrName>
                                        </p:attrNameLst>
                                      </p:cBhvr>
                                      <p:to>
                                        <p:strVal val="visible"/>
                                      </p:to>
                                    </p:set>
                                    <p:anim calcmode="lin" valueType="num">
                                      <p:cBhvr>
                                        <p:cTn id="18" dur="500" fill="hold"/>
                                        <p:tgtEl>
                                          <p:spTgt spid="33"/>
                                        </p:tgtEl>
                                        <p:attrNameLst>
                                          <p:attrName>ppt_w</p:attrName>
                                        </p:attrNameLst>
                                      </p:cBhvr>
                                      <p:tavLst>
                                        <p:tav tm="0">
                                          <p:val>
                                            <p:fltVal val="0"/>
                                          </p:val>
                                        </p:tav>
                                        <p:tav tm="100000">
                                          <p:val>
                                            <p:strVal val="#ppt_w"/>
                                          </p:val>
                                        </p:tav>
                                      </p:tavLst>
                                    </p:anim>
                                    <p:anim calcmode="lin" valueType="num">
                                      <p:cBhvr>
                                        <p:cTn id="19" dur="500" fill="hold"/>
                                        <p:tgtEl>
                                          <p:spTgt spid="33"/>
                                        </p:tgtEl>
                                        <p:attrNameLst>
                                          <p:attrName>ppt_h</p:attrName>
                                        </p:attrNameLst>
                                      </p:cBhvr>
                                      <p:tavLst>
                                        <p:tav tm="0">
                                          <p:val>
                                            <p:fltVal val="0"/>
                                          </p:val>
                                        </p:tav>
                                        <p:tav tm="100000">
                                          <p:val>
                                            <p:strVal val="#ppt_h"/>
                                          </p:val>
                                        </p:tav>
                                      </p:tavLst>
                                    </p:anim>
                                    <p:animEffect transition="in" filter="fade">
                                      <p:cBhvr>
                                        <p:cTn id="20" dur="500"/>
                                        <p:tgtEl>
                                          <p:spTgt spid="33"/>
                                        </p:tgtEl>
                                      </p:cBhvr>
                                    </p:animEffect>
                                  </p:childTnLst>
                                </p:cTn>
                              </p:par>
                              <p:par>
                                <p:cTn id="21" presetID="53" presetClass="entr" presetSubtype="16" fill="hold" nodeType="withEffect">
                                  <p:stCondLst>
                                    <p:cond delay="0"/>
                                  </p:stCondLst>
                                  <p:childTnLst>
                                    <p:set>
                                      <p:cBhvr>
                                        <p:cTn id="22" dur="1" fill="hold">
                                          <p:stCondLst>
                                            <p:cond delay="0"/>
                                          </p:stCondLst>
                                        </p:cTn>
                                        <p:tgtEl>
                                          <p:spTgt spid="20"/>
                                        </p:tgtEl>
                                        <p:attrNameLst>
                                          <p:attrName>style.visibility</p:attrName>
                                        </p:attrNameLst>
                                      </p:cBhvr>
                                      <p:to>
                                        <p:strVal val="visible"/>
                                      </p:to>
                                    </p:set>
                                    <p:anim calcmode="lin" valueType="num">
                                      <p:cBhvr>
                                        <p:cTn id="23" dur="500" fill="hold"/>
                                        <p:tgtEl>
                                          <p:spTgt spid="20"/>
                                        </p:tgtEl>
                                        <p:attrNameLst>
                                          <p:attrName>ppt_w</p:attrName>
                                        </p:attrNameLst>
                                      </p:cBhvr>
                                      <p:tavLst>
                                        <p:tav tm="0">
                                          <p:val>
                                            <p:fltVal val="0"/>
                                          </p:val>
                                        </p:tav>
                                        <p:tav tm="100000">
                                          <p:val>
                                            <p:strVal val="#ppt_w"/>
                                          </p:val>
                                        </p:tav>
                                      </p:tavLst>
                                    </p:anim>
                                    <p:anim calcmode="lin" valueType="num">
                                      <p:cBhvr>
                                        <p:cTn id="24" dur="500" fill="hold"/>
                                        <p:tgtEl>
                                          <p:spTgt spid="20"/>
                                        </p:tgtEl>
                                        <p:attrNameLst>
                                          <p:attrName>ppt_h</p:attrName>
                                        </p:attrNameLst>
                                      </p:cBhvr>
                                      <p:tavLst>
                                        <p:tav tm="0">
                                          <p:val>
                                            <p:fltVal val="0"/>
                                          </p:val>
                                        </p:tav>
                                        <p:tav tm="100000">
                                          <p:val>
                                            <p:strVal val="#ppt_h"/>
                                          </p:val>
                                        </p:tav>
                                      </p:tavLst>
                                    </p:anim>
                                    <p:animEffect transition="in" filter="fade">
                                      <p:cBhvr>
                                        <p:cTn id="25" dur="500"/>
                                        <p:tgtEl>
                                          <p:spTgt spid="20"/>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3"/>
                                        </p:tgtEl>
                                        <p:attrNameLst>
                                          <p:attrName>style.visibility</p:attrName>
                                        </p:attrNameLst>
                                      </p:cBhvr>
                                      <p:to>
                                        <p:strVal val="visible"/>
                                      </p:to>
                                    </p:set>
                                    <p:anim calcmode="lin" valueType="num">
                                      <p:cBhvr>
                                        <p:cTn id="28" dur="500" fill="hold"/>
                                        <p:tgtEl>
                                          <p:spTgt spid="3"/>
                                        </p:tgtEl>
                                        <p:attrNameLst>
                                          <p:attrName>ppt_w</p:attrName>
                                        </p:attrNameLst>
                                      </p:cBhvr>
                                      <p:tavLst>
                                        <p:tav tm="0">
                                          <p:val>
                                            <p:fltVal val="0"/>
                                          </p:val>
                                        </p:tav>
                                        <p:tav tm="100000">
                                          <p:val>
                                            <p:strVal val="#ppt_w"/>
                                          </p:val>
                                        </p:tav>
                                      </p:tavLst>
                                    </p:anim>
                                    <p:anim calcmode="lin" valueType="num">
                                      <p:cBhvr>
                                        <p:cTn id="29" dur="500" fill="hold"/>
                                        <p:tgtEl>
                                          <p:spTgt spid="3"/>
                                        </p:tgtEl>
                                        <p:attrNameLst>
                                          <p:attrName>ppt_h</p:attrName>
                                        </p:attrNameLst>
                                      </p:cBhvr>
                                      <p:tavLst>
                                        <p:tav tm="0">
                                          <p:val>
                                            <p:fltVal val="0"/>
                                          </p:val>
                                        </p:tav>
                                        <p:tav tm="100000">
                                          <p:val>
                                            <p:strVal val="#ppt_h"/>
                                          </p:val>
                                        </p:tav>
                                      </p:tavLst>
                                    </p:anim>
                                    <p:animEffect transition="in" filter="fade">
                                      <p:cBhvr>
                                        <p:cTn id="30" dur="500"/>
                                        <p:tgtEl>
                                          <p:spTgt spid="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par>
                                <p:cTn id="34" presetID="10" presetClass="entr" presetSubtype="0" fill="hold" nodeType="with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childTnLst>
                    </p:cTn>
                  </p:par>
                  <p:par>
                    <p:cTn id="40" fill="hold">
                      <p:stCondLst>
                        <p:cond delay="indefinite"/>
                      </p:stCondLst>
                      <p:childTnLst>
                        <p:par>
                          <p:cTn id="41" fill="hold">
                            <p:stCondLst>
                              <p:cond delay="0"/>
                            </p:stCondLst>
                            <p:childTnLst>
                              <p:par>
                                <p:cTn id="42" presetID="12" presetClass="entr" presetSubtype="4" fill="hold" grpId="0" nodeType="clickEffect">
                                  <p:stCondLst>
                                    <p:cond delay="0"/>
                                  </p:stCondLst>
                                  <p:childTnLst>
                                    <p:set>
                                      <p:cBhvr>
                                        <p:cTn id="43" dur="1" fill="hold">
                                          <p:stCondLst>
                                            <p:cond delay="0"/>
                                          </p:stCondLst>
                                        </p:cTn>
                                        <p:tgtEl>
                                          <p:spTgt spid="35"/>
                                        </p:tgtEl>
                                        <p:attrNameLst>
                                          <p:attrName>style.visibility</p:attrName>
                                        </p:attrNameLst>
                                      </p:cBhvr>
                                      <p:to>
                                        <p:strVal val="visible"/>
                                      </p:to>
                                    </p:set>
                                    <p:anim calcmode="lin" valueType="num">
                                      <p:cBhvr additive="base">
                                        <p:cTn id="44" dur="500"/>
                                        <p:tgtEl>
                                          <p:spTgt spid="35"/>
                                        </p:tgtEl>
                                        <p:attrNameLst>
                                          <p:attrName>ppt_y</p:attrName>
                                        </p:attrNameLst>
                                      </p:cBhvr>
                                      <p:tavLst>
                                        <p:tav tm="0">
                                          <p:val>
                                            <p:strVal val="#ppt_y+#ppt_h*1.125000"/>
                                          </p:val>
                                        </p:tav>
                                        <p:tav tm="100000">
                                          <p:val>
                                            <p:strVal val="#ppt_y"/>
                                          </p:val>
                                        </p:tav>
                                      </p:tavLst>
                                    </p:anim>
                                    <p:animEffect transition="in" filter="wipe(up)">
                                      <p:cBhvr>
                                        <p:cTn id="45" dur="500"/>
                                        <p:tgtEl>
                                          <p:spTgt spid="35"/>
                                        </p:tgtEl>
                                      </p:cBhvr>
                                    </p:animEffect>
                                  </p:childTnLst>
                                </p:cTn>
                              </p:par>
                              <p:par>
                                <p:cTn id="46" presetID="12" presetClass="entr" presetSubtype="4" fill="hold" nodeType="withEffect">
                                  <p:stCondLst>
                                    <p:cond delay="0"/>
                                  </p:stCondLst>
                                  <p:childTnLst>
                                    <p:set>
                                      <p:cBhvr>
                                        <p:cTn id="47" dur="1" fill="hold">
                                          <p:stCondLst>
                                            <p:cond delay="0"/>
                                          </p:stCondLst>
                                        </p:cTn>
                                        <p:tgtEl>
                                          <p:spTgt spid="26"/>
                                        </p:tgtEl>
                                        <p:attrNameLst>
                                          <p:attrName>style.visibility</p:attrName>
                                        </p:attrNameLst>
                                      </p:cBhvr>
                                      <p:to>
                                        <p:strVal val="visible"/>
                                      </p:to>
                                    </p:set>
                                    <p:anim calcmode="lin" valueType="num">
                                      <p:cBhvr additive="base">
                                        <p:cTn id="48" dur="500"/>
                                        <p:tgtEl>
                                          <p:spTgt spid="26"/>
                                        </p:tgtEl>
                                        <p:attrNameLst>
                                          <p:attrName>ppt_y</p:attrName>
                                        </p:attrNameLst>
                                      </p:cBhvr>
                                      <p:tavLst>
                                        <p:tav tm="0">
                                          <p:val>
                                            <p:strVal val="#ppt_y+#ppt_h*1.125000"/>
                                          </p:val>
                                        </p:tav>
                                        <p:tav tm="100000">
                                          <p:val>
                                            <p:strVal val="#ppt_y"/>
                                          </p:val>
                                        </p:tav>
                                      </p:tavLst>
                                    </p:anim>
                                    <p:animEffect transition="in" filter="wipe(up)">
                                      <p:cBhvr>
                                        <p:cTn id="49" dur="500"/>
                                        <p:tgtEl>
                                          <p:spTgt spid="26"/>
                                        </p:tgtEl>
                                      </p:cBhvr>
                                    </p:animEffect>
                                  </p:childTnLst>
                                </p:cTn>
                              </p:par>
                              <p:par>
                                <p:cTn id="50" presetID="12" presetClass="entr" presetSubtype="4" fill="hold" grpId="0" nodeType="withEffect">
                                  <p:stCondLst>
                                    <p:cond delay="0"/>
                                  </p:stCondLst>
                                  <p:childTnLst>
                                    <p:set>
                                      <p:cBhvr>
                                        <p:cTn id="51" dur="1" fill="hold">
                                          <p:stCondLst>
                                            <p:cond delay="0"/>
                                          </p:stCondLst>
                                        </p:cTn>
                                        <p:tgtEl>
                                          <p:spTgt spid="5"/>
                                        </p:tgtEl>
                                        <p:attrNameLst>
                                          <p:attrName>style.visibility</p:attrName>
                                        </p:attrNameLst>
                                      </p:cBhvr>
                                      <p:to>
                                        <p:strVal val="visible"/>
                                      </p:to>
                                    </p:set>
                                    <p:anim calcmode="lin" valueType="num">
                                      <p:cBhvr additive="base">
                                        <p:cTn id="52" dur="500"/>
                                        <p:tgtEl>
                                          <p:spTgt spid="5"/>
                                        </p:tgtEl>
                                        <p:attrNameLst>
                                          <p:attrName>ppt_y</p:attrName>
                                        </p:attrNameLst>
                                      </p:cBhvr>
                                      <p:tavLst>
                                        <p:tav tm="0">
                                          <p:val>
                                            <p:strVal val="#ppt_y+#ppt_h*1.125000"/>
                                          </p:val>
                                        </p:tav>
                                        <p:tav tm="100000">
                                          <p:val>
                                            <p:strVal val="#ppt_y"/>
                                          </p:val>
                                        </p:tav>
                                      </p:tavLst>
                                    </p:anim>
                                    <p:animEffect transition="in" filter="wipe(up)">
                                      <p:cBhvr>
                                        <p:cTn id="53" dur="500"/>
                                        <p:tgtEl>
                                          <p:spTgt spid="5"/>
                                        </p:tgtEl>
                                      </p:cBhvr>
                                    </p:animEffect>
                                  </p:childTnLst>
                                </p:cTn>
                              </p:par>
                              <p:par>
                                <p:cTn id="54" presetID="53" presetClass="entr" presetSubtype="16" fill="hold" grpId="0" nodeType="withEffect">
                                  <p:stCondLst>
                                    <p:cond delay="0"/>
                                  </p:stCondLst>
                                  <p:childTnLst>
                                    <p:set>
                                      <p:cBhvr>
                                        <p:cTn id="55" dur="1" fill="hold">
                                          <p:stCondLst>
                                            <p:cond delay="0"/>
                                          </p:stCondLst>
                                        </p:cTn>
                                        <p:tgtEl>
                                          <p:spTgt spid="7"/>
                                        </p:tgtEl>
                                        <p:attrNameLst>
                                          <p:attrName>style.visibility</p:attrName>
                                        </p:attrNameLst>
                                      </p:cBhvr>
                                      <p:to>
                                        <p:strVal val="visible"/>
                                      </p:to>
                                    </p:set>
                                    <p:anim calcmode="lin" valueType="num">
                                      <p:cBhvr>
                                        <p:cTn id="56" dur="500" fill="hold"/>
                                        <p:tgtEl>
                                          <p:spTgt spid="7"/>
                                        </p:tgtEl>
                                        <p:attrNameLst>
                                          <p:attrName>ppt_w</p:attrName>
                                        </p:attrNameLst>
                                      </p:cBhvr>
                                      <p:tavLst>
                                        <p:tav tm="0">
                                          <p:val>
                                            <p:fltVal val="0"/>
                                          </p:val>
                                        </p:tav>
                                        <p:tav tm="100000">
                                          <p:val>
                                            <p:strVal val="#ppt_w"/>
                                          </p:val>
                                        </p:tav>
                                      </p:tavLst>
                                    </p:anim>
                                    <p:anim calcmode="lin" valueType="num">
                                      <p:cBhvr>
                                        <p:cTn id="57" dur="500" fill="hold"/>
                                        <p:tgtEl>
                                          <p:spTgt spid="7"/>
                                        </p:tgtEl>
                                        <p:attrNameLst>
                                          <p:attrName>ppt_h</p:attrName>
                                        </p:attrNameLst>
                                      </p:cBhvr>
                                      <p:tavLst>
                                        <p:tav tm="0">
                                          <p:val>
                                            <p:fltVal val="0"/>
                                          </p:val>
                                        </p:tav>
                                        <p:tav tm="100000">
                                          <p:val>
                                            <p:strVal val="#ppt_h"/>
                                          </p:val>
                                        </p:tav>
                                      </p:tavLst>
                                    </p:anim>
                                    <p:animEffect transition="in" filter="fade">
                                      <p:cBhvr>
                                        <p:cTn id="58" dur="500"/>
                                        <p:tgtEl>
                                          <p:spTgt spid="7"/>
                                        </p:tgtEl>
                                      </p:cBhvr>
                                    </p:animEffect>
                                  </p:childTnLst>
                                </p:cTn>
                              </p:par>
                              <p:par>
                                <p:cTn id="59" presetID="53" presetClass="entr" presetSubtype="16" fill="hold" grpId="0" nodeType="withEffect">
                                  <p:stCondLst>
                                    <p:cond delay="0"/>
                                  </p:stCondLst>
                                  <p:childTnLst>
                                    <p:set>
                                      <p:cBhvr>
                                        <p:cTn id="60" dur="1" fill="hold">
                                          <p:stCondLst>
                                            <p:cond delay="0"/>
                                          </p:stCondLst>
                                        </p:cTn>
                                        <p:tgtEl>
                                          <p:spTgt spid="36"/>
                                        </p:tgtEl>
                                        <p:attrNameLst>
                                          <p:attrName>style.visibility</p:attrName>
                                        </p:attrNameLst>
                                      </p:cBhvr>
                                      <p:to>
                                        <p:strVal val="visible"/>
                                      </p:to>
                                    </p:set>
                                    <p:anim calcmode="lin" valueType="num">
                                      <p:cBhvr>
                                        <p:cTn id="61" dur="500" fill="hold"/>
                                        <p:tgtEl>
                                          <p:spTgt spid="36"/>
                                        </p:tgtEl>
                                        <p:attrNameLst>
                                          <p:attrName>ppt_w</p:attrName>
                                        </p:attrNameLst>
                                      </p:cBhvr>
                                      <p:tavLst>
                                        <p:tav tm="0">
                                          <p:val>
                                            <p:fltVal val="0"/>
                                          </p:val>
                                        </p:tav>
                                        <p:tav tm="100000">
                                          <p:val>
                                            <p:strVal val="#ppt_w"/>
                                          </p:val>
                                        </p:tav>
                                      </p:tavLst>
                                    </p:anim>
                                    <p:anim calcmode="lin" valueType="num">
                                      <p:cBhvr>
                                        <p:cTn id="62" dur="500" fill="hold"/>
                                        <p:tgtEl>
                                          <p:spTgt spid="36"/>
                                        </p:tgtEl>
                                        <p:attrNameLst>
                                          <p:attrName>ppt_h</p:attrName>
                                        </p:attrNameLst>
                                      </p:cBhvr>
                                      <p:tavLst>
                                        <p:tav tm="0">
                                          <p:val>
                                            <p:fltVal val="0"/>
                                          </p:val>
                                        </p:tav>
                                        <p:tav tm="100000">
                                          <p:val>
                                            <p:strVal val="#ppt_h"/>
                                          </p:val>
                                        </p:tav>
                                      </p:tavLst>
                                    </p:anim>
                                    <p:animEffect transition="in" filter="fade">
                                      <p:cBhvr>
                                        <p:cTn id="63" dur="500"/>
                                        <p:tgtEl>
                                          <p:spTgt spid="36"/>
                                        </p:tgtEl>
                                      </p:cBhvr>
                                    </p:animEffect>
                                  </p:childTnLst>
                                </p:cTn>
                              </p:par>
                              <p:par>
                                <p:cTn id="64" presetID="53" presetClass="entr" presetSubtype="16" fill="hold" nodeType="withEffect">
                                  <p:stCondLst>
                                    <p:cond delay="0"/>
                                  </p:stCondLst>
                                  <p:childTnLst>
                                    <p:set>
                                      <p:cBhvr>
                                        <p:cTn id="65" dur="1" fill="hold">
                                          <p:stCondLst>
                                            <p:cond delay="0"/>
                                          </p:stCondLst>
                                        </p:cTn>
                                        <p:tgtEl>
                                          <p:spTgt spid="29"/>
                                        </p:tgtEl>
                                        <p:attrNameLst>
                                          <p:attrName>style.visibility</p:attrName>
                                        </p:attrNameLst>
                                      </p:cBhvr>
                                      <p:to>
                                        <p:strVal val="visible"/>
                                      </p:to>
                                    </p:set>
                                    <p:anim calcmode="lin" valueType="num">
                                      <p:cBhvr>
                                        <p:cTn id="66" dur="500" fill="hold"/>
                                        <p:tgtEl>
                                          <p:spTgt spid="29"/>
                                        </p:tgtEl>
                                        <p:attrNameLst>
                                          <p:attrName>ppt_w</p:attrName>
                                        </p:attrNameLst>
                                      </p:cBhvr>
                                      <p:tavLst>
                                        <p:tav tm="0">
                                          <p:val>
                                            <p:fltVal val="0"/>
                                          </p:val>
                                        </p:tav>
                                        <p:tav tm="100000">
                                          <p:val>
                                            <p:strVal val="#ppt_w"/>
                                          </p:val>
                                        </p:tav>
                                      </p:tavLst>
                                    </p:anim>
                                    <p:anim calcmode="lin" valueType="num">
                                      <p:cBhvr>
                                        <p:cTn id="67" dur="500" fill="hold"/>
                                        <p:tgtEl>
                                          <p:spTgt spid="29"/>
                                        </p:tgtEl>
                                        <p:attrNameLst>
                                          <p:attrName>ppt_h</p:attrName>
                                        </p:attrNameLst>
                                      </p:cBhvr>
                                      <p:tavLst>
                                        <p:tav tm="0">
                                          <p:val>
                                            <p:fltVal val="0"/>
                                          </p:val>
                                        </p:tav>
                                        <p:tav tm="100000">
                                          <p:val>
                                            <p:strVal val="#ppt_h"/>
                                          </p:val>
                                        </p:tav>
                                      </p:tavLst>
                                    </p:anim>
                                    <p:animEffect transition="in" filter="fade">
                                      <p:cBhvr>
                                        <p:cTn id="68" dur="500"/>
                                        <p:tgtEl>
                                          <p:spTgt spid="29"/>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nodeType="withEffect">
                                  <p:stCondLst>
                                    <p:cond delay="0"/>
                                  </p:stCondLst>
                                  <p:childTnLst>
                                    <p:set>
                                      <p:cBhvr>
                                        <p:cTn id="75" dur="1" fill="hold">
                                          <p:stCondLst>
                                            <p:cond delay="0"/>
                                          </p:stCondLst>
                                        </p:cTn>
                                        <p:tgtEl>
                                          <p:spTgt spid="47"/>
                                        </p:tgtEl>
                                        <p:attrNameLst>
                                          <p:attrName>style.visibility</p:attrName>
                                        </p:attrNameLst>
                                      </p:cBhvr>
                                      <p:to>
                                        <p:strVal val="visible"/>
                                      </p:to>
                                    </p:set>
                                    <p:animEffect transition="in" filter="fade">
                                      <p:cBhvr>
                                        <p:cTn id="76" dur="500"/>
                                        <p:tgtEl>
                                          <p:spTgt spid="47"/>
                                        </p:tgtEl>
                                      </p:cBhvr>
                                    </p:animEffect>
                                  </p:childTnLst>
                                </p:cTn>
                              </p:par>
                              <p:par>
                                <p:cTn id="77" presetID="10" presetClass="entr" presetSubtype="0" fill="hold" nodeType="withEffect">
                                  <p:stCondLst>
                                    <p:cond delay="0"/>
                                  </p:stCondLst>
                                  <p:childTnLst>
                                    <p:set>
                                      <p:cBhvr>
                                        <p:cTn id="78" dur="1" fill="hold">
                                          <p:stCondLst>
                                            <p:cond delay="0"/>
                                          </p:stCondLst>
                                        </p:cTn>
                                        <p:tgtEl>
                                          <p:spTgt spid="49"/>
                                        </p:tgtEl>
                                        <p:attrNameLst>
                                          <p:attrName>style.visibility</p:attrName>
                                        </p:attrNameLst>
                                      </p:cBhvr>
                                      <p:to>
                                        <p:strVal val="visible"/>
                                      </p:to>
                                    </p:set>
                                    <p:animEffect transition="in" filter="fade">
                                      <p:cBhvr>
                                        <p:cTn id="79" dur="500"/>
                                        <p:tgtEl>
                                          <p:spTgt spid="49"/>
                                        </p:tgtEl>
                                      </p:cBhvr>
                                    </p:animEffect>
                                  </p:childTnLst>
                                </p:cTn>
                              </p:par>
                              <p:par>
                                <p:cTn id="80" presetID="10" presetClass="entr" presetSubtype="0" fill="hold" nodeType="withEffect">
                                  <p:stCondLst>
                                    <p:cond delay="0"/>
                                  </p:stCondLst>
                                  <p:childTnLst>
                                    <p:set>
                                      <p:cBhvr>
                                        <p:cTn id="81" dur="1" fill="hold">
                                          <p:stCondLst>
                                            <p:cond delay="0"/>
                                          </p:stCondLst>
                                        </p:cTn>
                                        <p:tgtEl>
                                          <p:spTgt spid="51"/>
                                        </p:tgtEl>
                                        <p:attrNameLst>
                                          <p:attrName>style.visibility</p:attrName>
                                        </p:attrNameLst>
                                      </p:cBhvr>
                                      <p:to>
                                        <p:strVal val="visible"/>
                                      </p:to>
                                    </p:set>
                                    <p:animEffect transition="in" filter="fade">
                                      <p:cBhvr>
                                        <p:cTn id="82" dur="500"/>
                                        <p:tgtEl>
                                          <p:spTgt spid="51"/>
                                        </p:tgtEl>
                                      </p:cBhvr>
                                    </p:animEffect>
                                  </p:childTnLst>
                                </p:cTn>
                              </p:par>
                              <p:par>
                                <p:cTn id="83" presetID="10" presetClass="entr" presetSubtype="0" fill="hold" nodeType="withEffect">
                                  <p:stCondLst>
                                    <p:cond delay="0"/>
                                  </p:stCondLst>
                                  <p:childTnLst>
                                    <p:set>
                                      <p:cBhvr>
                                        <p:cTn id="84" dur="1" fill="hold">
                                          <p:stCondLst>
                                            <p:cond delay="0"/>
                                          </p:stCondLst>
                                        </p:cTn>
                                        <p:tgtEl>
                                          <p:spTgt spid="53"/>
                                        </p:tgtEl>
                                        <p:attrNameLst>
                                          <p:attrName>style.visibility</p:attrName>
                                        </p:attrNameLst>
                                      </p:cBhvr>
                                      <p:to>
                                        <p:strVal val="visible"/>
                                      </p:to>
                                    </p:set>
                                    <p:animEffect transition="in" filter="fade">
                                      <p:cBhvr>
                                        <p:cTn id="85" dur="500"/>
                                        <p:tgtEl>
                                          <p:spTgt spid="53"/>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4"/>
                                        </p:tgtEl>
                                        <p:attrNameLst>
                                          <p:attrName>style.visibility</p:attrName>
                                        </p:attrNameLst>
                                      </p:cBhvr>
                                      <p:to>
                                        <p:strVal val="visible"/>
                                      </p:to>
                                    </p:set>
                                    <p:animEffect transition="in" filter="fade">
                                      <p:cBhvr>
                                        <p:cTn id="88" dur="500"/>
                                        <p:tgtEl>
                                          <p:spTgt spid="44"/>
                                        </p:tgtEl>
                                      </p:cBhvr>
                                    </p:animEffect>
                                  </p:childTnLst>
                                </p:cTn>
                              </p:par>
                            </p:childTnLst>
                          </p:cTn>
                        </p:par>
                      </p:childTnLst>
                    </p:cTn>
                  </p:par>
                  <p:par>
                    <p:cTn id="89" fill="hold">
                      <p:stCondLst>
                        <p:cond delay="indefinite"/>
                      </p:stCondLst>
                      <p:childTnLst>
                        <p:par>
                          <p:cTn id="90" fill="hold">
                            <p:stCondLst>
                              <p:cond delay="0"/>
                            </p:stCondLst>
                            <p:childTnLst>
                              <p:par>
                                <p:cTn id="91" presetID="16" presetClass="entr" presetSubtype="37" fill="hold" grpId="0" nodeType="clickEffect">
                                  <p:stCondLst>
                                    <p:cond delay="0"/>
                                  </p:stCondLst>
                                  <p:childTnLst>
                                    <p:set>
                                      <p:cBhvr>
                                        <p:cTn id="92" dur="1" fill="hold">
                                          <p:stCondLst>
                                            <p:cond delay="0"/>
                                          </p:stCondLst>
                                        </p:cTn>
                                        <p:tgtEl>
                                          <p:spTgt spid="55"/>
                                        </p:tgtEl>
                                        <p:attrNameLst>
                                          <p:attrName>style.visibility</p:attrName>
                                        </p:attrNameLst>
                                      </p:cBhvr>
                                      <p:to>
                                        <p:strVal val="visible"/>
                                      </p:to>
                                    </p:set>
                                    <p:animEffect transition="in" filter="barn(outVertical)">
                                      <p:cBhvr>
                                        <p:cTn id="93" dur="500"/>
                                        <p:tgtEl>
                                          <p:spTgt spid="55"/>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59"/>
                                        </p:tgtEl>
                                        <p:attrNameLst>
                                          <p:attrName>style.visibility</p:attrName>
                                        </p:attrNameLst>
                                      </p:cBhvr>
                                      <p:to>
                                        <p:strVal val="visible"/>
                                      </p:to>
                                    </p:set>
                                    <p:animEffect transition="in" filter="fade">
                                      <p:cBhvr>
                                        <p:cTn id="96" dur="500"/>
                                        <p:tgtEl>
                                          <p:spTgt spid="59"/>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60"/>
                                        </p:tgtEl>
                                        <p:attrNameLst>
                                          <p:attrName>style.visibility</p:attrName>
                                        </p:attrNameLst>
                                      </p:cBhvr>
                                      <p:to>
                                        <p:strVal val="visible"/>
                                      </p:to>
                                    </p:set>
                                    <p:animEffect transition="in" filter="fade">
                                      <p:cBhvr>
                                        <p:cTn id="99" dur="500"/>
                                        <p:tgtEl>
                                          <p:spTgt spid="60"/>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1"/>
                                        </p:tgtEl>
                                        <p:attrNameLst>
                                          <p:attrName>style.visibility</p:attrName>
                                        </p:attrNameLst>
                                      </p:cBhvr>
                                      <p:to>
                                        <p:strVal val="visible"/>
                                      </p:to>
                                    </p:set>
                                    <p:animEffect transition="in" filter="fade">
                                      <p:cBhvr>
                                        <p:cTn id="102" dur="500"/>
                                        <p:tgtEl>
                                          <p:spTgt spid="6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2"/>
                                        </p:tgtEl>
                                        <p:attrNameLst>
                                          <p:attrName>style.visibility</p:attrName>
                                        </p:attrNameLst>
                                      </p:cBhvr>
                                      <p:to>
                                        <p:strVal val="visible"/>
                                      </p:to>
                                    </p:set>
                                    <p:animEffect transition="in" filter="fade">
                                      <p:cBhvr>
                                        <p:cTn id="105" dur="500"/>
                                        <p:tgtEl>
                                          <p:spTgt spid="62"/>
                                        </p:tgtEl>
                                      </p:cBhvr>
                                    </p:animEffect>
                                  </p:childTnLst>
                                </p:cTn>
                              </p:par>
                              <p:par>
                                <p:cTn id="106" presetID="22" presetClass="entr" presetSubtype="4" fill="hold" grpId="0" nodeType="withEffect">
                                  <p:stCondLst>
                                    <p:cond delay="0"/>
                                  </p:stCondLst>
                                  <p:childTnLst>
                                    <p:set>
                                      <p:cBhvr>
                                        <p:cTn id="107" dur="1" fill="hold">
                                          <p:stCondLst>
                                            <p:cond delay="0"/>
                                          </p:stCondLst>
                                        </p:cTn>
                                        <p:tgtEl>
                                          <p:spTgt spid="72"/>
                                        </p:tgtEl>
                                        <p:attrNameLst>
                                          <p:attrName>style.visibility</p:attrName>
                                        </p:attrNameLst>
                                      </p:cBhvr>
                                      <p:to>
                                        <p:strVal val="visible"/>
                                      </p:to>
                                    </p:set>
                                    <p:animEffect transition="in" filter="wipe(down)">
                                      <p:cBhvr>
                                        <p:cTn id="108" dur="500"/>
                                        <p:tgtEl>
                                          <p:spTgt spid="72"/>
                                        </p:tgtEl>
                                      </p:cBhvr>
                                    </p:animEffect>
                                  </p:childTnLst>
                                </p:cTn>
                              </p:par>
                              <p:par>
                                <p:cTn id="109" presetID="22" presetClass="entr" presetSubtype="4" fill="hold" grpId="0" nodeType="withEffect">
                                  <p:stCondLst>
                                    <p:cond delay="0"/>
                                  </p:stCondLst>
                                  <p:childTnLst>
                                    <p:set>
                                      <p:cBhvr>
                                        <p:cTn id="110" dur="1" fill="hold">
                                          <p:stCondLst>
                                            <p:cond delay="0"/>
                                          </p:stCondLst>
                                        </p:cTn>
                                        <p:tgtEl>
                                          <p:spTgt spid="73"/>
                                        </p:tgtEl>
                                        <p:attrNameLst>
                                          <p:attrName>style.visibility</p:attrName>
                                        </p:attrNameLst>
                                      </p:cBhvr>
                                      <p:to>
                                        <p:strVal val="visible"/>
                                      </p:to>
                                    </p:set>
                                    <p:animEffect transition="in" filter="wipe(down)">
                                      <p:cBhvr>
                                        <p:cTn id="111" dur="500"/>
                                        <p:tgtEl>
                                          <p:spTgt spid="73"/>
                                        </p:tgtEl>
                                      </p:cBhvr>
                                    </p:animEffect>
                                  </p:childTnLst>
                                </p:cTn>
                              </p:par>
                              <p:par>
                                <p:cTn id="112" presetID="22" presetClass="entr" presetSubtype="4" fill="hold" grpId="0" nodeType="withEffect">
                                  <p:stCondLst>
                                    <p:cond delay="0"/>
                                  </p:stCondLst>
                                  <p:childTnLst>
                                    <p:set>
                                      <p:cBhvr>
                                        <p:cTn id="113" dur="1" fill="hold">
                                          <p:stCondLst>
                                            <p:cond delay="0"/>
                                          </p:stCondLst>
                                        </p:cTn>
                                        <p:tgtEl>
                                          <p:spTgt spid="74"/>
                                        </p:tgtEl>
                                        <p:attrNameLst>
                                          <p:attrName>style.visibility</p:attrName>
                                        </p:attrNameLst>
                                      </p:cBhvr>
                                      <p:to>
                                        <p:strVal val="visible"/>
                                      </p:to>
                                    </p:set>
                                    <p:animEffect transition="in" filter="wipe(down)">
                                      <p:cBhvr>
                                        <p:cTn id="114"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5" grpId="0" animBg="1"/>
      <p:bldP spid="6" grpId="0" animBg="1"/>
      <p:bldP spid="3" grpId="0" animBg="1"/>
      <p:bldP spid="32" grpId="0"/>
      <p:bldP spid="33" grpId="0"/>
      <p:bldP spid="34" grpId="0"/>
      <p:bldP spid="35" grpId="0"/>
      <p:bldP spid="36" grpId="0"/>
      <p:bldP spid="44" grpId="0"/>
      <p:bldP spid="55" grpId="0"/>
      <p:bldP spid="59" grpId="0"/>
      <p:bldP spid="60" grpId="0"/>
      <p:bldP spid="61" grpId="0"/>
      <p:bldP spid="62" grpId="0"/>
      <p:bldP spid="72" grpId="0"/>
      <p:bldP spid="73" grpId="0"/>
      <p:bldP spid="74" grpId="0"/>
    </p:bld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7">
            <a:extLst>
              <a:ext uri="{FF2B5EF4-FFF2-40B4-BE49-F238E27FC236}">
                <a16:creationId xmlns:a16="http://schemas.microsoft.com/office/drawing/2014/main" id="{C7D6D3CD-0FA8-42B1-B313-73A31E4A43D8}"/>
              </a:ext>
            </a:extLst>
          </p:cNvPr>
          <p:cNvGrpSpPr/>
          <p:nvPr/>
        </p:nvGrpSpPr>
        <p:grpSpPr>
          <a:xfrm>
            <a:off x="545060" y="1089942"/>
            <a:ext cx="1924133" cy="1725769"/>
            <a:chOff x="523875" y="1042988"/>
            <a:chExt cx="1539875" cy="1381125"/>
          </a:xfrm>
          <a:solidFill>
            <a:schemeClr val="bg2">
              <a:lumMod val="50000"/>
            </a:schemeClr>
          </a:solidFill>
        </p:grpSpPr>
        <p:sp>
          <p:nvSpPr>
            <p:cNvPr id="6" name="Freeform 48">
              <a:extLst>
                <a:ext uri="{FF2B5EF4-FFF2-40B4-BE49-F238E27FC236}">
                  <a16:creationId xmlns:a16="http://schemas.microsoft.com/office/drawing/2014/main" id="{2C3ABED6-49F8-40A3-B764-4FE3387E0951}"/>
                </a:ext>
              </a:extLst>
            </p:cNvPr>
            <p:cNvSpPr>
              <a:spLocks/>
            </p:cNvSpPr>
            <p:nvPr/>
          </p:nvSpPr>
          <p:spPr bwMode="auto">
            <a:xfrm>
              <a:off x="523875" y="1046163"/>
              <a:ext cx="1539875" cy="1374775"/>
            </a:xfrm>
            <a:custGeom>
              <a:avLst/>
              <a:gdLst>
                <a:gd name="T0" fmla="*/ 7 w 956"/>
                <a:gd name="T1" fmla="*/ 734 h 854"/>
                <a:gd name="T2" fmla="*/ 76 w 956"/>
                <a:gd name="T3" fmla="*/ 705 h 854"/>
                <a:gd name="T4" fmla="*/ 353 w 956"/>
                <a:gd name="T5" fmla="*/ 716 h 854"/>
                <a:gd name="T6" fmla="*/ 797 w 956"/>
                <a:gd name="T7" fmla="*/ 766 h 854"/>
                <a:gd name="T8" fmla="*/ 956 w 956"/>
                <a:gd name="T9" fmla="*/ 821 h 854"/>
                <a:gd name="T10" fmla="*/ 883 w 956"/>
                <a:gd name="T11" fmla="*/ 583 h 854"/>
                <a:gd name="T12" fmla="*/ 668 w 956"/>
                <a:gd name="T13" fmla="*/ 516 h 854"/>
                <a:gd name="T14" fmla="*/ 597 w 956"/>
                <a:gd name="T15" fmla="*/ 410 h 854"/>
                <a:gd name="T16" fmla="*/ 559 w 956"/>
                <a:gd name="T17" fmla="*/ 339 h 854"/>
                <a:gd name="T18" fmla="*/ 544 w 956"/>
                <a:gd name="T19" fmla="*/ 311 h 854"/>
                <a:gd name="T20" fmla="*/ 526 w 956"/>
                <a:gd name="T21" fmla="*/ 216 h 854"/>
                <a:gd name="T22" fmla="*/ 536 w 956"/>
                <a:gd name="T23" fmla="*/ 196 h 854"/>
                <a:gd name="T24" fmla="*/ 510 w 956"/>
                <a:gd name="T25" fmla="*/ 166 h 854"/>
                <a:gd name="T26" fmla="*/ 517 w 956"/>
                <a:gd name="T27" fmla="*/ 94 h 854"/>
                <a:gd name="T28" fmla="*/ 533 w 956"/>
                <a:gd name="T29" fmla="*/ 88 h 854"/>
                <a:gd name="T30" fmla="*/ 664 w 956"/>
                <a:gd name="T31" fmla="*/ 86 h 854"/>
                <a:gd name="T32" fmla="*/ 642 w 956"/>
                <a:gd name="T33" fmla="*/ 8 h 854"/>
                <a:gd name="T34" fmla="*/ 525 w 956"/>
                <a:gd name="T35" fmla="*/ 19 h 854"/>
                <a:gd name="T36" fmla="*/ 471 w 956"/>
                <a:gd name="T37" fmla="*/ 1 h 854"/>
                <a:gd name="T38" fmla="*/ 415 w 956"/>
                <a:gd name="T39" fmla="*/ 22 h 854"/>
                <a:gd name="T40" fmla="*/ 293 w 956"/>
                <a:gd name="T41" fmla="*/ 19 h 854"/>
                <a:gd name="T42" fmla="*/ 279 w 956"/>
                <a:gd name="T43" fmla="*/ 96 h 854"/>
                <a:gd name="T44" fmla="*/ 414 w 956"/>
                <a:gd name="T45" fmla="*/ 92 h 854"/>
                <a:gd name="T46" fmla="*/ 431 w 956"/>
                <a:gd name="T47" fmla="*/ 98 h 854"/>
                <a:gd name="T48" fmla="*/ 435 w 956"/>
                <a:gd name="T49" fmla="*/ 169 h 854"/>
                <a:gd name="T50" fmla="*/ 411 w 956"/>
                <a:gd name="T51" fmla="*/ 196 h 854"/>
                <a:gd name="T52" fmla="*/ 421 w 956"/>
                <a:gd name="T53" fmla="*/ 205 h 854"/>
                <a:gd name="T54" fmla="*/ 402 w 956"/>
                <a:gd name="T55" fmla="*/ 234 h 854"/>
                <a:gd name="T56" fmla="*/ 395 w 956"/>
                <a:gd name="T57" fmla="*/ 320 h 854"/>
                <a:gd name="T58" fmla="*/ 391 w 956"/>
                <a:gd name="T59" fmla="*/ 340 h 854"/>
                <a:gd name="T60" fmla="*/ 335 w 956"/>
                <a:gd name="T61" fmla="*/ 395 h 854"/>
                <a:gd name="T62" fmla="*/ 346 w 956"/>
                <a:gd name="T63" fmla="*/ 468 h 854"/>
                <a:gd name="T64" fmla="*/ 288 w 956"/>
                <a:gd name="T65" fmla="*/ 515 h 854"/>
                <a:gd name="T66" fmla="*/ 46 w 956"/>
                <a:gd name="T67" fmla="*/ 503 h 854"/>
                <a:gd name="T68" fmla="*/ 10 w 956"/>
                <a:gd name="T69" fmla="*/ 480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6" h="854">
                  <a:moveTo>
                    <a:pt x="10" y="480"/>
                  </a:moveTo>
                  <a:cubicBezTo>
                    <a:pt x="10" y="480"/>
                    <a:pt x="0" y="672"/>
                    <a:pt x="7" y="734"/>
                  </a:cubicBezTo>
                  <a:cubicBezTo>
                    <a:pt x="7" y="734"/>
                    <a:pt x="21" y="743"/>
                    <a:pt x="33" y="736"/>
                  </a:cubicBezTo>
                  <a:cubicBezTo>
                    <a:pt x="45" y="728"/>
                    <a:pt x="36" y="708"/>
                    <a:pt x="76" y="705"/>
                  </a:cubicBezTo>
                  <a:cubicBezTo>
                    <a:pt x="115" y="702"/>
                    <a:pt x="265" y="701"/>
                    <a:pt x="265" y="701"/>
                  </a:cubicBezTo>
                  <a:cubicBezTo>
                    <a:pt x="265" y="701"/>
                    <a:pt x="313" y="699"/>
                    <a:pt x="353" y="716"/>
                  </a:cubicBezTo>
                  <a:cubicBezTo>
                    <a:pt x="392" y="733"/>
                    <a:pt x="468" y="772"/>
                    <a:pt x="595" y="722"/>
                  </a:cubicBezTo>
                  <a:cubicBezTo>
                    <a:pt x="723" y="672"/>
                    <a:pt x="789" y="699"/>
                    <a:pt x="797" y="766"/>
                  </a:cubicBezTo>
                  <a:cubicBezTo>
                    <a:pt x="804" y="833"/>
                    <a:pt x="798" y="821"/>
                    <a:pt x="824" y="828"/>
                  </a:cubicBezTo>
                  <a:cubicBezTo>
                    <a:pt x="850" y="836"/>
                    <a:pt x="908" y="854"/>
                    <a:pt x="956" y="821"/>
                  </a:cubicBezTo>
                  <a:cubicBezTo>
                    <a:pt x="955" y="739"/>
                    <a:pt x="955" y="739"/>
                    <a:pt x="955" y="739"/>
                  </a:cubicBezTo>
                  <a:cubicBezTo>
                    <a:pt x="955" y="739"/>
                    <a:pt x="953" y="642"/>
                    <a:pt x="883" y="583"/>
                  </a:cubicBezTo>
                  <a:cubicBezTo>
                    <a:pt x="814" y="523"/>
                    <a:pt x="753" y="522"/>
                    <a:pt x="736" y="520"/>
                  </a:cubicBezTo>
                  <a:cubicBezTo>
                    <a:pt x="720" y="519"/>
                    <a:pt x="668" y="516"/>
                    <a:pt x="668" y="516"/>
                  </a:cubicBezTo>
                  <a:cubicBezTo>
                    <a:pt x="668" y="516"/>
                    <a:pt x="604" y="513"/>
                    <a:pt x="601" y="466"/>
                  </a:cubicBezTo>
                  <a:cubicBezTo>
                    <a:pt x="598" y="419"/>
                    <a:pt x="597" y="410"/>
                    <a:pt x="597" y="410"/>
                  </a:cubicBezTo>
                  <a:cubicBezTo>
                    <a:pt x="597" y="410"/>
                    <a:pt x="614" y="404"/>
                    <a:pt x="614" y="389"/>
                  </a:cubicBezTo>
                  <a:cubicBezTo>
                    <a:pt x="614" y="373"/>
                    <a:pt x="618" y="346"/>
                    <a:pt x="559" y="339"/>
                  </a:cubicBezTo>
                  <a:cubicBezTo>
                    <a:pt x="557" y="325"/>
                    <a:pt x="557" y="325"/>
                    <a:pt x="557" y="325"/>
                  </a:cubicBezTo>
                  <a:cubicBezTo>
                    <a:pt x="544" y="311"/>
                    <a:pt x="544" y="311"/>
                    <a:pt x="544" y="311"/>
                  </a:cubicBezTo>
                  <a:cubicBezTo>
                    <a:pt x="544" y="228"/>
                    <a:pt x="544" y="228"/>
                    <a:pt x="544" y="228"/>
                  </a:cubicBezTo>
                  <a:cubicBezTo>
                    <a:pt x="544" y="228"/>
                    <a:pt x="541" y="220"/>
                    <a:pt x="526" y="216"/>
                  </a:cubicBezTo>
                  <a:cubicBezTo>
                    <a:pt x="526" y="205"/>
                    <a:pt x="526" y="205"/>
                    <a:pt x="526" y="205"/>
                  </a:cubicBezTo>
                  <a:cubicBezTo>
                    <a:pt x="526" y="205"/>
                    <a:pt x="536" y="205"/>
                    <a:pt x="536" y="196"/>
                  </a:cubicBezTo>
                  <a:cubicBezTo>
                    <a:pt x="536" y="187"/>
                    <a:pt x="535" y="178"/>
                    <a:pt x="535" y="178"/>
                  </a:cubicBezTo>
                  <a:cubicBezTo>
                    <a:pt x="535" y="178"/>
                    <a:pt x="524" y="170"/>
                    <a:pt x="510" y="166"/>
                  </a:cubicBezTo>
                  <a:cubicBezTo>
                    <a:pt x="511" y="101"/>
                    <a:pt x="511" y="101"/>
                    <a:pt x="511" y="101"/>
                  </a:cubicBezTo>
                  <a:cubicBezTo>
                    <a:pt x="511" y="101"/>
                    <a:pt x="514" y="98"/>
                    <a:pt x="517" y="94"/>
                  </a:cubicBezTo>
                  <a:cubicBezTo>
                    <a:pt x="529" y="94"/>
                    <a:pt x="529" y="94"/>
                    <a:pt x="529" y="94"/>
                  </a:cubicBezTo>
                  <a:cubicBezTo>
                    <a:pt x="529" y="94"/>
                    <a:pt x="532" y="92"/>
                    <a:pt x="533" y="88"/>
                  </a:cubicBezTo>
                  <a:cubicBezTo>
                    <a:pt x="649" y="97"/>
                    <a:pt x="649" y="97"/>
                    <a:pt x="649" y="97"/>
                  </a:cubicBezTo>
                  <a:cubicBezTo>
                    <a:pt x="649" y="97"/>
                    <a:pt x="660" y="99"/>
                    <a:pt x="664" y="86"/>
                  </a:cubicBezTo>
                  <a:cubicBezTo>
                    <a:pt x="668" y="74"/>
                    <a:pt x="670" y="39"/>
                    <a:pt x="661" y="14"/>
                  </a:cubicBezTo>
                  <a:cubicBezTo>
                    <a:pt x="661" y="14"/>
                    <a:pt x="660" y="5"/>
                    <a:pt x="642" y="8"/>
                  </a:cubicBezTo>
                  <a:cubicBezTo>
                    <a:pt x="625" y="10"/>
                    <a:pt x="531" y="24"/>
                    <a:pt x="531" y="24"/>
                  </a:cubicBezTo>
                  <a:cubicBezTo>
                    <a:pt x="531" y="24"/>
                    <a:pt x="530" y="19"/>
                    <a:pt x="525" y="19"/>
                  </a:cubicBezTo>
                  <a:cubicBezTo>
                    <a:pt x="519" y="19"/>
                    <a:pt x="514" y="19"/>
                    <a:pt x="514" y="19"/>
                  </a:cubicBezTo>
                  <a:cubicBezTo>
                    <a:pt x="514" y="19"/>
                    <a:pt x="502" y="2"/>
                    <a:pt x="471" y="1"/>
                  </a:cubicBezTo>
                  <a:cubicBezTo>
                    <a:pt x="439" y="0"/>
                    <a:pt x="430" y="21"/>
                    <a:pt x="430" y="21"/>
                  </a:cubicBezTo>
                  <a:cubicBezTo>
                    <a:pt x="415" y="22"/>
                    <a:pt x="415" y="22"/>
                    <a:pt x="415" y="22"/>
                  </a:cubicBezTo>
                  <a:cubicBezTo>
                    <a:pt x="415" y="22"/>
                    <a:pt x="412" y="25"/>
                    <a:pt x="412" y="28"/>
                  </a:cubicBezTo>
                  <a:cubicBezTo>
                    <a:pt x="293" y="19"/>
                    <a:pt x="293" y="19"/>
                    <a:pt x="293" y="19"/>
                  </a:cubicBezTo>
                  <a:cubicBezTo>
                    <a:pt x="293" y="19"/>
                    <a:pt x="281" y="17"/>
                    <a:pt x="278" y="29"/>
                  </a:cubicBezTo>
                  <a:cubicBezTo>
                    <a:pt x="275" y="41"/>
                    <a:pt x="274" y="77"/>
                    <a:pt x="279" y="96"/>
                  </a:cubicBezTo>
                  <a:cubicBezTo>
                    <a:pt x="284" y="116"/>
                    <a:pt x="301" y="110"/>
                    <a:pt x="310" y="108"/>
                  </a:cubicBezTo>
                  <a:cubicBezTo>
                    <a:pt x="320" y="105"/>
                    <a:pt x="414" y="92"/>
                    <a:pt x="414" y="92"/>
                  </a:cubicBezTo>
                  <a:cubicBezTo>
                    <a:pt x="414" y="92"/>
                    <a:pt x="413" y="98"/>
                    <a:pt x="419" y="98"/>
                  </a:cubicBezTo>
                  <a:cubicBezTo>
                    <a:pt x="426" y="98"/>
                    <a:pt x="431" y="98"/>
                    <a:pt x="431" y="98"/>
                  </a:cubicBezTo>
                  <a:cubicBezTo>
                    <a:pt x="431" y="98"/>
                    <a:pt x="433" y="103"/>
                    <a:pt x="435" y="103"/>
                  </a:cubicBezTo>
                  <a:cubicBezTo>
                    <a:pt x="435" y="169"/>
                    <a:pt x="435" y="169"/>
                    <a:pt x="435" y="169"/>
                  </a:cubicBezTo>
                  <a:cubicBezTo>
                    <a:pt x="435" y="169"/>
                    <a:pt x="412" y="169"/>
                    <a:pt x="411" y="179"/>
                  </a:cubicBezTo>
                  <a:cubicBezTo>
                    <a:pt x="411" y="189"/>
                    <a:pt x="411" y="196"/>
                    <a:pt x="411" y="196"/>
                  </a:cubicBezTo>
                  <a:cubicBezTo>
                    <a:pt x="411" y="196"/>
                    <a:pt x="409" y="200"/>
                    <a:pt x="415" y="202"/>
                  </a:cubicBezTo>
                  <a:cubicBezTo>
                    <a:pt x="420" y="204"/>
                    <a:pt x="421" y="205"/>
                    <a:pt x="421" y="205"/>
                  </a:cubicBezTo>
                  <a:cubicBezTo>
                    <a:pt x="421" y="219"/>
                    <a:pt x="421" y="219"/>
                    <a:pt x="421" y="219"/>
                  </a:cubicBezTo>
                  <a:cubicBezTo>
                    <a:pt x="421" y="219"/>
                    <a:pt x="402" y="221"/>
                    <a:pt x="402" y="234"/>
                  </a:cubicBezTo>
                  <a:cubicBezTo>
                    <a:pt x="402" y="247"/>
                    <a:pt x="402" y="317"/>
                    <a:pt x="402" y="317"/>
                  </a:cubicBezTo>
                  <a:cubicBezTo>
                    <a:pt x="395" y="320"/>
                    <a:pt x="395" y="320"/>
                    <a:pt x="395" y="320"/>
                  </a:cubicBezTo>
                  <a:cubicBezTo>
                    <a:pt x="392" y="324"/>
                    <a:pt x="392" y="324"/>
                    <a:pt x="392" y="324"/>
                  </a:cubicBezTo>
                  <a:cubicBezTo>
                    <a:pt x="391" y="340"/>
                    <a:pt x="391" y="340"/>
                    <a:pt x="391" y="340"/>
                  </a:cubicBezTo>
                  <a:cubicBezTo>
                    <a:pt x="391" y="340"/>
                    <a:pt x="335" y="347"/>
                    <a:pt x="335" y="364"/>
                  </a:cubicBezTo>
                  <a:cubicBezTo>
                    <a:pt x="335" y="382"/>
                    <a:pt x="335" y="395"/>
                    <a:pt x="335" y="395"/>
                  </a:cubicBezTo>
                  <a:cubicBezTo>
                    <a:pt x="335" y="395"/>
                    <a:pt x="334" y="402"/>
                    <a:pt x="345" y="407"/>
                  </a:cubicBezTo>
                  <a:cubicBezTo>
                    <a:pt x="346" y="468"/>
                    <a:pt x="346" y="468"/>
                    <a:pt x="346" y="468"/>
                  </a:cubicBezTo>
                  <a:cubicBezTo>
                    <a:pt x="346" y="468"/>
                    <a:pt x="347" y="491"/>
                    <a:pt x="336" y="499"/>
                  </a:cubicBezTo>
                  <a:cubicBezTo>
                    <a:pt x="324" y="508"/>
                    <a:pt x="306" y="515"/>
                    <a:pt x="288" y="515"/>
                  </a:cubicBezTo>
                  <a:cubicBezTo>
                    <a:pt x="270" y="515"/>
                    <a:pt x="73" y="517"/>
                    <a:pt x="73" y="517"/>
                  </a:cubicBezTo>
                  <a:cubicBezTo>
                    <a:pt x="73" y="517"/>
                    <a:pt x="51" y="515"/>
                    <a:pt x="46" y="503"/>
                  </a:cubicBezTo>
                  <a:cubicBezTo>
                    <a:pt x="42" y="491"/>
                    <a:pt x="33" y="483"/>
                    <a:pt x="33" y="483"/>
                  </a:cubicBezTo>
                  <a:cubicBezTo>
                    <a:pt x="10" y="480"/>
                    <a:pt x="10" y="480"/>
                    <a:pt x="10" y="4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Freeform 49">
              <a:extLst>
                <a:ext uri="{FF2B5EF4-FFF2-40B4-BE49-F238E27FC236}">
                  <a16:creationId xmlns:a16="http://schemas.microsoft.com/office/drawing/2014/main" id="{125B1BB6-9774-4CD7-BA81-5E0E610A5840}"/>
                </a:ext>
              </a:extLst>
            </p:cNvPr>
            <p:cNvSpPr>
              <a:spLocks/>
            </p:cNvSpPr>
            <p:nvPr/>
          </p:nvSpPr>
          <p:spPr bwMode="auto">
            <a:xfrm>
              <a:off x="538163" y="1824038"/>
              <a:ext cx="42863" cy="98425"/>
            </a:xfrm>
            <a:custGeom>
              <a:avLst/>
              <a:gdLst>
                <a:gd name="T0" fmla="*/ 4 w 27"/>
                <a:gd name="T1" fmla="*/ 0 h 61"/>
                <a:gd name="T2" fmla="*/ 19 w 27"/>
                <a:gd name="T3" fmla="*/ 2 h 61"/>
                <a:gd name="T4" fmla="*/ 27 w 27"/>
                <a:gd name="T5" fmla="*/ 14 h 61"/>
                <a:gd name="T6" fmla="*/ 27 w 27"/>
                <a:gd name="T7" fmla="*/ 61 h 61"/>
                <a:gd name="T8" fmla="*/ 13 w 27"/>
                <a:gd name="T9" fmla="*/ 21 h 61"/>
                <a:gd name="T10" fmla="*/ 4 w 27"/>
                <a:gd name="T11" fmla="*/ 0 h 61"/>
              </a:gdLst>
              <a:ahLst/>
              <a:cxnLst>
                <a:cxn ang="0">
                  <a:pos x="T0" y="T1"/>
                </a:cxn>
                <a:cxn ang="0">
                  <a:pos x="T2" y="T3"/>
                </a:cxn>
                <a:cxn ang="0">
                  <a:pos x="T4" y="T5"/>
                </a:cxn>
                <a:cxn ang="0">
                  <a:pos x="T6" y="T7"/>
                </a:cxn>
                <a:cxn ang="0">
                  <a:pos x="T8" y="T9"/>
                </a:cxn>
                <a:cxn ang="0">
                  <a:pos x="T10" y="T11"/>
                </a:cxn>
              </a:cxnLst>
              <a:rect l="0" t="0" r="r" b="b"/>
              <a:pathLst>
                <a:path w="27" h="61">
                  <a:moveTo>
                    <a:pt x="4" y="0"/>
                  </a:moveTo>
                  <a:cubicBezTo>
                    <a:pt x="19" y="2"/>
                    <a:pt x="19" y="2"/>
                    <a:pt x="19" y="2"/>
                  </a:cubicBezTo>
                  <a:cubicBezTo>
                    <a:pt x="19" y="2"/>
                    <a:pt x="27" y="3"/>
                    <a:pt x="27" y="14"/>
                  </a:cubicBezTo>
                  <a:cubicBezTo>
                    <a:pt x="26" y="25"/>
                    <a:pt x="27" y="61"/>
                    <a:pt x="27" y="61"/>
                  </a:cubicBezTo>
                  <a:cubicBezTo>
                    <a:pt x="27" y="61"/>
                    <a:pt x="26" y="27"/>
                    <a:pt x="13" y="21"/>
                  </a:cubicBezTo>
                  <a:cubicBezTo>
                    <a:pt x="0" y="15"/>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50">
              <a:extLst>
                <a:ext uri="{FF2B5EF4-FFF2-40B4-BE49-F238E27FC236}">
                  <a16:creationId xmlns:a16="http://schemas.microsoft.com/office/drawing/2014/main" id="{7C5E5229-0BCB-4B0A-A1B1-2CEDF876D591}"/>
                </a:ext>
              </a:extLst>
            </p:cNvPr>
            <p:cNvSpPr>
              <a:spLocks/>
            </p:cNvSpPr>
            <p:nvPr/>
          </p:nvSpPr>
          <p:spPr bwMode="auto">
            <a:xfrm>
              <a:off x="533400" y="1893888"/>
              <a:ext cx="52388" cy="173038"/>
            </a:xfrm>
            <a:custGeom>
              <a:avLst/>
              <a:gdLst>
                <a:gd name="T0" fmla="*/ 28 w 32"/>
                <a:gd name="T1" fmla="*/ 9 h 107"/>
                <a:gd name="T2" fmla="*/ 25 w 32"/>
                <a:gd name="T3" fmla="*/ 87 h 107"/>
                <a:gd name="T4" fmla="*/ 1 w 32"/>
                <a:gd name="T5" fmla="*/ 42 h 107"/>
                <a:gd name="T6" fmla="*/ 28 w 32"/>
                <a:gd name="T7" fmla="*/ 9 h 107"/>
              </a:gdLst>
              <a:ahLst/>
              <a:cxnLst>
                <a:cxn ang="0">
                  <a:pos x="T0" y="T1"/>
                </a:cxn>
                <a:cxn ang="0">
                  <a:pos x="T2" y="T3"/>
                </a:cxn>
                <a:cxn ang="0">
                  <a:pos x="T4" y="T5"/>
                </a:cxn>
                <a:cxn ang="0">
                  <a:pos x="T6" y="T7"/>
                </a:cxn>
              </a:cxnLst>
              <a:rect l="0" t="0" r="r" b="b"/>
              <a:pathLst>
                <a:path w="32" h="107">
                  <a:moveTo>
                    <a:pt x="28" y="9"/>
                  </a:moveTo>
                  <a:cubicBezTo>
                    <a:pt x="28" y="9"/>
                    <a:pt x="32" y="66"/>
                    <a:pt x="25" y="87"/>
                  </a:cubicBezTo>
                  <a:cubicBezTo>
                    <a:pt x="18" y="107"/>
                    <a:pt x="0" y="84"/>
                    <a:pt x="1" y="42"/>
                  </a:cubicBezTo>
                  <a:cubicBezTo>
                    <a:pt x="1" y="0"/>
                    <a:pt x="27" y="27"/>
                    <a:pt x="2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51">
              <a:extLst>
                <a:ext uri="{FF2B5EF4-FFF2-40B4-BE49-F238E27FC236}">
                  <a16:creationId xmlns:a16="http://schemas.microsoft.com/office/drawing/2014/main" id="{A9C89052-34FE-4855-B640-F40D75C47B4B}"/>
                </a:ext>
              </a:extLst>
            </p:cNvPr>
            <p:cNvSpPr>
              <a:spLocks/>
            </p:cNvSpPr>
            <p:nvPr/>
          </p:nvSpPr>
          <p:spPr bwMode="auto">
            <a:xfrm>
              <a:off x="598488" y="1876425"/>
              <a:ext cx="469900" cy="179388"/>
            </a:xfrm>
            <a:custGeom>
              <a:avLst/>
              <a:gdLst>
                <a:gd name="T0" fmla="*/ 259 w 292"/>
                <a:gd name="T1" fmla="*/ 0 h 111"/>
                <a:gd name="T2" fmla="*/ 257 w 292"/>
                <a:gd name="T3" fmla="*/ 0 h 111"/>
                <a:gd name="T4" fmla="*/ 26 w 292"/>
                <a:gd name="T5" fmla="*/ 3 h 111"/>
                <a:gd name="T6" fmla="*/ 14 w 292"/>
                <a:gd name="T7" fmla="*/ 1 h 111"/>
                <a:gd name="T8" fmla="*/ 3 w 292"/>
                <a:gd name="T9" fmla="*/ 6 h 111"/>
                <a:gd name="T10" fmla="*/ 11 w 292"/>
                <a:gd name="T11" fmla="*/ 111 h 111"/>
                <a:gd name="T12" fmla="*/ 12 w 292"/>
                <a:gd name="T13" fmla="*/ 111 h 111"/>
                <a:gd name="T14" fmla="*/ 26 w 292"/>
                <a:gd name="T15" fmla="*/ 97 h 111"/>
                <a:gd name="T16" fmla="*/ 52 w 292"/>
                <a:gd name="T17" fmla="*/ 84 h 111"/>
                <a:gd name="T18" fmla="*/ 57 w 292"/>
                <a:gd name="T19" fmla="*/ 85 h 111"/>
                <a:gd name="T20" fmla="*/ 156 w 292"/>
                <a:gd name="T21" fmla="*/ 93 h 111"/>
                <a:gd name="T22" fmla="*/ 183 w 292"/>
                <a:gd name="T23" fmla="*/ 92 h 111"/>
                <a:gd name="T24" fmla="*/ 274 w 292"/>
                <a:gd name="T25" fmla="*/ 74 h 111"/>
                <a:gd name="T26" fmla="*/ 256 w 292"/>
                <a:gd name="T27" fmla="*/ 41 h 111"/>
                <a:gd name="T28" fmla="*/ 255 w 292"/>
                <a:gd name="T29" fmla="*/ 41 h 111"/>
                <a:gd name="T30" fmla="*/ 254 w 292"/>
                <a:gd name="T31" fmla="*/ 41 h 111"/>
                <a:gd name="T32" fmla="*/ 231 w 292"/>
                <a:gd name="T33" fmla="*/ 38 h 111"/>
                <a:gd name="T34" fmla="*/ 203 w 292"/>
                <a:gd name="T35" fmla="*/ 35 h 111"/>
                <a:gd name="T36" fmla="*/ 167 w 292"/>
                <a:gd name="T37" fmla="*/ 39 h 111"/>
                <a:gd name="T38" fmla="*/ 116 w 292"/>
                <a:gd name="T39" fmla="*/ 44 h 111"/>
                <a:gd name="T40" fmla="*/ 65 w 292"/>
                <a:gd name="T41" fmla="*/ 40 h 111"/>
                <a:gd name="T42" fmla="*/ 55 w 292"/>
                <a:gd name="T43" fmla="*/ 24 h 111"/>
                <a:gd name="T44" fmla="*/ 57 w 292"/>
                <a:gd name="T45" fmla="*/ 24 h 111"/>
                <a:gd name="T46" fmla="*/ 108 w 292"/>
                <a:gd name="T47" fmla="*/ 30 h 111"/>
                <a:gd name="T48" fmla="*/ 146 w 292"/>
                <a:gd name="T49" fmla="*/ 27 h 111"/>
                <a:gd name="T50" fmla="*/ 182 w 292"/>
                <a:gd name="T51" fmla="*/ 24 h 111"/>
                <a:gd name="T52" fmla="*/ 217 w 292"/>
                <a:gd name="T53" fmla="*/ 26 h 111"/>
                <a:gd name="T54" fmla="*/ 245 w 292"/>
                <a:gd name="T55" fmla="*/ 27 h 111"/>
                <a:gd name="T56" fmla="*/ 262 w 292"/>
                <a:gd name="T57" fmla="*/ 25 h 111"/>
                <a:gd name="T58" fmla="*/ 259 w 292"/>
                <a:gd name="T5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2" h="111">
                  <a:moveTo>
                    <a:pt x="259" y="0"/>
                  </a:moveTo>
                  <a:cubicBezTo>
                    <a:pt x="258" y="0"/>
                    <a:pt x="257" y="0"/>
                    <a:pt x="257" y="0"/>
                  </a:cubicBezTo>
                  <a:cubicBezTo>
                    <a:pt x="220" y="1"/>
                    <a:pt x="26" y="3"/>
                    <a:pt x="26" y="3"/>
                  </a:cubicBezTo>
                  <a:cubicBezTo>
                    <a:pt x="26" y="3"/>
                    <a:pt x="20" y="1"/>
                    <a:pt x="14" y="1"/>
                  </a:cubicBezTo>
                  <a:cubicBezTo>
                    <a:pt x="9" y="1"/>
                    <a:pt x="4" y="2"/>
                    <a:pt x="3" y="6"/>
                  </a:cubicBezTo>
                  <a:cubicBezTo>
                    <a:pt x="1" y="14"/>
                    <a:pt x="0" y="110"/>
                    <a:pt x="11" y="111"/>
                  </a:cubicBezTo>
                  <a:cubicBezTo>
                    <a:pt x="11" y="111"/>
                    <a:pt x="11" y="111"/>
                    <a:pt x="12" y="111"/>
                  </a:cubicBezTo>
                  <a:cubicBezTo>
                    <a:pt x="17" y="111"/>
                    <a:pt x="20" y="104"/>
                    <a:pt x="26" y="97"/>
                  </a:cubicBezTo>
                  <a:cubicBezTo>
                    <a:pt x="31" y="91"/>
                    <a:pt x="39" y="84"/>
                    <a:pt x="52" y="84"/>
                  </a:cubicBezTo>
                  <a:cubicBezTo>
                    <a:pt x="53" y="84"/>
                    <a:pt x="55" y="84"/>
                    <a:pt x="57" y="85"/>
                  </a:cubicBezTo>
                  <a:cubicBezTo>
                    <a:pt x="81" y="87"/>
                    <a:pt x="118" y="93"/>
                    <a:pt x="156" y="93"/>
                  </a:cubicBezTo>
                  <a:cubicBezTo>
                    <a:pt x="165" y="93"/>
                    <a:pt x="174" y="92"/>
                    <a:pt x="183" y="92"/>
                  </a:cubicBezTo>
                  <a:cubicBezTo>
                    <a:pt x="230" y="88"/>
                    <a:pt x="271" y="92"/>
                    <a:pt x="274" y="74"/>
                  </a:cubicBezTo>
                  <a:cubicBezTo>
                    <a:pt x="277" y="56"/>
                    <a:pt x="278" y="41"/>
                    <a:pt x="256" y="41"/>
                  </a:cubicBezTo>
                  <a:cubicBezTo>
                    <a:pt x="256" y="41"/>
                    <a:pt x="255" y="41"/>
                    <a:pt x="255" y="41"/>
                  </a:cubicBezTo>
                  <a:cubicBezTo>
                    <a:pt x="255" y="41"/>
                    <a:pt x="254" y="41"/>
                    <a:pt x="254" y="41"/>
                  </a:cubicBezTo>
                  <a:cubicBezTo>
                    <a:pt x="246" y="41"/>
                    <a:pt x="239" y="39"/>
                    <a:pt x="231" y="38"/>
                  </a:cubicBezTo>
                  <a:cubicBezTo>
                    <a:pt x="223" y="37"/>
                    <a:pt x="214" y="35"/>
                    <a:pt x="203" y="35"/>
                  </a:cubicBezTo>
                  <a:cubicBezTo>
                    <a:pt x="193" y="35"/>
                    <a:pt x="181" y="36"/>
                    <a:pt x="167" y="39"/>
                  </a:cubicBezTo>
                  <a:cubicBezTo>
                    <a:pt x="148" y="43"/>
                    <a:pt x="131" y="44"/>
                    <a:pt x="116" y="44"/>
                  </a:cubicBezTo>
                  <a:cubicBezTo>
                    <a:pt x="94" y="44"/>
                    <a:pt x="77" y="41"/>
                    <a:pt x="65" y="40"/>
                  </a:cubicBezTo>
                  <a:cubicBezTo>
                    <a:pt x="45" y="37"/>
                    <a:pt x="43" y="24"/>
                    <a:pt x="55" y="24"/>
                  </a:cubicBezTo>
                  <a:cubicBezTo>
                    <a:pt x="56" y="24"/>
                    <a:pt x="56" y="24"/>
                    <a:pt x="57" y="24"/>
                  </a:cubicBezTo>
                  <a:cubicBezTo>
                    <a:pt x="67" y="25"/>
                    <a:pt x="83" y="30"/>
                    <a:pt x="108" y="30"/>
                  </a:cubicBezTo>
                  <a:cubicBezTo>
                    <a:pt x="119" y="30"/>
                    <a:pt x="131" y="29"/>
                    <a:pt x="146" y="27"/>
                  </a:cubicBezTo>
                  <a:cubicBezTo>
                    <a:pt x="158" y="25"/>
                    <a:pt x="170" y="24"/>
                    <a:pt x="182" y="24"/>
                  </a:cubicBezTo>
                  <a:cubicBezTo>
                    <a:pt x="194" y="24"/>
                    <a:pt x="206" y="25"/>
                    <a:pt x="217" y="26"/>
                  </a:cubicBezTo>
                  <a:cubicBezTo>
                    <a:pt x="228" y="26"/>
                    <a:pt x="238" y="27"/>
                    <a:pt x="245" y="27"/>
                  </a:cubicBezTo>
                  <a:cubicBezTo>
                    <a:pt x="252" y="27"/>
                    <a:pt x="258" y="27"/>
                    <a:pt x="262" y="25"/>
                  </a:cubicBezTo>
                  <a:cubicBezTo>
                    <a:pt x="277" y="18"/>
                    <a:pt x="292" y="0"/>
                    <a:pt x="2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52">
              <a:extLst>
                <a:ext uri="{FF2B5EF4-FFF2-40B4-BE49-F238E27FC236}">
                  <a16:creationId xmlns:a16="http://schemas.microsoft.com/office/drawing/2014/main" id="{7F2379F0-247B-4DC3-9D89-7B3AAE3890E1}"/>
                </a:ext>
              </a:extLst>
            </p:cNvPr>
            <p:cNvSpPr>
              <a:spLocks/>
            </p:cNvSpPr>
            <p:nvPr/>
          </p:nvSpPr>
          <p:spPr bwMode="auto">
            <a:xfrm>
              <a:off x="1016000" y="1631950"/>
              <a:ext cx="220663" cy="312738"/>
            </a:xfrm>
            <a:custGeom>
              <a:avLst/>
              <a:gdLst>
                <a:gd name="T0" fmla="*/ 12 w 137"/>
                <a:gd name="T1" fmla="*/ 147 h 194"/>
                <a:gd name="T2" fmla="*/ 26 w 137"/>
                <a:gd name="T3" fmla="*/ 161 h 194"/>
                <a:gd name="T4" fmla="*/ 0 w 137"/>
                <a:gd name="T5" fmla="*/ 186 h 194"/>
                <a:gd name="T6" fmla="*/ 36 w 137"/>
                <a:gd name="T7" fmla="*/ 184 h 194"/>
                <a:gd name="T8" fmla="*/ 81 w 137"/>
                <a:gd name="T9" fmla="*/ 172 h 194"/>
                <a:gd name="T10" fmla="*/ 125 w 137"/>
                <a:gd name="T11" fmla="*/ 121 h 194"/>
                <a:gd name="T12" fmla="*/ 84 w 137"/>
                <a:gd name="T13" fmla="*/ 74 h 194"/>
                <a:gd name="T14" fmla="*/ 61 w 137"/>
                <a:gd name="T15" fmla="*/ 59 h 194"/>
                <a:gd name="T16" fmla="*/ 50 w 137"/>
                <a:gd name="T17" fmla="*/ 49 h 194"/>
                <a:gd name="T18" fmla="*/ 123 w 137"/>
                <a:gd name="T19" fmla="*/ 61 h 194"/>
                <a:gd name="T20" fmla="*/ 95 w 137"/>
                <a:gd name="T21" fmla="*/ 51 h 194"/>
                <a:gd name="T22" fmla="*/ 114 w 137"/>
                <a:gd name="T23" fmla="*/ 32 h 194"/>
                <a:gd name="T24" fmla="*/ 112 w 137"/>
                <a:gd name="T25" fmla="*/ 30 h 194"/>
                <a:gd name="T26" fmla="*/ 30 w 137"/>
                <a:gd name="T27" fmla="*/ 0 h 194"/>
                <a:gd name="T28" fmla="*/ 30 w 137"/>
                <a:gd name="T29" fmla="*/ 31 h 194"/>
                <a:gd name="T30" fmla="*/ 40 w 137"/>
                <a:gd name="T31" fmla="*/ 43 h 194"/>
                <a:gd name="T32" fmla="*/ 41 w 137"/>
                <a:gd name="T33" fmla="*/ 108 h 194"/>
                <a:gd name="T34" fmla="*/ 12 w 137"/>
                <a:gd name="T35" fmla="*/ 1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94">
                  <a:moveTo>
                    <a:pt x="12" y="147"/>
                  </a:moveTo>
                  <a:cubicBezTo>
                    <a:pt x="12" y="147"/>
                    <a:pt x="35" y="148"/>
                    <a:pt x="26" y="161"/>
                  </a:cubicBezTo>
                  <a:cubicBezTo>
                    <a:pt x="16" y="174"/>
                    <a:pt x="0" y="186"/>
                    <a:pt x="0" y="186"/>
                  </a:cubicBezTo>
                  <a:cubicBezTo>
                    <a:pt x="0" y="186"/>
                    <a:pt x="13" y="194"/>
                    <a:pt x="36" y="184"/>
                  </a:cubicBezTo>
                  <a:cubicBezTo>
                    <a:pt x="59" y="173"/>
                    <a:pt x="50" y="175"/>
                    <a:pt x="81" y="172"/>
                  </a:cubicBezTo>
                  <a:cubicBezTo>
                    <a:pt x="111" y="170"/>
                    <a:pt x="137" y="148"/>
                    <a:pt x="125" y="121"/>
                  </a:cubicBezTo>
                  <a:cubicBezTo>
                    <a:pt x="112" y="93"/>
                    <a:pt x="92" y="99"/>
                    <a:pt x="84" y="74"/>
                  </a:cubicBezTo>
                  <a:cubicBezTo>
                    <a:pt x="75" y="50"/>
                    <a:pt x="74" y="63"/>
                    <a:pt x="61" y="59"/>
                  </a:cubicBezTo>
                  <a:cubicBezTo>
                    <a:pt x="48" y="55"/>
                    <a:pt x="43" y="46"/>
                    <a:pt x="50" y="49"/>
                  </a:cubicBezTo>
                  <a:cubicBezTo>
                    <a:pt x="57" y="51"/>
                    <a:pt x="77" y="61"/>
                    <a:pt x="123" y="61"/>
                  </a:cubicBezTo>
                  <a:cubicBezTo>
                    <a:pt x="123" y="61"/>
                    <a:pt x="95" y="58"/>
                    <a:pt x="95" y="51"/>
                  </a:cubicBezTo>
                  <a:cubicBezTo>
                    <a:pt x="95" y="45"/>
                    <a:pt x="95" y="33"/>
                    <a:pt x="114" y="32"/>
                  </a:cubicBezTo>
                  <a:cubicBezTo>
                    <a:pt x="114" y="32"/>
                    <a:pt x="116" y="30"/>
                    <a:pt x="112" y="30"/>
                  </a:cubicBezTo>
                  <a:cubicBezTo>
                    <a:pt x="108" y="30"/>
                    <a:pt x="38" y="26"/>
                    <a:pt x="30" y="0"/>
                  </a:cubicBezTo>
                  <a:cubicBezTo>
                    <a:pt x="30" y="31"/>
                    <a:pt x="30" y="31"/>
                    <a:pt x="30" y="31"/>
                  </a:cubicBezTo>
                  <a:cubicBezTo>
                    <a:pt x="30" y="31"/>
                    <a:pt x="29" y="39"/>
                    <a:pt x="40" y="43"/>
                  </a:cubicBezTo>
                  <a:cubicBezTo>
                    <a:pt x="41" y="108"/>
                    <a:pt x="41" y="108"/>
                    <a:pt x="41" y="108"/>
                  </a:cubicBezTo>
                  <a:cubicBezTo>
                    <a:pt x="41" y="108"/>
                    <a:pt x="45" y="137"/>
                    <a:pt x="12"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Freeform 53">
              <a:extLst>
                <a:ext uri="{FF2B5EF4-FFF2-40B4-BE49-F238E27FC236}">
                  <a16:creationId xmlns:a16="http://schemas.microsoft.com/office/drawing/2014/main" id="{4C7AC74A-93D2-410F-9225-CD6F9431CDD0}"/>
                </a:ext>
              </a:extLst>
            </p:cNvPr>
            <p:cNvSpPr>
              <a:spLocks/>
            </p:cNvSpPr>
            <p:nvPr/>
          </p:nvSpPr>
          <p:spPr bwMode="auto">
            <a:xfrm>
              <a:off x="1057275" y="1550988"/>
              <a:ext cx="460375" cy="134938"/>
            </a:xfrm>
            <a:custGeom>
              <a:avLst/>
              <a:gdLst>
                <a:gd name="T0" fmla="*/ 60 w 286"/>
                <a:gd name="T1" fmla="*/ 26 h 83"/>
                <a:gd name="T2" fmla="*/ 4 w 286"/>
                <a:gd name="T3" fmla="*/ 50 h 83"/>
                <a:gd name="T4" fmla="*/ 144 w 286"/>
                <a:gd name="T5" fmla="*/ 82 h 83"/>
                <a:gd name="T6" fmla="*/ 277 w 286"/>
                <a:gd name="T7" fmla="*/ 45 h 83"/>
                <a:gd name="T8" fmla="*/ 228 w 286"/>
                <a:gd name="T9" fmla="*/ 25 h 83"/>
                <a:gd name="T10" fmla="*/ 226 w 286"/>
                <a:gd name="T11" fmla="*/ 11 h 83"/>
                <a:gd name="T12" fmla="*/ 215 w 286"/>
                <a:gd name="T13" fmla="*/ 0 h 83"/>
                <a:gd name="T14" fmla="*/ 153 w 286"/>
                <a:gd name="T15" fmla="*/ 16 h 83"/>
                <a:gd name="T16" fmla="*/ 71 w 286"/>
                <a:gd name="T17" fmla="*/ 2 h 83"/>
                <a:gd name="T18" fmla="*/ 64 w 286"/>
                <a:gd name="T19" fmla="*/ 6 h 83"/>
                <a:gd name="T20" fmla="*/ 61 w 286"/>
                <a:gd name="T21" fmla="*/ 10 h 83"/>
                <a:gd name="T22" fmla="*/ 60 w 286"/>
                <a:gd name="T23" fmla="*/ 2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6" h="83">
                  <a:moveTo>
                    <a:pt x="60" y="26"/>
                  </a:moveTo>
                  <a:cubicBezTo>
                    <a:pt x="60" y="26"/>
                    <a:pt x="7" y="32"/>
                    <a:pt x="4" y="50"/>
                  </a:cubicBezTo>
                  <a:cubicBezTo>
                    <a:pt x="4" y="50"/>
                    <a:pt x="0" y="83"/>
                    <a:pt x="144" y="82"/>
                  </a:cubicBezTo>
                  <a:cubicBezTo>
                    <a:pt x="276" y="82"/>
                    <a:pt x="286" y="56"/>
                    <a:pt x="277" y="45"/>
                  </a:cubicBezTo>
                  <a:cubicBezTo>
                    <a:pt x="277" y="45"/>
                    <a:pt x="264" y="26"/>
                    <a:pt x="228" y="25"/>
                  </a:cubicBezTo>
                  <a:cubicBezTo>
                    <a:pt x="226" y="11"/>
                    <a:pt x="226" y="11"/>
                    <a:pt x="226" y="11"/>
                  </a:cubicBezTo>
                  <a:cubicBezTo>
                    <a:pt x="215" y="0"/>
                    <a:pt x="215" y="0"/>
                    <a:pt x="215" y="0"/>
                  </a:cubicBezTo>
                  <a:cubicBezTo>
                    <a:pt x="215" y="0"/>
                    <a:pt x="206" y="15"/>
                    <a:pt x="153" y="16"/>
                  </a:cubicBezTo>
                  <a:cubicBezTo>
                    <a:pt x="101" y="16"/>
                    <a:pt x="71" y="2"/>
                    <a:pt x="71" y="2"/>
                  </a:cubicBezTo>
                  <a:cubicBezTo>
                    <a:pt x="64" y="6"/>
                    <a:pt x="64" y="6"/>
                    <a:pt x="64" y="6"/>
                  </a:cubicBezTo>
                  <a:cubicBezTo>
                    <a:pt x="61" y="10"/>
                    <a:pt x="61" y="10"/>
                    <a:pt x="61" y="10"/>
                  </a:cubicBezTo>
                  <a:lnTo>
                    <a:pt x="6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Freeform 54">
              <a:extLst>
                <a:ext uri="{FF2B5EF4-FFF2-40B4-BE49-F238E27FC236}">
                  <a16:creationId xmlns:a16="http://schemas.microsoft.com/office/drawing/2014/main" id="{1D8C0BE7-B6D5-4D9D-B9F4-9A0F42933CA2}"/>
                </a:ext>
              </a:extLst>
            </p:cNvPr>
            <p:cNvSpPr>
              <a:spLocks/>
            </p:cNvSpPr>
            <p:nvPr/>
          </p:nvSpPr>
          <p:spPr bwMode="auto">
            <a:xfrm>
              <a:off x="1150938" y="1593850"/>
              <a:ext cx="57150" cy="47625"/>
            </a:xfrm>
            <a:custGeom>
              <a:avLst/>
              <a:gdLst>
                <a:gd name="T0" fmla="*/ 2 w 36"/>
                <a:gd name="T1" fmla="*/ 0 h 30"/>
                <a:gd name="T2" fmla="*/ 0 w 36"/>
                <a:gd name="T3" fmla="*/ 30 h 30"/>
                <a:gd name="T4" fmla="*/ 5 w 36"/>
                <a:gd name="T5" fmla="*/ 14 h 30"/>
                <a:gd name="T6" fmla="*/ 24 w 36"/>
                <a:gd name="T7" fmla="*/ 20 h 30"/>
                <a:gd name="T8" fmla="*/ 19 w 36"/>
                <a:gd name="T9" fmla="*/ 13 h 30"/>
                <a:gd name="T10" fmla="*/ 5 w 36"/>
                <a:gd name="T11" fmla="*/ 10 h 30"/>
                <a:gd name="T12" fmla="*/ 3 w 36"/>
                <a:gd name="T13" fmla="*/ 5 h 30"/>
                <a:gd name="T14" fmla="*/ 26 w 36"/>
                <a:gd name="T15" fmla="*/ 11 h 30"/>
                <a:gd name="T16" fmla="*/ 36 w 36"/>
                <a:gd name="T17" fmla="*/ 7 h 30"/>
                <a:gd name="T18" fmla="*/ 2 w 36"/>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0">
                  <a:moveTo>
                    <a:pt x="2" y="0"/>
                  </a:moveTo>
                  <a:cubicBezTo>
                    <a:pt x="0" y="30"/>
                    <a:pt x="0" y="30"/>
                    <a:pt x="0" y="30"/>
                  </a:cubicBezTo>
                  <a:cubicBezTo>
                    <a:pt x="0" y="30"/>
                    <a:pt x="0" y="14"/>
                    <a:pt x="5" y="14"/>
                  </a:cubicBezTo>
                  <a:cubicBezTo>
                    <a:pt x="9" y="14"/>
                    <a:pt x="22" y="14"/>
                    <a:pt x="24" y="20"/>
                  </a:cubicBezTo>
                  <a:cubicBezTo>
                    <a:pt x="24" y="20"/>
                    <a:pt x="26" y="15"/>
                    <a:pt x="19" y="13"/>
                  </a:cubicBezTo>
                  <a:cubicBezTo>
                    <a:pt x="13" y="11"/>
                    <a:pt x="8" y="9"/>
                    <a:pt x="5" y="10"/>
                  </a:cubicBezTo>
                  <a:cubicBezTo>
                    <a:pt x="1" y="11"/>
                    <a:pt x="3" y="5"/>
                    <a:pt x="3" y="5"/>
                  </a:cubicBezTo>
                  <a:cubicBezTo>
                    <a:pt x="3" y="5"/>
                    <a:pt x="22" y="11"/>
                    <a:pt x="26" y="11"/>
                  </a:cubicBezTo>
                  <a:cubicBezTo>
                    <a:pt x="30" y="11"/>
                    <a:pt x="30" y="7"/>
                    <a:pt x="36" y="7"/>
                  </a:cubicBezTo>
                  <a:cubicBezTo>
                    <a:pt x="36" y="7"/>
                    <a:pt x="15" y="1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Freeform 55">
              <a:extLst>
                <a:ext uri="{FF2B5EF4-FFF2-40B4-BE49-F238E27FC236}">
                  <a16:creationId xmlns:a16="http://schemas.microsoft.com/office/drawing/2014/main" id="{197E19B8-DE10-4AF2-BD05-9E92D84C3F32}"/>
                </a:ext>
              </a:extLst>
            </p:cNvPr>
            <p:cNvSpPr>
              <a:spLocks/>
            </p:cNvSpPr>
            <p:nvPr/>
          </p:nvSpPr>
          <p:spPr bwMode="auto">
            <a:xfrm>
              <a:off x="1190625" y="1603375"/>
              <a:ext cx="65088" cy="17463"/>
            </a:xfrm>
            <a:custGeom>
              <a:avLst/>
              <a:gdLst>
                <a:gd name="T0" fmla="*/ 2 w 40"/>
                <a:gd name="T1" fmla="*/ 11 h 11"/>
                <a:gd name="T2" fmla="*/ 40 w 40"/>
                <a:gd name="T3" fmla="*/ 0 h 11"/>
                <a:gd name="T4" fmla="*/ 2 w 40"/>
                <a:gd name="T5" fmla="*/ 11 h 11"/>
              </a:gdLst>
              <a:ahLst/>
              <a:cxnLst>
                <a:cxn ang="0">
                  <a:pos x="T0" y="T1"/>
                </a:cxn>
                <a:cxn ang="0">
                  <a:pos x="T2" y="T3"/>
                </a:cxn>
                <a:cxn ang="0">
                  <a:pos x="T4" y="T5"/>
                </a:cxn>
              </a:cxnLst>
              <a:rect l="0" t="0" r="r" b="b"/>
              <a:pathLst>
                <a:path w="40" h="11">
                  <a:moveTo>
                    <a:pt x="2" y="11"/>
                  </a:moveTo>
                  <a:cubicBezTo>
                    <a:pt x="2" y="11"/>
                    <a:pt x="0" y="3"/>
                    <a:pt x="40" y="0"/>
                  </a:cubicBezTo>
                  <a:cubicBezTo>
                    <a:pt x="40" y="0"/>
                    <a:pt x="11" y="4"/>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Freeform 56">
              <a:extLst>
                <a:ext uri="{FF2B5EF4-FFF2-40B4-BE49-F238E27FC236}">
                  <a16:creationId xmlns:a16="http://schemas.microsoft.com/office/drawing/2014/main" id="{5911D992-8734-446D-80E8-3284E53F6F95}"/>
                </a:ext>
              </a:extLst>
            </p:cNvPr>
            <p:cNvSpPr>
              <a:spLocks/>
            </p:cNvSpPr>
            <p:nvPr/>
          </p:nvSpPr>
          <p:spPr bwMode="auto">
            <a:xfrm>
              <a:off x="1298575" y="1603375"/>
              <a:ext cx="112713" cy="42863"/>
            </a:xfrm>
            <a:custGeom>
              <a:avLst/>
              <a:gdLst>
                <a:gd name="T0" fmla="*/ 15 w 70"/>
                <a:gd name="T1" fmla="*/ 2 h 27"/>
                <a:gd name="T2" fmla="*/ 35 w 70"/>
                <a:gd name="T3" fmla="*/ 20 h 27"/>
                <a:gd name="T4" fmla="*/ 46 w 70"/>
                <a:gd name="T5" fmla="*/ 22 h 27"/>
                <a:gd name="T6" fmla="*/ 60 w 70"/>
                <a:gd name="T7" fmla="*/ 16 h 27"/>
                <a:gd name="T8" fmla="*/ 70 w 70"/>
                <a:gd name="T9" fmla="*/ 21 h 27"/>
                <a:gd name="T10" fmla="*/ 70 w 70"/>
                <a:gd name="T11" fmla="*/ 5 h 27"/>
                <a:gd name="T12" fmla="*/ 58 w 70"/>
                <a:gd name="T13" fmla="*/ 5 h 27"/>
                <a:gd name="T14" fmla="*/ 41 w 70"/>
                <a:gd name="T15" fmla="*/ 11 h 27"/>
                <a:gd name="T16" fmla="*/ 15 w 70"/>
                <a:gd name="T17" fmla="*/ 1 h 27"/>
                <a:gd name="T18" fmla="*/ 15 w 70"/>
                <a:gd name="T19"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27">
                  <a:moveTo>
                    <a:pt x="15" y="2"/>
                  </a:moveTo>
                  <a:cubicBezTo>
                    <a:pt x="15" y="2"/>
                    <a:pt x="35" y="13"/>
                    <a:pt x="35" y="20"/>
                  </a:cubicBezTo>
                  <a:cubicBezTo>
                    <a:pt x="35" y="27"/>
                    <a:pt x="43" y="26"/>
                    <a:pt x="46" y="22"/>
                  </a:cubicBezTo>
                  <a:cubicBezTo>
                    <a:pt x="49" y="18"/>
                    <a:pt x="55" y="15"/>
                    <a:pt x="60" y="16"/>
                  </a:cubicBezTo>
                  <a:cubicBezTo>
                    <a:pt x="65" y="16"/>
                    <a:pt x="70" y="21"/>
                    <a:pt x="70" y="21"/>
                  </a:cubicBezTo>
                  <a:cubicBezTo>
                    <a:pt x="70" y="5"/>
                    <a:pt x="70" y="5"/>
                    <a:pt x="70" y="5"/>
                  </a:cubicBezTo>
                  <a:cubicBezTo>
                    <a:pt x="70" y="5"/>
                    <a:pt x="67" y="3"/>
                    <a:pt x="58" y="5"/>
                  </a:cubicBezTo>
                  <a:cubicBezTo>
                    <a:pt x="48" y="8"/>
                    <a:pt x="45" y="14"/>
                    <a:pt x="41" y="11"/>
                  </a:cubicBezTo>
                  <a:cubicBezTo>
                    <a:pt x="37" y="8"/>
                    <a:pt x="29" y="2"/>
                    <a:pt x="15" y="1"/>
                  </a:cubicBezTo>
                  <a:cubicBezTo>
                    <a:pt x="0" y="0"/>
                    <a:pt x="15" y="2"/>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Freeform 57">
              <a:extLst>
                <a:ext uri="{FF2B5EF4-FFF2-40B4-BE49-F238E27FC236}">
                  <a16:creationId xmlns:a16="http://schemas.microsoft.com/office/drawing/2014/main" id="{6357E887-94DC-4D3B-A0F2-1A89222E3D0F}"/>
                </a:ext>
              </a:extLst>
            </p:cNvPr>
            <p:cNvSpPr>
              <a:spLocks/>
            </p:cNvSpPr>
            <p:nvPr/>
          </p:nvSpPr>
          <p:spPr bwMode="auto">
            <a:xfrm>
              <a:off x="1306513" y="1571625"/>
              <a:ext cx="115888" cy="38100"/>
            </a:xfrm>
            <a:custGeom>
              <a:avLst/>
              <a:gdLst>
                <a:gd name="T0" fmla="*/ 0 w 72"/>
                <a:gd name="T1" fmla="*/ 16 h 24"/>
                <a:gd name="T2" fmla="*/ 32 w 72"/>
                <a:gd name="T3" fmla="*/ 22 h 24"/>
                <a:gd name="T4" fmla="*/ 50 w 72"/>
                <a:gd name="T5" fmla="*/ 21 h 24"/>
                <a:gd name="T6" fmla="*/ 65 w 72"/>
                <a:gd name="T7" fmla="*/ 14 h 24"/>
                <a:gd name="T8" fmla="*/ 52 w 72"/>
                <a:gd name="T9" fmla="*/ 5 h 24"/>
                <a:gd name="T10" fmla="*/ 0 w 72"/>
                <a:gd name="T11" fmla="*/ 16 h 24"/>
              </a:gdLst>
              <a:ahLst/>
              <a:cxnLst>
                <a:cxn ang="0">
                  <a:pos x="T0" y="T1"/>
                </a:cxn>
                <a:cxn ang="0">
                  <a:pos x="T2" y="T3"/>
                </a:cxn>
                <a:cxn ang="0">
                  <a:pos x="T4" y="T5"/>
                </a:cxn>
                <a:cxn ang="0">
                  <a:pos x="T6" y="T7"/>
                </a:cxn>
                <a:cxn ang="0">
                  <a:pos x="T8" y="T9"/>
                </a:cxn>
                <a:cxn ang="0">
                  <a:pos x="T10" y="T11"/>
                </a:cxn>
              </a:cxnLst>
              <a:rect l="0" t="0" r="r" b="b"/>
              <a:pathLst>
                <a:path w="72" h="24">
                  <a:moveTo>
                    <a:pt x="0" y="16"/>
                  </a:moveTo>
                  <a:cubicBezTo>
                    <a:pt x="0" y="16"/>
                    <a:pt x="25" y="20"/>
                    <a:pt x="32" y="22"/>
                  </a:cubicBezTo>
                  <a:cubicBezTo>
                    <a:pt x="39" y="24"/>
                    <a:pt x="41" y="23"/>
                    <a:pt x="50" y="21"/>
                  </a:cubicBezTo>
                  <a:cubicBezTo>
                    <a:pt x="59" y="18"/>
                    <a:pt x="64" y="18"/>
                    <a:pt x="65" y="14"/>
                  </a:cubicBezTo>
                  <a:cubicBezTo>
                    <a:pt x="67" y="9"/>
                    <a:pt x="72" y="0"/>
                    <a:pt x="52" y="5"/>
                  </a:cubicBezTo>
                  <a:cubicBezTo>
                    <a:pt x="31" y="10"/>
                    <a:pt x="16" y="17"/>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Freeform 58">
              <a:extLst>
                <a:ext uri="{FF2B5EF4-FFF2-40B4-BE49-F238E27FC236}">
                  <a16:creationId xmlns:a16="http://schemas.microsoft.com/office/drawing/2014/main" id="{AB8F4ECC-2AB2-4C11-971B-071B15F646B8}"/>
                </a:ext>
              </a:extLst>
            </p:cNvPr>
            <p:cNvSpPr>
              <a:spLocks/>
            </p:cNvSpPr>
            <p:nvPr/>
          </p:nvSpPr>
          <p:spPr bwMode="auto">
            <a:xfrm>
              <a:off x="1155700" y="1649413"/>
              <a:ext cx="279400" cy="46038"/>
            </a:xfrm>
            <a:custGeom>
              <a:avLst/>
              <a:gdLst>
                <a:gd name="T0" fmla="*/ 0 w 173"/>
                <a:gd name="T1" fmla="*/ 10 h 28"/>
                <a:gd name="T2" fmla="*/ 158 w 173"/>
                <a:gd name="T3" fmla="*/ 12 h 28"/>
                <a:gd name="T4" fmla="*/ 173 w 173"/>
                <a:gd name="T5" fmla="*/ 0 h 28"/>
                <a:gd name="T6" fmla="*/ 83 w 173"/>
                <a:gd name="T7" fmla="*/ 8 h 28"/>
                <a:gd name="T8" fmla="*/ 0 w 173"/>
                <a:gd name="T9" fmla="*/ 10 h 28"/>
              </a:gdLst>
              <a:ahLst/>
              <a:cxnLst>
                <a:cxn ang="0">
                  <a:pos x="T0" y="T1"/>
                </a:cxn>
                <a:cxn ang="0">
                  <a:pos x="T2" y="T3"/>
                </a:cxn>
                <a:cxn ang="0">
                  <a:pos x="T4" y="T5"/>
                </a:cxn>
                <a:cxn ang="0">
                  <a:pos x="T6" y="T7"/>
                </a:cxn>
                <a:cxn ang="0">
                  <a:pos x="T8" y="T9"/>
                </a:cxn>
              </a:cxnLst>
              <a:rect l="0" t="0" r="r" b="b"/>
              <a:pathLst>
                <a:path w="173" h="28">
                  <a:moveTo>
                    <a:pt x="0" y="10"/>
                  </a:moveTo>
                  <a:cubicBezTo>
                    <a:pt x="0" y="10"/>
                    <a:pt x="72" y="28"/>
                    <a:pt x="158" y="12"/>
                  </a:cubicBezTo>
                  <a:cubicBezTo>
                    <a:pt x="158" y="12"/>
                    <a:pt x="154" y="6"/>
                    <a:pt x="173" y="0"/>
                  </a:cubicBezTo>
                  <a:cubicBezTo>
                    <a:pt x="173" y="0"/>
                    <a:pt x="146" y="9"/>
                    <a:pt x="83" y="8"/>
                  </a:cubicBezTo>
                  <a:cubicBezTo>
                    <a:pt x="21" y="8"/>
                    <a:pt x="64" y="14"/>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Freeform 59">
              <a:extLst>
                <a:ext uri="{FF2B5EF4-FFF2-40B4-BE49-F238E27FC236}">
                  <a16:creationId xmlns:a16="http://schemas.microsoft.com/office/drawing/2014/main" id="{FE7ED534-39E2-4291-8BE9-5B9CC30BA0C9}"/>
                </a:ext>
              </a:extLst>
            </p:cNvPr>
            <p:cNvSpPr>
              <a:spLocks/>
            </p:cNvSpPr>
            <p:nvPr/>
          </p:nvSpPr>
          <p:spPr bwMode="auto">
            <a:xfrm>
              <a:off x="1295400" y="1633538"/>
              <a:ext cx="233363" cy="104775"/>
            </a:xfrm>
            <a:custGeom>
              <a:avLst/>
              <a:gdLst>
                <a:gd name="T0" fmla="*/ 0 w 145"/>
                <a:gd name="T1" fmla="*/ 62 h 65"/>
                <a:gd name="T2" fmla="*/ 103 w 145"/>
                <a:gd name="T3" fmla="*/ 49 h 65"/>
                <a:gd name="T4" fmla="*/ 83 w 145"/>
                <a:gd name="T5" fmla="*/ 48 h 65"/>
                <a:gd name="T6" fmla="*/ 10 w 145"/>
                <a:gd name="T7" fmla="*/ 39 h 65"/>
                <a:gd name="T8" fmla="*/ 23 w 145"/>
                <a:gd name="T9" fmla="*/ 31 h 65"/>
                <a:gd name="T10" fmla="*/ 131 w 145"/>
                <a:gd name="T11" fmla="*/ 0 h 65"/>
                <a:gd name="T12" fmla="*/ 118 w 145"/>
                <a:gd name="T13" fmla="*/ 45 h 65"/>
                <a:gd name="T14" fmla="*/ 0 w 145"/>
                <a:gd name="T15" fmla="*/ 62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5">
                  <a:moveTo>
                    <a:pt x="0" y="62"/>
                  </a:moveTo>
                  <a:cubicBezTo>
                    <a:pt x="0" y="62"/>
                    <a:pt x="65" y="61"/>
                    <a:pt x="103" y="49"/>
                  </a:cubicBezTo>
                  <a:cubicBezTo>
                    <a:pt x="103" y="49"/>
                    <a:pt x="123" y="47"/>
                    <a:pt x="83" y="48"/>
                  </a:cubicBezTo>
                  <a:cubicBezTo>
                    <a:pt x="43" y="48"/>
                    <a:pt x="11" y="55"/>
                    <a:pt x="10" y="39"/>
                  </a:cubicBezTo>
                  <a:cubicBezTo>
                    <a:pt x="10" y="39"/>
                    <a:pt x="6" y="31"/>
                    <a:pt x="23" y="31"/>
                  </a:cubicBezTo>
                  <a:cubicBezTo>
                    <a:pt x="40" y="31"/>
                    <a:pt x="129" y="29"/>
                    <a:pt x="131" y="0"/>
                  </a:cubicBezTo>
                  <a:cubicBezTo>
                    <a:pt x="131" y="0"/>
                    <a:pt x="145" y="35"/>
                    <a:pt x="118" y="45"/>
                  </a:cubicBezTo>
                  <a:cubicBezTo>
                    <a:pt x="118" y="45"/>
                    <a:pt x="76" y="65"/>
                    <a:pt x="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 name="Freeform 60">
              <a:extLst>
                <a:ext uri="{FF2B5EF4-FFF2-40B4-BE49-F238E27FC236}">
                  <a16:creationId xmlns:a16="http://schemas.microsoft.com/office/drawing/2014/main" id="{56D3FF34-123D-4585-8D72-07184E71AA72}"/>
                </a:ext>
              </a:extLst>
            </p:cNvPr>
            <p:cNvSpPr>
              <a:spLocks noEditPoints="1"/>
            </p:cNvSpPr>
            <p:nvPr/>
          </p:nvSpPr>
          <p:spPr bwMode="auto">
            <a:xfrm>
              <a:off x="1563688" y="1870075"/>
              <a:ext cx="382588" cy="114300"/>
            </a:xfrm>
            <a:custGeom>
              <a:avLst/>
              <a:gdLst>
                <a:gd name="T0" fmla="*/ 163 w 238"/>
                <a:gd name="T1" fmla="*/ 24 h 71"/>
                <a:gd name="T2" fmla="*/ 238 w 238"/>
                <a:gd name="T3" fmla="*/ 71 h 71"/>
                <a:gd name="T4" fmla="*/ 238 w 238"/>
                <a:gd name="T5" fmla="*/ 71 h 71"/>
                <a:gd name="T6" fmla="*/ 238 w 238"/>
                <a:gd name="T7" fmla="*/ 71 h 71"/>
                <a:gd name="T8" fmla="*/ 163 w 238"/>
                <a:gd name="T9" fmla="*/ 24 h 71"/>
                <a:gd name="T10" fmla="*/ 80 w 238"/>
                <a:gd name="T11" fmla="*/ 8 h 71"/>
                <a:gd name="T12" fmla="*/ 91 w 238"/>
                <a:gd name="T13" fmla="*/ 8 h 71"/>
                <a:gd name="T14" fmla="*/ 109 w 238"/>
                <a:gd name="T15" fmla="*/ 10 h 71"/>
                <a:gd name="T16" fmla="*/ 80 w 238"/>
                <a:gd name="T17" fmla="*/ 8 h 71"/>
                <a:gd name="T18" fmla="*/ 0 w 238"/>
                <a:gd name="T19" fmla="*/ 0 h 71"/>
                <a:gd name="T20" fmla="*/ 10 w 238"/>
                <a:gd name="T21" fmla="*/ 2 h 71"/>
                <a:gd name="T22" fmla="*/ 0 w 238"/>
                <a:gd name="T2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71">
                  <a:moveTo>
                    <a:pt x="163" y="24"/>
                  </a:moveTo>
                  <a:cubicBezTo>
                    <a:pt x="185" y="33"/>
                    <a:pt x="211" y="47"/>
                    <a:pt x="238" y="71"/>
                  </a:cubicBezTo>
                  <a:cubicBezTo>
                    <a:pt x="238" y="71"/>
                    <a:pt x="238" y="71"/>
                    <a:pt x="238" y="71"/>
                  </a:cubicBezTo>
                  <a:cubicBezTo>
                    <a:pt x="238" y="71"/>
                    <a:pt x="238" y="71"/>
                    <a:pt x="238" y="71"/>
                  </a:cubicBezTo>
                  <a:cubicBezTo>
                    <a:pt x="221" y="54"/>
                    <a:pt x="195" y="36"/>
                    <a:pt x="163" y="24"/>
                  </a:cubicBezTo>
                  <a:moveTo>
                    <a:pt x="80" y="8"/>
                  </a:moveTo>
                  <a:cubicBezTo>
                    <a:pt x="84" y="8"/>
                    <a:pt x="88" y="8"/>
                    <a:pt x="91" y="8"/>
                  </a:cubicBezTo>
                  <a:cubicBezTo>
                    <a:pt x="95" y="9"/>
                    <a:pt x="101" y="9"/>
                    <a:pt x="109" y="10"/>
                  </a:cubicBezTo>
                  <a:cubicBezTo>
                    <a:pt x="100" y="9"/>
                    <a:pt x="90" y="8"/>
                    <a:pt x="80" y="8"/>
                  </a:cubicBezTo>
                  <a:moveTo>
                    <a:pt x="0" y="0"/>
                  </a:moveTo>
                  <a:cubicBezTo>
                    <a:pt x="3" y="1"/>
                    <a:pt x="7" y="2"/>
                    <a:pt x="10"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Freeform 61">
              <a:extLst>
                <a:ext uri="{FF2B5EF4-FFF2-40B4-BE49-F238E27FC236}">
                  <a16:creationId xmlns:a16="http://schemas.microsoft.com/office/drawing/2014/main" id="{06F38FDC-84A0-442E-840F-AA37B0BD8BF3}"/>
                </a:ext>
              </a:extLst>
            </p:cNvPr>
            <p:cNvSpPr>
              <a:spLocks/>
            </p:cNvSpPr>
            <p:nvPr/>
          </p:nvSpPr>
          <p:spPr bwMode="auto">
            <a:xfrm>
              <a:off x="1439863" y="1830388"/>
              <a:ext cx="592138" cy="336550"/>
            </a:xfrm>
            <a:custGeom>
              <a:avLst/>
              <a:gdLst>
                <a:gd name="T0" fmla="*/ 36 w 368"/>
                <a:gd name="T1" fmla="*/ 0 h 209"/>
                <a:gd name="T2" fmla="*/ 25 w 368"/>
                <a:gd name="T3" fmla="*/ 20 h 209"/>
                <a:gd name="T4" fmla="*/ 16 w 368"/>
                <a:gd name="T5" fmla="*/ 88 h 209"/>
                <a:gd name="T6" fmla="*/ 41 w 368"/>
                <a:gd name="T7" fmla="*/ 136 h 209"/>
                <a:gd name="T8" fmla="*/ 53 w 368"/>
                <a:gd name="T9" fmla="*/ 135 h 209"/>
                <a:gd name="T10" fmla="*/ 157 w 368"/>
                <a:gd name="T11" fmla="*/ 125 h 209"/>
                <a:gd name="T12" fmla="*/ 262 w 368"/>
                <a:gd name="T13" fmla="*/ 150 h 209"/>
                <a:gd name="T14" fmla="*/ 327 w 368"/>
                <a:gd name="T15" fmla="*/ 209 h 209"/>
                <a:gd name="T16" fmla="*/ 330 w 368"/>
                <a:gd name="T17" fmla="*/ 204 h 209"/>
                <a:gd name="T18" fmla="*/ 311 w 368"/>
                <a:gd name="T19" fmla="*/ 146 h 209"/>
                <a:gd name="T20" fmla="*/ 314 w 368"/>
                <a:gd name="T21" fmla="*/ 145 h 209"/>
                <a:gd name="T22" fmla="*/ 363 w 368"/>
                <a:gd name="T23" fmla="*/ 207 h 209"/>
                <a:gd name="T24" fmla="*/ 364 w 368"/>
                <a:gd name="T25" fmla="*/ 207 h 209"/>
                <a:gd name="T26" fmla="*/ 361 w 368"/>
                <a:gd name="T27" fmla="*/ 180 h 209"/>
                <a:gd name="T28" fmla="*/ 352 w 368"/>
                <a:gd name="T29" fmla="*/ 150 h 209"/>
                <a:gd name="T30" fmla="*/ 315 w 368"/>
                <a:gd name="T31" fmla="*/ 96 h 209"/>
                <a:gd name="T32" fmla="*/ 315 w 368"/>
                <a:gd name="T33" fmla="*/ 96 h 209"/>
                <a:gd name="T34" fmla="*/ 240 w 368"/>
                <a:gd name="T35" fmla="*/ 49 h 209"/>
                <a:gd name="T36" fmla="*/ 186 w 368"/>
                <a:gd name="T37" fmla="*/ 35 h 209"/>
                <a:gd name="T38" fmla="*/ 168 w 368"/>
                <a:gd name="T39" fmla="*/ 33 h 209"/>
                <a:gd name="T40" fmla="*/ 157 w 368"/>
                <a:gd name="T41" fmla="*/ 33 h 209"/>
                <a:gd name="T42" fmla="*/ 150 w 368"/>
                <a:gd name="T43" fmla="*/ 32 h 209"/>
                <a:gd name="T44" fmla="*/ 87 w 368"/>
                <a:gd name="T45" fmla="*/ 27 h 209"/>
                <a:gd name="T46" fmla="*/ 77 w 368"/>
                <a:gd name="T47" fmla="*/ 25 h 209"/>
                <a:gd name="T48" fmla="*/ 40 w 368"/>
                <a:gd name="T49" fmla="*/ 0 h 209"/>
                <a:gd name="T50" fmla="*/ 36 w 368"/>
                <a:gd name="T5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8" h="209">
                  <a:moveTo>
                    <a:pt x="36" y="0"/>
                  </a:moveTo>
                  <a:cubicBezTo>
                    <a:pt x="33" y="0"/>
                    <a:pt x="27" y="3"/>
                    <a:pt x="25" y="20"/>
                  </a:cubicBezTo>
                  <a:cubicBezTo>
                    <a:pt x="21" y="47"/>
                    <a:pt x="35" y="51"/>
                    <a:pt x="16" y="88"/>
                  </a:cubicBezTo>
                  <a:cubicBezTo>
                    <a:pt x="0" y="119"/>
                    <a:pt x="18" y="136"/>
                    <a:pt x="41" y="136"/>
                  </a:cubicBezTo>
                  <a:cubicBezTo>
                    <a:pt x="45" y="136"/>
                    <a:pt x="49" y="135"/>
                    <a:pt x="53" y="135"/>
                  </a:cubicBezTo>
                  <a:cubicBezTo>
                    <a:pt x="67" y="131"/>
                    <a:pt x="112" y="125"/>
                    <a:pt x="157" y="125"/>
                  </a:cubicBezTo>
                  <a:cubicBezTo>
                    <a:pt x="199" y="125"/>
                    <a:pt x="243" y="131"/>
                    <a:pt x="262" y="150"/>
                  </a:cubicBezTo>
                  <a:cubicBezTo>
                    <a:pt x="294" y="182"/>
                    <a:pt x="318" y="209"/>
                    <a:pt x="327" y="209"/>
                  </a:cubicBezTo>
                  <a:cubicBezTo>
                    <a:pt x="329" y="209"/>
                    <a:pt x="330" y="207"/>
                    <a:pt x="330" y="204"/>
                  </a:cubicBezTo>
                  <a:cubicBezTo>
                    <a:pt x="330" y="186"/>
                    <a:pt x="294" y="153"/>
                    <a:pt x="311" y="146"/>
                  </a:cubicBezTo>
                  <a:cubicBezTo>
                    <a:pt x="312" y="145"/>
                    <a:pt x="313" y="145"/>
                    <a:pt x="314" y="145"/>
                  </a:cubicBezTo>
                  <a:cubicBezTo>
                    <a:pt x="332" y="145"/>
                    <a:pt x="363" y="207"/>
                    <a:pt x="363" y="207"/>
                  </a:cubicBezTo>
                  <a:cubicBezTo>
                    <a:pt x="363" y="207"/>
                    <a:pt x="364" y="207"/>
                    <a:pt x="364" y="207"/>
                  </a:cubicBezTo>
                  <a:cubicBezTo>
                    <a:pt x="365" y="207"/>
                    <a:pt x="368" y="205"/>
                    <a:pt x="361" y="180"/>
                  </a:cubicBezTo>
                  <a:cubicBezTo>
                    <a:pt x="352" y="150"/>
                    <a:pt x="352" y="150"/>
                    <a:pt x="352" y="150"/>
                  </a:cubicBezTo>
                  <a:cubicBezTo>
                    <a:pt x="352" y="150"/>
                    <a:pt x="347" y="127"/>
                    <a:pt x="315" y="96"/>
                  </a:cubicBezTo>
                  <a:cubicBezTo>
                    <a:pt x="315" y="96"/>
                    <a:pt x="315" y="96"/>
                    <a:pt x="315" y="96"/>
                  </a:cubicBezTo>
                  <a:cubicBezTo>
                    <a:pt x="288" y="72"/>
                    <a:pt x="262" y="58"/>
                    <a:pt x="240" y="49"/>
                  </a:cubicBezTo>
                  <a:cubicBezTo>
                    <a:pt x="223" y="43"/>
                    <a:pt x="205" y="38"/>
                    <a:pt x="186" y="35"/>
                  </a:cubicBezTo>
                  <a:cubicBezTo>
                    <a:pt x="178" y="34"/>
                    <a:pt x="172" y="34"/>
                    <a:pt x="168" y="33"/>
                  </a:cubicBezTo>
                  <a:cubicBezTo>
                    <a:pt x="165" y="33"/>
                    <a:pt x="161" y="33"/>
                    <a:pt x="157" y="33"/>
                  </a:cubicBezTo>
                  <a:cubicBezTo>
                    <a:pt x="154" y="32"/>
                    <a:pt x="152" y="32"/>
                    <a:pt x="150" y="32"/>
                  </a:cubicBezTo>
                  <a:cubicBezTo>
                    <a:pt x="123" y="32"/>
                    <a:pt x="103" y="30"/>
                    <a:pt x="87" y="27"/>
                  </a:cubicBezTo>
                  <a:cubicBezTo>
                    <a:pt x="84" y="27"/>
                    <a:pt x="80" y="26"/>
                    <a:pt x="77" y="25"/>
                  </a:cubicBezTo>
                  <a:cubicBezTo>
                    <a:pt x="56" y="19"/>
                    <a:pt x="45" y="10"/>
                    <a:pt x="40" y="0"/>
                  </a:cubicBezTo>
                  <a:cubicBezTo>
                    <a:pt x="40" y="0"/>
                    <a:pt x="38"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Freeform 62">
              <a:extLst>
                <a:ext uri="{FF2B5EF4-FFF2-40B4-BE49-F238E27FC236}">
                  <a16:creationId xmlns:a16="http://schemas.microsoft.com/office/drawing/2014/main" id="{D2A5541A-46AD-4512-9137-1818F9688766}"/>
                </a:ext>
              </a:extLst>
            </p:cNvPr>
            <p:cNvSpPr>
              <a:spLocks/>
            </p:cNvSpPr>
            <p:nvPr/>
          </p:nvSpPr>
          <p:spPr bwMode="auto">
            <a:xfrm>
              <a:off x="635000" y="2006600"/>
              <a:ext cx="611188" cy="230188"/>
            </a:xfrm>
            <a:custGeom>
              <a:avLst/>
              <a:gdLst>
                <a:gd name="T0" fmla="*/ 33 w 379"/>
                <a:gd name="T1" fmla="*/ 12 h 142"/>
                <a:gd name="T2" fmla="*/ 3 w 379"/>
                <a:gd name="T3" fmla="*/ 44 h 142"/>
                <a:gd name="T4" fmla="*/ 55 w 379"/>
                <a:gd name="T5" fmla="*/ 100 h 142"/>
                <a:gd name="T6" fmla="*/ 250 w 379"/>
                <a:gd name="T7" fmla="*/ 96 h 142"/>
                <a:gd name="T8" fmla="*/ 366 w 379"/>
                <a:gd name="T9" fmla="*/ 128 h 142"/>
                <a:gd name="T10" fmla="*/ 297 w 379"/>
                <a:gd name="T11" fmla="*/ 52 h 142"/>
                <a:gd name="T12" fmla="*/ 230 w 379"/>
                <a:gd name="T13" fmla="*/ 11 h 142"/>
                <a:gd name="T14" fmla="*/ 131 w 379"/>
                <a:gd name="T15" fmla="*/ 23 h 142"/>
                <a:gd name="T16" fmla="*/ 33 w 379"/>
                <a:gd name="T17"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142">
                  <a:moveTo>
                    <a:pt x="33" y="12"/>
                  </a:moveTo>
                  <a:cubicBezTo>
                    <a:pt x="33" y="12"/>
                    <a:pt x="5" y="8"/>
                    <a:pt x="3" y="44"/>
                  </a:cubicBezTo>
                  <a:cubicBezTo>
                    <a:pt x="0" y="81"/>
                    <a:pt x="11" y="98"/>
                    <a:pt x="55" y="100"/>
                  </a:cubicBezTo>
                  <a:cubicBezTo>
                    <a:pt x="99" y="102"/>
                    <a:pt x="213" y="70"/>
                    <a:pt x="250" y="96"/>
                  </a:cubicBezTo>
                  <a:cubicBezTo>
                    <a:pt x="288" y="121"/>
                    <a:pt x="353" y="142"/>
                    <a:pt x="366" y="128"/>
                  </a:cubicBezTo>
                  <a:cubicBezTo>
                    <a:pt x="379" y="113"/>
                    <a:pt x="319" y="90"/>
                    <a:pt x="297" y="52"/>
                  </a:cubicBezTo>
                  <a:cubicBezTo>
                    <a:pt x="276" y="15"/>
                    <a:pt x="279" y="0"/>
                    <a:pt x="230" y="11"/>
                  </a:cubicBezTo>
                  <a:cubicBezTo>
                    <a:pt x="180" y="21"/>
                    <a:pt x="201" y="25"/>
                    <a:pt x="131" y="23"/>
                  </a:cubicBezTo>
                  <a:cubicBezTo>
                    <a:pt x="61" y="21"/>
                    <a:pt x="56" y="12"/>
                    <a:pt x="3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Freeform 63">
              <a:extLst>
                <a:ext uri="{FF2B5EF4-FFF2-40B4-BE49-F238E27FC236}">
                  <a16:creationId xmlns:a16="http://schemas.microsoft.com/office/drawing/2014/main" id="{40A69C44-D7B9-4C73-A0A1-D90F55CA7858}"/>
                </a:ext>
              </a:extLst>
            </p:cNvPr>
            <p:cNvSpPr>
              <a:spLocks/>
            </p:cNvSpPr>
            <p:nvPr/>
          </p:nvSpPr>
          <p:spPr bwMode="auto">
            <a:xfrm>
              <a:off x="1392238" y="2030413"/>
              <a:ext cx="547688" cy="279400"/>
            </a:xfrm>
            <a:custGeom>
              <a:avLst/>
              <a:gdLst>
                <a:gd name="T0" fmla="*/ 80 w 340"/>
                <a:gd name="T1" fmla="*/ 14 h 174"/>
                <a:gd name="T2" fmla="*/ 69 w 340"/>
                <a:gd name="T3" fmla="*/ 51 h 174"/>
                <a:gd name="T4" fmla="*/ 21 w 340"/>
                <a:gd name="T5" fmla="*/ 100 h 174"/>
                <a:gd name="T6" fmla="*/ 72 w 340"/>
                <a:gd name="T7" fmla="*/ 102 h 174"/>
                <a:gd name="T8" fmla="*/ 169 w 340"/>
                <a:gd name="T9" fmla="*/ 69 h 174"/>
                <a:gd name="T10" fmla="*/ 255 w 340"/>
                <a:gd name="T11" fmla="*/ 122 h 174"/>
                <a:gd name="T12" fmla="*/ 269 w 340"/>
                <a:gd name="T13" fmla="*/ 155 h 174"/>
                <a:gd name="T14" fmla="*/ 286 w 340"/>
                <a:gd name="T15" fmla="*/ 114 h 174"/>
                <a:gd name="T16" fmla="*/ 317 w 340"/>
                <a:gd name="T17" fmla="*/ 88 h 174"/>
                <a:gd name="T18" fmla="*/ 305 w 340"/>
                <a:gd name="T19" fmla="*/ 42 h 174"/>
                <a:gd name="T20" fmla="*/ 192 w 340"/>
                <a:gd name="T21" fmla="*/ 0 h 174"/>
                <a:gd name="T22" fmla="*/ 80 w 340"/>
                <a:gd name="T23" fmla="*/ 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74">
                  <a:moveTo>
                    <a:pt x="80" y="14"/>
                  </a:moveTo>
                  <a:cubicBezTo>
                    <a:pt x="80" y="14"/>
                    <a:pt x="61" y="25"/>
                    <a:pt x="69" y="51"/>
                  </a:cubicBezTo>
                  <a:cubicBezTo>
                    <a:pt x="76" y="77"/>
                    <a:pt x="42" y="90"/>
                    <a:pt x="21" y="100"/>
                  </a:cubicBezTo>
                  <a:cubicBezTo>
                    <a:pt x="0" y="109"/>
                    <a:pt x="24" y="120"/>
                    <a:pt x="72" y="102"/>
                  </a:cubicBezTo>
                  <a:cubicBezTo>
                    <a:pt x="121" y="85"/>
                    <a:pt x="127" y="66"/>
                    <a:pt x="169" y="69"/>
                  </a:cubicBezTo>
                  <a:cubicBezTo>
                    <a:pt x="211" y="73"/>
                    <a:pt x="252" y="90"/>
                    <a:pt x="255" y="122"/>
                  </a:cubicBezTo>
                  <a:cubicBezTo>
                    <a:pt x="258" y="155"/>
                    <a:pt x="263" y="174"/>
                    <a:pt x="269" y="155"/>
                  </a:cubicBezTo>
                  <a:cubicBezTo>
                    <a:pt x="276" y="136"/>
                    <a:pt x="288" y="134"/>
                    <a:pt x="286" y="114"/>
                  </a:cubicBezTo>
                  <a:cubicBezTo>
                    <a:pt x="284" y="93"/>
                    <a:pt x="295" y="87"/>
                    <a:pt x="317" y="88"/>
                  </a:cubicBezTo>
                  <a:cubicBezTo>
                    <a:pt x="340" y="90"/>
                    <a:pt x="327" y="67"/>
                    <a:pt x="305" y="42"/>
                  </a:cubicBezTo>
                  <a:cubicBezTo>
                    <a:pt x="283" y="17"/>
                    <a:pt x="277" y="0"/>
                    <a:pt x="192" y="0"/>
                  </a:cubicBezTo>
                  <a:cubicBezTo>
                    <a:pt x="106" y="0"/>
                    <a:pt x="90" y="3"/>
                    <a:pt x="8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 name="Freeform 64">
              <a:extLst>
                <a:ext uri="{FF2B5EF4-FFF2-40B4-BE49-F238E27FC236}">
                  <a16:creationId xmlns:a16="http://schemas.microsoft.com/office/drawing/2014/main" id="{5D6F6104-BFCB-4CC7-BF02-6A11E89B24E3}"/>
                </a:ext>
              </a:extLst>
            </p:cNvPr>
            <p:cNvSpPr>
              <a:spLocks/>
            </p:cNvSpPr>
            <p:nvPr/>
          </p:nvSpPr>
          <p:spPr bwMode="auto">
            <a:xfrm>
              <a:off x="1882775" y="2297113"/>
              <a:ext cx="180975" cy="127000"/>
            </a:xfrm>
            <a:custGeom>
              <a:avLst/>
              <a:gdLst>
                <a:gd name="T0" fmla="*/ 110 w 113"/>
                <a:gd name="T1" fmla="*/ 0 h 79"/>
                <a:gd name="T2" fmla="*/ 113 w 113"/>
                <a:gd name="T3" fmla="*/ 41 h 79"/>
                <a:gd name="T4" fmla="*/ 0 w 113"/>
                <a:gd name="T5" fmla="*/ 55 h 79"/>
                <a:gd name="T6" fmla="*/ 110 w 113"/>
                <a:gd name="T7" fmla="*/ 0 h 79"/>
              </a:gdLst>
              <a:ahLst/>
              <a:cxnLst>
                <a:cxn ang="0">
                  <a:pos x="T0" y="T1"/>
                </a:cxn>
                <a:cxn ang="0">
                  <a:pos x="T2" y="T3"/>
                </a:cxn>
                <a:cxn ang="0">
                  <a:pos x="T4" y="T5"/>
                </a:cxn>
                <a:cxn ang="0">
                  <a:pos x="T6" y="T7"/>
                </a:cxn>
              </a:cxnLst>
              <a:rect l="0" t="0" r="r" b="b"/>
              <a:pathLst>
                <a:path w="113" h="79">
                  <a:moveTo>
                    <a:pt x="110" y="0"/>
                  </a:moveTo>
                  <a:cubicBezTo>
                    <a:pt x="113" y="41"/>
                    <a:pt x="113" y="41"/>
                    <a:pt x="113" y="41"/>
                  </a:cubicBezTo>
                  <a:cubicBezTo>
                    <a:pt x="113" y="41"/>
                    <a:pt x="81" y="77"/>
                    <a:pt x="0" y="55"/>
                  </a:cubicBezTo>
                  <a:cubicBezTo>
                    <a:pt x="0" y="55"/>
                    <a:pt x="113" y="79"/>
                    <a:pt x="1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3" name="Freeform 65">
              <a:extLst>
                <a:ext uri="{FF2B5EF4-FFF2-40B4-BE49-F238E27FC236}">
                  <a16:creationId xmlns:a16="http://schemas.microsoft.com/office/drawing/2014/main" id="{9603B0E7-BE19-4DED-94B7-EB7C26198B7D}"/>
                </a:ext>
              </a:extLst>
            </p:cNvPr>
            <p:cNvSpPr>
              <a:spLocks/>
            </p:cNvSpPr>
            <p:nvPr/>
          </p:nvSpPr>
          <p:spPr bwMode="auto">
            <a:xfrm>
              <a:off x="966788" y="1071563"/>
              <a:ext cx="30163" cy="150813"/>
            </a:xfrm>
            <a:custGeom>
              <a:avLst/>
              <a:gdLst>
                <a:gd name="T0" fmla="*/ 16 w 19"/>
                <a:gd name="T1" fmla="*/ 4 h 93"/>
                <a:gd name="T2" fmla="*/ 12 w 19"/>
                <a:gd name="T3" fmla="*/ 7 h 93"/>
                <a:gd name="T4" fmla="*/ 17 w 19"/>
                <a:gd name="T5" fmla="*/ 17 h 93"/>
                <a:gd name="T6" fmla="*/ 14 w 19"/>
                <a:gd name="T7" fmla="*/ 92 h 93"/>
                <a:gd name="T8" fmla="*/ 11 w 19"/>
                <a:gd name="T9" fmla="*/ 79 h 93"/>
                <a:gd name="T10" fmla="*/ 10 w 19"/>
                <a:gd name="T11" fmla="*/ 31 h 93"/>
                <a:gd name="T12" fmla="*/ 1 w 19"/>
                <a:gd name="T13" fmla="*/ 37 h 93"/>
                <a:gd name="T14" fmla="*/ 16 w 19"/>
                <a:gd name="T15" fmla="*/ 4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3">
                  <a:moveTo>
                    <a:pt x="16" y="4"/>
                  </a:moveTo>
                  <a:cubicBezTo>
                    <a:pt x="16" y="4"/>
                    <a:pt x="12" y="3"/>
                    <a:pt x="12" y="7"/>
                  </a:cubicBezTo>
                  <a:cubicBezTo>
                    <a:pt x="12" y="11"/>
                    <a:pt x="17" y="11"/>
                    <a:pt x="17" y="17"/>
                  </a:cubicBezTo>
                  <a:cubicBezTo>
                    <a:pt x="17" y="23"/>
                    <a:pt x="19" y="92"/>
                    <a:pt x="14" y="92"/>
                  </a:cubicBezTo>
                  <a:cubicBezTo>
                    <a:pt x="9" y="92"/>
                    <a:pt x="10" y="93"/>
                    <a:pt x="11" y="79"/>
                  </a:cubicBezTo>
                  <a:cubicBezTo>
                    <a:pt x="13" y="65"/>
                    <a:pt x="12" y="41"/>
                    <a:pt x="10" y="31"/>
                  </a:cubicBezTo>
                  <a:cubicBezTo>
                    <a:pt x="8" y="21"/>
                    <a:pt x="2" y="55"/>
                    <a:pt x="1" y="37"/>
                  </a:cubicBezTo>
                  <a:cubicBezTo>
                    <a:pt x="0" y="18"/>
                    <a:pt x="2"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4" name="Freeform 66">
              <a:extLst>
                <a:ext uri="{FF2B5EF4-FFF2-40B4-BE49-F238E27FC236}">
                  <a16:creationId xmlns:a16="http://schemas.microsoft.com/office/drawing/2014/main" id="{2765EA36-AE72-44F9-8BD6-4A56D571901E}"/>
                </a:ext>
              </a:extLst>
            </p:cNvPr>
            <p:cNvSpPr>
              <a:spLocks/>
            </p:cNvSpPr>
            <p:nvPr/>
          </p:nvSpPr>
          <p:spPr bwMode="auto">
            <a:xfrm>
              <a:off x="985838" y="1076325"/>
              <a:ext cx="211138" cy="33338"/>
            </a:xfrm>
            <a:custGeom>
              <a:avLst/>
              <a:gdLst>
                <a:gd name="T0" fmla="*/ 0 w 131"/>
                <a:gd name="T1" fmla="*/ 4 h 20"/>
                <a:gd name="T2" fmla="*/ 15 w 131"/>
                <a:gd name="T3" fmla="*/ 9 h 20"/>
                <a:gd name="T4" fmla="*/ 116 w 131"/>
                <a:gd name="T5" fmla="*/ 13 h 20"/>
                <a:gd name="T6" fmla="*/ 128 w 131"/>
                <a:gd name="T7" fmla="*/ 16 h 20"/>
                <a:gd name="T8" fmla="*/ 131 w 131"/>
                <a:gd name="T9" fmla="*/ 16 h 20"/>
                <a:gd name="T10" fmla="*/ 125 w 131"/>
                <a:gd name="T11" fmla="*/ 9 h 20"/>
                <a:gd name="T12" fmla="*/ 0 w 131"/>
                <a:gd name="T13" fmla="*/ 4 h 20"/>
              </a:gdLst>
              <a:ahLst/>
              <a:cxnLst>
                <a:cxn ang="0">
                  <a:pos x="T0" y="T1"/>
                </a:cxn>
                <a:cxn ang="0">
                  <a:pos x="T2" y="T3"/>
                </a:cxn>
                <a:cxn ang="0">
                  <a:pos x="T4" y="T5"/>
                </a:cxn>
                <a:cxn ang="0">
                  <a:pos x="T6" y="T7"/>
                </a:cxn>
                <a:cxn ang="0">
                  <a:pos x="T8" y="T9"/>
                </a:cxn>
                <a:cxn ang="0">
                  <a:pos x="T10" y="T11"/>
                </a:cxn>
                <a:cxn ang="0">
                  <a:pos x="T12" y="T13"/>
                </a:cxn>
              </a:cxnLst>
              <a:rect l="0" t="0" r="r" b="b"/>
              <a:pathLst>
                <a:path w="131" h="20">
                  <a:moveTo>
                    <a:pt x="0" y="4"/>
                  </a:moveTo>
                  <a:cubicBezTo>
                    <a:pt x="0" y="8"/>
                    <a:pt x="1" y="10"/>
                    <a:pt x="15" y="9"/>
                  </a:cubicBezTo>
                  <a:cubicBezTo>
                    <a:pt x="29" y="9"/>
                    <a:pt x="110" y="13"/>
                    <a:pt x="116" y="13"/>
                  </a:cubicBezTo>
                  <a:cubicBezTo>
                    <a:pt x="121" y="13"/>
                    <a:pt x="126" y="13"/>
                    <a:pt x="128" y="16"/>
                  </a:cubicBezTo>
                  <a:cubicBezTo>
                    <a:pt x="131" y="19"/>
                    <a:pt x="131" y="20"/>
                    <a:pt x="131" y="16"/>
                  </a:cubicBezTo>
                  <a:cubicBezTo>
                    <a:pt x="130" y="12"/>
                    <a:pt x="130" y="9"/>
                    <a:pt x="125" y="9"/>
                  </a:cubicBezTo>
                  <a:cubicBezTo>
                    <a:pt x="120" y="8"/>
                    <a:pt x="0" y="0"/>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5" name="Freeform 67">
              <a:extLst>
                <a:ext uri="{FF2B5EF4-FFF2-40B4-BE49-F238E27FC236}">
                  <a16:creationId xmlns:a16="http://schemas.microsoft.com/office/drawing/2014/main" id="{459328E0-4ACF-491C-A2F3-79CA6F755D02}"/>
                </a:ext>
              </a:extLst>
            </p:cNvPr>
            <p:cNvSpPr>
              <a:spLocks/>
            </p:cNvSpPr>
            <p:nvPr/>
          </p:nvSpPr>
          <p:spPr bwMode="auto">
            <a:xfrm>
              <a:off x="1187450" y="1081088"/>
              <a:ext cx="20638" cy="106363"/>
            </a:xfrm>
            <a:custGeom>
              <a:avLst/>
              <a:gdLst>
                <a:gd name="T0" fmla="*/ 4 w 13"/>
                <a:gd name="T1" fmla="*/ 1 h 66"/>
                <a:gd name="T2" fmla="*/ 9 w 13"/>
                <a:gd name="T3" fmla="*/ 11 h 66"/>
                <a:gd name="T4" fmla="*/ 10 w 13"/>
                <a:gd name="T5" fmla="*/ 66 h 66"/>
                <a:gd name="T6" fmla="*/ 6 w 13"/>
                <a:gd name="T7" fmla="*/ 15 h 66"/>
                <a:gd name="T8" fmla="*/ 0 w 13"/>
                <a:gd name="T9" fmla="*/ 6 h 66"/>
                <a:gd name="T10" fmla="*/ 4 w 13"/>
                <a:gd name="T11" fmla="*/ 1 h 66"/>
              </a:gdLst>
              <a:ahLst/>
              <a:cxnLst>
                <a:cxn ang="0">
                  <a:pos x="T0" y="T1"/>
                </a:cxn>
                <a:cxn ang="0">
                  <a:pos x="T2" y="T3"/>
                </a:cxn>
                <a:cxn ang="0">
                  <a:pos x="T4" y="T5"/>
                </a:cxn>
                <a:cxn ang="0">
                  <a:pos x="T6" y="T7"/>
                </a:cxn>
                <a:cxn ang="0">
                  <a:pos x="T8" y="T9"/>
                </a:cxn>
                <a:cxn ang="0">
                  <a:pos x="T10" y="T11"/>
                </a:cxn>
              </a:cxnLst>
              <a:rect l="0" t="0" r="r" b="b"/>
              <a:pathLst>
                <a:path w="13" h="66">
                  <a:moveTo>
                    <a:pt x="4" y="1"/>
                  </a:moveTo>
                  <a:cubicBezTo>
                    <a:pt x="4" y="1"/>
                    <a:pt x="8" y="10"/>
                    <a:pt x="9" y="11"/>
                  </a:cubicBezTo>
                  <a:cubicBezTo>
                    <a:pt x="9" y="12"/>
                    <a:pt x="13" y="55"/>
                    <a:pt x="10" y="66"/>
                  </a:cubicBezTo>
                  <a:cubicBezTo>
                    <a:pt x="10" y="66"/>
                    <a:pt x="11" y="27"/>
                    <a:pt x="6" y="15"/>
                  </a:cubicBezTo>
                  <a:cubicBezTo>
                    <a:pt x="6" y="15"/>
                    <a:pt x="6" y="7"/>
                    <a:pt x="0" y="6"/>
                  </a:cubicBezTo>
                  <a:cubicBezTo>
                    <a:pt x="0" y="6"/>
                    <a:pt x="1"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Freeform 68">
              <a:extLst>
                <a:ext uri="{FF2B5EF4-FFF2-40B4-BE49-F238E27FC236}">
                  <a16:creationId xmlns:a16="http://schemas.microsoft.com/office/drawing/2014/main" id="{094786D3-5E0C-4F4E-91E2-97437396FF1E}"/>
                </a:ext>
              </a:extLst>
            </p:cNvPr>
            <p:cNvSpPr>
              <a:spLocks/>
            </p:cNvSpPr>
            <p:nvPr/>
          </p:nvSpPr>
          <p:spPr bwMode="auto">
            <a:xfrm>
              <a:off x="1193800" y="1079500"/>
              <a:ext cx="33338" cy="31750"/>
            </a:xfrm>
            <a:custGeom>
              <a:avLst/>
              <a:gdLst>
                <a:gd name="T0" fmla="*/ 0 w 20"/>
                <a:gd name="T1" fmla="*/ 1 h 19"/>
                <a:gd name="T2" fmla="*/ 2 w 20"/>
                <a:gd name="T3" fmla="*/ 7 h 19"/>
                <a:gd name="T4" fmla="*/ 15 w 20"/>
                <a:gd name="T5" fmla="*/ 7 h 19"/>
                <a:gd name="T6" fmla="*/ 18 w 20"/>
                <a:gd name="T7" fmla="*/ 19 h 19"/>
                <a:gd name="T8" fmla="*/ 14 w 20"/>
                <a:gd name="T9" fmla="*/ 0 h 19"/>
                <a:gd name="T10" fmla="*/ 0 w 20"/>
                <a:gd name="T11" fmla="*/ 1 h 19"/>
              </a:gdLst>
              <a:ahLst/>
              <a:cxnLst>
                <a:cxn ang="0">
                  <a:pos x="T0" y="T1"/>
                </a:cxn>
                <a:cxn ang="0">
                  <a:pos x="T2" y="T3"/>
                </a:cxn>
                <a:cxn ang="0">
                  <a:pos x="T4" y="T5"/>
                </a:cxn>
                <a:cxn ang="0">
                  <a:pos x="T6" y="T7"/>
                </a:cxn>
                <a:cxn ang="0">
                  <a:pos x="T8" y="T9"/>
                </a:cxn>
                <a:cxn ang="0">
                  <a:pos x="T10" y="T11"/>
                </a:cxn>
              </a:cxnLst>
              <a:rect l="0" t="0" r="r" b="b"/>
              <a:pathLst>
                <a:path w="20" h="19">
                  <a:moveTo>
                    <a:pt x="0" y="1"/>
                  </a:moveTo>
                  <a:cubicBezTo>
                    <a:pt x="0" y="1"/>
                    <a:pt x="1" y="5"/>
                    <a:pt x="2" y="7"/>
                  </a:cubicBezTo>
                  <a:cubicBezTo>
                    <a:pt x="4" y="9"/>
                    <a:pt x="13" y="2"/>
                    <a:pt x="15" y="7"/>
                  </a:cubicBezTo>
                  <a:cubicBezTo>
                    <a:pt x="16" y="12"/>
                    <a:pt x="18" y="9"/>
                    <a:pt x="18" y="19"/>
                  </a:cubicBezTo>
                  <a:cubicBezTo>
                    <a:pt x="18" y="19"/>
                    <a:pt x="20" y="4"/>
                    <a:pt x="14"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Freeform 69">
              <a:extLst>
                <a:ext uri="{FF2B5EF4-FFF2-40B4-BE49-F238E27FC236}">
                  <a16:creationId xmlns:a16="http://schemas.microsoft.com/office/drawing/2014/main" id="{1BD8A76F-5332-41AD-9215-CE34680EDC1F}"/>
                </a:ext>
              </a:extLst>
            </p:cNvPr>
            <p:cNvSpPr>
              <a:spLocks/>
            </p:cNvSpPr>
            <p:nvPr/>
          </p:nvSpPr>
          <p:spPr bwMode="auto">
            <a:xfrm>
              <a:off x="1216025" y="1047750"/>
              <a:ext cx="117475" cy="176213"/>
            </a:xfrm>
            <a:custGeom>
              <a:avLst/>
              <a:gdLst>
                <a:gd name="T0" fmla="*/ 36 w 72"/>
                <a:gd name="T1" fmla="*/ 0 h 109"/>
                <a:gd name="T2" fmla="*/ 17 w 72"/>
                <a:gd name="T3" fmla="*/ 11 h 109"/>
                <a:gd name="T4" fmla="*/ 20 w 72"/>
                <a:gd name="T5" fmla="*/ 18 h 109"/>
                <a:gd name="T6" fmla="*/ 33 w 72"/>
                <a:gd name="T7" fmla="*/ 22 h 109"/>
                <a:gd name="T8" fmla="*/ 19 w 72"/>
                <a:gd name="T9" fmla="*/ 65 h 109"/>
                <a:gd name="T10" fmla="*/ 23 w 72"/>
                <a:gd name="T11" fmla="*/ 95 h 109"/>
                <a:gd name="T12" fmla="*/ 66 w 72"/>
                <a:gd name="T13" fmla="*/ 99 h 109"/>
                <a:gd name="T14" fmla="*/ 62 w 72"/>
                <a:gd name="T15" fmla="*/ 104 h 109"/>
                <a:gd name="T16" fmla="*/ 9 w 72"/>
                <a:gd name="T17" fmla="*/ 100 h 109"/>
                <a:gd name="T18" fmla="*/ 6 w 72"/>
                <a:gd name="T19" fmla="*/ 59 h 109"/>
                <a:gd name="T20" fmla="*/ 0 w 72"/>
                <a:gd name="T21" fmla="*/ 20 h 109"/>
                <a:gd name="T22" fmla="*/ 36 w 72"/>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09">
                  <a:moveTo>
                    <a:pt x="36" y="0"/>
                  </a:moveTo>
                  <a:cubicBezTo>
                    <a:pt x="36" y="0"/>
                    <a:pt x="22" y="4"/>
                    <a:pt x="17" y="11"/>
                  </a:cubicBezTo>
                  <a:cubicBezTo>
                    <a:pt x="12" y="18"/>
                    <a:pt x="11" y="21"/>
                    <a:pt x="20" y="18"/>
                  </a:cubicBezTo>
                  <a:cubicBezTo>
                    <a:pt x="30" y="15"/>
                    <a:pt x="39" y="10"/>
                    <a:pt x="33" y="22"/>
                  </a:cubicBezTo>
                  <a:cubicBezTo>
                    <a:pt x="26" y="35"/>
                    <a:pt x="12" y="47"/>
                    <a:pt x="19" y="65"/>
                  </a:cubicBezTo>
                  <a:cubicBezTo>
                    <a:pt x="25" y="82"/>
                    <a:pt x="6" y="88"/>
                    <a:pt x="23" y="95"/>
                  </a:cubicBezTo>
                  <a:cubicBezTo>
                    <a:pt x="39" y="102"/>
                    <a:pt x="66" y="99"/>
                    <a:pt x="66" y="99"/>
                  </a:cubicBezTo>
                  <a:cubicBezTo>
                    <a:pt x="66" y="99"/>
                    <a:pt x="72" y="104"/>
                    <a:pt x="62" y="104"/>
                  </a:cubicBezTo>
                  <a:cubicBezTo>
                    <a:pt x="53" y="104"/>
                    <a:pt x="14" y="109"/>
                    <a:pt x="9" y="100"/>
                  </a:cubicBezTo>
                  <a:cubicBezTo>
                    <a:pt x="4" y="92"/>
                    <a:pt x="7" y="77"/>
                    <a:pt x="6" y="59"/>
                  </a:cubicBezTo>
                  <a:cubicBezTo>
                    <a:pt x="5" y="40"/>
                    <a:pt x="6" y="25"/>
                    <a:pt x="0" y="20"/>
                  </a:cubicBezTo>
                  <a:cubicBezTo>
                    <a:pt x="0" y="20"/>
                    <a:pt x="8" y="1"/>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Freeform 70">
              <a:extLst>
                <a:ext uri="{FF2B5EF4-FFF2-40B4-BE49-F238E27FC236}">
                  <a16:creationId xmlns:a16="http://schemas.microsoft.com/office/drawing/2014/main" id="{D3C5C01E-D33F-4CA0-8CD8-7719F40F408B}"/>
                </a:ext>
              </a:extLst>
            </p:cNvPr>
            <p:cNvSpPr>
              <a:spLocks/>
            </p:cNvSpPr>
            <p:nvPr/>
          </p:nvSpPr>
          <p:spPr bwMode="auto">
            <a:xfrm>
              <a:off x="1223963" y="1212850"/>
              <a:ext cx="47625" cy="106363"/>
            </a:xfrm>
            <a:custGeom>
              <a:avLst/>
              <a:gdLst>
                <a:gd name="T0" fmla="*/ 30 w 30"/>
                <a:gd name="T1" fmla="*/ 5 h 66"/>
                <a:gd name="T2" fmla="*/ 11 w 30"/>
                <a:gd name="T3" fmla="*/ 9 h 66"/>
                <a:gd name="T4" fmla="*/ 11 w 30"/>
                <a:gd name="T5" fmla="*/ 25 h 66"/>
                <a:gd name="T6" fmla="*/ 8 w 30"/>
                <a:gd name="T7" fmla="*/ 6 h 66"/>
                <a:gd name="T8" fmla="*/ 8 w 30"/>
                <a:gd name="T9" fmla="*/ 0 h 66"/>
                <a:gd name="T10" fmla="*/ 1 w 30"/>
                <a:gd name="T11" fmla="*/ 1 h 66"/>
                <a:gd name="T12" fmla="*/ 1 w 30"/>
                <a:gd name="T13" fmla="*/ 31 h 66"/>
                <a:gd name="T14" fmla="*/ 12 w 30"/>
                <a:gd name="T15" fmla="*/ 53 h 66"/>
                <a:gd name="T16" fmla="*/ 22 w 30"/>
                <a:gd name="T17" fmla="*/ 32 h 66"/>
                <a:gd name="T18" fmla="*/ 30 w 30"/>
                <a:gd name="T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6">
                  <a:moveTo>
                    <a:pt x="30" y="5"/>
                  </a:moveTo>
                  <a:cubicBezTo>
                    <a:pt x="30" y="5"/>
                    <a:pt x="12" y="1"/>
                    <a:pt x="11" y="9"/>
                  </a:cubicBezTo>
                  <a:cubicBezTo>
                    <a:pt x="11" y="18"/>
                    <a:pt x="11" y="25"/>
                    <a:pt x="11" y="25"/>
                  </a:cubicBezTo>
                  <a:cubicBezTo>
                    <a:pt x="11" y="25"/>
                    <a:pt x="10" y="9"/>
                    <a:pt x="8" y="6"/>
                  </a:cubicBezTo>
                  <a:cubicBezTo>
                    <a:pt x="6" y="3"/>
                    <a:pt x="8" y="0"/>
                    <a:pt x="8" y="0"/>
                  </a:cubicBezTo>
                  <a:cubicBezTo>
                    <a:pt x="8" y="0"/>
                    <a:pt x="5" y="3"/>
                    <a:pt x="1" y="1"/>
                  </a:cubicBezTo>
                  <a:cubicBezTo>
                    <a:pt x="1" y="31"/>
                    <a:pt x="1" y="31"/>
                    <a:pt x="1" y="31"/>
                  </a:cubicBezTo>
                  <a:cubicBezTo>
                    <a:pt x="1" y="31"/>
                    <a:pt x="0" y="40"/>
                    <a:pt x="12" y="53"/>
                  </a:cubicBezTo>
                  <a:cubicBezTo>
                    <a:pt x="25" y="66"/>
                    <a:pt x="23" y="43"/>
                    <a:pt x="22" y="32"/>
                  </a:cubicBezTo>
                  <a:cubicBezTo>
                    <a:pt x="22" y="20"/>
                    <a:pt x="22" y="4"/>
                    <a:pt x="3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Freeform 71">
              <a:extLst>
                <a:ext uri="{FF2B5EF4-FFF2-40B4-BE49-F238E27FC236}">
                  <a16:creationId xmlns:a16="http://schemas.microsoft.com/office/drawing/2014/main" id="{D6B392D7-48C4-4423-A6FD-E1BB089DFDFD}"/>
                </a:ext>
              </a:extLst>
            </p:cNvPr>
            <p:cNvSpPr>
              <a:spLocks/>
            </p:cNvSpPr>
            <p:nvPr/>
          </p:nvSpPr>
          <p:spPr bwMode="auto">
            <a:xfrm>
              <a:off x="1292225" y="1211263"/>
              <a:ext cx="58738" cy="93663"/>
            </a:xfrm>
            <a:custGeom>
              <a:avLst/>
              <a:gdLst>
                <a:gd name="T0" fmla="*/ 10 w 36"/>
                <a:gd name="T1" fmla="*/ 3 h 58"/>
                <a:gd name="T2" fmla="*/ 32 w 36"/>
                <a:gd name="T3" fmla="*/ 6 h 58"/>
                <a:gd name="T4" fmla="*/ 27 w 36"/>
                <a:gd name="T5" fmla="*/ 53 h 58"/>
                <a:gd name="T6" fmla="*/ 18 w 36"/>
                <a:gd name="T7" fmla="*/ 20 h 58"/>
                <a:gd name="T8" fmla="*/ 10 w 36"/>
                <a:gd name="T9" fmla="*/ 3 h 58"/>
              </a:gdLst>
              <a:ahLst/>
              <a:cxnLst>
                <a:cxn ang="0">
                  <a:pos x="T0" y="T1"/>
                </a:cxn>
                <a:cxn ang="0">
                  <a:pos x="T2" y="T3"/>
                </a:cxn>
                <a:cxn ang="0">
                  <a:pos x="T4" y="T5"/>
                </a:cxn>
                <a:cxn ang="0">
                  <a:pos x="T6" y="T7"/>
                </a:cxn>
                <a:cxn ang="0">
                  <a:pos x="T8" y="T9"/>
                </a:cxn>
              </a:cxnLst>
              <a:rect l="0" t="0" r="r" b="b"/>
              <a:pathLst>
                <a:path w="36" h="58">
                  <a:moveTo>
                    <a:pt x="10" y="3"/>
                  </a:moveTo>
                  <a:cubicBezTo>
                    <a:pt x="10" y="3"/>
                    <a:pt x="31" y="0"/>
                    <a:pt x="32" y="6"/>
                  </a:cubicBezTo>
                  <a:cubicBezTo>
                    <a:pt x="33" y="11"/>
                    <a:pt x="36" y="47"/>
                    <a:pt x="27" y="53"/>
                  </a:cubicBezTo>
                  <a:cubicBezTo>
                    <a:pt x="18" y="58"/>
                    <a:pt x="23" y="34"/>
                    <a:pt x="18" y="20"/>
                  </a:cubicBezTo>
                  <a:cubicBezTo>
                    <a:pt x="13" y="5"/>
                    <a:pt x="0" y="7"/>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Freeform 72">
              <a:extLst>
                <a:ext uri="{FF2B5EF4-FFF2-40B4-BE49-F238E27FC236}">
                  <a16:creationId xmlns:a16="http://schemas.microsoft.com/office/drawing/2014/main" id="{0D88AE4A-4033-4FE9-8F67-7C532D5B48DA}"/>
                </a:ext>
              </a:extLst>
            </p:cNvPr>
            <p:cNvSpPr>
              <a:spLocks/>
            </p:cNvSpPr>
            <p:nvPr/>
          </p:nvSpPr>
          <p:spPr bwMode="auto">
            <a:xfrm>
              <a:off x="1211263" y="1287463"/>
              <a:ext cx="57150" cy="49213"/>
            </a:xfrm>
            <a:custGeom>
              <a:avLst/>
              <a:gdLst>
                <a:gd name="T0" fmla="*/ 8 w 35"/>
                <a:gd name="T1" fmla="*/ 0 h 30"/>
                <a:gd name="T2" fmla="*/ 23 w 35"/>
                <a:gd name="T3" fmla="*/ 15 h 30"/>
                <a:gd name="T4" fmla="*/ 21 w 35"/>
                <a:gd name="T5" fmla="*/ 27 h 30"/>
                <a:gd name="T6" fmla="*/ 11 w 35"/>
                <a:gd name="T7" fmla="*/ 28 h 30"/>
                <a:gd name="T8" fmla="*/ 9 w 35"/>
                <a:gd name="T9" fmla="*/ 24 h 30"/>
                <a:gd name="T10" fmla="*/ 8 w 35"/>
                <a:gd name="T11" fmla="*/ 0 h 30"/>
              </a:gdLst>
              <a:ahLst/>
              <a:cxnLst>
                <a:cxn ang="0">
                  <a:pos x="T0" y="T1"/>
                </a:cxn>
                <a:cxn ang="0">
                  <a:pos x="T2" y="T3"/>
                </a:cxn>
                <a:cxn ang="0">
                  <a:pos x="T4" y="T5"/>
                </a:cxn>
                <a:cxn ang="0">
                  <a:pos x="T6" y="T7"/>
                </a:cxn>
                <a:cxn ang="0">
                  <a:pos x="T8" y="T9"/>
                </a:cxn>
                <a:cxn ang="0">
                  <a:pos x="T10" y="T11"/>
                </a:cxn>
              </a:cxnLst>
              <a:rect l="0" t="0" r="r" b="b"/>
              <a:pathLst>
                <a:path w="35" h="30">
                  <a:moveTo>
                    <a:pt x="8" y="0"/>
                  </a:moveTo>
                  <a:cubicBezTo>
                    <a:pt x="8" y="0"/>
                    <a:pt x="11" y="8"/>
                    <a:pt x="23" y="15"/>
                  </a:cubicBezTo>
                  <a:cubicBezTo>
                    <a:pt x="35" y="22"/>
                    <a:pt x="30" y="28"/>
                    <a:pt x="21" y="27"/>
                  </a:cubicBezTo>
                  <a:cubicBezTo>
                    <a:pt x="13" y="25"/>
                    <a:pt x="10" y="27"/>
                    <a:pt x="11" y="28"/>
                  </a:cubicBezTo>
                  <a:cubicBezTo>
                    <a:pt x="13" y="30"/>
                    <a:pt x="0" y="27"/>
                    <a:pt x="9" y="24"/>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Freeform 73">
              <a:extLst>
                <a:ext uri="{FF2B5EF4-FFF2-40B4-BE49-F238E27FC236}">
                  <a16:creationId xmlns:a16="http://schemas.microsoft.com/office/drawing/2014/main" id="{9F87D96F-21AF-4097-849D-A5E18CF6D0EA}"/>
                </a:ext>
              </a:extLst>
            </p:cNvPr>
            <p:cNvSpPr>
              <a:spLocks/>
            </p:cNvSpPr>
            <p:nvPr/>
          </p:nvSpPr>
          <p:spPr bwMode="auto">
            <a:xfrm>
              <a:off x="1339850" y="1322388"/>
              <a:ext cx="23813" cy="15875"/>
            </a:xfrm>
            <a:custGeom>
              <a:avLst/>
              <a:gdLst>
                <a:gd name="T0" fmla="*/ 6 w 15"/>
                <a:gd name="T1" fmla="*/ 0 h 9"/>
                <a:gd name="T2" fmla="*/ 0 w 15"/>
                <a:gd name="T3" fmla="*/ 9 h 9"/>
                <a:gd name="T4" fmla="*/ 6 w 15"/>
                <a:gd name="T5" fmla="*/ 0 h 9"/>
              </a:gdLst>
              <a:ahLst/>
              <a:cxnLst>
                <a:cxn ang="0">
                  <a:pos x="T0" y="T1"/>
                </a:cxn>
                <a:cxn ang="0">
                  <a:pos x="T2" y="T3"/>
                </a:cxn>
                <a:cxn ang="0">
                  <a:pos x="T4" y="T5"/>
                </a:cxn>
              </a:cxnLst>
              <a:rect l="0" t="0" r="r" b="b"/>
              <a:pathLst>
                <a:path w="15" h="9">
                  <a:moveTo>
                    <a:pt x="6" y="0"/>
                  </a:moveTo>
                  <a:cubicBezTo>
                    <a:pt x="6" y="0"/>
                    <a:pt x="9" y="7"/>
                    <a:pt x="0" y="9"/>
                  </a:cubicBezTo>
                  <a:cubicBezTo>
                    <a:pt x="0" y="9"/>
                    <a:pt x="15" y="5"/>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Freeform 74">
              <a:extLst>
                <a:ext uri="{FF2B5EF4-FFF2-40B4-BE49-F238E27FC236}">
                  <a16:creationId xmlns:a16="http://schemas.microsoft.com/office/drawing/2014/main" id="{817AC887-D743-422C-A96F-CA4F87D0A484}"/>
                </a:ext>
              </a:extLst>
            </p:cNvPr>
            <p:cNvSpPr>
              <a:spLocks/>
            </p:cNvSpPr>
            <p:nvPr/>
          </p:nvSpPr>
          <p:spPr bwMode="auto">
            <a:xfrm>
              <a:off x="1193800" y="1374775"/>
              <a:ext cx="176213" cy="14288"/>
            </a:xfrm>
            <a:custGeom>
              <a:avLst/>
              <a:gdLst>
                <a:gd name="T0" fmla="*/ 4 w 109"/>
                <a:gd name="T1" fmla="*/ 0 h 9"/>
                <a:gd name="T2" fmla="*/ 30 w 109"/>
                <a:gd name="T3" fmla="*/ 4 h 9"/>
                <a:gd name="T4" fmla="*/ 52 w 109"/>
                <a:gd name="T5" fmla="*/ 7 h 9"/>
                <a:gd name="T6" fmla="*/ 109 w 109"/>
                <a:gd name="T7" fmla="*/ 0 h 9"/>
                <a:gd name="T8" fmla="*/ 52 w 109"/>
                <a:gd name="T9" fmla="*/ 9 h 9"/>
                <a:gd name="T10" fmla="*/ 11 w 109"/>
                <a:gd name="T11" fmla="*/ 4 h 9"/>
                <a:gd name="T12" fmla="*/ 4 w 10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9" h="9">
                  <a:moveTo>
                    <a:pt x="4" y="0"/>
                  </a:moveTo>
                  <a:cubicBezTo>
                    <a:pt x="4" y="0"/>
                    <a:pt x="17" y="2"/>
                    <a:pt x="30" y="4"/>
                  </a:cubicBezTo>
                  <a:cubicBezTo>
                    <a:pt x="43" y="6"/>
                    <a:pt x="52" y="7"/>
                    <a:pt x="52" y="7"/>
                  </a:cubicBezTo>
                  <a:cubicBezTo>
                    <a:pt x="109" y="0"/>
                    <a:pt x="109" y="0"/>
                    <a:pt x="109" y="0"/>
                  </a:cubicBezTo>
                  <a:cubicBezTo>
                    <a:pt x="109" y="0"/>
                    <a:pt x="56" y="7"/>
                    <a:pt x="52" y="9"/>
                  </a:cubicBezTo>
                  <a:cubicBezTo>
                    <a:pt x="52" y="9"/>
                    <a:pt x="22" y="5"/>
                    <a:pt x="11" y="4"/>
                  </a:cubicBezTo>
                  <a:cubicBezTo>
                    <a:pt x="0" y="4"/>
                    <a:pt x="4" y="5"/>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Freeform 75">
              <a:extLst>
                <a:ext uri="{FF2B5EF4-FFF2-40B4-BE49-F238E27FC236}">
                  <a16:creationId xmlns:a16="http://schemas.microsoft.com/office/drawing/2014/main" id="{45C3A87F-A6DB-4C0C-BFEF-1E13FEDC9865}"/>
                </a:ext>
              </a:extLst>
            </p:cNvPr>
            <p:cNvSpPr>
              <a:spLocks/>
            </p:cNvSpPr>
            <p:nvPr/>
          </p:nvSpPr>
          <p:spPr bwMode="auto">
            <a:xfrm>
              <a:off x="1193800" y="1330325"/>
              <a:ext cx="190500" cy="28575"/>
            </a:xfrm>
            <a:custGeom>
              <a:avLst/>
              <a:gdLst>
                <a:gd name="T0" fmla="*/ 0 w 118"/>
                <a:gd name="T1" fmla="*/ 5 h 17"/>
                <a:gd name="T2" fmla="*/ 19 w 118"/>
                <a:gd name="T3" fmla="*/ 11 h 17"/>
                <a:gd name="T4" fmla="*/ 47 w 118"/>
                <a:gd name="T5" fmla="*/ 15 h 17"/>
                <a:gd name="T6" fmla="*/ 52 w 118"/>
                <a:gd name="T7" fmla="*/ 15 h 17"/>
                <a:gd name="T8" fmla="*/ 83 w 118"/>
                <a:gd name="T9" fmla="*/ 8 h 17"/>
                <a:gd name="T10" fmla="*/ 114 w 118"/>
                <a:gd name="T11" fmla="*/ 9 h 17"/>
                <a:gd name="T12" fmla="*/ 118 w 118"/>
                <a:gd name="T13" fmla="*/ 4 h 17"/>
                <a:gd name="T14" fmla="*/ 108 w 118"/>
                <a:gd name="T15" fmla="*/ 2 h 17"/>
                <a:gd name="T16" fmla="*/ 85 w 118"/>
                <a:gd name="T17" fmla="*/ 6 h 17"/>
                <a:gd name="T18" fmla="*/ 74 w 118"/>
                <a:gd name="T19" fmla="*/ 7 h 17"/>
                <a:gd name="T20" fmla="*/ 58 w 118"/>
                <a:gd name="T21" fmla="*/ 10 h 17"/>
                <a:gd name="T22" fmla="*/ 24 w 118"/>
                <a:gd name="T23" fmla="*/ 8 h 17"/>
                <a:gd name="T24" fmla="*/ 0 w 118"/>
                <a:gd name="T2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7">
                  <a:moveTo>
                    <a:pt x="0" y="5"/>
                  </a:moveTo>
                  <a:cubicBezTo>
                    <a:pt x="0" y="5"/>
                    <a:pt x="8" y="10"/>
                    <a:pt x="19" y="11"/>
                  </a:cubicBezTo>
                  <a:cubicBezTo>
                    <a:pt x="31" y="12"/>
                    <a:pt x="47" y="15"/>
                    <a:pt x="47" y="15"/>
                  </a:cubicBezTo>
                  <a:cubicBezTo>
                    <a:pt x="47" y="15"/>
                    <a:pt x="48" y="17"/>
                    <a:pt x="52" y="15"/>
                  </a:cubicBezTo>
                  <a:cubicBezTo>
                    <a:pt x="56" y="12"/>
                    <a:pt x="75" y="8"/>
                    <a:pt x="83" y="8"/>
                  </a:cubicBezTo>
                  <a:cubicBezTo>
                    <a:pt x="90" y="8"/>
                    <a:pt x="114" y="5"/>
                    <a:pt x="114" y="9"/>
                  </a:cubicBezTo>
                  <a:cubicBezTo>
                    <a:pt x="118" y="4"/>
                    <a:pt x="118" y="4"/>
                    <a:pt x="118" y="4"/>
                  </a:cubicBezTo>
                  <a:cubicBezTo>
                    <a:pt x="118" y="4"/>
                    <a:pt x="118" y="0"/>
                    <a:pt x="108" y="2"/>
                  </a:cubicBezTo>
                  <a:cubicBezTo>
                    <a:pt x="99" y="4"/>
                    <a:pt x="97" y="5"/>
                    <a:pt x="85" y="6"/>
                  </a:cubicBezTo>
                  <a:cubicBezTo>
                    <a:pt x="74" y="7"/>
                    <a:pt x="74" y="7"/>
                    <a:pt x="74" y="7"/>
                  </a:cubicBezTo>
                  <a:cubicBezTo>
                    <a:pt x="74" y="7"/>
                    <a:pt x="65" y="10"/>
                    <a:pt x="58" y="10"/>
                  </a:cubicBezTo>
                  <a:cubicBezTo>
                    <a:pt x="50" y="10"/>
                    <a:pt x="34" y="12"/>
                    <a:pt x="24" y="8"/>
                  </a:cubicBezTo>
                  <a:cubicBezTo>
                    <a:pt x="14" y="5"/>
                    <a:pt x="4"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 name="Freeform 76">
              <a:extLst>
                <a:ext uri="{FF2B5EF4-FFF2-40B4-BE49-F238E27FC236}">
                  <a16:creationId xmlns:a16="http://schemas.microsoft.com/office/drawing/2014/main" id="{76326BF6-000A-4C3C-B46F-BC48614C00E9}"/>
                </a:ext>
              </a:extLst>
            </p:cNvPr>
            <p:cNvSpPr>
              <a:spLocks/>
            </p:cNvSpPr>
            <p:nvPr/>
          </p:nvSpPr>
          <p:spPr bwMode="auto">
            <a:xfrm>
              <a:off x="1317625" y="1122363"/>
              <a:ext cx="52388" cy="90488"/>
            </a:xfrm>
            <a:custGeom>
              <a:avLst/>
              <a:gdLst>
                <a:gd name="T0" fmla="*/ 12 w 32"/>
                <a:gd name="T1" fmla="*/ 0 h 57"/>
                <a:gd name="T2" fmla="*/ 25 w 32"/>
                <a:gd name="T3" fmla="*/ 5 h 57"/>
                <a:gd name="T4" fmla="*/ 28 w 32"/>
                <a:gd name="T5" fmla="*/ 13 h 57"/>
                <a:gd name="T6" fmla="*/ 8 w 32"/>
                <a:gd name="T7" fmla="*/ 56 h 57"/>
                <a:gd name="T8" fmla="*/ 7 w 32"/>
                <a:gd name="T9" fmla="*/ 41 h 57"/>
                <a:gd name="T10" fmla="*/ 19 w 32"/>
                <a:gd name="T11" fmla="*/ 11 h 57"/>
                <a:gd name="T12" fmla="*/ 12 w 3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32" h="57">
                  <a:moveTo>
                    <a:pt x="12" y="0"/>
                  </a:moveTo>
                  <a:cubicBezTo>
                    <a:pt x="12" y="0"/>
                    <a:pt x="23" y="6"/>
                    <a:pt x="25" y="5"/>
                  </a:cubicBezTo>
                  <a:cubicBezTo>
                    <a:pt x="27" y="3"/>
                    <a:pt x="28" y="6"/>
                    <a:pt x="28" y="13"/>
                  </a:cubicBezTo>
                  <a:cubicBezTo>
                    <a:pt x="27" y="19"/>
                    <a:pt x="32" y="57"/>
                    <a:pt x="8" y="56"/>
                  </a:cubicBezTo>
                  <a:cubicBezTo>
                    <a:pt x="8" y="56"/>
                    <a:pt x="0" y="54"/>
                    <a:pt x="7" y="41"/>
                  </a:cubicBezTo>
                  <a:cubicBezTo>
                    <a:pt x="15" y="27"/>
                    <a:pt x="24" y="22"/>
                    <a:pt x="19" y="11"/>
                  </a:cubicBezTo>
                  <a:cubicBezTo>
                    <a:pt x="15" y="0"/>
                    <a:pt x="10" y="5"/>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 name="Freeform 77">
              <a:extLst>
                <a:ext uri="{FF2B5EF4-FFF2-40B4-BE49-F238E27FC236}">
                  <a16:creationId xmlns:a16="http://schemas.microsoft.com/office/drawing/2014/main" id="{2CDB39FA-4E10-47B9-9FBD-27953D2235AB}"/>
                </a:ext>
              </a:extLst>
            </p:cNvPr>
            <p:cNvSpPr>
              <a:spLocks/>
            </p:cNvSpPr>
            <p:nvPr/>
          </p:nvSpPr>
          <p:spPr bwMode="auto">
            <a:xfrm>
              <a:off x="1273175" y="1042988"/>
              <a:ext cx="82550" cy="42863"/>
            </a:xfrm>
            <a:custGeom>
              <a:avLst/>
              <a:gdLst>
                <a:gd name="T0" fmla="*/ 51 w 51"/>
                <a:gd name="T1" fmla="*/ 27 h 27"/>
                <a:gd name="T2" fmla="*/ 0 w 51"/>
                <a:gd name="T3" fmla="*/ 3 h 27"/>
                <a:gd name="T4" fmla="*/ 51 w 51"/>
                <a:gd name="T5" fmla="*/ 27 h 27"/>
              </a:gdLst>
              <a:ahLst/>
              <a:cxnLst>
                <a:cxn ang="0">
                  <a:pos x="T0" y="T1"/>
                </a:cxn>
                <a:cxn ang="0">
                  <a:pos x="T2" y="T3"/>
                </a:cxn>
                <a:cxn ang="0">
                  <a:pos x="T4" y="T5"/>
                </a:cxn>
              </a:cxnLst>
              <a:rect l="0" t="0" r="r" b="b"/>
              <a:pathLst>
                <a:path w="51" h="27">
                  <a:moveTo>
                    <a:pt x="51" y="27"/>
                  </a:moveTo>
                  <a:cubicBezTo>
                    <a:pt x="51" y="27"/>
                    <a:pt x="40" y="5"/>
                    <a:pt x="0" y="3"/>
                  </a:cubicBezTo>
                  <a:cubicBezTo>
                    <a:pt x="0" y="3"/>
                    <a:pt x="41" y="0"/>
                    <a:pt x="5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6" name="Freeform 78">
              <a:extLst>
                <a:ext uri="{FF2B5EF4-FFF2-40B4-BE49-F238E27FC236}">
                  <a16:creationId xmlns:a16="http://schemas.microsoft.com/office/drawing/2014/main" id="{0C01B8CC-C4D4-44BB-9825-4463D377A965}"/>
                </a:ext>
              </a:extLst>
            </p:cNvPr>
            <p:cNvSpPr>
              <a:spLocks/>
            </p:cNvSpPr>
            <p:nvPr/>
          </p:nvSpPr>
          <p:spPr bwMode="auto">
            <a:xfrm>
              <a:off x="1354138" y="1077913"/>
              <a:ext cx="28575" cy="55563"/>
            </a:xfrm>
            <a:custGeom>
              <a:avLst/>
              <a:gdLst>
                <a:gd name="T0" fmla="*/ 16 w 18"/>
                <a:gd name="T1" fmla="*/ 4 h 34"/>
                <a:gd name="T2" fmla="*/ 18 w 18"/>
                <a:gd name="T3" fmla="*/ 28 h 34"/>
                <a:gd name="T4" fmla="*/ 9 w 18"/>
                <a:gd name="T5" fmla="*/ 34 h 34"/>
                <a:gd name="T6" fmla="*/ 3 w 18"/>
                <a:gd name="T7" fmla="*/ 32 h 34"/>
                <a:gd name="T8" fmla="*/ 5 w 18"/>
                <a:gd name="T9" fmla="*/ 24 h 34"/>
                <a:gd name="T10" fmla="*/ 5 w 18"/>
                <a:gd name="T11" fmla="*/ 8 h 34"/>
                <a:gd name="T12" fmla="*/ 16 w 18"/>
                <a:gd name="T13" fmla="*/ 4 h 34"/>
              </a:gdLst>
              <a:ahLst/>
              <a:cxnLst>
                <a:cxn ang="0">
                  <a:pos x="T0" y="T1"/>
                </a:cxn>
                <a:cxn ang="0">
                  <a:pos x="T2" y="T3"/>
                </a:cxn>
                <a:cxn ang="0">
                  <a:pos x="T4" y="T5"/>
                </a:cxn>
                <a:cxn ang="0">
                  <a:pos x="T6" y="T7"/>
                </a:cxn>
                <a:cxn ang="0">
                  <a:pos x="T8" y="T9"/>
                </a:cxn>
                <a:cxn ang="0">
                  <a:pos x="T10" y="T11"/>
                </a:cxn>
                <a:cxn ang="0">
                  <a:pos x="T12" y="T13"/>
                </a:cxn>
              </a:cxnLst>
              <a:rect l="0" t="0" r="r" b="b"/>
              <a:pathLst>
                <a:path w="18" h="34">
                  <a:moveTo>
                    <a:pt x="16" y="4"/>
                  </a:moveTo>
                  <a:cubicBezTo>
                    <a:pt x="18" y="28"/>
                    <a:pt x="18" y="28"/>
                    <a:pt x="18" y="28"/>
                  </a:cubicBezTo>
                  <a:cubicBezTo>
                    <a:pt x="18" y="28"/>
                    <a:pt x="10" y="14"/>
                    <a:pt x="9" y="34"/>
                  </a:cubicBezTo>
                  <a:cubicBezTo>
                    <a:pt x="9" y="34"/>
                    <a:pt x="6" y="31"/>
                    <a:pt x="3" y="32"/>
                  </a:cubicBezTo>
                  <a:cubicBezTo>
                    <a:pt x="0" y="33"/>
                    <a:pt x="5" y="31"/>
                    <a:pt x="5" y="24"/>
                  </a:cubicBezTo>
                  <a:cubicBezTo>
                    <a:pt x="5" y="16"/>
                    <a:pt x="6" y="14"/>
                    <a:pt x="5" y="8"/>
                  </a:cubicBezTo>
                  <a:cubicBezTo>
                    <a:pt x="4" y="2"/>
                    <a:pt x="8"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 name="Freeform 79">
              <a:extLst>
                <a:ext uri="{FF2B5EF4-FFF2-40B4-BE49-F238E27FC236}">
                  <a16:creationId xmlns:a16="http://schemas.microsoft.com/office/drawing/2014/main" id="{D69F5562-0343-4271-8D38-A5753FB491AB}"/>
                </a:ext>
              </a:extLst>
            </p:cNvPr>
            <p:cNvSpPr>
              <a:spLocks/>
            </p:cNvSpPr>
            <p:nvPr/>
          </p:nvSpPr>
          <p:spPr bwMode="auto">
            <a:xfrm>
              <a:off x="1377950" y="1054100"/>
              <a:ext cx="215900" cy="120650"/>
            </a:xfrm>
            <a:custGeom>
              <a:avLst/>
              <a:gdLst>
                <a:gd name="T0" fmla="*/ 7 w 134"/>
                <a:gd name="T1" fmla="*/ 25 h 75"/>
                <a:gd name="T2" fmla="*/ 5 w 134"/>
                <a:gd name="T3" fmla="*/ 75 h 75"/>
                <a:gd name="T4" fmla="*/ 2 w 134"/>
                <a:gd name="T5" fmla="*/ 21 h 75"/>
                <a:gd name="T6" fmla="*/ 7 w 134"/>
                <a:gd name="T7" fmla="*/ 19 h 75"/>
                <a:gd name="T8" fmla="*/ 114 w 134"/>
                <a:gd name="T9" fmla="*/ 3 h 75"/>
                <a:gd name="T10" fmla="*/ 130 w 134"/>
                <a:gd name="T11" fmla="*/ 8 h 75"/>
                <a:gd name="T12" fmla="*/ 113 w 134"/>
                <a:gd name="T13" fmla="*/ 7 h 75"/>
                <a:gd name="T14" fmla="*/ 15 w 134"/>
                <a:gd name="T15" fmla="*/ 21 h 75"/>
                <a:gd name="T16" fmla="*/ 7 w 134"/>
                <a:gd name="T1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75">
                  <a:moveTo>
                    <a:pt x="7" y="25"/>
                  </a:moveTo>
                  <a:cubicBezTo>
                    <a:pt x="7" y="25"/>
                    <a:pt x="11" y="60"/>
                    <a:pt x="5" y="75"/>
                  </a:cubicBezTo>
                  <a:cubicBezTo>
                    <a:pt x="5" y="75"/>
                    <a:pt x="8" y="48"/>
                    <a:pt x="2" y="21"/>
                  </a:cubicBezTo>
                  <a:cubicBezTo>
                    <a:pt x="2" y="21"/>
                    <a:pt x="0" y="20"/>
                    <a:pt x="7" y="19"/>
                  </a:cubicBezTo>
                  <a:cubicBezTo>
                    <a:pt x="14" y="18"/>
                    <a:pt x="114" y="3"/>
                    <a:pt x="114" y="3"/>
                  </a:cubicBezTo>
                  <a:cubicBezTo>
                    <a:pt x="114" y="3"/>
                    <a:pt x="126" y="0"/>
                    <a:pt x="130" y="8"/>
                  </a:cubicBezTo>
                  <a:cubicBezTo>
                    <a:pt x="134" y="15"/>
                    <a:pt x="126" y="5"/>
                    <a:pt x="113" y="7"/>
                  </a:cubicBezTo>
                  <a:cubicBezTo>
                    <a:pt x="100" y="8"/>
                    <a:pt x="15" y="21"/>
                    <a:pt x="15" y="21"/>
                  </a:cubicBezTo>
                  <a:cubicBezTo>
                    <a:pt x="15" y="21"/>
                    <a:pt x="7" y="22"/>
                    <a:pt x="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 name="Freeform 80">
              <a:extLst>
                <a:ext uri="{FF2B5EF4-FFF2-40B4-BE49-F238E27FC236}">
                  <a16:creationId xmlns:a16="http://schemas.microsoft.com/office/drawing/2014/main" id="{E16805FA-C003-47D2-AC89-E73C527B468D}"/>
                </a:ext>
              </a:extLst>
            </p:cNvPr>
            <p:cNvSpPr>
              <a:spLocks/>
            </p:cNvSpPr>
            <p:nvPr/>
          </p:nvSpPr>
          <p:spPr bwMode="auto">
            <a:xfrm>
              <a:off x="1393825" y="1095375"/>
              <a:ext cx="190500" cy="42863"/>
            </a:xfrm>
            <a:custGeom>
              <a:avLst/>
              <a:gdLst>
                <a:gd name="T0" fmla="*/ 4 w 118"/>
                <a:gd name="T1" fmla="*/ 10 h 26"/>
                <a:gd name="T2" fmla="*/ 1 w 118"/>
                <a:gd name="T3" fmla="*/ 15 h 26"/>
                <a:gd name="T4" fmla="*/ 5 w 118"/>
                <a:gd name="T5" fmla="*/ 26 h 26"/>
                <a:gd name="T6" fmla="*/ 97 w 118"/>
                <a:gd name="T7" fmla="*/ 22 h 26"/>
                <a:gd name="T8" fmla="*/ 115 w 118"/>
                <a:gd name="T9" fmla="*/ 15 h 26"/>
                <a:gd name="T10" fmla="*/ 104 w 118"/>
                <a:gd name="T11" fmla="*/ 0 h 26"/>
                <a:gd name="T12" fmla="*/ 4 w 118"/>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118" h="26">
                  <a:moveTo>
                    <a:pt x="4" y="10"/>
                  </a:moveTo>
                  <a:cubicBezTo>
                    <a:pt x="4" y="10"/>
                    <a:pt x="1" y="8"/>
                    <a:pt x="1" y="15"/>
                  </a:cubicBezTo>
                  <a:cubicBezTo>
                    <a:pt x="0" y="22"/>
                    <a:pt x="0" y="26"/>
                    <a:pt x="5" y="26"/>
                  </a:cubicBezTo>
                  <a:cubicBezTo>
                    <a:pt x="11" y="26"/>
                    <a:pt x="86" y="22"/>
                    <a:pt x="97" y="22"/>
                  </a:cubicBezTo>
                  <a:cubicBezTo>
                    <a:pt x="107" y="22"/>
                    <a:pt x="115" y="22"/>
                    <a:pt x="115" y="15"/>
                  </a:cubicBezTo>
                  <a:cubicBezTo>
                    <a:pt x="115" y="7"/>
                    <a:pt x="118" y="0"/>
                    <a:pt x="104" y="0"/>
                  </a:cubicBezTo>
                  <a:cubicBezTo>
                    <a:pt x="90" y="1"/>
                    <a:pt x="4" y="10"/>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 name="Freeform 81">
              <a:extLst>
                <a:ext uri="{FF2B5EF4-FFF2-40B4-BE49-F238E27FC236}">
                  <a16:creationId xmlns:a16="http://schemas.microsoft.com/office/drawing/2014/main" id="{3D81632C-273E-40AB-8BC0-6458A466C42A}"/>
                </a:ext>
              </a:extLst>
            </p:cNvPr>
            <p:cNvSpPr>
              <a:spLocks/>
            </p:cNvSpPr>
            <p:nvPr/>
          </p:nvSpPr>
          <p:spPr bwMode="auto">
            <a:xfrm>
              <a:off x="1384300" y="1135063"/>
              <a:ext cx="214313" cy="58738"/>
            </a:xfrm>
            <a:custGeom>
              <a:avLst/>
              <a:gdLst>
                <a:gd name="T0" fmla="*/ 0 w 133"/>
                <a:gd name="T1" fmla="*/ 30 h 37"/>
                <a:gd name="T2" fmla="*/ 32 w 133"/>
                <a:gd name="T3" fmla="*/ 14 h 37"/>
                <a:gd name="T4" fmla="*/ 117 w 133"/>
                <a:gd name="T5" fmla="*/ 10 h 37"/>
                <a:gd name="T6" fmla="*/ 121 w 133"/>
                <a:gd name="T7" fmla="*/ 35 h 37"/>
                <a:gd name="T8" fmla="*/ 0 w 133"/>
                <a:gd name="T9" fmla="*/ 30 h 37"/>
              </a:gdLst>
              <a:ahLst/>
              <a:cxnLst>
                <a:cxn ang="0">
                  <a:pos x="T0" y="T1"/>
                </a:cxn>
                <a:cxn ang="0">
                  <a:pos x="T2" y="T3"/>
                </a:cxn>
                <a:cxn ang="0">
                  <a:pos x="T4" y="T5"/>
                </a:cxn>
                <a:cxn ang="0">
                  <a:pos x="T6" y="T7"/>
                </a:cxn>
                <a:cxn ang="0">
                  <a:pos x="T8" y="T9"/>
                </a:cxn>
              </a:cxnLst>
              <a:rect l="0" t="0" r="r" b="b"/>
              <a:pathLst>
                <a:path w="133" h="37">
                  <a:moveTo>
                    <a:pt x="0" y="30"/>
                  </a:moveTo>
                  <a:cubicBezTo>
                    <a:pt x="0" y="30"/>
                    <a:pt x="14" y="21"/>
                    <a:pt x="32" y="14"/>
                  </a:cubicBezTo>
                  <a:cubicBezTo>
                    <a:pt x="51" y="6"/>
                    <a:pt x="101" y="0"/>
                    <a:pt x="117" y="10"/>
                  </a:cubicBezTo>
                  <a:cubicBezTo>
                    <a:pt x="133" y="20"/>
                    <a:pt x="131" y="33"/>
                    <a:pt x="121" y="35"/>
                  </a:cubicBezTo>
                  <a:cubicBezTo>
                    <a:pt x="112" y="37"/>
                    <a:pt x="0" y="3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 name="Freeform 82">
              <a:extLst>
                <a:ext uri="{FF2B5EF4-FFF2-40B4-BE49-F238E27FC236}">
                  <a16:creationId xmlns:a16="http://schemas.microsoft.com/office/drawing/2014/main" id="{D309A2DA-F0D3-4296-A67C-3D3269FF0C9F}"/>
                </a:ext>
              </a:extLst>
            </p:cNvPr>
            <p:cNvSpPr>
              <a:spLocks/>
            </p:cNvSpPr>
            <p:nvPr/>
          </p:nvSpPr>
          <p:spPr bwMode="auto">
            <a:xfrm>
              <a:off x="1177925" y="1404938"/>
              <a:ext cx="185738" cy="34925"/>
            </a:xfrm>
            <a:custGeom>
              <a:avLst/>
              <a:gdLst>
                <a:gd name="T0" fmla="*/ 11 w 115"/>
                <a:gd name="T1" fmla="*/ 4 h 22"/>
                <a:gd name="T2" fmla="*/ 115 w 115"/>
                <a:gd name="T3" fmla="*/ 5 h 22"/>
                <a:gd name="T4" fmla="*/ 15 w 115"/>
                <a:gd name="T5" fmla="*/ 7 h 22"/>
                <a:gd name="T6" fmla="*/ 35 w 115"/>
                <a:gd name="T7" fmla="*/ 15 h 22"/>
                <a:gd name="T8" fmla="*/ 5 w 115"/>
                <a:gd name="T9" fmla="*/ 8 h 22"/>
                <a:gd name="T10" fmla="*/ 11 w 115"/>
                <a:gd name="T11" fmla="*/ 4 h 22"/>
              </a:gdLst>
              <a:ahLst/>
              <a:cxnLst>
                <a:cxn ang="0">
                  <a:pos x="T0" y="T1"/>
                </a:cxn>
                <a:cxn ang="0">
                  <a:pos x="T2" y="T3"/>
                </a:cxn>
                <a:cxn ang="0">
                  <a:pos x="T4" y="T5"/>
                </a:cxn>
                <a:cxn ang="0">
                  <a:pos x="T6" y="T7"/>
                </a:cxn>
                <a:cxn ang="0">
                  <a:pos x="T8" y="T9"/>
                </a:cxn>
                <a:cxn ang="0">
                  <a:pos x="T10" y="T11"/>
                </a:cxn>
              </a:cxnLst>
              <a:rect l="0" t="0" r="r" b="b"/>
              <a:pathLst>
                <a:path w="115" h="22">
                  <a:moveTo>
                    <a:pt x="11" y="4"/>
                  </a:moveTo>
                  <a:cubicBezTo>
                    <a:pt x="11" y="4"/>
                    <a:pt x="41" y="20"/>
                    <a:pt x="115" y="5"/>
                  </a:cubicBezTo>
                  <a:cubicBezTo>
                    <a:pt x="115" y="5"/>
                    <a:pt x="62" y="22"/>
                    <a:pt x="15" y="7"/>
                  </a:cubicBezTo>
                  <a:cubicBezTo>
                    <a:pt x="15" y="7"/>
                    <a:pt x="11" y="13"/>
                    <a:pt x="35" y="15"/>
                  </a:cubicBezTo>
                  <a:cubicBezTo>
                    <a:pt x="35" y="15"/>
                    <a:pt x="9" y="16"/>
                    <a:pt x="5" y="8"/>
                  </a:cubicBezTo>
                  <a:cubicBezTo>
                    <a:pt x="0" y="0"/>
                    <a:pt x="11" y="2"/>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Freeform 83">
              <a:extLst>
                <a:ext uri="{FF2B5EF4-FFF2-40B4-BE49-F238E27FC236}">
                  <a16:creationId xmlns:a16="http://schemas.microsoft.com/office/drawing/2014/main" id="{2A6CE2F8-DF8C-4986-80D7-DA5EF21C5140}"/>
                </a:ext>
              </a:extLst>
            </p:cNvPr>
            <p:cNvSpPr>
              <a:spLocks/>
            </p:cNvSpPr>
            <p:nvPr/>
          </p:nvSpPr>
          <p:spPr bwMode="auto">
            <a:xfrm>
              <a:off x="1358900" y="1403350"/>
              <a:ext cx="49213" cy="26988"/>
            </a:xfrm>
            <a:custGeom>
              <a:avLst/>
              <a:gdLst>
                <a:gd name="T0" fmla="*/ 10 w 31"/>
                <a:gd name="T1" fmla="*/ 0 h 17"/>
                <a:gd name="T2" fmla="*/ 0 w 31"/>
                <a:gd name="T3" fmla="*/ 17 h 17"/>
                <a:gd name="T4" fmla="*/ 24 w 31"/>
                <a:gd name="T5" fmla="*/ 7 h 17"/>
                <a:gd name="T6" fmla="*/ 10 w 31"/>
                <a:gd name="T7" fmla="*/ 0 h 17"/>
              </a:gdLst>
              <a:ahLst/>
              <a:cxnLst>
                <a:cxn ang="0">
                  <a:pos x="T0" y="T1"/>
                </a:cxn>
                <a:cxn ang="0">
                  <a:pos x="T2" y="T3"/>
                </a:cxn>
                <a:cxn ang="0">
                  <a:pos x="T4" y="T5"/>
                </a:cxn>
                <a:cxn ang="0">
                  <a:pos x="T6" y="T7"/>
                </a:cxn>
              </a:cxnLst>
              <a:rect l="0" t="0" r="r" b="b"/>
              <a:pathLst>
                <a:path w="31" h="17">
                  <a:moveTo>
                    <a:pt x="10" y="0"/>
                  </a:moveTo>
                  <a:cubicBezTo>
                    <a:pt x="10" y="0"/>
                    <a:pt x="31" y="10"/>
                    <a:pt x="0" y="17"/>
                  </a:cubicBezTo>
                  <a:cubicBezTo>
                    <a:pt x="0" y="17"/>
                    <a:pt x="23" y="13"/>
                    <a:pt x="24" y="7"/>
                  </a:cubicBezTo>
                  <a:cubicBezTo>
                    <a:pt x="25" y="1"/>
                    <a:pt x="10"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Freeform 84">
              <a:extLst>
                <a:ext uri="{FF2B5EF4-FFF2-40B4-BE49-F238E27FC236}">
                  <a16:creationId xmlns:a16="http://schemas.microsoft.com/office/drawing/2014/main" id="{5F45F607-62FC-4B43-85B6-8814F8883452}"/>
                </a:ext>
              </a:extLst>
            </p:cNvPr>
            <p:cNvSpPr>
              <a:spLocks/>
            </p:cNvSpPr>
            <p:nvPr/>
          </p:nvSpPr>
          <p:spPr bwMode="auto">
            <a:xfrm>
              <a:off x="1169988" y="1398588"/>
              <a:ext cx="38100" cy="31750"/>
            </a:xfrm>
            <a:custGeom>
              <a:avLst/>
              <a:gdLst>
                <a:gd name="T0" fmla="*/ 4 w 24"/>
                <a:gd name="T1" fmla="*/ 7 h 20"/>
                <a:gd name="T2" fmla="*/ 24 w 24"/>
                <a:gd name="T3" fmla="*/ 20 h 20"/>
                <a:gd name="T4" fmla="*/ 9 w 24"/>
                <a:gd name="T5" fmla="*/ 7 h 20"/>
                <a:gd name="T6" fmla="*/ 20 w 24"/>
                <a:gd name="T7" fmla="*/ 4 h 20"/>
                <a:gd name="T8" fmla="*/ 20 w 24"/>
                <a:gd name="T9" fmla="*/ 0 h 20"/>
                <a:gd name="T10" fmla="*/ 4 w 24"/>
                <a:gd name="T11" fmla="*/ 7 h 20"/>
              </a:gdLst>
              <a:ahLst/>
              <a:cxnLst>
                <a:cxn ang="0">
                  <a:pos x="T0" y="T1"/>
                </a:cxn>
                <a:cxn ang="0">
                  <a:pos x="T2" y="T3"/>
                </a:cxn>
                <a:cxn ang="0">
                  <a:pos x="T4" y="T5"/>
                </a:cxn>
                <a:cxn ang="0">
                  <a:pos x="T6" y="T7"/>
                </a:cxn>
                <a:cxn ang="0">
                  <a:pos x="T8" y="T9"/>
                </a:cxn>
                <a:cxn ang="0">
                  <a:pos x="T10" y="T11"/>
                </a:cxn>
              </a:cxnLst>
              <a:rect l="0" t="0" r="r" b="b"/>
              <a:pathLst>
                <a:path w="24" h="20">
                  <a:moveTo>
                    <a:pt x="4" y="7"/>
                  </a:moveTo>
                  <a:cubicBezTo>
                    <a:pt x="4" y="7"/>
                    <a:pt x="0" y="17"/>
                    <a:pt x="24" y="20"/>
                  </a:cubicBezTo>
                  <a:cubicBezTo>
                    <a:pt x="24" y="20"/>
                    <a:pt x="8" y="17"/>
                    <a:pt x="9" y="7"/>
                  </a:cubicBezTo>
                  <a:cubicBezTo>
                    <a:pt x="9" y="7"/>
                    <a:pt x="16" y="3"/>
                    <a:pt x="20" y="4"/>
                  </a:cubicBezTo>
                  <a:cubicBezTo>
                    <a:pt x="20" y="0"/>
                    <a:pt x="20" y="0"/>
                    <a:pt x="20" y="0"/>
                  </a:cubicBezTo>
                  <a:cubicBezTo>
                    <a:pt x="20" y="0"/>
                    <a:pt x="12" y="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Freeform 85">
              <a:extLst>
                <a:ext uri="{FF2B5EF4-FFF2-40B4-BE49-F238E27FC236}">
                  <a16:creationId xmlns:a16="http://schemas.microsoft.com/office/drawing/2014/main" id="{A447168E-D961-42C2-9036-75B7FA1D1B85}"/>
                </a:ext>
              </a:extLst>
            </p:cNvPr>
            <p:cNvSpPr>
              <a:spLocks/>
            </p:cNvSpPr>
            <p:nvPr/>
          </p:nvSpPr>
          <p:spPr bwMode="auto">
            <a:xfrm>
              <a:off x="1171575" y="1417638"/>
              <a:ext cx="96838" cy="155575"/>
            </a:xfrm>
            <a:custGeom>
              <a:avLst/>
              <a:gdLst>
                <a:gd name="T0" fmla="*/ 5 w 60"/>
                <a:gd name="T1" fmla="*/ 3 h 96"/>
                <a:gd name="T2" fmla="*/ 2 w 60"/>
                <a:gd name="T3" fmla="*/ 3 h 96"/>
                <a:gd name="T4" fmla="*/ 3 w 60"/>
                <a:gd name="T5" fmla="*/ 35 h 96"/>
                <a:gd name="T6" fmla="*/ 3 w 60"/>
                <a:gd name="T7" fmla="*/ 85 h 96"/>
                <a:gd name="T8" fmla="*/ 33 w 60"/>
                <a:gd name="T9" fmla="*/ 89 h 96"/>
                <a:gd name="T10" fmla="*/ 40 w 60"/>
                <a:gd name="T11" fmla="*/ 63 h 96"/>
                <a:gd name="T12" fmla="*/ 45 w 60"/>
                <a:gd name="T13" fmla="*/ 43 h 96"/>
                <a:gd name="T14" fmla="*/ 52 w 60"/>
                <a:gd name="T15" fmla="*/ 23 h 96"/>
                <a:gd name="T16" fmla="*/ 51 w 60"/>
                <a:gd name="T17" fmla="*/ 15 h 96"/>
                <a:gd name="T18" fmla="*/ 5 w 60"/>
                <a:gd name="T19"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6">
                  <a:moveTo>
                    <a:pt x="5" y="3"/>
                  </a:moveTo>
                  <a:cubicBezTo>
                    <a:pt x="5" y="3"/>
                    <a:pt x="2" y="0"/>
                    <a:pt x="2" y="3"/>
                  </a:cubicBezTo>
                  <a:cubicBezTo>
                    <a:pt x="2" y="7"/>
                    <a:pt x="5" y="12"/>
                    <a:pt x="3" y="35"/>
                  </a:cubicBezTo>
                  <a:cubicBezTo>
                    <a:pt x="2" y="58"/>
                    <a:pt x="0" y="82"/>
                    <a:pt x="3" y="85"/>
                  </a:cubicBezTo>
                  <a:cubicBezTo>
                    <a:pt x="6" y="89"/>
                    <a:pt x="29" y="96"/>
                    <a:pt x="33" y="89"/>
                  </a:cubicBezTo>
                  <a:cubicBezTo>
                    <a:pt x="37" y="82"/>
                    <a:pt x="34" y="74"/>
                    <a:pt x="40" y="63"/>
                  </a:cubicBezTo>
                  <a:cubicBezTo>
                    <a:pt x="45" y="51"/>
                    <a:pt x="30" y="57"/>
                    <a:pt x="45" y="43"/>
                  </a:cubicBezTo>
                  <a:cubicBezTo>
                    <a:pt x="60" y="29"/>
                    <a:pt x="44" y="36"/>
                    <a:pt x="52" y="23"/>
                  </a:cubicBezTo>
                  <a:cubicBezTo>
                    <a:pt x="60" y="10"/>
                    <a:pt x="57" y="15"/>
                    <a:pt x="51" y="15"/>
                  </a:cubicBezTo>
                  <a:cubicBezTo>
                    <a:pt x="44" y="15"/>
                    <a:pt x="22" y="1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86">
              <a:extLst>
                <a:ext uri="{FF2B5EF4-FFF2-40B4-BE49-F238E27FC236}">
                  <a16:creationId xmlns:a16="http://schemas.microsoft.com/office/drawing/2014/main" id="{4B1CE9CF-D0B3-4B65-BEFC-2D27F4993B7C}"/>
                </a:ext>
              </a:extLst>
            </p:cNvPr>
            <p:cNvSpPr>
              <a:spLocks/>
            </p:cNvSpPr>
            <p:nvPr/>
          </p:nvSpPr>
          <p:spPr bwMode="auto">
            <a:xfrm>
              <a:off x="1301750" y="1420813"/>
              <a:ext cx="98425" cy="127000"/>
            </a:xfrm>
            <a:custGeom>
              <a:avLst/>
              <a:gdLst>
                <a:gd name="T0" fmla="*/ 7 w 61"/>
                <a:gd name="T1" fmla="*/ 13 h 79"/>
                <a:gd name="T2" fmla="*/ 60 w 61"/>
                <a:gd name="T3" fmla="*/ 0 h 79"/>
                <a:gd name="T4" fmla="*/ 61 w 61"/>
                <a:gd name="T5" fmla="*/ 78 h 79"/>
                <a:gd name="T6" fmla="*/ 47 w 61"/>
                <a:gd name="T7" fmla="*/ 61 h 79"/>
                <a:gd name="T8" fmla="*/ 27 w 61"/>
                <a:gd name="T9" fmla="*/ 31 h 79"/>
                <a:gd name="T10" fmla="*/ 7 w 61"/>
                <a:gd name="T11" fmla="*/ 13 h 79"/>
              </a:gdLst>
              <a:ahLst/>
              <a:cxnLst>
                <a:cxn ang="0">
                  <a:pos x="T0" y="T1"/>
                </a:cxn>
                <a:cxn ang="0">
                  <a:pos x="T2" y="T3"/>
                </a:cxn>
                <a:cxn ang="0">
                  <a:pos x="T4" y="T5"/>
                </a:cxn>
                <a:cxn ang="0">
                  <a:pos x="T6" y="T7"/>
                </a:cxn>
                <a:cxn ang="0">
                  <a:pos x="T8" y="T9"/>
                </a:cxn>
                <a:cxn ang="0">
                  <a:pos x="T10" y="T11"/>
                </a:cxn>
              </a:cxnLst>
              <a:rect l="0" t="0" r="r" b="b"/>
              <a:pathLst>
                <a:path w="61" h="79">
                  <a:moveTo>
                    <a:pt x="7" y="13"/>
                  </a:moveTo>
                  <a:cubicBezTo>
                    <a:pt x="7" y="13"/>
                    <a:pt x="49" y="15"/>
                    <a:pt x="60" y="0"/>
                  </a:cubicBezTo>
                  <a:cubicBezTo>
                    <a:pt x="61" y="78"/>
                    <a:pt x="61" y="78"/>
                    <a:pt x="61" y="78"/>
                  </a:cubicBezTo>
                  <a:cubicBezTo>
                    <a:pt x="61" y="78"/>
                    <a:pt x="52" y="79"/>
                    <a:pt x="47" y="61"/>
                  </a:cubicBezTo>
                  <a:cubicBezTo>
                    <a:pt x="42" y="44"/>
                    <a:pt x="41" y="33"/>
                    <a:pt x="27" y="31"/>
                  </a:cubicBezTo>
                  <a:cubicBezTo>
                    <a:pt x="13" y="29"/>
                    <a:pt x="0" y="19"/>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 name="Freeform 87">
              <a:extLst>
                <a:ext uri="{FF2B5EF4-FFF2-40B4-BE49-F238E27FC236}">
                  <a16:creationId xmlns:a16="http://schemas.microsoft.com/office/drawing/2014/main" id="{102FA326-D487-4CCC-AA0D-7CDCD1DC7C65}"/>
                </a:ext>
              </a:extLst>
            </p:cNvPr>
            <p:cNvSpPr>
              <a:spLocks/>
            </p:cNvSpPr>
            <p:nvPr/>
          </p:nvSpPr>
          <p:spPr bwMode="auto">
            <a:xfrm>
              <a:off x="1373188" y="1719263"/>
              <a:ext cx="133350" cy="374650"/>
            </a:xfrm>
            <a:custGeom>
              <a:avLst/>
              <a:gdLst>
                <a:gd name="T0" fmla="*/ 69 w 83"/>
                <a:gd name="T1" fmla="*/ 0 h 233"/>
                <a:gd name="T2" fmla="*/ 42 w 83"/>
                <a:gd name="T3" fmla="*/ 15 h 233"/>
                <a:gd name="T4" fmla="*/ 12 w 83"/>
                <a:gd name="T5" fmla="*/ 64 h 233"/>
                <a:gd name="T6" fmla="*/ 38 w 83"/>
                <a:gd name="T7" fmla="*/ 122 h 233"/>
                <a:gd name="T8" fmla="*/ 34 w 83"/>
                <a:gd name="T9" fmla="*/ 197 h 233"/>
                <a:gd name="T10" fmla="*/ 81 w 83"/>
                <a:gd name="T11" fmla="*/ 69 h 233"/>
                <a:gd name="T12" fmla="*/ 69 w 83"/>
                <a:gd name="T13" fmla="*/ 0 h 233"/>
              </a:gdLst>
              <a:ahLst/>
              <a:cxnLst>
                <a:cxn ang="0">
                  <a:pos x="T0" y="T1"/>
                </a:cxn>
                <a:cxn ang="0">
                  <a:pos x="T2" y="T3"/>
                </a:cxn>
                <a:cxn ang="0">
                  <a:pos x="T4" y="T5"/>
                </a:cxn>
                <a:cxn ang="0">
                  <a:pos x="T6" y="T7"/>
                </a:cxn>
                <a:cxn ang="0">
                  <a:pos x="T8" y="T9"/>
                </a:cxn>
                <a:cxn ang="0">
                  <a:pos x="T10" y="T11"/>
                </a:cxn>
                <a:cxn ang="0">
                  <a:pos x="T12" y="T13"/>
                </a:cxn>
              </a:cxnLst>
              <a:rect l="0" t="0" r="r" b="b"/>
              <a:pathLst>
                <a:path w="83" h="233">
                  <a:moveTo>
                    <a:pt x="69" y="0"/>
                  </a:moveTo>
                  <a:cubicBezTo>
                    <a:pt x="69" y="0"/>
                    <a:pt x="70" y="11"/>
                    <a:pt x="42" y="15"/>
                  </a:cubicBezTo>
                  <a:cubicBezTo>
                    <a:pt x="13" y="19"/>
                    <a:pt x="11" y="36"/>
                    <a:pt x="12" y="64"/>
                  </a:cubicBezTo>
                  <a:cubicBezTo>
                    <a:pt x="14" y="93"/>
                    <a:pt x="43" y="88"/>
                    <a:pt x="38" y="122"/>
                  </a:cubicBezTo>
                  <a:cubicBezTo>
                    <a:pt x="33" y="157"/>
                    <a:pt x="0" y="160"/>
                    <a:pt x="34" y="197"/>
                  </a:cubicBezTo>
                  <a:cubicBezTo>
                    <a:pt x="68" y="233"/>
                    <a:pt x="78" y="69"/>
                    <a:pt x="81" y="69"/>
                  </a:cubicBezTo>
                  <a:cubicBezTo>
                    <a:pt x="83" y="69"/>
                    <a:pt x="75" y="83"/>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46" name="Freeform 88">
            <a:extLst>
              <a:ext uri="{FF2B5EF4-FFF2-40B4-BE49-F238E27FC236}">
                <a16:creationId xmlns:a16="http://schemas.microsoft.com/office/drawing/2014/main" id="{935BF669-E149-41F3-A86C-40802557A33C}"/>
              </a:ext>
            </a:extLst>
          </p:cNvPr>
          <p:cNvSpPr>
            <a:spLocks/>
          </p:cNvSpPr>
          <p:nvPr/>
        </p:nvSpPr>
        <p:spPr bwMode="auto">
          <a:xfrm>
            <a:off x="1674402" y="2900548"/>
            <a:ext cx="1346234" cy="1819537"/>
          </a:xfrm>
          <a:custGeom>
            <a:avLst/>
            <a:gdLst>
              <a:gd name="T0" fmla="*/ 8 w 594"/>
              <a:gd name="T1" fmla="*/ 547 h 804"/>
              <a:gd name="T2" fmla="*/ 273 w 594"/>
              <a:gd name="T3" fmla="*/ 794 h 804"/>
              <a:gd name="T4" fmla="*/ 582 w 594"/>
              <a:gd name="T5" fmla="*/ 563 h 804"/>
              <a:gd name="T6" fmla="*/ 282 w 594"/>
              <a:gd name="T7" fmla="*/ 0 h 804"/>
              <a:gd name="T8" fmla="*/ 8 w 594"/>
              <a:gd name="T9" fmla="*/ 547 h 804"/>
            </a:gdLst>
            <a:ahLst/>
            <a:cxnLst>
              <a:cxn ang="0">
                <a:pos x="T0" y="T1"/>
              </a:cxn>
              <a:cxn ang="0">
                <a:pos x="T2" y="T3"/>
              </a:cxn>
              <a:cxn ang="0">
                <a:pos x="T4" y="T5"/>
              </a:cxn>
              <a:cxn ang="0">
                <a:pos x="T6" y="T7"/>
              </a:cxn>
              <a:cxn ang="0">
                <a:pos x="T8" y="T9"/>
              </a:cxn>
            </a:cxnLst>
            <a:rect l="0" t="0" r="r" b="b"/>
            <a:pathLst>
              <a:path w="594" h="804">
                <a:moveTo>
                  <a:pt x="8" y="547"/>
                </a:moveTo>
                <a:cubicBezTo>
                  <a:pt x="0" y="674"/>
                  <a:pt x="111" y="785"/>
                  <a:pt x="273" y="794"/>
                </a:cubicBezTo>
                <a:cubicBezTo>
                  <a:pt x="435" y="804"/>
                  <a:pt x="574" y="690"/>
                  <a:pt x="582" y="563"/>
                </a:cubicBezTo>
                <a:cubicBezTo>
                  <a:pt x="594" y="362"/>
                  <a:pt x="270" y="187"/>
                  <a:pt x="282" y="0"/>
                </a:cubicBezTo>
                <a:cubicBezTo>
                  <a:pt x="267" y="248"/>
                  <a:pt x="15" y="420"/>
                  <a:pt x="8" y="54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 name="Text Box 10">
            <a:extLst>
              <a:ext uri="{FF2B5EF4-FFF2-40B4-BE49-F238E27FC236}">
                <a16:creationId xmlns:a16="http://schemas.microsoft.com/office/drawing/2014/main" id="{89837736-5981-49D0-BBF3-CF3D0383F11A}"/>
              </a:ext>
            </a:extLst>
          </p:cNvPr>
          <p:cNvSpPr txBox="1">
            <a:spLocks noChangeArrowheads="1"/>
          </p:cNvSpPr>
          <p:nvPr/>
        </p:nvSpPr>
        <p:spPr bwMode="auto">
          <a:xfrm>
            <a:off x="970120" y="2209248"/>
            <a:ext cx="1182292" cy="230832"/>
          </a:xfrm>
          <a:prstGeom prst="rect">
            <a:avLst/>
          </a:prstGeom>
          <a:noFill/>
          <a:ln w="9525">
            <a:noFill/>
            <a:miter lim="800000"/>
            <a:headEnd/>
            <a:tailEnd/>
          </a:ln>
        </p:spPr>
        <p:txBody>
          <a:bodyPr wrap="square" lIns="45720" tIns="22860" rIns="45720" bIns="22860">
            <a:spAutoFit/>
          </a:bodyPr>
          <a:lstStyle/>
          <a:p>
            <a:pPr algn="ctr" defTabSz="1088232"/>
            <a:r>
              <a:rPr lang="en-US" altLang="zh-CN" sz="1200" dirty="0" err="1">
                <a:solidFill>
                  <a:schemeClr val="bg1"/>
                </a:solidFill>
                <a:latin typeface="+mj-lt"/>
                <a:ea typeface="Open Sans Light" pitchFamily="34" charset="0"/>
                <a:cs typeface="Open Sans Light" pitchFamily="34" charset="0"/>
              </a:rPr>
              <a:t>xxxxxxxxxx</a:t>
            </a:r>
            <a:endParaRPr lang="en-US" sz="1000" dirty="0">
              <a:solidFill>
                <a:schemeClr val="bg1"/>
              </a:solidFill>
              <a:latin typeface="+mj-lt"/>
              <a:ea typeface="Open Sans Light" pitchFamily="34" charset="0"/>
              <a:cs typeface="Open Sans Light" pitchFamily="34" charset="0"/>
            </a:endParaRPr>
          </a:p>
        </p:txBody>
      </p:sp>
      <p:sp>
        <p:nvSpPr>
          <p:cNvPr id="48" name="Text Box 10">
            <a:extLst>
              <a:ext uri="{FF2B5EF4-FFF2-40B4-BE49-F238E27FC236}">
                <a16:creationId xmlns:a16="http://schemas.microsoft.com/office/drawing/2014/main" id="{34C76083-9BED-4BA4-B248-7AED00C61ED4}"/>
              </a:ext>
            </a:extLst>
          </p:cNvPr>
          <p:cNvSpPr txBox="1">
            <a:spLocks noChangeArrowheads="1"/>
          </p:cNvSpPr>
          <p:nvPr/>
        </p:nvSpPr>
        <p:spPr bwMode="auto">
          <a:xfrm>
            <a:off x="1877262" y="3957512"/>
            <a:ext cx="929049" cy="415498"/>
          </a:xfrm>
          <a:prstGeom prst="rect">
            <a:avLst/>
          </a:prstGeom>
          <a:noFill/>
          <a:ln w="9525">
            <a:noFill/>
            <a:miter lim="800000"/>
            <a:headEnd/>
            <a:tailEnd/>
          </a:ln>
        </p:spPr>
        <p:txBody>
          <a:bodyPr wrap="square" lIns="45720" tIns="22860" rIns="45720" bIns="22860">
            <a:spAutoFit/>
          </a:bodyPr>
          <a:lstStyle/>
          <a:p>
            <a:pPr algn="ctr" defTabSz="1088232"/>
            <a:r>
              <a:rPr lang="en-US">
                <a:solidFill>
                  <a:schemeClr val="bg1"/>
                </a:solidFill>
                <a:latin typeface="+mj-lt"/>
                <a:ea typeface="Open Sans Light" pitchFamily="34" charset="0"/>
                <a:cs typeface="Open Sans Light" pitchFamily="34" charset="0"/>
              </a:rPr>
              <a:t>90%</a:t>
            </a:r>
            <a:endParaRPr lang="en-US" sz="1200">
              <a:solidFill>
                <a:schemeClr val="bg1"/>
              </a:solidFill>
              <a:latin typeface="+mj-lt"/>
              <a:ea typeface="Open Sans Light" pitchFamily="34" charset="0"/>
              <a:cs typeface="Open Sans Light" pitchFamily="34" charset="0"/>
            </a:endParaRPr>
          </a:p>
        </p:txBody>
      </p:sp>
      <p:sp>
        <p:nvSpPr>
          <p:cNvPr id="49" name="Text Box 10">
            <a:extLst>
              <a:ext uri="{FF2B5EF4-FFF2-40B4-BE49-F238E27FC236}">
                <a16:creationId xmlns:a16="http://schemas.microsoft.com/office/drawing/2014/main" id="{CC09479F-DF8E-41A1-9EC2-D28AB4EB5FD4}"/>
              </a:ext>
            </a:extLst>
          </p:cNvPr>
          <p:cNvSpPr txBox="1">
            <a:spLocks noChangeArrowheads="1"/>
          </p:cNvSpPr>
          <p:nvPr/>
        </p:nvSpPr>
        <p:spPr bwMode="auto">
          <a:xfrm>
            <a:off x="531503" y="4822358"/>
            <a:ext cx="2371140"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2"/>
                </a:solidFill>
                <a:ea typeface="Open Sans" pitchFamily="34" charset="0"/>
                <a:cs typeface="Open Sans" pitchFamily="34" charset="0"/>
              </a:rPr>
              <a:t>Xxxxxxxxx</a:t>
            </a:r>
            <a:endParaRPr lang="en-US" altLang="zh-CN" sz="1600" b="1" dirty="0">
              <a:solidFill>
                <a:schemeClr val="accent2"/>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r>
              <a:rPr lang="en-US" altLang="zh-CN" sz="1200" dirty="0">
                <a:solidFill>
                  <a:schemeClr val="bg1">
                    <a:lumMod val="65000"/>
                  </a:schemeClr>
                </a:solidFill>
                <a:ea typeface="Open Sans" pitchFamily="34" charset="0"/>
                <a:cs typeface="Open Sans" pitchFamily="34" charset="0"/>
              </a:rPr>
              <a:t>.</a:t>
            </a:r>
          </a:p>
        </p:txBody>
      </p:sp>
      <p:grpSp>
        <p:nvGrpSpPr>
          <p:cNvPr id="51" name="Group 95">
            <a:extLst>
              <a:ext uri="{FF2B5EF4-FFF2-40B4-BE49-F238E27FC236}">
                <a16:creationId xmlns:a16="http://schemas.microsoft.com/office/drawing/2014/main" id="{CBE602F0-92B6-49A2-8733-93F931055AB4}"/>
              </a:ext>
            </a:extLst>
          </p:cNvPr>
          <p:cNvGrpSpPr/>
          <p:nvPr/>
        </p:nvGrpSpPr>
        <p:grpSpPr>
          <a:xfrm>
            <a:off x="3652783" y="1089942"/>
            <a:ext cx="1924133" cy="1725769"/>
            <a:chOff x="523875" y="1042988"/>
            <a:chExt cx="1539875" cy="1381125"/>
          </a:xfrm>
          <a:solidFill>
            <a:schemeClr val="bg2">
              <a:lumMod val="50000"/>
            </a:schemeClr>
          </a:solidFill>
        </p:grpSpPr>
        <p:sp>
          <p:nvSpPr>
            <p:cNvPr id="52" name="Freeform 96">
              <a:extLst>
                <a:ext uri="{FF2B5EF4-FFF2-40B4-BE49-F238E27FC236}">
                  <a16:creationId xmlns:a16="http://schemas.microsoft.com/office/drawing/2014/main" id="{39FB6B7E-C545-4C68-B6E8-250B77726989}"/>
                </a:ext>
              </a:extLst>
            </p:cNvPr>
            <p:cNvSpPr>
              <a:spLocks/>
            </p:cNvSpPr>
            <p:nvPr/>
          </p:nvSpPr>
          <p:spPr bwMode="auto">
            <a:xfrm>
              <a:off x="523875" y="1046163"/>
              <a:ext cx="1539875" cy="1374775"/>
            </a:xfrm>
            <a:custGeom>
              <a:avLst/>
              <a:gdLst>
                <a:gd name="T0" fmla="*/ 7 w 956"/>
                <a:gd name="T1" fmla="*/ 734 h 854"/>
                <a:gd name="T2" fmla="*/ 76 w 956"/>
                <a:gd name="T3" fmla="*/ 705 h 854"/>
                <a:gd name="T4" fmla="*/ 353 w 956"/>
                <a:gd name="T5" fmla="*/ 716 h 854"/>
                <a:gd name="T6" fmla="*/ 797 w 956"/>
                <a:gd name="T7" fmla="*/ 766 h 854"/>
                <a:gd name="T8" fmla="*/ 956 w 956"/>
                <a:gd name="T9" fmla="*/ 821 h 854"/>
                <a:gd name="T10" fmla="*/ 883 w 956"/>
                <a:gd name="T11" fmla="*/ 583 h 854"/>
                <a:gd name="T12" fmla="*/ 668 w 956"/>
                <a:gd name="T13" fmla="*/ 516 h 854"/>
                <a:gd name="T14" fmla="*/ 597 w 956"/>
                <a:gd name="T15" fmla="*/ 410 h 854"/>
                <a:gd name="T16" fmla="*/ 559 w 956"/>
                <a:gd name="T17" fmla="*/ 339 h 854"/>
                <a:gd name="T18" fmla="*/ 544 w 956"/>
                <a:gd name="T19" fmla="*/ 311 h 854"/>
                <a:gd name="T20" fmla="*/ 526 w 956"/>
                <a:gd name="T21" fmla="*/ 216 h 854"/>
                <a:gd name="T22" fmla="*/ 536 w 956"/>
                <a:gd name="T23" fmla="*/ 196 h 854"/>
                <a:gd name="T24" fmla="*/ 510 w 956"/>
                <a:gd name="T25" fmla="*/ 166 h 854"/>
                <a:gd name="T26" fmla="*/ 517 w 956"/>
                <a:gd name="T27" fmla="*/ 94 h 854"/>
                <a:gd name="T28" fmla="*/ 533 w 956"/>
                <a:gd name="T29" fmla="*/ 88 h 854"/>
                <a:gd name="T30" fmla="*/ 664 w 956"/>
                <a:gd name="T31" fmla="*/ 86 h 854"/>
                <a:gd name="T32" fmla="*/ 642 w 956"/>
                <a:gd name="T33" fmla="*/ 8 h 854"/>
                <a:gd name="T34" fmla="*/ 525 w 956"/>
                <a:gd name="T35" fmla="*/ 19 h 854"/>
                <a:gd name="T36" fmla="*/ 471 w 956"/>
                <a:gd name="T37" fmla="*/ 1 h 854"/>
                <a:gd name="T38" fmla="*/ 415 w 956"/>
                <a:gd name="T39" fmla="*/ 22 h 854"/>
                <a:gd name="T40" fmla="*/ 293 w 956"/>
                <a:gd name="T41" fmla="*/ 19 h 854"/>
                <a:gd name="T42" fmla="*/ 279 w 956"/>
                <a:gd name="T43" fmla="*/ 96 h 854"/>
                <a:gd name="T44" fmla="*/ 414 w 956"/>
                <a:gd name="T45" fmla="*/ 92 h 854"/>
                <a:gd name="T46" fmla="*/ 431 w 956"/>
                <a:gd name="T47" fmla="*/ 98 h 854"/>
                <a:gd name="T48" fmla="*/ 435 w 956"/>
                <a:gd name="T49" fmla="*/ 169 h 854"/>
                <a:gd name="T50" fmla="*/ 411 w 956"/>
                <a:gd name="T51" fmla="*/ 196 h 854"/>
                <a:gd name="T52" fmla="*/ 421 w 956"/>
                <a:gd name="T53" fmla="*/ 205 h 854"/>
                <a:gd name="T54" fmla="*/ 402 w 956"/>
                <a:gd name="T55" fmla="*/ 234 h 854"/>
                <a:gd name="T56" fmla="*/ 395 w 956"/>
                <a:gd name="T57" fmla="*/ 320 h 854"/>
                <a:gd name="T58" fmla="*/ 391 w 956"/>
                <a:gd name="T59" fmla="*/ 340 h 854"/>
                <a:gd name="T60" fmla="*/ 335 w 956"/>
                <a:gd name="T61" fmla="*/ 395 h 854"/>
                <a:gd name="T62" fmla="*/ 346 w 956"/>
                <a:gd name="T63" fmla="*/ 468 h 854"/>
                <a:gd name="T64" fmla="*/ 288 w 956"/>
                <a:gd name="T65" fmla="*/ 515 h 854"/>
                <a:gd name="T66" fmla="*/ 46 w 956"/>
                <a:gd name="T67" fmla="*/ 503 h 854"/>
                <a:gd name="T68" fmla="*/ 10 w 956"/>
                <a:gd name="T69" fmla="*/ 480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6" h="854">
                  <a:moveTo>
                    <a:pt x="10" y="480"/>
                  </a:moveTo>
                  <a:cubicBezTo>
                    <a:pt x="10" y="480"/>
                    <a:pt x="0" y="672"/>
                    <a:pt x="7" y="734"/>
                  </a:cubicBezTo>
                  <a:cubicBezTo>
                    <a:pt x="7" y="734"/>
                    <a:pt x="21" y="743"/>
                    <a:pt x="33" y="736"/>
                  </a:cubicBezTo>
                  <a:cubicBezTo>
                    <a:pt x="45" y="728"/>
                    <a:pt x="36" y="708"/>
                    <a:pt x="76" y="705"/>
                  </a:cubicBezTo>
                  <a:cubicBezTo>
                    <a:pt x="115" y="702"/>
                    <a:pt x="265" y="701"/>
                    <a:pt x="265" y="701"/>
                  </a:cubicBezTo>
                  <a:cubicBezTo>
                    <a:pt x="265" y="701"/>
                    <a:pt x="313" y="699"/>
                    <a:pt x="353" y="716"/>
                  </a:cubicBezTo>
                  <a:cubicBezTo>
                    <a:pt x="392" y="733"/>
                    <a:pt x="468" y="772"/>
                    <a:pt x="595" y="722"/>
                  </a:cubicBezTo>
                  <a:cubicBezTo>
                    <a:pt x="723" y="672"/>
                    <a:pt x="789" y="699"/>
                    <a:pt x="797" y="766"/>
                  </a:cubicBezTo>
                  <a:cubicBezTo>
                    <a:pt x="804" y="833"/>
                    <a:pt x="798" y="821"/>
                    <a:pt x="824" y="828"/>
                  </a:cubicBezTo>
                  <a:cubicBezTo>
                    <a:pt x="850" y="836"/>
                    <a:pt x="908" y="854"/>
                    <a:pt x="956" y="821"/>
                  </a:cubicBezTo>
                  <a:cubicBezTo>
                    <a:pt x="955" y="739"/>
                    <a:pt x="955" y="739"/>
                    <a:pt x="955" y="739"/>
                  </a:cubicBezTo>
                  <a:cubicBezTo>
                    <a:pt x="955" y="739"/>
                    <a:pt x="953" y="642"/>
                    <a:pt x="883" y="583"/>
                  </a:cubicBezTo>
                  <a:cubicBezTo>
                    <a:pt x="814" y="523"/>
                    <a:pt x="753" y="522"/>
                    <a:pt x="736" y="520"/>
                  </a:cubicBezTo>
                  <a:cubicBezTo>
                    <a:pt x="720" y="519"/>
                    <a:pt x="668" y="516"/>
                    <a:pt x="668" y="516"/>
                  </a:cubicBezTo>
                  <a:cubicBezTo>
                    <a:pt x="668" y="516"/>
                    <a:pt x="604" y="513"/>
                    <a:pt x="601" y="466"/>
                  </a:cubicBezTo>
                  <a:cubicBezTo>
                    <a:pt x="598" y="419"/>
                    <a:pt x="597" y="410"/>
                    <a:pt x="597" y="410"/>
                  </a:cubicBezTo>
                  <a:cubicBezTo>
                    <a:pt x="597" y="410"/>
                    <a:pt x="614" y="404"/>
                    <a:pt x="614" y="389"/>
                  </a:cubicBezTo>
                  <a:cubicBezTo>
                    <a:pt x="614" y="373"/>
                    <a:pt x="618" y="346"/>
                    <a:pt x="559" y="339"/>
                  </a:cubicBezTo>
                  <a:cubicBezTo>
                    <a:pt x="557" y="325"/>
                    <a:pt x="557" y="325"/>
                    <a:pt x="557" y="325"/>
                  </a:cubicBezTo>
                  <a:cubicBezTo>
                    <a:pt x="544" y="311"/>
                    <a:pt x="544" y="311"/>
                    <a:pt x="544" y="311"/>
                  </a:cubicBezTo>
                  <a:cubicBezTo>
                    <a:pt x="544" y="228"/>
                    <a:pt x="544" y="228"/>
                    <a:pt x="544" y="228"/>
                  </a:cubicBezTo>
                  <a:cubicBezTo>
                    <a:pt x="544" y="228"/>
                    <a:pt x="541" y="220"/>
                    <a:pt x="526" y="216"/>
                  </a:cubicBezTo>
                  <a:cubicBezTo>
                    <a:pt x="526" y="205"/>
                    <a:pt x="526" y="205"/>
                    <a:pt x="526" y="205"/>
                  </a:cubicBezTo>
                  <a:cubicBezTo>
                    <a:pt x="526" y="205"/>
                    <a:pt x="536" y="205"/>
                    <a:pt x="536" y="196"/>
                  </a:cubicBezTo>
                  <a:cubicBezTo>
                    <a:pt x="536" y="187"/>
                    <a:pt x="535" y="178"/>
                    <a:pt x="535" y="178"/>
                  </a:cubicBezTo>
                  <a:cubicBezTo>
                    <a:pt x="535" y="178"/>
                    <a:pt x="524" y="170"/>
                    <a:pt x="510" y="166"/>
                  </a:cubicBezTo>
                  <a:cubicBezTo>
                    <a:pt x="511" y="101"/>
                    <a:pt x="511" y="101"/>
                    <a:pt x="511" y="101"/>
                  </a:cubicBezTo>
                  <a:cubicBezTo>
                    <a:pt x="511" y="101"/>
                    <a:pt x="514" y="98"/>
                    <a:pt x="517" y="94"/>
                  </a:cubicBezTo>
                  <a:cubicBezTo>
                    <a:pt x="529" y="94"/>
                    <a:pt x="529" y="94"/>
                    <a:pt x="529" y="94"/>
                  </a:cubicBezTo>
                  <a:cubicBezTo>
                    <a:pt x="529" y="94"/>
                    <a:pt x="532" y="92"/>
                    <a:pt x="533" y="88"/>
                  </a:cubicBezTo>
                  <a:cubicBezTo>
                    <a:pt x="649" y="97"/>
                    <a:pt x="649" y="97"/>
                    <a:pt x="649" y="97"/>
                  </a:cubicBezTo>
                  <a:cubicBezTo>
                    <a:pt x="649" y="97"/>
                    <a:pt x="660" y="99"/>
                    <a:pt x="664" y="86"/>
                  </a:cubicBezTo>
                  <a:cubicBezTo>
                    <a:pt x="668" y="74"/>
                    <a:pt x="670" y="39"/>
                    <a:pt x="661" y="14"/>
                  </a:cubicBezTo>
                  <a:cubicBezTo>
                    <a:pt x="661" y="14"/>
                    <a:pt x="660" y="5"/>
                    <a:pt x="642" y="8"/>
                  </a:cubicBezTo>
                  <a:cubicBezTo>
                    <a:pt x="625" y="10"/>
                    <a:pt x="531" y="24"/>
                    <a:pt x="531" y="24"/>
                  </a:cubicBezTo>
                  <a:cubicBezTo>
                    <a:pt x="531" y="24"/>
                    <a:pt x="530" y="19"/>
                    <a:pt x="525" y="19"/>
                  </a:cubicBezTo>
                  <a:cubicBezTo>
                    <a:pt x="519" y="19"/>
                    <a:pt x="514" y="19"/>
                    <a:pt x="514" y="19"/>
                  </a:cubicBezTo>
                  <a:cubicBezTo>
                    <a:pt x="514" y="19"/>
                    <a:pt x="502" y="2"/>
                    <a:pt x="471" y="1"/>
                  </a:cubicBezTo>
                  <a:cubicBezTo>
                    <a:pt x="439" y="0"/>
                    <a:pt x="430" y="21"/>
                    <a:pt x="430" y="21"/>
                  </a:cubicBezTo>
                  <a:cubicBezTo>
                    <a:pt x="415" y="22"/>
                    <a:pt x="415" y="22"/>
                    <a:pt x="415" y="22"/>
                  </a:cubicBezTo>
                  <a:cubicBezTo>
                    <a:pt x="415" y="22"/>
                    <a:pt x="412" y="25"/>
                    <a:pt x="412" y="28"/>
                  </a:cubicBezTo>
                  <a:cubicBezTo>
                    <a:pt x="293" y="19"/>
                    <a:pt x="293" y="19"/>
                    <a:pt x="293" y="19"/>
                  </a:cubicBezTo>
                  <a:cubicBezTo>
                    <a:pt x="293" y="19"/>
                    <a:pt x="281" y="17"/>
                    <a:pt x="278" y="29"/>
                  </a:cubicBezTo>
                  <a:cubicBezTo>
                    <a:pt x="275" y="41"/>
                    <a:pt x="274" y="77"/>
                    <a:pt x="279" y="96"/>
                  </a:cubicBezTo>
                  <a:cubicBezTo>
                    <a:pt x="284" y="116"/>
                    <a:pt x="301" y="110"/>
                    <a:pt x="310" y="108"/>
                  </a:cubicBezTo>
                  <a:cubicBezTo>
                    <a:pt x="320" y="105"/>
                    <a:pt x="414" y="92"/>
                    <a:pt x="414" y="92"/>
                  </a:cubicBezTo>
                  <a:cubicBezTo>
                    <a:pt x="414" y="92"/>
                    <a:pt x="413" y="98"/>
                    <a:pt x="419" y="98"/>
                  </a:cubicBezTo>
                  <a:cubicBezTo>
                    <a:pt x="426" y="98"/>
                    <a:pt x="431" y="98"/>
                    <a:pt x="431" y="98"/>
                  </a:cubicBezTo>
                  <a:cubicBezTo>
                    <a:pt x="431" y="98"/>
                    <a:pt x="433" y="103"/>
                    <a:pt x="435" y="103"/>
                  </a:cubicBezTo>
                  <a:cubicBezTo>
                    <a:pt x="435" y="169"/>
                    <a:pt x="435" y="169"/>
                    <a:pt x="435" y="169"/>
                  </a:cubicBezTo>
                  <a:cubicBezTo>
                    <a:pt x="435" y="169"/>
                    <a:pt x="412" y="169"/>
                    <a:pt x="411" y="179"/>
                  </a:cubicBezTo>
                  <a:cubicBezTo>
                    <a:pt x="411" y="189"/>
                    <a:pt x="411" y="196"/>
                    <a:pt x="411" y="196"/>
                  </a:cubicBezTo>
                  <a:cubicBezTo>
                    <a:pt x="411" y="196"/>
                    <a:pt x="409" y="200"/>
                    <a:pt x="415" y="202"/>
                  </a:cubicBezTo>
                  <a:cubicBezTo>
                    <a:pt x="420" y="204"/>
                    <a:pt x="421" y="205"/>
                    <a:pt x="421" y="205"/>
                  </a:cubicBezTo>
                  <a:cubicBezTo>
                    <a:pt x="421" y="219"/>
                    <a:pt x="421" y="219"/>
                    <a:pt x="421" y="219"/>
                  </a:cubicBezTo>
                  <a:cubicBezTo>
                    <a:pt x="421" y="219"/>
                    <a:pt x="402" y="221"/>
                    <a:pt x="402" y="234"/>
                  </a:cubicBezTo>
                  <a:cubicBezTo>
                    <a:pt x="402" y="247"/>
                    <a:pt x="402" y="317"/>
                    <a:pt x="402" y="317"/>
                  </a:cubicBezTo>
                  <a:cubicBezTo>
                    <a:pt x="395" y="320"/>
                    <a:pt x="395" y="320"/>
                    <a:pt x="395" y="320"/>
                  </a:cubicBezTo>
                  <a:cubicBezTo>
                    <a:pt x="392" y="324"/>
                    <a:pt x="392" y="324"/>
                    <a:pt x="392" y="324"/>
                  </a:cubicBezTo>
                  <a:cubicBezTo>
                    <a:pt x="391" y="340"/>
                    <a:pt x="391" y="340"/>
                    <a:pt x="391" y="340"/>
                  </a:cubicBezTo>
                  <a:cubicBezTo>
                    <a:pt x="391" y="340"/>
                    <a:pt x="335" y="347"/>
                    <a:pt x="335" y="364"/>
                  </a:cubicBezTo>
                  <a:cubicBezTo>
                    <a:pt x="335" y="382"/>
                    <a:pt x="335" y="395"/>
                    <a:pt x="335" y="395"/>
                  </a:cubicBezTo>
                  <a:cubicBezTo>
                    <a:pt x="335" y="395"/>
                    <a:pt x="334" y="402"/>
                    <a:pt x="345" y="407"/>
                  </a:cubicBezTo>
                  <a:cubicBezTo>
                    <a:pt x="346" y="468"/>
                    <a:pt x="346" y="468"/>
                    <a:pt x="346" y="468"/>
                  </a:cubicBezTo>
                  <a:cubicBezTo>
                    <a:pt x="346" y="468"/>
                    <a:pt x="347" y="491"/>
                    <a:pt x="336" y="499"/>
                  </a:cubicBezTo>
                  <a:cubicBezTo>
                    <a:pt x="324" y="508"/>
                    <a:pt x="306" y="515"/>
                    <a:pt x="288" y="515"/>
                  </a:cubicBezTo>
                  <a:cubicBezTo>
                    <a:pt x="270" y="515"/>
                    <a:pt x="73" y="517"/>
                    <a:pt x="73" y="517"/>
                  </a:cubicBezTo>
                  <a:cubicBezTo>
                    <a:pt x="73" y="517"/>
                    <a:pt x="51" y="515"/>
                    <a:pt x="46" y="503"/>
                  </a:cubicBezTo>
                  <a:cubicBezTo>
                    <a:pt x="42" y="491"/>
                    <a:pt x="33" y="483"/>
                    <a:pt x="33" y="483"/>
                  </a:cubicBezTo>
                  <a:cubicBezTo>
                    <a:pt x="10" y="480"/>
                    <a:pt x="10" y="480"/>
                    <a:pt x="10" y="4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3" name="Freeform 97">
              <a:extLst>
                <a:ext uri="{FF2B5EF4-FFF2-40B4-BE49-F238E27FC236}">
                  <a16:creationId xmlns:a16="http://schemas.microsoft.com/office/drawing/2014/main" id="{702A2F01-5B43-42FF-BC49-D806175BB878}"/>
                </a:ext>
              </a:extLst>
            </p:cNvPr>
            <p:cNvSpPr>
              <a:spLocks/>
            </p:cNvSpPr>
            <p:nvPr/>
          </p:nvSpPr>
          <p:spPr bwMode="auto">
            <a:xfrm>
              <a:off x="538163" y="1824038"/>
              <a:ext cx="42863" cy="98425"/>
            </a:xfrm>
            <a:custGeom>
              <a:avLst/>
              <a:gdLst>
                <a:gd name="T0" fmla="*/ 4 w 27"/>
                <a:gd name="T1" fmla="*/ 0 h 61"/>
                <a:gd name="T2" fmla="*/ 19 w 27"/>
                <a:gd name="T3" fmla="*/ 2 h 61"/>
                <a:gd name="T4" fmla="*/ 27 w 27"/>
                <a:gd name="T5" fmla="*/ 14 h 61"/>
                <a:gd name="T6" fmla="*/ 27 w 27"/>
                <a:gd name="T7" fmla="*/ 61 h 61"/>
                <a:gd name="T8" fmla="*/ 13 w 27"/>
                <a:gd name="T9" fmla="*/ 21 h 61"/>
                <a:gd name="T10" fmla="*/ 4 w 27"/>
                <a:gd name="T11" fmla="*/ 0 h 61"/>
              </a:gdLst>
              <a:ahLst/>
              <a:cxnLst>
                <a:cxn ang="0">
                  <a:pos x="T0" y="T1"/>
                </a:cxn>
                <a:cxn ang="0">
                  <a:pos x="T2" y="T3"/>
                </a:cxn>
                <a:cxn ang="0">
                  <a:pos x="T4" y="T5"/>
                </a:cxn>
                <a:cxn ang="0">
                  <a:pos x="T6" y="T7"/>
                </a:cxn>
                <a:cxn ang="0">
                  <a:pos x="T8" y="T9"/>
                </a:cxn>
                <a:cxn ang="0">
                  <a:pos x="T10" y="T11"/>
                </a:cxn>
              </a:cxnLst>
              <a:rect l="0" t="0" r="r" b="b"/>
              <a:pathLst>
                <a:path w="27" h="61">
                  <a:moveTo>
                    <a:pt x="4" y="0"/>
                  </a:moveTo>
                  <a:cubicBezTo>
                    <a:pt x="19" y="2"/>
                    <a:pt x="19" y="2"/>
                    <a:pt x="19" y="2"/>
                  </a:cubicBezTo>
                  <a:cubicBezTo>
                    <a:pt x="19" y="2"/>
                    <a:pt x="27" y="3"/>
                    <a:pt x="27" y="14"/>
                  </a:cubicBezTo>
                  <a:cubicBezTo>
                    <a:pt x="26" y="25"/>
                    <a:pt x="27" y="61"/>
                    <a:pt x="27" y="61"/>
                  </a:cubicBezTo>
                  <a:cubicBezTo>
                    <a:pt x="27" y="61"/>
                    <a:pt x="26" y="27"/>
                    <a:pt x="13" y="21"/>
                  </a:cubicBezTo>
                  <a:cubicBezTo>
                    <a:pt x="0" y="15"/>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4" name="Freeform 98">
              <a:extLst>
                <a:ext uri="{FF2B5EF4-FFF2-40B4-BE49-F238E27FC236}">
                  <a16:creationId xmlns:a16="http://schemas.microsoft.com/office/drawing/2014/main" id="{26DF4D8A-437D-4429-B811-F0A12553DA74}"/>
                </a:ext>
              </a:extLst>
            </p:cNvPr>
            <p:cNvSpPr>
              <a:spLocks/>
            </p:cNvSpPr>
            <p:nvPr/>
          </p:nvSpPr>
          <p:spPr bwMode="auto">
            <a:xfrm>
              <a:off x="533400" y="1893888"/>
              <a:ext cx="52388" cy="173038"/>
            </a:xfrm>
            <a:custGeom>
              <a:avLst/>
              <a:gdLst>
                <a:gd name="T0" fmla="*/ 28 w 32"/>
                <a:gd name="T1" fmla="*/ 9 h 107"/>
                <a:gd name="T2" fmla="*/ 25 w 32"/>
                <a:gd name="T3" fmla="*/ 87 h 107"/>
                <a:gd name="T4" fmla="*/ 1 w 32"/>
                <a:gd name="T5" fmla="*/ 42 h 107"/>
                <a:gd name="T6" fmla="*/ 28 w 32"/>
                <a:gd name="T7" fmla="*/ 9 h 107"/>
              </a:gdLst>
              <a:ahLst/>
              <a:cxnLst>
                <a:cxn ang="0">
                  <a:pos x="T0" y="T1"/>
                </a:cxn>
                <a:cxn ang="0">
                  <a:pos x="T2" y="T3"/>
                </a:cxn>
                <a:cxn ang="0">
                  <a:pos x="T4" y="T5"/>
                </a:cxn>
                <a:cxn ang="0">
                  <a:pos x="T6" y="T7"/>
                </a:cxn>
              </a:cxnLst>
              <a:rect l="0" t="0" r="r" b="b"/>
              <a:pathLst>
                <a:path w="32" h="107">
                  <a:moveTo>
                    <a:pt x="28" y="9"/>
                  </a:moveTo>
                  <a:cubicBezTo>
                    <a:pt x="28" y="9"/>
                    <a:pt x="32" y="66"/>
                    <a:pt x="25" y="87"/>
                  </a:cubicBezTo>
                  <a:cubicBezTo>
                    <a:pt x="18" y="107"/>
                    <a:pt x="0" y="84"/>
                    <a:pt x="1" y="42"/>
                  </a:cubicBezTo>
                  <a:cubicBezTo>
                    <a:pt x="1" y="0"/>
                    <a:pt x="27" y="27"/>
                    <a:pt x="2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 name="Freeform 99">
              <a:extLst>
                <a:ext uri="{FF2B5EF4-FFF2-40B4-BE49-F238E27FC236}">
                  <a16:creationId xmlns:a16="http://schemas.microsoft.com/office/drawing/2014/main" id="{FD59DB47-CC62-40A8-8D17-028796EBE0A2}"/>
                </a:ext>
              </a:extLst>
            </p:cNvPr>
            <p:cNvSpPr>
              <a:spLocks/>
            </p:cNvSpPr>
            <p:nvPr/>
          </p:nvSpPr>
          <p:spPr bwMode="auto">
            <a:xfrm>
              <a:off x="598488" y="1876425"/>
              <a:ext cx="469900" cy="179388"/>
            </a:xfrm>
            <a:custGeom>
              <a:avLst/>
              <a:gdLst>
                <a:gd name="T0" fmla="*/ 259 w 292"/>
                <a:gd name="T1" fmla="*/ 0 h 111"/>
                <a:gd name="T2" fmla="*/ 257 w 292"/>
                <a:gd name="T3" fmla="*/ 0 h 111"/>
                <a:gd name="T4" fmla="*/ 26 w 292"/>
                <a:gd name="T5" fmla="*/ 3 h 111"/>
                <a:gd name="T6" fmla="*/ 14 w 292"/>
                <a:gd name="T7" fmla="*/ 1 h 111"/>
                <a:gd name="T8" fmla="*/ 3 w 292"/>
                <a:gd name="T9" fmla="*/ 6 h 111"/>
                <a:gd name="T10" fmla="*/ 11 w 292"/>
                <a:gd name="T11" fmla="*/ 111 h 111"/>
                <a:gd name="T12" fmla="*/ 12 w 292"/>
                <a:gd name="T13" fmla="*/ 111 h 111"/>
                <a:gd name="T14" fmla="*/ 26 w 292"/>
                <a:gd name="T15" fmla="*/ 97 h 111"/>
                <a:gd name="T16" fmla="*/ 52 w 292"/>
                <a:gd name="T17" fmla="*/ 84 h 111"/>
                <a:gd name="T18" fmla="*/ 57 w 292"/>
                <a:gd name="T19" fmla="*/ 85 h 111"/>
                <a:gd name="T20" fmla="*/ 156 w 292"/>
                <a:gd name="T21" fmla="*/ 93 h 111"/>
                <a:gd name="T22" fmla="*/ 183 w 292"/>
                <a:gd name="T23" fmla="*/ 92 h 111"/>
                <a:gd name="T24" fmla="*/ 274 w 292"/>
                <a:gd name="T25" fmla="*/ 74 h 111"/>
                <a:gd name="T26" fmla="*/ 256 w 292"/>
                <a:gd name="T27" fmla="*/ 41 h 111"/>
                <a:gd name="T28" fmla="*/ 255 w 292"/>
                <a:gd name="T29" fmla="*/ 41 h 111"/>
                <a:gd name="T30" fmla="*/ 254 w 292"/>
                <a:gd name="T31" fmla="*/ 41 h 111"/>
                <a:gd name="T32" fmla="*/ 231 w 292"/>
                <a:gd name="T33" fmla="*/ 38 h 111"/>
                <a:gd name="T34" fmla="*/ 203 w 292"/>
                <a:gd name="T35" fmla="*/ 35 h 111"/>
                <a:gd name="T36" fmla="*/ 167 w 292"/>
                <a:gd name="T37" fmla="*/ 39 h 111"/>
                <a:gd name="T38" fmla="*/ 116 w 292"/>
                <a:gd name="T39" fmla="*/ 44 h 111"/>
                <a:gd name="T40" fmla="*/ 65 w 292"/>
                <a:gd name="T41" fmla="*/ 40 h 111"/>
                <a:gd name="T42" fmla="*/ 55 w 292"/>
                <a:gd name="T43" fmla="*/ 24 h 111"/>
                <a:gd name="T44" fmla="*/ 57 w 292"/>
                <a:gd name="T45" fmla="*/ 24 h 111"/>
                <a:gd name="T46" fmla="*/ 108 w 292"/>
                <a:gd name="T47" fmla="*/ 30 h 111"/>
                <a:gd name="T48" fmla="*/ 146 w 292"/>
                <a:gd name="T49" fmla="*/ 27 h 111"/>
                <a:gd name="T50" fmla="*/ 182 w 292"/>
                <a:gd name="T51" fmla="*/ 24 h 111"/>
                <a:gd name="T52" fmla="*/ 217 w 292"/>
                <a:gd name="T53" fmla="*/ 26 h 111"/>
                <a:gd name="T54" fmla="*/ 245 w 292"/>
                <a:gd name="T55" fmla="*/ 27 h 111"/>
                <a:gd name="T56" fmla="*/ 262 w 292"/>
                <a:gd name="T57" fmla="*/ 25 h 111"/>
                <a:gd name="T58" fmla="*/ 259 w 292"/>
                <a:gd name="T5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2" h="111">
                  <a:moveTo>
                    <a:pt x="259" y="0"/>
                  </a:moveTo>
                  <a:cubicBezTo>
                    <a:pt x="258" y="0"/>
                    <a:pt x="257" y="0"/>
                    <a:pt x="257" y="0"/>
                  </a:cubicBezTo>
                  <a:cubicBezTo>
                    <a:pt x="220" y="1"/>
                    <a:pt x="26" y="3"/>
                    <a:pt x="26" y="3"/>
                  </a:cubicBezTo>
                  <a:cubicBezTo>
                    <a:pt x="26" y="3"/>
                    <a:pt x="20" y="1"/>
                    <a:pt x="14" y="1"/>
                  </a:cubicBezTo>
                  <a:cubicBezTo>
                    <a:pt x="9" y="1"/>
                    <a:pt x="4" y="2"/>
                    <a:pt x="3" y="6"/>
                  </a:cubicBezTo>
                  <a:cubicBezTo>
                    <a:pt x="1" y="14"/>
                    <a:pt x="0" y="110"/>
                    <a:pt x="11" y="111"/>
                  </a:cubicBezTo>
                  <a:cubicBezTo>
                    <a:pt x="11" y="111"/>
                    <a:pt x="11" y="111"/>
                    <a:pt x="12" y="111"/>
                  </a:cubicBezTo>
                  <a:cubicBezTo>
                    <a:pt x="17" y="111"/>
                    <a:pt x="20" y="104"/>
                    <a:pt x="26" y="97"/>
                  </a:cubicBezTo>
                  <a:cubicBezTo>
                    <a:pt x="31" y="91"/>
                    <a:pt x="39" y="84"/>
                    <a:pt x="52" y="84"/>
                  </a:cubicBezTo>
                  <a:cubicBezTo>
                    <a:pt x="53" y="84"/>
                    <a:pt x="55" y="84"/>
                    <a:pt x="57" y="85"/>
                  </a:cubicBezTo>
                  <a:cubicBezTo>
                    <a:pt x="81" y="87"/>
                    <a:pt x="118" y="93"/>
                    <a:pt x="156" y="93"/>
                  </a:cubicBezTo>
                  <a:cubicBezTo>
                    <a:pt x="165" y="93"/>
                    <a:pt x="174" y="92"/>
                    <a:pt x="183" y="92"/>
                  </a:cubicBezTo>
                  <a:cubicBezTo>
                    <a:pt x="230" y="88"/>
                    <a:pt x="271" y="92"/>
                    <a:pt x="274" y="74"/>
                  </a:cubicBezTo>
                  <a:cubicBezTo>
                    <a:pt x="277" y="56"/>
                    <a:pt x="278" y="41"/>
                    <a:pt x="256" y="41"/>
                  </a:cubicBezTo>
                  <a:cubicBezTo>
                    <a:pt x="256" y="41"/>
                    <a:pt x="255" y="41"/>
                    <a:pt x="255" y="41"/>
                  </a:cubicBezTo>
                  <a:cubicBezTo>
                    <a:pt x="255" y="41"/>
                    <a:pt x="254" y="41"/>
                    <a:pt x="254" y="41"/>
                  </a:cubicBezTo>
                  <a:cubicBezTo>
                    <a:pt x="246" y="41"/>
                    <a:pt x="239" y="39"/>
                    <a:pt x="231" y="38"/>
                  </a:cubicBezTo>
                  <a:cubicBezTo>
                    <a:pt x="223" y="37"/>
                    <a:pt x="214" y="35"/>
                    <a:pt x="203" y="35"/>
                  </a:cubicBezTo>
                  <a:cubicBezTo>
                    <a:pt x="193" y="35"/>
                    <a:pt x="181" y="36"/>
                    <a:pt x="167" y="39"/>
                  </a:cubicBezTo>
                  <a:cubicBezTo>
                    <a:pt x="148" y="43"/>
                    <a:pt x="131" y="44"/>
                    <a:pt x="116" y="44"/>
                  </a:cubicBezTo>
                  <a:cubicBezTo>
                    <a:pt x="94" y="44"/>
                    <a:pt x="77" y="41"/>
                    <a:pt x="65" y="40"/>
                  </a:cubicBezTo>
                  <a:cubicBezTo>
                    <a:pt x="45" y="37"/>
                    <a:pt x="43" y="24"/>
                    <a:pt x="55" y="24"/>
                  </a:cubicBezTo>
                  <a:cubicBezTo>
                    <a:pt x="56" y="24"/>
                    <a:pt x="56" y="24"/>
                    <a:pt x="57" y="24"/>
                  </a:cubicBezTo>
                  <a:cubicBezTo>
                    <a:pt x="67" y="25"/>
                    <a:pt x="83" y="30"/>
                    <a:pt x="108" y="30"/>
                  </a:cubicBezTo>
                  <a:cubicBezTo>
                    <a:pt x="119" y="30"/>
                    <a:pt x="131" y="29"/>
                    <a:pt x="146" y="27"/>
                  </a:cubicBezTo>
                  <a:cubicBezTo>
                    <a:pt x="158" y="25"/>
                    <a:pt x="170" y="24"/>
                    <a:pt x="182" y="24"/>
                  </a:cubicBezTo>
                  <a:cubicBezTo>
                    <a:pt x="194" y="24"/>
                    <a:pt x="206" y="25"/>
                    <a:pt x="217" y="26"/>
                  </a:cubicBezTo>
                  <a:cubicBezTo>
                    <a:pt x="228" y="26"/>
                    <a:pt x="238" y="27"/>
                    <a:pt x="245" y="27"/>
                  </a:cubicBezTo>
                  <a:cubicBezTo>
                    <a:pt x="252" y="27"/>
                    <a:pt x="258" y="27"/>
                    <a:pt x="262" y="25"/>
                  </a:cubicBezTo>
                  <a:cubicBezTo>
                    <a:pt x="277" y="18"/>
                    <a:pt x="292" y="0"/>
                    <a:pt x="2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Freeform 100">
              <a:extLst>
                <a:ext uri="{FF2B5EF4-FFF2-40B4-BE49-F238E27FC236}">
                  <a16:creationId xmlns:a16="http://schemas.microsoft.com/office/drawing/2014/main" id="{C54B60B2-2918-487D-BB3B-A4259094E326}"/>
                </a:ext>
              </a:extLst>
            </p:cNvPr>
            <p:cNvSpPr>
              <a:spLocks/>
            </p:cNvSpPr>
            <p:nvPr/>
          </p:nvSpPr>
          <p:spPr bwMode="auto">
            <a:xfrm>
              <a:off x="1016000" y="1631950"/>
              <a:ext cx="220663" cy="312738"/>
            </a:xfrm>
            <a:custGeom>
              <a:avLst/>
              <a:gdLst>
                <a:gd name="T0" fmla="*/ 12 w 137"/>
                <a:gd name="T1" fmla="*/ 147 h 194"/>
                <a:gd name="T2" fmla="*/ 26 w 137"/>
                <a:gd name="T3" fmla="*/ 161 h 194"/>
                <a:gd name="T4" fmla="*/ 0 w 137"/>
                <a:gd name="T5" fmla="*/ 186 h 194"/>
                <a:gd name="T6" fmla="*/ 36 w 137"/>
                <a:gd name="T7" fmla="*/ 184 h 194"/>
                <a:gd name="T8" fmla="*/ 81 w 137"/>
                <a:gd name="T9" fmla="*/ 172 h 194"/>
                <a:gd name="T10" fmla="*/ 125 w 137"/>
                <a:gd name="T11" fmla="*/ 121 h 194"/>
                <a:gd name="T12" fmla="*/ 84 w 137"/>
                <a:gd name="T13" fmla="*/ 74 h 194"/>
                <a:gd name="T14" fmla="*/ 61 w 137"/>
                <a:gd name="T15" fmla="*/ 59 h 194"/>
                <a:gd name="T16" fmla="*/ 50 w 137"/>
                <a:gd name="T17" fmla="*/ 49 h 194"/>
                <a:gd name="T18" fmla="*/ 123 w 137"/>
                <a:gd name="T19" fmla="*/ 61 h 194"/>
                <a:gd name="T20" fmla="*/ 95 w 137"/>
                <a:gd name="T21" fmla="*/ 51 h 194"/>
                <a:gd name="T22" fmla="*/ 114 w 137"/>
                <a:gd name="T23" fmla="*/ 32 h 194"/>
                <a:gd name="T24" fmla="*/ 112 w 137"/>
                <a:gd name="T25" fmla="*/ 30 h 194"/>
                <a:gd name="T26" fmla="*/ 30 w 137"/>
                <a:gd name="T27" fmla="*/ 0 h 194"/>
                <a:gd name="T28" fmla="*/ 30 w 137"/>
                <a:gd name="T29" fmla="*/ 31 h 194"/>
                <a:gd name="T30" fmla="*/ 40 w 137"/>
                <a:gd name="T31" fmla="*/ 43 h 194"/>
                <a:gd name="T32" fmla="*/ 41 w 137"/>
                <a:gd name="T33" fmla="*/ 108 h 194"/>
                <a:gd name="T34" fmla="*/ 12 w 137"/>
                <a:gd name="T35" fmla="*/ 1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94">
                  <a:moveTo>
                    <a:pt x="12" y="147"/>
                  </a:moveTo>
                  <a:cubicBezTo>
                    <a:pt x="12" y="147"/>
                    <a:pt x="35" y="148"/>
                    <a:pt x="26" y="161"/>
                  </a:cubicBezTo>
                  <a:cubicBezTo>
                    <a:pt x="16" y="174"/>
                    <a:pt x="0" y="186"/>
                    <a:pt x="0" y="186"/>
                  </a:cubicBezTo>
                  <a:cubicBezTo>
                    <a:pt x="0" y="186"/>
                    <a:pt x="13" y="194"/>
                    <a:pt x="36" y="184"/>
                  </a:cubicBezTo>
                  <a:cubicBezTo>
                    <a:pt x="59" y="173"/>
                    <a:pt x="50" y="175"/>
                    <a:pt x="81" y="172"/>
                  </a:cubicBezTo>
                  <a:cubicBezTo>
                    <a:pt x="111" y="170"/>
                    <a:pt x="137" y="148"/>
                    <a:pt x="125" y="121"/>
                  </a:cubicBezTo>
                  <a:cubicBezTo>
                    <a:pt x="112" y="93"/>
                    <a:pt x="92" y="99"/>
                    <a:pt x="84" y="74"/>
                  </a:cubicBezTo>
                  <a:cubicBezTo>
                    <a:pt x="75" y="50"/>
                    <a:pt x="74" y="63"/>
                    <a:pt x="61" y="59"/>
                  </a:cubicBezTo>
                  <a:cubicBezTo>
                    <a:pt x="48" y="55"/>
                    <a:pt x="43" y="46"/>
                    <a:pt x="50" y="49"/>
                  </a:cubicBezTo>
                  <a:cubicBezTo>
                    <a:pt x="57" y="51"/>
                    <a:pt x="77" y="61"/>
                    <a:pt x="123" y="61"/>
                  </a:cubicBezTo>
                  <a:cubicBezTo>
                    <a:pt x="123" y="61"/>
                    <a:pt x="95" y="58"/>
                    <a:pt x="95" y="51"/>
                  </a:cubicBezTo>
                  <a:cubicBezTo>
                    <a:pt x="95" y="45"/>
                    <a:pt x="95" y="33"/>
                    <a:pt x="114" y="32"/>
                  </a:cubicBezTo>
                  <a:cubicBezTo>
                    <a:pt x="114" y="32"/>
                    <a:pt x="116" y="30"/>
                    <a:pt x="112" y="30"/>
                  </a:cubicBezTo>
                  <a:cubicBezTo>
                    <a:pt x="108" y="30"/>
                    <a:pt x="38" y="26"/>
                    <a:pt x="30" y="0"/>
                  </a:cubicBezTo>
                  <a:cubicBezTo>
                    <a:pt x="30" y="31"/>
                    <a:pt x="30" y="31"/>
                    <a:pt x="30" y="31"/>
                  </a:cubicBezTo>
                  <a:cubicBezTo>
                    <a:pt x="30" y="31"/>
                    <a:pt x="29" y="39"/>
                    <a:pt x="40" y="43"/>
                  </a:cubicBezTo>
                  <a:cubicBezTo>
                    <a:pt x="41" y="108"/>
                    <a:pt x="41" y="108"/>
                    <a:pt x="41" y="108"/>
                  </a:cubicBezTo>
                  <a:cubicBezTo>
                    <a:pt x="41" y="108"/>
                    <a:pt x="45" y="137"/>
                    <a:pt x="12"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 name="Freeform 101">
              <a:extLst>
                <a:ext uri="{FF2B5EF4-FFF2-40B4-BE49-F238E27FC236}">
                  <a16:creationId xmlns:a16="http://schemas.microsoft.com/office/drawing/2014/main" id="{29D9096D-0F35-42F2-82C9-08E683495613}"/>
                </a:ext>
              </a:extLst>
            </p:cNvPr>
            <p:cNvSpPr>
              <a:spLocks/>
            </p:cNvSpPr>
            <p:nvPr/>
          </p:nvSpPr>
          <p:spPr bwMode="auto">
            <a:xfrm>
              <a:off x="1057275" y="1550988"/>
              <a:ext cx="460375" cy="134938"/>
            </a:xfrm>
            <a:custGeom>
              <a:avLst/>
              <a:gdLst>
                <a:gd name="T0" fmla="*/ 60 w 286"/>
                <a:gd name="T1" fmla="*/ 26 h 83"/>
                <a:gd name="T2" fmla="*/ 4 w 286"/>
                <a:gd name="T3" fmla="*/ 50 h 83"/>
                <a:gd name="T4" fmla="*/ 144 w 286"/>
                <a:gd name="T5" fmla="*/ 82 h 83"/>
                <a:gd name="T6" fmla="*/ 277 w 286"/>
                <a:gd name="T7" fmla="*/ 45 h 83"/>
                <a:gd name="T8" fmla="*/ 228 w 286"/>
                <a:gd name="T9" fmla="*/ 25 h 83"/>
                <a:gd name="T10" fmla="*/ 226 w 286"/>
                <a:gd name="T11" fmla="*/ 11 h 83"/>
                <a:gd name="T12" fmla="*/ 215 w 286"/>
                <a:gd name="T13" fmla="*/ 0 h 83"/>
                <a:gd name="T14" fmla="*/ 153 w 286"/>
                <a:gd name="T15" fmla="*/ 16 h 83"/>
                <a:gd name="T16" fmla="*/ 71 w 286"/>
                <a:gd name="T17" fmla="*/ 2 h 83"/>
                <a:gd name="T18" fmla="*/ 64 w 286"/>
                <a:gd name="T19" fmla="*/ 6 h 83"/>
                <a:gd name="T20" fmla="*/ 61 w 286"/>
                <a:gd name="T21" fmla="*/ 10 h 83"/>
                <a:gd name="T22" fmla="*/ 60 w 286"/>
                <a:gd name="T23" fmla="*/ 2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6" h="83">
                  <a:moveTo>
                    <a:pt x="60" y="26"/>
                  </a:moveTo>
                  <a:cubicBezTo>
                    <a:pt x="60" y="26"/>
                    <a:pt x="7" y="32"/>
                    <a:pt x="4" y="50"/>
                  </a:cubicBezTo>
                  <a:cubicBezTo>
                    <a:pt x="4" y="50"/>
                    <a:pt x="0" y="83"/>
                    <a:pt x="144" y="82"/>
                  </a:cubicBezTo>
                  <a:cubicBezTo>
                    <a:pt x="276" y="82"/>
                    <a:pt x="286" y="56"/>
                    <a:pt x="277" y="45"/>
                  </a:cubicBezTo>
                  <a:cubicBezTo>
                    <a:pt x="277" y="45"/>
                    <a:pt x="264" y="26"/>
                    <a:pt x="228" y="25"/>
                  </a:cubicBezTo>
                  <a:cubicBezTo>
                    <a:pt x="226" y="11"/>
                    <a:pt x="226" y="11"/>
                    <a:pt x="226" y="11"/>
                  </a:cubicBezTo>
                  <a:cubicBezTo>
                    <a:pt x="215" y="0"/>
                    <a:pt x="215" y="0"/>
                    <a:pt x="215" y="0"/>
                  </a:cubicBezTo>
                  <a:cubicBezTo>
                    <a:pt x="215" y="0"/>
                    <a:pt x="206" y="15"/>
                    <a:pt x="153" y="16"/>
                  </a:cubicBezTo>
                  <a:cubicBezTo>
                    <a:pt x="101" y="16"/>
                    <a:pt x="71" y="2"/>
                    <a:pt x="71" y="2"/>
                  </a:cubicBezTo>
                  <a:cubicBezTo>
                    <a:pt x="64" y="6"/>
                    <a:pt x="64" y="6"/>
                    <a:pt x="64" y="6"/>
                  </a:cubicBezTo>
                  <a:cubicBezTo>
                    <a:pt x="61" y="10"/>
                    <a:pt x="61" y="10"/>
                    <a:pt x="61" y="10"/>
                  </a:cubicBezTo>
                  <a:lnTo>
                    <a:pt x="6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 name="Freeform 102">
              <a:extLst>
                <a:ext uri="{FF2B5EF4-FFF2-40B4-BE49-F238E27FC236}">
                  <a16:creationId xmlns:a16="http://schemas.microsoft.com/office/drawing/2014/main" id="{F7D7C44A-4999-44E4-83A9-B2E354B3C337}"/>
                </a:ext>
              </a:extLst>
            </p:cNvPr>
            <p:cNvSpPr>
              <a:spLocks/>
            </p:cNvSpPr>
            <p:nvPr/>
          </p:nvSpPr>
          <p:spPr bwMode="auto">
            <a:xfrm>
              <a:off x="1150938" y="1593850"/>
              <a:ext cx="57150" cy="47625"/>
            </a:xfrm>
            <a:custGeom>
              <a:avLst/>
              <a:gdLst>
                <a:gd name="T0" fmla="*/ 2 w 36"/>
                <a:gd name="T1" fmla="*/ 0 h 30"/>
                <a:gd name="T2" fmla="*/ 0 w 36"/>
                <a:gd name="T3" fmla="*/ 30 h 30"/>
                <a:gd name="T4" fmla="*/ 5 w 36"/>
                <a:gd name="T5" fmla="*/ 14 h 30"/>
                <a:gd name="T6" fmla="*/ 24 w 36"/>
                <a:gd name="T7" fmla="*/ 20 h 30"/>
                <a:gd name="T8" fmla="*/ 19 w 36"/>
                <a:gd name="T9" fmla="*/ 13 h 30"/>
                <a:gd name="T10" fmla="*/ 5 w 36"/>
                <a:gd name="T11" fmla="*/ 10 h 30"/>
                <a:gd name="T12" fmla="*/ 3 w 36"/>
                <a:gd name="T13" fmla="*/ 5 h 30"/>
                <a:gd name="T14" fmla="*/ 26 w 36"/>
                <a:gd name="T15" fmla="*/ 11 h 30"/>
                <a:gd name="T16" fmla="*/ 36 w 36"/>
                <a:gd name="T17" fmla="*/ 7 h 30"/>
                <a:gd name="T18" fmla="*/ 2 w 36"/>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0">
                  <a:moveTo>
                    <a:pt x="2" y="0"/>
                  </a:moveTo>
                  <a:cubicBezTo>
                    <a:pt x="0" y="30"/>
                    <a:pt x="0" y="30"/>
                    <a:pt x="0" y="30"/>
                  </a:cubicBezTo>
                  <a:cubicBezTo>
                    <a:pt x="0" y="30"/>
                    <a:pt x="0" y="14"/>
                    <a:pt x="5" y="14"/>
                  </a:cubicBezTo>
                  <a:cubicBezTo>
                    <a:pt x="9" y="14"/>
                    <a:pt x="22" y="14"/>
                    <a:pt x="24" y="20"/>
                  </a:cubicBezTo>
                  <a:cubicBezTo>
                    <a:pt x="24" y="20"/>
                    <a:pt x="26" y="15"/>
                    <a:pt x="19" y="13"/>
                  </a:cubicBezTo>
                  <a:cubicBezTo>
                    <a:pt x="13" y="11"/>
                    <a:pt x="8" y="9"/>
                    <a:pt x="5" y="10"/>
                  </a:cubicBezTo>
                  <a:cubicBezTo>
                    <a:pt x="1" y="11"/>
                    <a:pt x="3" y="5"/>
                    <a:pt x="3" y="5"/>
                  </a:cubicBezTo>
                  <a:cubicBezTo>
                    <a:pt x="3" y="5"/>
                    <a:pt x="22" y="11"/>
                    <a:pt x="26" y="11"/>
                  </a:cubicBezTo>
                  <a:cubicBezTo>
                    <a:pt x="30" y="11"/>
                    <a:pt x="30" y="7"/>
                    <a:pt x="36" y="7"/>
                  </a:cubicBezTo>
                  <a:cubicBezTo>
                    <a:pt x="36" y="7"/>
                    <a:pt x="15" y="1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9" name="Freeform 103">
              <a:extLst>
                <a:ext uri="{FF2B5EF4-FFF2-40B4-BE49-F238E27FC236}">
                  <a16:creationId xmlns:a16="http://schemas.microsoft.com/office/drawing/2014/main" id="{61FF4471-5971-4033-9425-1124CC3D2B3F}"/>
                </a:ext>
              </a:extLst>
            </p:cNvPr>
            <p:cNvSpPr>
              <a:spLocks/>
            </p:cNvSpPr>
            <p:nvPr/>
          </p:nvSpPr>
          <p:spPr bwMode="auto">
            <a:xfrm>
              <a:off x="1190625" y="1603375"/>
              <a:ext cx="65088" cy="17463"/>
            </a:xfrm>
            <a:custGeom>
              <a:avLst/>
              <a:gdLst>
                <a:gd name="T0" fmla="*/ 2 w 40"/>
                <a:gd name="T1" fmla="*/ 11 h 11"/>
                <a:gd name="T2" fmla="*/ 40 w 40"/>
                <a:gd name="T3" fmla="*/ 0 h 11"/>
                <a:gd name="T4" fmla="*/ 2 w 40"/>
                <a:gd name="T5" fmla="*/ 11 h 11"/>
              </a:gdLst>
              <a:ahLst/>
              <a:cxnLst>
                <a:cxn ang="0">
                  <a:pos x="T0" y="T1"/>
                </a:cxn>
                <a:cxn ang="0">
                  <a:pos x="T2" y="T3"/>
                </a:cxn>
                <a:cxn ang="0">
                  <a:pos x="T4" y="T5"/>
                </a:cxn>
              </a:cxnLst>
              <a:rect l="0" t="0" r="r" b="b"/>
              <a:pathLst>
                <a:path w="40" h="11">
                  <a:moveTo>
                    <a:pt x="2" y="11"/>
                  </a:moveTo>
                  <a:cubicBezTo>
                    <a:pt x="2" y="11"/>
                    <a:pt x="0" y="3"/>
                    <a:pt x="40" y="0"/>
                  </a:cubicBezTo>
                  <a:cubicBezTo>
                    <a:pt x="40" y="0"/>
                    <a:pt x="11" y="4"/>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0" name="Freeform 104">
              <a:extLst>
                <a:ext uri="{FF2B5EF4-FFF2-40B4-BE49-F238E27FC236}">
                  <a16:creationId xmlns:a16="http://schemas.microsoft.com/office/drawing/2014/main" id="{3ADC4133-F4E7-48C9-888A-4B3B08836722}"/>
                </a:ext>
              </a:extLst>
            </p:cNvPr>
            <p:cNvSpPr>
              <a:spLocks/>
            </p:cNvSpPr>
            <p:nvPr/>
          </p:nvSpPr>
          <p:spPr bwMode="auto">
            <a:xfrm>
              <a:off x="1298575" y="1603375"/>
              <a:ext cx="112713" cy="42863"/>
            </a:xfrm>
            <a:custGeom>
              <a:avLst/>
              <a:gdLst>
                <a:gd name="T0" fmla="*/ 15 w 70"/>
                <a:gd name="T1" fmla="*/ 2 h 27"/>
                <a:gd name="T2" fmla="*/ 35 w 70"/>
                <a:gd name="T3" fmla="*/ 20 h 27"/>
                <a:gd name="T4" fmla="*/ 46 w 70"/>
                <a:gd name="T5" fmla="*/ 22 h 27"/>
                <a:gd name="T6" fmla="*/ 60 w 70"/>
                <a:gd name="T7" fmla="*/ 16 h 27"/>
                <a:gd name="T8" fmla="*/ 70 w 70"/>
                <a:gd name="T9" fmla="*/ 21 h 27"/>
                <a:gd name="T10" fmla="*/ 70 w 70"/>
                <a:gd name="T11" fmla="*/ 5 h 27"/>
                <a:gd name="T12" fmla="*/ 58 w 70"/>
                <a:gd name="T13" fmla="*/ 5 h 27"/>
                <a:gd name="T14" fmla="*/ 41 w 70"/>
                <a:gd name="T15" fmla="*/ 11 h 27"/>
                <a:gd name="T16" fmla="*/ 15 w 70"/>
                <a:gd name="T17" fmla="*/ 1 h 27"/>
                <a:gd name="T18" fmla="*/ 15 w 70"/>
                <a:gd name="T19"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27">
                  <a:moveTo>
                    <a:pt x="15" y="2"/>
                  </a:moveTo>
                  <a:cubicBezTo>
                    <a:pt x="15" y="2"/>
                    <a:pt x="35" y="13"/>
                    <a:pt x="35" y="20"/>
                  </a:cubicBezTo>
                  <a:cubicBezTo>
                    <a:pt x="35" y="27"/>
                    <a:pt x="43" y="26"/>
                    <a:pt x="46" y="22"/>
                  </a:cubicBezTo>
                  <a:cubicBezTo>
                    <a:pt x="49" y="18"/>
                    <a:pt x="55" y="15"/>
                    <a:pt x="60" y="16"/>
                  </a:cubicBezTo>
                  <a:cubicBezTo>
                    <a:pt x="65" y="16"/>
                    <a:pt x="70" y="21"/>
                    <a:pt x="70" y="21"/>
                  </a:cubicBezTo>
                  <a:cubicBezTo>
                    <a:pt x="70" y="5"/>
                    <a:pt x="70" y="5"/>
                    <a:pt x="70" y="5"/>
                  </a:cubicBezTo>
                  <a:cubicBezTo>
                    <a:pt x="70" y="5"/>
                    <a:pt x="67" y="3"/>
                    <a:pt x="58" y="5"/>
                  </a:cubicBezTo>
                  <a:cubicBezTo>
                    <a:pt x="48" y="8"/>
                    <a:pt x="45" y="14"/>
                    <a:pt x="41" y="11"/>
                  </a:cubicBezTo>
                  <a:cubicBezTo>
                    <a:pt x="37" y="8"/>
                    <a:pt x="29" y="2"/>
                    <a:pt x="15" y="1"/>
                  </a:cubicBezTo>
                  <a:cubicBezTo>
                    <a:pt x="0" y="0"/>
                    <a:pt x="15" y="2"/>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1" name="Freeform 105">
              <a:extLst>
                <a:ext uri="{FF2B5EF4-FFF2-40B4-BE49-F238E27FC236}">
                  <a16:creationId xmlns:a16="http://schemas.microsoft.com/office/drawing/2014/main" id="{384BEDAE-E64E-4498-BA89-0FA1105A429C}"/>
                </a:ext>
              </a:extLst>
            </p:cNvPr>
            <p:cNvSpPr>
              <a:spLocks/>
            </p:cNvSpPr>
            <p:nvPr/>
          </p:nvSpPr>
          <p:spPr bwMode="auto">
            <a:xfrm>
              <a:off x="1306513" y="1571625"/>
              <a:ext cx="115888" cy="38100"/>
            </a:xfrm>
            <a:custGeom>
              <a:avLst/>
              <a:gdLst>
                <a:gd name="T0" fmla="*/ 0 w 72"/>
                <a:gd name="T1" fmla="*/ 16 h 24"/>
                <a:gd name="T2" fmla="*/ 32 w 72"/>
                <a:gd name="T3" fmla="*/ 22 h 24"/>
                <a:gd name="T4" fmla="*/ 50 w 72"/>
                <a:gd name="T5" fmla="*/ 21 h 24"/>
                <a:gd name="T6" fmla="*/ 65 w 72"/>
                <a:gd name="T7" fmla="*/ 14 h 24"/>
                <a:gd name="T8" fmla="*/ 52 w 72"/>
                <a:gd name="T9" fmla="*/ 5 h 24"/>
                <a:gd name="T10" fmla="*/ 0 w 72"/>
                <a:gd name="T11" fmla="*/ 16 h 24"/>
              </a:gdLst>
              <a:ahLst/>
              <a:cxnLst>
                <a:cxn ang="0">
                  <a:pos x="T0" y="T1"/>
                </a:cxn>
                <a:cxn ang="0">
                  <a:pos x="T2" y="T3"/>
                </a:cxn>
                <a:cxn ang="0">
                  <a:pos x="T4" y="T5"/>
                </a:cxn>
                <a:cxn ang="0">
                  <a:pos x="T6" y="T7"/>
                </a:cxn>
                <a:cxn ang="0">
                  <a:pos x="T8" y="T9"/>
                </a:cxn>
                <a:cxn ang="0">
                  <a:pos x="T10" y="T11"/>
                </a:cxn>
              </a:cxnLst>
              <a:rect l="0" t="0" r="r" b="b"/>
              <a:pathLst>
                <a:path w="72" h="24">
                  <a:moveTo>
                    <a:pt x="0" y="16"/>
                  </a:moveTo>
                  <a:cubicBezTo>
                    <a:pt x="0" y="16"/>
                    <a:pt x="25" y="20"/>
                    <a:pt x="32" y="22"/>
                  </a:cubicBezTo>
                  <a:cubicBezTo>
                    <a:pt x="39" y="24"/>
                    <a:pt x="41" y="23"/>
                    <a:pt x="50" y="21"/>
                  </a:cubicBezTo>
                  <a:cubicBezTo>
                    <a:pt x="59" y="18"/>
                    <a:pt x="64" y="18"/>
                    <a:pt x="65" y="14"/>
                  </a:cubicBezTo>
                  <a:cubicBezTo>
                    <a:pt x="67" y="9"/>
                    <a:pt x="72" y="0"/>
                    <a:pt x="52" y="5"/>
                  </a:cubicBezTo>
                  <a:cubicBezTo>
                    <a:pt x="31" y="10"/>
                    <a:pt x="16" y="17"/>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2" name="Freeform 106">
              <a:extLst>
                <a:ext uri="{FF2B5EF4-FFF2-40B4-BE49-F238E27FC236}">
                  <a16:creationId xmlns:a16="http://schemas.microsoft.com/office/drawing/2014/main" id="{F60DFC1C-25C6-4DEA-A9FD-F31CA4A322F2}"/>
                </a:ext>
              </a:extLst>
            </p:cNvPr>
            <p:cNvSpPr>
              <a:spLocks/>
            </p:cNvSpPr>
            <p:nvPr/>
          </p:nvSpPr>
          <p:spPr bwMode="auto">
            <a:xfrm>
              <a:off x="1155700" y="1649413"/>
              <a:ext cx="279400" cy="46038"/>
            </a:xfrm>
            <a:custGeom>
              <a:avLst/>
              <a:gdLst>
                <a:gd name="T0" fmla="*/ 0 w 173"/>
                <a:gd name="T1" fmla="*/ 10 h 28"/>
                <a:gd name="T2" fmla="*/ 158 w 173"/>
                <a:gd name="T3" fmla="*/ 12 h 28"/>
                <a:gd name="T4" fmla="*/ 173 w 173"/>
                <a:gd name="T5" fmla="*/ 0 h 28"/>
                <a:gd name="T6" fmla="*/ 83 w 173"/>
                <a:gd name="T7" fmla="*/ 8 h 28"/>
                <a:gd name="T8" fmla="*/ 0 w 173"/>
                <a:gd name="T9" fmla="*/ 10 h 28"/>
              </a:gdLst>
              <a:ahLst/>
              <a:cxnLst>
                <a:cxn ang="0">
                  <a:pos x="T0" y="T1"/>
                </a:cxn>
                <a:cxn ang="0">
                  <a:pos x="T2" y="T3"/>
                </a:cxn>
                <a:cxn ang="0">
                  <a:pos x="T4" y="T5"/>
                </a:cxn>
                <a:cxn ang="0">
                  <a:pos x="T6" y="T7"/>
                </a:cxn>
                <a:cxn ang="0">
                  <a:pos x="T8" y="T9"/>
                </a:cxn>
              </a:cxnLst>
              <a:rect l="0" t="0" r="r" b="b"/>
              <a:pathLst>
                <a:path w="173" h="28">
                  <a:moveTo>
                    <a:pt x="0" y="10"/>
                  </a:moveTo>
                  <a:cubicBezTo>
                    <a:pt x="0" y="10"/>
                    <a:pt x="72" y="28"/>
                    <a:pt x="158" y="12"/>
                  </a:cubicBezTo>
                  <a:cubicBezTo>
                    <a:pt x="158" y="12"/>
                    <a:pt x="154" y="6"/>
                    <a:pt x="173" y="0"/>
                  </a:cubicBezTo>
                  <a:cubicBezTo>
                    <a:pt x="173" y="0"/>
                    <a:pt x="146" y="9"/>
                    <a:pt x="83" y="8"/>
                  </a:cubicBezTo>
                  <a:cubicBezTo>
                    <a:pt x="21" y="8"/>
                    <a:pt x="64" y="14"/>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3" name="Freeform 107">
              <a:extLst>
                <a:ext uri="{FF2B5EF4-FFF2-40B4-BE49-F238E27FC236}">
                  <a16:creationId xmlns:a16="http://schemas.microsoft.com/office/drawing/2014/main" id="{AA62604E-621E-4E65-9B09-177A764324C4}"/>
                </a:ext>
              </a:extLst>
            </p:cNvPr>
            <p:cNvSpPr>
              <a:spLocks/>
            </p:cNvSpPr>
            <p:nvPr/>
          </p:nvSpPr>
          <p:spPr bwMode="auto">
            <a:xfrm>
              <a:off x="1295400" y="1633538"/>
              <a:ext cx="233363" cy="104775"/>
            </a:xfrm>
            <a:custGeom>
              <a:avLst/>
              <a:gdLst>
                <a:gd name="T0" fmla="*/ 0 w 145"/>
                <a:gd name="T1" fmla="*/ 62 h 65"/>
                <a:gd name="T2" fmla="*/ 103 w 145"/>
                <a:gd name="T3" fmla="*/ 49 h 65"/>
                <a:gd name="T4" fmla="*/ 83 w 145"/>
                <a:gd name="T5" fmla="*/ 48 h 65"/>
                <a:gd name="T6" fmla="*/ 10 w 145"/>
                <a:gd name="T7" fmla="*/ 39 h 65"/>
                <a:gd name="T8" fmla="*/ 23 w 145"/>
                <a:gd name="T9" fmla="*/ 31 h 65"/>
                <a:gd name="T10" fmla="*/ 131 w 145"/>
                <a:gd name="T11" fmla="*/ 0 h 65"/>
                <a:gd name="T12" fmla="*/ 118 w 145"/>
                <a:gd name="T13" fmla="*/ 45 h 65"/>
                <a:gd name="T14" fmla="*/ 0 w 145"/>
                <a:gd name="T15" fmla="*/ 62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5">
                  <a:moveTo>
                    <a:pt x="0" y="62"/>
                  </a:moveTo>
                  <a:cubicBezTo>
                    <a:pt x="0" y="62"/>
                    <a:pt x="65" y="61"/>
                    <a:pt x="103" y="49"/>
                  </a:cubicBezTo>
                  <a:cubicBezTo>
                    <a:pt x="103" y="49"/>
                    <a:pt x="123" y="47"/>
                    <a:pt x="83" y="48"/>
                  </a:cubicBezTo>
                  <a:cubicBezTo>
                    <a:pt x="43" y="48"/>
                    <a:pt x="11" y="55"/>
                    <a:pt x="10" y="39"/>
                  </a:cubicBezTo>
                  <a:cubicBezTo>
                    <a:pt x="10" y="39"/>
                    <a:pt x="6" y="31"/>
                    <a:pt x="23" y="31"/>
                  </a:cubicBezTo>
                  <a:cubicBezTo>
                    <a:pt x="40" y="31"/>
                    <a:pt x="129" y="29"/>
                    <a:pt x="131" y="0"/>
                  </a:cubicBezTo>
                  <a:cubicBezTo>
                    <a:pt x="131" y="0"/>
                    <a:pt x="145" y="35"/>
                    <a:pt x="118" y="45"/>
                  </a:cubicBezTo>
                  <a:cubicBezTo>
                    <a:pt x="118" y="45"/>
                    <a:pt x="76" y="65"/>
                    <a:pt x="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4" name="Freeform 108">
              <a:extLst>
                <a:ext uri="{FF2B5EF4-FFF2-40B4-BE49-F238E27FC236}">
                  <a16:creationId xmlns:a16="http://schemas.microsoft.com/office/drawing/2014/main" id="{DEA7CEA6-1F9B-4F48-AF81-A3C8B2501A1E}"/>
                </a:ext>
              </a:extLst>
            </p:cNvPr>
            <p:cNvSpPr>
              <a:spLocks noEditPoints="1"/>
            </p:cNvSpPr>
            <p:nvPr/>
          </p:nvSpPr>
          <p:spPr bwMode="auto">
            <a:xfrm>
              <a:off x="1563688" y="1870075"/>
              <a:ext cx="382588" cy="114300"/>
            </a:xfrm>
            <a:custGeom>
              <a:avLst/>
              <a:gdLst>
                <a:gd name="T0" fmla="*/ 163 w 238"/>
                <a:gd name="T1" fmla="*/ 24 h 71"/>
                <a:gd name="T2" fmla="*/ 238 w 238"/>
                <a:gd name="T3" fmla="*/ 71 h 71"/>
                <a:gd name="T4" fmla="*/ 238 w 238"/>
                <a:gd name="T5" fmla="*/ 71 h 71"/>
                <a:gd name="T6" fmla="*/ 238 w 238"/>
                <a:gd name="T7" fmla="*/ 71 h 71"/>
                <a:gd name="T8" fmla="*/ 163 w 238"/>
                <a:gd name="T9" fmla="*/ 24 h 71"/>
                <a:gd name="T10" fmla="*/ 80 w 238"/>
                <a:gd name="T11" fmla="*/ 8 h 71"/>
                <a:gd name="T12" fmla="*/ 91 w 238"/>
                <a:gd name="T13" fmla="*/ 8 h 71"/>
                <a:gd name="T14" fmla="*/ 109 w 238"/>
                <a:gd name="T15" fmla="*/ 10 h 71"/>
                <a:gd name="T16" fmla="*/ 80 w 238"/>
                <a:gd name="T17" fmla="*/ 8 h 71"/>
                <a:gd name="T18" fmla="*/ 0 w 238"/>
                <a:gd name="T19" fmla="*/ 0 h 71"/>
                <a:gd name="T20" fmla="*/ 10 w 238"/>
                <a:gd name="T21" fmla="*/ 2 h 71"/>
                <a:gd name="T22" fmla="*/ 0 w 238"/>
                <a:gd name="T2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71">
                  <a:moveTo>
                    <a:pt x="163" y="24"/>
                  </a:moveTo>
                  <a:cubicBezTo>
                    <a:pt x="185" y="33"/>
                    <a:pt x="211" y="47"/>
                    <a:pt x="238" y="71"/>
                  </a:cubicBezTo>
                  <a:cubicBezTo>
                    <a:pt x="238" y="71"/>
                    <a:pt x="238" y="71"/>
                    <a:pt x="238" y="71"/>
                  </a:cubicBezTo>
                  <a:cubicBezTo>
                    <a:pt x="238" y="71"/>
                    <a:pt x="238" y="71"/>
                    <a:pt x="238" y="71"/>
                  </a:cubicBezTo>
                  <a:cubicBezTo>
                    <a:pt x="221" y="54"/>
                    <a:pt x="195" y="36"/>
                    <a:pt x="163" y="24"/>
                  </a:cubicBezTo>
                  <a:moveTo>
                    <a:pt x="80" y="8"/>
                  </a:moveTo>
                  <a:cubicBezTo>
                    <a:pt x="84" y="8"/>
                    <a:pt x="88" y="8"/>
                    <a:pt x="91" y="8"/>
                  </a:cubicBezTo>
                  <a:cubicBezTo>
                    <a:pt x="95" y="9"/>
                    <a:pt x="101" y="9"/>
                    <a:pt x="109" y="10"/>
                  </a:cubicBezTo>
                  <a:cubicBezTo>
                    <a:pt x="100" y="9"/>
                    <a:pt x="90" y="8"/>
                    <a:pt x="80" y="8"/>
                  </a:cubicBezTo>
                  <a:moveTo>
                    <a:pt x="0" y="0"/>
                  </a:moveTo>
                  <a:cubicBezTo>
                    <a:pt x="3" y="1"/>
                    <a:pt x="7" y="2"/>
                    <a:pt x="10"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5" name="Freeform 109">
              <a:extLst>
                <a:ext uri="{FF2B5EF4-FFF2-40B4-BE49-F238E27FC236}">
                  <a16:creationId xmlns:a16="http://schemas.microsoft.com/office/drawing/2014/main" id="{2068903E-3105-4A0B-8182-6F5F033B11F8}"/>
                </a:ext>
              </a:extLst>
            </p:cNvPr>
            <p:cNvSpPr>
              <a:spLocks/>
            </p:cNvSpPr>
            <p:nvPr/>
          </p:nvSpPr>
          <p:spPr bwMode="auto">
            <a:xfrm>
              <a:off x="1439863" y="1830388"/>
              <a:ext cx="592138" cy="336550"/>
            </a:xfrm>
            <a:custGeom>
              <a:avLst/>
              <a:gdLst>
                <a:gd name="T0" fmla="*/ 36 w 368"/>
                <a:gd name="T1" fmla="*/ 0 h 209"/>
                <a:gd name="T2" fmla="*/ 25 w 368"/>
                <a:gd name="T3" fmla="*/ 20 h 209"/>
                <a:gd name="T4" fmla="*/ 16 w 368"/>
                <a:gd name="T5" fmla="*/ 88 h 209"/>
                <a:gd name="T6" fmla="*/ 41 w 368"/>
                <a:gd name="T7" fmla="*/ 136 h 209"/>
                <a:gd name="T8" fmla="*/ 53 w 368"/>
                <a:gd name="T9" fmla="*/ 135 h 209"/>
                <a:gd name="T10" fmla="*/ 157 w 368"/>
                <a:gd name="T11" fmla="*/ 125 h 209"/>
                <a:gd name="T12" fmla="*/ 262 w 368"/>
                <a:gd name="T13" fmla="*/ 150 h 209"/>
                <a:gd name="T14" fmla="*/ 327 w 368"/>
                <a:gd name="T15" fmla="*/ 209 h 209"/>
                <a:gd name="T16" fmla="*/ 330 w 368"/>
                <a:gd name="T17" fmla="*/ 204 h 209"/>
                <a:gd name="T18" fmla="*/ 311 w 368"/>
                <a:gd name="T19" fmla="*/ 146 h 209"/>
                <a:gd name="T20" fmla="*/ 314 w 368"/>
                <a:gd name="T21" fmla="*/ 145 h 209"/>
                <a:gd name="T22" fmla="*/ 363 w 368"/>
                <a:gd name="T23" fmla="*/ 207 h 209"/>
                <a:gd name="T24" fmla="*/ 364 w 368"/>
                <a:gd name="T25" fmla="*/ 207 h 209"/>
                <a:gd name="T26" fmla="*/ 361 w 368"/>
                <a:gd name="T27" fmla="*/ 180 h 209"/>
                <a:gd name="T28" fmla="*/ 352 w 368"/>
                <a:gd name="T29" fmla="*/ 150 h 209"/>
                <a:gd name="T30" fmla="*/ 315 w 368"/>
                <a:gd name="T31" fmla="*/ 96 h 209"/>
                <a:gd name="T32" fmla="*/ 315 w 368"/>
                <a:gd name="T33" fmla="*/ 96 h 209"/>
                <a:gd name="T34" fmla="*/ 240 w 368"/>
                <a:gd name="T35" fmla="*/ 49 h 209"/>
                <a:gd name="T36" fmla="*/ 186 w 368"/>
                <a:gd name="T37" fmla="*/ 35 h 209"/>
                <a:gd name="T38" fmla="*/ 168 w 368"/>
                <a:gd name="T39" fmla="*/ 33 h 209"/>
                <a:gd name="T40" fmla="*/ 157 w 368"/>
                <a:gd name="T41" fmla="*/ 33 h 209"/>
                <a:gd name="T42" fmla="*/ 150 w 368"/>
                <a:gd name="T43" fmla="*/ 32 h 209"/>
                <a:gd name="T44" fmla="*/ 87 w 368"/>
                <a:gd name="T45" fmla="*/ 27 h 209"/>
                <a:gd name="T46" fmla="*/ 77 w 368"/>
                <a:gd name="T47" fmla="*/ 25 h 209"/>
                <a:gd name="T48" fmla="*/ 40 w 368"/>
                <a:gd name="T49" fmla="*/ 0 h 209"/>
                <a:gd name="T50" fmla="*/ 36 w 368"/>
                <a:gd name="T5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8" h="209">
                  <a:moveTo>
                    <a:pt x="36" y="0"/>
                  </a:moveTo>
                  <a:cubicBezTo>
                    <a:pt x="33" y="0"/>
                    <a:pt x="27" y="3"/>
                    <a:pt x="25" y="20"/>
                  </a:cubicBezTo>
                  <a:cubicBezTo>
                    <a:pt x="21" y="47"/>
                    <a:pt x="35" y="51"/>
                    <a:pt x="16" y="88"/>
                  </a:cubicBezTo>
                  <a:cubicBezTo>
                    <a:pt x="0" y="119"/>
                    <a:pt x="18" y="136"/>
                    <a:pt x="41" y="136"/>
                  </a:cubicBezTo>
                  <a:cubicBezTo>
                    <a:pt x="45" y="136"/>
                    <a:pt x="49" y="135"/>
                    <a:pt x="53" y="135"/>
                  </a:cubicBezTo>
                  <a:cubicBezTo>
                    <a:pt x="67" y="131"/>
                    <a:pt x="112" y="125"/>
                    <a:pt x="157" y="125"/>
                  </a:cubicBezTo>
                  <a:cubicBezTo>
                    <a:pt x="199" y="125"/>
                    <a:pt x="243" y="131"/>
                    <a:pt x="262" y="150"/>
                  </a:cubicBezTo>
                  <a:cubicBezTo>
                    <a:pt x="294" y="182"/>
                    <a:pt x="318" y="209"/>
                    <a:pt x="327" y="209"/>
                  </a:cubicBezTo>
                  <a:cubicBezTo>
                    <a:pt x="329" y="209"/>
                    <a:pt x="330" y="207"/>
                    <a:pt x="330" y="204"/>
                  </a:cubicBezTo>
                  <a:cubicBezTo>
                    <a:pt x="330" y="186"/>
                    <a:pt x="294" y="153"/>
                    <a:pt x="311" y="146"/>
                  </a:cubicBezTo>
                  <a:cubicBezTo>
                    <a:pt x="312" y="145"/>
                    <a:pt x="313" y="145"/>
                    <a:pt x="314" y="145"/>
                  </a:cubicBezTo>
                  <a:cubicBezTo>
                    <a:pt x="332" y="145"/>
                    <a:pt x="363" y="207"/>
                    <a:pt x="363" y="207"/>
                  </a:cubicBezTo>
                  <a:cubicBezTo>
                    <a:pt x="363" y="207"/>
                    <a:pt x="364" y="207"/>
                    <a:pt x="364" y="207"/>
                  </a:cubicBezTo>
                  <a:cubicBezTo>
                    <a:pt x="365" y="207"/>
                    <a:pt x="368" y="205"/>
                    <a:pt x="361" y="180"/>
                  </a:cubicBezTo>
                  <a:cubicBezTo>
                    <a:pt x="352" y="150"/>
                    <a:pt x="352" y="150"/>
                    <a:pt x="352" y="150"/>
                  </a:cubicBezTo>
                  <a:cubicBezTo>
                    <a:pt x="352" y="150"/>
                    <a:pt x="347" y="127"/>
                    <a:pt x="315" y="96"/>
                  </a:cubicBezTo>
                  <a:cubicBezTo>
                    <a:pt x="315" y="96"/>
                    <a:pt x="315" y="96"/>
                    <a:pt x="315" y="96"/>
                  </a:cubicBezTo>
                  <a:cubicBezTo>
                    <a:pt x="288" y="72"/>
                    <a:pt x="262" y="58"/>
                    <a:pt x="240" y="49"/>
                  </a:cubicBezTo>
                  <a:cubicBezTo>
                    <a:pt x="223" y="43"/>
                    <a:pt x="205" y="38"/>
                    <a:pt x="186" y="35"/>
                  </a:cubicBezTo>
                  <a:cubicBezTo>
                    <a:pt x="178" y="34"/>
                    <a:pt x="172" y="34"/>
                    <a:pt x="168" y="33"/>
                  </a:cubicBezTo>
                  <a:cubicBezTo>
                    <a:pt x="165" y="33"/>
                    <a:pt x="161" y="33"/>
                    <a:pt x="157" y="33"/>
                  </a:cubicBezTo>
                  <a:cubicBezTo>
                    <a:pt x="154" y="32"/>
                    <a:pt x="152" y="32"/>
                    <a:pt x="150" y="32"/>
                  </a:cubicBezTo>
                  <a:cubicBezTo>
                    <a:pt x="123" y="32"/>
                    <a:pt x="103" y="30"/>
                    <a:pt x="87" y="27"/>
                  </a:cubicBezTo>
                  <a:cubicBezTo>
                    <a:pt x="84" y="27"/>
                    <a:pt x="80" y="26"/>
                    <a:pt x="77" y="25"/>
                  </a:cubicBezTo>
                  <a:cubicBezTo>
                    <a:pt x="56" y="19"/>
                    <a:pt x="45" y="10"/>
                    <a:pt x="40" y="0"/>
                  </a:cubicBezTo>
                  <a:cubicBezTo>
                    <a:pt x="40" y="0"/>
                    <a:pt x="38"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6" name="Freeform 110">
              <a:extLst>
                <a:ext uri="{FF2B5EF4-FFF2-40B4-BE49-F238E27FC236}">
                  <a16:creationId xmlns:a16="http://schemas.microsoft.com/office/drawing/2014/main" id="{52CD751E-8FB1-4DE9-97D5-63B9C2220FF7}"/>
                </a:ext>
              </a:extLst>
            </p:cNvPr>
            <p:cNvSpPr>
              <a:spLocks/>
            </p:cNvSpPr>
            <p:nvPr/>
          </p:nvSpPr>
          <p:spPr bwMode="auto">
            <a:xfrm>
              <a:off x="635000" y="2006600"/>
              <a:ext cx="611188" cy="230188"/>
            </a:xfrm>
            <a:custGeom>
              <a:avLst/>
              <a:gdLst>
                <a:gd name="T0" fmla="*/ 33 w 379"/>
                <a:gd name="T1" fmla="*/ 12 h 142"/>
                <a:gd name="T2" fmla="*/ 3 w 379"/>
                <a:gd name="T3" fmla="*/ 44 h 142"/>
                <a:gd name="T4" fmla="*/ 55 w 379"/>
                <a:gd name="T5" fmla="*/ 100 h 142"/>
                <a:gd name="T6" fmla="*/ 250 w 379"/>
                <a:gd name="T7" fmla="*/ 96 h 142"/>
                <a:gd name="T8" fmla="*/ 366 w 379"/>
                <a:gd name="T9" fmla="*/ 128 h 142"/>
                <a:gd name="T10" fmla="*/ 297 w 379"/>
                <a:gd name="T11" fmla="*/ 52 h 142"/>
                <a:gd name="T12" fmla="*/ 230 w 379"/>
                <a:gd name="T13" fmla="*/ 11 h 142"/>
                <a:gd name="T14" fmla="*/ 131 w 379"/>
                <a:gd name="T15" fmla="*/ 23 h 142"/>
                <a:gd name="T16" fmla="*/ 33 w 379"/>
                <a:gd name="T17"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142">
                  <a:moveTo>
                    <a:pt x="33" y="12"/>
                  </a:moveTo>
                  <a:cubicBezTo>
                    <a:pt x="33" y="12"/>
                    <a:pt x="5" y="8"/>
                    <a:pt x="3" y="44"/>
                  </a:cubicBezTo>
                  <a:cubicBezTo>
                    <a:pt x="0" y="81"/>
                    <a:pt x="11" y="98"/>
                    <a:pt x="55" y="100"/>
                  </a:cubicBezTo>
                  <a:cubicBezTo>
                    <a:pt x="99" y="102"/>
                    <a:pt x="213" y="70"/>
                    <a:pt x="250" y="96"/>
                  </a:cubicBezTo>
                  <a:cubicBezTo>
                    <a:pt x="288" y="121"/>
                    <a:pt x="353" y="142"/>
                    <a:pt x="366" y="128"/>
                  </a:cubicBezTo>
                  <a:cubicBezTo>
                    <a:pt x="379" y="113"/>
                    <a:pt x="319" y="90"/>
                    <a:pt x="297" y="52"/>
                  </a:cubicBezTo>
                  <a:cubicBezTo>
                    <a:pt x="276" y="15"/>
                    <a:pt x="279" y="0"/>
                    <a:pt x="230" y="11"/>
                  </a:cubicBezTo>
                  <a:cubicBezTo>
                    <a:pt x="180" y="21"/>
                    <a:pt x="201" y="25"/>
                    <a:pt x="131" y="23"/>
                  </a:cubicBezTo>
                  <a:cubicBezTo>
                    <a:pt x="61" y="21"/>
                    <a:pt x="56" y="12"/>
                    <a:pt x="3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7" name="Freeform 111">
              <a:extLst>
                <a:ext uri="{FF2B5EF4-FFF2-40B4-BE49-F238E27FC236}">
                  <a16:creationId xmlns:a16="http://schemas.microsoft.com/office/drawing/2014/main" id="{3B21611D-388C-43E6-A26E-4585E9E2E16C}"/>
                </a:ext>
              </a:extLst>
            </p:cNvPr>
            <p:cNvSpPr>
              <a:spLocks/>
            </p:cNvSpPr>
            <p:nvPr/>
          </p:nvSpPr>
          <p:spPr bwMode="auto">
            <a:xfrm>
              <a:off x="1392238" y="2030413"/>
              <a:ext cx="547688" cy="279400"/>
            </a:xfrm>
            <a:custGeom>
              <a:avLst/>
              <a:gdLst>
                <a:gd name="T0" fmla="*/ 80 w 340"/>
                <a:gd name="T1" fmla="*/ 14 h 174"/>
                <a:gd name="T2" fmla="*/ 69 w 340"/>
                <a:gd name="T3" fmla="*/ 51 h 174"/>
                <a:gd name="T4" fmla="*/ 21 w 340"/>
                <a:gd name="T5" fmla="*/ 100 h 174"/>
                <a:gd name="T6" fmla="*/ 72 w 340"/>
                <a:gd name="T7" fmla="*/ 102 h 174"/>
                <a:gd name="T8" fmla="*/ 169 w 340"/>
                <a:gd name="T9" fmla="*/ 69 h 174"/>
                <a:gd name="T10" fmla="*/ 255 w 340"/>
                <a:gd name="T11" fmla="*/ 122 h 174"/>
                <a:gd name="T12" fmla="*/ 269 w 340"/>
                <a:gd name="T13" fmla="*/ 155 h 174"/>
                <a:gd name="T14" fmla="*/ 286 w 340"/>
                <a:gd name="T15" fmla="*/ 114 h 174"/>
                <a:gd name="T16" fmla="*/ 317 w 340"/>
                <a:gd name="T17" fmla="*/ 88 h 174"/>
                <a:gd name="T18" fmla="*/ 305 w 340"/>
                <a:gd name="T19" fmla="*/ 42 h 174"/>
                <a:gd name="T20" fmla="*/ 192 w 340"/>
                <a:gd name="T21" fmla="*/ 0 h 174"/>
                <a:gd name="T22" fmla="*/ 80 w 340"/>
                <a:gd name="T23" fmla="*/ 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74">
                  <a:moveTo>
                    <a:pt x="80" y="14"/>
                  </a:moveTo>
                  <a:cubicBezTo>
                    <a:pt x="80" y="14"/>
                    <a:pt x="61" y="25"/>
                    <a:pt x="69" y="51"/>
                  </a:cubicBezTo>
                  <a:cubicBezTo>
                    <a:pt x="76" y="77"/>
                    <a:pt x="42" y="90"/>
                    <a:pt x="21" y="100"/>
                  </a:cubicBezTo>
                  <a:cubicBezTo>
                    <a:pt x="0" y="109"/>
                    <a:pt x="24" y="120"/>
                    <a:pt x="72" y="102"/>
                  </a:cubicBezTo>
                  <a:cubicBezTo>
                    <a:pt x="121" y="85"/>
                    <a:pt x="127" y="66"/>
                    <a:pt x="169" y="69"/>
                  </a:cubicBezTo>
                  <a:cubicBezTo>
                    <a:pt x="211" y="73"/>
                    <a:pt x="252" y="90"/>
                    <a:pt x="255" y="122"/>
                  </a:cubicBezTo>
                  <a:cubicBezTo>
                    <a:pt x="258" y="155"/>
                    <a:pt x="263" y="174"/>
                    <a:pt x="269" y="155"/>
                  </a:cubicBezTo>
                  <a:cubicBezTo>
                    <a:pt x="276" y="136"/>
                    <a:pt x="288" y="134"/>
                    <a:pt x="286" y="114"/>
                  </a:cubicBezTo>
                  <a:cubicBezTo>
                    <a:pt x="284" y="93"/>
                    <a:pt x="295" y="87"/>
                    <a:pt x="317" y="88"/>
                  </a:cubicBezTo>
                  <a:cubicBezTo>
                    <a:pt x="340" y="90"/>
                    <a:pt x="327" y="67"/>
                    <a:pt x="305" y="42"/>
                  </a:cubicBezTo>
                  <a:cubicBezTo>
                    <a:pt x="283" y="17"/>
                    <a:pt x="277" y="0"/>
                    <a:pt x="192" y="0"/>
                  </a:cubicBezTo>
                  <a:cubicBezTo>
                    <a:pt x="106" y="0"/>
                    <a:pt x="90" y="3"/>
                    <a:pt x="8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Freeform 112">
              <a:extLst>
                <a:ext uri="{FF2B5EF4-FFF2-40B4-BE49-F238E27FC236}">
                  <a16:creationId xmlns:a16="http://schemas.microsoft.com/office/drawing/2014/main" id="{6FF40224-0298-4436-902C-2CC7F2F72971}"/>
                </a:ext>
              </a:extLst>
            </p:cNvPr>
            <p:cNvSpPr>
              <a:spLocks/>
            </p:cNvSpPr>
            <p:nvPr/>
          </p:nvSpPr>
          <p:spPr bwMode="auto">
            <a:xfrm>
              <a:off x="1882775" y="2297113"/>
              <a:ext cx="180975" cy="127000"/>
            </a:xfrm>
            <a:custGeom>
              <a:avLst/>
              <a:gdLst>
                <a:gd name="T0" fmla="*/ 110 w 113"/>
                <a:gd name="T1" fmla="*/ 0 h 79"/>
                <a:gd name="T2" fmla="*/ 113 w 113"/>
                <a:gd name="T3" fmla="*/ 41 h 79"/>
                <a:gd name="T4" fmla="*/ 0 w 113"/>
                <a:gd name="T5" fmla="*/ 55 h 79"/>
                <a:gd name="T6" fmla="*/ 110 w 113"/>
                <a:gd name="T7" fmla="*/ 0 h 79"/>
              </a:gdLst>
              <a:ahLst/>
              <a:cxnLst>
                <a:cxn ang="0">
                  <a:pos x="T0" y="T1"/>
                </a:cxn>
                <a:cxn ang="0">
                  <a:pos x="T2" y="T3"/>
                </a:cxn>
                <a:cxn ang="0">
                  <a:pos x="T4" y="T5"/>
                </a:cxn>
                <a:cxn ang="0">
                  <a:pos x="T6" y="T7"/>
                </a:cxn>
              </a:cxnLst>
              <a:rect l="0" t="0" r="r" b="b"/>
              <a:pathLst>
                <a:path w="113" h="79">
                  <a:moveTo>
                    <a:pt x="110" y="0"/>
                  </a:moveTo>
                  <a:cubicBezTo>
                    <a:pt x="113" y="41"/>
                    <a:pt x="113" y="41"/>
                    <a:pt x="113" y="41"/>
                  </a:cubicBezTo>
                  <a:cubicBezTo>
                    <a:pt x="113" y="41"/>
                    <a:pt x="81" y="77"/>
                    <a:pt x="0" y="55"/>
                  </a:cubicBezTo>
                  <a:cubicBezTo>
                    <a:pt x="0" y="55"/>
                    <a:pt x="113" y="79"/>
                    <a:pt x="1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9" name="Freeform 113">
              <a:extLst>
                <a:ext uri="{FF2B5EF4-FFF2-40B4-BE49-F238E27FC236}">
                  <a16:creationId xmlns:a16="http://schemas.microsoft.com/office/drawing/2014/main" id="{41CF1CA3-90D2-4E18-B40B-3177A19C825A}"/>
                </a:ext>
              </a:extLst>
            </p:cNvPr>
            <p:cNvSpPr>
              <a:spLocks/>
            </p:cNvSpPr>
            <p:nvPr/>
          </p:nvSpPr>
          <p:spPr bwMode="auto">
            <a:xfrm>
              <a:off x="966788" y="1071563"/>
              <a:ext cx="30163" cy="150813"/>
            </a:xfrm>
            <a:custGeom>
              <a:avLst/>
              <a:gdLst>
                <a:gd name="T0" fmla="*/ 16 w 19"/>
                <a:gd name="T1" fmla="*/ 4 h 93"/>
                <a:gd name="T2" fmla="*/ 12 w 19"/>
                <a:gd name="T3" fmla="*/ 7 h 93"/>
                <a:gd name="T4" fmla="*/ 17 w 19"/>
                <a:gd name="T5" fmla="*/ 17 h 93"/>
                <a:gd name="T6" fmla="*/ 14 w 19"/>
                <a:gd name="T7" fmla="*/ 92 h 93"/>
                <a:gd name="T8" fmla="*/ 11 w 19"/>
                <a:gd name="T9" fmla="*/ 79 h 93"/>
                <a:gd name="T10" fmla="*/ 10 w 19"/>
                <a:gd name="T11" fmla="*/ 31 h 93"/>
                <a:gd name="T12" fmla="*/ 1 w 19"/>
                <a:gd name="T13" fmla="*/ 37 h 93"/>
                <a:gd name="T14" fmla="*/ 16 w 19"/>
                <a:gd name="T15" fmla="*/ 4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3">
                  <a:moveTo>
                    <a:pt x="16" y="4"/>
                  </a:moveTo>
                  <a:cubicBezTo>
                    <a:pt x="16" y="4"/>
                    <a:pt x="12" y="3"/>
                    <a:pt x="12" y="7"/>
                  </a:cubicBezTo>
                  <a:cubicBezTo>
                    <a:pt x="12" y="11"/>
                    <a:pt x="17" y="11"/>
                    <a:pt x="17" y="17"/>
                  </a:cubicBezTo>
                  <a:cubicBezTo>
                    <a:pt x="17" y="23"/>
                    <a:pt x="19" y="92"/>
                    <a:pt x="14" y="92"/>
                  </a:cubicBezTo>
                  <a:cubicBezTo>
                    <a:pt x="9" y="92"/>
                    <a:pt x="10" y="93"/>
                    <a:pt x="11" y="79"/>
                  </a:cubicBezTo>
                  <a:cubicBezTo>
                    <a:pt x="13" y="65"/>
                    <a:pt x="12" y="41"/>
                    <a:pt x="10" y="31"/>
                  </a:cubicBezTo>
                  <a:cubicBezTo>
                    <a:pt x="8" y="21"/>
                    <a:pt x="2" y="55"/>
                    <a:pt x="1" y="37"/>
                  </a:cubicBezTo>
                  <a:cubicBezTo>
                    <a:pt x="0" y="18"/>
                    <a:pt x="2"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0" name="Freeform 114">
              <a:extLst>
                <a:ext uri="{FF2B5EF4-FFF2-40B4-BE49-F238E27FC236}">
                  <a16:creationId xmlns:a16="http://schemas.microsoft.com/office/drawing/2014/main" id="{02C4A36F-4763-4BCF-9C09-E74A9E9F7AED}"/>
                </a:ext>
              </a:extLst>
            </p:cNvPr>
            <p:cNvSpPr>
              <a:spLocks/>
            </p:cNvSpPr>
            <p:nvPr/>
          </p:nvSpPr>
          <p:spPr bwMode="auto">
            <a:xfrm>
              <a:off x="985838" y="1076325"/>
              <a:ext cx="211138" cy="33338"/>
            </a:xfrm>
            <a:custGeom>
              <a:avLst/>
              <a:gdLst>
                <a:gd name="T0" fmla="*/ 0 w 131"/>
                <a:gd name="T1" fmla="*/ 4 h 20"/>
                <a:gd name="T2" fmla="*/ 15 w 131"/>
                <a:gd name="T3" fmla="*/ 9 h 20"/>
                <a:gd name="T4" fmla="*/ 116 w 131"/>
                <a:gd name="T5" fmla="*/ 13 h 20"/>
                <a:gd name="T6" fmla="*/ 128 w 131"/>
                <a:gd name="T7" fmla="*/ 16 h 20"/>
                <a:gd name="T8" fmla="*/ 131 w 131"/>
                <a:gd name="T9" fmla="*/ 16 h 20"/>
                <a:gd name="T10" fmla="*/ 125 w 131"/>
                <a:gd name="T11" fmla="*/ 9 h 20"/>
                <a:gd name="T12" fmla="*/ 0 w 131"/>
                <a:gd name="T13" fmla="*/ 4 h 20"/>
              </a:gdLst>
              <a:ahLst/>
              <a:cxnLst>
                <a:cxn ang="0">
                  <a:pos x="T0" y="T1"/>
                </a:cxn>
                <a:cxn ang="0">
                  <a:pos x="T2" y="T3"/>
                </a:cxn>
                <a:cxn ang="0">
                  <a:pos x="T4" y="T5"/>
                </a:cxn>
                <a:cxn ang="0">
                  <a:pos x="T6" y="T7"/>
                </a:cxn>
                <a:cxn ang="0">
                  <a:pos x="T8" y="T9"/>
                </a:cxn>
                <a:cxn ang="0">
                  <a:pos x="T10" y="T11"/>
                </a:cxn>
                <a:cxn ang="0">
                  <a:pos x="T12" y="T13"/>
                </a:cxn>
              </a:cxnLst>
              <a:rect l="0" t="0" r="r" b="b"/>
              <a:pathLst>
                <a:path w="131" h="20">
                  <a:moveTo>
                    <a:pt x="0" y="4"/>
                  </a:moveTo>
                  <a:cubicBezTo>
                    <a:pt x="0" y="8"/>
                    <a:pt x="1" y="10"/>
                    <a:pt x="15" y="9"/>
                  </a:cubicBezTo>
                  <a:cubicBezTo>
                    <a:pt x="29" y="9"/>
                    <a:pt x="110" y="13"/>
                    <a:pt x="116" y="13"/>
                  </a:cubicBezTo>
                  <a:cubicBezTo>
                    <a:pt x="121" y="13"/>
                    <a:pt x="126" y="13"/>
                    <a:pt x="128" y="16"/>
                  </a:cubicBezTo>
                  <a:cubicBezTo>
                    <a:pt x="131" y="19"/>
                    <a:pt x="131" y="20"/>
                    <a:pt x="131" y="16"/>
                  </a:cubicBezTo>
                  <a:cubicBezTo>
                    <a:pt x="130" y="12"/>
                    <a:pt x="130" y="9"/>
                    <a:pt x="125" y="9"/>
                  </a:cubicBezTo>
                  <a:cubicBezTo>
                    <a:pt x="120" y="8"/>
                    <a:pt x="0" y="0"/>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1" name="Freeform 115">
              <a:extLst>
                <a:ext uri="{FF2B5EF4-FFF2-40B4-BE49-F238E27FC236}">
                  <a16:creationId xmlns:a16="http://schemas.microsoft.com/office/drawing/2014/main" id="{344831E2-1703-4140-98C9-4E1F09032637}"/>
                </a:ext>
              </a:extLst>
            </p:cNvPr>
            <p:cNvSpPr>
              <a:spLocks/>
            </p:cNvSpPr>
            <p:nvPr/>
          </p:nvSpPr>
          <p:spPr bwMode="auto">
            <a:xfrm>
              <a:off x="1187450" y="1081088"/>
              <a:ext cx="20638" cy="106363"/>
            </a:xfrm>
            <a:custGeom>
              <a:avLst/>
              <a:gdLst>
                <a:gd name="T0" fmla="*/ 4 w 13"/>
                <a:gd name="T1" fmla="*/ 1 h 66"/>
                <a:gd name="T2" fmla="*/ 9 w 13"/>
                <a:gd name="T3" fmla="*/ 11 h 66"/>
                <a:gd name="T4" fmla="*/ 10 w 13"/>
                <a:gd name="T5" fmla="*/ 66 h 66"/>
                <a:gd name="T6" fmla="*/ 6 w 13"/>
                <a:gd name="T7" fmla="*/ 15 h 66"/>
                <a:gd name="T8" fmla="*/ 0 w 13"/>
                <a:gd name="T9" fmla="*/ 6 h 66"/>
                <a:gd name="T10" fmla="*/ 4 w 13"/>
                <a:gd name="T11" fmla="*/ 1 h 66"/>
              </a:gdLst>
              <a:ahLst/>
              <a:cxnLst>
                <a:cxn ang="0">
                  <a:pos x="T0" y="T1"/>
                </a:cxn>
                <a:cxn ang="0">
                  <a:pos x="T2" y="T3"/>
                </a:cxn>
                <a:cxn ang="0">
                  <a:pos x="T4" y="T5"/>
                </a:cxn>
                <a:cxn ang="0">
                  <a:pos x="T6" y="T7"/>
                </a:cxn>
                <a:cxn ang="0">
                  <a:pos x="T8" y="T9"/>
                </a:cxn>
                <a:cxn ang="0">
                  <a:pos x="T10" y="T11"/>
                </a:cxn>
              </a:cxnLst>
              <a:rect l="0" t="0" r="r" b="b"/>
              <a:pathLst>
                <a:path w="13" h="66">
                  <a:moveTo>
                    <a:pt x="4" y="1"/>
                  </a:moveTo>
                  <a:cubicBezTo>
                    <a:pt x="4" y="1"/>
                    <a:pt x="8" y="10"/>
                    <a:pt x="9" y="11"/>
                  </a:cubicBezTo>
                  <a:cubicBezTo>
                    <a:pt x="9" y="12"/>
                    <a:pt x="13" y="55"/>
                    <a:pt x="10" y="66"/>
                  </a:cubicBezTo>
                  <a:cubicBezTo>
                    <a:pt x="10" y="66"/>
                    <a:pt x="11" y="27"/>
                    <a:pt x="6" y="15"/>
                  </a:cubicBezTo>
                  <a:cubicBezTo>
                    <a:pt x="6" y="15"/>
                    <a:pt x="6" y="7"/>
                    <a:pt x="0" y="6"/>
                  </a:cubicBezTo>
                  <a:cubicBezTo>
                    <a:pt x="0" y="6"/>
                    <a:pt x="1"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2" name="Freeform 116">
              <a:extLst>
                <a:ext uri="{FF2B5EF4-FFF2-40B4-BE49-F238E27FC236}">
                  <a16:creationId xmlns:a16="http://schemas.microsoft.com/office/drawing/2014/main" id="{03CD2539-160B-4A2E-85B1-1E7F752FA9B5}"/>
                </a:ext>
              </a:extLst>
            </p:cNvPr>
            <p:cNvSpPr>
              <a:spLocks/>
            </p:cNvSpPr>
            <p:nvPr/>
          </p:nvSpPr>
          <p:spPr bwMode="auto">
            <a:xfrm>
              <a:off x="1193800" y="1079500"/>
              <a:ext cx="33338" cy="31750"/>
            </a:xfrm>
            <a:custGeom>
              <a:avLst/>
              <a:gdLst>
                <a:gd name="T0" fmla="*/ 0 w 20"/>
                <a:gd name="T1" fmla="*/ 1 h 19"/>
                <a:gd name="T2" fmla="*/ 2 w 20"/>
                <a:gd name="T3" fmla="*/ 7 h 19"/>
                <a:gd name="T4" fmla="*/ 15 w 20"/>
                <a:gd name="T5" fmla="*/ 7 h 19"/>
                <a:gd name="T6" fmla="*/ 18 w 20"/>
                <a:gd name="T7" fmla="*/ 19 h 19"/>
                <a:gd name="T8" fmla="*/ 14 w 20"/>
                <a:gd name="T9" fmla="*/ 0 h 19"/>
                <a:gd name="T10" fmla="*/ 0 w 20"/>
                <a:gd name="T11" fmla="*/ 1 h 19"/>
              </a:gdLst>
              <a:ahLst/>
              <a:cxnLst>
                <a:cxn ang="0">
                  <a:pos x="T0" y="T1"/>
                </a:cxn>
                <a:cxn ang="0">
                  <a:pos x="T2" y="T3"/>
                </a:cxn>
                <a:cxn ang="0">
                  <a:pos x="T4" y="T5"/>
                </a:cxn>
                <a:cxn ang="0">
                  <a:pos x="T6" y="T7"/>
                </a:cxn>
                <a:cxn ang="0">
                  <a:pos x="T8" y="T9"/>
                </a:cxn>
                <a:cxn ang="0">
                  <a:pos x="T10" y="T11"/>
                </a:cxn>
              </a:cxnLst>
              <a:rect l="0" t="0" r="r" b="b"/>
              <a:pathLst>
                <a:path w="20" h="19">
                  <a:moveTo>
                    <a:pt x="0" y="1"/>
                  </a:moveTo>
                  <a:cubicBezTo>
                    <a:pt x="0" y="1"/>
                    <a:pt x="1" y="5"/>
                    <a:pt x="2" y="7"/>
                  </a:cubicBezTo>
                  <a:cubicBezTo>
                    <a:pt x="4" y="9"/>
                    <a:pt x="13" y="2"/>
                    <a:pt x="15" y="7"/>
                  </a:cubicBezTo>
                  <a:cubicBezTo>
                    <a:pt x="16" y="12"/>
                    <a:pt x="18" y="9"/>
                    <a:pt x="18" y="19"/>
                  </a:cubicBezTo>
                  <a:cubicBezTo>
                    <a:pt x="18" y="19"/>
                    <a:pt x="20" y="4"/>
                    <a:pt x="14"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3" name="Freeform 117">
              <a:extLst>
                <a:ext uri="{FF2B5EF4-FFF2-40B4-BE49-F238E27FC236}">
                  <a16:creationId xmlns:a16="http://schemas.microsoft.com/office/drawing/2014/main" id="{4E3C1380-35A4-47B0-93A6-65C728F3C0A3}"/>
                </a:ext>
              </a:extLst>
            </p:cNvPr>
            <p:cNvSpPr>
              <a:spLocks/>
            </p:cNvSpPr>
            <p:nvPr/>
          </p:nvSpPr>
          <p:spPr bwMode="auto">
            <a:xfrm>
              <a:off x="1216025" y="1047750"/>
              <a:ext cx="117475" cy="176213"/>
            </a:xfrm>
            <a:custGeom>
              <a:avLst/>
              <a:gdLst>
                <a:gd name="T0" fmla="*/ 36 w 72"/>
                <a:gd name="T1" fmla="*/ 0 h 109"/>
                <a:gd name="T2" fmla="*/ 17 w 72"/>
                <a:gd name="T3" fmla="*/ 11 h 109"/>
                <a:gd name="T4" fmla="*/ 20 w 72"/>
                <a:gd name="T5" fmla="*/ 18 h 109"/>
                <a:gd name="T6" fmla="*/ 33 w 72"/>
                <a:gd name="T7" fmla="*/ 22 h 109"/>
                <a:gd name="T8" fmla="*/ 19 w 72"/>
                <a:gd name="T9" fmla="*/ 65 h 109"/>
                <a:gd name="T10" fmla="*/ 23 w 72"/>
                <a:gd name="T11" fmla="*/ 95 h 109"/>
                <a:gd name="T12" fmla="*/ 66 w 72"/>
                <a:gd name="T13" fmla="*/ 99 h 109"/>
                <a:gd name="T14" fmla="*/ 62 w 72"/>
                <a:gd name="T15" fmla="*/ 104 h 109"/>
                <a:gd name="T16" fmla="*/ 9 w 72"/>
                <a:gd name="T17" fmla="*/ 100 h 109"/>
                <a:gd name="T18" fmla="*/ 6 w 72"/>
                <a:gd name="T19" fmla="*/ 59 h 109"/>
                <a:gd name="T20" fmla="*/ 0 w 72"/>
                <a:gd name="T21" fmla="*/ 20 h 109"/>
                <a:gd name="T22" fmla="*/ 36 w 72"/>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09">
                  <a:moveTo>
                    <a:pt x="36" y="0"/>
                  </a:moveTo>
                  <a:cubicBezTo>
                    <a:pt x="36" y="0"/>
                    <a:pt x="22" y="4"/>
                    <a:pt x="17" y="11"/>
                  </a:cubicBezTo>
                  <a:cubicBezTo>
                    <a:pt x="12" y="18"/>
                    <a:pt x="11" y="21"/>
                    <a:pt x="20" y="18"/>
                  </a:cubicBezTo>
                  <a:cubicBezTo>
                    <a:pt x="30" y="15"/>
                    <a:pt x="39" y="10"/>
                    <a:pt x="33" y="22"/>
                  </a:cubicBezTo>
                  <a:cubicBezTo>
                    <a:pt x="26" y="35"/>
                    <a:pt x="12" y="47"/>
                    <a:pt x="19" y="65"/>
                  </a:cubicBezTo>
                  <a:cubicBezTo>
                    <a:pt x="25" y="82"/>
                    <a:pt x="6" y="88"/>
                    <a:pt x="23" y="95"/>
                  </a:cubicBezTo>
                  <a:cubicBezTo>
                    <a:pt x="39" y="102"/>
                    <a:pt x="66" y="99"/>
                    <a:pt x="66" y="99"/>
                  </a:cubicBezTo>
                  <a:cubicBezTo>
                    <a:pt x="66" y="99"/>
                    <a:pt x="72" y="104"/>
                    <a:pt x="62" y="104"/>
                  </a:cubicBezTo>
                  <a:cubicBezTo>
                    <a:pt x="53" y="104"/>
                    <a:pt x="14" y="109"/>
                    <a:pt x="9" y="100"/>
                  </a:cubicBezTo>
                  <a:cubicBezTo>
                    <a:pt x="4" y="92"/>
                    <a:pt x="7" y="77"/>
                    <a:pt x="6" y="59"/>
                  </a:cubicBezTo>
                  <a:cubicBezTo>
                    <a:pt x="5" y="40"/>
                    <a:pt x="6" y="25"/>
                    <a:pt x="0" y="20"/>
                  </a:cubicBezTo>
                  <a:cubicBezTo>
                    <a:pt x="0" y="20"/>
                    <a:pt x="8" y="1"/>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4" name="Freeform 118">
              <a:extLst>
                <a:ext uri="{FF2B5EF4-FFF2-40B4-BE49-F238E27FC236}">
                  <a16:creationId xmlns:a16="http://schemas.microsoft.com/office/drawing/2014/main" id="{5603E38E-7FDF-4874-A7B4-2D86DA7CC378}"/>
                </a:ext>
              </a:extLst>
            </p:cNvPr>
            <p:cNvSpPr>
              <a:spLocks/>
            </p:cNvSpPr>
            <p:nvPr/>
          </p:nvSpPr>
          <p:spPr bwMode="auto">
            <a:xfrm>
              <a:off x="1223963" y="1212850"/>
              <a:ext cx="47625" cy="106363"/>
            </a:xfrm>
            <a:custGeom>
              <a:avLst/>
              <a:gdLst>
                <a:gd name="T0" fmla="*/ 30 w 30"/>
                <a:gd name="T1" fmla="*/ 5 h 66"/>
                <a:gd name="T2" fmla="*/ 11 w 30"/>
                <a:gd name="T3" fmla="*/ 9 h 66"/>
                <a:gd name="T4" fmla="*/ 11 w 30"/>
                <a:gd name="T5" fmla="*/ 25 h 66"/>
                <a:gd name="T6" fmla="*/ 8 w 30"/>
                <a:gd name="T7" fmla="*/ 6 h 66"/>
                <a:gd name="T8" fmla="*/ 8 w 30"/>
                <a:gd name="T9" fmla="*/ 0 h 66"/>
                <a:gd name="T10" fmla="*/ 1 w 30"/>
                <a:gd name="T11" fmla="*/ 1 h 66"/>
                <a:gd name="T12" fmla="*/ 1 w 30"/>
                <a:gd name="T13" fmla="*/ 31 h 66"/>
                <a:gd name="T14" fmla="*/ 12 w 30"/>
                <a:gd name="T15" fmla="*/ 53 h 66"/>
                <a:gd name="T16" fmla="*/ 22 w 30"/>
                <a:gd name="T17" fmla="*/ 32 h 66"/>
                <a:gd name="T18" fmla="*/ 30 w 30"/>
                <a:gd name="T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6">
                  <a:moveTo>
                    <a:pt x="30" y="5"/>
                  </a:moveTo>
                  <a:cubicBezTo>
                    <a:pt x="30" y="5"/>
                    <a:pt x="12" y="1"/>
                    <a:pt x="11" y="9"/>
                  </a:cubicBezTo>
                  <a:cubicBezTo>
                    <a:pt x="11" y="18"/>
                    <a:pt x="11" y="25"/>
                    <a:pt x="11" y="25"/>
                  </a:cubicBezTo>
                  <a:cubicBezTo>
                    <a:pt x="11" y="25"/>
                    <a:pt x="10" y="9"/>
                    <a:pt x="8" y="6"/>
                  </a:cubicBezTo>
                  <a:cubicBezTo>
                    <a:pt x="6" y="3"/>
                    <a:pt x="8" y="0"/>
                    <a:pt x="8" y="0"/>
                  </a:cubicBezTo>
                  <a:cubicBezTo>
                    <a:pt x="8" y="0"/>
                    <a:pt x="5" y="3"/>
                    <a:pt x="1" y="1"/>
                  </a:cubicBezTo>
                  <a:cubicBezTo>
                    <a:pt x="1" y="31"/>
                    <a:pt x="1" y="31"/>
                    <a:pt x="1" y="31"/>
                  </a:cubicBezTo>
                  <a:cubicBezTo>
                    <a:pt x="1" y="31"/>
                    <a:pt x="0" y="40"/>
                    <a:pt x="12" y="53"/>
                  </a:cubicBezTo>
                  <a:cubicBezTo>
                    <a:pt x="25" y="66"/>
                    <a:pt x="23" y="43"/>
                    <a:pt x="22" y="32"/>
                  </a:cubicBezTo>
                  <a:cubicBezTo>
                    <a:pt x="22" y="20"/>
                    <a:pt x="22" y="4"/>
                    <a:pt x="3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5" name="Freeform 119">
              <a:extLst>
                <a:ext uri="{FF2B5EF4-FFF2-40B4-BE49-F238E27FC236}">
                  <a16:creationId xmlns:a16="http://schemas.microsoft.com/office/drawing/2014/main" id="{9672A89C-B6D6-4330-B384-1EC33F520F20}"/>
                </a:ext>
              </a:extLst>
            </p:cNvPr>
            <p:cNvSpPr>
              <a:spLocks/>
            </p:cNvSpPr>
            <p:nvPr/>
          </p:nvSpPr>
          <p:spPr bwMode="auto">
            <a:xfrm>
              <a:off x="1292225" y="1211263"/>
              <a:ext cx="58738" cy="93663"/>
            </a:xfrm>
            <a:custGeom>
              <a:avLst/>
              <a:gdLst>
                <a:gd name="T0" fmla="*/ 10 w 36"/>
                <a:gd name="T1" fmla="*/ 3 h 58"/>
                <a:gd name="T2" fmla="*/ 32 w 36"/>
                <a:gd name="T3" fmla="*/ 6 h 58"/>
                <a:gd name="T4" fmla="*/ 27 w 36"/>
                <a:gd name="T5" fmla="*/ 53 h 58"/>
                <a:gd name="T6" fmla="*/ 18 w 36"/>
                <a:gd name="T7" fmla="*/ 20 h 58"/>
                <a:gd name="T8" fmla="*/ 10 w 36"/>
                <a:gd name="T9" fmla="*/ 3 h 58"/>
              </a:gdLst>
              <a:ahLst/>
              <a:cxnLst>
                <a:cxn ang="0">
                  <a:pos x="T0" y="T1"/>
                </a:cxn>
                <a:cxn ang="0">
                  <a:pos x="T2" y="T3"/>
                </a:cxn>
                <a:cxn ang="0">
                  <a:pos x="T4" y="T5"/>
                </a:cxn>
                <a:cxn ang="0">
                  <a:pos x="T6" y="T7"/>
                </a:cxn>
                <a:cxn ang="0">
                  <a:pos x="T8" y="T9"/>
                </a:cxn>
              </a:cxnLst>
              <a:rect l="0" t="0" r="r" b="b"/>
              <a:pathLst>
                <a:path w="36" h="58">
                  <a:moveTo>
                    <a:pt x="10" y="3"/>
                  </a:moveTo>
                  <a:cubicBezTo>
                    <a:pt x="10" y="3"/>
                    <a:pt x="31" y="0"/>
                    <a:pt x="32" y="6"/>
                  </a:cubicBezTo>
                  <a:cubicBezTo>
                    <a:pt x="33" y="11"/>
                    <a:pt x="36" y="47"/>
                    <a:pt x="27" y="53"/>
                  </a:cubicBezTo>
                  <a:cubicBezTo>
                    <a:pt x="18" y="58"/>
                    <a:pt x="23" y="34"/>
                    <a:pt x="18" y="20"/>
                  </a:cubicBezTo>
                  <a:cubicBezTo>
                    <a:pt x="13" y="5"/>
                    <a:pt x="0" y="7"/>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 name="Freeform 120">
              <a:extLst>
                <a:ext uri="{FF2B5EF4-FFF2-40B4-BE49-F238E27FC236}">
                  <a16:creationId xmlns:a16="http://schemas.microsoft.com/office/drawing/2014/main" id="{B74228AB-4AC8-4553-8F17-BB1684802F54}"/>
                </a:ext>
              </a:extLst>
            </p:cNvPr>
            <p:cNvSpPr>
              <a:spLocks/>
            </p:cNvSpPr>
            <p:nvPr/>
          </p:nvSpPr>
          <p:spPr bwMode="auto">
            <a:xfrm>
              <a:off x="1211263" y="1287463"/>
              <a:ext cx="57150" cy="49213"/>
            </a:xfrm>
            <a:custGeom>
              <a:avLst/>
              <a:gdLst>
                <a:gd name="T0" fmla="*/ 8 w 35"/>
                <a:gd name="T1" fmla="*/ 0 h 30"/>
                <a:gd name="T2" fmla="*/ 23 w 35"/>
                <a:gd name="T3" fmla="*/ 15 h 30"/>
                <a:gd name="T4" fmla="*/ 21 w 35"/>
                <a:gd name="T5" fmla="*/ 27 h 30"/>
                <a:gd name="T6" fmla="*/ 11 w 35"/>
                <a:gd name="T7" fmla="*/ 28 h 30"/>
                <a:gd name="T8" fmla="*/ 9 w 35"/>
                <a:gd name="T9" fmla="*/ 24 h 30"/>
                <a:gd name="T10" fmla="*/ 8 w 35"/>
                <a:gd name="T11" fmla="*/ 0 h 30"/>
              </a:gdLst>
              <a:ahLst/>
              <a:cxnLst>
                <a:cxn ang="0">
                  <a:pos x="T0" y="T1"/>
                </a:cxn>
                <a:cxn ang="0">
                  <a:pos x="T2" y="T3"/>
                </a:cxn>
                <a:cxn ang="0">
                  <a:pos x="T4" y="T5"/>
                </a:cxn>
                <a:cxn ang="0">
                  <a:pos x="T6" y="T7"/>
                </a:cxn>
                <a:cxn ang="0">
                  <a:pos x="T8" y="T9"/>
                </a:cxn>
                <a:cxn ang="0">
                  <a:pos x="T10" y="T11"/>
                </a:cxn>
              </a:cxnLst>
              <a:rect l="0" t="0" r="r" b="b"/>
              <a:pathLst>
                <a:path w="35" h="30">
                  <a:moveTo>
                    <a:pt x="8" y="0"/>
                  </a:moveTo>
                  <a:cubicBezTo>
                    <a:pt x="8" y="0"/>
                    <a:pt x="11" y="8"/>
                    <a:pt x="23" y="15"/>
                  </a:cubicBezTo>
                  <a:cubicBezTo>
                    <a:pt x="35" y="22"/>
                    <a:pt x="30" y="28"/>
                    <a:pt x="21" y="27"/>
                  </a:cubicBezTo>
                  <a:cubicBezTo>
                    <a:pt x="13" y="25"/>
                    <a:pt x="10" y="27"/>
                    <a:pt x="11" y="28"/>
                  </a:cubicBezTo>
                  <a:cubicBezTo>
                    <a:pt x="13" y="30"/>
                    <a:pt x="0" y="27"/>
                    <a:pt x="9" y="24"/>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7" name="Freeform 121">
              <a:extLst>
                <a:ext uri="{FF2B5EF4-FFF2-40B4-BE49-F238E27FC236}">
                  <a16:creationId xmlns:a16="http://schemas.microsoft.com/office/drawing/2014/main" id="{E3FCF030-D36A-46D2-8DBE-28DC3D9A3ACF}"/>
                </a:ext>
              </a:extLst>
            </p:cNvPr>
            <p:cNvSpPr>
              <a:spLocks/>
            </p:cNvSpPr>
            <p:nvPr/>
          </p:nvSpPr>
          <p:spPr bwMode="auto">
            <a:xfrm>
              <a:off x="1339850" y="1322388"/>
              <a:ext cx="23813" cy="15875"/>
            </a:xfrm>
            <a:custGeom>
              <a:avLst/>
              <a:gdLst>
                <a:gd name="T0" fmla="*/ 6 w 15"/>
                <a:gd name="T1" fmla="*/ 0 h 9"/>
                <a:gd name="T2" fmla="*/ 0 w 15"/>
                <a:gd name="T3" fmla="*/ 9 h 9"/>
                <a:gd name="T4" fmla="*/ 6 w 15"/>
                <a:gd name="T5" fmla="*/ 0 h 9"/>
              </a:gdLst>
              <a:ahLst/>
              <a:cxnLst>
                <a:cxn ang="0">
                  <a:pos x="T0" y="T1"/>
                </a:cxn>
                <a:cxn ang="0">
                  <a:pos x="T2" y="T3"/>
                </a:cxn>
                <a:cxn ang="0">
                  <a:pos x="T4" y="T5"/>
                </a:cxn>
              </a:cxnLst>
              <a:rect l="0" t="0" r="r" b="b"/>
              <a:pathLst>
                <a:path w="15" h="9">
                  <a:moveTo>
                    <a:pt x="6" y="0"/>
                  </a:moveTo>
                  <a:cubicBezTo>
                    <a:pt x="6" y="0"/>
                    <a:pt x="9" y="7"/>
                    <a:pt x="0" y="9"/>
                  </a:cubicBezTo>
                  <a:cubicBezTo>
                    <a:pt x="0" y="9"/>
                    <a:pt x="15" y="5"/>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8" name="Freeform 122">
              <a:extLst>
                <a:ext uri="{FF2B5EF4-FFF2-40B4-BE49-F238E27FC236}">
                  <a16:creationId xmlns:a16="http://schemas.microsoft.com/office/drawing/2014/main" id="{B2A6FF19-C30F-4E1E-8180-B357087EEEC6}"/>
                </a:ext>
              </a:extLst>
            </p:cNvPr>
            <p:cNvSpPr>
              <a:spLocks/>
            </p:cNvSpPr>
            <p:nvPr/>
          </p:nvSpPr>
          <p:spPr bwMode="auto">
            <a:xfrm>
              <a:off x="1193800" y="1374775"/>
              <a:ext cx="176213" cy="14288"/>
            </a:xfrm>
            <a:custGeom>
              <a:avLst/>
              <a:gdLst>
                <a:gd name="T0" fmla="*/ 4 w 109"/>
                <a:gd name="T1" fmla="*/ 0 h 9"/>
                <a:gd name="T2" fmla="*/ 30 w 109"/>
                <a:gd name="T3" fmla="*/ 4 h 9"/>
                <a:gd name="T4" fmla="*/ 52 w 109"/>
                <a:gd name="T5" fmla="*/ 7 h 9"/>
                <a:gd name="T6" fmla="*/ 109 w 109"/>
                <a:gd name="T7" fmla="*/ 0 h 9"/>
                <a:gd name="T8" fmla="*/ 52 w 109"/>
                <a:gd name="T9" fmla="*/ 9 h 9"/>
                <a:gd name="T10" fmla="*/ 11 w 109"/>
                <a:gd name="T11" fmla="*/ 4 h 9"/>
                <a:gd name="T12" fmla="*/ 4 w 10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9" h="9">
                  <a:moveTo>
                    <a:pt x="4" y="0"/>
                  </a:moveTo>
                  <a:cubicBezTo>
                    <a:pt x="4" y="0"/>
                    <a:pt x="17" y="2"/>
                    <a:pt x="30" y="4"/>
                  </a:cubicBezTo>
                  <a:cubicBezTo>
                    <a:pt x="43" y="6"/>
                    <a:pt x="52" y="7"/>
                    <a:pt x="52" y="7"/>
                  </a:cubicBezTo>
                  <a:cubicBezTo>
                    <a:pt x="109" y="0"/>
                    <a:pt x="109" y="0"/>
                    <a:pt x="109" y="0"/>
                  </a:cubicBezTo>
                  <a:cubicBezTo>
                    <a:pt x="109" y="0"/>
                    <a:pt x="56" y="7"/>
                    <a:pt x="52" y="9"/>
                  </a:cubicBezTo>
                  <a:cubicBezTo>
                    <a:pt x="52" y="9"/>
                    <a:pt x="22" y="5"/>
                    <a:pt x="11" y="4"/>
                  </a:cubicBezTo>
                  <a:cubicBezTo>
                    <a:pt x="0" y="4"/>
                    <a:pt x="4" y="5"/>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9" name="Freeform 123">
              <a:extLst>
                <a:ext uri="{FF2B5EF4-FFF2-40B4-BE49-F238E27FC236}">
                  <a16:creationId xmlns:a16="http://schemas.microsoft.com/office/drawing/2014/main" id="{F1FE5AC0-E042-412E-B8AF-75DDF42F81AF}"/>
                </a:ext>
              </a:extLst>
            </p:cNvPr>
            <p:cNvSpPr>
              <a:spLocks/>
            </p:cNvSpPr>
            <p:nvPr/>
          </p:nvSpPr>
          <p:spPr bwMode="auto">
            <a:xfrm>
              <a:off x="1193800" y="1330325"/>
              <a:ext cx="190500" cy="28575"/>
            </a:xfrm>
            <a:custGeom>
              <a:avLst/>
              <a:gdLst>
                <a:gd name="T0" fmla="*/ 0 w 118"/>
                <a:gd name="T1" fmla="*/ 5 h 17"/>
                <a:gd name="T2" fmla="*/ 19 w 118"/>
                <a:gd name="T3" fmla="*/ 11 h 17"/>
                <a:gd name="T4" fmla="*/ 47 w 118"/>
                <a:gd name="T5" fmla="*/ 15 h 17"/>
                <a:gd name="T6" fmla="*/ 52 w 118"/>
                <a:gd name="T7" fmla="*/ 15 h 17"/>
                <a:gd name="T8" fmla="*/ 83 w 118"/>
                <a:gd name="T9" fmla="*/ 8 h 17"/>
                <a:gd name="T10" fmla="*/ 114 w 118"/>
                <a:gd name="T11" fmla="*/ 9 h 17"/>
                <a:gd name="T12" fmla="*/ 118 w 118"/>
                <a:gd name="T13" fmla="*/ 4 h 17"/>
                <a:gd name="T14" fmla="*/ 108 w 118"/>
                <a:gd name="T15" fmla="*/ 2 h 17"/>
                <a:gd name="T16" fmla="*/ 85 w 118"/>
                <a:gd name="T17" fmla="*/ 6 h 17"/>
                <a:gd name="T18" fmla="*/ 74 w 118"/>
                <a:gd name="T19" fmla="*/ 7 h 17"/>
                <a:gd name="T20" fmla="*/ 58 w 118"/>
                <a:gd name="T21" fmla="*/ 10 h 17"/>
                <a:gd name="T22" fmla="*/ 24 w 118"/>
                <a:gd name="T23" fmla="*/ 8 h 17"/>
                <a:gd name="T24" fmla="*/ 0 w 118"/>
                <a:gd name="T2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7">
                  <a:moveTo>
                    <a:pt x="0" y="5"/>
                  </a:moveTo>
                  <a:cubicBezTo>
                    <a:pt x="0" y="5"/>
                    <a:pt x="8" y="10"/>
                    <a:pt x="19" y="11"/>
                  </a:cubicBezTo>
                  <a:cubicBezTo>
                    <a:pt x="31" y="12"/>
                    <a:pt x="47" y="15"/>
                    <a:pt x="47" y="15"/>
                  </a:cubicBezTo>
                  <a:cubicBezTo>
                    <a:pt x="47" y="15"/>
                    <a:pt x="48" y="17"/>
                    <a:pt x="52" y="15"/>
                  </a:cubicBezTo>
                  <a:cubicBezTo>
                    <a:pt x="56" y="12"/>
                    <a:pt x="75" y="8"/>
                    <a:pt x="83" y="8"/>
                  </a:cubicBezTo>
                  <a:cubicBezTo>
                    <a:pt x="90" y="8"/>
                    <a:pt x="114" y="5"/>
                    <a:pt x="114" y="9"/>
                  </a:cubicBezTo>
                  <a:cubicBezTo>
                    <a:pt x="118" y="4"/>
                    <a:pt x="118" y="4"/>
                    <a:pt x="118" y="4"/>
                  </a:cubicBezTo>
                  <a:cubicBezTo>
                    <a:pt x="118" y="4"/>
                    <a:pt x="118" y="0"/>
                    <a:pt x="108" y="2"/>
                  </a:cubicBezTo>
                  <a:cubicBezTo>
                    <a:pt x="99" y="4"/>
                    <a:pt x="97" y="5"/>
                    <a:pt x="85" y="6"/>
                  </a:cubicBezTo>
                  <a:cubicBezTo>
                    <a:pt x="74" y="7"/>
                    <a:pt x="74" y="7"/>
                    <a:pt x="74" y="7"/>
                  </a:cubicBezTo>
                  <a:cubicBezTo>
                    <a:pt x="74" y="7"/>
                    <a:pt x="65" y="10"/>
                    <a:pt x="58" y="10"/>
                  </a:cubicBezTo>
                  <a:cubicBezTo>
                    <a:pt x="50" y="10"/>
                    <a:pt x="34" y="12"/>
                    <a:pt x="24" y="8"/>
                  </a:cubicBezTo>
                  <a:cubicBezTo>
                    <a:pt x="14" y="5"/>
                    <a:pt x="4"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0" name="Freeform 124">
              <a:extLst>
                <a:ext uri="{FF2B5EF4-FFF2-40B4-BE49-F238E27FC236}">
                  <a16:creationId xmlns:a16="http://schemas.microsoft.com/office/drawing/2014/main" id="{F0E18EDF-5356-4486-BCF6-F016F21CDB14}"/>
                </a:ext>
              </a:extLst>
            </p:cNvPr>
            <p:cNvSpPr>
              <a:spLocks/>
            </p:cNvSpPr>
            <p:nvPr/>
          </p:nvSpPr>
          <p:spPr bwMode="auto">
            <a:xfrm>
              <a:off x="1317625" y="1122363"/>
              <a:ext cx="52388" cy="90488"/>
            </a:xfrm>
            <a:custGeom>
              <a:avLst/>
              <a:gdLst>
                <a:gd name="T0" fmla="*/ 12 w 32"/>
                <a:gd name="T1" fmla="*/ 0 h 57"/>
                <a:gd name="T2" fmla="*/ 25 w 32"/>
                <a:gd name="T3" fmla="*/ 5 h 57"/>
                <a:gd name="T4" fmla="*/ 28 w 32"/>
                <a:gd name="T5" fmla="*/ 13 h 57"/>
                <a:gd name="T6" fmla="*/ 8 w 32"/>
                <a:gd name="T7" fmla="*/ 56 h 57"/>
                <a:gd name="T8" fmla="*/ 7 w 32"/>
                <a:gd name="T9" fmla="*/ 41 h 57"/>
                <a:gd name="T10" fmla="*/ 19 w 32"/>
                <a:gd name="T11" fmla="*/ 11 h 57"/>
                <a:gd name="T12" fmla="*/ 12 w 3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32" h="57">
                  <a:moveTo>
                    <a:pt x="12" y="0"/>
                  </a:moveTo>
                  <a:cubicBezTo>
                    <a:pt x="12" y="0"/>
                    <a:pt x="23" y="6"/>
                    <a:pt x="25" y="5"/>
                  </a:cubicBezTo>
                  <a:cubicBezTo>
                    <a:pt x="27" y="3"/>
                    <a:pt x="28" y="6"/>
                    <a:pt x="28" y="13"/>
                  </a:cubicBezTo>
                  <a:cubicBezTo>
                    <a:pt x="27" y="19"/>
                    <a:pt x="32" y="57"/>
                    <a:pt x="8" y="56"/>
                  </a:cubicBezTo>
                  <a:cubicBezTo>
                    <a:pt x="8" y="56"/>
                    <a:pt x="0" y="54"/>
                    <a:pt x="7" y="41"/>
                  </a:cubicBezTo>
                  <a:cubicBezTo>
                    <a:pt x="15" y="27"/>
                    <a:pt x="24" y="22"/>
                    <a:pt x="19" y="11"/>
                  </a:cubicBezTo>
                  <a:cubicBezTo>
                    <a:pt x="15" y="0"/>
                    <a:pt x="10" y="5"/>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1" name="Freeform 125">
              <a:extLst>
                <a:ext uri="{FF2B5EF4-FFF2-40B4-BE49-F238E27FC236}">
                  <a16:creationId xmlns:a16="http://schemas.microsoft.com/office/drawing/2014/main" id="{44627E88-4194-49A5-92AC-D966C9C7AECF}"/>
                </a:ext>
              </a:extLst>
            </p:cNvPr>
            <p:cNvSpPr>
              <a:spLocks/>
            </p:cNvSpPr>
            <p:nvPr/>
          </p:nvSpPr>
          <p:spPr bwMode="auto">
            <a:xfrm>
              <a:off x="1273175" y="1042988"/>
              <a:ext cx="82550" cy="42863"/>
            </a:xfrm>
            <a:custGeom>
              <a:avLst/>
              <a:gdLst>
                <a:gd name="T0" fmla="*/ 51 w 51"/>
                <a:gd name="T1" fmla="*/ 27 h 27"/>
                <a:gd name="T2" fmla="*/ 0 w 51"/>
                <a:gd name="T3" fmla="*/ 3 h 27"/>
                <a:gd name="T4" fmla="*/ 51 w 51"/>
                <a:gd name="T5" fmla="*/ 27 h 27"/>
              </a:gdLst>
              <a:ahLst/>
              <a:cxnLst>
                <a:cxn ang="0">
                  <a:pos x="T0" y="T1"/>
                </a:cxn>
                <a:cxn ang="0">
                  <a:pos x="T2" y="T3"/>
                </a:cxn>
                <a:cxn ang="0">
                  <a:pos x="T4" y="T5"/>
                </a:cxn>
              </a:cxnLst>
              <a:rect l="0" t="0" r="r" b="b"/>
              <a:pathLst>
                <a:path w="51" h="27">
                  <a:moveTo>
                    <a:pt x="51" y="27"/>
                  </a:moveTo>
                  <a:cubicBezTo>
                    <a:pt x="51" y="27"/>
                    <a:pt x="40" y="5"/>
                    <a:pt x="0" y="3"/>
                  </a:cubicBezTo>
                  <a:cubicBezTo>
                    <a:pt x="0" y="3"/>
                    <a:pt x="41" y="0"/>
                    <a:pt x="5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2" name="Freeform 126">
              <a:extLst>
                <a:ext uri="{FF2B5EF4-FFF2-40B4-BE49-F238E27FC236}">
                  <a16:creationId xmlns:a16="http://schemas.microsoft.com/office/drawing/2014/main" id="{63F3D561-BFE4-4FEB-9ED4-829086E37533}"/>
                </a:ext>
              </a:extLst>
            </p:cNvPr>
            <p:cNvSpPr>
              <a:spLocks/>
            </p:cNvSpPr>
            <p:nvPr/>
          </p:nvSpPr>
          <p:spPr bwMode="auto">
            <a:xfrm>
              <a:off x="1354138" y="1077913"/>
              <a:ext cx="28575" cy="55563"/>
            </a:xfrm>
            <a:custGeom>
              <a:avLst/>
              <a:gdLst>
                <a:gd name="T0" fmla="*/ 16 w 18"/>
                <a:gd name="T1" fmla="*/ 4 h 34"/>
                <a:gd name="T2" fmla="*/ 18 w 18"/>
                <a:gd name="T3" fmla="*/ 28 h 34"/>
                <a:gd name="T4" fmla="*/ 9 w 18"/>
                <a:gd name="T5" fmla="*/ 34 h 34"/>
                <a:gd name="T6" fmla="*/ 3 w 18"/>
                <a:gd name="T7" fmla="*/ 32 h 34"/>
                <a:gd name="T8" fmla="*/ 5 w 18"/>
                <a:gd name="T9" fmla="*/ 24 h 34"/>
                <a:gd name="T10" fmla="*/ 5 w 18"/>
                <a:gd name="T11" fmla="*/ 8 h 34"/>
                <a:gd name="T12" fmla="*/ 16 w 18"/>
                <a:gd name="T13" fmla="*/ 4 h 34"/>
              </a:gdLst>
              <a:ahLst/>
              <a:cxnLst>
                <a:cxn ang="0">
                  <a:pos x="T0" y="T1"/>
                </a:cxn>
                <a:cxn ang="0">
                  <a:pos x="T2" y="T3"/>
                </a:cxn>
                <a:cxn ang="0">
                  <a:pos x="T4" y="T5"/>
                </a:cxn>
                <a:cxn ang="0">
                  <a:pos x="T6" y="T7"/>
                </a:cxn>
                <a:cxn ang="0">
                  <a:pos x="T8" y="T9"/>
                </a:cxn>
                <a:cxn ang="0">
                  <a:pos x="T10" y="T11"/>
                </a:cxn>
                <a:cxn ang="0">
                  <a:pos x="T12" y="T13"/>
                </a:cxn>
              </a:cxnLst>
              <a:rect l="0" t="0" r="r" b="b"/>
              <a:pathLst>
                <a:path w="18" h="34">
                  <a:moveTo>
                    <a:pt x="16" y="4"/>
                  </a:moveTo>
                  <a:cubicBezTo>
                    <a:pt x="18" y="28"/>
                    <a:pt x="18" y="28"/>
                    <a:pt x="18" y="28"/>
                  </a:cubicBezTo>
                  <a:cubicBezTo>
                    <a:pt x="18" y="28"/>
                    <a:pt x="10" y="14"/>
                    <a:pt x="9" y="34"/>
                  </a:cubicBezTo>
                  <a:cubicBezTo>
                    <a:pt x="9" y="34"/>
                    <a:pt x="6" y="31"/>
                    <a:pt x="3" y="32"/>
                  </a:cubicBezTo>
                  <a:cubicBezTo>
                    <a:pt x="0" y="33"/>
                    <a:pt x="5" y="31"/>
                    <a:pt x="5" y="24"/>
                  </a:cubicBezTo>
                  <a:cubicBezTo>
                    <a:pt x="5" y="16"/>
                    <a:pt x="6" y="14"/>
                    <a:pt x="5" y="8"/>
                  </a:cubicBezTo>
                  <a:cubicBezTo>
                    <a:pt x="4" y="2"/>
                    <a:pt x="8"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3" name="Freeform 127">
              <a:extLst>
                <a:ext uri="{FF2B5EF4-FFF2-40B4-BE49-F238E27FC236}">
                  <a16:creationId xmlns:a16="http://schemas.microsoft.com/office/drawing/2014/main" id="{EAA39024-480A-4838-97E6-9023460C8BB0}"/>
                </a:ext>
              </a:extLst>
            </p:cNvPr>
            <p:cNvSpPr>
              <a:spLocks/>
            </p:cNvSpPr>
            <p:nvPr/>
          </p:nvSpPr>
          <p:spPr bwMode="auto">
            <a:xfrm>
              <a:off x="1377950" y="1054100"/>
              <a:ext cx="215900" cy="120650"/>
            </a:xfrm>
            <a:custGeom>
              <a:avLst/>
              <a:gdLst>
                <a:gd name="T0" fmla="*/ 7 w 134"/>
                <a:gd name="T1" fmla="*/ 25 h 75"/>
                <a:gd name="T2" fmla="*/ 5 w 134"/>
                <a:gd name="T3" fmla="*/ 75 h 75"/>
                <a:gd name="T4" fmla="*/ 2 w 134"/>
                <a:gd name="T5" fmla="*/ 21 h 75"/>
                <a:gd name="T6" fmla="*/ 7 w 134"/>
                <a:gd name="T7" fmla="*/ 19 h 75"/>
                <a:gd name="T8" fmla="*/ 114 w 134"/>
                <a:gd name="T9" fmla="*/ 3 h 75"/>
                <a:gd name="T10" fmla="*/ 130 w 134"/>
                <a:gd name="T11" fmla="*/ 8 h 75"/>
                <a:gd name="T12" fmla="*/ 113 w 134"/>
                <a:gd name="T13" fmla="*/ 7 h 75"/>
                <a:gd name="T14" fmla="*/ 15 w 134"/>
                <a:gd name="T15" fmla="*/ 21 h 75"/>
                <a:gd name="T16" fmla="*/ 7 w 134"/>
                <a:gd name="T1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75">
                  <a:moveTo>
                    <a:pt x="7" y="25"/>
                  </a:moveTo>
                  <a:cubicBezTo>
                    <a:pt x="7" y="25"/>
                    <a:pt x="11" y="60"/>
                    <a:pt x="5" y="75"/>
                  </a:cubicBezTo>
                  <a:cubicBezTo>
                    <a:pt x="5" y="75"/>
                    <a:pt x="8" y="48"/>
                    <a:pt x="2" y="21"/>
                  </a:cubicBezTo>
                  <a:cubicBezTo>
                    <a:pt x="2" y="21"/>
                    <a:pt x="0" y="20"/>
                    <a:pt x="7" y="19"/>
                  </a:cubicBezTo>
                  <a:cubicBezTo>
                    <a:pt x="14" y="18"/>
                    <a:pt x="114" y="3"/>
                    <a:pt x="114" y="3"/>
                  </a:cubicBezTo>
                  <a:cubicBezTo>
                    <a:pt x="114" y="3"/>
                    <a:pt x="126" y="0"/>
                    <a:pt x="130" y="8"/>
                  </a:cubicBezTo>
                  <a:cubicBezTo>
                    <a:pt x="134" y="15"/>
                    <a:pt x="126" y="5"/>
                    <a:pt x="113" y="7"/>
                  </a:cubicBezTo>
                  <a:cubicBezTo>
                    <a:pt x="100" y="8"/>
                    <a:pt x="15" y="21"/>
                    <a:pt x="15" y="21"/>
                  </a:cubicBezTo>
                  <a:cubicBezTo>
                    <a:pt x="15" y="21"/>
                    <a:pt x="7" y="22"/>
                    <a:pt x="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4" name="Freeform 128">
              <a:extLst>
                <a:ext uri="{FF2B5EF4-FFF2-40B4-BE49-F238E27FC236}">
                  <a16:creationId xmlns:a16="http://schemas.microsoft.com/office/drawing/2014/main" id="{F481A6F1-6365-414B-B6A0-0C59EE339B09}"/>
                </a:ext>
              </a:extLst>
            </p:cNvPr>
            <p:cNvSpPr>
              <a:spLocks/>
            </p:cNvSpPr>
            <p:nvPr/>
          </p:nvSpPr>
          <p:spPr bwMode="auto">
            <a:xfrm>
              <a:off x="1393825" y="1095375"/>
              <a:ext cx="190500" cy="42863"/>
            </a:xfrm>
            <a:custGeom>
              <a:avLst/>
              <a:gdLst>
                <a:gd name="T0" fmla="*/ 4 w 118"/>
                <a:gd name="T1" fmla="*/ 10 h 26"/>
                <a:gd name="T2" fmla="*/ 1 w 118"/>
                <a:gd name="T3" fmla="*/ 15 h 26"/>
                <a:gd name="T4" fmla="*/ 5 w 118"/>
                <a:gd name="T5" fmla="*/ 26 h 26"/>
                <a:gd name="T6" fmla="*/ 97 w 118"/>
                <a:gd name="T7" fmla="*/ 22 h 26"/>
                <a:gd name="T8" fmla="*/ 115 w 118"/>
                <a:gd name="T9" fmla="*/ 15 h 26"/>
                <a:gd name="T10" fmla="*/ 104 w 118"/>
                <a:gd name="T11" fmla="*/ 0 h 26"/>
                <a:gd name="T12" fmla="*/ 4 w 118"/>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118" h="26">
                  <a:moveTo>
                    <a:pt x="4" y="10"/>
                  </a:moveTo>
                  <a:cubicBezTo>
                    <a:pt x="4" y="10"/>
                    <a:pt x="1" y="8"/>
                    <a:pt x="1" y="15"/>
                  </a:cubicBezTo>
                  <a:cubicBezTo>
                    <a:pt x="0" y="22"/>
                    <a:pt x="0" y="26"/>
                    <a:pt x="5" y="26"/>
                  </a:cubicBezTo>
                  <a:cubicBezTo>
                    <a:pt x="11" y="26"/>
                    <a:pt x="86" y="22"/>
                    <a:pt x="97" y="22"/>
                  </a:cubicBezTo>
                  <a:cubicBezTo>
                    <a:pt x="107" y="22"/>
                    <a:pt x="115" y="22"/>
                    <a:pt x="115" y="15"/>
                  </a:cubicBezTo>
                  <a:cubicBezTo>
                    <a:pt x="115" y="7"/>
                    <a:pt x="118" y="0"/>
                    <a:pt x="104" y="0"/>
                  </a:cubicBezTo>
                  <a:cubicBezTo>
                    <a:pt x="90" y="1"/>
                    <a:pt x="4" y="10"/>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5" name="Freeform 129">
              <a:extLst>
                <a:ext uri="{FF2B5EF4-FFF2-40B4-BE49-F238E27FC236}">
                  <a16:creationId xmlns:a16="http://schemas.microsoft.com/office/drawing/2014/main" id="{9703DD0F-A73A-48C3-A370-E3249AEFFFDA}"/>
                </a:ext>
              </a:extLst>
            </p:cNvPr>
            <p:cNvSpPr>
              <a:spLocks/>
            </p:cNvSpPr>
            <p:nvPr/>
          </p:nvSpPr>
          <p:spPr bwMode="auto">
            <a:xfrm>
              <a:off x="1384300" y="1135063"/>
              <a:ext cx="214313" cy="58738"/>
            </a:xfrm>
            <a:custGeom>
              <a:avLst/>
              <a:gdLst>
                <a:gd name="T0" fmla="*/ 0 w 133"/>
                <a:gd name="T1" fmla="*/ 30 h 37"/>
                <a:gd name="T2" fmla="*/ 32 w 133"/>
                <a:gd name="T3" fmla="*/ 14 h 37"/>
                <a:gd name="T4" fmla="*/ 117 w 133"/>
                <a:gd name="T5" fmla="*/ 10 h 37"/>
                <a:gd name="T6" fmla="*/ 121 w 133"/>
                <a:gd name="T7" fmla="*/ 35 h 37"/>
                <a:gd name="T8" fmla="*/ 0 w 133"/>
                <a:gd name="T9" fmla="*/ 30 h 37"/>
              </a:gdLst>
              <a:ahLst/>
              <a:cxnLst>
                <a:cxn ang="0">
                  <a:pos x="T0" y="T1"/>
                </a:cxn>
                <a:cxn ang="0">
                  <a:pos x="T2" y="T3"/>
                </a:cxn>
                <a:cxn ang="0">
                  <a:pos x="T4" y="T5"/>
                </a:cxn>
                <a:cxn ang="0">
                  <a:pos x="T6" y="T7"/>
                </a:cxn>
                <a:cxn ang="0">
                  <a:pos x="T8" y="T9"/>
                </a:cxn>
              </a:cxnLst>
              <a:rect l="0" t="0" r="r" b="b"/>
              <a:pathLst>
                <a:path w="133" h="37">
                  <a:moveTo>
                    <a:pt x="0" y="30"/>
                  </a:moveTo>
                  <a:cubicBezTo>
                    <a:pt x="0" y="30"/>
                    <a:pt x="14" y="21"/>
                    <a:pt x="32" y="14"/>
                  </a:cubicBezTo>
                  <a:cubicBezTo>
                    <a:pt x="51" y="6"/>
                    <a:pt x="101" y="0"/>
                    <a:pt x="117" y="10"/>
                  </a:cubicBezTo>
                  <a:cubicBezTo>
                    <a:pt x="133" y="20"/>
                    <a:pt x="131" y="33"/>
                    <a:pt x="121" y="35"/>
                  </a:cubicBezTo>
                  <a:cubicBezTo>
                    <a:pt x="112" y="37"/>
                    <a:pt x="0" y="3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6" name="Freeform 130">
              <a:extLst>
                <a:ext uri="{FF2B5EF4-FFF2-40B4-BE49-F238E27FC236}">
                  <a16:creationId xmlns:a16="http://schemas.microsoft.com/office/drawing/2014/main" id="{46C3AF77-32F9-4D2A-9551-7BAF0E4FC3A4}"/>
                </a:ext>
              </a:extLst>
            </p:cNvPr>
            <p:cNvSpPr>
              <a:spLocks/>
            </p:cNvSpPr>
            <p:nvPr/>
          </p:nvSpPr>
          <p:spPr bwMode="auto">
            <a:xfrm>
              <a:off x="1177925" y="1404938"/>
              <a:ext cx="185738" cy="34925"/>
            </a:xfrm>
            <a:custGeom>
              <a:avLst/>
              <a:gdLst>
                <a:gd name="T0" fmla="*/ 11 w 115"/>
                <a:gd name="T1" fmla="*/ 4 h 22"/>
                <a:gd name="T2" fmla="*/ 115 w 115"/>
                <a:gd name="T3" fmla="*/ 5 h 22"/>
                <a:gd name="T4" fmla="*/ 15 w 115"/>
                <a:gd name="T5" fmla="*/ 7 h 22"/>
                <a:gd name="T6" fmla="*/ 35 w 115"/>
                <a:gd name="T7" fmla="*/ 15 h 22"/>
                <a:gd name="T8" fmla="*/ 5 w 115"/>
                <a:gd name="T9" fmla="*/ 8 h 22"/>
                <a:gd name="T10" fmla="*/ 11 w 115"/>
                <a:gd name="T11" fmla="*/ 4 h 22"/>
              </a:gdLst>
              <a:ahLst/>
              <a:cxnLst>
                <a:cxn ang="0">
                  <a:pos x="T0" y="T1"/>
                </a:cxn>
                <a:cxn ang="0">
                  <a:pos x="T2" y="T3"/>
                </a:cxn>
                <a:cxn ang="0">
                  <a:pos x="T4" y="T5"/>
                </a:cxn>
                <a:cxn ang="0">
                  <a:pos x="T6" y="T7"/>
                </a:cxn>
                <a:cxn ang="0">
                  <a:pos x="T8" y="T9"/>
                </a:cxn>
                <a:cxn ang="0">
                  <a:pos x="T10" y="T11"/>
                </a:cxn>
              </a:cxnLst>
              <a:rect l="0" t="0" r="r" b="b"/>
              <a:pathLst>
                <a:path w="115" h="22">
                  <a:moveTo>
                    <a:pt x="11" y="4"/>
                  </a:moveTo>
                  <a:cubicBezTo>
                    <a:pt x="11" y="4"/>
                    <a:pt x="41" y="20"/>
                    <a:pt x="115" y="5"/>
                  </a:cubicBezTo>
                  <a:cubicBezTo>
                    <a:pt x="115" y="5"/>
                    <a:pt x="62" y="22"/>
                    <a:pt x="15" y="7"/>
                  </a:cubicBezTo>
                  <a:cubicBezTo>
                    <a:pt x="15" y="7"/>
                    <a:pt x="11" y="13"/>
                    <a:pt x="35" y="15"/>
                  </a:cubicBezTo>
                  <a:cubicBezTo>
                    <a:pt x="35" y="15"/>
                    <a:pt x="9" y="16"/>
                    <a:pt x="5" y="8"/>
                  </a:cubicBezTo>
                  <a:cubicBezTo>
                    <a:pt x="0" y="0"/>
                    <a:pt x="11" y="2"/>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7" name="Freeform 131">
              <a:extLst>
                <a:ext uri="{FF2B5EF4-FFF2-40B4-BE49-F238E27FC236}">
                  <a16:creationId xmlns:a16="http://schemas.microsoft.com/office/drawing/2014/main" id="{F9D6EA01-B25B-4E4E-A7AA-6FDE5C079F20}"/>
                </a:ext>
              </a:extLst>
            </p:cNvPr>
            <p:cNvSpPr>
              <a:spLocks/>
            </p:cNvSpPr>
            <p:nvPr/>
          </p:nvSpPr>
          <p:spPr bwMode="auto">
            <a:xfrm>
              <a:off x="1358900" y="1403350"/>
              <a:ext cx="49213" cy="26988"/>
            </a:xfrm>
            <a:custGeom>
              <a:avLst/>
              <a:gdLst>
                <a:gd name="T0" fmla="*/ 10 w 31"/>
                <a:gd name="T1" fmla="*/ 0 h 17"/>
                <a:gd name="T2" fmla="*/ 0 w 31"/>
                <a:gd name="T3" fmla="*/ 17 h 17"/>
                <a:gd name="T4" fmla="*/ 24 w 31"/>
                <a:gd name="T5" fmla="*/ 7 h 17"/>
                <a:gd name="T6" fmla="*/ 10 w 31"/>
                <a:gd name="T7" fmla="*/ 0 h 17"/>
              </a:gdLst>
              <a:ahLst/>
              <a:cxnLst>
                <a:cxn ang="0">
                  <a:pos x="T0" y="T1"/>
                </a:cxn>
                <a:cxn ang="0">
                  <a:pos x="T2" y="T3"/>
                </a:cxn>
                <a:cxn ang="0">
                  <a:pos x="T4" y="T5"/>
                </a:cxn>
                <a:cxn ang="0">
                  <a:pos x="T6" y="T7"/>
                </a:cxn>
              </a:cxnLst>
              <a:rect l="0" t="0" r="r" b="b"/>
              <a:pathLst>
                <a:path w="31" h="17">
                  <a:moveTo>
                    <a:pt x="10" y="0"/>
                  </a:moveTo>
                  <a:cubicBezTo>
                    <a:pt x="10" y="0"/>
                    <a:pt x="31" y="10"/>
                    <a:pt x="0" y="17"/>
                  </a:cubicBezTo>
                  <a:cubicBezTo>
                    <a:pt x="0" y="17"/>
                    <a:pt x="23" y="13"/>
                    <a:pt x="24" y="7"/>
                  </a:cubicBezTo>
                  <a:cubicBezTo>
                    <a:pt x="25" y="1"/>
                    <a:pt x="10"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8" name="Freeform 132">
              <a:extLst>
                <a:ext uri="{FF2B5EF4-FFF2-40B4-BE49-F238E27FC236}">
                  <a16:creationId xmlns:a16="http://schemas.microsoft.com/office/drawing/2014/main" id="{56EF8F83-68F4-496C-8CB7-ED28E00BA26C}"/>
                </a:ext>
              </a:extLst>
            </p:cNvPr>
            <p:cNvSpPr>
              <a:spLocks/>
            </p:cNvSpPr>
            <p:nvPr/>
          </p:nvSpPr>
          <p:spPr bwMode="auto">
            <a:xfrm>
              <a:off x="1169988" y="1398588"/>
              <a:ext cx="38100" cy="31750"/>
            </a:xfrm>
            <a:custGeom>
              <a:avLst/>
              <a:gdLst>
                <a:gd name="T0" fmla="*/ 4 w 24"/>
                <a:gd name="T1" fmla="*/ 7 h 20"/>
                <a:gd name="T2" fmla="*/ 24 w 24"/>
                <a:gd name="T3" fmla="*/ 20 h 20"/>
                <a:gd name="T4" fmla="*/ 9 w 24"/>
                <a:gd name="T5" fmla="*/ 7 h 20"/>
                <a:gd name="T6" fmla="*/ 20 w 24"/>
                <a:gd name="T7" fmla="*/ 4 h 20"/>
                <a:gd name="T8" fmla="*/ 20 w 24"/>
                <a:gd name="T9" fmla="*/ 0 h 20"/>
                <a:gd name="T10" fmla="*/ 4 w 24"/>
                <a:gd name="T11" fmla="*/ 7 h 20"/>
              </a:gdLst>
              <a:ahLst/>
              <a:cxnLst>
                <a:cxn ang="0">
                  <a:pos x="T0" y="T1"/>
                </a:cxn>
                <a:cxn ang="0">
                  <a:pos x="T2" y="T3"/>
                </a:cxn>
                <a:cxn ang="0">
                  <a:pos x="T4" y="T5"/>
                </a:cxn>
                <a:cxn ang="0">
                  <a:pos x="T6" y="T7"/>
                </a:cxn>
                <a:cxn ang="0">
                  <a:pos x="T8" y="T9"/>
                </a:cxn>
                <a:cxn ang="0">
                  <a:pos x="T10" y="T11"/>
                </a:cxn>
              </a:cxnLst>
              <a:rect l="0" t="0" r="r" b="b"/>
              <a:pathLst>
                <a:path w="24" h="20">
                  <a:moveTo>
                    <a:pt x="4" y="7"/>
                  </a:moveTo>
                  <a:cubicBezTo>
                    <a:pt x="4" y="7"/>
                    <a:pt x="0" y="17"/>
                    <a:pt x="24" y="20"/>
                  </a:cubicBezTo>
                  <a:cubicBezTo>
                    <a:pt x="24" y="20"/>
                    <a:pt x="8" y="17"/>
                    <a:pt x="9" y="7"/>
                  </a:cubicBezTo>
                  <a:cubicBezTo>
                    <a:pt x="9" y="7"/>
                    <a:pt x="16" y="3"/>
                    <a:pt x="20" y="4"/>
                  </a:cubicBezTo>
                  <a:cubicBezTo>
                    <a:pt x="20" y="0"/>
                    <a:pt x="20" y="0"/>
                    <a:pt x="20" y="0"/>
                  </a:cubicBezTo>
                  <a:cubicBezTo>
                    <a:pt x="20" y="0"/>
                    <a:pt x="12" y="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9" name="Freeform 133">
              <a:extLst>
                <a:ext uri="{FF2B5EF4-FFF2-40B4-BE49-F238E27FC236}">
                  <a16:creationId xmlns:a16="http://schemas.microsoft.com/office/drawing/2014/main" id="{725054D5-D90F-4EBB-B7C2-EBF8FCEC4F30}"/>
                </a:ext>
              </a:extLst>
            </p:cNvPr>
            <p:cNvSpPr>
              <a:spLocks/>
            </p:cNvSpPr>
            <p:nvPr/>
          </p:nvSpPr>
          <p:spPr bwMode="auto">
            <a:xfrm>
              <a:off x="1171575" y="1417638"/>
              <a:ext cx="96838" cy="155575"/>
            </a:xfrm>
            <a:custGeom>
              <a:avLst/>
              <a:gdLst>
                <a:gd name="T0" fmla="*/ 5 w 60"/>
                <a:gd name="T1" fmla="*/ 3 h 96"/>
                <a:gd name="T2" fmla="*/ 2 w 60"/>
                <a:gd name="T3" fmla="*/ 3 h 96"/>
                <a:gd name="T4" fmla="*/ 3 w 60"/>
                <a:gd name="T5" fmla="*/ 35 h 96"/>
                <a:gd name="T6" fmla="*/ 3 w 60"/>
                <a:gd name="T7" fmla="*/ 85 h 96"/>
                <a:gd name="T8" fmla="*/ 33 w 60"/>
                <a:gd name="T9" fmla="*/ 89 h 96"/>
                <a:gd name="T10" fmla="*/ 40 w 60"/>
                <a:gd name="T11" fmla="*/ 63 h 96"/>
                <a:gd name="T12" fmla="*/ 45 w 60"/>
                <a:gd name="T13" fmla="*/ 43 h 96"/>
                <a:gd name="T14" fmla="*/ 52 w 60"/>
                <a:gd name="T15" fmla="*/ 23 h 96"/>
                <a:gd name="T16" fmla="*/ 51 w 60"/>
                <a:gd name="T17" fmla="*/ 15 h 96"/>
                <a:gd name="T18" fmla="*/ 5 w 60"/>
                <a:gd name="T19"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6">
                  <a:moveTo>
                    <a:pt x="5" y="3"/>
                  </a:moveTo>
                  <a:cubicBezTo>
                    <a:pt x="5" y="3"/>
                    <a:pt x="2" y="0"/>
                    <a:pt x="2" y="3"/>
                  </a:cubicBezTo>
                  <a:cubicBezTo>
                    <a:pt x="2" y="7"/>
                    <a:pt x="5" y="12"/>
                    <a:pt x="3" y="35"/>
                  </a:cubicBezTo>
                  <a:cubicBezTo>
                    <a:pt x="2" y="58"/>
                    <a:pt x="0" y="82"/>
                    <a:pt x="3" y="85"/>
                  </a:cubicBezTo>
                  <a:cubicBezTo>
                    <a:pt x="6" y="89"/>
                    <a:pt x="29" y="96"/>
                    <a:pt x="33" y="89"/>
                  </a:cubicBezTo>
                  <a:cubicBezTo>
                    <a:pt x="37" y="82"/>
                    <a:pt x="34" y="74"/>
                    <a:pt x="40" y="63"/>
                  </a:cubicBezTo>
                  <a:cubicBezTo>
                    <a:pt x="45" y="51"/>
                    <a:pt x="30" y="57"/>
                    <a:pt x="45" y="43"/>
                  </a:cubicBezTo>
                  <a:cubicBezTo>
                    <a:pt x="60" y="29"/>
                    <a:pt x="44" y="36"/>
                    <a:pt x="52" y="23"/>
                  </a:cubicBezTo>
                  <a:cubicBezTo>
                    <a:pt x="60" y="10"/>
                    <a:pt x="57" y="15"/>
                    <a:pt x="51" y="15"/>
                  </a:cubicBezTo>
                  <a:cubicBezTo>
                    <a:pt x="44" y="15"/>
                    <a:pt x="22" y="1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0" name="Freeform 134">
              <a:extLst>
                <a:ext uri="{FF2B5EF4-FFF2-40B4-BE49-F238E27FC236}">
                  <a16:creationId xmlns:a16="http://schemas.microsoft.com/office/drawing/2014/main" id="{C7103FE0-2A58-478F-978D-5094776BF561}"/>
                </a:ext>
              </a:extLst>
            </p:cNvPr>
            <p:cNvSpPr>
              <a:spLocks/>
            </p:cNvSpPr>
            <p:nvPr/>
          </p:nvSpPr>
          <p:spPr bwMode="auto">
            <a:xfrm>
              <a:off x="1301750" y="1420813"/>
              <a:ext cx="98425" cy="127000"/>
            </a:xfrm>
            <a:custGeom>
              <a:avLst/>
              <a:gdLst>
                <a:gd name="T0" fmla="*/ 7 w 61"/>
                <a:gd name="T1" fmla="*/ 13 h 79"/>
                <a:gd name="T2" fmla="*/ 60 w 61"/>
                <a:gd name="T3" fmla="*/ 0 h 79"/>
                <a:gd name="T4" fmla="*/ 61 w 61"/>
                <a:gd name="T5" fmla="*/ 78 h 79"/>
                <a:gd name="T6" fmla="*/ 47 w 61"/>
                <a:gd name="T7" fmla="*/ 61 h 79"/>
                <a:gd name="T8" fmla="*/ 27 w 61"/>
                <a:gd name="T9" fmla="*/ 31 h 79"/>
                <a:gd name="T10" fmla="*/ 7 w 61"/>
                <a:gd name="T11" fmla="*/ 13 h 79"/>
              </a:gdLst>
              <a:ahLst/>
              <a:cxnLst>
                <a:cxn ang="0">
                  <a:pos x="T0" y="T1"/>
                </a:cxn>
                <a:cxn ang="0">
                  <a:pos x="T2" y="T3"/>
                </a:cxn>
                <a:cxn ang="0">
                  <a:pos x="T4" y="T5"/>
                </a:cxn>
                <a:cxn ang="0">
                  <a:pos x="T6" y="T7"/>
                </a:cxn>
                <a:cxn ang="0">
                  <a:pos x="T8" y="T9"/>
                </a:cxn>
                <a:cxn ang="0">
                  <a:pos x="T10" y="T11"/>
                </a:cxn>
              </a:cxnLst>
              <a:rect l="0" t="0" r="r" b="b"/>
              <a:pathLst>
                <a:path w="61" h="79">
                  <a:moveTo>
                    <a:pt x="7" y="13"/>
                  </a:moveTo>
                  <a:cubicBezTo>
                    <a:pt x="7" y="13"/>
                    <a:pt x="49" y="15"/>
                    <a:pt x="60" y="0"/>
                  </a:cubicBezTo>
                  <a:cubicBezTo>
                    <a:pt x="61" y="78"/>
                    <a:pt x="61" y="78"/>
                    <a:pt x="61" y="78"/>
                  </a:cubicBezTo>
                  <a:cubicBezTo>
                    <a:pt x="61" y="78"/>
                    <a:pt x="52" y="79"/>
                    <a:pt x="47" y="61"/>
                  </a:cubicBezTo>
                  <a:cubicBezTo>
                    <a:pt x="42" y="44"/>
                    <a:pt x="41" y="33"/>
                    <a:pt x="27" y="31"/>
                  </a:cubicBezTo>
                  <a:cubicBezTo>
                    <a:pt x="13" y="29"/>
                    <a:pt x="0" y="19"/>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1" name="Freeform 135">
              <a:extLst>
                <a:ext uri="{FF2B5EF4-FFF2-40B4-BE49-F238E27FC236}">
                  <a16:creationId xmlns:a16="http://schemas.microsoft.com/office/drawing/2014/main" id="{B561B9C1-1C0E-4203-91D6-B4E45088B1C4}"/>
                </a:ext>
              </a:extLst>
            </p:cNvPr>
            <p:cNvSpPr>
              <a:spLocks/>
            </p:cNvSpPr>
            <p:nvPr/>
          </p:nvSpPr>
          <p:spPr bwMode="auto">
            <a:xfrm>
              <a:off x="1373188" y="1719263"/>
              <a:ext cx="133350" cy="374650"/>
            </a:xfrm>
            <a:custGeom>
              <a:avLst/>
              <a:gdLst>
                <a:gd name="T0" fmla="*/ 69 w 83"/>
                <a:gd name="T1" fmla="*/ 0 h 233"/>
                <a:gd name="T2" fmla="*/ 42 w 83"/>
                <a:gd name="T3" fmla="*/ 15 h 233"/>
                <a:gd name="T4" fmla="*/ 12 w 83"/>
                <a:gd name="T5" fmla="*/ 64 h 233"/>
                <a:gd name="T6" fmla="*/ 38 w 83"/>
                <a:gd name="T7" fmla="*/ 122 h 233"/>
                <a:gd name="T8" fmla="*/ 34 w 83"/>
                <a:gd name="T9" fmla="*/ 197 h 233"/>
                <a:gd name="T10" fmla="*/ 81 w 83"/>
                <a:gd name="T11" fmla="*/ 69 h 233"/>
                <a:gd name="T12" fmla="*/ 69 w 83"/>
                <a:gd name="T13" fmla="*/ 0 h 233"/>
              </a:gdLst>
              <a:ahLst/>
              <a:cxnLst>
                <a:cxn ang="0">
                  <a:pos x="T0" y="T1"/>
                </a:cxn>
                <a:cxn ang="0">
                  <a:pos x="T2" y="T3"/>
                </a:cxn>
                <a:cxn ang="0">
                  <a:pos x="T4" y="T5"/>
                </a:cxn>
                <a:cxn ang="0">
                  <a:pos x="T6" y="T7"/>
                </a:cxn>
                <a:cxn ang="0">
                  <a:pos x="T8" y="T9"/>
                </a:cxn>
                <a:cxn ang="0">
                  <a:pos x="T10" y="T11"/>
                </a:cxn>
                <a:cxn ang="0">
                  <a:pos x="T12" y="T13"/>
                </a:cxn>
              </a:cxnLst>
              <a:rect l="0" t="0" r="r" b="b"/>
              <a:pathLst>
                <a:path w="83" h="233">
                  <a:moveTo>
                    <a:pt x="69" y="0"/>
                  </a:moveTo>
                  <a:cubicBezTo>
                    <a:pt x="69" y="0"/>
                    <a:pt x="70" y="11"/>
                    <a:pt x="42" y="15"/>
                  </a:cubicBezTo>
                  <a:cubicBezTo>
                    <a:pt x="13" y="19"/>
                    <a:pt x="11" y="36"/>
                    <a:pt x="12" y="64"/>
                  </a:cubicBezTo>
                  <a:cubicBezTo>
                    <a:pt x="14" y="93"/>
                    <a:pt x="43" y="88"/>
                    <a:pt x="38" y="122"/>
                  </a:cubicBezTo>
                  <a:cubicBezTo>
                    <a:pt x="33" y="157"/>
                    <a:pt x="0" y="160"/>
                    <a:pt x="34" y="197"/>
                  </a:cubicBezTo>
                  <a:cubicBezTo>
                    <a:pt x="68" y="233"/>
                    <a:pt x="78" y="69"/>
                    <a:pt x="81" y="69"/>
                  </a:cubicBezTo>
                  <a:cubicBezTo>
                    <a:pt x="83" y="69"/>
                    <a:pt x="75" y="83"/>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92" name="Freeform 136">
            <a:extLst>
              <a:ext uri="{FF2B5EF4-FFF2-40B4-BE49-F238E27FC236}">
                <a16:creationId xmlns:a16="http://schemas.microsoft.com/office/drawing/2014/main" id="{CA467123-FA11-46B6-BA77-45C68CEF1B75}"/>
              </a:ext>
            </a:extLst>
          </p:cNvPr>
          <p:cNvSpPr>
            <a:spLocks/>
          </p:cNvSpPr>
          <p:nvPr/>
        </p:nvSpPr>
        <p:spPr bwMode="auto">
          <a:xfrm>
            <a:off x="4878526" y="2900548"/>
            <a:ext cx="1118282" cy="1511442"/>
          </a:xfrm>
          <a:custGeom>
            <a:avLst/>
            <a:gdLst>
              <a:gd name="T0" fmla="*/ 8 w 594"/>
              <a:gd name="T1" fmla="*/ 547 h 804"/>
              <a:gd name="T2" fmla="*/ 273 w 594"/>
              <a:gd name="T3" fmla="*/ 794 h 804"/>
              <a:gd name="T4" fmla="*/ 582 w 594"/>
              <a:gd name="T5" fmla="*/ 563 h 804"/>
              <a:gd name="T6" fmla="*/ 282 w 594"/>
              <a:gd name="T7" fmla="*/ 0 h 804"/>
              <a:gd name="T8" fmla="*/ 8 w 594"/>
              <a:gd name="T9" fmla="*/ 547 h 804"/>
            </a:gdLst>
            <a:ahLst/>
            <a:cxnLst>
              <a:cxn ang="0">
                <a:pos x="T0" y="T1"/>
              </a:cxn>
              <a:cxn ang="0">
                <a:pos x="T2" y="T3"/>
              </a:cxn>
              <a:cxn ang="0">
                <a:pos x="T4" y="T5"/>
              </a:cxn>
              <a:cxn ang="0">
                <a:pos x="T6" y="T7"/>
              </a:cxn>
              <a:cxn ang="0">
                <a:pos x="T8" y="T9"/>
              </a:cxn>
            </a:cxnLst>
            <a:rect l="0" t="0" r="r" b="b"/>
            <a:pathLst>
              <a:path w="594" h="804">
                <a:moveTo>
                  <a:pt x="8" y="547"/>
                </a:moveTo>
                <a:cubicBezTo>
                  <a:pt x="0" y="674"/>
                  <a:pt x="111" y="785"/>
                  <a:pt x="273" y="794"/>
                </a:cubicBezTo>
                <a:cubicBezTo>
                  <a:pt x="435" y="804"/>
                  <a:pt x="574" y="690"/>
                  <a:pt x="582" y="563"/>
                </a:cubicBezTo>
                <a:cubicBezTo>
                  <a:pt x="594" y="362"/>
                  <a:pt x="270" y="187"/>
                  <a:pt x="282" y="0"/>
                </a:cubicBezTo>
                <a:cubicBezTo>
                  <a:pt x="267" y="248"/>
                  <a:pt x="15" y="420"/>
                  <a:pt x="8" y="54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3" name="Text Box 10">
            <a:extLst>
              <a:ext uri="{FF2B5EF4-FFF2-40B4-BE49-F238E27FC236}">
                <a16:creationId xmlns:a16="http://schemas.microsoft.com/office/drawing/2014/main" id="{D76575AC-F466-4DC3-AA27-0846A94E7A85}"/>
              </a:ext>
            </a:extLst>
          </p:cNvPr>
          <p:cNvSpPr txBox="1">
            <a:spLocks noChangeArrowheads="1"/>
          </p:cNvSpPr>
          <p:nvPr/>
        </p:nvSpPr>
        <p:spPr bwMode="auto">
          <a:xfrm>
            <a:off x="4077842" y="2209248"/>
            <a:ext cx="1182292" cy="230832"/>
          </a:xfrm>
          <a:prstGeom prst="rect">
            <a:avLst/>
          </a:prstGeom>
          <a:noFill/>
          <a:ln w="9525">
            <a:noFill/>
            <a:miter lim="800000"/>
            <a:headEnd/>
            <a:tailEnd/>
          </a:ln>
        </p:spPr>
        <p:txBody>
          <a:bodyPr wrap="square" lIns="45720" tIns="22860" rIns="45720" bIns="22860">
            <a:spAutoFit/>
          </a:bodyPr>
          <a:lstStyle/>
          <a:p>
            <a:pPr algn="ctr" defTabSz="1088232"/>
            <a:r>
              <a:rPr lang="en-US" altLang="zh-CN" sz="1200" dirty="0" err="1">
                <a:solidFill>
                  <a:schemeClr val="bg1"/>
                </a:solidFill>
                <a:latin typeface="+mj-lt"/>
                <a:ea typeface="Open Sans Light" pitchFamily="34" charset="0"/>
                <a:cs typeface="Open Sans Light" pitchFamily="34" charset="0"/>
              </a:rPr>
              <a:t>xxxxxxxxxx</a:t>
            </a:r>
            <a:endParaRPr lang="en-US" sz="1000" dirty="0">
              <a:solidFill>
                <a:schemeClr val="bg1"/>
              </a:solidFill>
              <a:latin typeface="+mj-lt"/>
              <a:ea typeface="Open Sans Light" pitchFamily="34" charset="0"/>
              <a:cs typeface="Open Sans Light" pitchFamily="34" charset="0"/>
            </a:endParaRPr>
          </a:p>
        </p:txBody>
      </p:sp>
      <p:sp>
        <p:nvSpPr>
          <p:cNvPr id="94" name="Text Box 10">
            <a:extLst>
              <a:ext uri="{FF2B5EF4-FFF2-40B4-BE49-F238E27FC236}">
                <a16:creationId xmlns:a16="http://schemas.microsoft.com/office/drawing/2014/main" id="{63ACDC87-9EF4-4F44-8EED-13A8906F5AA1}"/>
              </a:ext>
            </a:extLst>
          </p:cNvPr>
          <p:cNvSpPr txBox="1">
            <a:spLocks noChangeArrowheads="1"/>
          </p:cNvSpPr>
          <p:nvPr/>
        </p:nvSpPr>
        <p:spPr bwMode="auto">
          <a:xfrm>
            <a:off x="4973143" y="3730272"/>
            <a:ext cx="929049" cy="415498"/>
          </a:xfrm>
          <a:prstGeom prst="rect">
            <a:avLst/>
          </a:prstGeom>
          <a:noFill/>
          <a:ln w="9525">
            <a:noFill/>
            <a:miter lim="800000"/>
            <a:headEnd/>
            <a:tailEnd/>
          </a:ln>
        </p:spPr>
        <p:txBody>
          <a:bodyPr wrap="square" lIns="45720" tIns="22860" rIns="45720" bIns="22860">
            <a:spAutoFit/>
          </a:bodyPr>
          <a:lstStyle/>
          <a:p>
            <a:pPr algn="ctr" defTabSz="1088232"/>
            <a:r>
              <a:rPr lang="en-US">
                <a:solidFill>
                  <a:schemeClr val="bg1"/>
                </a:solidFill>
                <a:latin typeface="+mj-lt"/>
                <a:ea typeface="Open Sans Light" pitchFamily="34" charset="0"/>
                <a:cs typeface="Open Sans Light" pitchFamily="34" charset="0"/>
              </a:rPr>
              <a:t>60%</a:t>
            </a:r>
            <a:endParaRPr lang="en-US" sz="1200">
              <a:solidFill>
                <a:schemeClr val="bg1"/>
              </a:solidFill>
              <a:latin typeface="+mj-lt"/>
              <a:ea typeface="Open Sans Light" pitchFamily="34" charset="0"/>
              <a:cs typeface="Open Sans Light" pitchFamily="34" charset="0"/>
            </a:endParaRPr>
          </a:p>
        </p:txBody>
      </p:sp>
      <p:sp>
        <p:nvSpPr>
          <p:cNvPr id="95" name="Text Box 10">
            <a:extLst>
              <a:ext uri="{FF2B5EF4-FFF2-40B4-BE49-F238E27FC236}">
                <a16:creationId xmlns:a16="http://schemas.microsoft.com/office/drawing/2014/main" id="{F1EE5851-1E9C-4C86-B522-C05B4B0CE1B2}"/>
              </a:ext>
            </a:extLst>
          </p:cNvPr>
          <p:cNvSpPr txBox="1">
            <a:spLocks noChangeArrowheads="1"/>
          </p:cNvSpPr>
          <p:nvPr/>
        </p:nvSpPr>
        <p:spPr bwMode="auto">
          <a:xfrm>
            <a:off x="3639226" y="4822358"/>
            <a:ext cx="2371140"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2"/>
                </a:solidFill>
                <a:ea typeface="Open Sans" pitchFamily="34" charset="0"/>
                <a:cs typeface="Open Sans" pitchFamily="34" charset="0"/>
              </a:rPr>
              <a:t>Xxxxxxxxx</a:t>
            </a:r>
            <a:endParaRPr lang="en-US" altLang="zh-CN" sz="1600" b="1" dirty="0">
              <a:solidFill>
                <a:schemeClr val="accent2"/>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r>
              <a:rPr lang="en-US" altLang="zh-CN" sz="1200" dirty="0">
                <a:solidFill>
                  <a:schemeClr val="bg1">
                    <a:lumMod val="65000"/>
                  </a:schemeClr>
                </a:solidFill>
                <a:ea typeface="Open Sans" pitchFamily="34" charset="0"/>
                <a:cs typeface="Open Sans" pitchFamily="34" charset="0"/>
              </a:rPr>
              <a:t>.</a:t>
            </a:r>
          </a:p>
        </p:txBody>
      </p:sp>
      <p:grpSp>
        <p:nvGrpSpPr>
          <p:cNvPr id="97" name="Group 143">
            <a:extLst>
              <a:ext uri="{FF2B5EF4-FFF2-40B4-BE49-F238E27FC236}">
                <a16:creationId xmlns:a16="http://schemas.microsoft.com/office/drawing/2014/main" id="{42F36331-6EAD-4890-BE64-661293BBB780}"/>
              </a:ext>
            </a:extLst>
          </p:cNvPr>
          <p:cNvGrpSpPr/>
          <p:nvPr/>
        </p:nvGrpSpPr>
        <p:grpSpPr>
          <a:xfrm>
            <a:off x="6653343" y="1089942"/>
            <a:ext cx="1924133" cy="1725769"/>
            <a:chOff x="523875" y="1042988"/>
            <a:chExt cx="1539875" cy="1381125"/>
          </a:xfrm>
          <a:solidFill>
            <a:schemeClr val="bg2">
              <a:lumMod val="50000"/>
            </a:schemeClr>
          </a:solidFill>
        </p:grpSpPr>
        <p:sp>
          <p:nvSpPr>
            <p:cNvPr id="98" name="Freeform 148">
              <a:extLst>
                <a:ext uri="{FF2B5EF4-FFF2-40B4-BE49-F238E27FC236}">
                  <a16:creationId xmlns:a16="http://schemas.microsoft.com/office/drawing/2014/main" id="{18A74700-42EE-4BF9-A20A-67D04A47F44E}"/>
                </a:ext>
              </a:extLst>
            </p:cNvPr>
            <p:cNvSpPr>
              <a:spLocks/>
            </p:cNvSpPr>
            <p:nvPr/>
          </p:nvSpPr>
          <p:spPr bwMode="auto">
            <a:xfrm>
              <a:off x="523875" y="1046163"/>
              <a:ext cx="1539875" cy="1374775"/>
            </a:xfrm>
            <a:custGeom>
              <a:avLst/>
              <a:gdLst>
                <a:gd name="T0" fmla="*/ 7 w 956"/>
                <a:gd name="T1" fmla="*/ 734 h 854"/>
                <a:gd name="T2" fmla="*/ 76 w 956"/>
                <a:gd name="T3" fmla="*/ 705 h 854"/>
                <a:gd name="T4" fmla="*/ 353 w 956"/>
                <a:gd name="T5" fmla="*/ 716 h 854"/>
                <a:gd name="T6" fmla="*/ 797 w 956"/>
                <a:gd name="T7" fmla="*/ 766 h 854"/>
                <a:gd name="T8" fmla="*/ 956 w 956"/>
                <a:gd name="T9" fmla="*/ 821 h 854"/>
                <a:gd name="T10" fmla="*/ 883 w 956"/>
                <a:gd name="T11" fmla="*/ 583 h 854"/>
                <a:gd name="T12" fmla="*/ 668 w 956"/>
                <a:gd name="T13" fmla="*/ 516 h 854"/>
                <a:gd name="T14" fmla="*/ 597 w 956"/>
                <a:gd name="T15" fmla="*/ 410 h 854"/>
                <a:gd name="T16" fmla="*/ 559 w 956"/>
                <a:gd name="T17" fmla="*/ 339 h 854"/>
                <a:gd name="T18" fmla="*/ 544 w 956"/>
                <a:gd name="T19" fmla="*/ 311 h 854"/>
                <a:gd name="T20" fmla="*/ 526 w 956"/>
                <a:gd name="T21" fmla="*/ 216 h 854"/>
                <a:gd name="T22" fmla="*/ 536 w 956"/>
                <a:gd name="T23" fmla="*/ 196 h 854"/>
                <a:gd name="T24" fmla="*/ 510 w 956"/>
                <a:gd name="T25" fmla="*/ 166 h 854"/>
                <a:gd name="T26" fmla="*/ 517 w 956"/>
                <a:gd name="T27" fmla="*/ 94 h 854"/>
                <a:gd name="T28" fmla="*/ 533 w 956"/>
                <a:gd name="T29" fmla="*/ 88 h 854"/>
                <a:gd name="T30" fmla="*/ 664 w 956"/>
                <a:gd name="T31" fmla="*/ 86 h 854"/>
                <a:gd name="T32" fmla="*/ 642 w 956"/>
                <a:gd name="T33" fmla="*/ 8 h 854"/>
                <a:gd name="T34" fmla="*/ 525 w 956"/>
                <a:gd name="T35" fmla="*/ 19 h 854"/>
                <a:gd name="T36" fmla="*/ 471 w 956"/>
                <a:gd name="T37" fmla="*/ 1 h 854"/>
                <a:gd name="T38" fmla="*/ 415 w 956"/>
                <a:gd name="T39" fmla="*/ 22 h 854"/>
                <a:gd name="T40" fmla="*/ 293 w 956"/>
                <a:gd name="T41" fmla="*/ 19 h 854"/>
                <a:gd name="T42" fmla="*/ 279 w 956"/>
                <a:gd name="T43" fmla="*/ 96 h 854"/>
                <a:gd name="T44" fmla="*/ 414 w 956"/>
                <a:gd name="T45" fmla="*/ 92 h 854"/>
                <a:gd name="T46" fmla="*/ 431 w 956"/>
                <a:gd name="T47" fmla="*/ 98 h 854"/>
                <a:gd name="T48" fmla="*/ 435 w 956"/>
                <a:gd name="T49" fmla="*/ 169 h 854"/>
                <a:gd name="T50" fmla="*/ 411 w 956"/>
                <a:gd name="T51" fmla="*/ 196 h 854"/>
                <a:gd name="T52" fmla="*/ 421 w 956"/>
                <a:gd name="T53" fmla="*/ 205 h 854"/>
                <a:gd name="T54" fmla="*/ 402 w 956"/>
                <a:gd name="T55" fmla="*/ 234 h 854"/>
                <a:gd name="T56" fmla="*/ 395 w 956"/>
                <a:gd name="T57" fmla="*/ 320 h 854"/>
                <a:gd name="T58" fmla="*/ 391 w 956"/>
                <a:gd name="T59" fmla="*/ 340 h 854"/>
                <a:gd name="T60" fmla="*/ 335 w 956"/>
                <a:gd name="T61" fmla="*/ 395 h 854"/>
                <a:gd name="T62" fmla="*/ 346 w 956"/>
                <a:gd name="T63" fmla="*/ 468 h 854"/>
                <a:gd name="T64" fmla="*/ 288 w 956"/>
                <a:gd name="T65" fmla="*/ 515 h 854"/>
                <a:gd name="T66" fmla="*/ 46 w 956"/>
                <a:gd name="T67" fmla="*/ 503 h 854"/>
                <a:gd name="T68" fmla="*/ 10 w 956"/>
                <a:gd name="T69" fmla="*/ 480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6" h="854">
                  <a:moveTo>
                    <a:pt x="10" y="480"/>
                  </a:moveTo>
                  <a:cubicBezTo>
                    <a:pt x="10" y="480"/>
                    <a:pt x="0" y="672"/>
                    <a:pt x="7" y="734"/>
                  </a:cubicBezTo>
                  <a:cubicBezTo>
                    <a:pt x="7" y="734"/>
                    <a:pt x="21" y="743"/>
                    <a:pt x="33" y="736"/>
                  </a:cubicBezTo>
                  <a:cubicBezTo>
                    <a:pt x="45" y="728"/>
                    <a:pt x="36" y="708"/>
                    <a:pt x="76" y="705"/>
                  </a:cubicBezTo>
                  <a:cubicBezTo>
                    <a:pt x="115" y="702"/>
                    <a:pt x="265" y="701"/>
                    <a:pt x="265" y="701"/>
                  </a:cubicBezTo>
                  <a:cubicBezTo>
                    <a:pt x="265" y="701"/>
                    <a:pt x="313" y="699"/>
                    <a:pt x="353" y="716"/>
                  </a:cubicBezTo>
                  <a:cubicBezTo>
                    <a:pt x="392" y="733"/>
                    <a:pt x="468" y="772"/>
                    <a:pt x="595" y="722"/>
                  </a:cubicBezTo>
                  <a:cubicBezTo>
                    <a:pt x="723" y="672"/>
                    <a:pt x="789" y="699"/>
                    <a:pt x="797" y="766"/>
                  </a:cubicBezTo>
                  <a:cubicBezTo>
                    <a:pt x="804" y="833"/>
                    <a:pt x="798" y="821"/>
                    <a:pt x="824" y="828"/>
                  </a:cubicBezTo>
                  <a:cubicBezTo>
                    <a:pt x="850" y="836"/>
                    <a:pt x="908" y="854"/>
                    <a:pt x="956" y="821"/>
                  </a:cubicBezTo>
                  <a:cubicBezTo>
                    <a:pt x="955" y="739"/>
                    <a:pt x="955" y="739"/>
                    <a:pt x="955" y="739"/>
                  </a:cubicBezTo>
                  <a:cubicBezTo>
                    <a:pt x="955" y="739"/>
                    <a:pt x="953" y="642"/>
                    <a:pt x="883" y="583"/>
                  </a:cubicBezTo>
                  <a:cubicBezTo>
                    <a:pt x="814" y="523"/>
                    <a:pt x="753" y="522"/>
                    <a:pt x="736" y="520"/>
                  </a:cubicBezTo>
                  <a:cubicBezTo>
                    <a:pt x="720" y="519"/>
                    <a:pt x="668" y="516"/>
                    <a:pt x="668" y="516"/>
                  </a:cubicBezTo>
                  <a:cubicBezTo>
                    <a:pt x="668" y="516"/>
                    <a:pt x="604" y="513"/>
                    <a:pt x="601" y="466"/>
                  </a:cubicBezTo>
                  <a:cubicBezTo>
                    <a:pt x="598" y="419"/>
                    <a:pt x="597" y="410"/>
                    <a:pt x="597" y="410"/>
                  </a:cubicBezTo>
                  <a:cubicBezTo>
                    <a:pt x="597" y="410"/>
                    <a:pt x="614" y="404"/>
                    <a:pt x="614" y="389"/>
                  </a:cubicBezTo>
                  <a:cubicBezTo>
                    <a:pt x="614" y="373"/>
                    <a:pt x="618" y="346"/>
                    <a:pt x="559" y="339"/>
                  </a:cubicBezTo>
                  <a:cubicBezTo>
                    <a:pt x="557" y="325"/>
                    <a:pt x="557" y="325"/>
                    <a:pt x="557" y="325"/>
                  </a:cubicBezTo>
                  <a:cubicBezTo>
                    <a:pt x="544" y="311"/>
                    <a:pt x="544" y="311"/>
                    <a:pt x="544" y="311"/>
                  </a:cubicBezTo>
                  <a:cubicBezTo>
                    <a:pt x="544" y="228"/>
                    <a:pt x="544" y="228"/>
                    <a:pt x="544" y="228"/>
                  </a:cubicBezTo>
                  <a:cubicBezTo>
                    <a:pt x="544" y="228"/>
                    <a:pt x="541" y="220"/>
                    <a:pt x="526" y="216"/>
                  </a:cubicBezTo>
                  <a:cubicBezTo>
                    <a:pt x="526" y="205"/>
                    <a:pt x="526" y="205"/>
                    <a:pt x="526" y="205"/>
                  </a:cubicBezTo>
                  <a:cubicBezTo>
                    <a:pt x="526" y="205"/>
                    <a:pt x="536" y="205"/>
                    <a:pt x="536" y="196"/>
                  </a:cubicBezTo>
                  <a:cubicBezTo>
                    <a:pt x="536" y="187"/>
                    <a:pt x="535" y="178"/>
                    <a:pt x="535" y="178"/>
                  </a:cubicBezTo>
                  <a:cubicBezTo>
                    <a:pt x="535" y="178"/>
                    <a:pt x="524" y="170"/>
                    <a:pt x="510" y="166"/>
                  </a:cubicBezTo>
                  <a:cubicBezTo>
                    <a:pt x="511" y="101"/>
                    <a:pt x="511" y="101"/>
                    <a:pt x="511" y="101"/>
                  </a:cubicBezTo>
                  <a:cubicBezTo>
                    <a:pt x="511" y="101"/>
                    <a:pt x="514" y="98"/>
                    <a:pt x="517" y="94"/>
                  </a:cubicBezTo>
                  <a:cubicBezTo>
                    <a:pt x="529" y="94"/>
                    <a:pt x="529" y="94"/>
                    <a:pt x="529" y="94"/>
                  </a:cubicBezTo>
                  <a:cubicBezTo>
                    <a:pt x="529" y="94"/>
                    <a:pt x="532" y="92"/>
                    <a:pt x="533" y="88"/>
                  </a:cubicBezTo>
                  <a:cubicBezTo>
                    <a:pt x="649" y="97"/>
                    <a:pt x="649" y="97"/>
                    <a:pt x="649" y="97"/>
                  </a:cubicBezTo>
                  <a:cubicBezTo>
                    <a:pt x="649" y="97"/>
                    <a:pt x="660" y="99"/>
                    <a:pt x="664" y="86"/>
                  </a:cubicBezTo>
                  <a:cubicBezTo>
                    <a:pt x="668" y="74"/>
                    <a:pt x="670" y="39"/>
                    <a:pt x="661" y="14"/>
                  </a:cubicBezTo>
                  <a:cubicBezTo>
                    <a:pt x="661" y="14"/>
                    <a:pt x="660" y="5"/>
                    <a:pt x="642" y="8"/>
                  </a:cubicBezTo>
                  <a:cubicBezTo>
                    <a:pt x="625" y="10"/>
                    <a:pt x="531" y="24"/>
                    <a:pt x="531" y="24"/>
                  </a:cubicBezTo>
                  <a:cubicBezTo>
                    <a:pt x="531" y="24"/>
                    <a:pt x="530" y="19"/>
                    <a:pt x="525" y="19"/>
                  </a:cubicBezTo>
                  <a:cubicBezTo>
                    <a:pt x="519" y="19"/>
                    <a:pt x="514" y="19"/>
                    <a:pt x="514" y="19"/>
                  </a:cubicBezTo>
                  <a:cubicBezTo>
                    <a:pt x="514" y="19"/>
                    <a:pt x="502" y="2"/>
                    <a:pt x="471" y="1"/>
                  </a:cubicBezTo>
                  <a:cubicBezTo>
                    <a:pt x="439" y="0"/>
                    <a:pt x="430" y="21"/>
                    <a:pt x="430" y="21"/>
                  </a:cubicBezTo>
                  <a:cubicBezTo>
                    <a:pt x="415" y="22"/>
                    <a:pt x="415" y="22"/>
                    <a:pt x="415" y="22"/>
                  </a:cubicBezTo>
                  <a:cubicBezTo>
                    <a:pt x="415" y="22"/>
                    <a:pt x="412" y="25"/>
                    <a:pt x="412" y="28"/>
                  </a:cubicBezTo>
                  <a:cubicBezTo>
                    <a:pt x="293" y="19"/>
                    <a:pt x="293" y="19"/>
                    <a:pt x="293" y="19"/>
                  </a:cubicBezTo>
                  <a:cubicBezTo>
                    <a:pt x="293" y="19"/>
                    <a:pt x="281" y="17"/>
                    <a:pt x="278" y="29"/>
                  </a:cubicBezTo>
                  <a:cubicBezTo>
                    <a:pt x="275" y="41"/>
                    <a:pt x="274" y="77"/>
                    <a:pt x="279" y="96"/>
                  </a:cubicBezTo>
                  <a:cubicBezTo>
                    <a:pt x="284" y="116"/>
                    <a:pt x="301" y="110"/>
                    <a:pt x="310" y="108"/>
                  </a:cubicBezTo>
                  <a:cubicBezTo>
                    <a:pt x="320" y="105"/>
                    <a:pt x="414" y="92"/>
                    <a:pt x="414" y="92"/>
                  </a:cubicBezTo>
                  <a:cubicBezTo>
                    <a:pt x="414" y="92"/>
                    <a:pt x="413" y="98"/>
                    <a:pt x="419" y="98"/>
                  </a:cubicBezTo>
                  <a:cubicBezTo>
                    <a:pt x="426" y="98"/>
                    <a:pt x="431" y="98"/>
                    <a:pt x="431" y="98"/>
                  </a:cubicBezTo>
                  <a:cubicBezTo>
                    <a:pt x="431" y="98"/>
                    <a:pt x="433" y="103"/>
                    <a:pt x="435" y="103"/>
                  </a:cubicBezTo>
                  <a:cubicBezTo>
                    <a:pt x="435" y="169"/>
                    <a:pt x="435" y="169"/>
                    <a:pt x="435" y="169"/>
                  </a:cubicBezTo>
                  <a:cubicBezTo>
                    <a:pt x="435" y="169"/>
                    <a:pt x="412" y="169"/>
                    <a:pt x="411" y="179"/>
                  </a:cubicBezTo>
                  <a:cubicBezTo>
                    <a:pt x="411" y="189"/>
                    <a:pt x="411" y="196"/>
                    <a:pt x="411" y="196"/>
                  </a:cubicBezTo>
                  <a:cubicBezTo>
                    <a:pt x="411" y="196"/>
                    <a:pt x="409" y="200"/>
                    <a:pt x="415" y="202"/>
                  </a:cubicBezTo>
                  <a:cubicBezTo>
                    <a:pt x="420" y="204"/>
                    <a:pt x="421" y="205"/>
                    <a:pt x="421" y="205"/>
                  </a:cubicBezTo>
                  <a:cubicBezTo>
                    <a:pt x="421" y="219"/>
                    <a:pt x="421" y="219"/>
                    <a:pt x="421" y="219"/>
                  </a:cubicBezTo>
                  <a:cubicBezTo>
                    <a:pt x="421" y="219"/>
                    <a:pt x="402" y="221"/>
                    <a:pt x="402" y="234"/>
                  </a:cubicBezTo>
                  <a:cubicBezTo>
                    <a:pt x="402" y="247"/>
                    <a:pt x="402" y="317"/>
                    <a:pt x="402" y="317"/>
                  </a:cubicBezTo>
                  <a:cubicBezTo>
                    <a:pt x="395" y="320"/>
                    <a:pt x="395" y="320"/>
                    <a:pt x="395" y="320"/>
                  </a:cubicBezTo>
                  <a:cubicBezTo>
                    <a:pt x="392" y="324"/>
                    <a:pt x="392" y="324"/>
                    <a:pt x="392" y="324"/>
                  </a:cubicBezTo>
                  <a:cubicBezTo>
                    <a:pt x="391" y="340"/>
                    <a:pt x="391" y="340"/>
                    <a:pt x="391" y="340"/>
                  </a:cubicBezTo>
                  <a:cubicBezTo>
                    <a:pt x="391" y="340"/>
                    <a:pt x="335" y="347"/>
                    <a:pt x="335" y="364"/>
                  </a:cubicBezTo>
                  <a:cubicBezTo>
                    <a:pt x="335" y="382"/>
                    <a:pt x="335" y="395"/>
                    <a:pt x="335" y="395"/>
                  </a:cubicBezTo>
                  <a:cubicBezTo>
                    <a:pt x="335" y="395"/>
                    <a:pt x="334" y="402"/>
                    <a:pt x="345" y="407"/>
                  </a:cubicBezTo>
                  <a:cubicBezTo>
                    <a:pt x="346" y="468"/>
                    <a:pt x="346" y="468"/>
                    <a:pt x="346" y="468"/>
                  </a:cubicBezTo>
                  <a:cubicBezTo>
                    <a:pt x="346" y="468"/>
                    <a:pt x="347" y="491"/>
                    <a:pt x="336" y="499"/>
                  </a:cubicBezTo>
                  <a:cubicBezTo>
                    <a:pt x="324" y="508"/>
                    <a:pt x="306" y="515"/>
                    <a:pt x="288" y="515"/>
                  </a:cubicBezTo>
                  <a:cubicBezTo>
                    <a:pt x="270" y="515"/>
                    <a:pt x="73" y="517"/>
                    <a:pt x="73" y="517"/>
                  </a:cubicBezTo>
                  <a:cubicBezTo>
                    <a:pt x="73" y="517"/>
                    <a:pt x="51" y="515"/>
                    <a:pt x="46" y="503"/>
                  </a:cubicBezTo>
                  <a:cubicBezTo>
                    <a:pt x="42" y="491"/>
                    <a:pt x="33" y="483"/>
                    <a:pt x="33" y="483"/>
                  </a:cubicBezTo>
                  <a:cubicBezTo>
                    <a:pt x="10" y="480"/>
                    <a:pt x="10" y="480"/>
                    <a:pt x="10" y="4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9" name="Freeform 149">
              <a:extLst>
                <a:ext uri="{FF2B5EF4-FFF2-40B4-BE49-F238E27FC236}">
                  <a16:creationId xmlns:a16="http://schemas.microsoft.com/office/drawing/2014/main" id="{E1A293A5-458A-46F3-AEE3-D5A89CC9DED3}"/>
                </a:ext>
              </a:extLst>
            </p:cNvPr>
            <p:cNvSpPr>
              <a:spLocks/>
            </p:cNvSpPr>
            <p:nvPr/>
          </p:nvSpPr>
          <p:spPr bwMode="auto">
            <a:xfrm>
              <a:off x="538163" y="1824038"/>
              <a:ext cx="42863" cy="98425"/>
            </a:xfrm>
            <a:custGeom>
              <a:avLst/>
              <a:gdLst>
                <a:gd name="T0" fmla="*/ 4 w 27"/>
                <a:gd name="T1" fmla="*/ 0 h 61"/>
                <a:gd name="T2" fmla="*/ 19 w 27"/>
                <a:gd name="T3" fmla="*/ 2 h 61"/>
                <a:gd name="T4" fmla="*/ 27 w 27"/>
                <a:gd name="T5" fmla="*/ 14 h 61"/>
                <a:gd name="T6" fmla="*/ 27 w 27"/>
                <a:gd name="T7" fmla="*/ 61 h 61"/>
                <a:gd name="T8" fmla="*/ 13 w 27"/>
                <a:gd name="T9" fmla="*/ 21 h 61"/>
                <a:gd name="T10" fmla="*/ 4 w 27"/>
                <a:gd name="T11" fmla="*/ 0 h 61"/>
              </a:gdLst>
              <a:ahLst/>
              <a:cxnLst>
                <a:cxn ang="0">
                  <a:pos x="T0" y="T1"/>
                </a:cxn>
                <a:cxn ang="0">
                  <a:pos x="T2" y="T3"/>
                </a:cxn>
                <a:cxn ang="0">
                  <a:pos x="T4" y="T5"/>
                </a:cxn>
                <a:cxn ang="0">
                  <a:pos x="T6" y="T7"/>
                </a:cxn>
                <a:cxn ang="0">
                  <a:pos x="T8" y="T9"/>
                </a:cxn>
                <a:cxn ang="0">
                  <a:pos x="T10" y="T11"/>
                </a:cxn>
              </a:cxnLst>
              <a:rect l="0" t="0" r="r" b="b"/>
              <a:pathLst>
                <a:path w="27" h="61">
                  <a:moveTo>
                    <a:pt x="4" y="0"/>
                  </a:moveTo>
                  <a:cubicBezTo>
                    <a:pt x="19" y="2"/>
                    <a:pt x="19" y="2"/>
                    <a:pt x="19" y="2"/>
                  </a:cubicBezTo>
                  <a:cubicBezTo>
                    <a:pt x="19" y="2"/>
                    <a:pt x="27" y="3"/>
                    <a:pt x="27" y="14"/>
                  </a:cubicBezTo>
                  <a:cubicBezTo>
                    <a:pt x="26" y="25"/>
                    <a:pt x="27" y="61"/>
                    <a:pt x="27" y="61"/>
                  </a:cubicBezTo>
                  <a:cubicBezTo>
                    <a:pt x="27" y="61"/>
                    <a:pt x="26" y="27"/>
                    <a:pt x="13" y="21"/>
                  </a:cubicBezTo>
                  <a:cubicBezTo>
                    <a:pt x="0" y="15"/>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0" name="Freeform 150">
              <a:extLst>
                <a:ext uri="{FF2B5EF4-FFF2-40B4-BE49-F238E27FC236}">
                  <a16:creationId xmlns:a16="http://schemas.microsoft.com/office/drawing/2014/main" id="{7821827A-BA6B-4AAC-ADF0-162D8AB25DF2}"/>
                </a:ext>
              </a:extLst>
            </p:cNvPr>
            <p:cNvSpPr>
              <a:spLocks/>
            </p:cNvSpPr>
            <p:nvPr/>
          </p:nvSpPr>
          <p:spPr bwMode="auto">
            <a:xfrm>
              <a:off x="533400" y="1893888"/>
              <a:ext cx="52388" cy="173038"/>
            </a:xfrm>
            <a:custGeom>
              <a:avLst/>
              <a:gdLst>
                <a:gd name="T0" fmla="*/ 28 w 32"/>
                <a:gd name="T1" fmla="*/ 9 h 107"/>
                <a:gd name="T2" fmla="*/ 25 w 32"/>
                <a:gd name="T3" fmla="*/ 87 h 107"/>
                <a:gd name="T4" fmla="*/ 1 w 32"/>
                <a:gd name="T5" fmla="*/ 42 h 107"/>
                <a:gd name="T6" fmla="*/ 28 w 32"/>
                <a:gd name="T7" fmla="*/ 9 h 107"/>
              </a:gdLst>
              <a:ahLst/>
              <a:cxnLst>
                <a:cxn ang="0">
                  <a:pos x="T0" y="T1"/>
                </a:cxn>
                <a:cxn ang="0">
                  <a:pos x="T2" y="T3"/>
                </a:cxn>
                <a:cxn ang="0">
                  <a:pos x="T4" y="T5"/>
                </a:cxn>
                <a:cxn ang="0">
                  <a:pos x="T6" y="T7"/>
                </a:cxn>
              </a:cxnLst>
              <a:rect l="0" t="0" r="r" b="b"/>
              <a:pathLst>
                <a:path w="32" h="107">
                  <a:moveTo>
                    <a:pt x="28" y="9"/>
                  </a:moveTo>
                  <a:cubicBezTo>
                    <a:pt x="28" y="9"/>
                    <a:pt x="32" y="66"/>
                    <a:pt x="25" y="87"/>
                  </a:cubicBezTo>
                  <a:cubicBezTo>
                    <a:pt x="18" y="107"/>
                    <a:pt x="0" y="84"/>
                    <a:pt x="1" y="42"/>
                  </a:cubicBezTo>
                  <a:cubicBezTo>
                    <a:pt x="1" y="0"/>
                    <a:pt x="27" y="27"/>
                    <a:pt x="2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1" name="Freeform 151">
              <a:extLst>
                <a:ext uri="{FF2B5EF4-FFF2-40B4-BE49-F238E27FC236}">
                  <a16:creationId xmlns:a16="http://schemas.microsoft.com/office/drawing/2014/main" id="{398AC83D-7DC8-4A29-9132-3303415EDA9B}"/>
                </a:ext>
              </a:extLst>
            </p:cNvPr>
            <p:cNvSpPr>
              <a:spLocks/>
            </p:cNvSpPr>
            <p:nvPr/>
          </p:nvSpPr>
          <p:spPr bwMode="auto">
            <a:xfrm>
              <a:off x="598488" y="1876425"/>
              <a:ext cx="469900" cy="179388"/>
            </a:xfrm>
            <a:custGeom>
              <a:avLst/>
              <a:gdLst>
                <a:gd name="T0" fmla="*/ 259 w 292"/>
                <a:gd name="T1" fmla="*/ 0 h 111"/>
                <a:gd name="T2" fmla="*/ 257 w 292"/>
                <a:gd name="T3" fmla="*/ 0 h 111"/>
                <a:gd name="T4" fmla="*/ 26 w 292"/>
                <a:gd name="T5" fmla="*/ 3 h 111"/>
                <a:gd name="T6" fmla="*/ 14 w 292"/>
                <a:gd name="T7" fmla="*/ 1 h 111"/>
                <a:gd name="T8" fmla="*/ 3 w 292"/>
                <a:gd name="T9" fmla="*/ 6 h 111"/>
                <a:gd name="T10" fmla="*/ 11 w 292"/>
                <a:gd name="T11" fmla="*/ 111 h 111"/>
                <a:gd name="T12" fmla="*/ 12 w 292"/>
                <a:gd name="T13" fmla="*/ 111 h 111"/>
                <a:gd name="T14" fmla="*/ 26 w 292"/>
                <a:gd name="T15" fmla="*/ 97 h 111"/>
                <a:gd name="T16" fmla="*/ 52 w 292"/>
                <a:gd name="T17" fmla="*/ 84 h 111"/>
                <a:gd name="T18" fmla="*/ 57 w 292"/>
                <a:gd name="T19" fmla="*/ 85 h 111"/>
                <a:gd name="T20" fmla="*/ 156 w 292"/>
                <a:gd name="T21" fmla="*/ 93 h 111"/>
                <a:gd name="T22" fmla="*/ 183 w 292"/>
                <a:gd name="T23" fmla="*/ 92 h 111"/>
                <a:gd name="T24" fmla="*/ 274 w 292"/>
                <a:gd name="T25" fmla="*/ 74 h 111"/>
                <a:gd name="T26" fmla="*/ 256 w 292"/>
                <a:gd name="T27" fmla="*/ 41 h 111"/>
                <a:gd name="T28" fmla="*/ 255 w 292"/>
                <a:gd name="T29" fmla="*/ 41 h 111"/>
                <a:gd name="T30" fmla="*/ 254 w 292"/>
                <a:gd name="T31" fmla="*/ 41 h 111"/>
                <a:gd name="T32" fmla="*/ 231 w 292"/>
                <a:gd name="T33" fmla="*/ 38 h 111"/>
                <a:gd name="T34" fmla="*/ 203 w 292"/>
                <a:gd name="T35" fmla="*/ 35 h 111"/>
                <a:gd name="T36" fmla="*/ 167 w 292"/>
                <a:gd name="T37" fmla="*/ 39 h 111"/>
                <a:gd name="T38" fmla="*/ 116 w 292"/>
                <a:gd name="T39" fmla="*/ 44 h 111"/>
                <a:gd name="T40" fmla="*/ 65 w 292"/>
                <a:gd name="T41" fmla="*/ 40 h 111"/>
                <a:gd name="T42" fmla="*/ 55 w 292"/>
                <a:gd name="T43" fmla="*/ 24 h 111"/>
                <a:gd name="T44" fmla="*/ 57 w 292"/>
                <a:gd name="T45" fmla="*/ 24 h 111"/>
                <a:gd name="T46" fmla="*/ 108 w 292"/>
                <a:gd name="T47" fmla="*/ 30 h 111"/>
                <a:gd name="T48" fmla="*/ 146 w 292"/>
                <a:gd name="T49" fmla="*/ 27 h 111"/>
                <a:gd name="T50" fmla="*/ 182 w 292"/>
                <a:gd name="T51" fmla="*/ 24 h 111"/>
                <a:gd name="T52" fmla="*/ 217 w 292"/>
                <a:gd name="T53" fmla="*/ 26 h 111"/>
                <a:gd name="T54" fmla="*/ 245 w 292"/>
                <a:gd name="T55" fmla="*/ 27 h 111"/>
                <a:gd name="T56" fmla="*/ 262 w 292"/>
                <a:gd name="T57" fmla="*/ 25 h 111"/>
                <a:gd name="T58" fmla="*/ 259 w 292"/>
                <a:gd name="T5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2" h="111">
                  <a:moveTo>
                    <a:pt x="259" y="0"/>
                  </a:moveTo>
                  <a:cubicBezTo>
                    <a:pt x="258" y="0"/>
                    <a:pt x="257" y="0"/>
                    <a:pt x="257" y="0"/>
                  </a:cubicBezTo>
                  <a:cubicBezTo>
                    <a:pt x="220" y="1"/>
                    <a:pt x="26" y="3"/>
                    <a:pt x="26" y="3"/>
                  </a:cubicBezTo>
                  <a:cubicBezTo>
                    <a:pt x="26" y="3"/>
                    <a:pt x="20" y="1"/>
                    <a:pt x="14" y="1"/>
                  </a:cubicBezTo>
                  <a:cubicBezTo>
                    <a:pt x="9" y="1"/>
                    <a:pt x="4" y="2"/>
                    <a:pt x="3" y="6"/>
                  </a:cubicBezTo>
                  <a:cubicBezTo>
                    <a:pt x="1" y="14"/>
                    <a:pt x="0" y="110"/>
                    <a:pt x="11" y="111"/>
                  </a:cubicBezTo>
                  <a:cubicBezTo>
                    <a:pt x="11" y="111"/>
                    <a:pt x="11" y="111"/>
                    <a:pt x="12" y="111"/>
                  </a:cubicBezTo>
                  <a:cubicBezTo>
                    <a:pt x="17" y="111"/>
                    <a:pt x="20" y="104"/>
                    <a:pt x="26" y="97"/>
                  </a:cubicBezTo>
                  <a:cubicBezTo>
                    <a:pt x="31" y="91"/>
                    <a:pt x="39" y="84"/>
                    <a:pt x="52" y="84"/>
                  </a:cubicBezTo>
                  <a:cubicBezTo>
                    <a:pt x="53" y="84"/>
                    <a:pt x="55" y="84"/>
                    <a:pt x="57" y="85"/>
                  </a:cubicBezTo>
                  <a:cubicBezTo>
                    <a:pt x="81" y="87"/>
                    <a:pt x="118" y="93"/>
                    <a:pt x="156" y="93"/>
                  </a:cubicBezTo>
                  <a:cubicBezTo>
                    <a:pt x="165" y="93"/>
                    <a:pt x="174" y="92"/>
                    <a:pt x="183" y="92"/>
                  </a:cubicBezTo>
                  <a:cubicBezTo>
                    <a:pt x="230" y="88"/>
                    <a:pt x="271" y="92"/>
                    <a:pt x="274" y="74"/>
                  </a:cubicBezTo>
                  <a:cubicBezTo>
                    <a:pt x="277" y="56"/>
                    <a:pt x="278" y="41"/>
                    <a:pt x="256" y="41"/>
                  </a:cubicBezTo>
                  <a:cubicBezTo>
                    <a:pt x="256" y="41"/>
                    <a:pt x="255" y="41"/>
                    <a:pt x="255" y="41"/>
                  </a:cubicBezTo>
                  <a:cubicBezTo>
                    <a:pt x="255" y="41"/>
                    <a:pt x="254" y="41"/>
                    <a:pt x="254" y="41"/>
                  </a:cubicBezTo>
                  <a:cubicBezTo>
                    <a:pt x="246" y="41"/>
                    <a:pt x="239" y="39"/>
                    <a:pt x="231" y="38"/>
                  </a:cubicBezTo>
                  <a:cubicBezTo>
                    <a:pt x="223" y="37"/>
                    <a:pt x="214" y="35"/>
                    <a:pt x="203" y="35"/>
                  </a:cubicBezTo>
                  <a:cubicBezTo>
                    <a:pt x="193" y="35"/>
                    <a:pt x="181" y="36"/>
                    <a:pt x="167" y="39"/>
                  </a:cubicBezTo>
                  <a:cubicBezTo>
                    <a:pt x="148" y="43"/>
                    <a:pt x="131" y="44"/>
                    <a:pt x="116" y="44"/>
                  </a:cubicBezTo>
                  <a:cubicBezTo>
                    <a:pt x="94" y="44"/>
                    <a:pt x="77" y="41"/>
                    <a:pt x="65" y="40"/>
                  </a:cubicBezTo>
                  <a:cubicBezTo>
                    <a:pt x="45" y="37"/>
                    <a:pt x="43" y="24"/>
                    <a:pt x="55" y="24"/>
                  </a:cubicBezTo>
                  <a:cubicBezTo>
                    <a:pt x="56" y="24"/>
                    <a:pt x="56" y="24"/>
                    <a:pt x="57" y="24"/>
                  </a:cubicBezTo>
                  <a:cubicBezTo>
                    <a:pt x="67" y="25"/>
                    <a:pt x="83" y="30"/>
                    <a:pt x="108" y="30"/>
                  </a:cubicBezTo>
                  <a:cubicBezTo>
                    <a:pt x="119" y="30"/>
                    <a:pt x="131" y="29"/>
                    <a:pt x="146" y="27"/>
                  </a:cubicBezTo>
                  <a:cubicBezTo>
                    <a:pt x="158" y="25"/>
                    <a:pt x="170" y="24"/>
                    <a:pt x="182" y="24"/>
                  </a:cubicBezTo>
                  <a:cubicBezTo>
                    <a:pt x="194" y="24"/>
                    <a:pt x="206" y="25"/>
                    <a:pt x="217" y="26"/>
                  </a:cubicBezTo>
                  <a:cubicBezTo>
                    <a:pt x="228" y="26"/>
                    <a:pt x="238" y="27"/>
                    <a:pt x="245" y="27"/>
                  </a:cubicBezTo>
                  <a:cubicBezTo>
                    <a:pt x="252" y="27"/>
                    <a:pt x="258" y="27"/>
                    <a:pt x="262" y="25"/>
                  </a:cubicBezTo>
                  <a:cubicBezTo>
                    <a:pt x="277" y="18"/>
                    <a:pt x="292" y="0"/>
                    <a:pt x="2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2" name="Freeform 152">
              <a:extLst>
                <a:ext uri="{FF2B5EF4-FFF2-40B4-BE49-F238E27FC236}">
                  <a16:creationId xmlns:a16="http://schemas.microsoft.com/office/drawing/2014/main" id="{DA2EE7BA-79F2-4B5A-B417-87CA5D393974}"/>
                </a:ext>
              </a:extLst>
            </p:cNvPr>
            <p:cNvSpPr>
              <a:spLocks/>
            </p:cNvSpPr>
            <p:nvPr/>
          </p:nvSpPr>
          <p:spPr bwMode="auto">
            <a:xfrm>
              <a:off x="1016000" y="1631950"/>
              <a:ext cx="220663" cy="312738"/>
            </a:xfrm>
            <a:custGeom>
              <a:avLst/>
              <a:gdLst>
                <a:gd name="T0" fmla="*/ 12 w 137"/>
                <a:gd name="T1" fmla="*/ 147 h 194"/>
                <a:gd name="T2" fmla="*/ 26 w 137"/>
                <a:gd name="T3" fmla="*/ 161 h 194"/>
                <a:gd name="T4" fmla="*/ 0 w 137"/>
                <a:gd name="T5" fmla="*/ 186 h 194"/>
                <a:gd name="T6" fmla="*/ 36 w 137"/>
                <a:gd name="T7" fmla="*/ 184 h 194"/>
                <a:gd name="T8" fmla="*/ 81 w 137"/>
                <a:gd name="T9" fmla="*/ 172 h 194"/>
                <a:gd name="T10" fmla="*/ 125 w 137"/>
                <a:gd name="T11" fmla="*/ 121 h 194"/>
                <a:gd name="T12" fmla="*/ 84 w 137"/>
                <a:gd name="T13" fmla="*/ 74 h 194"/>
                <a:gd name="T14" fmla="*/ 61 w 137"/>
                <a:gd name="T15" fmla="*/ 59 h 194"/>
                <a:gd name="T16" fmla="*/ 50 w 137"/>
                <a:gd name="T17" fmla="*/ 49 h 194"/>
                <a:gd name="T18" fmla="*/ 123 w 137"/>
                <a:gd name="T19" fmla="*/ 61 h 194"/>
                <a:gd name="T20" fmla="*/ 95 w 137"/>
                <a:gd name="T21" fmla="*/ 51 h 194"/>
                <a:gd name="T22" fmla="*/ 114 w 137"/>
                <a:gd name="T23" fmla="*/ 32 h 194"/>
                <a:gd name="T24" fmla="*/ 112 w 137"/>
                <a:gd name="T25" fmla="*/ 30 h 194"/>
                <a:gd name="T26" fmla="*/ 30 w 137"/>
                <a:gd name="T27" fmla="*/ 0 h 194"/>
                <a:gd name="T28" fmla="*/ 30 w 137"/>
                <a:gd name="T29" fmla="*/ 31 h 194"/>
                <a:gd name="T30" fmla="*/ 40 w 137"/>
                <a:gd name="T31" fmla="*/ 43 h 194"/>
                <a:gd name="T32" fmla="*/ 41 w 137"/>
                <a:gd name="T33" fmla="*/ 108 h 194"/>
                <a:gd name="T34" fmla="*/ 12 w 137"/>
                <a:gd name="T35" fmla="*/ 1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94">
                  <a:moveTo>
                    <a:pt x="12" y="147"/>
                  </a:moveTo>
                  <a:cubicBezTo>
                    <a:pt x="12" y="147"/>
                    <a:pt x="35" y="148"/>
                    <a:pt x="26" y="161"/>
                  </a:cubicBezTo>
                  <a:cubicBezTo>
                    <a:pt x="16" y="174"/>
                    <a:pt x="0" y="186"/>
                    <a:pt x="0" y="186"/>
                  </a:cubicBezTo>
                  <a:cubicBezTo>
                    <a:pt x="0" y="186"/>
                    <a:pt x="13" y="194"/>
                    <a:pt x="36" y="184"/>
                  </a:cubicBezTo>
                  <a:cubicBezTo>
                    <a:pt x="59" y="173"/>
                    <a:pt x="50" y="175"/>
                    <a:pt x="81" y="172"/>
                  </a:cubicBezTo>
                  <a:cubicBezTo>
                    <a:pt x="111" y="170"/>
                    <a:pt x="137" y="148"/>
                    <a:pt x="125" y="121"/>
                  </a:cubicBezTo>
                  <a:cubicBezTo>
                    <a:pt x="112" y="93"/>
                    <a:pt x="92" y="99"/>
                    <a:pt x="84" y="74"/>
                  </a:cubicBezTo>
                  <a:cubicBezTo>
                    <a:pt x="75" y="50"/>
                    <a:pt x="74" y="63"/>
                    <a:pt x="61" y="59"/>
                  </a:cubicBezTo>
                  <a:cubicBezTo>
                    <a:pt x="48" y="55"/>
                    <a:pt x="43" y="46"/>
                    <a:pt x="50" y="49"/>
                  </a:cubicBezTo>
                  <a:cubicBezTo>
                    <a:pt x="57" y="51"/>
                    <a:pt x="77" y="61"/>
                    <a:pt x="123" y="61"/>
                  </a:cubicBezTo>
                  <a:cubicBezTo>
                    <a:pt x="123" y="61"/>
                    <a:pt x="95" y="58"/>
                    <a:pt x="95" y="51"/>
                  </a:cubicBezTo>
                  <a:cubicBezTo>
                    <a:pt x="95" y="45"/>
                    <a:pt x="95" y="33"/>
                    <a:pt x="114" y="32"/>
                  </a:cubicBezTo>
                  <a:cubicBezTo>
                    <a:pt x="114" y="32"/>
                    <a:pt x="116" y="30"/>
                    <a:pt x="112" y="30"/>
                  </a:cubicBezTo>
                  <a:cubicBezTo>
                    <a:pt x="108" y="30"/>
                    <a:pt x="38" y="26"/>
                    <a:pt x="30" y="0"/>
                  </a:cubicBezTo>
                  <a:cubicBezTo>
                    <a:pt x="30" y="31"/>
                    <a:pt x="30" y="31"/>
                    <a:pt x="30" y="31"/>
                  </a:cubicBezTo>
                  <a:cubicBezTo>
                    <a:pt x="30" y="31"/>
                    <a:pt x="29" y="39"/>
                    <a:pt x="40" y="43"/>
                  </a:cubicBezTo>
                  <a:cubicBezTo>
                    <a:pt x="41" y="108"/>
                    <a:pt x="41" y="108"/>
                    <a:pt x="41" y="108"/>
                  </a:cubicBezTo>
                  <a:cubicBezTo>
                    <a:pt x="41" y="108"/>
                    <a:pt x="45" y="137"/>
                    <a:pt x="12"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 name="Freeform 153">
              <a:extLst>
                <a:ext uri="{FF2B5EF4-FFF2-40B4-BE49-F238E27FC236}">
                  <a16:creationId xmlns:a16="http://schemas.microsoft.com/office/drawing/2014/main" id="{5D506BAB-6579-4D17-9F51-2337E20D65D8}"/>
                </a:ext>
              </a:extLst>
            </p:cNvPr>
            <p:cNvSpPr>
              <a:spLocks/>
            </p:cNvSpPr>
            <p:nvPr/>
          </p:nvSpPr>
          <p:spPr bwMode="auto">
            <a:xfrm>
              <a:off x="1057275" y="1550988"/>
              <a:ext cx="460375" cy="134938"/>
            </a:xfrm>
            <a:custGeom>
              <a:avLst/>
              <a:gdLst>
                <a:gd name="T0" fmla="*/ 60 w 286"/>
                <a:gd name="T1" fmla="*/ 26 h 83"/>
                <a:gd name="T2" fmla="*/ 4 w 286"/>
                <a:gd name="T3" fmla="*/ 50 h 83"/>
                <a:gd name="T4" fmla="*/ 144 w 286"/>
                <a:gd name="T5" fmla="*/ 82 h 83"/>
                <a:gd name="T6" fmla="*/ 277 w 286"/>
                <a:gd name="T7" fmla="*/ 45 h 83"/>
                <a:gd name="T8" fmla="*/ 228 w 286"/>
                <a:gd name="T9" fmla="*/ 25 h 83"/>
                <a:gd name="T10" fmla="*/ 226 w 286"/>
                <a:gd name="T11" fmla="*/ 11 h 83"/>
                <a:gd name="T12" fmla="*/ 215 w 286"/>
                <a:gd name="T13" fmla="*/ 0 h 83"/>
                <a:gd name="T14" fmla="*/ 153 w 286"/>
                <a:gd name="T15" fmla="*/ 16 h 83"/>
                <a:gd name="T16" fmla="*/ 71 w 286"/>
                <a:gd name="T17" fmla="*/ 2 h 83"/>
                <a:gd name="T18" fmla="*/ 64 w 286"/>
                <a:gd name="T19" fmla="*/ 6 h 83"/>
                <a:gd name="T20" fmla="*/ 61 w 286"/>
                <a:gd name="T21" fmla="*/ 10 h 83"/>
                <a:gd name="T22" fmla="*/ 60 w 286"/>
                <a:gd name="T23" fmla="*/ 2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6" h="83">
                  <a:moveTo>
                    <a:pt x="60" y="26"/>
                  </a:moveTo>
                  <a:cubicBezTo>
                    <a:pt x="60" y="26"/>
                    <a:pt x="7" y="32"/>
                    <a:pt x="4" y="50"/>
                  </a:cubicBezTo>
                  <a:cubicBezTo>
                    <a:pt x="4" y="50"/>
                    <a:pt x="0" y="83"/>
                    <a:pt x="144" y="82"/>
                  </a:cubicBezTo>
                  <a:cubicBezTo>
                    <a:pt x="276" y="82"/>
                    <a:pt x="286" y="56"/>
                    <a:pt x="277" y="45"/>
                  </a:cubicBezTo>
                  <a:cubicBezTo>
                    <a:pt x="277" y="45"/>
                    <a:pt x="264" y="26"/>
                    <a:pt x="228" y="25"/>
                  </a:cubicBezTo>
                  <a:cubicBezTo>
                    <a:pt x="226" y="11"/>
                    <a:pt x="226" y="11"/>
                    <a:pt x="226" y="11"/>
                  </a:cubicBezTo>
                  <a:cubicBezTo>
                    <a:pt x="215" y="0"/>
                    <a:pt x="215" y="0"/>
                    <a:pt x="215" y="0"/>
                  </a:cubicBezTo>
                  <a:cubicBezTo>
                    <a:pt x="215" y="0"/>
                    <a:pt x="206" y="15"/>
                    <a:pt x="153" y="16"/>
                  </a:cubicBezTo>
                  <a:cubicBezTo>
                    <a:pt x="101" y="16"/>
                    <a:pt x="71" y="2"/>
                    <a:pt x="71" y="2"/>
                  </a:cubicBezTo>
                  <a:cubicBezTo>
                    <a:pt x="64" y="6"/>
                    <a:pt x="64" y="6"/>
                    <a:pt x="64" y="6"/>
                  </a:cubicBezTo>
                  <a:cubicBezTo>
                    <a:pt x="61" y="10"/>
                    <a:pt x="61" y="10"/>
                    <a:pt x="61" y="10"/>
                  </a:cubicBezTo>
                  <a:lnTo>
                    <a:pt x="6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Freeform 154">
              <a:extLst>
                <a:ext uri="{FF2B5EF4-FFF2-40B4-BE49-F238E27FC236}">
                  <a16:creationId xmlns:a16="http://schemas.microsoft.com/office/drawing/2014/main" id="{5E4B632F-6CDB-4477-B5C1-A9DFE0999F0C}"/>
                </a:ext>
              </a:extLst>
            </p:cNvPr>
            <p:cNvSpPr>
              <a:spLocks/>
            </p:cNvSpPr>
            <p:nvPr/>
          </p:nvSpPr>
          <p:spPr bwMode="auto">
            <a:xfrm>
              <a:off x="1150938" y="1593850"/>
              <a:ext cx="57150" cy="47625"/>
            </a:xfrm>
            <a:custGeom>
              <a:avLst/>
              <a:gdLst>
                <a:gd name="T0" fmla="*/ 2 w 36"/>
                <a:gd name="T1" fmla="*/ 0 h 30"/>
                <a:gd name="T2" fmla="*/ 0 w 36"/>
                <a:gd name="T3" fmla="*/ 30 h 30"/>
                <a:gd name="T4" fmla="*/ 5 w 36"/>
                <a:gd name="T5" fmla="*/ 14 h 30"/>
                <a:gd name="T6" fmla="*/ 24 w 36"/>
                <a:gd name="T7" fmla="*/ 20 h 30"/>
                <a:gd name="T8" fmla="*/ 19 w 36"/>
                <a:gd name="T9" fmla="*/ 13 h 30"/>
                <a:gd name="T10" fmla="*/ 5 w 36"/>
                <a:gd name="T11" fmla="*/ 10 h 30"/>
                <a:gd name="T12" fmla="*/ 3 w 36"/>
                <a:gd name="T13" fmla="*/ 5 h 30"/>
                <a:gd name="T14" fmla="*/ 26 w 36"/>
                <a:gd name="T15" fmla="*/ 11 h 30"/>
                <a:gd name="T16" fmla="*/ 36 w 36"/>
                <a:gd name="T17" fmla="*/ 7 h 30"/>
                <a:gd name="T18" fmla="*/ 2 w 36"/>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0">
                  <a:moveTo>
                    <a:pt x="2" y="0"/>
                  </a:moveTo>
                  <a:cubicBezTo>
                    <a:pt x="0" y="30"/>
                    <a:pt x="0" y="30"/>
                    <a:pt x="0" y="30"/>
                  </a:cubicBezTo>
                  <a:cubicBezTo>
                    <a:pt x="0" y="30"/>
                    <a:pt x="0" y="14"/>
                    <a:pt x="5" y="14"/>
                  </a:cubicBezTo>
                  <a:cubicBezTo>
                    <a:pt x="9" y="14"/>
                    <a:pt x="22" y="14"/>
                    <a:pt x="24" y="20"/>
                  </a:cubicBezTo>
                  <a:cubicBezTo>
                    <a:pt x="24" y="20"/>
                    <a:pt x="26" y="15"/>
                    <a:pt x="19" y="13"/>
                  </a:cubicBezTo>
                  <a:cubicBezTo>
                    <a:pt x="13" y="11"/>
                    <a:pt x="8" y="9"/>
                    <a:pt x="5" y="10"/>
                  </a:cubicBezTo>
                  <a:cubicBezTo>
                    <a:pt x="1" y="11"/>
                    <a:pt x="3" y="5"/>
                    <a:pt x="3" y="5"/>
                  </a:cubicBezTo>
                  <a:cubicBezTo>
                    <a:pt x="3" y="5"/>
                    <a:pt x="22" y="11"/>
                    <a:pt x="26" y="11"/>
                  </a:cubicBezTo>
                  <a:cubicBezTo>
                    <a:pt x="30" y="11"/>
                    <a:pt x="30" y="7"/>
                    <a:pt x="36" y="7"/>
                  </a:cubicBezTo>
                  <a:cubicBezTo>
                    <a:pt x="36" y="7"/>
                    <a:pt x="15" y="1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 name="Freeform 155">
              <a:extLst>
                <a:ext uri="{FF2B5EF4-FFF2-40B4-BE49-F238E27FC236}">
                  <a16:creationId xmlns:a16="http://schemas.microsoft.com/office/drawing/2014/main" id="{09D3C346-2EB6-4793-B0F4-000582EBCCEB}"/>
                </a:ext>
              </a:extLst>
            </p:cNvPr>
            <p:cNvSpPr>
              <a:spLocks/>
            </p:cNvSpPr>
            <p:nvPr/>
          </p:nvSpPr>
          <p:spPr bwMode="auto">
            <a:xfrm>
              <a:off x="1190625" y="1603375"/>
              <a:ext cx="65088" cy="17463"/>
            </a:xfrm>
            <a:custGeom>
              <a:avLst/>
              <a:gdLst>
                <a:gd name="T0" fmla="*/ 2 w 40"/>
                <a:gd name="T1" fmla="*/ 11 h 11"/>
                <a:gd name="T2" fmla="*/ 40 w 40"/>
                <a:gd name="T3" fmla="*/ 0 h 11"/>
                <a:gd name="T4" fmla="*/ 2 w 40"/>
                <a:gd name="T5" fmla="*/ 11 h 11"/>
              </a:gdLst>
              <a:ahLst/>
              <a:cxnLst>
                <a:cxn ang="0">
                  <a:pos x="T0" y="T1"/>
                </a:cxn>
                <a:cxn ang="0">
                  <a:pos x="T2" y="T3"/>
                </a:cxn>
                <a:cxn ang="0">
                  <a:pos x="T4" y="T5"/>
                </a:cxn>
              </a:cxnLst>
              <a:rect l="0" t="0" r="r" b="b"/>
              <a:pathLst>
                <a:path w="40" h="11">
                  <a:moveTo>
                    <a:pt x="2" y="11"/>
                  </a:moveTo>
                  <a:cubicBezTo>
                    <a:pt x="2" y="11"/>
                    <a:pt x="0" y="3"/>
                    <a:pt x="40" y="0"/>
                  </a:cubicBezTo>
                  <a:cubicBezTo>
                    <a:pt x="40" y="0"/>
                    <a:pt x="11" y="4"/>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6" name="Freeform 156">
              <a:extLst>
                <a:ext uri="{FF2B5EF4-FFF2-40B4-BE49-F238E27FC236}">
                  <a16:creationId xmlns:a16="http://schemas.microsoft.com/office/drawing/2014/main" id="{B21B3F07-179B-4400-9FE2-92C0334C7DBC}"/>
                </a:ext>
              </a:extLst>
            </p:cNvPr>
            <p:cNvSpPr>
              <a:spLocks/>
            </p:cNvSpPr>
            <p:nvPr/>
          </p:nvSpPr>
          <p:spPr bwMode="auto">
            <a:xfrm>
              <a:off x="1298575" y="1603375"/>
              <a:ext cx="112713" cy="42863"/>
            </a:xfrm>
            <a:custGeom>
              <a:avLst/>
              <a:gdLst>
                <a:gd name="T0" fmla="*/ 15 w 70"/>
                <a:gd name="T1" fmla="*/ 2 h 27"/>
                <a:gd name="T2" fmla="*/ 35 w 70"/>
                <a:gd name="T3" fmla="*/ 20 h 27"/>
                <a:gd name="T4" fmla="*/ 46 w 70"/>
                <a:gd name="T5" fmla="*/ 22 h 27"/>
                <a:gd name="T6" fmla="*/ 60 w 70"/>
                <a:gd name="T7" fmla="*/ 16 h 27"/>
                <a:gd name="T8" fmla="*/ 70 w 70"/>
                <a:gd name="T9" fmla="*/ 21 h 27"/>
                <a:gd name="T10" fmla="*/ 70 w 70"/>
                <a:gd name="T11" fmla="*/ 5 h 27"/>
                <a:gd name="T12" fmla="*/ 58 w 70"/>
                <a:gd name="T13" fmla="*/ 5 h 27"/>
                <a:gd name="T14" fmla="*/ 41 w 70"/>
                <a:gd name="T15" fmla="*/ 11 h 27"/>
                <a:gd name="T16" fmla="*/ 15 w 70"/>
                <a:gd name="T17" fmla="*/ 1 h 27"/>
                <a:gd name="T18" fmla="*/ 15 w 70"/>
                <a:gd name="T19"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27">
                  <a:moveTo>
                    <a:pt x="15" y="2"/>
                  </a:moveTo>
                  <a:cubicBezTo>
                    <a:pt x="15" y="2"/>
                    <a:pt x="35" y="13"/>
                    <a:pt x="35" y="20"/>
                  </a:cubicBezTo>
                  <a:cubicBezTo>
                    <a:pt x="35" y="27"/>
                    <a:pt x="43" y="26"/>
                    <a:pt x="46" y="22"/>
                  </a:cubicBezTo>
                  <a:cubicBezTo>
                    <a:pt x="49" y="18"/>
                    <a:pt x="55" y="15"/>
                    <a:pt x="60" y="16"/>
                  </a:cubicBezTo>
                  <a:cubicBezTo>
                    <a:pt x="65" y="16"/>
                    <a:pt x="70" y="21"/>
                    <a:pt x="70" y="21"/>
                  </a:cubicBezTo>
                  <a:cubicBezTo>
                    <a:pt x="70" y="5"/>
                    <a:pt x="70" y="5"/>
                    <a:pt x="70" y="5"/>
                  </a:cubicBezTo>
                  <a:cubicBezTo>
                    <a:pt x="70" y="5"/>
                    <a:pt x="67" y="3"/>
                    <a:pt x="58" y="5"/>
                  </a:cubicBezTo>
                  <a:cubicBezTo>
                    <a:pt x="48" y="8"/>
                    <a:pt x="45" y="14"/>
                    <a:pt x="41" y="11"/>
                  </a:cubicBezTo>
                  <a:cubicBezTo>
                    <a:pt x="37" y="8"/>
                    <a:pt x="29" y="2"/>
                    <a:pt x="15" y="1"/>
                  </a:cubicBezTo>
                  <a:cubicBezTo>
                    <a:pt x="0" y="0"/>
                    <a:pt x="15" y="2"/>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 name="Freeform 157">
              <a:extLst>
                <a:ext uri="{FF2B5EF4-FFF2-40B4-BE49-F238E27FC236}">
                  <a16:creationId xmlns:a16="http://schemas.microsoft.com/office/drawing/2014/main" id="{11D8CDB4-3C94-4091-9EB9-8A0CAFEB0F34}"/>
                </a:ext>
              </a:extLst>
            </p:cNvPr>
            <p:cNvSpPr>
              <a:spLocks/>
            </p:cNvSpPr>
            <p:nvPr/>
          </p:nvSpPr>
          <p:spPr bwMode="auto">
            <a:xfrm>
              <a:off x="1306513" y="1571625"/>
              <a:ext cx="115888" cy="38100"/>
            </a:xfrm>
            <a:custGeom>
              <a:avLst/>
              <a:gdLst>
                <a:gd name="T0" fmla="*/ 0 w 72"/>
                <a:gd name="T1" fmla="*/ 16 h 24"/>
                <a:gd name="T2" fmla="*/ 32 w 72"/>
                <a:gd name="T3" fmla="*/ 22 h 24"/>
                <a:gd name="T4" fmla="*/ 50 w 72"/>
                <a:gd name="T5" fmla="*/ 21 h 24"/>
                <a:gd name="T6" fmla="*/ 65 w 72"/>
                <a:gd name="T7" fmla="*/ 14 h 24"/>
                <a:gd name="T8" fmla="*/ 52 w 72"/>
                <a:gd name="T9" fmla="*/ 5 h 24"/>
                <a:gd name="T10" fmla="*/ 0 w 72"/>
                <a:gd name="T11" fmla="*/ 16 h 24"/>
              </a:gdLst>
              <a:ahLst/>
              <a:cxnLst>
                <a:cxn ang="0">
                  <a:pos x="T0" y="T1"/>
                </a:cxn>
                <a:cxn ang="0">
                  <a:pos x="T2" y="T3"/>
                </a:cxn>
                <a:cxn ang="0">
                  <a:pos x="T4" y="T5"/>
                </a:cxn>
                <a:cxn ang="0">
                  <a:pos x="T6" y="T7"/>
                </a:cxn>
                <a:cxn ang="0">
                  <a:pos x="T8" y="T9"/>
                </a:cxn>
                <a:cxn ang="0">
                  <a:pos x="T10" y="T11"/>
                </a:cxn>
              </a:cxnLst>
              <a:rect l="0" t="0" r="r" b="b"/>
              <a:pathLst>
                <a:path w="72" h="24">
                  <a:moveTo>
                    <a:pt x="0" y="16"/>
                  </a:moveTo>
                  <a:cubicBezTo>
                    <a:pt x="0" y="16"/>
                    <a:pt x="25" y="20"/>
                    <a:pt x="32" y="22"/>
                  </a:cubicBezTo>
                  <a:cubicBezTo>
                    <a:pt x="39" y="24"/>
                    <a:pt x="41" y="23"/>
                    <a:pt x="50" y="21"/>
                  </a:cubicBezTo>
                  <a:cubicBezTo>
                    <a:pt x="59" y="18"/>
                    <a:pt x="64" y="18"/>
                    <a:pt x="65" y="14"/>
                  </a:cubicBezTo>
                  <a:cubicBezTo>
                    <a:pt x="67" y="9"/>
                    <a:pt x="72" y="0"/>
                    <a:pt x="52" y="5"/>
                  </a:cubicBezTo>
                  <a:cubicBezTo>
                    <a:pt x="31" y="10"/>
                    <a:pt x="16" y="17"/>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Freeform 158">
              <a:extLst>
                <a:ext uri="{FF2B5EF4-FFF2-40B4-BE49-F238E27FC236}">
                  <a16:creationId xmlns:a16="http://schemas.microsoft.com/office/drawing/2014/main" id="{5BE33B91-EEFE-4017-9FE5-C43B7C26DE57}"/>
                </a:ext>
              </a:extLst>
            </p:cNvPr>
            <p:cNvSpPr>
              <a:spLocks/>
            </p:cNvSpPr>
            <p:nvPr/>
          </p:nvSpPr>
          <p:spPr bwMode="auto">
            <a:xfrm>
              <a:off x="1155700" y="1649413"/>
              <a:ext cx="279400" cy="46038"/>
            </a:xfrm>
            <a:custGeom>
              <a:avLst/>
              <a:gdLst>
                <a:gd name="T0" fmla="*/ 0 w 173"/>
                <a:gd name="T1" fmla="*/ 10 h 28"/>
                <a:gd name="T2" fmla="*/ 158 w 173"/>
                <a:gd name="T3" fmla="*/ 12 h 28"/>
                <a:gd name="T4" fmla="*/ 173 w 173"/>
                <a:gd name="T5" fmla="*/ 0 h 28"/>
                <a:gd name="T6" fmla="*/ 83 w 173"/>
                <a:gd name="T7" fmla="*/ 8 h 28"/>
                <a:gd name="T8" fmla="*/ 0 w 173"/>
                <a:gd name="T9" fmla="*/ 10 h 28"/>
              </a:gdLst>
              <a:ahLst/>
              <a:cxnLst>
                <a:cxn ang="0">
                  <a:pos x="T0" y="T1"/>
                </a:cxn>
                <a:cxn ang="0">
                  <a:pos x="T2" y="T3"/>
                </a:cxn>
                <a:cxn ang="0">
                  <a:pos x="T4" y="T5"/>
                </a:cxn>
                <a:cxn ang="0">
                  <a:pos x="T6" y="T7"/>
                </a:cxn>
                <a:cxn ang="0">
                  <a:pos x="T8" y="T9"/>
                </a:cxn>
              </a:cxnLst>
              <a:rect l="0" t="0" r="r" b="b"/>
              <a:pathLst>
                <a:path w="173" h="28">
                  <a:moveTo>
                    <a:pt x="0" y="10"/>
                  </a:moveTo>
                  <a:cubicBezTo>
                    <a:pt x="0" y="10"/>
                    <a:pt x="72" y="28"/>
                    <a:pt x="158" y="12"/>
                  </a:cubicBezTo>
                  <a:cubicBezTo>
                    <a:pt x="158" y="12"/>
                    <a:pt x="154" y="6"/>
                    <a:pt x="173" y="0"/>
                  </a:cubicBezTo>
                  <a:cubicBezTo>
                    <a:pt x="173" y="0"/>
                    <a:pt x="146" y="9"/>
                    <a:pt x="83" y="8"/>
                  </a:cubicBezTo>
                  <a:cubicBezTo>
                    <a:pt x="21" y="8"/>
                    <a:pt x="64" y="14"/>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159">
              <a:extLst>
                <a:ext uri="{FF2B5EF4-FFF2-40B4-BE49-F238E27FC236}">
                  <a16:creationId xmlns:a16="http://schemas.microsoft.com/office/drawing/2014/main" id="{826DD456-F115-42FB-8DE3-6EC0B11C3CB7}"/>
                </a:ext>
              </a:extLst>
            </p:cNvPr>
            <p:cNvSpPr>
              <a:spLocks/>
            </p:cNvSpPr>
            <p:nvPr/>
          </p:nvSpPr>
          <p:spPr bwMode="auto">
            <a:xfrm>
              <a:off x="1295400" y="1633538"/>
              <a:ext cx="233363" cy="104775"/>
            </a:xfrm>
            <a:custGeom>
              <a:avLst/>
              <a:gdLst>
                <a:gd name="T0" fmla="*/ 0 w 145"/>
                <a:gd name="T1" fmla="*/ 62 h 65"/>
                <a:gd name="T2" fmla="*/ 103 w 145"/>
                <a:gd name="T3" fmla="*/ 49 h 65"/>
                <a:gd name="T4" fmla="*/ 83 w 145"/>
                <a:gd name="T5" fmla="*/ 48 h 65"/>
                <a:gd name="T6" fmla="*/ 10 w 145"/>
                <a:gd name="T7" fmla="*/ 39 h 65"/>
                <a:gd name="T8" fmla="*/ 23 w 145"/>
                <a:gd name="T9" fmla="*/ 31 h 65"/>
                <a:gd name="T10" fmla="*/ 131 w 145"/>
                <a:gd name="T11" fmla="*/ 0 h 65"/>
                <a:gd name="T12" fmla="*/ 118 w 145"/>
                <a:gd name="T13" fmla="*/ 45 h 65"/>
                <a:gd name="T14" fmla="*/ 0 w 145"/>
                <a:gd name="T15" fmla="*/ 62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5">
                  <a:moveTo>
                    <a:pt x="0" y="62"/>
                  </a:moveTo>
                  <a:cubicBezTo>
                    <a:pt x="0" y="62"/>
                    <a:pt x="65" y="61"/>
                    <a:pt x="103" y="49"/>
                  </a:cubicBezTo>
                  <a:cubicBezTo>
                    <a:pt x="103" y="49"/>
                    <a:pt x="123" y="47"/>
                    <a:pt x="83" y="48"/>
                  </a:cubicBezTo>
                  <a:cubicBezTo>
                    <a:pt x="43" y="48"/>
                    <a:pt x="11" y="55"/>
                    <a:pt x="10" y="39"/>
                  </a:cubicBezTo>
                  <a:cubicBezTo>
                    <a:pt x="10" y="39"/>
                    <a:pt x="6" y="31"/>
                    <a:pt x="23" y="31"/>
                  </a:cubicBezTo>
                  <a:cubicBezTo>
                    <a:pt x="40" y="31"/>
                    <a:pt x="129" y="29"/>
                    <a:pt x="131" y="0"/>
                  </a:cubicBezTo>
                  <a:cubicBezTo>
                    <a:pt x="131" y="0"/>
                    <a:pt x="145" y="35"/>
                    <a:pt x="118" y="45"/>
                  </a:cubicBezTo>
                  <a:cubicBezTo>
                    <a:pt x="118" y="45"/>
                    <a:pt x="76" y="65"/>
                    <a:pt x="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 name="Freeform 160">
              <a:extLst>
                <a:ext uri="{FF2B5EF4-FFF2-40B4-BE49-F238E27FC236}">
                  <a16:creationId xmlns:a16="http://schemas.microsoft.com/office/drawing/2014/main" id="{53782C66-CF79-45B9-ACBB-4A08F3091BDB}"/>
                </a:ext>
              </a:extLst>
            </p:cNvPr>
            <p:cNvSpPr>
              <a:spLocks noEditPoints="1"/>
            </p:cNvSpPr>
            <p:nvPr/>
          </p:nvSpPr>
          <p:spPr bwMode="auto">
            <a:xfrm>
              <a:off x="1563688" y="1870075"/>
              <a:ext cx="382588" cy="114300"/>
            </a:xfrm>
            <a:custGeom>
              <a:avLst/>
              <a:gdLst>
                <a:gd name="T0" fmla="*/ 163 w 238"/>
                <a:gd name="T1" fmla="*/ 24 h 71"/>
                <a:gd name="T2" fmla="*/ 238 w 238"/>
                <a:gd name="T3" fmla="*/ 71 h 71"/>
                <a:gd name="T4" fmla="*/ 238 w 238"/>
                <a:gd name="T5" fmla="*/ 71 h 71"/>
                <a:gd name="T6" fmla="*/ 238 w 238"/>
                <a:gd name="T7" fmla="*/ 71 h 71"/>
                <a:gd name="T8" fmla="*/ 163 w 238"/>
                <a:gd name="T9" fmla="*/ 24 h 71"/>
                <a:gd name="T10" fmla="*/ 80 w 238"/>
                <a:gd name="T11" fmla="*/ 8 h 71"/>
                <a:gd name="T12" fmla="*/ 91 w 238"/>
                <a:gd name="T13" fmla="*/ 8 h 71"/>
                <a:gd name="T14" fmla="*/ 109 w 238"/>
                <a:gd name="T15" fmla="*/ 10 h 71"/>
                <a:gd name="T16" fmla="*/ 80 w 238"/>
                <a:gd name="T17" fmla="*/ 8 h 71"/>
                <a:gd name="T18" fmla="*/ 0 w 238"/>
                <a:gd name="T19" fmla="*/ 0 h 71"/>
                <a:gd name="T20" fmla="*/ 10 w 238"/>
                <a:gd name="T21" fmla="*/ 2 h 71"/>
                <a:gd name="T22" fmla="*/ 0 w 238"/>
                <a:gd name="T2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71">
                  <a:moveTo>
                    <a:pt x="163" y="24"/>
                  </a:moveTo>
                  <a:cubicBezTo>
                    <a:pt x="185" y="33"/>
                    <a:pt x="211" y="47"/>
                    <a:pt x="238" y="71"/>
                  </a:cubicBezTo>
                  <a:cubicBezTo>
                    <a:pt x="238" y="71"/>
                    <a:pt x="238" y="71"/>
                    <a:pt x="238" y="71"/>
                  </a:cubicBezTo>
                  <a:cubicBezTo>
                    <a:pt x="238" y="71"/>
                    <a:pt x="238" y="71"/>
                    <a:pt x="238" y="71"/>
                  </a:cubicBezTo>
                  <a:cubicBezTo>
                    <a:pt x="221" y="54"/>
                    <a:pt x="195" y="36"/>
                    <a:pt x="163" y="24"/>
                  </a:cubicBezTo>
                  <a:moveTo>
                    <a:pt x="80" y="8"/>
                  </a:moveTo>
                  <a:cubicBezTo>
                    <a:pt x="84" y="8"/>
                    <a:pt x="88" y="8"/>
                    <a:pt x="91" y="8"/>
                  </a:cubicBezTo>
                  <a:cubicBezTo>
                    <a:pt x="95" y="9"/>
                    <a:pt x="101" y="9"/>
                    <a:pt x="109" y="10"/>
                  </a:cubicBezTo>
                  <a:cubicBezTo>
                    <a:pt x="100" y="9"/>
                    <a:pt x="90" y="8"/>
                    <a:pt x="80" y="8"/>
                  </a:cubicBezTo>
                  <a:moveTo>
                    <a:pt x="0" y="0"/>
                  </a:moveTo>
                  <a:cubicBezTo>
                    <a:pt x="3" y="1"/>
                    <a:pt x="7" y="2"/>
                    <a:pt x="10"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1" name="Freeform 161">
              <a:extLst>
                <a:ext uri="{FF2B5EF4-FFF2-40B4-BE49-F238E27FC236}">
                  <a16:creationId xmlns:a16="http://schemas.microsoft.com/office/drawing/2014/main" id="{772832A6-B454-42C3-93B9-D2F571043AD0}"/>
                </a:ext>
              </a:extLst>
            </p:cNvPr>
            <p:cNvSpPr>
              <a:spLocks/>
            </p:cNvSpPr>
            <p:nvPr/>
          </p:nvSpPr>
          <p:spPr bwMode="auto">
            <a:xfrm>
              <a:off x="1439863" y="1830388"/>
              <a:ext cx="592138" cy="336550"/>
            </a:xfrm>
            <a:custGeom>
              <a:avLst/>
              <a:gdLst>
                <a:gd name="T0" fmla="*/ 36 w 368"/>
                <a:gd name="T1" fmla="*/ 0 h 209"/>
                <a:gd name="T2" fmla="*/ 25 w 368"/>
                <a:gd name="T3" fmla="*/ 20 h 209"/>
                <a:gd name="T4" fmla="*/ 16 w 368"/>
                <a:gd name="T5" fmla="*/ 88 h 209"/>
                <a:gd name="T6" fmla="*/ 41 w 368"/>
                <a:gd name="T7" fmla="*/ 136 h 209"/>
                <a:gd name="T8" fmla="*/ 53 w 368"/>
                <a:gd name="T9" fmla="*/ 135 h 209"/>
                <a:gd name="T10" fmla="*/ 157 w 368"/>
                <a:gd name="T11" fmla="*/ 125 h 209"/>
                <a:gd name="T12" fmla="*/ 262 w 368"/>
                <a:gd name="T13" fmla="*/ 150 h 209"/>
                <a:gd name="T14" fmla="*/ 327 w 368"/>
                <a:gd name="T15" fmla="*/ 209 h 209"/>
                <a:gd name="T16" fmla="*/ 330 w 368"/>
                <a:gd name="T17" fmla="*/ 204 h 209"/>
                <a:gd name="T18" fmla="*/ 311 w 368"/>
                <a:gd name="T19" fmla="*/ 146 h 209"/>
                <a:gd name="T20" fmla="*/ 314 w 368"/>
                <a:gd name="T21" fmla="*/ 145 h 209"/>
                <a:gd name="T22" fmla="*/ 363 w 368"/>
                <a:gd name="T23" fmla="*/ 207 h 209"/>
                <a:gd name="T24" fmla="*/ 364 w 368"/>
                <a:gd name="T25" fmla="*/ 207 h 209"/>
                <a:gd name="T26" fmla="*/ 361 w 368"/>
                <a:gd name="T27" fmla="*/ 180 h 209"/>
                <a:gd name="T28" fmla="*/ 352 w 368"/>
                <a:gd name="T29" fmla="*/ 150 h 209"/>
                <a:gd name="T30" fmla="*/ 315 w 368"/>
                <a:gd name="T31" fmla="*/ 96 h 209"/>
                <a:gd name="T32" fmla="*/ 315 w 368"/>
                <a:gd name="T33" fmla="*/ 96 h 209"/>
                <a:gd name="T34" fmla="*/ 240 w 368"/>
                <a:gd name="T35" fmla="*/ 49 h 209"/>
                <a:gd name="T36" fmla="*/ 186 w 368"/>
                <a:gd name="T37" fmla="*/ 35 h 209"/>
                <a:gd name="T38" fmla="*/ 168 w 368"/>
                <a:gd name="T39" fmla="*/ 33 h 209"/>
                <a:gd name="T40" fmla="*/ 157 w 368"/>
                <a:gd name="T41" fmla="*/ 33 h 209"/>
                <a:gd name="T42" fmla="*/ 150 w 368"/>
                <a:gd name="T43" fmla="*/ 32 h 209"/>
                <a:gd name="T44" fmla="*/ 87 w 368"/>
                <a:gd name="T45" fmla="*/ 27 h 209"/>
                <a:gd name="T46" fmla="*/ 77 w 368"/>
                <a:gd name="T47" fmla="*/ 25 h 209"/>
                <a:gd name="T48" fmla="*/ 40 w 368"/>
                <a:gd name="T49" fmla="*/ 0 h 209"/>
                <a:gd name="T50" fmla="*/ 36 w 368"/>
                <a:gd name="T5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8" h="209">
                  <a:moveTo>
                    <a:pt x="36" y="0"/>
                  </a:moveTo>
                  <a:cubicBezTo>
                    <a:pt x="33" y="0"/>
                    <a:pt x="27" y="3"/>
                    <a:pt x="25" y="20"/>
                  </a:cubicBezTo>
                  <a:cubicBezTo>
                    <a:pt x="21" y="47"/>
                    <a:pt x="35" y="51"/>
                    <a:pt x="16" y="88"/>
                  </a:cubicBezTo>
                  <a:cubicBezTo>
                    <a:pt x="0" y="119"/>
                    <a:pt x="18" y="136"/>
                    <a:pt x="41" y="136"/>
                  </a:cubicBezTo>
                  <a:cubicBezTo>
                    <a:pt x="45" y="136"/>
                    <a:pt x="49" y="135"/>
                    <a:pt x="53" y="135"/>
                  </a:cubicBezTo>
                  <a:cubicBezTo>
                    <a:pt x="67" y="131"/>
                    <a:pt x="112" y="125"/>
                    <a:pt x="157" y="125"/>
                  </a:cubicBezTo>
                  <a:cubicBezTo>
                    <a:pt x="199" y="125"/>
                    <a:pt x="243" y="131"/>
                    <a:pt x="262" y="150"/>
                  </a:cubicBezTo>
                  <a:cubicBezTo>
                    <a:pt x="294" y="182"/>
                    <a:pt x="318" y="209"/>
                    <a:pt x="327" y="209"/>
                  </a:cubicBezTo>
                  <a:cubicBezTo>
                    <a:pt x="329" y="209"/>
                    <a:pt x="330" y="207"/>
                    <a:pt x="330" y="204"/>
                  </a:cubicBezTo>
                  <a:cubicBezTo>
                    <a:pt x="330" y="186"/>
                    <a:pt x="294" y="153"/>
                    <a:pt x="311" y="146"/>
                  </a:cubicBezTo>
                  <a:cubicBezTo>
                    <a:pt x="312" y="145"/>
                    <a:pt x="313" y="145"/>
                    <a:pt x="314" y="145"/>
                  </a:cubicBezTo>
                  <a:cubicBezTo>
                    <a:pt x="332" y="145"/>
                    <a:pt x="363" y="207"/>
                    <a:pt x="363" y="207"/>
                  </a:cubicBezTo>
                  <a:cubicBezTo>
                    <a:pt x="363" y="207"/>
                    <a:pt x="364" y="207"/>
                    <a:pt x="364" y="207"/>
                  </a:cubicBezTo>
                  <a:cubicBezTo>
                    <a:pt x="365" y="207"/>
                    <a:pt x="368" y="205"/>
                    <a:pt x="361" y="180"/>
                  </a:cubicBezTo>
                  <a:cubicBezTo>
                    <a:pt x="352" y="150"/>
                    <a:pt x="352" y="150"/>
                    <a:pt x="352" y="150"/>
                  </a:cubicBezTo>
                  <a:cubicBezTo>
                    <a:pt x="352" y="150"/>
                    <a:pt x="347" y="127"/>
                    <a:pt x="315" y="96"/>
                  </a:cubicBezTo>
                  <a:cubicBezTo>
                    <a:pt x="315" y="96"/>
                    <a:pt x="315" y="96"/>
                    <a:pt x="315" y="96"/>
                  </a:cubicBezTo>
                  <a:cubicBezTo>
                    <a:pt x="288" y="72"/>
                    <a:pt x="262" y="58"/>
                    <a:pt x="240" y="49"/>
                  </a:cubicBezTo>
                  <a:cubicBezTo>
                    <a:pt x="223" y="43"/>
                    <a:pt x="205" y="38"/>
                    <a:pt x="186" y="35"/>
                  </a:cubicBezTo>
                  <a:cubicBezTo>
                    <a:pt x="178" y="34"/>
                    <a:pt x="172" y="34"/>
                    <a:pt x="168" y="33"/>
                  </a:cubicBezTo>
                  <a:cubicBezTo>
                    <a:pt x="165" y="33"/>
                    <a:pt x="161" y="33"/>
                    <a:pt x="157" y="33"/>
                  </a:cubicBezTo>
                  <a:cubicBezTo>
                    <a:pt x="154" y="32"/>
                    <a:pt x="152" y="32"/>
                    <a:pt x="150" y="32"/>
                  </a:cubicBezTo>
                  <a:cubicBezTo>
                    <a:pt x="123" y="32"/>
                    <a:pt x="103" y="30"/>
                    <a:pt x="87" y="27"/>
                  </a:cubicBezTo>
                  <a:cubicBezTo>
                    <a:pt x="84" y="27"/>
                    <a:pt x="80" y="26"/>
                    <a:pt x="77" y="25"/>
                  </a:cubicBezTo>
                  <a:cubicBezTo>
                    <a:pt x="56" y="19"/>
                    <a:pt x="45" y="10"/>
                    <a:pt x="40" y="0"/>
                  </a:cubicBezTo>
                  <a:cubicBezTo>
                    <a:pt x="40" y="0"/>
                    <a:pt x="38"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2" name="Freeform 162">
              <a:extLst>
                <a:ext uri="{FF2B5EF4-FFF2-40B4-BE49-F238E27FC236}">
                  <a16:creationId xmlns:a16="http://schemas.microsoft.com/office/drawing/2014/main" id="{EF9FB776-A0FC-49DA-AF12-298CA05EC451}"/>
                </a:ext>
              </a:extLst>
            </p:cNvPr>
            <p:cNvSpPr>
              <a:spLocks/>
            </p:cNvSpPr>
            <p:nvPr/>
          </p:nvSpPr>
          <p:spPr bwMode="auto">
            <a:xfrm>
              <a:off x="635000" y="2006600"/>
              <a:ext cx="611188" cy="230188"/>
            </a:xfrm>
            <a:custGeom>
              <a:avLst/>
              <a:gdLst>
                <a:gd name="T0" fmla="*/ 33 w 379"/>
                <a:gd name="T1" fmla="*/ 12 h 142"/>
                <a:gd name="T2" fmla="*/ 3 w 379"/>
                <a:gd name="T3" fmla="*/ 44 h 142"/>
                <a:gd name="T4" fmla="*/ 55 w 379"/>
                <a:gd name="T5" fmla="*/ 100 h 142"/>
                <a:gd name="T6" fmla="*/ 250 w 379"/>
                <a:gd name="T7" fmla="*/ 96 h 142"/>
                <a:gd name="T8" fmla="*/ 366 w 379"/>
                <a:gd name="T9" fmla="*/ 128 h 142"/>
                <a:gd name="T10" fmla="*/ 297 w 379"/>
                <a:gd name="T11" fmla="*/ 52 h 142"/>
                <a:gd name="T12" fmla="*/ 230 w 379"/>
                <a:gd name="T13" fmla="*/ 11 h 142"/>
                <a:gd name="T14" fmla="*/ 131 w 379"/>
                <a:gd name="T15" fmla="*/ 23 h 142"/>
                <a:gd name="T16" fmla="*/ 33 w 379"/>
                <a:gd name="T17"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142">
                  <a:moveTo>
                    <a:pt x="33" y="12"/>
                  </a:moveTo>
                  <a:cubicBezTo>
                    <a:pt x="33" y="12"/>
                    <a:pt x="5" y="8"/>
                    <a:pt x="3" y="44"/>
                  </a:cubicBezTo>
                  <a:cubicBezTo>
                    <a:pt x="0" y="81"/>
                    <a:pt x="11" y="98"/>
                    <a:pt x="55" y="100"/>
                  </a:cubicBezTo>
                  <a:cubicBezTo>
                    <a:pt x="99" y="102"/>
                    <a:pt x="213" y="70"/>
                    <a:pt x="250" y="96"/>
                  </a:cubicBezTo>
                  <a:cubicBezTo>
                    <a:pt x="288" y="121"/>
                    <a:pt x="353" y="142"/>
                    <a:pt x="366" y="128"/>
                  </a:cubicBezTo>
                  <a:cubicBezTo>
                    <a:pt x="379" y="113"/>
                    <a:pt x="319" y="90"/>
                    <a:pt x="297" y="52"/>
                  </a:cubicBezTo>
                  <a:cubicBezTo>
                    <a:pt x="276" y="15"/>
                    <a:pt x="279" y="0"/>
                    <a:pt x="230" y="11"/>
                  </a:cubicBezTo>
                  <a:cubicBezTo>
                    <a:pt x="180" y="21"/>
                    <a:pt x="201" y="25"/>
                    <a:pt x="131" y="23"/>
                  </a:cubicBezTo>
                  <a:cubicBezTo>
                    <a:pt x="61" y="21"/>
                    <a:pt x="56" y="12"/>
                    <a:pt x="3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3" name="Freeform 163">
              <a:extLst>
                <a:ext uri="{FF2B5EF4-FFF2-40B4-BE49-F238E27FC236}">
                  <a16:creationId xmlns:a16="http://schemas.microsoft.com/office/drawing/2014/main" id="{8116EE2B-C05A-483E-A5DD-78C6FEEE39D2}"/>
                </a:ext>
              </a:extLst>
            </p:cNvPr>
            <p:cNvSpPr>
              <a:spLocks/>
            </p:cNvSpPr>
            <p:nvPr/>
          </p:nvSpPr>
          <p:spPr bwMode="auto">
            <a:xfrm>
              <a:off x="1392238" y="2030413"/>
              <a:ext cx="547688" cy="279400"/>
            </a:xfrm>
            <a:custGeom>
              <a:avLst/>
              <a:gdLst>
                <a:gd name="T0" fmla="*/ 80 w 340"/>
                <a:gd name="T1" fmla="*/ 14 h 174"/>
                <a:gd name="T2" fmla="*/ 69 w 340"/>
                <a:gd name="T3" fmla="*/ 51 h 174"/>
                <a:gd name="T4" fmla="*/ 21 w 340"/>
                <a:gd name="T5" fmla="*/ 100 h 174"/>
                <a:gd name="T6" fmla="*/ 72 w 340"/>
                <a:gd name="T7" fmla="*/ 102 h 174"/>
                <a:gd name="T8" fmla="*/ 169 w 340"/>
                <a:gd name="T9" fmla="*/ 69 h 174"/>
                <a:gd name="T10" fmla="*/ 255 w 340"/>
                <a:gd name="T11" fmla="*/ 122 h 174"/>
                <a:gd name="T12" fmla="*/ 269 w 340"/>
                <a:gd name="T13" fmla="*/ 155 h 174"/>
                <a:gd name="T14" fmla="*/ 286 w 340"/>
                <a:gd name="T15" fmla="*/ 114 h 174"/>
                <a:gd name="T16" fmla="*/ 317 w 340"/>
                <a:gd name="T17" fmla="*/ 88 h 174"/>
                <a:gd name="T18" fmla="*/ 305 w 340"/>
                <a:gd name="T19" fmla="*/ 42 h 174"/>
                <a:gd name="T20" fmla="*/ 192 w 340"/>
                <a:gd name="T21" fmla="*/ 0 h 174"/>
                <a:gd name="T22" fmla="*/ 80 w 340"/>
                <a:gd name="T23" fmla="*/ 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74">
                  <a:moveTo>
                    <a:pt x="80" y="14"/>
                  </a:moveTo>
                  <a:cubicBezTo>
                    <a:pt x="80" y="14"/>
                    <a:pt x="61" y="25"/>
                    <a:pt x="69" y="51"/>
                  </a:cubicBezTo>
                  <a:cubicBezTo>
                    <a:pt x="76" y="77"/>
                    <a:pt x="42" y="90"/>
                    <a:pt x="21" y="100"/>
                  </a:cubicBezTo>
                  <a:cubicBezTo>
                    <a:pt x="0" y="109"/>
                    <a:pt x="24" y="120"/>
                    <a:pt x="72" y="102"/>
                  </a:cubicBezTo>
                  <a:cubicBezTo>
                    <a:pt x="121" y="85"/>
                    <a:pt x="127" y="66"/>
                    <a:pt x="169" y="69"/>
                  </a:cubicBezTo>
                  <a:cubicBezTo>
                    <a:pt x="211" y="73"/>
                    <a:pt x="252" y="90"/>
                    <a:pt x="255" y="122"/>
                  </a:cubicBezTo>
                  <a:cubicBezTo>
                    <a:pt x="258" y="155"/>
                    <a:pt x="263" y="174"/>
                    <a:pt x="269" y="155"/>
                  </a:cubicBezTo>
                  <a:cubicBezTo>
                    <a:pt x="276" y="136"/>
                    <a:pt x="288" y="134"/>
                    <a:pt x="286" y="114"/>
                  </a:cubicBezTo>
                  <a:cubicBezTo>
                    <a:pt x="284" y="93"/>
                    <a:pt x="295" y="87"/>
                    <a:pt x="317" y="88"/>
                  </a:cubicBezTo>
                  <a:cubicBezTo>
                    <a:pt x="340" y="90"/>
                    <a:pt x="327" y="67"/>
                    <a:pt x="305" y="42"/>
                  </a:cubicBezTo>
                  <a:cubicBezTo>
                    <a:pt x="283" y="17"/>
                    <a:pt x="277" y="0"/>
                    <a:pt x="192" y="0"/>
                  </a:cubicBezTo>
                  <a:cubicBezTo>
                    <a:pt x="106" y="0"/>
                    <a:pt x="90" y="3"/>
                    <a:pt x="8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4" name="Freeform 164">
              <a:extLst>
                <a:ext uri="{FF2B5EF4-FFF2-40B4-BE49-F238E27FC236}">
                  <a16:creationId xmlns:a16="http://schemas.microsoft.com/office/drawing/2014/main" id="{1E2DFF16-32B2-4ECD-935F-3F94853978F0}"/>
                </a:ext>
              </a:extLst>
            </p:cNvPr>
            <p:cNvSpPr>
              <a:spLocks/>
            </p:cNvSpPr>
            <p:nvPr/>
          </p:nvSpPr>
          <p:spPr bwMode="auto">
            <a:xfrm>
              <a:off x="1882775" y="2297113"/>
              <a:ext cx="180975" cy="127000"/>
            </a:xfrm>
            <a:custGeom>
              <a:avLst/>
              <a:gdLst>
                <a:gd name="T0" fmla="*/ 110 w 113"/>
                <a:gd name="T1" fmla="*/ 0 h 79"/>
                <a:gd name="T2" fmla="*/ 113 w 113"/>
                <a:gd name="T3" fmla="*/ 41 h 79"/>
                <a:gd name="T4" fmla="*/ 0 w 113"/>
                <a:gd name="T5" fmla="*/ 55 h 79"/>
                <a:gd name="T6" fmla="*/ 110 w 113"/>
                <a:gd name="T7" fmla="*/ 0 h 79"/>
              </a:gdLst>
              <a:ahLst/>
              <a:cxnLst>
                <a:cxn ang="0">
                  <a:pos x="T0" y="T1"/>
                </a:cxn>
                <a:cxn ang="0">
                  <a:pos x="T2" y="T3"/>
                </a:cxn>
                <a:cxn ang="0">
                  <a:pos x="T4" y="T5"/>
                </a:cxn>
                <a:cxn ang="0">
                  <a:pos x="T6" y="T7"/>
                </a:cxn>
              </a:cxnLst>
              <a:rect l="0" t="0" r="r" b="b"/>
              <a:pathLst>
                <a:path w="113" h="79">
                  <a:moveTo>
                    <a:pt x="110" y="0"/>
                  </a:moveTo>
                  <a:cubicBezTo>
                    <a:pt x="113" y="41"/>
                    <a:pt x="113" y="41"/>
                    <a:pt x="113" y="41"/>
                  </a:cubicBezTo>
                  <a:cubicBezTo>
                    <a:pt x="113" y="41"/>
                    <a:pt x="81" y="77"/>
                    <a:pt x="0" y="55"/>
                  </a:cubicBezTo>
                  <a:cubicBezTo>
                    <a:pt x="0" y="55"/>
                    <a:pt x="113" y="79"/>
                    <a:pt x="1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5" name="Freeform 165">
              <a:extLst>
                <a:ext uri="{FF2B5EF4-FFF2-40B4-BE49-F238E27FC236}">
                  <a16:creationId xmlns:a16="http://schemas.microsoft.com/office/drawing/2014/main" id="{13BE4FC8-E004-4DB6-8422-2F8FA540393F}"/>
                </a:ext>
              </a:extLst>
            </p:cNvPr>
            <p:cNvSpPr>
              <a:spLocks/>
            </p:cNvSpPr>
            <p:nvPr/>
          </p:nvSpPr>
          <p:spPr bwMode="auto">
            <a:xfrm>
              <a:off x="966788" y="1071563"/>
              <a:ext cx="30163" cy="150813"/>
            </a:xfrm>
            <a:custGeom>
              <a:avLst/>
              <a:gdLst>
                <a:gd name="T0" fmla="*/ 16 w 19"/>
                <a:gd name="T1" fmla="*/ 4 h 93"/>
                <a:gd name="T2" fmla="*/ 12 w 19"/>
                <a:gd name="T3" fmla="*/ 7 h 93"/>
                <a:gd name="T4" fmla="*/ 17 w 19"/>
                <a:gd name="T5" fmla="*/ 17 h 93"/>
                <a:gd name="T6" fmla="*/ 14 w 19"/>
                <a:gd name="T7" fmla="*/ 92 h 93"/>
                <a:gd name="T8" fmla="*/ 11 w 19"/>
                <a:gd name="T9" fmla="*/ 79 h 93"/>
                <a:gd name="T10" fmla="*/ 10 w 19"/>
                <a:gd name="T11" fmla="*/ 31 h 93"/>
                <a:gd name="T12" fmla="*/ 1 w 19"/>
                <a:gd name="T13" fmla="*/ 37 h 93"/>
                <a:gd name="T14" fmla="*/ 16 w 19"/>
                <a:gd name="T15" fmla="*/ 4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3">
                  <a:moveTo>
                    <a:pt x="16" y="4"/>
                  </a:moveTo>
                  <a:cubicBezTo>
                    <a:pt x="16" y="4"/>
                    <a:pt x="12" y="3"/>
                    <a:pt x="12" y="7"/>
                  </a:cubicBezTo>
                  <a:cubicBezTo>
                    <a:pt x="12" y="11"/>
                    <a:pt x="17" y="11"/>
                    <a:pt x="17" y="17"/>
                  </a:cubicBezTo>
                  <a:cubicBezTo>
                    <a:pt x="17" y="23"/>
                    <a:pt x="19" y="92"/>
                    <a:pt x="14" y="92"/>
                  </a:cubicBezTo>
                  <a:cubicBezTo>
                    <a:pt x="9" y="92"/>
                    <a:pt x="10" y="93"/>
                    <a:pt x="11" y="79"/>
                  </a:cubicBezTo>
                  <a:cubicBezTo>
                    <a:pt x="13" y="65"/>
                    <a:pt x="12" y="41"/>
                    <a:pt x="10" y="31"/>
                  </a:cubicBezTo>
                  <a:cubicBezTo>
                    <a:pt x="8" y="21"/>
                    <a:pt x="2" y="55"/>
                    <a:pt x="1" y="37"/>
                  </a:cubicBezTo>
                  <a:cubicBezTo>
                    <a:pt x="0" y="18"/>
                    <a:pt x="2"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6" name="Freeform 166">
              <a:extLst>
                <a:ext uri="{FF2B5EF4-FFF2-40B4-BE49-F238E27FC236}">
                  <a16:creationId xmlns:a16="http://schemas.microsoft.com/office/drawing/2014/main" id="{46B97070-6F5C-4C51-AA7B-2DDE49F137DB}"/>
                </a:ext>
              </a:extLst>
            </p:cNvPr>
            <p:cNvSpPr>
              <a:spLocks/>
            </p:cNvSpPr>
            <p:nvPr/>
          </p:nvSpPr>
          <p:spPr bwMode="auto">
            <a:xfrm>
              <a:off x="985838" y="1076325"/>
              <a:ext cx="211138" cy="33338"/>
            </a:xfrm>
            <a:custGeom>
              <a:avLst/>
              <a:gdLst>
                <a:gd name="T0" fmla="*/ 0 w 131"/>
                <a:gd name="T1" fmla="*/ 4 h 20"/>
                <a:gd name="T2" fmla="*/ 15 w 131"/>
                <a:gd name="T3" fmla="*/ 9 h 20"/>
                <a:gd name="T4" fmla="*/ 116 w 131"/>
                <a:gd name="T5" fmla="*/ 13 h 20"/>
                <a:gd name="T6" fmla="*/ 128 w 131"/>
                <a:gd name="T7" fmla="*/ 16 h 20"/>
                <a:gd name="T8" fmla="*/ 131 w 131"/>
                <a:gd name="T9" fmla="*/ 16 h 20"/>
                <a:gd name="T10" fmla="*/ 125 w 131"/>
                <a:gd name="T11" fmla="*/ 9 h 20"/>
                <a:gd name="T12" fmla="*/ 0 w 131"/>
                <a:gd name="T13" fmla="*/ 4 h 20"/>
              </a:gdLst>
              <a:ahLst/>
              <a:cxnLst>
                <a:cxn ang="0">
                  <a:pos x="T0" y="T1"/>
                </a:cxn>
                <a:cxn ang="0">
                  <a:pos x="T2" y="T3"/>
                </a:cxn>
                <a:cxn ang="0">
                  <a:pos x="T4" y="T5"/>
                </a:cxn>
                <a:cxn ang="0">
                  <a:pos x="T6" y="T7"/>
                </a:cxn>
                <a:cxn ang="0">
                  <a:pos x="T8" y="T9"/>
                </a:cxn>
                <a:cxn ang="0">
                  <a:pos x="T10" y="T11"/>
                </a:cxn>
                <a:cxn ang="0">
                  <a:pos x="T12" y="T13"/>
                </a:cxn>
              </a:cxnLst>
              <a:rect l="0" t="0" r="r" b="b"/>
              <a:pathLst>
                <a:path w="131" h="20">
                  <a:moveTo>
                    <a:pt x="0" y="4"/>
                  </a:moveTo>
                  <a:cubicBezTo>
                    <a:pt x="0" y="8"/>
                    <a:pt x="1" y="10"/>
                    <a:pt x="15" y="9"/>
                  </a:cubicBezTo>
                  <a:cubicBezTo>
                    <a:pt x="29" y="9"/>
                    <a:pt x="110" y="13"/>
                    <a:pt x="116" y="13"/>
                  </a:cubicBezTo>
                  <a:cubicBezTo>
                    <a:pt x="121" y="13"/>
                    <a:pt x="126" y="13"/>
                    <a:pt x="128" y="16"/>
                  </a:cubicBezTo>
                  <a:cubicBezTo>
                    <a:pt x="131" y="19"/>
                    <a:pt x="131" y="20"/>
                    <a:pt x="131" y="16"/>
                  </a:cubicBezTo>
                  <a:cubicBezTo>
                    <a:pt x="130" y="12"/>
                    <a:pt x="130" y="9"/>
                    <a:pt x="125" y="9"/>
                  </a:cubicBezTo>
                  <a:cubicBezTo>
                    <a:pt x="120" y="8"/>
                    <a:pt x="0" y="0"/>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7" name="Freeform 167">
              <a:extLst>
                <a:ext uri="{FF2B5EF4-FFF2-40B4-BE49-F238E27FC236}">
                  <a16:creationId xmlns:a16="http://schemas.microsoft.com/office/drawing/2014/main" id="{8B31C10B-506E-424D-9E88-A636940178D7}"/>
                </a:ext>
              </a:extLst>
            </p:cNvPr>
            <p:cNvSpPr>
              <a:spLocks/>
            </p:cNvSpPr>
            <p:nvPr/>
          </p:nvSpPr>
          <p:spPr bwMode="auto">
            <a:xfrm>
              <a:off x="1187450" y="1081088"/>
              <a:ext cx="20638" cy="106363"/>
            </a:xfrm>
            <a:custGeom>
              <a:avLst/>
              <a:gdLst>
                <a:gd name="T0" fmla="*/ 4 w 13"/>
                <a:gd name="T1" fmla="*/ 1 h 66"/>
                <a:gd name="T2" fmla="*/ 9 w 13"/>
                <a:gd name="T3" fmla="*/ 11 h 66"/>
                <a:gd name="T4" fmla="*/ 10 w 13"/>
                <a:gd name="T5" fmla="*/ 66 h 66"/>
                <a:gd name="T6" fmla="*/ 6 w 13"/>
                <a:gd name="T7" fmla="*/ 15 h 66"/>
                <a:gd name="T8" fmla="*/ 0 w 13"/>
                <a:gd name="T9" fmla="*/ 6 h 66"/>
                <a:gd name="T10" fmla="*/ 4 w 13"/>
                <a:gd name="T11" fmla="*/ 1 h 66"/>
              </a:gdLst>
              <a:ahLst/>
              <a:cxnLst>
                <a:cxn ang="0">
                  <a:pos x="T0" y="T1"/>
                </a:cxn>
                <a:cxn ang="0">
                  <a:pos x="T2" y="T3"/>
                </a:cxn>
                <a:cxn ang="0">
                  <a:pos x="T4" y="T5"/>
                </a:cxn>
                <a:cxn ang="0">
                  <a:pos x="T6" y="T7"/>
                </a:cxn>
                <a:cxn ang="0">
                  <a:pos x="T8" y="T9"/>
                </a:cxn>
                <a:cxn ang="0">
                  <a:pos x="T10" y="T11"/>
                </a:cxn>
              </a:cxnLst>
              <a:rect l="0" t="0" r="r" b="b"/>
              <a:pathLst>
                <a:path w="13" h="66">
                  <a:moveTo>
                    <a:pt x="4" y="1"/>
                  </a:moveTo>
                  <a:cubicBezTo>
                    <a:pt x="4" y="1"/>
                    <a:pt x="8" y="10"/>
                    <a:pt x="9" y="11"/>
                  </a:cubicBezTo>
                  <a:cubicBezTo>
                    <a:pt x="9" y="12"/>
                    <a:pt x="13" y="55"/>
                    <a:pt x="10" y="66"/>
                  </a:cubicBezTo>
                  <a:cubicBezTo>
                    <a:pt x="10" y="66"/>
                    <a:pt x="11" y="27"/>
                    <a:pt x="6" y="15"/>
                  </a:cubicBezTo>
                  <a:cubicBezTo>
                    <a:pt x="6" y="15"/>
                    <a:pt x="6" y="7"/>
                    <a:pt x="0" y="6"/>
                  </a:cubicBezTo>
                  <a:cubicBezTo>
                    <a:pt x="0" y="6"/>
                    <a:pt x="1"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8" name="Freeform 168">
              <a:extLst>
                <a:ext uri="{FF2B5EF4-FFF2-40B4-BE49-F238E27FC236}">
                  <a16:creationId xmlns:a16="http://schemas.microsoft.com/office/drawing/2014/main" id="{AD3C7194-DD62-4BB9-B8FB-66F288A3445D}"/>
                </a:ext>
              </a:extLst>
            </p:cNvPr>
            <p:cNvSpPr>
              <a:spLocks/>
            </p:cNvSpPr>
            <p:nvPr/>
          </p:nvSpPr>
          <p:spPr bwMode="auto">
            <a:xfrm>
              <a:off x="1193800" y="1079500"/>
              <a:ext cx="33338" cy="31750"/>
            </a:xfrm>
            <a:custGeom>
              <a:avLst/>
              <a:gdLst>
                <a:gd name="T0" fmla="*/ 0 w 20"/>
                <a:gd name="T1" fmla="*/ 1 h 19"/>
                <a:gd name="T2" fmla="*/ 2 w 20"/>
                <a:gd name="T3" fmla="*/ 7 h 19"/>
                <a:gd name="T4" fmla="*/ 15 w 20"/>
                <a:gd name="T5" fmla="*/ 7 h 19"/>
                <a:gd name="T6" fmla="*/ 18 w 20"/>
                <a:gd name="T7" fmla="*/ 19 h 19"/>
                <a:gd name="T8" fmla="*/ 14 w 20"/>
                <a:gd name="T9" fmla="*/ 0 h 19"/>
                <a:gd name="T10" fmla="*/ 0 w 20"/>
                <a:gd name="T11" fmla="*/ 1 h 19"/>
              </a:gdLst>
              <a:ahLst/>
              <a:cxnLst>
                <a:cxn ang="0">
                  <a:pos x="T0" y="T1"/>
                </a:cxn>
                <a:cxn ang="0">
                  <a:pos x="T2" y="T3"/>
                </a:cxn>
                <a:cxn ang="0">
                  <a:pos x="T4" y="T5"/>
                </a:cxn>
                <a:cxn ang="0">
                  <a:pos x="T6" y="T7"/>
                </a:cxn>
                <a:cxn ang="0">
                  <a:pos x="T8" y="T9"/>
                </a:cxn>
                <a:cxn ang="0">
                  <a:pos x="T10" y="T11"/>
                </a:cxn>
              </a:cxnLst>
              <a:rect l="0" t="0" r="r" b="b"/>
              <a:pathLst>
                <a:path w="20" h="19">
                  <a:moveTo>
                    <a:pt x="0" y="1"/>
                  </a:moveTo>
                  <a:cubicBezTo>
                    <a:pt x="0" y="1"/>
                    <a:pt x="1" y="5"/>
                    <a:pt x="2" y="7"/>
                  </a:cubicBezTo>
                  <a:cubicBezTo>
                    <a:pt x="4" y="9"/>
                    <a:pt x="13" y="2"/>
                    <a:pt x="15" y="7"/>
                  </a:cubicBezTo>
                  <a:cubicBezTo>
                    <a:pt x="16" y="12"/>
                    <a:pt x="18" y="9"/>
                    <a:pt x="18" y="19"/>
                  </a:cubicBezTo>
                  <a:cubicBezTo>
                    <a:pt x="18" y="19"/>
                    <a:pt x="20" y="4"/>
                    <a:pt x="14"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9" name="Freeform 169">
              <a:extLst>
                <a:ext uri="{FF2B5EF4-FFF2-40B4-BE49-F238E27FC236}">
                  <a16:creationId xmlns:a16="http://schemas.microsoft.com/office/drawing/2014/main" id="{B6A47855-54B7-413A-8E05-09ED655887FA}"/>
                </a:ext>
              </a:extLst>
            </p:cNvPr>
            <p:cNvSpPr>
              <a:spLocks/>
            </p:cNvSpPr>
            <p:nvPr/>
          </p:nvSpPr>
          <p:spPr bwMode="auto">
            <a:xfrm>
              <a:off x="1216025" y="1047750"/>
              <a:ext cx="117475" cy="176213"/>
            </a:xfrm>
            <a:custGeom>
              <a:avLst/>
              <a:gdLst>
                <a:gd name="T0" fmla="*/ 36 w 72"/>
                <a:gd name="T1" fmla="*/ 0 h 109"/>
                <a:gd name="T2" fmla="*/ 17 w 72"/>
                <a:gd name="T3" fmla="*/ 11 h 109"/>
                <a:gd name="T4" fmla="*/ 20 w 72"/>
                <a:gd name="T5" fmla="*/ 18 h 109"/>
                <a:gd name="T6" fmla="*/ 33 w 72"/>
                <a:gd name="T7" fmla="*/ 22 h 109"/>
                <a:gd name="T8" fmla="*/ 19 w 72"/>
                <a:gd name="T9" fmla="*/ 65 h 109"/>
                <a:gd name="T10" fmla="*/ 23 w 72"/>
                <a:gd name="T11" fmla="*/ 95 h 109"/>
                <a:gd name="T12" fmla="*/ 66 w 72"/>
                <a:gd name="T13" fmla="*/ 99 h 109"/>
                <a:gd name="T14" fmla="*/ 62 w 72"/>
                <a:gd name="T15" fmla="*/ 104 h 109"/>
                <a:gd name="T16" fmla="*/ 9 w 72"/>
                <a:gd name="T17" fmla="*/ 100 h 109"/>
                <a:gd name="T18" fmla="*/ 6 w 72"/>
                <a:gd name="T19" fmla="*/ 59 h 109"/>
                <a:gd name="T20" fmla="*/ 0 w 72"/>
                <a:gd name="T21" fmla="*/ 20 h 109"/>
                <a:gd name="T22" fmla="*/ 36 w 72"/>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09">
                  <a:moveTo>
                    <a:pt x="36" y="0"/>
                  </a:moveTo>
                  <a:cubicBezTo>
                    <a:pt x="36" y="0"/>
                    <a:pt x="22" y="4"/>
                    <a:pt x="17" y="11"/>
                  </a:cubicBezTo>
                  <a:cubicBezTo>
                    <a:pt x="12" y="18"/>
                    <a:pt x="11" y="21"/>
                    <a:pt x="20" y="18"/>
                  </a:cubicBezTo>
                  <a:cubicBezTo>
                    <a:pt x="30" y="15"/>
                    <a:pt x="39" y="10"/>
                    <a:pt x="33" y="22"/>
                  </a:cubicBezTo>
                  <a:cubicBezTo>
                    <a:pt x="26" y="35"/>
                    <a:pt x="12" y="47"/>
                    <a:pt x="19" y="65"/>
                  </a:cubicBezTo>
                  <a:cubicBezTo>
                    <a:pt x="25" y="82"/>
                    <a:pt x="6" y="88"/>
                    <a:pt x="23" y="95"/>
                  </a:cubicBezTo>
                  <a:cubicBezTo>
                    <a:pt x="39" y="102"/>
                    <a:pt x="66" y="99"/>
                    <a:pt x="66" y="99"/>
                  </a:cubicBezTo>
                  <a:cubicBezTo>
                    <a:pt x="66" y="99"/>
                    <a:pt x="72" y="104"/>
                    <a:pt x="62" y="104"/>
                  </a:cubicBezTo>
                  <a:cubicBezTo>
                    <a:pt x="53" y="104"/>
                    <a:pt x="14" y="109"/>
                    <a:pt x="9" y="100"/>
                  </a:cubicBezTo>
                  <a:cubicBezTo>
                    <a:pt x="4" y="92"/>
                    <a:pt x="7" y="77"/>
                    <a:pt x="6" y="59"/>
                  </a:cubicBezTo>
                  <a:cubicBezTo>
                    <a:pt x="5" y="40"/>
                    <a:pt x="6" y="25"/>
                    <a:pt x="0" y="20"/>
                  </a:cubicBezTo>
                  <a:cubicBezTo>
                    <a:pt x="0" y="20"/>
                    <a:pt x="8" y="1"/>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0" name="Freeform 170">
              <a:extLst>
                <a:ext uri="{FF2B5EF4-FFF2-40B4-BE49-F238E27FC236}">
                  <a16:creationId xmlns:a16="http://schemas.microsoft.com/office/drawing/2014/main" id="{FD91C6E6-9D85-4D4A-8597-7743302476D4}"/>
                </a:ext>
              </a:extLst>
            </p:cNvPr>
            <p:cNvSpPr>
              <a:spLocks/>
            </p:cNvSpPr>
            <p:nvPr/>
          </p:nvSpPr>
          <p:spPr bwMode="auto">
            <a:xfrm>
              <a:off x="1223963" y="1212850"/>
              <a:ext cx="47625" cy="106363"/>
            </a:xfrm>
            <a:custGeom>
              <a:avLst/>
              <a:gdLst>
                <a:gd name="T0" fmla="*/ 30 w 30"/>
                <a:gd name="T1" fmla="*/ 5 h 66"/>
                <a:gd name="T2" fmla="*/ 11 w 30"/>
                <a:gd name="T3" fmla="*/ 9 h 66"/>
                <a:gd name="T4" fmla="*/ 11 w 30"/>
                <a:gd name="T5" fmla="*/ 25 h 66"/>
                <a:gd name="T6" fmla="*/ 8 w 30"/>
                <a:gd name="T7" fmla="*/ 6 h 66"/>
                <a:gd name="T8" fmla="*/ 8 w 30"/>
                <a:gd name="T9" fmla="*/ 0 h 66"/>
                <a:gd name="T10" fmla="*/ 1 w 30"/>
                <a:gd name="T11" fmla="*/ 1 h 66"/>
                <a:gd name="T12" fmla="*/ 1 w 30"/>
                <a:gd name="T13" fmla="*/ 31 h 66"/>
                <a:gd name="T14" fmla="*/ 12 w 30"/>
                <a:gd name="T15" fmla="*/ 53 h 66"/>
                <a:gd name="T16" fmla="*/ 22 w 30"/>
                <a:gd name="T17" fmla="*/ 32 h 66"/>
                <a:gd name="T18" fmla="*/ 30 w 30"/>
                <a:gd name="T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6">
                  <a:moveTo>
                    <a:pt x="30" y="5"/>
                  </a:moveTo>
                  <a:cubicBezTo>
                    <a:pt x="30" y="5"/>
                    <a:pt x="12" y="1"/>
                    <a:pt x="11" y="9"/>
                  </a:cubicBezTo>
                  <a:cubicBezTo>
                    <a:pt x="11" y="18"/>
                    <a:pt x="11" y="25"/>
                    <a:pt x="11" y="25"/>
                  </a:cubicBezTo>
                  <a:cubicBezTo>
                    <a:pt x="11" y="25"/>
                    <a:pt x="10" y="9"/>
                    <a:pt x="8" y="6"/>
                  </a:cubicBezTo>
                  <a:cubicBezTo>
                    <a:pt x="6" y="3"/>
                    <a:pt x="8" y="0"/>
                    <a:pt x="8" y="0"/>
                  </a:cubicBezTo>
                  <a:cubicBezTo>
                    <a:pt x="8" y="0"/>
                    <a:pt x="5" y="3"/>
                    <a:pt x="1" y="1"/>
                  </a:cubicBezTo>
                  <a:cubicBezTo>
                    <a:pt x="1" y="31"/>
                    <a:pt x="1" y="31"/>
                    <a:pt x="1" y="31"/>
                  </a:cubicBezTo>
                  <a:cubicBezTo>
                    <a:pt x="1" y="31"/>
                    <a:pt x="0" y="40"/>
                    <a:pt x="12" y="53"/>
                  </a:cubicBezTo>
                  <a:cubicBezTo>
                    <a:pt x="25" y="66"/>
                    <a:pt x="23" y="43"/>
                    <a:pt x="22" y="32"/>
                  </a:cubicBezTo>
                  <a:cubicBezTo>
                    <a:pt x="22" y="20"/>
                    <a:pt x="22" y="4"/>
                    <a:pt x="3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1" name="Freeform 171">
              <a:extLst>
                <a:ext uri="{FF2B5EF4-FFF2-40B4-BE49-F238E27FC236}">
                  <a16:creationId xmlns:a16="http://schemas.microsoft.com/office/drawing/2014/main" id="{0BEC20D3-B95A-4030-9EB9-066B42FD07ED}"/>
                </a:ext>
              </a:extLst>
            </p:cNvPr>
            <p:cNvSpPr>
              <a:spLocks/>
            </p:cNvSpPr>
            <p:nvPr/>
          </p:nvSpPr>
          <p:spPr bwMode="auto">
            <a:xfrm>
              <a:off x="1292225" y="1211263"/>
              <a:ext cx="58738" cy="93663"/>
            </a:xfrm>
            <a:custGeom>
              <a:avLst/>
              <a:gdLst>
                <a:gd name="T0" fmla="*/ 10 w 36"/>
                <a:gd name="T1" fmla="*/ 3 h 58"/>
                <a:gd name="T2" fmla="*/ 32 w 36"/>
                <a:gd name="T3" fmla="*/ 6 h 58"/>
                <a:gd name="T4" fmla="*/ 27 w 36"/>
                <a:gd name="T5" fmla="*/ 53 h 58"/>
                <a:gd name="T6" fmla="*/ 18 w 36"/>
                <a:gd name="T7" fmla="*/ 20 h 58"/>
                <a:gd name="T8" fmla="*/ 10 w 36"/>
                <a:gd name="T9" fmla="*/ 3 h 58"/>
              </a:gdLst>
              <a:ahLst/>
              <a:cxnLst>
                <a:cxn ang="0">
                  <a:pos x="T0" y="T1"/>
                </a:cxn>
                <a:cxn ang="0">
                  <a:pos x="T2" y="T3"/>
                </a:cxn>
                <a:cxn ang="0">
                  <a:pos x="T4" y="T5"/>
                </a:cxn>
                <a:cxn ang="0">
                  <a:pos x="T6" y="T7"/>
                </a:cxn>
                <a:cxn ang="0">
                  <a:pos x="T8" y="T9"/>
                </a:cxn>
              </a:cxnLst>
              <a:rect l="0" t="0" r="r" b="b"/>
              <a:pathLst>
                <a:path w="36" h="58">
                  <a:moveTo>
                    <a:pt x="10" y="3"/>
                  </a:moveTo>
                  <a:cubicBezTo>
                    <a:pt x="10" y="3"/>
                    <a:pt x="31" y="0"/>
                    <a:pt x="32" y="6"/>
                  </a:cubicBezTo>
                  <a:cubicBezTo>
                    <a:pt x="33" y="11"/>
                    <a:pt x="36" y="47"/>
                    <a:pt x="27" y="53"/>
                  </a:cubicBezTo>
                  <a:cubicBezTo>
                    <a:pt x="18" y="58"/>
                    <a:pt x="23" y="34"/>
                    <a:pt x="18" y="20"/>
                  </a:cubicBezTo>
                  <a:cubicBezTo>
                    <a:pt x="13" y="5"/>
                    <a:pt x="0" y="7"/>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2" name="Freeform 172">
              <a:extLst>
                <a:ext uri="{FF2B5EF4-FFF2-40B4-BE49-F238E27FC236}">
                  <a16:creationId xmlns:a16="http://schemas.microsoft.com/office/drawing/2014/main" id="{0A6E881C-8315-466F-93FC-9EE901766376}"/>
                </a:ext>
              </a:extLst>
            </p:cNvPr>
            <p:cNvSpPr>
              <a:spLocks/>
            </p:cNvSpPr>
            <p:nvPr/>
          </p:nvSpPr>
          <p:spPr bwMode="auto">
            <a:xfrm>
              <a:off x="1211263" y="1287463"/>
              <a:ext cx="57150" cy="49213"/>
            </a:xfrm>
            <a:custGeom>
              <a:avLst/>
              <a:gdLst>
                <a:gd name="T0" fmla="*/ 8 w 35"/>
                <a:gd name="T1" fmla="*/ 0 h 30"/>
                <a:gd name="T2" fmla="*/ 23 w 35"/>
                <a:gd name="T3" fmla="*/ 15 h 30"/>
                <a:gd name="T4" fmla="*/ 21 w 35"/>
                <a:gd name="T5" fmla="*/ 27 h 30"/>
                <a:gd name="T6" fmla="*/ 11 w 35"/>
                <a:gd name="T7" fmla="*/ 28 h 30"/>
                <a:gd name="T8" fmla="*/ 9 w 35"/>
                <a:gd name="T9" fmla="*/ 24 h 30"/>
                <a:gd name="T10" fmla="*/ 8 w 35"/>
                <a:gd name="T11" fmla="*/ 0 h 30"/>
              </a:gdLst>
              <a:ahLst/>
              <a:cxnLst>
                <a:cxn ang="0">
                  <a:pos x="T0" y="T1"/>
                </a:cxn>
                <a:cxn ang="0">
                  <a:pos x="T2" y="T3"/>
                </a:cxn>
                <a:cxn ang="0">
                  <a:pos x="T4" y="T5"/>
                </a:cxn>
                <a:cxn ang="0">
                  <a:pos x="T6" y="T7"/>
                </a:cxn>
                <a:cxn ang="0">
                  <a:pos x="T8" y="T9"/>
                </a:cxn>
                <a:cxn ang="0">
                  <a:pos x="T10" y="T11"/>
                </a:cxn>
              </a:cxnLst>
              <a:rect l="0" t="0" r="r" b="b"/>
              <a:pathLst>
                <a:path w="35" h="30">
                  <a:moveTo>
                    <a:pt x="8" y="0"/>
                  </a:moveTo>
                  <a:cubicBezTo>
                    <a:pt x="8" y="0"/>
                    <a:pt x="11" y="8"/>
                    <a:pt x="23" y="15"/>
                  </a:cubicBezTo>
                  <a:cubicBezTo>
                    <a:pt x="35" y="22"/>
                    <a:pt x="30" y="28"/>
                    <a:pt x="21" y="27"/>
                  </a:cubicBezTo>
                  <a:cubicBezTo>
                    <a:pt x="13" y="25"/>
                    <a:pt x="10" y="27"/>
                    <a:pt x="11" y="28"/>
                  </a:cubicBezTo>
                  <a:cubicBezTo>
                    <a:pt x="13" y="30"/>
                    <a:pt x="0" y="27"/>
                    <a:pt x="9" y="24"/>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3" name="Freeform 173">
              <a:extLst>
                <a:ext uri="{FF2B5EF4-FFF2-40B4-BE49-F238E27FC236}">
                  <a16:creationId xmlns:a16="http://schemas.microsoft.com/office/drawing/2014/main" id="{2837B764-2148-46A7-AD83-E242E6AB1E4F}"/>
                </a:ext>
              </a:extLst>
            </p:cNvPr>
            <p:cNvSpPr>
              <a:spLocks/>
            </p:cNvSpPr>
            <p:nvPr/>
          </p:nvSpPr>
          <p:spPr bwMode="auto">
            <a:xfrm>
              <a:off x="1339850" y="1322388"/>
              <a:ext cx="23813" cy="15875"/>
            </a:xfrm>
            <a:custGeom>
              <a:avLst/>
              <a:gdLst>
                <a:gd name="T0" fmla="*/ 6 w 15"/>
                <a:gd name="T1" fmla="*/ 0 h 9"/>
                <a:gd name="T2" fmla="*/ 0 w 15"/>
                <a:gd name="T3" fmla="*/ 9 h 9"/>
                <a:gd name="T4" fmla="*/ 6 w 15"/>
                <a:gd name="T5" fmla="*/ 0 h 9"/>
              </a:gdLst>
              <a:ahLst/>
              <a:cxnLst>
                <a:cxn ang="0">
                  <a:pos x="T0" y="T1"/>
                </a:cxn>
                <a:cxn ang="0">
                  <a:pos x="T2" y="T3"/>
                </a:cxn>
                <a:cxn ang="0">
                  <a:pos x="T4" y="T5"/>
                </a:cxn>
              </a:cxnLst>
              <a:rect l="0" t="0" r="r" b="b"/>
              <a:pathLst>
                <a:path w="15" h="9">
                  <a:moveTo>
                    <a:pt x="6" y="0"/>
                  </a:moveTo>
                  <a:cubicBezTo>
                    <a:pt x="6" y="0"/>
                    <a:pt x="9" y="7"/>
                    <a:pt x="0" y="9"/>
                  </a:cubicBezTo>
                  <a:cubicBezTo>
                    <a:pt x="0" y="9"/>
                    <a:pt x="15" y="5"/>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4" name="Freeform 174">
              <a:extLst>
                <a:ext uri="{FF2B5EF4-FFF2-40B4-BE49-F238E27FC236}">
                  <a16:creationId xmlns:a16="http://schemas.microsoft.com/office/drawing/2014/main" id="{E8ADAFB6-85AA-4754-9C45-319317BE3D04}"/>
                </a:ext>
              </a:extLst>
            </p:cNvPr>
            <p:cNvSpPr>
              <a:spLocks/>
            </p:cNvSpPr>
            <p:nvPr/>
          </p:nvSpPr>
          <p:spPr bwMode="auto">
            <a:xfrm>
              <a:off x="1193800" y="1374775"/>
              <a:ext cx="176213" cy="14288"/>
            </a:xfrm>
            <a:custGeom>
              <a:avLst/>
              <a:gdLst>
                <a:gd name="T0" fmla="*/ 4 w 109"/>
                <a:gd name="T1" fmla="*/ 0 h 9"/>
                <a:gd name="T2" fmla="*/ 30 w 109"/>
                <a:gd name="T3" fmla="*/ 4 h 9"/>
                <a:gd name="T4" fmla="*/ 52 w 109"/>
                <a:gd name="T5" fmla="*/ 7 h 9"/>
                <a:gd name="T6" fmla="*/ 109 w 109"/>
                <a:gd name="T7" fmla="*/ 0 h 9"/>
                <a:gd name="T8" fmla="*/ 52 w 109"/>
                <a:gd name="T9" fmla="*/ 9 h 9"/>
                <a:gd name="T10" fmla="*/ 11 w 109"/>
                <a:gd name="T11" fmla="*/ 4 h 9"/>
                <a:gd name="T12" fmla="*/ 4 w 10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9" h="9">
                  <a:moveTo>
                    <a:pt x="4" y="0"/>
                  </a:moveTo>
                  <a:cubicBezTo>
                    <a:pt x="4" y="0"/>
                    <a:pt x="17" y="2"/>
                    <a:pt x="30" y="4"/>
                  </a:cubicBezTo>
                  <a:cubicBezTo>
                    <a:pt x="43" y="6"/>
                    <a:pt x="52" y="7"/>
                    <a:pt x="52" y="7"/>
                  </a:cubicBezTo>
                  <a:cubicBezTo>
                    <a:pt x="109" y="0"/>
                    <a:pt x="109" y="0"/>
                    <a:pt x="109" y="0"/>
                  </a:cubicBezTo>
                  <a:cubicBezTo>
                    <a:pt x="109" y="0"/>
                    <a:pt x="56" y="7"/>
                    <a:pt x="52" y="9"/>
                  </a:cubicBezTo>
                  <a:cubicBezTo>
                    <a:pt x="52" y="9"/>
                    <a:pt x="22" y="5"/>
                    <a:pt x="11" y="4"/>
                  </a:cubicBezTo>
                  <a:cubicBezTo>
                    <a:pt x="0" y="4"/>
                    <a:pt x="4" y="5"/>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5" name="Freeform 175">
              <a:extLst>
                <a:ext uri="{FF2B5EF4-FFF2-40B4-BE49-F238E27FC236}">
                  <a16:creationId xmlns:a16="http://schemas.microsoft.com/office/drawing/2014/main" id="{BC6ECEE6-0DEC-4088-81E7-9B4297A3EF24}"/>
                </a:ext>
              </a:extLst>
            </p:cNvPr>
            <p:cNvSpPr>
              <a:spLocks/>
            </p:cNvSpPr>
            <p:nvPr/>
          </p:nvSpPr>
          <p:spPr bwMode="auto">
            <a:xfrm>
              <a:off x="1193800" y="1330325"/>
              <a:ext cx="190500" cy="28575"/>
            </a:xfrm>
            <a:custGeom>
              <a:avLst/>
              <a:gdLst>
                <a:gd name="T0" fmla="*/ 0 w 118"/>
                <a:gd name="T1" fmla="*/ 5 h 17"/>
                <a:gd name="T2" fmla="*/ 19 w 118"/>
                <a:gd name="T3" fmla="*/ 11 h 17"/>
                <a:gd name="T4" fmla="*/ 47 w 118"/>
                <a:gd name="T5" fmla="*/ 15 h 17"/>
                <a:gd name="T6" fmla="*/ 52 w 118"/>
                <a:gd name="T7" fmla="*/ 15 h 17"/>
                <a:gd name="T8" fmla="*/ 83 w 118"/>
                <a:gd name="T9" fmla="*/ 8 h 17"/>
                <a:gd name="T10" fmla="*/ 114 w 118"/>
                <a:gd name="T11" fmla="*/ 9 h 17"/>
                <a:gd name="T12" fmla="*/ 118 w 118"/>
                <a:gd name="T13" fmla="*/ 4 h 17"/>
                <a:gd name="T14" fmla="*/ 108 w 118"/>
                <a:gd name="T15" fmla="*/ 2 h 17"/>
                <a:gd name="T16" fmla="*/ 85 w 118"/>
                <a:gd name="T17" fmla="*/ 6 h 17"/>
                <a:gd name="T18" fmla="*/ 74 w 118"/>
                <a:gd name="T19" fmla="*/ 7 h 17"/>
                <a:gd name="T20" fmla="*/ 58 w 118"/>
                <a:gd name="T21" fmla="*/ 10 h 17"/>
                <a:gd name="T22" fmla="*/ 24 w 118"/>
                <a:gd name="T23" fmla="*/ 8 h 17"/>
                <a:gd name="T24" fmla="*/ 0 w 118"/>
                <a:gd name="T2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7">
                  <a:moveTo>
                    <a:pt x="0" y="5"/>
                  </a:moveTo>
                  <a:cubicBezTo>
                    <a:pt x="0" y="5"/>
                    <a:pt x="8" y="10"/>
                    <a:pt x="19" y="11"/>
                  </a:cubicBezTo>
                  <a:cubicBezTo>
                    <a:pt x="31" y="12"/>
                    <a:pt x="47" y="15"/>
                    <a:pt x="47" y="15"/>
                  </a:cubicBezTo>
                  <a:cubicBezTo>
                    <a:pt x="47" y="15"/>
                    <a:pt x="48" y="17"/>
                    <a:pt x="52" y="15"/>
                  </a:cubicBezTo>
                  <a:cubicBezTo>
                    <a:pt x="56" y="12"/>
                    <a:pt x="75" y="8"/>
                    <a:pt x="83" y="8"/>
                  </a:cubicBezTo>
                  <a:cubicBezTo>
                    <a:pt x="90" y="8"/>
                    <a:pt x="114" y="5"/>
                    <a:pt x="114" y="9"/>
                  </a:cubicBezTo>
                  <a:cubicBezTo>
                    <a:pt x="118" y="4"/>
                    <a:pt x="118" y="4"/>
                    <a:pt x="118" y="4"/>
                  </a:cubicBezTo>
                  <a:cubicBezTo>
                    <a:pt x="118" y="4"/>
                    <a:pt x="118" y="0"/>
                    <a:pt x="108" y="2"/>
                  </a:cubicBezTo>
                  <a:cubicBezTo>
                    <a:pt x="99" y="4"/>
                    <a:pt x="97" y="5"/>
                    <a:pt x="85" y="6"/>
                  </a:cubicBezTo>
                  <a:cubicBezTo>
                    <a:pt x="74" y="7"/>
                    <a:pt x="74" y="7"/>
                    <a:pt x="74" y="7"/>
                  </a:cubicBezTo>
                  <a:cubicBezTo>
                    <a:pt x="74" y="7"/>
                    <a:pt x="65" y="10"/>
                    <a:pt x="58" y="10"/>
                  </a:cubicBezTo>
                  <a:cubicBezTo>
                    <a:pt x="50" y="10"/>
                    <a:pt x="34" y="12"/>
                    <a:pt x="24" y="8"/>
                  </a:cubicBezTo>
                  <a:cubicBezTo>
                    <a:pt x="14" y="5"/>
                    <a:pt x="4"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6" name="Freeform 176">
              <a:extLst>
                <a:ext uri="{FF2B5EF4-FFF2-40B4-BE49-F238E27FC236}">
                  <a16:creationId xmlns:a16="http://schemas.microsoft.com/office/drawing/2014/main" id="{3AE0B660-F35B-4A7E-BFF6-D24A075A3C90}"/>
                </a:ext>
              </a:extLst>
            </p:cNvPr>
            <p:cNvSpPr>
              <a:spLocks/>
            </p:cNvSpPr>
            <p:nvPr/>
          </p:nvSpPr>
          <p:spPr bwMode="auto">
            <a:xfrm>
              <a:off x="1317625" y="1122363"/>
              <a:ext cx="52388" cy="90488"/>
            </a:xfrm>
            <a:custGeom>
              <a:avLst/>
              <a:gdLst>
                <a:gd name="T0" fmla="*/ 12 w 32"/>
                <a:gd name="T1" fmla="*/ 0 h 57"/>
                <a:gd name="T2" fmla="*/ 25 w 32"/>
                <a:gd name="T3" fmla="*/ 5 h 57"/>
                <a:gd name="T4" fmla="*/ 28 w 32"/>
                <a:gd name="T5" fmla="*/ 13 h 57"/>
                <a:gd name="T6" fmla="*/ 8 w 32"/>
                <a:gd name="T7" fmla="*/ 56 h 57"/>
                <a:gd name="T8" fmla="*/ 7 w 32"/>
                <a:gd name="T9" fmla="*/ 41 h 57"/>
                <a:gd name="T10" fmla="*/ 19 w 32"/>
                <a:gd name="T11" fmla="*/ 11 h 57"/>
                <a:gd name="T12" fmla="*/ 12 w 3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32" h="57">
                  <a:moveTo>
                    <a:pt x="12" y="0"/>
                  </a:moveTo>
                  <a:cubicBezTo>
                    <a:pt x="12" y="0"/>
                    <a:pt x="23" y="6"/>
                    <a:pt x="25" y="5"/>
                  </a:cubicBezTo>
                  <a:cubicBezTo>
                    <a:pt x="27" y="3"/>
                    <a:pt x="28" y="6"/>
                    <a:pt x="28" y="13"/>
                  </a:cubicBezTo>
                  <a:cubicBezTo>
                    <a:pt x="27" y="19"/>
                    <a:pt x="32" y="57"/>
                    <a:pt x="8" y="56"/>
                  </a:cubicBezTo>
                  <a:cubicBezTo>
                    <a:pt x="8" y="56"/>
                    <a:pt x="0" y="54"/>
                    <a:pt x="7" y="41"/>
                  </a:cubicBezTo>
                  <a:cubicBezTo>
                    <a:pt x="15" y="27"/>
                    <a:pt x="24" y="22"/>
                    <a:pt x="19" y="11"/>
                  </a:cubicBezTo>
                  <a:cubicBezTo>
                    <a:pt x="15" y="0"/>
                    <a:pt x="10" y="5"/>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7" name="Freeform 177">
              <a:extLst>
                <a:ext uri="{FF2B5EF4-FFF2-40B4-BE49-F238E27FC236}">
                  <a16:creationId xmlns:a16="http://schemas.microsoft.com/office/drawing/2014/main" id="{F9E3C53A-166F-4E82-A3FC-A5B857518BA7}"/>
                </a:ext>
              </a:extLst>
            </p:cNvPr>
            <p:cNvSpPr>
              <a:spLocks/>
            </p:cNvSpPr>
            <p:nvPr/>
          </p:nvSpPr>
          <p:spPr bwMode="auto">
            <a:xfrm>
              <a:off x="1273175" y="1042988"/>
              <a:ext cx="82550" cy="42863"/>
            </a:xfrm>
            <a:custGeom>
              <a:avLst/>
              <a:gdLst>
                <a:gd name="T0" fmla="*/ 51 w 51"/>
                <a:gd name="T1" fmla="*/ 27 h 27"/>
                <a:gd name="T2" fmla="*/ 0 w 51"/>
                <a:gd name="T3" fmla="*/ 3 h 27"/>
                <a:gd name="T4" fmla="*/ 51 w 51"/>
                <a:gd name="T5" fmla="*/ 27 h 27"/>
              </a:gdLst>
              <a:ahLst/>
              <a:cxnLst>
                <a:cxn ang="0">
                  <a:pos x="T0" y="T1"/>
                </a:cxn>
                <a:cxn ang="0">
                  <a:pos x="T2" y="T3"/>
                </a:cxn>
                <a:cxn ang="0">
                  <a:pos x="T4" y="T5"/>
                </a:cxn>
              </a:cxnLst>
              <a:rect l="0" t="0" r="r" b="b"/>
              <a:pathLst>
                <a:path w="51" h="27">
                  <a:moveTo>
                    <a:pt x="51" y="27"/>
                  </a:moveTo>
                  <a:cubicBezTo>
                    <a:pt x="51" y="27"/>
                    <a:pt x="40" y="5"/>
                    <a:pt x="0" y="3"/>
                  </a:cubicBezTo>
                  <a:cubicBezTo>
                    <a:pt x="0" y="3"/>
                    <a:pt x="41" y="0"/>
                    <a:pt x="5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8" name="Freeform 178">
              <a:extLst>
                <a:ext uri="{FF2B5EF4-FFF2-40B4-BE49-F238E27FC236}">
                  <a16:creationId xmlns:a16="http://schemas.microsoft.com/office/drawing/2014/main" id="{69E90145-E0F6-4471-B9F0-C7BA553388F4}"/>
                </a:ext>
              </a:extLst>
            </p:cNvPr>
            <p:cNvSpPr>
              <a:spLocks/>
            </p:cNvSpPr>
            <p:nvPr/>
          </p:nvSpPr>
          <p:spPr bwMode="auto">
            <a:xfrm>
              <a:off x="1354138" y="1077913"/>
              <a:ext cx="28575" cy="55563"/>
            </a:xfrm>
            <a:custGeom>
              <a:avLst/>
              <a:gdLst>
                <a:gd name="T0" fmla="*/ 16 w 18"/>
                <a:gd name="T1" fmla="*/ 4 h 34"/>
                <a:gd name="T2" fmla="*/ 18 w 18"/>
                <a:gd name="T3" fmla="*/ 28 h 34"/>
                <a:gd name="T4" fmla="*/ 9 w 18"/>
                <a:gd name="T5" fmla="*/ 34 h 34"/>
                <a:gd name="T6" fmla="*/ 3 w 18"/>
                <a:gd name="T7" fmla="*/ 32 h 34"/>
                <a:gd name="T8" fmla="*/ 5 w 18"/>
                <a:gd name="T9" fmla="*/ 24 h 34"/>
                <a:gd name="T10" fmla="*/ 5 w 18"/>
                <a:gd name="T11" fmla="*/ 8 h 34"/>
                <a:gd name="T12" fmla="*/ 16 w 18"/>
                <a:gd name="T13" fmla="*/ 4 h 34"/>
              </a:gdLst>
              <a:ahLst/>
              <a:cxnLst>
                <a:cxn ang="0">
                  <a:pos x="T0" y="T1"/>
                </a:cxn>
                <a:cxn ang="0">
                  <a:pos x="T2" y="T3"/>
                </a:cxn>
                <a:cxn ang="0">
                  <a:pos x="T4" y="T5"/>
                </a:cxn>
                <a:cxn ang="0">
                  <a:pos x="T6" y="T7"/>
                </a:cxn>
                <a:cxn ang="0">
                  <a:pos x="T8" y="T9"/>
                </a:cxn>
                <a:cxn ang="0">
                  <a:pos x="T10" y="T11"/>
                </a:cxn>
                <a:cxn ang="0">
                  <a:pos x="T12" y="T13"/>
                </a:cxn>
              </a:cxnLst>
              <a:rect l="0" t="0" r="r" b="b"/>
              <a:pathLst>
                <a:path w="18" h="34">
                  <a:moveTo>
                    <a:pt x="16" y="4"/>
                  </a:moveTo>
                  <a:cubicBezTo>
                    <a:pt x="18" y="28"/>
                    <a:pt x="18" y="28"/>
                    <a:pt x="18" y="28"/>
                  </a:cubicBezTo>
                  <a:cubicBezTo>
                    <a:pt x="18" y="28"/>
                    <a:pt x="10" y="14"/>
                    <a:pt x="9" y="34"/>
                  </a:cubicBezTo>
                  <a:cubicBezTo>
                    <a:pt x="9" y="34"/>
                    <a:pt x="6" y="31"/>
                    <a:pt x="3" y="32"/>
                  </a:cubicBezTo>
                  <a:cubicBezTo>
                    <a:pt x="0" y="33"/>
                    <a:pt x="5" y="31"/>
                    <a:pt x="5" y="24"/>
                  </a:cubicBezTo>
                  <a:cubicBezTo>
                    <a:pt x="5" y="16"/>
                    <a:pt x="6" y="14"/>
                    <a:pt x="5" y="8"/>
                  </a:cubicBezTo>
                  <a:cubicBezTo>
                    <a:pt x="4" y="2"/>
                    <a:pt x="8"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9" name="Freeform 179">
              <a:extLst>
                <a:ext uri="{FF2B5EF4-FFF2-40B4-BE49-F238E27FC236}">
                  <a16:creationId xmlns:a16="http://schemas.microsoft.com/office/drawing/2014/main" id="{57FEEF35-1BF2-46E4-8BDD-ABA3EFCFCDE8}"/>
                </a:ext>
              </a:extLst>
            </p:cNvPr>
            <p:cNvSpPr>
              <a:spLocks/>
            </p:cNvSpPr>
            <p:nvPr/>
          </p:nvSpPr>
          <p:spPr bwMode="auto">
            <a:xfrm>
              <a:off x="1377950" y="1054100"/>
              <a:ext cx="215900" cy="120650"/>
            </a:xfrm>
            <a:custGeom>
              <a:avLst/>
              <a:gdLst>
                <a:gd name="T0" fmla="*/ 7 w 134"/>
                <a:gd name="T1" fmla="*/ 25 h 75"/>
                <a:gd name="T2" fmla="*/ 5 w 134"/>
                <a:gd name="T3" fmla="*/ 75 h 75"/>
                <a:gd name="T4" fmla="*/ 2 w 134"/>
                <a:gd name="T5" fmla="*/ 21 h 75"/>
                <a:gd name="T6" fmla="*/ 7 w 134"/>
                <a:gd name="T7" fmla="*/ 19 h 75"/>
                <a:gd name="T8" fmla="*/ 114 w 134"/>
                <a:gd name="T9" fmla="*/ 3 h 75"/>
                <a:gd name="T10" fmla="*/ 130 w 134"/>
                <a:gd name="T11" fmla="*/ 8 h 75"/>
                <a:gd name="T12" fmla="*/ 113 w 134"/>
                <a:gd name="T13" fmla="*/ 7 h 75"/>
                <a:gd name="T14" fmla="*/ 15 w 134"/>
                <a:gd name="T15" fmla="*/ 21 h 75"/>
                <a:gd name="T16" fmla="*/ 7 w 134"/>
                <a:gd name="T1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75">
                  <a:moveTo>
                    <a:pt x="7" y="25"/>
                  </a:moveTo>
                  <a:cubicBezTo>
                    <a:pt x="7" y="25"/>
                    <a:pt x="11" y="60"/>
                    <a:pt x="5" y="75"/>
                  </a:cubicBezTo>
                  <a:cubicBezTo>
                    <a:pt x="5" y="75"/>
                    <a:pt x="8" y="48"/>
                    <a:pt x="2" y="21"/>
                  </a:cubicBezTo>
                  <a:cubicBezTo>
                    <a:pt x="2" y="21"/>
                    <a:pt x="0" y="20"/>
                    <a:pt x="7" y="19"/>
                  </a:cubicBezTo>
                  <a:cubicBezTo>
                    <a:pt x="14" y="18"/>
                    <a:pt x="114" y="3"/>
                    <a:pt x="114" y="3"/>
                  </a:cubicBezTo>
                  <a:cubicBezTo>
                    <a:pt x="114" y="3"/>
                    <a:pt x="126" y="0"/>
                    <a:pt x="130" y="8"/>
                  </a:cubicBezTo>
                  <a:cubicBezTo>
                    <a:pt x="134" y="15"/>
                    <a:pt x="126" y="5"/>
                    <a:pt x="113" y="7"/>
                  </a:cubicBezTo>
                  <a:cubicBezTo>
                    <a:pt x="100" y="8"/>
                    <a:pt x="15" y="21"/>
                    <a:pt x="15" y="21"/>
                  </a:cubicBezTo>
                  <a:cubicBezTo>
                    <a:pt x="15" y="21"/>
                    <a:pt x="7" y="22"/>
                    <a:pt x="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0" name="Freeform 180">
              <a:extLst>
                <a:ext uri="{FF2B5EF4-FFF2-40B4-BE49-F238E27FC236}">
                  <a16:creationId xmlns:a16="http://schemas.microsoft.com/office/drawing/2014/main" id="{3958FD61-6440-447F-A7D6-75CE0BE362F2}"/>
                </a:ext>
              </a:extLst>
            </p:cNvPr>
            <p:cNvSpPr>
              <a:spLocks/>
            </p:cNvSpPr>
            <p:nvPr/>
          </p:nvSpPr>
          <p:spPr bwMode="auto">
            <a:xfrm>
              <a:off x="1393825" y="1095375"/>
              <a:ext cx="190500" cy="42863"/>
            </a:xfrm>
            <a:custGeom>
              <a:avLst/>
              <a:gdLst>
                <a:gd name="T0" fmla="*/ 4 w 118"/>
                <a:gd name="T1" fmla="*/ 10 h 26"/>
                <a:gd name="T2" fmla="*/ 1 w 118"/>
                <a:gd name="T3" fmla="*/ 15 h 26"/>
                <a:gd name="T4" fmla="*/ 5 w 118"/>
                <a:gd name="T5" fmla="*/ 26 h 26"/>
                <a:gd name="T6" fmla="*/ 97 w 118"/>
                <a:gd name="T7" fmla="*/ 22 h 26"/>
                <a:gd name="T8" fmla="*/ 115 w 118"/>
                <a:gd name="T9" fmla="*/ 15 h 26"/>
                <a:gd name="T10" fmla="*/ 104 w 118"/>
                <a:gd name="T11" fmla="*/ 0 h 26"/>
                <a:gd name="T12" fmla="*/ 4 w 118"/>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118" h="26">
                  <a:moveTo>
                    <a:pt x="4" y="10"/>
                  </a:moveTo>
                  <a:cubicBezTo>
                    <a:pt x="4" y="10"/>
                    <a:pt x="1" y="8"/>
                    <a:pt x="1" y="15"/>
                  </a:cubicBezTo>
                  <a:cubicBezTo>
                    <a:pt x="0" y="22"/>
                    <a:pt x="0" y="26"/>
                    <a:pt x="5" y="26"/>
                  </a:cubicBezTo>
                  <a:cubicBezTo>
                    <a:pt x="11" y="26"/>
                    <a:pt x="86" y="22"/>
                    <a:pt x="97" y="22"/>
                  </a:cubicBezTo>
                  <a:cubicBezTo>
                    <a:pt x="107" y="22"/>
                    <a:pt x="115" y="22"/>
                    <a:pt x="115" y="15"/>
                  </a:cubicBezTo>
                  <a:cubicBezTo>
                    <a:pt x="115" y="7"/>
                    <a:pt x="118" y="0"/>
                    <a:pt x="104" y="0"/>
                  </a:cubicBezTo>
                  <a:cubicBezTo>
                    <a:pt x="90" y="1"/>
                    <a:pt x="4" y="10"/>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1" name="Freeform 181">
              <a:extLst>
                <a:ext uri="{FF2B5EF4-FFF2-40B4-BE49-F238E27FC236}">
                  <a16:creationId xmlns:a16="http://schemas.microsoft.com/office/drawing/2014/main" id="{4F434CE9-9DEF-424A-8A1A-D6A7385BBADF}"/>
                </a:ext>
              </a:extLst>
            </p:cNvPr>
            <p:cNvSpPr>
              <a:spLocks/>
            </p:cNvSpPr>
            <p:nvPr/>
          </p:nvSpPr>
          <p:spPr bwMode="auto">
            <a:xfrm>
              <a:off x="1384300" y="1135063"/>
              <a:ext cx="214313" cy="58738"/>
            </a:xfrm>
            <a:custGeom>
              <a:avLst/>
              <a:gdLst>
                <a:gd name="T0" fmla="*/ 0 w 133"/>
                <a:gd name="T1" fmla="*/ 30 h 37"/>
                <a:gd name="T2" fmla="*/ 32 w 133"/>
                <a:gd name="T3" fmla="*/ 14 h 37"/>
                <a:gd name="T4" fmla="*/ 117 w 133"/>
                <a:gd name="T5" fmla="*/ 10 h 37"/>
                <a:gd name="T6" fmla="*/ 121 w 133"/>
                <a:gd name="T7" fmla="*/ 35 h 37"/>
                <a:gd name="T8" fmla="*/ 0 w 133"/>
                <a:gd name="T9" fmla="*/ 30 h 37"/>
              </a:gdLst>
              <a:ahLst/>
              <a:cxnLst>
                <a:cxn ang="0">
                  <a:pos x="T0" y="T1"/>
                </a:cxn>
                <a:cxn ang="0">
                  <a:pos x="T2" y="T3"/>
                </a:cxn>
                <a:cxn ang="0">
                  <a:pos x="T4" y="T5"/>
                </a:cxn>
                <a:cxn ang="0">
                  <a:pos x="T6" y="T7"/>
                </a:cxn>
                <a:cxn ang="0">
                  <a:pos x="T8" y="T9"/>
                </a:cxn>
              </a:cxnLst>
              <a:rect l="0" t="0" r="r" b="b"/>
              <a:pathLst>
                <a:path w="133" h="37">
                  <a:moveTo>
                    <a:pt x="0" y="30"/>
                  </a:moveTo>
                  <a:cubicBezTo>
                    <a:pt x="0" y="30"/>
                    <a:pt x="14" y="21"/>
                    <a:pt x="32" y="14"/>
                  </a:cubicBezTo>
                  <a:cubicBezTo>
                    <a:pt x="51" y="6"/>
                    <a:pt x="101" y="0"/>
                    <a:pt x="117" y="10"/>
                  </a:cubicBezTo>
                  <a:cubicBezTo>
                    <a:pt x="133" y="20"/>
                    <a:pt x="131" y="33"/>
                    <a:pt x="121" y="35"/>
                  </a:cubicBezTo>
                  <a:cubicBezTo>
                    <a:pt x="112" y="37"/>
                    <a:pt x="0" y="3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2" name="Freeform 182">
              <a:extLst>
                <a:ext uri="{FF2B5EF4-FFF2-40B4-BE49-F238E27FC236}">
                  <a16:creationId xmlns:a16="http://schemas.microsoft.com/office/drawing/2014/main" id="{B1C8D602-334E-45DF-9788-F45C0EADEA8D}"/>
                </a:ext>
              </a:extLst>
            </p:cNvPr>
            <p:cNvSpPr>
              <a:spLocks/>
            </p:cNvSpPr>
            <p:nvPr/>
          </p:nvSpPr>
          <p:spPr bwMode="auto">
            <a:xfrm>
              <a:off x="1177925" y="1404938"/>
              <a:ext cx="185738" cy="34925"/>
            </a:xfrm>
            <a:custGeom>
              <a:avLst/>
              <a:gdLst>
                <a:gd name="T0" fmla="*/ 11 w 115"/>
                <a:gd name="T1" fmla="*/ 4 h 22"/>
                <a:gd name="T2" fmla="*/ 115 w 115"/>
                <a:gd name="T3" fmla="*/ 5 h 22"/>
                <a:gd name="T4" fmla="*/ 15 w 115"/>
                <a:gd name="T5" fmla="*/ 7 h 22"/>
                <a:gd name="T6" fmla="*/ 35 w 115"/>
                <a:gd name="T7" fmla="*/ 15 h 22"/>
                <a:gd name="T8" fmla="*/ 5 w 115"/>
                <a:gd name="T9" fmla="*/ 8 h 22"/>
                <a:gd name="T10" fmla="*/ 11 w 115"/>
                <a:gd name="T11" fmla="*/ 4 h 22"/>
              </a:gdLst>
              <a:ahLst/>
              <a:cxnLst>
                <a:cxn ang="0">
                  <a:pos x="T0" y="T1"/>
                </a:cxn>
                <a:cxn ang="0">
                  <a:pos x="T2" y="T3"/>
                </a:cxn>
                <a:cxn ang="0">
                  <a:pos x="T4" y="T5"/>
                </a:cxn>
                <a:cxn ang="0">
                  <a:pos x="T6" y="T7"/>
                </a:cxn>
                <a:cxn ang="0">
                  <a:pos x="T8" y="T9"/>
                </a:cxn>
                <a:cxn ang="0">
                  <a:pos x="T10" y="T11"/>
                </a:cxn>
              </a:cxnLst>
              <a:rect l="0" t="0" r="r" b="b"/>
              <a:pathLst>
                <a:path w="115" h="22">
                  <a:moveTo>
                    <a:pt x="11" y="4"/>
                  </a:moveTo>
                  <a:cubicBezTo>
                    <a:pt x="11" y="4"/>
                    <a:pt x="41" y="20"/>
                    <a:pt x="115" y="5"/>
                  </a:cubicBezTo>
                  <a:cubicBezTo>
                    <a:pt x="115" y="5"/>
                    <a:pt x="62" y="22"/>
                    <a:pt x="15" y="7"/>
                  </a:cubicBezTo>
                  <a:cubicBezTo>
                    <a:pt x="15" y="7"/>
                    <a:pt x="11" y="13"/>
                    <a:pt x="35" y="15"/>
                  </a:cubicBezTo>
                  <a:cubicBezTo>
                    <a:pt x="35" y="15"/>
                    <a:pt x="9" y="16"/>
                    <a:pt x="5" y="8"/>
                  </a:cubicBezTo>
                  <a:cubicBezTo>
                    <a:pt x="0" y="0"/>
                    <a:pt x="11" y="2"/>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3" name="Freeform 183">
              <a:extLst>
                <a:ext uri="{FF2B5EF4-FFF2-40B4-BE49-F238E27FC236}">
                  <a16:creationId xmlns:a16="http://schemas.microsoft.com/office/drawing/2014/main" id="{BFEAB017-39D6-43D2-AF4D-890FB05D00BF}"/>
                </a:ext>
              </a:extLst>
            </p:cNvPr>
            <p:cNvSpPr>
              <a:spLocks/>
            </p:cNvSpPr>
            <p:nvPr/>
          </p:nvSpPr>
          <p:spPr bwMode="auto">
            <a:xfrm>
              <a:off x="1358900" y="1403350"/>
              <a:ext cx="49213" cy="26988"/>
            </a:xfrm>
            <a:custGeom>
              <a:avLst/>
              <a:gdLst>
                <a:gd name="T0" fmla="*/ 10 w 31"/>
                <a:gd name="T1" fmla="*/ 0 h 17"/>
                <a:gd name="T2" fmla="*/ 0 w 31"/>
                <a:gd name="T3" fmla="*/ 17 h 17"/>
                <a:gd name="T4" fmla="*/ 24 w 31"/>
                <a:gd name="T5" fmla="*/ 7 h 17"/>
                <a:gd name="T6" fmla="*/ 10 w 31"/>
                <a:gd name="T7" fmla="*/ 0 h 17"/>
              </a:gdLst>
              <a:ahLst/>
              <a:cxnLst>
                <a:cxn ang="0">
                  <a:pos x="T0" y="T1"/>
                </a:cxn>
                <a:cxn ang="0">
                  <a:pos x="T2" y="T3"/>
                </a:cxn>
                <a:cxn ang="0">
                  <a:pos x="T4" y="T5"/>
                </a:cxn>
                <a:cxn ang="0">
                  <a:pos x="T6" y="T7"/>
                </a:cxn>
              </a:cxnLst>
              <a:rect l="0" t="0" r="r" b="b"/>
              <a:pathLst>
                <a:path w="31" h="17">
                  <a:moveTo>
                    <a:pt x="10" y="0"/>
                  </a:moveTo>
                  <a:cubicBezTo>
                    <a:pt x="10" y="0"/>
                    <a:pt x="31" y="10"/>
                    <a:pt x="0" y="17"/>
                  </a:cubicBezTo>
                  <a:cubicBezTo>
                    <a:pt x="0" y="17"/>
                    <a:pt x="23" y="13"/>
                    <a:pt x="24" y="7"/>
                  </a:cubicBezTo>
                  <a:cubicBezTo>
                    <a:pt x="25" y="1"/>
                    <a:pt x="10"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4" name="Freeform 184">
              <a:extLst>
                <a:ext uri="{FF2B5EF4-FFF2-40B4-BE49-F238E27FC236}">
                  <a16:creationId xmlns:a16="http://schemas.microsoft.com/office/drawing/2014/main" id="{33CD1410-35C4-467A-80AF-709D22F8413D}"/>
                </a:ext>
              </a:extLst>
            </p:cNvPr>
            <p:cNvSpPr>
              <a:spLocks/>
            </p:cNvSpPr>
            <p:nvPr/>
          </p:nvSpPr>
          <p:spPr bwMode="auto">
            <a:xfrm>
              <a:off x="1169988" y="1398588"/>
              <a:ext cx="38100" cy="31750"/>
            </a:xfrm>
            <a:custGeom>
              <a:avLst/>
              <a:gdLst>
                <a:gd name="T0" fmla="*/ 4 w 24"/>
                <a:gd name="T1" fmla="*/ 7 h 20"/>
                <a:gd name="T2" fmla="*/ 24 w 24"/>
                <a:gd name="T3" fmla="*/ 20 h 20"/>
                <a:gd name="T4" fmla="*/ 9 w 24"/>
                <a:gd name="T5" fmla="*/ 7 h 20"/>
                <a:gd name="T6" fmla="*/ 20 w 24"/>
                <a:gd name="T7" fmla="*/ 4 h 20"/>
                <a:gd name="T8" fmla="*/ 20 w 24"/>
                <a:gd name="T9" fmla="*/ 0 h 20"/>
                <a:gd name="T10" fmla="*/ 4 w 24"/>
                <a:gd name="T11" fmla="*/ 7 h 20"/>
              </a:gdLst>
              <a:ahLst/>
              <a:cxnLst>
                <a:cxn ang="0">
                  <a:pos x="T0" y="T1"/>
                </a:cxn>
                <a:cxn ang="0">
                  <a:pos x="T2" y="T3"/>
                </a:cxn>
                <a:cxn ang="0">
                  <a:pos x="T4" y="T5"/>
                </a:cxn>
                <a:cxn ang="0">
                  <a:pos x="T6" y="T7"/>
                </a:cxn>
                <a:cxn ang="0">
                  <a:pos x="T8" y="T9"/>
                </a:cxn>
                <a:cxn ang="0">
                  <a:pos x="T10" y="T11"/>
                </a:cxn>
              </a:cxnLst>
              <a:rect l="0" t="0" r="r" b="b"/>
              <a:pathLst>
                <a:path w="24" h="20">
                  <a:moveTo>
                    <a:pt x="4" y="7"/>
                  </a:moveTo>
                  <a:cubicBezTo>
                    <a:pt x="4" y="7"/>
                    <a:pt x="0" y="17"/>
                    <a:pt x="24" y="20"/>
                  </a:cubicBezTo>
                  <a:cubicBezTo>
                    <a:pt x="24" y="20"/>
                    <a:pt x="8" y="17"/>
                    <a:pt x="9" y="7"/>
                  </a:cubicBezTo>
                  <a:cubicBezTo>
                    <a:pt x="9" y="7"/>
                    <a:pt x="16" y="3"/>
                    <a:pt x="20" y="4"/>
                  </a:cubicBezTo>
                  <a:cubicBezTo>
                    <a:pt x="20" y="0"/>
                    <a:pt x="20" y="0"/>
                    <a:pt x="20" y="0"/>
                  </a:cubicBezTo>
                  <a:cubicBezTo>
                    <a:pt x="20" y="0"/>
                    <a:pt x="12" y="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5" name="Freeform 185">
              <a:extLst>
                <a:ext uri="{FF2B5EF4-FFF2-40B4-BE49-F238E27FC236}">
                  <a16:creationId xmlns:a16="http://schemas.microsoft.com/office/drawing/2014/main" id="{270E6E62-24C4-4E21-AE4A-A67F7DACBCC6}"/>
                </a:ext>
              </a:extLst>
            </p:cNvPr>
            <p:cNvSpPr>
              <a:spLocks/>
            </p:cNvSpPr>
            <p:nvPr/>
          </p:nvSpPr>
          <p:spPr bwMode="auto">
            <a:xfrm>
              <a:off x="1171575" y="1417638"/>
              <a:ext cx="96838" cy="155575"/>
            </a:xfrm>
            <a:custGeom>
              <a:avLst/>
              <a:gdLst>
                <a:gd name="T0" fmla="*/ 5 w 60"/>
                <a:gd name="T1" fmla="*/ 3 h 96"/>
                <a:gd name="T2" fmla="*/ 2 w 60"/>
                <a:gd name="T3" fmla="*/ 3 h 96"/>
                <a:gd name="T4" fmla="*/ 3 w 60"/>
                <a:gd name="T5" fmla="*/ 35 h 96"/>
                <a:gd name="T6" fmla="*/ 3 w 60"/>
                <a:gd name="T7" fmla="*/ 85 h 96"/>
                <a:gd name="T8" fmla="*/ 33 w 60"/>
                <a:gd name="T9" fmla="*/ 89 h 96"/>
                <a:gd name="T10" fmla="*/ 40 w 60"/>
                <a:gd name="T11" fmla="*/ 63 h 96"/>
                <a:gd name="T12" fmla="*/ 45 w 60"/>
                <a:gd name="T13" fmla="*/ 43 h 96"/>
                <a:gd name="T14" fmla="*/ 52 w 60"/>
                <a:gd name="T15" fmla="*/ 23 h 96"/>
                <a:gd name="T16" fmla="*/ 51 w 60"/>
                <a:gd name="T17" fmla="*/ 15 h 96"/>
                <a:gd name="T18" fmla="*/ 5 w 60"/>
                <a:gd name="T19"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6">
                  <a:moveTo>
                    <a:pt x="5" y="3"/>
                  </a:moveTo>
                  <a:cubicBezTo>
                    <a:pt x="5" y="3"/>
                    <a:pt x="2" y="0"/>
                    <a:pt x="2" y="3"/>
                  </a:cubicBezTo>
                  <a:cubicBezTo>
                    <a:pt x="2" y="7"/>
                    <a:pt x="5" y="12"/>
                    <a:pt x="3" y="35"/>
                  </a:cubicBezTo>
                  <a:cubicBezTo>
                    <a:pt x="2" y="58"/>
                    <a:pt x="0" y="82"/>
                    <a:pt x="3" y="85"/>
                  </a:cubicBezTo>
                  <a:cubicBezTo>
                    <a:pt x="6" y="89"/>
                    <a:pt x="29" y="96"/>
                    <a:pt x="33" y="89"/>
                  </a:cubicBezTo>
                  <a:cubicBezTo>
                    <a:pt x="37" y="82"/>
                    <a:pt x="34" y="74"/>
                    <a:pt x="40" y="63"/>
                  </a:cubicBezTo>
                  <a:cubicBezTo>
                    <a:pt x="45" y="51"/>
                    <a:pt x="30" y="57"/>
                    <a:pt x="45" y="43"/>
                  </a:cubicBezTo>
                  <a:cubicBezTo>
                    <a:pt x="60" y="29"/>
                    <a:pt x="44" y="36"/>
                    <a:pt x="52" y="23"/>
                  </a:cubicBezTo>
                  <a:cubicBezTo>
                    <a:pt x="60" y="10"/>
                    <a:pt x="57" y="15"/>
                    <a:pt x="51" y="15"/>
                  </a:cubicBezTo>
                  <a:cubicBezTo>
                    <a:pt x="44" y="15"/>
                    <a:pt x="22" y="1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6" name="Freeform 186">
              <a:extLst>
                <a:ext uri="{FF2B5EF4-FFF2-40B4-BE49-F238E27FC236}">
                  <a16:creationId xmlns:a16="http://schemas.microsoft.com/office/drawing/2014/main" id="{9320FF23-5BB9-456E-89D6-2DE196D559C4}"/>
                </a:ext>
              </a:extLst>
            </p:cNvPr>
            <p:cNvSpPr>
              <a:spLocks/>
            </p:cNvSpPr>
            <p:nvPr/>
          </p:nvSpPr>
          <p:spPr bwMode="auto">
            <a:xfrm>
              <a:off x="1301750" y="1420813"/>
              <a:ext cx="98425" cy="127000"/>
            </a:xfrm>
            <a:custGeom>
              <a:avLst/>
              <a:gdLst>
                <a:gd name="T0" fmla="*/ 7 w 61"/>
                <a:gd name="T1" fmla="*/ 13 h 79"/>
                <a:gd name="T2" fmla="*/ 60 w 61"/>
                <a:gd name="T3" fmla="*/ 0 h 79"/>
                <a:gd name="T4" fmla="*/ 61 w 61"/>
                <a:gd name="T5" fmla="*/ 78 h 79"/>
                <a:gd name="T6" fmla="*/ 47 w 61"/>
                <a:gd name="T7" fmla="*/ 61 h 79"/>
                <a:gd name="T8" fmla="*/ 27 w 61"/>
                <a:gd name="T9" fmla="*/ 31 h 79"/>
                <a:gd name="T10" fmla="*/ 7 w 61"/>
                <a:gd name="T11" fmla="*/ 13 h 79"/>
              </a:gdLst>
              <a:ahLst/>
              <a:cxnLst>
                <a:cxn ang="0">
                  <a:pos x="T0" y="T1"/>
                </a:cxn>
                <a:cxn ang="0">
                  <a:pos x="T2" y="T3"/>
                </a:cxn>
                <a:cxn ang="0">
                  <a:pos x="T4" y="T5"/>
                </a:cxn>
                <a:cxn ang="0">
                  <a:pos x="T6" y="T7"/>
                </a:cxn>
                <a:cxn ang="0">
                  <a:pos x="T8" y="T9"/>
                </a:cxn>
                <a:cxn ang="0">
                  <a:pos x="T10" y="T11"/>
                </a:cxn>
              </a:cxnLst>
              <a:rect l="0" t="0" r="r" b="b"/>
              <a:pathLst>
                <a:path w="61" h="79">
                  <a:moveTo>
                    <a:pt x="7" y="13"/>
                  </a:moveTo>
                  <a:cubicBezTo>
                    <a:pt x="7" y="13"/>
                    <a:pt x="49" y="15"/>
                    <a:pt x="60" y="0"/>
                  </a:cubicBezTo>
                  <a:cubicBezTo>
                    <a:pt x="61" y="78"/>
                    <a:pt x="61" y="78"/>
                    <a:pt x="61" y="78"/>
                  </a:cubicBezTo>
                  <a:cubicBezTo>
                    <a:pt x="61" y="78"/>
                    <a:pt x="52" y="79"/>
                    <a:pt x="47" y="61"/>
                  </a:cubicBezTo>
                  <a:cubicBezTo>
                    <a:pt x="42" y="44"/>
                    <a:pt x="41" y="33"/>
                    <a:pt x="27" y="31"/>
                  </a:cubicBezTo>
                  <a:cubicBezTo>
                    <a:pt x="13" y="29"/>
                    <a:pt x="0" y="19"/>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7" name="Freeform 187">
              <a:extLst>
                <a:ext uri="{FF2B5EF4-FFF2-40B4-BE49-F238E27FC236}">
                  <a16:creationId xmlns:a16="http://schemas.microsoft.com/office/drawing/2014/main" id="{A4D01F8D-47C1-4AFB-83E6-EF474AD6A088}"/>
                </a:ext>
              </a:extLst>
            </p:cNvPr>
            <p:cNvSpPr>
              <a:spLocks/>
            </p:cNvSpPr>
            <p:nvPr/>
          </p:nvSpPr>
          <p:spPr bwMode="auto">
            <a:xfrm>
              <a:off x="1373188" y="1719263"/>
              <a:ext cx="133350" cy="374650"/>
            </a:xfrm>
            <a:custGeom>
              <a:avLst/>
              <a:gdLst>
                <a:gd name="T0" fmla="*/ 69 w 83"/>
                <a:gd name="T1" fmla="*/ 0 h 233"/>
                <a:gd name="T2" fmla="*/ 42 w 83"/>
                <a:gd name="T3" fmla="*/ 15 h 233"/>
                <a:gd name="T4" fmla="*/ 12 w 83"/>
                <a:gd name="T5" fmla="*/ 64 h 233"/>
                <a:gd name="T6" fmla="*/ 38 w 83"/>
                <a:gd name="T7" fmla="*/ 122 h 233"/>
                <a:gd name="T8" fmla="*/ 34 w 83"/>
                <a:gd name="T9" fmla="*/ 197 h 233"/>
                <a:gd name="T10" fmla="*/ 81 w 83"/>
                <a:gd name="T11" fmla="*/ 69 h 233"/>
                <a:gd name="T12" fmla="*/ 69 w 83"/>
                <a:gd name="T13" fmla="*/ 0 h 233"/>
              </a:gdLst>
              <a:ahLst/>
              <a:cxnLst>
                <a:cxn ang="0">
                  <a:pos x="T0" y="T1"/>
                </a:cxn>
                <a:cxn ang="0">
                  <a:pos x="T2" y="T3"/>
                </a:cxn>
                <a:cxn ang="0">
                  <a:pos x="T4" y="T5"/>
                </a:cxn>
                <a:cxn ang="0">
                  <a:pos x="T6" y="T7"/>
                </a:cxn>
                <a:cxn ang="0">
                  <a:pos x="T8" y="T9"/>
                </a:cxn>
                <a:cxn ang="0">
                  <a:pos x="T10" y="T11"/>
                </a:cxn>
                <a:cxn ang="0">
                  <a:pos x="T12" y="T13"/>
                </a:cxn>
              </a:cxnLst>
              <a:rect l="0" t="0" r="r" b="b"/>
              <a:pathLst>
                <a:path w="83" h="233">
                  <a:moveTo>
                    <a:pt x="69" y="0"/>
                  </a:moveTo>
                  <a:cubicBezTo>
                    <a:pt x="69" y="0"/>
                    <a:pt x="70" y="11"/>
                    <a:pt x="42" y="15"/>
                  </a:cubicBezTo>
                  <a:cubicBezTo>
                    <a:pt x="13" y="19"/>
                    <a:pt x="11" y="36"/>
                    <a:pt x="12" y="64"/>
                  </a:cubicBezTo>
                  <a:cubicBezTo>
                    <a:pt x="14" y="93"/>
                    <a:pt x="43" y="88"/>
                    <a:pt x="38" y="122"/>
                  </a:cubicBezTo>
                  <a:cubicBezTo>
                    <a:pt x="33" y="157"/>
                    <a:pt x="0" y="160"/>
                    <a:pt x="34" y="197"/>
                  </a:cubicBezTo>
                  <a:cubicBezTo>
                    <a:pt x="68" y="233"/>
                    <a:pt x="78" y="69"/>
                    <a:pt x="81" y="69"/>
                  </a:cubicBezTo>
                  <a:cubicBezTo>
                    <a:pt x="83" y="69"/>
                    <a:pt x="75" y="83"/>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38" name="Freeform 144">
            <a:extLst>
              <a:ext uri="{FF2B5EF4-FFF2-40B4-BE49-F238E27FC236}">
                <a16:creationId xmlns:a16="http://schemas.microsoft.com/office/drawing/2014/main" id="{99381028-F1EA-415D-9716-B019FCBE84E7}"/>
              </a:ext>
            </a:extLst>
          </p:cNvPr>
          <p:cNvSpPr>
            <a:spLocks/>
          </p:cNvSpPr>
          <p:nvPr/>
        </p:nvSpPr>
        <p:spPr bwMode="auto">
          <a:xfrm>
            <a:off x="8131429" y="2887153"/>
            <a:ext cx="777578" cy="1050954"/>
          </a:xfrm>
          <a:custGeom>
            <a:avLst/>
            <a:gdLst>
              <a:gd name="T0" fmla="*/ 8 w 594"/>
              <a:gd name="T1" fmla="*/ 547 h 804"/>
              <a:gd name="T2" fmla="*/ 273 w 594"/>
              <a:gd name="T3" fmla="*/ 794 h 804"/>
              <a:gd name="T4" fmla="*/ 582 w 594"/>
              <a:gd name="T5" fmla="*/ 563 h 804"/>
              <a:gd name="T6" fmla="*/ 282 w 594"/>
              <a:gd name="T7" fmla="*/ 0 h 804"/>
              <a:gd name="T8" fmla="*/ 8 w 594"/>
              <a:gd name="T9" fmla="*/ 547 h 804"/>
            </a:gdLst>
            <a:ahLst/>
            <a:cxnLst>
              <a:cxn ang="0">
                <a:pos x="T0" y="T1"/>
              </a:cxn>
              <a:cxn ang="0">
                <a:pos x="T2" y="T3"/>
              </a:cxn>
              <a:cxn ang="0">
                <a:pos x="T4" y="T5"/>
              </a:cxn>
              <a:cxn ang="0">
                <a:pos x="T6" y="T7"/>
              </a:cxn>
              <a:cxn ang="0">
                <a:pos x="T8" y="T9"/>
              </a:cxn>
            </a:cxnLst>
            <a:rect l="0" t="0" r="r" b="b"/>
            <a:pathLst>
              <a:path w="594" h="804">
                <a:moveTo>
                  <a:pt x="8" y="547"/>
                </a:moveTo>
                <a:cubicBezTo>
                  <a:pt x="0" y="674"/>
                  <a:pt x="111" y="785"/>
                  <a:pt x="273" y="794"/>
                </a:cubicBezTo>
                <a:cubicBezTo>
                  <a:pt x="435" y="804"/>
                  <a:pt x="574" y="690"/>
                  <a:pt x="582" y="563"/>
                </a:cubicBezTo>
                <a:cubicBezTo>
                  <a:pt x="594" y="362"/>
                  <a:pt x="270" y="187"/>
                  <a:pt x="282" y="0"/>
                </a:cubicBezTo>
                <a:cubicBezTo>
                  <a:pt x="267" y="248"/>
                  <a:pt x="15" y="420"/>
                  <a:pt x="8" y="54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9" name="Text Box 10">
            <a:extLst>
              <a:ext uri="{FF2B5EF4-FFF2-40B4-BE49-F238E27FC236}">
                <a16:creationId xmlns:a16="http://schemas.microsoft.com/office/drawing/2014/main" id="{C1F6BE9B-4A80-456B-B331-469AD5E94912}"/>
              </a:ext>
            </a:extLst>
          </p:cNvPr>
          <p:cNvSpPr txBox="1">
            <a:spLocks noChangeArrowheads="1"/>
          </p:cNvSpPr>
          <p:nvPr/>
        </p:nvSpPr>
        <p:spPr bwMode="auto">
          <a:xfrm>
            <a:off x="7040153" y="2209248"/>
            <a:ext cx="1220541" cy="230832"/>
          </a:xfrm>
          <a:prstGeom prst="rect">
            <a:avLst/>
          </a:prstGeom>
          <a:noFill/>
          <a:ln w="9525">
            <a:noFill/>
            <a:miter lim="800000"/>
            <a:headEnd/>
            <a:tailEnd/>
          </a:ln>
        </p:spPr>
        <p:txBody>
          <a:bodyPr wrap="square" lIns="45720" tIns="22860" rIns="45720" bIns="22860">
            <a:spAutoFit/>
          </a:bodyPr>
          <a:lstStyle/>
          <a:p>
            <a:pPr algn="ctr" defTabSz="1088232"/>
            <a:r>
              <a:rPr lang="en-US" altLang="zh-CN" sz="1200" dirty="0" err="1">
                <a:solidFill>
                  <a:schemeClr val="bg1"/>
                </a:solidFill>
                <a:latin typeface="+mj-lt"/>
                <a:ea typeface="Open Sans Light" pitchFamily="34" charset="0"/>
                <a:cs typeface="Open Sans Light" pitchFamily="34" charset="0"/>
              </a:rPr>
              <a:t>xxxxxxxxxx</a:t>
            </a:r>
            <a:endParaRPr lang="en-US" sz="1000" dirty="0">
              <a:solidFill>
                <a:schemeClr val="bg1"/>
              </a:solidFill>
              <a:latin typeface="+mj-lt"/>
              <a:ea typeface="Open Sans Light" pitchFamily="34" charset="0"/>
              <a:cs typeface="Open Sans Light" pitchFamily="34" charset="0"/>
            </a:endParaRPr>
          </a:p>
        </p:txBody>
      </p:sp>
      <p:sp>
        <p:nvSpPr>
          <p:cNvPr id="140" name="Text Box 10">
            <a:extLst>
              <a:ext uri="{FF2B5EF4-FFF2-40B4-BE49-F238E27FC236}">
                <a16:creationId xmlns:a16="http://schemas.microsoft.com/office/drawing/2014/main" id="{F15A4BE1-B134-4440-A116-7C09BAE46A23}"/>
              </a:ext>
            </a:extLst>
          </p:cNvPr>
          <p:cNvSpPr txBox="1">
            <a:spLocks noChangeArrowheads="1"/>
          </p:cNvSpPr>
          <p:nvPr/>
        </p:nvSpPr>
        <p:spPr bwMode="auto">
          <a:xfrm>
            <a:off x="8055694" y="3421697"/>
            <a:ext cx="929049" cy="261610"/>
          </a:xfrm>
          <a:prstGeom prst="rect">
            <a:avLst/>
          </a:prstGeom>
          <a:noFill/>
          <a:ln w="9525">
            <a:noFill/>
            <a:miter lim="800000"/>
            <a:headEnd/>
            <a:tailEnd/>
          </a:ln>
        </p:spPr>
        <p:txBody>
          <a:bodyPr wrap="square" lIns="45720" tIns="22860" rIns="45720" bIns="22860">
            <a:spAutoFit/>
          </a:bodyPr>
          <a:lstStyle/>
          <a:p>
            <a:pPr algn="ctr" defTabSz="1088232"/>
            <a:r>
              <a:rPr lang="en-US" sz="1400">
                <a:solidFill>
                  <a:schemeClr val="bg1"/>
                </a:solidFill>
                <a:latin typeface="+mj-lt"/>
                <a:ea typeface="Open Sans Light" pitchFamily="34" charset="0"/>
                <a:cs typeface="Open Sans Light" pitchFamily="34" charset="0"/>
              </a:rPr>
              <a:t>20%</a:t>
            </a:r>
            <a:endParaRPr lang="en-US" sz="1050">
              <a:solidFill>
                <a:schemeClr val="bg1"/>
              </a:solidFill>
              <a:latin typeface="+mj-lt"/>
              <a:ea typeface="Open Sans Light" pitchFamily="34" charset="0"/>
              <a:cs typeface="Open Sans Light" pitchFamily="34" charset="0"/>
            </a:endParaRPr>
          </a:p>
        </p:txBody>
      </p:sp>
      <p:sp>
        <p:nvSpPr>
          <p:cNvPr id="141" name="Text Box 10">
            <a:extLst>
              <a:ext uri="{FF2B5EF4-FFF2-40B4-BE49-F238E27FC236}">
                <a16:creationId xmlns:a16="http://schemas.microsoft.com/office/drawing/2014/main" id="{52D2E2E9-B40C-4969-83D5-D81A22FC0199}"/>
              </a:ext>
            </a:extLst>
          </p:cNvPr>
          <p:cNvSpPr txBox="1">
            <a:spLocks noChangeArrowheads="1"/>
          </p:cNvSpPr>
          <p:nvPr/>
        </p:nvSpPr>
        <p:spPr bwMode="auto">
          <a:xfrm>
            <a:off x="6639786" y="4822358"/>
            <a:ext cx="2371140"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2"/>
                </a:solidFill>
                <a:ea typeface="Open Sans" pitchFamily="34" charset="0"/>
                <a:cs typeface="Open Sans" pitchFamily="34" charset="0"/>
              </a:rPr>
              <a:t>Xxxxxxxxx</a:t>
            </a:r>
            <a:endParaRPr lang="en-US" altLang="zh-CN" sz="1600" b="1" dirty="0">
              <a:solidFill>
                <a:schemeClr val="accent2"/>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r>
              <a:rPr lang="en-US" altLang="zh-CN" sz="1200" dirty="0">
                <a:solidFill>
                  <a:schemeClr val="bg1">
                    <a:lumMod val="65000"/>
                  </a:schemeClr>
                </a:solidFill>
                <a:ea typeface="Open Sans" pitchFamily="34" charset="0"/>
                <a:cs typeface="Open Sans" pitchFamily="34" charset="0"/>
              </a:rPr>
              <a:t>.</a:t>
            </a:r>
          </a:p>
        </p:txBody>
      </p:sp>
      <p:grpSp>
        <p:nvGrpSpPr>
          <p:cNvPr id="188" name="组合 187">
            <a:extLst>
              <a:ext uri="{FF2B5EF4-FFF2-40B4-BE49-F238E27FC236}">
                <a16:creationId xmlns:a16="http://schemas.microsoft.com/office/drawing/2014/main" id="{393CBFAD-F4BB-4623-BB95-6243F4B03261}"/>
              </a:ext>
            </a:extLst>
          </p:cNvPr>
          <p:cNvGrpSpPr/>
          <p:nvPr/>
        </p:nvGrpSpPr>
        <p:grpSpPr>
          <a:xfrm>
            <a:off x="3317737" y="1077913"/>
            <a:ext cx="6001120" cy="4599261"/>
            <a:chOff x="3228837" y="1605079"/>
            <a:chExt cx="6001120" cy="5250980"/>
          </a:xfrm>
        </p:grpSpPr>
        <p:cxnSp>
          <p:nvCxnSpPr>
            <p:cNvPr id="50" name="Straight Connector 93">
              <a:extLst>
                <a:ext uri="{FF2B5EF4-FFF2-40B4-BE49-F238E27FC236}">
                  <a16:creationId xmlns:a16="http://schemas.microsoft.com/office/drawing/2014/main" id="{AE31248A-AA62-47BA-A366-5138E3C1886B}"/>
                </a:ext>
              </a:extLst>
            </p:cNvPr>
            <p:cNvCxnSpPr/>
            <p:nvPr/>
          </p:nvCxnSpPr>
          <p:spPr>
            <a:xfrm>
              <a:off x="3228837" y="1605079"/>
              <a:ext cx="0" cy="5250980"/>
            </a:xfrm>
            <a:prstGeom prst="line">
              <a:avLst/>
            </a:prstGeom>
            <a:ln w="19050">
              <a:solidFill>
                <a:srgbClr val="75787B"/>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141">
              <a:extLst>
                <a:ext uri="{FF2B5EF4-FFF2-40B4-BE49-F238E27FC236}">
                  <a16:creationId xmlns:a16="http://schemas.microsoft.com/office/drawing/2014/main" id="{19291E61-2946-45B9-84DF-BB4C7AD7EF47}"/>
                </a:ext>
              </a:extLst>
            </p:cNvPr>
            <p:cNvCxnSpPr/>
            <p:nvPr/>
          </p:nvCxnSpPr>
          <p:spPr>
            <a:xfrm>
              <a:off x="6229397" y="1605079"/>
              <a:ext cx="0" cy="5250980"/>
            </a:xfrm>
            <a:prstGeom prst="line">
              <a:avLst/>
            </a:prstGeom>
            <a:ln w="19050">
              <a:solidFill>
                <a:srgbClr val="75787B"/>
              </a:solidFill>
              <a:prstDash val="dash"/>
            </a:ln>
          </p:spPr>
          <p:style>
            <a:lnRef idx="1">
              <a:schemeClr val="accent1"/>
            </a:lnRef>
            <a:fillRef idx="0">
              <a:schemeClr val="accent1"/>
            </a:fillRef>
            <a:effectRef idx="0">
              <a:schemeClr val="accent1"/>
            </a:effectRef>
            <a:fontRef idx="minor">
              <a:schemeClr val="tx1"/>
            </a:fontRef>
          </p:style>
        </p:cxnSp>
        <p:cxnSp>
          <p:nvCxnSpPr>
            <p:cNvPr id="142" name="Straight Connector 188">
              <a:extLst>
                <a:ext uri="{FF2B5EF4-FFF2-40B4-BE49-F238E27FC236}">
                  <a16:creationId xmlns:a16="http://schemas.microsoft.com/office/drawing/2014/main" id="{22488F79-D533-4AB7-A57C-100EFD7548BF}"/>
                </a:ext>
              </a:extLst>
            </p:cNvPr>
            <p:cNvCxnSpPr/>
            <p:nvPr/>
          </p:nvCxnSpPr>
          <p:spPr>
            <a:xfrm>
              <a:off x="9229957" y="1605079"/>
              <a:ext cx="0" cy="5250980"/>
            </a:xfrm>
            <a:prstGeom prst="line">
              <a:avLst/>
            </a:prstGeom>
            <a:ln w="19050">
              <a:solidFill>
                <a:srgbClr val="75787B"/>
              </a:solidFill>
              <a:prstDash val="dash"/>
            </a:ln>
          </p:spPr>
          <p:style>
            <a:lnRef idx="1">
              <a:schemeClr val="accent1"/>
            </a:lnRef>
            <a:fillRef idx="0">
              <a:schemeClr val="accent1"/>
            </a:fillRef>
            <a:effectRef idx="0">
              <a:schemeClr val="accent1"/>
            </a:effectRef>
            <a:fontRef idx="minor">
              <a:schemeClr val="tx1"/>
            </a:fontRef>
          </p:style>
        </p:cxnSp>
      </p:grpSp>
      <p:grpSp>
        <p:nvGrpSpPr>
          <p:cNvPr id="143" name="Group 190">
            <a:extLst>
              <a:ext uri="{FF2B5EF4-FFF2-40B4-BE49-F238E27FC236}">
                <a16:creationId xmlns:a16="http://schemas.microsoft.com/office/drawing/2014/main" id="{6212FCF7-5248-4244-AAC9-27E48AE81FB7}"/>
              </a:ext>
            </a:extLst>
          </p:cNvPr>
          <p:cNvGrpSpPr/>
          <p:nvPr/>
        </p:nvGrpSpPr>
        <p:grpSpPr>
          <a:xfrm>
            <a:off x="9543453" y="1089942"/>
            <a:ext cx="1924133" cy="1725769"/>
            <a:chOff x="523875" y="1042988"/>
            <a:chExt cx="1539875" cy="1381125"/>
          </a:xfrm>
          <a:solidFill>
            <a:schemeClr val="bg2">
              <a:lumMod val="50000"/>
            </a:schemeClr>
          </a:solidFill>
        </p:grpSpPr>
        <p:sp>
          <p:nvSpPr>
            <p:cNvPr id="144" name="Freeform 195">
              <a:extLst>
                <a:ext uri="{FF2B5EF4-FFF2-40B4-BE49-F238E27FC236}">
                  <a16:creationId xmlns:a16="http://schemas.microsoft.com/office/drawing/2014/main" id="{69ECA0FC-8542-41D8-B36B-34E9B53EFD59}"/>
                </a:ext>
              </a:extLst>
            </p:cNvPr>
            <p:cNvSpPr>
              <a:spLocks/>
            </p:cNvSpPr>
            <p:nvPr/>
          </p:nvSpPr>
          <p:spPr bwMode="auto">
            <a:xfrm>
              <a:off x="523875" y="1046163"/>
              <a:ext cx="1539875" cy="1374775"/>
            </a:xfrm>
            <a:custGeom>
              <a:avLst/>
              <a:gdLst>
                <a:gd name="T0" fmla="*/ 7 w 956"/>
                <a:gd name="T1" fmla="*/ 734 h 854"/>
                <a:gd name="T2" fmla="*/ 76 w 956"/>
                <a:gd name="T3" fmla="*/ 705 h 854"/>
                <a:gd name="T4" fmla="*/ 353 w 956"/>
                <a:gd name="T5" fmla="*/ 716 h 854"/>
                <a:gd name="T6" fmla="*/ 797 w 956"/>
                <a:gd name="T7" fmla="*/ 766 h 854"/>
                <a:gd name="T8" fmla="*/ 956 w 956"/>
                <a:gd name="T9" fmla="*/ 821 h 854"/>
                <a:gd name="T10" fmla="*/ 883 w 956"/>
                <a:gd name="T11" fmla="*/ 583 h 854"/>
                <a:gd name="T12" fmla="*/ 668 w 956"/>
                <a:gd name="T13" fmla="*/ 516 h 854"/>
                <a:gd name="T14" fmla="*/ 597 w 956"/>
                <a:gd name="T15" fmla="*/ 410 h 854"/>
                <a:gd name="T16" fmla="*/ 559 w 956"/>
                <a:gd name="T17" fmla="*/ 339 h 854"/>
                <a:gd name="T18" fmla="*/ 544 w 956"/>
                <a:gd name="T19" fmla="*/ 311 h 854"/>
                <a:gd name="T20" fmla="*/ 526 w 956"/>
                <a:gd name="T21" fmla="*/ 216 h 854"/>
                <a:gd name="T22" fmla="*/ 536 w 956"/>
                <a:gd name="T23" fmla="*/ 196 h 854"/>
                <a:gd name="T24" fmla="*/ 510 w 956"/>
                <a:gd name="T25" fmla="*/ 166 h 854"/>
                <a:gd name="T26" fmla="*/ 517 w 956"/>
                <a:gd name="T27" fmla="*/ 94 h 854"/>
                <a:gd name="T28" fmla="*/ 533 w 956"/>
                <a:gd name="T29" fmla="*/ 88 h 854"/>
                <a:gd name="T30" fmla="*/ 664 w 956"/>
                <a:gd name="T31" fmla="*/ 86 h 854"/>
                <a:gd name="T32" fmla="*/ 642 w 956"/>
                <a:gd name="T33" fmla="*/ 8 h 854"/>
                <a:gd name="T34" fmla="*/ 525 w 956"/>
                <a:gd name="T35" fmla="*/ 19 h 854"/>
                <a:gd name="T36" fmla="*/ 471 w 956"/>
                <a:gd name="T37" fmla="*/ 1 h 854"/>
                <a:gd name="T38" fmla="*/ 415 w 956"/>
                <a:gd name="T39" fmla="*/ 22 h 854"/>
                <a:gd name="T40" fmla="*/ 293 w 956"/>
                <a:gd name="T41" fmla="*/ 19 h 854"/>
                <a:gd name="T42" fmla="*/ 279 w 956"/>
                <a:gd name="T43" fmla="*/ 96 h 854"/>
                <a:gd name="T44" fmla="*/ 414 w 956"/>
                <a:gd name="T45" fmla="*/ 92 h 854"/>
                <a:gd name="T46" fmla="*/ 431 w 956"/>
                <a:gd name="T47" fmla="*/ 98 h 854"/>
                <a:gd name="T48" fmla="*/ 435 w 956"/>
                <a:gd name="T49" fmla="*/ 169 h 854"/>
                <a:gd name="T50" fmla="*/ 411 w 956"/>
                <a:gd name="T51" fmla="*/ 196 h 854"/>
                <a:gd name="T52" fmla="*/ 421 w 956"/>
                <a:gd name="T53" fmla="*/ 205 h 854"/>
                <a:gd name="T54" fmla="*/ 402 w 956"/>
                <a:gd name="T55" fmla="*/ 234 h 854"/>
                <a:gd name="T56" fmla="*/ 395 w 956"/>
                <a:gd name="T57" fmla="*/ 320 h 854"/>
                <a:gd name="T58" fmla="*/ 391 w 956"/>
                <a:gd name="T59" fmla="*/ 340 h 854"/>
                <a:gd name="T60" fmla="*/ 335 w 956"/>
                <a:gd name="T61" fmla="*/ 395 h 854"/>
                <a:gd name="T62" fmla="*/ 346 w 956"/>
                <a:gd name="T63" fmla="*/ 468 h 854"/>
                <a:gd name="T64" fmla="*/ 288 w 956"/>
                <a:gd name="T65" fmla="*/ 515 h 854"/>
                <a:gd name="T66" fmla="*/ 46 w 956"/>
                <a:gd name="T67" fmla="*/ 503 h 854"/>
                <a:gd name="T68" fmla="*/ 10 w 956"/>
                <a:gd name="T69" fmla="*/ 480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6" h="854">
                  <a:moveTo>
                    <a:pt x="10" y="480"/>
                  </a:moveTo>
                  <a:cubicBezTo>
                    <a:pt x="10" y="480"/>
                    <a:pt x="0" y="672"/>
                    <a:pt x="7" y="734"/>
                  </a:cubicBezTo>
                  <a:cubicBezTo>
                    <a:pt x="7" y="734"/>
                    <a:pt x="21" y="743"/>
                    <a:pt x="33" y="736"/>
                  </a:cubicBezTo>
                  <a:cubicBezTo>
                    <a:pt x="45" y="728"/>
                    <a:pt x="36" y="708"/>
                    <a:pt x="76" y="705"/>
                  </a:cubicBezTo>
                  <a:cubicBezTo>
                    <a:pt x="115" y="702"/>
                    <a:pt x="265" y="701"/>
                    <a:pt x="265" y="701"/>
                  </a:cubicBezTo>
                  <a:cubicBezTo>
                    <a:pt x="265" y="701"/>
                    <a:pt x="313" y="699"/>
                    <a:pt x="353" y="716"/>
                  </a:cubicBezTo>
                  <a:cubicBezTo>
                    <a:pt x="392" y="733"/>
                    <a:pt x="468" y="772"/>
                    <a:pt x="595" y="722"/>
                  </a:cubicBezTo>
                  <a:cubicBezTo>
                    <a:pt x="723" y="672"/>
                    <a:pt x="789" y="699"/>
                    <a:pt x="797" y="766"/>
                  </a:cubicBezTo>
                  <a:cubicBezTo>
                    <a:pt x="804" y="833"/>
                    <a:pt x="798" y="821"/>
                    <a:pt x="824" y="828"/>
                  </a:cubicBezTo>
                  <a:cubicBezTo>
                    <a:pt x="850" y="836"/>
                    <a:pt x="908" y="854"/>
                    <a:pt x="956" y="821"/>
                  </a:cubicBezTo>
                  <a:cubicBezTo>
                    <a:pt x="955" y="739"/>
                    <a:pt x="955" y="739"/>
                    <a:pt x="955" y="739"/>
                  </a:cubicBezTo>
                  <a:cubicBezTo>
                    <a:pt x="955" y="739"/>
                    <a:pt x="953" y="642"/>
                    <a:pt x="883" y="583"/>
                  </a:cubicBezTo>
                  <a:cubicBezTo>
                    <a:pt x="814" y="523"/>
                    <a:pt x="753" y="522"/>
                    <a:pt x="736" y="520"/>
                  </a:cubicBezTo>
                  <a:cubicBezTo>
                    <a:pt x="720" y="519"/>
                    <a:pt x="668" y="516"/>
                    <a:pt x="668" y="516"/>
                  </a:cubicBezTo>
                  <a:cubicBezTo>
                    <a:pt x="668" y="516"/>
                    <a:pt x="604" y="513"/>
                    <a:pt x="601" y="466"/>
                  </a:cubicBezTo>
                  <a:cubicBezTo>
                    <a:pt x="598" y="419"/>
                    <a:pt x="597" y="410"/>
                    <a:pt x="597" y="410"/>
                  </a:cubicBezTo>
                  <a:cubicBezTo>
                    <a:pt x="597" y="410"/>
                    <a:pt x="614" y="404"/>
                    <a:pt x="614" y="389"/>
                  </a:cubicBezTo>
                  <a:cubicBezTo>
                    <a:pt x="614" y="373"/>
                    <a:pt x="618" y="346"/>
                    <a:pt x="559" y="339"/>
                  </a:cubicBezTo>
                  <a:cubicBezTo>
                    <a:pt x="557" y="325"/>
                    <a:pt x="557" y="325"/>
                    <a:pt x="557" y="325"/>
                  </a:cubicBezTo>
                  <a:cubicBezTo>
                    <a:pt x="544" y="311"/>
                    <a:pt x="544" y="311"/>
                    <a:pt x="544" y="311"/>
                  </a:cubicBezTo>
                  <a:cubicBezTo>
                    <a:pt x="544" y="228"/>
                    <a:pt x="544" y="228"/>
                    <a:pt x="544" y="228"/>
                  </a:cubicBezTo>
                  <a:cubicBezTo>
                    <a:pt x="544" y="228"/>
                    <a:pt x="541" y="220"/>
                    <a:pt x="526" y="216"/>
                  </a:cubicBezTo>
                  <a:cubicBezTo>
                    <a:pt x="526" y="205"/>
                    <a:pt x="526" y="205"/>
                    <a:pt x="526" y="205"/>
                  </a:cubicBezTo>
                  <a:cubicBezTo>
                    <a:pt x="526" y="205"/>
                    <a:pt x="536" y="205"/>
                    <a:pt x="536" y="196"/>
                  </a:cubicBezTo>
                  <a:cubicBezTo>
                    <a:pt x="536" y="187"/>
                    <a:pt x="535" y="178"/>
                    <a:pt x="535" y="178"/>
                  </a:cubicBezTo>
                  <a:cubicBezTo>
                    <a:pt x="535" y="178"/>
                    <a:pt x="524" y="170"/>
                    <a:pt x="510" y="166"/>
                  </a:cubicBezTo>
                  <a:cubicBezTo>
                    <a:pt x="511" y="101"/>
                    <a:pt x="511" y="101"/>
                    <a:pt x="511" y="101"/>
                  </a:cubicBezTo>
                  <a:cubicBezTo>
                    <a:pt x="511" y="101"/>
                    <a:pt x="514" y="98"/>
                    <a:pt x="517" y="94"/>
                  </a:cubicBezTo>
                  <a:cubicBezTo>
                    <a:pt x="529" y="94"/>
                    <a:pt x="529" y="94"/>
                    <a:pt x="529" y="94"/>
                  </a:cubicBezTo>
                  <a:cubicBezTo>
                    <a:pt x="529" y="94"/>
                    <a:pt x="532" y="92"/>
                    <a:pt x="533" y="88"/>
                  </a:cubicBezTo>
                  <a:cubicBezTo>
                    <a:pt x="649" y="97"/>
                    <a:pt x="649" y="97"/>
                    <a:pt x="649" y="97"/>
                  </a:cubicBezTo>
                  <a:cubicBezTo>
                    <a:pt x="649" y="97"/>
                    <a:pt x="660" y="99"/>
                    <a:pt x="664" y="86"/>
                  </a:cubicBezTo>
                  <a:cubicBezTo>
                    <a:pt x="668" y="74"/>
                    <a:pt x="670" y="39"/>
                    <a:pt x="661" y="14"/>
                  </a:cubicBezTo>
                  <a:cubicBezTo>
                    <a:pt x="661" y="14"/>
                    <a:pt x="660" y="5"/>
                    <a:pt x="642" y="8"/>
                  </a:cubicBezTo>
                  <a:cubicBezTo>
                    <a:pt x="625" y="10"/>
                    <a:pt x="531" y="24"/>
                    <a:pt x="531" y="24"/>
                  </a:cubicBezTo>
                  <a:cubicBezTo>
                    <a:pt x="531" y="24"/>
                    <a:pt x="530" y="19"/>
                    <a:pt x="525" y="19"/>
                  </a:cubicBezTo>
                  <a:cubicBezTo>
                    <a:pt x="519" y="19"/>
                    <a:pt x="514" y="19"/>
                    <a:pt x="514" y="19"/>
                  </a:cubicBezTo>
                  <a:cubicBezTo>
                    <a:pt x="514" y="19"/>
                    <a:pt x="502" y="2"/>
                    <a:pt x="471" y="1"/>
                  </a:cubicBezTo>
                  <a:cubicBezTo>
                    <a:pt x="439" y="0"/>
                    <a:pt x="430" y="21"/>
                    <a:pt x="430" y="21"/>
                  </a:cubicBezTo>
                  <a:cubicBezTo>
                    <a:pt x="415" y="22"/>
                    <a:pt x="415" y="22"/>
                    <a:pt x="415" y="22"/>
                  </a:cubicBezTo>
                  <a:cubicBezTo>
                    <a:pt x="415" y="22"/>
                    <a:pt x="412" y="25"/>
                    <a:pt x="412" y="28"/>
                  </a:cubicBezTo>
                  <a:cubicBezTo>
                    <a:pt x="293" y="19"/>
                    <a:pt x="293" y="19"/>
                    <a:pt x="293" y="19"/>
                  </a:cubicBezTo>
                  <a:cubicBezTo>
                    <a:pt x="293" y="19"/>
                    <a:pt x="281" y="17"/>
                    <a:pt x="278" y="29"/>
                  </a:cubicBezTo>
                  <a:cubicBezTo>
                    <a:pt x="275" y="41"/>
                    <a:pt x="274" y="77"/>
                    <a:pt x="279" y="96"/>
                  </a:cubicBezTo>
                  <a:cubicBezTo>
                    <a:pt x="284" y="116"/>
                    <a:pt x="301" y="110"/>
                    <a:pt x="310" y="108"/>
                  </a:cubicBezTo>
                  <a:cubicBezTo>
                    <a:pt x="320" y="105"/>
                    <a:pt x="414" y="92"/>
                    <a:pt x="414" y="92"/>
                  </a:cubicBezTo>
                  <a:cubicBezTo>
                    <a:pt x="414" y="92"/>
                    <a:pt x="413" y="98"/>
                    <a:pt x="419" y="98"/>
                  </a:cubicBezTo>
                  <a:cubicBezTo>
                    <a:pt x="426" y="98"/>
                    <a:pt x="431" y="98"/>
                    <a:pt x="431" y="98"/>
                  </a:cubicBezTo>
                  <a:cubicBezTo>
                    <a:pt x="431" y="98"/>
                    <a:pt x="433" y="103"/>
                    <a:pt x="435" y="103"/>
                  </a:cubicBezTo>
                  <a:cubicBezTo>
                    <a:pt x="435" y="169"/>
                    <a:pt x="435" y="169"/>
                    <a:pt x="435" y="169"/>
                  </a:cubicBezTo>
                  <a:cubicBezTo>
                    <a:pt x="435" y="169"/>
                    <a:pt x="412" y="169"/>
                    <a:pt x="411" y="179"/>
                  </a:cubicBezTo>
                  <a:cubicBezTo>
                    <a:pt x="411" y="189"/>
                    <a:pt x="411" y="196"/>
                    <a:pt x="411" y="196"/>
                  </a:cubicBezTo>
                  <a:cubicBezTo>
                    <a:pt x="411" y="196"/>
                    <a:pt x="409" y="200"/>
                    <a:pt x="415" y="202"/>
                  </a:cubicBezTo>
                  <a:cubicBezTo>
                    <a:pt x="420" y="204"/>
                    <a:pt x="421" y="205"/>
                    <a:pt x="421" y="205"/>
                  </a:cubicBezTo>
                  <a:cubicBezTo>
                    <a:pt x="421" y="219"/>
                    <a:pt x="421" y="219"/>
                    <a:pt x="421" y="219"/>
                  </a:cubicBezTo>
                  <a:cubicBezTo>
                    <a:pt x="421" y="219"/>
                    <a:pt x="402" y="221"/>
                    <a:pt x="402" y="234"/>
                  </a:cubicBezTo>
                  <a:cubicBezTo>
                    <a:pt x="402" y="247"/>
                    <a:pt x="402" y="317"/>
                    <a:pt x="402" y="317"/>
                  </a:cubicBezTo>
                  <a:cubicBezTo>
                    <a:pt x="395" y="320"/>
                    <a:pt x="395" y="320"/>
                    <a:pt x="395" y="320"/>
                  </a:cubicBezTo>
                  <a:cubicBezTo>
                    <a:pt x="392" y="324"/>
                    <a:pt x="392" y="324"/>
                    <a:pt x="392" y="324"/>
                  </a:cubicBezTo>
                  <a:cubicBezTo>
                    <a:pt x="391" y="340"/>
                    <a:pt x="391" y="340"/>
                    <a:pt x="391" y="340"/>
                  </a:cubicBezTo>
                  <a:cubicBezTo>
                    <a:pt x="391" y="340"/>
                    <a:pt x="335" y="347"/>
                    <a:pt x="335" y="364"/>
                  </a:cubicBezTo>
                  <a:cubicBezTo>
                    <a:pt x="335" y="382"/>
                    <a:pt x="335" y="395"/>
                    <a:pt x="335" y="395"/>
                  </a:cubicBezTo>
                  <a:cubicBezTo>
                    <a:pt x="335" y="395"/>
                    <a:pt x="334" y="402"/>
                    <a:pt x="345" y="407"/>
                  </a:cubicBezTo>
                  <a:cubicBezTo>
                    <a:pt x="346" y="468"/>
                    <a:pt x="346" y="468"/>
                    <a:pt x="346" y="468"/>
                  </a:cubicBezTo>
                  <a:cubicBezTo>
                    <a:pt x="346" y="468"/>
                    <a:pt x="347" y="491"/>
                    <a:pt x="336" y="499"/>
                  </a:cubicBezTo>
                  <a:cubicBezTo>
                    <a:pt x="324" y="508"/>
                    <a:pt x="306" y="515"/>
                    <a:pt x="288" y="515"/>
                  </a:cubicBezTo>
                  <a:cubicBezTo>
                    <a:pt x="270" y="515"/>
                    <a:pt x="73" y="517"/>
                    <a:pt x="73" y="517"/>
                  </a:cubicBezTo>
                  <a:cubicBezTo>
                    <a:pt x="73" y="517"/>
                    <a:pt x="51" y="515"/>
                    <a:pt x="46" y="503"/>
                  </a:cubicBezTo>
                  <a:cubicBezTo>
                    <a:pt x="42" y="491"/>
                    <a:pt x="33" y="483"/>
                    <a:pt x="33" y="483"/>
                  </a:cubicBezTo>
                  <a:cubicBezTo>
                    <a:pt x="10" y="480"/>
                    <a:pt x="10" y="480"/>
                    <a:pt x="10" y="4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 name="Freeform 196">
              <a:extLst>
                <a:ext uri="{FF2B5EF4-FFF2-40B4-BE49-F238E27FC236}">
                  <a16:creationId xmlns:a16="http://schemas.microsoft.com/office/drawing/2014/main" id="{34765D2A-4117-467C-84E7-F9FE0BD0E040}"/>
                </a:ext>
              </a:extLst>
            </p:cNvPr>
            <p:cNvSpPr>
              <a:spLocks/>
            </p:cNvSpPr>
            <p:nvPr/>
          </p:nvSpPr>
          <p:spPr bwMode="auto">
            <a:xfrm>
              <a:off x="538163" y="1824038"/>
              <a:ext cx="42863" cy="98425"/>
            </a:xfrm>
            <a:custGeom>
              <a:avLst/>
              <a:gdLst>
                <a:gd name="T0" fmla="*/ 4 w 27"/>
                <a:gd name="T1" fmla="*/ 0 h 61"/>
                <a:gd name="T2" fmla="*/ 19 w 27"/>
                <a:gd name="T3" fmla="*/ 2 h 61"/>
                <a:gd name="T4" fmla="*/ 27 w 27"/>
                <a:gd name="T5" fmla="*/ 14 h 61"/>
                <a:gd name="T6" fmla="*/ 27 w 27"/>
                <a:gd name="T7" fmla="*/ 61 h 61"/>
                <a:gd name="T8" fmla="*/ 13 w 27"/>
                <a:gd name="T9" fmla="*/ 21 h 61"/>
                <a:gd name="T10" fmla="*/ 4 w 27"/>
                <a:gd name="T11" fmla="*/ 0 h 61"/>
              </a:gdLst>
              <a:ahLst/>
              <a:cxnLst>
                <a:cxn ang="0">
                  <a:pos x="T0" y="T1"/>
                </a:cxn>
                <a:cxn ang="0">
                  <a:pos x="T2" y="T3"/>
                </a:cxn>
                <a:cxn ang="0">
                  <a:pos x="T4" y="T5"/>
                </a:cxn>
                <a:cxn ang="0">
                  <a:pos x="T6" y="T7"/>
                </a:cxn>
                <a:cxn ang="0">
                  <a:pos x="T8" y="T9"/>
                </a:cxn>
                <a:cxn ang="0">
                  <a:pos x="T10" y="T11"/>
                </a:cxn>
              </a:cxnLst>
              <a:rect l="0" t="0" r="r" b="b"/>
              <a:pathLst>
                <a:path w="27" h="61">
                  <a:moveTo>
                    <a:pt x="4" y="0"/>
                  </a:moveTo>
                  <a:cubicBezTo>
                    <a:pt x="19" y="2"/>
                    <a:pt x="19" y="2"/>
                    <a:pt x="19" y="2"/>
                  </a:cubicBezTo>
                  <a:cubicBezTo>
                    <a:pt x="19" y="2"/>
                    <a:pt x="27" y="3"/>
                    <a:pt x="27" y="14"/>
                  </a:cubicBezTo>
                  <a:cubicBezTo>
                    <a:pt x="26" y="25"/>
                    <a:pt x="27" y="61"/>
                    <a:pt x="27" y="61"/>
                  </a:cubicBezTo>
                  <a:cubicBezTo>
                    <a:pt x="27" y="61"/>
                    <a:pt x="26" y="27"/>
                    <a:pt x="13" y="21"/>
                  </a:cubicBezTo>
                  <a:cubicBezTo>
                    <a:pt x="0" y="15"/>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 name="Freeform 197">
              <a:extLst>
                <a:ext uri="{FF2B5EF4-FFF2-40B4-BE49-F238E27FC236}">
                  <a16:creationId xmlns:a16="http://schemas.microsoft.com/office/drawing/2014/main" id="{BB12F98A-B114-43E6-A4AD-9094C456EDAB}"/>
                </a:ext>
              </a:extLst>
            </p:cNvPr>
            <p:cNvSpPr>
              <a:spLocks/>
            </p:cNvSpPr>
            <p:nvPr/>
          </p:nvSpPr>
          <p:spPr bwMode="auto">
            <a:xfrm>
              <a:off x="533400" y="1893888"/>
              <a:ext cx="52388" cy="173038"/>
            </a:xfrm>
            <a:custGeom>
              <a:avLst/>
              <a:gdLst>
                <a:gd name="T0" fmla="*/ 28 w 32"/>
                <a:gd name="T1" fmla="*/ 9 h 107"/>
                <a:gd name="T2" fmla="*/ 25 w 32"/>
                <a:gd name="T3" fmla="*/ 87 h 107"/>
                <a:gd name="T4" fmla="*/ 1 w 32"/>
                <a:gd name="T5" fmla="*/ 42 h 107"/>
                <a:gd name="T6" fmla="*/ 28 w 32"/>
                <a:gd name="T7" fmla="*/ 9 h 107"/>
              </a:gdLst>
              <a:ahLst/>
              <a:cxnLst>
                <a:cxn ang="0">
                  <a:pos x="T0" y="T1"/>
                </a:cxn>
                <a:cxn ang="0">
                  <a:pos x="T2" y="T3"/>
                </a:cxn>
                <a:cxn ang="0">
                  <a:pos x="T4" y="T5"/>
                </a:cxn>
                <a:cxn ang="0">
                  <a:pos x="T6" y="T7"/>
                </a:cxn>
              </a:cxnLst>
              <a:rect l="0" t="0" r="r" b="b"/>
              <a:pathLst>
                <a:path w="32" h="107">
                  <a:moveTo>
                    <a:pt x="28" y="9"/>
                  </a:moveTo>
                  <a:cubicBezTo>
                    <a:pt x="28" y="9"/>
                    <a:pt x="32" y="66"/>
                    <a:pt x="25" y="87"/>
                  </a:cubicBezTo>
                  <a:cubicBezTo>
                    <a:pt x="18" y="107"/>
                    <a:pt x="0" y="84"/>
                    <a:pt x="1" y="42"/>
                  </a:cubicBezTo>
                  <a:cubicBezTo>
                    <a:pt x="1" y="0"/>
                    <a:pt x="27" y="27"/>
                    <a:pt x="2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 name="Freeform 198">
              <a:extLst>
                <a:ext uri="{FF2B5EF4-FFF2-40B4-BE49-F238E27FC236}">
                  <a16:creationId xmlns:a16="http://schemas.microsoft.com/office/drawing/2014/main" id="{47DA8294-13C1-4E83-A722-649A3FAB4BB7}"/>
                </a:ext>
              </a:extLst>
            </p:cNvPr>
            <p:cNvSpPr>
              <a:spLocks/>
            </p:cNvSpPr>
            <p:nvPr/>
          </p:nvSpPr>
          <p:spPr bwMode="auto">
            <a:xfrm>
              <a:off x="598488" y="1876425"/>
              <a:ext cx="469900" cy="179388"/>
            </a:xfrm>
            <a:custGeom>
              <a:avLst/>
              <a:gdLst>
                <a:gd name="T0" fmla="*/ 259 w 292"/>
                <a:gd name="T1" fmla="*/ 0 h 111"/>
                <a:gd name="T2" fmla="*/ 257 w 292"/>
                <a:gd name="T3" fmla="*/ 0 h 111"/>
                <a:gd name="T4" fmla="*/ 26 w 292"/>
                <a:gd name="T5" fmla="*/ 3 h 111"/>
                <a:gd name="T6" fmla="*/ 14 w 292"/>
                <a:gd name="T7" fmla="*/ 1 h 111"/>
                <a:gd name="T8" fmla="*/ 3 w 292"/>
                <a:gd name="T9" fmla="*/ 6 h 111"/>
                <a:gd name="T10" fmla="*/ 11 w 292"/>
                <a:gd name="T11" fmla="*/ 111 h 111"/>
                <a:gd name="T12" fmla="*/ 12 w 292"/>
                <a:gd name="T13" fmla="*/ 111 h 111"/>
                <a:gd name="T14" fmla="*/ 26 w 292"/>
                <a:gd name="T15" fmla="*/ 97 h 111"/>
                <a:gd name="T16" fmla="*/ 52 w 292"/>
                <a:gd name="T17" fmla="*/ 84 h 111"/>
                <a:gd name="T18" fmla="*/ 57 w 292"/>
                <a:gd name="T19" fmla="*/ 85 h 111"/>
                <a:gd name="T20" fmla="*/ 156 w 292"/>
                <a:gd name="T21" fmla="*/ 93 h 111"/>
                <a:gd name="T22" fmla="*/ 183 w 292"/>
                <a:gd name="T23" fmla="*/ 92 h 111"/>
                <a:gd name="T24" fmla="*/ 274 w 292"/>
                <a:gd name="T25" fmla="*/ 74 h 111"/>
                <a:gd name="T26" fmla="*/ 256 w 292"/>
                <a:gd name="T27" fmla="*/ 41 h 111"/>
                <a:gd name="T28" fmla="*/ 255 w 292"/>
                <a:gd name="T29" fmla="*/ 41 h 111"/>
                <a:gd name="T30" fmla="*/ 254 w 292"/>
                <a:gd name="T31" fmla="*/ 41 h 111"/>
                <a:gd name="T32" fmla="*/ 231 w 292"/>
                <a:gd name="T33" fmla="*/ 38 h 111"/>
                <a:gd name="T34" fmla="*/ 203 w 292"/>
                <a:gd name="T35" fmla="*/ 35 h 111"/>
                <a:gd name="T36" fmla="*/ 167 w 292"/>
                <a:gd name="T37" fmla="*/ 39 h 111"/>
                <a:gd name="T38" fmla="*/ 116 w 292"/>
                <a:gd name="T39" fmla="*/ 44 h 111"/>
                <a:gd name="T40" fmla="*/ 65 w 292"/>
                <a:gd name="T41" fmla="*/ 40 h 111"/>
                <a:gd name="T42" fmla="*/ 55 w 292"/>
                <a:gd name="T43" fmla="*/ 24 h 111"/>
                <a:gd name="T44" fmla="*/ 57 w 292"/>
                <a:gd name="T45" fmla="*/ 24 h 111"/>
                <a:gd name="T46" fmla="*/ 108 w 292"/>
                <a:gd name="T47" fmla="*/ 30 h 111"/>
                <a:gd name="T48" fmla="*/ 146 w 292"/>
                <a:gd name="T49" fmla="*/ 27 h 111"/>
                <a:gd name="T50" fmla="*/ 182 w 292"/>
                <a:gd name="T51" fmla="*/ 24 h 111"/>
                <a:gd name="T52" fmla="*/ 217 w 292"/>
                <a:gd name="T53" fmla="*/ 26 h 111"/>
                <a:gd name="T54" fmla="*/ 245 w 292"/>
                <a:gd name="T55" fmla="*/ 27 h 111"/>
                <a:gd name="T56" fmla="*/ 262 w 292"/>
                <a:gd name="T57" fmla="*/ 25 h 111"/>
                <a:gd name="T58" fmla="*/ 259 w 292"/>
                <a:gd name="T5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2" h="111">
                  <a:moveTo>
                    <a:pt x="259" y="0"/>
                  </a:moveTo>
                  <a:cubicBezTo>
                    <a:pt x="258" y="0"/>
                    <a:pt x="257" y="0"/>
                    <a:pt x="257" y="0"/>
                  </a:cubicBezTo>
                  <a:cubicBezTo>
                    <a:pt x="220" y="1"/>
                    <a:pt x="26" y="3"/>
                    <a:pt x="26" y="3"/>
                  </a:cubicBezTo>
                  <a:cubicBezTo>
                    <a:pt x="26" y="3"/>
                    <a:pt x="20" y="1"/>
                    <a:pt x="14" y="1"/>
                  </a:cubicBezTo>
                  <a:cubicBezTo>
                    <a:pt x="9" y="1"/>
                    <a:pt x="4" y="2"/>
                    <a:pt x="3" y="6"/>
                  </a:cubicBezTo>
                  <a:cubicBezTo>
                    <a:pt x="1" y="14"/>
                    <a:pt x="0" y="110"/>
                    <a:pt x="11" y="111"/>
                  </a:cubicBezTo>
                  <a:cubicBezTo>
                    <a:pt x="11" y="111"/>
                    <a:pt x="11" y="111"/>
                    <a:pt x="12" y="111"/>
                  </a:cubicBezTo>
                  <a:cubicBezTo>
                    <a:pt x="17" y="111"/>
                    <a:pt x="20" y="104"/>
                    <a:pt x="26" y="97"/>
                  </a:cubicBezTo>
                  <a:cubicBezTo>
                    <a:pt x="31" y="91"/>
                    <a:pt x="39" y="84"/>
                    <a:pt x="52" y="84"/>
                  </a:cubicBezTo>
                  <a:cubicBezTo>
                    <a:pt x="53" y="84"/>
                    <a:pt x="55" y="84"/>
                    <a:pt x="57" y="85"/>
                  </a:cubicBezTo>
                  <a:cubicBezTo>
                    <a:pt x="81" y="87"/>
                    <a:pt x="118" y="93"/>
                    <a:pt x="156" y="93"/>
                  </a:cubicBezTo>
                  <a:cubicBezTo>
                    <a:pt x="165" y="93"/>
                    <a:pt x="174" y="92"/>
                    <a:pt x="183" y="92"/>
                  </a:cubicBezTo>
                  <a:cubicBezTo>
                    <a:pt x="230" y="88"/>
                    <a:pt x="271" y="92"/>
                    <a:pt x="274" y="74"/>
                  </a:cubicBezTo>
                  <a:cubicBezTo>
                    <a:pt x="277" y="56"/>
                    <a:pt x="278" y="41"/>
                    <a:pt x="256" y="41"/>
                  </a:cubicBezTo>
                  <a:cubicBezTo>
                    <a:pt x="256" y="41"/>
                    <a:pt x="255" y="41"/>
                    <a:pt x="255" y="41"/>
                  </a:cubicBezTo>
                  <a:cubicBezTo>
                    <a:pt x="255" y="41"/>
                    <a:pt x="254" y="41"/>
                    <a:pt x="254" y="41"/>
                  </a:cubicBezTo>
                  <a:cubicBezTo>
                    <a:pt x="246" y="41"/>
                    <a:pt x="239" y="39"/>
                    <a:pt x="231" y="38"/>
                  </a:cubicBezTo>
                  <a:cubicBezTo>
                    <a:pt x="223" y="37"/>
                    <a:pt x="214" y="35"/>
                    <a:pt x="203" y="35"/>
                  </a:cubicBezTo>
                  <a:cubicBezTo>
                    <a:pt x="193" y="35"/>
                    <a:pt x="181" y="36"/>
                    <a:pt x="167" y="39"/>
                  </a:cubicBezTo>
                  <a:cubicBezTo>
                    <a:pt x="148" y="43"/>
                    <a:pt x="131" y="44"/>
                    <a:pt x="116" y="44"/>
                  </a:cubicBezTo>
                  <a:cubicBezTo>
                    <a:pt x="94" y="44"/>
                    <a:pt x="77" y="41"/>
                    <a:pt x="65" y="40"/>
                  </a:cubicBezTo>
                  <a:cubicBezTo>
                    <a:pt x="45" y="37"/>
                    <a:pt x="43" y="24"/>
                    <a:pt x="55" y="24"/>
                  </a:cubicBezTo>
                  <a:cubicBezTo>
                    <a:pt x="56" y="24"/>
                    <a:pt x="56" y="24"/>
                    <a:pt x="57" y="24"/>
                  </a:cubicBezTo>
                  <a:cubicBezTo>
                    <a:pt x="67" y="25"/>
                    <a:pt x="83" y="30"/>
                    <a:pt x="108" y="30"/>
                  </a:cubicBezTo>
                  <a:cubicBezTo>
                    <a:pt x="119" y="30"/>
                    <a:pt x="131" y="29"/>
                    <a:pt x="146" y="27"/>
                  </a:cubicBezTo>
                  <a:cubicBezTo>
                    <a:pt x="158" y="25"/>
                    <a:pt x="170" y="24"/>
                    <a:pt x="182" y="24"/>
                  </a:cubicBezTo>
                  <a:cubicBezTo>
                    <a:pt x="194" y="24"/>
                    <a:pt x="206" y="25"/>
                    <a:pt x="217" y="26"/>
                  </a:cubicBezTo>
                  <a:cubicBezTo>
                    <a:pt x="228" y="26"/>
                    <a:pt x="238" y="27"/>
                    <a:pt x="245" y="27"/>
                  </a:cubicBezTo>
                  <a:cubicBezTo>
                    <a:pt x="252" y="27"/>
                    <a:pt x="258" y="27"/>
                    <a:pt x="262" y="25"/>
                  </a:cubicBezTo>
                  <a:cubicBezTo>
                    <a:pt x="277" y="18"/>
                    <a:pt x="292" y="0"/>
                    <a:pt x="2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 name="Freeform 199">
              <a:extLst>
                <a:ext uri="{FF2B5EF4-FFF2-40B4-BE49-F238E27FC236}">
                  <a16:creationId xmlns:a16="http://schemas.microsoft.com/office/drawing/2014/main" id="{4D6C451E-734E-4992-9C8F-631BFCF2E06F}"/>
                </a:ext>
              </a:extLst>
            </p:cNvPr>
            <p:cNvSpPr>
              <a:spLocks/>
            </p:cNvSpPr>
            <p:nvPr/>
          </p:nvSpPr>
          <p:spPr bwMode="auto">
            <a:xfrm>
              <a:off x="1016000" y="1631950"/>
              <a:ext cx="220663" cy="312738"/>
            </a:xfrm>
            <a:custGeom>
              <a:avLst/>
              <a:gdLst>
                <a:gd name="T0" fmla="*/ 12 w 137"/>
                <a:gd name="T1" fmla="*/ 147 h 194"/>
                <a:gd name="T2" fmla="*/ 26 w 137"/>
                <a:gd name="T3" fmla="*/ 161 h 194"/>
                <a:gd name="T4" fmla="*/ 0 w 137"/>
                <a:gd name="T5" fmla="*/ 186 h 194"/>
                <a:gd name="T6" fmla="*/ 36 w 137"/>
                <a:gd name="T7" fmla="*/ 184 h 194"/>
                <a:gd name="T8" fmla="*/ 81 w 137"/>
                <a:gd name="T9" fmla="*/ 172 h 194"/>
                <a:gd name="T10" fmla="*/ 125 w 137"/>
                <a:gd name="T11" fmla="*/ 121 h 194"/>
                <a:gd name="T12" fmla="*/ 84 w 137"/>
                <a:gd name="T13" fmla="*/ 74 h 194"/>
                <a:gd name="T14" fmla="*/ 61 w 137"/>
                <a:gd name="T15" fmla="*/ 59 h 194"/>
                <a:gd name="T16" fmla="*/ 50 w 137"/>
                <a:gd name="T17" fmla="*/ 49 h 194"/>
                <a:gd name="T18" fmla="*/ 123 w 137"/>
                <a:gd name="T19" fmla="*/ 61 h 194"/>
                <a:gd name="T20" fmla="*/ 95 w 137"/>
                <a:gd name="T21" fmla="*/ 51 h 194"/>
                <a:gd name="T22" fmla="*/ 114 w 137"/>
                <a:gd name="T23" fmla="*/ 32 h 194"/>
                <a:gd name="T24" fmla="*/ 112 w 137"/>
                <a:gd name="T25" fmla="*/ 30 h 194"/>
                <a:gd name="T26" fmla="*/ 30 w 137"/>
                <a:gd name="T27" fmla="*/ 0 h 194"/>
                <a:gd name="T28" fmla="*/ 30 w 137"/>
                <a:gd name="T29" fmla="*/ 31 h 194"/>
                <a:gd name="T30" fmla="*/ 40 w 137"/>
                <a:gd name="T31" fmla="*/ 43 h 194"/>
                <a:gd name="T32" fmla="*/ 41 w 137"/>
                <a:gd name="T33" fmla="*/ 108 h 194"/>
                <a:gd name="T34" fmla="*/ 12 w 137"/>
                <a:gd name="T35" fmla="*/ 1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94">
                  <a:moveTo>
                    <a:pt x="12" y="147"/>
                  </a:moveTo>
                  <a:cubicBezTo>
                    <a:pt x="12" y="147"/>
                    <a:pt x="35" y="148"/>
                    <a:pt x="26" y="161"/>
                  </a:cubicBezTo>
                  <a:cubicBezTo>
                    <a:pt x="16" y="174"/>
                    <a:pt x="0" y="186"/>
                    <a:pt x="0" y="186"/>
                  </a:cubicBezTo>
                  <a:cubicBezTo>
                    <a:pt x="0" y="186"/>
                    <a:pt x="13" y="194"/>
                    <a:pt x="36" y="184"/>
                  </a:cubicBezTo>
                  <a:cubicBezTo>
                    <a:pt x="59" y="173"/>
                    <a:pt x="50" y="175"/>
                    <a:pt x="81" y="172"/>
                  </a:cubicBezTo>
                  <a:cubicBezTo>
                    <a:pt x="111" y="170"/>
                    <a:pt x="137" y="148"/>
                    <a:pt x="125" y="121"/>
                  </a:cubicBezTo>
                  <a:cubicBezTo>
                    <a:pt x="112" y="93"/>
                    <a:pt x="92" y="99"/>
                    <a:pt x="84" y="74"/>
                  </a:cubicBezTo>
                  <a:cubicBezTo>
                    <a:pt x="75" y="50"/>
                    <a:pt x="74" y="63"/>
                    <a:pt x="61" y="59"/>
                  </a:cubicBezTo>
                  <a:cubicBezTo>
                    <a:pt x="48" y="55"/>
                    <a:pt x="43" y="46"/>
                    <a:pt x="50" y="49"/>
                  </a:cubicBezTo>
                  <a:cubicBezTo>
                    <a:pt x="57" y="51"/>
                    <a:pt x="77" y="61"/>
                    <a:pt x="123" y="61"/>
                  </a:cubicBezTo>
                  <a:cubicBezTo>
                    <a:pt x="123" y="61"/>
                    <a:pt x="95" y="58"/>
                    <a:pt x="95" y="51"/>
                  </a:cubicBezTo>
                  <a:cubicBezTo>
                    <a:pt x="95" y="45"/>
                    <a:pt x="95" y="33"/>
                    <a:pt x="114" y="32"/>
                  </a:cubicBezTo>
                  <a:cubicBezTo>
                    <a:pt x="114" y="32"/>
                    <a:pt x="116" y="30"/>
                    <a:pt x="112" y="30"/>
                  </a:cubicBezTo>
                  <a:cubicBezTo>
                    <a:pt x="108" y="30"/>
                    <a:pt x="38" y="26"/>
                    <a:pt x="30" y="0"/>
                  </a:cubicBezTo>
                  <a:cubicBezTo>
                    <a:pt x="30" y="31"/>
                    <a:pt x="30" y="31"/>
                    <a:pt x="30" y="31"/>
                  </a:cubicBezTo>
                  <a:cubicBezTo>
                    <a:pt x="30" y="31"/>
                    <a:pt x="29" y="39"/>
                    <a:pt x="40" y="43"/>
                  </a:cubicBezTo>
                  <a:cubicBezTo>
                    <a:pt x="41" y="108"/>
                    <a:pt x="41" y="108"/>
                    <a:pt x="41" y="108"/>
                  </a:cubicBezTo>
                  <a:cubicBezTo>
                    <a:pt x="41" y="108"/>
                    <a:pt x="45" y="137"/>
                    <a:pt x="12"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 name="Freeform 200">
              <a:extLst>
                <a:ext uri="{FF2B5EF4-FFF2-40B4-BE49-F238E27FC236}">
                  <a16:creationId xmlns:a16="http://schemas.microsoft.com/office/drawing/2014/main" id="{7B5DA86C-CC11-4C54-B158-D32B2CE3359D}"/>
                </a:ext>
              </a:extLst>
            </p:cNvPr>
            <p:cNvSpPr>
              <a:spLocks/>
            </p:cNvSpPr>
            <p:nvPr/>
          </p:nvSpPr>
          <p:spPr bwMode="auto">
            <a:xfrm>
              <a:off x="1057275" y="1550988"/>
              <a:ext cx="460375" cy="134938"/>
            </a:xfrm>
            <a:custGeom>
              <a:avLst/>
              <a:gdLst>
                <a:gd name="T0" fmla="*/ 60 w 286"/>
                <a:gd name="T1" fmla="*/ 26 h 83"/>
                <a:gd name="T2" fmla="*/ 4 w 286"/>
                <a:gd name="T3" fmla="*/ 50 h 83"/>
                <a:gd name="T4" fmla="*/ 144 w 286"/>
                <a:gd name="T5" fmla="*/ 82 h 83"/>
                <a:gd name="T6" fmla="*/ 277 w 286"/>
                <a:gd name="T7" fmla="*/ 45 h 83"/>
                <a:gd name="T8" fmla="*/ 228 w 286"/>
                <a:gd name="T9" fmla="*/ 25 h 83"/>
                <a:gd name="T10" fmla="*/ 226 w 286"/>
                <a:gd name="T11" fmla="*/ 11 h 83"/>
                <a:gd name="T12" fmla="*/ 215 w 286"/>
                <a:gd name="T13" fmla="*/ 0 h 83"/>
                <a:gd name="T14" fmla="*/ 153 w 286"/>
                <a:gd name="T15" fmla="*/ 16 h 83"/>
                <a:gd name="T16" fmla="*/ 71 w 286"/>
                <a:gd name="T17" fmla="*/ 2 h 83"/>
                <a:gd name="T18" fmla="*/ 64 w 286"/>
                <a:gd name="T19" fmla="*/ 6 h 83"/>
                <a:gd name="T20" fmla="*/ 61 w 286"/>
                <a:gd name="T21" fmla="*/ 10 h 83"/>
                <a:gd name="T22" fmla="*/ 60 w 286"/>
                <a:gd name="T23" fmla="*/ 2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6" h="83">
                  <a:moveTo>
                    <a:pt x="60" y="26"/>
                  </a:moveTo>
                  <a:cubicBezTo>
                    <a:pt x="60" y="26"/>
                    <a:pt x="7" y="32"/>
                    <a:pt x="4" y="50"/>
                  </a:cubicBezTo>
                  <a:cubicBezTo>
                    <a:pt x="4" y="50"/>
                    <a:pt x="0" y="83"/>
                    <a:pt x="144" y="82"/>
                  </a:cubicBezTo>
                  <a:cubicBezTo>
                    <a:pt x="276" y="82"/>
                    <a:pt x="286" y="56"/>
                    <a:pt x="277" y="45"/>
                  </a:cubicBezTo>
                  <a:cubicBezTo>
                    <a:pt x="277" y="45"/>
                    <a:pt x="264" y="26"/>
                    <a:pt x="228" y="25"/>
                  </a:cubicBezTo>
                  <a:cubicBezTo>
                    <a:pt x="226" y="11"/>
                    <a:pt x="226" y="11"/>
                    <a:pt x="226" y="11"/>
                  </a:cubicBezTo>
                  <a:cubicBezTo>
                    <a:pt x="215" y="0"/>
                    <a:pt x="215" y="0"/>
                    <a:pt x="215" y="0"/>
                  </a:cubicBezTo>
                  <a:cubicBezTo>
                    <a:pt x="215" y="0"/>
                    <a:pt x="206" y="15"/>
                    <a:pt x="153" y="16"/>
                  </a:cubicBezTo>
                  <a:cubicBezTo>
                    <a:pt x="101" y="16"/>
                    <a:pt x="71" y="2"/>
                    <a:pt x="71" y="2"/>
                  </a:cubicBezTo>
                  <a:cubicBezTo>
                    <a:pt x="64" y="6"/>
                    <a:pt x="64" y="6"/>
                    <a:pt x="64" y="6"/>
                  </a:cubicBezTo>
                  <a:cubicBezTo>
                    <a:pt x="61" y="10"/>
                    <a:pt x="61" y="10"/>
                    <a:pt x="61" y="10"/>
                  </a:cubicBezTo>
                  <a:lnTo>
                    <a:pt x="6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 name="Freeform 201">
              <a:extLst>
                <a:ext uri="{FF2B5EF4-FFF2-40B4-BE49-F238E27FC236}">
                  <a16:creationId xmlns:a16="http://schemas.microsoft.com/office/drawing/2014/main" id="{D6A47D77-6663-4118-982E-5A189961F924}"/>
                </a:ext>
              </a:extLst>
            </p:cNvPr>
            <p:cNvSpPr>
              <a:spLocks/>
            </p:cNvSpPr>
            <p:nvPr/>
          </p:nvSpPr>
          <p:spPr bwMode="auto">
            <a:xfrm>
              <a:off x="1150938" y="1593850"/>
              <a:ext cx="57150" cy="47625"/>
            </a:xfrm>
            <a:custGeom>
              <a:avLst/>
              <a:gdLst>
                <a:gd name="T0" fmla="*/ 2 w 36"/>
                <a:gd name="T1" fmla="*/ 0 h 30"/>
                <a:gd name="T2" fmla="*/ 0 w 36"/>
                <a:gd name="T3" fmla="*/ 30 h 30"/>
                <a:gd name="T4" fmla="*/ 5 w 36"/>
                <a:gd name="T5" fmla="*/ 14 h 30"/>
                <a:gd name="T6" fmla="*/ 24 w 36"/>
                <a:gd name="T7" fmla="*/ 20 h 30"/>
                <a:gd name="T8" fmla="*/ 19 w 36"/>
                <a:gd name="T9" fmla="*/ 13 h 30"/>
                <a:gd name="T10" fmla="*/ 5 w 36"/>
                <a:gd name="T11" fmla="*/ 10 h 30"/>
                <a:gd name="T12" fmla="*/ 3 w 36"/>
                <a:gd name="T13" fmla="*/ 5 h 30"/>
                <a:gd name="T14" fmla="*/ 26 w 36"/>
                <a:gd name="T15" fmla="*/ 11 h 30"/>
                <a:gd name="T16" fmla="*/ 36 w 36"/>
                <a:gd name="T17" fmla="*/ 7 h 30"/>
                <a:gd name="T18" fmla="*/ 2 w 36"/>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0">
                  <a:moveTo>
                    <a:pt x="2" y="0"/>
                  </a:moveTo>
                  <a:cubicBezTo>
                    <a:pt x="0" y="30"/>
                    <a:pt x="0" y="30"/>
                    <a:pt x="0" y="30"/>
                  </a:cubicBezTo>
                  <a:cubicBezTo>
                    <a:pt x="0" y="30"/>
                    <a:pt x="0" y="14"/>
                    <a:pt x="5" y="14"/>
                  </a:cubicBezTo>
                  <a:cubicBezTo>
                    <a:pt x="9" y="14"/>
                    <a:pt x="22" y="14"/>
                    <a:pt x="24" y="20"/>
                  </a:cubicBezTo>
                  <a:cubicBezTo>
                    <a:pt x="24" y="20"/>
                    <a:pt x="26" y="15"/>
                    <a:pt x="19" y="13"/>
                  </a:cubicBezTo>
                  <a:cubicBezTo>
                    <a:pt x="13" y="11"/>
                    <a:pt x="8" y="9"/>
                    <a:pt x="5" y="10"/>
                  </a:cubicBezTo>
                  <a:cubicBezTo>
                    <a:pt x="1" y="11"/>
                    <a:pt x="3" y="5"/>
                    <a:pt x="3" y="5"/>
                  </a:cubicBezTo>
                  <a:cubicBezTo>
                    <a:pt x="3" y="5"/>
                    <a:pt x="22" y="11"/>
                    <a:pt x="26" y="11"/>
                  </a:cubicBezTo>
                  <a:cubicBezTo>
                    <a:pt x="30" y="11"/>
                    <a:pt x="30" y="7"/>
                    <a:pt x="36" y="7"/>
                  </a:cubicBezTo>
                  <a:cubicBezTo>
                    <a:pt x="36" y="7"/>
                    <a:pt x="15" y="1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 name="Freeform 202">
              <a:extLst>
                <a:ext uri="{FF2B5EF4-FFF2-40B4-BE49-F238E27FC236}">
                  <a16:creationId xmlns:a16="http://schemas.microsoft.com/office/drawing/2014/main" id="{CFCC1BE3-144B-4467-AC05-E8EE6F66AC49}"/>
                </a:ext>
              </a:extLst>
            </p:cNvPr>
            <p:cNvSpPr>
              <a:spLocks/>
            </p:cNvSpPr>
            <p:nvPr/>
          </p:nvSpPr>
          <p:spPr bwMode="auto">
            <a:xfrm>
              <a:off x="1190625" y="1603375"/>
              <a:ext cx="65088" cy="17463"/>
            </a:xfrm>
            <a:custGeom>
              <a:avLst/>
              <a:gdLst>
                <a:gd name="T0" fmla="*/ 2 w 40"/>
                <a:gd name="T1" fmla="*/ 11 h 11"/>
                <a:gd name="T2" fmla="*/ 40 w 40"/>
                <a:gd name="T3" fmla="*/ 0 h 11"/>
                <a:gd name="T4" fmla="*/ 2 w 40"/>
                <a:gd name="T5" fmla="*/ 11 h 11"/>
              </a:gdLst>
              <a:ahLst/>
              <a:cxnLst>
                <a:cxn ang="0">
                  <a:pos x="T0" y="T1"/>
                </a:cxn>
                <a:cxn ang="0">
                  <a:pos x="T2" y="T3"/>
                </a:cxn>
                <a:cxn ang="0">
                  <a:pos x="T4" y="T5"/>
                </a:cxn>
              </a:cxnLst>
              <a:rect l="0" t="0" r="r" b="b"/>
              <a:pathLst>
                <a:path w="40" h="11">
                  <a:moveTo>
                    <a:pt x="2" y="11"/>
                  </a:moveTo>
                  <a:cubicBezTo>
                    <a:pt x="2" y="11"/>
                    <a:pt x="0" y="3"/>
                    <a:pt x="40" y="0"/>
                  </a:cubicBezTo>
                  <a:cubicBezTo>
                    <a:pt x="40" y="0"/>
                    <a:pt x="11" y="4"/>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 name="Freeform 203">
              <a:extLst>
                <a:ext uri="{FF2B5EF4-FFF2-40B4-BE49-F238E27FC236}">
                  <a16:creationId xmlns:a16="http://schemas.microsoft.com/office/drawing/2014/main" id="{F0399785-51CD-46BB-9AF2-3D4DF06C59A6}"/>
                </a:ext>
              </a:extLst>
            </p:cNvPr>
            <p:cNvSpPr>
              <a:spLocks/>
            </p:cNvSpPr>
            <p:nvPr/>
          </p:nvSpPr>
          <p:spPr bwMode="auto">
            <a:xfrm>
              <a:off x="1298575" y="1603375"/>
              <a:ext cx="112713" cy="42863"/>
            </a:xfrm>
            <a:custGeom>
              <a:avLst/>
              <a:gdLst>
                <a:gd name="T0" fmla="*/ 15 w 70"/>
                <a:gd name="T1" fmla="*/ 2 h 27"/>
                <a:gd name="T2" fmla="*/ 35 w 70"/>
                <a:gd name="T3" fmla="*/ 20 h 27"/>
                <a:gd name="T4" fmla="*/ 46 w 70"/>
                <a:gd name="T5" fmla="*/ 22 h 27"/>
                <a:gd name="T6" fmla="*/ 60 w 70"/>
                <a:gd name="T7" fmla="*/ 16 h 27"/>
                <a:gd name="T8" fmla="*/ 70 w 70"/>
                <a:gd name="T9" fmla="*/ 21 h 27"/>
                <a:gd name="T10" fmla="*/ 70 w 70"/>
                <a:gd name="T11" fmla="*/ 5 h 27"/>
                <a:gd name="T12" fmla="*/ 58 w 70"/>
                <a:gd name="T13" fmla="*/ 5 h 27"/>
                <a:gd name="T14" fmla="*/ 41 w 70"/>
                <a:gd name="T15" fmla="*/ 11 h 27"/>
                <a:gd name="T16" fmla="*/ 15 w 70"/>
                <a:gd name="T17" fmla="*/ 1 h 27"/>
                <a:gd name="T18" fmla="*/ 15 w 70"/>
                <a:gd name="T19"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27">
                  <a:moveTo>
                    <a:pt x="15" y="2"/>
                  </a:moveTo>
                  <a:cubicBezTo>
                    <a:pt x="15" y="2"/>
                    <a:pt x="35" y="13"/>
                    <a:pt x="35" y="20"/>
                  </a:cubicBezTo>
                  <a:cubicBezTo>
                    <a:pt x="35" y="27"/>
                    <a:pt x="43" y="26"/>
                    <a:pt x="46" y="22"/>
                  </a:cubicBezTo>
                  <a:cubicBezTo>
                    <a:pt x="49" y="18"/>
                    <a:pt x="55" y="15"/>
                    <a:pt x="60" y="16"/>
                  </a:cubicBezTo>
                  <a:cubicBezTo>
                    <a:pt x="65" y="16"/>
                    <a:pt x="70" y="21"/>
                    <a:pt x="70" y="21"/>
                  </a:cubicBezTo>
                  <a:cubicBezTo>
                    <a:pt x="70" y="5"/>
                    <a:pt x="70" y="5"/>
                    <a:pt x="70" y="5"/>
                  </a:cubicBezTo>
                  <a:cubicBezTo>
                    <a:pt x="70" y="5"/>
                    <a:pt x="67" y="3"/>
                    <a:pt x="58" y="5"/>
                  </a:cubicBezTo>
                  <a:cubicBezTo>
                    <a:pt x="48" y="8"/>
                    <a:pt x="45" y="14"/>
                    <a:pt x="41" y="11"/>
                  </a:cubicBezTo>
                  <a:cubicBezTo>
                    <a:pt x="37" y="8"/>
                    <a:pt x="29" y="2"/>
                    <a:pt x="15" y="1"/>
                  </a:cubicBezTo>
                  <a:cubicBezTo>
                    <a:pt x="0" y="0"/>
                    <a:pt x="15" y="2"/>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 name="Freeform 204">
              <a:extLst>
                <a:ext uri="{FF2B5EF4-FFF2-40B4-BE49-F238E27FC236}">
                  <a16:creationId xmlns:a16="http://schemas.microsoft.com/office/drawing/2014/main" id="{5E545F24-3E2D-4A53-953C-D05778CD523C}"/>
                </a:ext>
              </a:extLst>
            </p:cNvPr>
            <p:cNvSpPr>
              <a:spLocks/>
            </p:cNvSpPr>
            <p:nvPr/>
          </p:nvSpPr>
          <p:spPr bwMode="auto">
            <a:xfrm>
              <a:off x="1306513" y="1571625"/>
              <a:ext cx="115888" cy="38100"/>
            </a:xfrm>
            <a:custGeom>
              <a:avLst/>
              <a:gdLst>
                <a:gd name="T0" fmla="*/ 0 w 72"/>
                <a:gd name="T1" fmla="*/ 16 h 24"/>
                <a:gd name="T2" fmla="*/ 32 w 72"/>
                <a:gd name="T3" fmla="*/ 22 h 24"/>
                <a:gd name="T4" fmla="*/ 50 w 72"/>
                <a:gd name="T5" fmla="*/ 21 h 24"/>
                <a:gd name="T6" fmla="*/ 65 w 72"/>
                <a:gd name="T7" fmla="*/ 14 h 24"/>
                <a:gd name="T8" fmla="*/ 52 w 72"/>
                <a:gd name="T9" fmla="*/ 5 h 24"/>
                <a:gd name="T10" fmla="*/ 0 w 72"/>
                <a:gd name="T11" fmla="*/ 16 h 24"/>
              </a:gdLst>
              <a:ahLst/>
              <a:cxnLst>
                <a:cxn ang="0">
                  <a:pos x="T0" y="T1"/>
                </a:cxn>
                <a:cxn ang="0">
                  <a:pos x="T2" y="T3"/>
                </a:cxn>
                <a:cxn ang="0">
                  <a:pos x="T4" y="T5"/>
                </a:cxn>
                <a:cxn ang="0">
                  <a:pos x="T6" y="T7"/>
                </a:cxn>
                <a:cxn ang="0">
                  <a:pos x="T8" y="T9"/>
                </a:cxn>
                <a:cxn ang="0">
                  <a:pos x="T10" y="T11"/>
                </a:cxn>
              </a:cxnLst>
              <a:rect l="0" t="0" r="r" b="b"/>
              <a:pathLst>
                <a:path w="72" h="24">
                  <a:moveTo>
                    <a:pt x="0" y="16"/>
                  </a:moveTo>
                  <a:cubicBezTo>
                    <a:pt x="0" y="16"/>
                    <a:pt x="25" y="20"/>
                    <a:pt x="32" y="22"/>
                  </a:cubicBezTo>
                  <a:cubicBezTo>
                    <a:pt x="39" y="24"/>
                    <a:pt x="41" y="23"/>
                    <a:pt x="50" y="21"/>
                  </a:cubicBezTo>
                  <a:cubicBezTo>
                    <a:pt x="59" y="18"/>
                    <a:pt x="64" y="18"/>
                    <a:pt x="65" y="14"/>
                  </a:cubicBezTo>
                  <a:cubicBezTo>
                    <a:pt x="67" y="9"/>
                    <a:pt x="72" y="0"/>
                    <a:pt x="52" y="5"/>
                  </a:cubicBezTo>
                  <a:cubicBezTo>
                    <a:pt x="31" y="10"/>
                    <a:pt x="16" y="17"/>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4" name="Freeform 205">
              <a:extLst>
                <a:ext uri="{FF2B5EF4-FFF2-40B4-BE49-F238E27FC236}">
                  <a16:creationId xmlns:a16="http://schemas.microsoft.com/office/drawing/2014/main" id="{1C25DAA2-B55E-4C32-A860-1F98A9FD2FE0}"/>
                </a:ext>
              </a:extLst>
            </p:cNvPr>
            <p:cNvSpPr>
              <a:spLocks/>
            </p:cNvSpPr>
            <p:nvPr/>
          </p:nvSpPr>
          <p:spPr bwMode="auto">
            <a:xfrm>
              <a:off x="1155700" y="1649413"/>
              <a:ext cx="279400" cy="46038"/>
            </a:xfrm>
            <a:custGeom>
              <a:avLst/>
              <a:gdLst>
                <a:gd name="T0" fmla="*/ 0 w 173"/>
                <a:gd name="T1" fmla="*/ 10 h 28"/>
                <a:gd name="T2" fmla="*/ 158 w 173"/>
                <a:gd name="T3" fmla="*/ 12 h 28"/>
                <a:gd name="T4" fmla="*/ 173 w 173"/>
                <a:gd name="T5" fmla="*/ 0 h 28"/>
                <a:gd name="T6" fmla="*/ 83 w 173"/>
                <a:gd name="T7" fmla="*/ 8 h 28"/>
                <a:gd name="T8" fmla="*/ 0 w 173"/>
                <a:gd name="T9" fmla="*/ 10 h 28"/>
              </a:gdLst>
              <a:ahLst/>
              <a:cxnLst>
                <a:cxn ang="0">
                  <a:pos x="T0" y="T1"/>
                </a:cxn>
                <a:cxn ang="0">
                  <a:pos x="T2" y="T3"/>
                </a:cxn>
                <a:cxn ang="0">
                  <a:pos x="T4" y="T5"/>
                </a:cxn>
                <a:cxn ang="0">
                  <a:pos x="T6" y="T7"/>
                </a:cxn>
                <a:cxn ang="0">
                  <a:pos x="T8" y="T9"/>
                </a:cxn>
              </a:cxnLst>
              <a:rect l="0" t="0" r="r" b="b"/>
              <a:pathLst>
                <a:path w="173" h="28">
                  <a:moveTo>
                    <a:pt x="0" y="10"/>
                  </a:moveTo>
                  <a:cubicBezTo>
                    <a:pt x="0" y="10"/>
                    <a:pt x="72" y="28"/>
                    <a:pt x="158" y="12"/>
                  </a:cubicBezTo>
                  <a:cubicBezTo>
                    <a:pt x="158" y="12"/>
                    <a:pt x="154" y="6"/>
                    <a:pt x="173" y="0"/>
                  </a:cubicBezTo>
                  <a:cubicBezTo>
                    <a:pt x="173" y="0"/>
                    <a:pt x="146" y="9"/>
                    <a:pt x="83" y="8"/>
                  </a:cubicBezTo>
                  <a:cubicBezTo>
                    <a:pt x="21" y="8"/>
                    <a:pt x="64" y="14"/>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5" name="Freeform 206">
              <a:extLst>
                <a:ext uri="{FF2B5EF4-FFF2-40B4-BE49-F238E27FC236}">
                  <a16:creationId xmlns:a16="http://schemas.microsoft.com/office/drawing/2014/main" id="{61AA9E77-57D1-4847-9033-D911FDDCB8F8}"/>
                </a:ext>
              </a:extLst>
            </p:cNvPr>
            <p:cNvSpPr>
              <a:spLocks/>
            </p:cNvSpPr>
            <p:nvPr/>
          </p:nvSpPr>
          <p:spPr bwMode="auto">
            <a:xfrm>
              <a:off x="1295400" y="1633538"/>
              <a:ext cx="233363" cy="104775"/>
            </a:xfrm>
            <a:custGeom>
              <a:avLst/>
              <a:gdLst>
                <a:gd name="T0" fmla="*/ 0 w 145"/>
                <a:gd name="T1" fmla="*/ 62 h 65"/>
                <a:gd name="T2" fmla="*/ 103 w 145"/>
                <a:gd name="T3" fmla="*/ 49 h 65"/>
                <a:gd name="T4" fmla="*/ 83 w 145"/>
                <a:gd name="T5" fmla="*/ 48 h 65"/>
                <a:gd name="T6" fmla="*/ 10 w 145"/>
                <a:gd name="T7" fmla="*/ 39 h 65"/>
                <a:gd name="T8" fmla="*/ 23 w 145"/>
                <a:gd name="T9" fmla="*/ 31 h 65"/>
                <a:gd name="T10" fmla="*/ 131 w 145"/>
                <a:gd name="T11" fmla="*/ 0 h 65"/>
                <a:gd name="T12" fmla="*/ 118 w 145"/>
                <a:gd name="T13" fmla="*/ 45 h 65"/>
                <a:gd name="T14" fmla="*/ 0 w 145"/>
                <a:gd name="T15" fmla="*/ 62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5">
                  <a:moveTo>
                    <a:pt x="0" y="62"/>
                  </a:moveTo>
                  <a:cubicBezTo>
                    <a:pt x="0" y="62"/>
                    <a:pt x="65" y="61"/>
                    <a:pt x="103" y="49"/>
                  </a:cubicBezTo>
                  <a:cubicBezTo>
                    <a:pt x="103" y="49"/>
                    <a:pt x="123" y="47"/>
                    <a:pt x="83" y="48"/>
                  </a:cubicBezTo>
                  <a:cubicBezTo>
                    <a:pt x="43" y="48"/>
                    <a:pt x="11" y="55"/>
                    <a:pt x="10" y="39"/>
                  </a:cubicBezTo>
                  <a:cubicBezTo>
                    <a:pt x="10" y="39"/>
                    <a:pt x="6" y="31"/>
                    <a:pt x="23" y="31"/>
                  </a:cubicBezTo>
                  <a:cubicBezTo>
                    <a:pt x="40" y="31"/>
                    <a:pt x="129" y="29"/>
                    <a:pt x="131" y="0"/>
                  </a:cubicBezTo>
                  <a:cubicBezTo>
                    <a:pt x="131" y="0"/>
                    <a:pt x="145" y="35"/>
                    <a:pt x="118" y="45"/>
                  </a:cubicBezTo>
                  <a:cubicBezTo>
                    <a:pt x="118" y="45"/>
                    <a:pt x="76" y="65"/>
                    <a:pt x="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6" name="Freeform 207">
              <a:extLst>
                <a:ext uri="{FF2B5EF4-FFF2-40B4-BE49-F238E27FC236}">
                  <a16:creationId xmlns:a16="http://schemas.microsoft.com/office/drawing/2014/main" id="{7EFAE11E-2EA8-4FAF-A2C8-10CCB0898BCA}"/>
                </a:ext>
              </a:extLst>
            </p:cNvPr>
            <p:cNvSpPr>
              <a:spLocks noEditPoints="1"/>
            </p:cNvSpPr>
            <p:nvPr/>
          </p:nvSpPr>
          <p:spPr bwMode="auto">
            <a:xfrm>
              <a:off x="1563688" y="1870075"/>
              <a:ext cx="382588" cy="114300"/>
            </a:xfrm>
            <a:custGeom>
              <a:avLst/>
              <a:gdLst>
                <a:gd name="T0" fmla="*/ 163 w 238"/>
                <a:gd name="T1" fmla="*/ 24 h 71"/>
                <a:gd name="T2" fmla="*/ 238 w 238"/>
                <a:gd name="T3" fmla="*/ 71 h 71"/>
                <a:gd name="T4" fmla="*/ 238 w 238"/>
                <a:gd name="T5" fmla="*/ 71 h 71"/>
                <a:gd name="T6" fmla="*/ 238 w 238"/>
                <a:gd name="T7" fmla="*/ 71 h 71"/>
                <a:gd name="T8" fmla="*/ 163 w 238"/>
                <a:gd name="T9" fmla="*/ 24 h 71"/>
                <a:gd name="T10" fmla="*/ 80 w 238"/>
                <a:gd name="T11" fmla="*/ 8 h 71"/>
                <a:gd name="T12" fmla="*/ 91 w 238"/>
                <a:gd name="T13" fmla="*/ 8 h 71"/>
                <a:gd name="T14" fmla="*/ 109 w 238"/>
                <a:gd name="T15" fmla="*/ 10 h 71"/>
                <a:gd name="T16" fmla="*/ 80 w 238"/>
                <a:gd name="T17" fmla="*/ 8 h 71"/>
                <a:gd name="T18" fmla="*/ 0 w 238"/>
                <a:gd name="T19" fmla="*/ 0 h 71"/>
                <a:gd name="T20" fmla="*/ 10 w 238"/>
                <a:gd name="T21" fmla="*/ 2 h 71"/>
                <a:gd name="T22" fmla="*/ 0 w 238"/>
                <a:gd name="T2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71">
                  <a:moveTo>
                    <a:pt x="163" y="24"/>
                  </a:moveTo>
                  <a:cubicBezTo>
                    <a:pt x="185" y="33"/>
                    <a:pt x="211" y="47"/>
                    <a:pt x="238" y="71"/>
                  </a:cubicBezTo>
                  <a:cubicBezTo>
                    <a:pt x="238" y="71"/>
                    <a:pt x="238" y="71"/>
                    <a:pt x="238" y="71"/>
                  </a:cubicBezTo>
                  <a:cubicBezTo>
                    <a:pt x="238" y="71"/>
                    <a:pt x="238" y="71"/>
                    <a:pt x="238" y="71"/>
                  </a:cubicBezTo>
                  <a:cubicBezTo>
                    <a:pt x="221" y="54"/>
                    <a:pt x="195" y="36"/>
                    <a:pt x="163" y="24"/>
                  </a:cubicBezTo>
                  <a:moveTo>
                    <a:pt x="80" y="8"/>
                  </a:moveTo>
                  <a:cubicBezTo>
                    <a:pt x="84" y="8"/>
                    <a:pt x="88" y="8"/>
                    <a:pt x="91" y="8"/>
                  </a:cubicBezTo>
                  <a:cubicBezTo>
                    <a:pt x="95" y="9"/>
                    <a:pt x="101" y="9"/>
                    <a:pt x="109" y="10"/>
                  </a:cubicBezTo>
                  <a:cubicBezTo>
                    <a:pt x="100" y="9"/>
                    <a:pt x="90" y="8"/>
                    <a:pt x="80" y="8"/>
                  </a:cubicBezTo>
                  <a:moveTo>
                    <a:pt x="0" y="0"/>
                  </a:moveTo>
                  <a:cubicBezTo>
                    <a:pt x="3" y="1"/>
                    <a:pt x="7" y="2"/>
                    <a:pt x="10"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7" name="Freeform 208">
              <a:extLst>
                <a:ext uri="{FF2B5EF4-FFF2-40B4-BE49-F238E27FC236}">
                  <a16:creationId xmlns:a16="http://schemas.microsoft.com/office/drawing/2014/main" id="{BA3F8F09-00C9-4E57-823D-F46E9D59CBAD}"/>
                </a:ext>
              </a:extLst>
            </p:cNvPr>
            <p:cNvSpPr>
              <a:spLocks/>
            </p:cNvSpPr>
            <p:nvPr/>
          </p:nvSpPr>
          <p:spPr bwMode="auto">
            <a:xfrm>
              <a:off x="1439863" y="1830388"/>
              <a:ext cx="592138" cy="336550"/>
            </a:xfrm>
            <a:custGeom>
              <a:avLst/>
              <a:gdLst>
                <a:gd name="T0" fmla="*/ 36 w 368"/>
                <a:gd name="T1" fmla="*/ 0 h 209"/>
                <a:gd name="T2" fmla="*/ 25 w 368"/>
                <a:gd name="T3" fmla="*/ 20 h 209"/>
                <a:gd name="T4" fmla="*/ 16 w 368"/>
                <a:gd name="T5" fmla="*/ 88 h 209"/>
                <a:gd name="T6" fmla="*/ 41 w 368"/>
                <a:gd name="T7" fmla="*/ 136 h 209"/>
                <a:gd name="T8" fmla="*/ 53 w 368"/>
                <a:gd name="T9" fmla="*/ 135 h 209"/>
                <a:gd name="T10" fmla="*/ 157 w 368"/>
                <a:gd name="T11" fmla="*/ 125 h 209"/>
                <a:gd name="T12" fmla="*/ 262 w 368"/>
                <a:gd name="T13" fmla="*/ 150 h 209"/>
                <a:gd name="T14" fmla="*/ 327 w 368"/>
                <a:gd name="T15" fmla="*/ 209 h 209"/>
                <a:gd name="T16" fmla="*/ 330 w 368"/>
                <a:gd name="T17" fmla="*/ 204 h 209"/>
                <a:gd name="T18" fmla="*/ 311 w 368"/>
                <a:gd name="T19" fmla="*/ 146 h 209"/>
                <a:gd name="T20" fmla="*/ 314 w 368"/>
                <a:gd name="T21" fmla="*/ 145 h 209"/>
                <a:gd name="T22" fmla="*/ 363 w 368"/>
                <a:gd name="T23" fmla="*/ 207 h 209"/>
                <a:gd name="T24" fmla="*/ 364 w 368"/>
                <a:gd name="T25" fmla="*/ 207 h 209"/>
                <a:gd name="T26" fmla="*/ 361 w 368"/>
                <a:gd name="T27" fmla="*/ 180 h 209"/>
                <a:gd name="T28" fmla="*/ 352 w 368"/>
                <a:gd name="T29" fmla="*/ 150 h 209"/>
                <a:gd name="T30" fmla="*/ 315 w 368"/>
                <a:gd name="T31" fmla="*/ 96 h 209"/>
                <a:gd name="T32" fmla="*/ 315 w 368"/>
                <a:gd name="T33" fmla="*/ 96 h 209"/>
                <a:gd name="T34" fmla="*/ 240 w 368"/>
                <a:gd name="T35" fmla="*/ 49 h 209"/>
                <a:gd name="T36" fmla="*/ 186 w 368"/>
                <a:gd name="T37" fmla="*/ 35 h 209"/>
                <a:gd name="T38" fmla="*/ 168 w 368"/>
                <a:gd name="T39" fmla="*/ 33 h 209"/>
                <a:gd name="T40" fmla="*/ 157 w 368"/>
                <a:gd name="T41" fmla="*/ 33 h 209"/>
                <a:gd name="T42" fmla="*/ 150 w 368"/>
                <a:gd name="T43" fmla="*/ 32 h 209"/>
                <a:gd name="T44" fmla="*/ 87 w 368"/>
                <a:gd name="T45" fmla="*/ 27 h 209"/>
                <a:gd name="T46" fmla="*/ 77 w 368"/>
                <a:gd name="T47" fmla="*/ 25 h 209"/>
                <a:gd name="T48" fmla="*/ 40 w 368"/>
                <a:gd name="T49" fmla="*/ 0 h 209"/>
                <a:gd name="T50" fmla="*/ 36 w 368"/>
                <a:gd name="T5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8" h="209">
                  <a:moveTo>
                    <a:pt x="36" y="0"/>
                  </a:moveTo>
                  <a:cubicBezTo>
                    <a:pt x="33" y="0"/>
                    <a:pt x="27" y="3"/>
                    <a:pt x="25" y="20"/>
                  </a:cubicBezTo>
                  <a:cubicBezTo>
                    <a:pt x="21" y="47"/>
                    <a:pt x="35" y="51"/>
                    <a:pt x="16" y="88"/>
                  </a:cubicBezTo>
                  <a:cubicBezTo>
                    <a:pt x="0" y="119"/>
                    <a:pt x="18" y="136"/>
                    <a:pt x="41" y="136"/>
                  </a:cubicBezTo>
                  <a:cubicBezTo>
                    <a:pt x="45" y="136"/>
                    <a:pt x="49" y="135"/>
                    <a:pt x="53" y="135"/>
                  </a:cubicBezTo>
                  <a:cubicBezTo>
                    <a:pt x="67" y="131"/>
                    <a:pt x="112" y="125"/>
                    <a:pt x="157" y="125"/>
                  </a:cubicBezTo>
                  <a:cubicBezTo>
                    <a:pt x="199" y="125"/>
                    <a:pt x="243" y="131"/>
                    <a:pt x="262" y="150"/>
                  </a:cubicBezTo>
                  <a:cubicBezTo>
                    <a:pt x="294" y="182"/>
                    <a:pt x="318" y="209"/>
                    <a:pt x="327" y="209"/>
                  </a:cubicBezTo>
                  <a:cubicBezTo>
                    <a:pt x="329" y="209"/>
                    <a:pt x="330" y="207"/>
                    <a:pt x="330" y="204"/>
                  </a:cubicBezTo>
                  <a:cubicBezTo>
                    <a:pt x="330" y="186"/>
                    <a:pt x="294" y="153"/>
                    <a:pt x="311" y="146"/>
                  </a:cubicBezTo>
                  <a:cubicBezTo>
                    <a:pt x="312" y="145"/>
                    <a:pt x="313" y="145"/>
                    <a:pt x="314" y="145"/>
                  </a:cubicBezTo>
                  <a:cubicBezTo>
                    <a:pt x="332" y="145"/>
                    <a:pt x="363" y="207"/>
                    <a:pt x="363" y="207"/>
                  </a:cubicBezTo>
                  <a:cubicBezTo>
                    <a:pt x="363" y="207"/>
                    <a:pt x="364" y="207"/>
                    <a:pt x="364" y="207"/>
                  </a:cubicBezTo>
                  <a:cubicBezTo>
                    <a:pt x="365" y="207"/>
                    <a:pt x="368" y="205"/>
                    <a:pt x="361" y="180"/>
                  </a:cubicBezTo>
                  <a:cubicBezTo>
                    <a:pt x="352" y="150"/>
                    <a:pt x="352" y="150"/>
                    <a:pt x="352" y="150"/>
                  </a:cubicBezTo>
                  <a:cubicBezTo>
                    <a:pt x="352" y="150"/>
                    <a:pt x="347" y="127"/>
                    <a:pt x="315" y="96"/>
                  </a:cubicBezTo>
                  <a:cubicBezTo>
                    <a:pt x="315" y="96"/>
                    <a:pt x="315" y="96"/>
                    <a:pt x="315" y="96"/>
                  </a:cubicBezTo>
                  <a:cubicBezTo>
                    <a:pt x="288" y="72"/>
                    <a:pt x="262" y="58"/>
                    <a:pt x="240" y="49"/>
                  </a:cubicBezTo>
                  <a:cubicBezTo>
                    <a:pt x="223" y="43"/>
                    <a:pt x="205" y="38"/>
                    <a:pt x="186" y="35"/>
                  </a:cubicBezTo>
                  <a:cubicBezTo>
                    <a:pt x="178" y="34"/>
                    <a:pt x="172" y="34"/>
                    <a:pt x="168" y="33"/>
                  </a:cubicBezTo>
                  <a:cubicBezTo>
                    <a:pt x="165" y="33"/>
                    <a:pt x="161" y="33"/>
                    <a:pt x="157" y="33"/>
                  </a:cubicBezTo>
                  <a:cubicBezTo>
                    <a:pt x="154" y="32"/>
                    <a:pt x="152" y="32"/>
                    <a:pt x="150" y="32"/>
                  </a:cubicBezTo>
                  <a:cubicBezTo>
                    <a:pt x="123" y="32"/>
                    <a:pt x="103" y="30"/>
                    <a:pt x="87" y="27"/>
                  </a:cubicBezTo>
                  <a:cubicBezTo>
                    <a:pt x="84" y="27"/>
                    <a:pt x="80" y="26"/>
                    <a:pt x="77" y="25"/>
                  </a:cubicBezTo>
                  <a:cubicBezTo>
                    <a:pt x="56" y="19"/>
                    <a:pt x="45" y="10"/>
                    <a:pt x="40" y="0"/>
                  </a:cubicBezTo>
                  <a:cubicBezTo>
                    <a:pt x="40" y="0"/>
                    <a:pt x="38"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8" name="Freeform 209">
              <a:extLst>
                <a:ext uri="{FF2B5EF4-FFF2-40B4-BE49-F238E27FC236}">
                  <a16:creationId xmlns:a16="http://schemas.microsoft.com/office/drawing/2014/main" id="{5CF8A2E7-B758-46BC-9401-A397BE766E45}"/>
                </a:ext>
              </a:extLst>
            </p:cNvPr>
            <p:cNvSpPr>
              <a:spLocks/>
            </p:cNvSpPr>
            <p:nvPr/>
          </p:nvSpPr>
          <p:spPr bwMode="auto">
            <a:xfrm>
              <a:off x="635000" y="2006600"/>
              <a:ext cx="611188" cy="230188"/>
            </a:xfrm>
            <a:custGeom>
              <a:avLst/>
              <a:gdLst>
                <a:gd name="T0" fmla="*/ 33 w 379"/>
                <a:gd name="T1" fmla="*/ 12 h 142"/>
                <a:gd name="T2" fmla="*/ 3 w 379"/>
                <a:gd name="T3" fmla="*/ 44 h 142"/>
                <a:gd name="T4" fmla="*/ 55 w 379"/>
                <a:gd name="T5" fmla="*/ 100 h 142"/>
                <a:gd name="T6" fmla="*/ 250 w 379"/>
                <a:gd name="T7" fmla="*/ 96 h 142"/>
                <a:gd name="T8" fmla="*/ 366 w 379"/>
                <a:gd name="T9" fmla="*/ 128 h 142"/>
                <a:gd name="T10" fmla="*/ 297 w 379"/>
                <a:gd name="T11" fmla="*/ 52 h 142"/>
                <a:gd name="T12" fmla="*/ 230 w 379"/>
                <a:gd name="T13" fmla="*/ 11 h 142"/>
                <a:gd name="T14" fmla="*/ 131 w 379"/>
                <a:gd name="T15" fmla="*/ 23 h 142"/>
                <a:gd name="T16" fmla="*/ 33 w 379"/>
                <a:gd name="T17"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142">
                  <a:moveTo>
                    <a:pt x="33" y="12"/>
                  </a:moveTo>
                  <a:cubicBezTo>
                    <a:pt x="33" y="12"/>
                    <a:pt x="5" y="8"/>
                    <a:pt x="3" y="44"/>
                  </a:cubicBezTo>
                  <a:cubicBezTo>
                    <a:pt x="0" y="81"/>
                    <a:pt x="11" y="98"/>
                    <a:pt x="55" y="100"/>
                  </a:cubicBezTo>
                  <a:cubicBezTo>
                    <a:pt x="99" y="102"/>
                    <a:pt x="213" y="70"/>
                    <a:pt x="250" y="96"/>
                  </a:cubicBezTo>
                  <a:cubicBezTo>
                    <a:pt x="288" y="121"/>
                    <a:pt x="353" y="142"/>
                    <a:pt x="366" y="128"/>
                  </a:cubicBezTo>
                  <a:cubicBezTo>
                    <a:pt x="379" y="113"/>
                    <a:pt x="319" y="90"/>
                    <a:pt x="297" y="52"/>
                  </a:cubicBezTo>
                  <a:cubicBezTo>
                    <a:pt x="276" y="15"/>
                    <a:pt x="279" y="0"/>
                    <a:pt x="230" y="11"/>
                  </a:cubicBezTo>
                  <a:cubicBezTo>
                    <a:pt x="180" y="21"/>
                    <a:pt x="201" y="25"/>
                    <a:pt x="131" y="23"/>
                  </a:cubicBezTo>
                  <a:cubicBezTo>
                    <a:pt x="61" y="21"/>
                    <a:pt x="56" y="12"/>
                    <a:pt x="3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9" name="Freeform 210">
              <a:extLst>
                <a:ext uri="{FF2B5EF4-FFF2-40B4-BE49-F238E27FC236}">
                  <a16:creationId xmlns:a16="http://schemas.microsoft.com/office/drawing/2014/main" id="{071D0FE3-9602-409E-A893-4BB674129C69}"/>
                </a:ext>
              </a:extLst>
            </p:cNvPr>
            <p:cNvSpPr>
              <a:spLocks/>
            </p:cNvSpPr>
            <p:nvPr/>
          </p:nvSpPr>
          <p:spPr bwMode="auto">
            <a:xfrm>
              <a:off x="1392238" y="2030413"/>
              <a:ext cx="547688" cy="279400"/>
            </a:xfrm>
            <a:custGeom>
              <a:avLst/>
              <a:gdLst>
                <a:gd name="T0" fmla="*/ 80 w 340"/>
                <a:gd name="T1" fmla="*/ 14 h 174"/>
                <a:gd name="T2" fmla="*/ 69 w 340"/>
                <a:gd name="T3" fmla="*/ 51 h 174"/>
                <a:gd name="T4" fmla="*/ 21 w 340"/>
                <a:gd name="T5" fmla="*/ 100 h 174"/>
                <a:gd name="T6" fmla="*/ 72 w 340"/>
                <a:gd name="T7" fmla="*/ 102 h 174"/>
                <a:gd name="T8" fmla="*/ 169 w 340"/>
                <a:gd name="T9" fmla="*/ 69 h 174"/>
                <a:gd name="T10" fmla="*/ 255 w 340"/>
                <a:gd name="T11" fmla="*/ 122 h 174"/>
                <a:gd name="T12" fmla="*/ 269 w 340"/>
                <a:gd name="T13" fmla="*/ 155 h 174"/>
                <a:gd name="T14" fmla="*/ 286 w 340"/>
                <a:gd name="T15" fmla="*/ 114 h 174"/>
                <a:gd name="T16" fmla="*/ 317 w 340"/>
                <a:gd name="T17" fmla="*/ 88 h 174"/>
                <a:gd name="T18" fmla="*/ 305 w 340"/>
                <a:gd name="T19" fmla="*/ 42 h 174"/>
                <a:gd name="T20" fmla="*/ 192 w 340"/>
                <a:gd name="T21" fmla="*/ 0 h 174"/>
                <a:gd name="T22" fmla="*/ 80 w 340"/>
                <a:gd name="T23" fmla="*/ 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74">
                  <a:moveTo>
                    <a:pt x="80" y="14"/>
                  </a:moveTo>
                  <a:cubicBezTo>
                    <a:pt x="80" y="14"/>
                    <a:pt x="61" y="25"/>
                    <a:pt x="69" y="51"/>
                  </a:cubicBezTo>
                  <a:cubicBezTo>
                    <a:pt x="76" y="77"/>
                    <a:pt x="42" y="90"/>
                    <a:pt x="21" y="100"/>
                  </a:cubicBezTo>
                  <a:cubicBezTo>
                    <a:pt x="0" y="109"/>
                    <a:pt x="24" y="120"/>
                    <a:pt x="72" y="102"/>
                  </a:cubicBezTo>
                  <a:cubicBezTo>
                    <a:pt x="121" y="85"/>
                    <a:pt x="127" y="66"/>
                    <a:pt x="169" y="69"/>
                  </a:cubicBezTo>
                  <a:cubicBezTo>
                    <a:pt x="211" y="73"/>
                    <a:pt x="252" y="90"/>
                    <a:pt x="255" y="122"/>
                  </a:cubicBezTo>
                  <a:cubicBezTo>
                    <a:pt x="258" y="155"/>
                    <a:pt x="263" y="174"/>
                    <a:pt x="269" y="155"/>
                  </a:cubicBezTo>
                  <a:cubicBezTo>
                    <a:pt x="276" y="136"/>
                    <a:pt x="288" y="134"/>
                    <a:pt x="286" y="114"/>
                  </a:cubicBezTo>
                  <a:cubicBezTo>
                    <a:pt x="284" y="93"/>
                    <a:pt x="295" y="87"/>
                    <a:pt x="317" y="88"/>
                  </a:cubicBezTo>
                  <a:cubicBezTo>
                    <a:pt x="340" y="90"/>
                    <a:pt x="327" y="67"/>
                    <a:pt x="305" y="42"/>
                  </a:cubicBezTo>
                  <a:cubicBezTo>
                    <a:pt x="283" y="17"/>
                    <a:pt x="277" y="0"/>
                    <a:pt x="192" y="0"/>
                  </a:cubicBezTo>
                  <a:cubicBezTo>
                    <a:pt x="106" y="0"/>
                    <a:pt x="90" y="3"/>
                    <a:pt x="8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0" name="Freeform 211">
              <a:extLst>
                <a:ext uri="{FF2B5EF4-FFF2-40B4-BE49-F238E27FC236}">
                  <a16:creationId xmlns:a16="http://schemas.microsoft.com/office/drawing/2014/main" id="{4F5F559C-5BDB-474B-985E-A7C3C0968416}"/>
                </a:ext>
              </a:extLst>
            </p:cNvPr>
            <p:cNvSpPr>
              <a:spLocks/>
            </p:cNvSpPr>
            <p:nvPr/>
          </p:nvSpPr>
          <p:spPr bwMode="auto">
            <a:xfrm>
              <a:off x="1882775" y="2297113"/>
              <a:ext cx="180975" cy="127000"/>
            </a:xfrm>
            <a:custGeom>
              <a:avLst/>
              <a:gdLst>
                <a:gd name="T0" fmla="*/ 110 w 113"/>
                <a:gd name="T1" fmla="*/ 0 h 79"/>
                <a:gd name="T2" fmla="*/ 113 w 113"/>
                <a:gd name="T3" fmla="*/ 41 h 79"/>
                <a:gd name="T4" fmla="*/ 0 w 113"/>
                <a:gd name="T5" fmla="*/ 55 h 79"/>
                <a:gd name="T6" fmla="*/ 110 w 113"/>
                <a:gd name="T7" fmla="*/ 0 h 79"/>
              </a:gdLst>
              <a:ahLst/>
              <a:cxnLst>
                <a:cxn ang="0">
                  <a:pos x="T0" y="T1"/>
                </a:cxn>
                <a:cxn ang="0">
                  <a:pos x="T2" y="T3"/>
                </a:cxn>
                <a:cxn ang="0">
                  <a:pos x="T4" y="T5"/>
                </a:cxn>
                <a:cxn ang="0">
                  <a:pos x="T6" y="T7"/>
                </a:cxn>
              </a:cxnLst>
              <a:rect l="0" t="0" r="r" b="b"/>
              <a:pathLst>
                <a:path w="113" h="79">
                  <a:moveTo>
                    <a:pt x="110" y="0"/>
                  </a:moveTo>
                  <a:cubicBezTo>
                    <a:pt x="113" y="41"/>
                    <a:pt x="113" y="41"/>
                    <a:pt x="113" y="41"/>
                  </a:cubicBezTo>
                  <a:cubicBezTo>
                    <a:pt x="113" y="41"/>
                    <a:pt x="81" y="77"/>
                    <a:pt x="0" y="55"/>
                  </a:cubicBezTo>
                  <a:cubicBezTo>
                    <a:pt x="0" y="55"/>
                    <a:pt x="113" y="79"/>
                    <a:pt x="1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1" name="Freeform 212">
              <a:extLst>
                <a:ext uri="{FF2B5EF4-FFF2-40B4-BE49-F238E27FC236}">
                  <a16:creationId xmlns:a16="http://schemas.microsoft.com/office/drawing/2014/main" id="{DF7DD6F2-615B-4F86-8E88-29A02B391F60}"/>
                </a:ext>
              </a:extLst>
            </p:cNvPr>
            <p:cNvSpPr>
              <a:spLocks/>
            </p:cNvSpPr>
            <p:nvPr/>
          </p:nvSpPr>
          <p:spPr bwMode="auto">
            <a:xfrm>
              <a:off x="966788" y="1071563"/>
              <a:ext cx="30163" cy="150813"/>
            </a:xfrm>
            <a:custGeom>
              <a:avLst/>
              <a:gdLst>
                <a:gd name="T0" fmla="*/ 16 w 19"/>
                <a:gd name="T1" fmla="*/ 4 h 93"/>
                <a:gd name="T2" fmla="*/ 12 w 19"/>
                <a:gd name="T3" fmla="*/ 7 h 93"/>
                <a:gd name="T4" fmla="*/ 17 w 19"/>
                <a:gd name="T5" fmla="*/ 17 h 93"/>
                <a:gd name="T6" fmla="*/ 14 w 19"/>
                <a:gd name="T7" fmla="*/ 92 h 93"/>
                <a:gd name="T8" fmla="*/ 11 w 19"/>
                <a:gd name="T9" fmla="*/ 79 h 93"/>
                <a:gd name="T10" fmla="*/ 10 w 19"/>
                <a:gd name="T11" fmla="*/ 31 h 93"/>
                <a:gd name="T12" fmla="*/ 1 w 19"/>
                <a:gd name="T13" fmla="*/ 37 h 93"/>
                <a:gd name="T14" fmla="*/ 16 w 19"/>
                <a:gd name="T15" fmla="*/ 4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3">
                  <a:moveTo>
                    <a:pt x="16" y="4"/>
                  </a:moveTo>
                  <a:cubicBezTo>
                    <a:pt x="16" y="4"/>
                    <a:pt x="12" y="3"/>
                    <a:pt x="12" y="7"/>
                  </a:cubicBezTo>
                  <a:cubicBezTo>
                    <a:pt x="12" y="11"/>
                    <a:pt x="17" y="11"/>
                    <a:pt x="17" y="17"/>
                  </a:cubicBezTo>
                  <a:cubicBezTo>
                    <a:pt x="17" y="23"/>
                    <a:pt x="19" y="92"/>
                    <a:pt x="14" y="92"/>
                  </a:cubicBezTo>
                  <a:cubicBezTo>
                    <a:pt x="9" y="92"/>
                    <a:pt x="10" y="93"/>
                    <a:pt x="11" y="79"/>
                  </a:cubicBezTo>
                  <a:cubicBezTo>
                    <a:pt x="13" y="65"/>
                    <a:pt x="12" y="41"/>
                    <a:pt x="10" y="31"/>
                  </a:cubicBezTo>
                  <a:cubicBezTo>
                    <a:pt x="8" y="21"/>
                    <a:pt x="2" y="55"/>
                    <a:pt x="1" y="37"/>
                  </a:cubicBezTo>
                  <a:cubicBezTo>
                    <a:pt x="0" y="18"/>
                    <a:pt x="2"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2" name="Freeform 213">
              <a:extLst>
                <a:ext uri="{FF2B5EF4-FFF2-40B4-BE49-F238E27FC236}">
                  <a16:creationId xmlns:a16="http://schemas.microsoft.com/office/drawing/2014/main" id="{5BC4B38E-F068-41CF-8C1C-7902F733E7EE}"/>
                </a:ext>
              </a:extLst>
            </p:cNvPr>
            <p:cNvSpPr>
              <a:spLocks/>
            </p:cNvSpPr>
            <p:nvPr/>
          </p:nvSpPr>
          <p:spPr bwMode="auto">
            <a:xfrm>
              <a:off x="985838" y="1076325"/>
              <a:ext cx="211138" cy="33338"/>
            </a:xfrm>
            <a:custGeom>
              <a:avLst/>
              <a:gdLst>
                <a:gd name="T0" fmla="*/ 0 w 131"/>
                <a:gd name="T1" fmla="*/ 4 h 20"/>
                <a:gd name="T2" fmla="*/ 15 w 131"/>
                <a:gd name="T3" fmla="*/ 9 h 20"/>
                <a:gd name="T4" fmla="*/ 116 w 131"/>
                <a:gd name="T5" fmla="*/ 13 h 20"/>
                <a:gd name="T6" fmla="*/ 128 w 131"/>
                <a:gd name="T7" fmla="*/ 16 h 20"/>
                <a:gd name="T8" fmla="*/ 131 w 131"/>
                <a:gd name="T9" fmla="*/ 16 h 20"/>
                <a:gd name="T10" fmla="*/ 125 w 131"/>
                <a:gd name="T11" fmla="*/ 9 h 20"/>
                <a:gd name="T12" fmla="*/ 0 w 131"/>
                <a:gd name="T13" fmla="*/ 4 h 20"/>
              </a:gdLst>
              <a:ahLst/>
              <a:cxnLst>
                <a:cxn ang="0">
                  <a:pos x="T0" y="T1"/>
                </a:cxn>
                <a:cxn ang="0">
                  <a:pos x="T2" y="T3"/>
                </a:cxn>
                <a:cxn ang="0">
                  <a:pos x="T4" y="T5"/>
                </a:cxn>
                <a:cxn ang="0">
                  <a:pos x="T6" y="T7"/>
                </a:cxn>
                <a:cxn ang="0">
                  <a:pos x="T8" y="T9"/>
                </a:cxn>
                <a:cxn ang="0">
                  <a:pos x="T10" y="T11"/>
                </a:cxn>
                <a:cxn ang="0">
                  <a:pos x="T12" y="T13"/>
                </a:cxn>
              </a:cxnLst>
              <a:rect l="0" t="0" r="r" b="b"/>
              <a:pathLst>
                <a:path w="131" h="20">
                  <a:moveTo>
                    <a:pt x="0" y="4"/>
                  </a:moveTo>
                  <a:cubicBezTo>
                    <a:pt x="0" y="8"/>
                    <a:pt x="1" y="10"/>
                    <a:pt x="15" y="9"/>
                  </a:cubicBezTo>
                  <a:cubicBezTo>
                    <a:pt x="29" y="9"/>
                    <a:pt x="110" y="13"/>
                    <a:pt x="116" y="13"/>
                  </a:cubicBezTo>
                  <a:cubicBezTo>
                    <a:pt x="121" y="13"/>
                    <a:pt x="126" y="13"/>
                    <a:pt x="128" y="16"/>
                  </a:cubicBezTo>
                  <a:cubicBezTo>
                    <a:pt x="131" y="19"/>
                    <a:pt x="131" y="20"/>
                    <a:pt x="131" y="16"/>
                  </a:cubicBezTo>
                  <a:cubicBezTo>
                    <a:pt x="130" y="12"/>
                    <a:pt x="130" y="9"/>
                    <a:pt x="125" y="9"/>
                  </a:cubicBezTo>
                  <a:cubicBezTo>
                    <a:pt x="120" y="8"/>
                    <a:pt x="0" y="0"/>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3" name="Freeform 214">
              <a:extLst>
                <a:ext uri="{FF2B5EF4-FFF2-40B4-BE49-F238E27FC236}">
                  <a16:creationId xmlns:a16="http://schemas.microsoft.com/office/drawing/2014/main" id="{B5336ADB-148A-4C7A-9CA7-96525BB45728}"/>
                </a:ext>
              </a:extLst>
            </p:cNvPr>
            <p:cNvSpPr>
              <a:spLocks/>
            </p:cNvSpPr>
            <p:nvPr/>
          </p:nvSpPr>
          <p:spPr bwMode="auto">
            <a:xfrm>
              <a:off x="1187450" y="1081088"/>
              <a:ext cx="20638" cy="106363"/>
            </a:xfrm>
            <a:custGeom>
              <a:avLst/>
              <a:gdLst>
                <a:gd name="T0" fmla="*/ 4 w 13"/>
                <a:gd name="T1" fmla="*/ 1 h 66"/>
                <a:gd name="T2" fmla="*/ 9 w 13"/>
                <a:gd name="T3" fmla="*/ 11 h 66"/>
                <a:gd name="T4" fmla="*/ 10 w 13"/>
                <a:gd name="T5" fmla="*/ 66 h 66"/>
                <a:gd name="T6" fmla="*/ 6 w 13"/>
                <a:gd name="T7" fmla="*/ 15 h 66"/>
                <a:gd name="T8" fmla="*/ 0 w 13"/>
                <a:gd name="T9" fmla="*/ 6 h 66"/>
                <a:gd name="T10" fmla="*/ 4 w 13"/>
                <a:gd name="T11" fmla="*/ 1 h 66"/>
              </a:gdLst>
              <a:ahLst/>
              <a:cxnLst>
                <a:cxn ang="0">
                  <a:pos x="T0" y="T1"/>
                </a:cxn>
                <a:cxn ang="0">
                  <a:pos x="T2" y="T3"/>
                </a:cxn>
                <a:cxn ang="0">
                  <a:pos x="T4" y="T5"/>
                </a:cxn>
                <a:cxn ang="0">
                  <a:pos x="T6" y="T7"/>
                </a:cxn>
                <a:cxn ang="0">
                  <a:pos x="T8" y="T9"/>
                </a:cxn>
                <a:cxn ang="0">
                  <a:pos x="T10" y="T11"/>
                </a:cxn>
              </a:cxnLst>
              <a:rect l="0" t="0" r="r" b="b"/>
              <a:pathLst>
                <a:path w="13" h="66">
                  <a:moveTo>
                    <a:pt x="4" y="1"/>
                  </a:moveTo>
                  <a:cubicBezTo>
                    <a:pt x="4" y="1"/>
                    <a:pt x="8" y="10"/>
                    <a:pt x="9" y="11"/>
                  </a:cubicBezTo>
                  <a:cubicBezTo>
                    <a:pt x="9" y="12"/>
                    <a:pt x="13" y="55"/>
                    <a:pt x="10" y="66"/>
                  </a:cubicBezTo>
                  <a:cubicBezTo>
                    <a:pt x="10" y="66"/>
                    <a:pt x="11" y="27"/>
                    <a:pt x="6" y="15"/>
                  </a:cubicBezTo>
                  <a:cubicBezTo>
                    <a:pt x="6" y="15"/>
                    <a:pt x="6" y="7"/>
                    <a:pt x="0" y="6"/>
                  </a:cubicBezTo>
                  <a:cubicBezTo>
                    <a:pt x="0" y="6"/>
                    <a:pt x="1"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4" name="Freeform 215">
              <a:extLst>
                <a:ext uri="{FF2B5EF4-FFF2-40B4-BE49-F238E27FC236}">
                  <a16:creationId xmlns:a16="http://schemas.microsoft.com/office/drawing/2014/main" id="{1D85AFF2-ABF8-4D52-8683-E53B936D7DF3}"/>
                </a:ext>
              </a:extLst>
            </p:cNvPr>
            <p:cNvSpPr>
              <a:spLocks/>
            </p:cNvSpPr>
            <p:nvPr/>
          </p:nvSpPr>
          <p:spPr bwMode="auto">
            <a:xfrm>
              <a:off x="1193800" y="1079500"/>
              <a:ext cx="33338" cy="31750"/>
            </a:xfrm>
            <a:custGeom>
              <a:avLst/>
              <a:gdLst>
                <a:gd name="T0" fmla="*/ 0 w 20"/>
                <a:gd name="T1" fmla="*/ 1 h 19"/>
                <a:gd name="T2" fmla="*/ 2 w 20"/>
                <a:gd name="T3" fmla="*/ 7 h 19"/>
                <a:gd name="T4" fmla="*/ 15 w 20"/>
                <a:gd name="T5" fmla="*/ 7 h 19"/>
                <a:gd name="T6" fmla="*/ 18 w 20"/>
                <a:gd name="T7" fmla="*/ 19 h 19"/>
                <a:gd name="T8" fmla="*/ 14 w 20"/>
                <a:gd name="T9" fmla="*/ 0 h 19"/>
                <a:gd name="T10" fmla="*/ 0 w 20"/>
                <a:gd name="T11" fmla="*/ 1 h 19"/>
              </a:gdLst>
              <a:ahLst/>
              <a:cxnLst>
                <a:cxn ang="0">
                  <a:pos x="T0" y="T1"/>
                </a:cxn>
                <a:cxn ang="0">
                  <a:pos x="T2" y="T3"/>
                </a:cxn>
                <a:cxn ang="0">
                  <a:pos x="T4" y="T5"/>
                </a:cxn>
                <a:cxn ang="0">
                  <a:pos x="T6" y="T7"/>
                </a:cxn>
                <a:cxn ang="0">
                  <a:pos x="T8" y="T9"/>
                </a:cxn>
                <a:cxn ang="0">
                  <a:pos x="T10" y="T11"/>
                </a:cxn>
              </a:cxnLst>
              <a:rect l="0" t="0" r="r" b="b"/>
              <a:pathLst>
                <a:path w="20" h="19">
                  <a:moveTo>
                    <a:pt x="0" y="1"/>
                  </a:moveTo>
                  <a:cubicBezTo>
                    <a:pt x="0" y="1"/>
                    <a:pt x="1" y="5"/>
                    <a:pt x="2" y="7"/>
                  </a:cubicBezTo>
                  <a:cubicBezTo>
                    <a:pt x="4" y="9"/>
                    <a:pt x="13" y="2"/>
                    <a:pt x="15" y="7"/>
                  </a:cubicBezTo>
                  <a:cubicBezTo>
                    <a:pt x="16" y="12"/>
                    <a:pt x="18" y="9"/>
                    <a:pt x="18" y="19"/>
                  </a:cubicBezTo>
                  <a:cubicBezTo>
                    <a:pt x="18" y="19"/>
                    <a:pt x="20" y="4"/>
                    <a:pt x="14"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5" name="Freeform 216">
              <a:extLst>
                <a:ext uri="{FF2B5EF4-FFF2-40B4-BE49-F238E27FC236}">
                  <a16:creationId xmlns:a16="http://schemas.microsoft.com/office/drawing/2014/main" id="{67661862-1947-4549-A289-8C485F0227D0}"/>
                </a:ext>
              </a:extLst>
            </p:cNvPr>
            <p:cNvSpPr>
              <a:spLocks/>
            </p:cNvSpPr>
            <p:nvPr/>
          </p:nvSpPr>
          <p:spPr bwMode="auto">
            <a:xfrm>
              <a:off x="1216025" y="1047750"/>
              <a:ext cx="117475" cy="176213"/>
            </a:xfrm>
            <a:custGeom>
              <a:avLst/>
              <a:gdLst>
                <a:gd name="T0" fmla="*/ 36 w 72"/>
                <a:gd name="T1" fmla="*/ 0 h 109"/>
                <a:gd name="T2" fmla="*/ 17 w 72"/>
                <a:gd name="T3" fmla="*/ 11 h 109"/>
                <a:gd name="T4" fmla="*/ 20 w 72"/>
                <a:gd name="T5" fmla="*/ 18 h 109"/>
                <a:gd name="T6" fmla="*/ 33 w 72"/>
                <a:gd name="T7" fmla="*/ 22 h 109"/>
                <a:gd name="T8" fmla="*/ 19 w 72"/>
                <a:gd name="T9" fmla="*/ 65 h 109"/>
                <a:gd name="T10" fmla="*/ 23 w 72"/>
                <a:gd name="T11" fmla="*/ 95 h 109"/>
                <a:gd name="T12" fmla="*/ 66 w 72"/>
                <a:gd name="T13" fmla="*/ 99 h 109"/>
                <a:gd name="T14" fmla="*/ 62 w 72"/>
                <a:gd name="T15" fmla="*/ 104 h 109"/>
                <a:gd name="T16" fmla="*/ 9 w 72"/>
                <a:gd name="T17" fmla="*/ 100 h 109"/>
                <a:gd name="T18" fmla="*/ 6 w 72"/>
                <a:gd name="T19" fmla="*/ 59 h 109"/>
                <a:gd name="T20" fmla="*/ 0 w 72"/>
                <a:gd name="T21" fmla="*/ 20 h 109"/>
                <a:gd name="T22" fmla="*/ 36 w 72"/>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09">
                  <a:moveTo>
                    <a:pt x="36" y="0"/>
                  </a:moveTo>
                  <a:cubicBezTo>
                    <a:pt x="36" y="0"/>
                    <a:pt x="22" y="4"/>
                    <a:pt x="17" y="11"/>
                  </a:cubicBezTo>
                  <a:cubicBezTo>
                    <a:pt x="12" y="18"/>
                    <a:pt x="11" y="21"/>
                    <a:pt x="20" y="18"/>
                  </a:cubicBezTo>
                  <a:cubicBezTo>
                    <a:pt x="30" y="15"/>
                    <a:pt x="39" y="10"/>
                    <a:pt x="33" y="22"/>
                  </a:cubicBezTo>
                  <a:cubicBezTo>
                    <a:pt x="26" y="35"/>
                    <a:pt x="12" y="47"/>
                    <a:pt x="19" y="65"/>
                  </a:cubicBezTo>
                  <a:cubicBezTo>
                    <a:pt x="25" y="82"/>
                    <a:pt x="6" y="88"/>
                    <a:pt x="23" y="95"/>
                  </a:cubicBezTo>
                  <a:cubicBezTo>
                    <a:pt x="39" y="102"/>
                    <a:pt x="66" y="99"/>
                    <a:pt x="66" y="99"/>
                  </a:cubicBezTo>
                  <a:cubicBezTo>
                    <a:pt x="66" y="99"/>
                    <a:pt x="72" y="104"/>
                    <a:pt x="62" y="104"/>
                  </a:cubicBezTo>
                  <a:cubicBezTo>
                    <a:pt x="53" y="104"/>
                    <a:pt x="14" y="109"/>
                    <a:pt x="9" y="100"/>
                  </a:cubicBezTo>
                  <a:cubicBezTo>
                    <a:pt x="4" y="92"/>
                    <a:pt x="7" y="77"/>
                    <a:pt x="6" y="59"/>
                  </a:cubicBezTo>
                  <a:cubicBezTo>
                    <a:pt x="5" y="40"/>
                    <a:pt x="6" y="25"/>
                    <a:pt x="0" y="20"/>
                  </a:cubicBezTo>
                  <a:cubicBezTo>
                    <a:pt x="0" y="20"/>
                    <a:pt x="8" y="1"/>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6" name="Freeform 217">
              <a:extLst>
                <a:ext uri="{FF2B5EF4-FFF2-40B4-BE49-F238E27FC236}">
                  <a16:creationId xmlns:a16="http://schemas.microsoft.com/office/drawing/2014/main" id="{F4EBAC55-9D37-4733-A105-2779D8767387}"/>
                </a:ext>
              </a:extLst>
            </p:cNvPr>
            <p:cNvSpPr>
              <a:spLocks/>
            </p:cNvSpPr>
            <p:nvPr/>
          </p:nvSpPr>
          <p:spPr bwMode="auto">
            <a:xfrm>
              <a:off x="1223963" y="1212850"/>
              <a:ext cx="47625" cy="106363"/>
            </a:xfrm>
            <a:custGeom>
              <a:avLst/>
              <a:gdLst>
                <a:gd name="T0" fmla="*/ 30 w 30"/>
                <a:gd name="T1" fmla="*/ 5 h 66"/>
                <a:gd name="T2" fmla="*/ 11 w 30"/>
                <a:gd name="T3" fmla="*/ 9 h 66"/>
                <a:gd name="T4" fmla="*/ 11 w 30"/>
                <a:gd name="T5" fmla="*/ 25 h 66"/>
                <a:gd name="T6" fmla="*/ 8 w 30"/>
                <a:gd name="T7" fmla="*/ 6 h 66"/>
                <a:gd name="T8" fmla="*/ 8 w 30"/>
                <a:gd name="T9" fmla="*/ 0 h 66"/>
                <a:gd name="T10" fmla="*/ 1 w 30"/>
                <a:gd name="T11" fmla="*/ 1 h 66"/>
                <a:gd name="T12" fmla="*/ 1 w 30"/>
                <a:gd name="T13" fmla="*/ 31 h 66"/>
                <a:gd name="T14" fmla="*/ 12 w 30"/>
                <a:gd name="T15" fmla="*/ 53 h 66"/>
                <a:gd name="T16" fmla="*/ 22 w 30"/>
                <a:gd name="T17" fmla="*/ 32 h 66"/>
                <a:gd name="T18" fmla="*/ 30 w 30"/>
                <a:gd name="T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6">
                  <a:moveTo>
                    <a:pt x="30" y="5"/>
                  </a:moveTo>
                  <a:cubicBezTo>
                    <a:pt x="30" y="5"/>
                    <a:pt x="12" y="1"/>
                    <a:pt x="11" y="9"/>
                  </a:cubicBezTo>
                  <a:cubicBezTo>
                    <a:pt x="11" y="18"/>
                    <a:pt x="11" y="25"/>
                    <a:pt x="11" y="25"/>
                  </a:cubicBezTo>
                  <a:cubicBezTo>
                    <a:pt x="11" y="25"/>
                    <a:pt x="10" y="9"/>
                    <a:pt x="8" y="6"/>
                  </a:cubicBezTo>
                  <a:cubicBezTo>
                    <a:pt x="6" y="3"/>
                    <a:pt x="8" y="0"/>
                    <a:pt x="8" y="0"/>
                  </a:cubicBezTo>
                  <a:cubicBezTo>
                    <a:pt x="8" y="0"/>
                    <a:pt x="5" y="3"/>
                    <a:pt x="1" y="1"/>
                  </a:cubicBezTo>
                  <a:cubicBezTo>
                    <a:pt x="1" y="31"/>
                    <a:pt x="1" y="31"/>
                    <a:pt x="1" y="31"/>
                  </a:cubicBezTo>
                  <a:cubicBezTo>
                    <a:pt x="1" y="31"/>
                    <a:pt x="0" y="40"/>
                    <a:pt x="12" y="53"/>
                  </a:cubicBezTo>
                  <a:cubicBezTo>
                    <a:pt x="25" y="66"/>
                    <a:pt x="23" y="43"/>
                    <a:pt x="22" y="32"/>
                  </a:cubicBezTo>
                  <a:cubicBezTo>
                    <a:pt x="22" y="20"/>
                    <a:pt x="22" y="4"/>
                    <a:pt x="3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7" name="Freeform 218">
              <a:extLst>
                <a:ext uri="{FF2B5EF4-FFF2-40B4-BE49-F238E27FC236}">
                  <a16:creationId xmlns:a16="http://schemas.microsoft.com/office/drawing/2014/main" id="{6342C40A-6234-4B72-B39A-822F55F3CA20}"/>
                </a:ext>
              </a:extLst>
            </p:cNvPr>
            <p:cNvSpPr>
              <a:spLocks/>
            </p:cNvSpPr>
            <p:nvPr/>
          </p:nvSpPr>
          <p:spPr bwMode="auto">
            <a:xfrm>
              <a:off x="1292225" y="1211263"/>
              <a:ext cx="58738" cy="93663"/>
            </a:xfrm>
            <a:custGeom>
              <a:avLst/>
              <a:gdLst>
                <a:gd name="T0" fmla="*/ 10 w 36"/>
                <a:gd name="T1" fmla="*/ 3 h 58"/>
                <a:gd name="T2" fmla="*/ 32 w 36"/>
                <a:gd name="T3" fmla="*/ 6 h 58"/>
                <a:gd name="T4" fmla="*/ 27 w 36"/>
                <a:gd name="T5" fmla="*/ 53 h 58"/>
                <a:gd name="T6" fmla="*/ 18 w 36"/>
                <a:gd name="T7" fmla="*/ 20 h 58"/>
                <a:gd name="T8" fmla="*/ 10 w 36"/>
                <a:gd name="T9" fmla="*/ 3 h 58"/>
              </a:gdLst>
              <a:ahLst/>
              <a:cxnLst>
                <a:cxn ang="0">
                  <a:pos x="T0" y="T1"/>
                </a:cxn>
                <a:cxn ang="0">
                  <a:pos x="T2" y="T3"/>
                </a:cxn>
                <a:cxn ang="0">
                  <a:pos x="T4" y="T5"/>
                </a:cxn>
                <a:cxn ang="0">
                  <a:pos x="T6" y="T7"/>
                </a:cxn>
                <a:cxn ang="0">
                  <a:pos x="T8" y="T9"/>
                </a:cxn>
              </a:cxnLst>
              <a:rect l="0" t="0" r="r" b="b"/>
              <a:pathLst>
                <a:path w="36" h="58">
                  <a:moveTo>
                    <a:pt x="10" y="3"/>
                  </a:moveTo>
                  <a:cubicBezTo>
                    <a:pt x="10" y="3"/>
                    <a:pt x="31" y="0"/>
                    <a:pt x="32" y="6"/>
                  </a:cubicBezTo>
                  <a:cubicBezTo>
                    <a:pt x="33" y="11"/>
                    <a:pt x="36" y="47"/>
                    <a:pt x="27" y="53"/>
                  </a:cubicBezTo>
                  <a:cubicBezTo>
                    <a:pt x="18" y="58"/>
                    <a:pt x="23" y="34"/>
                    <a:pt x="18" y="20"/>
                  </a:cubicBezTo>
                  <a:cubicBezTo>
                    <a:pt x="13" y="5"/>
                    <a:pt x="0" y="7"/>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8" name="Freeform 219">
              <a:extLst>
                <a:ext uri="{FF2B5EF4-FFF2-40B4-BE49-F238E27FC236}">
                  <a16:creationId xmlns:a16="http://schemas.microsoft.com/office/drawing/2014/main" id="{11149E8E-437A-4414-BDED-CCB1A3AF81BF}"/>
                </a:ext>
              </a:extLst>
            </p:cNvPr>
            <p:cNvSpPr>
              <a:spLocks/>
            </p:cNvSpPr>
            <p:nvPr/>
          </p:nvSpPr>
          <p:spPr bwMode="auto">
            <a:xfrm>
              <a:off x="1211263" y="1287463"/>
              <a:ext cx="57150" cy="49213"/>
            </a:xfrm>
            <a:custGeom>
              <a:avLst/>
              <a:gdLst>
                <a:gd name="T0" fmla="*/ 8 w 35"/>
                <a:gd name="T1" fmla="*/ 0 h 30"/>
                <a:gd name="T2" fmla="*/ 23 w 35"/>
                <a:gd name="T3" fmla="*/ 15 h 30"/>
                <a:gd name="T4" fmla="*/ 21 w 35"/>
                <a:gd name="T5" fmla="*/ 27 h 30"/>
                <a:gd name="T6" fmla="*/ 11 w 35"/>
                <a:gd name="T7" fmla="*/ 28 h 30"/>
                <a:gd name="T8" fmla="*/ 9 w 35"/>
                <a:gd name="T9" fmla="*/ 24 h 30"/>
                <a:gd name="T10" fmla="*/ 8 w 35"/>
                <a:gd name="T11" fmla="*/ 0 h 30"/>
              </a:gdLst>
              <a:ahLst/>
              <a:cxnLst>
                <a:cxn ang="0">
                  <a:pos x="T0" y="T1"/>
                </a:cxn>
                <a:cxn ang="0">
                  <a:pos x="T2" y="T3"/>
                </a:cxn>
                <a:cxn ang="0">
                  <a:pos x="T4" y="T5"/>
                </a:cxn>
                <a:cxn ang="0">
                  <a:pos x="T6" y="T7"/>
                </a:cxn>
                <a:cxn ang="0">
                  <a:pos x="T8" y="T9"/>
                </a:cxn>
                <a:cxn ang="0">
                  <a:pos x="T10" y="T11"/>
                </a:cxn>
              </a:cxnLst>
              <a:rect l="0" t="0" r="r" b="b"/>
              <a:pathLst>
                <a:path w="35" h="30">
                  <a:moveTo>
                    <a:pt x="8" y="0"/>
                  </a:moveTo>
                  <a:cubicBezTo>
                    <a:pt x="8" y="0"/>
                    <a:pt x="11" y="8"/>
                    <a:pt x="23" y="15"/>
                  </a:cubicBezTo>
                  <a:cubicBezTo>
                    <a:pt x="35" y="22"/>
                    <a:pt x="30" y="28"/>
                    <a:pt x="21" y="27"/>
                  </a:cubicBezTo>
                  <a:cubicBezTo>
                    <a:pt x="13" y="25"/>
                    <a:pt x="10" y="27"/>
                    <a:pt x="11" y="28"/>
                  </a:cubicBezTo>
                  <a:cubicBezTo>
                    <a:pt x="13" y="30"/>
                    <a:pt x="0" y="27"/>
                    <a:pt x="9" y="24"/>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9" name="Freeform 220">
              <a:extLst>
                <a:ext uri="{FF2B5EF4-FFF2-40B4-BE49-F238E27FC236}">
                  <a16:creationId xmlns:a16="http://schemas.microsoft.com/office/drawing/2014/main" id="{EE9D14D2-F084-4DBA-B9E7-AF05FFB4770F}"/>
                </a:ext>
              </a:extLst>
            </p:cNvPr>
            <p:cNvSpPr>
              <a:spLocks/>
            </p:cNvSpPr>
            <p:nvPr/>
          </p:nvSpPr>
          <p:spPr bwMode="auto">
            <a:xfrm>
              <a:off x="1339850" y="1322388"/>
              <a:ext cx="23813" cy="15875"/>
            </a:xfrm>
            <a:custGeom>
              <a:avLst/>
              <a:gdLst>
                <a:gd name="T0" fmla="*/ 6 w 15"/>
                <a:gd name="T1" fmla="*/ 0 h 9"/>
                <a:gd name="T2" fmla="*/ 0 w 15"/>
                <a:gd name="T3" fmla="*/ 9 h 9"/>
                <a:gd name="T4" fmla="*/ 6 w 15"/>
                <a:gd name="T5" fmla="*/ 0 h 9"/>
              </a:gdLst>
              <a:ahLst/>
              <a:cxnLst>
                <a:cxn ang="0">
                  <a:pos x="T0" y="T1"/>
                </a:cxn>
                <a:cxn ang="0">
                  <a:pos x="T2" y="T3"/>
                </a:cxn>
                <a:cxn ang="0">
                  <a:pos x="T4" y="T5"/>
                </a:cxn>
              </a:cxnLst>
              <a:rect l="0" t="0" r="r" b="b"/>
              <a:pathLst>
                <a:path w="15" h="9">
                  <a:moveTo>
                    <a:pt x="6" y="0"/>
                  </a:moveTo>
                  <a:cubicBezTo>
                    <a:pt x="6" y="0"/>
                    <a:pt x="9" y="7"/>
                    <a:pt x="0" y="9"/>
                  </a:cubicBezTo>
                  <a:cubicBezTo>
                    <a:pt x="0" y="9"/>
                    <a:pt x="15" y="5"/>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0" name="Freeform 221">
              <a:extLst>
                <a:ext uri="{FF2B5EF4-FFF2-40B4-BE49-F238E27FC236}">
                  <a16:creationId xmlns:a16="http://schemas.microsoft.com/office/drawing/2014/main" id="{7B4B55AF-461E-4136-91E4-6FC225BE2CE4}"/>
                </a:ext>
              </a:extLst>
            </p:cNvPr>
            <p:cNvSpPr>
              <a:spLocks/>
            </p:cNvSpPr>
            <p:nvPr/>
          </p:nvSpPr>
          <p:spPr bwMode="auto">
            <a:xfrm>
              <a:off x="1193800" y="1374775"/>
              <a:ext cx="176213" cy="14288"/>
            </a:xfrm>
            <a:custGeom>
              <a:avLst/>
              <a:gdLst>
                <a:gd name="T0" fmla="*/ 4 w 109"/>
                <a:gd name="T1" fmla="*/ 0 h 9"/>
                <a:gd name="T2" fmla="*/ 30 w 109"/>
                <a:gd name="T3" fmla="*/ 4 h 9"/>
                <a:gd name="T4" fmla="*/ 52 w 109"/>
                <a:gd name="T5" fmla="*/ 7 h 9"/>
                <a:gd name="T6" fmla="*/ 109 w 109"/>
                <a:gd name="T7" fmla="*/ 0 h 9"/>
                <a:gd name="T8" fmla="*/ 52 w 109"/>
                <a:gd name="T9" fmla="*/ 9 h 9"/>
                <a:gd name="T10" fmla="*/ 11 w 109"/>
                <a:gd name="T11" fmla="*/ 4 h 9"/>
                <a:gd name="T12" fmla="*/ 4 w 10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9" h="9">
                  <a:moveTo>
                    <a:pt x="4" y="0"/>
                  </a:moveTo>
                  <a:cubicBezTo>
                    <a:pt x="4" y="0"/>
                    <a:pt x="17" y="2"/>
                    <a:pt x="30" y="4"/>
                  </a:cubicBezTo>
                  <a:cubicBezTo>
                    <a:pt x="43" y="6"/>
                    <a:pt x="52" y="7"/>
                    <a:pt x="52" y="7"/>
                  </a:cubicBezTo>
                  <a:cubicBezTo>
                    <a:pt x="109" y="0"/>
                    <a:pt x="109" y="0"/>
                    <a:pt x="109" y="0"/>
                  </a:cubicBezTo>
                  <a:cubicBezTo>
                    <a:pt x="109" y="0"/>
                    <a:pt x="56" y="7"/>
                    <a:pt x="52" y="9"/>
                  </a:cubicBezTo>
                  <a:cubicBezTo>
                    <a:pt x="52" y="9"/>
                    <a:pt x="22" y="5"/>
                    <a:pt x="11" y="4"/>
                  </a:cubicBezTo>
                  <a:cubicBezTo>
                    <a:pt x="0" y="4"/>
                    <a:pt x="4" y="5"/>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1" name="Freeform 222">
              <a:extLst>
                <a:ext uri="{FF2B5EF4-FFF2-40B4-BE49-F238E27FC236}">
                  <a16:creationId xmlns:a16="http://schemas.microsoft.com/office/drawing/2014/main" id="{41F9F3CD-7A79-49F6-8866-B47AB3BF9A23}"/>
                </a:ext>
              </a:extLst>
            </p:cNvPr>
            <p:cNvSpPr>
              <a:spLocks/>
            </p:cNvSpPr>
            <p:nvPr/>
          </p:nvSpPr>
          <p:spPr bwMode="auto">
            <a:xfrm>
              <a:off x="1193800" y="1330325"/>
              <a:ext cx="190500" cy="28575"/>
            </a:xfrm>
            <a:custGeom>
              <a:avLst/>
              <a:gdLst>
                <a:gd name="T0" fmla="*/ 0 w 118"/>
                <a:gd name="T1" fmla="*/ 5 h 17"/>
                <a:gd name="T2" fmla="*/ 19 w 118"/>
                <a:gd name="T3" fmla="*/ 11 h 17"/>
                <a:gd name="T4" fmla="*/ 47 w 118"/>
                <a:gd name="T5" fmla="*/ 15 h 17"/>
                <a:gd name="T6" fmla="*/ 52 w 118"/>
                <a:gd name="T7" fmla="*/ 15 h 17"/>
                <a:gd name="T8" fmla="*/ 83 w 118"/>
                <a:gd name="T9" fmla="*/ 8 h 17"/>
                <a:gd name="T10" fmla="*/ 114 w 118"/>
                <a:gd name="T11" fmla="*/ 9 h 17"/>
                <a:gd name="T12" fmla="*/ 118 w 118"/>
                <a:gd name="T13" fmla="*/ 4 h 17"/>
                <a:gd name="T14" fmla="*/ 108 w 118"/>
                <a:gd name="T15" fmla="*/ 2 h 17"/>
                <a:gd name="T16" fmla="*/ 85 w 118"/>
                <a:gd name="T17" fmla="*/ 6 h 17"/>
                <a:gd name="T18" fmla="*/ 74 w 118"/>
                <a:gd name="T19" fmla="*/ 7 h 17"/>
                <a:gd name="T20" fmla="*/ 58 w 118"/>
                <a:gd name="T21" fmla="*/ 10 h 17"/>
                <a:gd name="T22" fmla="*/ 24 w 118"/>
                <a:gd name="T23" fmla="*/ 8 h 17"/>
                <a:gd name="T24" fmla="*/ 0 w 118"/>
                <a:gd name="T2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7">
                  <a:moveTo>
                    <a:pt x="0" y="5"/>
                  </a:moveTo>
                  <a:cubicBezTo>
                    <a:pt x="0" y="5"/>
                    <a:pt x="8" y="10"/>
                    <a:pt x="19" y="11"/>
                  </a:cubicBezTo>
                  <a:cubicBezTo>
                    <a:pt x="31" y="12"/>
                    <a:pt x="47" y="15"/>
                    <a:pt x="47" y="15"/>
                  </a:cubicBezTo>
                  <a:cubicBezTo>
                    <a:pt x="47" y="15"/>
                    <a:pt x="48" y="17"/>
                    <a:pt x="52" y="15"/>
                  </a:cubicBezTo>
                  <a:cubicBezTo>
                    <a:pt x="56" y="12"/>
                    <a:pt x="75" y="8"/>
                    <a:pt x="83" y="8"/>
                  </a:cubicBezTo>
                  <a:cubicBezTo>
                    <a:pt x="90" y="8"/>
                    <a:pt x="114" y="5"/>
                    <a:pt x="114" y="9"/>
                  </a:cubicBezTo>
                  <a:cubicBezTo>
                    <a:pt x="118" y="4"/>
                    <a:pt x="118" y="4"/>
                    <a:pt x="118" y="4"/>
                  </a:cubicBezTo>
                  <a:cubicBezTo>
                    <a:pt x="118" y="4"/>
                    <a:pt x="118" y="0"/>
                    <a:pt x="108" y="2"/>
                  </a:cubicBezTo>
                  <a:cubicBezTo>
                    <a:pt x="99" y="4"/>
                    <a:pt x="97" y="5"/>
                    <a:pt x="85" y="6"/>
                  </a:cubicBezTo>
                  <a:cubicBezTo>
                    <a:pt x="74" y="7"/>
                    <a:pt x="74" y="7"/>
                    <a:pt x="74" y="7"/>
                  </a:cubicBezTo>
                  <a:cubicBezTo>
                    <a:pt x="74" y="7"/>
                    <a:pt x="65" y="10"/>
                    <a:pt x="58" y="10"/>
                  </a:cubicBezTo>
                  <a:cubicBezTo>
                    <a:pt x="50" y="10"/>
                    <a:pt x="34" y="12"/>
                    <a:pt x="24" y="8"/>
                  </a:cubicBezTo>
                  <a:cubicBezTo>
                    <a:pt x="14" y="5"/>
                    <a:pt x="4"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2" name="Freeform 223">
              <a:extLst>
                <a:ext uri="{FF2B5EF4-FFF2-40B4-BE49-F238E27FC236}">
                  <a16:creationId xmlns:a16="http://schemas.microsoft.com/office/drawing/2014/main" id="{FA180006-BE17-4995-9B02-F9F8894BE0F6}"/>
                </a:ext>
              </a:extLst>
            </p:cNvPr>
            <p:cNvSpPr>
              <a:spLocks/>
            </p:cNvSpPr>
            <p:nvPr/>
          </p:nvSpPr>
          <p:spPr bwMode="auto">
            <a:xfrm>
              <a:off x="1317625" y="1122363"/>
              <a:ext cx="52388" cy="90488"/>
            </a:xfrm>
            <a:custGeom>
              <a:avLst/>
              <a:gdLst>
                <a:gd name="T0" fmla="*/ 12 w 32"/>
                <a:gd name="T1" fmla="*/ 0 h 57"/>
                <a:gd name="T2" fmla="*/ 25 w 32"/>
                <a:gd name="T3" fmla="*/ 5 h 57"/>
                <a:gd name="T4" fmla="*/ 28 w 32"/>
                <a:gd name="T5" fmla="*/ 13 h 57"/>
                <a:gd name="T6" fmla="*/ 8 w 32"/>
                <a:gd name="T7" fmla="*/ 56 h 57"/>
                <a:gd name="T8" fmla="*/ 7 w 32"/>
                <a:gd name="T9" fmla="*/ 41 h 57"/>
                <a:gd name="T10" fmla="*/ 19 w 32"/>
                <a:gd name="T11" fmla="*/ 11 h 57"/>
                <a:gd name="T12" fmla="*/ 12 w 3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32" h="57">
                  <a:moveTo>
                    <a:pt x="12" y="0"/>
                  </a:moveTo>
                  <a:cubicBezTo>
                    <a:pt x="12" y="0"/>
                    <a:pt x="23" y="6"/>
                    <a:pt x="25" y="5"/>
                  </a:cubicBezTo>
                  <a:cubicBezTo>
                    <a:pt x="27" y="3"/>
                    <a:pt x="28" y="6"/>
                    <a:pt x="28" y="13"/>
                  </a:cubicBezTo>
                  <a:cubicBezTo>
                    <a:pt x="27" y="19"/>
                    <a:pt x="32" y="57"/>
                    <a:pt x="8" y="56"/>
                  </a:cubicBezTo>
                  <a:cubicBezTo>
                    <a:pt x="8" y="56"/>
                    <a:pt x="0" y="54"/>
                    <a:pt x="7" y="41"/>
                  </a:cubicBezTo>
                  <a:cubicBezTo>
                    <a:pt x="15" y="27"/>
                    <a:pt x="24" y="22"/>
                    <a:pt x="19" y="11"/>
                  </a:cubicBezTo>
                  <a:cubicBezTo>
                    <a:pt x="15" y="0"/>
                    <a:pt x="10" y="5"/>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3" name="Freeform 224">
              <a:extLst>
                <a:ext uri="{FF2B5EF4-FFF2-40B4-BE49-F238E27FC236}">
                  <a16:creationId xmlns:a16="http://schemas.microsoft.com/office/drawing/2014/main" id="{7342E1D5-E3E9-4E96-AE81-B057FFD0F963}"/>
                </a:ext>
              </a:extLst>
            </p:cNvPr>
            <p:cNvSpPr>
              <a:spLocks/>
            </p:cNvSpPr>
            <p:nvPr/>
          </p:nvSpPr>
          <p:spPr bwMode="auto">
            <a:xfrm>
              <a:off x="1273175" y="1042988"/>
              <a:ext cx="82550" cy="42863"/>
            </a:xfrm>
            <a:custGeom>
              <a:avLst/>
              <a:gdLst>
                <a:gd name="T0" fmla="*/ 51 w 51"/>
                <a:gd name="T1" fmla="*/ 27 h 27"/>
                <a:gd name="T2" fmla="*/ 0 w 51"/>
                <a:gd name="T3" fmla="*/ 3 h 27"/>
                <a:gd name="T4" fmla="*/ 51 w 51"/>
                <a:gd name="T5" fmla="*/ 27 h 27"/>
              </a:gdLst>
              <a:ahLst/>
              <a:cxnLst>
                <a:cxn ang="0">
                  <a:pos x="T0" y="T1"/>
                </a:cxn>
                <a:cxn ang="0">
                  <a:pos x="T2" y="T3"/>
                </a:cxn>
                <a:cxn ang="0">
                  <a:pos x="T4" y="T5"/>
                </a:cxn>
              </a:cxnLst>
              <a:rect l="0" t="0" r="r" b="b"/>
              <a:pathLst>
                <a:path w="51" h="27">
                  <a:moveTo>
                    <a:pt x="51" y="27"/>
                  </a:moveTo>
                  <a:cubicBezTo>
                    <a:pt x="51" y="27"/>
                    <a:pt x="40" y="5"/>
                    <a:pt x="0" y="3"/>
                  </a:cubicBezTo>
                  <a:cubicBezTo>
                    <a:pt x="0" y="3"/>
                    <a:pt x="41" y="0"/>
                    <a:pt x="5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4" name="Freeform 225">
              <a:extLst>
                <a:ext uri="{FF2B5EF4-FFF2-40B4-BE49-F238E27FC236}">
                  <a16:creationId xmlns:a16="http://schemas.microsoft.com/office/drawing/2014/main" id="{01396CFD-19E5-47EE-8BBA-B6D3ABB9E84F}"/>
                </a:ext>
              </a:extLst>
            </p:cNvPr>
            <p:cNvSpPr>
              <a:spLocks/>
            </p:cNvSpPr>
            <p:nvPr/>
          </p:nvSpPr>
          <p:spPr bwMode="auto">
            <a:xfrm>
              <a:off x="1354138" y="1077913"/>
              <a:ext cx="28575" cy="55563"/>
            </a:xfrm>
            <a:custGeom>
              <a:avLst/>
              <a:gdLst>
                <a:gd name="T0" fmla="*/ 16 w 18"/>
                <a:gd name="T1" fmla="*/ 4 h 34"/>
                <a:gd name="T2" fmla="*/ 18 w 18"/>
                <a:gd name="T3" fmla="*/ 28 h 34"/>
                <a:gd name="T4" fmla="*/ 9 w 18"/>
                <a:gd name="T5" fmla="*/ 34 h 34"/>
                <a:gd name="T6" fmla="*/ 3 w 18"/>
                <a:gd name="T7" fmla="*/ 32 h 34"/>
                <a:gd name="T8" fmla="*/ 5 w 18"/>
                <a:gd name="T9" fmla="*/ 24 h 34"/>
                <a:gd name="T10" fmla="*/ 5 w 18"/>
                <a:gd name="T11" fmla="*/ 8 h 34"/>
                <a:gd name="T12" fmla="*/ 16 w 18"/>
                <a:gd name="T13" fmla="*/ 4 h 34"/>
              </a:gdLst>
              <a:ahLst/>
              <a:cxnLst>
                <a:cxn ang="0">
                  <a:pos x="T0" y="T1"/>
                </a:cxn>
                <a:cxn ang="0">
                  <a:pos x="T2" y="T3"/>
                </a:cxn>
                <a:cxn ang="0">
                  <a:pos x="T4" y="T5"/>
                </a:cxn>
                <a:cxn ang="0">
                  <a:pos x="T6" y="T7"/>
                </a:cxn>
                <a:cxn ang="0">
                  <a:pos x="T8" y="T9"/>
                </a:cxn>
                <a:cxn ang="0">
                  <a:pos x="T10" y="T11"/>
                </a:cxn>
                <a:cxn ang="0">
                  <a:pos x="T12" y="T13"/>
                </a:cxn>
              </a:cxnLst>
              <a:rect l="0" t="0" r="r" b="b"/>
              <a:pathLst>
                <a:path w="18" h="34">
                  <a:moveTo>
                    <a:pt x="16" y="4"/>
                  </a:moveTo>
                  <a:cubicBezTo>
                    <a:pt x="18" y="28"/>
                    <a:pt x="18" y="28"/>
                    <a:pt x="18" y="28"/>
                  </a:cubicBezTo>
                  <a:cubicBezTo>
                    <a:pt x="18" y="28"/>
                    <a:pt x="10" y="14"/>
                    <a:pt x="9" y="34"/>
                  </a:cubicBezTo>
                  <a:cubicBezTo>
                    <a:pt x="9" y="34"/>
                    <a:pt x="6" y="31"/>
                    <a:pt x="3" y="32"/>
                  </a:cubicBezTo>
                  <a:cubicBezTo>
                    <a:pt x="0" y="33"/>
                    <a:pt x="5" y="31"/>
                    <a:pt x="5" y="24"/>
                  </a:cubicBezTo>
                  <a:cubicBezTo>
                    <a:pt x="5" y="16"/>
                    <a:pt x="6" y="14"/>
                    <a:pt x="5" y="8"/>
                  </a:cubicBezTo>
                  <a:cubicBezTo>
                    <a:pt x="4" y="2"/>
                    <a:pt x="8"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5" name="Freeform 226">
              <a:extLst>
                <a:ext uri="{FF2B5EF4-FFF2-40B4-BE49-F238E27FC236}">
                  <a16:creationId xmlns:a16="http://schemas.microsoft.com/office/drawing/2014/main" id="{72F3F394-A5DC-4195-B059-EE5A05ED02BF}"/>
                </a:ext>
              </a:extLst>
            </p:cNvPr>
            <p:cNvSpPr>
              <a:spLocks/>
            </p:cNvSpPr>
            <p:nvPr/>
          </p:nvSpPr>
          <p:spPr bwMode="auto">
            <a:xfrm>
              <a:off x="1377950" y="1054100"/>
              <a:ext cx="215900" cy="120650"/>
            </a:xfrm>
            <a:custGeom>
              <a:avLst/>
              <a:gdLst>
                <a:gd name="T0" fmla="*/ 7 w 134"/>
                <a:gd name="T1" fmla="*/ 25 h 75"/>
                <a:gd name="T2" fmla="*/ 5 w 134"/>
                <a:gd name="T3" fmla="*/ 75 h 75"/>
                <a:gd name="T4" fmla="*/ 2 w 134"/>
                <a:gd name="T5" fmla="*/ 21 h 75"/>
                <a:gd name="T6" fmla="*/ 7 w 134"/>
                <a:gd name="T7" fmla="*/ 19 h 75"/>
                <a:gd name="T8" fmla="*/ 114 w 134"/>
                <a:gd name="T9" fmla="*/ 3 h 75"/>
                <a:gd name="T10" fmla="*/ 130 w 134"/>
                <a:gd name="T11" fmla="*/ 8 h 75"/>
                <a:gd name="T12" fmla="*/ 113 w 134"/>
                <a:gd name="T13" fmla="*/ 7 h 75"/>
                <a:gd name="T14" fmla="*/ 15 w 134"/>
                <a:gd name="T15" fmla="*/ 21 h 75"/>
                <a:gd name="T16" fmla="*/ 7 w 134"/>
                <a:gd name="T1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75">
                  <a:moveTo>
                    <a:pt x="7" y="25"/>
                  </a:moveTo>
                  <a:cubicBezTo>
                    <a:pt x="7" y="25"/>
                    <a:pt x="11" y="60"/>
                    <a:pt x="5" y="75"/>
                  </a:cubicBezTo>
                  <a:cubicBezTo>
                    <a:pt x="5" y="75"/>
                    <a:pt x="8" y="48"/>
                    <a:pt x="2" y="21"/>
                  </a:cubicBezTo>
                  <a:cubicBezTo>
                    <a:pt x="2" y="21"/>
                    <a:pt x="0" y="20"/>
                    <a:pt x="7" y="19"/>
                  </a:cubicBezTo>
                  <a:cubicBezTo>
                    <a:pt x="14" y="18"/>
                    <a:pt x="114" y="3"/>
                    <a:pt x="114" y="3"/>
                  </a:cubicBezTo>
                  <a:cubicBezTo>
                    <a:pt x="114" y="3"/>
                    <a:pt x="126" y="0"/>
                    <a:pt x="130" y="8"/>
                  </a:cubicBezTo>
                  <a:cubicBezTo>
                    <a:pt x="134" y="15"/>
                    <a:pt x="126" y="5"/>
                    <a:pt x="113" y="7"/>
                  </a:cubicBezTo>
                  <a:cubicBezTo>
                    <a:pt x="100" y="8"/>
                    <a:pt x="15" y="21"/>
                    <a:pt x="15" y="21"/>
                  </a:cubicBezTo>
                  <a:cubicBezTo>
                    <a:pt x="15" y="21"/>
                    <a:pt x="7" y="22"/>
                    <a:pt x="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6" name="Freeform 227">
              <a:extLst>
                <a:ext uri="{FF2B5EF4-FFF2-40B4-BE49-F238E27FC236}">
                  <a16:creationId xmlns:a16="http://schemas.microsoft.com/office/drawing/2014/main" id="{E094804F-0092-48FD-9A3F-2FC18B8E6159}"/>
                </a:ext>
              </a:extLst>
            </p:cNvPr>
            <p:cNvSpPr>
              <a:spLocks/>
            </p:cNvSpPr>
            <p:nvPr/>
          </p:nvSpPr>
          <p:spPr bwMode="auto">
            <a:xfrm>
              <a:off x="1393825" y="1095375"/>
              <a:ext cx="190500" cy="42863"/>
            </a:xfrm>
            <a:custGeom>
              <a:avLst/>
              <a:gdLst>
                <a:gd name="T0" fmla="*/ 4 w 118"/>
                <a:gd name="T1" fmla="*/ 10 h 26"/>
                <a:gd name="T2" fmla="*/ 1 w 118"/>
                <a:gd name="T3" fmla="*/ 15 h 26"/>
                <a:gd name="T4" fmla="*/ 5 w 118"/>
                <a:gd name="T5" fmla="*/ 26 h 26"/>
                <a:gd name="T6" fmla="*/ 97 w 118"/>
                <a:gd name="T7" fmla="*/ 22 h 26"/>
                <a:gd name="T8" fmla="*/ 115 w 118"/>
                <a:gd name="T9" fmla="*/ 15 h 26"/>
                <a:gd name="T10" fmla="*/ 104 w 118"/>
                <a:gd name="T11" fmla="*/ 0 h 26"/>
                <a:gd name="T12" fmla="*/ 4 w 118"/>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118" h="26">
                  <a:moveTo>
                    <a:pt x="4" y="10"/>
                  </a:moveTo>
                  <a:cubicBezTo>
                    <a:pt x="4" y="10"/>
                    <a:pt x="1" y="8"/>
                    <a:pt x="1" y="15"/>
                  </a:cubicBezTo>
                  <a:cubicBezTo>
                    <a:pt x="0" y="22"/>
                    <a:pt x="0" y="26"/>
                    <a:pt x="5" y="26"/>
                  </a:cubicBezTo>
                  <a:cubicBezTo>
                    <a:pt x="11" y="26"/>
                    <a:pt x="86" y="22"/>
                    <a:pt x="97" y="22"/>
                  </a:cubicBezTo>
                  <a:cubicBezTo>
                    <a:pt x="107" y="22"/>
                    <a:pt x="115" y="22"/>
                    <a:pt x="115" y="15"/>
                  </a:cubicBezTo>
                  <a:cubicBezTo>
                    <a:pt x="115" y="7"/>
                    <a:pt x="118" y="0"/>
                    <a:pt x="104" y="0"/>
                  </a:cubicBezTo>
                  <a:cubicBezTo>
                    <a:pt x="90" y="1"/>
                    <a:pt x="4" y="10"/>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7" name="Freeform 228">
              <a:extLst>
                <a:ext uri="{FF2B5EF4-FFF2-40B4-BE49-F238E27FC236}">
                  <a16:creationId xmlns:a16="http://schemas.microsoft.com/office/drawing/2014/main" id="{0E835000-1948-426B-B4EB-1022B514D214}"/>
                </a:ext>
              </a:extLst>
            </p:cNvPr>
            <p:cNvSpPr>
              <a:spLocks/>
            </p:cNvSpPr>
            <p:nvPr/>
          </p:nvSpPr>
          <p:spPr bwMode="auto">
            <a:xfrm>
              <a:off x="1384300" y="1135063"/>
              <a:ext cx="214313" cy="58738"/>
            </a:xfrm>
            <a:custGeom>
              <a:avLst/>
              <a:gdLst>
                <a:gd name="T0" fmla="*/ 0 w 133"/>
                <a:gd name="T1" fmla="*/ 30 h 37"/>
                <a:gd name="T2" fmla="*/ 32 w 133"/>
                <a:gd name="T3" fmla="*/ 14 h 37"/>
                <a:gd name="T4" fmla="*/ 117 w 133"/>
                <a:gd name="T5" fmla="*/ 10 h 37"/>
                <a:gd name="T6" fmla="*/ 121 w 133"/>
                <a:gd name="T7" fmla="*/ 35 h 37"/>
                <a:gd name="T8" fmla="*/ 0 w 133"/>
                <a:gd name="T9" fmla="*/ 30 h 37"/>
              </a:gdLst>
              <a:ahLst/>
              <a:cxnLst>
                <a:cxn ang="0">
                  <a:pos x="T0" y="T1"/>
                </a:cxn>
                <a:cxn ang="0">
                  <a:pos x="T2" y="T3"/>
                </a:cxn>
                <a:cxn ang="0">
                  <a:pos x="T4" y="T5"/>
                </a:cxn>
                <a:cxn ang="0">
                  <a:pos x="T6" y="T7"/>
                </a:cxn>
                <a:cxn ang="0">
                  <a:pos x="T8" y="T9"/>
                </a:cxn>
              </a:cxnLst>
              <a:rect l="0" t="0" r="r" b="b"/>
              <a:pathLst>
                <a:path w="133" h="37">
                  <a:moveTo>
                    <a:pt x="0" y="30"/>
                  </a:moveTo>
                  <a:cubicBezTo>
                    <a:pt x="0" y="30"/>
                    <a:pt x="14" y="21"/>
                    <a:pt x="32" y="14"/>
                  </a:cubicBezTo>
                  <a:cubicBezTo>
                    <a:pt x="51" y="6"/>
                    <a:pt x="101" y="0"/>
                    <a:pt x="117" y="10"/>
                  </a:cubicBezTo>
                  <a:cubicBezTo>
                    <a:pt x="133" y="20"/>
                    <a:pt x="131" y="33"/>
                    <a:pt x="121" y="35"/>
                  </a:cubicBezTo>
                  <a:cubicBezTo>
                    <a:pt x="112" y="37"/>
                    <a:pt x="0" y="3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8" name="Freeform 229">
              <a:extLst>
                <a:ext uri="{FF2B5EF4-FFF2-40B4-BE49-F238E27FC236}">
                  <a16:creationId xmlns:a16="http://schemas.microsoft.com/office/drawing/2014/main" id="{78528EA4-88A2-495E-9B67-F9FA52B3A19F}"/>
                </a:ext>
              </a:extLst>
            </p:cNvPr>
            <p:cNvSpPr>
              <a:spLocks/>
            </p:cNvSpPr>
            <p:nvPr/>
          </p:nvSpPr>
          <p:spPr bwMode="auto">
            <a:xfrm>
              <a:off x="1177925" y="1404938"/>
              <a:ext cx="185738" cy="34925"/>
            </a:xfrm>
            <a:custGeom>
              <a:avLst/>
              <a:gdLst>
                <a:gd name="T0" fmla="*/ 11 w 115"/>
                <a:gd name="T1" fmla="*/ 4 h 22"/>
                <a:gd name="T2" fmla="*/ 115 w 115"/>
                <a:gd name="T3" fmla="*/ 5 h 22"/>
                <a:gd name="T4" fmla="*/ 15 w 115"/>
                <a:gd name="T5" fmla="*/ 7 h 22"/>
                <a:gd name="T6" fmla="*/ 35 w 115"/>
                <a:gd name="T7" fmla="*/ 15 h 22"/>
                <a:gd name="T8" fmla="*/ 5 w 115"/>
                <a:gd name="T9" fmla="*/ 8 h 22"/>
                <a:gd name="T10" fmla="*/ 11 w 115"/>
                <a:gd name="T11" fmla="*/ 4 h 22"/>
              </a:gdLst>
              <a:ahLst/>
              <a:cxnLst>
                <a:cxn ang="0">
                  <a:pos x="T0" y="T1"/>
                </a:cxn>
                <a:cxn ang="0">
                  <a:pos x="T2" y="T3"/>
                </a:cxn>
                <a:cxn ang="0">
                  <a:pos x="T4" y="T5"/>
                </a:cxn>
                <a:cxn ang="0">
                  <a:pos x="T6" y="T7"/>
                </a:cxn>
                <a:cxn ang="0">
                  <a:pos x="T8" y="T9"/>
                </a:cxn>
                <a:cxn ang="0">
                  <a:pos x="T10" y="T11"/>
                </a:cxn>
              </a:cxnLst>
              <a:rect l="0" t="0" r="r" b="b"/>
              <a:pathLst>
                <a:path w="115" h="22">
                  <a:moveTo>
                    <a:pt x="11" y="4"/>
                  </a:moveTo>
                  <a:cubicBezTo>
                    <a:pt x="11" y="4"/>
                    <a:pt x="41" y="20"/>
                    <a:pt x="115" y="5"/>
                  </a:cubicBezTo>
                  <a:cubicBezTo>
                    <a:pt x="115" y="5"/>
                    <a:pt x="62" y="22"/>
                    <a:pt x="15" y="7"/>
                  </a:cubicBezTo>
                  <a:cubicBezTo>
                    <a:pt x="15" y="7"/>
                    <a:pt x="11" y="13"/>
                    <a:pt x="35" y="15"/>
                  </a:cubicBezTo>
                  <a:cubicBezTo>
                    <a:pt x="35" y="15"/>
                    <a:pt x="9" y="16"/>
                    <a:pt x="5" y="8"/>
                  </a:cubicBezTo>
                  <a:cubicBezTo>
                    <a:pt x="0" y="0"/>
                    <a:pt x="11" y="2"/>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9" name="Freeform 230">
              <a:extLst>
                <a:ext uri="{FF2B5EF4-FFF2-40B4-BE49-F238E27FC236}">
                  <a16:creationId xmlns:a16="http://schemas.microsoft.com/office/drawing/2014/main" id="{315BD22F-7C1D-4EA1-A6BD-2C62863FC066}"/>
                </a:ext>
              </a:extLst>
            </p:cNvPr>
            <p:cNvSpPr>
              <a:spLocks/>
            </p:cNvSpPr>
            <p:nvPr/>
          </p:nvSpPr>
          <p:spPr bwMode="auto">
            <a:xfrm>
              <a:off x="1358900" y="1403350"/>
              <a:ext cx="49213" cy="26988"/>
            </a:xfrm>
            <a:custGeom>
              <a:avLst/>
              <a:gdLst>
                <a:gd name="T0" fmla="*/ 10 w 31"/>
                <a:gd name="T1" fmla="*/ 0 h 17"/>
                <a:gd name="T2" fmla="*/ 0 w 31"/>
                <a:gd name="T3" fmla="*/ 17 h 17"/>
                <a:gd name="T4" fmla="*/ 24 w 31"/>
                <a:gd name="T5" fmla="*/ 7 h 17"/>
                <a:gd name="T6" fmla="*/ 10 w 31"/>
                <a:gd name="T7" fmla="*/ 0 h 17"/>
              </a:gdLst>
              <a:ahLst/>
              <a:cxnLst>
                <a:cxn ang="0">
                  <a:pos x="T0" y="T1"/>
                </a:cxn>
                <a:cxn ang="0">
                  <a:pos x="T2" y="T3"/>
                </a:cxn>
                <a:cxn ang="0">
                  <a:pos x="T4" y="T5"/>
                </a:cxn>
                <a:cxn ang="0">
                  <a:pos x="T6" y="T7"/>
                </a:cxn>
              </a:cxnLst>
              <a:rect l="0" t="0" r="r" b="b"/>
              <a:pathLst>
                <a:path w="31" h="17">
                  <a:moveTo>
                    <a:pt x="10" y="0"/>
                  </a:moveTo>
                  <a:cubicBezTo>
                    <a:pt x="10" y="0"/>
                    <a:pt x="31" y="10"/>
                    <a:pt x="0" y="17"/>
                  </a:cubicBezTo>
                  <a:cubicBezTo>
                    <a:pt x="0" y="17"/>
                    <a:pt x="23" y="13"/>
                    <a:pt x="24" y="7"/>
                  </a:cubicBezTo>
                  <a:cubicBezTo>
                    <a:pt x="25" y="1"/>
                    <a:pt x="10"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0" name="Freeform 231">
              <a:extLst>
                <a:ext uri="{FF2B5EF4-FFF2-40B4-BE49-F238E27FC236}">
                  <a16:creationId xmlns:a16="http://schemas.microsoft.com/office/drawing/2014/main" id="{FA4CDB36-03A6-4349-A0E9-474951B4A6B1}"/>
                </a:ext>
              </a:extLst>
            </p:cNvPr>
            <p:cNvSpPr>
              <a:spLocks/>
            </p:cNvSpPr>
            <p:nvPr/>
          </p:nvSpPr>
          <p:spPr bwMode="auto">
            <a:xfrm>
              <a:off x="1169988" y="1398588"/>
              <a:ext cx="38100" cy="31750"/>
            </a:xfrm>
            <a:custGeom>
              <a:avLst/>
              <a:gdLst>
                <a:gd name="T0" fmla="*/ 4 w 24"/>
                <a:gd name="T1" fmla="*/ 7 h 20"/>
                <a:gd name="T2" fmla="*/ 24 w 24"/>
                <a:gd name="T3" fmla="*/ 20 h 20"/>
                <a:gd name="T4" fmla="*/ 9 w 24"/>
                <a:gd name="T5" fmla="*/ 7 h 20"/>
                <a:gd name="T6" fmla="*/ 20 w 24"/>
                <a:gd name="T7" fmla="*/ 4 h 20"/>
                <a:gd name="T8" fmla="*/ 20 w 24"/>
                <a:gd name="T9" fmla="*/ 0 h 20"/>
                <a:gd name="T10" fmla="*/ 4 w 24"/>
                <a:gd name="T11" fmla="*/ 7 h 20"/>
              </a:gdLst>
              <a:ahLst/>
              <a:cxnLst>
                <a:cxn ang="0">
                  <a:pos x="T0" y="T1"/>
                </a:cxn>
                <a:cxn ang="0">
                  <a:pos x="T2" y="T3"/>
                </a:cxn>
                <a:cxn ang="0">
                  <a:pos x="T4" y="T5"/>
                </a:cxn>
                <a:cxn ang="0">
                  <a:pos x="T6" y="T7"/>
                </a:cxn>
                <a:cxn ang="0">
                  <a:pos x="T8" y="T9"/>
                </a:cxn>
                <a:cxn ang="0">
                  <a:pos x="T10" y="T11"/>
                </a:cxn>
              </a:cxnLst>
              <a:rect l="0" t="0" r="r" b="b"/>
              <a:pathLst>
                <a:path w="24" h="20">
                  <a:moveTo>
                    <a:pt x="4" y="7"/>
                  </a:moveTo>
                  <a:cubicBezTo>
                    <a:pt x="4" y="7"/>
                    <a:pt x="0" y="17"/>
                    <a:pt x="24" y="20"/>
                  </a:cubicBezTo>
                  <a:cubicBezTo>
                    <a:pt x="24" y="20"/>
                    <a:pt x="8" y="17"/>
                    <a:pt x="9" y="7"/>
                  </a:cubicBezTo>
                  <a:cubicBezTo>
                    <a:pt x="9" y="7"/>
                    <a:pt x="16" y="3"/>
                    <a:pt x="20" y="4"/>
                  </a:cubicBezTo>
                  <a:cubicBezTo>
                    <a:pt x="20" y="0"/>
                    <a:pt x="20" y="0"/>
                    <a:pt x="20" y="0"/>
                  </a:cubicBezTo>
                  <a:cubicBezTo>
                    <a:pt x="20" y="0"/>
                    <a:pt x="12" y="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1" name="Freeform 232">
              <a:extLst>
                <a:ext uri="{FF2B5EF4-FFF2-40B4-BE49-F238E27FC236}">
                  <a16:creationId xmlns:a16="http://schemas.microsoft.com/office/drawing/2014/main" id="{7D8FA5F8-E35E-43A3-8186-6DA923AF7B2A}"/>
                </a:ext>
              </a:extLst>
            </p:cNvPr>
            <p:cNvSpPr>
              <a:spLocks/>
            </p:cNvSpPr>
            <p:nvPr/>
          </p:nvSpPr>
          <p:spPr bwMode="auto">
            <a:xfrm>
              <a:off x="1171575" y="1417638"/>
              <a:ext cx="96838" cy="155575"/>
            </a:xfrm>
            <a:custGeom>
              <a:avLst/>
              <a:gdLst>
                <a:gd name="T0" fmla="*/ 5 w 60"/>
                <a:gd name="T1" fmla="*/ 3 h 96"/>
                <a:gd name="T2" fmla="*/ 2 w 60"/>
                <a:gd name="T3" fmla="*/ 3 h 96"/>
                <a:gd name="T4" fmla="*/ 3 w 60"/>
                <a:gd name="T5" fmla="*/ 35 h 96"/>
                <a:gd name="T6" fmla="*/ 3 w 60"/>
                <a:gd name="T7" fmla="*/ 85 h 96"/>
                <a:gd name="T8" fmla="*/ 33 w 60"/>
                <a:gd name="T9" fmla="*/ 89 h 96"/>
                <a:gd name="T10" fmla="*/ 40 w 60"/>
                <a:gd name="T11" fmla="*/ 63 h 96"/>
                <a:gd name="T12" fmla="*/ 45 w 60"/>
                <a:gd name="T13" fmla="*/ 43 h 96"/>
                <a:gd name="T14" fmla="*/ 52 w 60"/>
                <a:gd name="T15" fmla="*/ 23 h 96"/>
                <a:gd name="T16" fmla="*/ 51 w 60"/>
                <a:gd name="T17" fmla="*/ 15 h 96"/>
                <a:gd name="T18" fmla="*/ 5 w 60"/>
                <a:gd name="T19"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6">
                  <a:moveTo>
                    <a:pt x="5" y="3"/>
                  </a:moveTo>
                  <a:cubicBezTo>
                    <a:pt x="5" y="3"/>
                    <a:pt x="2" y="0"/>
                    <a:pt x="2" y="3"/>
                  </a:cubicBezTo>
                  <a:cubicBezTo>
                    <a:pt x="2" y="7"/>
                    <a:pt x="5" y="12"/>
                    <a:pt x="3" y="35"/>
                  </a:cubicBezTo>
                  <a:cubicBezTo>
                    <a:pt x="2" y="58"/>
                    <a:pt x="0" y="82"/>
                    <a:pt x="3" y="85"/>
                  </a:cubicBezTo>
                  <a:cubicBezTo>
                    <a:pt x="6" y="89"/>
                    <a:pt x="29" y="96"/>
                    <a:pt x="33" y="89"/>
                  </a:cubicBezTo>
                  <a:cubicBezTo>
                    <a:pt x="37" y="82"/>
                    <a:pt x="34" y="74"/>
                    <a:pt x="40" y="63"/>
                  </a:cubicBezTo>
                  <a:cubicBezTo>
                    <a:pt x="45" y="51"/>
                    <a:pt x="30" y="57"/>
                    <a:pt x="45" y="43"/>
                  </a:cubicBezTo>
                  <a:cubicBezTo>
                    <a:pt x="60" y="29"/>
                    <a:pt x="44" y="36"/>
                    <a:pt x="52" y="23"/>
                  </a:cubicBezTo>
                  <a:cubicBezTo>
                    <a:pt x="60" y="10"/>
                    <a:pt x="57" y="15"/>
                    <a:pt x="51" y="15"/>
                  </a:cubicBezTo>
                  <a:cubicBezTo>
                    <a:pt x="44" y="15"/>
                    <a:pt x="22" y="1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2" name="Freeform 233">
              <a:extLst>
                <a:ext uri="{FF2B5EF4-FFF2-40B4-BE49-F238E27FC236}">
                  <a16:creationId xmlns:a16="http://schemas.microsoft.com/office/drawing/2014/main" id="{BEBF5434-40F0-4BD6-A908-5F4C204D7B10}"/>
                </a:ext>
              </a:extLst>
            </p:cNvPr>
            <p:cNvSpPr>
              <a:spLocks/>
            </p:cNvSpPr>
            <p:nvPr/>
          </p:nvSpPr>
          <p:spPr bwMode="auto">
            <a:xfrm>
              <a:off x="1301750" y="1420813"/>
              <a:ext cx="98425" cy="127000"/>
            </a:xfrm>
            <a:custGeom>
              <a:avLst/>
              <a:gdLst>
                <a:gd name="T0" fmla="*/ 7 w 61"/>
                <a:gd name="T1" fmla="*/ 13 h 79"/>
                <a:gd name="T2" fmla="*/ 60 w 61"/>
                <a:gd name="T3" fmla="*/ 0 h 79"/>
                <a:gd name="T4" fmla="*/ 61 w 61"/>
                <a:gd name="T5" fmla="*/ 78 h 79"/>
                <a:gd name="T6" fmla="*/ 47 w 61"/>
                <a:gd name="T7" fmla="*/ 61 h 79"/>
                <a:gd name="T8" fmla="*/ 27 w 61"/>
                <a:gd name="T9" fmla="*/ 31 h 79"/>
                <a:gd name="T10" fmla="*/ 7 w 61"/>
                <a:gd name="T11" fmla="*/ 13 h 79"/>
              </a:gdLst>
              <a:ahLst/>
              <a:cxnLst>
                <a:cxn ang="0">
                  <a:pos x="T0" y="T1"/>
                </a:cxn>
                <a:cxn ang="0">
                  <a:pos x="T2" y="T3"/>
                </a:cxn>
                <a:cxn ang="0">
                  <a:pos x="T4" y="T5"/>
                </a:cxn>
                <a:cxn ang="0">
                  <a:pos x="T6" y="T7"/>
                </a:cxn>
                <a:cxn ang="0">
                  <a:pos x="T8" y="T9"/>
                </a:cxn>
                <a:cxn ang="0">
                  <a:pos x="T10" y="T11"/>
                </a:cxn>
              </a:cxnLst>
              <a:rect l="0" t="0" r="r" b="b"/>
              <a:pathLst>
                <a:path w="61" h="79">
                  <a:moveTo>
                    <a:pt x="7" y="13"/>
                  </a:moveTo>
                  <a:cubicBezTo>
                    <a:pt x="7" y="13"/>
                    <a:pt x="49" y="15"/>
                    <a:pt x="60" y="0"/>
                  </a:cubicBezTo>
                  <a:cubicBezTo>
                    <a:pt x="61" y="78"/>
                    <a:pt x="61" y="78"/>
                    <a:pt x="61" y="78"/>
                  </a:cubicBezTo>
                  <a:cubicBezTo>
                    <a:pt x="61" y="78"/>
                    <a:pt x="52" y="79"/>
                    <a:pt x="47" y="61"/>
                  </a:cubicBezTo>
                  <a:cubicBezTo>
                    <a:pt x="42" y="44"/>
                    <a:pt x="41" y="33"/>
                    <a:pt x="27" y="31"/>
                  </a:cubicBezTo>
                  <a:cubicBezTo>
                    <a:pt x="13" y="29"/>
                    <a:pt x="0" y="19"/>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3" name="Freeform 234">
              <a:extLst>
                <a:ext uri="{FF2B5EF4-FFF2-40B4-BE49-F238E27FC236}">
                  <a16:creationId xmlns:a16="http://schemas.microsoft.com/office/drawing/2014/main" id="{0410C8D7-6F46-47F8-8B82-DA8C0CF4D627}"/>
                </a:ext>
              </a:extLst>
            </p:cNvPr>
            <p:cNvSpPr>
              <a:spLocks/>
            </p:cNvSpPr>
            <p:nvPr/>
          </p:nvSpPr>
          <p:spPr bwMode="auto">
            <a:xfrm>
              <a:off x="1373188" y="1719263"/>
              <a:ext cx="133350" cy="374650"/>
            </a:xfrm>
            <a:custGeom>
              <a:avLst/>
              <a:gdLst>
                <a:gd name="T0" fmla="*/ 69 w 83"/>
                <a:gd name="T1" fmla="*/ 0 h 233"/>
                <a:gd name="T2" fmla="*/ 42 w 83"/>
                <a:gd name="T3" fmla="*/ 15 h 233"/>
                <a:gd name="T4" fmla="*/ 12 w 83"/>
                <a:gd name="T5" fmla="*/ 64 h 233"/>
                <a:gd name="T6" fmla="*/ 38 w 83"/>
                <a:gd name="T7" fmla="*/ 122 h 233"/>
                <a:gd name="T8" fmla="*/ 34 w 83"/>
                <a:gd name="T9" fmla="*/ 197 h 233"/>
                <a:gd name="T10" fmla="*/ 81 w 83"/>
                <a:gd name="T11" fmla="*/ 69 h 233"/>
                <a:gd name="T12" fmla="*/ 69 w 83"/>
                <a:gd name="T13" fmla="*/ 0 h 233"/>
              </a:gdLst>
              <a:ahLst/>
              <a:cxnLst>
                <a:cxn ang="0">
                  <a:pos x="T0" y="T1"/>
                </a:cxn>
                <a:cxn ang="0">
                  <a:pos x="T2" y="T3"/>
                </a:cxn>
                <a:cxn ang="0">
                  <a:pos x="T4" y="T5"/>
                </a:cxn>
                <a:cxn ang="0">
                  <a:pos x="T6" y="T7"/>
                </a:cxn>
                <a:cxn ang="0">
                  <a:pos x="T8" y="T9"/>
                </a:cxn>
                <a:cxn ang="0">
                  <a:pos x="T10" y="T11"/>
                </a:cxn>
                <a:cxn ang="0">
                  <a:pos x="T12" y="T13"/>
                </a:cxn>
              </a:cxnLst>
              <a:rect l="0" t="0" r="r" b="b"/>
              <a:pathLst>
                <a:path w="83" h="233">
                  <a:moveTo>
                    <a:pt x="69" y="0"/>
                  </a:moveTo>
                  <a:cubicBezTo>
                    <a:pt x="69" y="0"/>
                    <a:pt x="70" y="11"/>
                    <a:pt x="42" y="15"/>
                  </a:cubicBezTo>
                  <a:cubicBezTo>
                    <a:pt x="13" y="19"/>
                    <a:pt x="11" y="36"/>
                    <a:pt x="12" y="64"/>
                  </a:cubicBezTo>
                  <a:cubicBezTo>
                    <a:pt x="14" y="93"/>
                    <a:pt x="43" y="88"/>
                    <a:pt x="38" y="122"/>
                  </a:cubicBezTo>
                  <a:cubicBezTo>
                    <a:pt x="33" y="157"/>
                    <a:pt x="0" y="160"/>
                    <a:pt x="34" y="197"/>
                  </a:cubicBezTo>
                  <a:cubicBezTo>
                    <a:pt x="68" y="233"/>
                    <a:pt x="78" y="69"/>
                    <a:pt x="81" y="69"/>
                  </a:cubicBezTo>
                  <a:cubicBezTo>
                    <a:pt x="83" y="69"/>
                    <a:pt x="75" y="83"/>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84" name="Freeform 191">
            <a:extLst>
              <a:ext uri="{FF2B5EF4-FFF2-40B4-BE49-F238E27FC236}">
                <a16:creationId xmlns:a16="http://schemas.microsoft.com/office/drawing/2014/main" id="{50F38FB3-157D-449D-8586-D5FF92003DD9}"/>
              </a:ext>
            </a:extLst>
          </p:cNvPr>
          <p:cNvSpPr>
            <a:spLocks/>
          </p:cNvSpPr>
          <p:nvPr/>
        </p:nvSpPr>
        <p:spPr bwMode="auto">
          <a:xfrm>
            <a:off x="10838356" y="2900550"/>
            <a:ext cx="1003645" cy="1356502"/>
          </a:xfrm>
          <a:custGeom>
            <a:avLst/>
            <a:gdLst>
              <a:gd name="T0" fmla="*/ 8 w 594"/>
              <a:gd name="T1" fmla="*/ 547 h 804"/>
              <a:gd name="T2" fmla="*/ 273 w 594"/>
              <a:gd name="T3" fmla="*/ 794 h 804"/>
              <a:gd name="T4" fmla="*/ 582 w 594"/>
              <a:gd name="T5" fmla="*/ 563 h 804"/>
              <a:gd name="T6" fmla="*/ 282 w 594"/>
              <a:gd name="T7" fmla="*/ 0 h 804"/>
              <a:gd name="T8" fmla="*/ 8 w 594"/>
              <a:gd name="T9" fmla="*/ 547 h 804"/>
            </a:gdLst>
            <a:ahLst/>
            <a:cxnLst>
              <a:cxn ang="0">
                <a:pos x="T0" y="T1"/>
              </a:cxn>
              <a:cxn ang="0">
                <a:pos x="T2" y="T3"/>
              </a:cxn>
              <a:cxn ang="0">
                <a:pos x="T4" y="T5"/>
              </a:cxn>
              <a:cxn ang="0">
                <a:pos x="T6" y="T7"/>
              </a:cxn>
              <a:cxn ang="0">
                <a:pos x="T8" y="T9"/>
              </a:cxn>
            </a:cxnLst>
            <a:rect l="0" t="0" r="r" b="b"/>
            <a:pathLst>
              <a:path w="594" h="804">
                <a:moveTo>
                  <a:pt x="8" y="547"/>
                </a:moveTo>
                <a:cubicBezTo>
                  <a:pt x="0" y="674"/>
                  <a:pt x="111" y="785"/>
                  <a:pt x="273" y="794"/>
                </a:cubicBezTo>
                <a:cubicBezTo>
                  <a:pt x="435" y="804"/>
                  <a:pt x="574" y="690"/>
                  <a:pt x="582" y="563"/>
                </a:cubicBezTo>
                <a:cubicBezTo>
                  <a:pt x="594" y="362"/>
                  <a:pt x="270" y="187"/>
                  <a:pt x="282" y="0"/>
                </a:cubicBezTo>
                <a:cubicBezTo>
                  <a:pt x="267" y="248"/>
                  <a:pt x="15" y="420"/>
                  <a:pt x="8" y="54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5" name="Text Box 10">
            <a:extLst>
              <a:ext uri="{FF2B5EF4-FFF2-40B4-BE49-F238E27FC236}">
                <a16:creationId xmlns:a16="http://schemas.microsoft.com/office/drawing/2014/main" id="{A032A23F-D669-46E5-B9DC-2DB82462FE0C}"/>
              </a:ext>
            </a:extLst>
          </p:cNvPr>
          <p:cNvSpPr txBox="1">
            <a:spLocks noChangeArrowheads="1"/>
          </p:cNvSpPr>
          <p:nvPr/>
        </p:nvSpPr>
        <p:spPr bwMode="auto">
          <a:xfrm>
            <a:off x="9854673" y="2209248"/>
            <a:ext cx="1296133" cy="230832"/>
          </a:xfrm>
          <a:prstGeom prst="rect">
            <a:avLst/>
          </a:prstGeom>
          <a:noFill/>
          <a:ln w="9525">
            <a:noFill/>
            <a:miter lim="800000"/>
            <a:headEnd/>
            <a:tailEnd/>
          </a:ln>
        </p:spPr>
        <p:txBody>
          <a:bodyPr wrap="square" lIns="45720" tIns="22860" rIns="45720" bIns="22860">
            <a:spAutoFit/>
          </a:bodyPr>
          <a:lstStyle/>
          <a:p>
            <a:pPr algn="ctr" defTabSz="1088232"/>
            <a:r>
              <a:rPr lang="en-US" altLang="zh-CN" sz="1200" dirty="0">
                <a:solidFill>
                  <a:schemeClr val="bg1"/>
                </a:solidFill>
                <a:latin typeface="+mj-lt"/>
                <a:ea typeface="Open Sans Light" pitchFamily="34" charset="0"/>
                <a:cs typeface="Open Sans Light" pitchFamily="34" charset="0"/>
              </a:rPr>
              <a:t>xxxxxxxx</a:t>
            </a:r>
            <a:endParaRPr lang="en-US" sz="1200" dirty="0">
              <a:solidFill>
                <a:schemeClr val="bg1"/>
              </a:solidFill>
              <a:latin typeface="+mj-lt"/>
              <a:ea typeface="Open Sans Light" pitchFamily="34" charset="0"/>
              <a:cs typeface="Open Sans Light" pitchFamily="34" charset="0"/>
            </a:endParaRPr>
          </a:p>
        </p:txBody>
      </p:sp>
      <p:sp>
        <p:nvSpPr>
          <p:cNvPr id="186" name="Text Box 10">
            <a:extLst>
              <a:ext uri="{FF2B5EF4-FFF2-40B4-BE49-F238E27FC236}">
                <a16:creationId xmlns:a16="http://schemas.microsoft.com/office/drawing/2014/main" id="{23C45A7E-13CF-486A-ABA5-24420286C3AB}"/>
              </a:ext>
            </a:extLst>
          </p:cNvPr>
          <p:cNvSpPr txBox="1">
            <a:spLocks noChangeArrowheads="1"/>
          </p:cNvSpPr>
          <p:nvPr/>
        </p:nvSpPr>
        <p:spPr bwMode="auto">
          <a:xfrm>
            <a:off x="10889994" y="3616618"/>
            <a:ext cx="929049" cy="415498"/>
          </a:xfrm>
          <a:prstGeom prst="rect">
            <a:avLst/>
          </a:prstGeom>
          <a:noFill/>
          <a:ln w="9525">
            <a:noFill/>
            <a:miter lim="800000"/>
            <a:headEnd/>
            <a:tailEnd/>
          </a:ln>
        </p:spPr>
        <p:txBody>
          <a:bodyPr wrap="square" lIns="45720" tIns="22860" rIns="45720" bIns="22860">
            <a:spAutoFit/>
          </a:bodyPr>
          <a:lstStyle/>
          <a:p>
            <a:pPr algn="ctr" defTabSz="1088232"/>
            <a:r>
              <a:rPr lang="en-US">
                <a:solidFill>
                  <a:schemeClr val="bg1"/>
                </a:solidFill>
                <a:latin typeface="+mj-lt"/>
                <a:ea typeface="Open Sans Light" pitchFamily="34" charset="0"/>
                <a:cs typeface="Open Sans Light" pitchFamily="34" charset="0"/>
              </a:rPr>
              <a:t>50%</a:t>
            </a:r>
            <a:endParaRPr lang="en-US" sz="1200">
              <a:solidFill>
                <a:schemeClr val="bg1"/>
              </a:solidFill>
              <a:latin typeface="+mj-lt"/>
              <a:ea typeface="Open Sans Light" pitchFamily="34" charset="0"/>
              <a:cs typeface="Open Sans Light" pitchFamily="34" charset="0"/>
            </a:endParaRPr>
          </a:p>
        </p:txBody>
      </p:sp>
      <p:sp>
        <p:nvSpPr>
          <p:cNvPr id="187" name="Text Box 10">
            <a:extLst>
              <a:ext uri="{FF2B5EF4-FFF2-40B4-BE49-F238E27FC236}">
                <a16:creationId xmlns:a16="http://schemas.microsoft.com/office/drawing/2014/main" id="{06C1A450-FD25-4337-B47C-45D1B6E04002}"/>
              </a:ext>
            </a:extLst>
          </p:cNvPr>
          <p:cNvSpPr txBox="1">
            <a:spLocks noChangeArrowheads="1"/>
          </p:cNvSpPr>
          <p:nvPr/>
        </p:nvSpPr>
        <p:spPr bwMode="auto">
          <a:xfrm>
            <a:off x="9529896" y="4822358"/>
            <a:ext cx="2371140"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2"/>
                </a:solidFill>
                <a:ea typeface="Open Sans" pitchFamily="34" charset="0"/>
                <a:cs typeface="Open Sans" pitchFamily="34" charset="0"/>
              </a:rPr>
              <a:t>Xxxxxxxxx</a:t>
            </a:r>
            <a:endParaRPr lang="en-US" altLang="zh-CN" sz="1600" b="1" dirty="0">
              <a:solidFill>
                <a:schemeClr val="accent2"/>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r>
              <a:rPr lang="en-US" altLang="zh-CN" sz="1200" dirty="0">
                <a:solidFill>
                  <a:schemeClr val="bg1">
                    <a:lumMod val="65000"/>
                  </a:schemeClr>
                </a:solidFill>
                <a:ea typeface="Open Sans" pitchFamily="34" charset="0"/>
                <a:cs typeface="Open Sans" pitchFamily="34" charset="0"/>
              </a:rPr>
              <a:t>.</a:t>
            </a:r>
          </a:p>
        </p:txBody>
      </p:sp>
    </p:spTree>
    <p:custDataLst>
      <p:tags r:id="rId1"/>
    </p:custDataLst>
    <p:extLst>
      <p:ext uri="{BB962C8B-B14F-4D97-AF65-F5344CB8AC3E}">
        <p14:creationId xmlns:p14="http://schemas.microsoft.com/office/powerpoint/2010/main" val="2280237489"/>
      </p:ext>
    </p:extLst>
  </p:cSld>
  <p:clrMapOvr>
    <a:masterClrMapping/>
  </p:clrMapOvr>
  <p:transition>
    <p:fade/>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椭圆 12"/>
          <p:cNvSpPr/>
          <p:nvPr/>
        </p:nvSpPr>
        <p:spPr>
          <a:xfrm>
            <a:off x="2109195" y="1872228"/>
            <a:ext cx="1980000" cy="19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 name="组合 2"/>
          <p:cNvGrpSpPr/>
          <p:nvPr/>
        </p:nvGrpSpPr>
        <p:grpSpPr>
          <a:xfrm>
            <a:off x="2335716" y="2098749"/>
            <a:ext cx="1526959" cy="1526959"/>
            <a:chOff x="2305236" y="1854909"/>
            <a:chExt cx="1526959" cy="1526959"/>
          </a:xfrm>
          <a:solidFill>
            <a:schemeClr val="accent1"/>
          </a:solidFill>
        </p:grpSpPr>
        <p:sp>
          <p:nvSpPr>
            <p:cNvPr id="6" name="椭圆 13"/>
            <p:cNvSpPr/>
            <p:nvPr/>
          </p:nvSpPr>
          <p:spPr>
            <a:xfrm>
              <a:off x="2305236" y="1854909"/>
              <a:ext cx="1526959" cy="152695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弧形 14"/>
            <p:cNvSpPr/>
            <p:nvPr/>
          </p:nvSpPr>
          <p:spPr>
            <a:xfrm>
              <a:off x="2420715" y="1970388"/>
              <a:ext cx="1296000" cy="1296000"/>
            </a:xfrm>
            <a:prstGeom prst="arc">
              <a:avLst>
                <a:gd name="adj1" fmla="val 16200000"/>
                <a:gd name="adj2" fmla="val 19665491"/>
              </a:avLst>
            </a:prstGeom>
            <a:grpFill/>
            <a:ln w="1905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8" name="文本框 15"/>
          <p:cNvSpPr txBox="1"/>
          <p:nvPr/>
        </p:nvSpPr>
        <p:spPr>
          <a:xfrm>
            <a:off x="2693475" y="2622163"/>
            <a:ext cx="811440" cy="480131"/>
          </a:xfrm>
          <a:prstGeom prst="rect">
            <a:avLst/>
          </a:prstGeom>
          <a:noFill/>
        </p:spPr>
        <p:txBody>
          <a:bodyPr wrap="none" rtlCol="0">
            <a:spAutoFit/>
          </a:bodyPr>
          <a:lstStyle/>
          <a:p>
            <a:pPr algn="ctr">
              <a:lnSpc>
                <a:spcPct val="90000"/>
              </a:lnSpc>
              <a:spcBef>
                <a:spcPts val="1000"/>
              </a:spcBef>
            </a:pPr>
            <a:r>
              <a:rPr lang="en-US" altLang="zh-CN" sz="2800" b="1" dirty="0">
                <a:ea typeface="微软雅黑" panose="020B0503020204020204" pitchFamily="34" charset="-122"/>
              </a:rPr>
              <a:t>20%</a:t>
            </a:r>
            <a:endParaRPr lang="zh-CN" altLang="en-US" sz="2800" b="1" dirty="0">
              <a:ea typeface="微软雅黑" panose="020B0503020204020204" pitchFamily="34" charset="-122"/>
            </a:endParaRPr>
          </a:p>
        </p:txBody>
      </p:sp>
      <p:sp>
        <p:nvSpPr>
          <p:cNvPr id="9" name="椭圆 21"/>
          <p:cNvSpPr/>
          <p:nvPr/>
        </p:nvSpPr>
        <p:spPr>
          <a:xfrm>
            <a:off x="5136480" y="1872228"/>
            <a:ext cx="1980000" cy="19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 name="组合 3"/>
          <p:cNvGrpSpPr/>
          <p:nvPr/>
        </p:nvGrpSpPr>
        <p:grpSpPr>
          <a:xfrm>
            <a:off x="5363001" y="2098749"/>
            <a:ext cx="1526959" cy="1526959"/>
            <a:chOff x="5332521" y="1854909"/>
            <a:chExt cx="1526959" cy="1526959"/>
          </a:xfrm>
        </p:grpSpPr>
        <p:sp>
          <p:nvSpPr>
            <p:cNvPr id="11" name="椭圆 22"/>
            <p:cNvSpPr/>
            <p:nvPr/>
          </p:nvSpPr>
          <p:spPr>
            <a:xfrm>
              <a:off x="5332521" y="1854909"/>
              <a:ext cx="1526959" cy="15269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弧形 23"/>
            <p:cNvSpPr/>
            <p:nvPr/>
          </p:nvSpPr>
          <p:spPr>
            <a:xfrm>
              <a:off x="5448000" y="1970388"/>
              <a:ext cx="1296000" cy="1296000"/>
            </a:xfrm>
            <a:prstGeom prst="arc">
              <a:avLst>
                <a:gd name="adj1" fmla="val 16200000"/>
                <a:gd name="adj2" fmla="val 5050462"/>
              </a:avLst>
            </a:prstGeom>
            <a:ln w="1905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13" name="文本框 20"/>
          <p:cNvSpPr txBox="1"/>
          <p:nvPr/>
        </p:nvSpPr>
        <p:spPr>
          <a:xfrm>
            <a:off x="5720760" y="2622163"/>
            <a:ext cx="811440" cy="480131"/>
          </a:xfrm>
          <a:prstGeom prst="rect">
            <a:avLst/>
          </a:prstGeom>
          <a:noFill/>
        </p:spPr>
        <p:txBody>
          <a:bodyPr wrap="none" rtlCol="0">
            <a:spAutoFit/>
          </a:bodyPr>
          <a:lstStyle/>
          <a:p>
            <a:pPr algn="ctr">
              <a:lnSpc>
                <a:spcPct val="90000"/>
              </a:lnSpc>
              <a:spcBef>
                <a:spcPts val="1000"/>
              </a:spcBef>
            </a:pPr>
            <a:r>
              <a:rPr lang="en-US" altLang="zh-CN" sz="2800" b="1" dirty="0">
                <a:ea typeface="微软雅黑" panose="020B0503020204020204" pitchFamily="34" charset="-122"/>
              </a:rPr>
              <a:t>50%</a:t>
            </a:r>
            <a:endParaRPr lang="zh-CN" altLang="en-US" sz="2800" b="1" dirty="0">
              <a:ea typeface="微软雅黑" panose="020B0503020204020204" pitchFamily="34" charset="-122"/>
            </a:endParaRPr>
          </a:p>
        </p:txBody>
      </p:sp>
      <p:sp>
        <p:nvSpPr>
          <p:cNvPr id="14" name="椭圆 27"/>
          <p:cNvSpPr/>
          <p:nvPr/>
        </p:nvSpPr>
        <p:spPr>
          <a:xfrm>
            <a:off x="8163765" y="1872228"/>
            <a:ext cx="1980000" cy="19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5" name="组合 4"/>
          <p:cNvGrpSpPr/>
          <p:nvPr/>
        </p:nvGrpSpPr>
        <p:grpSpPr>
          <a:xfrm>
            <a:off x="8390286" y="2098749"/>
            <a:ext cx="1526959" cy="1526959"/>
            <a:chOff x="8359806" y="1854909"/>
            <a:chExt cx="1526959" cy="1526959"/>
          </a:xfrm>
        </p:grpSpPr>
        <p:sp>
          <p:nvSpPr>
            <p:cNvPr id="16" name="椭圆 28"/>
            <p:cNvSpPr/>
            <p:nvPr/>
          </p:nvSpPr>
          <p:spPr>
            <a:xfrm>
              <a:off x="8359806" y="1854909"/>
              <a:ext cx="1526959" cy="15269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弧形 29"/>
            <p:cNvSpPr/>
            <p:nvPr/>
          </p:nvSpPr>
          <p:spPr>
            <a:xfrm>
              <a:off x="8475285" y="1970388"/>
              <a:ext cx="1296000" cy="1296000"/>
            </a:xfrm>
            <a:prstGeom prst="arc">
              <a:avLst>
                <a:gd name="adj1" fmla="val 16200000"/>
                <a:gd name="adj2" fmla="val 12102902"/>
              </a:avLst>
            </a:prstGeom>
            <a:ln w="1905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18" name="文本框 26"/>
          <p:cNvSpPr txBox="1"/>
          <p:nvPr/>
        </p:nvSpPr>
        <p:spPr>
          <a:xfrm>
            <a:off x="8748046" y="2622163"/>
            <a:ext cx="811440" cy="480131"/>
          </a:xfrm>
          <a:prstGeom prst="rect">
            <a:avLst/>
          </a:prstGeom>
          <a:noFill/>
        </p:spPr>
        <p:txBody>
          <a:bodyPr wrap="none" rtlCol="0">
            <a:spAutoFit/>
          </a:bodyPr>
          <a:lstStyle/>
          <a:p>
            <a:pPr algn="ctr">
              <a:lnSpc>
                <a:spcPct val="90000"/>
              </a:lnSpc>
              <a:spcBef>
                <a:spcPts val="1000"/>
              </a:spcBef>
            </a:pPr>
            <a:r>
              <a:rPr lang="en-US" altLang="zh-CN" sz="2800" b="1" dirty="0">
                <a:ea typeface="微软雅黑" panose="020B0503020204020204" pitchFamily="34" charset="-122"/>
              </a:rPr>
              <a:t>80%</a:t>
            </a:r>
            <a:endParaRPr lang="zh-CN" altLang="en-US" sz="2800" b="1" dirty="0">
              <a:ea typeface="微软雅黑" panose="020B0503020204020204" pitchFamily="34" charset="-122"/>
            </a:endParaRPr>
          </a:p>
        </p:txBody>
      </p:sp>
      <p:grpSp>
        <p:nvGrpSpPr>
          <p:cNvPr id="19" name="组合 33"/>
          <p:cNvGrpSpPr/>
          <p:nvPr/>
        </p:nvGrpSpPr>
        <p:grpSpPr>
          <a:xfrm>
            <a:off x="2038749" y="4046644"/>
            <a:ext cx="2120892" cy="1046303"/>
            <a:chOff x="2078715" y="4012772"/>
            <a:chExt cx="2120892" cy="1046303"/>
          </a:xfrm>
        </p:grpSpPr>
        <p:sp>
          <p:nvSpPr>
            <p:cNvPr id="20" name="文本框 31"/>
            <p:cNvSpPr txBox="1"/>
            <p:nvPr/>
          </p:nvSpPr>
          <p:spPr>
            <a:xfrm>
              <a:off x="2078715" y="4717443"/>
              <a:ext cx="2120892" cy="341632"/>
            </a:xfrm>
            <a:prstGeom prst="rect">
              <a:avLst/>
            </a:prstGeom>
            <a:noFill/>
          </p:spPr>
          <p:txBody>
            <a:bodyPr wrap="square" rtlCol="0">
              <a:spAutoFit/>
            </a:bodyPr>
            <a:lstStyle/>
            <a:p>
              <a:pPr algn="ctr">
                <a:lnSpc>
                  <a:spcPct val="90000"/>
                </a:lnSpc>
                <a:spcBef>
                  <a:spcPts val="1000"/>
                </a:spcBef>
              </a:pPr>
              <a:r>
                <a:rPr lang="en-US" altLang="zh-CN" b="1" dirty="0" err="1">
                  <a:solidFill>
                    <a:schemeClr val="accent1"/>
                  </a:solidFill>
                  <a:latin typeface="+mn-ea"/>
                </a:rPr>
                <a:t>Duis</a:t>
              </a:r>
              <a:r>
                <a:rPr lang="en-US" altLang="zh-CN" b="1" dirty="0">
                  <a:solidFill>
                    <a:schemeClr val="accent1"/>
                  </a:solidFill>
                  <a:latin typeface="+mn-ea"/>
                </a:rPr>
                <a:t> </a:t>
              </a:r>
              <a:r>
                <a:rPr lang="en-US" altLang="zh-CN" b="1" dirty="0" err="1">
                  <a:solidFill>
                    <a:schemeClr val="accent1"/>
                  </a:solidFill>
                  <a:latin typeface="+mn-ea"/>
                </a:rPr>
                <a:t>aute</a:t>
              </a:r>
              <a:r>
                <a:rPr lang="en-US" altLang="zh-CN" b="1" dirty="0">
                  <a:solidFill>
                    <a:schemeClr val="accent1"/>
                  </a:solidFill>
                  <a:latin typeface="+mn-ea"/>
                </a:rPr>
                <a:t> </a:t>
              </a:r>
              <a:endParaRPr lang="zh-CN" altLang="en-US" b="1" dirty="0">
                <a:solidFill>
                  <a:schemeClr val="accent1"/>
                </a:solidFill>
                <a:latin typeface="+mn-ea"/>
              </a:endParaRPr>
            </a:p>
          </p:txBody>
        </p:sp>
        <p:sp>
          <p:nvSpPr>
            <p:cNvPr id="21" name="文本框 32"/>
            <p:cNvSpPr txBox="1"/>
            <p:nvPr/>
          </p:nvSpPr>
          <p:spPr>
            <a:xfrm>
              <a:off x="2078715" y="4012772"/>
              <a:ext cx="2120891" cy="585610"/>
            </a:xfrm>
            <a:prstGeom prst="rect">
              <a:avLst/>
            </a:prstGeom>
            <a:noFill/>
          </p:spPr>
          <p:txBody>
            <a:bodyPr wrap="square" rtlCol="0">
              <a:spAutoFit/>
            </a:bodyPr>
            <a:lstStyle/>
            <a:p>
              <a:pPr algn="ctr">
                <a:lnSpc>
                  <a:spcPct val="120000"/>
                </a:lnSpc>
              </a:pPr>
              <a:r>
                <a:rPr lang="en-US" altLang="zh-CN" sz="1400" dirty="0">
                  <a:solidFill>
                    <a:schemeClr val="tx1">
                      <a:lumMod val="75000"/>
                      <a:lumOff val="25000"/>
                    </a:schemeClr>
                  </a:solidFill>
                  <a:latin typeface="+mn-ea"/>
                </a:rPr>
                <a:t>Lorem ipsum dolor sit </a:t>
              </a:r>
              <a:r>
                <a:rPr lang="en-US" altLang="zh-CN" sz="1400" dirty="0" err="1">
                  <a:solidFill>
                    <a:schemeClr val="tx1">
                      <a:lumMod val="75000"/>
                      <a:lumOff val="25000"/>
                    </a:schemeClr>
                  </a:solidFill>
                  <a:latin typeface="+mn-ea"/>
                </a:rPr>
                <a:t>amet</a:t>
              </a:r>
              <a:r>
                <a:rPr lang="en-US" altLang="zh-CN" sz="1400" dirty="0">
                  <a:solidFill>
                    <a:schemeClr val="tx1">
                      <a:lumMod val="75000"/>
                      <a:lumOff val="25000"/>
                    </a:schemeClr>
                  </a:solidFill>
                  <a:latin typeface="+mn-ea"/>
                </a:rPr>
                <a:t>, </a:t>
              </a:r>
              <a:r>
                <a:rPr lang="en-US" altLang="zh-CN" sz="1400" dirty="0" err="1">
                  <a:solidFill>
                    <a:schemeClr val="tx1">
                      <a:lumMod val="75000"/>
                      <a:lumOff val="25000"/>
                    </a:schemeClr>
                  </a:solidFill>
                  <a:latin typeface="+mn-ea"/>
                </a:rPr>
                <a:t>consectetur</a:t>
              </a:r>
              <a:endParaRPr lang="en-US" altLang="zh-CN" sz="1400" dirty="0">
                <a:solidFill>
                  <a:schemeClr val="tx1">
                    <a:lumMod val="75000"/>
                    <a:lumOff val="25000"/>
                  </a:schemeClr>
                </a:solidFill>
                <a:latin typeface="+mn-ea"/>
              </a:endParaRPr>
            </a:p>
          </p:txBody>
        </p:sp>
      </p:grpSp>
      <p:grpSp>
        <p:nvGrpSpPr>
          <p:cNvPr id="22" name="组合 34"/>
          <p:cNvGrpSpPr/>
          <p:nvPr/>
        </p:nvGrpSpPr>
        <p:grpSpPr>
          <a:xfrm>
            <a:off x="5066034" y="4046644"/>
            <a:ext cx="2120892" cy="1046303"/>
            <a:chOff x="2078715" y="4012772"/>
            <a:chExt cx="2120892" cy="1046303"/>
          </a:xfrm>
        </p:grpSpPr>
        <p:sp>
          <p:nvSpPr>
            <p:cNvPr id="23" name="文本框 35"/>
            <p:cNvSpPr txBox="1"/>
            <p:nvPr/>
          </p:nvSpPr>
          <p:spPr>
            <a:xfrm>
              <a:off x="2078715" y="4717443"/>
              <a:ext cx="2120892" cy="341632"/>
            </a:xfrm>
            <a:prstGeom prst="rect">
              <a:avLst/>
            </a:prstGeom>
            <a:noFill/>
          </p:spPr>
          <p:txBody>
            <a:bodyPr wrap="square" rtlCol="0">
              <a:spAutoFit/>
            </a:bodyPr>
            <a:lstStyle/>
            <a:p>
              <a:pPr algn="ctr">
                <a:lnSpc>
                  <a:spcPct val="90000"/>
                </a:lnSpc>
                <a:spcBef>
                  <a:spcPts val="1000"/>
                </a:spcBef>
              </a:pPr>
              <a:r>
                <a:rPr lang="en-US" altLang="zh-CN" b="1" dirty="0" err="1">
                  <a:solidFill>
                    <a:schemeClr val="accent1"/>
                  </a:solidFill>
                  <a:latin typeface="+mn-ea"/>
                </a:rPr>
                <a:t>Duis</a:t>
              </a:r>
              <a:r>
                <a:rPr lang="en-US" altLang="zh-CN" b="1" dirty="0">
                  <a:solidFill>
                    <a:schemeClr val="accent1"/>
                  </a:solidFill>
                  <a:latin typeface="+mn-ea"/>
                </a:rPr>
                <a:t> </a:t>
              </a:r>
              <a:r>
                <a:rPr lang="en-US" altLang="zh-CN" b="1" dirty="0" err="1">
                  <a:solidFill>
                    <a:schemeClr val="accent1"/>
                  </a:solidFill>
                  <a:latin typeface="+mn-ea"/>
                </a:rPr>
                <a:t>aute</a:t>
              </a:r>
              <a:r>
                <a:rPr lang="en-US" altLang="zh-CN" b="1" dirty="0">
                  <a:solidFill>
                    <a:schemeClr val="accent1"/>
                  </a:solidFill>
                  <a:latin typeface="+mn-ea"/>
                </a:rPr>
                <a:t> </a:t>
              </a:r>
              <a:endParaRPr lang="zh-CN" altLang="en-US" b="1" dirty="0">
                <a:solidFill>
                  <a:schemeClr val="accent1"/>
                </a:solidFill>
                <a:latin typeface="+mn-ea"/>
              </a:endParaRPr>
            </a:p>
          </p:txBody>
        </p:sp>
        <p:sp>
          <p:nvSpPr>
            <p:cNvPr id="24" name="文本框 36"/>
            <p:cNvSpPr txBox="1"/>
            <p:nvPr/>
          </p:nvSpPr>
          <p:spPr>
            <a:xfrm>
              <a:off x="2078715" y="4012772"/>
              <a:ext cx="2120891" cy="585610"/>
            </a:xfrm>
            <a:prstGeom prst="rect">
              <a:avLst/>
            </a:prstGeom>
            <a:noFill/>
          </p:spPr>
          <p:txBody>
            <a:bodyPr wrap="square" rtlCol="0">
              <a:spAutoFit/>
            </a:bodyPr>
            <a:lstStyle/>
            <a:p>
              <a:pPr algn="ctr">
                <a:lnSpc>
                  <a:spcPct val="120000"/>
                </a:lnSpc>
              </a:pPr>
              <a:r>
                <a:rPr lang="en-US" altLang="zh-CN" sz="1400" dirty="0">
                  <a:solidFill>
                    <a:schemeClr val="tx1">
                      <a:lumMod val="75000"/>
                      <a:lumOff val="25000"/>
                    </a:schemeClr>
                  </a:solidFill>
                  <a:latin typeface="+mn-ea"/>
                </a:rPr>
                <a:t>Lorem ipsum dolor sit </a:t>
              </a:r>
              <a:r>
                <a:rPr lang="en-US" altLang="zh-CN" sz="1400" dirty="0" err="1">
                  <a:solidFill>
                    <a:schemeClr val="tx1">
                      <a:lumMod val="75000"/>
                      <a:lumOff val="25000"/>
                    </a:schemeClr>
                  </a:solidFill>
                  <a:latin typeface="+mn-ea"/>
                </a:rPr>
                <a:t>amet</a:t>
              </a:r>
              <a:r>
                <a:rPr lang="en-US" altLang="zh-CN" sz="1400" dirty="0">
                  <a:solidFill>
                    <a:schemeClr val="tx1">
                      <a:lumMod val="75000"/>
                      <a:lumOff val="25000"/>
                    </a:schemeClr>
                  </a:solidFill>
                  <a:latin typeface="+mn-ea"/>
                </a:rPr>
                <a:t>, </a:t>
              </a:r>
              <a:r>
                <a:rPr lang="en-US" altLang="zh-CN" sz="1400" dirty="0" err="1">
                  <a:solidFill>
                    <a:schemeClr val="tx1">
                      <a:lumMod val="75000"/>
                      <a:lumOff val="25000"/>
                    </a:schemeClr>
                  </a:solidFill>
                  <a:latin typeface="+mn-ea"/>
                </a:rPr>
                <a:t>consectetur</a:t>
              </a:r>
              <a:endParaRPr lang="en-US" altLang="zh-CN" sz="1400" dirty="0">
                <a:solidFill>
                  <a:schemeClr val="tx1">
                    <a:lumMod val="75000"/>
                    <a:lumOff val="25000"/>
                  </a:schemeClr>
                </a:solidFill>
                <a:latin typeface="+mn-ea"/>
              </a:endParaRPr>
            </a:p>
          </p:txBody>
        </p:sp>
      </p:grpSp>
      <p:grpSp>
        <p:nvGrpSpPr>
          <p:cNvPr id="25" name="组合 37"/>
          <p:cNvGrpSpPr/>
          <p:nvPr/>
        </p:nvGrpSpPr>
        <p:grpSpPr>
          <a:xfrm>
            <a:off x="8093319" y="4046644"/>
            <a:ext cx="2120892" cy="1046303"/>
            <a:chOff x="2078715" y="4012772"/>
            <a:chExt cx="2120892" cy="1046303"/>
          </a:xfrm>
        </p:grpSpPr>
        <p:sp>
          <p:nvSpPr>
            <p:cNvPr id="26" name="文本框 38"/>
            <p:cNvSpPr txBox="1"/>
            <p:nvPr/>
          </p:nvSpPr>
          <p:spPr>
            <a:xfrm>
              <a:off x="2078715" y="4717443"/>
              <a:ext cx="2120892" cy="341632"/>
            </a:xfrm>
            <a:prstGeom prst="rect">
              <a:avLst/>
            </a:prstGeom>
            <a:noFill/>
          </p:spPr>
          <p:txBody>
            <a:bodyPr wrap="square" rtlCol="0">
              <a:spAutoFit/>
            </a:bodyPr>
            <a:lstStyle/>
            <a:p>
              <a:pPr algn="ctr">
                <a:lnSpc>
                  <a:spcPct val="90000"/>
                </a:lnSpc>
                <a:spcBef>
                  <a:spcPts val="1000"/>
                </a:spcBef>
              </a:pPr>
              <a:r>
                <a:rPr lang="en-US" altLang="zh-CN" b="1" dirty="0" err="1">
                  <a:solidFill>
                    <a:schemeClr val="accent1"/>
                  </a:solidFill>
                  <a:latin typeface="+mn-ea"/>
                </a:rPr>
                <a:t>Duis</a:t>
              </a:r>
              <a:r>
                <a:rPr lang="en-US" altLang="zh-CN" b="1" dirty="0">
                  <a:solidFill>
                    <a:schemeClr val="accent1"/>
                  </a:solidFill>
                  <a:latin typeface="+mn-ea"/>
                </a:rPr>
                <a:t> </a:t>
              </a:r>
              <a:r>
                <a:rPr lang="en-US" altLang="zh-CN" b="1" dirty="0" err="1">
                  <a:solidFill>
                    <a:schemeClr val="accent1"/>
                  </a:solidFill>
                  <a:latin typeface="+mn-ea"/>
                </a:rPr>
                <a:t>aute</a:t>
              </a:r>
              <a:r>
                <a:rPr lang="en-US" altLang="zh-CN" b="1" dirty="0">
                  <a:solidFill>
                    <a:schemeClr val="accent1"/>
                  </a:solidFill>
                  <a:latin typeface="+mn-ea"/>
                </a:rPr>
                <a:t> </a:t>
              </a:r>
              <a:endParaRPr lang="zh-CN" altLang="en-US" b="1" dirty="0">
                <a:solidFill>
                  <a:schemeClr val="accent1"/>
                </a:solidFill>
                <a:latin typeface="+mn-ea"/>
              </a:endParaRPr>
            </a:p>
          </p:txBody>
        </p:sp>
        <p:sp>
          <p:nvSpPr>
            <p:cNvPr id="27" name="文本框 39"/>
            <p:cNvSpPr txBox="1"/>
            <p:nvPr/>
          </p:nvSpPr>
          <p:spPr>
            <a:xfrm>
              <a:off x="2078715" y="4012772"/>
              <a:ext cx="2120891" cy="585610"/>
            </a:xfrm>
            <a:prstGeom prst="rect">
              <a:avLst/>
            </a:prstGeom>
            <a:noFill/>
          </p:spPr>
          <p:txBody>
            <a:bodyPr wrap="square" rtlCol="0">
              <a:spAutoFit/>
            </a:bodyPr>
            <a:lstStyle/>
            <a:p>
              <a:pPr algn="ctr">
                <a:lnSpc>
                  <a:spcPct val="120000"/>
                </a:lnSpc>
              </a:pPr>
              <a:r>
                <a:rPr lang="en-US" altLang="zh-CN" sz="1400" dirty="0">
                  <a:solidFill>
                    <a:schemeClr val="tx1">
                      <a:lumMod val="75000"/>
                      <a:lumOff val="25000"/>
                    </a:schemeClr>
                  </a:solidFill>
                  <a:latin typeface="+mn-ea"/>
                </a:rPr>
                <a:t>Lorem ipsum dolor sit </a:t>
              </a:r>
              <a:r>
                <a:rPr lang="en-US" altLang="zh-CN" sz="1400" dirty="0" err="1">
                  <a:solidFill>
                    <a:schemeClr val="tx1">
                      <a:lumMod val="75000"/>
                      <a:lumOff val="25000"/>
                    </a:schemeClr>
                  </a:solidFill>
                  <a:latin typeface="+mn-ea"/>
                </a:rPr>
                <a:t>amet</a:t>
              </a:r>
              <a:r>
                <a:rPr lang="en-US" altLang="zh-CN" sz="1400" dirty="0">
                  <a:solidFill>
                    <a:schemeClr val="tx1">
                      <a:lumMod val="75000"/>
                      <a:lumOff val="25000"/>
                    </a:schemeClr>
                  </a:solidFill>
                  <a:latin typeface="+mn-ea"/>
                </a:rPr>
                <a:t>, </a:t>
              </a:r>
              <a:r>
                <a:rPr lang="en-US" altLang="zh-CN" sz="1400" dirty="0" err="1">
                  <a:solidFill>
                    <a:schemeClr val="tx1">
                      <a:lumMod val="75000"/>
                      <a:lumOff val="25000"/>
                    </a:schemeClr>
                  </a:solidFill>
                  <a:latin typeface="+mn-ea"/>
                </a:rPr>
                <a:t>consectetur</a:t>
              </a:r>
              <a:endParaRPr lang="en-US" altLang="zh-CN" sz="1400" dirty="0">
                <a:solidFill>
                  <a:schemeClr val="tx1">
                    <a:lumMod val="75000"/>
                    <a:lumOff val="25000"/>
                  </a:schemeClr>
                </a:solidFill>
                <a:latin typeface="+mn-ea"/>
              </a:endParaRPr>
            </a:p>
          </p:txBody>
        </p:sp>
      </p:grpSp>
    </p:spTree>
    <p:custDataLst>
      <p:tags r:id="rId1"/>
    </p:custDataLst>
    <p:extLst>
      <p:ext uri="{BB962C8B-B14F-4D97-AF65-F5344CB8AC3E}">
        <p14:creationId xmlns:p14="http://schemas.microsoft.com/office/powerpoint/2010/main" val="3327061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50" fill="hold"/>
                                        <p:tgtEl>
                                          <p:spTgt spid="5"/>
                                        </p:tgtEl>
                                        <p:attrNameLst>
                                          <p:attrName>ppt_w</p:attrName>
                                        </p:attrNameLst>
                                      </p:cBhvr>
                                      <p:tavLst>
                                        <p:tav tm="0">
                                          <p:val>
                                            <p:fltVal val="0"/>
                                          </p:val>
                                        </p:tav>
                                        <p:tav tm="100000">
                                          <p:val>
                                            <p:strVal val="#ppt_w"/>
                                          </p:val>
                                        </p:tav>
                                      </p:tavLst>
                                    </p:anim>
                                    <p:anim calcmode="lin" valueType="num">
                                      <p:cBhvr>
                                        <p:cTn id="8" dur="250" fill="hold"/>
                                        <p:tgtEl>
                                          <p:spTgt spid="5"/>
                                        </p:tgtEl>
                                        <p:attrNameLst>
                                          <p:attrName>ppt_h</p:attrName>
                                        </p:attrNameLst>
                                      </p:cBhvr>
                                      <p:tavLst>
                                        <p:tav tm="0">
                                          <p:val>
                                            <p:fltVal val="0"/>
                                          </p:val>
                                        </p:tav>
                                        <p:tav tm="100000">
                                          <p:val>
                                            <p:strVal val="#ppt_h"/>
                                          </p:val>
                                        </p:tav>
                                      </p:tavLst>
                                    </p:anim>
                                    <p:animEffect transition="in" filter="fade">
                                      <p:cBhvr>
                                        <p:cTn id="9" dur="250"/>
                                        <p:tgtEl>
                                          <p:spTgt spid="5"/>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250" fill="hold"/>
                                        <p:tgtEl>
                                          <p:spTgt spid="4"/>
                                        </p:tgtEl>
                                        <p:attrNameLst>
                                          <p:attrName>ppt_w</p:attrName>
                                        </p:attrNameLst>
                                      </p:cBhvr>
                                      <p:tavLst>
                                        <p:tav tm="0">
                                          <p:val>
                                            <p:fltVal val="0"/>
                                          </p:val>
                                        </p:tav>
                                        <p:tav tm="100000">
                                          <p:val>
                                            <p:strVal val="#ppt_w"/>
                                          </p:val>
                                        </p:tav>
                                      </p:tavLst>
                                    </p:anim>
                                    <p:anim calcmode="lin" valueType="num">
                                      <p:cBhvr>
                                        <p:cTn id="13" dur="250" fill="hold"/>
                                        <p:tgtEl>
                                          <p:spTgt spid="4"/>
                                        </p:tgtEl>
                                        <p:attrNameLst>
                                          <p:attrName>ppt_h</p:attrName>
                                        </p:attrNameLst>
                                      </p:cBhvr>
                                      <p:tavLst>
                                        <p:tav tm="0">
                                          <p:val>
                                            <p:fltVal val="0"/>
                                          </p:val>
                                        </p:tav>
                                        <p:tav tm="100000">
                                          <p:val>
                                            <p:strVal val="#ppt_h"/>
                                          </p:val>
                                        </p:tav>
                                      </p:tavLst>
                                    </p:anim>
                                    <p:animEffect transition="in" filter="fade">
                                      <p:cBhvr>
                                        <p:cTn id="14" dur="250"/>
                                        <p:tgtEl>
                                          <p:spTgt spid="4"/>
                                        </p:tgtEl>
                                      </p:cBhvr>
                                    </p:animEffect>
                                  </p:childTnLst>
                                </p:cTn>
                              </p:par>
                              <p:par>
                                <p:cTn id="15" presetID="26" presetClass="emph" presetSubtype="0" fill="hold" grpId="1" nodeType="withEffect">
                                  <p:stCondLst>
                                    <p:cond delay="250"/>
                                  </p:stCondLst>
                                  <p:childTnLst>
                                    <p:animEffect transition="out" filter="fade">
                                      <p:cBhvr>
                                        <p:cTn id="16" dur="500" tmFilter="0, 0; .2, .5; .8, .5; 1, 0"/>
                                        <p:tgtEl>
                                          <p:spTgt spid="4"/>
                                        </p:tgtEl>
                                      </p:cBhvr>
                                    </p:animEffect>
                                    <p:animScale>
                                      <p:cBhvr>
                                        <p:cTn id="17" dur="250" autoRev="1" fill="hold"/>
                                        <p:tgtEl>
                                          <p:spTgt spid="4"/>
                                        </p:tgtEl>
                                      </p:cBhvr>
                                      <p:by x="105000" y="105000"/>
                                    </p:animScale>
                                  </p:childTnLst>
                                </p:cTn>
                              </p:par>
                              <p:par>
                                <p:cTn id="18" presetID="10" presetClass="entr" presetSubtype="0" fill="hold" grpId="0" nodeType="withEffect">
                                  <p:stCondLst>
                                    <p:cond delay="75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par>
                          <p:cTn id="21" fill="hold">
                            <p:stCondLst>
                              <p:cond delay="1250"/>
                            </p:stCondLst>
                            <p:childTnLst>
                              <p:par>
                                <p:cTn id="22" presetID="42" presetClass="entr" presetSubtype="0" fill="hold" nodeType="after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50"/>
                                        <p:tgtEl>
                                          <p:spTgt spid="19"/>
                                        </p:tgtEl>
                                      </p:cBhvr>
                                    </p:animEffect>
                                    <p:anim calcmode="lin" valueType="num">
                                      <p:cBhvr>
                                        <p:cTn id="25" dur="250" fill="hold"/>
                                        <p:tgtEl>
                                          <p:spTgt spid="19"/>
                                        </p:tgtEl>
                                        <p:attrNameLst>
                                          <p:attrName>ppt_x</p:attrName>
                                        </p:attrNameLst>
                                      </p:cBhvr>
                                      <p:tavLst>
                                        <p:tav tm="0">
                                          <p:val>
                                            <p:strVal val="#ppt_x"/>
                                          </p:val>
                                        </p:tav>
                                        <p:tav tm="100000">
                                          <p:val>
                                            <p:strVal val="#ppt_x"/>
                                          </p:val>
                                        </p:tav>
                                      </p:tavLst>
                                    </p:anim>
                                    <p:anim calcmode="lin" valueType="num">
                                      <p:cBhvr>
                                        <p:cTn id="26" dur="250" fill="hold"/>
                                        <p:tgtEl>
                                          <p:spTgt spid="19"/>
                                        </p:tgtEl>
                                        <p:attrNameLst>
                                          <p:attrName>ppt_y</p:attrName>
                                        </p:attrNameLst>
                                      </p:cBhvr>
                                      <p:tavLst>
                                        <p:tav tm="0">
                                          <p:val>
                                            <p:strVal val="#ppt_y+.1"/>
                                          </p:val>
                                        </p:tav>
                                        <p:tav tm="100000">
                                          <p:val>
                                            <p:strVal val="#ppt_y"/>
                                          </p:val>
                                        </p:tav>
                                      </p:tavLst>
                                    </p:anim>
                                  </p:childTnLst>
                                </p:cTn>
                              </p:par>
                            </p:childTnLst>
                          </p:cTn>
                        </p:par>
                        <p:par>
                          <p:cTn id="27" fill="hold">
                            <p:stCondLst>
                              <p:cond delay="1500"/>
                            </p:stCondLst>
                            <p:childTnLst>
                              <p:par>
                                <p:cTn id="28" presetID="53" presetClass="entr" presetSubtype="16" fill="hold" nodeType="afterEffect">
                                  <p:stCondLst>
                                    <p:cond delay="0"/>
                                  </p:stCondLst>
                                  <p:childTnLst>
                                    <p:set>
                                      <p:cBhvr>
                                        <p:cTn id="29" dur="1" fill="hold">
                                          <p:stCondLst>
                                            <p:cond delay="0"/>
                                          </p:stCondLst>
                                        </p:cTn>
                                        <p:tgtEl>
                                          <p:spTgt spid="10"/>
                                        </p:tgtEl>
                                        <p:attrNameLst>
                                          <p:attrName>style.visibility</p:attrName>
                                        </p:attrNameLst>
                                      </p:cBhvr>
                                      <p:to>
                                        <p:strVal val="visible"/>
                                      </p:to>
                                    </p:set>
                                    <p:anim calcmode="lin" valueType="num">
                                      <p:cBhvr>
                                        <p:cTn id="30" dur="250" fill="hold"/>
                                        <p:tgtEl>
                                          <p:spTgt spid="10"/>
                                        </p:tgtEl>
                                        <p:attrNameLst>
                                          <p:attrName>ppt_w</p:attrName>
                                        </p:attrNameLst>
                                      </p:cBhvr>
                                      <p:tavLst>
                                        <p:tav tm="0">
                                          <p:val>
                                            <p:fltVal val="0"/>
                                          </p:val>
                                        </p:tav>
                                        <p:tav tm="100000">
                                          <p:val>
                                            <p:strVal val="#ppt_w"/>
                                          </p:val>
                                        </p:tav>
                                      </p:tavLst>
                                    </p:anim>
                                    <p:anim calcmode="lin" valueType="num">
                                      <p:cBhvr>
                                        <p:cTn id="31" dur="250" fill="hold"/>
                                        <p:tgtEl>
                                          <p:spTgt spid="10"/>
                                        </p:tgtEl>
                                        <p:attrNameLst>
                                          <p:attrName>ppt_h</p:attrName>
                                        </p:attrNameLst>
                                      </p:cBhvr>
                                      <p:tavLst>
                                        <p:tav tm="0">
                                          <p:val>
                                            <p:fltVal val="0"/>
                                          </p:val>
                                        </p:tav>
                                        <p:tav tm="100000">
                                          <p:val>
                                            <p:strVal val="#ppt_h"/>
                                          </p:val>
                                        </p:tav>
                                      </p:tavLst>
                                    </p:anim>
                                    <p:animEffect transition="in" filter="fade">
                                      <p:cBhvr>
                                        <p:cTn id="32" dur="250"/>
                                        <p:tgtEl>
                                          <p:spTgt spid="10"/>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p:cTn id="35" dur="250" fill="hold"/>
                                        <p:tgtEl>
                                          <p:spTgt spid="9"/>
                                        </p:tgtEl>
                                        <p:attrNameLst>
                                          <p:attrName>ppt_w</p:attrName>
                                        </p:attrNameLst>
                                      </p:cBhvr>
                                      <p:tavLst>
                                        <p:tav tm="0">
                                          <p:val>
                                            <p:fltVal val="0"/>
                                          </p:val>
                                        </p:tav>
                                        <p:tav tm="100000">
                                          <p:val>
                                            <p:strVal val="#ppt_w"/>
                                          </p:val>
                                        </p:tav>
                                      </p:tavLst>
                                    </p:anim>
                                    <p:anim calcmode="lin" valueType="num">
                                      <p:cBhvr>
                                        <p:cTn id="36" dur="250" fill="hold"/>
                                        <p:tgtEl>
                                          <p:spTgt spid="9"/>
                                        </p:tgtEl>
                                        <p:attrNameLst>
                                          <p:attrName>ppt_h</p:attrName>
                                        </p:attrNameLst>
                                      </p:cBhvr>
                                      <p:tavLst>
                                        <p:tav tm="0">
                                          <p:val>
                                            <p:fltVal val="0"/>
                                          </p:val>
                                        </p:tav>
                                        <p:tav tm="100000">
                                          <p:val>
                                            <p:strVal val="#ppt_h"/>
                                          </p:val>
                                        </p:tav>
                                      </p:tavLst>
                                    </p:anim>
                                    <p:animEffect transition="in" filter="fade">
                                      <p:cBhvr>
                                        <p:cTn id="37" dur="250"/>
                                        <p:tgtEl>
                                          <p:spTgt spid="9"/>
                                        </p:tgtEl>
                                      </p:cBhvr>
                                    </p:animEffect>
                                  </p:childTnLst>
                                </p:cTn>
                              </p:par>
                              <p:par>
                                <p:cTn id="38" presetID="26" presetClass="emph" presetSubtype="0" fill="hold" grpId="1" nodeType="withEffect">
                                  <p:stCondLst>
                                    <p:cond delay="250"/>
                                  </p:stCondLst>
                                  <p:childTnLst>
                                    <p:animEffect transition="out" filter="fade">
                                      <p:cBhvr>
                                        <p:cTn id="39" dur="500" tmFilter="0, 0; .2, .5; .8, .5; 1, 0"/>
                                        <p:tgtEl>
                                          <p:spTgt spid="9"/>
                                        </p:tgtEl>
                                      </p:cBhvr>
                                    </p:animEffect>
                                    <p:animScale>
                                      <p:cBhvr>
                                        <p:cTn id="40" dur="250" autoRev="1" fill="hold"/>
                                        <p:tgtEl>
                                          <p:spTgt spid="9"/>
                                        </p:tgtEl>
                                      </p:cBhvr>
                                      <p:by x="105000" y="105000"/>
                                    </p:animScale>
                                  </p:childTnLst>
                                </p:cTn>
                              </p:par>
                              <p:par>
                                <p:cTn id="41" presetID="10" presetClass="entr" presetSubtype="0" fill="hold" grpId="0" nodeType="withEffect">
                                  <p:stCondLst>
                                    <p:cond delay="75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par>
                          <p:cTn id="44" fill="hold">
                            <p:stCondLst>
                              <p:cond delay="2750"/>
                            </p:stCondLst>
                            <p:childTnLst>
                              <p:par>
                                <p:cTn id="45" presetID="42" presetClass="entr" presetSubtype="0" fill="hold" nodeType="after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250"/>
                                        <p:tgtEl>
                                          <p:spTgt spid="22"/>
                                        </p:tgtEl>
                                      </p:cBhvr>
                                    </p:animEffect>
                                    <p:anim calcmode="lin" valueType="num">
                                      <p:cBhvr>
                                        <p:cTn id="48" dur="250" fill="hold"/>
                                        <p:tgtEl>
                                          <p:spTgt spid="22"/>
                                        </p:tgtEl>
                                        <p:attrNameLst>
                                          <p:attrName>ppt_x</p:attrName>
                                        </p:attrNameLst>
                                      </p:cBhvr>
                                      <p:tavLst>
                                        <p:tav tm="0">
                                          <p:val>
                                            <p:strVal val="#ppt_x"/>
                                          </p:val>
                                        </p:tav>
                                        <p:tav tm="100000">
                                          <p:val>
                                            <p:strVal val="#ppt_x"/>
                                          </p:val>
                                        </p:tav>
                                      </p:tavLst>
                                    </p:anim>
                                    <p:anim calcmode="lin" valueType="num">
                                      <p:cBhvr>
                                        <p:cTn id="49" dur="250" fill="hold"/>
                                        <p:tgtEl>
                                          <p:spTgt spid="22"/>
                                        </p:tgtEl>
                                        <p:attrNameLst>
                                          <p:attrName>ppt_y</p:attrName>
                                        </p:attrNameLst>
                                      </p:cBhvr>
                                      <p:tavLst>
                                        <p:tav tm="0">
                                          <p:val>
                                            <p:strVal val="#ppt_y+.1"/>
                                          </p:val>
                                        </p:tav>
                                        <p:tav tm="100000">
                                          <p:val>
                                            <p:strVal val="#ppt_y"/>
                                          </p:val>
                                        </p:tav>
                                      </p:tavLst>
                                    </p:anim>
                                  </p:childTnLst>
                                </p:cTn>
                              </p:par>
                            </p:childTnLst>
                          </p:cTn>
                        </p:par>
                        <p:par>
                          <p:cTn id="50" fill="hold">
                            <p:stCondLst>
                              <p:cond delay="3000"/>
                            </p:stCondLst>
                            <p:childTnLst>
                              <p:par>
                                <p:cTn id="51" presetID="53" presetClass="entr" presetSubtype="16" fill="hold" nodeType="afterEffect">
                                  <p:stCondLst>
                                    <p:cond delay="0"/>
                                  </p:stCondLst>
                                  <p:childTnLst>
                                    <p:set>
                                      <p:cBhvr>
                                        <p:cTn id="52" dur="1" fill="hold">
                                          <p:stCondLst>
                                            <p:cond delay="0"/>
                                          </p:stCondLst>
                                        </p:cTn>
                                        <p:tgtEl>
                                          <p:spTgt spid="15"/>
                                        </p:tgtEl>
                                        <p:attrNameLst>
                                          <p:attrName>style.visibility</p:attrName>
                                        </p:attrNameLst>
                                      </p:cBhvr>
                                      <p:to>
                                        <p:strVal val="visible"/>
                                      </p:to>
                                    </p:set>
                                    <p:anim calcmode="lin" valueType="num">
                                      <p:cBhvr>
                                        <p:cTn id="53" dur="250" fill="hold"/>
                                        <p:tgtEl>
                                          <p:spTgt spid="15"/>
                                        </p:tgtEl>
                                        <p:attrNameLst>
                                          <p:attrName>ppt_w</p:attrName>
                                        </p:attrNameLst>
                                      </p:cBhvr>
                                      <p:tavLst>
                                        <p:tav tm="0">
                                          <p:val>
                                            <p:fltVal val="0"/>
                                          </p:val>
                                        </p:tav>
                                        <p:tav tm="100000">
                                          <p:val>
                                            <p:strVal val="#ppt_w"/>
                                          </p:val>
                                        </p:tav>
                                      </p:tavLst>
                                    </p:anim>
                                    <p:anim calcmode="lin" valueType="num">
                                      <p:cBhvr>
                                        <p:cTn id="54" dur="250" fill="hold"/>
                                        <p:tgtEl>
                                          <p:spTgt spid="15"/>
                                        </p:tgtEl>
                                        <p:attrNameLst>
                                          <p:attrName>ppt_h</p:attrName>
                                        </p:attrNameLst>
                                      </p:cBhvr>
                                      <p:tavLst>
                                        <p:tav tm="0">
                                          <p:val>
                                            <p:fltVal val="0"/>
                                          </p:val>
                                        </p:tav>
                                        <p:tav tm="100000">
                                          <p:val>
                                            <p:strVal val="#ppt_h"/>
                                          </p:val>
                                        </p:tav>
                                      </p:tavLst>
                                    </p:anim>
                                    <p:animEffect transition="in" filter="fade">
                                      <p:cBhvr>
                                        <p:cTn id="55" dur="250"/>
                                        <p:tgtEl>
                                          <p:spTgt spid="15"/>
                                        </p:tgtEl>
                                      </p:cBhvr>
                                    </p:animEffect>
                                  </p:childTnLst>
                                </p:cTn>
                              </p:par>
                              <p:par>
                                <p:cTn id="56" presetID="53" presetClass="entr" presetSubtype="16" fill="hold" grpId="0" nodeType="withEffect">
                                  <p:stCondLst>
                                    <p:cond delay="0"/>
                                  </p:stCondLst>
                                  <p:childTnLst>
                                    <p:set>
                                      <p:cBhvr>
                                        <p:cTn id="57" dur="1" fill="hold">
                                          <p:stCondLst>
                                            <p:cond delay="0"/>
                                          </p:stCondLst>
                                        </p:cTn>
                                        <p:tgtEl>
                                          <p:spTgt spid="14"/>
                                        </p:tgtEl>
                                        <p:attrNameLst>
                                          <p:attrName>style.visibility</p:attrName>
                                        </p:attrNameLst>
                                      </p:cBhvr>
                                      <p:to>
                                        <p:strVal val="visible"/>
                                      </p:to>
                                    </p:set>
                                    <p:anim calcmode="lin" valueType="num">
                                      <p:cBhvr>
                                        <p:cTn id="58" dur="250" fill="hold"/>
                                        <p:tgtEl>
                                          <p:spTgt spid="14"/>
                                        </p:tgtEl>
                                        <p:attrNameLst>
                                          <p:attrName>ppt_w</p:attrName>
                                        </p:attrNameLst>
                                      </p:cBhvr>
                                      <p:tavLst>
                                        <p:tav tm="0">
                                          <p:val>
                                            <p:fltVal val="0"/>
                                          </p:val>
                                        </p:tav>
                                        <p:tav tm="100000">
                                          <p:val>
                                            <p:strVal val="#ppt_w"/>
                                          </p:val>
                                        </p:tav>
                                      </p:tavLst>
                                    </p:anim>
                                    <p:anim calcmode="lin" valueType="num">
                                      <p:cBhvr>
                                        <p:cTn id="59" dur="250" fill="hold"/>
                                        <p:tgtEl>
                                          <p:spTgt spid="14"/>
                                        </p:tgtEl>
                                        <p:attrNameLst>
                                          <p:attrName>ppt_h</p:attrName>
                                        </p:attrNameLst>
                                      </p:cBhvr>
                                      <p:tavLst>
                                        <p:tav tm="0">
                                          <p:val>
                                            <p:fltVal val="0"/>
                                          </p:val>
                                        </p:tav>
                                        <p:tav tm="100000">
                                          <p:val>
                                            <p:strVal val="#ppt_h"/>
                                          </p:val>
                                        </p:tav>
                                      </p:tavLst>
                                    </p:anim>
                                    <p:animEffect transition="in" filter="fade">
                                      <p:cBhvr>
                                        <p:cTn id="60" dur="250"/>
                                        <p:tgtEl>
                                          <p:spTgt spid="14"/>
                                        </p:tgtEl>
                                      </p:cBhvr>
                                    </p:animEffect>
                                  </p:childTnLst>
                                </p:cTn>
                              </p:par>
                              <p:par>
                                <p:cTn id="61" presetID="26" presetClass="emph" presetSubtype="0" fill="hold" grpId="1" nodeType="withEffect">
                                  <p:stCondLst>
                                    <p:cond delay="250"/>
                                  </p:stCondLst>
                                  <p:childTnLst>
                                    <p:animEffect transition="out" filter="fade">
                                      <p:cBhvr>
                                        <p:cTn id="62" dur="500" tmFilter="0, 0; .2, .5; .8, .5; 1, 0"/>
                                        <p:tgtEl>
                                          <p:spTgt spid="14"/>
                                        </p:tgtEl>
                                      </p:cBhvr>
                                    </p:animEffect>
                                    <p:animScale>
                                      <p:cBhvr>
                                        <p:cTn id="63" dur="250" autoRev="1" fill="hold"/>
                                        <p:tgtEl>
                                          <p:spTgt spid="14"/>
                                        </p:tgtEl>
                                      </p:cBhvr>
                                      <p:by x="105000" y="105000"/>
                                    </p:animScale>
                                  </p:childTnLst>
                                </p:cTn>
                              </p:par>
                              <p:par>
                                <p:cTn id="64" presetID="10" presetClass="entr" presetSubtype="0" fill="hold" grpId="0" nodeType="withEffect">
                                  <p:stCondLst>
                                    <p:cond delay="750"/>
                                  </p:stCondLst>
                                  <p:childTnLst>
                                    <p:set>
                                      <p:cBhvr>
                                        <p:cTn id="65" dur="1" fill="hold">
                                          <p:stCondLst>
                                            <p:cond delay="0"/>
                                          </p:stCondLst>
                                        </p:cTn>
                                        <p:tgtEl>
                                          <p:spTgt spid="18"/>
                                        </p:tgtEl>
                                        <p:attrNameLst>
                                          <p:attrName>style.visibility</p:attrName>
                                        </p:attrNameLst>
                                      </p:cBhvr>
                                      <p:to>
                                        <p:strVal val="visible"/>
                                      </p:to>
                                    </p:set>
                                    <p:animEffect transition="in" filter="fade">
                                      <p:cBhvr>
                                        <p:cTn id="66" dur="500"/>
                                        <p:tgtEl>
                                          <p:spTgt spid="18"/>
                                        </p:tgtEl>
                                      </p:cBhvr>
                                    </p:animEffect>
                                  </p:childTnLst>
                                </p:cTn>
                              </p:par>
                            </p:childTnLst>
                          </p:cTn>
                        </p:par>
                        <p:par>
                          <p:cTn id="67" fill="hold">
                            <p:stCondLst>
                              <p:cond delay="4250"/>
                            </p:stCondLst>
                            <p:childTnLst>
                              <p:par>
                                <p:cTn id="68" presetID="42" presetClass="entr" presetSubtype="0" fill="hold" nodeType="afterEffect">
                                  <p:stCondLst>
                                    <p:cond delay="0"/>
                                  </p:stCondLst>
                                  <p:childTnLst>
                                    <p:set>
                                      <p:cBhvr>
                                        <p:cTn id="69" dur="1" fill="hold">
                                          <p:stCondLst>
                                            <p:cond delay="0"/>
                                          </p:stCondLst>
                                        </p:cTn>
                                        <p:tgtEl>
                                          <p:spTgt spid="25"/>
                                        </p:tgtEl>
                                        <p:attrNameLst>
                                          <p:attrName>style.visibility</p:attrName>
                                        </p:attrNameLst>
                                      </p:cBhvr>
                                      <p:to>
                                        <p:strVal val="visible"/>
                                      </p:to>
                                    </p:set>
                                    <p:animEffect transition="in" filter="fade">
                                      <p:cBhvr>
                                        <p:cTn id="70" dur="250"/>
                                        <p:tgtEl>
                                          <p:spTgt spid="25"/>
                                        </p:tgtEl>
                                      </p:cBhvr>
                                    </p:animEffect>
                                    <p:anim calcmode="lin" valueType="num">
                                      <p:cBhvr>
                                        <p:cTn id="71" dur="250" fill="hold"/>
                                        <p:tgtEl>
                                          <p:spTgt spid="25"/>
                                        </p:tgtEl>
                                        <p:attrNameLst>
                                          <p:attrName>ppt_x</p:attrName>
                                        </p:attrNameLst>
                                      </p:cBhvr>
                                      <p:tavLst>
                                        <p:tav tm="0">
                                          <p:val>
                                            <p:strVal val="#ppt_x"/>
                                          </p:val>
                                        </p:tav>
                                        <p:tav tm="100000">
                                          <p:val>
                                            <p:strVal val="#ppt_x"/>
                                          </p:val>
                                        </p:tav>
                                      </p:tavLst>
                                    </p:anim>
                                    <p:anim calcmode="lin" valueType="num">
                                      <p:cBhvr>
                                        <p:cTn id="72" dur="25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8" grpId="0"/>
      <p:bldP spid="9" grpId="0" animBg="1"/>
      <p:bldP spid="9" grpId="1" animBg="1"/>
      <p:bldP spid="13" grpId="0"/>
      <p:bldP spid="14" grpId="0" animBg="1"/>
      <p:bldP spid="14" grpId="1" animBg="1"/>
      <p:bldP spid="1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E882E7-9241-4527-9D07-4FCC9DB4D2B6}"/>
              </a:ext>
            </a:extLst>
          </p:cNvPr>
          <p:cNvSpPr>
            <a:spLocks noGrp="1"/>
          </p:cNvSpPr>
          <p:nvPr>
            <p:ph idx="1"/>
          </p:nvPr>
        </p:nvSpPr>
        <p:spPr>
          <a:xfrm>
            <a:off x="461823" y="1714500"/>
            <a:ext cx="6254287" cy="4667250"/>
          </a:xfrm>
        </p:spPr>
        <p:txBody>
          <a:bodyPr/>
          <a:lstStyle/>
          <a:p>
            <a:r>
              <a:rPr lang="en-GB" sz="1800" dirty="0">
                <a:latin typeface="Calibri Light" panose="020F0502020204030204" pitchFamily="34" charset="0"/>
                <a:cs typeface="Calibri Light" panose="020F0502020204030204" pitchFamily="34" charset="0"/>
              </a:rPr>
              <a:t>The Advanced Graphics Timesaver takes the same, very successful concept of the timesaver and dials up the intricacy, beauty and elegance.  With close to 350 new slides, this document serves as a graphics library that can be adapted for whatever your needs are.  Sourced from CoRe creative and refreshed by a team of talented designers, it is built to inspire, help save time and effort, and yet deliver the best.</a:t>
            </a:r>
          </a:p>
          <a:p>
            <a:endParaRPr lang="en-GB" sz="1800" dirty="0">
              <a:latin typeface="Calibri Light" panose="020F0502020204030204" pitchFamily="34" charset="0"/>
              <a:cs typeface="Calibri Light" panose="020F0502020204030204" pitchFamily="34" charset="0"/>
            </a:endParaRPr>
          </a:p>
          <a:p>
            <a:r>
              <a:rPr lang="en-GB" sz="1800" dirty="0">
                <a:latin typeface="Calibri Light" panose="020F0502020204030204" pitchFamily="34" charset="0"/>
                <a:cs typeface="Calibri Light" panose="020F0502020204030204" pitchFamily="34" charset="0"/>
              </a:rPr>
              <a:t>Please adapt the graphics elements from this library to suit the project needs and theme. </a:t>
            </a:r>
          </a:p>
          <a:p>
            <a:endParaRPr lang="en-GB" sz="1800" dirty="0">
              <a:latin typeface="Calibri Light" panose="020F0502020204030204" pitchFamily="34" charset="0"/>
              <a:cs typeface="Calibri Light" panose="020F0502020204030204" pitchFamily="34" charset="0"/>
            </a:endParaRPr>
          </a:p>
          <a:p>
            <a:r>
              <a:rPr lang="en-GB" sz="1800" dirty="0">
                <a:latin typeface="Calibri Light" panose="020F0502020204030204" pitchFamily="34" charset="0"/>
                <a:cs typeface="Calibri Light" panose="020F0502020204030204" pitchFamily="34" charset="0"/>
              </a:rPr>
              <a:t>Questions or want to submit a slide?  Contact </a:t>
            </a:r>
            <a:r>
              <a:rPr lang="en-GB" sz="1800" dirty="0">
                <a:latin typeface="Calibri Light" panose="020F0502020204030204" pitchFamily="34" charset="0"/>
                <a:cs typeface="Calibri Light" panose="020F0502020204030204" pitchFamily="34" charset="0"/>
                <a:hlinkClick r:id="rId3"/>
              </a:rPr>
              <a:t>Global Brand</a:t>
            </a:r>
            <a:r>
              <a:rPr lang="en-GB" sz="1800" dirty="0">
                <a:latin typeface="Calibri Light" panose="020F0502020204030204" pitchFamily="34" charset="0"/>
                <a:cs typeface="Calibri Light" panose="020F0502020204030204" pitchFamily="34" charset="0"/>
              </a:rPr>
              <a:t>.</a:t>
            </a:r>
          </a:p>
          <a:p>
            <a:r>
              <a:rPr lang="en-GB" sz="1800" dirty="0">
                <a:latin typeface="Calibri Light" panose="020F0502020204030204" pitchFamily="34" charset="0"/>
                <a:cs typeface="Calibri Light" panose="020F0502020204030204" pitchFamily="34" charset="0"/>
              </a:rPr>
              <a:t> </a:t>
            </a:r>
            <a:endParaRPr lang="en-US" sz="1800" dirty="0">
              <a:latin typeface="Calibri Light" panose="020F0502020204030204" pitchFamily="34" charset="0"/>
              <a:cs typeface="Calibri Light" panose="020F0502020204030204" pitchFamily="34" charset="0"/>
            </a:endParaRPr>
          </a:p>
          <a:p>
            <a:endParaRPr lang="en-US" sz="1800" dirty="0"/>
          </a:p>
        </p:txBody>
      </p:sp>
      <p:sp>
        <p:nvSpPr>
          <p:cNvPr id="4" name="Title 3">
            <a:extLst>
              <a:ext uri="{FF2B5EF4-FFF2-40B4-BE49-F238E27FC236}">
                <a16:creationId xmlns:a16="http://schemas.microsoft.com/office/drawing/2014/main" id="{6D8FF1B8-61E6-4C1B-86FC-D55D46A8C50E}"/>
              </a:ext>
            </a:extLst>
          </p:cNvPr>
          <p:cNvSpPr>
            <a:spLocks noGrp="1"/>
          </p:cNvSpPr>
          <p:nvPr>
            <p:ph type="title"/>
          </p:nvPr>
        </p:nvSpPr>
        <p:spPr/>
        <p:txBody>
          <a:bodyPr/>
          <a:lstStyle/>
          <a:p>
            <a:r>
              <a:rPr lang="en-US" dirty="0"/>
              <a:t>About</a:t>
            </a:r>
          </a:p>
        </p:txBody>
      </p:sp>
      <p:grpSp>
        <p:nvGrpSpPr>
          <p:cNvPr id="7" name="Group 6">
            <a:extLst>
              <a:ext uri="{FF2B5EF4-FFF2-40B4-BE49-F238E27FC236}">
                <a16:creationId xmlns:a16="http://schemas.microsoft.com/office/drawing/2014/main" id="{137E49AD-619B-4026-955D-62D2274D883C}"/>
              </a:ext>
            </a:extLst>
          </p:cNvPr>
          <p:cNvGrpSpPr/>
          <p:nvPr/>
        </p:nvGrpSpPr>
        <p:grpSpPr>
          <a:xfrm>
            <a:off x="7024720" y="1714500"/>
            <a:ext cx="4948879" cy="3566160"/>
            <a:chOff x="6790544" y="1249806"/>
            <a:chExt cx="4948879" cy="3566160"/>
          </a:xfrm>
        </p:grpSpPr>
        <p:sp>
          <p:nvSpPr>
            <p:cNvPr id="5" name="Rectangle 4">
              <a:extLst>
                <a:ext uri="{FF2B5EF4-FFF2-40B4-BE49-F238E27FC236}">
                  <a16:creationId xmlns:a16="http://schemas.microsoft.com/office/drawing/2014/main" id="{47C83BA4-51DD-4FD3-8A93-FC9375583A7A}"/>
                </a:ext>
              </a:extLst>
            </p:cNvPr>
            <p:cNvSpPr/>
            <p:nvPr/>
          </p:nvSpPr>
          <p:spPr bwMode="gray">
            <a:xfrm>
              <a:off x="6790544" y="1249806"/>
              <a:ext cx="4948879" cy="3566160"/>
            </a:xfrm>
            <a:prstGeom prst="rect">
              <a:avLst/>
            </a:prstGeom>
            <a:solidFill>
              <a:schemeClr val="tx1"/>
            </a:solidFill>
            <a:ln w="19050" algn="ctr">
              <a:noFill/>
              <a:miter lim="800000"/>
              <a:headEnd/>
              <a:tailEnd/>
            </a:ln>
          </p:spPr>
          <p:txBody>
            <a:bodyPr wrap="square" lIns="88900" tIns="88900" rIns="648000" bIns="88900" rtlCol="0" anchor="t"/>
            <a:lstStyle/>
            <a:p>
              <a:pPr marL="461963" indent="-328613">
                <a:lnSpc>
                  <a:spcPct val="106000"/>
                </a:lnSpc>
                <a:buFont typeface="Wingdings 2" pitchFamily="18" charset="2"/>
                <a:buNone/>
              </a:pPr>
              <a:r>
                <a:rPr lang="en-US" sz="1600" b="1" dirty="0">
                  <a:solidFill>
                    <a:schemeClr val="bg1"/>
                  </a:solidFill>
                </a:rPr>
                <a:t>Tips:</a:t>
              </a:r>
            </a:p>
            <a:p>
              <a:pPr marL="461963" indent="-328613">
                <a:lnSpc>
                  <a:spcPct val="106000"/>
                </a:lnSpc>
                <a:buFont typeface="Wingdings 2" pitchFamily="18" charset="2"/>
                <a:buNone/>
              </a:pPr>
              <a:endParaRPr lang="en-US" sz="1600" b="1" dirty="0">
                <a:solidFill>
                  <a:schemeClr val="bg1"/>
                </a:solidFill>
              </a:endParaRPr>
            </a:p>
            <a:p>
              <a:pPr marL="461963" indent="-328613">
                <a:lnSpc>
                  <a:spcPct val="106000"/>
                </a:lnSpc>
                <a:buFont typeface="Wingdings 2" pitchFamily="18" charset="2"/>
                <a:buAutoNum type="arabicPeriod"/>
              </a:pPr>
              <a:r>
                <a:rPr lang="en-US" sz="1600" dirty="0">
                  <a:solidFill>
                    <a:schemeClr val="bg1"/>
                  </a:solidFill>
                </a:rPr>
                <a:t>Replace the icons according to the real projects</a:t>
              </a:r>
            </a:p>
            <a:p>
              <a:pPr marL="461963" indent="-328613">
                <a:lnSpc>
                  <a:spcPct val="106000"/>
                </a:lnSpc>
                <a:buFont typeface="Wingdings 2" pitchFamily="18" charset="2"/>
                <a:buAutoNum type="arabicPeriod"/>
              </a:pPr>
              <a:r>
                <a:rPr lang="en-US" sz="1600" dirty="0">
                  <a:solidFill>
                    <a:schemeClr val="bg1"/>
                  </a:solidFill>
                </a:rPr>
                <a:t>Adjust the colors if needed, and ensure </a:t>
              </a:r>
              <a:r>
                <a:rPr lang="en-US" sz="1600" dirty="0">
                  <a:solidFill>
                    <a:schemeClr val="bg1"/>
                  </a:solidFill>
                  <a:hlinkClick r:id="rId4"/>
                </a:rPr>
                <a:t>WCAG AA standards </a:t>
              </a:r>
              <a:r>
                <a:rPr lang="en-US" sz="1600" dirty="0">
                  <a:solidFill>
                    <a:schemeClr val="bg1"/>
                  </a:solidFill>
                </a:rPr>
                <a:t>are followed</a:t>
              </a:r>
            </a:p>
            <a:p>
              <a:pPr marL="461963" indent="-328613">
                <a:lnSpc>
                  <a:spcPct val="106000"/>
                </a:lnSpc>
                <a:buFont typeface="Wingdings 2" pitchFamily="18" charset="2"/>
                <a:buAutoNum type="arabicPeriod"/>
              </a:pPr>
              <a:r>
                <a:rPr lang="en-US" sz="1600" dirty="0">
                  <a:solidFill>
                    <a:schemeClr val="bg1"/>
                  </a:solidFill>
                </a:rPr>
                <a:t>Ctrl + F to search tags to easier find what you need </a:t>
              </a:r>
            </a:p>
            <a:p>
              <a:pPr marL="461963" indent="-328613">
                <a:lnSpc>
                  <a:spcPct val="106000"/>
                </a:lnSpc>
                <a:buFont typeface="Wingdings 2" pitchFamily="18" charset="2"/>
                <a:buAutoNum type="arabicPeriod"/>
              </a:pPr>
              <a:r>
                <a:rPr lang="en-US" sz="1600" dirty="0">
                  <a:solidFill>
                    <a:schemeClr val="bg1"/>
                  </a:solidFill>
                </a:rPr>
                <a:t>Can use either the complete graphics or choose individually</a:t>
              </a:r>
            </a:p>
            <a:p>
              <a:pPr marL="133350">
                <a:lnSpc>
                  <a:spcPct val="106000"/>
                </a:lnSpc>
              </a:pPr>
              <a:endParaRPr lang="en-US" sz="1600" dirty="0">
                <a:solidFill>
                  <a:schemeClr val="bg1"/>
                </a:solidFill>
              </a:endParaRPr>
            </a:p>
          </p:txBody>
        </p:sp>
        <p:sp>
          <p:nvSpPr>
            <p:cNvPr id="6" name="Freeform 518">
              <a:extLst>
                <a:ext uri="{FF2B5EF4-FFF2-40B4-BE49-F238E27FC236}">
                  <a16:creationId xmlns:a16="http://schemas.microsoft.com/office/drawing/2014/main" id="{EE7941AE-330B-4CE9-9BE4-A1AF189B66FA}"/>
                </a:ext>
              </a:extLst>
            </p:cNvPr>
            <p:cNvSpPr>
              <a:spLocks noChangeAspect="1" noEditPoints="1"/>
            </p:cNvSpPr>
            <p:nvPr/>
          </p:nvSpPr>
          <p:spPr bwMode="auto">
            <a:xfrm>
              <a:off x="10894576" y="1407673"/>
              <a:ext cx="690948" cy="690951"/>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grpSp>
    </p:spTree>
    <p:custDataLst>
      <p:tags r:id="rId1"/>
    </p:custDataLst>
    <p:extLst>
      <p:ext uri="{BB962C8B-B14F-4D97-AF65-F5344CB8AC3E}">
        <p14:creationId xmlns:p14="http://schemas.microsoft.com/office/powerpoint/2010/main" val="301893782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4"/>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Futura Bk" pitchFamily="34" charset="0"/>
              <a:ea typeface="华文细黑"/>
              <a:cs typeface="+mn-cs"/>
            </a:endParaRPr>
          </a:p>
        </p:txBody>
      </p:sp>
      <p:sp>
        <p:nvSpPr>
          <p:cNvPr id="88" name="Rectangle 5"/>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Futura Bk" pitchFamily="34" charset="0"/>
              <a:ea typeface="华文细黑"/>
              <a:cs typeface="+mn-cs"/>
            </a:endParaRPr>
          </a:p>
        </p:txBody>
      </p:sp>
      <p:grpSp>
        <p:nvGrpSpPr>
          <p:cNvPr id="250" name="组合 249"/>
          <p:cNvGrpSpPr/>
          <p:nvPr/>
        </p:nvGrpSpPr>
        <p:grpSpPr>
          <a:xfrm>
            <a:off x="8886896" y="2251259"/>
            <a:ext cx="2828329" cy="3062021"/>
            <a:chOff x="7819282" y="2471969"/>
            <a:chExt cx="2828329" cy="3062021"/>
          </a:xfrm>
        </p:grpSpPr>
        <p:grpSp>
          <p:nvGrpSpPr>
            <p:cNvPr id="248" name="组合 247"/>
            <p:cNvGrpSpPr/>
            <p:nvPr/>
          </p:nvGrpSpPr>
          <p:grpSpPr>
            <a:xfrm>
              <a:off x="9614170" y="5069298"/>
              <a:ext cx="464693" cy="464692"/>
              <a:chOff x="9593188" y="5015899"/>
              <a:chExt cx="464693" cy="464692"/>
            </a:xfrm>
          </p:grpSpPr>
          <p:sp>
            <p:nvSpPr>
              <p:cNvPr id="221" name="Freeform 3"/>
              <p:cNvSpPr/>
              <p:nvPr/>
            </p:nvSpPr>
            <p:spPr bwMode="auto">
              <a:xfrm>
                <a:off x="9593188" y="5015899"/>
                <a:ext cx="464693" cy="464692"/>
              </a:xfrm>
              <a:custGeom>
                <a:avLst/>
                <a:gdLst>
                  <a:gd name="connsiteX0" fmla="*/ 317501 w 649288"/>
                  <a:gd name="connsiteY0" fmla="*/ 0 h 649287"/>
                  <a:gd name="connsiteX1" fmla="*/ 393701 w 649288"/>
                  <a:gd name="connsiteY1" fmla="*/ 7937 h 649287"/>
                  <a:gd name="connsiteX2" fmla="*/ 412730 w 649288"/>
                  <a:gd name="connsiteY2" fmla="*/ 94070 h 649287"/>
                  <a:gd name="connsiteX3" fmla="*/ 432413 w 649288"/>
                  <a:gd name="connsiteY3" fmla="*/ 101205 h 649287"/>
                  <a:gd name="connsiteX4" fmla="*/ 464868 w 649288"/>
                  <a:gd name="connsiteY4" fmla="*/ 120995 h 649287"/>
                  <a:gd name="connsiteX5" fmla="*/ 546101 w 649288"/>
                  <a:gd name="connsiteY5" fmla="*/ 87313 h 649287"/>
                  <a:gd name="connsiteX6" fmla="*/ 595313 w 649288"/>
                  <a:gd name="connsiteY6" fmla="*/ 147638 h 649287"/>
                  <a:gd name="connsiteX7" fmla="*/ 548746 w 649288"/>
                  <a:gd name="connsiteY7" fmla="*/ 220957 h 649287"/>
                  <a:gd name="connsiteX8" fmla="*/ 557723 w 649288"/>
                  <a:gd name="connsiteY8" fmla="*/ 239746 h 649287"/>
                  <a:gd name="connsiteX9" fmla="*/ 565985 w 649288"/>
                  <a:gd name="connsiteY9" fmla="*/ 279785 h 649287"/>
                  <a:gd name="connsiteX10" fmla="*/ 649288 w 649288"/>
                  <a:gd name="connsiteY10" fmla="*/ 314325 h 649287"/>
                  <a:gd name="connsiteX11" fmla="*/ 642938 w 649288"/>
                  <a:gd name="connsiteY11" fmla="*/ 390525 h 649287"/>
                  <a:gd name="connsiteX12" fmla="*/ 554781 w 649288"/>
                  <a:gd name="connsiteY12" fmla="*/ 409778 h 649287"/>
                  <a:gd name="connsiteX13" fmla="*/ 542320 w 649288"/>
                  <a:gd name="connsiteY13" fmla="*/ 441665 h 649287"/>
                  <a:gd name="connsiteX14" fmla="*/ 525918 w 649288"/>
                  <a:gd name="connsiteY14" fmla="*/ 464554 h 649287"/>
                  <a:gd name="connsiteX15" fmla="*/ 560388 w 649288"/>
                  <a:gd name="connsiteY15" fmla="*/ 547688 h 649287"/>
                  <a:gd name="connsiteX16" fmla="*/ 500063 w 649288"/>
                  <a:gd name="connsiteY16" fmla="*/ 596900 h 649287"/>
                  <a:gd name="connsiteX17" fmla="*/ 424832 w 649288"/>
                  <a:gd name="connsiteY17" fmla="*/ 548101 h 649287"/>
                  <a:gd name="connsiteX18" fmla="*/ 408777 w 649288"/>
                  <a:gd name="connsiteY18" fmla="*/ 556207 h 649287"/>
                  <a:gd name="connsiteX19" fmla="*/ 367585 w 649288"/>
                  <a:gd name="connsiteY19" fmla="*/ 566783 h 649287"/>
                  <a:gd name="connsiteX20" fmla="*/ 333376 w 649288"/>
                  <a:gd name="connsiteY20" fmla="*/ 649287 h 649287"/>
                  <a:gd name="connsiteX21" fmla="*/ 255588 w 649288"/>
                  <a:gd name="connsiteY21" fmla="*/ 641350 h 649287"/>
                  <a:gd name="connsiteX22" fmla="*/ 237123 w 649288"/>
                  <a:gd name="connsiteY22" fmla="*/ 553129 h 649287"/>
                  <a:gd name="connsiteX23" fmla="*/ 205664 w 649288"/>
                  <a:gd name="connsiteY23" fmla="*/ 540895 h 649287"/>
                  <a:gd name="connsiteX24" fmla="*/ 184716 w 649288"/>
                  <a:gd name="connsiteY24" fmla="*/ 525926 h 649287"/>
                  <a:gd name="connsiteX25" fmla="*/ 101601 w 649288"/>
                  <a:gd name="connsiteY25" fmla="*/ 560388 h 649287"/>
                  <a:gd name="connsiteX26" fmla="*/ 52388 w 649288"/>
                  <a:gd name="connsiteY26" fmla="*/ 500063 h 649287"/>
                  <a:gd name="connsiteX27" fmla="*/ 100490 w 649288"/>
                  <a:gd name="connsiteY27" fmla="*/ 425907 h 649287"/>
                  <a:gd name="connsiteX28" fmla="*/ 91334 w 649288"/>
                  <a:gd name="connsiteY28" fmla="*/ 407740 h 649287"/>
                  <a:gd name="connsiteX29" fmla="*/ 80918 w 649288"/>
                  <a:gd name="connsiteY29" fmla="*/ 366926 h 649287"/>
                  <a:gd name="connsiteX30" fmla="*/ 0 w 649288"/>
                  <a:gd name="connsiteY30" fmla="*/ 333375 h 649287"/>
                  <a:gd name="connsiteX31" fmla="*/ 7937 w 649288"/>
                  <a:gd name="connsiteY31" fmla="*/ 255588 h 649287"/>
                  <a:gd name="connsiteX32" fmla="*/ 94980 w 649288"/>
                  <a:gd name="connsiteY32" fmla="*/ 236357 h 649287"/>
                  <a:gd name="connsiteX33" fmla="*/ 108451 w 649288"/>
                  <a:gd name="connsiteY33" fmla="*/ 202540 h 649287"/>
                  <a:gd name="connsiteX34" fmla="*/ 123332 w 649288"/>
                  <a:gd name="connsiteY34" fmla="*/ 182620 h 649287"/>
                  <a:gd name="connsiteX35" fmla="*/ 90488 w 649288"/>
                  <a:gd name="connsiteY35" fmla="*/ 100013 h 649287"/>
                  <a:gd name="connsiteX36" fmla="*/ 149226 w 649288"/>
                  <a:gd name="connsiteY36" fmla="*/ 50800 h 649287"/>
                  <a:gd name="connsiteX37" fmla="*/ 225205 w 649288"/>
                  <a:gd name="connsiteY37" fmla="*/ 99427 h 649287"/>
                  <a:gd name="connsiteX38" fmla="*/ 251847 w 649288"/>
                  <a:gd name="connsiteY38" fmla="*/ 87446 h 649287"/>
                  <a:gd name="connsiteX39" fmla="*/ 281793 w 649288"/>
                  <a:gd name="connsiteY39" fmla="*/ 83658 h 64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9288" h="649287">
                    <a:moveTo>
                      <a:pt x="317501" y="0"/>
                    </a:moveTo>
                    <a:lnTo>
                      <a:pt x="393701" y="7937"/>
                    </a:lnTo>
                    <a:lnTo>
                      <a:pt x="412730" y="94070"/>
                    </a:lnTo>
                    <a:lnTo>
                      <a:pt x="432413" y="101205"/>
                    </a:lnTo>
                    <a:lnTo>
                      <a:pt x="464868" y="120995"/>
                    </a:lnTo>
                    <a:lnTo>
                      <a:pt x="546101" y="87313"/>
                    </a:lnTo>
                    <a:lnTo>
                      <a:pt x="595313" y="147638"/>
                    </a:lnTo>
                    <a:lnTo>
                      <a:pt x="548746" y="220957"/>
                    </a:lnTo>
                    <a:lnTo>
                      <a:pt x="557723" y="239746"/>
                    </a:lnTo>
                    <a:lnTo>
                      <a:pt x="565985" y="279785"/>
                    </a:lnTo>
                    <a:lnTo>
                      <a:pt x="649288" y="314325"/>
                    </a:lnTo>
                    <a:lnTo>
                      <a:pt x="642938" y="390525"/>
                    </a:lnTo>
                    <a:lnTo>
                      <a:pt x="554781" y="409778"/>
                    </a:lnTo>
                    <a:lnTo>
                      <a:pt x="542320" y="441665"/>
                    </a:lnTo>
                    <a:lnTo>
                      <a:pt x="525918" y="464554"/>
                    </a:lnTo>
                    <a:lnTo>
                      <a:pt x="560388" y="547688"/>
                    </a:lnTo>
                    <a:lnTo>
                      <a:pt x="500063" y="596900"/>
                    </a:lnTo>
                    <a:lnTo>
                      <a:pt x="424832" y="548101"/>
                    </a:lnTo>
                    <a:lnTo>
                      <a:pt x="408777" y="556207"/>
                    </a:lnTo>
                    <a:lnTo>
                      <a:pt x="367585" y="566783"/>
                    </a:lnTo>
                    <a:lnTo>
                      <a:pt x="333376" y="649287"/>
                    </a:lnTo>
                    <a:lnTo>
                      <a:pt x="255588" y="641350"/>
                    </a:lnTo>
                    <a:lnTo>
                      <a:pt x="237123" y="553129"/>
                    </a:lnTo>
                    <a:lnTo>
                      <a:pt x="205664" y="540895"/>
                    </a:lnTo>
                    <a:lnTo>
                      <a:pt x="184716" y="525926"/>
                    </a:lnTo>
                    <a:lnTo>
                      <a:pt x="101601" y="560388"/>
                    </a:lnTo>
                    <a:lnTo>
                      <a:pt x="52388" y="500063"/>
                    </a:lnTo>
                    <a:lnTo>
                      <a:pt x="100490" y="425907"/>
                    </a:lnTo>
                    <a:lnTo>
                      <a:pt x="91334" y="407740"/>
                    </a:lnTo>
                    <a:lnTo>
                      <a:pt x="80918" y="366926"/>
                    </a:lnTo>
                    <a:lnTo>
                      <a:pt x="0" y="333375"/>
                    </a:lnTo>
                    <a:lnTo>
                      <a:pt x="7937" y="255588"/>
                    </a:lnTo>
                    <a:lnTo>
                      <a:pt x="94980" y="236357"/>
                    </a:lnTo>
                    <a:lnTo>
                      <a:pt x="108451" y="202540"/>
                    </a:lnTo>
                    <a:lnTo>
                      <a:pt x="123332" y="182620"/>
                    </a:lnTo>
                    <a:lnTo>
                      <a:pt x="90488" y="100013"/>
                    </a:lnTo>
                    <a:lnTo>
                      <a:pt x="149226" y="50800"/>
                    </a:lnTo>
                    <a:lnTo>
                      <a:pt x="225205" y="99427"/>
                    </a:lnTo>
                    <a:lnTo>
                      <a:pt x="251847" y="87446"/>
                    </a:lnTo>
                    <a:lnTo>
                      <a:pt x="281793" y="83658"/>
                    </a:lnTo>
                    <a:close/>
                  </a:path>
                </a:pathLst>
              </a:custGeom>
              <a:solidFill>
                <a:srgbClr val="009A44"/>
              </a:solidFill>
              <a:ln>
                <a:noFill/>
              </a:ln>
            </p:spPr>
            <p:txBody>
              <a:bodyPr vert="horz" wrap="square" lIns="91440" tIns="45720" rIns="91440" bIns="45720" numCol="1" anchor="t" anchorCtr="0" compatLnSpc="1">
                <a:noAutofit/>
              </a:bodyPr>
              <a:lstStyle/>
              <a:p>
                <a:endParaRPr lang="en-US"/>
              </a:p>
            </p:txBody>
          </p:sp>
          <p:sp>
            <p:nvSpPr>
              <p:cNvPr id="230" name="Freeform 76"/>
              <p:cNvSpPr>
                <a:spLocks noEditPoints="1"/>
              </p:cNvSpPr>
              <p:nvPr/>
            </p:nvSpPr>
            <p:spPr bwMode="auto">
              <a:xfrm>
                <a:off x="9729529" y="5160192"/>
                <a:ext cx="186332" cy="173833"/>
              </a:xfrm>
              <a:custGeom>
                <a:avLst/>
                <a:gdLst>
                  <a:gd name="T0" fmla="*/ 153 w 296"/>
                  <a:gd name="T1" fmla="*/ 276 h 276"/>
                  <a:gd name="T2" fmla="*/ 153 w 296"/>
                  <a:gd name="T3" fmla="*/ 276 h 276"/>
                  <a:gd name="T4" fmla="*/ 119 w 296"/>
                  <a:gd name="T5" fmla="*/ 273 h 276"/>
                  <a:gd name="T6" fmla="*/ 18 w 296"/>
                  <a:gd name="T7" fmla="*/ 105 h 276"/>
                  <a:gd name="T8" fmla="*/ 153 w 296"/>
                  <a:gd name="T9" fmla="*/ 0 h 276"/>
                  <a:gd name="T10" fmla="*/ 187 w 296"/>
                  <a:gd name="T11" fmla="*/ 4 h 276"/>
                  <a:gd name="T12" fmla="*/ 272 w 296"/>
                  <a:gd name="T13" fmla="*/ 68 h 276"/>
                  <a:gd name="T14" fmla="*/ 287 w 296"/>
                  <a:gd name="T15" fmla="*/ 172 h 276"/>
                  <a:gd name="T16" fmla="*/ 153 w 296"/>
                  <a:gd name="T17" fmla="*/ 276 h 276"/>
                  <a:gd name="T18" fmla="*/ 153 w 296"/>
                  <a:gd name="T19" fmla="*/ 44 h 276"/>
                  <a:gd name="T20" fmla="*/ 61 w 296"/>
                  <a:gd name="T21" fmla="*/ 116 h 276"/>
                  <a:gd name="T22" fmla="*/ 130 w 296"/>
                  <a:gd name="T23" fmla="*/ 230 h 276"/>
                  <a:gd name="T24" fmla="*/ 153 w 296"/>
                  <a:gd name="T25" fmla="*/ 232 h 276"/>
                  <a:gd name="T26" fmla="*/ 153 w 296"/>
                  <a:gd name="T27" fmla="*/ 232 h 276"/>
                  <a:gd name="T28" fmla="*/ 245 w 296"/>
                  <a:gd name="T29" fmla="*/ 161 h 276"/>
                  <a:gd name="T30" fmla="*/ 234 w 296"/>
                  <a:gd name="T31" fmla="*/ 90 h 276"/>
                  <a:gd name="T32" fmla="*/ 176 w 296"/>
                  <a:gd name="T33" fmla="*/ 47 h 276"/>
                  <a:gd name="T34" fmla="*/ 153 w 296"/>
                  <a:gd name="T35" fmla="*/ 4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276">
                    <a:moveTo>
                      <a:pt x="153" y="276"/>
                    </a:moveTo>
                    <a:cubicBezTo>
                      <a:pt x="153" y="276"/>
                      <a:pt x="153" y="276"/>
                      <a:pt x="153" y="276"/>
                    </a:cubicBezTo>
                    <a:cubicBezTo>
                      <a:pt x="142" y="276"/>
                      <a:pt x="130" y="275"/>
                      <a:pt x="119" y="273"/>
                    </a:cubicBezTo>
                    <a:cubicBezTo>
                      <a:pt x="45" y="254"/>
                      <a:pt x="0" y="179"/>
                      <a:pt x="18" y="105"/>
                    </a:cubicBezTo>
                    <a:cubicBezTo>
                      <a:pt x="34" y="43"/>
                      <a:pt x="89" y="0"/>
                      <a:pt x="153" y="0"/>
                    </a:cubicBezTo>
                    <a:cubicBezTo>
                      <a:pt x="164" y="0"/>
                      <a:pt x="176" y="2"/>
                      <a:pt x="187" y="4"/>
                    </a:cubicBezTo>
                    <a:cubicBezTo>
                      <a:pt x="223" y="13"/>
                      <a:pt x="253" y="36"/>
                      <a:pt x="272" y="68"/>
                    </a:cubicBezTo>
                    <a:cubicBezTo>
                      <a:pt x="291" y="99"/>
                      <a:pt x="296" y="136"/>
                      <a:pt x="287" y="172"/>
                    </a:cubicBezTo>
                    <a:cubicBezTo>
                      <a:pt x="272" y="234"/>
                      <a:pt x="217" y="276"/>
                      <a:pt x="153" y="276"/>
                    </a:cubicBezTo>
                    <a:close/>
                    <a:moveTo>
                      <a:pt x="153" y="44"/>
                    </a:moveTo>
                    <a:cubicBezTo>
                      <a:pt x="109" y="44"/>
                      <a:pt x="72" y="74"/>
                      <a:pt x="61" y="116"/>
                    </a:cubicBezTo>
                    <a:cubicBezTo>
                      <a:pt x="49" y="166"/>
                      <a:pt x="79" y="217"/>
                      <a:pt x="130" y="230"/>
                    </a:cubicBezTo>
                    <a:cubicBezTo>
                      <a:pt x="138" y="232"/>
                      <a:pt x="145" y="232"/>
                      <a:pt x="153" y="232"/>
                    </a:cubicBezTo>
                    <a:cubicBezTo>
                      <a:pt x="153" y="232"/>
                      <a:pt x="153" y="232"/>
                      <a:pt x="153" y="232"/>
                    </a:cubicBezTo>
                    <a:cubicBezTo>
                      <a:pt x="196" y="232"/>
                      <a:pt x="234" y="203"/>
                      <a:pt x="245" y="161"/>
                    </a:cubicBezTo>
                    <a:cubicBezTo>
                      <a:pt x="251" y="137"/>
                      <a:pt x="247" y="112"/>
                      <a:pt x="234" y="90"/>
                    </a:cubicBezTo>
                    <a:cubicBezTo>
                      <a:pt x="221" y="68"/>
                      <a:pt x="200" y="53"/>
                      <a:pt x="176" y="47"/>
                    </a:cubicBezTo>
                    <a:cubicBezTo>
                      <a:pt x="168" y="45"/>
                      <a:pt x="161" y="44"/>
                      <a:pt x="153" y="44"/>
                    </a:cubicBezTo>
                    <a:close/>
                  </a:path>
                </a:pathLst>
              </a:custGeom>
              <a:solidFill>
                <a:srgbClr val="000000"/>
              </a:solidFill>
              <a:ln>
                <a:noFill/>
              </a:ln>
            </p:spPr>
            <p:txBody>
              <a:bodyPr vert="horz" wrap="square" lIns="91440" tIns="45720" rIns="91440" bIns="45720" numCol="1" anchor="t" anchorCtr="0" compatLnSpc="1"/>
              <a:lstStyle/>
              <a:p>
                <a:endParaRPr lang="en-US"/>
              </a:p>
            </p:txBody>
          </p:sp>
        </p:grpSp>
        <p:grpSp>
          <p:nvGrpSpPr>
            <p:cNvPr id="246" name="组合 245"/>
            <p:cNvGrpSpPr/>
            <p:nvPr/>
          </p:nvGrpSpPr>
          <p:grpSpPr>
            <a:xfrm>
              <a:off x="10103275" y="2906639"/>
              <a:ext cx="464693" cy="464692"/>
              <a:chOff x="10061290" y="2943528"/>
              <a:chExt cx="464693" cy="464692"/>
            </a:xfrm>
          </p:grpSpPr>
          <p:sp>
            <p:nvSpPr>
              <p:cNvPr id="224" name="Freeform 7"/>
              <p:cNvSpPr/>
              <p:nvPr/>
            </p:nvSpPr>
            <p:spPr bwMode="auto">
              <a:xfrm>
                <a:off x="10061290" y="2943528"/>
                <a:ext cx="464693" cy="464692"/>
              </a:xfrm>
              <a:custGeom>
                <a:avLst/>
                <a:gdLst>
                  <a:gd name="connsiteX0" fmla="*/ 317500 w 649288"/>
                  <a:gd name="connsiteY0" fmla="*/ 0 h 649287"/>
                  <a:gd name="connsiteX1" fmla="*/ 393700 w 649288"/>
                  <a:gd name="connsiteY1" fmla="*/ 7937 h 649287"/>
                  <a:gd name="connsiteX2" fmla="*/ 412438 w 649288"/>
                  <a:gd name="connsiteY2" fmla="*/ 93737 h 649287"/>
                  <a:gd name="connsiteX3" fmla="*/ 433195 w 649288"/>
                  <a:gd name="connsiteY3" fmla="*/ 101206 h 649287"/>
                  <a:gd name="connsiteX4" fmla="*/ 466681 w 649288"/>
                  <a:gd name="connsiteY4" fmla="*/ 121501 h 649287"/>
                  <a:gd name="connsiteX5" fmla="*/ 547689 w 649288"/>
                  <a:gd name="connsiteY5" fmla="*/ 88900 h 649287"/>
                  <a:gd name="connsiteX6" fmla="*/ 596901 w 649288"/>
                  <a:gd name="connsiteY6" fmla="*/ 147638 h 649287"/>
                  <a:gd name="connsiteX7" fmla="*/ 550055 w 649288"/>
                  <a:gd name="connsiteY7" fmla="*/ 220835 h 649287"/>
                  <a:gd name="connsiteX8" fmla="*/ 559211 w 649288"/>
                  <a:gd name="connsiteY8" fmla="*/ 239961 h 649287"/>
                  <a:gd name="connsiteX9" fmla="*/ 569814 w 649288"/>
                  <a:gd name="connsiteY9" fmla="*/ 280966 h 649287"/>
                  <a:gd name="connsiteX10" fmla="*/ 649288 w 649288"/>
                  <a:gd name="connsiteY10" fmla="*/ 314325 h 649287"/>
                  <a:gd name="connsiteX11" fmla="*/ 642938 w 649288"/>
                  <a:gd name="connsiteY11" fmla="*/ 392113 h 649287"/>
                  <a:gd name="connsiteX12" fmla="*/ 556964 w 649288"/>
                  <a:gd name="connsiteY12" fmla="*/ 410889 h 649287"/>
                  <a:gd name="connsiteX13" fmla="*/ 549457 w 649288"/>
                  <a:gd name="connsiteY13" fmla="*/ 431560 h 649287"/>
                  <a:gd name="connsiteX14" fmla="*/ 527263 w 649288"/>
                  <a:gd name="connsiteY14" fmla="*/ 467798 h 649287"/>
                  <a:gd name="connsiteX15" fmla="*/ 560388 w 649288"/>
                  <a:gd name="connsiteY15" fmla="*/ 547687 h 649287"/>
                  <a:gd name="connsiteX16" fmla="*/ 500063 w 649288"/>
                  <a:gd name="connsiteY16" fmla="*/ 598487 h 649287"/>
                  <a:gd name="connsiteX17" fmla="*/ 424873 w 649288"/>
                  <a:gd name="connsiteY17" fmla="*/ 549715 h 649287"/>
                  <a:gd name="connsiteX18" fmla="*/ 410120 w 649288"/>
                  <a:gd name="connsiteY18" fmla="*/ 556698 h 649287"/>
                  <a:gd name="connsiteX19" fmla="*/ 368313 w 649288"/>
                  <a:gd name="connsiteY19" fmla="*/ 567433 h 649287"/>
                  <a:gd name="connsiteX20" fmla="*/ 333375 w 649288"/>
                  <a:gd name="connsiteY20" fmla="*/ 649287 h 649287"/>
                  <a:gd name="connsiteX21" fmla="*/ 255588 w 649288"/>
                  <a:gd name="connsiteY21" fmla="*/ 642937 h 649287"/>
                  <a:gd name="connsiteX22" fmla="*/ 237274 w 649288"/>
                  <a:gd name="connsiteY22" fmla="*/ 554423 h 649287"/>
                  <a:gd name="connsiteX23" fmla="*/ 217680 w 649288"/>
                  <a:gd name="connsiteY23" fmla="*/ 547372 h 649287"/>
                  <a:gd name="connsiteX24" fmla="*/ 184265 w 649288"/>
                  <a:gd name="connsiteY24" fmla="*/ 527120 h 649287"/>
                  <a:gd name="connsiteX25" fmla="*/ 101600 w 649288"/>
                  <a:gd name="connsiteY25" fmla="*/ 560387 h 649287"/>
                  <a:gd name="connsiteX26" fmla="*/ 52388 w 649288"/>
                  <a:gd name="connsiteY26" fmla="*/ 501650 h 649287"/>
                  <a:gd name="connsiteX27" fmla="*/ 100335 w 649288"/>
                  <a:gd name="connsiteY27" fmla="*/ 426731 h 649287"/>
                  <a:gd name="connsiteX28" fmla="*/ 91664 w 649288"/>
                  <a:gd name="connsiteY28" fmla="*/ 408618 h 649287"/>
                  <a:gd name="connsiteX29" fmla="*/ 81166 w 649288"/>
                  <a:gd name="connsiteY29" fmla="*/ 368019 h 649287"/>
                  <a:gd name="connsiteX30" fmla="*/ 0 w 649288"/>
                  <a:gd name="connsiteY30" fmla="*/ 333375 h 649287"/>
                  <a:gd name="connsiteX31" fmla="*/ 7937 w 649288"/>
                  <a:gd name="connsiteY31" fmla="*/ 257175 h 649287"/>
                  <a:gd name="connsiteX32" fmla="*/ 93624 w 649288"/>
                  <a:gd name="connsiteY32" fmla="*/ 238462 h 649287"/>
                  <a:gd name="connsiteX33" fmla="*/ 101418 w 649288"/>
                  <a:gd name="connsiteY33" fmla="*/ 216983 h 649287"/>
                  <a:gd name="connsiteX34" fmla="*/ 122826 w 649288"/>
                  <a:gd name="connsiteY34" fmla="*/ 181954 h 649287"/>
                  <a:gd name="connsiteX35" fmla="*/ 90488 w 649288"/>
                  <a:gd name="connsiteY35" fmla="*/ 101599 h 649287"/>
                  <a:gd name="connsiteX36" fmla="*/ 149225 w 649288"/>
                  <a:gd name="connsiteY36" fmla="*/ 52387 h 649287"/>
                  <a:gd name="connsiteX37" fmla="*/ 223287 w 649288"/>
                  <a:gd name="connsiteY37" fmla="*/ 99786 h 649287"/>
                  <a:gd name="connsiteX38" fmla="*/ 240755 w 649288"/>
                  <a:gd name="connsiteY38" fmla="*/ 91494 h 649287"/>
                  <a:gd name="connsiteX39" fmla="*/ 283081 w 649288"/>
                  <a:gd name="connsiteY39" fmla="*/ 80640 h 64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9288" h="649287">
                    <a:moveTo>
                      <a:pt x="317500" y="0"/>
                    </a:moveTo>
                    <a:lnTo>
                      <a:pt x="393700" y="7937"/>
                    </a:lnTo>
                    <a:lnTo>
                      <a:pt x="412438" y="93737"/>
                    </a:lnTo>
                    <a:lnTo>
                      <a:pt x="433195" y="101206"/>
                    </a:lnTo>
                    <a:lnTo>
                      <a:pt x="466681" y="121501"/>
                    </a:lnTo>
                    <a:lnTo>
                      <a:pt x="547689" y="88900"/>
                    </a:lnTo>
                    <a:lnTo>
                      <a:pt x="596901" y="147638"/>
                    </a:lnTo>
                    <a:lnTo>
                      <a:pt x="550055" y="220835"/>
                    </a:lnTo>
                    <a:lnTo>
                      <a:pt x="559211" y="239961"/>
                    </a:lnTo>
                    <a:lnTo>
                      <a:pt x="569814" y="280966"/>
                    </a:lnTo>
                    <a:lnTo>
                      <a:pt x="649288" y="314325"/>
                    </a:lnTo>
                    <a:lnTo>
                      <a:pt x="642938" y="392113"/>
                    </a:lnTo>
                    <a:lnTo>
                      <a:pt x="556964" y="410889"/>
                    </a:lnTo>
                    <a:lnTo>
                      <a:pt x="549457" y="431560"/>
                    </a:lnTo>
                    <a:lnTo>
                      <a:pt x="527263" y="467798"/>
                    </a:lnTo>
                    <a:lnTo>
                      <a:pt x="560388" y="547687"/>
                    </a:lnTo>
                    <a:lnTo>
                      <a:pt x="500063" y="598487"/>
                    </a:lnTo>
                    <a:lnTo>
                      <a:pt x="424873" y="549715"/>
                    </a:lnTo>
                    <a:lnTo>
                      <a:pt x="410120" y="556698"/>
                    </a:lnTo>
                    <a:lnTo>
                      <a:pt x="368313" y="567433"/>
                    </a:lnTo>
                    <a:lnTo>
                      <a:pt x="333375" y="649287"/>
                    </a:lnTo>
                    <a:lnTo>
                      <a:pt x="255588" y="642937"/>
                    </a:lnTo>
                    <a:lnTo>
                      <a:pt x="237274" y="554423"/>
                    </a:lnTo>
                    <a:lnTo>
                      <a:pt x="217680" y="547372"/>
                    </a:lnTo>
                    <a:lnTo>
                      <a:pt x="184265" y="527120"/>
                    </a:lnTo>
                    <a:lnTo>
                      <a:pt x="101600" y="560387"/>
                    </a:lnTo>
                    <a:lnTo>
                      <a:pt x="52388" y="501650"/>
                    </a:lnTo>
                    <a:lnTo>
                      <a:pt x="100335" y="426731"/>
                    </a:lnTo>
                    <a:lnTo>
                      <a:pt x="91664" y="408618"/>
                    </a:lnTo>
                    <a:lnTo>
                      <a:pt x="81166" y="368019"/>
                    </a:lnTo>
                    <a:lnTo>
                      <a:pt x="0" y="333375"/>
                    </a:lnTo>
                    <a:lnTo>
                      <a:pt x="7937" y="257175"/>
                    </a:lnTo>
                    <a:lnTo>
                      <a:pt x="93624" y="238462"/>
                    </a:lnTo>
                    <a:lnTo>
                      <a:pt x="101418" y="216983"/>
                    </a:lnTo>
                    <a:lnTo>
                      <a:pt x="122826" y="181954"/>
                    </a:lnTo>
                    <a:lnTo>
                      <a:pt x="90488" y="101599"/>
                    </a:lnTo>
                    <a:lnTo>
                      <a:pt x="149225" y="52387"/>
                    </a:lnTo>
                    <a:lnTo>
                      <a:pt x="223287" y="99786"/>
                    </a:lnTo>
                    <a:lnTo>
                      <a:pt x="240755" y="91494"/>
                    </a:lnTo>
                    <a:lnTo>
                      <a:pt x="283081" y="80640"/>
                    </a:lnTo>
                    <a:close/>
                  </a:path>
                </a:pathLst>
              </a:custGeom>
              <a:solidFill>
                <a:srgbClr val="43B02A"/>
              </a:solidFill>
              <a:ln>
                <a:noFill/>
              </a:ln>
            </p:spPr>
            <p:txBody>
              <a:bodyPr vert="horz" wrap="square" lIns="91440" tIns="45720" rIns="91440" bIns="45720" numCol="1" anchor="t" anchorCtr="0" compatLnSpc="1">
                <a:noAutofit/>
              </a:bodyPr>
              <a:lstStyle/>
              <a:p>
                <a:endParaRPr lang="en-US"/>
              </a:p>
            </p:txBody>
          </p:sp>
          <p:sp>
            <p:nvSpPr>
              <p:cNvPr id="231" name="Freeform 86"/>
              <p:cNvSpPr>
                <a:spLocks noEditPoints="1"/>
              </p:cNvSpPr>
              <p:nvPr/>
            </p:nvSpPr>
            <p:spPr bwMode="auto">
              <a:xfrm>
                <a:off x="10197630" y="3088958"/>
                <a:ext cx="186332" cy="173833"/>
              </a:xfrm>
              <a:custGeom>
                <a:avLst/>
                <a:gdLst>
                  <a:gd name="T0" fmla="*/ 153 w 296"/>
                  <a:gd name="T1" fmla="*/ 277 h 277"/>
                  <a:gd name="T2" fmla="*/ 153 w 296"/>
                  <a:gd name="T3" fmla="*/ 277 h 277"/>
                  <a:gd name="T4" fmla="*/ 119 w 296"/>
                  <a:gd name="T5" fmla="*/ 273 h 277"/>
                  <a:gd name="T6" fmla="*/ 18 w 296"/>
                  <a:gd name="T7" fmla="*/ 105 h 277"/>
                  <a:gd name="T8" fmla="*/ 152 w 296"/>
                  <a:gd name="T9" fmla="*/ 0 h 277"/>
                  <a:gd name="T10" fmla="*/ 186 w 296"/>
                  <a:gd name="T11" fmla="*/ 4 h 277"/>
                  <a:gd name="T12" fmla="*/ 271 w 296"/>
                  <a:gd name="T13" fmla="*/ 67 h 277"/>
                  <a:gd name="T14" fmla="*/ 287 w 296"/>
                  <a:gd name="T15" fmla="*/ 172 h 277"/>
                  <a:gd name="T16" fmla="*/ 153 w 296"/>
                  <a:gd name="T17" fmla="*/ 277 h 277"/>
                  <a:gd name="T18" fmla="*/ 152 w 296"/>
                  <a:gd name="T19" fmla="*/ 44 h 277"/>
                  <a:gd name="T20" fmla="*/ 61 w 296"/>
                  <a:gd name="T21" fmla="*/ 115 h 277"/>
                  <a:gd name="T22" fmla="*/ 130 w 296"/>
                  <a:gd name="T23" fmla="*/ 230 h 277"/>
                  <a:gd name="T24" fmla="*/ 153 w 296"/>
                  <a:gd name="T25" fmla="*/ 233 h 277"/>
                  <a:gd name="T26" fmla="*/ 244 w 296"/>
                  <a:gd name="T27" fmla="*/ 161 h 277"/>
                  <a:gd name="T28" fmla="*/ 234 w 296"/>
                  <a:gd name="T29" fmla="*/ 90 h 277"/>
                  <a:gd name="T30" fmla="*/ 176 w 296"/>
                  <a:gd name="T31" fmla="*/ 47 h 277"/>
                  <a:gd name="T32" fmla="*/ 152 w 296"/>
                  <a:gd name="T33" fmla="*/ 4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6" h="277">
                    <a:moveTo>
                      <a:pt x="153" y="277"/>
                    </a:moveTo>
                    <a:cubicBezTo>
                      <a:pt x="153" y="277"/>
                      <a:pt x="153" y="277"/>
                      <a:pt x="153" y="277"/>
                    </a:cubicBezTo>
                    <a:cubicBezTo>
                      <a:pt x="141" y="277"/>
                      <a:pt x="130" y="276"/>
                      <a:pt x="119" y="273"/>
                    </a:cubicBezTo>
                    <a:cubicBezTo>
                      <a:pt x="45" y="254"/>
                      <a:pt x="0" y="179"/>
                      <a:pt x="18" y="105"/>
                    </a:cubicBezTo>
                    <a:cubicBezTo>
                      <a:pt x="34" y="43"/>
                      <a:pt x="89" y="0"/>
                      <a:pt x="152" y="0"/>
                    </a:cubicBezTo>
                    <a:cubicBezTo>
                      <a:pt x="164" y="0"/>
                      <a:pt x="175" y="1"/>
                      <a:pt x="186" y="4"/>
                    </a:cubicBezTo>
                    <a:cubicBezTo>
                      <a:pt x="222" y="13"/>
                      <a:pt x="252" y="35"/>
                      <a:pt x="271" y="67"/>
                    </a:cubicBezTo>
                    <a:cubicBezTo>
                      <a:pt x="291" y="99"/>
                      <a:pt x="296" y="136"/>
                      <a:pt x="287" y="172"/>
                    </a:cubicBezTo>
                    <a:cubicBezTo>
                      <a:pt x="272" y="234"/>
                      <a:pt x="216" y="277"/>
                      <a:pt x="153" y="277"/>
                    </a:cubicBezTo>
                    <a:close/>
                    <a:moveTo>
                      <a:pt x="152" y="44"/>
                    </a:moveTo>
                    <a:cubicBezTo>
                      <a:pt x="109" y="44"/>
                      <a:pt x="71" y="73"/>
                      <a:pt x="61" y="115"/>
                    </a:cubicBezTo>
                    <a:cubicBezTo>
                      <a:pt x="48" y="166"/>
                      <a:pt x="79" y="217"/>
                      <a:pt x="130" y="230"/>
                    </a:cubicBezTo>
                    <a:cubicBezTo>
                      <a:pt x="137" y="232"/>
                      <a:pt x="145" y="233"/>
                      <a:pt x="153" y="233"/>
                    </a:cubicBezTo>
                    <a:cubicBezTo>
                      <a:pt x="196" y="233"/>
                      <a:pt x="234" y="204"/>
                      <a:pt x="244" y="161"/>
                    </a:cubicBezTo>
                    <a:cubicBezTo>
                      <a:pt x="250" y="137"/>
                      <a:pt x="247" y="111"/>
                      <a:pt x="234" y="90"/>
                    </a:cubicBezTo>
                    <a:cubicBezTo>
                      <a:pt x="221" y="68"/>
                      <a:pt x="200" y="53"/>
                      <a:pt x="176" y="47"/>
                    </a:cubicBezTo>
                    <a:cubicBezTo>
                      <a:pt x="168" y="45"/>
                      <a:pt x="160" y="44"/>
                      <a:pt x="152" y="44"/>
                    </a:cubicBezTo>
                    <a:close/>
                  </a:path>
                </a:pathLst>
              </a:custGeom>
              <a:solidFill>
                <a:srgbClr val="000000"/>
              </a:solidFill>
              <a:ln>
                <a:noFill/>
              </a:ln>
            </p:spPr>
            <p:txBody>
              <a:bodyPr vert="horz" wrap="square" lIns="91440" tIns="45720" rIns="91440" bIns="45720" numCol="1" anchor="t" anchorCtr="0" compatLnSpc="1"/>
              <a:lstStyle/>
              <a:p>
                <a:endParaRPr lang="en-US"/>
              </a:p>
            </p:txBody>
          </p:sp>
        </p:grpSp>
        <p:grpSp>
          <p:nvGrpSpPr>
            <p:cNvPr id="249" name="组合 248"/>
            <p:cNvGrpSpPr/>
            <p:nvPr/>
          </p:nvGrpSpPr>
          <p:grpSpPr>
            <a:xfrm>
              <a:off x="9314886" y="3308063"/>
              <a:ext cx="1332725" cy="1331589"/>
              <a:chOff x="9308011" y="3328688"/>
              <a:chExt cx="1332725" cy="1331589"/>
            </a:xfrm>
          </p:grpSpPr>
          <p:sp>
            <p:nvSpPr>
              <p:cNvPr id="225" name="Freeform 8"/>
              <p:cNvSpPr/>
              <p:nvPr/>
            </p:nvSpPr>
            <p:spPr bwMode="auto">
              <a:xfrm>
                <a:off x="9308011" y="3328688"/>
                <a:ext cx="1332725" cy="1331589"/>
              </a:xfrm>
              <a:custGeom>
                <a:avLst/>
                <a:gdLst>
                  <a:gd name="connsiteX0" fmla="*/ 925512 w 1862137"/>
                  <a:gd name="connsiteY0" fmla="*/ 0 h 1860550"/>
                  <a:gd name="connsiteX1" fmla="*/ 978984 w 1862137"/>
                  <a:gd name="connsiteY1" fmla="*/ 157330 h 1860550"/>
                  <a:gd name="connsiteX2" fmla="*/ 1037671 w 1862137"/>
                  <a:gd name="connsiteY2" fmla="*/ 159757 h 1860550"/>
                  <a:gd name="connsiteX3" fmla="*/ 1083692 w 1862137"/>
                  <a:gd name="connsiteY3" fmla="*/ 170718 h 1860550"/>
                  <a:gd name="connsiteX4" fmla="*/ 1176338 w 1862137"/>
                  <a:gd name="connsiteY4" fmla="*/ 31750 h 1860550"/>
                  <a:gd name="connsiteX5" fmla="*/ 1289050 w 1862137"/>
                  <a:gd name="connsiteY5" fmla="*/ 69850 h 1860550"/>
                  <a:gd name="connsiteX6" fmla="*/ 1275692 w 1862137"/>
                  <a:gd name="connsiteY6" fmla="*/ 236320 h 1860550"/>
                  <a:gd name="connsiteX7" fmla="*/ 1319008 w 1862137"/>
                  <a:gd name="connsiteY7" fmla="*/ 255918 h 1860550"/>
                  <a:gd name="connsiteX8" fmla="*/ 1358662 w 1862137"/>
                  <a:gd name="connsiteY8" fmla="*/ 284075 h 1860550"/>
                  <a:gd name="connsiteX9" fmla="*/ 1495425 w 1862137"/>
                  <a:gd name="connsiteY9" fmla="*/ 190500 h 1860550"/>
                  <a:gd name="connsiteX10" fmla="*/ 1585912 w 1862137"/>
                  <a:gd name="connsiteY10" fmla="*/ 268288 h 1860550"/>
                  <a:gd name="connsiteX11" fmla="*/ 1511895 w 1862137"/>
                  <a:gd name="connsiteY11" fmla="*/ 417350 h 1860550"/>
                  <a:gd name="connsiteX12" fmla="*/ 1546743 w 1862137"/>
                  <a:gd name="connsiteY12" fmla="*/ 454238 h 1860550"/>
                  <a:gd name="connsiteX13" fmla="*/ 1576521 w 1862137"/>
                  <a:gd name="connsiteY13" fmla="*/ 502126 h 1860550"/>
                  <a:gd name="connsiteX14" fmla="*/ 1741488 w 1862137"/>
                  <a:gd name="connsiteY14" fmla="*/ 468313 h 1860550"/>
                  <a:gd name="connsiteX15" fmla="*/ 1793875 w 1862137"/>
                  <a:gd name="connsiteY15" fmla="*/ 573088 h 1860550"/>
                  <a:gd name="connsiteX16" fmla="*/ 1667696 w 1862137"/>
                  <a:gd name="connsiteY16" fmla="*/ 681097 h 1860550"/>
                  <a:gd name="connsiteX17" fmla="*/ 1684884 w 1862137"/>
                  <a:gd name="connsiteY17" fmla="*/ 735702 h 1860550"/>
                  <a:gd name="connsiteX18" fmla="*/ 1693262 w 1862137"/>
                  <a:gd name="connsiteY18" fmla="*/ 776085 h 1860550"/>
                  <a:gd name="connsiteX19" fmla="*/ 1854200 w 1862137"/>
                  <a:gd name="connsiteY19" fmla="*/ 806450 h 1860550"/>
                  <a:gd name="connsiteX20" fmla="*/ 1862137 w 1862137"/>
                  <a:gd name="connsiteY20" fmla="*/ 925513 h 1860550"/>
                  <a:gd name="connsiteX21" fmla="*/ 1704727 w 1862137"/>
                  <a:gd name="connsiteY21" fmla="*/ 977642 h 1860550"/>
                  <a:gd name="connsiteX22" fmla="*/ 1702277 w 1862137"/>
                  <a:gd name="connsiteY22" fmla="*/ 1036783 h 1860550"/>
                  <a:gd name="connsiteX23" fmla="*/ 1691105 w 1862137"/>
                  <a:gd name="connsiteY23" fmla="*/ 1083603 h 1860550"/>
                  <a:gd name="connsiteX24" fmla="*/ 1830387 w 1862137"/>
                  <a:gd name="connsiteY24" fmla="*/ 1174750 h 1860550"/>
                  <a:gd name="connsiteX25" fmla="*/ 1792287 w 1862137"/>
                  <a:gd name="connsiteY25" fmla="*/ 1285875 h 1860550"/>
                  <a:gd name="connsiteX26" fmla="*/ 1625658 w 1862137"/>
                  <a:gd name="connsiteY26" fmla="*/ 1274561 h 1860550"/>
                  <a:gd name="connsiteX27" fmla="*/ 1606030 w 1862137"/>
                  <a:gd name="connsiteY27" fmla="*/ 1317868 h 1860550"/>
                  <a:gd name="connsiteX28" fmla="*/ 1577382 w 1862137"/>
                  <a:gd name="connsiteY28" fmla="*/ 1358141 h 1860550"/>
                  <a:gd name="connsiteX29" fmla="*/ 1671637 w 1862137"/>
                  <a:gd name="connsiteY29" fmla="*/ 1495425 h 1860550"/>
                  <a:gd name="connsiteX30" fmla="*/ 1593850 w 1862137"/>
                  <a:gd name="connsiteY30" fmla="*/ 1584325 h 1860550"/>
                  <a:gd name="connsiteX31" fmla="*/ 1444760 w 1862137"/>
                  <a:gd name="connsiteY31" fmla="*/ 1510294 h 1860550"/>
                  <a:gd name="connsiteX32" fmla="*/ 1407533 w 1862137"/>
                  <a:gd name="connsiteY32" fmla="*/ 1545400 h 1860550"/>
                  <a:gd name="connsiteX33" fmla="*/ 1359818 w 1862137"/>
                  <a:gd name="connsiteY33" fmla="*/ 1575017 h 1860550"/>
                  <a:gd name="connsiteX34" fmla="*/ 1393825 w 1862137"/>
                  <a:gd name="connsiteY34" fmla="*/ 1739900 h 1860550"/>
                  <a:gd name="connsiteX35" fmla="*/ 1289050 w 1862137"/>
                  <a:gd name="connsiteY35" fmla="*/ 1792287 h 1860550"/>
                  <a:gd name="connsiteX36" fmla="*/ 1181011 w 1862137"/>
                  <a:gd name="connsiteY36" fmla="*/ 1666074 h 1860550"/>
                  <a:gd name="connsiteX37" fmla="*/ 1125816 w 1862137"/>
                  <a:gd name="connsiteY37" fmla="*/ 1683417 h 1860550"/>
                  <a:gd name="connsiteX38" fmla="*/ 1086058 w 1862137"/>
                  <a:gd name="connsiteY38" fmla="*/ 1691651 h 1860550"/>
                  <a:gd name="connsiteX39" fmla="*/ 1055688 w 1862137"/>
                  <a:gd name="connsiteY39" fmla="*/ 1852613 h 1860550"/>
                  <a:gd name="connsiteX40" fmla="*/ 936625 w 1862137"/>
                  <a:gd name="connsiteY40" fmla="*/ 1860550 h 1860550"/>
                  <a:gd name="connsiteX41" fmla="*/ 883154 w 1862137"/>
                  <a:gd name="connsiteY41" fmla="*/ 1703221 h 1860550"/>
                  <a:gd name="connsiteX42" fmla="*/ 824467 w 1862137"/>
                  <a:gd name="connsiteY42" fmla="*/ 1700794 h 1860550"/>
                  <a:gd name="connsiteX43" fmla="*/ 777857 w 1862137"/>
                  <a:gd name="connsiteY43" fmla="*/ 1689693 h 1860550"/>
                  <a:gd name="connsiteX44" fmla="*/ 685800 w 1862137"/>
                  <a:gd name="connsiteY44" fmla="*/ 1828800 h 1860550"/>
                  <a:gd name="connsiteX45" fmla="*/ 574675 w 1862137"/>
                  <a:gd name="connsiteY45" fmla="*/ 1789113 h 1860550"/>
                  <a:gd name="connsiteX46" fmla="*/ 586948 w 1862137"/>
                  <a:gd name="connsiteY46" fmla="*/ 1624458 h 1860550"/>
                  <a:gd name="connsiteX47" fmla="*/ 543130 w 1862137"/>
                  <a:gd name="connsiteY47" fmla="*/ 1604634 h 1860550"/>
                  <a:gd name="connsiteX48" fmla="*/ 502741 w 1862137"/>
                  <a:gd name="connsiteY48" fmla="*/ 1575955 h 1860550"/>
                  <a:gd name="connsiteX49" fmla="*/ 366712 w 1862137"/>
                  <a:gd name="connsiteY49" fmla="*/ 1670050 h 1860550"/>
                  <a:gd name="connsiteX50" fmla="*/ 276225 w 1862137"/>
                  <a:gd name="connsiteY50" fmla="*/ 1592263 h 1860550"/>
                  <a:gd name="connsiteX51" fmla="*/ 350241 w 1862137"/>
                  <a:gd name="connsiteY51" fmla="*/ 1443201 h 1860550"/>
                  <a:gd name="connsiteX52" fmla="*/ 315394 w 1862137"/>
                  <a:gd name="connsiteY52" fmla="*/ 1406314 h 1860550"/>
                  <a:gd name="connsiteX53" fmla="*/ 285679 w 1862137"/>
                  <a:gd name="connsiteY53" fmla="*/ 1358527 h 1860550"/>
                  <a:gd name="connsiteX54" fmla="*/ 122237 w 1862137"/>
                  <a:gd name="connsiteY54" fmla="*/ 1392237 h 1860550"/>
                  <a:gd name="connsiteX55" fmla="*/ 68262 w 1862137"/>
                  <a:gd name="connsiteY55" fmla="*/ 1285875 h 1860550"/>
                  <a:gd name="connsiteX56" fmla="*/ 194297 w 1862137"/>
                  <a:gd name="connsiteY56" fmla="*/ 1178997 h 1860550"/>
                  <a:gd name="connsiteX57" fmla="*/ 177253 w 1862137"/>
                  <a:gd name="connsiteY57" fmla="*/ 1124849 h 1860550"/>
                  <a:gd name="connsiteX58" fmla="*/ 168617 w 1862137"/>
                  <a:gd name="connsiteY58" fmla="*/ 1083223 h 1860550"/>
                  <a:gd name="connsiteX59" fmla="*/ 7937 w 1862137"/>
                  <a:gd name="connsiteY59" fmla="*/ 1054100 h 1860550"/>
                  <a:gd name="connsiteX60" fmla="*/ 0 w 1862137"/>
                  <a:gd name="connsiteY60" fmla="*/ 935037 h 1860550"/>
                  <a:gd name="connsiteX61" fmla="*/ 157410 w 1862137"/>
                  <a:gd name="connsiteY61" fmla="*/ 882908 h 1860550"/>
                  <a:gd name="connsiteX62" fmla="*/ 159860 w 1862137"/>
                  <a:gd name="connsiteY62" fmla="*/ 823769 h 1860550"/>
                  <a:gd name="connsiteX63" fmla="*/ 171108 w 1862137"/>
                  <a:gd name="connsiteY63" fmla="*/ 776628 h 1860550"/>
                  <a:gd name="connsiteX64" fmla="*/ 33337 w 1862137"/>
                  <a:gd name="connsiteY64" fmla="*/ 685801 h 1860550"/>
                  <a:gd name="connsiteX65" fmla="*/ 71437 w 1862137"/>
                  <a:gd name="connsiteY65" fmla="*/ 573088 h 1860550"/>
                  <a:gd name="connsiteX66" fmla="*/ 236742 w 1862137"/>
                  <a:gd name="connsiteY66" fmla="*/ 585409 h 1860550"/>
                  <a:gd name="connsiteX67" fmla="*/ 256107 w 1862137"/>
                  <a:gd name="connsiteY67" fmla="*/ 542684 h 1860550"/>
                  <a:gd name="connsiteX68" fmla="*/ 284755 w 1862137"/>
                  <a:gd name="connsiteY68" fmla="*/ 502410 h 1860550"/>
                  <a:gd name="connsiteX69" fmla="*/ 190500 w 1862137"/>
                  <a:gd name="connsiteY69" fmla="*/ 365125 h 1860550"/>
                  <a:gd name="connsiteX70" fmla="*/ 268287 w 1862137"/>
                  <a:gd name="connsiteY70" fmla="*/ 276225 h 1860550"/>
                  <a:gd name="connsiteX71" fmla="*/ 417378 w 1862137"/>
                  <a:gd name="connsiteY71" fmla="*/ 350256 h 1860550"/>
                  <a:gd name="connsiteX72" fmla="*/ 454604 w 1862137"/>
                  <a:gd name="connsiteY72" fmla="*/ 315152 h 1860550"/>
                  <a:gd name="connsiteX73" fmla="*/ 502320 w 1862137"/>
                  <a:gd name="connsiteY73" fmla="*/ 285534 h 1860550"/>
                  <a:gd name="connsiteX74" fmla="*/ 468312 w 1862137"/>
                  <a:gd name="connsiteY74" fmla="*/ 120651 h 1860550"/>
                  <a:gd name="connsiteX75" fmla="*/ 574675 w 1862137"/>
                  <a:gd name="connsiteY75" fmla="*/ 68263 h 1860550"/>
                  <a:gd name="connsiteX76" fmla="*/ 682378 w 1862137"/>
                  <a:gd name="connsiteY76" fmla="*/ 194084 h 1860550"/>
                  <a:gd name="connsiteX77" fmla="*/ 736321 w 1862137"/>
                  <a:gd name="connsiteY77" fmla="*/ 177134 h 1860550"/>
                  <a:gd name="connsiteX78" fmla="*/ 777732 w 1862137"/>
                  <a:gd name="connsiteY78" fmla="*/ 168558 h 1860550"/>
                  <a:gd name="connsiteX79" fmla="*/ 808037 w 1862137"/>
                  <a:gd name="connsiteY79" fmla="*/ 7937 h 186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862137" h="1860550">
                    <a:moveTo>
                      <a:pt x="925512" y="0"/>
                    </a:moveTo>
                    <a:lnTo>
                      <a:pt x="978984" y="157330"/>
                    </a:lnTo>
                    <a:lnTo>
                      <a:pt x="1037671" y="159757"/>
                    </a:lnTo>
                    <a:lnTo>
                      <a:pt x="1083692" y="170718"/>
                    </a:lnTo>
                    <a:lnTo>
                      <a:pt x="1176338" y="31750"/>
                    </a:lnTo>
                    <a:lnTo>
                      <a:pt x="1289050" y="69850"/>
                    </a:lnTo>
                    <a:lnTo>
                      <a:pt x="1275692" y="236320"/>
                    </a:lnTo>
                    <a:lnTo>
                      <a:pt x="1319008" y="255918"/>
                    </a:lnTo>
                    <a:lnTo>
                      <a:pt x="1358662" y="284075"/>
                    </a:lnTo>
                    <a:lnTo>
                      <a:pt x="1495425" y="190500"/>
                    </a:lnTo>
                    <a:lnTo>
                      <a:pt x="1585912" y="268288"/>
                    </a:lnTo>
                    <a:lnTo>
                      <a:pt x="1511895" y="417350"/>
                    </a:lnTo>
                    <a:lnTo>
                      <a:pt x="1546743" y="454238"/>
                    </a:lnTo>
                    <a:lnTo>
                      <a:pt x="1576521" y="502126"/>
                    </a:lnTo>
                    <a:lnTo>
                      <a:pt x="1741488" y="468313"/>
                    </a:lnTo>
                    <a:lnTo>
                      <a:pt x="1793875" y="573088"/>
                    </a:lnTo>
                    <a:lnTo>
                      <a:pt x="1667696" y="681097"/>
                    </a:lnTo>
                    <a:lnTo>
                      <a:pt x="1684884" y="735702"/>
                    </a:lnTo>
                    <a:lnTo>
                      <a:pt x="1693262" y="776085"/>
                    </a:lnTo>
                    <a:lnTo>
                      <a:pt x="1854200" y="806450"/>
                    </a:lnTo>
                    <a:lnTo>
                      <a:pt x="1862137" y="925513"/>
                    </a:lnTo>
                    <a:lnTo>
                      <a:pt x="1704727" y="977642"/>
                    </a:lnTo>
                    <a:lnTo>
                      <a:pt x="1702277" y="1036783"/>
                    </a:lnTo>
                    <a:lnTo>
                      <a:pt x="1691105" y="1083603"/>
                    </a:lnTo>
                    <a:lnTo>
                      <a:pt x="1830387" y="1174750"/>
                    </a:lnTo>
                    <a:lnTo>
                      <a:pt x="1792287" y="1285875"/>
                    </a:lnTo>
                    <a:lnTo>
                      <a:pt x="1625658" y="1274561"/>
                    </a:lnTo>
                    <a:lnTo>
                      <a:pt x="1606030" y="1317868"/>
                    </a:lnTo>
                    <a:lnTo>
                      <a:pt x="1577382" y="1358141"/>
                    </a:lnTo>
                    <a:lnTo>
                      <a:pt x="1671637" y="1495425"/>
                    </a:lnTo>
                    <a:lnTo>
                      <a:pt x="1593850" y="1584325"/>
                    </a:lnTo>
                    <a:lnTo>
                      <a:pt x="1444760" y="1510294"/>
                    </a:lnTo>
                    <a:lnTo>
                      <a:pt x="1407533" y="1545400"/>
                    </a:lnTo>
                    <a:lnTo>
                      <a:pt x="1359818" y="1575017"/>
                    </a:lnTo>
                    <a:lnTo>
                      <a:pt x="1393825" y="1739900"/>
                    </a:lnTo>
                    <a:lnTo>
                      <a:pt x="1289050" y="1792287"/>
                    </a:lnTo>
                    <a:lnTo>
                      <a:pt x="1181011" y="1666074"/>
                    </a:lnTo>
                    <a:lnTo>
                      <a:pt x="1125816" y="1683417"/>
                    </a:lnTo>
                    <a:lnTo>
                      <a:pt x="1086058" y="1691651"/>
                    </a:lnTo>
                    <a:lnTo>
                      <a:pt x="1055688" y="1852613"/>
                    </a:lnTo>
                    <a:lnTo>
                      <a:pt x="936625" y="1860550"/>
                    </a:lnTo>
                    <a:lnTo>
                      <a:pt x="883154" y="1703221"/>
                    </a:lnTo>
                    <a:lnTo>
                      <a:pt x="824467" y="1700794"/>
                    </a:lnTo>
                    <a:lnTo>
                      <a:pt x="777857" y="1689693"/>
                    </a:lnTo>
                    <a:lnTo>
                      <a:pt x="685800" y="1828800"/>
                    </a:lnTo>
                    <a:lnTo>
                      <a:pt x="574675" y="1789113"/>
                    </a:lnTo>
                    <a:lnTo>
                      <a:pt x="586948" y="1624458"/>
                    </a:lnTo>
                    <a:lnTo>
                      <a:pt x="543130" y="1604634"/>
                    </a:lnTo>
                    <a:lnTo>
                      <a:pt x="502741" y="1575955"/>
                    </a:lnTo>
                    <a:lnTo>
                      <a:pt x="366712" y="1670050"/>
                    </a:lnTo>
                    <a:lnTo>
                      <a:pt x="276225" y="1592263"/>
                    </a:lnTo>
                    <a:lnTo>
                      <a:pt x="350241" y="1443201"/>
                    </a:lnTo>
                    <a:lnTo>
                      <a:pt x="315394" y="1406314"/>
                    </a:lnTo>
                    <a:lnTo>
                      <a:pt x="285679" y="1358527"/>
                    </a:lnTo>
                    <a:lnTo>
                      <a:pt x="122237" y="1392237"/>
                    </a:lnTo>
                    <a:lnTo>
                      <a:pt x="68262" y="1285875"/>
                    </a:lnTo>
                    <a:lnTo>
                      <a:pt x="194297" y="1178997"/>
                    </a:lnTo>
                    <a:lnTo>
                      <a:pt x="177253" y="1124849"/>
                    </a:lnTo>
                    <a:lnTo>
                      <a:pt x="168617" y="1083223"/>
                    </a:lnTo>
                    <a:lnTo>
                      <a:pt x="7937" y="1054100"/>
                    </a:lnTo>
                    <a:lnTo>
                      <a:pt x="0" y="935037"/>
                    </a:lnTo>
                    <a:lnTo>
                      <a:pt x="157410" y="882908"/>
                    </a:lnTo>
                    <a:lnTo>
                      <a:pt x="159860" y="823769"/>
                    </a:lnTo>
                    <a:lnTo>
                      <a:pt x="171108" y="776628"/>
                    </a:lnTo>
                    <a:lnTo>
                      <a:pt x="33337" y="685801"/>
                    </a:lnTo>
                    <a:lnTo>
                      <a:pt x="71437" y="573088"/>
                    </a:lnTo>
                    <a:lnTo>
                      <a:pt x="236742" y="585409"/>
                    </a:lnTo>
                    <a:lnTo>
                      <a:pt x="256107" y="542684"/>
                    </a:lnTo>
                    <a:lnTo>
                      <a:pt x="284755" y="502410"/>
                    </a:lnTo>
                    <a:lnTo>
                      <a:pt x="190500" y="365125"/>
                    </a:lnTo>
                    <a:lnTo>
                      <a:pt x="268287" y="276225"/>
                    </a:lnTo>
                    <a:lnTo>
                      <a:pt x="417378" y="350256"/>
                    </a:lnTo>
                    <a:lnTo>
                      <a:pt x="454604" y="315152"/>
                    </a:lnTo>
                    <a:lnTo>
                      <a:pt x="502320" y="285534"/>
                    </a:lnTo>
                    <a:lnTo>
                      <a:pt x="468312" y="120651"/>
                    </a:lnTo>
                    <a:lnTo>
                      <a:pt x="574675" y="68263"/>
                    </a:lnTo>
                    <a:lnTo>
                      <a:pt x="682378" y="194084"/>
                    </a:lnTo>
                    <a:lnTo>
                      <a:pt x="736321" y="177134"/>
                    </a:lnTo>
                    <a:lnTo>
                      <a:pt x="777732" y="168558"/>
                    </a:lnTo>
                    <a:lnTo>
                      <a:pt x="808037" y="7937"/>
                    </a:lnTo>
                    <a:close/>
                  </a:path>
                </a:pathLst>
              </a:custGeom>
              <a:solidFill>
                <a:srgbClr val="FFFFFF"/>
              </a:solidFill>
              <a:ln>
                <a:noFill/>
              </a:ln>
            </p:spPr>
            <p:txBody>
              <a:bodyPr vert="horz" wrap="square" lIns="91440" tIns="45720" rIns="91440" bIns="45720" numCol="1" anchor="t" anchorCtr="0" compatLnSpc="1">
                <a:noAutofit/>
              </a:bodyPr>
              <a:lstStyle/>
              <a:p>
                <a:endParaRPr lang="en-US"/>
              </a:p>
            </p:txBody>
          </p:sp>
          <p:sp>
            <p:nvSpPr>
              <p:cNvPr id="226" name="Freeform 12"/>
              <p:cNvSpPr/>
              <p:nvPr/>
            </p:nvSpPr>
            <p:spPr bwMode="auto">
              <a:xfrm>
                <a:off x="9485253" y="3505931"/>
                <a:ext cx="978241" cy="977105"/>
              </a:xfrm>
              <a:custGeom>
                <a:avLst/>
                <a:gdLst>
                  <a:gd name="T0" fmla="*/ 165 w 1552"/>
                  <a:gd name="T1" fmla="*/ 1075 h 1552"/>
                  <a:gd name="T2" fmla="*/ 1076 w 1552"/>
                  <a:gd name="T3" fmla="*/ 1387 h 1552"/>
                  <a:gd name="T4" fmla="*/ 1387 w 1552"/>
                  <a:gd name="T5" fmla="*/ 477 h 1552"/>
                  <a:gd name="T6" fmla="*/ 477 w 1552"/>
                  <a:gd name="T7" fmla="*/ 165 h 1552"/>
                  <a:gd name="T8" fmla="*/ 165 w 1552"/>
                  <a:gd name="T9" fmla="*/ 1075 h 1552"/>
                </a:gdLst>
                <a:ahLst/>
                <a:cxnLst>
                  <a:cxn ang="0">
                    <a:pos x="T0" y="T1"/>
                  </a:cxn>
                  <a:cxn ang="0">
                    <a:pos x="T2" y="T3"/>
                  </a:cxn>
                  <a:cxn ang="0">
                    <a:pos x="T4" y="T5"/>
                  </a:cxn>
                  <a:cxn ang="0">
                    <a:pos x="T6" y="T7"/>
                  </a:cxn>
                  <a:cxn ang="0">
                    <a:pos x="T8" y="T9"/>
                  </a:cxn>
                </a:cxnLst>
                <a:rect l="0" t="0" r="r" b="b"/>
                <a:pathLst>
                  <a:path w="1552" h="1552">
                    <a:moveTo>
                      <a:pt x="165" y="1075"/>
                    </a:moveTo>
                    <a:cubicBezTo>
                      <a:pt x="331" y="1413"/>
                      <a:pt x="738" y="1552"/>
                      <a:pt x="1076" y="1387"/>
                    </a:cubicBezTo>
                    <a:cubicBezTo>
                      <a:pt x="1413" y="1221"/>
                      <a:pt x="1552" y="814"/>
                      <a:pt x="1387" y="477"/>
                    </a:cubicBezTo>
                    <a:cubicBezTo>
                      <a:pt x="1222" y="139"/>
                      <a:pt x="814" y="0"/>
                      <a:pt x="477" y="165"/>
                    </a:cubicBezTo>
                    <a:cubicBezTo>
                      <a:pt x="139" y="331"/>
                      <a:pt x="0" y="738"/>
                      <a:pt x="165" y="1075"/>
                    </a:cubicBezTo>
                    <a:close/>
                  </a:path>
                </a:pathLst>
              </a:custGeom>
              <a:solidFill>
                <a:srgbClr val="000000"/>
              </a:solidFill>
              <a:ln>
                <a:noFill/>
              </a:ln>
            </p:spPr>
            <p:txBody>
              <a:bodyPr vert="horz" wrap="square" lIns="91440" tIns="45720" rIns="91440" bIns="45720" numCol="1" anchor="t" anchorCtr="0" compatLnSpc="1"/>
              <a:lstStyle/>
              <a:p>
                <a:endParaRPr lang="en-US"/>
              </a:p>
            </p:txBody>
          </p:sp>
          <p:sp>
            <p:nvSpPr>
              <p:cNvPr id="233" name="Oval 21"/>
              <p:cNvSpPr>
                <a:spLocks noChangeArrowheads="1"/>
              </p:cNvSpPr>
              <p:nvPr/>
            </p:nvSpPr>
            <p:spPr bwMode="auto">
              <a:xfrm>
                <a:off x="9851099" y="3863825"/>
                <a:ext cx="260183" cy="261319"/>
              </a:xfrm>
              <a:prstGeom prst="ellipse">
                <a:avLst/>
              </a:prstGeom>
              <a:noFill/>
              <a:ln w="139700" cap="flat">
                <a:solidFill>
                  <a:srgbClr val="FFFFFF"/>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grpSp>
          <p:nvGrpSpPr>
            <p:cNvPr id="245" name="组合 244"/>
            <p:cNvGrpSpPr/>
            <p:nvPr/>
          </p:nvGrpSpPr>
          <p:grpSpPr>
            <a:xfrm>
              <a:off x="9285346" y="2471969"/>
              <a:ext cx="840764" cy="840765"/>
              <a:chOff x="9333006" y="2454976"/>
              <a:chExt cx="840764" cy="840765"/>
            </a:xfrm>
          </p:grpSpPr>
          <p:sp>
            <p:nvSpPr>
              <p:cNvPr id="223" name="Freeform 6"/>
              <p:cNvSpPr/>
              <p:nvPr/>
            </p:nvSpPr>
            <p:spPr bwMode="auto">
              <a:xfrm>
                <a:off x="9333006" y="2454976"/>
                <a:ext cx="840764" cy="840765"/>
              </a:xfrm>
              <a:custGeom>
                <a:avLst/>
                <a:gdLst>
                  <a:gd name="connsiteX0" fmla="*/ 615950 w 1174750"/>
                  <a:gd name="connsiteY0" fmla="*/ 0 h 1174750"/>
                  <a:gd name="connsiteX1" fmla="*/ 690562 w 1174750"/>
                  <a:gd name="connsiteY1" fmla="*/ 7938 h 1174750"/>
                  <a:gd name="connsiteX2" fmla="*/ 704967 w 1174750"/>
                  <a:gd name="connsiteY2" fmla="*/ 112884 h 1174750"/>
                  <a:gd name="connsiteX3" fmla="*/ 742050 w 1174750"/>
                  <a:gd name="connsiteY3" fmla="*/ 121270 h 1174750"/>
                  <a:gd name="connsiteX4" fmla="*/ 769468 w 1174750"/>
                  <a:gd name="connsiteY4" fmla="*/ 133166 h 1174750"/>
                  <a:gd name="connsiteX5" fmla="*/ 841375 w 1174750"/>
                  <a:gd name="connsiteY5" fmla="*/ 57150 h 1174750"/>
                  <a:gd name="connsiteX6" fmla="*/ 908050 w 1174750"/>
                  <a:gd name="connsiteY6" fmla="*/ 93663 h 1174750"/>
                  <a:gd name="connsiteX7" fmla="*/ 881353 w 1174750"/>
                  <a:gd name="connsiteY7" fmla="*/ 195319 h 1174750"/>
                  <a:gd name="connsiteX8" fmla="*/ 896621 w 1174750"/>
                  <a:gd name="connsiteY8" fmla="*/ 205513 h 1174750"/>
                  <a:gd name="connsiteX9" fmla="*/ 927173 w 1174750"/>
                  <a:gd name="connsiteY9" fmla="*/ 235070 h 1174750"/>
                  <a:gd name="connsiteX10" fmla="*/ 1022350 w 1174750"/>
                  <a:gd name="connsiteY10" fmla="*/ 192087 h 1174750"/>
                  <a:gd name="connsiteX11" fmla="*/ 1069975 w 1174750"/>
                  <a:gd name="connsiteY11" fmla="*/ 250824 h 1174750"/>
                  <a:gd name="connsiteX12" fmla="*/ 1008057 w 1174750"/>
                  <a:gd name="connsiteY12" fmla="*/ 334058 h 1174750"/>
                  <a:gd name="connsiteX13" fmla="*/ 1012850 w 1174750"/>
                  <a:gd name="connsiteY13" fmla="*/ 340787 h 1174750"/>
                  <a:gd name="connsiteX14" fmla="*/ 1035896 w 1174750"/>
                  <a:gd name="connsiteY14" fmla="*/ 395218 h 1174750"/>
                  <a:gd name="connsiteX15" fmla="*/ 1144588 w 1174750"/>
                  <a:gd name="connsiteY15" fmla="*/ 392112 h 1174750"/>
                  <a:gd name="connsiteX16" fmla="*/ 1165225 w 1174750"/>
                  <a:gd name="connsiteY16" fmla="*/ 463549 h 1174750"/>
                  <a:gd name="connsiteX17" fmla="*/ 1072819 w 1174750"/>
                  <a:gd name="connsiteY17" fmla="*/ 516353 h 1174750"/>
                  <a:gd name="connsiteX18" fmla="*/ 1077438 w 1174750"/>
                  <a:gd name="connsiteY18" fmla="*/ 540687 h 1174750"/>
                  <a:gd name="connsiteX19" fmla="*/ 1076865 w 1174750"/>
                  <a:gd name="connsiteY19" fmla="*/ 577826 h 1174750"/>
                  <a:gd name="connsiteX20" fmla="*/ 1174750 w 1174750"/>
                  <a:gd name="connsiteY20" fmla="*/ 615950 h 1174750"/>
                  <a:gd name="connsiteX21" fmla="*/ 1166813 w 1174750"/>
                  <a:gd name="connsiteY21" fmla="*/ 690562 h 1174750"/>
                  <a:gd name="connsiteX22" fmla="*/ 1062601 w 1174750"/>
                  <a:gd name="connsiteY22" fmla="*/ 705007 h 1174750"/>
                  <a:gd name="connsiteX23" fmla="*/ 1049710 w 1174750"/>
                  <a:gd name="connsiteY23" fmla="*/ 757392 h 1174750"/>
                  <a:gd name="connsiteX24" fmla="*/ 1043913 w 1174750"/>
                  <a:gd name="connsiteY24" fmla="*/ 770170 h 1174750"/>
                  <a:gd name="connsiteX25" fmla="*/ 1119188 w 1174750"/>
                  <a:gd name="connsiteY25" fmla="*/ 841375 h 1174750"/>
                  <a:gd name="connsiteX26" fmla="*/ 1082676 w 1174750"/>
                  <a:gd name="connsiteY26" fmla="*/ 908050 h 1174750"/>
                  <a:gd name="connsiteX27" fmla="*/ 982045 w 1174750"/>
                  <a:gd name="connsiteY27" fmla="*/ 881886 h 1174750"/>
                  <a:gd name="connsiteX28" fmla="*/ 980809 w 1174750"/>
                  <a:gd name="connsiteY28" fmla="*/ 883806 h 1174750"/>
                  <a:gd name="connsiteX29" fmla="*/ 940450 w 1174750"/>
                  <a:gd name="connsiteY29" fmla="*/ 926599 h 1174750"/>
                  <a:gd name="connsiteX30" fmla="*/ 982662 w 1174750"/>
                  <a:gd name="connsiteY30" fmla="*/ 1022349 h 1174750"/>
                  <a:gd name="connsiteX31" fmla="*/ 925512 w 1174750"/>
                  <a:gd name="connsiteY31" fmla="*/ 1069974 h 1174750"/>
                  <a:gd name="connsiteX32" fmla="*/ 840644 w 1174750"/>
                  <a:gd name="connsiteY32" fmla="*/ 1006841 h 1174750"/>
                  <a:gd name="connsiteX33" fmla="*/ 814145 w 1174750"/>
                  <a:gd name="connsiteY33" fmla="*/ 1024591 h 1174750"/>
                  <a:gd name="connsiteX34" fmla="*/ 781185 w 1174750"/>
                  <a:gd name="connsiteY34" fmla="*/ 1037594 h 1174750"/>
                  <a:gd name="connsiteX35" fmla="*/ 784225 w 1174750"/>
                  <a:gd name="connsiteY35" fmla="*/ 1143000 h 1174750"/>
                  <a:gd name="connsiteX36" fmla="*/ 711200 w 1174750"/>
                  <a:gd name="connsiteY36" fmla="*/ 1163637 h 1174750"/>
                  <a:gd name="connsiteX37" fmla="*/ 658868 w 1174750"/>
                  <a:gd name="connsiteY37" fmla="*/ 1073062 h 1174750"/>
                  <a:gd name="connsiteX38" fmla="*/ 635880 w 1174750"/>
                  <a:gd name="connsiteY38" fmla="*/ 1077436 h 1174750"/>
                  <a:gd name="connsiteX39" fmla="*/ 597489 w 1174750"/>
                  <a:gd name="connsiteY39" fmla="*/ 1076843 h 1174750"/>
                  <a:gd name="connsiteX40" fmla="*/ 560387 w 1174750"/>
                  <a:gd name="connsiteY40" fmla="*/ 1174750 h 1174750"/>
                  <a:gd name="connsiteX41" fmla="*/ 485774 w 1174750"/>
                  <a:gd name="connsiteY41" fmla="*/ 1166813 h 1174750"/>
                  <a:gd name="connsiteX42" fmla="*/ 470244 w 1174750"/>
                  <a:gd name="connsiteY42" fmla="*/ 1062239 h 1174750"/>
                  <a:gd name="connsiteX43" fmla="*/ 419327 w 1174750"/>
                  <a:gd name="connsiteY43" fmla="*/ 1049708 h 1174750"/>
                  <a:gd name="connsiteX44" fmla="*/ 404822 w 1174750"/>
                  <a:gd name="connsiteY44" fmla="*/ 1043134 h 1174750"/>
                  <a:gd name="connsiteX45" fmla="*/ 333374 w 1174750"/>
                  <a:gd name="connsiteY45" fmla="*/ 1117600 h 1174750"/>
                  <a:gd name="connsiteX46" fmla="*/ 268287 w 1174750"/>
                  <a:gd name="connsiteY46" fmla="*/ 1081088 h 1174750"/>
                  <a:gd name="connsiteX47" fmla="*/ 294359 w 1174750"/>
                  <a:gd name="connsiteY47" fmla="*/ 981814 h 1174750"/>
                  <a:gd name="connsiteX48" fmla="*/ 292795 w 1174750"/>
                  <a:gd name="connsiteY48" fmla="*/ 980808 h 1174750"/>
                  <a:gd name="connsiteX49" fmla="*/ 249696 w 1174750"/>
                  <a:gd name="connsiteY49" fmla="*/ 940224 h 1174750"/>
                  <a:gd name="connsiteX50" fmla="*/ 152399 w 1174750"/>
                  <a:gd name="connsiteY50" fmla="*/ 982662 h 1174750"/>
                  <a:gd name="connsiteX51" fmla="*/ 106362 w 1174750"/>
                  <a:gd name="connsiteY51" fmla="*/ 925512 h 1174750"/>
                  <a:gd name="connsiteX52" fmla="*/ 169531 w 1174750"/>
                  <a:gd name="connsiteY52" fmla="*/ 840597 h 1174750"/>
                  <a:gd name="connsiteX53" fmla="*/ 151782 w 1174750"/>
                  <a:gd name="connsiteY53" fmla="*/ 814144 h 1174750"/>
                  <a:gd name="connsiteX54" fmla="*/ 138529 w 1174750"/>
                  <a:gd name="connsiteY54" fmla="*/ 780584 h 1174750"/>
                  <a:gd name="connsiteX55" fmla="*/ 31749 w 1174750"/>
                  <a:gd name="connsiteY55" fmla="*/ 782637 h 1174750"/>
                  <a:gd name="connsiteX56" fmla="*/ 11112 w 1174750"/>
                  <a:gd name="connsiteY56" fmla="*/ 712787 h 1174750"/>
                  <a:gd name="connsiteX57" fmla="*/ 103243 w 1174750"/>
                  <a:gd name="connsiteY57" fmla="*/ 658532 h 1174750"/>
                  <a:gd name="connsiteX58" fmla="*/ 98900 w 1174750"/>
                  <a:gd name="connsiteY58" fmla="*/ 635651 h 1174750"/>
                  <a:gd name="connsiteX59" fmla="*/ 99486 w 1174750"/>
                  <a:gd name="connsiteY59" fmla="*/ 597694 h 1174750"/>
                  <a:gd name="connsiteX60" fmla="*/ 0 w 1174750"/>
                  <a:gd name="connsiteY60" fmla="*/ 560387 h 1174750"/>
                  <a:gd name="connsiteX61" fmla="*/ 7937 w 1174750"/>
                  <a:gd name="connsiteY61" fmla="*/ 485775 h 1174750"/>
                  <a:gd name="connsiteX62" fmla="*/ 114022 w 1174750"/>
                  <a:gd name="connsiteY62" fmla="*/ 470174 h 1174750"/>
                  <a:gd name="connsiteX63" fmla="*/ 126629 w 1174750"/>
                  <a:gd name="connsiteY63" fmla="*/ 418946 h 1174750"/>
                  <a:gd name="connsiteX64" fmla="*/ 132605 w 1174750"/>
                  <a:gd name="connsiteY64" fmla="*/ 405771 h 1174750"/>
                  <a:gd name="connsiteX65" fmla="*/ 57150 w 1174750"/>
                  <a:gd name="connsiteY65" fmla="*/ 333375 h 1174750"/>
                  <a:gd name="connsiteX66" fmla="*/ 93662 w 1174750"/>
                  <a:gd name="connsiteY66" fmla="*/ 268287 h 1174750"/>
                  <a:gd name="connsiteX67" fmla="*/ 194147 w 1174750"/>
                  <a:gd name="connsiteY67" fmla="*/ 294677 h 1174750"/>
                  <a:gd name="connsiteX68" fmla="*/ 195530 w 1174750"/>
                  <a:gd name="connsiteY68" fmla="*/ 292531 h 1174750"/>
                  <a:gd name="connsiteX69" fmla="*/ 235678 w 1174750"/>
                  <a:gd name="connsiteY69" fmla="*/ 249961 h 1174750"/>
                  <a:gd name="connsiteX70" fmla="*/ 192087 w 1174750"/>
                  <a:gd name="connsiteY70" fmla="*/ 152400 h 1174750"/>
                  <a:gd name="connsiteX71" fmla="*/ 250824 w 1174750"/>
                  <a:gd name="connsiteY71" fmla="*/ 106362 h 1174750"/>
                  <a:gd name="connsiteX72" fmla="*/ 335694 w 1174750"/>
                  <a:gd name="connsiteY72" fmla="*/ 169496 h 1174750"/>
                  <a:gd name="connsiteX73" fmla="*/ 362193 w 1174750"/>
                  <a:gd name="connsiteY73" fmla="*/ 151746 h 1174750"/>
                  <a:gd name="connsiteX74" fmla="*/ 395198 w 1174750"/>
                  <a:gd name="connsiteY74" fmla="*/ 138726 h 1174750"/>
                  <a:gd name="connsiteX75" fmla="*/ 392112 w 1174750"/>
                  <a:gd name="connsiteY75" fmla="*/ 31750 h 1174750"/>
                  <a:gd name="connsiteX76" fmla="*/ 463549 w 1174750"/>
                  <a:gd name="connsiteY76" fmla="*/ 11112 h 1174750"/>
                  <a:gd name="connsiteX77" fmla="*/ 518238 w 1174750"/>
                  <a:gd name="connsiteY77" fmla="*/ 103979 h 1174750"/>
                  <a:gd name="connsiteX78" fmla="*/ 552910 w 1174750"/>
                  <a:gd name="connsiteY78" fmla="*/ 97845 h 1174750"/>
                  <a:gd name="connsiteX79" fmla="*/ 577990 w 1174750"/>
                  <a:gd name="connsiteY79" fmla="*/ 98490 h 117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174750" h="1174750">
                    <a:moveTo>
                      <a:pt x="615950" y="0"/>
                    </a:moveTo>
                    <a:lnTo>
                      <a:pt x="690562" y="7938"/>
                    </a:lnTo>
                    <a:lnTo>
                      <a:pt x="704967" y="112884"/>
                    </a:lnTo>
                    <a:lnTo>
                      <a:pt x="742050" y="121270"/>
                    </a:lnTo>
                    <a:lnTo>
                      <a:pt x="769468" y="133166"/>
                    </a:lnTo>
                    <a:lnTo>
                      <a:pt x="841375" y="57150"/>
                    </a:lnTo>
                    <a:lnTo>
                      <a:pt x="908050" y="93663"/>
                    </a:lnTo>
                    <a:lnTo>
                      <a:pt x="881353" y="195319"/>
                    </a:lnTo>
                    <a:lnTo>
                      <a:pt x="896621" y="205513"/>
                    </a:lnTo>
                    <a:lnTo>
                      <a:pt x="927173" y="235070"/>
                    </a:lnTo>
                    <a:lnTo>
                      <a:pt x="1022350" y="192087"/>
                    </a:lnTo>
                    <a:lnTo>
                      <a:pt x="1069975" y="250824"/>
                    </a:lnTo>
                    <a:lnTo>
                      <a:pt x="1008057" y="334058"/>
                    </a:lnTo>
                    <a:lnTo>
                      <a:pt x="1012850" y="340787"/>
                    </a:lnTo>
                    <a:lnTo>
                      <a:pt x="1035896" y="395218"/>
                    </a:lnTo>
                    <a:lnTo>
                      <a:pt x="1144588" y="392112"/>
                    </a:lnTo>
                    <a:lnTo>
                      <a:pt x="1165225" y="463549"/>
                    </a:lnTo>
                    <a:lnTo>
                      <a:pt x="1072819" y="516353"/>
                    </a:lnTo>
                    <a:lnTo>
                      <a:pt x="1077438" y="540687"/>
                    </a:lnTo>
                    <a:lnTo>
                      <a:pt x="1076865" y="577826"/>
                    </a:lnTo>
                    <a:lnTo>
                      <a:pt x="1174750" y="615950"/>
                    </a:lnTo>
                    <a:lnTo>
                      <a:pt x="1166813" y="690562"/>
                    </a:lnTo>
                    <a:lnTo>
                      <a:pt x="1062601" y="705007"/>
                    </a:lnTo>
                    <a:lnTo>
                      <a:pt x="1049710" y="757392"/>
                    </a:lnTo>
                    <a:lnTo>
                      <a:pt x="1043913" y="770170"/>
                    </a:lnTo>
                    <a:lnTo>
                      <a:pt x="1119188" y="841375"/>
                    </a:lnTo>
                    <a:lnTo>
                      <a:pt x="1082676" y="908050"/>
                    </a:lnTo>
                    <a:lnTo>
                      <a:pt x="982045" y="881886"/>
                    </a:lnTo>
                    <a:lnTo>
                      <a:pt x="980809" y="883806"/>
                    </a:lnTo>
                    <a:lnTo>
                      <a:pt x="940450" y="926599"/>
                    </a:lnTo>
                    <a:lnTo>
                      <a:pt x="982662" y="1022349"/>
                    </a:lnTo>
                    <a:lnTo>
                      <a:pt x="925512" y="1069974"/>
                    </a:lnTo>
                    <a:lnTo>
                      <a:pt x="840644" y="1006841"/>
                    </a:lnTo>
                    <a:lnTo>
                      <a:pt x="814145" y="1024591"/>
                    </a:lnTo>
                    <a:lnTo>
                      <a:pt x="781185" y="1037594"/>
                    </a:lnTo>
                    <a:lnTo>
                      <a:pt x="784225" y="1143000"/>
                    </a:lnTo>
                    <a:lnTo>
                      <a:pt x="711200" y="1163637"/>
                    </a:lnTo>
                    <a:lnTo>
                      <a:pt x="658868" y="1073062"/>
                    </a:lnTo>
                    <a:lnTo>
                      <a:pt x="635880" y="1077436"/>
                    </a:lnTo>
                    <a:lnTo>
                      <a:pt x="597489" y="1076843"/>
                    </a:lnTo>
                    <a:lnTo>
                      <a:pt x="560387" y="1174750"/>
                    </a:lnTo>
                    <a:lnTo>
                      <a:pt x="485774" y="1166813"/>
                    </a:lnTo>
                    <a:lnTo>
                      <a:pt x="470244" y="1062239"/>
                    </a:lnTo>
                    <a:lnTo>
                      <a:pt x="419327" y="1049708"/>
                    </a:lnTo>
                    <a:lnTo>
                      <a:pt x="404822" y="1043134"/>
                    </a:lnTo>
                    <a:lnTo>
                      <a:pt x="333374" y="1117600"/>
                    </a:lnTo>
                    <a:lnTo>
                      <a:pt x="268287" y="1081088"/>
                    </a:lnTo>
                    <a:lnTo>
                      <a:pt x="294359" y="981814"/>
                    </a:lnTo>
                    <a:lnTo>
                      <a:pt x="292795" y="980808"/>
                    </a:lnTo>
                    <a:lnTo>
                      <a:pt x="249696" y="940224"/>
                    </a:lnTo>
                    <a:lnTo>
                      <a:pt x="152399" y="982662"/>
                    </a:lnTo>
                    <a:lnTo>
                      <a:pt x="106362" y="925512"/>
                    </a:lnTo>
                    <a:lnTo>
                      <a:pt x="169531" y="840597"/>
                    </a:lnTo>
                    <a:lnTo>
                      <a:pt x="151782" y="814144"/>
                    </a:lnTo>
                    <a:lnTo>
                      <a:pt x="138529" y="780584"/>
                    </a:lnTo>
                    <a:lnTo>
                      <a:pt x="31749" y="782637"/>
                    </a:lnTo>
                    <a:lnTo>
                      <a:pt x="11112" y="712787"/>
                    </a:lnTo>
                    <a:lnTo>
                      <a:pt x="103243" y="658532"/>
                    </a:lnTo>
                    <a:lnTo>
                      <a:pt x="98900" y="635651"/>
                    </a:lnTo>
                    <a:lnTo>
                      <a:pt x="99486" y="597694"/>
                    </a:lnTo>
                    <a:lnTo>
                      <a:pt x="0" y="560387"/>
                    </a:lnTo>
                    <a:lnTo>
                      <a:pt x="7937" y="485775"/>
                    </a:lnTo>
                    <a:lnTo>
                      <a:pt x="114022" y="470174"/>
                    </a:lnTo>
                    <a:lnTo>
                      <a:pt x="126629" y="418946"/>
                    </a:lnTo>
                    <a:lnTo>
                      <a:pt x="132605" y="405771"/>
                    </a:lnTo>
                    <a:lnTo>
                      <a:pt x="57150" y="333375"/>
                    </a:lnTo>
                    <a:lnTo>
                      <a:pt x="93662" y="268287"/>
                    </a:lnTo>
                    <a:lnTo>
                      <a:pt x="194147" y="294677"/>
                    </a:lnTo>
                    <a:lnTo>
                      <a:pt x="195530" y="292531"/>
                    </a:lnTo>
                    <a:lnTo>
                      <a:pt x="235678" y="249961"/>
                    </a:lnTo>
                    <a:lnTo>
                      <a:pt x="192087" y="152400"/>
                    </a:lnTo>
                    <a:lnTo>
                      <a:pt x="250824" y="106362"/>
                    </a:lnTo>
                    <a:lnTo>
                      <a:pt x="335694" y="169496"/>
                    </a:lnTo>
                    <a:lnTo>
                      <a:pt x="362193" y="151746"/>
                    </a:lnTo>
                    <a:lnTo>
                      <a:pt x="395198" y="138726"/>
                    </a:lnTo>
                    <a:lnTo>
                      <a:pt x="392112" y="31750"/>
                    </a:lnTo>
                    <a:lnTo>
                      <a:pt x="463549" y="11112"/>
                    </a:lnTo>
                    <a:lnTo>
                      <a:pt x="518238" y="103979"/>
                    </a:lnTo>
                    <a:lnTo>
                      <a:pt x="552910" y="97845"/>
                    </a:lnTo>
                    <a:lnTo>
                      <a:pt x="577990" y="98490"/>
                    </a:lnTo>
                    <a:close/>
                  </a:path>
                </a:pathLst>
              </a:custGeom>
              <a:solidFill>
                <a:srgbClr val="86BC25"/>
              </a:solidFill>
              <a:ln>
                <a:noFill/>
              </a:ln>
            </p:spPr>
            <p:txBody>
              <a:bodyPr vert="horz" wrap="square" lIns="91440" tIns="45720" rIns="91440" bIns="45720" numCol="1" anchor="t" anchorCtr="0" compatLnSpc="1">
                <a:noAutofit/>
              </a:bodyPr>
              <a:lstStyle/>
              <a:p>
                <a:endParaRPr lang="en-US"/>
              </a:p>
            </p:txBody>
          </p:sp>
          <p:sp>
            <p:nvSpPr>
              <p:cNvPr id="228" name="Freeform 48"/>
              <p:cNvSpPr/>
              <p:nvPr/>
            </p:nvSpPr>
            <p:spPr bwMode="auto">
              <a:xfrm>
                <a:off x="9476164" y="2598133"/>
                <a:ext cx="555587" cy="555586"/>
              </a:xfrm>
              <a:custGeom>
                <a:avLst/>
                <a:gdLst>
                  <a:gd name="T0" fmla="*/ 60 w 883"/>
                  <a:gd name="T1" fmla="*/ 549 h 883"/>
                  <a:gd name="T2" fmla="*/ 550 w 883"/>
                  <a:gd name="T3" fmla="*/ 824 h 883"/>
                  <a:gd name="T4" fmla="*/ 824 w 883"/>
                  <a:gd name="T5" fmla="*/ 334 h 883"/>
                  <a:gd name="T6" fmla="*/ 334 w 883"/>
                  <a:gd name="T7" fmla="*/ 60 h 883"/>
                  <a:gd name="T8" fmla="*/ 60 w 883"/>
                  <a:gd name="T9" fmla="*/ 549 h 883"/>
                </a:gdLst>
                <a:ahLst/>
                <a:cxnLst>
                  <a:cxn ang="0">
                    <a:pos x="T0" y="T1"/>
                  </a:cxn>
                  <a:cxn ang="0">
                    <a:pos x="T2" y="T3"/>
                  </a:cxn>
                  <a:cxn ang="0">
                    <a:pos x="T4" y="T5"/>
                  </a:cxn>
                  <a:cxn ang="0">
                    <a:pos x="T6" y="T7"/>
                  </a:cxn>
                  <a:cxn ang="0">
                    <a:pos x="T8" y="T9"/>
                  </a:cxn>
                </a:cxnLst>
                <a:rect l="0" t="0" r="r" b="b"/>
                <a:pathLst>
                  <a:path w="883" h="883">
                    <a:moveTo>
                      <a:pt x="60" y="549"/>
                    </a:moveTo>
                    <a:cubicBezTo>
                      <a:pt x="119" y="760"/>
                      <a:pt x="339" y="883"/>
                      <a:pt x="550" y="824"/>
                    </a:cubicBezTo>
                    <a:cubicBezTo>
                      <a:pt x="761" y="764"/>
                      <a:pt x="883" y="545"/>
                      <a:pt x="824" y="334"/>
                    </a:cubicBezTo>
                    <a:cubicBezTo>
                      <a:pt x="764" y="123"/>
                      <a:pt x="545" y="0"/>
                      <a:pt x="334" y="60"/>
                    </a:cubicBezTo>
                    <a:cubicBezTo>
                      <a:pt x="123" y="119"/>
                      <a:pt x="0" y="338"/>
                      <a:pt x="60" y="549"/>
                    </a:cubicBezTo>
                    <a:close/>
                  </a:path>
                </a:pathLst>
              </a:custGeom>
              <a:solidFill>
                <a:srgbClr val="000000"/>
              </a:solidFill>
              <a:ln>
                <a:noFill/>
              </a:ln>
            </p:spPr>
            <p:txBody>
              <a:bodyPr vert="horz" wrap="square" lIns="91440" tIns="45720" rIns="91440" bIns="45720" numCol="1" anchor="t" anchorCtr="0" compatLnSpc="1"/>
              <a:lstStyle/>
              <a:p>
                <a:endParaRPr lang="en-US"/>
              </a:p>
            </p:txBody>
          </p:sp>
          <p:sp>
            <p:nvSpPr>
              <p:cNvPr id="234" name="Oval 22"/>
              <p:cNvSpPr>
                <a:spLocks noChangeArrowheads="1"/>
              </p:cNvSpPr>
              <p:nvPr/>
            </p:nvSpPr>
            <p:spPr bwMode="auto">
              <a:xfrm>
                <a:off x="9678402" y="2800371"/>
                <a:ext cx="153383" cy="153382"/>
              </a:xfrm>
              <a:prstGeom prst="ellipse">
                <a:avLst/>
              </a:prstGeom>
              <a:noFill/>
              <a:ln w="104775" cap="flat">
                <a:solidFill>
                  <a:srgbClr val="86BC2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grpSp>
          <p:nvGrpSpPr>
            <p:cNvPr id="247" name="组合 246"/>
            <p:cNvGrpSpPr/>
            <p:nvPr/>
          </p:nvGrpSpPr>
          <p:grpSpPr>
            <a:xfrm>
              <a:off x="9129573" y="4500310"/>
              <a:ext cx="714650" cy="713514"/>
              <a:chOff x="9136448" y="4472810"/>
              <a:chExt cx="714650" cy="713514"/>
            </a:xfrm>
          </p:grpSpPr>
          <p:sp>
            <p:nvSpPr>
              <p:cNvPr id="222" name="Freeform 4"/>
              <p:cNvSpPr/>
              <p:nvPr/>
            </p:nvSpPr>
            <p:spPr bwMode="auto">
              <a:xfrm>
                <a:off x="9136448" y="4472810"/>
                <a:ext cx="714650" cy="713514"/>
              </a:xfrm>
              <a:custGeom>
                <a:avLst/>
                <a:gdLst>
                  <a:gd name="connsiteX0" fmla="*/ 414337 w 998538"/>
                  <a:gd name="connsiteY0" fmla="*/ 0 h 996950"/>
                  <a:gd name="connsiteX1" fmla="*/ 479337 w 998538"/>
                  <a:gd name="connsiteY1" fmla="*/ 109032 h 996950"/>
                  <a:gd name="connsiteX2" fmla="*/ 546972 w 998538"/>
                  <a:gd name="connsiteY2" fmla="*/ 110548 h 996950"/>
                  <a:gd name="connsiteX3" fmla="*/ 620653 w 998538"/>
                  <a:gd name="connsiteY3" fmla="*/ 127113 h 996950"/>
                  <a:gd name="connsiteX4" fmla="*/ 711201 w 998538"/>
                  <a:gd name="connsiteY4" fmla="*/ 39688 h 996950"/>
                  <a:gd name="connsiteX5" fmla="*/ 792163 w 998538"/>
                  <a:gd name="connsiteY5" fmla="*/ 87313 h 996950"/>
                  <a:gd name="connsiteX6" fmla="*/ 760994 w 998538"/>
                  <a:gd name="connsiteY6" fmla="*/ 208872 h 996950"/>
                  <a:gd name="connsiteX7" fmla="*/ 805799 w 998538"/>
                  <a:gd name="connsiteY7" fmla="*/ 254804 h 996950"/>
                  <a:gd name="connsiteX8" fmla="*/ 838031 w 998538"/>
                  <a:gd name="connsiteY8" fmla="*/ 301428 h 996950"/>
                  <a:gd name="connsiteX9" fmla="*/ 847795 w 998538"/>
                  <a:gd name="connsiteY9" fmla="*/ 321218 h 996950"/>
                  <a:gd name="connsiteX10" fmla="*/ 973138 w 998538"/>
                  <a:gd name="connsiteY10" fmla="*/ 322263 h 996950"/>
                  <a:gd name="connsiteX11" fmla="*/ 998538 w 998538"/>
                  <a:gd name="connsiteY11" fmla="*/ 414338 h 996950"/>
                  <a:gd name="connsiteX12" fmla="*/ 890497 w 998538"/>
                  <a:gd name="connsiteY12" fmla="*/ 478747 h 996950"/>
                  <a:gd name="connsiteX13" fmla="*/ 890774 w 998538"/>
                  <a:gd name="connsiteY13" fmla="*/ 527148 h 996950"/>
                  <a:gd name="connsiteX14" fmla="*/ 882299 w 998538"/>
                  <a:gd name="connsiteY14" fmla="*/ 584940 h 996950"/>
                  <a:gd name="connsiteX15" fmla="*/ 871815 w 998538"/>
                  <a:gd name="connsiteY15" fmla="*/ 619468 h 996950"/>
                  <a:gd name="connsiteX16" fmla="*/ 958851 w 998538"/>
                  <a:gd name="connsiteY16" fmla="*/ 709612 h 996950"/>
                  <a:gd name="connsiteX17" fmla="*/ 911226 w 998538"/>
                  <a:gd name="connsiteY17" fmla="*/ 792162 h 996950"/>
                  <a:gd name="connsiteX18" fmla="*/ 787774 w 998538"/>
                  <a:gd name="connsiteY18" fmla="*/ 760508 h 996950"/>
                  <a:gd name="connsiteX19" fmla="*/ 772513 w 998538"/>
                  <a:gd name="connsiteY19" fmla="*/ 780248 h 996950"/>
                  <a:gd name="connsiteX20" fmla="*/ 680686 w 998538"/>
                  <a:gd name="connsiteY20" fmla="*/ 846352 h 996950"/>
                  <a:gd name="connsiteX21" fmla="*/ 677312 w 998538"/>
                  <a:gd name="connsiteY21" fmla="*/ 847695 h 996950"/>
                  <a:gd name="connsiteX22" fmla="*/ 676276 w 998538"/>
                  <a:gd name="connsiteY22" fmla="*/ 973138 h 996950"/>
                  <a:gd name="connsiteX23" fmla="*/ 584201 w 998538"/>
                  <a:gd name="connsiteY23" fmla="*/ 996950 h 996950"/>
                  <a:gd name="connsiteX24" fmla="*/ 519821 w 998538"/>
                  <a:gd name="connsiteY24" fmla="*/ 888959 h 996950"/>
                  <a:gd name="connsiteX25" fmla="*/ 470892 w 998538"/>
                  <a:gd name="connsiteY25" fmla="*/ 889254 h 996950"/>
                  <a:gd name="connsiteX26" fmla="*/ 379143 w 998538"/>
                  <a:gd name="connsiteY26" fmla="*/ 870730 h 996950"/>
                  <a:gd name="connsiteX27" fmla="*/ 288925 w 998538"/>
                  <a:gd name="connsiteY27" fmla="*/ 958850 h 996950"/>
                  <a:gd name="connsiteX28" fmla="*/ 206375 w 998538"/>
                  <a:gd name="connsiteY28" fmla="*/ 911225 h 996950"/>
                  <a:gd name="connsiteX29" fmla="*/ 237029 w 998538"/>
                  <a:gd name="connsiteY29" fmla="*/ 786493 h 996950"/>
                  <a:gd name="connsiteX30" fmla="*/ 207771 w 998538"/>
                  <a:gd name="connsiteY30" fmla="*/ 761387 h 996950"/>
                  <a:gd name="connsiteX31" fmla="*/ 151139 w 998538"/>
                  <a:gd name="connsiteY31" fmla="*/ 680106 h 996950"/>
                  <a:gd name="connsiteX32" fmla="*/ 149800 w 998538"/>
                  <a:gd name="connsiteY32" fmla="*/ 676770 h 996950"/>
                  <a:gd name="connsiteX33" fmla="*/ 23812 w 998538"/>
                  <a:gd name="connsiteY33" fmla="*/ 674687 h 996950"/>
                  <a:gd name="connsiteX34" fmla="*/ 0 w 998538"/>
                  <a:gd name="connsiteY34" fmla="*/ 582612 h 996950"/>
                  <a:gd name="connsiteX35" fmla="*/ 108043 w 998538"/>
                  <a:gd name="connsiteY35" fmla="*/ 519241 h 996950"/>
                  <a:gd name="connsiteX36" fmla="*/ 107765 w 998538"/>
                  <a:gd name="connsiteY36" fmla="*/ 470735 h 996950"/>
                  <a:gd name="connsiteX37" fmla="*/ 126816 w 998538"/>
                  <a:gd name="connsiteY37" fmla="*/ 377577 h 996950"/>
                  <a:gd name="connsiteX38" fmla="*/ 39688 w 998538"/>
                  <a:gd name="connsiteY38" fmla="*/ 287338 h 996950"/>
                  <a:gd name="connsiteX39" fmla="*/ 87313 w 998538"/>
                  <a:gd name="connsiteY39" fmla="*/ 206375 h 996950"/>
                  <a:gd name="connsiteX40" fmla="*/ 210783 w 998538"/>
                  <a:gd name="connsiteY40" fmla="*/ 238034 h 996950"/>
                  <a:gd name="connsiteX41" fmla="*/ 236348 w 998538"/>
                  <a:gd name="connsiteY41" fmla="*/ 208415 h 996950"/>
                  <a:gd name="connsiteX42" fmla="*/ 317853 w 998538"/>
                  <a:gd name="connsiteY42" fmla="*/ 151801 h 996950"/>
                  <a:gd name="connsiteX43" fmla="*/ 321216 w 998538"/>
                  <a:gd name="connsiteY43" fmla="*/ 150452 h 996950"/>
                  <a:gd name="connsiteX44" fmla="*/ 322262 w 998538"/>
                  <a:gd name="connsiteY44" fmla="*/ 23812 h 99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98538" h="996950">
                    <a:moveTo>
                      <a:pt x="414337" y="0"/>
                    </a:moveTo>
                    <a:lnTo>
                      <a:pt x="479337" y="109032"/>
                    </a:lnTo>
                    <a:lnTo>
                      <a:pt x="546972" y="110548"/>
                    </a:lnTo>
                    <a:lnTo>
                      <a:pt x="620653" y="127113"/>
                    </a:lnTo>
                    <a:lnTo>
                      <a:pt x="711201" y="39688"/>
                    </a:lnTo>
                    <a:lnTo>
                      <a:pt x="792163" y="87313"/>
                    </a:lnTo>
                    <a:lnTo>
                      <a:pt x="760994" y="208872"/>
                    </a:lnTo>
                    <a:lnTo>
                      <a:pt x="805799" y="254804"/>
                    </a:lnTo>
                    <a:cubicBezTo>
                      <a:pt x="817614" y="269493"/>
                      <a:pt x="828398" y="285067"/>
                      <a:pt x="838031" y="301428"/>
                    </a:cubicBezTo>
                    <a:lnTo>
                      <a:pt x="847795" y="321218"/>
                    </a:lnTo>
                    <a:lnTo>
                      <a:pt x="973138" y="322263"/>
                    </a:lnTo>
                    <a:lnTo>
                      <a:pt x="998538" y="414338"/>
                    </a:lnTo>
                    <a:lnTo>
                      <a:pt x="890497" y="478747"/>
                    </a:lnTo>
                    <a:lnTo>
                      <a:pt x="890774" y="527148"/>
                    </a:lnTo>
                    <a:cubicBezTo>
                      <a:pt x="889384" y="546811"/>
                      <a:pt x="886525" y="566115"/>
                      <a:pt x="882299" y="584940"/>
                    </a:cubicBezTo>
                    <a:lnTo>
                      <a:pt x="871815" y="619468"/>
                    </a:lnTo>
                    <a:lnTo>
                      <a:pt x="958851" y="709612"/>
                    </a:lnTo>
                    <a:lnTo>
                      <a:pt x="911226" y="792162"/>
                    </a:lnTo>
                    <a:lnTo>
                      <a:pt x="787774" y="760508"/>
                    </a:lnTo>
                    <a:lnTo>
                      <a:pt x="772513" y="780248"/>
                    </a:lnTo>
                    <a:cubicBezTo>
                      <a:pt x="745462" y="806425"/>
                      <a:pt x="714580" y="828779"/>
                      <a:pt x="680686" y="846352"/>
                    </a:cubicBezTo>
                    <a:lnTo>
                      <a:pt x="677312" y="847695"/>
                    </a:lnTo>
                    <a:lnTo>
                      <a:pt x="676276" y="973138"/>
                    </a:lnTo>
                    <a:lnTo>
                      <a:pt x="584201" y="996950"/>
                    </a:lnTo>
                    <a:lnTo>
                      <a:pt x="519821" y="888959"/>
                    </a:lnTo>
                    <a:lnTo>
                      <a:pt x="470892" y="889254"/>
                    </a:lnTo>
                    <a:lnTo>
                      <a:pt x="379143" y="870730"/>
                    </a:lnTo>
                    <a:lnTo>
                      <a:pt x="288925" y="958850"/>
                    </a:lnTo>
                    <a:lnTo>
                      <a:pt x="206375" y="911225"/>
                    </a:lnTo>
                    <a:lnTo>
                      <a:pt x="237029" y="786493"/>
                    </a:lnTo>
                    <a:lnTo>
                      <a:pt x="207771" y="761387"/>
                    </a:lnTo>
                    <a:cubicBezTo>
                      <a:pt x="185674" y="736979"/>
                      <a:pt x="166586" y="709707"/>
                      <a:pt x="151139" y="680106"/>
                    </a:cubicBezTo>
                    <a:lnTo>
                      <a:pt x="149800" y="676770"/>
                    </a:lnTo>
                    <a:lnTo>
                      <a:pt x="23812" y="674687"/>
                    </a:lnTo>
                    <a:lnTo>
                      <a:pt x="0" y="582612"/>
                    </a:lnTo>
                    <a:lnTo>
                      <a:pt x="108043" y="519241"/>
                    </a:lnTo>
                    <a:lnTo>
                      <a:pt x="107765" y="470735"/>
                    </a:lnTo>
                    <a:lnTo>
                      <a:pt x="126816" y="377577"/>
                    </a:lnTo>
                    <a:lnTo>
                      <a:pt x="39688" y="287338"/>
                    </a:lnTo>
                    <a:lnTo>
                      <a:pt x="87313" y="206375"/>
                    </a:lnTo>
                    <a:lnTo>
                      <a:pt x="210783" y="238034"/>
                    </a:lnTo>
                    <a:lnTo>
                      <a:pt x="236348" y="208415"/>
                    </a:lnTo>
                    <a:cubicBezTo>
                      <a:pt x="260844" y="186335"/>
                      <a:pt x="288196" y="167250"/>
                      <a:pt x="317853" y="151801"/>
                    </a:cubicBezTo>
                    <a:lnTo>
                      <a:pt x="321216" y="150452"/>
                    </a:lnTo>
                    <a:lnTo>
                      <a:pt x="322262" y="23812"/>
                    </a:lnTo>
                    <a:close/>
                  </a:path>
                </a:pathLst>
              </a:custGeom>
              <a:solidFill>
                <a:srgbClr val="C4D600"/>
              </a:solidFill>
              <a:ln>
                <a:noFill/>
              </a:ln>
            </p:spPr>
            <p:txBody>
              <a:bodyPr vert="horz" wrap="square" lIns="91440" tIns="45720" rIns="91440" bIns="45720" numCol="1" anchor="t" anchorCtr="0" compatLnSpc="1">
                <a:noAutofit/>
              </a:bodyPr>
              <a:lstStyle/>
              <a:p>
                <a:endParaRPr lang="en-US"/>
              </a:p>
            </p:txBody>
          </p:sp>
          <p:sp>
            <p:nvSpPr>
              <p:cNvPr id="229" name="Freeform 66"/>
              <p:cNvSpPr/>
              <p:nvPr/>
            </p:nvSpPr>
            <p:spPr bwMode="auto">
              <a:xfrm>
                <a:off x="9288696" y="4625057"/>
                <a:ext cx="410157" cy="410156"/>
              </a:xfrm>
              <a:custGeom>
                <a:avLst/>
                <a:gdLst>
                  <a:gd name="T0" fmla="*/ 13 w 650"/>
                  <a:gd name="T1" fmla="*/ 351 h 651"/>
                  <a:gd name="T2" fmla="*/ 350 w 650"/>
                  <a:gd name="T3" fmla="*/ 637 h 651"/>
                  <a:gd name="T4" fmla="*/ 636 w 650"/>
                  <a:gd name="T5" fmla="*/ 300 h 651"/>
                  <a:gd name="T6" fmla="*/ 300 w 650"/>
                  <a:gd name="T7" fmla="*/ 14 h 651"/>
                  <a:gd name="T8" fmla="*/ 13 w 650"/>
                  <a:gd name="T9" fmla="*/ 351 h 651"/>
                </a:gdLst>
                <a:ahLst/>
                <a:cxnLst>
                  <a:cxn ang="0">
                    <a:pos x="T0" y="T1"/>
                  </a:cxn>
                  <a:cxn ang="0">
                    <a:pos x="T2" y="T3"/>
                  </a:cxn>
                  <a:cxn ang="0">
                    <a:pos x="T4" y="T5"/>
                  </a:cxn>
                  <a:cxn ang="0">
                    <a:pos x="T6" y="T7"/>
                  </a:cxn>
                  <a:cxn ang="0">
                    <a:pos x="T8" y="T9"/>
                  </a:cxn>
                </a:cxnLst>
                <a:rect l="0" t="0" r="r" b="b"/>
                <a:pathLst>
                  <a:path w="650" h="651">
                    <a:moveTo>
                      <a:pt x="13" y="351"/>
                    </a:moveTo>
                    <a:cubicBezTo>
                      <a:pt x="27" y="522"/>
                      <a:pt x="178" y="651"/>
                      <a:pt x="350" y="637"/>
                    </a:cubicBezTo>
                    <a:cubicBezTo>
                      <a:pt x="522" y="623"/>
                      <a:pt x="650" y="472"/>
                      <a:pt x="636" y="300"/>
                    </a:cubicBezTo>
                    <a:cubicBezTo>
                      <a:pt x="622" y="128"/>
                      <a:pt x="471" y="0"/>
                      <a:pt x="300" y="14"/>
                    </a:cubicBezTo>
                    <a:cubicBezTo>
                      <a:pt x="128" y="28"/>
                      <a:pt x="0" y="179"/>
                      <a:pt x="13" y="351"/>
                    </a:cubicBezTo>
                    <a:close/>
                  </a:path>
                </a:pathLst>
              </a:custGeom>
              <a:solidFill>
                <a:srgbClr val="000000"/>
              </a:solidFill>
              <a:ln>
                <a:noFill/>
              </a:ln>
            </p:spPr>
            <p:txBody>
              <a:bodyPr vert="horz" wrap="square" lIns="91440" tIns="45720" rIns="91440" bIns="45720" numCol="1" anchor="t" anchorCtr="0" compatLnSpc="1"/>
              <a:lstStyle/>
              <a:p>
                <a:endParaRPr lang="en-US"/>
              </a:p>
            </p:txBody>
          </p:sp>
          <p:sp>
            <p:nvSpPr>
              <p:cNvPr id="235" name="Oval 23"/>
              <p:cNvSpPr>
                <a:spLocks noChangeArrowheads="1"/>
              </p:cNvSpPr>
              <p:nvPr/>
            </p:nvSpPr>
            <p:spPr bwMode="auto">
              <a:xfrm>
                <a:off x="9415947" y="4754580"/>
                <a:ext cx="153383" cy="152247"/>
              </a:xfrm>
              <a:prstGeom prst="ellipse">
                <a:avLst/>
              </a:prstGeom>
              <a:noFill/>
              <a:ln w="87313" cap="flat">
                <a:solidFill>
                  <a:srgbClr val="C4D60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grpSp>
          <p:nvGrpSpPr>
            <p:cNvPr id="244" name="组合 243"/>
            <p:cNvGrpSpPr/>
            <p:nvPr/>
          </p:nvGrpSpPr>
          <p:grpSpPr>
            <a:xfrm>
              <a:off x="7819282" y="2718902"/>
              <a:ext cx="1619250" cy="1617662"/>
              <a:chOff x="7778982" y="2623451"/>
              <a:chExt cx="1619250" cy="1617662"/>
            </a:xfrm>
          </p:grpSpPr>
          <p:sp>
            <p:nvSpPr>
              <p:cNvPr id="242" name="Freeform 5"/>
              <p:cNvSpPr/>
              <p:nvPr/>
            </p:nvSpPr>
            <p:spPr bwMode="auto">
              <a:xfrm>
                <a:off x="7778982" y="2623451"/>
                <a:ext cx="1619250" cy="1617662"/>
              </a:xfrm>
              <a:custGeom>
                <a:avLst/>
                <a:gdLst>
                  <a:gd name="connsiteX0" fmla="*/ 847725 w 1619250"/>
                  <a:gd name="connsiteY0" fmla="*/ 0 h 1617662"/>
                  <a:gd name="connsiteX1" fmla="*/ 949326 w 1619250"/>
                  <a:gd name="connsiteY1" fmla="*/ 11113 h 1617662"/>
                  <a:gd name="connsiteX2" fmla="*/ 970985 w 1619250"/>
                  <a:gd name="connsiteY2" fmla="*/ 154479 h 1617662"/>
                  <a:gd name="connsiteX3" fmla="*/ 1020676 w 1619250"/>
                  <a:gd name="connsiteY3" fmla="*/ 165666 h 1617662"/>
                  <a:gd name="connsiteX4" fmla="*/ 1059385 w 1619250"/>
                  <a:gd name="connsiteY4" fmla="*/ 182405 h 1617662"/>
                  <a:gd name="connsiteX5" fmla="*/ 1158875 w 1619250"/>
                  <a:gd name="connsiteY5" fmla="*/ 77787 h 1617662"/>
                  <a:gd name="connsiteX6" fmla="*/ 1249362 w 1619250"/>
                  <a:gd name="connsiteY6" fmla="*/ 128587 h 1617662"/>
                  <a:gd name="connsiteX7" fmla="*/ 1212628 w 1619250"/>
                  <a:gd name="connsiteY7" fmla="*/ 267361 h 1617662"/>
                  <a:gd name="connsiteX8" fmla="*/ 1233852 w 1619250"/>
                  <a:gd name="connsiteY8" fmla="*/ 281489 h 1617662"/>
                  <a:gd name="connsiteX9" fmla="*/ 1276002 w 1619250"/>
                  <a:gd name="connsiteY9" fmla="*/ 322146 h 1617662"/>
                  <a:gd name="connsiteX10" fmla="*/ 1409700 w 1619250"/>
                  <a:gd name="connsiteY10" fmla="*/ 263525 h 1617662"/>
                  <a:gd name="connsiteX11" fmla="*/ 1473200 w 1619250"/>
                  <a:gd name="connsiteY11" fmla="*/ 344488 h 1617662"/>
                  <a:gd name="connsiteX12" fmla="*/ 1387587 w 1619250"/>
                  <a:gd name="connsiteY12" fmla="*/ 458303 h 1617662"/>
                  <a:gd name="connsiteX13" fmla="*/ 1394228 w 1619250"/>
                  <a:gd name="connsiteY13" fmla="*/ 467599 h 1617662"/>
                  <a:gd name="connsiteX14" fmla="*/ 1431944 w 1619250"/>
                  <a:gd name="connsiteY14" fmla="*/ 542726 h 1617662"/>
                  <a:gd name="connsiteX15" fmla="*/ 1574800 w 1619250"/>
                  <a:gd name="connsiteY15" fmla="*/ 539750 h 1617662"/>
                  <a:gd name="connsiteX16" fmla="*/ 1603375 w 1619250"/>
                  <a:gd name="connsiteY16" fmla="*/ 638175 h 1617662"/>
                  <a:gd name="connsiteX17" fmla="*/ 1477160 w 1619250"/>
                  <a:gd name="connsiteY17" fmla="*/ 710875 h 1617662"/>
                  <a:gd name="connsiteX18" fmla="*/ 1483169 w 1619250"/>
                  <a:gd name="connsiteY18" fmla="*/ 742768 h 1617662"/>
                  <a:gd name="connsiteX19" fmla="*/ 1485310 w 1619250"/>
                  <a:gd name="connsiteY19" fmla="*/ 795975 h 1617662"/>
                  <a:gd name="connsiteX20" fmla="*/ 1619250 w 1619250"/>
                  <a:gd name="connsiteY20" fmla="*/ 847724 h 1617662"/>
                  <a:gd name="connsiteX21" fmla="*/ 1606550 w 1619250"/>
                  <a:gd name="connsiteY21" fmla="*/ 949324 h 1617662"/>
                  <a:gd name="connsiteX22" fmla="*/ 1466784 w 1619250"/>
                  <a:gd name="connsiteY22" fmla="*/ 969434 h 1617662"/>
                  <a:gd name="connsiteX23" fmla="*/ 1466709 w 1619250"/>
                  <a:gd name="connsiteY23" fmla="*/ 969830 h 1617662"/>
                  <a:gd name="connsiteX24" fmla="*/ 1444759 w 1619250"/>
                  <a:gd name="connsiteY24" fmla="*/ 1041504 h 1617662"/>
                  <a:gd name="connsiteX25" fmla="*/ 1436556 w 1619250"/>
                  <a:gd name="connsiteY25" fmla="*/ 1059607 h 1617662"/>
                  <a:gd name="connsiteX26" fmla="*/ 1539875 w 1619250"/>
                  <a:gd name="connsiteY26" fmla="*/ 1158875 h 1617662"/>
                  <a:gd name="connsiteX27" fmla="*/ 1490663 w 1619250"/>
                  <a:gd name="connsiteY27" fmla="*/ 1247775 h 1617662"/>
                  <a:gd name="connsiteX28" fmla="*/ 1352092 w 1619250"/>
                  <a:gd name="connsiteY28" fmla="*/ 1212374 h 1617662"/>
                  <a:gd name="connsiteX29" fmla="*/ 1349843 w 1619250"/>
                  <a:gd name="connsiteY29" fmla="*/ 1215872 h 1617662"/>
                  <a:gd name="connsiteX30" fmla="*/ 1294635 w 1619250"/>
                  <a:gd name="connsiteY30" fmla="*/ 1274490 h 1617662"/>
                  <a:gd name="connsiteX31" fmla="*/ 1354138 w 1619250"/>
                  <a:gd name="connsiteY31" fmla="*/ 1408112 h 1617662"/>
                  <a:gd name="connsiteX32" fmla="*/ 1273176 w 1619250"/>
                  <a:gd name="connsiteY32" fmla="*/ 1473199 h 1617662"/>
                  <a:gd name="connsiteX33" fmla="*/ 1157217 w 1619250"/>
                  <a:gd name="connsiteY33" fmla="*/ 1385195 h 1617662"/>
                  <a:gd name="connsiteX34" fmla="*/ 1120350 w 1619250"/>
                  <a:gd name="connsiteY34" fmla="*/ 1409895 h 1617662"/>
                  <a:gd name="connsiteX35" fmla="*/ 1075411 w 1619250"/>
                  <a:gd name="connsiteY35" fmla="*/ 1427570 h 1617662"/>
                  <a:gd name="connsiteX36" fmla="*/ 1079500 w 1619250"/>
                  <a:gd name="connsiteY36" fmla="*/ 1574800 h 1617662"/>
                  <a:gd name="connsiteX37" fmla="*/ 979488 w 1619250"/>
                  <a:gd name="connsiteY37" fmla="*/ 1603375 h 1617662"/>
                  <a:gd name="connsiteX38" fmla="*/ 906418 w 1619250"/>
                  <a:gd name="connsiteY38" fmla="*/ 1476518 h 1617662"/>
                  <a:gd name="connsiteX39" fmla="*/ 874521 w 1619250"/>
                  <a:gd name="connsiteY39" fmla="*/ 1482591 h 1617662"/>
                  <a:gd name="connsiteX40" fmla="*/ 821659 w 1619250"/>
                  <a:gd name="connsiteY40" fmla="*/ 1484809 h 1617662"/>
                  <a:gd name="connsiteX41" fmla="*/ 769938 w 1619250"/>
                  <a:gd name="connsiteY41" fmla="*/ 1617662 h 1617662"/>
                  <a:gd name="connsiteX42" fmla="*/ 668337 w 1619250"/>
                  <a:gd name="connsiteY42" fmla="*/ 1606550 h 1617662"/>
                  <a:gd name="connsiteX43" fmla="*/ 648200 w 1619250"/>
                  <a:gd name="connsiteY43" fmla="*/ 1466596 h 1617662"/>
                  <a:gd name="connsiteX44" fmla="*/ 647485 w 1619250"/>
                  <a:gd name="connsiteY44" fmla="*/ 1466463 h 1617662"/>
                  <a:gd name="connsiteX45" fmla="*/ 575832 w 1619250"/>
                  <a:gd name="connsiteY45" fmla="*/ 1444578 h 1617662"/>
                  <a:gd name="connsiteX46" fmla="*/ 558072 w 1619250"/>
                  <a:gd name="connsiteY46" fmla="*/ 1436539 h 1617662"/>
                  <a:gd name="connsiteX47" fmla="*/ 458787 w 1619250"/>
                  <a:gd name="connsiteY47" fmla="*/ 1539875 h 1617662"/>
                  <a:gd name="connsiteX48" fmla="*/ 368300 w 1619250"/>
                  <a:gd name="connsiteY48" fmla="*/ 1489075 h 1617662"/>
                  <a:gd name="connsiteX49" fmla="*/ 404648 w 1619250"/>
                  <a:gd name="connsiteY49" fmla="*/ 1351758 h 1617662"/>
                  <a:gd name="connsiteX50" fmla="*/ 401488 w 1619250"/>
                  <a:gd name="connsiteY50" fmla="*/ 1349726 h 1617662"/>
                  <a:gd name="connsiteX51" fmla="*/ 342640 w 1619250"/>
                  <a:gd name="connsiteY51" fmla="*/ 1294298 h 1617662"/>
                  <a:gd name="connsiteX52" fmla="*/ 209550 w 1619250"/>
                  <a:gd name="connsiteY52" fmla="*/ 1354137 h 1617662"/>
                  <a:gd name="connsiteX53" fmla="*/ 146050 w 1619250"/>
                  <a:gd name="connsiteY53" fmla="*/ 1273175 h 1617662"/>
                  <a:gd name="connsiteX54" fmla="*/ 232208 w 1619250"/>
                  <a:gd name="connsiteY54" fmla="*/ 1157271 h 1617662"/>
                  <a:gd name="connsiteX55" fmla="*/ 207227 w 1619250"/>
                  <a:gd name="connsiteY55" fmla="*/ 1120016 h 1617662"/>
                  <a:gd name="connsiteX56" fmla="*/ 189389 w 1619250"/>
                  <a:gd name="connsiteY56" fmla="*/ 1074838 h 1617662"/>
                  <a:gd name="connsiteX57" fmla="*/ 42862 w 1619250"/>
                  <a:gd name="connsiteY57" fmla="*/ 1077912 h 1617662"/>
                  <a:gd name="connsiteX58" fmla="*/ 14287 w 1619250"/>
                  <a:gd name="connsiteY58" fmla="*/ 979487 h 1617662"/>
                  <a:gd name="connsiteX59" fmla="*/ 140548 w 1619250"/>
                  <a:gd name="connsiteY59" fmla="*/ 906174 h 1617662"/>
                  <a:gd name="connsiteX60" fmla="*/ 134493 w 1619250"/>
                  <a:gd name="connsiteY60" fmla="*/ 874043 h 1617662"/>
                  <a:gd name="connsiteX61" fmla="*/ 132361 w 1619250"/>
                  <a:gd name="connsiteY61" fmla="*/ 821076 h 1617662"/>
                  <a:gd name="connsiteX62" fmla="*/ 0 w 1619250"/>
                  <a:gd name="connsiteY62" fmla="*/ 769937 h 1617662"/>
                  <a:gd name="connsiteX63" fmla="*/ 11112 w 1619250"/>
                  <a:gd name="connsiteY63" fmla="*/ 668337 h 1617662"/>
                  <a:gd name="connsiteX64" fmla="*/ 150722 w 1619250"/>
                  <a:gd name="connsiteY64" fmla="*/ 648393 h 1617662"/>
                  <a:gd name="connsiteX65" fmla="*/ 150953 w 1619250"/>
                  <a:gd name="connsiteY65" fmla="*/ 647170 h 1617662"/>
                  <a:gd name="connsiteX66" fmla="*/ 172903 w 1619250"/>
                  <a:gd name="connsiteY66" fmla="*/ 575583 h 1617662"/>
                  <a:gd name="connsiteX67" fmla="*/ 180932 w 1619250"/>
                  <a:gd name="connsiteY67" fmla="*/ 557888 h 1617662"/>
                  <a:gd name="connsiteX68" fmla="*/ 77787 w 1619250"/>
                  <a:gd name="connsiteY68" fmla="*/ 458787 h 1617662"/>
                  <a:gd name="connsiteX69" fmla="*/ 128587 w 1619250"/>
                  <a:gd name="connsiteY69" fmla="*/ 368300 h 1617662"/>
                  <a:gd name="connsiteX70" fmla="*/ 265788 w 1619250"/>
                  <a:gd name="connsiteY70" fmla="*/ 404618 h 1617662"/>
                  <a:gd name="connsiteX71" fmla="*/ 267819 w 1619250"/>
                  <a:gd name="connsiteY71" fmla="*/ 401465 h 1617662"/>
                  <a:gd name="connsiteX72" fmla="*/ 323724 w 1619250"/>
                  <a:gd name="connsiteY72" fmla="*/ 342199 h 1617662"/>
                  <a:gd name="connsiteX73" fmla="*/ 265112 w 1619250"/>
                  <a:gd name="connsiteY73" fmla="*/ 209550 h 1617662"/>
                  <a:gd name="connsiteX74" fmla="*/ 344487 w 1619250"/>
                  <a:gd name="connsiteY74" fmla="*/ 146050 h 1617662"/>
                  <a:gd name="connsiteX75" fmla="*/ 460547 w 1619250"/>
                  <a:gd name="connsiteY75" fmla="*/ 232325 h 1617662"/>
                  <a:gd name="connsiteX76" fmla="*/ 497312 w 1619250"/>
                  <a:gd name="connsiteY76" fmla="*/ 207728 h 1617662"/>
                  <a:gd name="connsiteX77" fmla="*/ 542279 w 1619250"/>
                  <a:gd name="connsiteY77" fmla="*/ 190056 h 1617662"/>
                  <a:gd name="connsiteX78" fmla="*/ 538162 w 1619250"/>
                  <a:gd name="connsiteY78" fmla="*/ 42862 h 1617662"/>
                  <a:gd name="connsiteX79" fmla="*/ 638174 w 1619250"/>
                  <a:gd name="connsiteY79" fmla="*/ 14287 h 1617662"/>
                  <a:gd name="connsiteX80" fmla="*/ 711825 w 1619250"/>
                  <a:gd name="connsiteY80" fmla="*/ 142152 h 1617662"/>
                  <a:gd name="connsiteX81" fmla="*/ 759983 w 1619250"/>
                  <a:gd name="connsiteY81" fmla="*/ 133603 h 1617662"/>
                  <a:gd name="connsiteX82" fmla="*/ 796385 w 1619250"/>
                  <a:gd name="connsiteY82" fmla="*/ 134513 h 161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619250" h="1617662">
                    <a:moveTo>
                      <a:pt x="847725" y="0"/>
                    </a:moveTo>
                    <a:lnTo>
                      <a:pt x="949326" y="11113"/>
                    </a:lnTo>
                    <a:lnTo>
                      <a:pt x="970985" y="154479"/>
                    </a:lnTo>
                    <a:lnTo>
                      <a:pt x="1020676" y="165666"/>
                    </a:lnTo>
                    <a:lnTo>
                      <a:pt x="1059385" y="182405"/>
                    </a:lnTo>
                    <a:lnTo>
                      <a:pt x="1158875" y="77787"/>
                    </a:lnTo>
                    <a:lnTo>
                      <a:pt x="1249362" y="128587"/>
                    </a:lnTo>
                    <a:lnTo>
                      <a:pt x="1212628" y="267361"/>
                    </a:lnTo>
                    <a:lnTo>
                      <a:pt x="1233852" y="281489"/>
                    </a:lnTo>
                    <a:lnTo>
                      <a:pt x="1276002" y="322146"/>
                    </a:lnTo>
                    <a:lnTo>
                      <a:pt x="1409700" y="263525"/>
                    </a:lnTo>
                    <a:lnTo>
                      <a:pt x="1473200" y="344488"/>
                    </a:lnTo>
                    <a:lnTo>
                      <a:pt x="1387587" y="458303"/>
                    </a:lnTo>
                    <a:lnTo>
                      <a:pt x="1394228" y="467599"/>
                    </a:lnTo>
                    <a:lnTo>
                      <a:pt x="1431944" y="542726"/>
                    </a:lnTo>
                    <a:lnTo>
                      <a:pt x="1574800" y="539750"/>
                    </a:lnTo>
                    <a:lnTo>
                      <a:pt x="1603375" y="638175"/>
                    </a:lnTo>
                    <a:lnTo>
                      <a:pt x="1477160" y="710875"/>
                    </a:lnTo>
                    <a:lnTo>
                      <a:pt x="1483169" y="742768"/>
                    </a:lnTo>
                    <a:lnTo>
                      <a:pt x="1485310" y="795975"/>
                    </a:lnTo>
                    <a:lnTo>
                      <a:pt x="1619250" y="847724"/>
                    </a:lnTo>
                    <a:lnTo>
                      <a:pt x="1606550" y="949324"/>
                    </a:lnTo>
                    <a:lnTo>
                      <a:pt x="1466784" y="969434"/>
                    </a:lnTo>
                    <a:lnTo>
                      <a:pt x="1466709" y="969830"/>
                    </a:lnTo>
                    <a:cubicBezTo>
                      <a:pt x="1460705" y="994163"/>
                      <a:pt x="1453369" y="1018089"/>
                      <a:pt x="1444759" y="1041504"/>
                    </a:cubicBezTo>
                    <a:lnTo>
                      <a:pt x="1436556" y="1059607"/>
                    </a:lnTo>
                    <a:lnTo>
                      <a:pt x="1539875" y="1158875"/>
                    </a:lnTo>
                    <a:lnTo>
                      <a:pt x="1490663" y="1247775"/>
                    </a:lnTo>
                    <a:lnTo>
                      <a:pt x="1352092" y="1212374"/>
                    </a:lnTo>
                    <a:lnTo>
                      <a:pt x="1349843" y="1215872"/>
                    </a:lnTo>
                    <a:lnTo>
                      <a:pt x="1294635" y="1274490"/>
                    </a:lnTo>
                    <a:lnTo>
                      <a:pt x="1354138" y="1408112"/>
                    </a:lnTo>
                    <a:lnTo>
                      <a:pt x="1273176" y="1473199"/>
                    </a:lnTo>
                    <a:lnTo>
                      <a:pt x="1157217" y="1385195"/>
                    </a:lnTo>
                    <a:lnTo>
                      <a:pt x="1120350" y="1409895"/>
                    </a:lnTo>
                    <a:lnTo>
                      <a:pt x="1075411" y="1427570"/>
                    </a:lnTo>
                    <a:lnTo>
                      <a:pt x="1079500" y="1574800"/>
                    </a:lnTo>
                    <a:lnTo>
                      <a:pt x="979488" y="1603375"/>
                    </a:lnTo>
                    <a:lnTo>
                      <a:pt x="906418" y="1476518"/>
                    </a:lnTo>
                    <a:lnTo>
                      <a:pt x="874521" y="1482591"/>
                    </a:lnTo>
                    <a:lnTo>
                      <a:pt x="821659" y="1484809"/>
                    </a:lnTo>
                    <a:lnTo>
                      <a:pt x="769938" y="1617662"/>
                    </a:lnTo>
                    <a:lnTo>
                      <a:pt x="668337" y="1606550"/>
                    </a:lnTo>
                    <a:lnTo>
                      <a:pt x="648200" y="1466596"/>
                    </a:lnTo>
                    <a:lnTo>
                      <a:pt x="647485" y="1466463"/>
                    </a:lnTo>
                    <a:cubicBezTo>
                      <a:pt x="623160" y="1460484"/>
                      <a:pt x="599240" y="1453170"/>
                      <a:pt x="575832" y="1444578"/>
                    </a:cubicBezTo>
                    <a:lnTo>
                      <a:pt x="558072" y="1436539"/>
                    </a:lnTo>
                    <a:lnTo>
                      <a:pt x="458787" y="1539875"/>
                    </a:lnTo>
                    <a:lnTo>
                      <a:pt x="368300" y="1489075"/>
                    </a:lnTo>
                    <a:lnTo>
                      <a:pt x="404648" y="1351758"/>
                    </a:lnTo>
                    <a:lnTo>
                      <a:pt x="401488" y="1349726"/>
                    </a:lnTo>
                    <a:lnTo>
                      <a:pt x="342640" y="1294298"/>
                    </a:lnTo>
                    <a:lnTo>
                      <a:pt x="209550" y="1354137"/>
                    </a:lnTo>
                    <a:lnTo>
                      <a:pt x="146050" y="1273175"/>
                    </a:lnTo>
                    <a:lnTo>
                      <a:pt x="232208" y="1157271"/>
                    </a:lnTo>
                    <a:lnTo>
                      <a:pt x="207227" y="1120016"/>
                    </a:lnTo>
                    <a:lnTo>
                      <a:pt x="189389" y="1074838"/>
                    </a:lnTo>
                    <a:lnTo>
                      <a:pt x="42862" y="1077912"/>
                    </a:lnTo>
                    <a:lnTo>
                      <a:pt x="14287" y="979487"/>
                    </a:lnTo>
                    <a:lnTo>
                      <a:pt x="140548" y="906174"/>
                    </a:lnTo>
                    <a:lnTo>
                      <a:pt x="134493" y="874043"/>
                    </a:lnTo>
                    <a:lnTo>
                      <a:pt x="132361" y="821076"/>
                    </a:lnTo>
                    <a:lnTo>
                      <a:pt x="0" y="769937"/>
                    </a:lnTo>
                    <a:lnTo>
                      <a:pt x="11112" y="668337"/>
                    </a:lnTo>
                    <a:lnTo>
                      <a:pt x="150722" y="648393"/>
                    </a:lnTo>
                    <a:lnTo>
                      <a:pt x="150953" y="647170"/>
                    </a:lnTo>
                    <a:cubicBezTo>
                      <a:pt x="156957" y="622865"/>
                      <a:pt x="164293" y="598967"/>
                      <a:pt x="172903" y="575583"/>
                    </a:cubicBezTo>
                    <a:lnTo>
                      <a:pt x="180932" y="557888"/>
                    </a:lnTo>
                    <a:lnTo>
                      <a:pt x="77787" y="458787"/>
                    </a:lnTo>
                    <a:lnTo>
                      <a:pt x="128587" y="368300"/>
                    </a:lnTo>
                    <a:lnTo>
                      <a:pt x="265788" y="404618"/>
                    </a:lnTo>
                    <a:lnTo>
                      <a:pt x="267819" y="401465"/>
                    </a:lnTo>
                    <a:lnTo>
                      <a:pt x="323724" y="342199"/>
                    </a:lnTo>
                    <a:lnTo>
                      <a:pt x="265112" y="209550"/>
                    </a:lnTo>
                    <a:lnTo>
                      <a:pt x="344487" y="146050"/>
                    </a:lnTo>
                    <a:lnTo>
                      <a:pt x="460547" y="232325"/>
                    </a:lnTo>
                    <a:lnTo>
                      <a:pt x="497312" y="207728"/>
                    </a:lnTo>
                    <a:lnTo>
                      <a:pt x="542279" y="190056"/>
                    </a:lnTo>
                    <a:lnTo>
                      <a:pt x="538162" y="42862"/>
                    </a:lnTo>
                    <a:lnTo>
                      <a:pt x="638174" y="14287"/>
                    </a:lnTo>
                    <a:lnTo>
                      <a:pt x="711825" y="142152"/>
                    </a:lnTo>
                    <a:lnTo>
                      <a:pt x="759983" y="133603"/>
                    </a:lnTo>
                    <a:lnTo>
                      <a:pt x="796385" y="134513"/>
                    </a:lnTo>
                    <a:close/>
                  </a:path>
                </a:pathLst>
              </a:custGeom>
              <a:solidFill>
                <a:srgbClr val="53565A"/>
              </a:solidFill>
              <a:ln>
                <a:noFill/>
              </a:ln>
            </p:spPr>
            <p:txBody>
              <a:bodyPr vert="horz" wrap="square" lIns="91440" tIns="45720" rIns="91440" bIns="45720" numCol="1" anchor="t" anchorCtr="0" compatLnSpc="1">
                <a:noAutofit/>
              </a:bodyPr>
              <a:lstStyle/>
              <a:p>
                <a:endParaRPr lang="en-US"/>
              </a:p>
            </p:txBody>
          </p:sp>
          <p:sp>
            <p:nvSpPr>
              <p:cNvPr id="243" name="Freeform 30"/>
              <p:cNvSpPr/>
              <p:nvPr/>
            </p:nvSpPr>
            <p:spPr bwMode="auto">
              <a:xfrm>
                <a:off x="8009170" y="2853639"/>
                <a:ext cx="1158875" cy="1157287"/>
              </a:xfrm>
              <a:custGeom>
                <a:avLst/>
                <a:gdLst>
                  <a:gd name="T0" fmla="*/ 88 w 1317"/>
                  <a:gd name="T1" fmla="*/ 819 h 1317"/>
                  <a:gd name="T2" fmla="*/ 819 w 1317"/>
                  <a:gd name="T3" fmla="*/ 1228 h 1317"/>
                  <a:gd name="T4" fmla="*/ 1228 w 1317"/>
                  <a:gd name="T5" fmla="*/ 498 h 1317"/>
                  <a:gd name="T6" fmla="*/ 497 w 1317"/>
                  <a:gd name="T7" fmla="*/ 89 h 1317"/>
                  <a:gd name="T8" fmla="*/ 88 w 1317"/>
                  <a:gd name="T9" fmla="*/ 819 h 1317"/>
                </a:gdLst>
                <a:ahLst/>
                <a:cxnLst>
                  <a:cxn ang="0">
                    <a:pos x="T0" y="T1"/>
                  </a:cxn>
                  <a:cxn ang="0">
                    <a:pos x="T2" y="T3"/>
                  </a:cxn>
                  <a:cxn ang="0">
                    <a:pos x="T4" y="T5"/>
                  </a:cxn>
                  <a:cxn ang="0">
                    <a:pos x="T6" y="T7"/>
                  </a:cxn>
                  <a:cxn ang="0">
                    <a:pos x="T8" y="T9"/>
                  </a:cxn>
                </a:cxnLst>
                <a:rect l="0" t="0" r="r" b="b"/>
                <a:pathLst>
                  <a:path w="1317" h="1317">
                    <a:moveTo>
                      <a:pt x="88" y="819"/>
                    </a:moveTo>
                    <a:cubicBezTo>
                      <a:pt x="177" y="1134"/>
                      <a:pt x="504" y="1317"/>
                      <a:pt x="819" y="1228"/>
                    </a:cubicBezTo>
                    <a:cubicBezTo>
                      <a:pt x="1134" y="1139"/>
                      <a:pt x="1317" y="812"/>
                      <a:pt x="1228" y="498"/>
                    </a:cubicBezTo>
                    <a:cubicBezTo>
                      <a:pt x="1139" y="183"/>
                      <a:pt x="812" y="0"/>
                      <a:pt x="497" y="89"/>
                    </a:cubicBezTo>
                    <a:cubicBezTo>
                      <a:pt x="183" y="177"/>
                      <a:pt x="0" y="505"/>
                      <a:pt x="88" y="819"/>
                    </a:cubicBezTo>
                    <a:close/>
                  </a:path>
                </a:pathLst>
              </a:custGeom>
              <a:solidFill>
                <a:srgbClr val="000000"/>
              </a:solidFill>
              <a:ln>
                <a:noFill/>
              </a:ln>
            </p:spPr>
            <p:txBody>
              <a:bodyPr vert="horz" wrap="square" lIns="91440" tIns="45720" rIns="91440" bIns="45720" numCol="1" anchor="t" anchorCtr="0" compatLnSpc="1"/>
              <a:lstStyle/>
              <a:p>
                <a:endParaRPr lang="en-US"/>
              </a:p>
            </p:txBody>
          </p:sp>
          <p:sp>
            <p:nvSpPr>
              <p:cNvPr id="232" name="Oval 20"/>
              <p:cNvSpPr>
                <a:spLocks noChangeArrowheads="1"/>
              </p:cNvSpPr>
              <p:nvPr/>
            </p:nvSpPr>
            <p:spPr bwMode="auto">
              <a:xfrm>
                <a:off x="8475558" y="3319234"/>
                <a:ext cx="226098" cy="226097"/>
              </a:xfrm>
              <a:prstGeom prst="ellipse">
                <a:avLst/>
              </a:prstGeom>
              <a:noFill/>
              <a:ln w="122238" cap="flat">
                <a:solidFill>
                  <a:srgbClr val="53565A"/>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grpSp>
      <p:sp>
        <p:nvSpPr>
          <p:cNvPr id="142" name="圆角矩形 141"/>
          <p:cNvSpPr/>
          <p:nvPr/>
        </p:nvSpPr>
        <p:spPr bwMode="gray">
          <a:xfrm>
            <a:off x="9740900" y="5995641"/>
            <a:ext cx="1936750" cy="360000"/>
          </a:xfrm>
          <a:prstGeom prst="roundRect">
            <a:avLst>
              <a:gd name="adj" fmla="val 0"/>
            </a:avLst>
          </a:prstGeom>
          <a:noFill/>
          <a:ln w="12700" algn="ctr">
            <a:solidFill>
              <a:srgbClr val="C4D600"/>
            </a:solidFill>
            <a:miter lim="800000"/>
            <a:headEnd/>
            <a:tailEnd/>
          </a:ln>
        </p:spPr>
        <p:txBody>
          <a:bodyPr wrap="square" lIns="0" tIns="88900" rIns="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sp>
        <p:nvSpPr>
          <p:cNvPr id="141" name="圆角矩形 140"/>
          <p:cNvSpPr/>
          <p:nvPr/>
        </p:nvSpPr>
        <p:spPr bwMode="gray">
          <a:xfrm>
            <a:off x="9740900" y="5583596"/>
            <a:ext cx="1936750" cy="360000"/>
          </a:xfrm>
          <a:prstGeom prst="roundRect">
            <a:avLst>
              <a:gd name="adj" fmla="val 0"/>
            </a:avLst>
          </a:prstGeom>
          <a:noFill/>
          <a:ln w="12700" algn="ctr">
            <a:solidFill>
              <a:srgbClr val="43B02A"/>
            </a:solidFill>
            <a:miter lim="800000"/>
            <a:headEnd/>
            <a:tailEnd/>
          </a:ln>
        </p:spPr>
        <p:txBody>
          <a:bodyPr wrap="square" lIns="88900" tIns="88900" rIns="8890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grpSp>
        <p:nvGrpSpPr>
          <p:cNvPr id="2" name="Group 1"/>
          <p:cNvGrpSpPr/>
          <p:nvPr/>
        </p:nvGrpSpPr>
        <p:grpSpPr>
          <a:xfrm>
            <a:off x="471819" y="1699981"/>
            <a:ext cx="8039568" cy="4662719"/>
            <a:chOff x="471819" y="1699981"/>
            <a:chExt cx="8039568" cy="4780897"/>
          </a:xfrm>
        </p:grpSpPr>
        <p:sp>
          <p:nvSpPr>
            <p:cNvPr id="105" name="Rectangle 20"/>
            <p:cNvSpPr>
              <a:spLocks noChangeArrowheads="1"/>
            </p:cNvSpPr>
            <p:nvPr/>
          </p:nvSpPr>
          <p:spPr bwMode="auto">
            <a:xfrm>
              <a:off x="641073" y="5763012"/>
              <a:ext cx="7701061" cy="360000"/>
            </a:xfrm>
            <a:prstGeom prst="round2SameRect">
              <a:avLst/>
            </a:prstGeom>
            <a:solidFill>
              <a:srgbClr val="53565A"/>
            </a:solidFill>
            <a:ln w="9525">
              <a:noFill/>
              <a:miter lim="800000"/>
              <a:headEnd/>
              <a:tailEnd/>
            </a:ln>
          </p:spPr>
          <p:txBody>
            <a:bodyPr anchor="ctr" anchorCtr="1"/>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a:spcBef>
                  <a:spcPts val="0"/>
                </a:spcBef>
              </a:pPr>
              <a:r>
                <a:rPr lang="en-US" altLang="en-US" sz="1300" dirty="0">
                  <a:solidFill>
                    <a:srgbClr val="FFFFFF"/>
                  </a:solidFill>
                  <a:latin typeface="+mj-lt"/>
                </a:rPr>
                <a:t>This is dummy text it is not here to be read. The is just text to show where you could insert text. </a:t>
              </a:r>
            </a:p>
          </p:txBody>
        </p:sp>
        <p:sp>
          <p:nvSpPr>
            <p:cNvPr id="106" name="Rectangle 21"/>
            <p:cNvSpPr>
              <a:spLocks noChangeArrowheads="1"/>
            </p:cNvSpPr>
            <p:nvPr/>
          </p:nvSpPr>
          <p:spPr bwMode="auto">
            <a:xfrm>
              <a:off x="471819" y="6120878"/>
              <a:ext cx="8039568" cy="360000"/>
            </a:xfrm>
            <a:prstGeom prst="round2SameRect">
              <a:avLst/>
            </a:prstGeom>
            <a:solidFill>
              <a:srgbClr val="FFFFFF"/>
            </a:solidFill>
            <a:ln w="9525">
              <a:noFill/>
              <a:miter lim="800000"/>
              <a:headEnd/>
              <a:tailEnd/>
            </a:ln>
          </p:spPr>
          <p:txBody>
            <a:bodyPr anchor="ctr" anchorCtr="1"/>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a:spcBef>
                  <a:spcPts val="0"/>
                </a:spcBef>
              </a:pPr>
              <a:r>
                <a:rPr lang="en-US" altLang="en-US" dirty="0">
                  <a:solidFill>
                    <a:srgbClr val="000000"/>
                  </a:solidFill>
                  <a:latin typeface="+mj-lt"/>
                </a:rPr>
                <a:t>Please replace with your text content here.</a:t>
              </a:r>
            </a:p>
          </p:txBody>
        </p:sp>
        <p:grpSp>
          <p:nvGrpSpPr>
            <p:cNvPr id="42" name="组合 41"/>
            <p:cNvGrpSpPr/>
            <p:nvPr/>
          </p:nvGrpSpPr>
          <p:grpSpPr>
            <a:xfrm>
              <a:off x="766758" y="1699981"/>
              <a:ext cx="7449691" cy="711489"/>
              <a:chOff x="736882" y="1343621"/>
              <a:chExt cx="7449691" cy="878337"/>
            </a:xfrm>
          </p:grpSpPr>
          <p:sp>
            <p:nvSpPr>
              <p:cNvPr id="35" name="Freeform 7"/>
              <p:cNvSpPr>
                <a:spLocks/>
              </p:cNvSpPr>
              <p:nvPr/>
            </p:nvSpPr>
            <p:spPr bwMode="auto">
              <a:xfrm>
                <a:off x="736882" y="1350869"/>
                <a:ext cx="7449691" cy="871089"/>
              </a:xfrm>
              <a:custGeom>
                <a:avLst/>
                <a:gdLst>
                  <a:gd name="T0" fmla="*/ 10 w 1798"/>
                  <a:gd name="T1" fmla="*/ 166 h 168"/>
                  <a:gd name="T2" fmla="*/ 1 w 1798"/>
                  <a:gd name="T3" fmla="*/ 158 h 168"/>
                  <a:gd name="T4" fmla="*/ 7 w 1798"/>
                  <a:gd name="T5" fmla="*/ 147 h 168"/>
                  <a:gd name="T6" fmla="*/ 896 w 1798"/>
                  <a:gd name="T7" fmla="*/ 0 h 168"/>
                  <a:gd name="T8" fmla="*/ 1790 w 1798"/>
                  <a:gd name="T9" fmla="*/ 149 h 168"/>
                  <a:gd name="T10" fmla="*/ 1797 w 1798"/>
                  <a:gd name="T11" fmla="*/ 160 h 168"/>
                  <a:gd name="T12" fmla="*/ 1787 w 1798"/>
                  <a:gd name="T13" fmla="*/ 168 h 168"/>
                  <a:gd name="T14" fmla="*/ 10 w 1798"/>
                  <a:gd name="T15" fmla="*/ 166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98" h="168">
                    <a:moveTo>
                      <a:pt x="10" y="166"/>
                    </a:moveTo>
                    <a:cubicBezTo>
                      <a:pt x="6" y="166"/>
                      <a:pt x="1" y="163"/>
                      <a:pt x="1" y="158"/>
                    </a:cubicBezTo>
                    <a:cubicBezTo>
                      <a:pt x="0" y="153"/>
                      <a:pt x="2" y="148"/>
                      <a:pt x="7" y="147"/>
                    </a:cubicBezTo>
                    <a:cubicBezTo>
                      <a:pt x="273" y="51"/>
                      <a:pt x="580" y="0"/>
                      <a:pt x="896" y="0"/>
                    </a:cubicBezTo>
                    <a:cubicBezTo>
                      <a:pt x="1214" y="0"/>
                      <a:pt x="1523" y="51"/>
                      <a:pt x="1790" y="149"/>
                    </a:cubicBezTo>
                    <a:cubicBezTo>
                      <a:pt x="1795" y="150"/>
                      <a:pt x="1798" y="155"/>
                      <a:pt x="1797" y="160"/>
                    </a:cubicBezTo>
                    <a:cubicBezTo>
                      <a:pt x="1796" y="165"/>
                      <a:pt x="1792" y="168"/>
                      <a:pt x="1787" y="168"/>
                    </a:cubicBezTo>
                    <a:cubicBezTo>
                      <a:pt x="1787" y="168"/>
                      <a:pt x="10" y="166"/>
                      <a:pt x="10" y="1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3" name="îŝľiďé">
                <a:extLst>
                  <a:ext uri="{FF2B5EF4-FFF2-40B4-BE49-F238E27FC236}">
                    <a16:creationId xmlns:a16="http://schemas.microsoft.com/office/drawing/2014/main" id="{39340196-E1AA-4B49-976A-BF366BB2B662}"/>
                  </a:ext>
                </a:extLst>
              </p:cNvPr>
              <p:cNvSpPr/>
              <p:nvPr/>
            </p:nvSpPr>
            <p:spPr bwMode="auto">
              <a:xfrm>
                <a:off x="2181055" y="1343621"/>
                <a:ext cx="4561344" cy="851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lgn="ctr">
                  <a:defRPr/>
                </a:pPr>
                <a:r>
                  <a:rPr lang="en-US" altLang="zh-CN" sz="1600" b="1" dirty="0">
                    <a:solidFill>
                      <a:srgbClr val="FFFFFF"/>
                    </a:solidFill>
                    <a:latin typeface="Verdana" panose="020B0604030504040204" pitchFamily="34" charset="0"/>
                    <a:ea typeface="Verdana" panose="020B0604030504040204" pitchFamily="34" charset="0"/>
                    <a:cs typeface="Verdana" panose="020B0604030504040204" pitchFamily="34" charset="0"/>
                  </a:rPr>
                  <a:t>Please replace with your text</a:t>
                </a:r>
              </a:p>
            </p:txBody>
          </p:sp>
        </p:grpSp>
        <p:sp>
          <p:nvSpPr>
            <p:cNvPr id="40" name="圆角矩形 39"/>
            <p:cNvSpPr/>
            <p:nvPr/>
          </p:nvSpPr>
          <p:spPr bwMode="gray">
            <a:xfrm>
              <a:off x="766758" y="2907283"/>
              <a:ext cx="2397665" cy="2751873"/>
            </a:xfrm>
            <a:prstGeom prst="roundRect">
              <a:avLst>
                <a:gd name="adj" fmla="val 0"/>
              </a:avLst>
            </a:prstGeom>
            <a:noFill/>
            <a:ln w="1270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1" name="同侧圆角矩形 40"/>
            <p:cNvSpPr/>
            <p:nvPr/>
          </p:nvSpPr>
          <p:spPr bwMode="gray">
            <a:xfrm>
              <a:off x="853171" y="3032590"/>
              <a:ext cx="2209726" cy="360000"/>
            </a:xfrm>
            <a:prstGeom prst="round2SameRect">
              <a:avLst>
                <a:gd name="adj1" fmla="val 14757"/>
                <a:gd name="adj2" fmla="val 0"/>
              </a:avLst>
            </a:prstGeom>
            <a:solidFill>
              <a:srgbClr val="53565A"/>
            </a:solidFill>
            <a:ln w="19050" algn="ctr">
              <a:noFill/>
              <a:miter lim="800000"/>
              <a:headEnd/>
              <a:tailEnd/>
            </a:ln>
          </p:spPr>
          <p:txBody>
            <a:bodyPr wrap="square" lIns="88900" tIns="88900" rIns="88900" bIns="88900" rtlCol="0" anchor="ctr"/>
            <a:lstStyle/>
            <a:p>
              <a:pPr lvl="0" algn="ctr">
                <a:defRPr/>
              </a:pPr>
              <a:r>
                <a:rPr lang="en-US" sz="1600" b="1" kern="0" dirty="0">
                  <a:solidFill>
                    <a:prstClr val="white"/>
                  </a:solidFill>
                  <a:ea typeface="Verdana" panose="020B0604030504040204" pitchFamily="34" charset="0"/>
                  <a:cs typeface="Verdana" panose="020B0604030504040204" pitchFamily="34" charset="0"/>
                </a:rPr>
                <a:t>Lorem ipsum </a:t>
              </a:r>
            </a:p>
          </p:txBody>
        </p:sp>
        <p:sp>
          <p:nvSpPr>
            <p:cNvPr id="44" name="圆角矩形 43"/>
            <p:cNvSpPr/>
            <p:nvPr/>
          </p:nvSpPr>
          <p:spPr bwMode="gray">
            <a:xfrm>
              <a:off x="852497" y="3447122"/>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60" name="圆角矩形 159"/>
            <p:cNvSpPr/>
            <p:nvPr/>
          </p:nvSpPr>
          <p:spPr bwMode="gray">
            <a:xfrm>
              <a:off x="852497" y="4690718"/>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61" name="圆角矩形 160"/>
            <p:cNvSpPr/>
            <p:nvPr/>
          </p:nvSpPr>
          <p:spPr bwMode="gray">
            <a:xfrm>
              <a:off x="852497" y="3861654"/>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algn="ctr">
                <a:buFont typeface="Wingdings 2" pitchFamily="18" charset="2"/>
                <a:buNone/>
              </a:pPr>
              <a:r>
                <a:rPr lang="en-US" sz="1300" dirty="0">
                  <a:solidFill>
                    <a:schemeClr val="bg1"/>
                  </a:solidFill>
                </a:rPr>
                <a:t>Lorem ipsum </a:t>
              </a:r>
            </a:p>
          </p:txBody>
        </p:sp>
        <p:sp>
          <p:nvSpPr>
            <p:cNvPr id="162" name="圆角矩形 161"/>
            <p:cNvSpPr/>
            <p:nvPr/>
          </p:nvSpPr>
          <p:spPr bwMode="gray">
            <a:xfrm>
              <a:off x="852497" y="4276186"/>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63" name="圆角矩形 162"/>
            <p:cNvSpPr/>
            <p:nvPr/>
          </p:nvSpPr>
          <p:spPr bwMode="gray">
            <a:xfrm>
              <a:off x="852497" y="5105250"/>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65" name="圆角矩形 164"/>
            <p:cNvSpPr/>
            <p:nvPr/>
          </p:nvSpPr>
          <p:spPr bwMode="gray">
            <a:xfrm>
              <a:off x="5818784" y="2907283"/>
              <a:ext cx="2397665" cy="2751873"/>
            </a:xfrm>
            <a:prstGeom prst="roundRect">
              <a:avLst>
                <a:gd name="adj" fmla="val 0"/>
              </a:avLst>
            </a:prstGeom>
            <a:noFill/>
            <a:ln w="1270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73" name="同侧圆角矩形 172"/>
            <p:cNvSpPr/>
            <p:nvPr/>
          </p:nvSpPr>
          <p:spPr bwMode="gray">
            <a:xfrm>
              <a:off x="5905197" y="3032590"/>
              <a:ext cx="2209726" cy="360000"/>
            </a:xfrm>
            <a:prstGeom prst="round2SameRect">
              <a:avLst>
                <a:gd name="adj1" fmla="val 14757"/>
                <a:gd name="adj2" fmla="val 0"/>
              </a:avLst>
            </a:prstGeom>
            <a:solidFill>
              <a:srgbClr val="43B02A"/>
            </a:solidFill>
            <a:ln w="19050" algn="ctr">
              <a:noFill/>
              <a:miter lim="800000"/>
              <a:headEnd/>
              <a:tailEnd/>
            </a:ln>
          </p:spPr>
          <p:txBody>
            <a:bodyPr wrap="square" lIns="88900" tIns="88900" rIns="88900" bIns="88900" rtlCol="0" anchor="ctr"/>
            <a:lstStyle/>
            <a:p>
              <a:pPr lvl="0" algn="ctr">
                <a:defRPr/>
              </a:pPr>
              <a:r>
                <a:rPr lang="en-US" sz="1600" b="1" kern="0" dirty="0">
                  <a:solidFill>
                    <a:prstClr val="white"/>
                  </a:solidFill>
                  <a:ea typeface="Verdana" panose="020B0604030504040204" pitchFamily="34" charset="0"/>
                  <a:cs typeface="Verdana" panose="020B0604030504040204" pitchFamily="34" charset="0"/>
                </a:rPr>
                <a:t>Lorem ipsum </a:t>
              </a:r>
            </a:p>
          </p:txBody>
        </p:sp>
        <p:sp>
          <p:nvSpPr>
            <p:cNvPr id="167" name="圆角矩形 166"/>
            <p:cNvSpPr/>
            <p:nvPr/>
          </p:nvSpPr>
          <p:spPr bwMode="gray">
            <a:xfrm>
              <a:off x="5904523" y="3445747"/>
              <a:ext cx="2210400" cy="360000"/>
            </a:xfrm>
            <a:prstGeom prst="roundRect">
              <a:avLst>
                <a:gd name="adj" fmla="val 0"/>
              </a:avLst>
            </a:prstGeom>
            <a:noFill/>
            <a:ln w="12700" algn="ctr">
              <a:solidFill>
                <a:srgbClr val="43B02A"/>
              </a:solidFill>
              <a:miter lim="800000"/>
              <a:headEnd/>
              <a:tailEnd/>
            </a:ln>
          </p:spPr>
          <p:txBody>
            <a:bodyPr wrap="square" lIns="88900" tIns="88900" rIns="8890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sp>
          <p:nvSpPr>
            <p:cNvPr id="168" name="圆角矩形 167"/>
            <p:cNvSpPr/>
            <p:nvPr/>
          </p:nvSpPr>
          <p:spPr bwMode="gray">
            <a:xfrm>
              <a:off x="5904523" y="4685218"/>
              <a:ext cx="2210400" cy="360000"/>
            </a:xfrm>
            <a:prstGeom prst="roundRect">
              <a:avLst>
                <a:gd name="adj" fmla="val 0"/>
              </a:avLst>
            </a:prstGeom>
            <a:noFill/>
            <a:ln w="12700" algn="ctr">
              <a:solidFill>
                <a:srgbClr val="C4D600"/>
              </a:solidFill>
              <a:miter lim="800000"/>
              <a:headEnd/>
              <a:tailEnd/>
            </a:ln>
          </p:spPr>
          <p:txBody>
            <a:bodyPr wrap="square" lIns="88900" tIns="88900" rIns="8890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sp>
          <p:nvSpPr>
            <p:cNvPr id="169" name="圆角矩形 168"/>
            <p:cNvSpPr/>
            <p:nvPr/>
          </p:nvSpPr>
          <p:spPr bwMode="gray">
            <a:xfrm>
              <a:off x="5904523" y="3858904"/>
              <a:ext cx="2210400" cy="360000"/>
            </a:xfrm>
            <a:prstGeom prst="roundRect">
              <a:avLst>
                <a:gd name="adj" fmla="val 0"/>
              </a:avLst>
            </a:prstGeom>
            <a:noFill/>
            <a:ln w="12700" algn="ctr">
              <a:solidFill>
                <a:srgbClr val="43B02A"/>
              </a:solidFill>
              <a:miter lim="800000"/>
              <a:headEnd/>
              <a:tailEnd/>
            </a:ln>
          </p:spPr>
          <p:txBody>
            <a:bodyPr wrap="square" lIns="88900" tIns="88900" rIns="88900" bIns="88900" rtlCol="0" anchor="ctr"/>
            <a:lstStyle/>
            <a:p>
              <a:pPr algn="ctr">
                <a:buFont typeface="Wingdings 2" pitchFamily="18" charset="2"/>
                <a:buNone/>
              </a:pPr>
              <a:r>
                <a:rPr lang="en-US" sz="1300" dirty="0">
                  <a:solidFill>
                    <a:srgbClr val="FFFFFF"/>
                  </a:solidFill>
                </a:rPr>
                <a:t>Lorem ipsum </a:t>
              </a:r>
            </a:p>
          </p:txBody>
        </p:sp>
        <p:sp>
          <p:nvSpPr>
            <p:cNvPr id="170" name="圆角矩形 169"/>
            <p:cNvSpPr/>
            <p:nvPr/>
          </p:nvSpPr>
          <p:spPr bwMode="gray">
            <a:xfrm>
              <a:off x="5904523" y="4272061"/>
              <a:ext cx="2210400" cy="360000"/>
            </a:xfrm>
            <a:prstGeom prst="roundRect">
              <a:avLst>
                <a:gd name="adj" fmla="val 0"/>
              </a:avLst>
            </a:prstGeom>
            <a:noFill/>
            <a:ln w="12700" algn="ctr">
              <a:solidFill>
                <a:srgbClr val="43B02A"/>
              </a:solidFill>
              <a:miter lim="800000"/>
              <a:headEnd/>
              <a:tailEnd/>
            </a:ln>
          </p:spPr>
          <p:txBody>
            <a:bodyPr wrap="square" lIns="88900" tIns="88900" rIns="8890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sp>
          <p:nvSpPr>
            <p:cNvPr id="171" name="圆角矩形 170"/>
            <p:cNvSpPr/>
            <p:nvPr/>
          </p:nvSpPr>
          <p:spPr bwMode="gray">
            <a:xfrm>
              <a:off x="5904523" y="5098375"/>
              <a:ext cx="2210400" cy="360000"/>
            </a:xfrm>
            <a:prstGeom prst="roundRect">
              <a:avLst>
                <a:gd name="adj" fmla="val 0"/>
              </a:avLst>
            </a:prstGeom>
            <a:noFill/>
            <a:ln w="12700" algn="ctr">
              <a:solidFill>
                <a:srgbClr val="C4D600"/>
              </a:solidFill>
              <a:miter lim="800000"/>
              <a:headEnd/>
              <a:tailEnd/>
            </a:ln>
          </p:spPr>
          <p:txBody>
            <a:bodyPr wrap="square" lIns="88900" tIns="88900" rIns="8890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sp>
          <p:nvSpPr>
            <p:cNvPr id="191" name="圆角矩形 190"/>
            <p:cNvSpPr/>
            <p:nvPr/>
          </p:nvSpPr>
          <p:spPr bwMode="gray">
            <a:xfrm>
              <a:off x="3292771" y="2907283"/>
              <a:ext cx="2397665" cy="2751873"/>
            </a:xfrm>
            <a:prstGeom prst="roundRect">
              <a:avLst>
                <a:gd name="adj" fmla="val 0"/>
              </a:avLst>
            </a:prstGeom>
            <a:noFill/>
            <a:ln w="1270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99" name="同侧圆角矩形 198"/>
            <p:cNvSpPr/>
            <p:nvPr/>
          </p:nvSpPr>
          <p:spPr bwMode="gray">
            <a:xfrm>
              <a:off x="3379184" y="3032590"/>
              <a:ext cx="2209726" cy="360000"/>
            </a:xfrm>
            <a:prstGeom prst="round2SameRect">
              <a:avLst>
                <a:gd name="adj1" fmla="val 14757"/>
                <a:gd name="adj2" fmla="val 0"/>
              </a:avLst>
            </a:prstGeom>
            <a:solidFill>
              <a:srgbClr val="53565A"/>
            </a:solidFill>
            <a:ln w="19050" algn="ctr">
              <a:noFill/>
              <a:miter lim="800000"/>
              <a:headEnd/>
              <a:tailEnd/>
            </a:ln>
          </p:spPr>
          <p:txBody>
            <a:bodyPr wrap="square" lIns="88900" tIns="88900" rIns="88900" bIns="88900" rtlCol="0" anchor="ctr"/>
            <a:lstStyle/>
            <a:p>
              <a:pPr lvl="0" algn="ctr">
                <a:defRPr/>
              </a:pPr>
              <a:r>
                <a:rPr lang="en-US" sz="1600" b="1" kern="0" dirty="0">
                  <a:solidFill>
                    <a:prstClr val="white"/>
                  </a:solidFill>
                  <a:ea typeface="Verdana" panose="020B0604030504040204" pitchFamily="34" charset="0"/>
                  <a:cs typeface="Verdana" panose="020B0604030504040204" pitchFamily="34" charset="0"/>
                </a:rPr>
                <a:t>Lorem ipsum </a:t>
              </a:r>
            </a:p>
          </p:txBody>
        </p:sp>
        <p:grpSp>
          <p:nvGrpSpPr>
            <p:cNvPr id="14" name="组合 13"/>
            <p:cNvGrpSpPr/>
            <p:nvPr/>
          </p:nvGrpSpPr>
          <p:grpSpPr>
            <a:xfrm>
              <a:off x="1965591" y="2411470"/>
              <a:ext cx="5052026" cy="495813"/>
              <a:chOff x="1965591" y="2096962"/>
              <a:chExt cx="5052026" cy="360000"/>
            </a:xfrm>
          </p:grpSpPr>
          <p:cxnSp>
            <p:nvCxnSpPr>
              <p:cNvPr id="59" name="肘形连接符 58"/>
              <p:cNvCxnSpPr/>
              <p:nvPr/>
            </p:nvCxnSpPr>
            <p:spPr>
              <a:xfrm rot="16200000" flipH="1">
                <a:off x="4311602" y="2276961"/>
                <a:ext cx="360000" cy="1"/>
              </a:xfrm>
              <a:prstGeom prst="bentConnector3">
                <a:avLst/>
              </a:prstGeom>
              <a:ln w="12700">
                <a:solidFill>
                  <a:srgbClr val="FFFFF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8" name="肘形连接符 107"/>
              <p:cNvCxnSpPr/>
              <p:nvPr/>
            </p:nvCxnSpPr>
            <p:spPr>
              <a:xfrm rot="5400000" flipH="1" flipV="1">
                <a:off x="3202860" y="1039693"/>
                <a:ext cx="180000" cy="2654538"/>
              </a:xfrm>
              <a:prstGeom prst="bentConnector2">
                <a:avLst/>
              </a:prstGeom>
              <a:ln w="12700">
                <a:solidFill>
                  <a:srgbClr val="FFFFFF"/>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216" name="肘形连接符 215"/>
              <p:cNvCxnSpPr/>
              <p:nvPr/>
            </p:nvCxnSpPr>
            <p:spPr>
              <a:xfrm>
                <a:off x="4467567" y="2276962"/>
                <a:ext cx="2550050" cy="180000"/>
              </a:xfrm>
              <a:prstGeom prst="bentConnector2">
                <a:avLst/>
              </a:prstGeom>
              <a:ln w="12700">
                <a:solidFill>
                  <a:srgbClr val="FFFFFF"/>
                </a:solidFill>
                <a:tailEnd type="oval"/>
              </a:ln>
            </p:spPr>
            <p:style>
              <a:lnRef idx="1">
                <a:schemeClr val="accent1"/>
              </a:lnRef>
              <a:fillRef idx="0">
                <a:schemeClr val="accent1"/>
              </a:fillRef>
              <a:effectRef idx="0">
                <a:schemeClr val="accent1"/>
              </a:effectRef>
              <a:fontRef idx="minor">
                <a:schemeClr val="tx1"/>
              </a:fontRef>
            </p:style>
          </p:cxnSp>
        </p:grpSp>
        <p:sp>
          <p:nvSpPr>
            <p:cNvPr id="126" name="圆角矩形 43"/>
            <p:cNvSpPr/>
            <p:nvPr/>
          </p:nvSpPr>
          <p:spPr bwMode="gray">
            <a:xfrm>
              <a:off x="3378510" y="3447122"/>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27" name="圆角矩形 159"/>
            <p:cNvSpPr/>
            <p:nvPr/>
          </p:nvSpPr>
          <p:spPr bwMode="gray">
            <a:xfrm>
              <a:off x="3378510" y="4690718"/>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28" name="圆角矩形 160"/>
            <p:cNvSpPr/>
            <p:nvPr/>
          </p:nvSpPr>
          <p:spPr bwMode="gray">
            <a:xfrm>
              <a:off x="3378510" y="3861654"/>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algn="ctr">
                <a:buFont typeface="Wingdings 2" pitchFamily="18" charset="2"/>
                <a:buNone/>
              </a:pPr>
              <a:r>
                <a:rPr lang="en-US" sz="1300" dirty="0">
                  <a:solidFill>
                    <a:schemeClr val="bg1"/>
                  </a:solidFill>
                </a:rPr>
                <a:t>Lorem ipsum </a:t>
              </a:r>
            </a:p>
          </p:txBody>
        </p:sp>
        <p:sp>
          <p:nvSpPr>
            <p:cNvPr id="129" name="圆角矩形 161"/>
            <p:cNvSpPr/>
            <p:nvPr/>
          </p:nvSpPr>
          <p:spPr bwMode="gray">
            <a:xfrm>
              <a:off x="3378510" y="4276186"/>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30" name="圆角矩形 162"/>
            <p:cNvSpPr/>
            <p:nvPr/>
          </p:nvSpPr>
          <p:spPr bwMode="gray">
            <a:xfrm>
              <a:off x="3378510" y="5105250"/>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grpSp>
    </p:spTree>
    <p:custDataLst>
      <p:tags r:id="rId1"/>
    </p:custDataLst>
    <p:extLst>
      <p:ext uri="{BB962C8B-B14F-4D97-AF65-F5344CB8AC3E}">
        <p14:creationId xmlns:p14="http://schemas.microsoft.com/office/powerpoint/2010/main" val="3509578446"/>
      </p:ext>
    </p:extLst>
  </p:cSld>
  <p:clrMapOvr>
    <a:masterClrMapping/>
  </p:clrMapOvr>
  <p:transition>
    <p:fade/>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ísľiḍê">
            <a:extLst>
              <a:ext uri="{FF2B5EF4-FFF2-40B4-BE49-F238E27FC236}">
                <a16:creationId xmlns:a16="http://schemas.microsoft.com/office/drawing/2014/main" id="{705012DB-D468-430A-A1B8-294A8DDCE147}"/>
              </a:ext>
            </a:extLst>
          </p:cNvPr>
          <p:cNvSpPr/>
          <p:nvPr/>
        </p:nvSpPr>
        <p:spPr>
          <a:xfrm>
            <a:off x="738841" y="1220788"/>
            <a:ext cx="5539658" cy="5539658"/>
          </a:xfrm>
          <a:prstGeom prst="blockArc">
            <a:avLst>
              <a:gd name="adj1" fmla="val 12600000"/>
              <a:gd name="adj2" fmla="val 19800000"/>
              <a:gd name="adj3" fmla="val 5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1" name="íŝ1îḍè">
            <a:extLst>
              <a:ext uri="{FF2B5EF4-FFF2-40B4-BE49-F238E27FC236}">
                <a16:creationId xmlns:a16="http://schemas.microsoft.com/office/drawing/2014/main" id="{47551D89-32CB-4B7E-BD81-197D6BE18F36}"/>
              </a:ext>
            </a:extLst>
          </p:cNvPr>
          <p:cNvSpPr/>
          <p:nvPr/>
        </p:nvSpPr>
        <p:spPr>
          <a:xfrm>
            <a:off x="1242446" y="1706105"/>
            <a:ext cx="4532447" cy="4532447"/>
          </a:xfrm>
          <a:prstGeom prst="blockArc">
            <a:avLst>
              <a:gd name="adj1" fmla="val 12600000"/>
              <a:gd name="adj2" fmla="val 19800000"/>
              <a:gd name="adj3" fmla="val 6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2" name="îš1iḓè">
            <a:extLst>
              <a:ext uri="{FF2B5EF4-FFF2-40B4-BE49-F238E27FC236}">
                <a16:creationId xmlns:a16="http://schemas.microsoft.com/office/drawing/2014/main" id="{1FC31C89-169C-44E8-8132-6ABC87CF3637}"/>
              </a:ext>
            </a:extLst>
          </p:cNvPr>
          <p:cNvSpPr/>
          <p:nvPr/>
        </p:nvSpPr>
        <p:spPr>
          <a:xfrm>
            <a:off x="1746052" y="2227999"/>
            <a:ext cx="3525237" cy="3525237"/>
          </a:xfrm>
          <a:prstGeom prst="blockArc">
            <a:avLst>
              <a:gd name="adj1" fmla="val 12600000"/>
              <a:gd name="adj2" fmla="val 19800000"/>
              <a:gd name="adj3" fmla="val 7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3" name="îşḻïḓe">
            <a:extLst>
              <a:ext uri="{FF2B5EF4-FFF2-40B4-BE49-F238E27FC236}">
                <a16:creationId xmlns:a16="http://schemas.microsoft.com/office/drawing/2014/main" id="{B69CB619-8C1F-4317-98E3-A2271AFB7C33}"/>
              </a:ext>
            </a:extLst>
          </p:cNvPr>
          <p:cNvSpPr/>
          <p:nvPr/>
        </p:nvSpPr>
        <p:spPr>
          <a:xfrm>
            <a:off x="2249657" y="2731604"/>
            <a:ext cx="2518026" cy="2518026"/>
          </a:xfrm>
          <a:prstGeom prst="blockArc">
            <a:avLst>
              <a:gd name="adj1" fmla="val 12600000"/>
              <a:gd name="adj2" fmla="val 19800000"/>
              <a:gd name="adj3" fmla="val 8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4" name="ïṧļïďè">
            <a:extLst>
              <a:ext uri="{FF2B5EF4-FFF2-40B4-BE49-F238E27FC236}">
                <a16:creationId xmlns:a16="http://schemas.microsoft.com/office/drawing/2014/main" id="{601E825C-3292-4E42-9709-3C133C7F9C60}"/>
              </a:ext>
            </a:extLst>
          </p:cNvPr>
          <p:cNvSpPr/>
          <p:nvPr/>
        </p:nvSpPr>
        <p:spPr>
          <a:xfrm>
            <a:off x="2753262" y="3235209"/>
            <a:ext cx="1510816" cy="1510816"/>
          </a:xfrm>
          <a:prstGeom prst="blockArc">
            <a:avLst>
              <a:gd name="adj1" fmla="val 12600000"/>
              <a:gd name="adj2" fmla="val 19800000"/>
              <a:gd name="adj3" fmla="val 12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6" name="iśļïdê">
            <a:extLst>
              <a:ext uri="{FF2B5EF4-FFF2-40B4-BE49-F238E27FC236}">
                <a16:creationId xmlns:a16="http://schemas.microsoft.com/office/drawing/2014/main" id="{E8C81451-67C5-43AF-8BCA-C0F56AE4ED65}"/>
              </a:ext>
            </a:extLst>
          </p:cNvPr>
          <p:cNvSpPr/>
          <p:nvPr/>
        </p:nvSpPr>
        <p:spPr>
          <a:xfrm>
            <a:off x="738841" y="1220788"/>
            <a:ext cx="5539658" cy="5539658"/>
          </a:xfrm>
          <a:prstGeom prst="blockArc">
            <a:avLst>
              <a:gd name="adj1" fmla="val 12600000"/>
              <a:gd name="adj2" fmla="val 17712000"/>
              <a:gd name="adj3" fmla="val 5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7" name="ïṡḻidé">
            <a:extLst>
              <a:ext uri="{FF2B5EF4-FFF2-40B4-BE49-F238E27FC236}">
                <a16:creationId xmlns:a16="http://schemas.microsoft.com/office/drawing/2014/main" id="{26AED36C-3DE6-4107-AD7F-A7565DF2E33C}"/>
              </a:ext>
            </a:extLst>
          </p:cNvPr>
          <p:cNvSpPr/>
          <p:nvPr/>
        </p:nvSpPr>
        <p:spPr>
          <a:xfrm>
            <a:off x="1242446" y="1696684"/>
            <a:ext cx="4532447" cy="4532447"/>
          </a:xfrm>
          <a:prstGeom prst="blockArc">
            <a:avLst>
              <a:gd name="adj1" fmla="val 12600000"/>
              <a:gd name="adj2" fmla="val 18360000"/>
              <a:gd name="adj3" fmla="val 6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8" name="í$ḻîḓè">
            <a:extLst>
              <a:ext uri="{FF2B5EF4-FFF2-40B4-BE49-F238E27FC236}">
                <a16:creationId xmlns:a16="http://schemas.microsoft.com/office/drawing/2014/main" id="{7873D9B1-889B-4792-B5C9-D14A151170C5}"/>
              </a:ext>
            </a:extLst>
          </p:cNvPr>
          <p:cNvSpPr/>
          <p:nvPr/>
        </p:nvSpPr>
        <p:spPr>
          <a:xfrm>
            <a:off x="1746052" y="2227999"/>
            <a:ext cx="3525237" cy="3525237"/>
          </a:xfrm>
          <a:prstGeom prst="blockArc">
            <a:avLst>
              <a:gd name="adj1" fmla="val 12600000"/>
              <a:gd name="adj2" fmla="val 16632000"/>
              <a:gd name="adj3" fmla="val 7000"/>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9" name="îṩliḋé">
            <a:extLst>
              <a:ext uri="{FF2B5EF4-FFF2-40B4-BE49-F238E27FC236}">
                <a16:creationId xmlns:a16="http://schemas.microsoft.com/office/drawing/2014/main" id="{47A85F73-74C5-474B-A376-B6330EE0F37D}"/>
              </a:ext>
            </a:extLst>
          </p:cNvPr>
          <p:cNvSpPr/>
          <p:nvPr/>
        </p:nvSpPr>
        <p:spPr>
          <a:xfrm>
            <a:off x="2249657" y="2731604"/>
            <a:ext cx="2518026" cy="2518026"/>
          </a:xfrm>
          <a:prstGeom prst="blockArc">
            <a:avLst>
              <a:gd name="adj1" fmla="val 12600000"/>
              <a:gd name="adj2" fmla="val 17856000"/>
              <a:gd name="adj3" fmla="val 8000"/>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40" name="íṡḻîḑê">
            <a:extLst>
              <a:ext uri="{FF2B5EF4-FFF2-40B4-BE49-F238E27FC236}">
                <a16:creationId xmlns:a16="http://schemas.microsoft.com/office/drawing/2014/main" id="{2A9FC906-061D-4E25-BB2D-702C671BCB74}"/>
              </a:ext>
            </a:extLst>
          </p:cNvPr>
          <p:cNvSpPr/>
          <p:nvPr/>
        </p:nvSpPr>
        <p:spPr>
          <a:xfrm>
            <a:off x="2753262" y="3235209"/>
            <a:ext cx="1510816" cy="1510816"/>
          </a:xfrm>
          <a:prstGeom prst="blockArc">
            <a:avLst>
              <a:gd name="adj1" fmla="val 12600000"/>
              <a:gd name="adj2" fmla="val 15480000"/>
              <a:gd name="adj3" fmla="val 12000"/>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grpSp>
        <p:nvGrpSpPr>
          <p:cNvPr id="6" name="iŝḷide">
            <a:extLst>
              <a:ext uri="{FF2B5EF4-FFF2-40B4-BE49-F238E27FC236}">
                <a16:creationId xmlns:a16="http://schemas.microsoft.com/office/drawing/2014/main" id="{CD4634F0-1DF5-4FB6-85D6-D1DA402BEED6}"/>
              </a:ext>
            </a:extLst>
          </p:cNvPr>
          <p:cNvGrpSpPr/>
          <p:nvPr/>
        </p:nvGrpSpPr>
        <p:grpSpPr>
          <a:xfrm>
            <a:off x="1762273" y="4544578"/>
            <a:ext cx="3492795" cy="906499"/>
            <a:chOff x="3155538" y="4871732"/>
            <a:chExt cx="3492795" cy="906499"/>
          </a:xfrm>
        </p:grpSpPr>
        <p:sp>
          <p:nvSpPr>
            <p:cNvPr id="28" name="íšlîdè">
              <a:extLst>
                <a:ext uri="{FF2B5EF4-FFF2-40B4-BE49-F238E27FC236}">
                  <a16:creationId xmlns:a16="http://schemas.microsoft.com/office/drawing/2014/main" id="{07F7C14C-5BC9-49AB-8609-2EA68F5C7E7C}"/>
                </a:ext>
              </a:extLst>
            </p:cNvPr>
            <p:cNvSpPr/>
            <p:nvPr/>
          </p:nvSpPr>
          <p:spPr bwMode="auto">
            <a:xfrm>
              <a:off x="3155538" y="5222871"/>
              <a:ext cx="3492795" cy="555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a:t>
              </a:r>
            </a:p>
            <a:p>
              <a:pPr defTabSz="914400">
                <a:lnSpc>
                  <a:spcPct val="120000"/>
                </a:lnSpc>
                <a:defRPr/>
              </a:pPr>
              <a:r>
                <a:rPr lang="en-US" altLang="zh-CN" sz="1100" kern="0" dirty="0">
                  <a:solidFill>
                    <a:schemeClr val="tx1">
                      <a:lumMod val="75000"/>
                      <a:lumOff val="25000"/>
                    </a:schemeClr>
                  </a:solidFill>
                  <a:sym typeface="+mn-lt"/>
                </a:rPr>
                <a:t>Text here, text here, </a:t>
              </a:r>
            </a:p>
          </p:txBody>
        </p:sp>
        <p:sp>
          <p:nvSpPr>
            <p:cNvPr id="29" name="ïşḷïďè">
              <a:extLst>
                <a:ext uri="{FF2B5EF4-FFF2-40B4-BE49-F238E27FC236}">
                  <a16:creationId xmlns:a16="http://schemas.microsoft.com/office/drawing/2014/main" id="{EC688CCA-A056-41BA-B022-1F67971E2793}"/>
                </a:ext>
              </a:extLst>
            </p:cNvPr>
            <p:cNvSpPr txBox="1"/>
            <p:nvPr/>
          </p:nvSpPr>
          <p:spPr bwMode="auto">
            <a:xfrm>
              <a:off x="3155538" y="4871732"/>
              <a:ext cx="3492795" cy="351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lnSpcReduction="10000"/>
            </a:bodyPr>
            <a:lstStyle/>
            <a:p>
              <a:pPr algn="ctr" eaLnBrk="1" hangingPunct="1">
                <a:spcBef>
                  <a:spcPct val="0"/>
                </a:spcBef>
              </a:pPr>
              <a:r>
                <a:rPr lang="en-US" altLang="zh-CN" sz="1800" b="1" dirty="0"/>
                <a:t>Text here</a:t>
              </a:r>
              <a:endParaRPr lang="zh-CN" altLang="en-US" sz="1800" b="1" dirty="0"/>
            </a:p>
          </p:txBody>
        </p:sp>
      </p:grpSp>
      <p:sp>
        <p:nvSpPr>
          <p:cNvPr id="25" name="í$ḷïde">
            <a:extLst>
              <a:ext uri="{FF2B5EF4-FFF2-40B4-BE49-F238E27FC236}">
                <a16:creationId xmlns:a16="http://schemas.microsoft.com/office/drawing/2014/main" id="{D0F1DF26-1B3A-4183-8028-7B4C85B2553C}"/>
              </a:ext>
            </a:extLst>
          </p:cNvPr>
          <p:cNvSpPr/>
          <p:nvPr/>
        </p:nvSpPr>
        <p:spPr>
          <a:xfrm>
            <a:off x="6289498" y="1593834"/>
            <a:ext cx="2232248" cy="478544"/>
          </a:xfrm>
          <a:prstGeom prst="rect">
            <a:avLst/>
          </a:prstGeom>
        </p:spPr>
        <p:txBody>
          <a:bodyPr wrap="square" lIns="91440" tIns="45720" rIns="91440" bIns="45720">
            <a:normAutofit lnSpcReduction="10000"/>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Text here, text here, </a:t>
            </a:r>
          </a:p>
        </p:txBody>
      </p:sp>
      <p:sp>
        <p:nvSpPr>
          <p:cNvPr id="26" name="iš1ïḑê">
            <a:extLst>
              <a:ext uri="{FF2B5EF4-FFF2-40B4-BE49-F238E27FC236}">
                <a16:creationId xmlns:a16="http://schemas.microsoft.com/office/drawing/2014/main" id="{3D6F0874-22A1-4DC3-AE9C-4D1804E72212}"/>
              </a:ext>
            </a:extLst>
          </p:cNvPr>
          <p:cNvSpPr/>
          <p:nvPr/>
        </p:nvSpPr>
        <p:spPr>
          <a:xfrm>
            <a:off x="6262277" y="970936"/>
            <a:ext cx="1680474" cy="672131"/>
          </a:xfrm>
          <a:prstGeom prst="rect">
            <a:avLst/>
          </a:prstGeom>
        </p:spPr>
        <p:txBody>
          <a:bodyPr wrap="square" lIns="91440" tIns="45720" rIns="91440" bIns="45720">
            <a:normAutofit/>
          </a:bodyPr>
          <a:lstStyle/>
          <a:p>
            <a:r>
              <a:rPr lang="en-US" altLang="zh-CN" sz="3600" dirty="0">
                <a:solidFill>
                  <a:schemeClr val="accent1"/>
                </a:solidFill>
                <a:effectLst/>
              </a:rPr>
              <a:t>71%</a:t>
            </a:r>
          </a:p>
        </p:txBody>
      </p:sp>
      <p:sp>
        <p:nvSpPr>
          <p:cNvPr id="27" name="iśḷiďe">
            <a:extLst>
              <a:ext uri="{FF2B5EF4-FFF2-40B4-BE49-F238E27FC236}">
                <a16:creationId xmlns:a16="http://schemas.microsoft.com/office/drawing/2014/main" id="{7E78BFE2-00DE-4097-A37D-1C71E6B8D42E}"/>
              </a:ext>
            </a:extLst>
          </p:cNvPr>
          <p:cNvSpPr/>
          <p:nvPr/>
        </p:nvSpPr>
        <p:spPr>
          <a:xfrm>
            <a:off x="7514649" y="1209678"/>
            <a:ext cx="1210296" cy="263902"/>
          </a:xfrm>
          <a:prstGeom prst="rect">
            <a:avLst/>
          </a:prstGeom>
        </p:spPr>
        <p:txBody>
          <a:bodyPr wrap="square" lIns="91440" tIns="45720" rIns="91440" bIns="45720" anchor="ctr" anchorCtr="0">
            <a:normAutofit fontScale="92500" lnSpcReduction="20000"/>
          </a:bodyPr>
          <a:lstStyle/>
          <a:p>
            <a:r>
              <a:rPr lang="en-US" altLang="zh-CN" sz="1400" b="1" dirty="0">
                <a:effectLst/>
              </a:rPr>
              <a:t>Text here</a:t>
            </a:r>
            <a:endParaRPr lang="zh-CN" altLang="en-US" sz="1400" b="1" dirty="0">
              <a:effectLst/>
            </a:endParaRPr>
          </a:p>
        </p:txBody>
      </p:sp>
      <p:sp>
        <p:nvSpPr>
          <p:cNvPr id="22" name="íŝlîďê">
            <a:extLst>
              <a:ext uri="{FF2B5EF4-FFF2-40B4-BE49-F238E27FC236}">
                <a16:creationId xmlns:a16="http://schemas.microsoft.com/office/drawing/2014/main" id="{C6667CEF-F533-4D28-9B0B-E1B7B1EC014E}"/>
              </a:ext>
            </a:extLst>
          </p:cNvPr>
          <p:cNvSpPr/>
          <p:nvPr/>
        </p:nvSpPr>
        <p:spPr>
          <a:xfrm>
            <a:off x="9124919" y="2682371"/>
            <a:ext cx="2232248" cy="478544"/>
          </a:xfrm>
          <a:prstGeom prst="rect">
            <a:avLst/>
          </a:prstGeom>
        </p:spPr>
        <p:txBody>
          <a:bodyPr wrap="square" lIns="91440" tIns="45720" rIns="91440" bIns="45720">
            <a:normAutofit lnSpcReduction="10000"/>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Text here, text here, </a:t>
            </a:r>
          </a:p>
        </p:txBody>
      </p:sp>
      <p:sp>
        <p:nvSpPr>
          <p:cNvPr id="23" name="îṧļïďé">
            <a:extLst>
              <a:ext uri="{FF2B5EF4-FFF2-40B4-BE49-F238E27FC236}">
                <a16:creationId xmlns:a16="http://schemas.microsoft.com/office/drawing/2014/main" id="{F2AB532E-3F31-47DC-8762-8093C6675F2C}"/>
              </a:ext>
            </a:extLst>
          </p:cNvPr>
          <p:cNvSpPr/>
          <p:nvPr/>
        </p:nvSpPr>
        <p:spPr>
          <a:xfrm>
            <a:off x="9124919" y="2059473"/>
            <a:ext cx="1680474" cy="672131"/>
          </a:xfrm>
          <a:prstGeom prst="rect">
            <a:avLst/>
          </a:prstGeom>
        </p:spPr>
        <p:txBody>
          <a:bodyPr wrap="square" lIns="91440" tIns="45720" rIns="91440" bIns="45720">
            <a:normAutofit/>
          </a:bodyPr>
          <a:lstStyle/>
          <a:p>
            <a:r>
              <a:rPr lang="en-US" altLang="zh-CN" sz="3600" dirty="0">
                <a:solidFill>
                  <a:schemeClr val="accent3"/>
                </a:solidFill>
                <a:effectLst/>
              </a:rPr>
              <a:t>80%</a:t>
            </a:r>
          </a:p>
        </p:txBody>
      </p:sp>
      <p:sp>
        <p:nvSpPr>
          <p:cNvPr id="24" name="ï$ḷidè">
            <a:extLst>
              <a:ext uri="{FF2B5EF4-FFF2-40B4-BE49-F238E27FC236}">
                <a16:creationId xmlns:a16="http://schemas.microsoft.com/office/drawing/2014/main" id="{DC59C247-3C16-41D6-98CD-79756C0D8831}"/>
              </a:ext>
            </a:extLst>
          </p:cNvPr>
          <p:cNvSpPr/>
          <p:nvPr/>
        </p:nvSpPr>
        <p:spPr>
          <a:xfrm>
            <a:off x="10350070" y="2298215"/>
            <a:ext cx="1210296" cy="263902"/>
          </a:xfrm>
          <a:prstGeom prst="rect">
            <a:avLst/>
          </a:prstGeom>
        </p:spPr>
        <p:txBody>
          <a:bodyPr wrap="square" lIns="91440" tIns="45720" rIns="91440" bIns="45720" anchor="ctr" anchorCtr="0">
            <a:normAutofit fontScale="92500" lnSpcReduction="20000"/>
          </a:bodyPr>
          <a:lstStyle/>
          <a:p>
            <a:r>
              <a:rPr lang="en-US" altLang="zh-CN" sz="1400" b="1" dirty="0">
                <a:effectLst/>
              </a:rPr>
              <a:t>Text here</a:t>
            </a:r>
            <a:endParaRPr lang="zh-CN" altLang="en-US" sz="1400" b="1" dirty="0">
              <a:effectLst/>
            </a:endParaRPr>
          </a:p>
        </p:txBody>
      </p:sp>
      <p:sp>
        <p:nvSpPr>
          <p:cNvPr id="19" name="iṡḷiḍe">
            <a:extLst>
              <a:ext uri="{FF2B5EF4-FFF2-40B4-BE49-F238E27FC236}">
                <a16:creationId xmlns:a16="http://schemas.microsoft.com/office/drawing/2014/main" id="{DC3AEFE5-518E-4324-87D5-3063153C7B30}"/>
              </a:ext>
            </a:extLst>
          </p:cNvPr>
          <p:cNvSpPr/>
          <p:nvPr/>
        </p:nvSpPr>
        <p:spPr>
          <a:xfrm>
            <a:off x="6289498" y="3402444"/>
            <a:ext cx="2232248" cy="478544"/>
          </a:xfrm>
          <a:prstGeom prst="rect">
            <a:avLst/>
          </a:prstGeom>
        </p:spPr>
        <p:txBody>
          <a:bodyPr wrap="square" lIns="91440" tIns="45720" rIns="91440" bIns="45720">
            <a:normAutofit lnSpcReduction="10000"/>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Text here, text here, </a:t>
            </a:r>
          </a:p>
        </p:txBody>
      </p:sp>
      <p:sp>
        <p:nvSpPr>
          <p:cNvPr id="20" name="íşľiďé">
            <a:extLst>
              <a:ext uri="{FF2B5EF4-FFF2-40B4-BE49-F238E27FC236}">
                <a16:creationId xmlns:a16="http://schemas.microsoft.com/office/drawing/2014/main" id="{94771D96-B539-46AE-8F61-29E20984F153}"/>
              </a:ext>
            </a:extLst>
          </p:cNvPr>
          <p:cNvSpPr/>
          <p:nvPr/>
        </p:nvSpPr>
        <p:spPr>
          <a:xfrm>
            <a:off x="6289498" y="2779546"/>
            <a:ext cx="1680474" cy="672131"/>
          </a:xfrm>
          <a:prstGeom prst="rect">
            <a:avLst/>
          </a:prstGeom>
        </p:spPr>
        <p:txBody>
          <a:bodyPr wrap="square" lIns="91440" tIns="45720" rIns="91440" bIns="45720">
            <a:normAutofit/>
          </a:bodyPr>
          <a:lstStyle/>
          <a:p>
            <a:r>
              <a:rPr lang="en-US" altLang="zh-CN" sz="3600" dirty="0">
                <a:solidFill>
                  <a:srgbClr val="97999B"/>
                </a:solidFill>
                <a:effectLst/>
              </a:rPr>
              <a:t>56%</a:t>
            </a:r>
          </a:p>
        </p:txBody>
      </p:sp>
      <p:sp>
        <p:nvSpPr>
          <p:cNvPr id="21" name="îsḷîḓê">
            <a:extLst>
              <a:ext uri="{FF2B5EF4-FFF2-40B4-BE49-F238E27FC236}">
                <a16:creationId xmlns:a16="http://schemas.microsoft.com/office/drawing/2014/main" id="{DBC62EF5-1762-4DD6-B36D-CCE46F6F78DE}"/>
              </a:ext>
            </a:extLst>
          </p:cNvPr>
          <p:cNvSpPr/>
          <p:nvPr/>
        </p:nvSpPr>
        <p:spPr>
          <a:xfrm>
            <a:off x="7514649" y="3018288"/>
            <a:ext cx="1210296" cy="263902"/>
          </a:xfrm>
          <a:prstGeom prst="rect">
            <a:avLst/>
          </a:prstGeom>
        </p:spPr>
        <p:txBody>
          <a:bodyPr wrap="square" lIns="91440" tIns="45720" rIns="91440" bIns="45720" anchor="ctr" anchorCtr="0">
            <a:normAutofit fontScale="92500" lnSpcReduction="20000"/>
          </a:bodyPr>
          <a:lstStyle/>
          <a:p>
            <a:r>
              <a:rPr lang="en-US" altLang="zh-CN" sz="1400" b="1" dirty="0">
                <a:effectLst/>
              </a:rPr>
              <a:t>Text here</a:t>
            </a:r>
            <a:endParaRPr lang="zh-CN" altLang="en-US" sz="1400" b="1" dirty="0">
              <a:effectLst/>
            </a:endParaRPr>
          </a:p>
        </p:txBody>
      </p:sp>
      <p:sp>
        <p:nvSpPr>
          <p:cNvPr id="16" name="íşľïḍè">
            <a:extLst>
              <a:ext uri="{FF2B5EF4-FFF2-40B4-BE49-F238E27FC236}">
                <a16:creationId xmlns:a16="http://schemas.microsoft.com/office/drawing/2014/main" id="{BBDC28CF-CCF7-4B7E-80B7-E5CBF03DBD67}"/>
              </a:ext>
            </a:extLst>
          </p:cNvPr>
          <p:cNvSpPr/>
          <p:nvPr/>
        </p:nvSpPr>
        <p:spPr>
          <a:xfrm>
            <a:off x="9124919" y="4490981"/>
            <a:ext cx="2232248" cy="478544"/>
          </a:xfrm>
          <a:prstGeom prst="rect">
            <a:avLst/>
          </a:prstGeom>
        </p:spPr>
        <p:txBody>
          <a:bodyPr wrap="square" lIns="91440" tIns="45720" rIns="91440" bIns="45720">
            <a:normAutofit lnSpcReduction="10000"/>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Text here, text here, </a:t>
            </a:r>
          </a:p>
        </p:txBody>
      </p:sp>
      <p:sp>
        <p:nvSpPr>
          <p:cNvPr id="17" name="î$ḻîdè">
            <a:extLst>
              <a:ext uri="{FF2B5EF4-FFF2-40B4-BE49-F238E27FC236}">
                <a16:creationId xmlns:a16="http://schemas.microsoft.com/office/drawing/2014/main" id="{D6C6147C-74BA-4434-A04E-C36DA86F5C7D}"/>
              </a:ext>
            </a:extLst>
          </p:cNvPr>
          <p:cNvSpPr/>
          <p:nvPr/>
        </p:nvSpPr>
        <p:spPr>
          <a:xfrm>
            <a:off x="9124919" y="3868083"/>
            <a:ext cx="1680474" cy="672131"/>
          </a:xfrm>
          <a:prstGeom prst="rect">
            <a:avLst/>
          </a:prstGeom>
        </p:spPr>
        <p:txBody>
          <a:bodyPr wrap="square" lIns="91440" tIns="45720" rIns="91440" bIns="45720">
            <a:normAutofit/>
          </a:bodyPr>
          <a:lstStyle/>
          <a:p>
            <a:r>
              <a:rPr lang="en-US" altLang="zh-CN" sz="3600" dirty="0">
                <a:solidFill>
                  <a:srgbClr val="00ABAB"/>
                </a:solidFill>
                <a:effectLst/>
              </a:rPr>
              <a:t>73%</a:t>
            </a:r>
          </a:p>
        </p:txBody>
      </p:sp>
      <p:sp>
        <p:nvSpPr>
          <p:cNvPr id="18" name="iš1iďé">
            <a:extLst>
              <a:ext uri="{FF2B5EF4-FFF2-40B4-BE49-F238E27FC236}">
                <a16:creationId xmlns:a16="http://schemas.microsoft.com/office/drawing/2014/main" id="{6F62C8E4-5BD9-4289-A39C-FD680D6E62B0}"/>
              </a:ext>
            </a:extLst>
          </p:cNvPr>
          <p:cNvSpPr/>
          <p:nvPr/>
        </p:nvSpPr>
        <p:spPr>
          <a:xfrm>
            <a:off x="10350070" y="4106825"/>
            <a:ext cx="1210296" cy="263902"/>
          </a:xfrm>
          <a:prstGeom prst="rect">
            <a:avLst/>
          </a:prstGeom>
        </p:spPr>
        <p:txBody>
          <a:bodyPr wrap="square" lIns="91440" tIns="45720" rIns="91440" bIns="45720" anchor="ctr" anchorCtr="0">
            <a:normAutofit fontScale="92500" lnSpcReduction="20000"/>
          </a:bodyPr>
          <a:lstStyle/>
          <a:p>
            <a:r>
              <a:rPr lang="en-US" altLang="zh-CN" sz="1400" b="1" dirty="0">
                <a:effectLst/>
              </a:rPr>
              <a:t>Text here</a:t>
            </a:r>
            <a:endParaRPr lang="zh-CN" altLang="en-US" sz="1400" b="1" dirty="0">
              <a:effectLst/>
            </a:endParaRPr>
          </a:p>
        </p:txBody>
      </p:sp>
      <p:sp>
        <p:nvSpPr>
          <p:cNvPr id="13" name="íṡliḋê">
            <a:extLst>
              <a:ext uri="{FF2B5EF4-FFF2-40B4-BE49-F238E27FC236}">
                <a16:creationId xmlns:a16="http://schemas.microsoft.com/office/drawing/2014/main" id="{AACA38FE-3EAE-4981-869C-34C1BD83806A}"/>
              </a:ext>
            </a:extLst>
          </p:cNvPr>
          <p:cNvSpPr/>
          <p:nvPr/>
        </p:nvSpPr>
        <p:spPr>
          <a:xfrm>
            <a:off x="6262277" y="5211056"/>
            <a:ext cx="2232248" cy="478544"/>
          </a:xfrm>
          <a:prstGeom prst="rect">
            <a:avLst/>
          </a:prstGeom>
        </p:spPr>
        <p:txBody>
          <a:bodyPr wrap="square" lIns="91440" tIns="45720" rIns="91440" bIns="45720">
            <a:normAutofit lnSpcReduction="10000"/>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Text here, text here, </a:t>
            </a:r>
          </a:p>
        </p:txBody>
      </p:sp>
      <p:sp>
        <p:nvSpPr>
          <p:cNvPr id="14" name="íṩḻïḋê">
            <a:extLst>
              <a:ext uri="{FF2B5EF4-FFF2-40B4-BE49-F238E27FC236}">
                <a16:creationId xmlns:a16="http://schemas.microsoft.com/office/drawing/2014/main" id="{D8132DF9-3231-4FFE-A8FE-F11995F0E3E8}"/>
              </a:ext>
            </a:extLst>
          </p:cNvPr>
          <p:cNvSpPr/>
          <p:nvPr/>
        </p:nvSpPr>
        <p:spPr>
          <a:xfrm>
            <a:off x="6262277" y="4588158"/>
            <a:ext cx="1680474" cy="672131"/>
          </a:xfrm>
          <a:prstGeom prst="rect">
            <a:avLst/>
          </a:prstGeom>
        </p:spPr>
        <p:txBody>
          <a:bodyPr wrap="square" lIns="91440" tIns="45720" rIns="91440" bIns="45720">
            <a:normAutofit/>
          </a:bodyPr>
          <a:lstStyle/>
          <a:p>
            <a:r>
              <a:rPr lang="en-US" altLang="zh-CN" sz="3600" dirty="0">
                <a:solidFill>
                  <a:srgbClr val="005587"/>
                </a:solidFill>
                <a:effectLst/>
              </a:rPr>
              <a:t>40%</a:t>
            </a:r>
          </a:p>
        </p:txBody>
      </p:sp>
      <p:sp>
        <p:nvSpPr>
          <p:cNvPr id="15" name="ïsľïḓe">
            <a:extLst>
              <a:ext uri="{FF2B5EF4-FFF2-40B4-BE49-F238E27FC236}">
                <a16:creationId xmlns:a16="http://schemas.microsoft.com/office/drawing/2014/main" id="{B52C6C09-988E-494F-B411-1FBD5D4E47F5}"/>
              </a:ext>
            </a:extLst>
          </p:cNvPr>
          <p:cNvSpPr/>
          <p:nvPr/>
        </p:nvSpPr>
        <p:spPr>
          <a:xfrm>
            <a:off x="7487428" y="4826900"/>
            <a:ext cx="1210296" cy="263902"/>
          </a:xfrm>
          <a:prstGeom prst="rect">
            <a:avLst/>
          </a:prstGeom>
        </p:spPr>
        <p:txBody>
          <a:bodyPr wrap="square" lIns="91440" tIns="45720" rIns="91440" bIns="45720" anchor="ctr" anchorCtr="0">
            <a:normAutofit fontScale="92500" lnSpcReduction="20000"/>
          </a:bodyPr>
          <a:lstStyle/>
          <a:p>
            <a:r>
              <a:rPr lang="en-US" altLang="zh-CN" sz="1400" b="1" dirty="0">
                <a:effectLst/>
              </a:rPr>
              <a:t>Text here</a:t>
            </a:r>
            <a:endParaRPr lang="zh-CN" altLang="en-US" sz="1400" b="1" dirty="0">
              <a:effectLst/>
            </a:endParaRPr>
          </a:p>
        </p:txBody>
      </p:sp>
      <p:grpSp>
        <p:nvGrpSpPr>
          <p:cNvPr id="41" name="Group 887"/>
          <p:cNvGrpSpPr>
            <a:grpSpLocks noChangeAspect="1"/>
          </p:cNvGrpSpPr>
          <p:nvPr/>
        </p:nvGrpSpPr>
        <p:grpSpPr bwMode="auto">
          <a:xfrm>
            <a:off x="3325148" y="3772877"/>
            <a:ext cx="367041" cy="367041"/>
            <a:chOff x="3302" y="3789"/>
            <a:chExt cx="340" cy="340"/>
          </a:xfrm>
          <a:solidFill>
            <a:schemeClr val="accent4"/>
          </a:solidFill>
        </p:grpSpPr>
        <p:sp>
          <p:nvSpPr>
            <p:cNvPr id="42" name="Rectangle 888"/>
            <p:cNvSpPr>
              <a:spLocks noChangeArrowheads="1"/>
            </p:cNvSpPr>
            <p:nvPr/>
          </p:nvSpPr>
          <p:spPr bwMode="auto">
            <a:xfrm>
              <a:off x="3443" y="3889"/>
              <a:ext cx="58" cy="106"/>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889"/>
            <p:cNvSpPr>
              <a:spLocks noEditPoints="1"/>
            </p:cNvSpPr>
            <p:nvPr/>
          </p:nvSpPr>
          <p:spPr bwMode="auto">
            <a:xfrm>
              <a:off x="3422" y="3867"/>
              <a:ext cx="100" cy="184"/>
            </a:xfrm>
            <a:custGeom>
              <a:avLst/>
              <a:gdLst>
                <a:gd name="T0" fmla="*/ 148 w 150"/>
                <a:gd name="T1" fmla="*/ 0 h 277"/>
                <a:gd name="T2" fmla="*/ 2 w 150"/>
                <a:gd name="T3" fmla="*/ 0 h 277"/>
                <a:gd name="T4" fmla="*/ 0 w 150"/>
                <a:gd name="T5" fmla="*/ 0 h 277"/>
                <a:gd name="T6" fmla="*/ 0 w 150"/>
                <a:gd name="T7" fmla="*/ 277 h 277"/>
                <a:gd name="T8" fmla="*/ 0 w 150"/>
                <a:gd name="T9" fmla="*/ 277 h 277"/>
                <a:gd name="T10" fmla="*/ 2 w 150"/>
                <a:gd name="T11" fmla="*/ 277 h 277"/>
                <a:gd name="T12" fmla="*/ 148 w 150"/>
                <a:gd name="T13" fmla="*/ 277 h 277"/>
                <a:gd name="T14" fmla="*/ 150 w 150"/>
                <a:gd name="T15" fmla="*/ 276 h 277"/>
                <a:gd name="T16" fmla="*/ 150 w 150"/>
                <a:gd name="T17" fmla="*/ 0 h 277"/>
                <a:gd name="T18" fmla="*/ 148 w 150"/>
                <a:gd name="T19" fmla="*/ 0 h 277"/>
                <a:gd name="T20" fmla="*/ 75 w 150"/>
                <a:gd name="T21" fmla="*/ 256 h 277"/>
                <a:gd name="T22" fmla="*/ 64 w 150"/>
                <a:gd name="T23" fmla="*/ 245 h 277"/>
                <a:gd name="T24" fmla="*/ 75 w 150"/>
                <a:gd name="T25" fmla="*/ 234 h 277"/>
                <a:gd name="T26" fmla="*/ 86 w 150"/>
                <a:gd name="T27" fmla="*/ 245 h 277"/>
                <a:gd name="T28" fmla="*/ 75 w 150"/>
                <a:gd name="T29" fmla="*/ 256 h 277"/>
                <a:gd name="T30" fmla="*/ 139 w 150"/>
                <a:gd name="T31" fmla="*/ 202 h 277"/>
                <a:gd name="T32" fmla="*/ 128 w 150"/>
                <a:gd name="T33" fmla="*/ 213 h 277"/>
                <a:gd name="T34" fmla="*/ 22 w 150"/>
                <a:gd name="T35" fmla="*/ 213 h 277"/>
                <a:gd name="T36" fmla="*/ 11 w 150"/>
                <a:gd name="T37" fmla="*/ 202 h 277"/>
                <a:gd name="T38" fmla="*/ 11 w 150"/>
                <a:gd name="T39" fmla="*/ 21 h 277"/>
                <a:gd name="T40" fmla="*/ 22 w 150"/>
                <a:gd name="T41" fmla="*/ 10 h 277"/>
                <a:gd name="T42" fmla="*/ 128 w 150"/>
                <a:gd name="T43" fmla="*/ 10 h 277"/>
                <a:gd name="T44" fmla="*/ 139 w 150"/>
                <a:gd name="T45" fmla="*/ 21 h 277"/>
                <a:gd name="T46" fmla="*/ 139 w 150"/>
                <a:gd name="T4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77">
                  <a:moveTo>
                    <a:pt x="148" y="0"/>
                  </a:moveTo>
                  <a:cubicBezTo>
                    <a:pt x="2" y="0"/>
                    <a:pt x="2" y="0"/>
                    <a:pt x="2" y="0"/>
                  </a:cubicBezTo>
                  <a:cubicBezTo>
                    <a:pt x="1" y="0"/>
                    <a:pt x="0" y="0"/>
                    <a:pt x="0" y="0"/>
                  </a:cubicBezTo>
                  <a:cubicBezTo>
                    <a:pt x="0" y="277"/>
                    <a:pt x="0" y="277"/>
                    <a:pt x="0" y="277"/>
                  </a:cubicBezTo>
                  <a:cubicBezTo>
                    <a:pt x="0" y="277"/>
                    <a:pt x="0" y="277"/>
                    <a:pt x="0" y="277"/>
                  </a:cubicBezTo>
                  <a:cubicBezTo>
                    <a:pt x="1" y="277"/>
                    <a:pt x="1" y="277"/>
                    <a:pt x="2" y="277"/>
                  </a:cubicBezTo>
                  <a:cubicBezTo>
                    <a:pt x="148" y="277"/>
                    <a:pt x="148" y="277"/>
                    <a:pt x="148" y="277"/>
                  </a:cubicBezTo>
                  <a:cubicBezTo>
                    <a:pt x="149" y="277"/>
                    <a:pt x="150" y="277"/>
                    <a:pt x="150" y="276"/>
                  </a:cubicBezTo>
                  <a:cubicBezTo>
                    <a:pt x="150" y="0"/>
                    <a:pt x="150" y="0"/>
                    <a:pt x="150" y="0"/>
                  </a:cubicBezTo>
                  <a:cubicBezTo>
                    <a:pt x="150" y="0"/>
                    <a:pt x="149" y="0"/>
                    <a:pt x="148" y="0"/>
                  </a:cubicBezTo>
                  <a:close/>
                  <a:moveTo>
                    <a:pt x="75" y="256"/>
                  </a:moveTo>
                  <a:cubicBezTo>
                    <a:pt x="69" y="256"/>
                    <a:pt x="64" y="251"/>
                    <a:pt x="64" y="245"/>
                  </a:cubicBezTo>
                  <a:cubicBezTo>
                    <a:pt x="64" y="239"/>
                    <a:pt x="69" y="234"/>
                    <a:pt x="75" y="234"/>
                  </a:cubicBezTo>
                  <a:cubicBezTo>
                    <a:pt x="81" y="234"/>
                    <a:pt x="86" y="239"/>
                    <a:pt x="86" y="245"/>
                  </a:cubicBezTo>
                  <a:cubicBezTo>
                    <a:pt x="86" y="251"/>
                    <a:pt x="81" y="256"/>
                    <a:pt x="75" y="256"/>
                  </a:cubicBezTo>
                  <a:close/>
                  <a:moveTo>
                    <a:pt x="139" y="202"/>
                  </a:moveTo>
                  <a:cubicBezTo>
                    <a:pt x="139" y="208"/>
                    <a:pt x="134" y="213"/>
                    <a:pt x="128" y="213"/>
                  </a:cubicBezTo>
                  <a:cubicBezTo>
                    <a:pt x="22" y="213"/>
                    <a:pt x="22" y="213"/>
                    <a:pt x="22" y="213"/>
                  </a:cubicBezTo>
                  <a:cubicBezTo>
                    <a:pt x="16" y="213"/>
                    <a:pt x="11" y="208"/>
                    <a:pt x="11" y="202"/>
                  </a:cubicBezTo>
                  <a:cubicBezTo>
                    <a:pt x="11" y="21"/>
                    <a:pt x="11" y="21"/>
                    <a:pt x="11" y="21"/>
                  </a:cubicBezTo>
                  <a:cubicBezTo>
                    <a:pt x="11" y="15"/>
                    <a:pt x="16" y="10"/>
                    <a:pt x="22" y="10"/>
                  </a:cubicBezTo>
                  <a:cubicBezTo>
                    <a:pt x="128" y="10"/>
                    <a:pt x="128" y="10"/>
                    <a:pt x="128" y="10"/>
                  </a:cubicBezTo>
                  <a:cubicBezTo>
                    <a:pt x="134" y="10"/>
                    <a:pt x="139" y="15"/>
                    <a:pt x="139" y="21"/>
                  </a:cubicBezTo>
                  <a:lnTo>
                    <a:pt x="139" y="20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890"/>
            <p:cNvSpPr>
              <a:spLocks noEditPoints="1"/>
            </p:cNvSpPr>
            <p:nvPr/>
          </p:nvSpPr>
          <p:spPr bwMode="auto">
            <a:xfrm>
              <a:off x="3302" y="378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95 h 512"/>
                <a:gd name="T12" fmla="*/ 329 w 512"/>
                <a:gd name="T13" fmla="*/ 416 h 512"/>
                <a:gd name="T14" fmla="*/ 183 w 512"/>
                <a:gd name="T15" fmla="*/ 416 h 512"/>
                <a:gd name="T16" fmla="*/ 160 w 512"/>
                <a:gd name="T17" fmla="*/ 395 h 512"/>
                <a:gd name="T18" fmla="*/ 160 w 512"/>
                <a:gd name="T19" fmla="*/ 118 h 512"/>
                <a:gd name="T20" fmla="*/ 183 w 512"/>
                <a:gd name="T21" fmla="*/ 96 h 512"/>
                <a:gd name="T22" fmla="*/ 329 w 512"/>
                <a:gd name="T23" fmla="*/ 96 h 512"/>
                <a:gd name="T24" fmla="*/ 352 w 512"/>
                <a:gd name="T25" fmla="*/ 118 h 512"/>
                <a:gd name="T26" fmla="*/ 352 w 512"/>
                <a:gd name="T27"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395"/>
                  </a:moveTo>
                  <a:cubicBezTo>
                    <a:pt x="352" y="407"/>
                    <a:pt x="342" y="416"/>
                    <a:pt x="329" y="416"/>
                  </a:cubicBezTo>
                  <a:cubicBezTo>
                    <a:pt x="183" y="416"/>
                    <a:pt x="183" y="416"/>
                    <a:pt x="183" y="416"/>
                  </a:cubicBezTo>
                  <a:cubicBezTo>
                    <a:pt x="170" y="416"/>
                    <a:pt x="160" y="407"/>
                    <a:pt x="160" y="395"/>
                  </a:cubicBezTo>
                  <a:cubicBezTo>
                    <a:pt x="160" y="118"/>
                    <a:pt x="160" y="118"/>
                    <a:pt x="160" y="118"/>
                  </a:cubicBezTo>
                  <a:cubicBezTo>
                    <a:pt x="160" y="106"/>
                    <a:pt x="170" y="96"/>
                    <a:pt x="183" y="96"/>
                  </a:cubicBezTo>
                  <a:cubicBezTo>
                    <a:pt x="329" y="96"/>
                    <a:pt x="329" y="96"/>
                    <a:pt x="329" y="96"/>
                  </a:cubicBezTo>
                  <a:cubicBezTo>
                    <a:pt x="342" y="96"/>
                    <a:pt x="352" y="106"/>
                    <a:pt x="352" y="118"/>
                  </a:cubicBezTo>
                  <a:lnTo>
                    <a:pt x="352" y="39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ustDataLst>
      <p:tags r:id="rId1"/>
    </p:custDataLst>
    <p:extLst>
      <p:ext uri="{BB962C8B-B14F-4D97-AF65-F5344CB8AC3E}">
        <p14:creationId xmlns:p14="http://schemas.microsoft.com/office/powerpoint/2010/main" val="2847368428"/>
      </p:ext>
    </p:extLst>
  </p:cSld>
  <p:clrMapOvr>
    <a:masterClrMapping/>
  </p:clrMapOvr>
  <p:transition>
    <p:fade/>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11"/>
          <p:cNvSpPr/>
          <p:nvPr/>
        </p:nvSpPr>
        <p:spPr bwMode="gray">
          <a:xfrm>
            <a:off x="1074990" y="3365193"/>
            <a:ext cx="947873" cy="623301"/>
          </a:xfrm>
          <a:prstGeom prst="rect">
            <a:avLst/>
          </a:prstGeom>
          <a:solidFill>
            <a:schemeClr val="bg1">
              <a:lumMod val="95000"/>
            </a:schemeClr>
          </a:solidFill>
          <a:ln w="19050" algn="ctr">
            <a:noFill/>
            <a:miter lim="800000"/>
            <a:headEnd/>
            <a:tailEnd/>
          </a:ln>
        </p:spPr>
        <p:txBody>
          <a:bodyPr wrap="square" lIns="72000" tIns="72000" rIns="72000" bIns="36000" rtlCol="0" anchor="ctr" anchorCtr="0"/>
          <a:lstStyle/>
          <a:p>
            <a:pPr>
              <a:spcBef>
                <a:spcPts val="200"/>
              </a:spcBef>
            </a:pPr>
            <a:r>
              <a:rPr lang="en-US" altLang="zh-CN" sz="1100" b="1" dirty="0">
                <a:solidFill>
                  <a:srgbClr val="000000"/>
                </a:solidFill>
              </a:rPr>
              <a:t>Note</a:t>
            </a:r>
          </a:p>
        </p:txBody>
      </p:sp>
      <p:sp>
        <p:nvSpPr>
          <p:cNvPr id="64" name="Round Same Side Corner Rectangle 31"/>
          <p:cNvSpPr/>
          <p:nvPr/>
        </p:nvSpPr>
        <p:spPr bwMode="gray">
          <a:xfrm rot="16200000" flipH="1">
            <a:off x="454445" y="3367949"/>
            <a:ext cx="623301" cy="617790"/>
          </a:xfrm>
          <a:prstGeom prst="round2SameRect">
            <a:avLst>
              <a:gd name="adj1" fmla="val 11684"/>
              <a:gd name="adj2" fmla="val 0"/>
            </a:avLst>
          </a:prstGeom>
          <a:solidFill>
            <a:schemeClr val="accent1"/>
          </a:solidFill>
          <a:ln w="19050" algn="ctr">
            <a:noFill/>
            <a:miter lim="800000"/>
            <a:headEnd/>
            <a:tailEnd/>
          </a:ln>
        </p:spPr>
        <p:txBody>
          <a:bodyPr vert="vert" wrap="square" lIns="36000" tIns="36000" rIns="36000" bIns="36000" rtlCol="0" anchor="ctr"/>
          <a:lstStyle/>
          <a:p>
            <a:pPr algn="ctr">
              <a:lnSpc>
                <a:spcPct val="106000"/>
              </a:lnSpc>
              <a:buFont typeface="Wingdings 2" pitchFamily="18" charset="2"/>
              <a:buNone/>
            </a:pPr>
            <a:endParaRPr lang="en-US" sz="1000" b="1" dirty="0">
              <a:solidFill>
                <a:schemeClr val="bg1"/>
              </a:solidFill>
            </a:endParaRPr>
          </a:p>
        </p:txBody>
      </p:sp>
      <p:grpSp>
        <p:nvGrpSpPr>
          <p:cNvPr id="71" name="Group 323"/>
          <p:cNvGrpSpPr>
            <a:grpSpLocks noChangeAspect="1"/>
          </p:cNvGrpSpPr>
          <p:nvPr/>
        </p:nvGrpSpPr>
        <p:grpSpPr bwMode="auto">
          <a:xfrm>
            <a:off x="568198" y="3478946"/>
            <a:ext cx="395794" cy="395794"/>
            <a:chOff x="1925" y="6"/>
            <a:chExt cx="340" cy="340"/>
          </a:xfrm>
          <a:solidFill>
            <a:srgbClr val="FFFFFF"/>
          </a:solidFill>
        </p:grpSpPr>
        <p:sp>
          <p:nvSpPr>
            <p:cNvPr id="72" name="Freeform 324"/>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25"/>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Rectangle 11"/>
          <p:cNvSpPr/>
          <p:nvPr/>
        </p:nvSpPr>
        <p:spPr bwMode="gray">
          <a:xfrm>
            <a:off x="1074990" y="5105192"/>
            <a:ext cx="947873" cy="623301"/>
          </a:xfrm>
          <a:prstGeom prst="rect">
            <a:avLst/>
          </a:prstGeom>
          <a:solidFill>
            <a:schemeClr val="bg1">
              <a:lumMod val="95000"/>
            </a:schemeClr>
          </a:solidFill>
          <a:ln w="19050" algn="ctr">
            <a:noFill/>
            <a:miter lim="800000"/>
            <a:headEnd/>
            <a:tailEnd/>
          </a:ln>
        </p:spPr>
        <p:txBody>
          <a:bodyPr wrap="square" lIns="72000" tIns="72000" rIns="72000" bIns="36000" rtlCol="0" anchor="ctr" anchorCtr="0"/>
          <a:lstStyle/>
          <a:p>
            <a:pPr>
              <a:spcBef>
                <a:spcPts val="200"/>
              </a:spcBef>
            </a:pPr>
            <a:r>
              <a:rPr lang="en-US" altLang="zh-CN" sz="1100" b="1" dirty="0">
                <a:solidFill>
                  <a:srgbClr val="000000"/>
                </a:solidFill>
              </a:rPr>
              <a:t>Note</a:t>
            </a:r>
          </a:p>
        </p:txBody>
      </p:sp>
      <p:sp>
        <p:nvSpPr>
          <p:cNvPr id="75" name="Round Same Side Corner Rectangle 31"/>
          <p:cNvSpPr/>
          <p:nvPr/>
        </p:nvSpPr>
        <p:spPr bwMode="gray">
          <a:xfrm rot="16200000" flipH="1">
            <a:off x="454445" y="5107948"/>
            <a:ext cx="623301" cy="617790"/>
          </a:xfrm>
          <a:prstGeom prst="round2SameRect">
            <a:avLst>
              <a:gd name="adj1" fmla="val 11684"/>
              <a:gd name="adj2" fmla="val 0"/>
            </a:avLst>
          </a:prstGeom>
          <a:solidFill>
            <a:srgbClr val="86BC25"/>
          </a:solidFill>
          <a:ln w="19050" algn="ctr">
            <a:noFill/>
            <a:miter lim="800000"/>
            <a:headEnd/>
            <a:tailEnd/>
          </a:ln>
        </p:spPr>
        <p:txBody>
          <a:bodyPr vert="vert" wrap="square" lIns="36000" tIns="36000" rIns="36000" bIns="36000" rtlCol="0" anchor="ctr"/>
          <a:lstStyle/>
          <a:p>
            <a:pPr algn="ctr">
              <a:lnSpc>
                <a:spcPct val="106000"/>
              </a:lnSpc>
              <a:buFont typeface="Wingdings 2" pitchFamily="18" charset="2"/>
              <a:buNone/>
            </a:pPr>
            <a:endParaRPr lang="en-US" sz="1000" b="1" dirty="0">
              <a:solidFill>
                <a:schemeClr val="bg1"/>
              </a:solidFill>
            </a:endParaRPr>
          </a:p>
        </p:txBody>
      </p:sp>
      <p:grpSp>
        <p:nvGrpSpPr>
          <p:cNvPr id="81" name="Group 117"/>
          <p:cNvGrpSpPr>
            <a:grpSpLocks noChangeAspect="1"/>
          </p:cNvGrpSpPr>
          <p:nvPr/>
        </p:nvGrpSpPr>
        <p:grpSpPr bwMode="auto">
          <a:xfrm>
            <a:off x="568944" y="5224544"/>
            <a:ext cx="394303" cy="383866"/>
            <a:chOff x="2594" y="937"/>
            <a:chExt cx="340" cy="331"/>
          </a:xfrm>
          <a:solidFill>
            <a:srgbClr val="FFFFFF"/>
          </a:solidFill>
        </p:grpSpPr>
        <p:sp>
          <p:nvSpPr>
            <p:cNvPr id="83" name="Freeform 118"/>
            <p:cNvSpPr>
              <a:spLocks noEditPoints="1"/>
            </p:cNvSpPr>
            <p:nvPr/>
          </p:nvSpPr>
          <p:spPr bwMode="auto">
            <a:xfrm>
              <a:off x="2658" y="1047"/>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22 h 235"/>
                <a:gd name="T20" fmla="*/ 298 w 320"/>
                <a:gd name="T21" fmla="*/ 43 h 235"/>
                <a:gd name="T22" fmla="*/ 21 w 320"/>
                <a:gd name="T23" fmla="*/ 43 h 235"/>
                <a:gd name="T24" fmla="*/ 21 w 320"/>
                <a:gd name="T25" fmla="*/ 22 h 235"/>
                <a:gd name="T26" fmla="*/ 298 w 320"/>
                <a:gd name="T27" fmla="*/ 22 h 235"/>
                <a:gd name="T28" fmla="*/ 21 w 320"/>
                <a:gd name="T29" fmla="*/ 214 h 235"/>
                <a:gd name="T30" fmla="*/ 21 w 320"/>
                <a:gd name="T31" fmla="*/ 86 h 235"/>
                <a:gd name="T32" fmla="*/ 298 w 320"/>
                <a:gd name="T33" fmla="*/ 86 h 235"/>
                <a:gd name="T34" fmla="*/ 298 w 320"/>
                <a:gd name="T35" fmla="*/ 214 h 235"/>
                <a:gd name="T36" fmla="*/ 21 w 320"/>
                <a:gd name="T37" fmla="*/ 214 h 235"/>
                <a:gd name="T38" fmla="*/ 170 w 320"/>
                <a:gd name="T39" fmla="*/ 182 h 235"/>
                <a:gd name="T40" fmla="*/ 160 w 320"/>
                <a:gd name="T41" fmla="*/ 192 h 235"/>
                <a:gd name="T42" fmla="*/ 53 w 320"/>
                <a:gd name="T43" fmla="*/ 192 h 235"/>
                <a:gd name="T44" fmla="*/ 42 w 320"/>
                <a:gd name="T45" fmla="*/ 182 h 235"/>
                <a:gd name="T46" fmla="*/ 53 w 320"/>
                <a:gd name="T47" fmla="*/ 171 h 235"/>
                <a:gd name="T48" fmla="*/ 160 w 320"/>
                <a:gd name="T49" fmla="*/ 171 h 235"/>
                <a:gd name="T50" fmla="*/ 170 w 320"/>
                <a:gd name="T5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22"/>
                  </a:moveTo>
                  <a:cubicBezTo>
                    <a:pt x="298" y="43"/>
                    <a:pt x="298" y="43"/>
                    <a:pt x="298" y="43"/>
                  </a:cubicBezTo>
                  <a:cubicBezTo>
                    <a:pt x="21" y="43"/>
                    <a:pt x="21" y="43"/>
                    <a:pt x="21" y="43"/>
                  </a:cubicBezTo>
                  <a:cubicBezTo>
                    <a:pt x="21" y="22"/>
                    <a:pt x="21" y="22"/>
                    <a:pt x="21" y="22"/>
                  </a:cubicBezTo>
                  <a:lnTo>
                    <a:pt x="298" y="22"/>
                  </a:lnTo>
                  <a:close/>
                  <a:moveTo>
                    <a:pt x="21" y="214"/>
                  </a:moveTo>
                  <a:cubicBezTo>
                    <a:pt x="21" y="86"/>
                    <a:pt x="21" y="86"/>
                    <a:pt x="21" y="86"/>
                  </a:cubicBezTo>
                  <a:cubicBezTo>
                    <a:pt x="298" y="86"/>
                    <a:pt x="298" y="86"/>
                    <a:pt x="298" y="86"/>
                  </a:cubicBezTo>
                  <a:cubicBezTo>
                    <a:pt x="298" y="214"/>
                    <a:pt x="298" y="214"/>
                    <a:pt x="298" y="214"/>
                  </a:cubicBezTo>
                  <a:lnTo>
                    <a:pt x="21" y="214"/>
                  </a:lnTo>
                  <a:close/>
                  <a:moveTo>
                    <a:pt x="170" y="182"/>
                  </a:moveTo>
                  <a:cubicBezTo>
                    <a:pt x="170" y="188"/>
                    <a:pt x="166" y="192"/>
                    <a:pt x="160" y="192"/>
                  </a:cubicBezTo>
                  <a:cubicBezTo>
                    <a:pt x="53" y="192"/>
                    <a:pt x="53" y="192"/>
                    <a:pt x="53" y="192"/>
                  </a:cubicBezTo>
                  <a:cubicBezTo>
                    <a:pt x="47" y="192"/>
                    <a:pt x="42" y="188"/>
                    <a:pt x="42" y="182"/>
                  </a:cubicBezTo>
                  <a:cubicBezTo>
                    <a:pt x="42" y="176"/>
                    <a:pt x="47" y="171"/>
                    <a:pt x="53" y="171"/>
                  </a:cubicBezTo>
                  <a:cubicBezTo>
                    <a:pt x="160" y="171"/>
                    <a:pt x="160" y="171"/>
                    <a:pt x="160" y="171"/>
                  </a:cubicBezTo>
                  <a:cubicBezTo>
                    <a:pt x="166" y="171"/>
                    <a:pt x="170" y="176"/>
                    <a:pt x="170" y="18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89" name="Freeform 119"/>
            <p:cNvSpPr>
              <a:spLocks noEditPoints="1"/>
            </p:cNvSpPr>
            <p:nvPr/>
          </p:nvSpPr>
          <p:spPr bwMode="auto">
            <a:xfrm>
              <a:off x="2594" y="937"/>
              <a:ext cx="340" cy="3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
        <p:nvSpPr>
          <p:cNvPr id="96" name="Rectangle 11"/>
          <p:cNvSpPr/>
          <p:nvPr/>
        </p:nvSpPr>
        <p:spPr bwMode="gray">
          <a:xfrm>
            <a:off x="1074990" y="4235193"/>
            <a:ext cx="947873" cy="623301"/>
          </a:xfrm>
          <a:prstGeom prst="rect">
            <a:avLst/>
          </a:prstGeom>
          <a:solidFill>
            <a:schemeClr val="bg1">
              <a:lumMod val="95000"/>
            </a:schemeClr>
          </a:solidFill>
          <a:ln w="19050" algn="ctr">
            <a:noFill/>
            <a:miter lim="800000"/>
            <a:headEnd/>
            <a:tailEnd/>
          </a:ln>
        </p:spPr>
        <p:txBody>
          <a:bodyPr wrap="square" lIns="72000" tIns="72000" rIns="72000" bIns="36000" rtlCol="0" anchor="ctr" anchorCtr="0"/>
          <a:lstStyle/>
          <a:p>
            <a:pPr>
              <a:spcBef>
                <a:spcPts val="200"/>
              </a:spcBef>
            </a:pPr>
            <a:r>
              <a:rPr lang="en-US" altLang="zh-CN" sz="1100" b="1" dirty="0">
                <a:solidFill>
                  <a:srgbClr val="000000"/>
                </a:solidFill>
              </a:rPr>
              <a:t>Note</a:t>
            </a:r>
          </a:p>
        </p:txBody>
      </p:sp>
      <p:sp>
        <p:nvSpPr>
          <p:cNvPr id="101" name="Round Same Side Corner Rectangle 31"/>
          <p:cNvSpPr/>
          <p:nvPr/>
        </p:nvSpPr>
        <p:spPr bwMode="gray">
          <a:xfrm rot="16200000" flipH="1">
            <a:off x="454445" y="4237949"/>
            <a:ext cx="623301" cy="617790"/>
          </a:xfrm>
          <a:prstGeom prst="round2SameRect">
            <a:avLst>
              <a:gd name="adj1" fmla="val 11684"/>
              <a:gd name="adj2" fmla="val 0"/>
            </a:avLst>
          </a:prstGeom>
          <a:solidFill>
            <a:schemeClr val="accent1"/>
          </a:solidFill>
          <a:ln w="19050" algn="ctr">
            <a:noFill/>
            <a:miter lim="800000"/>
            <a:headEnd/>
            <a:tailEnd/>
          </a:ln>
        </p:spPr>
        <p:txBody>
          <a:bodyPr vert="vert" wrap="square" lIns="36000" tIns="36000" rIns="36000" bIns="36000" rtlCol="0" anchor="ctr"/>
          <a:lstStyle/>
          <a:p>
            <a:pPr algn="ctr">
              <a:lnSpc>
                <a:spcPct val="106000"/>
              </a:lnSpc>
              <a:buFont typeface="Wingdings 2" pitchFamily="18" charset="2"/>
              <a:buNone/>
            </a:pPr>
            <a:endParaRPr lang="en-US" sz="1000" b="1" dirty="0">
              <a:solidFill>
                <a:schemeClr val="bg1"/>
              </a:solidFill>
            </a:endParaRPr>
          </a:p>
        </p:txBody>
      </p:sp>
      <p:grpSp>
        <p:nvGrpSpPr>
          <p:cNvPr id="108" name="Group 749"/>
          <p:cNvGrpSpPr>
            <a:grpSpLocks noChangeAspect="1"/>
          </p:cNvGrpSpPr>
          <p:nvPr/>
        </p:nvGrpSpPr>
        <p:grpSpPr bwMode="auto">
          <a:xfrm>
            <a:off x="567847" y="4348740"/>
            <a:ext cx="396496" cy="396496"/>
            <a:chOff x="3520" y="2686"/>
            <a:chExt cx="340" cy="340"/>
          </a:xfrm>
          <a:solidFill>
            <a:srgbClr val="FFFFFF"/>
          </a:solidFill>
        </p:grpSpPr>
        <p:sp>
          <p:nvSpPr>
            <p:cNvPr id="109"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10"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19"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
        <p:nvSpPr>
          <p:cNvPr id="120" name="Rectangle 11"/>
          <p:cNvSpPr/>
          <p:nvPr/>
        </p:nvSpPr>
        <p:spPr bwMode="gray">
          <a:xfrm>
            <a:off x="1074990" y="2495193"/>
            <a:ext cx="947873" cy="623301"/>
          </a:xfrm>
          <a:prstGeom prst="rect">
            <a:avLst/>
          </a:prstGeom>
          <a:solidFill>
            <a:schemeClr val="bg1">
              <a:lumMod val="95000"/>
            </a:schemeClr>
          </a:solidFill>
          <a:ln w="19050" algn="ctr">
            <a:noFill/>
            <a:miter lim="800000"/>
            <a:headEnd/>
            <a:tailEnd/>
          </a:ln>
        </p:spPr>
        <p:txBody>
          <a:bodyPr wrap="square" lIns="72000" tIns="72000" rIns="72000" bIns="36000" rtlCol="0" anchor="ctr" anchorCtr="0"/>
          <a:lstStyle/>
          <a:p>
            <a:pPr>
              <a:spcBef>
                <a:spcPts val="200"/>
              </a:spcBef>
            </a:pPr>
            <a:r>
              <a:rPr lang="en-US" altLang="zh-CN" sz="1100" b="1" dirty="0">
                <a:solidFill>
                  <a:srgbClr val="000000"/>
                </a:solidFill>
              </a:rPr>
              <a:t>Note</a:t>
            </a:r>
          </a:p>
        </p:txBody>
      </p:sp>
      <p:sp>
        <p:nvSpPr>
          <p:cNvPr id="121" name="Round Same Side Corner Rectangle 31"/>
          <p:cNvSpPr/>
          <p:nvPr/>
        </p:nvSpPr>
        <p:spPr bwMode="gray">
          <a:xfrm rot="16200000" flipH="1">
            <a:off x="454445" y="2497949"/>
            <a:ext cx="623301" cy="617790"/>
          </a:xfrm>
          <a:prstGeom prst="round2SameRect">
            <a:avLst>
              <a:gd name="adj1" fmla="val 11684"/>
              <a:gd name="adj2" fmla="val 0"/>
            </a:avLst>
          </a:prstGeom>
          <a:solidFill>
            <a:schemeClr val="accent1"/>
          </a:solidFill>
          <a:ln w="19050" algn="ctr">
            <a:noFill/>
            <a:miter lim="800000"/>
            <a:headEnd/>
            <a:tailEnd/>
          </a:ln>
        </p:spPr>
        <p:txBody>
          <a:bodyPr vert="vert" wrap="square" lIns="36000" tIns="36000" rIns="36000" bIns="36000" rtlCol="0" anchor="ctr"/>
          <a:lstStyle/>
          <a:p>
            <a:pPr algn="ctr">
              <a:lnSpc>
                <a:spcPct val="106000"/>
              </a:lnSpc>
              <a:buFont typeface="Wingdings 2" pitchFamily="18" charset="2"/>
              <a:buNone/>
            </a:pPr>
            <a:endParaRPr lang="en-US" sz="1000" b="1" dirty="0">
              <a:solidFill>
                <a:schemeClr val="bg1"/>
              </a:solidFill>
            </a:endParaRPr>
          </a:p>
        </p:txBody>
      </p:sp>
      <p:grpSp>
        <p:nvGrpSpPr>
          <p:cNvPr id="127" name="Group 897"/>
          <p:cNvGrpSpPr>
            <a:grpSpLocks noChangeAspect="1"/>
          </p:cNvGrpSpPr>
          <p:nvPr/>
        </p:nvGrpSpPr>
        <p:grpSpPr bwMode="auto">
          <a:xfrm>
            <a:off x="569260" y="2610007"/>
            <a:ext cx="393670" cy="393670"/>
            <a:chOff x="3863" y="3885"/>
            <a:chExt cx="340" cy="340"/>
          </a:xfrm>
          <a:solidFill>
            <a:srgbClr val="FFFFFF"/>
          </a:solidFill>
        </p:grpSpPr>
        <p:sp>
          <p:nvSpPr>
            <p:cNvPr id="128" name="Freeform 898"/>
            <p:cNvSpPr>
              <a:spLocks noEditPoints="1"/>
            </p:cNvSpPr>
            <p:nvPr/>
          </p:nvSpPr>
          <p:spPr bwMode="auto">
            <a:xfrm>
              <a:off x="3969" y="3955"/>
              <a:ext cx="128" cy="213"/>
            </a:xfrm>
            <a:custGeom>
              <a:avLst/>
              <a:gdLst>
                <a:gd name="T0" fmla="*/ 169 w 192"/>
                <a:gd name="T1" fmla="*/ 0 h 320"/>
                <a:gd name="T2" fmla="*/ 23 w 192"/>
                <a:gd name="T3" fmla="*/ 0 h 320"/>
                <a:gd name="T4" fmla="*/ 0 w 192"/>
                <a:gd name="T5" fmla="*/ 22 h 320"/>
                <a:gd name="T6" fmla="*/ 0 w 192"/>
                <a:gd name="T7" fmla="*/ 299 h 320"/>
                <a:gd name="T8" fmla="*/ 23 w 192"/>
                <a:gd name="T9" fmla="*/ 320 h 320"/>
                <a:gd name="T10" fmla="*/ 169 w 192"/>
                <a:gd name="T11" fmla="*/ 320 h 320"/>
                <a:gd name="T12" fmla="*/ 192 w 192"/>
                <a:gd name="T13" fmla="*/ 299 h 320"/>
                <a:gd name="T14" fmla="*/ 192 w 192"/>
                <a:gd name="T15" fmla="*/ 22 h 320"/>
                <a:gd name="T16" fmla="*/ 169 w 192"/>
                <a:gd name="T17" fmla="*/ 0 h 320"/>
                <a:gd name="T18" fmla="*/ 169 w 192"/>
                <a:gd name="T19" fmla="*/ 299 h 320"/>
                <a:gd name="T20" fmla="*/ 23 w 192"/>
                <a:gd name="T21" fmla="*/ 299 h 320"/>
                <a:gd name="T22" fmla="*/ 21 w 192"/>
                <a:gd name="T23" fmla="*/ 299 h 320"/>
                <a:gd name="T24" fmla="*/ 21 w 192"/>
                <a:gd name="T25" fmla="*/ 299 h 320"/>
                <a:gd name="T26" fmla="*/ 21 w 192"/>
                <a:gd name="T27" fmla="*/ 22 h 320"/>
                <a:gd name="T28" fmla="*/ 23 w 192"/>
                <a:gd name="T29" fmla="*/ 22 h 320"/>
                <a:gd name="T30" fmla="*/ 169 w 192"/>
                <a:gd name="T31" fmla="*/ 22 h 320"/>
                <a:gd name="T32" fmla="*/ 170 w 192"/>
                <a:gd name="T33" fmla="*/ 22 h 320"/>
                <a:gd name="T34" fmla="*/ 170 w 192"/>
                <a:gd name="T35" fmla="*/ 298 h 320"/>
                <a:gd name="T36" fmla="*/ 169 w 192"/>
                <a:gd name="T37" fmla="*/ 2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320">
                  <a:moveTo>
                    <a:pt x="169" y="0"/>
                  </a:moveTo>
                  <a:cubicBezTo>
                    <a:pt x="23" y="0"/>
                    <a:pt x="23" y="0"/>
                    <a:pt x="23" y="0"/>
                  </a:cubicBezTo>
                  <a:cubicBezTo>
                    <a:pt x="10" y="0"/>
                    <a:pt x="0" y="10"/>
                    <a:pt x="0" y="22"/>
                  </a:cubicBezTo>
                  <a:cubicBezTo>
                    <a:pt x="0" y="299"/>
                    <a:pt x="0" y="299"/>
                    <a:pt x="0" y="299"/>
                  </a:cubicBezTo>
                  <a:cubicBezTo>
                    <a:pt x="0" y="311"/>
                    <a:pt x="10" y="320"/>
                    <a:pt x="23" y="320"/>
                  </a:cubicBezTo>
                  <a:cubicBezTo>
                    <a:pt x="169" y="320"/>
                    <a:pt x="169" y="320"/>
                    <a:pt x="169" y="320"/>
                  </a:cubicBezTo>
                  <a:cubicBezTo>
                    <a:pt x="181" y="320"/>
                    <a:pt x="192" y="311"/>
                    <a:pt x="192" y="299"/>
                  </a:cubicBezTo>
                  <a:cubicBezTo>
                    <a:pt x="192" y="22"/>
                    <a:pt x="192" y="22"/>
                    <a:pt x="192" y="22"/>
                  </a:cubicBezTo>
                  <a:cubicBezTo>
                    <a:pt x="192" y="10"/>
                    <a:pt x="181" y="0"/>
                    <a:pt x="169" y="0"/>
                  </a:cubicBezTo>
                  <a:close/>
                  <a:moveTo>
                    <a:pt x="169" y="299"/>
                  </a:moveTo>
                  <a:cubicBezTo>
                    <a:pt x="23" y="299"/>
                    <a:pt x="23" y="299"/>
                    <a:pt x="23" y="299"/>
                  </a:cubicBezTo>
                  <a:cubicBezTo>
                    <a:pt x="22" y="299"/>
                    <a:pt x="21" y="299"/>
                    <a:pt x="21" y="299"/>
                  </a:cubicBezTo>
                  <a:cubicBezTo>
                    <a:pt x="21" y="299"/>
                    <a:pt x="21" y="299"/>
                    <a:pt x="21" y="299"/>
                  </a:cubicBezTo>
                  <a:cubicBezTo>
                    <a:pt x="21" y="22"/>
                    <a:pt x="21" y="22"/>
                    <a:pt x="21" y="22"/>
                  </a:cubicBezTo>
                  <a:cubicBezTo>
                    <a:pt x="21" y="22"/>
                    <a:pt x="21" y="22"/>
                    <a:pt x="23" y="22"/>
                  </a:cubicBezTo>
                  <a:cubicBezTo>
                    <a:pt x="169" y="22"/>
                    <a:pt x="169" y="22"/>
                    <a:pt x="169" y="22"/>
                  </a:cubicBezTo>
                  <a:cubicBezTo>
                    <a:pt x="170" y="22"/>
                    <a:pt x="170" y="22"/>
                    <a:pt x="170" y="22"/>
                  </a:cubicBezTo>
                  <a:cubicBezTo>
                    <a:pt x="170" y="298"/>
                    <a:pt x="170" y="298"/>
                    <a:pt x="170" y="298"/>
                  </a:cubicBezTo>
                  <a:cubicBezTo>
                    <a:pt x="170" y="299"/>
                    <a:pt x="170" y="299"/>
                    <a:pt x="169" y="29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29" name="Oval 899"/>
            <p:cNvSpPr>
              <a:spLocks noChangeArrowheads="1"/>
            </p:cNvSpPr>
            <p:nvPr/>
          </p:nvSpPr>
          <p:spPr bwMode="auto">
            <a:xfrm>
              <a:off x="4026" y="4125"/>
              <a:ext cx="14" cy="15"/>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30" name="Freeform 900"/>
            <p:cNvSpPr>
              <a:spLocks noEditPoints="1"/>
            </p:cNvSpPr>
            <p:nvPr/>
          </p:nvSpPr>
          <p:spPr bwMode="auto">
            <a:xfrm>
              <a:off x="4004" y="3984"/>
              <a:ext cx="57" cy="120"/>
            </a:xfrm>
            <a:custGeom>
              <a:avLst/>
              <a:gdLst>
                <a:gd name="T0" fmla="*/ 53 w 85"/>
                <a:gd name="T1" fmla="*/ 79 h 181"/>
                <a:gd name="T2" fmla="*/ 53 w 85"/>
                <a:gd name="T3" fmla="*/ 38 h 181"/>
                <a:gd name="T4" fmla="*/ 61 w 85"/>
                <a:gd name="T5" fmla="*/ 45 h 181"/>
                <a:gd name="T6" fmla="*/ 76 w 85"/>
                <a:gd name="T7" fmla="*/ 49 h 181"/>
                <a:gd name="T8" fmla="*/ 80 w 85"/>
                <a:gd name="T9" fmla="*/ 35 h 181"/>
                <a:gd name="T10" fmla="*/ 53 w 85"/>
                <a:gd name="T11" fmla="*/ 15 h 181"/>
                <a:gd name="T12" fmla="*/ 53 w 85"/>
                <a:gd name="T13" fmla="*/ 11 h 181"/>
                <a:gd name="T14" fmla="*/ 43 w 85"/>
                <a:gd name="T15" fmla="*/ 0 h 181"/>
                <a:gd name="T16" fmla="*/ 32 w 85"/>
                <a:gd name="T17" fmla="*/ 11 h 181"/>
                <a:gd name="T18" fmla="*/ 32 w 85"/>
                <a:gd name="T19" fmla="*/ 15 h 181"/>
                <a:gd name="T20" fmla="*/ 0 w 85"/>
                <a:gd name="T21" fmla="*/ 56 h 181"/>
                <a:gd name="T22" fmla="*/ 32 w 85"/>
                <a:gd name="T23" fmla="*/ 97 h 181"/>
                <a:gd name="T24" fmla="*/ 32 w 85"/>
                <a:gd name="T25" fmla="*/ 138 h 181"/>
                <a:gd name="T26" fmla="*/ 23 w 85"/>
                <a:gd name="T27" fmla="*/ 127 h 181"/>
                <a:gd name="T28" fmla="*/ 9 w 85"/>
                <a:gd name="T29" fmla="*/ 121 h 181"/>
                <a:gd name="T30" fmla="*/ 2 w 85"/>
                <a:gd name="T31" fmla="*/ 134 h 181"/>
                <a:gd name="T32" fmla="*/ 32 w 85"/>
                <a:gd name="T33" fmla="*/ 161 h 181"/>
                <a:gd name="T34" fmla="*/ 32 w 85"/>
                <a:gd name="T35" fmla="*/ 171 h 181"/>
                <a:gd name="T36" fmla="*/ 43 w 85"/>
                <a:gd name="T37" fmla="*/ 181 h 181"/>
                <a:gd name="T38" fmla="*/ 53 w 85"/>
                <a:gd name="T39" fmla="*/ 171 h 181"/>
                <a:gd name="T40" fmla="*/ 53 w 85"/>
                <a:gd name="T41" fmla="*/ 161 h 181"/>
                <a:gd name="T42" fmla="*/ 85 w 85"/>
                <a:gd name="T43" fmla="*/ 120 h 181"/>
                <a:gd name="T44" fmla="*/ 53 w 85"/>
                <a:gd name="T45" fmla="*/ 79 h 181"/>
                <a:gd name="T46" fmla="*/ 21 w 85"/>
                <a:gd name="T47" fmla="*/ 56 h 181"/>
                <a:gd name="T48" fmla="*/ 32 w 85"/>
                <a:gd name="T49" fmla="*/ 38 h 181"/>
                <a:gd name="T50" fmla="*/ 32 w 85"/>
                <a:gd name="T51" fmla="*/ 74 h 181"/>
                <a:gd name="T52" fmla="*/ 21 w 85"/>
                <a:gd name="T53" fmla="*/ 56 h 181"/>
                <a:gd name="T54" fmla="*/ 53 w 85"/>
                <a:gd name="T55" fmla="*/ 138 h 181"/>
                <a:gd name="T56" fmla="*/ 53 w 85"/>
                <a:gd name="T57" fmla="*/ 102 h 181"/>
                <a:gd name="T58" fmla="*/ 64 w 85"/>
                <a:gd name="T59" fmla="*/ 120 h 181"/>
                <a:gd name="T60" fmla="*/ 53 w 85"/>
                <a:gd name="T61" fmla="*/ 13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5" h="181">
                  <a:moveTo>
                    <a:pt x="53" y="79"/>
                  </a:moveTo>
                  <a:cubicBezTo>
                    <a:pt x="53" y="38"/>
                    <a:pt x="53" y="38"/>
                    <a:pt x="53" y="38"/>
                  </a:cubicBezTo>
                  <a:cubicBezTo>
                    <a:pt x="57" y="39"/>
                    <a:pt x="59" y="42"/>
                    <a:pt x="61" y="45"/>
                  </a:cubicBezTo>
                  <a:cubicBezTo>
                    <a:pt x="64" y="50"/>
                    <a:pt x="71" y="52"/>
                    <a:pt x="76" y="49"/>
                  </a:cubicBezTo>
                  <a:cubicBezTo>
                    <a:pt x="81" y="46"/>
                    <a:pt x="83" y="40"/>
                    <a:pt x="80" y="35"/>
                  </a:cubicBezTo>
                  <a:cubicBezTo>
                    <a:pt x="74" y="25"/>
                    <a:pt x="64" y="18"/>
                    <a:pt x="53" y="15"/>
                  </a:cubicBezTo>
                  <a:cubicBezTo>
                    <a:pt x="53" y="11"/>
                    <a:pt x="53" y="11"/>
                    <a:pt x="53" y="11"/>
                  </a:cubicBezTo>
                  <a:cubicBezTo>
                    <a:pt x="53" y="5"/>
                    <a:pt x="49" y="0"/>
                    <a:pt x="43" y="0"/>
                  </a:cubicBezTo>
                  <a:cubicBezTo>
                    <a:pt x="37" y="0"/>
                    <a:pt x="32" y="5"/>
                    <a:pt x="32" y="11"/>
                  </a:cubicBezTo>
                  <a:cubicBezTo>
                    <a:pt x="32" y="15"/>
                    <a:pt x="32" y="15"/>
                    <a:pt x="32" y="15"/>
                  </a:cubicBezTo>
                  <a:cubicBezTo>
                    <a:pt x="14" y="20"/>
                    <a:pt x="0" y="36"/>
                    <a:pt x="0" y="56"/>
                  </a:cubicBezTo>
                  <a:cubicBezTo>
                    <a:pt x="0" y="76"/>
                    <a:pt x="14" y="92"/>
                    <a:pt x="32" y="97"/>
                  </a:cubicBezTo>
                  <a:cubicBezTo>
                    <a:pt x="32" y="138"/>
                    <a:pt x="32" y="138"/>
                    <a:pt x="32" y="138"/>
                  </a:cubicBezTo>
                  <a:cubicBezTo>
                    <a:pt x="28" y="136"/>
                    <a:pt x="24" y="132"/>
                    <a:pt x="23" y="127"/>
                  </a:cubicBezTo>
                  <a:cubicBezTo>
                    <a:pt x="21" y="122"/>
                    <a:pt x="14" y="119"/>
                    <a:pt x="9" y="121"/>
                  </a:cubicBezTo>
                  <a:cubicBezTo>
                    <a:pt x="3" y="123"/>
                    <a:pt x="0" y="129"/>
                    <a:pt x="2" y="134"/>
                  </a:cubicBezTo>
                  <a:cubicBezTo>
                    <a:pt x="7" y="148"/>
                    <a:pt x="19" y="158"/>
                    <a:pt x="32" y="161"/>
                  </a:cubicBezTo>
                  <a:cubicBezTo>
                    <a:pt x="32" y="171"/>
                    <a:pt x="32" y="171"/>
                    <a:pt x="32" y="171"/>
                  </a:cubicBezTo>
                  <a:cubicBezTo>
                    <a:pt x="32" y="177"/>
                    <a:pt x="37" y="181"/>
                    <a:pt x="43" y="181"/>
                  </a:cubicBezTo>
                  <a:cubicBezTo>
                    <a:pt x="49" y="181"/>
                    <a:pt x="53" y="177"/>
                    <a:pt x="53" y="171"/>
                  </a:cubicBezTo>
                  <a:cubicBezTo>
                    <a:pt x="53" y="161"/>
                    <a:pt x="53" y="161"/>
                    <a:pt x="53" y="161"/>
                  </a:cubicBezTo>
                  <a:cubicBezTo>
                    <a:pt x="72" y="156"/>
                    <a:pt x="85" y="140"/>
                    <a:pt x="85" y="120"/>
                  </a:cubicBezTo>
                  <a:cubicBezTo>
                    <a:pt x="85" y="100"/>
                    <a:pt x="72" y="84"/>
                    <a:pt x="53" y="79"/>
                  </a:cubicBezTo>
                  <a:close/>
                  <a:moveTo>
                    <a:pt x="21" y="56"/>
                  </a:moveTo>
                  <a:cubicBezTo>
                    <a:pt x="21" y="48"/>
                    <a:pt x="26" y="41"/>
                    <a:pt x="32" y="38"/>
                  </a:cubicBezTo>
                  <a:cubicBezTo>
                    <a:pt x="32" y="74"/>
                    <a:pt x="32" y="74"/>
                    <a:pt x="32" y="74"/>
                  </a:cubicBezTo>
                  <a:cubicBezTo>
                    <a:pt x="26" y="71"/>
                    <a:pt x="21" y="64"/>
                    <a:pt x="21" y="56"/>
                  </a:cubicBezTo>
                  <a:close/>
                  <a:moveTo>
                    <a:pt x="53" y="138"/>
                  </a:moveTo>
                  <a:cubicBezTo>
                    <a:pt x="53" y="102"/>
                    <a:pt x="53" y="102"/>
                    <a:pt x="53" y="102"/>
                  </a:cubicBezTo>
                  <a:cubicBezTo>
                    <a:pt x="60" y="105"/>
                    <a:pt x="64" y="112"/>
                    <a:pt x="64" y="120"/>
                  </a:cubicBezTo>
                  <a:cubicBezTo>
                    <a:pt x="64" y="128"/>
                    <a:pt x="60" y="135"/>
                    <a:pt x="53" y="13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31" name="Freeform 901"/>
            <p:cNvSpPr>
              <a:spLocks noEditPoints="1"/>
            </p:cNvSpPr>
            <p:nvPr/>
          </p:nvSpPr>
          <p:spPr bwMode="auto">
            <a:xfrm>
              <a:off x="3863" y="38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
        <p:nvSpPr>
          <p:cNvPr id="132" name="Rectangle 11"/>
          <p:cNvSpPr/>
          <p:nvPr/>
        </p:nvSpPr>
        <p:spPr bwMode="gray">
          <a:xfrm>
            <a:off x="1074990" y="1625194"/>
            <a:ext cx="947873" cy="623301"/>
          </a:xfrm>
          <a:prstGeom prst="rect">
            <a:avLst/>
          </a:prstGeom>
          <a:solidFill>
            <a:schemeClr val="bg1">
              <a:lumMod val="95000"/>
            </a:schemeClr>
          </a:solidFill>
          <a:ln w="19050" algn="ctr">
            <a:noFill/>
            <a:miter lim="800000"/>
            <a:headEnd/>
            <a:tailEnd/>
          </a:ln>
        </p:spPr>
        <p:txBody>
          <a:bodyPr wrap="square" lIns="72000" tIns="72000" rIns="72000" bIns="36000" rtlCol="0" anchor="ctr" anchorCtr="0"/>
          <a:lstStyle/>
          <a:p>
            <a:pPr>
              <a:spcBef>
                <a:spcPts val="200"/>
              </a:spcBef>
            </a:pPr>
            <a:r>
              <a:rPr lang="en-US" sz="1100" b="1" dirty="0">
                <a:solidFill>
                  <a:srgbClr val="000000"/>
                </a:solidFill>
              </a:rPr>
              <a:t>Note</a:t>
            </a:r>
          </a:p>
        </p:txBody>
      </p:sp>
      <p:sp>
        <p:nvSpPr>
          <p:cNvPr id="133" name="Round Same Side Corner Rectangle 31"/>
          <p:cNvSpPr/>
          <p:nvPr/>
        </p:nvSpPr>
        <p:spPr bwMode="gray">
          <a:xfrm rot="16200000" flipH="1">
            <a:off x="454445" y="1627949"/>
            <a:ext cx="623300" cy="617790"/>
          </a:xfrm>
          <a:prstGeom prst="round2SameRect">
            <a:avLst>
              <a:gd name="adj1" fmla="val 11684"/>
              <a:gd name="adj2" fmla="val 0"/>
            </a:avLst>
          </a:prstGeom>
          <a:solidFill>
            <a:schemeClr val="accent1"/>
          </a:solidFill>
          <a:ln w="19050" algn="ctr">
            <a:noFill/>
            <a:miter lim="800000"/>
            <a:headEnd/>
            <a:tailEnd/>
          </a:ln>
        </p:spPr>
        <p:txBody>
          <a:bodyPr vert="vert" wrap="square" lIns="36000" tIns="36000" rIns="36000" bIns="36000" rtlCol="0" anchor="ctr"/>
          <a:lstStyle/>
          <a:p>
            <a:pPr algn="ctr">
              <a:lnSpc>
                <a:spcPct val="106000"/>
              </a:lnSpc>
              <a:buFont typeface="Wingdings 2" pitchFamily="18" charset="2"/>
              <a:buNone/>
            </a:pPr>
            <a:endParaRPr lang="en-US" sz="1000" b="1" dirty="0">
              <a:solidFill>
                <a:schemeClr val="bg1"/>
              </a:solidFill>
            </a:endParaRPr>
          </a:p>
        </p:txBody>
      </p:sp>
      <p:grpSp>
        <p:nvGrpSpPr>
          <p:cNvPr id="3" name="组合 2"/>
          <p:cNvGrpSpPr/>
          <p:nvPr/>
        </p:nvGrpSpPr>
        <p:grpSpPr>
          <a:xfrm>
            <a:off x="2061120" y="1129506"/>
            <a:ext cx="9648280" cy="4598987"/>
            <a:chOff x="2073820" y="1700213"/>
            <a:chExt cx="7983842" cy="4598987"/>
          </a:xfrm>
        </p:grpSpPr>
        <p:sp>
          <p:nvSpPr>
            <p:cNvPr id="58" name="Rectangle: Top Corners Rounded 4">
              <a:extLst>
                <a:ext uri="{FF2B5EF4-FFF2-40B4-BE49-F238E27FC236}">
                  <a16:creationId xmlns:a16="http://schemas.microsoft.com/office/drawing/2014/main" id="{BE3B7436-475F-407C-8002-105AFBF8F600}"/>
                </a:ext>
              </a:extLst>
            </p:cNvPr>
            <p:cNvSpPr/>
            <p:nvPr/>
          </p:nvSpPr>
          <p:spPr bwMode="gray">
            <a:xfrm>
              <a:off x="2073820" y="1700213"/>
              <a:ext cx="1521731" cy="426096"/>
            </a:xfrm>
            <a:prstGeom prst="round2SameRect">
              <a:avLst>
                <a:gd name="adj1" fmla="val 20588"/>
                <a:gd name="adj2" fmla="val 0"/>
              </a:avLst>
            </a:prstGeom>
            <a:solidFill>
              <a:schemeClr val="accent2"/>
            </a:solidFill>
            <a:ln w="19050" algn="ctr">
              <a:noFill/>
              <a:miter lim="800000"/>
              <a:headEnd/>
              <a:tailEnd/>
            </a:ln>
          </p:spPr>
          <p:txBody>
            <a:bodyPr wrap="square" lIns="72000" tIns="88900" rIns="88900" bIns="88900" rtlCol="0" anchor="ctr"/>
            <a:lstStyle/>
            <a:p>
              <a:pPr algn="ctr">
                <a:defRPr sz="1400" b="0" i="0" u="none" strike="noStrike" kern="1200" spc="0" baseline="0">
                  <a:solidFill>
                    <a:prstClr val="black">
                      <a:lumMod val="65000"/>
                      <a:lumOff val="35000"/>
                    </a:prstClr>
                  </a:solidFill>
                  <a:latin typeface="+mn-lt"/>
                  <a:ea typeface="+mn-ea"/>
                  <a:cs typeface="+mn-cs"/>
                </a:defRPr>
              </a:pPr>
              <a:r>
                <a:rPr lang="en-US" altLang="zh-CN" sz="1200" b="1" dirty="0">
                  <a:solidFill>
                    <a:srgbClr val="FFFFFF"/>
                  </a:solidFill>
                </a:rPr>
                <a:t>Note</a:t>
              </a:r>
            </a:p>
          </p:txBody>
        </p:sp>
        <p:sp>
          <p:nvSpPr>
            <p:cNvPr id="59" name="Rectangle: Top Corners Rounded 4">
              <a:extLst>
                <a:ext uri="{FF2B5EF4-FFF2-40B4-BE49-F238E27FC236}">
                  <a16:creationId xmlns:a16="http://schemas.microsoft.com/office/drawing/2014/main" id="{BE3B7436-475F-407C-8002-105AFBF8F600}"/>
                </a:ext>
              </a:extLst>
            </p:cNvPr>
            <p:cNvSpPr/>
            <p:nvPr/>
          </p:nvSpPr>
          <p:spPr bwMode="gray">
            <a:xfrm>
              <a:off x="3689348" y="1700213"/>
              <a:ext cx="1521731" cy="426096"/>
            </a:xfrm>
            <a:prstGeom prst="round2SameRect">
              <a:avLst>
                <a:gd name="adj1" fmla="val 20588"/>
                <a:gd name="adj2" fmla="val 0"/>
              </a:avLst>
            </a:prstGeom>
            <a:solidFill>
              <a:schemeClr val="accent2"/>
            </a:solidFill>
            <a:ln w="19050" algn="ctr">
              <a:noFill/>
              <a:miter lim="800000"/>
              <a:headEnd/>
              <a:tailEnd/>
            </a:ln>
          </p:spPr>
          <p:txBody>
            <a:bodyPr wrap="square" lIns="72000" tIns="88900" rIns="88900" bIns="88900" rtlCol="0" anchor="ctr"/>
            <a:lstStyle/>
            <a:p>
              <a:pPr algn="ctr">
                <a:defRPr sz="1400" b="0" i="0" u="none" strike="noStrike" kern="1200" spc="0" baseline="0">
                  <a:solidFill>
                    <a:prstClr val="black">
                      <a:lumMod val="65000"/>
                      <a:lumOff val="35000"/>
                    </a:prstClr>
                  </a:solidFill>
                  <a:latin typeface="+mn-lt"/>
                  <a:ea typeface="+mn-ea"/>
                  <a:cs typeface="+mn-cs"/>
                </a:defRPr>
              </a:pPr>
              <a:r>
                <a:rPr lang="en-US" altLang="zh-CN" sz="1200" b="1" dirty="0">
                  <a:solidFill>
                    <a:srgbClr val="FFFFFF"/>
                  </a:solidFill>
                </a:rPr>
                <a:t>Note</a:t>
              </a:r>
            </a:p>
          </p:txBody>
        </p:sp>
        <p:sp>
          <p:nvSpPr>
            <p:cNvPr id="60" name="Rectangle: Top Corners Rounded 4">
              <a:extLst>
                <a:ext uri="{FF2B5EF4-FFF2-40B4-BE49-F238E27FC236}">
                  <a16:creationId xmlns:a16="http://schemas.microsoft.com/office/drawing/2014/main" id="{BE3B7436-475F-407C-8002-105AFBF8F600}"/>
                </a:ext>
              </a:extLst>
            </p:cNvPr>
            <p:cNvSpPr/>
            <p:nvPr/>
          </p:nvSpPr>
          <p:spPr bwMode="gray">
            <a:xfrm>
              <a:off x="5304876" y="1700213"/>
              <a:ext cx="1521731" cy="426096"/>
            </a:xfrm>
            <a:prstGeom prst="round2SameRect">
              <a:avLst>
                <a:gd name="adj1" fmla="val 20588"/>
                <a:gd name="adj2" fmla="val 0"/>
              </a:avLst>
            </a:prstGeom>
            <a:solidFill>
              <a:schemeClr val="accent2"/>
            </a:solidFill>
            <a:ln w="19050" algn="ctr">
              <a:noFill/>
              <a:miter lim="800000"/>
              <a:headEnd/>
              <a:tailEnd/>
            </a:ln>
          </p:spPr>
          <p:txBody>
            <a:bodyPr wrap="square" lIns="72000" tIns="88900" rIns="88900" bIns="88900" rtlCol="0" anchor="ctr"/>
            <a:lstStyle/>
            <a:p>
              <a:pPr algn="ctr">
                <a:defRPr sz="1400" b="0" i="0" u="none" strike="noStrike" kern="1200" spc="0" baseline="0">
                  <a:solidFill>
                    <a:prstClr val="black">
                      <a:lumMod val="65000"/>
                      <a:lumOff val="35000"/>
                    </a:prstClr>
                  </a:solidFill>
                  <a:latin typeface="+mn-lt"/>
                  <a:ea typeface="+mn-ea"/>
                  <a:cs typeface="+mn-cs"/>
                </a:defRPr>
              </a:pPr>
              <a:r>
                <a:rPr lang="en-US" altLang="zh-CN" sz="1200" b="1" dirty="0">
                  <a:solidFill>
                    <a:srgbClr val="FFFFFF"/>
                  </a:solidFill>
                </a:rPr>
                <a:t>Note</a:t>
              </a:r>
            </a:p>
          </p:txBody>
        </p:sp>
        <p:sp>
          <p:nvSpPr>
            <p:cNvPr id="61" name="Rectangle: Top Corners Rounded 4">
              <a:extLst>
                <a:ext uri="{FF2B5EF4-FFF2-40B4-BE49-F238E27FC236}">
                  <a16:creationId xmlns:a16="http://schemas.microsoft.com/office/drawing/2014/main" id="{BE3B7436-475F-407C-8002-105AFBF8F600}"/>
                </a:ext>
              </a:extLst>
            </p:cNvPr>
            <p:cNvSpPr/>
            <p:nvPr/>
          </p:nvSpPr>
          <p:spPr bwMode="gray">
            <a:xfrm>
              <a:off x="6920405" y="1700213"/>
              <a:ext cx="1521731" cy="426096"/>
            </a:xfrm>
            <a:prstGeom prst="round2SameRect">
              <a:avLst>
                <a:gd name="adj1" fmla="val 20588"/>
                <a:gd name="adj2" fmla="val 0"/>
              </a:avLst>
            </a:prstGeom>
            <a:solidFill>
              <a:schemeClr val="accent2"/>
            </a:solidFill>
            <a:ln w="19050" algn="ctr">
              <a:noFill/>
              <a:miter lim="800000"/>
              <a:headEnd/>
              <a:tailEnd/>
            </a:ln>
          </p:spPr>
          <p:txBody>
            <a:bodyPr wrap="square" lIns="72000" tIns="88900" rIns="88900" bIns="88900" rtlCol="0" anchor="ctr"/>
            <a:lstStyle/>
            <a:p>
              <a:pPr algn="ctr">
                <a:defRPr sz="1400" b="0" i="0" u="none" strike="noStrike" kern="1200" spc="0" baseline="0">
                  <a:solidFill>
                    <a:prstClr val="black">
                      <a:lumMod val="65000"/>
                      <a:lumOff val="35000"/>
                    </a:prstClr>
                  </a:solidFill>
                  <a:latin typeface="+mn-lt"/>
                  <a:ea typeface="+mn-ea"/>
                  <a:cs typeface="+mn-cs"/>
                </a:defRPr>
              </a:pPr>
              <a:r>
                <a:rPr lang="en-US" altLang="zh-CN" sz="1200" b="1" dirty="0">
                  <a:solidFill>
                    <a:srgbClr val="FFFFFF"/>
                  </a:solidFill>
                </a:rPr>
                <a:t>Note</a:t>
              </a:r>
            </a:p>
          </p:txBody>
        </p:sp>
        <p:sp>
          <p:nvSpPr>
            <p:cNvPr id="62" name="Rectangle: Top Corners Rounded 4">
              <a:extLst>
                <a:ext uri="{FF2B5EF4-FFF2-40B4-BE49-F238E27FC236}">
                  <a16:creationId xmlns:a16="http://schemas.microsoft.com/office/drawing/2014/main" id="{BE3B7436-475F-407C-8002-105AFBF8F600}"/>
                </a:ext>
              </a:extLst>
            </p:cNvPr>
            <p:cNvSpPr/>
            <p:nvPr/>
          </p:nvSpPr>
          <p:spPr bwMode="gray">
            <a:xfrm>
              <a:off x="8535931" y="1700213"/>
              <a:ext cx="1521731" cy="426096"/>
            </a:xfrm>
            <a:prstGeom prst="round2SameRect">
              <a:avLst>
                <a:gd name="adj1" fmla="val 20588"/>
                <a:gd name="adj2" fmla="val 0"/>
              </a:avLst>
            </a:prstGeom>
            <a:solidFill>
              <a:schemeClr val="accent2"/>
            </a:solidFill>
            <a:ln w="19050" algn="ctr">
              <a:noFill/>
              <a:miter lim="800000"/>
              <a:headEnd/>
              <a:tailEnd/>
            </a:ln>
          </p:spPr>
          <p:txBody>
            <a:bodyPr wrap="square" lIns="72000" tIns="88900" rIns="88900" bIns="88900" rtlCol="0" anchor="ctr"/>
            <a:lstStyle/>
            <a:p>
              <a:pPr algn="ctr">
                <a:defRPr sz="1400" b="0" i="0" u="none" strike="noStrike" kern="1200" spc="0" baseline="0">
                  <a:solidFill>
                    <a:prstClr val="black">
                      <a:lumMod val="65000"/>
                      <a:lumOff val="35000"/>
                    </a:prstClr>
                  </a:solidFill>
                  <a:latin typeface="+mn-lt"/>
                  <a:ea typeface="+mn-ea"/>
                  <a:cs typeface="+mn-cs"/>
                </a:defRPr>
              </a:pPr>
              <a:r>
                <a:rPr lang="en-US" altLang="zh-CN" sz="1200" b="1" dirty="0">
                  <a:solidFill>
                    <a:srgbClr val="FFFFFF"/>
                  </a:solidFill>
                </a:rPr>
                <a:t>Note</a:t>
              </a:r>
            </a:p>
          </p:txBody>
        </p:sp>
        <p:sp>
          <p:nvSpPr>
            <p:cNvPr id="65" name="Rectangle 11"/>
            <p:cNvSpPr/>
            <p:nvPr/>
          </p:nvSpPr>
          <p:spPr bwMode="gray">
            <a:xfrm>
              <a:off x="2073820" y="393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66" name="Rectangle 11"/>
            <p:cNvSpPr/>
            <p:nvPr/>
          </p:nvSpPr>
          <p:spPr bwMode="gray">
            <a:xfrm>
              <a:off x="3689348" y="393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67" name="Rectangle 11"/>
            <p:cNvSpPr/>
            <p:nvPr/>
          </p:nvSpPr>
          <p:spPr bwMode="gray">
            <a:xfrm>
              <a:off x="5304876" y="393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69" name="Rectangle 11"/>
            <p:cNvSpPr/>
            <p:nvPr/>
          </p:nvSpPr>
          <p:spPr bwMode="gray">
            <a:xfrm>
              <a:off x="6920405" y="393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70" name="Rectangle 11"/>
            <p:cNvSpPr/>
            <p:nvPr/>
          </p:nvSpPr>
          <p:spPr bwMode="gray">
            <a:xfrm>
              <a:off x="8535931" y="393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76" name="Rectangle 11"/>
            <p:cNvSpPr/>
            <p:nvPr/>
          </p:nvSpPr>
          <p:spPr bwMode="gray">
            <a:xfrm>
              <a:off x="2073820" y="5675899"/>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77" name="Rectangle 11"/>
            <p:cNvSpPr/>
            <p:nvPr/>
          </p:nvSpPr>
          <p:spPr bwMode="gray">
            <a:xfrm>
              <a:off x="3689348" y="5675899"/>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78" name="Rectangle 11"/>
            <p:cNvSpPr/>
            <p:nvPr/>
          </p:nvSpPr>
          <p:spPr bwMode="gray">
            <a:xfrm>
              <a:off x="5304876" y="5675899"/>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79" name="Rectangle 11"/>
            <p:cNvSpPr/>
            <p:nvPr/>
          </p:nvSpPr>
          <p:spPr bwMode="gray">
            <a:xfrm>
              <a:off x="6920405" y="5675899"/>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80" name="Rectangle 11"/>
            <p:cNvSpPr/>
            <p:nvPr/>
          </p:nvSpPr>
          <p:spPr bwMode="gray">
            <a:xfrm>
              <a:off x="8535931" y="5675899"/>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03" name="Rectangle 11"/>
            <p:cNvSpPr/>
            <p:nvPr/>
          </p:nvSpPr>
          <p:spPr bwMode="gray">
            <a:xfrm>
              <a:off x="2073820" y="480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04" name="Rectangle 11"/>
            <p:cNvSpPr/>
            <p:nvPr/>
          </p:nvSpPr>
          <p:spPr bwMode="gray">
            <a:xfrm>
              <a:off x="3689348" y="480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05" name="Rectangle 11"/>
            <p:cNvSpPr/>
            <p:nvPr/>
          </p:nvSpPr>
          <p:spPr bwMode="gray">
            <a:xfrm>
              <a:off x="5304876" y="480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06" name="Rectangle 11"/>
            <p:cNvSpPr/>
            <p:nvPr/>
          </p:nvSpPr>
          <p:spPr bwMode="gray">
            <a:xfrm>
              <a:off x="6920405" y="480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07" name="Rectangle 11"/>
            <p:cNvSpPr/>
            <p:nvPr/>
          </p:nvSpPr>
          <p:spPr bwMode="gray">
            <a:xfrm>
              <a:off x="8535931" y="480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22" name="Rectangle 11"/>
            <p:cNvSpPr/>
            <p:nvPr/>
          </p:nvSpPr>
          <p:spPr bwMode="gray">
            <a:xfrm>
              <a:off x="2073820" y="306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23" name="Rectangle 11"/>
            <p:cNvSpPr/>
            <p:nvPr/>
          </p:nvSpPr>
          <p:spPr bwMode="gray">
            <a:xfrm>
              <a:off x="3689348" y="306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24" name="Rectangle 11"/>
            <p:cNvSpPr/>
            <p:nvPr/>
          </p:nvSpPr>
          <p:spPr bwMode="gray">
            <a:xfrm>
              <a:off x="5304876" y="306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25" name="Rectangle 11"/>
            <p:cNvSpPr/>
            <p:nvPr/>
          </p:nvSpPr>
          <p:spPr bwMode="gray">
            <a:xfrm>
              <a:off x="6920405" y="306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26" name="Rectangle 11"/>
            <p:cNvSpPr/>
            <p:nvPr/>
          </p:nvSpPr>
          <p:spPr bwMode="gray">
            <a:xfrm>
              <a:off x="8535931" y="306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34" name="Rectangle 11"/>
            <p:cNvSpPr/>
            <p:nvPr/>
          </p:nvSpPr>
          <p:spPr bwMode="gray">
            <a:xfrm>
              <a:off x="2073820" y="2195901"/>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sz="1000" dirty="0">
                  <a:solidFill>
                    <a:srgbClr val="000000"/>
                  </a:solidFill>
                </a:rPr>
                <a:t>Lorem ipsum dolor sit amet</a:t>
              </a:r>
              <a:r>
                <a:rPr lang="en-US" sz="1000" dirty="0">
                  <a:solidFill>
                    <a:srgbClr val="000000"/>
                  </a:solidFill>
                </a:rPr>
                <a:t> </a:t>
              </a:r>
            </a:p>
          </p:txBody>
        </p:sp>
        <p:sp>
          <p:nvSpPr>
            <p:cNvPr id="135" name="Rectangle 11"/>
            <p:cNvSpPr/>
            <p:nvPr/>
          </p:nvSpPr>
          <p:spPr bwMode="gray">
            <a:xfrm>
              <a:off x="3689348" y="2195901"/>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36" name="Rectangle 11"/>
            <p:cNvSpPr/>
            <p:nvPr/>
          </p:nvSpPr>
          <p:spPr bwMode="gray">
            <a:xfrm>
              <a:off x="5304876" y="2195901"/>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37" name="Rectangle 11"/>
            <p:cNvSpPr/>
            <p:nvPr/>
          </p:nvSpPr>
          <p:spPr bwMode="gray">
            <a:xfrm>
              <a:off x="6920405" y="2195901"/>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38" name="Rectangle 11"/>
            <p:cNvSpPr/>
            <p:nvPr/>
          </p:nvSpPr>
          <p:spPr bwMode="gray">
            <a:xfrm>
              <a:off x="8535931" y="2195901"/>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grpSp>
      <p:grpSp>
        <p:nvGrpSpPr>
          <p:cNvPr id="139" name="Group 48"/>
          <p:cNvGrpSpPr>
            <a:grpSpLocks noChangeAspect="1"/>
          </p:cNvGrpSpPr>
          <p:nvPr/>
        </p:nvGrpSpPr>
        <p:grpSpPr bwMode="auto">
          <a:xfrm>
            <a:off x="568944" y="1746609"/>
            <a:ext cx="394303" cy="394303"/>
            <a:chOff x="4277" y="1990"/>
            <a:chExt cx="340" cy="340"/>
          </a:xfrm>
          <a:solidFill>
            <a:srgbClr val="FFFFFF"/>
          </a:solidFill>
        </p:grpSpPr>
        <p:sp>
          <p:nvSpPr>
            <p:cNvPr id="140"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41"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Tree>
    <p:custDataLst>
      <p:tags r:id="rId1"/>
    </p:custDataLst>
    <p:extLst>
      <p:ext uri="{BB962C8B-B14F-4D97-AF65-F5344CB8AC3E}">
        <p14:creationId xmlns:p14="http://schemas.microsoft.com/office/powerpoint/2010/main" val="3890400642"/>
      </p:ext>
    </p:extLst>
  </p:cSld>
  <p:clrMapOvr>
    <a:masterClrMapping/>
  </p:clrMapOvr>
  <p:transition spd="med" advClick="0" advTm="0">
    <p:random/>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表格 30"/>
          <p:cNvGraphicFramePr>
            <a:graphicFrameLocks noGrp="1"/>
          </p:cNvGraphicFramePr>
          <p:nvPr/>
        </p:nvGraphicFramePr>
        <p:xfrm>
          <a:off x="469899" y="1106488"/>
          <a:ext cx="11252202" cy="4108980"/>
        </p:xfrm>
        <a:graphic>
          <a:graphicData uri="http://schemas.openxmlformats.org/drawingml/2006/table">
            <a:tbl>
              <a:tblPr firstRow="1" bandRow="1">
                <a:tableStyleId>{5C22544A-7EE6-4342-B048-85BDC9FD1C3A}</a:tableStyleId>
              </a:tblPr>
              <a:tblGrid>
                <a:gridCol w="865554">
                  <a:extLst>
                    <a:ext uri="{9D8B030D-6E8A-4147-A177-3AD203B41FA5}">
                      <a16:colId xmlns:a16="http://schemas.microsoft.com/office/drawing/2014/main" val="4111607720"/>
                    </a:ext>
                  </a:extLst>
                </a:gridCol>
                <a:gridCol w="865554">
                  <a:extLst>
                    <a:ext uri="{9D8B030D-6E8A-4147-A177-3AD203B41FA5}">
                      <a16:colId xmlns:a16="http://schemas.microsoft.com/office/drawing/2014/main" val="3371910534"/>
                    </a:ext>
                  </a:extLst>
                </a:gridCol>
                <a:gridCol w="865554">
                  <a:extLst>
                    <a:ext uri="{9D8B030D-6E8A-4147-A177-3AD203B41FA5}">
                      <a16:colId xmlns:a16="http://schemas.microsoft.com/office/drawing/2014/main" val="1542875154"/>
                    </a:ext>
                  </a:extLst>
                </a:gridCol>
                <a:gridCol w="865554">
                  <a:extLst>
                    <a:ext uri="{9D8B030D-6E8A-4147-A177-3AD203B41FA5}">
                      <a16:colId xmlns:a16="http://schemas.microsoft.com/office/drawing/2014/main" val="1699531917"/>
                    </a:ext>
                  </a:extLst>
                </a:gridCol>
                <a:gridCol w="865554">
                  <a:extLst>
                    <a:ext uri="{9D8B030D-6E8A-4147-A177-3AD203B41FA5}">
                      <a16:colId xmlns:a16="http://schemas.microsoft.com/office/drawing/2014/main" val="337983595"/>
                    </a:ext>
                  </a:extLst>
                </a:gridCol>
                <a:gridCol w="865554">
                  <a:extLst>
                    <a:ext uri="{9D8B030D-6E8A-4147-A177-3AD203B41FA5}">
                      <a16:colId xmlns:a16="http://schemas.microsoft.com/office/drawing/2014/main" val="43204263"/>
                    </a:ext>
                  </a:extLst>
                </a:gridCol>
                <a:gridCol w="865554">
                  <a:extLst>
                    <a:ext uri="{9D8B030D-6E8A-4147-A177-3AD203B41FA5}">
                      <a16:colId xmlns:a16="http://schemas.microsoft.com/office/drawing/2014/main" val="1682275429"/>
                    </a:ext>
                  </a:extLst>
                </a:gridCol>
                <a:gridCol w="865554">
                  <a:extLst>
                    <a:ext uri="{9D8B030D-6E8A-4147-A177-3AD203B41FA5}">
                      <a16:colId xmlns:a16="http://schemas.microsoft.com/office/drawing/2014/main" val="1369771151"/>
                    </a:ext>
                  </a:extLst>
                </a:gridCol>
                <a:gridCol w="865554">
                  <a:extLst>
                    <a:ext uri="{9D8B030D-6E8A-4147-A177-3AD203B41FA5}">
                      <a16:colId xmlns:a16="http://schemas.microsoft.com/office/drawing/2014/main" val="1356413998"/>
                    </a:ext>
                  </a:extLst>
                </a:gridCol>
                <a:gridCol w="865554">
                  <a:extLst>
                    <a:ext uri="{9D8B030D-6E8A-4147-A177-3AD203B41FA5}">
                      <a16:colId xmlns:a16="http://schemas.microsoft.com/office/drawing/2014/main" val="1551415955"/>
                    </a:ext>
                  </a:extLst>
                </a:gridCol>
                <a:gridCol w="865554">
                  <a:extLst>
                    <a:ext uri="{9D8B030D-6E8A-4147-A177-3AD203B41FA5}">
                      <a16:colId xmlns:a16="http://schemas.microsoft.com/office/drawing/2014/main" val="2894792134"/>
                    </a:ext>
                  </a:extLst>
                </a:gridCol>
                <a:gridCol w="865554">
                  <a:extLst>
                    <a:ext uri="{9D8B030D-6E8A-4147-A177-3AD203B41FA5}">
                      <a16:colId xmlns:a16="http://schemas.microsoft.com/office/drawing/2014/main" val="3108181906"/>
                    </a:ext>
                  </a:extLst>
                </a:gridCol>
                <a:gridCol w="865554">
                  <a:extLst>
                    <a:ext uri="{9D8B030D-6E8A-4147-A177-3AD203B41FA5}">
                      <a16:colId xmlns:a16="http://schemas.microsoft.com/office/drawing/2014/main" val="2933706720"/>
                    </a:ext>
                  </a:extLst>
                </a:gridCol>
              </a:tblGrid>
              <a:tr h="482400">
                <a:tc>
                  <a:txBody>
                    <a:bodyPr/>
                    <a:lstStyle/>
                    <a:p>
                      <a:endParaRPr lang="en-US" sz="1200" dirty="0">
                        <a:latin typeface="+mn-lt"/>
                      </a:endParaRPr>
                    </a:p>
                  </a:txBody>
                  <a:tcPr anchor="ctr">
                    <a:lnT w="381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gridSpan="3">
                  <a:txBody>
                    <a:bodyPr/>
                    <a:lstStyle/>
                    <a:p>
                      <a:pPr algn="ctr" fontAlgn="b"/>
                      <a:r>
                        <a:rPr lang="en-US" sz="1200" b="1" i="0" u="none" strike="noStrike">
                          <a:solidFill>
                            <a:srgbClr val="86BC25"/>
                          </a:solidFill>
                          <a:effectLst/>
                          <a:latin typeface="+mn-lt"/>
                        </a:rPr>
                        <a:t>Lorem</a:t>
                      </a:r>
                      <a:endParaRPr lang="en-US" sz="1200" b="1" i="0" u="none" strike="noStrike" dirty="0">
                        <a:solidFill>
                          <a:srgbClr val="86BC25"/>
                        </a:solidFill>
                        <a:effectLst/>
                        <a:latin typeface="+mn-lt"/>
                      </a:endParaRPr>
                    </a:p>
                  </a:txBody>
                  <a:tcPr marL="7620" marR="7620" marT="7620" marB="0" anchor="ctr">
                    <a:lnT w="38100" cap="flat" cmpd="sng" algn="ctr">
                      <a:solidFill>
                        <a:srgbClr val="86BC25"/>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fontAlgn="b"/>
                      <a:r>
                        <a:rPr lang="en-US" sz="1200" b="1" i="0" u="none" strike="noStrike">
                          <a:solidFill>
                            <a:srgbClr val="00A3E0"/>
                          </a:solidFill>
                          <a:effectLst/>
                          <a:latin typeface="+mn-lt"/>
                        </a:rPr>
                        <a:t>Lorem</a:t>
                      </a:r>
                      <a:endParaRPr lang="en-US" sz="1200" b="1" i="0" u="none" strike="noStrike" dirty="0">
                        <a:solidFill>
                          <a:srgbClr val="00A3E0"/>
                        </a:solidFill>
                        <a:effectLst/>
                        <a:latin typeface="+mn-lt"/>
                      </a:endParaRPr>
                    </a:p>
                  </a:txBody>
                  <a:tcPr marL="7620" marR="7620" marT="7620" marB="0" anchor="ctr">
                    <a:lnT w="38100" cap="flat" cmpd="sng" algn="ctr">
                      <a:solidFill>
                        <a:srgbClr val="00A3E0"/>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4">
                  <a:txBody>
                    <a:bodyPr/>
                    <a:lstStyle/>
                    <a:p>
                      <a:pPr algn="ctr" fontAlgn="b"/>
                      <a:r>
                        <a:rPr lang="en-US" sz="1200" b="1" i="0" u="none" strike="noStrike">
                          <a:solidFill>
                            <a:srgbClr val="046A38"/>
                          </a:solidFill>
                          <a:effectLst/>
                          <a:latin typeface="+mn-lt"/>
                        </a:rPr>
                        <a:t>Lorem</a:t>
                      </a:r>
                      <a:endParaRPr lang="en-US" sz="1200" b="1" i="0" u="none" strike="noStrike" dirty="0">
                        <a:solidFill>
                          <a:srgbClr val="046A38"/>
                        </a:solidFill>
                        <a:effectLst/>
                        <a:latin typeface="+mn-lt"/>
                      </a:endParaRPr>
                    </a:p>
                  </a:txBody>
                  <a:tcPr marL="7620" marR="7620" marT="7620" marB="0" anchor="ctr">
                    <a:lnT w="38100" cap="flat" cmpd="sng" algn="ctr">
                      <a:solidFill>
                        <a:srgbClr val="046A38"/>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fontAlgn="b"/>
                      <a:r>
                        <a:rPr lang="en-US" sz="1200" b="1" i="0" u="none" strike="noStrike" dirty="0">
                          <a:solidFill>
                            <a:srgbClr val="00ABAB"/>
                          </a:solidFill>
                          <a:effectLst/>
                          <a:latin typeface="+mn-lt"/>
                        </a:rPr>
                        <a:t>Lorem</a:t>
                      </a:r>
                    </a:p>
                  </a:txBody>
                  <a:tcPr marL="7620" marR="7620" marT="7620" marB="0" anchor="ctr">
                    <a:lnT w="38100" cap="flat" cmpd="sng" algn="ctr">
                      <a:solidFill>
                        <a:srgbClr val="00ABAB"/>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847242150"/>
                  </a:ext>
                </a:extLst>
              </a:tr>
              <a:tr h="482400">
                <a:tc>
                  <a:txBody>
                    <a:bodyPr/>
                    <a:lstStyle/>
                    <a:p>
                      <a:endParaRPr lang="en-US" sz="1000" dirty="0">
                        <a:latin typeface="+mn-lt"/>
                      </a:endParaRPr>
                    </a:p>
                  </a:txBody>
                  <a:tcPr>
                    <a:lnT w="9525"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86BC25"/>
                          </a:solidFill>
                          <a:effectLst/>
                          <a:latin typeface="+mn-lt"/>
                        </a:rPr>
                        <a:t>Lorem</a:t>
                      </a:r>
                      <a:endParaRPr lang="en-US" sz="800" b="0" i="0" u="none" strike="noStrike" dirty="0">
                        <a:solidFill>
                          <a:srgbClr val="86BC25"/>
                        </a:solidFill>
                        <a:effectLst/>
                        <a:latin typeface="+mn-lt"/>
                      </a:endParaRPr>
                    </a:p>
                  </a:txBody>
                  <a:tcPr marL="7620" marR="7620" marT="7620" marB="0" anchor="ctr">
                    <a:lnR w="38100"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86BC25"/>
                          </a:solidFill>
                          <a:effectLst/>
                          <a:latin typeface="+mn-lt"/>
                        </a:rPr>
                        <a:t>Lorem</a:t>
                      </a:r>
                      <a:endParaRPr lang="en-US" sz="800" b="0" i="0" u="none" strike="noStrike" dirty="0">
                        <a:solidFill>
                          <a:srgbClr val="86BC25"/>
                        </a:solidFill>
                        <a:effectLst/>
                        <a:latin typeface="+mn-lt"/>
                      </a:endParaRPr>
                    </a:p>
                  </a:txBody>
                  <a:tcPr marL="7620" marR="7620" marT="762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86BC25"/>
                          </a:solidFill>
                          <a:effectLst/>
                          <a:latin typeface="+mn-lt"/>
                        </a:rPr>
                        <a:t>Lorem</a:t>
                      </a:r>
                      <a:endParaRPr lang="en-US" sz="800" b="0" i="0" u="none" strike="noStrike" dirty="0">
                        <a:solidFill>
                          <a:srgbClr val="86BC25"/>
                        </a:solidFill>
                        <a:effectLst/>
                        <a:latin typeface="+mn-lt"/>
                      </a:endParaRPr>
                    </a:p>
                  </a:txBody>
                  <a:tcPr marL="7620" marR="7620" marT="7620" marB="0" anchor="ctr">
                    <a:lnL w="38100"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0A3E0"/>
                          </a:solidFill>
                          <a:effectLst/>
                          <a:latin typeface="+mn-lt"/>
                        </a:rPr>
                        <a:t>Lorem</a:t>
                      </a:r>
                      <a:endParaRPr lang="en-US" sz="800" b="0" i="0" u="none" strike="noStrike" dirty="0">
                        <a:solidFill>
                          <a:srgbClr val="00A3E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0A3E0"/>
                          </a:solidFill>
                          <a:effectLst/>
                          <a:latin typeface="+mn-lt"/>
                        </a:rPr>
                        <a:t>Lorem</a:t>
                      </a:r>
                      <a:endParaRPr lang="en-US" sz="800" b="0" i="0" u="none" strike="noStrike" dirty="0">
                        <a:solidFill>
                          <a:srgbClr val="00A3E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0A3E0"/>
                          </a:solidFill>
                          <a:effectLst/>
                          <a:latin typeface="+mn-lt"/>
                        </a:rPr>
                        <a:t>Lorem</a:t>
                      </a:r>
                      <a:endParaRPr lang="en-US" sz="800" b="0" i="0" u="none" strike="noStrike" dirty="0">
                        <a:solidFill>
                          <a:srgbClr val="00A3E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46A38"/>
                          </a:solidFill>
                          <a:effectLst/>
                          <a:latin typeface="+mn-lt"/>
                        </a:rPr>
                        <a:t>Lorem</a:t>
                      </a:r>
                      <a:endParaRPr lang="en-US" sz="800" b="0" i="0" u="none" strike="noStrike" dirty="0">
                        <a:solidFill>
                          <a:srgbClr val="046A38"/>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46A38"/>
                          </a:solidFill>
                          <a:effectLst/>
                          <a:latin typeface="+mn-lt"/>
                        </a:rPr>
                        <a:t>Lorem</a:t>
                      </a:r>
                      <a:endParaRPr lang="en-US" sz="800" b="0" i="0" u="none" strike="noStrike" dirty="0">
                        <a:solidFill>
                          <a:srgbClr val="046A38"/>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46A38"/>
                          </a:solidFill>
                          <a:effectLst/>
                          <a:latin typeface="+mn-lt"/>
                        </a:rPr>
                        <a:t>Lorem</a:t>
                      </a:r>
                      <a:endParaRPr lang="en-US" sz="800" b="0" i="0" u="none" strike="noStrike" dirty="0">
                        <a:solidFill>
                          <a:srgbClr val="046A38"/>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46A38"/>
                          </a:solidFill>
                          <a:effectLst/>
                          <a:latin typeface="+mn-lt"/>
                        </a:rPr>
                        <a:t>Lorem</a:t>
                      </a:r>
                      <a:endParaRPr lang="en-US" sz="800" b="0" i="0" u="none" strike="noStrike" dirty="0">
                        <a:solidFill>
                          <a:srgbClr val="046A38"/>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0ABAB"/>
                          </a:solidFill>
                          <a:effectLst/>
                          <a:latin typeface="+mn-lt"/>
                        </a:rPr>
                        <a:t>Lorem</a:t>
                      </a:r>
                      <a:endParaRPr lang="en-US" sz="800" b="0" i="0" u="none" strike="noStrike" dirty="0">
                        <a:solidFill>
                          <a:srgbClr val="00ABAB"/>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dirty="0">
                          <a:solidFill>
                            <a:srgbClr val="00ABAB"/>
                          </a:solidFill>
                          <a:effectLst/>
                          <a:latin typeface="+mn-lt"/>
                        </a:rPr>
                        <a:t>Lorem</a:t>
                      </a: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827031248"/>
                  </a:ext>
                </a:extLst>
              </a:tr>
              <a:tr h="1048060">
                <a:tc>
                  <a:txBody>
                    <a:bodyPr/>
                    <a:lstStyle/>
                    <a:p>
                      <a:pPr algn="l" fontAlgn="b"/>
                      <a:r>
                        <a:rPr lang="en-US" sz="1000" b="1" i="0" u="none" strike="noStrike">
                          <a:solidFill>
                            <a:schemeClr val="bg1">
                              <a:lumMod val="50000"/>
                            </a:schemeClr>
                          </a:solidFill>
                          <a:effectLst/>
                          <a:latin typeface="+mn-lt"/>
                        </a:rPr>
                        <a:t>Lorem</a:t>
                      </a:r>
                      <a:endParaRPr lang="en-US" sz="1000" b="1" i="0" u="none" strike="noStrike" dirty="0">
                        <a:solidFill>
                          <a:schemeClr val="bg1">
                            <a:lumMod val="50000"/>
                          </a:schemeClr>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11716595"/>
                  </a:ext>
                </a:extLst>
              </a:tr>
              <a:tr h="1048060">
                <a:tc>
                  <a:txBody>
                    <a:bodyPr/>
                    <a:lstStyle/>
                    <a:p>
                      <a:pPr algn="l" fontAlgn="b"/>
                      <a:r>
                        <a:rPr lang="en-US" sz="1000" b="1" i="0" u="none" strike="noStrike">
                          <a:solidFill>
                            <a:schemeClr val="bg1">
                              <a:lumMod val="50000"/>
                            </a:schemeClr>
                          </a:solidFill>
                          <a:effectLst/>
                          <a:latin typeface="+mn-lt"/>
                        </a:rPr>
                        <a:t>Lorem</a:t>
                      </a:r>
                      <a:endParaRPr lang="en-US" sz="1000" b="1" i="0" u="none" strike="noStrike" dirty="0">
                        <a:solidFill>
                          <a:schemeClr val="bg1">
                            <a:lumMod val="50000"/>
                          </a:schemeClr>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234954372"/>
                  </a:ext>
                </a:extLst>
              </a:tr>
              <a:tr h="1048060">
                <a:tc>
                  <a:txBody>
                    <a:bodyPr/>
                    <a:lstStyle/>
                    <a:p>
                      <a:pPr algn="l" fontAlgn="b"/>
                      <a:r>
                        <a:rPr lang="en-US" sz="1000" b="1" i="0" u="none" strike="noStrike" dirty="0">
                          <a:solidFill>
                            <a:schemeClr val="bg1">
                              <a:lumMod val="50000"/>
                            </a:schemeClr>
                          </a:solidFill>
                          <a:effectLst/>
                          <a:latin typeface="+mn-lt"/>
                        </a:rPr>
                        <a:t>Lorem</a:t>
                      </a: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451236219"/>
                  </a:ext>
                </a:extLst>
              </a:tr>
            </a:tbl>
          </a:graphicData>
        </a:graphic>
      </p:graphicFrame>
      <p:sp>
        <p:nvSpPr>
          <p:cNvPr id="32" name="圆角矩形 31"/>
          <p:cNvSpPr/>
          <p:nvPr/>
        </p:nvSpPr>
        <p:spPr bwMode="gray">
          <a:xfrm>
            <a:off x="469899" y="5456767"/>
            <a:ext cx="6212840" cy="283633"/>
          </a:xfrm>
          <a:prstGeom prst="roundRect">
            <a:avLst>
              <a:gd name="adj" fmla="val 46219"/>
            </a:avLst>
          </a:prstGeom>
          <a:solidFill>
            <a:schemeClr val="tx1"/>
          </a:solidFill>
          <a:ln w="19050" algn="ctr">
            <a:noFill/>
            <a:miter lim="800000"/>
            <a:headEnd/>
            <a:tailEnd/>
          </a:ln>
        </p:spPr>
        <p:txBody>
          <a:bodyPr wrap="square" lIns="88900" tIns="88900" rIns="88900" bIns="88900" rtlCol="0" anchor="ctr"/>
          <a:lstStyle/>
          <a:p>
            <a:pPr>
              <a:lnSpc>
                <a:spcPct val="106000"/>
              </a:lnSpc>
            </a:pPr>
            <a:r>
              <a:rPr lang="en-US" sz="1000" b="1" dirty="0">
                <a:solidFill>
                  <a:schemeClr val="bg1"/>
                </a:solidFill>
                <a:cs typeface="Calibri" panose="020F0502020204030204" pitchFamily="34" charset="0"/>
              </a:rPr>
              <a:t>Lorem</a:t>
            </a:r>
          </a:p>
        </p:txBody>
      </p:sp>
      <p:sp>
        <p:nvSpPr>
          <p:cNvPr id="33" name="Freeform 240"/>
          <p:cNvSpPr>
            <a:spLocks noChangeAspect="1" noEditPoints="1"/>
          </p:cNvSpPr>
          <p:nvPr/>
        </p:nvSpPr>
        <p:spPr bwMode="auto">
          <a:xfrm>
            <a:off x="1571075"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TextBox 100">
            <a:extLst>
              <a:ext uri="{FF2B5EF4-FFF2-40B4-BE49-F238E27FC236}">
                <a16:creationId xmlns:a16="http://schemas.microsoft.com/office/drawing/2014/main" id="{53D5A11C-8601-4014-AAE9-09F77E12E9FB}"/>
              </a:ext>
            </a:extLst>
          </p:cNvPr>
          <p:cNvSpPr txBox="1"/>
          <p:nvPr/>
        </p:nvSpPr>
        <p:spPr>
          <a:xfrm>
            <a:off x="1761945" y="5519493"/>
            <a:ext cx="596868" cy="153888"/>
          </a:xfrm>
          <a:prstGeom prst="rect">
            <a:avLst/>
          </a:prstGeom>
          <a:noFill/>
        </p:spPr>
        <p:txBody>
          <a:bodyPr wrap="square" lIns="0" tIns="0" rIns="0" bIns="0" rtlCol="0">
            <a:spAutoFit/>
          </a:bodyPr>
          <a:lstStyle/>
          <a:p>
            <a:pPr>
              <a:spcBef>
                <a:spcPts val="600"/>
              </a:spcBef>
              <a:buSzPct val="100000"/>
            </a:pPr>
            <a:r>
              <a:rPr lang="en-US" sz="1000" b="1" dirty="0">
                <a:solidFill>
                  <a:schemeClr val="bg1"/>
                </a:solidFill>
                <a:cs typeface="Calibri" panose="020F0502020204030204" pitchFamily="34" charset="0"/>
              </a:rPr>
              <a:t>Lorem</a:t>
            </a:r>
          </a:p>
        </p:txBody>
      </p:sp>
      <p:sp>
        <p:nvSpPr>
          <p:cNvPr id="35" name="TextBox 100">
            <a:extLst>
              <a:ext uri="{FF2B5EF4-FFF2-40B4-BE49-F238E27FC236}">
                <a16:creationId xmlns:a16="http://schemas.microsoft.com/office/drawing/2014/main" id="{53D5A11C-8601-4014-AAE9-09F77E12E9FB}"/>
              </a:ext>
            </a:extLst>
          </p:cNvPr>
          <p:cNvSpPr txBox="1"/>
          <p:nvPr/>
        </p:nvSpPr>
        <p:spPr>
          <a:xfrm>
            <a:off x="2934577" y="5519493"/>
            <a:ext cx="596868" cy="153888"/>
          </a:xfrm>
          <a:prstGeom prst="rect">
            <a:avLst/>
          </a:prstGeom>
          <a:noFill/>
        </p:spPr>
        <p:txBody>
          <a:bodyPr wrap="square" lIns="0" tIns="0" rIns="0" bIns="0" rtlCol="0">
            <a:spAutoFit/>
          </a:bodyPr>
          <a:lstStyle/>
          <a:p>
            <a:pPr>
              <a:spcBef>
                <a:spcPts val="600"/>
              </a:spcBef>
              <a:buSzPct val="100000"/>
            </a:pPr>
            <a:r>
              <a:rPr lang="en-US" sz="1000" b="1" dirty="0">
                <a:solidFill>
                  <a:schemeClr val="bg1"/>
                </a:solidFill>
                <a:cs typeface="Calibri" panose="020F0502020204030204" pitchFamily="34" charset="0"/>
              </a:rPr>
              <a:t>Lorem</a:t>
            </a:r>
          </a:p>
        </p:txBody>
      </p:sp>
      <p:grpSp>
        <p:nvGrpSpPr>
          <p:cNvPr id="36" name="组合 35"/>
          <p:cNvGrpSpPr/>
          <p:nvPr/>
        </p:nvGrpSpPr>
        <p:grpSpPr>
          <a:xfrm>
            <a:off x="2486776" y="5412622"/>
            <a:ext cx="367631" cy="367631"/>
            <a:chOff x="2354697" y="5973888"/>
            <a:chExt cx="367631" cy="367631"/>
          </a:xfrm>
        </p:grpSpPr>
        <p:sp>
          <p:nvSpPr>
            <p:cNvPr id="43" name="Freeform 547"/>
            <p:cNvSpPr>
              <a:spLocks noChangeAspect="1" noEditPoints="1"/>
            </p:cNvSpPr>
            <p:nvPr/>
          </p:nvSpPr>
          <p:spPr bwMode="auto">
            <a:xfrm>
              <a:off x="2354697" y="5973888"/>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45" name="组合 44"/>
            <p:cNvGrpSpPr/>
            <p:nvPr/>
          </p:nvGrpSpPr>
          <p:grpSpPr>
            <a:xfrm>
              <a:off x="2424438" y="6086218"/>
              <a:ext cx="228147" cy="138402"/>
              <a:chOff x="4577295" y="1031885"/>
              <a:chExt cx="228147" cy="138402"/>
            </a:xfrm>
            <a:solidFill>
              <a:srgbClr val="43B02A"/>
            </a:solidFill>
          </p:grpSpPr>
          <p:sp>
            <p:nvSpPr>
              <p:cNvPr id="46" name="Freeform 551"/>
              <p:cNvSpPr>
                <a:spLocks noEditPoints="1"/>
              </p:cNvSpPr>
              <p:nvPr/>
            </p:nvSpPr>
            <p:spPr bwMode="auto">
              <a:xfrm>
                <a:off x="4577295" y="1031885"/>
                <a:ext cx="228147" cy="138402"/>
              </a:xfrm>
              <a:custGeom>
                <a:avLst/>
                <a:gdLst>
                  <a:gd name="T0" fmla="*/ 316 w 318"/>
                  <a:gd name="T1" fmla="*/ 90 h 192"/>
                  <a:gd name="T2" fmla="*/ 159 w 318"/>
                  <a:gd name="T3" fmla="*/ 0 h 192"/>
                  <a:gd name="T4" fmla="*/ 1 w 318"/>
                  <a:gd name="T5" fmla="*/ 89 h 192"/>
                  <a:gd name="T6" fmla="*/ 0 w 318"/>
                  <a:gd name="T7" fmla="*/ 96 h 192"/>
                  <a:gd name="T8" fmla="*/ 1 w 318"/>
                  <a:gd name="T9" fmla="*/ 101 h 192"/>
                  <a:gd name="T10" fmla="*/ 159 w 318"/>
                  <a:gd name="T11" fmla="*/ 192 h 192"/>
                  <a:gd name="T12" fmla="*/ 316 w 318"/>
                  <a:gd name="T13" fmla="*/ 102 h 192"/>
                  <a:gd name="T14" fmla="*/ 317 w 318"/>
                  <a:gd name="T15" fmla="*/ 95 h 192"/>
                  <a:gd name="T16" fmla="*/ 316 w 318"/>
                  <a:gd name="T17" fmla="*/ 90 h 192"/>
                  <a:gd name="T18" fmla="*/ 159 w 318"/>
                  <a:gd name="T19" fmla="*/ 170 h 192"/>
                  <a:gd name="T20" fmla="*/ 23 w 318"/>
                  <a:gd name="T21" fmla="*/ 96 h 192"/>
                  <a:gd name="T22" fmla="*/ 159 w 318"/>
                  <a:gd name="T23" fmla="*/ 21 h 192"/>
                  <a:gd name="T24" fmla="*/ 294 w 318"/>
                  <a:gd name="T25" fmla="*/ 96 h 192"/>
                  <a:gd name="T26" fmla="*/ 159 w 318"/>
                  <a:gd name="T2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192">
                    <a:moveTo>
                      <a:pt x="316" y="90"/>
                    </a:moveTo>
                    <a:cubicBezTo>
                      <a:pt x="294" y="56"/>
                      <a:pt x="236" y="0"/>
                      <a:pt x="159" y="0"/>
                    </a:cubicBezTo>
                    <a:cubicBezTo>
                      <a:pt x="88" y="0"/>
                      <a:pt x="31" y="46"/>
                      <a:pt x="1" y="89"/>
                    </a:cubicBezTo>
                    <a:cubicBezTo>
                      <a:pt x="0" y="91"/>
                      <a:pt x="0" y="94"/>
                      <a:pt x="0" y="96"/>
                    </a:cubicBezTo>
                    <a:cubicBezTo>
                      <a:pt x="0" y="98"/>
                      <a:pt x="0" y="100"/>
                      <a:pt x="1" y="101"/>
                    </a:cubicBezTo>
                    <a:cubicBezTo>
                      <a:pt x="23" y="135"/>
                      <a:pt x="81" y="192"/>
                      <a:pt x="159" y="192"/>
                    </a:cubicBezTo>
                    <a:cubicBezTo>
                      <a:pt x="229" y="192"/>
                      <a:pt x="286" y="145"/>
                      <a:pt x="316" y="102"/>
                    </a:cubicBezTo>
                    <a:cubicBezTo>
                      <a:pt x="317" y="100"/>
                      <a:pt x="318" y="98"/>
                      <a:pt x="317" y="95"/>
                    </a:cubicBezTo>
                    <a:cubicBezTo>
                      <a:pt x="317" y="94"/>
                      <a:pt x="317" y="92"/>
                      <a:pt x="316" y="90"/>
                    </a:cubicBezTo>
                    <a:close/>
                    <a:moveTo>
                      <a:pt x="159" y="170"/>
                    </a:moveTo>
                    <a:cubicBezTo>
                      <a:pt x="94" y="170"/>
                      <a:pt x="45" y="126"/>
                      <a:pt x="23" y="96"/>
                    </a:cubicBezTo>
                    <a:cubicBezTo>
                      <a:pt x="50" y="58"/>
                      <a:pt x="99" y="21"/>
                      <a:pt x="159" y="21"/>
                    </a:cubicBezTo>
                    <a:cubicBezTo>
                      <a:pt x="223" y="21"/>
                      <a:pt x="272" y="66"/>
                      <a:pt x="294" y="96"/>
                    </a:cubicBezTo>
                    <a:cubicBezTo>
                      <a:pt x="267" y="133"/>
                      <a:pt x="218" y="170"/>
                      <a:pt x="159" y="17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552"/>
              <p:cNvSpPr>
                <a:spLocks noEditPoints="1"/>
              </p:cNvSpPr>
              <p:nvPr/>
            </p:nvSpPr>
            <p:spPr bwMode="auto">
              <a:xfrm>
                <a:off x="4651903" y="1062161"/>
                <a:ext cx="76770" cy="76770"/>
              </a:xfrm>
              <a:custGeom>
                <a:avLst/>
                <a:gdLst>
                  <a:gd name="T0" fmla="*/ 54 w 107"/>
                  <a:gd name="T1" fmla="*/ 0 h 107"/>
                  <a:gd name="T2" fmla="*/ 0 w 107"/>
                  <a:gd name="T3" fmla="*/ 54 h 107"/>
                  <a:gd name="T4" fmla="*/ 54 w 107"/>
                  <a:gd name="T5" fmla="*/ 107 h 107"/>
                  <a:gd name="T6" fmla="*/ 107 w 107"/>
                  <a:gd name="T7" fmla="*/ 54 h 107"/>
                  <a:gd name="T8" fmla="*/ 54 w 107"/>
                  <a:gd name="T9" fmla="*/ 0 h 107"/>
                  <a:gd name="T10" fmla="*/ 54 w 107"/>
                  <a:gd name="T11" fmla="*/ 86 h 107"/>
                  <a:gd name="T12" fmla="*/ 22 w 107"/>
                  <a:gd name="T13" fmla="*/ 54 h 107"/>
                  <a:gd name="T14" fmla="*/ 54 w 107"/>
                  <a:gd name="T15" fmla="*/ 22 h 107"/>
                  <a:gd name="T16" fmla="*/ 86 w 107"/>
                  <a:gd name="T17" fmla="*/ 54 h 107"/>
                  <a:gd name="T18" fmla="*/ 54 w 107"/>
                  <a:gd name="T1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4" y="0"/>
                    </a:moveTo>
                    <a:cubicBezTo>
                      <a:pt x="24" y="0"/>
                      <a:pt x="0" y="24"/>
                      <a:pt x="0" y="54"/>
                    </a:cubicBezTo>
                    <a:cubicBezTo>
                      <a:pt x="0" y="83"/>
                      <a:pt x="24" y="107"/>
                      <a:pt x="54" y="107"/>
                    </a:cubicBezTo>
                    <a:cubicBezTo>
                      <a:pt x="83" y="107"/>
                      <a:pt x="107" y="83"/>
                      <a:pt x="107" y="54"/>
                    </a:cubicBezTo>
                    <a:cubicBezTo>
                      <a:pt x="107" y="24"/>
                      <a:pt x="83" y="0"/>
                      <a:pt x="54" y="0"/>
                    </a:cubicBezTo>
                    <a:close/>
                    <a:moveTo>
                      <a:pt x="54" y="86"/>
                    </a:moveTo>
                    <a:cubicBezTo>
                      <a:pt x="36" y="86"/>
                      <a:pt x="22" y="71"/>
                      <a:pt x="22" y="54"/>
                    </a:cubicBezTo>
                    <a:cubicBezTo>
                      <a:pt x="22" y="36"/>
                      <a:pt x="36" y="22"/>
                      <a:pt x="54" y="22"/>
                    </a:cubicBezTo>
                    <a:cubicBezTo>
                      <a:pt x="71" y="22"/>
                      <a:pt x="86" y="36"/>
                      <a:pt x="86" y="54"/>
                    </a:cubicBezTo>
                    <a:cubicBezTo>
                      <a:pt x="86" y="71"/>
                      <a:pt x="71" y="86"/>
                      <a:pt x="54" y="8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48" name="组合 47"/>
          <p:cNvGrpSpPr/>
          <p:nvPr/>
        </p:nvGrpSpPr>
        <p:grpSpPr>
          <a:xfrm>
            <a:off x="1334134" y="5411927"/>
            <a:ext cx="369021" cy="369021"/>
            <a:chOff x="1202055" y="5972872"/>
            <a:chExt cx="369021" cy="369021"/>
          </a:xfrm>
        </p:grpSpPr>
        <p:sp>
          <p:nvSpPr>
            <p:cNvPr id="49" name="Freeform 240"/>
            <p:cNvSpPr>
              <a:spLocks noChangeAspect="1" noEditPoints="1"/>
            </p:cNvSpPr>
            <p:nvPr/>
          </p:nvSpPr>
          <p:spPr bwMode="auto">
            <a:xfrm>
              <a:off x="1202055" y="5972872"/>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244"/>
            <p:cNvSpPr>
              <a:spLocks noEditPoints="1"/>
            </p:cNvSpPr>
            <p:nvPr/>
          </p:nvSpPr>
          <p:spPr bwMode="auto">
            <a:xfrm>
              <a:off x="1270432" y="6087383"/>
              <a:ext cx="232266" cy="158462"/>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solidFill>
              <a:schemeClr val="accent3"/>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1" name="Freeform 627"/>
          <p:cNvSpPr>
            <a:spLocks noChangeAspect="1" noEditPoints="1"/>
          </p:cNvSpPr>
          <p:nvPr/>
        </p:nvSpPr>
        <p:spPr bwMode="auto">
          <a:xfrm>
            <a:off x="2435456" y="4528608"/>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52" name="组合 51"/>
          <p:cNvGrpSpPr/>
          <p:nvPr/>
        </p:nvGrpSpPr>
        <p:grpSpPr>
          <a:xfrm>
            <a:off x="5181649" y="5412917"/>
            <a:ext cx="367041" cy="367041"/>
            <a:chOff x="3611033" y="5972872"/>
            <a:chExt cx="367041" cy="367041"/>
          </a:xfrm>
        </p:grpSpPr>
        <p:sp>
          <p:nvSpPr>
            <p:cNvPr id="53" name="Freeform 631"/>
            <p:cNvSpPr>
              <a:spLocks noEditPoints="1"/>
            </p:cNvSpPr>
            <p:nvPr/>
          </p:nvSpPr>
          <p:spPr bwMode="auto">
            <a:xfrm>
              <a:off x="3710349" y="6040448"/>
              <a:ext cx="168407" cy="228861"/>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solidFill>
              <a:srgbClr val="C4D600"/>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627"/>
            <p:cNvSpPr>
              <a:spLocks noChangeAspect="1" noEditPoints="1"/>
            </p:cNvSpPr>
            <p:nvPr/>
          </p:nvSpPr>
          <p:spPr bwMode="auto">
            <a:xfrm>
              <a:off x="3611033" y="5972872"/>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56" name="组合 55"/>
          <p:cNvGrpSpPr/>
          <p:nvPr/>
        </p:nvGrpSpPr>
        <p:grpSpPr>
          <a:xfrm>
            <a:off x="3762310" y="5411493"/>
            <a:ext cx="369887" cy="369888"/>
            <a:chOff x="3630231" y="5968581"/>
            <a:chExt cx="369887" cy="369888"/>
          </a:xfrm>
        </p:grpSpPr>
        <p:sp>
          <p:nvSpPr>
            <p:cNvPr id="57" name="Freeform 646"/>
            <p:cNvSpPr>
              <a:spLocks noChangeAspect="1" noEditPoints="1"/>
            </p:cNvSpPr>
            <p:nvPr/>
          </p:nvSpPr>
          <p:spPr bwMode="auto">
            <a:xfrm>
              <a:off x="3630231" y="5968581"/>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473"/>
            <p:cNvSpPr>
              <a:spLocks noEditPoints="1"/>
            </p:cNvSpPr>
            <p:nvPr/>
          </p:nvSpPr>
          <p:spPr bwMode="auto">
            <a:xfrm>
              <a:off x="3738159" y="6054736"/>
              <a:ext cx="184510" cy="199705"/>
            </a:xfrm>
            <a:custGeom>
              <a:avLst/>
              <a:gdLst>
                <a:gd name="T0" fmla="*/ 11 w 256"/>
                <a:gd name="T1" fmla="*/ 277 h 277"/>
                <a:gd name="T2" fmla="*/ 5 w 256"/>
                <a:gd name="T3" fmla="*/ 276 h 277"/>
                <a:gd name="T4" fmla="*/ 0 w 256"/>
                <a:gd name="T5" fmla="*/ 267 h 277"/>
                <a:gd name="T6" fmla="*/ 0 w 256"/>
                <a:gd name="T7" fmla="*/ 11 h 277"/>
                <a:gd name="T8" fmla="*/ 5 w 256"/>
                <a:gd name="T9" fmla="*/ 1 h 277"/>
                <a:gd name="T10" fmla="*/ 16 w 256"/>
                <a:gd name="T11" fmla="*/ 1 h 277"/>
                <a:gd name="T12" fmla="*/ 250 w 256"/>
                <a:gd name="T13" fmla="*/ 129 h 277"/>
                <a:gd name="T14" fmla="*/ 256 w 256"/>
                <a:gd name="T15" fmla="*/ 139 h 277"/>
                <a:gd name="T16" fmla="*/ 250 w 256"/>
                <a:gd name="T17" fmla="*/ 148 h 277"/>
                <a:gd name="T18" fmla="*/ 16 w 256"/>
                <a:gd name="T19" fmla="*/ 276 h 277"/>
                <a:gd name="T20" fmla="*/ 11 w 256"/>
                <a:gd name="T21" fmla="*/ 277 h 277"/>
                <a:gd name="T22" fmla="*/ 21 w 256"/>
                <a:gd name="T23" fmla="*/ 29 h 277"/>
                <a:gd name="T24" fmla="*/ 21 w 256"/>
                <a:gd name="T25" fmla="*/ 249 h 277"/>
                <a:gd name="T26" fmla="*/ 223 w 256"/>
                <a:gd name="T27" fmla="*/ 139 h 277"/>
                <a:gd name="T28" fmla="*/ 21 w 256"/>
                <a:gd name="T29" fmla="*/ 2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77">
                  <a:moveTo>
                    <a:pt x="11" y="277"/>
                  </a:moveTo>
                  <a:cubicBezTo>
                    <a:pt x="9" y="277"/>
                    <a:pt x="7" y="277"/>
                    <a:pt x="5" y="276"/>
                  </a:cubicBezTo>
                  <a:cubicBezTo>
                    <a:pt x="2" y="274"/>
                    <a:pt x="0" y="270"/>
                    <a:pt x="0" y="267"/>
                  </a:cubicBezTo>
                  <a:cubicBezTo>
                    <a:pt x="0" y="11"/>
                    <a:pt x="0" y="11"/>
                    <a:pt x="0" y="11"/>
                  </a:cubicBezTo>
                  <a:cubicBezTo>
                    <a:pt x="0" y="7"/>
                    <a:pt x="2" y="3"/>
                    <a:pt x="5" y="1"/>
                  </a:cubicBezTo>
                  <a:cubicBezTo>
                    <a:pt x="8" y="0"/>
                    <a:pt x="12" y="0"/>
                    <a:pt x="16" y="1"/>
                  </a:cubicBezTo>
                  <a:cubicBezTo>
                    <a:pt x="250" y="129"/>
                    <a:pt x="250" y="129"/>
                    <a:pt x="250" y="129"/>
                  </a:cubicBezTo>
                  <a:cubicBezTo>
                    <a:pt x="254" y="131"/>
                    <a:pt x="256" y="135"/>
                    <a:pt x="256" y="139"/>
                  </a:cubicBezTo>
                  <a:cubicBezTo>
                    <a:pt x="256" y="143"/>
                    <a:pt x="254" y="146"/>
                    <a:pt x="250" y="148"/>
                  </a:cubicBezTo>
                  <a:cubicBezTo>
                    <a:pt x="16" y="276"/>
                    <a:pt x="16" y="276"/>
                    <a:pt x="16" y="276"/>
                  </a:cubicBezTo>
                  <a:cubicBezTo>
                    <a:pt x="14" y="277"/>
                    <a:pt x="12" y="277"/>
                    <a:pt x="11" y="277"/>
                  </a:cubicBezTo>
                  <a:close/>
                  <a:moveTo>
                    <a:pt x="21" y="29"/>
                  </a:moveTo>
                  <a:cubicBezTo>
                    <a:pt x="21" y="249"/>
                    <a:pt x="21" y="249"/>
                    <a:pt x="21" y="249"/>
                  </a:cubicBezTo>
                  <a:cubicBezTo>
                    <a:pt x="223" y="139"/>
                    <a:pt x="223" y="139"/>
                    <a:pt x="223" y="139"/>
                  </a:cubicBezTo>
                  <a:lnTo>
                    <a:pt x="21" y="29"/>
                  </a:lnTo>
                  <a:close/>
                </a:path>
              </a:pathLst>
            </a:custGeom>
            <a:solidFill>
              <a:srgbClr val="6FC2B4"/>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9" name="TextBox 100">
            <a:extLst>
              <a:ext uri="{FF2B5EF4-FFF2-40B4-BE49-F238E27FC236}">
                <a16:creationId xmlns:a16="http://schemas.microsoft.com/office/drawing/2014/main" id="{53D5A11C-8601-4014-AAE9-09F77E12E9FB}"/>
              </a:ext>
            </a:extLst>
          </p:cNvPr>
          <p:cNvSpPr txBox="1"/>
          <p:nvPr/>
        </p:nvSpPr>
        <p:spPr>
          <a:xfrm>
            <a:off x="4234192" y="5519493"/>
            <a:ext cx="596868" cy="153888"/>
          </a:xfrm>
          <a:prstGeom prst="rect">
            <a:avLst/>
          </a:prstGeom>
          <a:noFill/>
        </p:spPr>
        <p:txBody>
          <a:bodyPr wrap="square" lIns="0" tIns="0" rIns="0" bIns="0" rtlCol="0">
            <a:spAutoFit/>
          </a:bodyPr>
          <a:lstStyle/>
          <a:p>
            <a:pPr>
              <a:spcBef>
                <a:spcPts val="600"/>
              </a:spcBef>
              <a:buSzPct val="100000"/>
            </a:pPr>
            <a:r>
              <a:rPr lang="en-US" sz="1000" b="1" dirty="0">
                <a:solidFill>
                  <a:schemeClr val="bg1"/>
                </a:solidFill>
                <a:cs typeface="Calibri" panose="020F0502020204030204" pitchFamily="34" charset="0"/>
              </a:rPr>
              <a:t>Lorem</a:t>
            </a:r>
          </a:p>
        </p:txBody>
      </p:sp>
      <p:sp>
        <p:nvSpPr>
          <p:cNvPr id="61" name="TextBox 100">
            <a:extLst>
              <a:ext uri="{FF2B5EF4-FFF2-40B4-BE49-F238E27FC236}">
                <a16:creationId xmlns:a16="http://schemas.microsoft.com/office/drawing/2014/main" id="{53D5A11C-8601-4014-AAE9-09F77E12E9FB}"/>
              </a:ext>
            </a:extLst>
          </p:cNvPr>
          <p:cNvSpPr txBox="1"/>
          <p:nvPr/>
        </p:nvSpPr>
        <p:spPr>
          <a:xfrm>
            <a:off x="5650585" y="5519493"/>
            <a:ext cx="808853" cy="153888"/>
          </a:xfrm>
          <a:prstGeom prst="rect">
            <a:avLst/>
          </a:prstGeom>
          <a:noFill/>
        </p:spPr>
        <p:txBody>
          <a:bodyPr wrap="square" lIns="0" tIns="0" rIns="0" bIns="0" rtlCol="0">
            <a:spAutoFit/>
          </a:bodyPr>
          <a:lstStyle/>
          <a:p>
            <a:pPr>
              <a:spcBef>
                <a:spcPts val="600"/>
              </a:spcBef>
              <a:buSzPct val="100000"/>
            </a:pPr>
            <a:r>
              <a:rPr lang="en-US" sz="1000" b="1" dirty="0">
                <a:solidFill>
                  <a:schemeClr val="bg1"/>
                </a:solidFill>
                <a:cs typeface="Calibri" panose="020F0502020204030204" pitchFamily="34" charset="0"/>
              </a:rPr>
              <a:t>Lorem</a:t>
            </a:r>
          </a:p>
        </p:txBody>
      </p:sp>
      <p:sp>
        <p:nvSpPr>
          <p:cNvPr id="62" name="Freeform 240"/>
          <p:cNvSpPr>
            <a:spLocks noChangeAspect="1" noEditPoints="1"/>
          </p:cNvSpPr>
          <p:nvPr/>
        </p:nvSpPr>
        <p:spPr bwMode="auto">
          <a:xfrm>
            <a:off x="2438544"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240"/>
          <p:cNvSpPr>
            <a:spLocks noChangeAspect="1" noEditPoints="1"/>
          </p:cNvSpPr>
          <p:nvPr/>
        </p:nvSpPr>
        <p:spPr bwMode="auto">
          <a:xfrm>
            <a:off x="3306013"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240"/>
          <p:cNvSpPr>
            <a:spLocks noChangeAspect="1" noEditPoints="1"/>
          </p:cNvSpPr>
          <p:nvPr/>
        </p:nvSpPr>
        <p:spPr bwMode="auto">
          <a:xfrm>
            <a:off x="4173482"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627"/>
          <p:cNvSpPr>
            <a:spLocks noChangeAspect="1" noEditPoints="1"/>
          </p:cNvSpPr>
          <p:nvPr/>
        </p:nvSpPr>
        <p:spPr bwMode="auto">
          <a:xfrm>
            <a:off x="5040951" y="2406345"/>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240"/>
          <p:cNvSpPr>
            <a:spLocks noChangeAspect="1" noEditPoints="1"/>
          </p:cNvSpPr>
          <p:nvPr/>
        </p:nvSpPr>
        <p:spPr bwMode="auto">
          <a:xfrm>
            <a:off x="5906440"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627"/>
          <p:cNvSpPr>
            <a:spLocks noChangeAspect="1" noEditPoints="1"/>
          </p:cNvSpPr>
          <p:nvPr/>
        </p:nvSpPr>
        <p:spPr bwMode="auto">
          <a:xfrm>
            <a:off x="6773909" y="2406345"/>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240"/>
          <p:cNvSpPr>
            <a:spLocks noChangeAspect="1" noEditPoints="1"/>
          </p:cNvSpPr>
          <p:nvPr/>
        </p:nvSpPr>
        <p:spPr bwMode="auto">
          <a:xfrm>
            <a:off x="7639398"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240"/>
          <p:cNvSpPr>
            <a:spLocks noChangeAspect="1" noEditPoints="1"/>
          </p:cNvSpPr>
          <p:nvPr/>
        </p:nvSpPr>
        <p:spPr bwMode="auto">
          <a:xfrm>
            <a:off x="8506867"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646"/>
          <p:cNvSpPr>
            <a:spLocks noChangeAspect="1" noEditPoints="1"/>
          </p:cNvSpPr>
          <p:nvPr/>
        </p:nvSpPr>
        <p:spPr bwMode="auto">
          <a:xfrm>
            <a:off x="9374336" y="2404921"/>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547"/>
          <p:cNvSpPr>
            <a:spLocks noChangeAspect="1" noEditPoints="1"/>
          </p:cNvSpPr>
          <p:nvPr/>
        </p:nvSpPr>
        <p:spPr bwMode="auto">
          <a:xfrm>
            <a:off x="10242671" y="2406050"/>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646"/>
          <p:cNvSpPr>
            <a:spLocks noChangeAspect="1" noEditPoints="1"/>
          </p:cNvSpPr>
          <p:nvPr/>
        </p:nvSpPr>
        <p:spPr bwMode="auto">
          <a:xfrm>
            <a:off x="11108750" y="2404921"/>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547"/>
          <p:cNvSpPr>
            <a:spLocks noChangeAspect="1" noEditPoints="1"/>
          </p:cNvSpPr>
          <p:nvPr/>
        </p:nvSpPr>
        <p:spPr bwMode="auto">
          <a:xfrm>
            <a:off x="1573821"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75" name="Freeform 547"/>
          <p:cNvSpPr>
            <a:spLocks noChangeAspect="1" noEditPoints="1"/>
          </p:cNvSpPr>
          <p:nvPr/>
        </p:nvSpPr>
        <p:spPr bwMode="auto">
          <a:xfrm>
            <a:off x="2438544"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76" name="Freeform 547"/>
          <p:cNvSpPr>
            <a:spLocks noChangeAspect="1" noEditPoints="1"/>
          </p:cNvSpPr>
          <p:nvPr/>
        </p:nvSpPr>
        <p:spPr bwMode="auto">
          <a:xfrm>
            <a:off x="3303267"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77" name="Freeform 547"/>
          <p:cNvSpPr>
            <a:spLocks noChangeAspect="1" noEditPoints="1"/>
          </p:cNvSpPr>
          <p:nvPr/>
        </p:nvSpPr>
        <p:spPr bwMode="auto">
          <a:xfrm>
            <a:off x="4167990"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78" name="Freeform 627"/>
          <p:cNvSpPr>
            <a:spLocks noChangeAspect="1" noEditPoints="1"/>
          </p:cNvSpPr>
          <p:nvPr/>
        </p:nvSpPr>
        <p:spPr bwMode="auto">
          <a:xfrm>
            <a:off x="5040951" y="3479625"/>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79" name="Freeform 627"/>
          <p:cNvSpPr>
            <a:spLocks noChangeAspect="1" noEditPoints="1"/>
          </p:cNvSpPr>
          <p:nvPr/>
        </p:nvSpPr>
        <p:spPr bwMode="auto">
          <a:xfrm>
            <a:off x="5894288" y="3479625"/>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80" name="Freeform 627"/>
          <p:cNvSpPr>
            <a:spLocks noChangeAspect="1" noEditPoints="1"/>
          </p:cNvSpPr>
          <p:nvPr/>
        </p:nvSpPr>
        <p:spPr bwMode="auto">
          <a:xfrm>
            <a:off x="6773908" y="3479625"/>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81" name="Freeform 646"/>
          <p:cNvSpPr>
            <a:spLocks noChangeAspect="1" noEditPoints="1"/>
          </p:cNvSpPr>
          <p:nvPr/>
        </p:nvSpPr>
        <p:spPr bwMode="auto">
          <a:xfrm>
            <a:off x="7638964" y="3476778"/>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a:p>
        </p:txBody>
      </p:sp>
      <p:sp>
        <p:nvSpPr>
          <p:cNvPr id="82" name="Freeform 646"/>
          <p:cNvSpPr>
            <a:spLocks noChangeAspect="1" noEditPoints="1"/>
          </p:cNvSpPr>
          <p:nvPr/>
        </p:nvSpPr>
        <p:spPr bwMode="auto">
          <a:xfrm>
            <a:off x="9371921" y="3476778"/>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a:p>
        </p:txBody>
      </p:sp>
      <p:sp>
        <p:nvSpPr>
          <p:cNvPr id="83" name="Freeform 646"/>
          <p:cNvSpPr>
            <a:spLocks noChangeAspect="1" noEditPoints="1"/>
          </p:cNvSpPr>
          <p:nvPr/>
        </p:nvSpPr>
        <p:spPr bwMode="auto">
          <a:xfrm>
            <a:off x="11104878" y="3476778"/>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547"/>
          <p:cNvSpPr>
            <a:spLocks noChangeAspect="1" noEditPoints="1"/>
          </p:cNvSpPr>
          <p:nvPr/>
        </p:nvSpPr>
        <p:spPr bwMode="auto">
          <a:xfrm>
            <a:off x="10242671"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547"/>
          <p:cNvSpPr>
            <a:spLocks noChangeAspect="1" noEditPoints="1"/>
          </p:cNvSpPr>
          <p:nvPr/>
        </p:nvSpPr>
        <p:spPr bwMode="auto">
          <a:xfrm>
            <a:off x="8499616"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88" name="Freeform 240"/>
          <p:cNvSpPr>
            <a:spLocks noChangeAspect="1" noEditPoints="1"/>
          </p:cNvSpPr>
          <p:nvPr/>
        </p:nvSpPr>
        <p:spPr bwMode="auto">
          <a:xfrm>
            <a:off x="3287024"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89" name="Freeform 240"/>
          <p:cNvSpPr>
            <a:spLocks noChangeAspect="1" noEditPoints="1"/>
          </p:cNvSpPr>
          <p:nvPr/>
        </p:nvSpPr>
        <p:spPr bwMode="auto">
          <a:xfrm>
            <a:off x="4166600"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1" name="Freeform 240"/>
          <p:cNvSpPr>
            <a:spLocks noChangeAspect="1" noEditPoints="1"/>
          </p:cNvSpPr>
          <p:nvPr/>
        </p:nvSpPr>
        <p:spPr bwMode="auto">
          <a:xfrm>
            <a:off x="5046176"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240"/>
          <p:cNvSpPr>
            <a:spLocks noChangeAspect="1" noEditPoints="1"/>
          </p:cNvSpPr>
          <p:nvPr/>
        </p:nvSpPr>
        <p:spPr bwMode="auto">
          <a:xfrm>
            <a:off x="5925752"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240"/>
          <p:cNvSpPr>
            <a:spLocks noChangeAspect="1" noEditPoints="1"/>
          </p:cNvSpPr>
          <p:nvPr/>
        </p:nvSpPr>
        <p:spPr bwMode="auto">
          <a:xfrm>
            <a:off x="6805328"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4" name="Freeform 240"/>
          <p:cNvSpPr>
            <a:spLocks noChangeAspect="1" noEditPoints="1"/>
          </p:cNvSpPr>
          <p:nvPr/>
        </p:nvSpPr>
        <p:spPr bwMode="auto">
          <a:xfrm>
            <a:off x="1579031"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240"/>
          <p:cNvSpPr>
            <a:spLocks noChangeAspect="1" noEditPoints="1"/>
          </p:cNvSpPr>
          <p:nvPr/>
        </p:nvSpPr>
        <p:spPr bwMode="auto">
          <a:xfrm>
            <a:off x="7638964"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6" name="Freeform 240"/>
          <p:cNvSpPr>
            <a:spLocks noChangeAspect="1" noEditPoints="1"/>
          </p:cNvSpPr>
          <p:nvPr/>
        </p:nvSpPr>
        <p:spPr bwMode="auto">
          <a:xfrm>
            <a:off x="8498226"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627"/>
          <p:cNvSpPr>
            <a:spLocks noChangeAspect="1" noEditPoints="1"/>
          </p:cNvSpPr>
          <p:nvPr/>
        </p:nvSpPr>
        <p:spPr bwMode="auto">
          <a:xfrm>
            <a:off x="9374767" y="4528608"/>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98" name="Freeform 627"/>
          <p:cNvSpPr>
            <a:spLocks noChangeAspect="1" noEditPoints="1"/>
          </p:cNvSpPr>
          <p:nvPr/>
        </p:nvSpPr>
        <p:spPr bwMode="auto">
          <a:xfrm>
            <a:off x="11107724" y="4528608"/>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99" name="Freeform 547"/>
          <p:cNvSpPr>
            <a:spLocks noChangeAspect="1" noEditPoints="1"/>
          </p:cNvSpPr>
          <p:nvPr/>
        </p:nvSpPr>
        <p:spPr bwMode="auto">
          <a:xfrm>
            <a:off x="10248462" y="4528018"/>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623672484"/>
      </p:ext>
    </p:extLst>
  </p:cSld>
  <p:clrMapOvr>
    <a:masterClrMapping/>
  </p:clrMapOvr>
  <p:transition>
    <p:fade/>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8" name="Group 147">
            <a:extLst>
              <a:ext uri="{FF2B5EF4-FFF2-40B4-BE49-F238E27FC236}">
                <a16:creationId xmlns:a16="http://schemas.microsoft.com/office/drawing/2014/main" id="{E6D89540-0108-4CF6-B498-11088C5C07F1}"/>
              </a:ext>
            </a:extLst>
          </p:cNvPr>
          <p:cNvGrpSpPr/>
          <p:nvPr/>
        </p:nvGrpSpPr>
        <p:grpSpPr>
          <a:xfrm>
            <a:off x="3700773" y="378388"/>
            <a:ext cx="5201927" cy="5452200"/>
            <a:chOff x="7019985" y="1289309"/>
            <a:chExt cx="4763912" cy="4993112"/>
          </a:xfrm>
        </p:grpSpPr>
        <p:sp>
          <p:nvSpPr>
            <p:cNvPr id="149" name="Rectangle 148">
              <a:extLst>
                <a:ext uri="{FF2B5EF4-FFF2-40B4-BE49-F238E27FC236}">
                  <a16:creationId xmlns:a16="http://schemas.microsoft.com/office/drawing/2014/main" id="{0979B987-3E4A-484C-8B3B-C45A44C3C010}"/>
                </a:ext>
              </a:extLst>
            </p:cNvPr>
            <p:cNvSpPr/>
            <p:nvPr/>
          </p:nvSpPr>
          <p:spPr bwMode="gray">
            <a:xfrm>
              <a:off x="7641842" y="1795243"/>
              <a:ext cx="452821" cy="620785"/>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0" name="Up Arrow 11">
              <a:extLst>
                <a:ext uri="{FF2B5EF4-FFF2-40B4-BE49-F238E27FC236}">
                  <a16:creationId xmlns:a16="http://schemas.microsoft.com/office/drawing/2014/main" id="{A1724817-6598-4101-A929-66442FBDC4D7}"/>
                </a:ext>
              </a:extLst>
            </p:cNvPr>
            <p:cNvSpPr/>
            <p:nvPr/>
          </p:nvSpPr>
          <p:spPr>
            <a:xfrm>
              <a:off x="7352910" y="1479550"/>
              <a:ext cx="4098062" cy="4802871"/>
            </a:xfrm>
            <a:prstGeom prst="upArrow">
              <a:avLst>
                <a:gd name="adj1" fmla="val 100000"/>
                <a:gd name="adj2" fmla="val 29178"/>
              </a:avLst>
            </a:prstGeom>
            <a:solidFill>
              <a:schemeClr val="bg1"/>
            </a:solidFill>
            <a:ln>
              <a:solidFill>
                <a:schemeClr val="tx1"/>
              </a:solidFill>
            </a:ln>
          </p:spPr>
          <p:txBody>
            <a:bodyPr wrap="square">
              <a:noAutofit/>
            </a:bodyPr>
            <a:lstStyle/>
            <a:p>
              <a:pPr>
                <a:spcAft>
                  <a:spcPts val="600"/>
                </a:spcAft>
              </a:pPr>
              <a:endParaRPr lang="en-US" sz="1000"/>
            </a:p>
          </p:txBody>
        </p:sp>
        <p:grpSp>
          <p:nvGrpSpPr>
            <p:cNvPr id="151" name="Group 150">
              <a:extLst>
                <a:ext uri="{FF2B5EF4-FFF2-40B4-BE49-F238E27FC236}">
                  <a16:creationId xmlns:a16="http://schemas.microsoft.com/office/drawing/2014/main" id="{F20D6307-DF9E-42CB-80FA-C6BD1A7A1D66}"/>
                </a:ext>
              </a:extLst>
            </p:cNvPr>
            <p:cNvGrpSpPr/>
            <p:nvPr/>
          </p:nvGrpSpPr>
          <p:grpSpPr>
            <a:xfrm>
              <a:off x="7019985" y="1973788"/>
              <a:ext cx="4763912" cy="152033"/>
              <a:chOff x="7019985" y="1973788"/>
              <a:chExt cx="4763912" cy="152033"/>
            </a:xfrm>
          </p:grpSpPr>
          <p:sp>
            <p:nvSpPr>
              <p:cNvPr id="160" name="Rectangle 159">
                <a:extLst>
                  <a:ext uri="{FF2B5EF4-FFF2-40B4-BE49-F238E27FC236}">
                    <a16:creationId xmlns:a16="http://schemas.microsoft.com/office/drawing/2014/main" id="{093D24E0-F3BC-449E-8644-FEB3713C6DE8}"/>
                  </a:ext>
                </a:extLst>
              </p:cNvPr>
              <p:cNvSpPr/>
              <p:nvPr/>
            </p:nvSpPr>
            <p:spPr bwMode="gray">
              <a:xfrm rot="19800000">
                <a:off x="7019985" y="1974470"/>
                <a:ext cx="2592184" cy="151351"/>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61" name="Rectangle 160">
                <a:extLst>
                  <a:ext uri="{FF2B5EF4-FFF2-40B4-BE49-F238E27FC236}">
                    <a16:creationId xmlns:a16="http://schemas.microsoft.com/office/drawing/2014/main" id="{73AD8139-0720-4059-8AC5-EDBF7E146C72}"/>
                  </a:ext>
                </a:extLst>
              </p:cNvPr>
              <p:cNvSpPr/>
              <p:nvPr/>
            </p:nvSpPr>
            <p:spPr bwMode="gray">
              <a:xfrm rot="1800000">
                <a:off x="9191713" y="1973788"/>
                <a:ext cx="2592184" cy="151351"/>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sp>
          <p:nvSpPr>
            <p:cNvPr id="152" name="Freeform 23">
              <a:extLst>
                <a:ext uri="{FF2B5EF4-FFF2-40B4-BE49-F238E27FC236}">
                  <a16:creationId xmlns:a16="http://schemas.microsoft.com/office/drawing/2014/main" id="{0A6E7DB3-347B-4923-94AE-48E36C113D80}"/>
                </a:ext>
              </a:extLst>
            </p:cNvPr>
            <p:cNvSpPr/>
            <p:nvPr/>
          </p:nvSpPr>
          <p:spPr bwMode="gray">
            <a:xfrm>
              <a:off x="9979299" y="1591130"/>
              <a:ext cx="615923" cy="240175"/>
            </a:xfrm>
            <a:custGeom>
              <a:avLst/>
              <a:gdLst>
                <a:gd name="connsiteX0" fmla="*/ 573788 w 1231845"/>
                <a:gd name="connsiteY0" fmla="*/ 0 h 480350"/>
                <a:gd name="connsiteX1" fmla="*/ 863654 w 1231845"/>
                <a:gd name="connsiteY1" fmla="*/ 192135 h 480350"/>
                <a:gd name="connsiteX2" fmla="*/ 864731 w 1231845"/>
                <a:gd name="connsiteY2" fmla="*/ 195607 h 480350"/>
                <a:gd name="connsiteX3" fmla="*/ 888375 w 1231845"/>
                <a:gd name="connsiteY3" fmla="*/ 190833 h 480350"/>
                <a:gd name="connsiteX4" fmla="*/ 1002404 w 1231845"/>
                <a:gd name="connsiteY4" fmla="*/ 266417 h 480350"/>
                <a:gd name="connsiteX5" fmla="*/ 1009334 w 1231845"/>
                <a:gd name="connsiteY5" fmla="*/ 300740 h 480350"/>
                <a:gd name="connsiteX6" fmla="*/ 1036376 w 1231845"/>
                <a:gd name="connsiteY6" fmla="*/ 303466 h 480350"/>
                <a:gd name="connsiteX7" fmla="*/ 1228879 w 1231845"/>
                <a:gd name="connsiteY7" fmla="*/ 469373 h 480350"/>
                <a:gd name="connsiteX8" fmla="*/ 1231845 w 1231845"/>
                <a:gd name="connsiteY8" fmla="*/ 480350 h 480350"/>
                <a:gd name="connsiteX9" fmla="*/ 9061 w 1231845"/>
                <a:gd name="connsiteY9" fmla="*/ 480350 h 480350"/>
                <a:gd name="connsiteX10" fmla="*/ 4805 w 1231845"/>
                <a:gd name="connsiteY10" fmla="*/ 466640 h 480350"/>
                <a:gd name="connsiteX11" fmla="*/ 0 w 1231845"/>
                <a:gd name="connsiteY11" fmla="*/ 418980 h 480350"/>
                <a:gd name="connsiteX12" fmla="*/ 236487 w 1231845"/>
                <a:gd name="connsiteY12" fmla="*/ 182493 h 480350"/>
                <a:gd name="connsiteX13" fmla="*/ 284147 w 1231845"/>
                <a:gd name="connsiteY13" fmla="*/ 187298 h 480350"/>
                <a:gd name="connsiteX14" fmla="*/ 286202 w 1231845"/>
                <a:gd name="connsiteY14" fmla="*/ 187935 h 480350"/>
                <a:gd name="connsiteX15" fmla="*/ 312927 w 1231845"/>
                <a:gd name="connsiteY15" fmla="*/ 138698 h 480350"/>
                <a:gd name="connsiteX16" fmla="*/ 573788 w 1231845"/>
                <a:gd name="connsiteY16" fmla="*/ 0 h 48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1845" h="480350">
                  <a:moveTo>
                    <a:pt x="573788" y="0"/>
                  </a:moveTo>
                  <a:cubicBezTo>
                    <a:pt x="704094" y="0"/>
                    <a:pt x="815897" y="79225"/>
                    <a:pt x="863654" y="192135"/>
                  </a:cubicBezTo>
                  <a:lnTo>
                    <a:pt x="864731" y="195607"/>
                  </a:lnTo>
                  <a:lnTo>
                    <a:pt x="888375" y="190833"/>
                  </a:lnTo>
                  <a:cubicBezTo>
                    <a:pt x="939635" y="190833"/>
                    <a:pt x="983617" y="221999"/>
                    <a:pt x="1002404" y="266417"/>
                  </a:cubicBezTo>
                  <a:lnTo>
                    <a:pt x="1009334" y="300740"/>
                  </a:lnTo>
                  <a:lnTo>
                    <a:pt x="1036376" y="303466"/>
                  </a:lnTo>
                  <a:cubicBezTo>
                    <a:pt x="1125549" y="321713"/>
                    <a:pt x="1198152" y="385450"/>
                    <a:pt x="1228879" y="469373"/>
                  </a:cubicBezTo>
                  <a:lnTo>
                    <a:pt x="1231845" y="480350"/>
                  </a:lnTo>
                  <a:lnTo>
                    <a:pt x="9061" y="480350"/>
                  </a:lnTo>
                  <a:lnTo>
                    <a:pt x="4805" y="466640"/>
                  </a:lnTo>
                  <a:cubicBezTo>
                    <a:pt x="1655" y="451246"/>
                    <a:pt x="0" y="435306"/>
                    <a:pt x="0" y="418980"/>
                  </a:cubicBezTo>
                  <a:cubicBezTo>
                    <a:pt x="0" y="288372"/>
                    <a:pt x="105879" y="182493"/>
                    <a:pt x="236487" y="182493"/>
                  </a:cubicBezTo>
                  <a:cubicBezTo>
                    <a:pt x="252813" y="182493"/>
                    <a:pt x="268752" y="184147"/>
                    <a:pt x="284147" y="187298"/>
                  </a:cubicBezTo>
                  <a:lnTo>
                    <a:pt x="286202" y="187935"/>
                  </a:lnTo>
                  <a:lnTo>
                    <a:pt x="312927" y="138698"/>
                  </a:lnTo>
                  <a:cubicBezTo>
                    <a:pt x="369461" y="55018"/>
                    <a:pt x="465199" y="0"/>
                    <a:pt x="573788" y="0"/>
                  </a:cubicBez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3" name="Freeform 24">
              <a:extLst>
                <a:ext uri="{FF2B5EF4-FFF2-40B4-BE49-F238E27FC236}">
                  <a16:creationId xmlns:a16="http://schemas.microsoft.com/office/drawing/2014/main" id="{A55EE127-B6E4-4D4E-80EA-54DBDBD172FC}"/>
                </a:ext>
              </a:extLst>
            </p:cNvPr>
            <p:cNvSpPr/>
            <p:nvPr/>
          </p:nvSpPr>
          <p:spPr bwMode="gray">
            <a:xfrm rot="10800000">
              <a:off x="7990300" y="1289309"/>
              <a:ext cx="615182" cy="247318"/>
            </a:xfrm>
            <a:custGeom>
              <a:avLst/>
              <a:gdLst>
                <a:gd name="connsiteX0" fmla="*/ 1935 w 615182"/>
                <a:gd name="connsiteY0" fmla="*/ 0 h 247318"/>
                <a:gd name="connsiteX1" fmla="*/ 615182 w 615182"/>
                <a:gd name="connsiteY1" fmla="*/ 0 h 247318"/>
                <a:gd name="connsiteX2" fmla="*/ 612632 w 615182"/>
                <a:gd name="connsiteY2" fmla="*/ 11481 h 247318"/>
                <a:gd name="connsiteX3" fmla="*/ 546487 w 615182"/>
                <a:gd name="connsiteY3" fmla="*/ 51339 h 247318"/>
                <a:gd name="connsiteX4" fmla="*/ 544650 w 615182"/>
                <a:gd name="connsiteY4" fmla="*/ 51002 h 247318"/>
                <a:gd name="connsiteX5" fmla="*/ 532944 w 615182"/>
                <a:gd name="connsiteY5" fmla="*/ 108980 h 247318"/>
                <a:gd name="connsiteX6" fmla="*/ 324241 w 615182"/>
                <a:gd name="connsiteY6" fmla="*/ 247318 h 247318"/>
                <a:gd name="connsiteX7" fmla="*/ 164079 w 615182"/>
                <a:gd name="connsiteY7" fmla="*/ 180977 h 247318"/>
                <a:gd name="connsiteX8" fmla="*/ 122611 w 615182"/>
                <a:gd name="connsiteY8" fmla="*/ 119472 h 247318"/>
                <a:gd name="connsiteX9" fmla="*/ 112027 w 615182"/>
                <a:gd name="connsiteY9" fmla="*/ 121609 h 247318"/>
                <a:gd name="connsiteX10" fmla="*/ 0 w 615182"/>
                <a:gd name="connsiteY10" fmla="*/ 9582 h 247318"/>
                <a:gd name="connsiteX11" fmla="*/ 1935 w 615182"/>
                <a:gd name="connsiteY11" fmla="*/ 0 h 247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182" h="247318">
                  <a:moveTo>
                    <a:pt x="1935" y="0"/>
                  </a:moveTo>
                  <a:lnTo>
                    <a:pt x="615182" y="0"/>
                  </a:lnTo>
                  <a:lnTo>
                    <a:pt x="612632" y="11481"/>
                  </a:lnTo>
                  <a:cubicBezTo>
                    <a:pt x="601734" y="34904"/>
                    <a:pt x="576222" y="51339"/>
                    <a:pt x="546487" y="51339"/>
                  </a:cubicBezTo>
                  <a:lnTo>
                    <a:pt x="544650" y="51002"/>
                  </a:lnTo>
                  <a:lnTo>
                    <a:pt x="532944" y="108980"/>
                  </a:lnTo>
                  <a:cubicBezTo>
                    <a:pt x="498559" y="190275"/>
                    <a:pt x="418061" y="247318"/>
                    <a:pt x="324241" y="247318"/>
                  </a:cubicBezTo>
                  <a:cubicBezTo>
                    <a:pt x="261694" y="247318"/>
                    <a:pt x="205068" y="221966"/>
                    <a:pt x="164079" y="180977"/>
                  </a:cubicBezTo>
                  <a:lnTo>
                    <a:pt x="122611" y="119472"/>
                  </a:lnTo>
                  <a:lnTo>
                    <a:pt x="112027" y="121609"/>
                  </a:lnTo>
                  <a:cubicBezTo>
                    <a:pt x="50156" y="121609"/>
                    <a:pt x="0" y="71453"/>
                    <a:pt x="0" y="9582"/>
                  </a:cubicBezTo>
                  <a:lnTo>
                    <a:pt x="1935" y="0"/>
                  </a:ln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4" name="Freeform 25">
              <a:extLst>
                <a:ext uri="{FF2B5EF4-FFF2-40B4-BE49-F238E27FC236}">
                  <a16:creationId xmlns:a16="http://schemas.microsoft.com/office/drawing/2014/main" id="{7979509A-6D2A-41B8-9E60-3DF2F97DCCC5}"/>
                </a:ext>
              </a:extLst>
            </p:cNvPr>
            <p:cNvSpPr/>
            <p:nvPr/>
          </p:nvSpPr>
          <p:spPr bwMode="gray">
            <a:xfrm>
              <a:off x="7721845" y="1364436"/>
              <a:ext cx="616338" cy="205688"/>
            </a:xfrm>
            <a:custGeom>
              <a:avLst/>
              <a:gdLst>
                <a:gd name="connsiteX0" fmla="*/ 322306 w 616338"/>
                <a:gd name="connsiteY0" fmla="*/ 0 h 205688"/>
                <a:gd name="connsiteX1" fmla="*/ 482468 w 616338"/>
                <a:gd name="connsiteY1" fmla="*/ 66341 h 205688"/>
                <a:gd name="connsiteX2" fmla="*/ 525403 w 616338"/>
                <a:gd name="connsiteY2" fmla="*/ 130022 h 205688"/>
                <a:gd name="connsiteX3" fmla="*/ 544552 w 616338"/>
                <a:gd name="connsiteY3" fmla="*/ 126507 h 205688"/>
                <a:gd name="connsiteX4" fmla="*/ 616338 w 616338"/>
                <a:gd name="connsiteY4" fmla="*/ 191767 h 205688"/>
                <a:gd name="connsiteX5" fmla="*/ 613247 w 616338"/>
                <a:gd name="connsiteY5" fmla="*/ 205688 h 205688"/>
                <a:gd name="connsiteX6" fmla="*/ 0 w 616338"/>
                <a:gd name="connsiteY6" fmla="*/ 205688 h 205688"/>
                <a:gd name="connsiteX7" fmla="*/ 6869 w 616338"/>
                <a:gd name="connsiteY7" fmla="*/ 171664 h 205688"/>
                <a:gd name="connsiteX8" fmla="*/ 110092 w 616338"/>
                <a:gd name="connsiteY8" fmla="*/ 103243 h 205688"/>
                <a:gd name="connsiteX9" fmla="*/ 134009 w 616338"/>
                <a:gd name="connsiteY9" fmla="*/ 108072 h 205688"/>
                <a:gd name="connsiteX10" fmla="*/ 162144 w 616338"/>
                <a:gd name="connsiteY10" fmla="*/ 66341 h 205688"/>
                <a:gd name="connsiteX11" fmla="*/ 322306 w 616338"/>
                <a:gd name="connsiteY11" fmla="*/ 0 h 20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6338" h="205688">
                  <a:moveTo>
                    <a:pt x="322306" y="0"/>
                  </a:moveTo>
                  <a:cubicBezTo>
                    <a:pt x="384853" y="0"/>
                    <a:pt x="441478" y="25352"/>
                    <a:pt x="482468" y="66341"/>
                  </a:cubicBezTo>
                  <a:lnTo>
                    <a:pt x="525403" y="130022"/>
                  </a:lnTo>
                  <a:lnTo>
                    <a:pt x="544552" y="126507"/>
                  </a:lnTo>
                  <a:cubicBezTo>
                    <a:pt x="584198" y="126507"/>
                    <a:pt x="616338" y="155725"/>
                    <a:pt x="616338" y="191767"/>
                  </a:cubicBezTo>
                  <a:lnTo>
                    <a:pt x="613247" y="205688"/>
                  </a:lnTo>
                  <a:lnTo>
                    <a:pt x="0" y="205688"/>
                  </a:lnTo>
                  <a:lnTo>
                    <a:pt x="6869" y="171664"/>
                  </a:lnTo>
                  <a:cubicBezTo>
                    <a:pt x="23875" y="131456"/>
                    <a:pt x="63689" y="103243"/>
                    <a:pt x="110092" y="103243"/>
                  </a:cubicBezTo>
                  <a:lnTo>
                    <a:pt x="134009" y="108072"/>
                  </a:lnTo>
                  <a:lnTo>
                    <a:pt x="162144" y="66341"/>
                  </a:lnTo>
                  <a:cubicBezTo>
                    <a:pt x="203133" y="25352"/>
                    <a:pt x="259759" y="0"/>
                    <a:pt x="322306" y="0"/>
                  </a:cubicBez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5" name="TextBox 154">
              <a:extLst>
                <a:ext uri="{FF2B5EF4-FFF2-40B4-BE49-F238E27FC236}">
                  <a16:creationId xmlns:a16="http://schemas.microsoft.com/office/drawing/2014/main" id="{427A00C5-3FCC-42D2-9189-90F64038226E}"/>
                </a:ext>
              </a:extLst>
            </p:cNvPr>
            <p:cNvSpPr txBox="1"/>
            <p:nvPr/>
          </p:nvSpPr>
          <p:spPr>
            <a:xfrm>
              <a:off x="8377696" y="2287360"/>
              <a:ext cx="2048491" cy="234767"/>
            </a:xfrm>
            <a:prstGeom prst="rect">
              <a:avLst/>
            </a:prstGeom>
            <a:noFill/>
          </p:spPr>
          <p:txBody>
            <a:bodyPr wrap="square" lIns="0" tIns="0" rIns="0" bIns="0" rtlCol="0" anchor="ctr" anchorCtr="0">
              <a:noAutofit/>
            </a:bodyPr>
            <a:lstStyle/>
            <a:p>
              <a:pPr marL="0" lvl="3" algn="ctr">
                <a:spcBef>
                  <a:spcPts val="100"/>
                </a:spcBef>
                <a:spcAft>
                  <a:spcPts val="100"/>
                </a:spcAft>
              </a:pPr>
              <a:r>
                <a:rPr lang="da-DK" sz="900" b="1" dirty="0">
                  <a:ea typeface="Verdana" pitchFamily="34" charset="0"/>
                  <a:cs typeface="Arial" panose="020B0604020202020204" pitchFamily="34" charset="0"/>
                </a:rPr>
                <a:t>Lorem ipsum dolor sit ame</a:t>
              </a:r>
              <a:endParaRPr lang="en-GB" sz="900" b="1" dirty="0">
                <a:ea typeface="Verdana" pitchFamily="34" charset="0"/>
                <a:cs typeface="Arial" panose="020B0604020202020204" pitchFamily="34" charset="0"/>
              </a:endParaRPr>
            </a:p>
          </p:txBody>
        </p:sp>
        <p:sp>
          <p:nvSpPr>
            <p:cNvPr id="156" name="Rectangle 155">
              <a:extLst>
                <a:ext uri="{FF2B5EF4-FFF2-40B4-BE49-F238E27FC236}">
                  <a16:creationId xmlns:a16="http://schemas.microsoft.com/office/drawing/2014/main" id="{F96CB1C2-28C8-4A69-8914-0CB0F02A8BCE}"/>
                </a:ext>
              </a:extLst>
            </p:cNvPr>
            <p:cNvSpPr/>
            <p:nvPr/>
          </p:nvSpPr>
          <p:spPr bwMode="gray">
            <a:xfrm>
              <a:off x="8076567" y="2790921"/>
              <a:ext cx="1270757" cy="2824558"/>
            </a:xfrm>
            <a:prstGeom prst="rect">
              <a:avLst/>
            </a:prstGeom>
            <a:noFill/>
            <a:ln w="19050" algn="ctr">
              <a:noFill/>
              <a:miter lim="800000"/>
              <a:headEnd/>
              <a:tailEnd/>
            </a:ln>
          </p:spPr>
          <p:txBody>
            <a:bodyPr wrap="square" lIns="88900" tIns="88900" rIns="88900" bIns="88900" numCol="1" rtlCol="0" anchor="t"/>
            <a:lstStyle/>
            <a:p>
              <a:pPr algn="just">
                <a:lnSpc>
                  <a:spcPct val="107000"/>
                </a:lnSpc>
                <a:spcAft>
                  <a:spcPts val="300"/>
                </a:spcAft>
                <a:tabLst>
                  <a:tab pos="228314" algn="l"/>
                </a:tabLst>
              </a:pPr>
              <a:r>
                <a:rPr lang="en-GB" sz="900" b="1" dirty="0">
                  <a:ea typeface="Calibri" panose="020F0502020204030204" pitchFamily="34" charset="0"/>
                  <a:cs typeface="Arial" panose="020B0604020202020204" pitchFamily="34" charset="0"/>
                </a:rPr>
                <a:t>Lorem ipsum</a:t>
              </a:r>
              <a:endParaRPr lang="en-GB" sz="900" b="1" dirty="0">
                <a:ea typeface="Times New Roman" panose="02020603050405020304" pitchFamily="18" charset="0"/>
                <a:cs typeface="Arial" panose="020B0604020202020204" pitchFamily="34" charset="0"/>
              </a:endParaRP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p:txBody>
        </p:sp>
        <p:sp>
          <p:nvSpPr>
            <p:cNvPr id="157" name="Rectangle 156">
              <a:extLst>
                <a:ext uri="{FF2B5EF4-FFF2-40B4-BE49-F238E27FC236}">
                  <a16:creationId xmlns:a16="http://schemas.microsoft.com/office/drawing/2014/main" id="{732E98D0-3071-440A-8C60-098F5E0A7212}"/>
                </a:ext>
              </a:extLst>
            </p:cNvPr>
            <p:cNvSpPr/>
            <p:nvPr/>
          </p:nvSpPr>
          <p:spPr bwMode="gray">
            <a:xfrm>
              <a:off x="9758539" y="2774261"/>
              <a:ext cx="1172236" cy="3123307"/>
            </a:xfrm>
            <a:prstGeom prst="rect">
              <a:avLst/>
            </a:prstGeom>
            <a:noFill/>
            <a:ln w="19050" algn="ctr">
              <a:noFill/>
              <a:miter lim="800000"/>
              <a:headEnd/>
              <a:tailEnd/>
            </a:ln>
          </p:spPr>
          <p:txBody>
            <a:bodyPr wrap="square" lIns="88900" tIns="88900" rIns="88900" bIns="88900" numCol="1" rtlCol="0" anchor="t"/>
            <a:lstStyle/>
            <a:p>
              <a:pPr algn="just">
                <a:lnSpc>
                  <a:spcPct val="107000"/>
                </a:lnSpc>
                <a:spcAft>
                  <a:spcPts val="300"/>
                </a:spcAft>
                <a:tabLst>
                  <a:tab pos="228314" algn="l"/>
                </a:tabLst>
              </a:pPr>
              <a:r>
                <a:rPr lang="en-GB" sz="900" b="1" dirty="0">
                  <a:ea typeface="Calibri" panose="020F0502020204030204" pitchFamily="34" charset="0"/>
                  <a:cs typeface="Arial" panose="020B0604020202020204" pitchFamily="34" charset="0"/>
                </a:rPr>
                <a:t>Lorem ipsum</a:t>
              </a:r>
              <a:endParaRPr lang="en-GB" sz="900" b="1" dirty="0">
                <a:ea typeface="Times New Roman" panose="02020603050405020304" pitchFamily="18" charset="0"/>
                <a:cs typeface="Arial" panose="020B0604020202020204" pitchFamily="34" charset="0"/>
              </a:endParaRP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p:txBody>
        </p:sp>
        <p:cxnSp>
          <p:nvCxnSpPr>
            <p:cNvPr id="158" name="Straight Connector 157">
              <a:extLst>
                <a:ext uri="{FF2B5EF4-FFF2-40B4-BE49-F238E27FC236}">
                  <a16:creationId xmlns:a16="http://schemas.microsoft.com/office/drawing/2014/main" id="{B91C5F01-77A2-4309-A8A0-C7BE2CEF0BB1}"/>
                </a:ext>
              </a:extLst>
            </p:cNvPr>
            <p:cNvCxnSpPr/>
            <p:nvPr/>
          </p:nvCxnSpPr>
          <p:spPr>
            <a:xfrm>
              <a:off x="7962298" y="2616200"/>
              <a:ext cx="3035968" cy="0"/>
            </a:xfrm>
            <a:prstGeom prst="line">
              <a:avLst/>
            </a:prstGeom>
            <a:ln>
              <a:solidFill>
                <a:srgbClr val="A7A8AA"/>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F39A3666-BA0E-46B8-A35B-D60213E0EF76}"/>
                </a:ext>
              </a:extLst>
            </p:cNvPr>
            <p:cNvCxnSpPr/>
            <p:nvPr/>
          </p:nvCxnSpPr>
          <p:spPr>
            <a:xfrm>
              <a:off x="7810500" y="2667000"/>
              <a:ext cx="3339565" cy="0"/>
            </a:xfrm>
            <a:prstGeom prst="line">
              <a:avLst/>
            </a:prstGeom>
            <a:ln>
              <a:solidFill>
                <a:srgbClr val="A7A8AA"/>
              </a:solidFill>
            </a:ln>
          </p:spPr>
          <p:style>
            <a:lnRef idx="1">
              <a:schemeClr val="accent1"/>
            </a:lnRef>
            <a:fillRef idx="0">
              <a:schemeClr val="accent1"/>
            </a:fillRef>
            <a:effectRef idx="0">
              <a:schemeClr val="accent1"/>
            </a:effectRef>
            <a:fontRef idx="minor">
              <a:schemeClr val="tx1"/>
            </a:fontRef>
          </p:style>
        </p:cxnSp>
      </p:grpSp>
      <p:grpSp>
        <p:nvGrpSpPr>
          <p:cNvPr id="147" name="Group 146">
            <a:extLst>
              <a:ext uri="{FF2B5EF4-FFF2-40B4-BE49-F238E27FC236}">
                <a16:creationId xmlns:a16="http://schemas.microsoft.com/office/drawing/2014/main" id="{0DB8E173-E12F-444F-B725-CBBDF256C01B}"/>
              </a:ext>
            </a:extLst>
          </p:cNvPr>
          <p:cNvGrpSpPr/>
          <p:nvPr/>
        </p:nvGrpSpPr>
        <p:grpSpPr>
          <a:xfrm>
            <a:off x="1704337" y="5825649"/>
            <a:ext cx="9144000" cy="164043"/>
            <a:chOff x="0" y="6167552"/>
            <a:chExt cx="12192000" cy="141430"/>
          </a:xfrm>
        </p:grpSpPr>
        <p:sp>
          <p:nvSpPr>
            <p:cNvPr id="100" name="Rectangle 99">
              <a:extLst>
                <a:ext uri="{FF2B5EF4-FFF2-40B4-BE49-F238E27FC236}">
                  <a16:creationId xmlns:a16="http://schemas.microsoft.com/office/drawing/2014/main" id="{E2DA5C3B-3516-4ED3-94D3-64DED8C9FB5B}"/>
                </a:ext>
              </a:extLst>
            </p:cNvPr>
            <p:cNvSpPr/>
            <p:nvPr/>
          </p:nvSpPr>
          <p:spPr bwMode="gray">
            <a:xfrm>
              <a:off x="0" y="6263263"/>
              <a:ext cx="12192000" cy="45719"/>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01" name="Rectangle 100">
              <a:extLst>
                <a:ext uri="{FF2B5EF4-FFF2-40B4-BE49-F238E27FC236}">
                  <a16:creationId xmlns:a16="http://schemas.microsoft.com/office/drawing/2014/main" id="{253E215A-1A7A-4DA8-AE40-FA43442A48D1}"/>
                </a:ext>
              </a:extLst>
            </p:cNvPr>
            <p:cNvSpPr/>
            <p:nvPr/>
          </p:nvSpPr>
          <p:spPr bwMode="gray">
            <a:xfrm>
              <a:off x="0" y="6216220"/>
              <a:ext cx="12192000" cy="45719"/>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02" name="Rectangle 101">
              <a:extLst>
                <a:ext uri="{FF2B5EF4-FFF2-40B4-BE49-F238E27FC236}">
                  <a16:creationId xmlns:a16="http://schemas.microsoft.com/office/drawing/2014/main" id="{A2E36B31-8645-411A-B54D-7CE35C10D4AB}"/>
                </a:ext>
              </a:extLst>
            </p:cNvPr>
            <p:cNvSpPr/>
            <p:nvPr/>
          </p:nvSpPr>
          <p:spPr bwMode="gray">
            <a:xfrm>
              <a:off x="0" y="6167552"/>
              <a:ext cx="12192000" cy="45719"/>
            </a:xfrm>
            <a:prstGeom prst="rect">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spTree>
    <p:custDataLst>
      <p:tags r:id="rId1"/>
    </p:custDataLst>
    <p:extLst>
      <p:ext uri="{BB962C8B-B14F-4D97-AF65-F5344CB8AC3E}">
        <p14:creationId xmlns:p14="http://schemas.microsoft.com/office/powerpoint/2010/main" val="459843562"/>
      </p:ext>
    </p:extLst>
  </p:cSld>
  <p:clrMapOvr>
    <a:masterClrMapping/>
  </p:clrMapOvr>
  <p:transition>
    <p:fade/>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AC58F2C-0C10-4F51-B529-FAA61B9ED6F4}"/>
              </a:ext>
            </a:extLst>
          </p:cNvPr>
          <p:cNvGrpSpPr/>
          <p:nvPr/>
        </p:nvGrpSpPr>
        <p:grpSpPr>
          <a:xfrm>
            <a:off x="2094288" y="604701"/>
            <a:ext cx="8258023" cy="5281612"/>
            <a:chOff x="3958505" y="1017588"/>
            <a:chExt cx="8258023" cy="5281612"/>
          </a:xfrm>
        </p:grpSpPr>
        <p:sp>
          <p:nvSpPr>
            <p:cNvPr id="5" name="Freeform 42">
              <a:extLst>
                <a:ext uri="{FF2B5EF4-FFF2-40B4-BE49-F238E27FC236}">
                  <a16:creationId xmlns:a16="http://schemas.microsoft.com/office/drawing/2014/main" id="{3D813202-47E0-443E-90E8-529145AF2461}"/>
                </a:ext>
              </a:extLst>
            </p:cNvPr>
            <p:cNvSpPr/>
            <p:nvPr/>
          </p:nvSpPr>
          <p:spPr bwMode="gray">
            <a:xfrm>
              <a:off x="3958505" y="1333502"/>
              <a:ext cx="1236420" cy="482134"/>
            </a:xfrm>
            <a:custGeom>
              <a:avLst/>
              <a:gdLst>
                <a:gd name="connsiteX0" fmla="*/ 573788 w 1231845"/>
                <a:gd name="connsiteY0" fmla="*/ 0 h 480350"/>
                <a:gd name="connsiteX1" fmla="*/ 863654 w 1231845"/>
                <a:gd name="connsiteY1" fmla="*/ 192135 h 480350"/>
                <a:gd name="connsiteX2" fmla="*/ 864731 w 1231845"/>
                <a:gd name="connsiteY2" fmla="*/ 195607 h 480350"/>
                <a:gd name="connsiteX3" fmla="*/ 888375 w 1231845"/>
                <a:gd name="connsiteY3" fmla="*/ 190833 h 480350"/>
                <a:gd name="connsiteX4" fmla="*/ 1002404 w 1231845"/>
                <a:gd name="connsiteY4" fmla="*/ 266417 h 480350"/>
                <a:gd name="connsiteX5" fmla="*/ 1009334 w 1231845"/>
                <a:gd name="connsiteY5" fmla="*/ 300740 h 480350"/>
                <a:gd name="connsiteX6" fmla="*/ 1036376 w 1231845"/>
                <a:gd name="connsiteY6" fmla="*/ 303466 h 480350"/>
                <a:gd name="connsiteX7" fmla="*/ 1228879 w 1231845"/>
                <a:gd name="connsiteY7" fmla="*/ 469373 h 480350"/>
                <a:gd name="connsiteX8" fmla="*/ 1231845 w 1231845"/>
                <a:gd name="connsiteY8" fmla="*/ 480350 h 480350"/>
                <a:gd name="connsiteX9" fmla="*/ 9061 w 1231845"/>
                <a:gd name="connsiteY9" fmla="*/ 480350 h 480350"/>
                <a:gd name="connsiteX10" fmla="*/ 4805 w 1231845"/>
                <a:gd name="connsiteY10" fmla="*/ 466640 h 480350"/>
                <a:gd name="connsiteX11" fmla="*/ 0 w 1231845"/>
                <a:gd name="connsiteY11" fmla="*/ 418980 h 480350"/>
                <a:gd name="connsiteX12" fmla="*/ 236487 w 1231845"/>
                <a:gd name="connsiteY12" fmla="*/ 182493 h 480350"/>
                <a:gd name="connsiteX13" fmla="*/ 284147 w 1231845"/>
                <a:gd name="connsiteY13" fmla="*/ 187298 h 480350"/>
                <a:gd name="connsiteX14" fmla="*/ 286202 w 1231845"/>
                <a:gd name="connsiteY14" fmla="*/ 187935 h 480350"/>
                <a:gd name="connsiteX15" fmla="*/ 312927 w 1231845"/>
                <a:gd name="connsiteY15" fmla="*/ 138698 h 480350"/>
                <a:gd name="connsiteX16" fmla="*/ 573788 w 1231845"/>
                <a:gd name="connsiteY16" fmla="*/ 0 h 48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1845" h="480350">
                  <a:moveTo>
                    <a:pt x="573788" y="0"/>
                  </a:moveTo>
                  <a:cubicBezTo>
                    <a:pt x="704094" y="0"/>
                    <a:pt x="815897" y="79225"/>
                    <a:pt x="863654" y="192135"/>
                  </a:cubicBezTo>
                  <a:lnTo>
                    <a:pt x="864731" y="195607"/>
                  </a:lnTo>
                  <a:lnTo>
                    <a:pt x="888375" y="190833"/>
                  </a:lnTo>
                  <a:cubicBezTo>
                    <a:pt x="939635" y="190833"/>
                    <a:pt x="983617" y="221999"/>
                    <a:pt x="1002404" y="266417"/>
                  </a:cubicBezTo>
                  <a:lnTo>
                    <a:pt x="1009334" y="300740"/>
                  </a:lnTo>
                  <a:lnTo>
                    <a:pt x="1036376" y="303466"/>
                  </a:lnTo>
                  <a:cubicBezTo>
                    <a:pt x="1125549" y="321713"/>
                    <a:pt x="1198152" y="385450"/>
                    <a:pt x="1228879" y="469373"/>
                  </a:cubicBezTo>
                  <a:lnTo>
                    <a:pt x="1231845" y="480350"/>
                  </a:lnTo>
                  <a:lnTo>
                    <a:pt x="9061" y="480350"/>
                  </a:lnTo>
                  <a:lnTo>
                    <a:pt x="4805" y="466640"/>
                  </a:lnTo>
                  <a:cubicBezTo>
                    <a:pt x="1655" y="451246"/>
                    <a:pt x="0" y="435306"/>
                    <a:pt x="0" y="418980"/>
                  </a:cubicBezTo>
                  <a:cubicBezTo>
                    <a:pt x="0" y="288372"/>
                    <a:pt x="105879" y="182493"/>
                    <a:pt x="236487" y="182493"/>
                  </a:cubicBezTo>
                  <a:cubicBezTo>
                    <a:pt x="252813" y="182493"/>
                    <a:pt x="268752" y="184147"/>
                    <a:pt x="284147" y="187298"/>
                  </a:cubicBezTo>
                  <a:lnTo>
                    <a:pt x="286202" y="187935"/>
                  </a:lnTo>
                  <a:lnTo>
                    <a:pt x="312927" y="138698"/>
                  </a:lnTo>
                  <a:cubicBezTo>
                    <a:pt x="369461" y="55018"/>
                    <a:pt x="465199" y="0"/>
                    <a:pt x="573788" y="0"/>
                  </a:cubicBez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 name="Rounded Rectangle 6">
              <a:extLst>
                <a:ext uri="{FF2B5EF4-FFF2-40B4-BE49-F238E27FC236}">
                  <a16:creationId xmlns:a16="http://schemas.microsoft.com/office/drawing/2014/main" id="{B6EFFE10-3212-4011-910C-5B7CB4929966}"/>
                </a:ext>
              </a:extLst>
            </p:cNvPr>
            <p:cNvSpPr/>
            <p:nvPr/>
          </p:nvSpPr>
          <p:spPr bwMode="gray">
            <a:xfrm>
              <a:off x="4290487" y="2184801"/>
              <a:ext cx="7142810" cy="4114397"/>
            </a:xfrm>
            <a:prstGeom prst="roundRect">
              <a:avLst>
                <a:gd name="adj" fmla="val 931"/>
              </a:avLst>
            </a:prstGeom>
            <a:solidFill>
              <a:schemeClr val="bg1"/>
            </a:solidFill>
            <a:ln w="952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 name="Rectangle 6">
              <a:extLst>
                <a:ext uri="{FF2B5EF4-FFF2-40B4-BE49-F238E27FC236}">
                  <a16:creationId xmlns:a16="http://schemas.microsoft.com/office/drawing/2014/main" id="{B6248DDA-9F40-4425-9C96-C305B1776C15}"/>
                </a:ext>
              </a:extLst>
            </p:cNvPr>
            <p:cNvSpPr/>
            <p:nvPr/>
          </p:nvSpPr>
          <p:spPr>
            <a:xfrm>
              <a:off x="4297588" y="2196180"/>
              <a:ext cx="7135709" cy="4015033"/>
            </a:xfrm>
            <a:prstGeom prst="rect">
              <a:avLst/>
            </a:prstGeom>
          </p:spPr>
          <p:txBody>
            <a:bodyPr wrap="square">
              <a:noAutofit/>
            </a:bodyPr>
            <a:lstStyle/>
            <a:p>
              <a:pPr>
                <a:spcAft>
                  <a:spcPts val="600"/>
                </a:spcAft>
              </a:pPr>
              <a:endParaRPr lang="da-DK" sz="1400" b="1" cap="all" dirty="0"/>
            </a:p>
            <a:p>
              <a:pPr>
                <a:spcAft>
                  <a:spcPts val="600"/>
                </a:spcAft>
              </a:pPr>
              <a:r>
                <a:rPr lang="da-DK" sz="1400" b="1" cap="all" dirty="0">
                  <a:solidFill>
                    <a:schemeClr val="accent2"/>
                  </a:solidFill>
                </a:rPr>
                <a:t>Lorem ipsum dolor sit ame</a:t>
              </a:r>
              <a:endParaRPr lang="en-US" sz="1400" b="1" cap="all" dirty="0">
                <a:solidFill>
                  <a:schemeClr val="accent2"/>
                </a:solidFill>
              </a:endParaRPr>
            </a:p>
            <a:p>
              <a:pPr>
                <a:spcAft>
                  <a:spcPts val="600"/>
                </a:spcAft>
              </a:pPr>
              <a:r>
                <a:rPr lang="da-DK" sz="1400" dirty="0"/>
                <a:t>Lorem ipsum dolor sit ameLorem ipsum dolor sit ame Lorem ipsum dolor sit ame Lorem ipsum dolor sit ame Lorem ipsum dolor sit ame Lorem ipsum dolor sit ame Lorem ipsum dolor sit ame Lorem ipsum dolor sit ame </a:t>
              </a:r>
              <a:endParaRPr lang="en-US" sz="1400" dirty="0"/>
            </a:p>
            <a:p>
              <a:pPr>
                <a:spcAft>
                  <a:spcPts val="600"/>
                </a:spcAft>
              </a:pPr>
              <a:r>
                <a:rPr lang="da-DK" sz="1400" dirty="0"/>
                <a:t>Lorem ipsum dolor sit ameLorem ipsum dolor sit ameLorem ipsum dolor sit ameLorem ipsum dolor sit ameLorem ipsum dolor sit ameLorem ipsum dolor sit ameLorem ipsum dolor sit ame</a:t>
              </a:r>
            </a:p>
            <a:p>
              <a:pPr>
                <a:spcAft>
                  <a:spcPts val="600"/>
                </a:spcAft>
              </a:pPr>
              <a:endParaRPr lang="en-US" sz="1400" dirty="0"/>
            </a:p>
            <a:p>
              <a:pPr>
                <a:spcAft>
                  <a:spcPts val="100"/>
                </a:spcAft>
              </a:pPr>
              <a:r>
                <a:rPr lang="da-DK" sz="1400" b="1" cap="all" dirty="0">
                  <a:solidFill>
                    <a:schemeClr val="accent2"/>
                  </a:solidFill>
                </a:rPr>
                <a:t>Lorem ipsum dolor sit ame</a:t>
              </a:r>
              <a:r>
                <a:rPr lang="en-US" sz="1400" b="1" cap="all" dirty="0">
                  <a:solidFill>
                    <a:schemeClr val="accent2"/>
                  </a:solidFill>
                </a:rPr>
                <a:t>: </a:t>
              </a:r>
            </a:p>
            <a:p>
              <a:pPr marL="111125" indent="-111125">
                <a:spcAft>
                  <a:spcPts val="100"/>
                </a:spcAft>
                <a:buFont typeface="Arial" panose="020B0604020202020204" pitchFamily="34" charset="0"/>
                <a:buChar char="•"/>
              </a:pPr>
              <a:r>
                <a:rPr lang="da-DK" sz="1400" dirty="0"/>
                <a:t>Lorem ipsum dolor sit ameLorem ipsum dolor sit ameLorem ipsum dolor sit ameLorem ipsum dolor sit ameLorem ipsum dolor sit ameLorem ipsum dolor sit ameLorem ipsum dolor sit ame</a:t>
              </a:r>
            </a:p>
            <a:p>
              <a:pPr marL="111125" indent="-111125">
                <a:spcAft>
                  <a:spcPts val="100"/>
                </a:spcAft>
                <a:buFont typeface="Arial" panose="020B0604020202020204" pitchFamily="34" charset="0"/>
                <a:buChar char="•"/>
              </a:pPr>
              <a:r>
                <a:rPr lang="da-DK" sz="1400" dirty="0"/>
                <a:t>Lorem ipsum dolor sit ameLorem ipsum dolor sit ameLorem ipsum dolor sit ameLorem ipsum dolor sit ame</a:t>
              </a:r>
            </a:p>
            <a:p>
              <a:pPr marL="111125" indent="-111125">
                <a:spcAft>
                  <a:spcPts val="100"/>
                </a:spcAft>
                <a:buFont typeface="Arial" panose="020B0604020202020204" pitchFamily="34" charset="0"/>
                <a:buChar char="•"/>
              </a:pPr>
              <a:r>
                <a:rPr lang="da-DK" sz="1400" dirty="0"/>
                <a:t>Lorem ipsum dolor sit ame</a:t>
              </a:r>
            </a:p>
            <a:p>
              <a:pPr marL="111125" indent="-111125">
                <a:spcAft>
                  <a:spcPts val="100"/>
                </a:spcAft>
                <a:buFont typeface="Arial" panose="020B0604020202020204" pitchFamily="34" charset="0"/>
                <a:buChar char="•"/>
              </a:pPr>
              <a:r>
                <a:rPr lang="da-DK" sz="1400" dirty="0"/>
                <a:t>Lorem ipsum dolor sit ameLorem ipsum dolor sit ameLorem ipsum dolor sit ame</a:t>
              </a:r>
            </a:p>
          </p:txBody>
        </p:sp>
        <p:grpSp>
          <p:nvGrpSpPr>
            <p:cNvPr id="8" name="Group 7">
              <a:extLst>
                <a:ext uri="{FF2B5EF4-FFF2-40B4-BE49-F238E27FC236}">
                  <a16:creationId xmlns:a16="http://schemas.microsoft.com/office/drawing/2014/main" id="{208443BB-C892-4A6F-8B10-ECC04854A17F}"/>
                </a:ext>
              </a:extLst>
            </p:cNvPr>
            <p:cNvGrpSpPr/>
            <p:nvPr/>
          </p:nvGrpSpPr>
          <p:grpSpPr>
            <a:xfrm>
              <a:off x="7831707" y="1610887"/>
              <a:ext cx="159052" cy="436988"/>
              <a:chOff x="6900722" y="1603874"/>
              <a:chExt cx="159052" cy="593252"/>
            </a:xfrm>
          </p:grpSpPr>
          <p:sp>
            <p:nvSpPr>
              <p:cNvPr id="33" name="Freeform 10">
                <a:extLst>
                  <a:ext uri="{FF2B5EF4-FFF2-40B4-BE49-F238E27FC236}">
                    <a16:creationId xmlns:a16="http://schemas.microsoft.com/office/drawing/2014/main" id="{AA7A5840-4B45-48BD-93F9-18B7BC8C1BAE}"/>
                  </a:ext>
                </a:extLst>
              </p:cNvPr>
              <p:cNvSpPr>
                <a:spLocks/>
              </p:cNvSpPr>
              <p:nvPr/>
            </p:nvSpPr>
            <p:spPr bwMode="auto">
              <a:xfrm>
                <a:off x="6949483" y="2117020"/>
                <a:ext cx="67336" cy="80106"/>
              </a:xfrm>
              <a:custGeom>
                <a:avLst/>
                <a:gdLst>
                  <a:gd name="T0" fmla="*/ 3 w 11"/>
                  <a:gd name="T1" fmla="*/ 0 h 13"/>
                  <a:gd name="T2" fmla="*/ 0 w 11"/>
                  <a:gd name="T3" fmla="*/ 7 h 13"/>
                  <a:gd name="T4" fmla="*/ 4 w 11"/>
                  <a:gd name="T5" fmla="*/ 12 h 13"/>
                  <a:gd name="T6" fmla="*/ 10 w 11"/>
                  <a:gd name="T7" fmla="*/ 11 h 13"/>
                  <a:gd name="T8" fmla="*/ 10 w 11"/>
                  <a:gd name="T9" fmla="*/ 6 h 13"/>
                  <a:gd name="T10" fmla="*/ 10 w 11"/>
                  <a:gd name="T11" fmla="*/ 4 h 13"/>
                  <a:gd name="T12" fmla="*/ 9 w 11"/>
                  <a:gd name="T13" fmla="*/ 4 h 13"/>
                  <a:gd name="T14" fmla="*/ 8 w 11"/>
                  <a:gd name="T15" fmla="*/ 8 h 13"/>
                  <a:gd name="T16" fmla="*/ 5 w 11"/>
                  <a:gd name="T17" fmla="*/ 8 h 13"/>
                  <a:gd name="T18" fmla="*/ 6 w 11"/>
                  <a:gd name="T19" fmla="*/ 3 h 13"/>
                  <a:gd name="T20" fmla="*/ 3 w 11"/>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3">
                    <a:moveTo>
                      <a:pt x="3" y="0"/>
                    </a:moveTo>
                    <a:cubicBezTo>
                      <a:pt x="3" y="0"/>
                      <a:pt x="1" y="3"/>
                      <a:pt x="0" y="7"/>
                    </a:cubicBezTo>
                    <a:cubicBezTo>
                      <a:pt x="0" y="9"/>
                      <a:pt x="1" y="12"/>
                      <a:pt x="4" y="12"/>
                    </a:cubicBezTo>
                    <a:cubicBezTo>
                      <a:pt x="6" y="13"/>
                      <a:pt x="9" y="12"/>
                      <a:pt x="10" y="11"/>
                    </a:cubicBezTo>
                    <a:cubicBezTo>
                      <a:pt x="11" y="9"/>
                      <a:pt x="10" y="7"/>
                      <a:pt x="10" y="6"/>
                    </a:cubicBezTo>
                    <a:cubicBezTo>
                      <a:pt x="10" y="5"/>
                      <a:pt x="10" y="5"/>
                      <a:pt x="10" y="4"/>
                    </a:cubicBezTo>
                    <a:cubicBezTo>
                      <a:pt x="10" y="4"/>
                      <a:pt x="9" y="4"/>
                      <a:pt x="9" y="4"/>
                    </a:cubicBezTo>
                    <a:cubicBezTo>
                      <a:pt x="9" y="5"/>
                      <a:pt x="9" y="7"/>
                      <a:pt x="8" y="8"/>
                    </a:cubicBezTo>
                    <a:cubicBezTo>
                      <a:pt x="8" y="9"/>
                      <a:pt x="5" y="9"/>
                      <a:pt x="5" y="8"/>
                    </a:cubicBezTo>
                    <a:cubicBezTo>
                      <a:pt x="4" y="6"/>
                      <a:pt x="6" y="3"/>
                      <a:pt x="6" y="3"/>
                    </a:cubicBezTo>
                    <a:lnTo>
                      <a:pt x="3" y="0"/>
                    </a:lnTo>
                    <a:close/>
                  </a:path>
                </a:pathLst>
              </a:custGeom>
              <a:solidFill>
                <a:srgbClr val="2225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11">
                <a:extLst>
                  <a:ext uri="{FF2B5EF4-FFF2-40B4-BE49-F238E27FC236}">
                    <a16:creationId xmlns:a16="http://schemas.microsoft.com/office/drawing/2014/main" id="{85205168-ECDC-4A0D-90CE-947ED663662A}"/>
                  </a:ext>
                </a:extLst>
              </p:cNvPr>
              <p:cNvSpPr>
                <a:spLocks/>
              </p:cNvSpPr>
              <p:nvPr/>
            </p:nvSpPr>
            <p:spPr bwMode="auto">
              <a:xfrm>
                <a:off x="6930907" y="2007890"/>
                <a:ext cx="98682" cy="127706"/>
              </a:xfrm>
              <a:custGeom>
                <a:avLst/>
                <a:gdLst>
                  <a:gd name="T0" fmla="*/ 69 w 85"/>
                  <a:gd name="T1" fmla="*/ 0 h 110"/>
                  <a:gd name="T2" fmla="*/ 43 w 85"/>
                  <a:gd name="T3" fmla="*/ 0 h 110"/>
                  <a:gd name="T4" fmla="*/ 16 w 85"/>
                  <a:gd name="T5" fmla="*/ 0 h 110"/>
                  <a:gd name="T6" fmla="*/ 0 w 85"/>
                  <a:gd name="T7" fmla="*/ 21 h 110"/>
                  <a:gd name="T8" fmla="*/ 0 w 85"/>
                  <a:gd name="T9" fmla="*/ 58 h 110"/>
                  <a:gd name="T10" fmla="*/ 37 w 85"/>
                  <a:gd name="T11" fmla="*/ 110 h 110"/>
                  <a:gd name="T12" fmla="*/ 43 w 85"/>
                  <a:gd name="T13" fmla="*/ 110 h 110"/>
                  <a:gd name="T14" fmla="*/ 48 w 85"/>
                  <a:gd name="T15" fmla="*/ 110 h 110"/>
                  <a:gd name="T16" fmla="*/ 85 w 85"/>
                  <a:gd name="T17" fmla="*/ 58 h 110"/>
                  <a:gd name="T18" fmla="*/ 85 w 85"/>
                  <a:gd name="T19" fmla="*/ 21 h 110"/>
                  <a:gd name="T20" fmla="*/ 69 w 85"/>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0">
                    <a:moveTo>
                      <a:pt x="69" y="0"/>
                    </a:moveTo>
                    <a:lnTo>
                      <a:pt x="43" y="0"/>
                    </a:lnTo>
                    <a:lnTo>
                      <a:pt x="16" y="0"/>
                    </a:lnTo>
                    <a:lnTo>
                      <a:pt x="0" y="21"/>
                    </a:lnTo>
                    <a:lnTo>
                      <a:pt x="0" y="58"/>
                    </a:lnTo>
                    <a:lnTo>
                      <a:pt x="37" y="110"/>
                    </a:lnTo>
                    <a:lnTo>
                      <a:pt x="43" y="110"/>
                    </a:lnTo>
                    <a:lnTo>
                      <a:pt x="48" y="110"/>
                    </a:lnTo>
                    <a:lnTo>
                      <a:pt x="85" y="58"/>
                    </a:lnTo>
                    <a:lnTo>
                      <a:pt x="85" y="21"/>
                    </a:lnTo>
                    <a:lnTo>
                      <a:pt x="69"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35" name="Rectangle 34">
                <a:extLst>
                  <a:ext uri="{FF2B5EF4-FFF2-40B4-BE49-F238E27FC236}">
                    <a16:creationId xmlns:a16="http://schemas.microsoft.com/office/drawing/2014/main" id="{D211965B-EFD1-4749-9401-F0503B7D387E}"/>
                  </a:ext>
                </a:extLst>
              </p:cNvPr>
              <p:cNvSpPr>
                <a:spLocks noChangeArrowheads="1"/>
              </p:cNvSpPr>
              <p:nvPr/>
            </p:nvSpPr>
            <p:spPr bwMode="auto">
              <a:xfrm>
                <a:off x="6900722" y="1603874"/>
                <a:ext cx="159052" cy="42955"/>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Freeform 18">
                <a:extLst>
                  <a:ext uri="{FF2B5EF4-FFF2-40B4-BE49-F238E27FC236}">
                    <a16:creationId xmlns:a16="http://schemas.microsoft.com/office/drawing/2014/main" id="{3F94C9C4-97D7-495D-9FFC-CB7172AA81E8}"/>
                  </a:ext>
                </a:extLst>
              </p:cNvPr>
              <p:cNvSpPr>
                <a:spLocks/>
              </p:cNvSpPr>
              <p:nvPr/>
            </p:nvSpPr>
            <p:spPr bwMode="auto">
              <a:xfrm>
                <a:off x="6937873" y="1646830"/>
                <a:ext cx="18575" cy="366865"/>
              </a:xfrm>
              <a:custGeom>
                <a:avLst/>
                <a:gdLst>
                  <a:gd name="T0" fmla="*/ 10 w 16"/>
                  <a:gd name="T1" fmla="*/ 316 h 316"/>
                  <a:gd name="T2" fmla="*/ 16 w 16"/>
                  <a:gd name="T3" fmla="*/ 316 h 316"/>
                  <a:gd name="T4" fmla="*/ 5 w 16"/>
                  <a:gd name="T5" fmla="*/ 0 h 316"/>
                  <a:gd name="T6" fmla="*/ 0 w 16"/>
                  <a:gd name="T7" fmla="*/ 0 h 316"/>
                  <a:gd name="T8" fmla="*/ 10 w 16"/>
                  <a:gd name="T9" fmla="*/ 316 h 316"/>
                </a:gdLst>
                <a:ahLst/>
                <a:cxnLst>
                  <a:cxn ang="0">
                    <a:pos x="T0" y="T1"/>
                  </a:cxn>
                  <a:cxn ang="0">
                    <a:pos x="T2" y="T3"/>
                  </a:cxn>
                  <a:cxn ang="0">
                    <a:pos x="T4" y="T5"/>
                  </a:cxn>
                  <a:cxn ang="0">
                    <a:pos x="T6" y="T7"/>
                  </a:cxn>
                  <a:cxn ang="0">
                    <a:pos x="T8" y="T9"/>
                  </a:cxn>
                </a:cxnLst>
                <a:rect l="0" t="0" r="r" b="b"/>
                <a:pathLst>
                  <a:path w="16" h="316">
                    <a:moveTo>
                      <a:pt x="10" y="316"/>
                    </a:moveTo>
                    <a:lnTo>
                      <a:pt x="16" y="316"/>
                    </a:lnTo>
                    <a:lnTo>
                      <a:pt x="5" y="0"/>
                    </a:lnTo>
                    <a:lnTo>
                      <a:pt x="0" y="0"/>
                    </a:lnTo>
                    <a:lnTo>
                      <a:pt x="10" y="316"/>
                    </a:lnTo>
                    <a:close/>
                  </a:path>
                </a:pathLst>
              </a:custGeom>
              <a:solidFill>
                <a:srgbClr val="1813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19">
                <a:extLst>
                  <a:ext uri="{FF2B5EF4-FFF2-40B4-BE49-F238E27FC236}">
                    <a16:creationId xmlns:a16="http://schemas.microsoft.com/office/drawing/2014/main" id="{19CF35AA-008C-4A8E-ABE1-35B01C4E0E91}"/>
                  </a:ext>
                </a:extLst>
              </p:cNvPr>
              <p:cNvSpPr>
                <a:spLocks/>
              </p:cNvSpPr>
              <p:nvPr/>
            </p:nvSpPr>
            <p:spPr bwMode="auto">
              <a:xfrm>
                <a:off x="7005209" y="1646830"/>
                <a:ext cx="17415" cy="366865"/>
              </a:xfrm>
              <a:custGeom>
                <a:avLst/>
                <a:gdLst>
                  <a:gd name="T0" fmla="*/ 0 w 15"/>
                  <a:gd name="T1" fmla="*/ 316 h 316"/>
                  <a:gd name="T2" fmla="*/ 5 w 15"/>
                  <a:gd name="T3" fmla="*/ 316 h 316"/>
                  <a:gd name="T4" fmla="*/ 15 w 15"/>
                  <a:gd name="T5" fmla="*/ 0 h 316"/>
                  <a:gd name="T6" fmla="*/ 10 w 15"/>
                  <a:gd name="T7" fmla="*/ 0 h 316"/>
                  <a:gd name="T8" fmla="*/ 0 w 15"/>
                  <a:gd name="T9" fmla="*/ 316 h 316"/>
                </a:gdLst>
                <a:ahLst/>
                <a:cxnLst>
                  <a:cxn ang="0">
                    <a:pos x="T0" y="T1"/>
                  </a:cxn>
                  <a:cxn ang="0">
                    <a:pos x="T2" y="T3"/>
                  </a:cxn>
                  <a:cxn ang="0">
                    <a:pos x="T4" y="T5"/>
                  </a:cxn>
                  <a:cxn ang="0">
                    <a:pos x="T6" y="T7"/>
                  </a:cxn>
                  <a:cxn ang="0">
                    <a:pos x="T8" y="T9"/>
                  </a:cxn>
                </a:cxnLst>
                <a:rect l="0" t="0" r="r" b="b"/>
                <a:pathLst>
                  <a:path w="15" h="316">
                    <a:moveTo>
                      <a:pt x="0" y="316"/>
                    </a:moveTo>
                    <a:lnTo>
                      <a:pt x="5" y="316"/>
                    </a:lnTo>
                    <a:lnTo>
                      <a:pt x="15" y="0"/>
                    </a:lnTo>
                    <a:lnTo>
                      <a:pt x="10" y="0"/>
                    </a:lnTo>
                    <a:lnTo>
                      <a:pt x="0" y="316"/>
                    </a:lnTo>
                    <a:close/>
                  </a:path>
                </a:pathLst>
              </a:custGeom>
              <a:solidFill>
                <a:srgbClr val="1813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 name="Group 8">
              <a:extLst>
                <a:ext uri="{FF2B5EF4-FFF2-40B4-BE49-F238E27FC236}">
                  <a16:creationId xmlns:a16="http://schemas.microsoft.com/office/drawing/2014/main" id="{E03D6329-4AE6-48A4-99D7-F1354F0C8B46}"/>
                </a:ext>
              </a:extLst>
            </p:cNvPr>
            <p:cNvGrpSpPr/>
            <p:nvPr/>
          </p:nvGrpSpPr>
          <p:grpSpPr>
            <a:xfrm flipH="1">
              <a:off x="10204577" y="1017588"/>
              <a:ext cx="2011951" cy="5281612"/>
              <a:chOff x="469900" y="1017588"/>
              <a:chExt cx="2011951" cy="5281612"/>
            </a:xfrm>
          </p:grpSpPr>
          <p:sp>
            <p:nvSpPr>
              <p:cNvPr id="29" name="Freeform 14">
                <a:extLst>
                  <a:ext uri="{FF2B5EF4-FFF2-40B4-BE49-F238E27FC236}">
                    <a16:creationId xmlns:a16="http://schemas.microsoft.com/office/drawing/2014/main" id="{6B8FF905-7DD4-4CB8-853D-935BC585383A}"/>
                  </a:ext>
                </a:extLst>
              </p:cNvPr>
              <p:cNvSpPr>
                <a:spLocks noEditPoints="1"/>
              </p:cNvSpPr>
              <p:nvPr/>
            </p:nvSpPr>
            <p:spPr bwMode="auto">
              <a:xfrm>
                <a:off x="469900" y="1017588"/>
                <a:ext cx="2011951" cy="1771631"/>
              </a:xfrm>
              <a:custGeom>
                <a:avLst/>
                <a:gdLst>
                  <a:gd name="T0" fmla="*/ 0 w 1733"/>
                  <a:gd name="T1" fmla="*/ 516 h 1526"/>
                  <a:gd name="T2" fmla="*/ 416 w 1733"/>
                  <a:gd name="T3" fmla="*/ 84 h 1526"/>
                  <a:gd name="T4" fmla="*/ 558 w 1733"/>
                  <a:gd name="T5" fmla="*/ 374 h 1526"/>
                  <a:gd name="T6" fmla="*/ 558 w 1733"/>
                  <a:gd name="T7" fmla="*/ 516 h 1526"/>
                  <a:gd name="T8" fmla="*/ 432 w 1733"/>
                  <a:gd name="T9" fmla="*/ 1516 h 1526"/>
                  <a:gd name="T10" fmla="*/ 432 w 1733"/>
                  <a:gd name="T11" fmla="*/ 1516 h 1526"/>
                  <a:gd name="T12" fmla="*/ 427 w 1733"/>
                  <a:gd name="T13" fmla="*/ 1379 h 1526"/>
                  <a:gd name="T14" fmla="*/ 542 w 1733"/>
                  <a:gd name="T15" fmla="*/ 1374 h 1526"/>
                  <a:gd name="T16" fmla="*/ 548 w 1733"/>
                  <a:gd name="T17" fmla="*/ 1363 h 1526"/>
                  <a:gd name="T18" fmla="*/ 548 w 1733"/>
                  <a:gd name="T19" fmla="*/ 1363 h 1526"/>
                  <a:gd name="T20" fmla="*/ 548 w 1733"/>
                  <a:gd name="T21" fmla="*/ 1100 h 1526"/>
                  <a:gd name="T22" fmla="*/ 542 w 1733"/>
                  <a:gd name="T23" fmla="*/ 1095 h 1526"/>
                  <a:gd name="T24" fmla="*/ 427 w 1733"/>
                  <a:gd name="T25" fmla="*/ 1084 h 1526"/>
                  <a:gd name="T26" fmla="*/ 427 w 1733"/>
                  <a:gd name="T27" fmla="*/ 1084 h 1526"/>
                  <a:gd name="T28" fmla="*/ 432 w 1733"/>
                  <a:gd name="T29" fmla="*/ 947 h 1526"/>
                  <a:gd name="T30" fmla="*/ 548 w 1733"/>
                  <a:gd name="T31" fmla="*/ 937 h 1526"/>
                  <a:gd name="T32" fmla="*/ 427 w 1733"/>
                  <a:gd name="T33" fmla="*/ 932 h 1526"/>
                  <a:gd name="T34" fmla="*/ 427 w 1733"/>
                  <a:gd name="T35" fmla="*/ 932 h 1526"/>
                  <a:gd name="T36" fmla="*/ 427 w 1733"/>
                  <a:gd name="T37" fmla="*/ 668 h 1526"/>
                  <a:gd name="T38" fmla="*/ 548 w 1733"/>
                  <a:gd name="T39" fmla="*/ 658 h 1526"/>
                  <a:gd name="T40" fmla="*/ 432 w 1733"/>
                  <a:gd name="T41" fmla="*/ 653 h 1526"/>
                  <a:gd name="T42" fmla="*/ 432 w 1733"/>
                  <a:gd name="T43" fmla="*/ 653 h 1526"/>
                  <a:gd name="T44" fmla="*/ 427 w 1733"/>
                  <a:gd name="T45" fmla="*/ 516 h 1526"/>
                  <a:gd name="T46" fmla="*/ 1707 w 1733"/>
                  <a:gd name="T47" fmla="*/ 505 h 1526"/>
                  <a:gd name="T48" fmla="*/ 1443 w 1733"/>
                  <a:gd name="T49" fmla="*/ 505 h 1526"/>
                  <a:gd name="T50" fmla="*/ 1443 w 1733"/>
                  <a:gd name="T51" fmla="*/ 505 h 1526"/>
                  <a:gd name="T52" fmla="*/ 1290 w 1733"/>
                  <a:gd name="T53" fmla="*/ 389 h 1526"/>
                  <a:gd name="T54" fmla="*/ 1285 w 1733"/>
                  <a:gd name="T55" fmla="*/ 505 h 1526"/>
                  <a:gd name="T56" fmla="*/ 1006 w 1733"/>
                  <a:gd name="T57" fmla="*/ 505 h 1526"/>
                  <a:gd name="T58" fmla="*/ 1006 w 1733"/>
                  <a:gd name="T59" fmla="*/ 505 h 1526"/>
                  <a:gd name="T60" fmla="*/ 995 w 1733"/>
                  <a:gd name="T61" fmla="*/ 389 h 1526"/>
                  <a:gd name="T62" fmla="*/ 843 w 1733"/>
                  <a:gd name="T63" fmla="*/ 505 h 1526"/>
                  <a:gd name="T64" fmla="*/ 579 w 1733"/>
                  <a:gd name="T65" fmla="*/ 505 h 1526"/>
                  <a:gd name="T66" fmla="*/ 579 w 1733"/>
                  <a:gd name="T67" fmla="*/ 505 h 1526"/>
                  <a:gd name="T68" fmla="*/ 416 w 1733"/>
                  <a:gd name="T69" fmla="*/ 505 h 1526"/>
                  <a:gd name="T70" fmla="*/ 290 w 1733"/>
                  <a:gd name="T71" fmla="*/ 505 h 1526"/>
                  <a:gd name="T72" fmla="*/ 137 w 1733"/>
                  <a:gd name="T73" fmla="*/ 389 h 1526"/>
                  <a:gd name="T74" fmla="*/ 126 w 1733"/>
                  <a:gd name="T75" fmla="*/ 505 h 1526"/>
                  <a:gd name="T76" fmla="*/ 427 w 1733"/>
                  <a:gd name="T77" fmla="*/ 505 h 1526"/>
                  <a:gd name="T78" fmla="*/ 427 w 1733"/>
                  <a:gd name="T79" fmla="*/ 505 h 1526"/>
                  <a:gd name="T80" fmla="*/ 1011 w 1733"/>
                  <a:gd name="T81" fmla="*/ 384 h 1526"/>
                  <a:gd name="T82" fmla="*/ 564 w 1733"/>
                  <a:gd name="T83" fmla="*/ 384 h 1526"/>
                  <a:gd name="T84" fmla="*/ 1438 w 1733"/>
                  <a:gd name="T85" fmla="*/ 500 h 1526"/>
                  <a:gd name="T86" fmla="*/ 1438 w 1733"/>
                  <a:gd name="T87" fmla="*/ 500 h 1526"/>
                  <a:gd name="T88" fmla="*/ 1148 w 1733"/>
                  <a:gd name="T89" fmla="*/ 384 h 1526"/>
                  <a:gd name="T90" fmla="*/ 985 w 1733"/>
                  <a:gd name="T91" fmla="*/ 384 h 1526"/>
                  <a:gd name="T92" fmla="*/ 569 w 1733"/>
                  <a:gd name="T93" fmla="*/ 500 h 1526"/>
                  <a:gd name="T94" fmla="*/ 569 w 1733"/>
                  <a:gd name="T95" fmla="*/ 500 h 1526"/>
                  <a:gd name="T96" fmla="*/ 284 w 1733"/>
                  <a:gd name="T97" fmla="*/ 384 h 1526"/>
                  <a:gd name="T98" fmla="*/ 274 w 1733"/>
                  <a:gd name="T99" fmla="*/ 384 h 1526"/>
                  <a:gd name="T100" fmla="*/ 848 w 1733"/>
                  <a:gd name="T101" fmla="*/ 500 h 1526"/>
                  <a:gd name="T102" fmla="*/ 848 w 1733"/>
                  <a:gd name="T103" fmla="*/ 500 h 1526"/>
                  <a:gd name="T104" fmla="*/ 1301 w 1733"/>
                  <a:gd name="T105" fmla="*/ 384 h 1526"/>
                  <a:gd name="T106" fmla="*/ 548 w 1733"/>
                  <a:gd name="T107" fmla="*/ 374 h 1526"/>
                  <a:gd name="T108" fmla="*/ 427 w 1733"/>
                  <a:gd name="T109" fmla="*/ 368 h 1526"/>
                  <a:gd name="T110" fmla="*/ 427 w 1733"/>
                  <a:gd name="T111" fmla="*/ 368 h 1526"/>
                  <a:gd name="T112" fmla="*/ 427 w 1733"/>
                  <a:gd name="T113" fmla="*/ 105 h 1526"/>
                  <a:gd name="T114" fmla="*/ 548 w 1733"/>
                  <a:gd name="T115" fmla="*/ 95 h 1526"/>
                  <a:gd name="T116" fmla="*/ 427 w 1733"/>
                  <a:gd name="T117" fmla="*/ 84 h 1526"/>
                  <a:gd name="T118" fmla="*/ 427 w 1733"/>
                  <a:gd name="T119" fmla="*/ 84 h 1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33" h="1526">
                    <a:moveTo>
                      <a:pt x="416" y="1526"/>
                    </a:moveTo>
                    <a:lnTo>
                      <a:pt x="416" y="516"/>
                    </a:lnTo>
                    <a:lnTo>
                      <a:pt x="0" y="516"/>
                    </a:lnTo>
                    <a:lnTo>
                      <a:pt x="132" y="374"/>
                    </a:lnTo>
                    <a:lnTo>
                      <a:pt x="416" y="374"/>
                    </a:lnTo>
                    <a:lnTo>
                      <a:pt x="416" y="84"/>
                    </a:lnTo>
                    <a:lnTo>
                      <a:pt x="485" y="0"/>
                    </a:lnTo>
                    <a:lnTo>
                      <a:pt x="558" y="84"/>
                    </a:lnTo>
                    <a:lnTo>
                      <a:pt x="558" y="374"/>
                    </a:lnTo>
                    <a:lnTo>
                      <a:pt x="1580" y="374"/>
                    </a:lnTo>
                    <a:lnTo>
                      <a:pt x="1733" y="516"/>
                    </a:lnTo>
                    <a:lnTo>
                      <a:pt x="558" y="516"/>
                    </a:lnTo>
                    <a:lnTo>
                      <a:pt x="558" y="1526"/>
                    </a:lnTo>
                    <a:lnTo>
                      <a:pt x="416" y="1526"/>
                    </a:lnTo>
                    <a:close/>
                    <a:moveTo>
                      <a:pt x="432" y="1516"/>
                    </a:moveTo>
                    <a:lnTo>
                      <a:pt x="548" y="1516"/>
                    </a:lnTo>
                    <a:lnTo>
                      <a:pt x="548" y="1390"/>
                    </a:lnTo>
                    <a:lnTo>
                      <a:pt x="432" y="1516"/>
                    </a:lnTo>
                    <a:close/>
                    <a:moveTo>
                      <a:pt x="427" y="1511"/>
                    </a:moveTo>
                    <a:lnTo>
                      <a:pt x="542" y="1379"/>
                    </a:lnTo>
                    <a:lnTo>
                      <a:pt x="427" y="1379"/>
                    </a:lnTo>
                    <a:lnTo>
                      <a:pt x="427" y="1511"/>
                    </a:lnTo>
                    <a:close/>
                    <a:moveTo>
                      <a:pt x="427" y="1374"/>
                    </a:moveTo>
                    <a:lnTo>
                      <a:pt x="542" y="1374"/>
                    </a:lnTo>
                    <a:lnTo>
                      <a:pt x="427" y="1242"/>
                    </a:lnTo>
                    <a:lnTo>
                      <a:pt x="427" y="1374"/>
                    </a:lnTo>
                    <a:close/>
                    <a:moveTo>
                      <a:pt x="548" y="1363"/>
                    </a:moveTo>
                    <a:lnTo>
                      <a:pt x="548" y="1237"/>
                    </a:lnTo>
                    <a:lnTo>
                      <a:pt x="432" y="1237"/>
                    </a:lnTo>
                    <a:lnTo>
                      <a:pt x="548" y="1363"/>
                    </a:lnTo>
                    <a:close/>
                    <a:moveTo>
                      <a:pt x="432" y="1226"/>
                    </a:moveTo>
                    <a:lnTo>
                      <a:pt x="548" y="1226"/>
                    </a:lnTo>
                    <a:lnTo>
                      <a:pt x="548" y="1100"/>
                    </a:lnTo>
                    <a:lnTo>
                      <a:pt x="432" y="1226"/>
                    </a:lnTo>
                    <a:close/>
                    <a:moveTo>
                      <a:pt x="427" y="1221"/>
                    </a:moveTo>
                    <a:lnTo>
                      <a:pt x="542" y="1095"/>
                    </a:lnTo>
                    <a:lnTo>
                      <a:pt x="427" y="1095"/>
                    </a:lnTo>
                    <a:lnTo>
                      <a:pt x="427" y="1221"/>
                    </a:lnTo>
                    <a:close/>
                    <a:moveTo>
                      <a:pt x="427" y="1084"/>
                    </a:moveTo>
                    <a:lnTo>
                      <a:pt x="542" y="1084"/>
                    </a:lnTo>
                    <a:lnTo>
                      <a:pt x="427" y="958"/>
                    </a:lnTo>
                    <a:lnTo>
                      <a:pt x="427" y="1084"/>
                    </a:lnTo>
                    <a:close/>
                    <a:moveTo>
                      <a:pt x="548" y="1074"/>
                    </a:moveTo>
                    <a:lnTo>
                      <a:pt x="548" y="947"/>
                    </a:lnTo>
                    <a:lnTo>
                      <a:pt x="432" y="947"/>
                    </a:lnTo>
                    <a:lnTo>
                      <a:pt x="548" y="1074"/>
                    </a:lnTo>
                    <a:close/>
                    <a:moveTo>
                      <a:pt x="432" y="937"/>
                    </a:moveTo>
                    <a:lnTo>
                      <a:pt x="548" y="937"/>
                    </a:lnTo>
                    <a:lnTo>
                      <a:pt x="548" y="811"/>
                    </a:lnTo>
                    <a:lnTo>
                      <a:pt x="432" y="937"/>
                    </a:lnTo>
                    <a:close/>
                    <a:moveTo>
                      <a:pt x="427" y="932"/>
                    </a:moveTo>
                    <a:lnTo>
                      <a:pt x="542" y="805"/>
                    </a:lnTo>
                    <a:lnTo>
                      <a:pt x="427" y="805"/>
                    </a:lnTo>
                    <a:lnTo>
                      <a:pt x="427" y="932"/>
                    </a:lnTo>
                    <a:close/>
                    <a:moveTo>
                      <a:pt x="427" y="795"/>
                    </a:moveTo>
                    <a:lnTo>
                      <a:pt x="542" y="795"/>
                    </a:lnTo>
                    <a:lnTo>
                      <a:pt x="427" y="668"/>
                    </a:lnTo>
                    <a:lnTo>
                      <a:pt x="427" y="795"/>
                    </a:lnTo>
                    <a:close/>
                    <a:moveTo>
                      <a:pt x="548" y="784"/>
                    </a:moveTo>
                    <a:lnTo>
                      <a:pt x="548" y="658"/>
                    </a:lnTo>
                    <a:lnTo>
                      <a:pt x="432" y="658"/>
                    </a:lnTo>
                    <a:lnTo>
                      <a:pt x="548" y="784"/>
                    </a:lnTo>
                    <a:close/>
                    <a:moveTo>
                      <a:pt x="432" y="653"/>
                    </a:moveTo>
                    <a:lnTo>
                      <a:pt x="548" y="653"/>
                    </a:lnTo>
                    <a:lnTo>
                      <a:pt x="548" y="521"/>
                    </a:lnTo>
                    <a:lnTo>
                      <a:pt x="432" y="653"/>
                    </a:lnTo>
                    <a:close/>
                    <a:moveTo>
                      <a:pt x="427" y="642"/>
                    </a:moveTo>
                    <a:lnTo>
                      <a:pt x="542" y="516"/>
                    </a:lnTo>
                    <a:lnTo>
                      <a:pt x="427" y="516"/>
                    </a:lnTo>
                    <a:lnTo>
                      <a:pt x="427" y="642"/>
                    </a:lnTo>
                    <a:close/>
                    <a:moveTo>
                      <a:pt x="1580" y="505"/>
                    </a:moveTo>
                    <a:lnTo>
                      <a:pt x="1707" y="505"/>
                    </a:lnTo>
                    <a:lnTo>
                      <a:pt x="1580" y="389"/>
                    </a:lnTo>
                    <a:lnTo>
                      <a:pt x="1580" y="505"/>
                    </a:lnTo>
                    <a:close/>
                    <a:moveTo>
                      <a:pt x="1443" y="505"/>
                    </a:moveTo>
                    <a:lnTo>
                      <a:pt x="1570" y="505"/>
                    </a:lnTo>
                    <a:lnTo>
                      <a:pt x="1570" y="389"/>
                    </a:lnTo>
                    <a:lnTo>
                      <a:pt x="1443" y="505"/>
                    </a:lnTo>
                    <a:close/>
                    <a:moveTo>
                      <a:pt x="1290" y="505"/>
                    </a:moveTo>
                    <a:lnTo>
                      <a:pt x="1417" y="505"/>
                    </a:lnTo>
                    <a:lnTo>
                      <a:pt x="1290" y="389"/>
                    </a:lnTo>
                    <a:lnTo>
                      <a:pt x="1290" y="505"/>
                    </a:lnTo>
                    <a:close/>
                    <a:moveTo>
                      <a:pt x="1154" y="505"/>
                    </a:moveTo>
                    <a:lnTo>
                      <a:pt x="1285" y="505"/>
                    </a:lnTo>
                    <a:lnTo>
                      <a:pt x="1285" y="389"/>
                    </a:lnTo>
                    <a:lnTo>
                      <a:pt x="1154" y="505"/>
                    </a:lnTo>
                    <a:close/>
                    <a:moveTo>
                      <a:pt x="1006" y="505"/>
                    </a:moveTo>
                    <a:lnTo>
                      <a:pt x="1132" y="505"/>
                    </a:lnTo>
                    <a:lnTo>
                      <a:pt x="1006" y="389"/>
                    </a:lnTo>
                    <a:lnTo>
                      <a:pt x="1006" y="505"/>
                    </a:lnTo>
                    <a:close/>
                    <a:moveTo>
                      <a:pt x="869" y="505"/>
                    </a:moveTo>
                    <a:lnTo>
                      <a:pt x="995" y="505"/>
                    </a:lnTo>
                    <a:lnTo>
                      <a:pt x="995" y="389"/>
                    </a:lnTo>
                    <a:lnTo>
                      <a:pt x="869" y="505"/>
                    </a:lnTo>
                    <a:close/>
                    <a:moveTo>
                      <a:pt x="716" y="505"/>
                    </a:moveTo>
                    <a:lnTo>
                      <a:pt x="843" y="505"/>
                    </a:lnTo>
                    <a:lnTo>
                      <a:pt x="716" y="389"/>
                    </a:lnTo>
                    <a:lnTo>
                      <a:pt x="716" y="505"/>
                    </a:lnTo>
                    <a:close/>
                    <a:moveTo>
                      <a:pt x="579" y="505"/>
                    </a:moveTo>
                    <a:lnTo>
                      <a:pt x="706" y="505"/>
                    </a:lnTo>
                    <a:lnTo>
                      <a:pt x="706" y="389"/>
                    </a:lnTo>
                    <a:lnTo>
                      <a:pt x="579" y="505"/>
                    </a:lnTo>
                    <a:close/>
                    <a:moveTo>
                      <a:pt x="290" y="505"/>
                    </a:moveTo>
                    <a:lnTo>
                      <a:pt x="416" y="505"/>
                    </a:lnTo>
                    <a:lnTo>
                      <a:pt x="416" y="505"/>
                    </a:lnTo>
                    <a:lnTo>
                      <a:pt x="416" y="500"/>
                    </a:lnTo>
                    <a:lnTo>
                      <a:pt x="416" y="389"/>
                    </a:lnTo>
                    <a:lnTo>
                      <a:pt x="290" y="505"/>
                    </a:lnTo>
                    <a:close/>
                    <a:moveTo>
                      <a:pt x="137" y="505"/>
                    </a:moveTo>
                    <a:lnTo>
                      <a:pt x="263" y="505"/>
                    </a:lnTo>
                    <a:lnTo>
                      <a:pt x="137" y="389"/>
                    </a:lnTo>
                    <a:lnTo>
                      <a:pt x="137" y="505"/>
                    </a:lnTo>
                    <a:close/>
                    <a:moveTo>
                      <a:pt x="26" y="505"/>
                    </a:moveTo>
                    <a:lnTo>
                      <a:pt x="126" y="505"/>
                    </a:lnTo>
                    <a:lnTo>
                      <a:pt x="126" y="395"/>
                    </a:lnTo>
                    <a:lnTo>
                      <a:pt x="26" y="505"/>
                    </a:lnTo>
                    <a:close/>
                    <a:moveTo>
                      <a:pt x="427" y="505"/>
                    </a:moveTo>
                    <a:lnTo>
                      <a:pt x="553" y="505"/>
                    </a:lnTo>
                    <a:lnTo>
                      <a:pt x="427" y="389"/>
                    </a:lnTo>
                    <a:lnTo>
                      <a:pt x="427" y="505"/>
                    </a:lnTo>
                    <a:close/>
                    <a:moveTo>
                      <a:pt x="1138" y="500"/>
                    </a:moveTo>
                    <a:lnTo>
                      <a:pt x="1138" y="384"/>
                    </a:lnTo>
                    <a:lnTo>
                      <a:pt x="1011" y="384"/>
                    </a:lnTo>
                    <a:lnTo>
                      <a:pt x="1138" y="500"/>
                    </a:lnTo>
                    <a:close/>
                    <a:moveTo>
                      <a:pt x="564" y="500"/>
                    </a:moveTo>
                    <a:lnTo>
                      <a:pt x="564" y="384"/>
                    </a:lnTo>
                    <a:lnTo>
                      <a:pt x="432" y="384"/>
                    </a:lnTo>
                    <a:lnTo>
                      <a:pt x="564" y="500"/>
                    </a:lnTo>
                    <a:close/>
                    <a:moveTo>
                      <a:pt x="1438" y="500"/>
                    </a:moveTo>
                    <a:lnTo>
                      <a:pt x="1564" y="384"/>
                    </a:lnTo>
                    <a:lnTo>
                      <a:pt x="1438" y="384"/>
                    </a:lnTo>
                    <a:lnTo>
                      <a:pt x="1438" y="500"/>
                    </a:lnTo>
                    <a:close/>
                    <a:moveTo>
                      <a:pt x="1148" y="500"/>
                    </a:moveTo>
                    <a:lnTo>
                      <a:pt x="1275" y="384"/>
                    </a:lnTo>
                    <a:lnTo>
                      <a:pt x="1148" y="384"/>
                    </a:lnTo>
                    <a:lnTo>
                      <a:pt x="1148" y="500"/>
                    </a:lnTo>
                    <a:close/>
                    <a:moveTo>
                      <a:pt x="859" y="500"/>
                    </a:moveTo>
                    <a:lnTo>
                      <a:pt x="985" y="384"/>
                    </a:lnTo>
                    <a:lnTo>
                      <a:pt x="859" y="384"/>
                    </a:lnTo>
                    <a:lnTo>
                      <a:pt x="859" y="500"/>
                    </a:lnTo>
                    <a:close/>
                    <a:moveTo>
                      <a:pt x="569" y="500"/>
                    </a:moveTo>
                    <a:lnTo>
                      <a:pt x="695" y="384"/>
                    </a:lnTo>
                    <a:lnTo>
                      <a:pt x="569" y="384"/>
                    </a:lnTo>
                    <a:lnTo>
                      <a:pt x="569" y="500"/>
                    </a:lnTo>
                    <a:close/>
                    <a:moveTo>
                      <a:pt x="284" y="500"/>
                    </a:moveTo>
                    <a:lnTo>
                      <a:pt x="411" y="384"/>
                    </a:lnTo>
                    <a:lnTo>
                      <a:pt x="284" y="384"/>
                    </a:lnTo>
                    <a:lnTo>
                      <a:pt x="284" y="500"/>
                    </a:lnTo>
                    <a:close/>
                    <a:moveTo>
                      <a:pt x="274" y="500"/>
                    </a:moveTo>
                    <a:lnTo>
                      <a:pt x="274" y="384"/>
                    </a:lnTo>
                    <a:lnTo>
                      <a:pt x="147" y="384"/>
                    </a:lnTo>
                    <a:lnTo>
                      <a:pt x="274" y="500"/>
                    </a:lnTo>
                    <a:close/>
                    <a:moveTo>
                      <a:pt x="848" y="500"/>
                    </a:moveTo>
                    <a:lnTo>
                      <a:pt x="848" y="384"/>
                    </a:lnTo>
                    <a:lnTo>
                      <a:pt x="722" y="384"/>
                    </a:lnTo>
                    <a:lnTo>
                      <a:pt x="848" y="500"/>
                    </a:lnTo>
                    <a:close/>
                    <a:moveTo>
                      <a:pt x="1427" y="500"/>
                    </a:moveTo>
                    <a:lnTo>
                      <a:pt x="1427" y="384"/>
                    </a:lnTo>
                    <a:lnTo>
                      <a:pt x="1301" y="384"/>
                    </a:lnTo>
                    <a:lnTo>
                      <a:pt x="1427" y="500"/>
                    </a:lnTo>
                    <a:close/>
                    <a:moveTo>
                      <a:pt x="432" y="374"/>
                    </a:moveTo>
                    <a:lnTo>
                      <a:pt x="548" y="374"/>
                    </a:lnTo>
                    <a:lnTo>
                      <a:pt x="548" y="247"/>
                    </a:lnTo>
                    <a:lnTo>
                      <a:pt x="432" y="374"/>
                    </a:lnTo>
                    <a:close/>
                    <a:moveTo>
                      <a:pt x="427" y="368"/>
                    </a:moveTo>
                    <a:lnTo>
                      <a:pt x="542" y="242"/>
                    </a:lnTo>
                    <a:lnTo>
                      <a:pt x="427" y="242"/>
                    </a:lnTo>
                    <a:lnTo>
                      <a:pt x="427" y="368"/>
                    </a:lnTo>
                    <a:close/>
                    <a:moveTo>
                      <a:pt x="427" y="232"/>
                    </a:moveTo>
                    <a:lnTo>
                      <a:pt x="542" y="232"/>
                    </a:lnTo>
                    <a:lnTo>
                      <a:pt x="427" y="105"/>
                    </a:lnTo>
                    <a:lnTo>
                      <a:pt x="427" y="232"/>
                    </a:lnTo>
                    <a:close/>
                    <a:moveTo>
                      <a:pt x="548" y="221"/>
                    </a:moveTo>
                    <a:lnTo>
                      <a:pt x="548" y="95"/>
                    </a:lnTo>
                    <a:lnTo>
                      <a:pt x="432" y="95"/>
                    </a:lnTo>
                    <a:lnTo>
                      <a:pt x="548" y="221"/>
                    </a:lnTo>
                    <a:close/>
                    <a:moveTo>
                      <a:pt x="427" y="84"/>
                    </a:moveTo>
                    <a:lnTo>
                      <a:pt x="548" y="84"/>
                    </a:lnTo>
                    <a:lnTo>
                      <a:pt x="485" y="21"/>
                    </a:lnTo>
                    <a:lnTo>
                      <a:pt x="42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17">
                <a:extLst>
                  <a:ext uri="{FF2B5EF4-FFF2-40B4-BE49-F238E27FC236}">
                    <a16:creationId xmlns:a16="http://schemas.microsoft.com/office/drawing/2014/main" id="{16730AFF-556C-47E8-9F80-A254277DB4DE}"/>
                  </a:ext>
                </a:extLst>
              </p:cNvPr>
              <p:cNvSpPr>
                <a:spLocks noEditPoints="1"/>
              </p:cNvSpPr>
              <p:nvPr/>
            </p:nvSpPr>
            <p:spPr bwMode="auto">
              <a:xfrm>
                <a:off x="952861" y="2777609"/>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17">
                <a:extLst>
                  <a:ext uri="{FF2B5EF4-FFF2-40B4-BE49-F238E27FC236}">
                    <a16:creationId xmlns:a16="http://schemas.microsoft.com/office/drawing/2014/main" id="{E7D57CFF-346B-4630-B3D6-F9A03098016A}"/>
                  </a:ext>
                </a:extLst>
              </p:cNvPr>
              <p:cNvSpPr>
                <a:spLocks noEditPoints="1"/>
              </p:cNvSpPr>
              <p:nvPr/>
            </p:nvSpPr>
            <p:spPr bwMode="auto">
              <a:xfrm>
                <a:off x="952861" y="3945733"/>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17">
                <a:extLst>
                  <a:ext uri="{FF2B5EF4-FFF2-40B4-BE49-F238E27FC236}">
                    <a16:creationId xmlns:a16="http://schemas.microsoft.com/office/drawing/2014/main" id="{C37E850A-7305-436D-97A8-B08D131BE292}"/>
                  </a:ext>
                </a:extLst>
              </p:cNvPr>
              <p:cNvSpPr>
                <a:spLocks noEditPoints="1"/>
              </p:cNvSpPr>
              <p:nvPr/>
            </p:nvSpPr>
            <p:spPr bwMode="auto">
              <a:xfrm>
                <a:off x="952861" y="5113856"/>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10" name="Straight Connector 9">
              <a:extLst>
                <a:ext uri="{FF2B5EF4-FFF2-40B4-BE49-F238E27FC236}">
                  <a16:creationId xmlns:a16="http://schemas.microsoft.com/office/drawing/2014/main" id="{C1B40CBE-C3C2-4F5A-B386-7E2979CCFF3B}"/>
                </a:ext>
              </a:extLst>
            </p:cNvPr>
            <p:cNvCxnSpPr>
              <a:endCxn id="33" idx="8"/>
            </p:cNvCxnSpPr>
            <p:nvPr/>
          </p:nvCxnSpPr>
          <p:spPr>
            <a:xfrm flipV="1">
              <a:off x="5026922" y="2025180"/>
              <a:ext cx="2884153" cy="1495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0BABB1E-ED75-49D0-BAF6-9D67B4E0C0AB}"/>
                </a:ext>
              </a:extLst>
            </p:cNvPr>
            <p:cNvCxnSpPr>
              <a:endCxn id="33" idx="8"/>
            </p:cNvCxnSpPr>
            <p:nvPr/>
          </p:nvCxnSpPr>
          <p:spPr>
            <a:xfrm flipH="1" flipV="1">
              <a:off x="7911075" y="2025180"/>
              <a:ext cx="2832434" cy="1495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reeform 17">
              <a:extLst>
                <a:ext uri="{FF2B5EF4-FFF2-40B4-BE49-F238E27FC236}">
                  <a16:creationId xmlns:a16="http://schemas.microsoft.com/office/drawing/2014/main" id="{AAE0C6E1-EB95-454C-ADF6-C75FD8549CBA}"/>
                </a:ext>
              </a:extLst>
            </p:cNvPr>
            <p:cNvSpPr>
              <a:spLocks noEditPoints="1"/>
            </p:cNvSpPr>
            <p:nvPr/>
          </p:nvSpPr>
          <p:spPr bwMode="auto">
            <a:xfrm rot="16200000">
              <a:off x="6050681" y="944447"/>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52">
              <a:extLst>
                <a:ext uri="{FF2B5EF4-FFF2-40B4-BE49-F238E27FC236}">
                  <a16:creationId xmlns:a16="http://schemas.microsoft.com/office/drawing/2014/main" id="{AA1C5A5D-DE7A-4998-A714-58FB9E64CE9C}"/>
                </a:ext>
              </a:extLst>
            </p:cNvPr>
            <p:cNvSpPr/>
            <p:nvPr/>
          </p:nvSpPr>
          <p:spPr bwMode="gray">
            <a:xfrm rot="10800000">
              <a:off x="10541942" y="1796456"/>
              <a:ext cx="710864" cy="285784"/>
            </a:xfrm>
            <a:custGeom>
              <a:avLst/>
              <a:gdLst>
                <a:gd name="connsiteX0" fmla="*/ 1935 w 615182"/>
                <a:gd name="connsiteY0" fmla="*/ 0 h 247318"/>
                <a:gd name="connsiteX1" fmla="*/ 615182 w 615182"/>
                <a:gd name="connsiteY1" fmla="*/ 0 h 247318"/>
                <a:gd name="connsiteX2" fmla="*/ 612632 w 615182"/>
                <a:gd name="connsiteY2" fmla="*/ 11481 h 247318"/>
                <a:gd name="connsiteX3" fmla="*/ 546487 w 615182"/>
                <a:gd name="connsiteY3" fmla="*/ 51339 h 247318"/>
                <a:gd name="connsiteX4" fmla="*/ 544650 w 615182"/>
                <a:gd name="connsiteY4" fmla="*/ 51002 h 247318"/>
                <a:gd name="connsiteX5" fmla="*/ 532944 w 615182"/>
                <a:gd name="connsiteY5" fmla="*/ 108980 h 247318"/>
                <a:gd name="connsiteX6" fmla="*/ 324241 w 615182"/>
                <a:gd name="connsiteY6" fmla="*/ 247318 h 247318"/>
                <a:gd name="connsiteX7" fmla="*/ 164079 w 615182"/>
                <a:gd name="connsiteY7" fmla="*/ 180977 h 247318"/>
                <a:gd name="connsiteX8" fmla="*/ 122611 w 615182"/>
                <a:gd name="connsiteY8" fmla="*/ 119472 h 247318"/>
                <a:gd name="connsiteX9" fmla="*/ 112027 w 615182"/>
                <a:gd name="connsiteY9" fmla="*/ 121609 h 247318"/>
                <a:gd name="connsiteX10" fmla="*/ 0 w 615182"/>
                <a:gd name="connsiteY10" fmla="*/ 9582 h 247318"/>
                <a:gd name="connsiteX11" fmla="*/ 1935 w 615182"/>
                <a:gd name="connsiteY11" fmla="*/ 0 h 247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182" h="247318">
                  <a:moveTo>
                    <a:pt x="1935" y="0"/>
                  </a:moveTo>
                  <a:lnTo>
                    <a:pt x="615182" y="0"/>
                  </a:lnTo>
                  <a:lnTo>
                    <a:pt x="612632" y="11481"/>
                  </a:lnTo>
                  <a:cubicBezTo>
                    <a:pt x="601734" y="34904"/>
                    <a:pt x="576222" y="51339"/>
                    <a:pt x="546487" y="51339"/>
                  </a:cubicBezTo>
                  <a:lnTo>
                    <a:pt x="544650" y="51002"/>
                  </a:lnTo>
                  <a:lnTo>
                    <a:pt x="532944" y="108980"/>
                  </a:lnTo>
                  <a:cubicBezTo>
                    <a:pt x="498559" y="190275"/>
                    <a:pt x="418061" y="247318"/>
                    <a:pt x="324241" y="247318"/>
                  </a:cubicBezTo>
                  <a:cubicBezTo>
                    <a:pt x="261694" y="247318"/>
                    <a:pt x="205068" y="221966"/>
                    <a:pt x="164079" y="180977"/>
                  </a:cubicBezTo>
                  <a:lnTo>
                    <a:pt x="122611" y="119472"/>
                  </a:lnTo>
                  <a:lnTo>
                    <a:pt x="112027" y="121609"/>
                  </a:lnTo>
                  <a:cubicBezTo>
                    <a:pt x="50156" y="121609"/>
                    <a:pt x="0" y="71453"/>
                    <a:pt x="0" y="9582"/>
                  </a:cubicBezTo>
                  <a:lnTo>
                    <a:pt x="1935" y="0"/>
                  </a:ln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4" name="Freeform 51">
              <a:extLst>
                <a:ext uri="{FF2B5EF4-FFF2-40B4-BE49-F238E27FC236}">
                  <a16:creationId xmlns:a16="http://schemas.microsoft.com/office/drawing/2014/main" id="{96FA74D9-656D-4725-B1CA-C6F77F632AC7}"/>
                </a:ext>
              </a:extLst>
            </p:cNvPr>
            <p:cNvSpPr/>
            <p:nvPr/>
          </p:nvSpPr>
          <p:spPr bwMode="gray">
            <a:xfrm>
              <a:off x="4531486" y="1430195"/>
              <a:ext cx="712200" cy="237680"/>
            </a:xfrm>
            <a:custGeom>
              <a:avLst/>
              <a:gdLst>
                <a:gd name="connsiteX0" fmla="*/ 322306 w 616338"/>
                <a:gd name="connsiteY0" fmla="*/ 0 h 205688"/>
                <a:gd name="connsiteX1" fmla="*/ 482468 w 616338"/>
                <a:gd name="connsiteY1" fmla="*/ 66341 h 205688"/>
                <a:gd name="connsiteX2" fmla="*/ 525403 w 616338"/>
                <a:gd name="connsiteY2" fmla="*/ 130022 h 205688"/>
                <a:gd name="connsiteX3" fmla="*/ 544552 w 616338"/>
                <a:gd name="connsiteY3" fmla="*/ 126507 h 205688"/>
                <a:gd name="connsiteX4" fmla="*/ 616338 w 616338"/>
                <a:gd name="connsiteY4" fmla="*/ 191767 h 205688"/>
                <a:gd name="connsiteX5" fmla="*/ 613247 w 616338"/>
                <a:gd name="connsiteY5" fmla="*/ 205688 h 205688"/>
                <a:gd name="connsiteX6" fmla="*/ 0 w 616338"/>
                <a:gd name="connsiteY6" fmla="*/ 205688 h 205688"/>
                <a:gd name="connsiteX7" fmla="*/ 6869 w 616338"/>
                <a:gd name="connsiteY7" fmla="*/ 171664 h 205688"/>
                <a:gd name="connsiteX8" fmla="*/ 110092 w 616338"/>
                <a:gd name="connsiteY8" fmla="*/ 103243 h 205688"/>
                <a:gd name="connsiteX9" fmla="*/ 134009 w 616338"/>
                <a:gd name="connsiteY9" fmla="*/ 108072 h 205688"/>
                <a:gd name="connsiteX10" fmla="*/ 162144 w 616338"/>
                <a:gd name="connsiteY10" fmla="*/ 66341 h 205688"/>
                <a:gd name="connsiteX11" fmla="*/ 322306 w 616338"/>
                <a:gd name="connsiteY11" fmla="*/ 0 h 20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6338" h="205688">
                  <a:moveTo>
                    <a:pt x="322306" y="0"/>
                  </a:moveTo>
                  <a:cubicBezTo>
                    <a:pt x="384853" y="0"/>
                    <a:pt x="441478" y="25352"/>
                    <a:pt x="482468" y="66341"/>
                  </a:cubicBezTo>
                  <a:lnTo>
                    <a:pt x="525403" y="130022"/>
                  </a:lnTo>
                  <a:lnTo>
                    <a:pt x="544552" y="126507"/>
                  </a:lnTo>
                  <a:cubicBezTo>
                    <a:pt x="584198" y="126507"/>
                    <a:pt x="616338" y="155725"/>
                    <a:pt x="616338" y="191767"/>
                  </a:cubicBezTo>
                  <a:lnTo>
                    <a:pt x="613247" y="205688"/>
                  </a:lnTo>
                  <a:lnTo>
                    <a:pt x="0" y="205688"/>
                  </a:lnTo>
                  <a:lnTo>
                    <a:pt x="6869" y="171664"/>
                  </a:lnTo>
                  <a:cubicBezTo>
                    <a:pt x="23875" y="131456"/>
                    <a:pt x="63689" y="103243"/>
                    <a:pt x="110092" y="103243"/>
                  </a:cubicBezTo>
                  <a:lnTo>
                    <a:pt x="134009" y="108072"/>
                  </a:lnTo>
                  <a:lnTo>
                    <a:pt x="162144" y="66341"/>
                  </a:lnTo>
                  <a:cubicBezTo>
                    <a:pt x="203133" y="25352"/>
                    <a:pt x="259759" y="0"/>
                    <a:pt x="322306" y="0"/>
                  </a:cubicBez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 name="Freeform 17">
              <a:extLst>
                <a:ext uri="{FF2B5EF4-FFF2-40B4-BE49-F238E27FC236}">
                  <a16:creationId xmlns:a16="http://schemas.microsoft.com/office/drawing/2014/main" id="{787D8BAB-F55B-47C4-84C7-74DD084CC300}"/>
                </a:ext>
              </a:extLst>
            </p:cNvPr>
            <p:cNvSpPr>
              <a:spLocks noEditPoints="1"/>
            </p:cNvSpPr>
            <p:nvPr/>
          </p:nvSpPr>
          <p:spPr bwMode="auto">
            <a:xfrm rot="16200000">
              <a:off x="8533517" y="944448"/>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7">
              <a:extLst>
                <a:ext uri="{FF2B5EF4-FFF2-40B4-BE49-F238E27FC236}">
                  <a16:creationId xmlns:a16="http://schemas.microsoft.com/office/drawing/2014/main" id="{DE84A610-FFC9-411E-B191-DE4CFD059631}"/>
                </a:ext>
              </a:extLst>
            </p:cNvPr>
            <p:cNvSpPr>
              <a:spLocks noEditPoints="1"/>
            </p:cNvSpPr>
            <p:nvPr/>
          </p:nvSpPr>
          <p:spPr bwMode="auto">
            <a:xfrm rot="16200000">
              <a:off x="9711760" y="944448"/>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7" name="Group 16">
              <a:extLst>
                <a:ext uri="{FF2B5EF4-FFF2-40B4-BE49-F238E27FC236}">
                  <a16:creationId xmlns:a16="http://schemas.microsoft.com/office/drawing/2014/main" id="{24B38ACA-4C86-4609-B804-674815E182DD}"/>
                </a:ext>
              </a:extLst>
            </p:cNvPr>
            <p:cNvGrpSpPr/>
            <p:nvPr/>
          </p:nvGrpSpPr>
          <p:grpSpPr>
            <a:xfrm>
              <a:off x="5881320" y="1377738"/>
              <a:ext cx="4067910" cy="315077"/>
              <a:chOff x="2682123" y="1377738"/>
              <a:chExt cx="4067910" cy="315077"/>
            </a:xfrm>
          </p:grpSpPr>
          <p:sp>
            <p:nvSpPr>
              <p:cNvPr id="18" name="Freeform 17">
                <a:extLst>
                  <a:ext uri="{FF2B5EF4-FFF2-40B4-BE49-F238E27FC236}">
                    <a16:creationId xmlns:a16="http://schemas.microsoft.com/office/drawing/2014/main" id="{E93D5430-A6E4-4E9E-BC5D-ED577D07365B}"/>
                  </a:ext>
                </a:extLst>
              </p:cNvPr>
              <p:cNvSpPr>
                <a:spLocks noEditPoints="1"/>
              </p:cNvSpPr>
              <p:nvPr/>
            </p:nvSpPr>
            <p:spPr bwMode="auto">
              <a:xfrm rot="16200000">
                <a:off x="3980586" y="944447"/>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7">
                <a:extLst>
                  <a:ext uri="{FF2B5EF4-FFF2-40B4-BE49-F238E27FC236}">
                    <a16:creationId xmlns:a16="http://schemas.microsoft.com/office/drawing/2014/main" id="{BE9482A0-DE25-4A09-8179-E58EDD5723DD}"/>
                  </a:ext>
                </a:extLst>
              </p:cNvPr>
              <p:cNvSpPr>
                <a:spLocks noEditPoints="1"/>
              </p:cNvSpPr>
              <p:nvPr/>
            </p:nvSpPr>
            <p:spPr bwMode="auto">
              <a:xfrm rot="16200000">
                <a:off x="5158829" y="944448"/>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Rectangle 19">
                <a:extLst>
                  <a:ext uri="{FF2B5EF4-FFF2-40B4-BE49-F238E27FC236}">
                    <a16:creationId xmlns:a16="http://schemas.microsoft.com/office/drawing/2014/main" id="{69065F41-CE86-4DC4-A1B6-F816323CBE28}"/>
                  </a:ext>
                </a:extLst>
              </p:cNvPr>
              <p:cNvSpPr/>
              <p:nvPr/>
            </p:nvSpPr>
            <p:spPr>
              <a:xfrm>
                <a:off x="2768583" y="1377738"/>
                <a:ext cx="3902075" cy="315077"/>
              </a:xfrm>
              <a:prstGeom prst="rect">
                <a:avLst/>
              </a:prstGeom>
              <a:solidFill>
                <a:schemeClr val="accent2"/>
              </a:solidFill>
            </p:spPr>
            <p:txBody>
              <a:bodyPr wrap="square" anchor="ctr">
                <a:noAutofit/>
              </a:bodyPr>
              <a:lstStyle/>
              <a:p>
                <a:pPr algn="ctr"/>
                <a:r>
                  <a:rPr lang="da-DK" sz="1400" dirty="0">
                    <a:solidFill>
                      <a:schemeClr val="bg1"/>
                    </a:solidFill>
                  </a:rPr>
                  <a:t>Lorem ipsum dolor sit ame</a:t>
                </a:r>
                <a:endParaRPr lang="en-GB" sz="1400" dirty="0">
                  <a:solidFill>
                    <a:schemeClr val="bg1"/>
                  </a:solidFill>
                </a:endParaRPr>
              </a:p>
            </p:txBody>
          </p:sp>
          <p:grpSp>
            <p:nvGrpSpPr>
              <p:cNvPr id="21" name="Group 20">
                <a:extLst>
                  <a:ext uri="{FF2B5EF4-FFF2-40B4-BE49-F238E27FC236}">
                    <a16:creationId xmlns:a16="http://schemas.microsoft.com/office/drawing/2014/main" id="{E3F1C8E6-4A84-4E30-8182-70E8D2501F20}"/>
                  </a:ext>
                </a:extLst>
              </p:cNvPr>
              <p:cNvGrpSpPr/>
              <p:nvPr/>
            </p:nvGrpSpPr>
            <p:grpSpPr>
              <a:xfrm>
                <a:off x="2682123" y="1380155"/>
                <a:ext cx="86460" cy="312660"/>
                <a:chOff x="2682123" y="1380155"/>
                <a:chExt cx="86460" cy="312660"/>
              </a:xfrm>
              <a:solidFill>
                <a:srgbClr val="63666A"/>
              </a:solidFill>
            </p:grpSpPr>
            <p:sp>
              <p:nvSpPr>
                <p:cNvPr id="25" name="Isosceles Triangle 24">
                  <a:extLst>
                    <a:ext uri="{FF2B5EF4-FFF2-40B4-BE49-F238E27FC236}">
                      <a16:creationId xmlns:a16="http://schemas.microsoft.com/office/drawing/2014/main" id="{CF6F9847-B608-48E9-BCA7-2FA19ABF059A}"/>
                    </a:ext>
                  </a:extLst>
                </p:cNvPr>
                <p:cNvSpPr/>
                <p:nvPr/>
              </p:nvSpPr>
              <p:spPr bwMode="gray">
                <a:xfrm>
                  <a:off x="2682123" y="1380155"/>
                  <a:ext cx="86460" cy="74535"/>
                </a:xfrm>
                <a:prstGeom prst="triangle">
                  <a:avLst>
                    <a:gd name="adj" fmla="val 10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6" name="Isosceles Triangle 25">
                  <a:extLst>
                    <a:ext uri="{FF2B5EF4-FFF2-40B4-BE49-F238E27FC236}">
                      <a16:creationId xmlns:a16="http://schemas.microsoft.com/office/drawing/2014/main" id="{C3195119-A1AA-4B21-B5B0-C3101DC77469}"/>
                    </a:ext>
                  </a:extLst>
                </p:cNvPr>
                <p:cNvSpPr/>
                <p:nvPr/>
              </p:nvSpPr>
              <p:spPr bwMode="gray">
                <a:xfrm flipV="1">
                  <a:off x="2682123" y="1618280"/>
                  <a:ext cx="86460" cy="74535"/>
                </a:xfrm>
                <a:prstGeom prst="triangle">
                  <a:avLst>
                    <a:gd name="adj" fmla="val 10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grpSp>
            <p:nvGrpSpPr>
              <p:cNvPr id="22" name="Group 21">
                <a:extLst>
                  <a:ext uri="{FF2B5EF4-FFF2-40B4-BE49-F238E27FC236}">
                    <a16:creationId xmlns:a16="http://schemas.microsoft.com/office/drawing/2014/main" id="{2DDA3C2D-CBA8-4821-8C77-F9921F6F5DDB}"/>
                  </a:ext>
                </a:extLst>
              </p:cNvPr>
              <p:cNvGrpSpPr/>
              <p:nvPr/>
            </p:nvGrpSpPr>
            <p:grpSpPr>
              <a:xfrm flipH="1">
                <a:off x="6663573" y="1380155"/>
                <a:ext cx="86460" cy="312660"/>
                <a:chOff x="2682123" y="1380155"/>
                <a:chExt cx="86460" cy="312660"/>
              </a:xfrm>
              <a:solidFill>
                <a:srgbClr val="63666A"/>
              </a:solidFill>
            </p:grpSpPr>
            <p:sp>
              <p:nvSpPr>
                <p:cNvPr id="23" name="Isosceles Triangle 22">
                  <a:extLst>
                    <a:ext uri="{FF2B5EF4-FFF2-40B4-BE49-F238E27FC236}">
                      <a16:creationId xmlns:a16="http://schemas.microsoft.com/office/drawing/2014/main" id="{67D5D9B3-1D4E-4395-A386-8C1D00067393}"/>
                    </a:ext>
                  </a:extLst>
                </p:cNvPr>
                <p:cNvSpPr/>
                <p:nvPr/>
              </p:nvSpPr>
              <p:spPr bwMode="gray">
                <a:xfrm>
                  <a:off x="2682123" y="1380155"/>
                  <a:ext cx="86460" cy="74535"/>
                </a:xfrm>
                <a:prstGeom prst="triangle">
                  <a:avLst>
                    <a:gd name="adj" fmla="val 10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4" name="Isosceles Triangle 23">
                  <a:extLst>
                    <a:ext uri="{FF2B5EF4-FFF2-40B4-BE49-F238E27FC236}">
                      <a16:creationId xmlns:a16="http://schemas.microsoft.com/office/drawing/2014/main" id="{FCF4E166-5CFA-4AC9-AC8B-CE7E4F82564D}"/>
                    </a:ext>
                  </a:extLst>
                </p:cNvPr>
                <p:cNvSpPr/>
                <p:nvPr/>
              </p:nvSpPr>
              <p:spPr bwMode="gray">
                <a:xfrm flipV="1">
                  <a:off x="2682123" y="1618280"/>
                  <a:ext cx="86460" cy="74535"/>
                </a:xfrm>
                <a:prstGeom prst="triangle">
                  <a:avLst>
                    <a:gd name="adj" fmla="val 10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grpSp>
      </p:grpSp>
    </p:spTree>
    <p:custDataLst>
      <p:tags r:id="rId1"/>
    </p:custDataLst>
    <p:extLst>
      <p:ext uri="{BB962C8B-B14F-4D97-AF65-F5344CB8AC3E}">
        <p14:creationId xmlns:p14="http://schemas.microsoft.com/office/powerpoint/2010/main" val="2135081773"/>
      </p:ext>
    </p:extLst>
  </p:cSld>
  <p:clrMapOvr>
    <a:masterClrMapping/>
  </p:clrMapOvr>
  <p:transition>
    <p:fade/>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组合 34"/>
          <p:cNvGrpSpPr/>
          <p:nvPr/>
        </p:nvGrpSpPr>
        <p:grpSpPr>
          <a:xfrm>
            <a:off x="2733003" y="1493558"/>
            <a:ext cx="6579134" cy="3870883"/>
            <a:chOff x="473075" y="1909481"/>
            <a:chExt cx="6579134" cy="3870883"/>
          </a:xfrm>
        </p:grpSpPr>
        <p:sp>
          <p:nvSpPr>
            <p:cNvPr id="36" name="Freeform 6"/>
            <p:cNvSpPr>
              <a:spLocks/>
            </p:cNvSpPr>
            <p:nvPr/>
          </p:nvSpPr>
          <p:spPr bwMode="auto">
            <a:xfrm>
              <a:off x="473075" y="1909481"/>
              <a:ext cx="6579134" cy="3870883"/>
            </a:xfrm>
            <a:custGeom>
              <a:avLst/>
              <a:gdLst>
                <a:gd name="T0" fmla="*/ 1539 w 1578"/>
                <a:gd name="T1" fmla="*/ 933 h 933"/>
                <a:gd name="T2" fmla="*/ 38 w 1578"/>
                <a:gd name="T3" fmla="*/ 933 h 933"/>
                <a:gd name="T4" fmla="*/ 0 w 1578"/>
                <a:gd name="T5" fmla="*/ 895 h 933"/>
                <a:gd name="T6" fmla="*/ 0 w 1578"/>
                <a:gd name="T7" fmla="*/ 39 h 933"/>
                <a:gd name="T8" fmla="*/ 38 w 1578"/>
                <a:gd name="T9" fmla="*/ 0 h 933"/>
                <a:gd name="T10" fmla="*/ 1539 w 1578"/>
                <a:gd name="T11" fmla="*/ 0 h 933"/>
                <a:gd name="T12" fmla="*/ 1578 w 1578"/>
                <a:gd name="T13" fmla="*/ 39 h 933"/>
                <a:gd name="T14" fmla="*/ 1578 w 1578"/>
                <a:gd name="T15" fmla="*/ 895 h 933"/>
                <a:gd name="T16" fmla="*/ 1539 w 1578"/>
                <a:gd name="T17" fmla="*/ 933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8" h="933">
                  <a:moveTo>
                    <a:pt x="1539" y="933"/>
                  </a:moveTo>
                  <a:cubicBezTo>
                    <a:pt x="38" y="933"/>
                    <a:pt x="38" y="933"/>
                    <a:pt x="38" y="933"/>
                  </a:cubicBezTo>
                  <a:cubicBezTo>
                    <a:pt x="17" y="933"/>
                    <a:pt x="0" y="916"/>
                    <a:pt x="0" y="895"/>
                  </a:cubicBezTo>
                  <a:cubicBezTo>
                    <a:pt x="0" y="39"/>
                    <a:pt x="0" y="39"/>
                    <a:pt x="0" y="39"/>
                  </a:cubicBezTo>
                  <a:cubicBezTo>
                    <a:pt x="0" y="18"/>
                    <a:pt x="17" y="0"/>
                    <a:pt x="38" y="0"/>
                  </a:cubicBezTo>
                  <a:cubicBezTo>
                    <a:pt x="1539" y="0"/>
                    <a:pt x="1539" y="0"/>
                    <a:pt x="1539" y="0"/>
                  </a:cubicBezTo>
                  <a:cubicBezTo>
                    <a:pt x="1561" y="0"/>
                    <a:pt x="1578" y="18"/>
                    <a:pt x="1578" y="39"/>
                  </a:cubicBezTo>
                  <a:cubicBezTo>
                    <a:pt x="1578" y="895"/>
                    <a:pt x="1578" y="895"/>
                    <a:pt x="1578" y="895"/>
                  </a:cubicBezTo>
                  <a:cubicBezTo>
                    <a:pt x="1578" y="916"/>
                    <a:pt x="1561" y="933"/>
                    <a:pt x="1539" y="933"/>
                  </a:cubicBezTo>
                  <a:close/>
                </a:path>
              </a:pathLst>
            </a:custGeom>
            <a:solidFill>
              <a:srgbClr val="000000"/>
            </a:solidFill>
            <a:ln w="19050" cap="flat">
              <a:solidFill>
                <a:srgbClr val="53565A"/>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 name="Line 14"/>
            <p:cNvSpPr>
              <a:spLocks noChangeShapeType="1"/>
            </p:cNvSpPr>
            <p:nvPr/>
          </p:nvSpPr>
          <p:spPr bwMode="auto">
            <a:xfrm>
              <a:off x="473075" y="2394499"/>
              <a:ext cx="6579134" cy="0"/>
            </a:xfrm>
            <a:prstGeom prst="line">
              <a:avLst/>
            </a:prstGeom>
            <a:noFill/>
            <a:ln w="12700" cap="flat">
              <a:solidFill>
                <a:srgbClr val="5356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32" name="组合 31"/>
          <p:cNvGrpSpPr/>
          <p:nvPr/>
        </p:nvGrpSpPr>
        <p:grpSpPr>
          <a:xfrm>
            <a:off x="2591982" y="1355913"/>
            <a:ext cx="6579134" cy="3870883"/>
            <a:chOff x="473075" y="1909481"/>
            <a:chExt cx="6579134" cy="3870883"/>
          </a:xfrm>
        </p:grpSpPr>
        <p:sp>
          <p:nvSpPr>
            <p:cNvPr id="33" name="Freeform 6"/>
            <p:cNvSpPr>
              <a:spLocks/>
            </p:cNvSpPr>
            <p:nvPr/>
          </p:nvSpPr>
          <p:spPr bwMode="auto">
            <a:xfrm>
              <a:off x="473075" y="1909481"/>
              <a:ext cx="6579134" cy="3870883"/>
            </a:xfrm>
            <a:custGeom>
              <a:avLst/>
              <a:gdLst>
                <a:gd name="T0" fmla="*/ 1539 w 1578"/>
                <a:gd name="T1" fmla="*/ 933 h 933"/>
                <a:gd name="T2" fmla="*/ 38 w 1578"/>
                <a:gd name="T3" fmla="*/ 933 h 933"/>
                <a:gd name="T4" fmla="*/ 0 w 1578"/>
                <a:gd name="T5" fmla="*/ 895 h 933"/>
                <a:gd name="T6" fmla="*/ 0 w 1578"/>
                <a:gd name="T7" fmla="*/ 39 h 933"/>
                <a:gd name="T8" fmla="*/ 38 w 1578"/>
                <a:gd name="T9" fmla="*/ 0 h 933"/>
                <a:gd name="T10" fmla="*/ 1539 w 1578"/>
                <a:gd name="T11" fmla="*/ 0 h 933"/>
                <a:gd name="T12" fmla="*/ 1578 w 1578"/>
                <a:gd name="T13" fmla="*/ 39 h 933"/>
                <a:gd name="T14" fmla="*/ 1578 w 1578"/>
                <a:gd name="T15" fmla="*/ 895 h 933"/>
                <a:gd name="T16" fmla="*/ 1539 w 1578"/>
                <a:gd name="T17" fmla="*/ 933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8" h="933">
                  <a:moveTo>
                    <a:pt x="1539" y="933"/>
                  </a:moveTo>
                  <a:cubicBezTo>
                    <a:pt x="38" y="933"/>
                    <a:pt x="38" y="933"/>
                    <a:pt x="38" y="933"/>
                  </a:cubicBezTo>
                  <a:cubicBezTo>
                    <a:pt x="17" y="933"/>
                    <a:pt x="0" y="916"/>
                    <a:pt x="0" y="895"/>
                  </a:cubicBezTo>
                  <a:cubicBezTo>
                    <a:pt x="0" y="39"/>
                    <a:pt x="0" y="39"/>
                    <a:pt x="0" y="39"/>
                  </a:cubicBezTo>
                  <a:cubicBezTo>
                    <a:pt x="0" y="18"/>
                    <a:pt x="17" y="0"/>
                    <a:pt x="38" y="0"/>
                  </a:cubicBezTo>
                  <a:cubicBezTo>
                    <a:pt x="1539" y="0"/>
                    <a:pt x="1539" y="0"/>
                    <a:pt x="1539" y="0"/>
                  </a:cubicBezTo>
                  <a:cubicBezTo>
                    <a:pt x="1561" y="0"/>
                    <a:pt x="1578" y="18"/>
                    <a:pt x="1578" y="39"/>
                  </a:cubicBezTo>
                  <a:cubicBezTo>
                    <a:pt x="1578" y="895"/>
                    <a:pt x="1578" y="895"/>
                    <a:pt x="1578" y="895"/>
                  </a:cubicBezTo>
                  <a:cubicBezTo>
                    <a:pt x="1578" y="916"/>
                    <a:pt x="1561" y="933"/>
                    <a:pt x="1539" y="933"/>
                  </a:cubicBezTo>
                  <a:close/>
                </a:path>
              </a:pathLst>
            </a:custGeom>
            <a:solidFill>
              <a:srgbClr val="000000"/>
            </a:solidFill>
            <a:ln w="19050" cap="flat">
              <a:solidFill>
                <a:srgbClr val="63666A"/>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4" name="Line 14"/>
            <p:cNvSpPr>
              <a:spLocks noChangeShapeType="1"/>
            </p:cNvSpPr>
            <p:nvPr/>
          </p:nvSpPr>
          <p:spPr bwMode="auto">
            <a:xfrm>
              <a:off x="473075" y="2394499"/>
              <a:ext cx="6579134" cy="0"/>
            </a:xfrm>
            <a:prstGeom prst="line">
              <a:avLst/>
            </a:prstGeom>
            <a:noFill/>
            <a:ln w="12700" cap="flat">
              <a:solidFill>
                <a:srgbClr val="63666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27" name="组合 26"/>
          <p:cNvGrpSpPr/>
          <p:nvPr/>
        </p:nvGrpSpPr>
        <p:grpSpPr>
          <a:xfrm>
            <a:off x="2450962" y="1218268"/>
            <a:ext cx="6579134" cy="3870883"/>
            <a:chOff x="473075" y="1909481"/>
            <a:chExt cx="6579134" cy="3870883"/>
          </a:xfrm>
        </p:grpSpPr>
        <p:sp>
          <p:nvSpPr>
            <p:cNvPr id="10" name="Freeform 6"/>
            <p:cNvSpPr>
              <a:spLocks/>
            </p:cNvSpPr>
            <p:nvPr/>
          </p:nvSpPr>
          <p:spPr bwMode="auto">
            <a:xfrm>
              <a:off x="473075" y="1909481"/>
              <a:ext cx="6579134" cy="3870883"/>
            </a:xfrm>
            <a:custGeom>
              <a:avLst/>
              <a:gdLst>
                <a:gd name="T0" fmla="*/ 1539 w 1578"/>
                <a:gd name="T1" fmla="*/ 933 h 933"/>
                <a:gd name="T2" fmla="*/ 38 w 1578"/>
                <a:gd name="T3" fmla="*/ 933 h 933"/>
                <a:gd name="T4" fmla="*/ 0 w 1578"/>
                <a:gd name="T5" fmla="*/ 895 h 933"/>
                <a:gd name="T6" fmla="*/ 0 w 1578"/>
                <a:gd name="T7" fmla="*/ 39 h 933"/>
                <a:gd name="T8" fmla="*/ 38 w 1578"/>
                <a:gd name="T9" fmla="*/ 0 h 933"/>
                <a:gd name="T10" fmla="*/ 1539 w 1578"/>
                <a:gd name="T11" fmla="*/ 0 h 933"/>
                <a:gd name="T12" fmla="*/ 1578 w 1578"/>
                <a:gd name="T13" fmla="*/ 39 h 933"/>
                <a:gd name="T14" fmla="*/ 1578 w 1578"/>
                <a:gd name="T15" fmla="*/ 895 h 933"/>
                <a:gd name="T16" fmla="*/ 1539 w 1578"/>
                <a:gd name="T17" fmla="*/ 933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8" h="933">
                  <a:moveTo>
                    <a:pt x="1539" y="933"/>
                  </a:moveTo>
                  <a:cubicBezTo>
                    <a:pt x="38" y="933"/>
                    <a:pt x="38" y="933"/>
                    <a:pt x="38" y="933"/>
                  </a:cubicBezTo>
                  <a:cubicBezTo>
                    <a:pt x="17" y="933"/>
                    <a:pt x="0" y="916"/>
                    <a:pt x="0" y="895"/>
                  </a:cubicBezTo>
                  <a:cubicBezTo>
                    <a:pt x="0" y="39"/>
                    <a:pt x="0" y="39"/>
                    <a:pt x="0" y="39"/>
                  </a:cubicBezTo>
                  <a:cubicBezTo>
                    <a:pt x="0" y="18"/>
                    <a:pt x="17" y="0"/>
                    <a:pt x="38" y="0"/>
                  </a:cubicBezTo>
                  <a:cubicBezTo>
                    <a:pt x="1539" y="0"/>
                    <a:pt x="1539" y="0"/>
                    <a:pt x="1539" y="0"/>
                  </a:cubicBezTo>
                  <a:cubicBezTo>
                    <a:pt x="1561" y="0"/>
                    <a:pt x="1578" y="18"/>
                    <a:pt x="1578" y="39"/>
                  </a:cubicBezTo>
                  <a:cubicBezTo>
                    <a:pt x="1578" y="895"/>
                    <a:pt x="1578" y="895"/>
                    <a:pt x="1578" y="895"/>
                  </a:cubicBezTo>
                  <a:cubicBezTo>
                    <a:pt x="1578" y="916"/>
                    <a:pt x="1561" y="933"/>
                    <a:pt x="1539" y="933"/>
                  </a:cubicBezTo>
                  <a:close/>
                </a:path>
              </a:pathLst>
            </a:custGeom>
            <a:solidFill>
              <a:srgbClr val="000000"/>
            </a:solid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 name="Line 14"/>
            <p:cNvSpPr>
              <a:spLocks noChangeShapeType="1"/>
            </p:cNvSpPr>
            <p:nvPr/>
          </p:nvSpPr>
          <p:spPr bwMode="auto">
            <a:xfrm>
              <a:off x="473075" y="2394499"/>
              <a:ext cx="6579134" cy="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21" name="组合 20"/>
          <p:cNvGrpSpPr/>
          <p:nvPr/>
        </p:nvGrpSpPr>
        <p:grpSpPr>
          <a:xfrm>
            <a:off x="2799580" y="974605"/>
            <a:ext cx="5881898" cy="487326"/>
            <a:chOff x="828704" y="1806099"/>
            <a:chExt cx="5881898" cy="487326"/>
          </a:xfrm>
        </p:grpSpPr>
        <p:sp>
          <p:nvSpPr>
            <p:cNvPr id="11" name="Freeform 7"/>
            <p:cNvSpPr>
              <a:spLocks/>
            </p:cNvSpPr>
            <p:nvPr/>
          </p:nvSpPr>
          <p:spPr bwMode="auto">
            <a:xfrm>
              <a:off x="828704" y="1806099"/>
              <a:ext cx="145304"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6" y="0"/>
                    <a:pt x="27" y="0"/>
                  </a:cubicBezTo>
                  <a:cubicBezTo>
                    <a:pt x="18" y="0"/>
                    <a:pt x="11" y="7"/>
                    <a:pt x="11" y="16"/>
                  </a:cubicBezTo>
                  <a:cubicBezTo>
                    <a:pt x="11" y="132"/>
                    <a:pt x="11" y="132"/>
                    <a:pt x="11" y="132"/>
                  </a:cubicBezTo>
                  <a:cubicBezTo>
                    <a:pt x="4" y="137"/>
                    <a:pt x="0" y="145"/>
                    <a:pt x="0" y="153"/>
                  </a:cubicBezTo>
                  <a:cubicBezTo>
                    <a:pt x="0" y="168"/>
                    <a:pt x="12" y="180"/>
                    <a:pt x="27" y="180"/>
                  </a:cubicBezTo>
                  <a:cubicBezTo>
                    <a:pt x="41"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 name="Freeform 8"/>
            <p:cNvSpPr>
              <a:spLocks/>
            </p:cNvSpPr>
            <p:nvPr/>
          </p:nvSpPr>
          <p:spPr bwMode="auto">
            <a:xfrm>
              <a:off x="1467097" y="1806099"/>
              <a:ext cx="145304" cy="487326"/>
            </a:xfrm>
            <a:custGeom>
              <a:avLst/>
              <a:gdLst>
                <a:gd name="T0" fmla="*/ 42 w 53"/>
                <a:gd name="T1" fmla="*/ 132 h 180"/>
                <a:gd name="T2" fmla="*/ 42 w 53"/>
                <a:gd name="T3" fmla="*/ 16 h 180"/>
                <a:gd name="T4" fmla="*/ 26 w 53"/>
                <a:gd name="T5" fmla="*/ 0 h 180"/>
                <a:gd name="T6" fmla="*/ 10 w 53"/>
                <a:gd name="T7" fmla="*/ 16 h 180"/>
                <a:gd name="T8" fmla="*/ 10 w 53"/>
                <a:gd name="T9" fmla="*/ 132 h 180"/>
                <a:gd name="T10" fmla="*/ 0 w 53"/>
                <a:gd name="T11" fmla="*/ 153 h 180"/>
                <a:gd name="T12" fmla="*/ 26 w 53"/>
                <a:gd name="T13" fmla="*/ 180 h 180"/>
                <a:gd name="T14" fmla="*/ 53 w 53"/>
                <a:gd name="T15" fmla="*/ 153 h 180"/>
                <a:gd name="T16" fmla="*/ 42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2" y="132"/>
                  </a:moveTo>
                  <a:cubicBezTo>
                    <a:pt x="42" y="16"/>
                    <a:pt x="42" y="16"/>
                    <a:pt x="42" y="16"/>
                  </a:cubicBezTo>
                  <a:cubicBezTo>
                    <a:pt x="42" y="7"/>
                    <a:pt x="35" y="0"/>
                    <a:pt x="26" y="0"/>
                  </a:cubicBezTo>
                  <a:cubicBezTo>
                    <a:pt x="18" y="0"/>
                    <a:pt x="10" y="7"/>
                    <a:pt x="10" y="16"/>
                  </a:cubicBezTo>
                  <a:cubicBezTo>
                    <a:pt x="10" y="132"/>
                    <a:pt x="10" y="132"/>
                    <a:pt x="10" y="132"/>
                  </a:cubicBezTo>
                  <a:cubicBezTo>
                    <a:pt x="4" y="137"/>
                    <a:pt x="0" y="145"/>
                    <a:pt x="0" y="153"/>
                  </a:cubicBezTo>
                  <a:cubicBezTo>
                    <a:pt x="0" y="168"/>
                    <a:pt x="12" y="180"/>
                    <a:pt x="26" y="180"/>
                  </a:cubicBezTo>
                  <a:cubicBezTo>
                    <a:pt x="41" y="180"/>
                    <a:pt x="53" y="168"/>
                    <a:pt x="53" y="153"/>
                  </a:cubicBezTo>
                  <a:cubicBezTo>
                    <a:pt x="53" y="145"/>
                    <a:pt x="49" y="137"/>
                    <a:pt x="42"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 name="Freeform 9"/>
            <p:cNvSpPr>
              <a:spLocks/>
            </p:cNvSpPr>
            <p:nvPr/>
          </p:nvSpPr>
          <p:spPr bwMode="auto">
            <a:xfrm>
              <a:off x="2105490" y="1806099"/>
              <a:ext cx="145304" cy="487326"/>
            </a:xfrm>
            <a:custGeom>
              <a:avLst/>
              <a:gdLst>
                <a:gd name="T0" fmla="*/ 42 w 53"/>
                <a:gd name="T1" fmla="*/ 132 h 180"/>
                <a:gd name="T2" fmla="*/ 42 w 53"/>
                <a:gd name="T3" fmla="*/ 16 h 180"/>
                <a:gd name="T4" fmla="*/ 26 w 53"/>
                <a:gd name="T5" fmla="*/ 0 h 180"/>
                <a:gd name="T6" fmla="*/ 10 w 53"/>
                <a:gd name="T7" fmla="*/ 16 h 180"/>
                <a:gd name="T8" fmla="*/ 10 w 53"/>
                <a:gd name="T9" fmla="*/ 132 h 180"/>
                <a:gd name="T10" fmla="*/ 0 w 53"/>
                <a:gd name="T11" fmla="*/ 153 h 180"/>
                <a:gd name="T12" fmla="*/ 26 w 53"/>
                <a:gd name="T13" fmla="*/ 180 h 180"/>
                <a:gd name="T14" fmla="*/ 53 w 53"/>
                <a:gd name="T15" fmla="*/ 153 h 180"/>
                <a:gd name="T16" fmla="*/ 42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2" y="132"/>
                  </a:moveTo>
                  <a:cubicBezTo>
                    <a:pt x="42" y="16"/>
                    <a:pt x="42" y="16"/>
                    <a:pt x="42" y="16"/>
                  </a:cubicBezTo>
                  <a:cubicBezTo>
                    <a:pt x="42" y="7"/>
                    <a:pt x="35" y="0"/>
                    <a:pt x="26" y="0"/>
                  </a:cubicBezTo>
                  <a:cubicBezTo>
                    <a:pt x="17" y="0"/>
                    <a:pt x="10" y="7"/>
                    <a:pt x="10" y="16"/>
                  </a:cubicBezTo>
                  <a:cubicBezTo>
                    <a:pt x="10" y="132"/>
                    <a:pt x="10" y="132"/>
                    <a:pt x="10" y="132"/>
                  </a:cubicBezTo>
                  <a:cubicBezTo>
                    <a:pt x="4" y="137"/>
                    <a:pt x="0" y="145"/>
                    <a:pt x="0" y="153"/>
                  </a:cubicBezTo>
                  <a:cubicBezTo>
                    <a:pt x="0" y="168"/>
                    <a:pt x="11" y="180"/>
                    <a:pt x="26" y="180"/>
                  </a:cubicBezTo>
                  <a:cubicBezTo>
                    <a:pt x="41" y="180"/>
                    <a:pt x="53" y="168"/>
                    <a:pt x="53" y="153"/>
                  </a:cubicBezTo>
                  <a:cubicBezTo>
                    <a:pt x="53" y="145"/>
                    <a:pt x="48" y="137"/>
                    <a:pt x="42"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10"/>
            <p:cNvSpPr>
              <a:spLocks/>
            </p:cNvSpPr>
            <p:nvPr/>
          </p:nvSpPr>
          <p:spPr bwMode="auto">
            <a:xfrm>
              <a:off x="2743883" y="1806099"/>
              <a:ext cx="145304"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5" y="0"/>
                    <a:pt x="27" y="0"/>
                  </a:cubicBezTo>
                  <a:cubicBezTo>
                    <a:pt x="18" y="0"/>
                    <a:pt x="11" y="7"/>
                    <a:pt x="11" y="16"/>
                  </a:cubicBezTo>
                  <a:cubicBezTo>
                    <a:pt x="11" y="132"/>
                    <a:pt x="11" y="132"/>
                    <a:pt x="11" y="132"/>
                  </a:cubicBezTo>
                  <a:cubicBezTo>
                    <a:pt x="4" y="137"/>
                    <a:pt x="0" y="145"/>
                    <a:pt x="0" y="153"/>
                  </a:cubicBezTo>
                  <a:cubicBezTo>
                    <a:pt x="0" y="168"/>
                    <a:pt x="12" y="180"/>
                    <a:pt x="27" y="180"/>
                  </a:cubicBezTo>
                  <a:cubicBezTo>
                    <a:pt x="41"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 name="Freeform 11"/>
            <p:cNvSpPr>
              <a:spLocks/>
            </p:cNvSpPr>
            <p:nvPr/>
          </p:nvSpPr>
          <p:spPr bwMode="auto">
            <a:xfrm>
              <a:off x="3382276" y="1806099"/>
              <a:ext cx="143069" cy="487326"/>
            </a:xfrm>
            <a:custGeom>
              <a:avLst/>
              <a:gdLst>
                <a:gd name="T0" fmla="*/ 42 w 53"/>
                <a:gd name="T1" fmla="*/ 132 h 180"/>
                <a:gd name="T2" fmla="*/ 42 w 53"/>
                <a:gd name="T3" fmla="*/ 16 h 180"/>
                <a:gd name="T4" fmla="*/ 26 w 53"/>
                <a:gd name="T5" fmla="*/ 0 h 180"/>
                <a:gd name="T6" fmla="*/ 10 w 53"/>
                <a:gd name="T7" fmla="*/ 16 h 180"/>
                <a:gd name="T8" fmla="*/ 10 w 53"/>
                <a:gd name="T9" fmla="*/ 132 h 180"/>
                <a:gd name="T10" fmla="*/ 0 w 53"/>
                <a:gd name="T11" fmla="*/ 153 h 180"/>
                <a:gd name="T12" fmla="*/ 26 w 53"/>
                <a:gd name="T13" fmla="*/ 180 h 180"/>
                <a:gd name="T14" fmla="*/ 53 w 53"/>
                <a:gd name="T15" fmla="*/ 153 h 180"/>
                <a:gd name="T16" fmla="*/ 42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2" y="132"/>
                  </a:moveTo>
                  <a:cubicBezTo>
                    <a:pt x="42" y="16"/>
                    <a:pt x="42" y="16"/>
                    <a:pt x="42" y="16"/>
                  </a:cubicBezTo>
                  <a:cubicBezTo>
                    <a:pt x="42" y="7"/>
                    <a:pt x="35" y="0"/>
                    <a:pt x="26" y="0"/>
                  </a:cubicBezTo>
                  <a:cubicBezTo>
                    <a:pt x="17" y="0"/>
                    <a:pt x="10" y="7"/>
                    <a:pt x="10" y="16"/>
                  </a:cubicBezTo>
                  <a:cubicBezTo>
                    <a:pt x="10" y="132"/>
                    <a:pt x="10" y="132"/>
                    <a:pt x="10" y="132"/>
                  </a:cubicBezTo>
                  <a:cubicBezTo>
                    <a:pt x="4" y="137"/>
                    <a:pt x="0" y="145"/>
                    <a:pt x="0" y="153"/>
                  </a:cubicBezTo>
                  <a:cubicBezTo>
                    <a:pt x="0" y="168"/>
                    <a:pt x="12" y="180"/>
                    <a:pt x="26" y="180"/>
                  </a:cubicBezTo>
                  <a:cubicBezTo>
                    <a:pt x="41" y="180"/>
                    <a:pt x="53" y="168"/>
                    <a:pt x="53" y="153"/>
                  </a:cubicBezTo>
                  <a:cubicBezTo>
                    <a:pt x="53" y="145"/>
                    <a:pt x="49" y="137"/>
                    <a:pt x="42"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 name="Freeform 12"/>
            <p:cNvSpPr>
              <a:spLocks/>
            </p:cNvSpPr>
            <p:nvPr/>
          </p:nvSpPr>
          <p:spPr bwMode="auto">
            <a:xfrm>
              <a:off x="4018434" y="1806099"/>
              <a:ext cx="143069"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6" y="0"/>
                    <a:pt x="27" y="0"/>
                  </a:cubicBezTo>
                  <a:cubicBezTo>
                    <a:pt x="18" y="0"/>
                    <a:pt x="11" y="7"/>
                    <a:pt x="11" y="16"/>
                  </a:cubicBezTo>
                  <a:cubicBezTo>
                    <a:pt x="11" y="132"/>
                    <a:pt x="11" y="132"/>
                    <a:pt x="11" y="132"/>
                  </a:cubicBezTo>
                  <a:cubicBezTo>
                    <a:pt x="5" y="137"/>
                    <a:pt x="0" y="145"/>
                    <a:pt x="0" y="153"/>
                  </a:cubicBezTo>
                  <a:cubicBezTo>
                    <a:pt x="0" y="168"/>
                    <a:pt x="12" y="180"/>
                    <a:pt x="27" y="180"/>
                  </a:cubicBezTo>
                  <a:cubicBezTo>
                    <a:pt x="42"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 name="Freeform 13"/>
            <p:cNvSpPr>
              <a:spLocks/>
            </p:cNvSpPr>
            <p:nvPr/>
          </p:nvSpPr>
          <p:spPr bwMode="auto">
            <a:xfrm>
              <a:off x="4654592" y="1806099"/>
              <a:ext cx="145304"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5" y="0"/>
                    <a:pt x="27" y="0"/>
                  </a:cubicBezTo>
                  <a:cubicBezTo>
                    <a:pt x="18" y="0"/>
                    <a:pt x="11" y="7"/>
                    <a:pt x="11" y="16"/>
                  </a:cubicBezTo>
                  <a:cubicBezTo>
                    <a:pt x="11" y="132"/>
                    <a:pt x="11" y="132"/>
                    <a:pt x="11" y="132"/>
                  </a:cubicBezTo>
                  <a:cubicBezTo>
                    <a:pt x="4" y="137"/>
                    <a:pt x="0" y="145"/>
                    <a:pt x="0" y="153"/>
                  </a:cubicBezTo>
                  <a:cubicBezTo>
                    <a:pt x="0" y="168"/>
                    <a:pt x="12" y="180"/>
                    <a:pt x="27" y="180"/>
                  </a:cubicBezTo>
                  <a:cubicBezTo>
                    <a:pt x="41"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2" name="Freeform 10"/>
            <p:cNvSpPr>
              <a:spLocks/>
            </p:cNvSpPr>
            <p:nvPr/>
          </p:nvSpPr>
          <p:spPr bwMode="auto">
            <a:xfrm>
              <a:off x="5292985" y="1806099"/>
              <a:ext cx="145304"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5" y="0"/>
                    <a:pt x="27" y="0"/>
                  </a:cubicBezTo>
                  <a:cubicBezTo>
                    <a:pt x="18" y="0"/>
                    <a:pt x="11" y="7"/>
                    <a:pt x="11" y="16"/>
                  </a:cubicBezTo>
                  <a:cubicBezTo>
                    <a:pt x="11" y="132"/>
                    <a:pt x="11" y="132"/>
                    <a:pt x="11" y="132"/>
                  </a:cubicBezTo>
                  <a:cubicBezTo>
                    <a:pt x="4" y="137"/>
                    <a:pt x="0" y="145"/>
                    <a:pt x="0" y="153"/>
                  </a:cubicBezTo>
                  <a:cubicBezTo>
                    <a:pt x="0" y="168"/>
                    <a:pt x="12" y="180"/>
                    <a:pt x="27" y="180"/>
                  </a:cubicBezTo>
                  <a:cubicBezTo>
                    <a:pt x="41"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1"/>
            <p:cNvSpPr>
              <a:spLocks/>
            </p:cNvSpPr>
            <p:nvPr/>
          </p:nvSpPr>
          <p:spPr bwMode="auto">
            <a:xfrm>
              <a:off x="5931378" y="1806099"/>
              <a:ext cx="143069" cy="487326"/>
            </a:xfrm>
            <a:custGeom>
              <a:avLst/>
              <a:gdLst>
                <a:gd name="T0" fmla="*/ 42 w 53"/>
                <a:gd name="T1" fmla="*/ 132 h 180"/>
                <a:gd name="T2" fmla="*/ 42 w 53"/>
                <a:gd name="T3" fmla="*/ 16 h 180"/>
                <a:gd name="T4" fmla="*/ 26 w 53"/>
                <a:gd name="T5" fmla="*/ 0 h 180"/>
                <a:gd name="T6" fmla="*/ 10 w 53"/>
                <a:gd name="T7" fmla="*/ 16 h 180"/>
                <a:gd name="T8" fmla="*/ 10 w 53"/>
                <a:gd name="T9" fmla="*/ 132 h 180"/>
                <a:gd name="T10" fmla="*/ 0 w 53"/>
                <a:gd name="T11" fmla="*/ 153 h 180"/>
                <a:gd name="T12" fmla="*/ 26 w 53"/>
                <a:gd name="T13" fmla="*/ 180 h 180"/>
                <a:gd name="T14" fmla="*/ 53 w 53"/>
                <a:gd name="T15" fmla="*/ 153 h 180"/>
                <a:gd name="T16" fmla="*/ 42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2" y="132"/>
                  </a:moveTo>
                  <a:cubicBezTo>
                    <a:pt x="42" y="16"/>
                    <a:pt x="42" y="16"/>
                    <a:pt x="42" y="16"/>
                  </a:cubicBezTo>
                  <a:cubicBezTo>
                    <a:pt x="42" y="7"/>
                    <a:pt x="35" y="0"/>
                    <a:pt x="26" y="0"/>
                  </a:cubicBezTo>
                  <a:cubicBezTo>
                    <a:pt x="17" y="0"/>
                    <a:pt x="10" y="7"/>
                    <a:pt x="10" y="16"/>
                  </a:cubicBezTo>
                  <a:cubicBezTo>
                    <a:pt x="10" y="132"/>
                    <a:pt x="10" y="132"/>
                    <a:pt x="10" y="132"/>
                  </a:cubicBezTo>
                  <a:cubicBezTo>
                    <a:pt x="4" y="137"/>
                    <a:pt x="0" y="145"/>
                    <a:pt x="0" y="153"/>
                  </a:cubicBezTo>
                  <a:cubicBezTo>
                    <a:pt x="0" y="168"/>
                    <a:pt x="12" y="180"/>
                    <a:pt x="26" y="180"/>
                  </a:cubicBezTo>
                  <a:cubicBezTo>
                    <a:pt x="41" y="180"/>
                    <a:pt x="53" y="168"/>
                    <a:pt x="53" y="153"/>
                  </a:cubicBezTo>
                  <a:cubicBezTo>
                    <a:pt x="53" y="145"/>
                    <a:pt x="49" y="137"/>
                    <a:pt x="42"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4" name="Freeform 12"/>
            <p:cNvSpPr>
              <a:spLocks/>
            </p:cNvSpPr>
            <p:nvPr/>
          </p:nvSpPr>
          <p:spPr bwMode="auto">
            <a:xfrm>
              <a:off x="6567533" y="1806099"/>
              <a:ext cx="143069"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6" y="0"/>
                    <a:pt x="27" y="0"/>
                  </a:cubicBezTo>
                  <a:cubicBezTo>
                    <a:pt x="18" y="0"/>
                    <a:pt x="11" y="7"/>
                    <a:pt x="11" y="16"/>
                  </a:cubicBezTo>
                  <a:cubicBezTo>
                    <a:pt x="11" y="132"/>
                    <a:pt x="11" y="132"/>
                    <a:pt x="11" y="132"/>
                  </a:cubicBezTo>
                  <a:cubicBezTo>
                    <a:pt x="5" y="137"/>
                    <a:pt x="0" y="145"/>
                    <a:pt x="0" y="153"/>
                  </a:cubicBezTo>
                  <a:cubicBezTo>
                    <a:pt x="0" y="168"/>
                    <a:pt x="12" y="180"/>
                    <a:pt x="27" y="180"/>
                  </a:cubicBezTo>
                  <a:cubicBezTo>
                    <a:pt x="42"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graphicFrame>
        <p:nvGraphicFramePr>
          <p:cNvPr id="39" name="表格 38"/>
          <p:cNvGraphicFramePr>
            <a:graphicFrameLocks noGrp="1"/>
          </p:cNvGraphicFramePr>
          <p:nvPr/>
        </p:nvGraphicFramePr>
        <p:xfrm>
          <a:off x="2706203" y="1916999"/>
          <a:ext cx="6125638" cy="2930785"/>
        </p:xfrm>
        <a:graphic>
          <a:graphicData uri="http://schemas.openxmlformats.org/drawingml/2006/table">
            <a:tbl>
              <a:tblPr firstRow="1" bandRow="1">
                <a:tableStyleId>{5C22544A-7EE6-4342-B048-85BDC9FD1C3A}</a:tableStyleId>
              </a:tblPr>
              <a:tblGrid>
                <a:gridCol w="6125638">
                  <a:extLst>
                    <a:ext uri="{9D8B030D-6E8A-4147-A177-3AD203B41FA5}">
                      <a16:colId xmlns:a16="http://schemas.microsoft.com/office/drawing/2014/main" val="284983974"/>
                    </a:ext>
                  </a:extLst>
                </a:gridCol>
              </a:tblGrid>
              <a:tr h="586157">
                <a:tc>
                  <a:txBody>
                    <a:bodyPr/>
                    <a:lstStyle/>
                    <a:p>
                      <a:r>
                        <a:rPr lang="en-US" altLang="zh-CN" dirty="0">
                          <a:solidFill>
                            <a:srgbClr val="FFFFFF"/>
                          </a:solidFill>
                        </a:rPr>
                        <a:t>VVVVVVV BBBBBBB</a:t>
                      </a:r>
                      <a:endParaRPr lang="zh-CN" altLang="en-US" dirty="0">
                        <a:solidFill>
                          <a:srgbClr val="FFFFFF"/>
                        </a:solidFill>
                      </a:endParaRPr>
                    </a:p>
                  </a:txBody>
                  <a:tcPr marL="648000" anchor="ctr">
                    <a:lnL w="12700" cmpd="sng">
                      <a:noFill/>
                    </a:lnL>
                    <a:lnR w="12700" cmpd="sng">
                      <a:noFill/>
                    </a:lnR>
                    <a:lnT w="12700" cmpd="sng">
                      <a:noFill/>
                    </a:lnT>
                    <a:lnB w="38100" cmpd="sng">
                      <a:noFill/>
                    </a:lnB>
                  </a:tcPr>
                </a:tc>
                <a:extLst>
                  <a:ext uri="{0D108BD9-81ED-4DB2-BD59-A6C34878D82A}">
                    <a16:rowId xmlns:a16="http://schemas.microsoft.com/office/drawing/2014/main" val="2837812136"/>
                  </a:ext>
                </a:extLst>
              </a:tr>
              <a:tr h="586157">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altLang="zh-CN" sz="1400" dirty="0">
                          <a:solidFill>
                            <a:srgbClr val="FFFFFF"/>
                          </a:solidFill>
                        </a:rPr>
                        <a:t>Tex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endParaRPr lang="zh-CN" altLang="en-US" sz="1400" dirty="0">
                        <a:solidFill>
                          <a:srgbClr val="FFFFFF"/>
                        </a:solidFill>
                      </a:endParaRPr>
                    </a:p>
                  </a:txBody>
                  <a:tcPr marL="180000" marT="0" marB="0" anchor="ctr">
                    <a:lnL w="12700" cmpd="sng">
                      <a:noFill/>
                    </a:lnL>
                    <a:lnR w="12700" cmpd="sng">
                      <a:noFill/>
                    </a:lnR>
                    <a:lnT w="38100" cmpd="sng">
                      <a:noFill/>
                    </a:lnT>
                    <a:lnB w="9525" cap="flat" cmpd="sng" algn="ctr">
                      <a:solidFill>
                        <a:srgbClr val="D0D0CE"/>
                      </a:solidFill>
                      <a:prstDash val="solid"/>
                      <a:round/>
                      <a:headEnd type="none" w="med" len="med"/>
                      <a:tailEnd type="none" w="med" len="med"/>
                    </a:lnB>
                    <a:noFill/>
                  </a:tcPr>
                </a:tc>
                <a:extLst>
                  <a:ext uri="{0D108BD9-81ED-4DB2-BD59-A6C34878D82A}">
                    <a16:rowId xmlns:a16="http://schemas.microsoft.com/office/drawing/2014/main" val="3019137877"/>
                  </a:ext>
                </a:extLst>
              </a:tr>
              <a:tr h="586157">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altLang="zh-CN" sz="1400" dirty="0">
                          <a:solidFill>
                            <a:srgbClr val="FFFFFF"/>
                          </a:solidFill>
                        </a:rPr>
                        <a:t>Tex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endParaRPr lang="zh-CN" altLang="en-US" sz="1400" dirty="0">
                        <a:solidFill>
                          <a:srgbClr val="FFFFFF"/>
                        </a:solidFill>
                      </a:endParaRPr>
                    </a:p>
                  </a:txBody>
                  <a:tcPr marL="180000" marT="0" marB="0" anchor="ctr">
                    <a:lnL w="12700" cmpd="sng">
                      <a:noFill/>
                    </a:lnL>
                    <a:lnR w="12700" cmpd="sng">
                      <a:noFill/>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noFill/>
                  </a:tcPr>
                </a:tc>
                <a:extLst>
                  <a:ext uri="{0D108BD9-81ED-4DB2-BD59-A6C34878D82A}">
                    <a16:rowId xmlns:a16="http://schemas.microsoft.com/office/drawing/2014/main" val="230455538"/>
                  </a:ext>
                </a:extLst>
              </a:tr>
              <a:tr h="586157">
                <a:tc>
                  <a:txBody>
                    <a:bodyPr/>
                    <a:lstStyle/>
                    <a:p>
                      <a:r>
                        <a:rPr lang="en-US" altLang="zh-CN" sz="1400" dirty="0">
                          <a:solidFill>
                            <a:srgbClr val="FFFFFF"/>
                          </a:solidFill>
                        </a:rPr>
                        <a:t>Text tex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endParaRPr lang="zh-CN" altLang="en-US" sz="1400" dirty="0">
                        <a:solidFill>
                          <a:srgbClr val="FFFFFF"/>
                        </a:solidFill>
                      </a:endParaRPr>
                    </a:p>
                  </a:txBody>
                  <a:tcPr marL="180000" marT="0" marB="0" anchor="ctr">
                    <a:lnL w="12700" cmpd="sng">
                      <a:noFill/>
                    </a:lnL>
                    <a:lnR w="12700" cmpd="sng">
                      <a:noFill/>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noFill/>
                  </a:tcPr>
                </a:tc>
                <a:extLst>
                  <a:ext uri="{0D108BD9-81ED-4DB2-BD59-A6C34878D82A}">
                    <a16:rowId xmlns:a16="http://schemas.microsoft.com/office/drawing/2014/main" val="4047530641"/>
                  </a:ext>
                </a:extLst>
              </a:tr>
              <a:tr h="586157">
                <a:tc>
                  <a:txBody>
                    <a:bodyPr/>
                    <a:lstStyle/>
                    <a:p>
                      <a:r>
                        <a:rPr lang="en-US" altLang="zh-CN" sz="1400" dirty="0">
                          <a:solidFill>
                            <a:srgbClr val="FFFFFF"/>
                          </a:solidFill>
                        </a:rPr>
                        <a:t>T</a:t>
                      </a:r>
                      <a:r>
                        <a:rPr lang="en-US" altLang="zh-CN" sz="1400">
                          <a:solidFill>
                            <a:srgbClr val="FFFFFF"/>
                          </a:solidFill>
                        </a:rPr>
                        <a:t>ext </a:t>
                      </a:r>
                      <a:r>
                        <a:rPr lang="en-US" altLang="zh-CN" sz="1400" dirty="0">
                          <a:solidFill>
                            <a:srgbClr val="FFFFFF"/>
                          </a:solidFill>
                        </a:rPr>
                        <a:t>tex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tex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a:t>
                      </a:r>
                      <a:endParaRPr lang="zh-CN" altLang="en-US" sz="1400" dirty="0">
                        <a:solidFill>
                          <a:srgbClr val="FFFFFF"/>
                        </a:solidFill>
                      </a:endParaRPr>
                    </a:p>
                  </a:txBody>
                  <a:tcPr marL="180000" marT="0" marB="0" anchor="ctr">
                    <a:lnL w="12700" cmpd="sng">
                      <a:noFill/>
                    </a:lnL>
                    <a:lnR w="12700" cmpd="sng">
                      <a:noFill/>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noFill/>
                  </a:tcPr>
                </a:tc>
                <a:extLst>
                  <a:ext uri="{0D108BD9-81ED-4DB2-BD59-A6C34878D82A}">
                    <a16:rowId xmlns:a16="http://schemas.microsoft.com/office/drawing/2014/main" val="3803081089"/>
                  </a:ext>
                </a:extLst>
              </a:tr>
            </a:tbl>
          </a:graphicData>
        </a:graphic>
      </p:graphicFrame>
      <p:grpSp>
        <p:nvGrpSpPr>
          <p:cNvPr id="46" name="Group 437"/>
          <p:cNvGrpSpPr>
            <a:grpSpLocks noChangeAspect="1"/>
          </p:cNvGrpSpPr>
          <p:nvPr/>
        </p:nvGrpSpPr>
        <p:grpSpPr bwMode="auto">
          <a:xfrm>
            <a:off x="2885969" y="2029784"/>
            <a:ext cx="369676" cy="369676"/>
            <a:chOff x="3130" y="1561"/>
            <a:chExt cx="340" cy="340"/>
          </a:xfrm>
          <a:solidFill>
            <a:srgbClr val="FFFFFF"/>
          </a:solidFill>
        </p:grpSpPr>
        <p:sp>
          <p:nvSpPr>
            <p:cNvPr id="47" name="Freeform 438"/>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439"/>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440"/>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441"/>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442"/>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443"/>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444"/>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445"/>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446"/>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ustDataLst>
      <p:tags r:id="rId1"/>
    </p:custDataLst>
    <p:extLst>
      <p:ext uri="{BB962C8B-B14F-4D97-AF65-F5344CB8AC3E}">
        <p14:creationId xmlns:p14="http://schemas.microsoft.com/office/powerpoint/2010/main" val="1253921"/>
      </p:ext>
    </p:extLst>
  </p:cSld>
  <p:clrMapOvr>
    <a:masterClrMapping/>
  </p:clrMapOvr>
  <p:transition>
    <p:fade/>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ight Triangle 16">
            <a:extLst>
              <a:ext uri="{FF2B5EF4-FFF2-40B4-BE49-F238E27FC236}">
                <a16:creationId xmlns:a16="http://schemas.microsoft.com/office/drawing/2014/main" id="{E929681B-63DD-B94F-BF11-9022F9F9F01E}"/>
              </a:ext>
            </a:extLst>
          </p:cNvPr>
          <p:cNvSpPr/>
          <p:nvPr/>
        </p:nvSpPr>
        <p:spPr>
          <a:xfrm flipH="1">
            <a:off x="2139950" y="1507332"/>
            <a:ext cx="1373980" cy="931069"/>
          </a:xfrm>
          <a:prstGeom prst="rtTriangle">
            <a:avLst/>
          </a:prstGeom>
          <a:solidFill>
            <a:schemeClr val="tx1">
              <a:lumMod val="40000"/>
              <a:lumOff val="6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Rectangle 17">
            <a:extLst>
              <a:ext uri="{FF2B5EF4-FFF2-40B4-BE49-F238E27FC236}">
                <a16:creationId xmlns:a16="http://schemas.microsoft.com/office/drawing/2014/main" id="{BE1E230A-E8D7-1443-BBB7-9E9EF226C498}"/>
              </a:ext>
            </a:extLst>
          </p:cNvPr>
          <p:cNvSpPr/>
          <p:nvPr/>
        </p:nvSpPr>
        <p:spPr>
          <a:xfrm>
            <a:off x="3514724" y="1507331"/>
            <a:ext cx="4067176" cy="2759869"/>
          </a:xfrm>
          <a:prstGeom prst="rect">
            <a:avLst/>
          </a:prstGeom>
          <a:solidFill>
            <a:schemeClr val="tx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Freeform 18">
            <a:extLst>
              <a:ext uri="{FF2B5EF4-FFF2-40B4-BE49-F238E27FC236}">
                <a16:creationId xmlns:a16="http://schemas.microsoft.com/office/drawing/2014/main" id="{85627D56-969F-FF4F-9882-BF3C50FCDEC5}"/>
              </a:ext>
            </a:extLst>
          </p:cNvPr>
          <p:cNvSpPr/>
          <p:nvPr/>
        </p:nvSpPr>
        <p:spPr>
          <a:xfrm>
            <a:off x="3514724" y="4267200"/>
            <a:ext cx="1540670" cy="564358"/>
          </a:xfrm>
          <a:custGeom>
            <a:avLst/>
            <a:gdLst>
              <a:gd name="connsiteX0" fmla="*/ 0 w 1485900"/>
              <a:gd name="connsiteY0" fmla="*/ 0 h 550069"/>
              <a:gd name="connsiteX1" fmla="*/ 1485900 w 1485900"/>
              <a:gd name="connsiteY1" fmla="*/ 0 h 550069"/>
              <a:gd name="connsiteX2" fmla="*/ 1092994 w 1485900"/>
              <a:gd name="connsiteY2" fmla="*/ 550069 h 550069"/>
              <a:gd name="connsiteX3" fmla="*/ 0 w 1485900"/>
              <a:gd name="connsiteY3" fmla="*/ 0 h 550069"/>
            </a:gdLst>
            <a:ahLst/>
            <a:cxnLst>
              <a:cxn ang="0">
                <a:pos x="connsiteX0" y="connsiteY0"/>
              </a:cxn>
              <a:cxn ang="0">
                <a:pos x="connsiteX1" y="connsiteY1"/>
              </a:cxn>
              <a:cxn ang="0">
                <a:pos x="connsiteX2" y="connsiteY2"/>
              </a:cxn>
              <a:cxn ang="0">
                <a:pos x="connsiteX3" y="connsiteY3"/>
              </a:cxn>
            </a:cxnLst>
            <a:rect l="l" t="t" r="r" b="b"/>
            <a:pathLst>
              <a:path w="1485900" h="550069">
                <a:moveTo>
                  <a:pt x="0" y="0"/>
                </a:moveTo>
                <a:lnTo>
                  <a:pt x="1485900" y="0"/>
                </a:lnTo>
                <a:lnTo>
                  <a:pt x="1092994" y="550069"/>
                </a:lnTo>
                <a:lnTo>
                  <a:pt x="0" y="0"/>
                </a:lnTo>
                <a:close/>
              </a:path>
            </a:pathLst>
          </a:custGeom>
          <a:solidFill>
            <a:schemeClr val="tx1">
              <a:lumMod val="40000"/>
              <a:lumOff val="6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Freeform 19">
            <a:extLst>
              <a:ext uri="{FF2B5EF4-FFF2-40B4-BE49-F238E27FC236}">
                <a16:creationId xmlns:a16="http://schemas.microsoft.com/office/drawing/2014/main" id="{37FD3A7A-73F7-D44E-9CC0-DC5C728ADE58}"/>
              </a:ext>
            </a:extLst>
          </p:cNvPr>
          <p:cNvSpPr/>
          <p:nvPr/>
        </p:nvSpPr>
        <p:spPr>
          <a:xfrm>
            <a:off x="4645820" y="3841433"/>
            <a:ext cx="762000" cy="990126"/>
          </a:xfrm>
          <a:custGeom>
            <a:avLst/>
            <a:gdLst>
              <a:gd name="connsiteX0" fmla="*/ 695325 w 762000"/>
              <a:gd name="connsiteY0" fmla="*/ 0 h 966787"/>
              <a:gd name="connsiteX1" fmla="*/ 762000 w 762000"/>
              <a:gd name="connsiteY1" fmla="*/ 904875 h 966787"/>
              <a:gd name="connsiteX2" fmla="*/ 0 w 762000"/>
              <a:gd name="connsiteY2" fmla="*/ 966787 h 966787"/>
              <a:gd name="connsiteX3" fmla="*/ 695325 w 762000"/>
              <a:gd name="connsiteY3" fmla="*/ 0 h 966787"/>
            </a:gdLst>
            <a:ahLst/>
            <a:cxnLst>
              <a:cxn ang="0">
                <a:pos x="connsiteX0" y="connsiteY0"/>
              </a:cxn>
              <a:cxn ang="0">
                <a:pos x="connsiteX1" y="connsiteY1"/>
              </a:cxn>
              <a:cxn ang="0">
                <a:pos x="connsiteX2" y="connsiteY2"/>
              </a:cxn>
              <a:cxn ang="0">
                <a:pos x="connsiteX3" y="connsiteY3"/>
              </a:cxn>
            </a:cxnLst>
            <a:rect l="l" t="t" r="r" b="b"/>
            <a:pathLst>
              <a:path w="762000" h="966787">
                <a:moveTo>
                  <a:pt x="695325" y="0"/>
                </a:moveTo>
                <a:lnTo>
                  <a:pt x="762000" y="904875"/>
                </a:lnTo>
                <a:lnTo>
                  <a:pt x="0" y="966787"/>
                </a:lnTo>
                <a:lnTo>
                  <a:pt x="695325" y="0"/>
                </a:lnTo>
                <a:close/>
              </a:path>
            </a:pathLst>
          </a:custGeom>
          <a:solidFill>
            <a:schemeClr val="tx1">
              <a:lumMod val="20000"/>
              <a:lumOff val="8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 name="Parallelogram 20">
            <a:extLst>
              <a:ext uri="{FF2B5EF4-FFF2-40B4-BE49-F238E27FC236}">
                <a16:creationId xmlns:a16="http://schemas.microsoft.com/office/drawing/2014/main" id="{DF911338-A745-2547-91CA-206689D0F357}"/>
              </a:ext>
            </a:extLst>
          </p:cNvPr>
          <p:cNvSpPr/>
          <p:nvPr/>
        </p:nvSpPr>
        <p:spPr>
          <a:xfrm flipH="1">
            <a:off x="5343523" y="3841433"/>
            <a:ext cx="4244977" cy="2471737"/>
          </a:xfrm>
          <a:prstGeom prst="parallelogram">
            <a:avLst>
              <a:gd name="adj" fmla="val 7428"/>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2" name="Freeform 31">
            <a:extLst>
              <a:ext uri="{FF2B5EF4-FFF2-40B4-BE49-F238E27FC236}">
                <a16:creationId xmlns:a16="http://schemas.microsoft.com/office/drawing/2014/main" id="{A164A55F-08E8-7742-BC59-997524D3D181}"/>
              </a:ext>
            </a:extLst>
          </p:cNvPr>
          <p:cNvSpPr/>
          <p:nvPr/>
        </p:nvSpPr>
        <p:spPr>
          <a:xfrm>
            <a:off x="5593080" y="5795009"/>
            <a:ext cx="4023360" cy="518160"/>
          </a:xfrm>
          <a:custGeom>
            <a:avLst/>
            <a:gdLst>
              <a:gd name="connsiteX0" fmla="*/ 220980 w 4023360"/>
              <a:gd name="connsiteY0" fmla="*/ 45720 h 518160"/>
              <a:gd name="connsiteX1" fmla="*/ 0 w 4023360"/>
              <a:gd name="connsiteY1" fmla="*/ 518160 h 518160"/>
              <a:gd name="connsiteX2" fmla="*/ 4023360 w 4023360"/>
              <a:gd name="connsiteY2" fmla="*/ 518160 h 518160"/>
              <a:gd name="connsiteX3" fmla="*/ 3977640 w 4023360"/>
              <a:gd name="connsiteY3" fmla="*/ 0 h 518160"/>
              <a:gd name="connsiteX4" fmla="*/ 220980 w 4023360"/>
              <a:gd name="connsiteY4" fmla="*/ 45720 h 51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0" h="518160">
                <a:moveTo>
                  <a:pt x="220980" y="45720"/>
                </a:moveTo>
                <a:lnTo>
                  <a:pt x="0" y="518160"/>
                </a:lnTo>
                <a:lnTo>
                  <a:pt x="4023360" y="518160"/>
                </a:lnTo>
                <a:lnTo>
                  <a:pt x="3977640" y="0"/>
                </a:lnTo>
                <a:lnTo>
                  <a:pt x="220980" y="45720"/>
                </a:lnTo>
                <a:close/>
              </a:path>
            </a:pathLst>
          </a:cu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3" name="Rectangle 32">
            <a:extLst>
              <a:ext uri="{FF2B5EF4-FFF2-40B4-BE49-F238E27FC236}">
                <a16:creationId xmlns:a16="http://schemas.microsoft.com/office/drawing/2014/main" id="{185F7F00-9718-3745-9AA6-7AC3FF52DC37}"/>
              </a:ext>
            </a:extLst>
          </p:cNvPr>
          <p:cNvSpPr/>
          <p:nvPr/>
        </p:nvSpPr>
        <p:spPr>
          <a:xfrm>
            <a:off x="3751302" y="2517932"/>
            <a:ext cx="3654387" cy="738664"/>
          </a:xfrm>
          <a:prstGeom prst="rect">
            <a:avLst/>
          </a:prstGeom>
        </p:spPr>
        <p:txBody>
          <a:bodyPr wrap="square" lIns="0" tIns="0" rIns="0" bIns="0">
            <a:spAutoFit/>
          </a:bodyPr>
          <a:lstStyle/>
          <a:p>
            <a:r>
              <a:rPr lang="da-DK" sz="1600" b="1" dirty="0">
                <a:solidFill>
                  <a:prstClr val="white"/>
                </a:solidFill>
                <a:cs typeface="Arial"/>
              </a:rPr>
              <a:t>Lorem ipsum dolor sit ameLorem ipsum dolor sit ameLorem ipsum dolor sit ameLorem ipsum dolor sit ame</a:t>
            </a:r>
            <a:endParaRPr lang="en-US" sz="1600" b="1" dirty="0">
              <a:solidFill>
                <a:prstClr val="white"/>
              </a:solidFill>
              <a:cs typeface="Arial"/>
            </a:endParaRPr>
          </a:p>
        </p:txBody>
      </p:sp>
      <p:sp>
        <p:nvSpPr>
          <p:cNvPr id="34" name="Rectangle 33">
            <a:extLst>
              <a:ext uri="{FF2B5EF4-FFF2-40B4-BE49-F238E27FC236}">
                <a16:creationId xmlns:a16="http://schemas.microsoft.com/office/drawing/2014/main" id="{007C6D2A-BA16-2A4F-8032-FEEF4C62F6D0}"/>
              </a:ext>
            </a:extLst>
          </p:cNvPr>
          <p:cNvSpPr/>
          <p:nvPr/>
        </p:nvSpPr>
        <p:spPr>
          <a:xfrm>
            <a:off x="5637210" y="4124325"/>
            <a:ext cx="3657600" cy="1154162"/>
          </a:xfrm>
          <a:prstGeom prst="rect">
            <a:avLst/>
          </a:prstGeom>
        </p:spPr>
        <p:txBody>
          <a:bodyPr wrap="square" lIns="0" tIns="0" rIns="0" bIns="0">
            <a:spAutoFit/>
          </a:bodyPr>
          <a:lstStyle/>
          <a:p>
            <a:pPr marL="0" lvl="1">
              <a:spcBef>
                <a:spcPts val="600"/>
              </a:spcBef>
              <a:buClr>
                <a:srgbClr val="000000"/>
              </a:buClr>
            </a:pPr>
            <a:r>
              <a:rPr lang="da-DK" sz="1400" b="1" dirty="0">
                <a:solidFill>
                  <a:prstClr val="white"/>
                </a:solidFill>
                <a:cs typeface="Arial"/>
              </a:rPr>
              <a:t>Lorem ipsum dolor sit ame</a:t>
            </a:r>
            <a:r>
              <a:rPr lang="en-US" sz="1400" b="1" dirty="0">
                <a:solidFill>
                  <a:prstClr val="white"/>
                </a:solidFill>
                <a:cs typeface="Arial"/>
              </a:rPr>
              <a:t>:</a:t>
            </a:r>
          </a:p>
          <a:p>
            <a:pPr marL="0" lvl="1">
              <a:spcBef>
                <a:spcPts val="600"/>
              </a:spcBef>
              <a:buClr>
                <a:srgbClr val="000000"/>
              </a:buClr>
            </a:pPr>
            <a:r>
              <a:rPr lang="da-DK" sz="1400" dirty="0">
                <a:solidFill>
                  <a:prstClr val="white"/>
                </a:solidFill>
                <a:cs typeface="Arial"/>
              </a:rPr>
              <a:t>Lorem ipsum dolor sit ameLorem ipsum dolor sit ameLorem ipsum dolor sit ameLorem ipsum dolor sit ameLorem ipsum dolor sit ameLorem ipsum dolor sit ame</a:t>
            </a:r>
            <a:r>
              <a:rPr lang="en-US" sz="1400" dirty="0">
                <a:solidFill>
                  <a:prstClr val="white"/>
                </a:solidFill>
                <a:cs typeface="Arial"/>
              </a:rPr>
              <a:t>.</a:t>
            </a:r>
          </a:p>
        </p:txBody>
      </p:sp>
      <p:sp>
        <p:nvSpPr>
          <p:cNvPr id="35" name="Oval 34">
            <a:extLst>
              <a:ext uri="{FF2B5EF4-FFF2-40B4-BE49-F238E27FC236}">
                <a16:creationId xmlns:a16="http://schemas.microsoft.com/office/drawing/2014/main" id="{6A027B06-E51D-4044-A32B-ED6F8608909C}"/>
              </a:ext>
            </a:extLst>
          </p:cNvPr>
          <p:cNvSpPr/>
          <p:nvPr/>
        </p:nvSpPr>
        <p:spPr>
          <a:xfrm>
            <a:off x="5160002" y="1595337"/>
            <a:ext cx="776623" cy="776623"/>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 name="Freeform 81">
            <a:extLst>
              <a:ext uri="{FF2B5EF4-FFF2-40B4-BE49-F238E27FC236}">
                <a16:creationId xmlns:a16="http://schemas.microsoft.com/office/drawing/2014/main" id="{CAA88D9B-A544-1E45-930E-4E33A0556757}"/>
              </a:ext>
            </a:extLst>
          </p:cNvPr>
          <p:cNvSpPr>
            <a:spLocks noChangeAspect="1" noEditPoints="1"/>
          </p:cNvSpPr>
          <p:nvPr/>
        </p:nvSpPr>
        <p:spPr bwMode="auto">
          <a:xfrm>
            <a:off x="5313221" y="1740761"/>
            <a:ext cx="470182" cy="485775"/>
          </a:xfrm>
          <a:custGeom>
            <a:avLst/>
            <a:gdLst>
              <a:gd name="T0" fmla="*/ 396 w 636"/>
              <a:gd name="T1" fmla="*/ 246 h 661"/>
              <a:gd name="T2" fmla="*/ 342 w 636"/>
              <a:gd name="T3" fmla="*/ 299 h 661"/>
              <a:gd name="T4" fmla="*/ 376 w 636"/>
              <a:gd name="T5" fmla="*/ 370 h 661"/>
              <a:gd name="T6" fmla="*/ 186 w 636"/>
              <a:gd name="T7" fmla="*/ 559 h 661"/>
              <a:gd name="T8" fmla="*/ 143 w 636"/>
              <a:gd name="T9" fmla="*/ 585 h 661"/>
              <a:gd name="T10" fmla="*/ 110 w 636"/>
              <a:gd name="T11" fmla="*/ 566 h 661"/>
              <a:gd name="T12" fmla="*/ 89 w 636"/>
              <a:gd name="T13" fmla="*/ 544 h 661"/>
              <a:gd name="T14" fmla="*/ 80 w 636"/>
              <a:gd name="T15" fmla="*/ 497 h 661"/>
              <a:gd name="T16" fmla="*/ 193 w 636"/>
              <a:gd name="T17" fmla="*/ 341 h 661"/>
              <a:gd name="T18" fmla="*/ 24 w 636"/>
              <a:gd name="T19" fmla="*/ 446 h 661"/>
              <a:gd name="T20" fmla="*/ 0 w 636"/>
              <a:gd name="T21" fmla="*/ 512 h 661"/>
              <a:gd name="T22" fmla="*/ 59 w 636"/>
              <a:gd name="T23" fmla="*/ 622 h 661"/>
              <a:gd name="T24" fmla="*/ 143 w 636"/>
              <a:gd name="T25" fmla="*/ 661 h 661"/>
              <a:gd name="T26" fmla="*/ 234 w 636"/>
              <a:gd name="T27" fmla="*/ 617 h 661"/>
              <a:gd name="T28" fmla="*/ 409 w 636"/>
              <a:gd name="T29" fmla="*/ 466 h 661"/>
              <a:gd name="T30" fmla="*/ 451 w 636"/>
              <a:gd name="T31" fmla="*/ 370 h 661"/>
              <a:gd name="T32" fmla="*/ 396 w 636"/>
              <a:gd name="T33" fmla="*/ 246 h 661"/>
              <a:gd name="T34" fmla="*/ 604 w 636"/>
              <a:gd name="T35" fmla="*/ 60 h 661"/>
              <a:gd name="T36" fmla="*/ 499 w 636"/>
              <a:gd name="T37" fmla="*/ 0 h 661"/>
              <a:gd name="T38" fmla="*/ 412 w 636"/>
              <a:gd name="T39" fmla="*/ 43 h 661"/>
              <a:gd name="T40" fmla="*/ 255 w 636"/>
              <a:gd name="T41" fmla="*/ 188 h 661"/>
              <a:gd name="T42" fmla="*/ 213 w 636"/>
              <a:gd name="T43" fmla="*/ 282 h 661"/>
              <a:gd name="T44" fmla="*/ 270 w 636"/>
              <a:gd name="T45" fmla="*/ 389 h 661"/>
              <a:gd name="T46" fmla="*/ 323 w 636"/>
              <a:gd name="T47" fmla="*/ 381 h 661"/>
              <a:gd name="T48" fmla="*/ 315 w 636"/>
              <a:gd name="T49" fmla="*/ 328 h 661"/>
              <a:gd name="T50" fmla="*/ 300 w 636"/>
              <a:gd name="T51" fmla="*/ 312 h 661"/>
              <a:gd name="T52" fmla="*/ 309 w 636"/>
              <a:gd name="T53" fmla="*/ 241 h 661"/>
              <a:gd name="T54" fmla="*/ 482 w 636"/>
              <a:gd name="T55" fmla="*/ 82 h 661"/>
              <a:gd name="T56" fmla="*/ 526 w 636"/>
              <a:gd name="T57" fmla="*/ 89 h 661"/>
              <a:gd name="T58" fmla="*/ 530 w 636"/>
              <a:gd name="T59" fmla="*/ 92 h 661"/>
              <a:gd name="T60" fmla="*/ 561 w 636"/>
              <a:gd name="T61" fmla="*/ 138 h 661"/>
              <a:gd name="T62" fmla="*/ 458 w 636"/>
              <a:gd name="T63" fmla="*/ 248 h 661"/>
              <a:gd name="T64" fmla="*/ 511 w 636"/>
              <a:gd name="T65" fmla="*/ 301 h 661"/>
              <a:gd name="T66" fmla="*/ 616 w 636"/>
              <a:gd name="T67" fmla="*/ 196 h 661"/>
              <a:gd name="T68" fmla="*/ 604 w 636"/>
              <a:gd name="T69" fmla="*/ 6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6" h="661">
                <a:moveTo>
                  <a:pt x="396" y="246"/>
                </a:moveTo>
                <a:lnTo>
                  <a:pt x="396" y="246"/>
                </a:lnTo>
                <a:cubicBezTo>
                  <a:pt x="381" y="231"/>
                  <a:pt x="357" y="231"/>
                  <a:pt x="342" y="246"/>
                </a:cubicBezTo>
                <a:cubicBezTo>
                  <a:pt x="328" y="261"/>
                  <a:pt x="328" y="285"/>
                  <a:pt x="342" y="299"/>
                </a:cubicBezTo>
                <a:cubicBezTo>
                  <a:pt x="343" y="301"/>
                  <a:pt x="353" y="311"/>
                  <a:pt x="361" y="324"/>
                </a:cubicBezTo>
                <a:cubicBezTo>
                  <a:pt x="369" y="338"/>
                  <a:pt x="376" y="356"/>
                  <a:pt x="376" y="370"/>
                </a:cubicBezTo>
                <a:cubicBezTo>
                  <a:pt x="375" y="383"/>
                  <a:pt x="372" y="395"/>
                  <a:pt x="357" y="411"/>
                </a:cubicBezTo>
                <a:lnTo>
                  <a:pt x="186" y="559"/>
                </a:lnTo>
                <a:cubicBezTo>
                  <a:pt x="178" y="566"/>
                  <a:pt x="172" y="572"/>
                  <a:pt x="164" y="577"/>
                </a:cubicBezTo>
                <a:cubicBezTo>
                  <a:pt x="156" y="582"/>
                  <a:pt x="149" y="585"/>
                  <a:pt x="143" y="585"/>
                </a:cubicBezTo>
                <a:cubicBezTo>
                  <a:pt x="137" y="585"/>
                  <a:pt x="128" y="584"/>
                  <a:pt x="111" y="567"/>
                </a:cubicBezTo>
                <a:lnTo>
                  <a:pt x="110" y="566"/>
                </a:lnTo>
                <a:lnTo>
                  <a:pt x="108" y="564"/>
                </a:lnTo>
                <a:cubicBezTo>
                  <a:pt x="107" y="563"/>
                  <a:pt x="97" y="555"/>
                  <a:pt x="89" y="544"/>
                </a:cubicBezTo>
                <a:cubicBezTo>
                  <a:pt x="80" y="533"/>
                  <a:pt x="75" y="520"/>
                  <a:pt x="75" y="512"/>
                </a:cubicBezTo>
                <a:cubicBezTo>
                  <a:pt x="75" y="507"/>
                  <a:pt x="76" y="504"/>
                  <a:pt x="80" y="497"/>
                </a:cubicBezTo>
                <a:lnTo>
                  <a:pt x="191" y="395"/>
                </a:lnTo>
                <a:cubicBezTo>
                  <a:pt x="206" y="380"/>
                  <a:pt x="207" y="356"/>
                  <a:pt x="193" y="341"/>
                </a:cubicBezTo>
                <a:cubicBezTo>
                  <a:pt x="178" y="326"/>
                  <a:pt x="155" y="325"/>
                  <a:pt x="139" y="339"/>
                </a:cubicBezTo>
                <a:lnTo>
                  <a:pt x="24" y="446"/>
                </a:lnTo>
                <a:lnTo>
                  <a:pt x="22" y="448"/>
                </a:lnTo>
                <a:cubicBezTo>
                  <a:pt x="7" y="468"/>
                  <a:pt x="0" y="491"/>
                  <a:pt x="0" y="512"/>
                </a:cubicBezTo>
                <a:cubicBezTo>
                  <a:pt x="0" y="548"/>
                  <a:pt x="17" y="575"/>
                  <a:pt x="31" y="593"/>
                </a:cubicBezTo>
                <a:cubicBezTo>
                  <a:pt x="43" y="608"/>
                  <a:pt x="54" y="618"/>
                  <a:pt x="59" y="622"/>
                </a:cubicBezTo>
                <a:cubicBezTo>
                  <a:pt x="84" y="647"/>
                  <a:pt x="114" y="661"/>
                  <a:pt x="142" y="661"/>
                </a:cubicBezTo>
                <a:lnTo>
                  <a:pt x="143" y="661"/>
                </a:lnTo>
                <a:cubicBezTo>
                  <a:pt x="169" y="660"/>
                  <a:pt x="191" y="650"/>
                  <a:pt x="206" y="640"/>
                </a:cubicBezTo>
                <a:cubicBezTo>
                  <a:pt x="221" y="630"/>
                  <a:pt x="232" y="619"/>
                  <a:pt x="234" y="617"/>
                </a:cubicBezTo>
                <a:lnTo>
                  <a:pt x="234" y="617"/>
                </a:lnTo>
                <a:lnTo>
                  <a:pt x="409" y="466"/>
                </a:lnTo>
                <a:lnTo>
                  <a:pt x="409" y="465"/>
                </a:lnTo>
                <a:cubicBezTo>
                  <a:pt x="439" y="437"/>
                  <a:pt x="452" y="401"/>
                  <a:pt x="451" y="370"/>
                </a:cubicBezTo>
                <a:cubicBezTo>
                  <a:pt x="451" y="333"/>
                  <a:pt x="436" y="303"/>
                  <a:pt x="423" y="282"/>
                </a:cubicBezTo>
                <a:cubicBezTo>
                  <a:pt x="410" y="260"/>
                  <a:pt x="397" y="247"/>
                  <a:pt x="396" y="246"/>
                </a:cubicBezTo>
                <a:close/>
                <a:moveTo>
                  <a:pt x="604" y="60"/>
                </a:moveTo>
                <a:lnTo>
                  <a:pt x="604" y="60"/>
                </a:lnTo>
                <a:cubicBezTo>
                  <a:pt x="593" y="46"/>
                  <a:pt x="582" y="37"/>
                  <a:pt x="577" y="33"/>
                </a:cubicBezTo>
                <a:cubicBezTo>
                  <a:pt x="553" y="11"/>
                  <a:pt x="525" y="0"/>
                  <a:pt x="499" y="0"/>
                </a:cubicBezTo>
                <a:cubicBezTo>
                  <a:pt x="473" y="0"/>
                  <a:pt x="452" y="10"/>
                  <a:pt x="438" y="20"/>
                </a:cubicBezTo>
                <a:cubicBezTo>
                  <a:pt x="424" y="30"/>
                  <a:pt x="414" y="41"/>
                  <a:pt x="412" y="43"/>
                </a:cubicBezTo>
                <a:lnTo>
                  <a:pt x="411" y="43"/>
                </a:lnTo>
                <a:lnTo>
                  <a:pt x="255" y="188"/>
                </a:lnTo>
                <a:lnTo>
                  <a:pt x="254" y="189"/>
                </a:lnTo>
                <a:cubicBezTo>
                  <a:pt x="226" y="219"/>
                  <a:pt x="213" y="252"/>
                  <a:pt x="213" y="282"/>
                </a:cubicBezTo>
                <a:cubicBezTo>
                  <a:pt x="213" y="317"/>
                  <a:pt x="228" y="344"/>
                  <a:pt x="242" y="361"/>
                </a:cubicBezTo>
                <a:cubicBezTo>
                  <a:pt x="256" y="378"/>
                  <a:pt x="268" y="388"/>
                  <a:pt x="270" y="389"/>
                </a:cubicBezTo>
                <a:cubicBezTo>
                  <a:pt x="277" y="394"/>
                  <a:pt x="285" y="396"/>
                  <a:pt x="292" y="396"/>
                </a:cubicBezTo>
                <a:cubicBezTo>
                  <a:pt x="304" y="396"/>
                  <a:pt x="316" y="391"/>
                  <a:pt x="323" y="381"/>
                </a:cubicBezTo>
                <a:cubicBezTo>
                  <a:pt x="335" y="364"/>
                  <a:pt x="332" y="340"/>
                  <a:pt x="315" y="328"/>
                </a:cubicBezTo>
                <a:cubicBezTo>
                  <a:pt x="315" y="328"/>
                  <a:pt x="315" y="328"/>
                  <a:pt x="315" y="328"/>
                </a:cubicBezTo>
                <a:cubicBezTo>
                  <a:pt x="315" y="328"/>
                  <a:pt x="315" y="328"/>
                  <a:pt x="315" y="328"/>
                </a:cubicBezTo>
                <a:cubicBezTo>
                  <a:pt x="313" y="327"/>
                  <a:pt x="306" y="321"/>
                  <a:pt x="300" y="312"/>
                </a:cubicBezTo>
                <a:cubicBezTo>
                  <a:pt x="293" y="303"/>
                  <a:pt x="288" y="293"/>
                  <a:pt x="289" y="282"/>
                </a:cubicBezTo>
                <a:cubicBezTo>
                  <a:pt x="289" y="273"/>
                  <a:pt x="291" y="261"/>
                  <a:pt x="309" y="241"/>
                </a:cubicBezTo>
                <a:lnTo>
                  <a:pt x="462" y="99"/>
                </a:lnTo>
                <a:cubicBezTo>
                  <a:pt x="469" y="93"/>
                  <a:pt x="475" y="87"/>
                  <a:pt x="482" y="82"/>
                </a:cubicBezTo>
                <a:cubicBezTo>
                  <a:pt x="489" y="77"/>
                  <a:pt x="495" y="75"/>
                  <a:pt x="499" y="75"/>
                </a:cubicBezTo>
                <a:cubicBezTo>
                  <a:pt x="504" y="75"/>
                  <a:pt x="512" y="76"/>
                  <a:pt x="526" y="89"/>
                </a:cubicBezTo>
                <a:lnTo>
                  <a:pt x="528" y="91"/>
                </a:lnTo>
                <a:lnTo>
                  <a:pt x="530" y="92"/>
                </a:lnTo>
                <a:cubicBezTo>
                  <a:pt x="531" y="93"/>
                  <a:pt x="540" y="101"/>
                  <a:pt x="548" y="110"/>
                </a:cubicBezTo>
                <a:cubicBezTo>
                  <a:pt x="556" y="120"/>
                  <a:pt x="561" y="132"/>
                  <a:pt x="561" y="138"/>
                </a:cubicBezTo>
                <a:cubicBezTo>
                  <a:pt x="560" y="141"/>
                  <a:pt x="560" y="144"/>
                  <a:pt x="557" y="149"/>
                </a:cubicBezTo>
                <a:lnTo>
                  <a:pt x="458" y="248"/>
                </a:lnTo>
                <a:cubicBezTo>
                  <a:pt x="443" y="263"/>
                  <a:pt x="443" y="287"/>
                  <a:pt x="458" y="301"/>
                </a:cubicBezTo>
                <a:cubicBezTo>
                  <a:pt x="473" y="316"/>
                  <a:pt x="497" y="316"/>
                  <a:pt x="511" y="301"/>
                </a:cubicBezTo>
                <a:lnTo>
                  <a:pt x="615" y="198"/>
                </a:lnTo>
                <a:lnTo>
                  <a:pt x="616" y="196"/>
                </a:lnTo>
                <a:cubicBezTo>
                  <a:pt x="630" y="178"/>
                  <a:pt x="636" y="157"/>
                  <a:pt x="636" y="138"/>
                </a:cubicBezTo>
                <a:cubicBezTo>
                  <a:pt x="636" y="102"/>
                  <a:pt x="618" y="77"/>
                  <a:pt x="604" y="60"/>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Tree>
    <p:custDataLst>
      <p:tags r:id="rId1"/>
    </p:custDataLst>
    <p:extLst>
      <p:ext uri="{BB962C8B-B14F-4D97-AF65-F5344CB8AC3E}">
        <p14:creationId xmlns:p14="http://schemas.microsoft.com/office/powerpoint/2010/main" val="2180411316"/>
      </p:ext>
    </p:extLst>
  </p:cSld>
  <p:clrMapOvr>
    <a:masterClrMapping/>
  </p:clrMapOvr>
  <p:transition>
    <p:fade/>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text, weapon, gun, screenshot&#10;&#10;Description automatically generated">
            <a:extLst>
              <a:ext uri="{FF2B5EF4-FFF2-40B4-BE49-F238E27FC236}">
                <a16:creationId xmlns:a16="http://schemas.microsoft.com/office/drawing/2014/main" id="{121AAD75-7309-4D4C-A05C-4F5437389B20}"/>
              </a:ext>
            </a:extLst>
          </p:cNvPr>
          <p:cNvPicPr>
            <a:picLocks noChangeAspect="1"/>
          </p:cNvPicPr>
          <p:nvPr/>
        </p:nvPicPr>
        <p:blipFill>
          <a:blip r:embed="rId4"/>
          <a:stretch>
            <a:fillRect/>
          </a:stretch>
        </p:blipFill>
        <p:spPr>
          <a:xfrm>
            <a:off x="6316807" y="1075429"/>
            <a:ext cx="3800978" cy="5124395"/>
          </a:xfrm>
          <a:prstGeom prst="rect">
            <a:avLst/>
          </a:prstGeom>
        </p:spPr>
      </p:pic>
      <p:pic>
        <p:nvPicPr>
          <p:cNvPr id="3" name="Picture 2" descr="A picture containing text, weapon, gun, screenshot&#10;&#10;Description automatically generated">
            <a:extLst>
              <a:ext uri="{FF2B5EF4-FFF2-40B4-BE49-F238E27FC236}">
                <a16:creationId xmlns:a16="http://schemas.microsoft.com/office/drawing/2014/main" id="{B8415657-E4CF-F74C-A403-4CAB80487138}"/>
              </a:ext>
            </a:extLst>
          </p:cNvPr>
          <p:cNvPicPr>
            <a:picLocks noChangeAspect="1"/>
          </p:cNvPicPr>
          <p:nvPr/>
        </p:nvPicPr>
        <p:blipFill>
          <a:blip r:embed="rId4"/>
          <a:stretch>
            <a:fillRect/>
          </a:stretch>
        </p:blipFill>
        <p:spPr>
          <a:xfrm>
            <a:off x="2196220" y="1075429"/>
            <a:ext cx="3800978" cy="5124395"/>
          </a:xfrm>
          <a:prstGeom prst="rect">
            <a:avLst/>
          </a:prstGeom>
        </p:spPr>
      </p:pic>
      <p:sp>
        <p:nvSpPr>
          <p:cNvPr id="5" name="Freeform 4">
            <a:extLst>
              <a:ext uri="{FF2B5EF4-FFF2-40B4-BE49-F238E27FC236}">
                <a16:creationId xmlns:a16="http://schemas.microsoft.com/office/drawing/2014/main" id="{8AAA573E-8A19-9C44-808F-7F382AE02EB6}"/>
              </a:ext>
            </a:extLst>
          </p:cNvPr>
          <p:cNvSpPr/>
          <p:nvPr/>
        </p:nvSpPr>
        <p:spPr>
          <a:xfrm>
            <a:off x="2620297" y="2141086"/>
            <a:ext cx="2726619" cy="557284"/>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20000"/>
              <a:lumOff val="80000"/>
            </a:schemeClr>
          </a:solidFill>
          <a:ln>
            <a:noFill/>
          </a:ln>
        </p:spPr>
        <p:style>
          <a:lnRef idx="2">
            <a:schemeClr val="lt1">
              <a:hueOff val="0"/>
              <a:satOff val="0"/>
              <a:lumOff val="0"/>
              <a:alphaOff val="0"/>
            </a:schemeClr>
          </a:lnRef>
          <a:fillRef idx="1">
            <a:schemeClr val="accent2">
              <a:hueOff val="280315"/>
              <a:satOff val="-1924"/>
              <a:lumOff val="3868"/>
              <a:alphaOff val="0"/>
            </a:schemeClr>
          </a:fillRef>
          <a:effectRef idx="0">
            <a:schemeClr val="accent2">
              <a:hueOff val="280315"/>
              <a:satOff val="-1924"/>
              <a:lumOff val="3868"/>
              <a:alphaOff val="0"/>
            </a:schemeClr>
          </a:effectRef>
          <a:fontRef idx="minor">
            <a:schemeClr val="lt1"/>
          </a:fontRef>
        </p:style>
        <p:txBody>
          <a:bodyPr spcFirstLastPara="0" vert="horz" wrap="square" lIns="34547" tIns="29467" rIns="34547" bIns="29467" numCol="1" spcCol="1270" anchor="t" anchorCtr="0">
            <a:noAutofit/>
          </a:bodyPr>
          <a:lstStyle/>
          <a:p>
            <a:pPr lvl="0" algn="ctr" defTabSz="355600">
              <a:spcBef>
                <a:spcPct val="0"/>
              </a:spcBef>
            </a:pPr>
            <a:r>
              <a:rPr lang="en-US" sz="1050" b="1" kern="1200" dirty="0">
                <a:solidFill>
                  <a:schemeClr val="tx1"/>
                </a:solidFill>
              </a:rPr>
              <a:t>AAAAAAAAAAAA</a:t>
            </a:r>
          </a:p>
          <a:p>
            <a:pPr algn="ctr" defTabSz="355600">
              <a:spcBef>
                <a:spcPct val="0"/>
              </a:spcBef>
            </a:pPr>
            <a:r>
              <a:rPr lang="en-US" sz="1050" kern="1200" dirty="0">
                <a:solidFill>
                  <a:schemeClr val="tx1"/>
                </a:solidFill>
                <a:sym typeface="Wingdings" panose="05000000000000000000" pitchFamily="2" charset="2"/>
              </a:rPr>
              <a:t>Text text </a:t>
            </a:r>
            <a:r>
              <a:rPr lang="en-US" altLang="zh-CN" sz="1050" dirty="0">
                <a:solidFill>
                  <a:schemeClr val="tx1"/>
                </a:solidFill>
                <a:sym typeface="Wingdings" panose="05000000000000000000" pitchFamily="2" charset="2"/>
              </a:rPr>
              <a:t>text text text text text text text text</a:t>
            </a:r>
          </a:p>
          <a:p>
            <a:pPr algn="ctr" defTabSz="355600">
              <a:spcBef>
                <a:spcPct val="0"/>
              </a:spcBef>
            </a:pPr>
            <a:r>
              <a:rPr lang="en-US" altLang="zh-CN" sz="1050" dirty="0">
                <a:solidFill>
                  <a:schemeClr val="tx1"/>
                </a:solidFill>
                <a:sym typeface="Wingdings" panose="05000000000000000000" pitchFamily="2" charset="2"/>
              </a:rPr>
              <a:t>tex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endParaRPr lang="en-US" altLang="zh-CN" sz="1050" dirty="0">
              <a:solidFill>
                <a:schemeClr val="tx1"/>
              </a:solidFill>
            </a:endParaRPr>
          </a:p>
          <a:p>
            <a:pPr algn="ctr" defTabSz="355600">
              <a:spcBef>
                <a:spcPct val="0"/>
              </a:spcBef>
            </a:pPr>
            <a:endParaRPr lang="en-US" altLang="zh-CN" sz="1050" dirty="0"/>
          </a:p>
          <a:p>
            <a:pPr lvl="0" algn="ctr" defTabSz="355600">
              <a:spcBef>
                <a:spcPct val="0"/>
              </a:spcBef>
            </a:pPr>
            <a:endParaRPr lang="en-US" sz="1050" kern="1200" dirty="0"/>
          </a:p>
        </p:txBody>
      </p:sp>
      <p:sp>
        <p:nvSpPr>
          <p:cNvPr id="6" name="Freeform 5">
            <a:extLst>
              <a:ext uri="{FF2B5EF4-FFF2-40B4-BE49-F238E27FC236}">
                <a16:creationId xmlns:a16="http://schemas.microsoft.com/office/drawing/2014/main" id="{F6DDC413-A58C-C247-90DD-B3F12BAE9871}"/>
              </a:ext>
            </a:extLst>
          </p:cNvPr>
          <p:cNvSpPr/>
          <p:nvPr/>
        </p:nvSpPr>
        <p:spPr>
          <a:xfrm>
            <a:off x="2620297" y="2784649"/>
            <a:ext cx="2726619"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40000"/>
              <a:lumOff val="60000"/>
            </a:schemeClr>
          </a:solidFill>
          <a:ln>
            <a:noFill/>
          </a:ln>
        </p:spPr>
        <p:style>
          <a:lnRef idx="2">
            <a:schemeClr val="lt1">
              <a:hueOff val="0"/>
              <a:satOff val="0"/>
              <a:lumOff val="0"/>
              <a:alphaOff val="0"/>
            </a:schemeClr>
          </a:lnRef>
          <a:fillRef idx="1">
            <a:schemeClr val="accent2">
              <a:hueOff val="560630"/>
              <a:satOff val="-3848"/>
              <a:lumOff val="7737"/>
              <a:alphaOff val="0"/>
            </a:schemeClr>
          </a:fillRef>
          <a:effectRef idx="0">
            <a:schemeClr val="accent2">
              <a:hueOff val="560630"/>
              <a:satOff val="-3848"/>
              <a:lumOff val="7737"/>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solidFill>
                  <a:schemeClr val="tx1"/>
                </a:solidFill>
              </a:rPr>
              <a:t>AAAAAAAAAAAA</a:t>
            </a:r>
          </a:p>
          <a:p>
            <a:pPr algn="ctr" defTabSz="355600">
              <a:spcBef>
                <a:spcPct val="0"/>
              </a:spcBef>
            </a:pPr>
            <a:r>
              <a:rPr lang="en-US" altLang="zh-CN" sz="1050" dirty="0">
                <a:solidFill>
                  <a:schemeClr val="tx1"/>
                </a:solidFill>
                <a:sym typeface="Wingdings" panose="05000000000000000000" pitchFamily="2" charset="2"/>
              </a:rPr>
              <a:t>Tex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endParaRPr lang="en-US" altLang="zh-CN" sz="1050" dirty="0">
              <a:solidFill>
                <a:schemeClr val="tx1"/>
              </a:solidFill>
              <a:sym typeface="Wingdings" panose="05000000000000000000" pitchFamily="2" charset="2"/>
            </a:endParaRPr>
          </a:p>
        </p:txBody>
      </p:sp>
      <p:sp>
        <p:nvSpPr>
          <p:cNvPr id="7" name="Freeform 6">
            <a:extLst>
              <a:ext uri="{FF2B5EF4-FFF2-40B4-BE49-F238E27FC236}">
                <a16:creationId xmlns:a16="http://schemas.microsoft.com/office/drawing/2014/main" id="{9D017F09-F88E-FB4C-92BF-1D75BE51D48E}"/>
              </a:ext>
            </a:extLst>
          </p:cNvPr>
          <p:cNvSpPr/>
          <p:nvPr/>
        </p:nvSpPr>
        <p:spPr>
          <a:xfrm>
            <a:off x="2620297" y="3356669"/>
            <a:ext cx="2726619"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60000"/>
              <a:lumOff val="40000"/>
            </a:schemeClr>
          </a:solidFill>
          <a:ln>
            <a:noFill/>
          </a:ln>
        </p:spPr>
        <p:style>
          <a:lnRef idx="2">
            <a:schemeClr val="lt1">
              <a:hueOff val="0"/>
              <a:satOff val="0"/>
              <a:lumOff val="0"/>
              <a:alphaOff val="0"/>
            </a:schemeClr>
          </a:lnRef>
          <a:fillRef idx="1">
            <a:schemeClr val="accent2">
              <a:hueOff val="840944"/>
              <a:satOff val="-5773"/>
              <a:lumOff val="11605"/>
              <a:alphaOff val="0"/>
            </a:schemeClr>
          </a:fillRef>
          <a:effectRef idx="0">
            <a:schemeClr val="accent2">
              <a:hueOff val="840944"/>
              <a:satOff val="-5773"/>
              <a:lumOff val="11605"/>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sym typeface="Wingdings" panose="05000000000000000000" pitchFamily="2" charset="2"/>
            </a:endParaRPr>
          </a:p>
        </p:txBody>
      </p:sp>
      <p:sp>
        <p:nvSpPr>
          <p:cNvPr id="8" name="Freeform 7">
            <a:extLst>
              <a:ext uri="{FF2B5EF4-FFF2-40B4-BE49-F238E27FC236}">
                <a16:creationId xmlns:a16="http://schemas.microsoft.com/office/drawing/2014/main" id="{F575AD97-2823-0542-8852-521DBD7B12C4}"/>
              </a:ext>
            </a:extLst>
          </p:cNvPr>
          <p:cNvSpPr/>
          <p:nvPr/>
        </p:nvSpPr>
        <p:spPr>
          <a:xfrm>
            <a:off x="2620297" y="3928689"/>
            <a:ext cx="2726619"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75000"/>
            </a:schemeClr>
          </a:solidFill>
          <a:ln>
            <a:noFill/>
          </a:ln>
        </p:spPr>
        <p:style>
          <a:lnRef idx="2">
            <a:schemeClr val="lt1">
              <a:hueOff val="0"/>
              <a:satOff val="0"/>
              <a:lumOff val="0"/>
              <a:alphaOff val="0"/>
            </a:schemeClr>
          </a:lnRef>
          <a:fillRef idx="1">
            <a:schemeClr val="accent2">
              <a:hueOff val="1121259"/>
              <a:satOff val="-7697"/>
              <a:lumOff val="15473"/>
              <a:alphaOff val="0"/>
            </a:schemeClr>
          </a:fillRef>
          <a:effectRef idx="0">
            <a:schemeClr val="accent2">
              <a:hueOff val="1121259"/>
              <a:satOff val="-7697"/>
              <a:lumOff val="15473"/>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sym typeface="Wingdings" panose="05000000000000000000" pitchFamily="2" charset="2"/>
            </a:endParaRPr>
          </a:p>
        </p:txBody>
      </p:sp>
      <p:sp>
        <p:nvSpPr>
          <p:cNvPr id="9" name="Freeform 8">
            <a:extLst>
              <a:ext uri="{FF2B5EF4-FFF2-40B4-BE49-F238E27FC236}">
                <a16:creationId xmlns:a16="http://schemas.microsoft.com/office/drawing/2014/main" id="{A8F7BD6F-9975-5B46-8F4C-A89269F68587}"/>
              </a:ext>
            </a:extLst>
          </p:cNvPr>
          <p:cNvSpPr/>
          <p:nvPr/>
        </p:nvSpPr>
        <p:spPr>
          <a:xfrm>
            <a:off x="2620297" y="4500709"/>
            <a:ext cx="2726619"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50000"/>
            </a:schemeClr>
          </a:solidFill>
          <a:ln>
            <a:noFill/>
          </a:ln>
        </p:spPr>
        <p:style>
          <a:lnRef idx="2">
            <a:schemeClr val="lt1">
              <a:hueOff val="0"/>
              <a:satOff val="0"/>
              <a:lumOff val="0"/>
              <a:alphaOff val="0"/>
            </a:schemeClr>
          </a:lnRef>
          <a:fillRef idx="1">
            <a:schemeClr val="accent2">
              <a:hueOff val="1401574"/>
              <a:satOff val="-9621"/>
              <a:lumOff val="19342"/>
              <a:alphaOff val="0"/>
            </a:schemeClr>
          </a:fillRef>
          <a:effectRef idx="0">
            <a:schemeClr val="accent2">
              <a:hueOff val="1401574"/>
              <a:satOff val="-9621"/>
              <a:lumOff val="19342"/>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sym typeface="Wingdings" panose="05000000000000000000" pitchFamily="2" charset="2"/>
            </a:endParaRPr>
          </a:p>
        </p:txBody>
      </p:sp>
      <p:sp>
        <p:nvSpPr>
          <p:cNvPr id="10" name="矩形 31">
            <a:extLst>
              <a:ext uri="{FF2B5EF4-FFF2-40B4-BE49-F238E27FC236}">
                <a16:creationId xmlns:a16="http://schemas.microsoft.com/office/drawing/2014/main" id="{3243FF0D-38CB-5B42-84AA-9EE3F903E3E3}"/>
              </a:ext>
            </a:extLst>
          </p:cNvPr>
          <p:cNvSpPr/>
          <p:nvPr/>
        </p:nvSpPr>
        <p:spPr>
          <a:xfrm>
            <a:off x="2566230" y="1696413"/>
            <a:ext cx="1417376" cy="286232"/>
          </a:xfrm>
          <a:prstGeom prst="rect">
            <a:avLst/>
          </a:prstGeom>
        </p:spPr>
        <p:txBody>
          <a:bodyPr wrap="none">
            <a:spAutoFit/>
          </a:bodyPr>
          <a:lstStyle/>
          <a:p>
            <a:pPr lvl="0" defTabSz="889000">
              <a:lnSpc>
                <a:spcPct val="90000"/>
              </a:lnSpc>
              <a:spcBef>
                <a:spcPct val="0"/>
              </a:spcBef>
              <a:spcAft>
                <a:spcPct val="35000"/>
              </a:spcAft>
            </a:pPr>
            <a:r>
              <a:rPr lang="en-US" altLang="zh-CN" sz="1400" b="1" dirty="0">
                <a:solidFill>
                  <a:srgbClr val="00A3E0"/>
                </a:solidFill>
              </a:rPr>
              <a:t>XXXXX XXXXXXX</a:t>
            </a:r>
          </a:p>
        </p:txBody>
      </p:sp>
      <p:sp>
        <p:nvSpPr>
          <p:cNvPr id="11" name="Freeform 11">
            <a:extLst>
              <a:ext uri="{FF2B5EF4-FFF2-40B4-BE49-F238E27FC236}">
                <a16:creationId xmlns:a16="http://schemas.microsoft.com/office/drawing/2014/main" id="{53E1EDE0-B053-5A48-9822-E8C4F8A1EB92}"/>
              </a:ext>
            </a:extLst>
          </p:cNvPr>
          <p:cNvSpPr/>
          <p:nvPr/>
        </p:nvSpPr>
        <p:spPr>
          <a:xfrm>
            <a:off x="6837998" y="2111268"/>
            <a:ext cx="2757415" cy="557284"/>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1"/>
          </a:solidFill>
          <a:ln>
            <a:noFill/>
          </a:ln>
        </p:spPr>
        <p:style>
          <a:lnRef idx="2">
            <a:schemeClr val="lt1">
              <a:hueOff val="0"/>
              <a:satOff val="0"/>
              <a:lumOff val="0"/>
              <a:alphaOff val="0"/>
            </a:schemeClr>
          </a:lnRef>
          <a:fillRef idx="1">
            <a:schemeClr val="accent2">
              <a:hueOff val="280315"/>
              <a:satOff val="-1924"/>
              <a:lumOff val="3868"/>
              <a:alphaOff val="0"/>
            </a:schemeClr>
          </a:fillRef>
          <a:effectRef idx="0">
            <a:schemeClr val="accent2">
              <a:hueOff val="280315"/>
              <a:satOff val="-1924"/>
              <a:lumOff val="3868"/>
              <a:alphaOff val="0"/>
            </a:schemeClr>
          </a:effectRef>
          <a:fontRef idx="minor">
            <a:schemeClr val="lt1"/>
          </a:fontRef>
        </p:style>
        <p:txBody>
          <a:bodyPr spcFirstLastPara="0" vert="horz" wrap="square" lIns="34547" tIns="29467" rIns="34547" bIns="29467" numCol="1" spcCol="1270" anchor="t"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text text text text text text text text text</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p>
          <a:p>
            <a:pPr algn="ctr" defTabSz="355600">
              <a:spcBef>
                <a:spcPct val="0"/>
              </a:spcBef>
            </a:pPr>
            <a:endParaRPr lang="en-US" altLang="zh-CN" sz="1050" dirty="0"/>
          </a:p>
          <a:p>
            <a:pPr lvl="0" algn="ctr" defTabSz="355600">
              <a:spcBef>
                <a:spcPct val="0"/>
              </a:spcBef>
            </a:pPr>
            <a:endParaRPr lang="en-US" altLang="zh-CN" sz="1050" dirty="0"/>
          </a:p>
        </p:txBody>
      </p:sp>
      <p:sp>
        <p:nvSpPr>
          <p:cNvPr id="12" name="Freeform 12">
            <a:extLst>
              <a:ext uri="{FF2B5EF4-FFF2-40B4-BE49-F238E27FC236}">
                <a16:creationId xmlns:a16="http://schemas.microsoft.com/office/drawing/2014/main" id="{2BC97F27-11AD-D34E-84A9-3AE2B70BC13D}"/>
              </a:ext>
            </a:extLst>
          </p:cNvPr>
          <p:cNvSpPr/>
          <p:nvPr/>
        </p:nvSpPr>
        <p:spPr>
          <a:xfrm>
            <a:off x="6837998" y="2754831"/>
            <a:ext cx="2757415"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2"/>
          </a:solidFill>
          <a:ln>
            <a:noFill/>
          </a:ln>
        </p:spPr>
        <p:style>
          <a:lnRef idx="2">
            <a:schemeClr val="lt1">
              <a:hueOff val="0"/>
              <a:satOff val="0"/>
              <a:lumOff val="0"/>
              <a:alphaOff val="0"/>
            </a:schemeClr>
          </a:lnRef>
          <a:fillRef idx="1">
            <a:schemeClr val="accent2">
              <a:hueOff val="560630"/>
              <a:satOff val="-3848"/>
              <a:lumOff val="7737"/>
              <a:alphaOff val="0"/>
            </a:schemeClr>
          </a:fillRef>
          <a:effectRef idx="0">
            <a:schemeClr val="accent2">
              <a:hueOff val="560630"/>
              <a:satOff val="-3848"/>
              <a:lumOff val="7737"/>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sym typeface="Wingdings" panose="05000000000000000000" pitchFamily="2" charset="2"/>
            </a:endParaRPr>
          </a:p>
        </p:txBody>
      </p:sp>
      <p:sp>
        <p:nvSpPr>
          <p:cNvPr id="13" name="Freeform 13">
            <a:extLst>
              <a:ext uri="{FF2B5EF4-FFF2-40B4-BE49-F238E27FC236}">
                <a16:creationId xmlns:a16="http://schemas.microsoft.com/office/drawing/2014/main" id="{DAA43868-CA54-4B4A-B942-A14BC10F3EC0}"/>
              </a:ext>
            </a:extLst>
          </p:cNvPr>
          <p:cNvSpPr/>
          <p:nvPr/>
        </p:nvSpPr>
        <p:spPr>
          <a:xfrm>
            <a:off x="6837998" y="3326851"/>
            <a:ext cx="2757415"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3"/>
          </a:solidFill>
          <a:ln>
            <a:noFill/>
          </a:ln>
        </p:spPr>
        <p:style>
          <a:lnRef idx="2">
            <a:schemeClr val="lt1">
              <a:hueOff val="0"/>
              <a:satOff val="0"/>
              <a:lumOff val="0"/>
              <a:alphaOff val="0"/>
            </a:schemeClr>
          </a:lnRef>
          <a:fillRef idx="1">
            <a:schemeClr val="accent2">
              <a:hueOff val="840944"/>
              <a:satOff val="-5773"/>
              <a:lumOff val="11605"/>
              <a:alphaOff val="0"/>
            </a:schemeClr>
          </a:fillRef>
          <a:effectRef idx="0">
            <a:schemeClr val="accent2">
              <a:hueOff val="840944"/>
              <a:satOff val="-5773"/>
              <a:lumOff val="11605"/>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sym typeface="Wingdings" panose="05000000000000000000" pitchFamily="2" charset="2"/>
            </a:endParaRPr>
          </a:p>
        </p:txBody>
      </p:sp>
      <p:sp>
        <p:nvSpPr>
          <p:cNvPr id="15" name="矩形 31">
            <a:extLst>
              <a:ext uri="{FF2B5EF4-FFF2-40B4-BE49-F238E27FC236}">
                <a16:creationId xmlns:a16="http://schemas.microsoft.com/office/drawing/2014/main" id="{5DF895F7-0607-D04B-976E-03BADCD39033}"/>
              </a:ext>
            </a:extLst>
          </p:cNvPr>
          <p:cNvSpPr/>
          <p:nvPr/>
        </p:nvSpPr>
        <p:spPr>
          <a:xfrm>
            <a:off x="6753125" y="1696413"/>
            <a:ext cx="1417376" cy="286232"/>
          </a:xfrm>
          <a:prstGeom prst="rect">
            <a:avLst/>
          </a:prstGeom>
        </p:spPr>
        <p:txBody>
          <a:bodyPr wrap="none">
            <a:spAutoFit/>
          </a:bodyPr>
          <a:lstStyle/>
          <a:p>
            <a:pPr lvl="0" defTabSz="889000">
              <a:lnSpc>
                <a:spcPct val="90000"/>
              </a:lnSpc>
              <a:spcBef>
                <a:spcPct val="0"/>
              </a:spcBef>
              <a:spcAft>
                <a:spcPct val="35000"/>
              </a:spcAft>
            </a:pPr>
            <a:r>
              <a:rPr lang="en-US" altLang="zh-CN" sz="1400" b="1" dirty="0">
                <a:solidFill>
                  <a:schemeClr val="accent1"/>
                </a:solidFill>
              </a:rPr>
              <a:t>XXXXX XXXXXXX</a:t>
            </a:r>
          </a:p>
        </p:txBody>
      </p:sp>
    </p:spTree>
    <p:custDataLst>
      <p:tags r:id="rId1"/>
    </p:custDataLst>
    <p:extLst>
      <p:ext uri="{BB962C8B-B14F-4D97-AF65-F5344CB8AC3E}">
        <p14:creationId xmlns:p14="http://schemas.microsoft.com/office/powerpoint/2010/main" val="1248907013"/>
      </p:ext>
    </p:extLst>
  </p:cSld>
  <p:clrMapOvr>
    <a:masterClrMapping/>
  </p:clrMapOvr>
  <p:transition>
    <p:fade/>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picture containing whiteboard&#10;&#10;Description automatically generated">
            <a:extLst>
              <a:ext uri="{FF2B5EF4-FFF2-40B4-BE49-F238E27FC236}">
                <a16:creationId xmlns:a16="http://schemas.microsoft.com/office/drawing/2014/main" id="{F365B297-13A6-E145-8D44-994741163071}"/>
              </a:ext>
            </a:extLst>
          </p:cNvPr>
          <p:cNvPicPr>
            <a:picLocks noChangeAspect="1"/>
          </p:cNvPicPr>
          <p:nvPr/>
        </p:nvPicPr>
        <p:blipFill rotWithShape="1">
          <a:blip r:embed="rId4"/>
          <a:srcRect t="12489"/>
          <a:stretch/>
        </p:blipFill>
        <p:spPr>
          <a:xfrm>
            <a:off x="7048459" y="0"/>
            <a:ext cx="3743528" cy="6001474"/>
          </a:xfrm>
          <a:prstGeom prst="rect">
            <a:avLst/>
          </a:prstGeom>
        </p:spPr>
      </p:pic>
      <p:pic>
        <p:nvPicPr>
          <p:cNvPr id="26" name="Picture 25" descr="A picture containing shape&#10;&#10;Description automatically generated">
            <a:extLst>
              <a:ext uri="{FF2B5EF4-FFF2-40B4-BE49-F238E27FC236}">
                <a16:creationId xmlns:a16="http://schemas.microsoft.com/office/drawing/2014/main" id="{22F3909E-5C4C-BC43-B215-04BFE2CC5B88}"/>
              </a:ext>
            </a:extLst>
          </p:cNvPr>
          <p:cNvPicPr>
            <a:picLocks noChangeAspect="1"/>
          </p:cNvPicPr>
          <p:nvPr/>
        </p:nvPicPr>
        <p:blipFill rotWithShape="1">
          <a:blip r:embed="rId5"/>
          <a:srcRect t="12489"/>
          <a:stretch/>
        </p:blipFill>
        <p:spPr>
          <a:xfrm>
            <a:off x="1118362" y="0"/>
            <a:ext cx="5504026" cy="6001473"/>
          </a:xfrm>
          <a:prstGeom prst="rect">
            <a:avLst/>
          </a:prstGeom>
        </p:spPr>
      </p:pic>
      <p:sp>
        <p:nvSpPr>
          <p:cNvPr id="27" name="文本框 7">
            <a:extLst>
              <a:ext uri="{FF2B5EF4-FFF2-40B4-BE49-F238E27FC236}">
                <a16:creationId xmlns:a16="http://schemas.microsoft.com/office/drawing/2014/main" id="{41CEE187-BE00-7D42-8048-C6B07796BE99}"/>
              </a:ext>
            </a:extLst>
          </p:cNvPr>
          <p:cNvSpPr txBox="1">
            <a:spLocks noChangeArrowheads="1"/>
          </p:cNvSpPr>
          <p:nvPr/>
        </p:nvSpPr>
        <p:spPr bwMode="auto">
          <a:xfrm>
            <a:off x="1732228" y="2490634"/>
            <a:ext cx="1861985" cy="1711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85750" indent="-285750">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indent="0">
              <a:lnSpc>
                <a:spcPct val="150000"/>
              </a:lnSpc>
            </a:pPr>
            <a:r>
              <a:rPr lang="en-US" altLang="zh-CN" dirty="0">
                <a:latin typeface="+mn-lt"/>
                <a:ea typeface="微软雅黑" panose="020B0503020204020204" pitchFamily="34" charset="-122"/>
                <a:sym typeface="+mn-lt"/>
              </a:rPr>
              <a:t>INPUT YOUR TEXT</a:t>
            </a:r>
          </a:p>
          <a:p>
            <a:pPr marL="0" indent="0">
              <a:lnSpc>
                <a:spcPct val="150000"/>
              </a:lnSpc>
            </a:pPr>
            <a:r>
              <a:rPr lang="en-US" altLang="zh-CN" dirty="0">
                <a:latin typeface="+mn-lt"/>
                <a:ea typeface="微软雅黑" panose="020B0503020204020204" pitchFamily="34" charset="-122"/>
                <a:sym typeface="+mn-lt"/>
              </a:rPr>
              <a:t>INPUT YOUR TEXT</a:t>
            </a:r>
          </a:p>
          <a:p>
            <a:pPr marL="0" indent="0">
              <a:lnSpc>
                <a:spcPct val="150000"/>
              </a:lnSpc>
            </a:pPr>
            <a:r>
              <a:rPr lang="en-US" altLang="zh-CN" dirty="0">
                <a:latin typeface="+mn-lt"/>
                <a:ea typeface="微软雅黑" panose="020B0503020204020204" pitchFamily="34" charset="-122"/>
                <a:sym typeface="+mn-lt"/>
              </a:rPr>
              <a:t>INPUT YOUR TEXT</a:t>
            </a:r>
          </a:p>
          <a:p>
            <a:pPr marL="0" indent="0">
              <a:lnSpc>
                <a:spcPct val="150000"/>
              </a:lnSpc>
            </a:pPr>
            <a:r>
              <a:rPr lang="en-US" altLang="zh-CN" dirty="0">
                <a:latin typeface="+mn-lt"/>
                <a:ea typeface="微软雅黑" panose="020B0503020204020204" pitchFamily="34" charset="-122"/>
                <a:sym typeface="+mn-lt"/>
              </a:rPr>
              <a:t>INPUT YOUR TEXT</a:t>
            </a:r>
          </a:p>
        </p:txBody>
      </p:sp>
      <p:sp>
        <p:nvSpPr>
          <p:cNvPr id="28" name="文本框 7">
            <a:extLst>
              <a:ext uri="{FF2B5EF4-FFF2-40B4-BE49-F238E27FC236}">
                <a16:creationId xmlns:a16="http://schemas.microsoft.com/office/drawing/2014/main" id="{D33DEA4F-5FC8-B848-B6F7-C18E0CE01D5F}"/>
              </a:ext>
            </a:extLst>
          </p:cNvPr>
          <p:cNvSpPr txBox="1">
            <a:spLocks noChangeArrowheads="1"/>
          </p:cNvSpPr>
          <p:nvPr/>
        </p:nvSpPr>
        <p:spPr bwMode="auto">
          <a:xfrm>
            <a:off x="7577443" y="2039221"/>
            <a:ext cx="1676869" cy="1531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85750" indent="-285750">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indent="0">
              <a:lnSpc>
                <a:spcPct val="150000"/>
              </a:lnSpc>
            </a:pPr>
            <a:r>
              <a:rPr lang="en-US" altLang="zh-CN" sz="1600" dirty="0">
                <a:latin typeface="+mn-lt"/>
                <a:ea typeface="微软雅黑" panose="020B0503020204020204" pitchFamily="34" charset="-122"/>
                <a:sym typeface="+mn-lt"/>
              </a:rPr>
              <a:t>INPUT YOUR TEXT</a:t>
            </a:r>
          </a:p>
          <a:p>
            <a:pPr marL="0" indent="0">
              <a:lnSpc>
                <a:spcPct val="150000"/>
              </a:lnSpc>
            </a:pPr>
            <a:r>
              <a:rPr lang="en-US" altLang="zh-CN" sz="1600" dirty="0">
                <a:latin typeface="+mn-lt"/>
                <a:ea typeface="微软雅黑" panose="020B0503020204020204" pitchFamily="34" charset="-122"/>
                <a:sym typeface="+mn-lt"/>
              </a:rPr>
              <a:t>INPUT YOUR TEXT</a:t>
            </a:r>
          </a:p>
          <a:p>
            <a:pPr marL="0" indent="0">
              <a:lnSpc>
                <a:spcPct val="150000"/>
              </a:lnSpc>
            </a:pPr>
            <a:r>
              <a:rPr lang="en-US" altLang="zh-CN" sz="1600" dirty="0">
                <a:latin typeface="+mn-lt"/>
                <a:ea typeface="微软雅黑" panose="020B0503020204020204" pitchFamily="34" charset="-122"/>
                <a:sym typeface="+mn-lt"/>
              </a:rPr>
              <a:t>INPUT YOUR TEXT</a:t>
            </a:r>
          </a:p>
          <a:p>
            <a:pPr marL="0" indent="0">
              <a:lnSpc>
                <a:spcPct val="150000"/>
              </a:lnSpc>
            </a:pPr>
            <a:r>
              <a:rPr lang="en-US" altLang="zh-CN" sz="1600" dirty="0">
                <a:latin typeface="+mn-lt"/>
                <a:ea typeface="微软雅黑" panose="020B0503020204020204" pitchFamily="34" charset="-122"/>
                <a:sym typeface="+mn-lt"/>
              </a:rPr>
              <a:t>INPUT YOUR TEXT</a:t>
            </a:r>
          </a:p>
        </p:txBody>
      </p:sp>
    </p:spTree>
    <p:custDataLst>
      <p:tags r:id="rId1"/>
    </p:custDataLst>
    <p:extLst>
      <p:ext uri="{BB962C8B-B14F-4D97-AF65-F5344CB8AC3E}">
        <p14:creationId xmlns:p14="http://schemas.microsoft.com/office/powerpoint/2010/main" val="3451831766"/>
      </p:ext>
    </p:extLst>
  </p:cSld>
  <p:clrMapOvr>
    <a:masterClrMapping/>
  </p:clrMapOvr>
  <p:transition>
    <p:fade/>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7871DE05-C337-0C4C-B9A4-25495CCD9F19}"/>
              </a:ext>
            </a:extLst>
          </p:cNvPr>
          <p:cNvGrpSpPr/>
          <p:nvPr/>
        </p:nvGrpSpPr>
        <p:grpSpPr>
          <a:xfrm flipH="1">
            <a:off x="6184899" y="1119702"/>
            <a:ext cx="4485943" cy="4618595"/>
            <a:chOff x="2551114" y="1381125"/>
            <a:chExt cx="5825386" cy="2132034"/>
          </a:xfrm>
        </p:grpSpPr>
        <p:sp>
          <p:nvSpPr>
            <p:cNvPr id="17" name="Freeform 16">
              <a:extLst>
                <a:ext uri="{FF2B5EF4-FFF2-40B4-BE49-F238E27FC236}">
                  <a16:creationId xmlns:a16="http://schemas.microsoft.com/office/drawing/2014/main" id="{C3734A7E-2F76-934B-9761-3C0A1F990995}"/>
                </a:ext>
              </a:extLst>
            </p:cNvPr>
            <p:cNvSpPr>
              <a:spLocks/>
            </p:cNvSpPr>
            <p:nvPr/>
          </p:nvSpPr>
          <p:spPr bwMode="auto">
            <a:xfrm>
              <a:off x="2551114" y="1381125"/>
              <a:ext cx="1112838" cy="1674043"/>
            </a:xfrm>
            <a:custGeom>
              <a:avLst/>
              <a:gdLst>
                <a:gd name="T0" fmla="*/ 0 w 1614"/>
                <a:gd name="T1" fmla="*/ 1357 h 1357"/>
                <a:gd name="T2" fmla="*/ 0 w 1614"/>
                <a:gd name="T3" fmla="*/ 1357 h 1357"/>
                <a:gd name="T4" fmla="*/ 1614 w 1614"/>
                <a:gd name="T5" fmla="*/ 1357 h 1357"/>
                <a:gd name="T6" fmla="*/ 1614 w 1614"/>
                <a:gd name="T7" fmla="*/ 0 h 1357"/>
                <a:gd name="T8" fmla="*/ 0 w 1614"/>
                <a:gd name="T9" fmla="*/ 0 h 1357"/>
                <a:gd name="T10" fmla="*/ 0 w 1614"/>
                <a:gd name="T11" fmla="*/ 1357 h 1357"/>
              </a:gdLst>
              <a:ahLst/>
              <a:cxnLst>
                <a:cxn ang="0">
                  <a:pos x="T0" y="T1"/>
                </a:cxn>
                <a:cxn ang="0">
                  <a:pos x="T2" y="T3"/>
                </a:cxn>
                <a:cxn ang="0">
                  <a:pos x="T4" y="T5"/>
                </a:cxn>
                <a:cxn ang="0">
                  <a:pos x="T6" y="T7"/>
                </a:cxn>
                <a:cxn ang="0">
                  <a:pos x="T8" y="T9"/>
                </a:cxn>
                <a:cxn ang="0">
                  <a:pos x="T10" y="T11"/>
                </a:cxn>
              </a:cxnLst>
              <a:rect l="0" t="0" r="r" b="b"/>
              <a:pathLst>
                <a:path w="1614" h="1357">
                  <a:moveTo>
                    <a:pt x="0" y="1357"/>
                  </a:moveTo>
                  <a:lnTo>
                    <a:pt x="0" y="1357"/>
                  </a:lnTo>
                  <a:lnTo>
                    <a:pt x="1614" y="1357"/>
                  </a:lnTo>
                  <a:lnTo>
                    <a:pt x="1614" y="0"/>
                  </a:lnTo>
                  <a:lnTo>
                    <a:pt x="0" y="0"/>
                  </a:lnTo>
                  <a:lnTo>
                    <a:pt x="0" y="1357"/>
                  </a:lnTo>
                  <a:close/>
                </a:path>
              </a:pathLst>
            </a:custGeom>
            <a:solidFill>
              <a:schemeClr val="accent2">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accent2">
                    <a:lumMod val="50000"/>
                  </a:schemeClr>
                </a:solidFill>
              </a:endParaRPr>
            </a:p>
          </p:txBody>
        </p:sp>
        <p:sp>
          <p:nvSpPr>
            <p:cNvPr id="18" name="Freeform 17">
              <a:extLst>
                <a:ext uri="{FF2B5EF4-FFF2-40B4-BE49-F238E27FC236}">
                  <a16:creationId xmlns:a16="http://schemas.microsoft.com/office/drawing/2014/main" id="{160EADD4-8066-4E48-8601-B7F6338456BC}"/>
                </a:ext>
              </a:extLst>
            </p:cNvPr>
            <p:cNvSpPr>
              <a:spLocks/>
            </p:cNvSpPr>
            <p:nvPr/>
          </p:nvSpPr>
          <p:spPr bwMode="auto">
            <a:xfrm>
              <a:off x="3028951" y="1381125"/>
              <a:ext cx="635000" cy="1123950"/>
            </a:xfrm>
            <a:custGeom>
              <a:avLst/>
              <a:gdLst>
                <a:gd name="T0" fmla="*/ 996 w 996"/>
                <a:gd name="T1" fmla="*/ 0 h 1764"/>
                <a:gd name="T2" fmla="*/ 996 w 996"/>
                <a:gd name="T3" fmla="*/ 0 h 1764"/>
                <a:gd name="T4" fmla="*/ 0 w 996"/>
                <a:gd name="T5" fmla="*/ 406 h 1764"/>
                <a:gd name="T6" fmla="*/ 0 w 996"/>
                <a:gd name="T7" fmla="*/ 1764 h 1764"/>
                <a:gd name="T8" fmla="*/ 996 w 996"/>
                <a:gd name="T9" fmla="*/ 1357 h 1764"/>
                <a:gd name="T10" fmla="*/ 996 w 996"/>
                <a:gd name="T11" fmla="*/ 0 h 1764"/>
              </a:gdLst>
              <a:ahLst/>
              <a:cxnLst>
                <a:cxn ang="0">
                  <a:pos x="T0" y="T1"/>
                </a:cxn>
                <a:cxn ang="0">
                  <a:pos x="T2" y="T3"/>
                </a:cxn>
                <a:cxn ang="0">
                  <a:pos x="T4" y="T5"/>
                </a:cxn>
                <a:cxn ang="0">
                  <a:pos x="T6" y="T7"/>
                </a:cxn>
                <a:cxn ang="0">
                  <a:pos x="T8" y="T9"/>
                </a:cxn>
                <a:cxn ang="0">
                  <a:pos x="T10" y="T11"/>
                </a:cxn>
              </a:cxnLst>
              <a:rect l="0" t="0" r="r" b="b"/>
              <a:pathLst>
                <a:path w="996" h="1764">
                  <a:moveTo>
                    <a:pt x="996" y="0"/>
                  </a:moveTo>
                  <a:lnTo>
                    <a:pt x="996" y="0"/>
                  </a:lnTo>
                  <a:lnTo>
                    <a:pt x="0" y="406"/>
                  </a:lnTo>
                  <a:lnTo>
                    <a:pt x="0" y="1764"/>
                  </a:lnTo>
                  <a:lnTo>
                    <a:pt x="996" y="1357"/>
                  </a:lnTo>
                  <a:lnTo>
                    <a:pt x="996" y="0"/>
                  </a:lnTo>
                  <a:close/>
                </a:path>
              </a:pathLst>
            </a:custGeom>
            <a:solidFill>
              <a:schemeClr val="accent2">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18">
              <a:extLst>
                <a:ext uri="{FF2B5EF4-FFF2-40B4-BE49-F238E27FC236}">
                  <a16:creationId xmlns:a16="http://schemas.microsoft.com/office/drawing/2014/main" id="{049AE029-A7CA-6D42-9CAB-8705A321399B}"/>
                </a:ext>
              </a:extLst>
            </p:cNvPr>
            <p:cNvSpPr>
              <a:spLocks/>
            </p:cNvSpPr>
            <p:nvPr/>
          </p:nvSpPr>
          <p:spPr bwMode="auto">
            <a:xfrm>
              <a:off x="3028952" y="1639886"/>
              <a:ext cx="5347548" cy="1873273"/>
            </a:xfrm>
            <a:custGeom>
              <a:avLst/>
              <a:gdLst>
                <a:gd name="T0" fmla="*/ 0 w 5735"/>
                <a:gd name="T1" fmla="*/ 1358 h 1358"/>
                <a:gd name="T2" fmla="*/ 0 w 5735"/>
                <a:gd name="T3" fmla="*/ 1358 h 1358"/>
                <a:gd name="T4" fmla="*/ 5735 w 5735"/>
                <a:gd name="T5" fmla="*/ 1358 h 1358"/>
                <a:gd name="T6" fmla="*/ 5735 w 5735"/>
                <a:gd name="T7" fmla="*/ 0 h 1358"/>
                <a:gd name="T8" fmla="*/ 0 w 5735"/>
                <a:gd name="T9" fmla="*/ 0 h 1358"/>
                <a:gd name="T10" fmla="*/ 0 w 5735"/>
                <a:gd name="T11" fmla="*/ 1358 h 1358"/>
              </a:gdLst>
              <a:ahLst/>
              <a:cxnLst>
                <a:cxn ang="0">
                  <a:pos x="T0" y="T1"/>
                </a:cxn>
                <a:cxn ang="0">
                  <a:pos x="T2" y="T3"/>
                </a:cxn>
                <a:cxn ang="0">
                  <a:pos x="T4" y="T5"/>
                </a:cxn>
                <a:cxn ang="0">
                  <a:pos x="T6" y="T7"/>
                </a:cxn>
                <a:cxn ang="0">
                  <a:pos x="T8" y="T9"/>
                </a:cxn>
                <a:cxn ang="0">
                  <a:pos x="T10" y="T11"/>
                </a:cxn>
              </a:cxnLst>
              <a:rect l="0" t="0" r="r" b="b"/>
              <a:pathLst>
                <a:path w="5735" h="1358">
                  <a:moveTo>
                    <a:pt x="0" y="1358"/>
                  </a:moveTo>
                  <a:lnTo>
                    <a:pt x="0" y="1358"/>
                  </a:lnTo>
                  <a:lnTo>
                    <a:pt x="5735" y="1358"/>
                  </a:lnTo>
                  <a:lnTo>
                    <a:pt x="5735" y="0"/>
                  </a:lnTo>
                  <a:lnTo>
                    <a:pt x="0" y="0"/>
                  </a:lnTo>
                  <a:lnTo>
                    <a:pt x="0" y="1358"/>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0" name="Content Placeholder 5">
            <a:extLst>
              <a:ext uri="{FF2B5EF4-FFF2-40B4-BE49-F238E27FC236}">
                <a16:creationId xmlns:a16="http://schemas.microsoft.com/office/drawing/2014/main" id="{AA1A65DF-D4A7-4E45-B1A3-3A52C2C9277E}"/>
              </a:ext>
            </a:extLst>
          </p:cNvPr>
          <p:cNvSpPr txBox="1">
            <a:spLocks/>
          </p:cNvSpPr>
          <p:nvPr/>
        </p:nvSpPr>
        <p:spPr bwMode="auto">
          <a:xfrm>
            <a:off x="6350620" y="2181066"/>
            <a:ext cx="3851326" cy="22383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indent="-342900" algn="l" rtl="0" eaLnBrk="0" fontAlgn="base" hangingPunct="0">
              <a:spcBef>
                <a:spcPts val="1000"/>
              </a:spcBef>
              <a:spcAft>
                <a:spcPct val="0"/>
              </a:spcAft>
              <a:buFont typeface="Arial" pitchFamily="34" charset="0"/>
              <a:defRPr lang="en-US" kern="1200">
                <a:solidFill>
                  <a:schemeClr val="tx2"/>
                </a:solidFill>
                <a:latin typeface="+mn-lt"/>
                <a:ea typeface="+mj-ea"/>
                <a:cs typeface="+mj-cs"/>
              </a:defRPr>
            </a:lvl1pPr>
            <a:lvl2pPr marL="179388" indent="-179388" algn="l" rtl="0" eaLnBrk="0" fontAlgn="base" hangingPunct="0">
              <a:spcBef>
                <a:spcPts val="400"/>
              </a:spcBef>
              <a:spcAft>
                <a:spcPct val="0"/>
              </a:spcAft>
              <a:buFont typeface="Arial" pitchFamily="34" charset="0"/>
              <a:buChar char="•"/>
              <a:defRPr lang="en-US" kern="1200" dirty="0">
                <a:solidFill>
                  <a:schemeClr val="tx2"/>
                </a:solidFill>
                <a:latin typeface="+mn-lt"/>
                <a:ea typeface="+mj-ea"/>
                <a:cs typeface="+mj-cs"/>
              </a:defRPr>
            </a:lvl2pPr>
            <a:lvl3pPr marL="358775" indent="-179388" algn="l" rtl="0" eaLnBrk="0" fontAlgn="base" hangingPunct="0">
              <a:spcBef>
                <a:spcPts val="400"/>
              </a:spcBef>
              <a:spcAft>
                <a:spcPct val="0"/>
              </a:spcAft>
              <a:buFont typeface="Arial" pitchFamily="34" charset="0"/>
              <a:buChar char="‒"/>
              <a:defRPr lang="en-US" sz="1600" kern="1200" dirty="0">
                <a:solidFill>
                  <a:schemeClr val="tx2"/>
                </a:solidFill>
                <a:latin typeface="+mn-lt"/>
                <a:ea typeface="+mj-ea"/>
                <a:cs typeface="+mj-cs"/>
              </a:defRPr>
            </a:lvl3pPr>
            <a:lvl4pPr marL="539750" indent="-179388" algn="l" rtl="0" eaLnBrk="0" fontAlgn="base" hangingPunct="0">
              <a:spcBef>
                <a:spcPts val="400"/>
              </a:spcBef>
              <a:spcAft>
                <a:spcPct val="0"/>
              </a:spcAft>
              <a:buFont typeface="Arial" pitchFamily="34" charset="0"/>
              <a:buChar char="•"/>
              <a:defRPr lang="en-US" sz="1600" kern="1200" dirty="0">
                <a:solidFill>
                  <a:schemeClr val="tx2"/>
                </a:solidFill>
                <a:latin typeface="+mn-lt"/>
                <a:ea typeface="+mj-ea"/>
                <a:cs typeface="+mj-cs"/>
              </a:defRPr>
            </a:lvl4pPr>
            <a:lvl5pPr marL="719138" indent="-179388" algn="l" rtl="0" eaLnBrk="0" fontAlgn="base" hangingPunct="0">
              <a:spcBef>
                <a:spcPts val="400"/>
              </a:spcBef>
              <a:spcAft>
                <a:spcPct val="0"/>
              </a:spcAft>
              <a:buFont typeface="Arial" pitchFamily="34" charset="0"/>
              <a:buChar char="‒"/>
              <a:defRPr lang="en-GB" sz="1600" kern="1200" dirty="0">
                <a:solidFill>
                  <a:schemeClr val="tx2"/>
                </a:solidFill>
                <a:latin typeface="+mn-lt"/>
                <a:ea typeface="+mj-ea"/>
                <a:cs typeface="+mj-cs"/>
              </a:defRPr>
            </a:lvl5pPr>
            <a:lvl6pPr marL="900000" indent="-180000" algn="l" defTabSz="914400" rtl="0" eaLnBrk="1" latinLnBrk="0" hangingPunct="1">
              <a:spcBef>
                <a:spcPts val="0"/>
              </a:spcBef>
              <a:spcAft>
                <a:spcPts val="300"/>
              </a:spcAft>
              <a:buFont typeface="Arial" pitchFamily="34" charset="0"/>
              <a:buChar char="•"/>
              <a:defRPr sz="1600" kern="1200" baseline="0">
                <a:solidFill>
                  <a:schemeClr val="tx2"/>
                </a:solidFill>
                <a:latin typeface="+mn-lt"/>
                <a:ea typeface="+mn-ea"/>
                <a:cs typeface="+mn-cs"/>
              </a:defRPr>
            </a:lvl6pPr>
            <a:lvl7pPr marL="10795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7pPr>
            <a:lvl8pPr marL="12600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8pPr>
            <a:lvl9pPr marL="14400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9pPr>
          </a:lstStyle>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rPr>
              <a:t>Lorem ipsum dolor sit ameLorem ipsum dolor sit ameLorem ipsum dolor sit ameLorem ipsum dolor sit ameLorem ipsum dolor sit ame</a:t>
            </a:r>
            <a:r>
              <a:rPr lang="en-US" sz="1000" dirty="0">
                <a:solidFill>
                  <a:prstClr val="white"/>
                </a:solidFill>
              </a:rPr>
              <a:t>.</a:t>
            </a:r>
          </a:p>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rPr>
              <a:t>Lorem ipsum dolor sit ameLorem ipsum dolor sit ameLorem ipsum dolor sit ameLorem ipsum dolor sit ameLorem ipsum dolor sit ame</a:t>
            </a:r>
            <a:r>
              <a:rPr lang="en-US" sz="1000" dirty="0" err="1">
                <a:solidFill>
                  <a:prstClr val="white"/>
                </a:solidFill>
              </a:rPr>
              <a:t>roval</a:t>
            </a:r>
            <a:r>
              <a:rPr lang="en-US" sz="1000" dirty="0">
                <a:solidFill>
                  <a:prstClr val="white"/>
                </a:solidFill>
              </a:rPr>
              <a:t>. </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a:t>
            </a:r>
            <a:endParaRPr lang="en-US" sz="1000" dirty="0">
              <a:solidFill>
                <a:prstClr val="white"/>
              </a:solidFill>
              <a:cs typeface="Arial" charset="0"/>
            </a:endParaRPr>
          </a:p>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rPr>
              <a:t>Lorem ipsum dolor sit ame</a:t>
            </a:r>
            <a:r>
              <a:rPr lang="en-US" sz="1000" dirty="0">
                <a:solidFill>
                  <a:prstClr val="white"/>
                </a:solidFill>
              </a:rPr>
              <a:t>.</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a:t>
            </a:r>
            <a:r>
              <a:rPr lang="en-US" sz="1000" dirty="0">
                <a:solidFill>
                  <a:prstClr val="white"/>
                </a:solidFill>
                <a:cs typeface="Arial" charset="0"/>
              </a:rPr>
              <a:t>.</a:t>
            </a:r>
          </a:p>
        </p:txBody>
      </p:sp>
      <p:sp>
        <p:nvSpPr>
          <p:cNvPr id="21" name="Rectangle 20">
            <a:extLst>
              <a:ext uri="{FF2B5EF4-FFF2-40B4-BE49-F238E27FC236}">
                <a16:creationId xmlns:a16="http://schemas.microsoft.com/office/drawing/2014/main" id="{09036C8D-FDC4-F049-91E9-1DAA779ED885}"/>
              </a:ext>
            </a:extLst>
          </p:cNvPr>
          <p:cNvSpPr/>
          <p:nvPr/>
        </p:nvSpPr>
        <p:spPr>
          <a:xfrm>
            <a:off x="6350621" y="1828802"/>
            <a:ext cx="2169505" cy="307777"/>
          </a:xfrm>
          <a:prstGeom prst="rect">
            <a:avLst/>
          </a:prstGeom>
        </p:spPr>
        <p:txBody>
          <a:bodyPr wrap="none">
            <a:spAutoFit/>
          </a:bodyPr>
          <a:lstStyle/>
          <a:p>
            <a:pPr lvl="0"/>
            <a:r>
              <a:rPr lang="da-DK" sz="1400" b="1" dirty="0">
                <a:solidFill>
                  <a:prstClr val="white"/>
                </a:solidFill>
              </a:rPr>
              <a:t>Lorem ipsum dolor sit ame</a:t>
            </a:r>
            <a:endParaRPr lang="en-US" sz="1400" b="1" dirty="0">
              <a:solidFill>
                <a:prstClr val="white"/>
              </a:solidFill>
            </a:endParaRPr>
          </a:p>
        </p:txBody>
      </p:sp>
      <p:grpSp>
        <p:nvGrpSpPr>
          <p:cNvPr id="22" name="Group 21">
            <a:extLst>
              <a:ext uri="{FF2B5EF4-FFF2-40B4-BE49-F238E27FC236}">
                <a16:creationId xmlns:a16="http://schemas.microsoft.com/office/drawing/2014/main" id="{937D9EC9-FD6B-B940-A047-3518422F4926}"/>
              </a:ext>
            </a:extLst>
          </p:cNvPr>
          <p:cNvGrpSpPr/>
          <p:nvPr/>
        </p:nvGrpSpPr>
        <p:grpSpPr>
          <a:xfrm>
            <a:off x="1524001" y="1119702"/>
            <a:ext cx="4448553" cy="4618597"/>
            <a:chOff x="2551113" y="1381125"/>
            <a:chExt cx="5776832" cy="2132035"/>
          </a:xfrm>
        </p:grpSpPr>
        <p:sp>
          <p:nvSpPr>
            <p:cNvPr id="23" name="Freeform 22">
              <a:extLst>
                <a:ext uri="{FF2B5EF4-FFF2-40B4-BE49-F238E27FC236}">
                  <a16:creationId xmlns:a16="http://schemas.microsoft.com/office/drawing/2014/main" id="{040C44E1-28B4-9A4C-A8EA-2CFB5CF4B2FB}"/>
                </a:ext>
              </a:extLst>
            </p:cNvPr>
            <p:cNvSpPr>
              <a:spLocks/>
            </p:cNvSpPr>
            <p:nvPr/>
          </p:nvSpPr>
          <p:spPr bwMode="auto">
            <a:xfrm>
              <a:off x="2551113" y="1381125"/>
              <a:ext cx="1149349" cy="1674043"/>
            </a:xfrm>
            <a:custGeom>
              <a:avLst/>
              <a:gdLst>
                <a:gd name="T0" fmla="*/ 0 w 1614"/>
                <a:gd name="T1" fmla="*/ 1357 h 1357"/>
                <a:gd name="T2" fmla="*/ 0 w 1614"/>
                <a:gd name="T3" fmla="*/ 1357 h 1357"/>
                <a:gd name="T4" fmla="*/ 1614 w 1614"/>
                <a:gd name="T5" fmla="*/ 1357 h 1357"/>
                <a:gd name="T6" fmla="*/ 1614 w 1614"/>
                <a:gd name="T7" fmla="*/ 0 h 1357"/>
                <a:gd name="T8" fmla="*/ 0 w 1614"/>
                <a:gd name="T9" fmla="*/ 0 h 1357"/>
                <a:gd name="T10" fmla="*/ 0 w 1614"/>
                <a:gd name="T11" fmla="*/ 1357 h 1357"/>
              </a:gdLst>
              <a:ahLst/>
              <a:cxnLst>
                <a:cxn ang="0">
                  <a:pos x="T0" y="T1"/>
                </a:cxn>
                <a:cxn ang="0">
                  <a:pos x="T2" y="T3"/>
                </a:cxn>
                <a:cxn ang="0">
                  <a:pos x="T4" y="T5"/>
                </a:cxn>
                <a:cxn ang="0">
                  <a:pos x="T6" y="T7"/>
                </a:cxn>
                <a:cxn ang="0">
                  <a:pos x="T8" y="T9"/>
                </a:cxn>
                <a:cxn ang="0">
                  <a:pos x="T10" y="T11"/>
                </a:cxn>
              </a:cxnLst>
              <a:rect l="0" t="0" r="r" b="b"/>
              <a:pathLst>
                <a:path w="1614" h="1357">
                  <a:moveTo>
                    <a:pt x="0" y="1357"/>
                  </a:moveTo>
                  <a:lnTo>
                    <a:pt x="0" y="1357"/>
                  </a:lnTo>
                  <a:lnTo>
                    <a:pt x="1614" y="1357"/>
                  </a:lnTo>
                  <a:lnTo>
                    <a:pt x="1614" y="0"/>
                  </a:lnTo>
                  <a:lnTo>
                    <a:pt x="0" y="0"/>
                  </a:lnTo>
                  <a:lnTo>
                    <a:pt x="0" y="1357"/>
                  </a:lnTo>
                  <a:close/>
                </a:path>
              </a:pathLst>
            </a:custGeom>
            <a:solidFill>
              <a:schemeClr val="accent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23">
              <a:extLst>
                <a:ext uri="{FF2B5EF4-FFF2-40B4-BE49-F238E27FC236}">
                  <a16:creationId xmlns:a16="http://schemas.microsoft.com/office/drawing/2014/main" id="{7214CC97-A1AF-D548-8AF5-C18641AFE01D}"/>
                </a:ext>
              </a:extLst>
            </p:cNvPr>
            <p:cNvSpPr>
              <a:spLocks/>
            </p:cNvSpPr>
            <p:nvPr/>
          </p:nvSpPr>
          <p:spPr bwMode="auto">
            <a:xfrm>
              <a:off x="3025261" y="1381125"/>
              <a:ext cx="675203" cy="1123950"/>
            </a:xfrm>
            <a:custGeom>
              <a:avLst/>
              <a:gdLst>
                <a:gd name="T0" fmla="*/ 996 w 996"/>
                <a:gd name="T1" fmla="*/ 0 h 1764"/>
                <a:gd name="T2" fmla="*/ 996 w 996"/>
                <a:gd name="T3" fmla="*/ 0 h 1764"/>
                <a:gd name="T4" fmla="*/ 0 w 996"/>
                <a:gd name="T5" fmla="*/ 406 h 1764"/>
                <a:gd name="T6" fmla="*/ 0 w 996"/>
                <a:gd name="T7" fmla="*/ 1764 h 1764"/>
                <a:gd name="T8" fmla="*/ 996 w 996"/>
                <a:gd name="T9" fmla="*/ 1357 h 1764"/>
                <a:gd name="T10" fmla="*/ 996 w 996"/>
                <a:gd name="T11" fmla="*/ 0 h 1764"/>
              </a:gdLst>
              <a:ahLst/>
              <a:cxnLst>
                <a:cxn ang="0">
                  <a:pos x="T0" y="T1"/>
                </a:cxn>
                <a:cxn ang="0">
                  <a:pos x="T2" y="T3"/>
                </a:cxn>
                <a:cxn ang="0">
                  <a:pos x="T4" y="T5"/>
                </a:cxn>
                <a:cxn ang="0">
                  <a:pos x="T6" y="T7"/>
                </a:cxn>
                <a:cxn ang="0">
                  <a:pos x="T8" y="T9"/>
                </a:cxn>
                <a:cxn ang="0">
                  <a:pos x="T10" y="T11"/>
                </a:cxn>
              </a:cxnLst>
              <a:rect l="0" t="0" r="r" b="b"/>
              <a:pathLst>
                <a:path w="996" h="1764">
                  <a:moveTo>
                    <a:pt x="996" y="0"/>
                  </a:moveTo>
                  <a:lnTo>
                    <a:pt x="996" y="0"/>
                  </a:lnTo>
                  <a:lnTo>
                    <a:pt x="0" y="406"/>
                  </a:lnTo>
                  <a:lnTo>
                    <a:pt x="0" y="1764"/>
                  </a:lnTo>
                  <a:lnTo>
                    <a:pt x="996" y="1357"/>
                  </a:lnTo>
                  <a:lnTo>
                    <a:pt x="996" y="0"/>
                  </a:lnTo>
                  <a:close/>
                </a:path>
              </a:pathLst>
            </a:custGeom>
            <a:solidFill>
              <a:schemeClr val="accent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24">
              <a:extLst>
                <a:ext uri="{FF2B5EF4-FFF2-40B4-BE49-F238E27FC236}">
                  <a16:creationId xmlns:a16="http://schemas.microsoft.com/office/drawing/2014/main" id="{0F17EB08-5284-C949-A8CF-62C9BD8B6842}"/>
                </a:ext>
              </a:extLst>
            </p:cNvPr>
            <p:cNvSpPr>
              <a:spLocks/>
            </p:cNvSpPr>
            <p:nvPr/>
          </p:nvSpPr>
          <p:spPr bwMode="auto">
            <a:xfrm>
              <a:off x="3020600" y="1639886"/>
              <a:ext cx="5307345" cy="1873274"/>
            </a:xfrm>
            <a:custGeom>
              <a:avLst/>
              <a:gdLst>
                <a:gd name="T0" fmla="*/ 0 w 5735"/>
                <a:gd name="T1" fmla="*/ 1358 h 1358"/>
                <a:gd name="T2" fmla="*/ 0 w 5735"/>
                <a:gd name="T3" fmla="*/ 1358 h 1358"/>
                <a:gd name="T4" fmla="*/ 5735 w 5735"/>
                <a:gd name="T5" fmla="*/ 1358 h 1358"/>
                <a:gd name="T6" fmla="*/ 5735 w 5735"/>
                <a:gd name="T7" fmla="*/ 0 h 1358"/>
                <a:gd name="T8" fmla="*/ 0 w 5735"/>
                <a:gd name="T9" fmla="*/ 0 h 1358"/>
                <a:gd name="T10" fmla="*/ 0 w 5735"/>
                <a:gd name="T11" fmla="*/ 1358 h 1358"/>
              </a:gdLst>
              <a:ahLst/>
              <a:cxnLst>
                <a:cxn ang="0">
                  <a:pos x="T0" y="T1"/>
                </a:cxn>
                <a:cxn ang="0">
                  <a:pos x="T2" y="T3"/>
                </a:cxn>
                <a:cxn ang="0">
                  <a:pos x="T4" y="T5"/>
                </a:cxn>
                <a:cxn ang="0">
                  <a:pos x="T6" y="T7"/>
                </a:cxn>
                <a:cxn ang="0">
                  <a:pos x="T8" y="T9"/>
                </a:cxn>
                <a:cxn ang="0">
                  <a:pos x="T10" y="T11"/>
                </a:cxn>
              </a:cxnLst>
              <a:rect l="0" t="0" r="r" b="b"/>
              <a:pathLst>
                <a:path w="5735" h="1358">
                  <a:moveTo>
                    <a:pt x="0" y="1358"/>
                  </a:moveTo>
                  <a:lnTo>
                    <a:pt x="0" y="1358"/>
                  </a:lnTo>
                  <a:lnTo>
                    <a:pt x="5735" y="1358"/>
                  </a:lnTo>
                  <a:lnTo>
                    <a:pt x="5735" y="0"/>
                  </a:lnTo>
                  <a:lnTo>
                    <a:pt x="0" y="0"/>
                  </a:lnTo>
                  <a:lnTo>
                    <a:pt x="0" y="1358"/>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6" name="Content Placeholder 5">
            <a:extLst>
              <a:ext uri="{FF2B5EF4-FFF2-40B4-BE49-F238E27FC236}">
                <a16:creationId xmlns:a16="http://schemas.microsoft.com/office/drawing/2014/main" id="{C8ADFE49-E76C-2B4B-AD97-97D1618A225C}"/>
              </a:ext>
            </a:extLst>
          </p:cNvPr>
          <p:cNvSpPr txBox="1">
            <a:spLocks/>
          </p:cNvSpPr>
          <p:nvPr/>
        </p:nvSpPr>
        <p:spPr bwMode="auto">
          <a:xfrm>
            <a:off x="2001376" y="2181067"/>
            <a:ext cx="3851326" cy="22467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indent="-342900" algn="l" rtl="0" eaLnBrk="0" fontAlgn="base" hangingPunct="0">
              <a:spcBef>
                <a:spcPts val="1000"/>
              </a:spcBef>
              <a:spcAft>
                <a:spcPct val="0"/>
              </a:spcAft>
              <a:buFont typeface="Arial" pitchFamily="34" charset="0"/>
              <a:defRPr lang="en-US" kern="1200">
                <a:solidFill>
                  <a:schemeClr val="tx2"/>
                </a:solidFill>
                <a:latin typeface="+mn-lt"/>
                <a:ea typeface="+mj-ea"/>
                <a:cs typeface="+mj-cs"/>
              </a:defRPr>
            </a:lvl1pPr>
            <a:lvl2pPr marL="179388" indent="-179388" algn="l" rtl="0" eaLnBrk="0" fontAlgn="base" hangingPunct="0">
              <a:spcBef>
                <a:spcPts val="400"/>
              </a:spcBef>
              <a:spcAft>
                <a:spcPct val="0"/>
              </a:spcAft>
              <a:buFont typeface="Arial" pitchFamily="34" charset="0"/>
              <a:buChar char="•"/>
              <a:defRPr lang="en-US" kern="1200" dirty="0">
                <a:solidFill>
                  <a:schemeClr val="tx2"/>
                </a:solidFill>
                <a:latin typeface="+mn-lt"/>
                <a:ea typeface="+mj-ea"/>
                <a:cs typeface="+mj-cs"/>
              </a:defRPr>
            </a:lvl2pPr>
            <a:lvl3pPr marL="358775" indent="-179388" algn="l" rtl="0" eaLnBrk="0" fontAlgn="base" hangingPunct="0">
              <a:spcBef>
                <a:spcPts val="400"/>
              </a:spcBef>
              <a:spcAft>
                <a:spcPct val="0"/>
              </a:spcAft>
              <a:buFont typeface="Arial" pitchFamily="34" charset="0"/>
              <a:buChar char="‒"/>
              <a:defRPr lang="en-US" sz="1600" kern="1200" dirty="0">
                <a:solidFill>
                  <a:schemeClr val="tx2"/>
                </a:solidFill>
                <a:latin typeface="+mn-lt"/>
                <a:ea typeface="+mj-ea"/>
                <a:cs typeface="+mj-cs"/>
              </a:defRPr>
            </a:lvl3pPr>
            <a:lvl4pPr marL="539750" indent="-179388" algn="l" rtl="0" eaLnBrk="0" fontAlgn="base" hangingPunct="0">
              <a:spcBef>
                <a:spcPts val="400"/>
              </a:spcBef>
              <a:spcAft>
                <a:spcPct val="0"/>
              </a:spcAft>
              <a:buFont typeface="Arial" pitchFamily="34" charset="0"/>
              <a:buChar char="•"/>
              <a:defRPr lang="en-US" sz="1600" kern="1200" dirty="0">
                <a:solidFill>
                  <a:schemeClr val="tx2"/>
                </a:solidFill>
                <a:latin typeface="+mn-lt"/>
                <a:ea typeface="+mj-ea"/>
                <a:cs typeface="+mj-cs"/>
              </a:defRPr>
            </a:lvl4pPr>
            <a:lvl5pPr marL="719138" indent="-179388" algn="l" rtl="0" eaLnBrk="0" fontAlgn="base" hangingPunct="0">
              <a:spcBef>
                <a:spcPts val="400"/>
              </a:spcBef>
              <a:spcAft>
                <a:spcPct val="0"/>
              </a:spcAft>
              <a:buFont typeface="Arial" pitchFamily="34" charset="0"/>
              <a:buChar char="‒"/>
              <a:defRPr lang="en-GB" sz="1600" kern="1200" dirty="0">
                <a:solidFill>
                  <a:schemeClr val="tx2"/>
                </a:solidFill>
                <a:latin typeface="+mn-lt"/>
                <a:ea typeface="+mj-ea"/>
                <a:cs typeface="+mj-cs"/>
              </a:defRPr>
            </a:lvl5pPr>
            <a:lvl6pPr marL="900000" indent="-180000" algn="l" defTabSz="914400" rtl="0" eaLnBrk="1" latinLnBrk="0" hangingPunct="1">
              <a:spcBef>
                <a:spcPts val="0"/>
              </a:spcBef>
              <a:spcAft>
                <a:spcPts val="300"/>
              </a:spcAft>
              <a:buFont typeface="Arial" pitchFamily="34" charset="0"/>
              <a:buChar char="•"/>
              <a:defRPr sz="1600" kern="1200" baseline="0">
                <a:solidFill>
                  <a:schemeClr val="tx2"/>
                </a:solidFill>
                <a:latin typeface="+mn-lt"/>
                <a:ea typeface="+mn-ea"/>
                <a:cs typeface="+mn-cs"/>
              </a:defRPr>
            </a:lvl6pPr>
            <a:lvl7pPr marL="10795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7pPr>
            <a:lvl8pPr marL="12600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8pPr>
            <a:lvl9pPr marL="14400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9pPr>
          </a:lstStyle>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ea typeface="+mn-ea"/>
                <a:cs typeface="+mn-cs"/>
              </a:rPr>
              <a:t>Lorem ipsum dolor sit ameLorem ipsum dolor sit ameLorem ipsum dolor sit ameLorem ipsum dolor sit ameLorem ipsum dolor sit ame</a:t>
            </a:r>
            <a:r>
              <a:rPr lang="en-US" sz="1000" dirty="0">
                <a:solidFill>
                  <a:prstClr val="white"/>
                </a:solidFill>
                <a:ea typeface="+mn-ea"/>
                <a:cs typeface="+mn-cs"/>
              </a:rPr>
              <a:t>.</a:t>
            </a:r>
          </a:p>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ea typeface="+mn-ea"/>
                <a:cs typeface="+mn-cs"/>
              </a:rPr>
              <a:t>Lorem ipsum dolor sit ameLorem ipsum dolor sit ameLorem ipsum dolor sit ameLorem ipsum dolor sit ameLorem ipsum dolor sit ame</a:t>
            </a:r>
            <a:r>
              <a:rPr lang="en-US" sz="1000" dirty="0" err="1">
                <a:solidFill>
                  <a:prstClr val="white"/>
                </a:solidFill>
                <a:ea typeface="+mn-ea"/>
                <a:cs typeface="+mn-cs"/>
              </a:rPr>
              <a:t>roval</a:t>
            </a:r>
            <a:r>
              <a:rPr lang="en-US" sz="1000" dirty="0">
                <a:solidFill>
                  <a:prstClr val="white"/>
                </a:solidFill>
                <a:ea typeface="+mn-ea"/>
                <a:cs typeface="+mn-cs"/>
              </a:rPr>
              <a:t>. </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a:t>
            </a:r>
            <a:endParaRPr lang="en-US" sz="1000" dirty="0">
              <a:solidFill>
                <a:prstClr val="white"/>
              </a:solidFill>
              <a:ea typeface="+mn-ea"/>
              <a:cs typeface="Arial" charset="0"/>
            </a:endParaRPr>
          </a:p>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ea typeface="+mn-ea"/>
                <a:cs typeface="+mn-cs"/>
              </a:rPr>
              <a:t>Lorem ipsum dolor sit ame</a:t>
            </a:r>
            <a:r>
              <a:rPr lang="en-US" sz="1000" dirty="0">
                <a:solidFill>
                  <a:prstClr val="white"/>
                </a:solidFill>
                <a:ea typeface="+mn-ea"/>
                <a:cs typeface="+mn-cs"/>
              </a:rPr>
              <a:t>.</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a:t>
            </a:r>
            <a:r>
              <a:rPr lang="en-US" sz="1000" dirty="0">
                <a:solidFill>
                  <a:prstClr val="white"/>
                </a:solidFill>
                <a:ea typeface="+mn-ea"/>
                <a:cs typeface="Arial" charset="0"/>
              </a:rPr>
              <a:t>.</a:t>
            </a:r>
          </a:p>
        </p:txBody>
      </p:sp>
      <p:sp>
        <p:nvSpPr>
          <p:cNvPr id="27" name="Rectangle 26">
            <a:extLst>
              <a:ext uri="{FF2B5EF4-FFF2-40B4-BE49-F238E27FC236}">
                <a16:creationId xmlns:a16="http://schemas.microsoft.com/office/drawing/2014/main" id="{B132131B-3148-5443-8B17-7CF35980D764}"/>
              </a:ext>
            </a:extLst>
          </p:cNvPr>
          <p:cNvSpPr/>
          <p:nvPr/>
        </p:nvSpPr>
        <p:spPr>
          <a:xfrm>
            <a:off x="2001377" y="1824329"/>
            <a:ext cx="2169505" cy="307777"/>
          </a:xfrm>
          <a:prstGeom prst="rect">
            <a:avLst/>
          </a:prstGeom>
        </p:spPr>
        <p:txBody>
          <a:bodyPr wrap="none">
            <a:spAutoFit/>
          </a:bodyPr>
          <a:lstStyle/>
          <a:p>
            <a:pPr>
              <a:buNone/>
            </a:pPr>
            <a:r>
              <a:rPr lang="da-DK" sz="1400" b="1" dirty="0">
                <a:solidFill>
                  <a:schemeClr val="bg1"/>
                </a:solidFill>
              </a:rPr>
              <a:t>Lorem ipsum dolor sit ame</a:t>
            </a:r>
            <a:endParaRPr lang="en-US" sz="1400" b="1" dirty="0">
              <a:solidFill>
                <a:schemeClr val="bg1"/>
              </a:solidFill>
            </a:endParaRPr>
          </a:p>
        </p:txBody>
      </p:sp>
    </p:spTree>
    <p:custDataLst>
      <p:tags r:id="rId1"/>
    </p:custDataLst>
    <p:extLst>
      <p:ext uri="{BB962C8B-B14F-4D97-AF65-F5344CB8AC3E}">
        <p14:creationId xmlns:p14="http://schemas.microsoft.com/office/powerpoint/2010/main" val="325465447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Oval 45">
            <a:extLst>
              <a:ext uri="{FF2B5EF4-FFF2-40B4-BE49-F238E27FC236}">
                <a16:creationId xmlns:a16="http://schemas.microsoft.com/office/drawing/2014/main" id="{BF74AD05-1694-1941-9FC2-ABFA5759DFE4}"/>
              </a:ext>
            </a:extLst>
          </p:cNvPr>
          <p:cNvSpPr/>
          <p:nvPr/>
        </p:nvSpPr>
        <p:spPr>
          <a:xfrm>
            <a:off x="4264379" y="2111311"/>
            <a:ext cx="557992" cy="557992"/>
          </a:xfrm>
          <a:prstGeom prst="ellipse">
            <a:avLst/>
          </a:prstGeom>
          <a:solidFill>
            <a:srgbClr val="86BC25">
              <a:alpha val="80000"/>
            </a:srgbClr>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rgbClr val="FFFFFF"/>
                </a:solidFill>
              </a:rPr>
              <a:t>1</a:t>
            </a:r>
          </a:p>
        </p:txBody>
      </p:sp>
      <p:sp>
        <p:nvSpPr>
          <p:cNvPr id="62" name="Oval 61">
            <a:extLst>
              <a:ext uri="{FF2B5EF4-FFF2-40B4-BE49-F238E27FC236}">
                <a16:creationId xmlns:a16="http://schemas.microsoft.com/office/drawing/2014/main" id="{0BFAA266-252C-0446-9E3B-E15144F5B77D}"/>
              </a:ext>
            </a:extLst>
          </p:cNvPr>
          <p:cNvSpPr/>
          <p:nvPr/>
        </p:nvSpPr>
        <p:spPr>
          <a:xfrm>
            <a:off x="10725932" y="3155126"/>
            <a:ext cx="557992" cy="557992"/>
          </a:xfrm>
          <a:prstGeom prst="ellipse">
            <a:avLst/>
          </a:prstGeom>
          <a:solidFill>
            <a:srgbClr val="43B02A">
              <a:alpha val="80000"/>
            </a:srgbClr>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rgbClr val="FFFFFF"/>
                </a:solidFill>
              </a:rPr>
              <a:t>2</a:t>
            </a:r>
          </a:p>
        </p:txBody>
      </p:sp>
      <p:sp>
        <p:nvSpPr>
          <p:cNvPr id="63" name="Rectangle 62">
            <a:extLst>
              <a:ext uri="{FF2B5EF4-FFF2-40B4-BE49-F238E27FC236}">
                <a16:creationId xmlns:a16="http://schemas.microsoft.com/office/drawing/2014/main" id="{F82708EA-278C-7548-A12D-BFA5013C268F}"/>
              </a:ext>
            </a:extLst>
          </p:cNvPr>
          <p:cNvSpPr/>
          <p:nvPr/>
        </p:nvSpPr>
        <p:spPr>
          <a:xfrm>
            <a:off x="5046538" y="2217079"/>
            <a:ext cx="5323830" cy="400110"/>
          </a:xfrm>
          <a:prstGeom prst="rect">
            <a:avLst/>
          </a:prstGeom>
        </p:spPr>
        <p:txBody>
          <a:bodyPr wrap="square" lIns="0" tIns="0" rIns="0" bIns="0" anchor="ctr">
            <a:spAutoFit/>
          </a:bodyPr>
          <a:lstStyle/>
          <a:p>
            <a:r>
              <a:rPr lang="en-US" sz="1300" dirty="0"/>
              <a:t>This is dummy text it is not here to be read. The is just text to show where you could insert text. Please replace with your text content here.</a:t>
            </a:r>
          </a:p>
        </p:txBody>
      </p:sp>
      <p:sp>
        <p:nvSpPr>
          <p:cNvPr id="64" name="Rectangle 63">
            <a:extLst>
              <a:ext uri="{FF2B5EF4-FFF2-40B4-BE49-F238E27FC236}">
                <a16:creationId xmlns:a16="http://schemas.microsoft.com/office/drawing/2014/main" id="{380880D7-654A-EB4D-97C4-C043DE3491BB}"/>
              </a:ext>
            </a:extLst>
          </p:cNvPr>
          <p:cNvSpPr/>
          <p:nvPr/>
        </p:nvSpPr>
        <p:spPr>
          <a:xfrm>
            <a:off x="5514975" y="3213948"/>
            <a:ext cx="5004281" cy="400110"/>
          </a:xfrm>
          <a:prstGeom prst="rect">
            <a:avLst/>
          </a:prstGeom>
        </p:spPr>
        <p:txBody>
          <a:bodyPr wrap="square" lIns="0" tIns="0" rIns="0" bIns="0" anchor="ctr">
            <a:spAutoFit/>
          </a:bodyPr>
          <a:lstStyle/>
          <a:p>
            <a:pPr algn="r"/>
            <a:r>
              <a:rPr lang="en-US" sz="1300" dirty="0"/>
              <a:t>This is dummy text it is not here to be read. The is just text to show where you could insert text. Please replace with your text content here.</a:t>
            </a:r>
          </a:p>
        </p:txBody>
      </p:sp>
      <p:sp>
        <p:nvSpPr>
          <p:cNvPr id="20" name="Oval 19">
            <a:extLst>
              <a:ext uri="{FF2B5EF4-FFF2-40B4-BE49-F238E27FC236}">
                <a16:creationId xmlns:a16="http://schemas.microsoft.com/office/drawing/2014/main" id="{BF74AD05-1694-1941-9FC2-ABFA5759DFE4}"/>
              </a:ext>
            </a:extLst>
          </p:cNvPr>
          <p:cNvSpPr/>
          <p:nvPr/>
        </p:nvSpPr>
        <p:spPr>
          <a:xfrm>
            <a:off x="1035097" y="4141679"/>
            <a:ext cx="557992" cy="557992"/>
          </a:xfrm>
          <a:prstGeom prst="ellipse">
            <a:avLst/>
          </a:prstGeom>
          <a:solidFill>
            <a:srgbClr val="009A44">
              <a:alpha val="80000"/>
            </a:srgbClr>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rgbClr val="FFFFFF"/>
                </a:solidFill>
              </a:rPr>
              <a:t>3</a:t>
            </a:r>
          </a:p>
        </p:txBody>
      </p:sp>
      <p:sp>
        <p:nvSpPr>
          <p:cNvPr id="21" name="Rectangle 20">
            <a:extLst>
              <a:ext uri="{FF2B5EF4-FFF2-40B4-BE49-F238E27FC236}">
                <a16:creationId xmlns:a16="http://schemas.microsoft.com/office/drawing/2014/main" id="{F82708EA-278C-7548-A12D-BFA5013C268F}"/>
              </a:ext>
            </a:extLst>
          </p:cNvPr>
          <p:cNvSpPr/>
          <p:nvPr/>
        </p:nvSpPr>
        <p:spPr>
          <a:xfrm>
            <a:off x="1817255" y="4247447"/>
            <a:ext cx="5539015" cy="400110"/>
          </a:xfrm>
          <a:prstGeom prst="rect">
            <a:avLst/>
          </a:prstGeom>
        </p:spPr>
        <p:txBody>
          <a:bodyPr wrap="square" lIns="0" tIns="0" rIns="0" bIns="0" anchor="ctr">
            <a:spAutoFit/>
          </a:bodyPr>
          <a:lstStyle/>
          <a:p>
            <a:r>
              <a:rPr lang="en-US" sz="1300" dirty="0"/>
              <a:t>This is dummy text it is not here to be read. The is just text to show where you could insert text. Please replace with your text content here.</a:t>
            </a:r>
          </a:p>
        </p:txBody>
      </p:sp>
      <p:sp>
        <p:nvSpPr>
          <p:cNvPr id="26" name="Oval 25">
            <a:extLst>
              <a:ext uri="{FF2B5EF4-FFF2-40B4-BE49-F238E27FC236}">
                <a16:creationId xmlns:a16="http://schemas.microsoft.com/office/drawing/2014/main" id="{0BFAA266-252C-0446-9E3B-E15144F5B77D}"/>
              </a:ext>
            </a:extLst>
          </p:cNvPr>
          <p:cNvSpPr/>
          <p:nvPr/>
        </p:nvSpPr>
        <p:spPr>
          <a:xfrm>
            <a:off x="7562948" y="5184379"/>
            <a:ext cx="557992" cy="557992"/>
          </a:xfrm>
          <a:prstGeom prst="ellipse">
            <a:avLst/>
          </a:prstGeom>
          <a:solidFill>
            <a:srgbClr val="000000">
              <a:alpha val="80000"/>
            </a:srgbClr>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rgbClr val="FFFFFF"/>
                </a:solidFill>
              </a:rPr>
              <a:t>4</a:t>
            </a:r>
          </a:p>
        </p:txBody>
      </p:sp>
      <p:sp>
        <p:nvSpPr>
          <p:cNvPr id="37" name="Line 16">
            <a:extLst>
              <a:ext uri="{FF2B5EF4-FFF2-40B4-BE49-F238E27FC236}">
                <a16:creationId xmlns:a16="http://schemas.microsoft.com/office/drawing/2014/main" id="{DAC94762-AFC7-A740-9C27-AB6E9EE25CF0}"/>
              </a:ext>
            </a:extLst>
          </p:cNvPr>
          <p:cNvSpPr>
            <a:spLocks noChangeShapeType="1"/>
          </p:cNvSpPr>
          <p:nvPr/>
        </p:nvSpPr>
        <p:spPr bwMode="auto">
          <a:xfrm>
            <a:off x="5362575" y="2930011"/>
            <a:ext cx="4757738" cy="0"/>
          </a:xfrm>
          <a:prstGeom prst="line">
            <a:avLst/>
          </a:prstGeom>
          <a:noFill/>
          <a:ln w="12700" cap="rnd">
            <a:gradFill>
              <a:gsLst>
                <a:gs pos="0">
                  <a:srgbClr val="86BC25"/>
                </a:gs>
                <a:gs pos="100000">
                  <a:srgbClr val="43B02A"/>
                </a:gs>
              </a:gsLst>
              <a:lin ang="0" scaled="0"/>
            </a:gradFill>
            <a:prstDash val="solid"/>
            <a:round/>
            <a:headEnd/>
            <a:tailEnd/>
          </a:ln>
          <a:extLst>
            <a:ext uri="{909E8E84-426E-40dd-AFC4-6F175D3DCCD1}">
              <a14:hiddenFill xmlns:a14="http://schemas.microsoft.com/office/drawing/2010/main" xmlns:p14="http://schemas.microsoft.com/office/powerpoint/2010/main" xmlns:a16="http://schemas.microsoft.com/office/drawing/2014/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38" name="Group 37">
            <a:extLst>
              <a:ext uri="{FF2B5EF4-FFF2-40B4-BE49-F238E27FC236}">
                <a16:creationId xmlns:a16="http://schemas.microsoft.com/office/drawing/2014/main" id="{2CEC80CE-C630-C14A-B222-865B14309C6D}"/>
              </a:ext>
            </a:extLst>
          </p:cNvPr>
          <p:cNvGrpSpPr/>
          <p:nvPr/>
        </p:nvGrpSpPr>
        <p:grpSpPr>
          <a:xfrm>
            <a:off x="10033582" y="2724330"/>
            <a:ext cx="1698531" cy="1421192"/>
            <a:chOff x="6687200" y="2321439"/>
            <a:chExt cx="1698531" cy="1421192"/>
          </a:xfrm>
        </p:grpSpPr>
        <p:sp>
          <p:nvSpPr>
            <p:cNvPr id="39" name="Freeform 17">
              <a:extLst>
                <a:ext uri="{FF2B5EF4-FFF2-40B4-BE49-F238E27FC236}">
                  <a16:creationId xmlns:a16="http://schemas.microsoft.com/office/drawing/2014/main" id="{315C0F97-E887-744B-85F1-8363BB1EAA5F}"/>
                </a:ext>
              </a:extLst>
            </p:cNvPr>
            <p:cNvSpPr>
              <a:spLocks/>
            </p:cNvSpPr>
            <p:nvPr/>
          </p:nvSpPr>
          <p:spPr bwMode="auto">
            <a:xfrm>
              <a:off x="7658548" y="2321439"/>
              <a:ext cx="727183" cy="1421192"/>
            </a:xfrm>
            <a:custGeom>
              <a:avLst/>
              <a:gdLst>
                <a:gd name="T0" fmla="*/ 0 w 548"/>
                <a:gd name="T1" fmla="*/ 916 h 1071"/>
                <a:gd name="T2" fmla="*/ 0 w 548"/>
                <a:gd name="T3" fmla="*/ 1071 h 1071"/>
                <a:gd name="T4" fmla="*/ 548 w 548"/>
                <a:gd name="T5" fmla="*/ 533 h 1071"/>
                <a:gd name="T6" fmla="*/ 0 w 548"/>
                <a:gd name="T7" fmla="*/ 0 h 1071"/>
                <a:gd name="T8" fmla="*/ 0 w 548"/>
                <a:gd name="T9" fmla="*/ 155 h 1071"/>
              </a:gdLst>
              <a:ahLst/>
              <a:cxnLst>
                <a:cxn ang="0">
                  <a:pos x="T0" y="T1"/>
                </a:cxn>
                <a:cxn ang="0">
                  <a:pos x="T2" y="T3"/>
                </a:cxn>
                <a:cxn ang="0">
                  <a:pos x="T4" y="T5"/>
                </a:cxn>
                <a:cxn ang="0">
                  <a:pos x="T6" y="T7"/>
                </a:cxn>
                <a:cxn ang="0">
                  <a:pos x="T8" y="T9"/>
                </a:cxn>
              </a:cxnLst>
              <a:rect l="0" t="0" r="r" b="b"/>
              <a:pathLst>
                <a:path w="548" h="1071">
                  <a:moveTo>
                    <a:pt x="0" y="916"/>
                  </a:moveTo>
                  <a:lnTo>
                    <a:pt x="0" y="1071"/>
                  </a:lnTo>
                  <a:lnTo>
                    <a:pt x="548" y="533"/>
                  </a:lnTo>
                  <a:lnTo>
                    <a:pt x="0" y="0"/>
                  </a:lnTo>
                  <a:lnTo>
                    <a:pt x="0" y="155"/>
                  </a:lnTo>
                </a:path>
              </a:pathLst>
            </a:custGeom>
            <a:noFill/>
            <a:ln w="12700" cap="rnd">
              <a:solidFill>
                <a:srgbClr val="43B02A"/>
              </a:solidFill>
              <a:prstDash val="solid"/>
              <a:round/>
              <a:headEnd/>
              <a:tailEnd/>
            </a:ln>
            <a:extLst>
              <a:ext uri="{909E8E84-426E-40dd-AFC4-6F175D3DCCD1}">
                <a14:hiddenFill xmlns:a14="http://schemas.microsoft.com/office/drawing/2010/main" xmlns:p14="http://schemas.microsoft.com/office/powerpoint/2010/main" xmlns:a16="http://schemas.microsoft.com/office/drawing/2014/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Line 18">
              <a:extLst>
                <a:ext uri="{FF2B5EF4-FFF2-40B4-BE49-F238E27FC236}">
                  <a16:creationId xmlns:a16="http://schemas.microsoft.com/office/drawing/2014/main" id="{1BF920AE-1912-BB48-9691-1B68A3EAAA9C}"/>
                </a:ext>
              </a:extLst>
            </p:cNvPr>
            <p:cNvSpPr>
              <a:spLocks noChangeShapeType="1"/>
            </p:cNvSpPr>
            <p:nvPr/>
          </p:nvSpPr>
          <p:spPr bwMode="auto">
            <a:xfrm>
              <a:off x="6687201" y="3536950"/>
              <a:ext cx="971347" cy="0"/>
            </a:xfrm>
            <a:prstGeom prst="line">
              <a:avLst/>
            </a:prstGeom>
            <a:noFill/>
            <a:ln w="12700" cap="rnd">
              <a:solidFill>
                <a:srgbClr val="43B02A"/>
              </a:solidFill>
              <a:prstDash val="solid"/>
              <a:round/>
              <a:headEnd/>
              <a:tailEnd/>
            </a:ln>
            <a:extLst>
              <a:ext uri="{909E8E84-426E-40dd-AFC4-6F175D3DCCD1}">
                <a14:hiddenFill xmlns:a14="http://schemas.microsoft.com/office/drawing/2010/main" xmlns:p14="http://schemas.microsoft.com/office/powerpoint/2010/main" xmlns:a16="http://schemas.microsoft.com/office/drawing/2014/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19">
              <a:extLst>
                <a:ext uri="{FF2B5EF4-FFF2-40B4-BE49-F238E27FC236}">
                  <a16:creationId xmlns:a16="http://schemas.microsoft.com/office/drawing/2014/main" id="{BC198D94-AADF-704F-816A-40D77D136F94}"/>
                </a:ext>
              </a:extLst>
            </p:cNvPr>
            <p:cNvSpPr>
              <a:spLocks noChangeShapeType="1"/>
            </p:cNvSpPr>
            <p:nvPr/>
          </p:nvSpPr>
          <p:spPr bwMode="auto">
            <a:xfrm flipH="1">
              <a:off x="6687200" y="2527121"/>
              <a:ext cx="971347" cy="0"/>
            </a:xfrm>
            <a:prstGeom prst="line">
              <a:avLst/>
            </a:prstGeom>
            <a:noFill/>
            <a:ln w="12700" cap="rnd">
              <a:solidFill>
                <a:srgbClr val="43B02A"/>
              </a:solidFill>
              <a:prstDash val="solid"/>
              <a:round/>
              <a:headEnd/>
              <a:tailEnd/>
            </a:ln>
            <a:extLst>
              <a:ext uri="{909E8E84-426E-40dd-AFC4-6F175D3DCCD1}">
                <a14:hiddenFill xmlns:a14="http://schemas.microsoft.com/office/drawing/2010/main" xmlns:p14="http://schemas.microsoft.com/office/powerpoint/2010/main" xmlns:a16="http://schemas.microsoft.com/office/drawing/2014/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2" name="Group 41">
            <a:extLst>
              <a:ext uri="{FF2B5EF4-FFF2-40B4-BE49-F238E27FC236}">
                <a16:creationId xmlns:a16="http://schemas.microsoft.com/office/drawing/2014/main" id="{BD0D1BCC-1BA3-EE4A-9DFB-BE8FAED9FDC9}"/>
              </a:ext>
            </a:extLst>
          </p:cNvPr>
          <p:cNvGrpSpPr/>
          <p:nvPr/>
        </p:nvGrpSpPr>
        <p:grpSpPr>
          <a:xfrm>
            <a:off x="3758403" y="1714500"/>
            <a:ext cx="1698530" cy="1413230"/>
            <a:chOff x="758270" y="1311610"/>
            <a:chExt cx="1698530" cy="1413230"/>
          </a:xfrm>
        </p:grpSpPr>
        <p:sp>
          <p:nvSpPr>
            <p:cNvPr id="43" name="Freeform 14">
              <a:extLst>
                <a:ext uri="{FF2B5EF4-FFF2-40B4-BE49-F238E27FC236}">
                  <a16:creationId xmlns:a16="http://schemas.microsoft.com/office/drawing/2014/main" id="{39BE7E27-C86C-C949-8898-34C9F8AFFA5E}"/>
                </a:ext>
              </a:extLst>
            </p:cNvPr>
            <p:cNvSpPr>
              <a:spLocks/>
            </p:cNvSpPr>
            <p:nvPr/>
          </p:nvSpPr>
          <p:spPr bwMode="auto">
            <a:xfrm>
              <a:off x="758270" y="1311610"/>
              <a:ext cx="727183" cy="1413230"/>
            </a:xfrm>
            <a:custGeom>
              <a:avLst/>
              <a:gdLst>
                <a:gd name="T0" fmla="*/ 548 w 548"/>
                <a:gd name="T1" fmla="*/ 149 h 1065"/>
                <a:gd name="T2" fmla="*/ 548 w 548"/>
                <a:gd name="T3" fmla="*/ 0 h 1065"/>
                <a:gd name="T4" fmla="*/ 0 w 548"/>
                <a:gd name="T5" fmla="*/ 532 h 1065"/>
                <a:gd name="T6" fmla="*/ 548 w 548"/>
                <a:gd name="T7" fmla="*/ 1065 h 1065"/>
                <a:gd name="T8" fmla="*/ 548 w 548"/>
                <a:gd name="T9" fmla="*/ 916 h 1065"/>
              </a:gdLst>
              <a:ahLst/>
              <a:cxnLst>
                <a:cxn ang="0">
                  <a:pos x="T0" y="T1"/>
                </a:cxn>
                <a:cxn ang="0">
                  <a:pos x="T2" y="T3"/>
                </a:cxn>
                <a:cxn ang="0">
                  <a:pos x="T4" y="T5"/>
                </a:cxn>
                <a:cxn ang="0">
                  <a:pos x="T6" y="T7"/>
                </a:cxn>
                <a:cxn ang="0">
                  <a:pos x="T8" y="T9"/>
                </a:cxn>
              </a:cxnLst>
              <a:rect l="0" t="0" r="r" b="b"/>
              <a:pathLst>
                <a:path w="548" h="1065">
                  <a:moveTo>
                    <a:pt x="548" y="149"/>
                  </a:moveTo>
                  <a:lnTo>
                    <a:pt x="548" y="0"/>
                  </a:lnTo>
                  <a:lnTo>
                    <a:pt x="0" y="532"/>
                  </a:lnTo>
                  <a:lnTo>
                    <a:pt x="548" y="1065"/>
                  </a:lnTo>
                  <a:lnTo>
                    <a:pt x="548" y="916"/>
                  </a:lnTo>
                </a:path>
              </a:pathLst>
            </a:custGeom>
            <a:noFill/>
            <a:ln w="12700" cap="rnd">
              <a:solidFill>
                <a:srgbClr val="86BC25"/>
              </a:solidFill>
              <a:prstDash val="solid"/>
              <a:round/>
              <a:headEnd/>
              <a:tailEnd/>
            </a:ln>
            <a:extLst>
              <a:ext uri="{909E8E84-426E-40dd-AFC4-6F175D3DCCD1}">
                <a14:hiddenFill xmlns:a14="http://schemas.microsoft.com/office/drawing/2010/main" xmlns:p14="http://schemas.microsoft.com/office/powerpoint/2010/main" xmlns:a16="http://schemas.microsoft.com/office/drawing/2014/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 name="Line 15">
              <a:extLst>
                <a:ext uri="{FF2B5EF4-FFF2-40B4-BE49-F238E27FC236}">
                  <a16:creationId xmlns:a16="http://schemas.microsoft.com/office/drawing/2014/main" id="{1AB82672-98EA-F147-A271-F5AF84F3E47D}"/>
                </a:ext>
              </a:extLst>
            </p:cNvPr>
            <p:cNvSpPr>
              <a:spLocks noChangeShapeType="1"/>
            </p:cNvSpPr>
            <p:nvPr/>
          </p:nvSpPr>
          <p:spPr bwMode="auto">
            <a:xfrm flipH="1">
              <a:off x="1485453" y="1509330"/>
              <a:ext cx="971347" cy="0"/>
            </a:xfrm>
            <a:prstGeom prst="line">
              <a:avLst/>
            </a:prstGeom>
            <a:noFill/>
            <a:ln w="12700" cap="rnd">
              <a:solidFill>
                <a:srgbClr val="86BC25"/>
              </a:solidFill>
              <a:prstDash val="solid"/>
              <a:round/>
              <a:headEnd/>
              <a:tailEnd/>
            </a:ln>
            <a:extLst>
              <a:ext uri="{909E8E84-426E-40dd-AFC4-6F175D3DCCD1}">
                <a14:hiddenFill xmlns:a14="http://schemas.microsoft.com/office/drawing/2010/main" xmlns:p14="http://schemas.microsoft.com/office/powerpoint/2010/main" xmlns:a16="http://schemas.microsoft.com/office/drawing/2014/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 name="Line 15">
              <a:extLst>
                <a:ext uri="{FF2B5EF4-FFF2-40B4-BE49-F238E27FC236}">
                  <a16:creationId xmlns:a16="http://schemas.microsoft.com/office/drawing/2014/main" id="{B6D73A98-F301-A640-886A-65C3523CBFC5}"/>
                </a:ext>
              </a:extLst>
            </p:cNvPr>
            <p:cNvSpPr>
              <a:spLocks noChangeShapeType="1"/>
            </p:cNvSpPr>
            <p:nvPr/>
          </p:nvSpPr>
          <p:spPr bwMode="auto">
            <a:xfrm flipH="1">
              <a:off x="1485453" y="2527121"/>
              <a:ext cx="971347" cy="0"/>
            </a:xfrm>
            <a:prstGeom prst="line">
              <a:avLst/>
            </a:prstGeom>
            <a:noFill/>
            <a:ln w="12700" cap="rnd">
              <a:solidFill>
                <a:srgbClr val="86BC25"/>
              </a:solidFill>
              <a:prstDash val="solid"/>
              <a:round/>
              <a:headEnd/>
              <a:tailEnd/>
            </a:ln>
            <a:extLst>
              <a:ext uri="{909E8E84-426E-40dd-AFC4-6F175D3DCCD1}">
                <a14:hiddenFill xmlns:a14="http://schemas.microsoft.com/office/drawing/2010/main" xmlns:p14="http://schemas.microsoft.com/office/powerpoint/2010/main" xmlns:a16="http://schemas.microsoft.com/office/drawing/2014/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Line 16">
            <a:extLst>
              <a:ext uri="{FF2B5EF4-FFF2-40B4-BE49-F238E27FC236}">
                <a16:creationId xmlns:a16="http://schemas.microsoft.com/office/drawing/2014/main" id="{DAC94762-AFC7-A740-9C27-AB6E9EE25CF0}"/>
              </a:ext>
            </a:extLst>
          </p:cNvPr>
          <p:cNvSpPr>
            <a:spLocks noChangeShapeType="1"/>
          </p:cNvSpPr>
          <p:nvPr/>
        </p:nvSpPr>
        <p:spPr bwMode="auto">
          <a:xfrm>
            <a:off x="2105025" y="3939841"/>
            <a:ext cx="7977188" cy="0"/>
          </a:xfrm>
          <a:prstGeom prst="line">
            <a:avLst/>
          </a:prstGeom>
          <a:noFill/>
          <a:ln w="12700" cap="rnd">
            <a:gradFill>
              <a:gsLst>
                <a:gs pos="100000">
                  <a:srgbClr val="009A44"/>
                </a:gs>
                <a:gs pos="0">
                  <a:srgbClr val="43B02A"/>
                </a:gs>
              </a:gsLst>
              <a:lin ang="0" scaled="0"/>
            </a:gradFill>
            <a:prstDash val="solid"/>
            <a:round/>
            <a:headEnd/>
            <a:tailEnd/>
          </a:ln>
          <a:extLst>
            <a:ext uri="{909E8E84-426E-40dd-AFC4-6F175D3DCCD1}">
              <a14:hiddenFill xmlns:a14="http://schemas.microsoft.com/office/drawing/2010/main" xmlns:p14="http://schemas.microsoft.com/office/powerpoint/2010/main" xmlns:a16="http://schemas.microsoft.com/office/drawing/2014/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16" name="Group 15">
            <a:extLst>
              <a:ext uri="{FF2B5EF4-FFF2-40B4-BE49-F238E27FC236}">
                <a16:creationId xmlns:a16="http://schemas.microsoft.com/office/drawing/2014/main" id="{BD0D1BCC-1BA3-EE4A-9DFB-BE8FAED9FDC9}"/>
              </a:ext>
            </a:extLst>
          </p:cNvPr>
          <p:cNvGrpSpPr/>
          <p:nvPr/>
        </p:nvGrpSpPr>
        <p:grpSpPr>
          <a:xfrm>
            <a:off x="529121" y="3744868"/>
            <a:ext cx="1698530" cy="1413230"/>
            <a:chOff x="758270" y="1311610"/>
            <a:chExt cx="1698530" cy="1413230"/>
          </a:xfrm>
        </p:grpSpPr>
        <p:sp>
          <p:nvSpPr>
            <p:cNvPr id="17" name="Freeform 14">
              <a:extLst>
                <a:ext uri="{FF2B5EF4-FFF2-40B4-BE49-F238E27FC236}">
                  <a16:creationId xmlns:a16="http://schemas.microsoft.com/office/drawing/2014/main" id="{39BE7E27-C86C-C949-8898-34C9F8AFFA5E}"/>
                </a:ext>
              </a:extLst>
            </p:cNvPr>
            <p:cNvSpPr>
              <a:spLocks/>
            </p:cNvSpPr>
            <p:nvPr/>
          </p:nvSpPr>
          <p:spPr bwMode="auto">
            <a:xfrm>
              <a:off x="758270" y="1311610"/>
              <a:ext cx="727183" cy="1413230"/>
            </a:xfrm>
            <a:custGeom>
              <a:avLst/>
              <a:gdLst>
                <a:gd name="T0" fmla="*/ 548 w 548"/>
                <a:gd name="T1" fmla="*/ 149 h 1065"/>
                <a:gd name="T2" fmla="*/ 548 w 548"/>
                <a:gd name="T3" fmla="*/ 0 h 1065"/>
                <a:gd name="T4" fmla="*/ 0 w 548"/>
                <a:gd name="T5" fmla="*/ 532 h 1065"/>
                <a:gd name="T6" fmla="*/ 548 w 548"/>
                <a:gd name="T7" fmla="*/ 1065 h 1065"/>
                <a:gd name="T8" fmla="*/ 548 w 548"/>
                <a:gd name="T9" fmla="*/ 916 h 1065"/>
              </a:gdLst>
              <a:ahLst/>
              <a:cxnLst>
                <a:cxn ang="0">
                  <a:pos x="T0" y="T1"/>
                </a:cxn>
                <a:cxn ang="0">
                  <a:pos x="T2" y="T3"/>
                </a:cxn>
                <a:cxn ang="0">
                  <a:pos x="T4" y="T5"/>
                </a:cxn>
                <a:cxn ang="0">
                  <a:pos x="T6" y="T7"/>
                </a:cxn>
                <a:cxn ang="0">
                  <a:pos x="T8" y="T9"/>
                </a:cxn>
              </a:cxnLst>
              <a:rect l="0" t="0" r="r" b="b"/>
              <a:pathLst>
                <a:path w="548" h="1065">
                  <a:moveTo>
                    <a:pt x="548" y="149"/>
                  </a:moveTo>
                  <a:lnTo>
                    <a:pt x="548" y="0"/>
                  </a:lnTo>
                  <a:lnTo>
                    <a:pt x="0" y="532"/>
                  </a:lnTo>
                  <a:lnTo>
                    <a:pt x="548" y="1065"/>
                  </a:lnTo>
                  <a:lnTo>
                    <a:pt x="548" y="916"/>
                  </a:lnTo>
                </a:path>
              </a:pathLst>
            </a:custGeom>
            <a:noFill/>
            <a:ln w="12700" cap="rnd">
              <a:solidFill>
                <a:srgbClr val="009A44"/>
              </a:solidFill>
              <a:prstDash val="solid"/>
              <a:round/>
              <a:headEnd/>
              <a:tailEnd/>
            </a:ln>
            <a:extLst>
              <a:ext uri="{909E8E84-426E-40dd-AFC4-6F175D3DCCD1}">
                <a14:hiddenFill xmlns:a14="http://schemas.microsoft.com/office/drawing/2010/main" xmlns:p14="http://schemas.microsoft.com/office/powerpoint/2010/main" xmlns:a16="http://schemas.microsoft.com/office/drawing/2014/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Line 15">
              <a:extLst>
                <a:ext uri="{FF2B5EF4-FFF2-40B4-BE49-F238E27FC236}">
                  <a16:creationId xmlns:a16="http://schemas.microsoft.com/office/drawing/2014/main" id="{1AB82672-98EA-F147-A271-F5AF84F3E47D}"/>
                </a:ext>
              </a:extLst>
            </p:cNvPr>
            <p:cNvSpPr>
              <a:spLocks noChangeShapeType="1"/>
            </p:cNvSpPr>
            <p:nvPr/>
          </p:nvSpPr>
          <p:spPr bwMode="auto">
            <a:xfrm flipH="1">
              <a:off x="1485453" y="1509330"/>
              <a:ext cx="971347" cy="0"/>
            </a:xfrm>
            <a:prstGeom prst="line">
              <a:avLst/>
            </a:prstGeom>
            <a:noFill/>
            <a:ln w="12700" cap="rnd">
              <a:solidFill>
                <a:srgbClr val="009A44"/>
              </a:solidFill>
              <a:prstDash val="solid"/>
              <a:round/>
              <a:headEnd/>
              <a:tailEnd/>
            </a:ln>
            <a:extLst>
              <a:ext uri="{909E8E84-426E-40dd-AFC4-6F175D3DCCD1}">
                <a14:hiddenFill xmlns:a14="http://schemas.microsoft.com/office/drawing/2010/main" xmlns:p14="http://schemas.microsoft.com/office/powerpoint/2010/main" xmlns:a16="http://schemas.microsoft.com/office/drawing/2014/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Line 15">
              <a:extLst>
                <a:ext uri="{FF2B5EF4-FFF2-40B4-BE49-F238E27FC236}">
                  <a16:creationId xmlns:a16="http://schemas.microsoft.com/office/drawing/2014/main" id="{B6D73A98-F301-A640-886A-65C3523CBFC5}"/>
                </a:ext>
              </a:extLst>
            </p:cNvPr>
            <p:cNvSpPr>
              <a:spLocks noChangeShapeType="1"/>
            </p:cNvSpPr>
            <p:nvPr/>
          </p:nvSpPr>
          <p:spPr bwMode="auto">
            <a:xfrm flipH="1">
              <a:off x="1485453" y="2527121"/>
              <a:ext cx="971347" cy="0"/>
            </a:xfrm>
            <a:prstGeom prst="line">
              <a:avLst/>
            </a:prstGeom>
            <a:noFill/>
            <a:ln w="12700" cap="rnd">
              <a:solidFill>
                <a:srgbClr val="009A44"/>
              </a:solidFill>
              <a:prstDash val="solid"/>
              <a:round/>
              <a:headEnd/>
              <a:tailEnd/>
            </a:ln>
            <a:extLst>
              <a:ext uri="{909E8E84-426E-40dd-AFC4-6F175D3DCCD1}">
                <a14:hiddenFill xmlns:a14="http://schemas.microsoft.com/office/drawing/2010/main" xmlns:p14="http://schemas.microsoft.com/office/powerpoint/2010/main" xmlns:a16="http://schemas.microsoft.com/office/drawing/2014/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 name="Group 21">
            <a:extLst>
              <a:ext uri="{FF2B5EF4-FFF2-40B4-BE49-F238E27FC236}">
                <a16:creationId xmlns:a16="http://schemas.microsoft.com/office/drawing/2014/main" id="{2CEC80CE-C630-C14A-B222-865B14309C6D}"/>
              </a:ext>
            </a:extLst>
          </p:cNvPr>
          <p:cNvGrpSpPr/>
          <p:nvPr/>
        </p:nvGrpSpPr>
        <p:grpSpPr>
          <a:xfrm>
            <a:off x="6870598" y="4753583"/>
            <a:ext cx="1698531" cy="1421192"/>
            <a:chOff x="6687200" y="2321439"/>
            <a:chExt cx="1698531" cy="1421192"/>
          </a:xfrm>
        </p:grpSpPr>
        <p:sp>
          <p:nvSpPr>
            <p:cNvPr id="23" name="Freeform 17">
              <a:extLst>
                <a:ext uri="{FF2B5EF4-FFF2-40B4-BE49-F238E27FC236}">
                  <a16:creationId xmlns:a16="http://schemas.microsoft.com/office/drawing/2014/main" id="{315C0F97-E887-744B-85F1-8363BB1EAA5F}"/>
                </a:ext>
              </a:extLst>
            </p:cNvPr>
            <p:cNvSpPr>
              <a:spLocks/>
            </p:cNvSpPr>
            <p:nvPr/>
          </p:nvSpPr>
          <p:spPr bwMode="auto">
            <a:xfrm>
              <a:off x="7658548" y="2321439"/>
              <a:ext cx="727183" cy="1421192"/>
            </a:xfrm>
            <a:custGeom>
              <a:avLst/>
              <a:gdLst>
                <a:gd name="T0" fmla="*/ 0 w 548"/>
                <a:gd name="T1" fmla="*/ 916 h 1071"/>
                <a:gd name="T2" fmla="*/ 0 w 548"/>
                <a:gd name="T3" fmla="*/ 1071 h 1071"/>
                <a:gd name="T4" fmla="*/ 548 w 548"/>
                <a:gd name="T5" fmla="*/ 533 h 1071"/>
                <a:gd name="T6" fmla="*/ 0 w 548"/>
                <a:gd name="T7" fmla="*/ 0 h 1071"/>
                <a:gd name="T8" fmla="*/ 0 w 548"/>
                <a:gd name="T9" fmla="*/ 155 h 1071"/>
              </a:gdLst>
              <a:ahLst/>
              <a:cxnLst>
                <a:cxn ang="0">
                  <a:pos x="T0" y="T1"/>
                </a:cxn>
                <a:cxn ang="0">
                  <a:pos x="T2" y="T3"/>
                </a:cxn>
                <a:cxn ang="0">
                  <a:pos x="T4" y="T5"/>
                </a:cxn>
                <a:cxn ang="0">
                  <a:pos x="T6" y="T7"/>
                </a:cxn>
                <a:cxn ang="0">
                  <a:pos x="T8" y="T9"/>
                </a:cxn>
              </a:cxnLst>
              <a:rect l="0" t="0" r="r" b="b"/>
              <a:pathLst>
                <a:path w="548" h="1071">
                  <a:moveTo>
                    <a:pt x="0" y="916"/>
                  </a:moveTo>
                  <a:lnTo>
                    <a:pt x="0" y="1071"/>
                  </a:lnTo>
                  <a:lnTo>
                    <a:pt x="548" y="533"/>
                  </a:lnTo>
                  <a:lnTo>
                    <a:pt x="0" y="0"/>
                  </a:lnTo>
                  <a:lnTo>
                    <a:pt x="0" y="155"/>
                  </a:lnTo>
                </a:path>
              </a:pathLst>
            </a:custGeom>
            <a:noFill/>
            <a:ln w="12700" cap="rnd">
              <a:solidFill>
                <a:srgbClr val="000000"/>
              </a:solidFill>
              <a:prstDash val="solid"/>
              <a:round/>
              <a:headEnd/>
              <a:tailEnd/>
            </a:ln>
            <a:extLst>
              <a:ext uri="{909E8E84-426E-40dd-AFC4-6F175D3DCCD1}">
                <a14:hiddenFill xmlns:a14="http://schemas.microsoft.com/office/drawing/2010/main" xmlns:p14="http://schemas.microsoft.com/office/powerpoint/2010/main" xmlns:a16="http://schemas.microsoft.com/office/drawing/2014/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Line 18">
              <a:extLst>
                <a:ext uri="{FF2B5EF4-FFF2-40B4-BE49-F238E27FC236}">
                  <a16:creationId xmlns:a16="http://schemas.microsoft.com/office/drawing/2014/main" id="{1BF920AE-1912-BB48-9691-1B68A3EAAA9C}"/>
                </a:ext>
              </a:extLst>
            </p:cNvPr>
            <p:cNvSpPr>
              <a:spLocks noChangeShapeType="1"/>
            </p:cNvSpPr>
            <p:nvPr/>
          </p:nvSpPr>
          <p:spPr bwMode="auto">
            <a:xfrm>
              <a:off x="6687201" y="3536950"/>
              <a:ext cx="971347" cy="0"/>
            </a:xfrm>
            <a:prstGeom prst="line">
              <a:avLst/>
            </a:prstGeom>
            <a:noFill/>
            <a:ln w="12700" cap="rnd">
              <a:solidFill>
                <a:srgbClr val="000000"/>
              </a:solidFill>
              <a:prstDash val="solid"/>
              <a:round/>
              <a:headEnd/>
              <a:tailEnd/>
            </a:ln>
            <a:extLst>
              <a:ext uri="{909E8E84-426E-40dd-AFC4-6F175D3DCCD1}">
                <a14:hiddenFill xmlns:a14="http://schemas.microsoft.com/office/drawing/2010/main" xmlns:p14="http://schemas.microsoft.com/office/powerpoint/2010/main" xmlns:a16="http://schemas.microsoft.com/office/drawing/2014/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Line 19">
              <a:extLst>
                <a:ext uri="{FF2B5EF4-FFF2-40B4-BE49-F238E27FC236}">
                  <a16:creationId xmlns:a16="http://schemas.microsoft.com/office/drawing/2014/main" id="{BC198D94-AADF-704F-816A-40D77D136F94}"/>
                </a:ext>
              </a:extLst>
            </p:cNvPr>
            <p:cNvSpPr>
              <a:spLocks noChangeShapeType="1"/>
            </p:cNvSpPr>
            <p:nvPr/>
          </p:nvSpPr>
          <p:spPr bwMode="auto">
            <a:xfrm flipH="1">
              <a:off x="6687200" y="2527121"/>
              <a:ext cx="971347" cy="0"/>
            </a:xfrm>
            <a:prstGeom prst="line">
              <a:avLst/>
            </a:prstGeom>
            <a:noFill/>
            <a:ln w="12700" cap="rnd">
              <a:solidFill>
                <a:srgbClr val="000000"/>
              </a:solidFill>
              <a:prstDash val="solid"/>
              <a:round/>
              <a:headEnd/>
              <a:tailEnd/>
            </a:ln>
            <a:extLst>
              <a:ext uri="{909E8E84-426E-40dd-AFC4-6F175D3DCCD1}">
                <a14:hiddenFill xmlns:a14="http://schemas.microsoft.com/office/drawing/2010/main" xmlns:p14="http://schemas.microsoft.com/office/powerpoint/2010/main" xmlns:a16="http://schemas.microsoft.com/office/drawing/2014/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Line 16">
            <a:extLst>
              <a:ext uri="{FF2B5EF4-FFF2-40B4-BE49-F238E27FC236}">
                <a16:creationId xmlns:a16="http://schemas.microsoft.com/office/drawing/2014/main" id="{DAC94762-AFC7-A740-9C27-AB6E9EE25CF0}"/>
              </a:ext>
            </a:extLst>
          </p:cNvPr>
          <p:cNvSpPr>
            <a:spLocks noChangeShapeType="1"/>
          </p:cNvSpPr>
          <p:nvPr/>
        </p:nvSpPr>
        <p:spPr bwMode="auto">
          <a:xfrm>
            <a:off x="2162176" y="4960379"/>
            <a:ext cx="4838699" cy="0"/>
          </a:xfrm>
          <a:prstGeom prst="line">
            <a:avLst/>
          </a:prstGeom>
          <a:noFill/>
          <a:ln w="12700" cap="rnd">
            <a:gradFill>
              <a:gsLst>
                <a:gs pos="0">
                  <a:srgbClr val="009A44"/>
                </a:gs>
                <a:gs pos="100000">
                  <a:srgbClr val="000000"/>
                </a:gs>
              </a:gsLst>
              <a:lin ang="0" scaled="0"/>
            </a:gradFill>
            <a:prstDash val="solid"/>
            <a:round/>
            <a:headEnd/>
            <a:tailEnd/>
          </a:ln>
          <a:extLst>
            <a:ext uri="{909E8E84-426E-40dd-AFC4-6F175D3DCCD1}">
              <a14:hiddenFill xmlns:a14="http://schemas.microsoft.com/office/drawing/2010/main" xmlns:p14="http://schemas.microsoft.com/office/powerpoint/2010/main" xmlns:a16="http://schemas.microsoft.com/office/drawing/2014/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27">
            <a:extLst>
              <a:ext uri="{FF2B5EF4-FFF2-40B4-BE49-F238E27FC236}">
                <a16:creationId xmlns:a16="http://schemas.microsoft.com/office/drawing/2014/main" id="{380880D7-654A-EB4D-97C4-C043DE3491BB}"/>
              </a:ext>
            </a:extLst>
          </p:cNvPr>
          <p:cNvSpPr/>
          <p:nvPr/>
        </p:nvSpPr>
        <p:spPr>
          <a:xfrm>
            <a:off x="2162176" y="5272056"/>
            <a:ext cx="5194096" cy="400110"/>
          </a:xfrm>
          <a:prstGeom prst="rect">
            <a:avLst/>
          </a:prstGeom>
        </p:spPr>
        <p:txBody>
          <a:bodyPr wrap="square" lIns="0" tIns="0" rIns="0" bIns="0" anchor="ctr">
            <a:spAutoFit/>
          </a:bodyPr>
          <a:lstStyle/>
          <a:p>
            <a:pPr algn="r"/>
            <a:r>
              <a:rPr lang="en-US" sz="1300" dirty="0"/>
              <a:t>This is dummy text it is not here to be read. The is just text to show where you could insert text. Please replace with your text content here.</a:t>
            </a:r>
          </a:p>
        </p:txBody>
      </p:sp>
    </p:spTree>
    <p:custDataLst>
      <p:tags r:id="rId1"/>
    </p:custDataLst>
    <p:extLst>
      <p:ext uri="{BB962C8B-B14F-4D97-AF65-F5344CB8AC3E}">
        <p14:creationId xmlns:p14="http://schemas.microsoft.com/office/powerpoint/2010/main" val="2262593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46"/>
                                        </p:tgtEl>
                                        <p:attrNameLst>
                                          <p:attrName>style.visibility</p:attrName>
                                        </p:attrNameLst>
                                      </p:cBhvr>
                                      <p:to>
                                        <p:strVal val="visible"/>
                                      </p:to>
                                    </p:set>
                                    <p:animEffect transition="in" filter="fade">
                                      <p:cBhvr>
                                        <p:cTn id="9" dur="500"/>
                                        <p:tgtEl>
                                          <p:spTgt spid="46"/>
                                        </p:tgtEl>
                                      </p:cBhvr>
                                    </p:animEffect>
                                  </p:childTnLst>
                                </p:cTn>
                              </p:par>
                              <p:par>
                                <p:cTn id="10" presetID="10" presetClass="entr" presetSubtype="0" fill="hold" grpId="0" nodeType="withEffect">
                                  <p:stCondLst>
                                    <p:cond delay="1200"/>
                                  </p:stCondLst>
                                  <p:childTnLst>
                                    <p:set>
                                      <p:cBhvr>
                                        <p:cTn id="11" dur="1" fill="hold">
                                          <p:stCondLst>
                                            <p:cond delay="0"/>
                                          </p:stCondLst>
                                        </p:cTn>
                                        <p:tgtEl>
                                          <p:spTgt spid="62"/>
                                        </p:tgtEl>
                                        <p:attrNameLst>
                                          <p:attrName>style.visibility</p:attrName>
                                        </p:attrNameLst>
                                      </p:cBhvr>
                                      <p:to>
                                        <p:strVal val="visible"/>
                                      </p:to>
                                    </p:set>
                                    <p:animEffect transition="in" filter="fade">
                                      <p:cBhvr>
                                        <p:cTn id="12" dur="500"/>
                                        <p:tgtEl>
                                          <p:spTgt spid="62"/>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0"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grpId="0" nodeType="withEffect">
                                  <p:stCondLst>
                                    <p:cond delay="120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62" grpId="0" animBg="1"/>
      <p:bldP spid="63" grpId="0"/>
      <p:bldP spid="64" grpId="0"/>
      <p:bldP spid="20" grpId="0" animBg="1"/>
      <p:bldP spid="21" grpId="0"/>
      <p:bldP spid="26" grpId="0" animBg="1"/>
      <p:bldP spid="28" grpId="0"/>
    </p:bld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96782AC0-4B48-4FC3-8AD3-20CB01AF0D15}"/>
              </a:ext>
            </a:extLst>
          </p:cNvPr>
          <p:cNvGrpSpPr/>
          <p:nvPr/>
        </p:nvGrpSpPr>
        <p:grpSpPr>
          <a:xfrm>
            <a:off x="2175935" y="1162926"/>
            <a:ext cx="7617114" cy="4250644"/>
            <a:chOff x="1654744" y="1700213"/>
            <a:chExt cx="8702799" cy="4755201"/>
          </a:xfrm>
        </p:grpSpPr>
        <p:grpSp>
          <p:nvGrpSpPr>
            <p:cNvPr id="73" name="Group 72">
              <a:extLst>
                <a:ext uri="{FF2B5EF4-FFF2-40B4-BE49-F238E27FC236}">
                  <a16:creationId xmlns:a16="http://schemas.microsoft.com/office/drawing/2014/main" id="{C071FBB5-A067-4DCC-94AF-E7BE4CF06882}"/>
                </a:ext>
              </a:extLst>
            </p:cNvPr>
            <p:cNvGrpSpPr/>
            <p:nvPr/>
          </p:nvGrpSpPr>
          <p:grpSpPr>
            <a:xfrm>
              <a:off x="1828800" y="1700213"/>
              <a:ext cx="8378371" cy="4577916"/>
              <a:chOff x="1841500" y="1799071"/>
              <a:chExt cx="8378371" cy="4577916"/>
            </a:xfrm>
          </p:grpSpPr>
          <p:grpSp>
            <p:nvGrpSpPr>
              <p:cNvPr id="76" name="Group 75">
                <a:extLst>
                  <a:ext uri="{FF2B5EF4-FFF2-40B4-BE49-F238E27FC236}">
                    <a16:creationId xmlns:a16="http://schemas.microsoft.com/office/drawing/2014/main" id="{F373C749-55C5-4D76-BF42-D1D15A241CCF}"/>
                  </a:ext>
                </a:extLst>
              </p:cNvPr>
              <p:cNvGrpSpPr/>
              <p:nvPr/>
            </p:nvGrpSpPr>
            <p:grpSpPr>
              <a:xfrm>
                <a:off x="4435134" y="1799071"/>
                <a:ext cx="3191102" cy="1077912"/>
                <a:chOff x="4278313" y="1799071"/>
                <a:chExt cx="3191102" cy="1077912"/>
              </a:xfrm>
              <a:solidFill>
                <a:schemeClr val="tx1"/>
              </a:solidFill>
            </p:grpSpPr>
            <p:sp>
              <p:nvSpPr>
                <p:cNvPr id="86" name="Oval 85">
                  <a:extLst>
                    <a:ext uri="{FF2B5EF4-FFF2-40B4-BE49-F238E27FC236}">
                      <a16:creationId xmlns:a16="http://schemas.microsoft.com/office/drawing/2014/main" id="{A094CEC1-9AAD-40EE-A8F1-3810541DD399}"/>
                    </a:ext>
                  </a:extLst>
                </p:cNvPr>
                <p:cNvSpPr/>
                <p:nvPr/>
              </p:nvSpPr>
              <p:spPr bwMode="gray">
                <a:xfrm>
                  <a:off x="4278313" y="1799071"/>
                  <a:ext cx="1077912" cy="1077912"/>
                </a:xfrm>
                <a:prstGeom prst="ellipse">
                  <a:avLst/>
                </a:prstGeom>
                <a:grpFill/>
                <a:ln w="25400" algn="ctr">
                  <a:solidFill>
                    <a:srgbClr val="63666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a:solidFill>
                      <a:schemeClr val="bg1"/>
                    </a:solidFill>
                  </a:endParaRPr>
                </a:p>
              </p:txBody>
            </p:sp>
            <p:sp>
              <p:nvSpPr>
                <p:cNvPr id="87" name="Oval 86">
                  <a:extLst>
                    <a:ext uri="{FF2B5EF4-FFF2-40B4-BE49-F238E27FC236}">
                      <a16:creationId xmlns:a16="http://schemas.microsoft.com/office/drawing/2014/main" id="{AFB6D571-394B-4DD4-B87D-FF5168739D29}"/>
                    </a:ext>
                  </a:extLst>
                </p:cNvPr>
                <p:cNvSpPr/>
                <p:nvPr/>
              </p:nvSpPr>
              <p:spPr bwMode="gray">
                <a:xfrm>
                  <a:off x="6391503" y="1799071"/>
                  <a:ext cx="1077912" cy="1077912"/>
                </a:xfrm>
                <a:prstGeom prst="ellipse">
                  <a:avLst/>
                </a:prstGeom>
                <a:grpFill/>
                <a:ln w="25400" algn="ctr">
                  <a:solidFill>
                    <a:srgbClr val="63666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a:solidFill>
                      <a:schemeClr val="bg1"/>
                    </a:solidFill>
                  </a:endParaRPr>
                </a:p>
              </p:txBody>
            </p:sp>
          </p:grpSp>
          <p:sp>
            <p:nvSpPr>
              <p:cNvPr id="77" name="Rectangle: Rounded Corners 76">
                <a:extLst>
                  <a:ext uri="{FF2B5EF4-FFF2-40B4-BE49-F238E27FC236}">
                    <a16:creationId xmlns:a16="http://schemas.microsoft.com/office/drawing/2014/main" id="{96511E36-65C9-4315-87CE-466DBB9E86E7}"/>
                  </a:ext>
                </a:extLst>
              </p:cNvPr>
              <p:cNvSpPr/>
              <p:nvPr/>
            </p:nvSpPr>
            <p:spPr bwMode="gray">
              <a:xfrm>
                <a:off x="2687410" y="2209800"/>
                <a:ext cx="6686550" cy="3100387"/>
              </a:xfrm>
              <a:prstGeom prst="roundRect">
                <a:avLst>
                  <a:gd name="adj" fmla="val 50000"/>
                </a:avLst>
              </a:prstGeom>
              <a:solidFill>
                <a:schemeClr val="tx1"/>
              </a:solidFill>
              <a:ln w="25400" algn="ctr">
                <a:solidFill>
                  <a:srgbClr val="63666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a:solidFill>
                    <a:schemeClr val="bg1"/>
                  </a:solidFill>
                </a:endParaRPr>
              </a:p>
            </p:txBody>
          </p:sp>
          <p:sp>
            <p:nvSpPr>
              <p:cNvPr id="78" name="Rectangle: Rounded Corners 77">
                <a:extLst>
                  <a:ext uri="{FF2B5EF4-FFF2-40B4-BE49-F238E27FC236}">
                    <a16:creationId xmlns:a16="http://schemas.microsoft.com/office/drawing/2014/main" id="{DC569C50-5087-4402-B5F0-F5BA85BC66F6}"/>
                  </a:ext>
                </a:extLst>
              </p:cNvPr>
              <p:cNvSpPr/>
              <p:nvPr/>
            </p:nvSpPr>
            <p:spPr bwMode="gray">
              <a:xfrm>
                <a:off x="5643335" y="3100387"/>
                <a:ext cx="774700" cy="328613"/>
              </a:xfrm>
              <a:prstGeom prst="roundRect">
                <a:avLst>
                  <a:gd name="adj" fmla="val 50000"/>
                </a:avLst>
              </a:prstGeom>
              <a:solidFill>
                <a:schemeClr val="tx1"/>
              </a:solidFill>
              <a:ln w="25400" algn="ctr">
                <a:solidFill>
                  <a:srgbClr val="63666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a:solidFill>
                    <a:schemeClr val="bg1"/>
                  </a:solidFill>
                </a:endParaRPr>
              </a:p>
            </p:txBody>
          </p:sp>
          <p:grpSp>
            <p:nvGrpSpPr>
              <p:cNvPr id="79" name="Group 78">
                <a:extLst>
                  <a:ext uri="{FF2B5EF4-FFF2-40B4-BE49-F238E27FC236}">
                    <a16:creationId xmlns:a16="http://schemas.microsoft.com/office/drawing/2014/main" id="{E5F378E3-76E8-4120-8510-79B58AC9F6AC}"/>
                  </a:ext>
                </a:extLst>
              </p:cNvPr>
              <p:cNvGrpSpPr/>
              <p:nvPr/>
            </p:nvGrpSpPr>
            <p:grpSpPr>
              <a:xfrm>
                <a:off x="1841500" y="2795587"/>
                <a:ext cx="8378371" cy="3581400"/>
                <a:chOff x="1841500" y="2795587"/>
                <a:chExt cx="8378371" cy="3581400"/>
              </a:xfrm>
            </p:grpSpPr>
            <p:grpSp>
              <p:nvGrpSpPr>
                <p:cNvPr id="80" name="Group 79">
                  <a:extLst>
                    <a:ext uri="{FF2B5EF4-FFF2-40B4-BE49-F238E27FC236}">
                      <a16:creationId xmlns:a16="http://schemas.microsoft.com/office/drawing/2014/main" id="{B773BA58-437C-4C5B-81CA-970702764E7B}"/>
                    </a:ext>
                  </a:extLst>
                </p:cNvPr>
                <p:cNvGrpSpPr/>
                <p:nvPr/>
              </p:nvGrpSpPr>
              <p:grpSpPr>
                <a:xfrm>
                  <a:off x="1841500" y="2795587"/>
                  <a:ext cx="3581400" cy="3581400"/>
                  <a:chOff x="1841500" y="2795587"/>
                  <a:chExt cx="3581400" cy="3581400"/>
                </a:xfrm>
              </p:grpSpPr>
              <p:sp>
                <p:nvSpPr>
                  <p:cNvPr id="84" name="Oval 83">
                    <a:extLst>
                      <a:ext uri="{FF2B5EF4-FFF2-40B4-BE49-F238E27FC236}">
                        <a16:creationId xmlns:a16="http://schemas.microsoft.com/office/drawing/2014/main" id="{25AEBD7D-04F8-4CB9-ABB7-AEA797C5E641}"/>
                      </a:ext>
                    </a:extLst>
                  </p:cNvPr>
                  <p:cNvSpPr/>
                  <p:nvPr/>
                </p:nvSpPr>
                <p:spPr bwMode="gray">
                  <a:xfrm>
                    <a:off x="1841500" y="2795587"/>
                    <a:ext cx="3581400" cy="3581400"/>
                  </a:xfrm>
                  <a:prstGeom prst="ellipse">
                    <a:avLst/>
                  </a:prstGeom>
                  <a:solidFill>
                    <a:schemeClr val="tx1"/>
                  </a:solidFill>
                  <a:ln w="25400" algn="ctr">
                    <a:solidFill>
                      <a:srgbClr val="63666A"/>
                    </a:solidFill>
                    <a:miter lim="800000"/>
                    <a:headEnd/>
                    <a:tailEnd/>
                  </a:ln>
                </p:spPr>
                <p:txBody>
                  <a:bodyPr wrap="square" lIns="88900" tIns="88900" rIns="88900" bIns="88900" rtlCol="0" anchor="ctr"/>
                  <a:lstStyle/>
                  <a:p>
                    <a:pPr algn="ctr">
                      <a:lnSpc>
                        <a:spcPct val="106000"/>
                      </a:lnSpc>
                    </a:pPr>
                    <a:endParaRPr lang="en-GB" sz="1200">
                      <a:solidFill>
                        <a:schemeClr val="bg1"/>
                      </a:solidFill>
                    </a:endParaRPr>
                  </a:p>
                </p:txBody>
              </p:sp>
              <p:sp>
                <p:nvSpPr>
                  <p:cNvPr id="85" name="Oval 84">
                    <a:extLst>
                      <a:ext uri="{FF2B5EF4-FFF2-40B4-BE49-F238E27FC236}">
                        <a16:creationId xmlns:a16="http://schemas.microsoft.com/office/drawing/2014/main" id="{DF19403C-EBF7-4874-A5A6-E1E6C45292AE}"/>
                      </a:ext>
                    </a:extLst>
                  </p:cNvPr>
                  <p:cNvSpPr/>
                  <p:nvPr/>
                </p:nvSpPr>
                <p:spPr bwMode="gray">
                  <a:xfrm>
                    <a:off x="2004291" y="2958378"/>
                    <a:ext cx="3255818" cy="3255818"/>
                  </a:xfrm>
                  <a:prstGeom prst="ellipse">
                    <a:avLst/>
                  </a:prstGeom>
                  <a:solidFill>
                    <a:schemeClr val="tx1"/>
                  </a:solidFill>
                  <a:ln w="25400" algn="ctr">
                    <a:solidFill>
                      <a:srgbClr val="63666A"/>
                    </a:solidFill>
                    <a:miter lim="800000"/>
                    <a:headEnd/>
                    <a:tailEnd/>
                  </a:ln>
                </p:spPr>
                <p:txBody>
                  <a:bodyPr wrap="square" lIns="88900" tIns="88900" rIns="88900" bIns="88900" rtlCol="0" anchor="ctr"/>
                  <a:lstStyle/>
                  <a:p>
                    <a:pPr algn="ctr">
                      <a:lnSpc>
                        <a:spcPct val="106000"/>
                      </a:lnSpc>
                    </a:pPr>
                    <a:r>
                      <a:rPr lang="en-GB" sz="1200" dirty="0">
                        <a:solidFill>
                          <a:schemeClr val="bg1"/>
                        </a:solidFill>
                      </a:rPr>
                      <a:t>1. </a:t>
                    </a:r>
                    <a:r>
                      <a:rPr lang="da-DK" sz="1200" dirty="0">
                        <a:solidFill>
                          <a:schemeClr val="bg1"/>
                        </a:solidFill>
                      </a:rPr>
                      <a:t>Lorem ipsum dolor sit ame </a:t>
                    </a:r>
                    <a:r>
                      <a:rPr lang="da-DK" sz="1200" dirty="0">
                        <a:solidFill>
                          <a:schemeClr val="accent1"/>
                        </a:solidFill>
                      </a:rPr>
                      <a:t>Lorem ipsum dolor sit ame</a:t>
                    </a:r>
                    <a:r>
                      <a:rPr lang="en-GB" sz="1200" dirty="0">
                        <a:solidFill>
                          <a:schemeClr val="accent1"/>
                        </a:solidFill>
                      </a:rPr>
                      <a:t> </a:t>
                    </a:r>
                    <a:r>
                      <a:rPr lang="da-DK" sz="1200" dirty="0">
                        <a:solidFill>
                          <a:schemeClr val="bg1"/>
                        </a:solidFill>
                      </a:rPr>
                      <a:t>Lorem ipsum dolor sit ameLorem ipsum dolor sit ameLorem ipsum dolor sit ameLorem ipsum dolor sit ame</a:t>
                    </a:r>
                    <a:endParaRPr lang="en-GB" sz="1200" dirty="0">
                      <a:solidFill>
                        <a:schemeClr val="bg1"/>
                      </a:solidFill>
                    </a:endParaRPr>
                  </a:p>
                </p:txBody>
              </p:sp>
            </p:grpSp>
            <p:grpSp>
              <p:nvGrpSpPr>
                <p:cNvPr id="81" name="Group 80">
                  <a:extLst>
                    <a:ext uri="{FF2B5EF4-FFF2-40B4-BE49-F238E27FC236}">
                      <a16:creationId xmlns:a16="http://schemas.microsoft.com/office/drawing/2014/main" id="{D02A1C51-A9EA-4A64-8212-861804F1E840}"/>
                    </a:ext>
                  </a:extLst>
                </p:cNvPr>
                <p:cNvGrpSpPr/>
                <p:nvPr/>
              </p:nvGrpSpPr>
              <p:grpSpPr>
                <a:xfrm>
                  <a:off x="6638471" y="2795587"/>
                  <a:ext cx="3581400" cy="3581400"/>
                  <a:chOff x="6638471" y="2795587"/>
                  <a:chExt cx="3581400" cy="3581400"/>
                </a:xfrm>
              </p:grpSpPr>
              <p:sp>
                <p:nvSpPr>
                  <p:cNvPr id="82" name="Oval 81">
                    <a:extLst>
                      <a:ext uri="{FF2B5EF4-FFF2-40B4-BE49-F238E27FC236}">
                        <a16:creationId xmlns:a16="http://schemas.microsoft.com/office/drawing/2014/main" id="{C893CB71-B2E5-40DC-892C-2666B9CB9271}"/>
                      </a:ext>
                    </a:extLst>
                  </p:cNvPr>
                  <p:cNvSpPr/>
                  <p:nvPr/>
                </p:nvSpPr>
                <p:spPr bwMode="gray">
                  <a:xfrm>
                    <a:off x="6638471" y="2795587"/>
                    <a:ext cx="3581400" cy="3581400"/>
                  </a:xfrm>
                  <a:prstGeom prst="ellipse">
                    <a:avLst/>
                  </a:prstGeom>
                  <a:solidFill>
                    <a:schemeClr val="tx1"/>
                  </a:solidFill>
                  <a:ln w="25400" algn="ctr">
                    <a:solidFill>
                      <a:srgbClr val="63666A"/>
                    </a:solidFill>
                    <a:miter lim="800000"/>
                    <a:headEnd/>
                    <a:tailEnd/>
                  </a:ln>
                </p:spPr>
                <p:txBody>
                  <a:bodyPr wrap="square" lIns="88900" tIns="88900" rIns="88900" bIns="88900" rtlCol="0" anchor="ctr"/>
                  <a:lstStyle/>
                  <a:p>
                    <a:pPr algn="ctr">
                      <a:spcAft>
                        <a:spcPts val="1200"/>
                      </a:spcAft>
                    </a:pPr>
                    <a:endParaRPr lang="en-GB" sz="1200">
                      <a:solidFill>
                        <a:schemeClr val="bg1"/>
                      </a:solidFill>
                    </a:endParaRPr>
                  </a:p>
                </p:txBody>
              </p:sp>
              <p:sp>
                <p:nvSpPr>
                  <p:cNvPr id="83" name="Oval 82">
                    <a:extLst>
                      <a:ext uri="{FF2B5EF4-FFF2-40B4-BE49-F238E27FC236}">
                        <a16:creationId xmlns:a16="http://schemas.microsoft.com/office/drawing/2014/main" id="{ED530D5F-BDAA-43E0-A407-EC916E035031}"/>
                      </a:ext>
                    </a:extLst>
                  </p:cNvPr>
                  <p:cNvSpPr/>
                  <p:nvPr/>
                </p:nvSpPr>
                <p:spPr bwMode="gray">
                  <a:xfrm>
                    <a:off x="6801262" y="2958378"/>
                    <a:ext cx="3255818" cy="3255818"/>
                  </a:xfrm>
                  <a:prstGeom prst="ellipse">
                    <a:avLst/>
                  </a:prstGeom>
                  <a:solidFill>
                    <a:schemeClr val="tx1"/>
                  </a:solidFill>
                  <a:ln w="25400" algn="ctr">
                    <a:solidFill>
                      <a:srgbClr val="63666A"/>
                    </a:solidFill>
                    <a:miter lim="800000"/>
                    <a:headEnd/>
                    <a:tailEnd/>
                  </a:ln>
                </p:spPr>
                <p:txBody>
                  <a:bodyPr wrap="square" lIns="88900" tIns="88900" rIns="88900" bIns="88900" rtlCol="0" anchor="ctr"/>
                  <a:lstStyle/>
                  <a:p>
                    <a:pPr algn="ctr">
                      <a:lnSpc>
                        <a:spcPct val="106000"/>
                      </a:lnSpc>
                    </a:pPr>
                    <a:r>
                      <a:rPr lang="en-GB" sz="1200" dirty="0">
                        <a:solidFill>
                          <a:schemeClr val="bg1"/>
                        </a:solidFill>
                      </a:rPr>
                      <a:t>2. </a:t>
                    </a:r>
                    <a:r>
                      <a:rPr lang="da-DK" sz="1200" dirty="0">
                        <a:solidFill>
                          <a:schemeClr val="bg1"/>
                        </a:solidFill>
                      </a:rPr>
                      <a:t>Lorem ipsum dolor sit ame </a:t>
                    </a:r>
                    <a:r>
                      <a:rPr lang="da-DK" sz="1200" dirty="0">
                        <a:solidFill>
                          <a:schemeClr val="accent1"/>
                        </a:solidFill>
                      </a:rPr>
                      <a:t>Lorem ipsum dolor sit ame</a:t>
                    </a:r>
                    <a:r>
                      <a:rPr lang="en-GB" sz="1200" dirty="0">
                        <a:solidFill>
                          <a:schemeClr val="accent1"/>
                        </a:solidFill>
                      </a:rPr>
                      <a:t> </a:t>
                    </a:r>
                    <a:r>
                      <a:rPr lang="da-DK" sz="1200" dirty="0">
                        <a:solidFill>
                          <a:schemeClr val="bg1"/>
                        </a:solidFill>
                      </a:rPr>
                      <a:t>Lorem ipsum dolor sit ameLorem ipsum dolor sit ameLorem ipsum dolor sit ameLorem ipsum dolor sit ame</a:t>
                    </a:r>
                    <a:endParaRPr lang="en-GB" sz="1200" dirty="0">
                      <a:solidFill>
                        <a:schemeClr val="bg1"/>
                      </a:solidFill>
                    </a:endParaRPr>
                  </a:p>
                </p:txBody>
              </p:sp>
            </p:grpSp>
          </p:grpSp>
        </p:grpSp>
        <p:sp>
          <p:nvSpPr>
            <p:cNvPr id="74" name="Arc 73">
              <a:extLst>
                <a:ext uri="{FF2B5EF4-FFF2-40B4-BE49-F238E27FC236}">
                  <a16:creationId xmlns:a16="http://schemas.microsoft.com/office/drawing/2014/main" id="{C1BCE8AA-F1FA-40DC-BA43-F1CC8BEA1EEF}"/>
                </a:ext>
              </a:extLst>
            </p:cNvPr>
            <p:cNvSpPr/>
            <p:nvPr/>
          </p:nvSpPr>
          <p:spPr>
            <a:xfrm>
              <a:off x="1654744" y="2547558"/>
              <a:ext cx="3907856" cy="3907856"/>
            </a:xfrm>
            <a:prstGeom prst="arc">
              <a:avLst>
                <a:gd name="adj1" fmla="val 10289724"/>
                <a:gd name="adj2" fmla="val 14203769"/>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75" name="Arc 74">
              <a:extLst>
                <a:ext uri="{FF2B5EF4-FFF2-40B4-BE49-F238E27FC236}">
                  <a16:creationId xmlns:a16="http://schemas.microsoft.com/office/drawing/2014/main" id="{382F09C1-4779-4254-B579-DF56FDDF57DE}"/>
                </a:ext>
              </a:extLst>
            </p:cNvPr>
            <p:cNvSpPr/>
            <p:nvPr/>
          </p:nvSpPr>
          <p:spPr>
            <a:xfrm>
              <a:off x="6449687" y="2545152"/>
              <a:ext cx="3907856" cy="3907856"/>
            </a:xfrm>
            <a:prstGeom prst="arc">
              <a:avLst>
                <a:gd name="adj1" fmla="val 19787989"/>
                <a:gd name="adj2" fmla="val 2137327"/>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spTree>
    <p:custDataLst>
      <p:tags r:id="rId1"/>
    </p:custDataLst>
    <p:extLst>
      <p:ext uri="{BB962C8B-B14F-4D97-AF65-F5344CB8AC3E}">
        <p14:creationId xmlns:p14="http://schemas.microsoft.com/office/powerpoint/2010/main" val="809431609"/>
      </p:ext>
    </p:extLst>
  </p:cSld>
  <p:clrMapOvr>
    <a:masterClrMapping/>
  </p:clrMapOvr>
  <p:transition>
    <p:fade/>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469900" y="1220135"/>
            <a:ext cx="11252200" cy="4645296"/>
            <a:chOff x="-651509" y="1941892"/>
            <a:chExt cx="9097219" cy="3755646"/>
          </a:xfrm>
        </p:grpSpPr>
        <p:grpSp>
          <p:nvGrpSpPr>
            <p:cNvPr id="6" name="组合 5"/>
            <p:cNvGrpSpPr/>
            <p:nvPr/>
          </p:nvGrpSpPr>
          <p:grpSpPr>
            <a:xfrm>
              <a:off x="2570633" y="2341994"/>
              <a:ext cx="2726866" cy="2721232"/>
              <a:chOff x="3781425" y="1700213"/>
              <a:chExt cx="4610100" cy="4600575"/>
            </a:xfrm>
          </p:grpSpPr>
          <p:sp>
            <p:nvSpPr>
              <p:cNvPr id="7" name="Freeform 5"/>
              <p:cNvSpPr>
                <a:spLocks/>
              </p:cNvSpPr>
              <p:nvPr/>
            </p:nvSpPr>
            <p:spPr bwMode="auto">
              <a:xfrm>
                <a:off x="3781425" y="3805238"/>
                <a:ext cx="2476500" cy="2495550"/>
              </a:xfrm>
              <a:custGeom>
                <a:avLst/>
                <a:gdLst>
                  <a:gd name="T0" fmla="*/ 91 w 260"/>
                  <a:gd name="T1" fmla="*/ 262 h 262"/>
                  <a:gd name="T2" fmla="*/ 72 w 260"/>
                  <a:gd name="T3" fmla="*/ 259 h 262"/>
                  <a:gd name="T4" fmla="*/ 2 w 260"/>
                  <a:gd name="T5" fmla="*/ 177 h 262"/>
                  <a:gd name="T6" fmla="*/ 30 w 260"/>
                  <a:gd name="T7" fmla="*/ 99 h 262"/>
                  <a:gd name="T8" fmla="*/ 97 w 260"/>
                  <a:gd name="T9" fmla="*/ 33 h 262"/>
                  <a:gd name="T10" fmla="*/ 185 w 260"/>
                  <a:gd name="T11" fmla="*/ 7 h 262"/>
                  <a:gd name="T12" fmla="*/ 187 w 260"/>
                  <a:gd name="T13" fmla="*/ 7 h 262"/>
                  <a:gd name="T14" fmla="*/ 189 w 260"/>
                  <a:gd name="T15" fmla="*/ 9 h 262"/>
                  <a:gd name="T16" fmla="*/ 186 w 260"/>
                  <a:gd name="T17" fmla="*/ 11 h 262"/>
                  <a:gd name="T18" fmla="*/ 64 w 260"/>
                  <a:gd name="T19" fmla="*/ 132 h 262"/>
                  <a:gd name="T20" fmla="*/ 68 w 260"/>
                  <a:gd name="T21" fmla="*/ 205 h 262"/>
                  <a:gd name="T22" fmla="*/ 131 w 260"/>
                  <a:gd name="T23" fmla="*/ 200 h 262"/>
                  <a:gd name="T24" fmla="*/ 216 w 260"/>
                  <a:gd name="T25" fmla="*/ 115 h 262"/>
                  <a:gd name="T26" fmla="*/ 253 w 260"/>
                  <a:gd name="T27" fmla="*/ 78 h 262"/>
                  <a:gd name="T28" fmla="*/ 256 w 260"/>
                  <a:gd name="T29" fmla="*/ 75 h 262"/>
                  <a:gd name="T30" fmla="*/ 259 w 260"/>
                  <a:gd name="T31" fmla="*/ 96 h 262"/>
                  <a:gd name="T32" fmla="*/ 231 w 260"/>
                  <a:gd name="T33" fmla="*/ 167 h 262"/>
                  <a:gd name="T34" fmla="*/ 164 w 260"/>
                  <a:gd name="T35" fmla="*/ 234 h 262"/>
                  <a:gd name="T36" fmla="*/ 104 w 260"/>
                  <a:gd name="T37" fmla="*/ 262 h 262"/>
                  <a:gd name="T38" fmla="*/ 102 w 260"/>
                  <a:gd name="T39" fmla="*/ 262 h 262"/>
                  <a:gd name="T40" fmla="*/ 91 w 260"/>
                  <a:gd name="T41"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0" h="262">
                    <a:moveTo>
                      <a:pt x="91" y="262"/>
                    </a:moveTo>
                    <a:cubicBezTo>
                      <a:pt x="85" y="261"/>
                      <a:pt x="79" y="260"/>
                      <a:pt x="72" y="259"/>
                    </a:cubicBezTo>
                    <a:cubicBezTo>
                      <a:pt x="35" y="249"/>
                      <a:pt x="6" y="216"/>
                      <a:pt x="2" y="177"/>
                    </a:cubicBezTo>
                    <a:cubicBezTo>
                      <a:pt x="0" y="147"/>
                      <a:pt x="9" y="121"/>
                      <a:pt x="30" y="99"/>
                    </a:cubicBezTo>
                    <a:cubicBezTo>
                      <a:pt x="52" y="77"/>
                      <a:pt x="74" y="55"/>
                      <a:pt x="97" y="33"/>
                    </a:cubicBezTo>
                    <a:cubicBezTo>
                      <a:pt x="121" y="8"/>
                      <a:pt x="151" y="0"/>
                      <a:pt x="185" y="7"/>
                    </a:cubicBezTo>
                    <a:cubicBezTo>
                      <a:pt x="186" y="7"/>
                      <a:pt x="187" y="7"/>
                      <a:pt x="187" y="7"/>
                    </a:cubicBezTo>
                    <a:cubicBezTo>
                      <a:pt x="188" y="8"/>
                      <a:pt x="188" y="8"/>
                      <a:pt x="189" y="9"/>
                    </a:cubicBezTo>
                    <a:cubicBezTo>
                      <a:pt x="188" y="10"/>
                      <a:pt x="186" y="10"/>
                      <a:pt x="186" y="11"/>
                    </a:cubicBezTo>
                    <a:cubicBezTo>
                      <a:pt x="145" y="51"/>
                      <a:pt x="105" y="92"/>
                      <a:pt x="64" y="132"/>
                    </a:cubicBezTo>
                    <a:cubicBezTo>
                      <a:pt x="43" y="154"/>
                      <a:pt x="45" y="187"/>
                      <a:pt x="68" y="205"/>
                    </a:cubicBezTo>
                    <a:cubicBezTo>
                      <a:pt x="87" y="219"/>
                      <a:pt x="113" y="218"/>
                      <a:pt x="131" y="200"/>
                    </a:cubicBezTo>
                    <a:cubicBezTo>
                      <a:pt x="159" y="172"/>
                      <a:pt x="187" y="143"/>
                      <a:pt x="216" y="115"/>
                    </a:cubicBezTo>
                    <a:cubicBezTo>
                      <a:pt x="228" y="102"/>
                      <a:pt x="241" y="90"/>
                      <a:pt x="253" y="78"/>
                    </a:cubicBezTo>
                    <a:cubicBezTo>
                      <a:pt x="254" y="77"/>
                      <a:pt x="255" y="76"/>
                      <a:pt x="256" y="75"/>
                    </a:cubicBezTo>
                    <a:cubicBezTo>
                      <a:pt x="257" y="82"/>
                      <a:pt x="259" y="89"/>
                      <a:pt x="259" y="96"/>
                    </a:cubicBezTo>
                    <a:cubicBezTo>
                      <a:pt x="260" y="123"/>
                      <a:pt x="251" y="147"/>
                      <a:pt x="231" y="167"/>
                    </a:cubicBezTo>
                    <a:cubicBezTo>
                      <a:pt x="209" y="189"/>
                      <a:pt x="187" y="212"/>
                      <a:pt x="164" y="234"/>
                    </a:cubicBezTo>
                    <a:cubicBezTo>
                      <a:pt x="148" y="251"/>
                      <a:pt x="128" y="260"/>
                      <a:pt x="104" y="262"/>
                    </a:cubicBezTo>
                    <a:cubicBezTo>
                      <a:pt x="104" y="262"/>
                      <a:pt x="103" y="262"/>
                      <a:pt x="102" y="262"/>
                    </a:cubicBezTo>
                    <a:cubicBezTo>
                      <a:pt x="99" y="262"/>
                      <a:pt x="95" y="262"/>
                      <a:pt x="91" y="262"/>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6"/>
              <p:cNvSpPr>
                <a:spLocks/>
              </p:cNvSpPr>
              <p:nvPr/>
            </p:nvSpPr>
            <p:spPr bwMode="auto">
              <a:xfrm>
                <a:off x="5924550" y="1700213"/>
                <a:ext cx="2466975" cy="2495550"/>
              </a:xfrm>
              <a:custGeom>
                <a:avLst/>
                <a:gdLst>
                  <a:gd name="T0" fmla="*/ 259 w 259"/>
                  <a:gd name="T1" fmla="*/ 102 h 262"/>
                  <a:gd name="T2" fmla="*/ 257 w 259"/>
                  <a:gd name="T3" fmla="*/ 116 h 262"/>
                  <a:gd name="T4" fmla="*/ 231 w 259"/>
                  <a:gd name="T5" fmla="*/ 164 h 262"/>
                  <a:gd name="T6" fmla="*/ 165 w 259"/>
                  <a:gd name="T7" fmla="*/ 229 h 262"/>
                  <a:gd name="T8" fmla="*/ 76 w 259"/>
                  <a:gd name="T9" fmla="*/ 255 h 262"/>
                  <a:gd name="T10" fmla="*/ 73 w 259"/>
                  <a:gd name="T11" fmla="*/ 254 h 262"/>
                  <a:gd name="T12" fmla="*/ 74 w 259"/>
                  <a:gd name="T13" fmla="*/ 253 h 262"/>
                  <a:gd name="T14" fmla="*/ 127 w 259"/>
                  <a:gd name="T15" fmla="*/ 199 h 262"/>
                  <a:gd name="T16" fmla="*/ 197 w 259"/>
                  <a:gd name="T17" fmla="*/ 130 h 262"/>
                  <a:gd name="T18" fmla="*/ 195 w 259"/>
                  <a:gd name="T19" fmla="*/ 59 h 262"/>
                  <a:gd name="T20" fmla="*/ 131 w 259"/>
                  <a:gd name="T21" fmla="*/ 61 h 262"/>
                  <a:gd name="T22" fmla="*/ 72 w 259"/>
                  <a:gd name="T23" fmla="*/ 121 h 262"/>
                  <a:gd name="T24" fmla="*/ 8 w 259"/>
                  <a:gd name="T25" fmla="*/ 185 h 262"/>
                  <a:gd name="T26" fmla="*/ 5 w 259"/>
                  <a:gd name="T27" fmla="*/ 187 h 262"/>
                  <a:gd name="T28" fmla="*/ 3 w 259"/>
                  <a:gd name="T29" fmla="*/ 174 h 262"/>
                  <a:gd name="T30" fmla="*/ 29 w 259"/>
                  <a:gd name="T31" fmla="*/ 97 h 262"/>
                  <a:gd name="T32" fmla="*/ 98 w 259"/>
                  <a:gd name="T33" fmla="*/ 28 h 262"/>
                  <a:gd name="T34" fmla="*/ 166 w 259"/>
                  <a:gd name="T35" fmla="*/ 0 h 262"/>
                  <a:gd name="T36" fmla="*/ 259 w 259"/>
                  <a:gd name="T37" fmla="*/ 85 h 262"/>
                  <a:gd name="T38" fmla="*/ 259 w 259"/>
                  <a:gd name="T39" fmla="*/ 88 h 262"/>
                  <a:gd name="T40" fmla="*/ 259 w 259"/>
                  <a:gd name="T41" fmla="*/ 10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9" h="262">
                    <a:moveTo>
                      <a:pt x="259" y="102"/>
                    </a:moveTo>
                    <a:cubicBezTo>
                      <a:pt x="259" y="107"/>
                      <a:pt x="258" y="111"/>
                      <a:pt x="257" y="116"/>
                    </a:cubicBezTo>
                    <a:cubicBezTo>
                      <a:pt x="253" y="134"/>
                      <a:pt x="244" y="150"/>
                      <a:pt x="231" y="164"/>
                    </a:cubicBezTo>
                    <a:cubicBezTo>
                      <a:pt x="209" y="186"/>
                      <a:pt x="187" y="208"/>
                      <a:pt x="165" y="229"/>
                    </a:cubicBezTo>
                    <a:cubicBezTo>
                      <a:pt x="140" y="254"/>
                      <a:pt x="110" y="262"/>
                      <a:pt x="76" y="255"/>
                    </a:cubicBezTo>
                    <a:cubicBezTo>
                      <a:pt x="75" y="255"/>
                      <a:pt x="74" y="255"/>
                      <a:pt x="73" y="254"/>
                    </a:cubicBezTo>
                    <a:cubicBezTo>
                      <a:pt x="73" y="254"/>
                      <a:pt x="74" y="253"/>
                      <a:pt x="74" y="253"/>
                    </a:cubicBezTo>
                    <a:cubicBezTo>
                      <a:pt x="92" y="235"/>
                      <a:pt x="109" y="217"/>
                      <a:pt x="127" y="199"/>
                    </a:cubicBezTo>
                    <a:cubicBezTo>
                      <a:pt x="151" y="176"/>
                      <a:pt x="174" y="153"/>
                      <a:pt x="197" y="130"/>
                    </a:cubicBezTo>
                    <a:cubicBezTo>
                      <a:pt x="218" y="109"/>
                      <a:pt x="216" y="78"/>
                      <a:pt x="195" y="59"/>
                    </a:cubicBezTo>
                    <a:cubicBezTo>
                      <a:pt x="177" y="43"/>
                      <a:pt x="149" y="44"/>
                      <a:pt x="131" y="61"/>
                    </a:cubicBezTo>
                    <a:cubicBezTo>
                      <a:pt x="111" y="81"/>
                      <a:pt x="92" y="101"/>
                      <a:pt x="72" y="121"/>
                    </a:cubicBezTo>
                    <a:cubicBezTo>
                      <a:pt x="51" y="142"/>
                      <a:pt x="29" y="164"/>
                      <a:pt x="8" y="185"/>
                    </a:cubicBezTo>
                    <a:cubicBezTo>
                      <a:pt x="7" y="186"/>
                      <a:pt x="6" y="186"/>
                      <a:pt x="5" y="187"/>
                    </a:cubicBezTo>
                    <a:cubicBezTo>
                      <a:pt x="4" y="182"/>
                      <a:pt x="3" y="178"/>
                      <a:pt x="3" y="174"/>
                    </a:cubicBezTo>
                    <a:cubicBezTo>
                      <a:pt x="0" y="144"/>
                      <a:pt x="8" y="118"/>
                      <a:pt x="29" y="97"/>
                    </a:cubicBezTo>
                    <a:cubicBezTo>
                      <a:pt x="51" y="73"/>
                      <a:pt x="75" y="51"/>
                      <a:pt x="98" y="28"/>
                    </a:cubicBezTo>
                    <a:cubicBezTo>
                      <a:pt x="116" y="9"/>
                      <a:pt x="139" y="0"/>
                      <a:pt x="166" y="0"/>
                    </a:cubicBezTo>
                    <a:cubicBezTo>
                      <a:pt x="214" y="1"/>
                      <a:pt x="254" y="37"/>
                      <a:pt x="259" y="85"/>
                    </a:cubicBezTo>
                    <a:cubicBezTo>
                      <a:pt x="259" y="86"/>
                      <a:pt x="259" y="87"/>
                      <a:pt x="259" y="88"/>
                    </a:cubicBezTo>
                    <a:cubicBezTo>
                      <a:pt x="259" y="93"/>
                      <a:pt x="259" y="98"/>
                      <a:pt x="259" y="102"/>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18"/>
              <p:cNvSpPr/>
              <p:nvPr/>
            </p:nvSpPr>
            <p:spPr bwMode="gray">
              <a:xfrm>
                <a:off x="6057900" y="3077686"/>
                <a:ext cx="1039597" cy="1291095"/>
              </a:xfrm>
              <a:custGeom>
                <a:avLst/>
                <a:gdLst>
                  <a:gd name="connsiteX0" fmla="*/ 967062 w 1039597"/>
                  <a:gd name="connsiteY0" fmla="*/ 0 h 1291095"/>
                  <a:gd name="connsiteX1" fmla="*/ 967401 w 1039597"/>
                  <a:gd name="connsiteY1" fmla="*/ 268 h 1291095"/>
                  <a:gd name="connsiteX2" fmla="*/ 1000125 w 1039597"/>
                  <a:gd name="connsiteY2" fmla="*/ 41754 h 1291095"/>
                  <a:gd name="connsiteX3" fmla="*/ 952500 w 1039597"/>
                  <a:gd name="connsiteY3" fmla="*/ 337029 h 1291095"/>
                  <a:gd name="connsiteX4" fmla="*/ 152400 w 1039597"/>
                  <a:gd name="connsiteY4" fmla="*/ 1137129 h 1291095"/>
                  <a:gd name="connsiteX5" fmla="*/ 0 w 1039597"/>
                  <a:gd name="connsiteY5" fmla="*/ 1291095 h 1291095"/>
                  <a:gd name="connsiteX6" fmla="*/ 0 w 1039597"/>
                  <a:gd name="connsiteY6" fmla="*/ 960071 h 1291095"/>
                  <a:gd name="connsiteX7" fmla="*/ 967062 w 1039597"/>
                  <a:gd name="connsiteY7" fmla="*/ 0 h 129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9597" h="1291095">
                    <a:moveTo>
                      <a:pt x="967062" y="0"/>
                    </a:moveTo>
                    <a:lnTo>
                      <a:pt x="967401" y="268"/>
                    </a:lnTo>
                    <a:cubicBezTo>
                      <a:pt x="979587" y="12435"/>
                      <a:pt x="990600" y="26276"/>
                      <a:pt x="1000125" y="41754"/>
                    </a:cubicBezTo>
                    <a:cubicBezTo>
                      <a:pt x="1066800" y="137004"/>
                      <a:pt x="1047750" y="251304"/>
                      <a:pt x="952500" y="337029"/>
                    </a:cubicBezTo>
                    <a:cubicBezTo>
                      <a:pt x="685800" y="603729"/>
                      <a:pt x="419100" y="870429"/>
                      <a:pt x="152400" y="1137129"/>
                    </a:cubicBezTo>
                    <a:lnTo>
                      <a:pt x="0" y="1291095"/>
                    </a:lnTo>
                    <a:lnTo>
                      <a:pt x="0" y="960071"/>
                    </a:lnTo>
                    <a:lnTo>
                      <a:pt x="967062" y="0"/>
                    </a:lnTo>
                    <a:close/>
                  </a:path>
                </a:pathLst>
              </a:cu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 name="Freeform 119"/>
              <p:cNvSpPr/>
              <p:nvPr/>
            </p:nvSpPr>
            <p:spPr bwMode="gray">
              <a:xfrm>
                <a:off x="5164515" y="4037756"/>
                <a:ext cx="893385" cy="959566"/>
              </a:xfrm>
              <a:custGeom>
                <a:avLst/>
                <a:gdLst>
                  <a:gd name="connsiteX0" fmla="*/ 893385 w 893385"/>
                  <a:gd name="connsiteY0" fmla="*/ 0 h 959566"/>
                  <a:gd name="connsiteX1" fmla="*/ 893385 w 893385"/>
                  <a:gd name="connsiteY1" fmla="*/ 331024 h 959566"/>
                  <a:gd name="connsiteX2" fmla="*/ 698123 w 893385"/>
                  <a:gd name="connsiteY2" fmla="*/ 528292 h 959566"/>
                  <a:gd name="connsiteX3" fmla="*/ 350460 w 893385"/>
                  <a:gd name="connsiteY3" fmla="*/ 872383 h 959566"/>
                  <a:gd name="connsiteX4" fmla="*/ 188535 w 893385"/>
                  <a:gd name="connsiteY4" fmla="*/ 958108 h 959566"/>
                  <a:gd name="connsiteX5" fmla="*/ 45660 w 893385"/>
                  <a:gd name="connsiteY5" fmla="*/ 927152 h 959566"/>
                  <a:gd name="connsiteX6" fmla="*/ 0 w 893385"/>
                  <a:gd name="connsiteY6" fmla="*/ 886927 h 959566"/>
                  <a:gd name="connsiteX7" fmla="*/ 893385 w 893385"/>
                  <a:gd name="connsiteY7" fmla="*/ 0 h 959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3385" h="959566">
                    <a:moveTo>
                      <a:pt x="893385" y="0"/>
                    </a:moveTo>
                    <a:lnTo>
                      <a:pt x="893385" y="331024"/>
                    </a:lnTo>
                    <a:lnTo>
                      <a:pt x="698123" y="528292"/>
                    </a:lnTo>
                    <a:cubicBezTo>
                      <a:pt x="581441" y="643783"/>
                      <a:pt x="464760" y="758083"/>
                      <a:pt x="350460" y="872383"/>
                    </a:cubicBezTo>
                    <a:cubicBezTo>
                      <a:pt x="302835" y="929533"/>
                      <a:pt x="245685" y="967633"/>
                      <a:pt x="188535" y="958108"/>
                    </a:cubicBezTo>
                    <a:cubicBezTo>
                      <a:pt x="131385" y="962871"/>
                      <a:pt x="83760" y="950964"/>
                      <a:pt x="45660" y="927152"/>
                    </a:cubicBezTo>
                    <a:lnTo>
                      <a:pt x="0" y="886927"/>
                    </a:lnTo>
                    <a:lnTo>
                      <a:pt x="893385" y="0"/>
                    </a:lnTo>
                    <a:close/>
                  </a:path>
                </a:pathLst>
              </a:custGeom>
              <a:solidFill>
                <a:schemeClr val="accent6">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 name="Freeform 120"/>
              <p:cNvSpPr/>
              <p:nvPr/>
            </p:nvSpPr>
            <p:spPr bwMode="gray">
              <a:xfrm>
                <a:off x="6057900" y="3013328"/>
                <a:ext cx="967063" cy="1024428"/>
              </a:xfrm>
              <a:custGeom>
                <a:avLst/>
                <a:gdLst>
                  <a:gd name="connsiteX0" fmla="*/ 834629 w 967063"/>
                  <a:gd name="connsiteY0" fmla="*/ 1335 h 1024428"/>
                  <a:gd name="connsiteX1" fmla="*/ 927647 w 967063"/>
                  <a:gd name="connsiteY1" fmla="*/ 33184 h 1024428"/>
                  <a:gd name="connsiteX2" fmla="*/ 967063 w 967063"/>
                  <a:gd name="connsiteY2" fmla="*/ 64356 h 1024428"/>
                  <a:gd name="connsiteX3" fmla="*/ 0 w 967063"/>
                  <a:gd name="connsiteY3" fmla="*/ 1024428 h 1024428"/>
                  <a:gd name="connsiteX4" fmla="*/ 0 w 967063"/>
                  <a:gd name="connsiteY4" fmla="*/ 715417 h 1024428"/>
                  <a:gd name="connsiteX5" fmla="*/ 38101 w 967063"/>
                  <a:gd name="connsiteY5" fmla="*/ 677610 h 1024428"/>
                  <a:gd name="connsiteX6" fmla="*/ 647701 w 967063"/>
                  <a:gd name="connsiteY6" fmla="*/ 68010 h 1024428"/>
                  <a:gd name="connsiteX7" fmla="*/ 834629 w 967063"/>
                  <a:gd name="connsiteY7" fmla="*/ 1335 h 102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7063" h="1024428">
                    <a:moveTo>
                      <a:pt x="834629" y="1335"/>
                    </a:moveTo>
                    <a:cubicBezTo>
                      <a:pt x="867372" y="4907"/>
                      <a:pt x="899221" y="15623"/>
                      <a:pt x="927647" y="33184"/>
                    </a:cubicBezTo>
                    <a:lnTo>
                      <a:pt x="967063" y="64356"/>
                    </a:lnTo>
                    <a:lnTo>
                      <a:pt x="0" y="1024428"/>
                    </a:lnTo>
                    <a:lnTo>
                      <a:pt x="0" y="715417"/>
                    </a:lnTo>
                    <a:lnTo>
                      <a:pt x="38101" y="677610"/>
                    </a:lnTo>
                    <a:cubicBezTo>
                      <a:pt x="238126" y="468060"/>
                      <a:pt x="438151" y="268035"/>
                      <a:pt x="647701" y="68010"/>
                    </a:cubicBezTo>
                    <a:cubicBezTo>
                      <a:pt x="700089" y="15623"/>
                      <a:pt x="769145" y="-5809"/>
                      <a:pt x="834629" y="1335"/>
                    </a:cubicBezTo>
                    <a:close/>
                  </a:path>
                </a:pathLst>
              </a:custGeom>
              <a:solidFill>
                <a:schemeClr val="accent6">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Freeform 121"/>
              <p:cNvSpPr/>
              <p:nvPr/>
            </p:nvSpPr>
            <p:spPr bwMode="gray">
              <a:xfrm>
                <a:off x="5105033" y="3728746"/>
                <a:ext cx="952867" cy="1195937"/>
              </a:xfrm>
              <a:custGeom>
                <a:avLst/>
                <a:gdLst>
                  <a:gd name="connsiteX0" fmla="*/ 952867 w 952867"/>
                  <a:gd name="connsiteY0" fmla="*/ 0 h 1195937"/>
                  <a:gd name="connsiteX1" fmla="*/ 952867 w 952867"/>
                  <a:gd name="connsiteY1" fmla="*/ 309011 h 1195937"/>
                  <a:gd name="connsiteX2" fmla="*/ 59483 w 952867"/>
                  <a:gd name="connsiteY2" fmla="*/ 1195937 h 1195937"/>
                  <a:gd name="connsiteX3" fmla="*/ 55137 w 952867"/>
                  <a:gd name="connsiteY3" fmla="*/ 1192109 h 1195937"/>
                  <a:gd name="connsiteX4" fmla="*/ 19418 w 952867"/>
                  <a:gd name="connsiteY4" fmla="*/ 1133768 h 1195937"/>
                  <a:gd name="connsiteX5" fmla="*/ 67043 w 952867"/>
                  <a:gd name="connsiteY5" fmla="*/ 886118 h 1195937"/>
                  <a:gd name="connsiteX6" fmla="*/ 529005 w 952867"/>
                  <a:gd name="connsiteY6" fmla="*/ 420584 h 1195937"/>
                  <a:gd name="connsiteX7" fmla="*/ 952867 w 952867"/>
                  <a:gd name="connsiteY7" fmla="*/ 0 h 119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867" h="1195937">
                    <a:moveTo>
                      <a:pt x="952867" y="0"/>
                    </a:moveTo>
                    <a:lnTo>
                      <a:pt x="952867" y="309011"/>
                    </a:lnTo>
                    <a:lnTo>
                      <a:pt x="59483" y="1195937"/>
                    </a:lnTo>
                    <a:lnTo>
                      <a:pt x="55137" y="1192109"/>
                    </a:lnTo>
                    <a:cubicBezTo>
                      <a:pt x="40849" y="1174845"/>
                      <a:pt x="28943" y="1155199"/>
                      <a:pt x="19418" y="1133768"/>
                    </a:cubicBezTo>
                    <a:cubicBezTo>
                      <a:pt x="-18682" y="1048043"/>
                      <a:pt x="368" y="952793"/>
                      <a:pt x="67043" y="886118"/>
                    </a:cubicBezTo>
                    <a:cubicBezTo>
                      <a:pt x="219443" y="728956"/>
                      <a:pt x="374224" y="574174"/>
                      <a:pt x="529005" y="420584"/>
                    </a:cubicBezTo>
                    <a:lnTo>
                      <a:pt x="952867" y="0"/>
                    </a:lnTo>
                    <a:close/>
                  </a:path>
                </a:pathLst>
              </a:cu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13" name="Pentagon 138"/>
            <p:cNvSpPr/>
            <p:nvPr/>
          </p:nvSpPr>
          <p:spPr bwMode="gray">
            <a:xfrm>
              <a:off x="-651509" y="1941892"/>
              <a:ext cx="3634661" cy="1366412"/>
            </a:xfrm>
            <a:prstGeom prst="homePlat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a-DK" altLang="zh-CN" b="1" dirty="0">
                  <a:solidFill>
                    <a:schemeClr val="bg1"/>
                  </a:solidFill>
                </a:rPr>
                <a:t>Lorem ipsum dolor sit ame</a:t>
              </a:r>
              <a:endParaRPr lang="en-GB" sz="1800" b="1" dirty="0">
                <a:solidFill>
                  <a:schemeClr val="bg1"/>
                </a:solidFill>
              </a:endParaRPr>
            </a:p>
          </p:txBody>
        </p:sp>
        <p:sp>
          <p:nvSpPr>
            <p:cNvPr id="14" name="Chevron 140"/>
            <p:cNvSpPr/>
            <p:nvPr/>
          </p:nvSpPr>
          <p:spPr bwMode="gray">
            <a:xfrm>
              <a:off x="2530762" y="1941892"/>
              <a:ext cx="1263460" cy="1366412"/>
            </a:xfrm>
            <a:prstGeom prst="chevron">
              <a:avLst>
                <a:gd name="adj" fmla="val 52469"/>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17" name="组合 16"/>
            <p:cNvGrpSpPr/>
            <p:nvPr/>
          </p:nvGrpSpPr>
          <p:grpSpPr>
            <a:xfrm flipH="1">
              <a:off x="3999979" y="4331126"/>
              <a:ext cx="4445731" cy="1366412"/>
              <a:chOff x="3018473" y="4229651"/>
              <a:chExt cx="4445731" cy="1366412"/>
            </a:xfrm>
            <a:solidFill>
              <a:srgbClr val="6FC2B4"/>
            </a:solidFill>
          </p:grpSpPr>
          <p:sp>
            <p:nvSpPr>
              <p:cNvPr id="18" name="Pentagon 138"/>
              <p:cNvSpPr/>
              <p:nvPr/>
            </p:nvSpPr>
            <p:spPr bwMode="gray">
              <a:xfrm>
                <a:off x="3018473" y="4229651"/>
                <a:ext cx="3634661" cy="1366412"/>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a-DK" altLang="zh-CN" b="1" dirty="0">
                    <a:solidFill>
                      <a:schemeClr val="bg1"/>
                    </a:solidFill>
                  </a:rPr>
                  <a:t>Lorem ipsum dolor sit ame</a:t>
                </a:r>
                <a:endParaRPr lang="en-GB" sz="1800" b="1" dirty="0">
                  <a:solidFill>
                    <a:schemeClr val="bg1"/>
                  </a:solidFill>
                </a:endParaRPr>
              </a:p>
            </p:txBody>
          </p:sp>
          <p:sp>
            <p:nvSpPr>
              <p:cNvPr id="19" name="Chevron 140"/>
              <p:cNvSpPr/>
              <p:nvPr/>
            </p:nvSpPr>
            <p:spPr bwMode="gray">
              <a:xfrm>
                <a:off x="6200744" y="4229651"/>
                <a:ext cx="1263460" cy="1366412"/>
              </a:xfrm>
              <a:prstGeom prst="chevron">
                <a:avLst>
                  <a:gd name="adj" fmla="val 52469"/>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Tree>
    <p:custDataLst>
      <p:tags r:id="rId1"/>
    </p:custDataLst>
    <p:extLst>
      <p:ext uri="{BB962C8B-B14F-4D97-AF65-F5344CB8AC3E}">
        <p14:creationId xmlns:p14="http://schemas.microsoft.com/office/powerpoint/2010/main" val="2320766840"/>
      </p:ext>
    </p:extLst>
  </p:cSld>
  <p:clrMapOvr>
    <a:masterClrMapping/>
  </p:clrMapOvr>
  <p:transition>
    <p:fade/>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4" name="Group 103"/>
          <p:cNvGrpSpPr/>
          <p:nvPr/>
        </p:nvGrpSpPr>
        <p:grpSpPr>
          <a:xfrm>
            <a:off x="4339692" y="1617323"/>
            <a:ext cx="3575583" cy="4080215"/>
            <a:chOff x="603158" y="2265023"/>
            <a:chExt cx="3575583" cy="3775098"/>
          </a:xfrm>
        </p:grpSpPr>
        <p:sp>
          <p:nvSpPr>
            <p:cNvPr id="105" name="Rectangle 104"/>
            <p:cNvSpPr/>
            <p:nvPr/>
          </p:nvSpPr>
          <p:spPr bwMode="gray">
            <a:xfrm>
              <a:off x="627852" y="2282466"/>
              <a:ext cx="3526195" cy="3757655"/>
            </a:xfrm>
            <a:prstGeom prst="rect">
              <a:avLst/>
            </a:prstGeom>
            <a:solidFill>
              <a:schemeClr val="bg1"/>
            </a:solidFill>
            <a:ln w="9525" algn="ctr">
              <a:solidFill>
                <a:schemeClr val="accent1"/>
              </a:solidFill>
              <a:miter lim="800000"/>
              <a:headEnd/>
              <a:tailEnd/>
            </a:ln>
          </p:spPr>
          <p:txBody>
            <a:bodyPr wrap="square" lIns="365760" tIns="731520" rIns="457200" bIns="88900" rtlCol="0" anchor="t"/>
            <a:lstStyle/>
            <a:p>
              <a:pPr algn="ctr">
                <a:spcBef>
                  <a:spcPts val="1200"/>
                </a:spcBef>
              </a:pPr>
              <a:endParaRPr lang="en-US" sz="1100" b="1" dirty="0">
                <a:solidFill>
                  <a:srgbClr val="00A3E0"/>
                </a:solidFill>
              </a:endParaRPr>
            </a:p>
          </p:txBody>
        </p:sp>
        <p:grpSp>
          <p:nvGrpSpPr>
            <p:cNvPr id="106" name="Group 105"/>
            <p:cNvGrpSpPr/>
            <p:nvPr/>
          </p:nvGrpSpPr>
          <p:grpSpPr>
            <a:xfrm>
              <a:off x="603158" y="2265023"/>
              <a:ext cx="3575583" cy="3775098"/>
              <a:chOff x="4662488" y="1709644"/>
              <a:chExt cx="2649800" cy="4672106"/>
            </a:xfrm>
            <a:solidFill>
              <a:srgbClr val="00A3E0"/>
            </a:solidFill>
          </p:grpSpPr>
          <p:sp>
            <p:nvSpPr>
              <p:cNvPr id="107" name="Freeform 106"/>
              <p:cNvSpPr/>
              <p:nvPr/>
            </p:nvSpPr>
            <p:spPr bwMode="gray">
              <a:xfrm>
                <a:off x="4662488" y="1709644"/>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8" name="Freeform 107"/>
              <p:cNvSpPr/>
              <p:nvPr/>
            </p:nvSpPr>
            <p:spPr bwMode="gray">
              <a:xfrm flipH="1" flipV="1">
                <a:off x="6659198" y="5728660"/>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109" name="Text Placeholder 2"/>
          <p:cNvSpPr>
            <a:spLocks noGrp="1"/>
          </p:cNvSpPr>
          <p:nvPr>
            <p:ph type="body" sz="quarter" idx="4294967295"/>
          </p:nvPr>
        </p:nvSpPr>
        <p:spPr>
          <a:xfrm>
            <a:off x="4687243" y="2078427"/>
            <a:ext cx="2884487" cy="3060700"/>
          </a:xfrm>
        </p:spPr>
        <p:txBody>
          <a:bodyPr/>
          <a:lstStyle/>
          <a:p>
            <a:pPr>
              <a:spcAft>
                <a:spcPts val="0"/>
              </a:spcAft>
            </a:pPr>
            <a:r>
              <a:rPr lang="en-US" dirty="0"/>
              <a:t>XXXXXXXXXX</a:t>
            </a:r>
          </a:p>
          <a:p>
            <a:pPr>
              <a:spcAft>
                <a:spcPts val="0"/>
              </a:spcAft>
            </a:pPr>
            <a:endParaRPr lang="en-US" dirty="0"/>
          </a:p>
          <a:p>
            <a:pPr>
              <a:spcAft>
                <a:spcPts val="0"/>
              </a:spcAft>
            </a:pPr>
            <a:r>
              <a:rPr lang="en-US" b="0" dirty="0">
                <a:solidFill>
                  <a:schemeClr val="tx1"/>
                </a:solidFill>
              </a:rPr>
              <a:t>XXXXXXXXXXX</a:t>
            </a:r>
          </a:p>
          <a:p>
            <a:pPr>
              <a:spcAft>
                <a:spcPts val="0"/>
              </a:spcAft>
            </a:pPr>
            <a:r>
              <a:rPr lang="en-US" b="0" dirty="0">
                <a:solidFill>
                  <a:schemeClr val="tx1"/>
                </a:solidFill>
              </a:rPr>
              <a:t>XXXXXXXXXXX</a:t>
            </a:r>
            <a:br>
              <a:rPr lang="en-US" b="0" dirty="0">
                <a:solidFill>
                  <a:schemeClr val="tx1"/>
                </a:solidFill>
              </a:rPr>
            </a:br>
            <a:r>
              <a:rPr lang="en-US" b="0" dirty="0" err="1">
                <a:solidFill>
                  <a:schemeClr val="tx1"/>
                </a:solidFill>
              </a:rPr>
              <a:t>XXXXXXXXXXX</a:t>
            </a:r>
            <a:br>
              <a:rPr lang="en-US" b="0" dirty="0">
                <a:solidFill>
                  <a:schemeClr val="tx1"/>
                </a:solidFill>
              </a:rPr>
            </a:br>
            <a:r>
              <a:rPr lang="en-US" b="0" dirty="0" err="1">
                <a:solidFill>
                  <a:schemeClr val="tx1"/>
                </a:solidFill>
              </a:rPr>
              <a:t>XXXXXXXXXXX</a:t>
            </a:r>
            <a:br>
              <a:rPr lang="en-US" b="0" dirty="0">
                <a:solidFill>
                  <a:schemeClr val="tx1"/>
                </a:solidFill>
              </a:rPr>
            </a:br>
            <a:r>
              <a:rPr lang="en-US" b="0" dirty="0" err="1">
                <a:solidFill>
                  <a:schemeClr val="tx1"/>
                </a:solidFill>
              </a:rPr>
              <a:t>XXXXXXXXXXX</a:t>
            </a:r>
            <a:endParaRPr lang="en-US" b="0" dirty="0">
              <a:solidFill>
                <a:schemeClr val="tx1"/>
              </a:solidFill>
            </a:endParaRPr>
          </a:p>
          <a:p>
            <a:pPr>
              <a:spcAft>
                <a:spcPts val="0"/>
              </a:spcAft>
            </a:pPr>
            <a:r>
              <a:rPr lang="en-US" b="0" dirty="0">
                <a:solidFill>
                  <a:schemeClr val="tx1"/>
                </a:solidFill>
              </a:rPr>
              <a:t>XXXXXXXXXXX</a:t>
            </a:r>
          </a:p>
          <a:p>
            <a:pPr>
              <a:spcAft>
                <a:spcPts val="0"/>
              </a:spcAft>
            </a:pPr>
            <a:r>
              <a:rPr lang="en-US" b="0" dirty="0">
                <a:solidFill>
                  <a:schemeClr val="tx1"/>
                </a:solidFill>
              </a:rPr>
              <a:t>XXXXXXXXXXXXXXXXXXXXXXXXXXXXXXXXXXXXXXXXXXXXXXXXXXXXXXXXXXXXXXXXXXXXXXXXXXXXXXXXXXXXXXXXXXXXXXXXXXXXXXXXXXXXXXXXXXXXXXXXXXXXXXXXXXXXXXXXXXXXXXXXXXXXXXXXXXXXXXXXXXXXXXXXXXXXXXXXXXXXXXXXXXXXX</a:t>
            </a:r>
            <a:br>
              <a:rPr lang="en-US" dirty="0"/>
            </a:br>
            <a:endParaRPr lang="en-US" dirty="0"/>
          </a:p>
        </p:txBody>
      </p:sp>
      <p:grpSp>
        <p:nvGrpSpPr>
          <p:cNvPr id="5" name="Group 4"/>
          <p:cNvGrpSpPr/>
          <p:nvPr/>
        </p:nvGrpSpPr>
        <p:grpSpPr>
          <a:xfrm>
            <a:off x="606004" y="1617323"/>
            <a:ext cx="3575583" cy="4080216"/>
            <a:chOff x="603158" y="2265023"/>
            <a:chExt cx="3575583" cy="3775098"/>
          </a:xfrm>
        </p:grpSpPr>
        <p:sp>
          <p:nvSpPr>
            <p:cNvPr id="127" name="Rectangle 126"/>
            <p:cNvSpPr/>
            <p:nvPr/>
          </p:nvSpPr>
          <p:spPr bwMode="gray">
            <a:xfrm>
              <a:off x="627852" y="2282466"/>
              <a:ext cx="3526195" cy="3757655"/>
            </a:xfrm>
            <a:prstGeom prst="rect">
              <a:avLst/>
            </a:prstGeom>
            <a:solidFill>
              <a:schemeClr val="bg1"/>
            </a:solidFill>
            <a:ln w="9525" algn="ctr">
              <a:solidFill>
                <a:schemeClr val="accent1"/>
              </a:solidFill>
              <a:miter lim="800000"/>
              <a:headEnd/>
              <a:tailEnd/>
            </a:ln>
          </p:spPr>
          <p:txBody>
            <a:bodyPr wrap="square" lIns="365760" tIns="731520" rIns="457200" bIns="88900" rtlCol="0" anchor="t"/>
            <a:lstStyle/>
            <a:p>
              <a:pPr algn="ctr">
                <a:spcBef>
                  <a:spcPts val="1200"/>
                </a:spcBef>
              </a:pPr>
              <a:endParaRPr lang="en-US" sz="1100" b="1" dirty="0">
                <a:solidFill>
                  <a:srgbClr val="00A3E0"/>
                </a:solidFill>
              </a:endParaRPr>
            </a:p>
          </p:txBody>
        </p:sp>
        <p:grpSp>
          <p:nvGrpSpPr>
            <p:cNvPr id="128" name="Group 127"/>
            <p:cNvGrpSpPr/>
            <p:nvPr/>
          </p:nvGrpSpPr>
          <p:grpSpPr>
            <a:xfrm>
              <a:off x="603158" y="2265023"/>
              <a:ext cx="3575583" cy="3775098"/>
              <a:chOff x="4662488" y="1709644"/>
              <a:chExt cx="2649800" cy="4672106"/>
            </a:xfrm>
            <a:solidFill>
              <a:srgbClr val="00A3E0"/>
            </a:solidFill>
          </p:grpSpPr>
          <p:sp>
            <p:nvSpPr>
              <p:cNvPr id="129" name="Freeform 128"/>
              <p:cNvSpPr/>
              <p:nvPr/>
            </p:nvSpPr>
            <p:spPr bwMode="gray">
              <a:xfrm>
                <a:off x="4662488" y="1709644"/>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30" name="Freeform 129"/>
              <p:cNvSpPr/>
              <p:nvPr/>
            </p:nvSpPr>
            <p:spPr bwMode="gray">
              <a:xfrm flipH="1" flipV="1">
                <a:off x="6659198" y="5728660"/>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grpSp>
        <p:nvGrpSpPr>
          <p:cNvPr id="2" name="Group 1"/>
          <p:cNvGrpSpPr/>
          <p:nvPr/>
        </p:nvGrpSpPr>
        <p:grpSpPr>
          <a:xfrm>
            <a:off x="8505630" y="1525181"/>
            <a:ext cx="2830369" cy="4765507"/>
            <a:chOff x="8506046" y="1533900"/>
            <a:chExt cx="2830369" cy="4765507"/>
          </a:xfrm>
        </p:grpSpPr>
        <p:sp>
          <p:nvSpPr>
            <p:cNvPr id="182" name="Freeform 5"/>
            <p:cNvSpPr>
              <a:spLocks/>
            </p:cNvSpPr>
            <p:nvPr/>
          </p:nvSpPr>
          <p:spPr bwMode="auto">
            <a:xfrm>
              <a:off x="9648338" y="1533900"/>
              <a:ext cx="989943" cy="2965231"/>
            </a:xfrm>
            <a:custGeom>
              <a:avLst/>
              <a:gdLst>
                <a:gd name="T0" fmla="*/ 711 w 711"/>
                <a:gd name="T1" fmla="*/ 0 h 1485"/>
                <a:gd name="T2" fmla="*/ 327 w 711"/>
                <a:gd name="T3" fmla="*/ 0 h 1485"/>
                <a:gd name="T4" fmla="*/ 0 w 711"/>
                <a:gd name="T5" fmla="*/ 1485 h 1485"/>
                <a:gd name="T6" fmla="*/ 384 w 711"/>
                <a:gd name="T7" fmla="*/ 1485 h 1485"/>
                <a:gd name="T8" fmla="*/ 711 w 711"/>
                <a:gd name="T9" fmla="*/ 0 h 1485"/>
              </a:gdLst>
              <a:ahLst/>
              <a:cxnLst>
                <a:cxn ang="0">
                  <a:pos x="T0" y="T1"/>
                </a:cxn>
                <a:cxn ang="0">
                  <a:pos x="T2" y="T3"/>
                </a:cxn>
                <a:cxn ang="0">
                  <a:pos x="T4" y="T5"/>
                </a:cxn>
                <a:cxn ang="0">
                  <a:pos x="T6" y="T7"/>
                </a:cxn>
                <a:cxn ang="0">
                  <a:pos x="T8" y="T9"/>
                </a:cxn>
              </a:cxnLst>
              <a:rect l="0" t="0" r="r" b="b"/>
              <a:pathLst>
                <a:path w="711" h="1485">
                  <a:moveTo>
                    <a:pt x="711" y="0"/>
                  </a:moveTo>
                  <a:lnTo>
                    <a:pt x="327" y="0"/>
                  </a:lnTo>
                  <a:lnTo>
                    <a:pt x="0" y="1485"/>
                  </a:lnTo>
                  <a:lnTo>
                    <a:pt x="384" y="1485"/>
                  </a:lnTo>
                  <a:lnTo>
                    <a:pt x="71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83" name="Freeform 6"/>
            <p:cNvSpPr>
              <a:spLocks/>
            </p:cNvSpPr>
            <p:nvPr/>
          </p:nvSpPr>
          <p:spPr bwMode="auto">
            <a:xfrm>
              <a:off x="9529990" y="4528369"/>
              <a:ext cx="108602" cy="158724"/>
            </a:xfrm>
            <a:custGeom>
              <a:avLst/>
              <a:gdLst>
                <a:gd name="T0" fmla="*/ 0 w 11"/>
                <a:gd name="T1" fmla="*/ 7 h 16"/>
                <a:gd name="T2" fmla="*/ 0 w 11"/>
                <a:gd name="T3" fmla="*/ 16 h 16"/>
                <a:gd name="T4" fmla="*/ 8 w 11"/>
                <a:gd name="T5" fmla="*/ 16 h 16"/>
                <a:gd name="T6" fmla="*/ 8 w 11"/>
                <a:gd name="T7" fmla="*/ 7 h 16"/>
                <a:gd name="T8" fmla="*/ 11 w 11"/>
                <a:gd name="T9" fmla="*/ 0 h 16"/>
                <a:gd name="T10" fmla="*/ 1 w 11"/>
                <a:gd name="T11" fmla="*/ 2 h 16"/>
                <a:gd name="T12" fmla="*/ 0 w 11"/>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11" h="16">
                  <a:moveTo>
                    <a:pt x="0" y="7"/>
                  </a:moveTo>
                  <a:cubicBezTo>
                    <a:pt x="0" y="16"/>
                    <a:pt x="0" y="16"/>
                    <a:pt x="0" y="16"/>
                  </a:cubicBezTo>
                  <a:cubicBezTo>
                    <a:pt x="8" y="16"/>
                    <a:pt x="8" y="16"/>
                    <a:pt x="8" y="16"/>
                  </a:cubicBezTo>
                  <a:cubicBezTo>
                    <a:pt x="8" y="7"/>
                    <a:pt x="8" y="7"/>
                    <a:pt x="8" y="7"/>
                  </a:cubicBezTo>
                  <a:cubicBezTo>
                    <a:pt x="8" y="4"/>
                    <a:pt x="9" y="2"/>
                    <a:pt x="11" y="0"/>
                  </a:cubicBezTo>
                  <a:cubicBezTo>
                    <a:pt x="8" y="0"/>
                    <a:pt x="4" y="1"/>
                    <a:pt x="1" y="2"/>
                  </a:cubicBezTo>
                  <a:cubicBezTo>
                    <a:pt x="0" y="3"/>
                    <a:pt x="0" y="5"/>
                    <a:pt x="0" y="7"/>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4" name="Freeform 7"/>
            <p:cNvSpPr>
              <a:spLocks/>
            </p:cNvSpPr>
            <p:nvPr/>
          </p:nvSpPr>
          <p:spPr bwMode="auto">
            <a:xfrm>
              <a:off x="10202481" y="4499131"/>
              <a:ext cx="108602" cy="286817"/>
            </a:xfrm>
            <a:custGeom>
              <a:avLst/>
              <a:gdLst>
                <a:gd name="T0" fmla="*/ 3 w 11"/>
                <a:gd name="T1" fmla="*/ 10 h 29"/>
                <a:gd name="T2" fmla="*/ 3 w 11"/>
                <a:gd name="T3" fmla="*/ 29 h 29"/>
                <a:gd name="T4" fmla="*/ 11 w 11"/>
                <a:gd name="T5" fmla="*/ 29 h 29"/>
                <a:gd name="T6" fmla="*/ 11 w 11"/>
                <a:gd name="T7" fmla="*/ 10 h 29"/>
                <a:gd name="T8" fmla="*/ 7 w 11"/>
                <a:gd name="T9" fmla="*/ 0 h 29"/>
                <a:gd name="T10" fmla="*/ 0 w 11"/>
                <a:gd name="T11" fmla="*/ 3 h 29"/>
                <a:gd name="T12" fmla="*/ 3 w 11"/>
                <a:gd name="T13" fmla="*/ 10 h 29"/>
              </a:gdLst>
              <a:ahLst/>
              <a:cxnLst>
                <a:cxn ang="0">
                  <a:pos x="T0" y="T1"/>
                </a:cxn>
                <a:cxn ang="0">
                  <a:pos x="T2" y="T3"/>
                </a:cxn>
                <a:cxn ang="0">
                  <a:pos x="T4" y="T5"/>
                </a:cxn>
                <a:cxn ang="0">
                  <a:pos x="T6" y="T7"/>
                </a:cxn>
                <a:cxn ang="0">
                  <a:pos x="T8" y="T9"/>
                </a:cxn>
                <a:cxn ang="0">
                  <a:pos x="T10" y="T11"/>
                </a:cxn>
                <a:cxn ang="0">
                  <a:pos x="T12" y="T13"/>
                </a:cxn>
              </a:cxnLst>
              <a:rect l="0" t="0" r="r" b="b"/>
              <a:pathLst>
                <a:path w="11" h="29">
                  <a:moveTo>
                    <a:pt x="3" y="10"/>
                  </a:moveTo>
                  <a:cubicBezTo>
                    <a:pt x="3" y="29"/>
                    <a:pt x="3" y="29"/>
                    <a:pt x="3" y="29"/>
                  </a:cubicBezTo>
                  <a:cubicBezTo>
                    <a:pt x="11" y="29"/>
                    <a:pt x="11" y="29"/>
                    <a:pt x="11" y="29"/>
                  </a:cubicBezTo>
                  <a:cubicBezTo>
                    <a:pt x="11" y="10"/>
                    <a:pt x="11" y="10"/>
                    <a:pt x="11" y="10"/>
                  </a:cubicBezTo>
                  <a:cubicBezTo>
                    <a:pt x="11" y="6"/>
                    <a:pt x="10" y="3"/>
                    <a:pt x="7" y="0"/>
                  </a:cubicBezTo>
                  <a:cubicBezTo>
                    <a:pt x="5" y="1"/>
                    <a:pt x="2" y="2"/>
                    <a:pt x="0" y="3"/>
                  </a:cubicBezTo>
                  <a:cubicBezTo>
                    <a:pt x="2" y="5"/>
                    <a:pt x="3" y="8"/>
                    <a:pt x="3" y="1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5" name="Freeform 8"/>
            <p:cNvSpPr>
              <a:spLocks/>
            </p:cNvSpPr>
            <p:nvPr/>
          </p:nvSpPr>
          <p:spPr bwMode="auto">
            <a:xfrm>
              <a:off x="9539735" y="4419767"/>
              <a:ext cx="732362" cy="128093"/>
            </a:xfrm>
            <a:custGeom>
              <a:avLst/>
              <a:gdLst>
                <a:gd name="T0" fmla="*/ 59 w 74"/>
                <a:gd name="T1" fmla="*/ 0 h 13"/>
                <a:gd name="T2" fmla="*/ 18 w 74"/>
                <a:gd name="T3" fmla="*/ 0 h 13"/>
                <a:gd name="T4" fmla="*/ 0 w 74"/>
                <a:gd name="T5" fmla="*/ 13 h 13"/>
                <a:gd name="T6" fmla="*/ 10 w 74"/>
                <a:gd name="T7" fmla="*/ 11 h 13"/>
                <a:gd name="T8" fmla="*/ 18 w 74"/>
                <a:gd name="T9" fmla="*/ 8 h 13"/>
                <a:gd name="T10" fmla="*/ 59 w 74"/>
                <a:gd name="T11" fmla="*/ 8 h 13"/>
                <a:gd name="T12" fmla="*/ 67 w 74"/>
                <a:gd name="T13" fmla="*/ 11 h 13"/>
                <a:gd name="T14" fmla="*/ 74 w 74"/>
                <a:gd name="T15" fmla="*/ 8 h 13"/>
                <a:gd name="T16" fmla="*/ 59 w 7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3">
                  <a:moveTo>
                    <a:pt x="59" y="0"/>
                  </a:moveTo>
                  <a:cubicBezTo>
                    <a:pt x="18" y="0"/>
                    <a:pt x="18" y="0"/>
                    <a:pt x="18" y="0"/>
                  </a:cubicBezTo>
                  <a:cubicBezTo>
                    <a:pt x="9" y="0"/>
                    <a:pt x="2" y="5"/>
                    <a:pt x="0" y="13"/>
                  </a:cubicBezTo>
                  <a:cubicBezTo>
                    <a:pt x="3" y="12"/>
                    <a:pt x="7" y="11"/>
                    <a:pt x="10" y="11"/>
                  </a:cubicBezTo>
                  <a:cubicBezTo>
                    <a:pt x="12" y="9"/>
                    <a:pt x="15" y="8"/>
                    <a:pt x="18" y="8"/>
                  </a:cubicBezTo>
                  <a:cubicBezTo>
                    <a:pt x="59" y="8"/>
                    <a:pt x="59" y="8"/>
                    <a:pt x="59" y="8"/>
                  </a:cubicBezTo>
                  <a:cubicBezTo>
                    <a:pt x="62" y="8"/>
                    <a:pt x="65" y="9"/>
                    <a:pt x="67" y="11"/>
                  </a:cubicBezTo>
                  <a:cubicBezTo>
                    <a:pt x="69" y="10"/>
                    <a:pt x="72" y="9"/>
                    <a:pt x="74" y="8"/>
                  </a:cubicBezTo>
                  <a:cubicBezTo>
                    <a:pt x="71" y="3"/>
                    <a:pt x="66" y="0"/>
                    <a:pt x="59"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86" name="Freeform 9"/>
            <p:cNvSpPr>
              <a:spLocks/>
            </p:cNvSpPr>
            <p:nvPr/>
          </p:nvSpPr>
          <p:spPr bwMode="auto">
            <a:xfrm>
              <a:off x="9193045" y="1533900"/>
              <a:ext cx="989943" cy="2965231"/>
            </a:xfrm>
            <a:custGeom>
              <a:avLst/>
              <a:gdLst>
                <a:gd name="T0" fmla="*/ 0 w 711"/>
                <a:gd name="T1" fmla="*/ 0 h 1485"/>
                <a:gd name="T2" fmla="*/ 384 w 711"/>
                <a:gd name="T3" fmla="*/ 0 h 1485"/>
                <a:gd name="T4" fmla="*/ 711 w 711"/>
                <a:gd name="T5" fmla="*/ 1485 h 1485"/>
                <a:gd name="T6" fmla="*/ 327 w 711"/>
                <a:gd name="T7" fmla="*/ 1485 h 1485"/>
                <a:gd name="T8" fmla="*/ 0 w 711"/>
                <a:gd name="T9" fmla="*/ 0 h 1485"/>
              </a:gdLst>
              <a:ahLst/>
              <a:cxnLst>
                <a:cxn ang="0">
                  <a:pos x="T0" y="T1"/>
                </a:cxn>
                <a:cxn ang="0">
                  <a:pos x="T2" y="T3"/>
                </a:cxn>
                <a:cxn ang="0">
                  <a:pos x="T4" y="T5"/>
                </a:cxn>
                <a:cxn ang="0">
                  <a:pos x="T6" y="T7"/>
                </a:cxn>
                <a:cxn ang="0">
                  <a:pos x="T8" y="T9"/>
                </a:cxn>
              </a:cxnLst>
              <a:rect l="0" t="0" r="r" b="b"/>
              <a:pathLst>
                <a:path w="711" h="1485">
                  <a:moveTo>
                    <a:pt x="0" y="0"/>
                  </a:moveTo>
                  <a:lnTo>
                    <a:pt x="384" y="0"/>
                  </a:lnTo>
                  <a:lnTo>
                    <a:pt x="711" y="1485"/>
                  </a:lnTo>
                  <a:lnTo>
                    <a:pt x="327" y="1485"/>
                  </a:lnTo>
                  <a:lnTo>
                    <a:pt x="0" y="0"/>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7" name="Oval 10"/>
            <p:cNvSpPr>
              <a:spLocks noChangeArrowheads="1"/>
            </p:cNvSpPr>
            <p:nvPr/>
          </p:nvSpPr>
          <p:spPr bwMode="auto">
            <a:xfrm>
              <a:off x="9045459" y="4557608"/>
              <a:ext cx="1751543" cy="1741799"/>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88" name="Oval 11"/>
            <p:cNvSpPr>
              <a:spLocks noChangeArrowheads="1"/>
            </p:cNvSpPr>
            <p:nvPr/>
          </p:nvSpPr>
          <p:spPr bwMode="auto">
            <a:xfrm>
              <a:off x="9243167" y="4756712"/>
              <a:ext cx="1354734" cy="1344986"/>
            </a:xfrm>
            <a:prstGeom prst="ellipse">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9" name="Freeform 12"/>
            <p:cNvSpPr>
              <a:spLocks/>
            </p:cNvSpPr>
            <p:nvPr/>
          </p:nvSpPr>
          <p:spPr bwMode="auto">
            <a:xfrm>
              <a:off x="9115074" y="4597985"/>
              <a:ext cx="1038672" cy="831219"/>
            </a:xfrm>
            <a:custGeom>
              <a:avLst/>
              <a:gdLst>
                <a:gd name="T0" fmla="*/ 0 w 105"/>
                <a:gd name="T1" fmla="*/ 84 h 84"/>
                <a:gd name="T2" fmla="*/ 83 w 105"/>
                <a:gd name="T3" fmla="*/ 0 h 84"/>
                <a:gd name="T4" fmla="*/ 105 w 105"/>
                <a:gd name="T5" fmla="*/ 3 h 84"/>
              </a:gdLst>
              <a:ahLst/>
              <a:cxnLst>
                <a:cxn ang="0">
                  <a:pos x="T0" y="T1"/>
                </a:cxn>
                <a:cxn ang="0">
                  <a:pos x="T2" y="T3"/>
                </a:cxn>
                <a:cxn ang="0">
                  <a:pos x="T4" y="T5"/>
                </a:cxn>
              </a:cxnLst>
              <a:rect l="0" t="0" r="r" b="b"/>
              <a:pathLst>
                <a:path w="105" h="84">
                  <a:moveTo>
                    <a:pt x="0" y="84"/>
                  </a:moveTo>
                  <a:cubicBezTo>
                    <a:pt x="0" y="38"/>
                    <a:pt x="37" y="0"/>
                    <a:pt x="83" y="0"/>
                  </a:cubicBezTo>
                  <a:cubicBezTo>
                    <a:pt x="91" y="0"/>
                    <a:pt x="98" y="1"/>
                    <a:pt x="105" y="3"/>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0" name="Freeform 13"/>
            <p:cNvSpPr>
              <a:spLocks/>
            </p:cNvSpPr>
            <p:nvPr/>
          </p:nvSpPr>
          <p:spPr bwMode="auto">
            <a:xfrm>
              <a:off x="9115074" y="5507172"/>
              <a:ext cx="118348" cy="356436"/>
            </a:xfrm>
            <a:custGeom>
              <a:avLst/>
              <a:gdLst>
                <a:gd name="T0" fmla="*/ 12 w 12"/>
                <a:gd name="T1" fmla="*/ 36 h 36"/>
                <a:gd name="T2" fmla="*/ 0 w 12"/>
                <a:gd name="T3" fmla="*/ 0 h 36"/>
              </a:gdLst>
              <a:ahLst/>
              <a:cxnLst>
                <a:cxn ang="0">
                  <a:pos x="T0" y="T1"/>
                </a:cxn>
                <a:cxn ang="0">
                  <a:pos x="T2" y="T3"/>
                </a:cxn>
              </a:cxnLst>
              <a:rect l="0" t="0" r="r" b="b"/>
              <a:pathLst>
                <a:path w="12" h="36">
                  <a:moveTo>
                    <a:pt x="12" y="36"/>
                  </a:moveTo>
                  <a:cubicBezTo>
                    <a:pt x="6" y="25"/>
                    <a:pt x="1" y="13"/>
                    <a:pt x="0" y="0"/>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1" name="Oval 14"/>
            <p:cNvSpPr>
              <a:spLocks noChangeArrowheads="1"/>
            </p:cNvSpPr>
            <p:nvPr/>
          </p:nvSpPr>
          <p:spPr bwMode="auto">
            <a:xfrm>
              <a:off x="9243167" y="4756712"/>
              <a:ext cx="1354734" cy="1344986"/>
            </a:xfrm>
            <a:prstGeom prst="ellipse">
              <a:avLst/>
            </a:prstGeom>
            <a:noFill/>
            <a:ln w="34925" cap="flat">
              <a:solidFill>
                <a:schemeClr val="accent1">
                  <a:lumMod val="20000"/>
                  <a:lumOff val="8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 name="Freeform 17"/>
            <p:cNvSpPr>
              <a:spLocks/>
            </p:cNvSpPr>
            <p:nvPr/>
          </p:nvSpPr>
          <p:spPr bwMode="auto">
            <a:xfrm>
              <a:off x="10894711" y="1533900"/>
              <a:ext cx="380594" cy="1837558"/>
            </a:xfrm>
            <a:custGeom>
              <a:avLst/>
              <a:gdLst>
                <a:gd name="T0" fmla="*/ 710 w 710"/>
                <a:gd name="T1" fmla="*/ 0 h 1485"/>
                <a:gd name="T2" fmla="*/ 334 w 710"/>
                <a:gd name="T3" fmla="*/ 0 h 1485"/>
                <a:gd name="T4" fmla="*/ 0 w 710"/>
                <a:gd name="T5" fmla="*/ 1485 h 1485"/>
                <a:gd name="T6" fmla="*/ 383 w 710"/>
                <a:gd name="T7" fmla="*/ 1485 h 1485"/>
                <a:gd name="T8" fmla="*/ 710 w 710"/>
                <a:gd name="T9" fmla="*/ 0 h 1485"/>
              </a:gdLst>
              <a:ahLst/>
              <a:cxnLst>
                <a:cxn ang="0">
                  <a:pos x="T0" y="T1"/>
                </a:cxn>
                <a:cxn ang="0">
                  <a:pos x="T2" y="T3"/>
                </a:cxn>
                <a:cxn ang="0">
                  <a:pos x="T4" y="T5"/>
                </a:cxn>
                <a:cxn ang="0">
                  <a:pos x="T6" y="T7"/>
                </a:cxn>
                <a:cxn ang="0">
                  <a:pos x="T8" y="T9"/>
                </a:cxn>
              </a:cxnLst>
              <a:rect l="0" t="0" r="r" b="b"/>
              <a:pathLst>
                <a:path w="710" h="1485">
                  <a:moveTo>
                    <a:pt x="710" y="0"/>
                  </a:moveTo>
                  <a:lnTo>
                    <a:pt x="334" y="0"/>
                  </a:lnTo>
                  <a:lnTo>
                    <a:pt x="0" y="1485"/>
                  </a:lnTo>
                  <a:lnTo>
                    <a:pt x="383" y="1485"/>
                  </a:lnTo>
                  <a:lnTo>
                    <a:pt x="710"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3" name="Freeform 18"/>
            <p:cNvSpPr>
              <a:spLocks/>
            </p:cNvSpPr>
            <p:nvPr/>
          </p:nvSpPr>
          <p:spPr bwMode="auto">
            <a:xfrm>
              <a:off x="10852363" y="3391094"/>
              <a:ext cx="42347" cy="61111"/>
            </a:xfrm>
            <a:custGeom>
              <a:avLst/>
              <a:gdLst>
                <a:gd name="T0" fmla="*/ 0 w 11"/>
                <a:gd name="T1" fmla="*/ 7 h 16"/>
                <a:gd name="T2" fmla="*/ 0 w 11"/>
                <a:gd name="T3" fmla="*/ 16 h 16"/>
                <a:gd name="T4" fmla="*/ 8 w 11"/>
                <a:gd name="T5" fmla="*/ 16 h 16"/>
                <a:gd name="T6" fmla="*/ 8 w 11"/>
                <a:gd name="T7" fmla="*/ 7 h 16"/>
                <a:gd name="T8" fmla="*/ 11 w 11"/>
                <a:gd name="T9" fmla="*/ 0 h 16"/>
                <a:gd name="T10" fmla="*/ 1 w 11"/>
                <a:gd name="T11" fmla="*/ 2 h 16"/>
                <a:gd name="T12" fmla="*/ 0 w 11"/>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11" h="16">
                  <a:moveTo>
                    <a:pt x="0" y="7"/>
                  </a:moveTo>
                  <a:cubicBezTo>
                    <a:pt x="0" y="16"/>
                    <a:pt x="0" y="16"/>
                    <a:pt x="0" y="16"/>
                  </a:cubicBezTo>
                  <a:cubicBezTo>
                    <a:pt x="8" y="16"/>
                    <a:pt x="8" y="16"/>
                    <a:pt x="8" y="16"/>
                  </a:cubicBezTo>
                  <a:cubicBezTo>
                    <a:pt x="8" y="7"/>
                    <a:pt x="8" y="7"/>
                    <a:pt x="8" y="7"/>
                  </a:cubicBezTo>
                  <a:cubicBezTo>
                    <a:pt x="8" y="4"/>
                    <a:pt x="9" y="2"/>
                    <a:pt x="11" y="0"/>
                  </a:cubicBezTo>
                  <a:cubicBezTo>
                    <a:pt x="7" y="0"/>
                    <a:pt x="4" y="1"/>
                    <a:pt x="1" y="2"/>
                  </a:cubicBezTo>
                  <a:cubicBezTo>
                    <a:pt x="0" y="3"/>
                    <a:pt x="0" y="5"/>
                    <a:pt x="0" y="7"/>
                  </a:cubicBezTo>
                  <a:close/>
                </a:path>
              </a:pathLst>
            </a:custGeom>
            <a:solidFill>
              <a:srgbClr val="AEAD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9"/>
            <p:cNvSpPr>
              <a:spLocks/>
            </p:cNvSpPr>
            <p:nvPr/>
          </p:nvSpPr>
          <p:spPr bwMode="auto">
            <a:xfrm>
              <a:off x="11111811" y="3379837"/>
              <a:ext cx="38058" cy="110426"/>
            </a:xfrm>
            <a:custGeom>
              <a:avLst/>
              <a:gdLst>
                <a:gd name="T0" fmla="*/ 2 w 10"/>
                <a:gd name="T1" fmla="*/ 10 h 29"/>
                <a:gd name="T2" fmla="*/ 2 w 10"/>
                <a:gd name="T3" fmla="*/ 29 h 29"/>
                <a:gd name="T4" fmla="*/ 10 w 10"/>
                <a:gd name="T5" fmla="*/ 29 h 29"/>
                <a:gd name="T6" fmla="*/ 10 w 10"/>
                <a:gd name="T7" fmla="*/ 10 h 29"/>
                <a:gd name="T8" fmla="*/ 7 w 10"/>
                <a:gd name="T9" fmla="*/ 0 h 29"/>
                <a:gd name="T10" fmla="*/ 0 w 10"/>
                <a:gd name="T11" fmla="*/ 3 h 29"/>
                <a:gd name="T12" fmla="*/ 2 w 10"/>
                <a:gd name="T13" fmla="*/ 10 h 29"/>
              </a:gdLst>
              <a:ahLst/>
              <a:cxnLst>
                <a:cxn ang="0">
                  <a:pos x="T0" y="T1"/>
                </a:cxn>
                <a:cxn ang="0">
                  <a:pos x="T2" y="T3"/>
                </a:cxn>
                <a:cxn ang="0">
                  <a:pos x="T4" y="T5"/>
                </a:cxn>
                <a:cxn ang="0">
                  <a:pos x="T6" y="T7"/>
                </a:cxn>
                <a:cxn ang="0">
                  <a:pos x="T8" y="T9"/>
                </a:cxn>
                <a:cxn ang="0">
                  <a:pos x="T10" y="T11"/>
                </a:cxn>
                <a:cxn ang="0">
                  <a:pos x="T12" y="T13"/>
                </a:cxn>
              </a:cxnLst>
              <a:rect l="0" t="0" r="r" b="b"/>
              <a:pathLst>
                <a:path w="10" h="29">
                  <a:moveTo>
                    <a:pt x="2" y="10"/>
                  </a:moveTo>
                  <a:cubicBezTo>
                    <a:pt x="2" y="29"/>
                    <a:pt x="2" y="29"/>
                    <a:pt x="2" y="29"/>
                  </a:cubicBezTo>
                  <a:cubicBezTo>
                    <a:pt x="10" y="29"/>
                    <a:pt x="10" y="29"/>
                    <a:pt x="10" y="29"/>
                  </a:cubicBezTo>
                  <a:cubicBezTo>
                    <a:pt x="10" y="10"/>
                    <a:pt x="10" y="10"/>
                    <a:pt x="10" y="10"/>
                  </a:cubicBezTo>
                  <a:cubicBezTo>
                    <a:pt x="10" y="6"/>
                    <a:pt x="9" y="3"/>
                    <a:pt x="7" y="0"/>
                  </a:cubicBezTo>
                  <a:cubicBezTo>
                    <a:pt x="4" y="1"/>
                    <a:pt x="2" y="2"/>
                    <a:pt x="0" y="3"/>
                  </a:cubicBezTo>
                  <a:cubicBezTo>
                    <a:pt x="1" y="5"/>
                    <a:pt x="2" y="8"/>
                    <a:pt x="2" y="10"/>
                  </a:cubicBezTo>
                  <a:close/>
                </a:path>
              </a:pathLst>
            </a:custGeom>
            <a:solidFill>
              <a:srgbClr val="AEAD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20"/>
            <p:cNvSpPr>
              <a:spLocks/>
            </p:cNvSpPr>
            <p:nvPr/>
          </p:nvSpPr>
          <p:spPr bwMode="auto">
            <a:xfrm>
              <a:off x="10856652" y="3349284"/>
              <a:ext cx="281425" cy="49316"/>
            </a:xfrm>
            <a:custGeom>
              <a:avLst/>
              <a:gdLst>
                <a:gd name="T0" fmla="*/ 59 w 74"/>
                <a:gd name="T1" fmla="*/ 0 h 13"/>
                <a:gd name="T2" fmla="*/ 17 w 74"/>
                <a:gd name="T3" fmla="*/ 0 h 13"/>
                <a:gd name="T4" fmla="*/ 0 w 74"/>
                <a:gd name="T5" fmla="*/ 13 h 13"/>
                <a:gd name="T6" fmla="*/ 10 w 74"/>
                <a:gd name="T7" fmla="*/ 11 h 13"/>
                <a:gd name="T8" fmla="*/ 17 w 74"/>
                <a:gd name="T9" fmla="*/ 8 h 13"/>
                <a:gd name="T10" fmla="*/ 59 w 74"/>
                <a:gd name="T11" fmla="*/ 8 h 13"/>
                <a:gd name="T12" fmla="*/ 67 w 74"/>
                <a:gd name="T13" fmla="*/ 11 h 13"/>
                <a:gd name="T14" fmla="*/ 74 w 74"/>
                <a:gd name="T15" fmla="*/ 8 h 13"/>
                <a:gd name="T16" fmla="*/ 59 w 7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3">
                  <a:moveTo>
                    <a:pt x="59" y="0"/>
                  </a:moveTo>
                  <a:cubicBezTo>
                    <a:pt x="17" y="0"/>
                    <a:pt x="17" y="0"/>
                    <a:pt x="17" y="0"/>
                  </a:cubicBezTo>
                  <a:cubicBezTo>
                    <a:pt x="9" y="0"/>
                    <a:pt x="2" y="5"/>
                    <a:pt x="0" y="13"/>
                  </a:cubicBezTo>
                  <a:cubicBezTo>
                    <a:pt x="3" y="12"/>
                    <a:pt x="6" y="11"/>
                    <a:pt x="10" y="11"/>
                  </a:cubicBezTo>
                  <a:cubicBezTo>
                    <a:pt x="12" y="9"/>
                    <a:pt x="14" y="8"/>
                    <a:pt x="17" y="8"/>
                  </a:cubicBezTo>
                  <a:cubicBezTo>
                    <a:pt x="59" y="8"/>
                    <a:pt x="59" y="8"/>
                    <a:pt x="59" y="8"/>
                  </a:cubicBezTo>
                  <a:cubicBezTo>
                    <a:pt x="62" y="8"/>
                    <a:pt x="65" y="9"/>
                    <a:pt x="67" y="11"/>
                  </a:cubicBezTo>
                  <a:cubicBezTo>
                    <a:pt x="69" y="10"/>
                    <a:pt x="71" y="9"/>
                    <a:pt x="74" y="8"/>
                  </a:cubicBezTo>
                  <a:cubicBezTo>
                    <a:pt x="71" y="3"/>
                    <a:pt x="65" y="0"/>
                    <a:pt x="59" y="0"/>
                  </a:cubicBezTo>
                  <a:close/>
                </a:path>
              </a:pathLst>
            </a:custGeom>
            <a:solidFill>
              <a:srgbClr val="CCCC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21"/>
            <p:cNvSpPr>
              <a:spLocks/>
            </p:cNvSpPr>
            <p:nvPr/>
          </p:nvSpPr>
          <p:spPr bwMode="auto">
            <a:xfrm>
              <a:off x="10723174" y="1533900"/>
              <a:ext cx="380594" cy="1845937"/>
            </a:xfrm>
            <a:custGeom>
              <a:avLst/>
              <a:gdLst>
                <a:gd name="T0" fmla="*/ 0 w 710"/>
                <a:gd name="T1" fmla="*/ 0 h 1485"/>
                <a:gd name="T2" fmla="*/ 376 w 710"/>
                <a:gd name="T3" fmla="*/ 0 h 1485"/>
                <a:gd name="T4" fmla="*/ 710 w 710"/>
                <a:gd name="T5" fmla="*/ 1485 h 1485"/>
                <a:gd name="T6" fmla="*/ 327 w 710"/>
                <a:gd name="T7" fmla="*/ 1485 h 1485"/>
                <a:gd name="T8" fmla="*/ 0 w 710"/>
                <a:gd name="T9" fmla="*/ 0 h 1485"/>
              </a:gdLst>
              <a:ahLst/>
              <a:cxnLst>
                <a:cxn ang="0">
                  <a:pos x="T0" y="T1"/>
                </a:cxn>
                <a:cxn ang="0">
                  <a:pos x="T2" y="T3"/>
                </a:cxn>
                <a:cxn ang="0">
                  <a:pos x="T4" y="T5"/>
                </a:cxn>
                <a:cxn ang="0">
                  <a:pos x="T6" y="T7"/>
                </a:cxn>
                <a:cxn ang="0">
                  <a:pos x="T8" y="T9"/>
                </a:cxn>
              </a:cxnLst>
              <a:rect l="0" t="0" r="r" b="b"/>
              <a:pathLst>
                <a:path w="710" h="1485">
                  <a:moveTo>
                    <a:pt x="0" y="0"/>
                  </a:moveTo>
                  <a:lnTo>
                    <a:pt x="376" y="0"/>
                  </a:lnTo>
                  <a:lnTo>
                    <a:pt x="710" y="1485"/>
                  </a:lnTo>
                  <a:lnTo>
                    <a:pt x="327" y="1485"/>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97" name="Oval 22"/>
            <p:cNvSpPr>
              <a:spLocks noChangeArrowheads="1"/>
            </p:cNvSpPr>
            <p:nvPr/>
          </p:nvSpPr>
          <p:spPr bwMode="auto">
            <a:xfrm>
              <a:off x="10665818" y="3402351"/>
              <a:ext cx="670597" cy="670598"/>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endParaRPr lang="en-US"/>
            </a:p>
          </p:txBody>
        </p:sp>
        <p:sp>
          <p:nvSpPr>
            <p:cNvPr id="198" name="Oval 23"/>
            <p:cNvSpPr>
              <a:spLocks noChangeArrowheads="1"/>
            </p:cNvSpPr>
            <p:nvPr/>
          </p:nvSpPr>
          <p:spPr bwMode="auto">
            <a:xfrm>
              <a:off x="10741937" y="3479005"/>
              <a:ext cx="518358" cy="517824"/>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9" name="Freeform 24"/>
            <p:cNvSpPr>
              <a:spLocks/>
            </p:cNvSpPr>
            <p:nvPr/>
          </p:nvSpPr>
          <p:spPr bwMode="auto">
            <a:xfrm>
              <a:off x="10688867" y="3417898"/>
              <a:ext cx="403643" cy="320021"/>
            </a:xfrm>
            <a:custGeom>
              <a:avLst/>
              <a:gdLst>
                <a:gd name="T0" fmla="*/ 0 w 106"/>
                <a:gd name="T1" fmla="*/ 84 h 84"/>
                <a:gd name="T2" fmla="*/ 83 w 106"/>
                <a:gd name="T3" fmla="*/ 0 h 84"/>
                <a:gd name="T4" fmla="*/ 106 w 106"/>
                <a:gd name="T5" fmla="*/ 3 h 84"/>
              </a:gdLst>
              <a:ahLst/>
              <a:cxnLst>
                <a:cxn ang="0">
                  <a:pos x="T0" y="T1"/>
                </a:cxn>
                <a:cxn ang="0">
                  <a:pos x="T2" y="T3"/>
                </a:cxn>
                <a:cxn ang="0">
                  <a:pos x="T4" y="T5"/>
                </a:cxn>
              </a:cxnLst>
              <a:rect l="0" t="0" r="r" b="b"/>
              <a:pathLst>
                <a:path w="106" h="84">
                  <a:moveTo>
                    <a:pt x="0" y="84"/>
                  </a:moveTo>
                  <a:cubicBezTo>
                    <a:pt x="0" y="38"/>
                    <a:pt x="38" y="0"/>
                    <a:pt x="83" y="0"/>
                  </a:cubicBezTo>
                  <a:cubicBezTo>
                    <a:pt x="91" y="0"/>
                    <a:pt x="98" y="1"/>
                    <a:pt x="106" y="3"/>
                  </a:cubicBezTo>
                </a:path>
              </a:pathLst>
            </a:custGeom>
            <a:noFill/>
            <a:ln w="3175" cap="rnd">
              <a:solidFill>
                <a:srgbClr val="A7A8A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Freeform 25"/>
            <p:cNvSpPr>
              <a:spLocks/>
            </p:cNvSpPr>
            <p:nvPr/>
          </p:nvSpPr>
          <p:spPr bwMode="auto">
            <a:xfrm>
              <a:off x="10692622" y="3767937"/>
              <a:ext cx="45564" cy="137227"/>
            </a:xfrm>
            <a:custGeom>
              <a:avLst/>
              <a:gdLst>
                <a:gd name="T0" fmla="*/ 12 w 12"/>
                <a:gd name="T1" fmla="*/ 36 h 36"/>
                <a:gd name="T2" fmla="*/ 0 w 12"/>
                <a:gd name="T3" fmla="*/ 0 h 36"/>
              </a:gdLst>
              <a:ahLst/>
              <a:cxnLst>
                <a:cxn ang="0">
                  <a:pos x="T0" y="T1"/>
                </a:cxn>
                <a:cxn ang="0">
                  <a:pos x="T2" y="T3"/>
                </a:cxn>
              </a:cxnLst>
              <a:rect l="0" t="0" r="r" b="b"/>
              <a:pathLst>
                <a:path w="12" h="36">
                  <a:moveTo>
                    <a:pt x="12" y="36"/>
                  </a:moveTo>
                  <a:cubicBezTo>
                    <a:pt x="5" y="25"/>
                    <a:pt x="1" y="13"/>
                    <a:pt x="0" y="0"/>
                  </a:cubicBezTo>
                </a:path>
              </a:pathLst>
            </a:custGeom>
            <a:noFill/>
            <a:ln w="3175" cap="rnd">
              <a:solidFill>
                <a:srgbClr val="A7A8A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1" name="Oval 26"/>
            <p:cNvSpPr>
              <a:spLocks noChangeArrowheads="1"/>
            </p:cNvSpPr>
            <p:nvPr/>
          </p:nvSpPr>
          <p:spPr bwMode="auto">
            <a:xfrm>
              <a:off x="10741937" y="3479005"/>
              <a:ext cx="518358" cy="517824"/>
            </a:xfrm>
            <a:prstGeom prst="ellipse">
              <a:avLst/>
            </a:prstGeom>
            <a:noFill/>
            <a:ln w="9525" cap="flat">
              <a:solidFill>
                <a:srgbClr val="9799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2" name="Freeform 17"/>
            <p:cNvSpPr>
              <a:spLocks/>
            </p:cNvSpPr>
            <p:nvPr/>
          </p:nvSpPr>
          <p:spPr bwMode="auto">
            <a:xfrm>
              <a:off x="8734939" y="1533900"/>
              <a:ext cx="380594" cy="1857191"/>
            </a:xfrm>
            <a:custGeom>
              <a:avLst/>
              <a:gdLst>
                <a:gd name="T0" fmla="*/ 710 w 710"/>
                <a:gd name="T1" fmla="*/ 0 h 1485"/>
                <a:gd name="T2" fmla="*/ 334 w 710"/>
                <a:gd name="T3" fmla="*/ 0 h 1485"/>
                <a:gd name="T4" fmla="*/ 0 w 710"/>
                <a:gd name="T5" fmla="*/ 1485 h 1485"/>
                <a:gd name="T6" fmla="*/ 383 w 710"/>
                <a:gd name="T7" fmla="*/ 1485 h 1485"/>
                <a:gd name="T8" fmla="*/ 710 w 710"/>
                <a:gd name="T9" fmla="*/ 0 h 1485"/>
              </a:gdLst>
              <a:ahLst/>
              <a:cxnLst>
                <a:cxn ang="0">
                  <a:pos x="T0" y="T1"/>
                </a:cxn>
                <a:cxn ang="0">
                  <a:pos x="T2" y="T3"/>
                </a:cxn>
                <a:cxn ang="0">
                  <a:pos x="T4" y="T5"/>
                </a:cxn>
                <a:cxn ang="0">
                  <a:pos x="T6" y="T7"/>
                </a:cxn>
                <a:cxn ang="0">
                  <a:pos x="T8" y="T9"/>
                </a:cxn>
              </a:cxnLst>
              <a:rect l="0" t="0" r="r" b="b"/>
              <a:pathLst>
                <a:path w="710" h="1485">
                  <a:moveTo>
                    <a:pt x="710" y="0"/>
                  </a:moveTo>
                  <a:lnTo>
                    <a:pt x="334" y="0"/>
                  </a:lnTo>
                  <a:lnTo>
                    <a:pt x="0" y="1485"/>
                  </a:lnTo>
                  <a:lnTo>
                    <a:pt x="383" y="1485"/>
                  </a:lnTo>
                  <a:lnTo>
                    <a:pt x="710"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3" name="Freeform 18"/>
            <p:cNvSpPr>
              <a:spLocks/>
            </p:cNvSpPr>
            <p:nvPr/>
          </p:nvSpPr>
          <p:spPr bwMode="auto">
            <a:xfrm>
              <a:off x="8692591" y="3394845"/>
              <a:ext cx="42347" cy="61111"/>
            </a:xfrm>
            <a:custGeom>
              <a:avLst/>
              <a:gdLst>
                <a:gd name="T0" fmla="*/ 0 w 11"/>
                <a:gd name="T1" fmla="*/ 7 h 16"/>
                <a:gd name="T2" fmla="*/ 0 w 11"/>
                <a:gd name="T3" fmla="*/ 16 h 16"/>
                <a:gd name="T4" fmla="*/ 8 w 11"/>
                <a:gd name="T5" fmla="*/ 16 h 16"/>
                <a:gd name="T6" fmla="*/ 8 w 11"/>
                <a:gd name="T7" fmla="*/ 7 h 16"/>
                <a:gd name="T8" fmla="*/ 11 w 11"/>
                <a:gd name="T9" fmla="*/ 0 h 16"/>
                <a:gd name="T10" fmla="*/ 1 w 11"/>
                <a:gd name="T11" fmla="*/ 2 h 16"/>
                <a:gd name="T12" fmla="*/ 0 w 11"/>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11" h="16">
                  <a:moveTo>
                    <a:pt x="0" y="7"/>
                  </a:moveTo>
                  <a:cubicBezTo>
                    <a:pt x="0" y="16"/>
                    <a:pt x="0" y="16"/>
                    <a:pt x="0" y="16"/>
                  </a:cubicBezTo>
                  <a:cubicBezTo>
                    <a:pt x="8" y="16"/>
                    <a:pt x="8" y="16"/>
                    <a:pt x="8" y="16"/>
                  </a:cubicBezTo>
                  <a:cubicBezTo>
                    <a:pt x="8" y="7"/>
                    <a:pt x="8" y="7"/>
                    <a:pt x="8" y="7"/>
                  </a:cubicBezTo>
                  <a:cubicBezTo>
                    <a:pt x="8" y="4"/>
                    <a:pt x="9" y="2"/>
                    <a:pt x="11" y="0"/>
                  </a:cubicBezTo>
                  <a:cubicBezTo>
                    <a:pt x="7" y="0"/>
                    <a:pt x="4" y="1"/>
                    <a:pt x="1" y="2"/>
                  </a:cubicBezTo>
                  <a:cubicBezTo>
                    <a:pt x="0" y="3"/>
                    <a:pt x="0" y="5"/>
                    <a:pt x="0" y="7"/>
                  </a:cubicBezTo>
                  <a:close/>
                </a:path>
              </a:pathLst>
            </a:custGeom>
            <a:solidFill>
              <a:srgbClr val="AEAD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9"/>
            <p:cNvSpPr>
              <a:spLocks/>
            </p:cNvSpPr>
            <p:nvPr/>
          </p:nvSpPr>
          <p:spPr bwMode="auto">
            <a:xfrm>
              <a:off x="8952040" y="3383588"/>
              <a:ext cx="38058" cy="110426"/>
            </a:xfrm>
            <a:custGeom>
              <a:avLst/>
              <a:gdLst>
                <a:gd name="T0" fmla="*/ 2 w 10"/>
                <a:gd name="T1" fmla="*/ 10 h 29"/>
                <a:gd name="T2" fmla="*/ 2 w 10"/>
                <a:gd name="T3" fmla="*/ 29 h 29"/>
                <a:gd name="T4" fmla="*/ 10 w 10"/>
                <a:gd name="T5" fmla="*/ 29 h 29"/>
                <a:gd name="T6" fmla="*/ 10 w 10"/>
                <a:gd name="T7" fmla="*/ 10 h 29"/>
                <a:gd name="T8" fmla="*/ 7 w 10"/>
                <a:gd name="T9" fmla="*/ 0 h 29"/>
                <a:gd name="T10" fmla="*/ 0 w 10"/>
                <a:gd name="T11" fmla="*/ 3 h 29"/>
                <a:gd name="T12" fmla="*/ 2 w 10"/>
                <a:gd name="T13" fmla="*/ 10 h 29"/>
              </a:gdLst>
              <a:ahLst/>
              <a:cxnLst>
                <a:cxn ang="0">
                  <a:pos x="T0" y="T1"/>
                </a:cxn>
                <a:cxn ang="0">
                  <a:pos x="T2" y="T3"/>
                </a:cxn>
                <a:cxn ang="0">
                  <a:pos x="T4" y="T5"/>
                </a:cxn>
                <a:cxn ang="0">
                  <a:pos x="T6" y="T7"/>
                </a:cxn>
                <a:cxn ang="0">
                  <a:pos x="T8" y="T9"/>
                </a:cxn>
                <a:cxn ang="0">
                  <a:pos x="T10" y="T11"/>
                </a:cxn>
                <a:cxn ang="0">
                  <a:pos x="T12" y="T13"/>
                </a:cxn>
              </a:cxnLst>
              <a:rect l="0" t="0" r="r" b="b"/>
              <a:pathLst>
                <a:path w="10" h="29">
                  <a:moveTo>
                    <a:pt x="2" y="10"/>
                  </a:moveTo>
                  <a:cubicBezTo>
                    <a:pt x="2" y="29"/>
                    <a:pt x="2" y="29"/>
                    <a:pt x="2" y="29"/>
                  </a:cubicBezTo>
                  <a:cubicBezTo>
                    <a:pt x="10" y="29"/>
                    <a:pt x="10" y="29"/>
                    <a:pt x="10" y="29"/>
                  </a:cubicBezTo>
                  <a:cubicBezTo>
                    <a:pt x="10" y="10"/>
                    <a:pt x="10" y="10"/>
                    <a:pt x="10" y="10"/>
                  </a:cubicBezTo>
                  <a:cubicBezTo>
                    <a:pt x="10" y="6"/>
                    <a:pt x="9" y="3"/>
                    <a:pt x="7" y="0"/>
                  </a:cubicBezTo>
                  <a:cubicBezTo>
                    <a:pt x="4" y="1"/>
                    <a:pt x="2" y="2"/>
                    <a:pt x="0" y="3"/>
                  </a:cubicBezTo>
                  <a:cubicBezTo>
                    <a:pt x="1" y="5"/>
                    <a:pt x="2" y="8"/>
                    <a:pt x="2" y="10"/>
                  </a:cubicBezTo>
                  <a:close/>
                </a:path>
              </a:pathLst>
            </a:custGeom>
            <a:solidFill>
              <a:srgbClr val="AEAD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20"/>
            <p:cNvSpPr>
              <a:spLocks/>
            </p:cNvSpPr>
            <p:nvPr/>
          </p:nvSpPr>
          <p:spPr bwMode="auto">
            <a:xfrm>
              <a:off x="8696881" y="3353035"/>
              <a:ext cx="281425" cy="49316"/>
            </a:xfrm>
            <a:custGeom>
              <a:avLst/>
              <a:gdLst>
                <a:gd name="T0" fmla="*/ 59 w 74"/>
                <a:gd name="T1" fmla="*/ 0 h 13"/>
                <a:gd name="T2" fmla="*/ 17 w 74"/>
                <a:gd name="T3" fmla="*/ 0 h 13"/>
                <a:gd name="T4" fmla="*/ 0 w 74"/>
                <a:gd name="T5" fmla="*/ 13 h 13"/>
                <a:gd name="T6" fmla="*/ 10 w 74"/>
                <a:gd name="T7" fmla="*/ 11 h 13"/>
                <a:gd name="T8" fmla="*/ 17 w 74"/>
                <a:gd name="T9" fmla="*/ 8 h 13"/>
                <a:gd name="T10" fmla="*/ 59 w 74"/>
                <a:gd name="T11" fmla="*/ 8 h 13"/>
                <a:gd name="T12" fmla="*/ 67 w 74"/>
                <a:gd name="T13" fmla="*/ 11 h 13"/>
                <a:gd name="T14" fmla="*/ 74 w 74"/>
                <a:gd name="T15" fmla="*/ 8 h 13"/>
                <a:gd name="T16" fmla="*/ 59 w 7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3">
                  <a:moveTo>
                    <a:pt x="59" y="0"/>
                  </a:moveTo>
                  <a:cubicBezTo>
                    <a:pt x="17" y="0"/>
                    <a:pt x="17" y="0"/>
                    <a:pt x="17" y="0"/>
                  </a:cubicBezTo>
                  <a:cubicBezTo>
                    <a:pt x="9" y="0"/>
                    <a:pt x="2" y="5"/>
                    <a:pt x="0" y="13"/>
                  </a:cubicBezTo>
                  <a:cubicBezTo>
                    <a:pt x="3" y="12"/>
                    <a:pt x="6" y="11"/>
                    <a:pt x="10" y="11"/>
                  </a:cubicBezTo>
                  <a:cubicBezTo>
                    <a:pt x="12" y="9"/>
                    <a:pt x="14" y="8"/>
                    <a:pt x="17" y="8"/>
                  </a:cubicBezTo>
                  <a:cubicBezTo>
                    <a:pt x="59" y="8"/>
                    <a:pt x="59" y="8"/>
                    <a:pt x="59" y="8"/>
                  </a:cubicBezTo>
                  <a:cubicBezTo>
                    <a:pt x="62" y="8"/>
                    <a:pt x="65" y="9"/>
                    <a:pt x="67" y="11"/>
                  </a:cubicBezTo>
                  <a:cubicBezTo>
                    <a:pt x="69" y="10"/>
                    <a:pt x="71" y="9"/>
                    <a:pt x="74" y="8"/>
                  </a:cubicBezTo>
                  <a:cubicBezTo>
                    <a:pt x="71" y="3"/>
                    <a:pt x="65" y="0"/>
                    <a:pt x="59" y="0"/>
                  </a:cubicBezTo>
                  <a:close/>
                </a:path>
              </a:pathLst>
            </a:custGeom>
            <a:solidFill>
              <a:srgbClr val="CCCC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21"/>
            <p:cNvSpPr>
              <a:spLocks/>
            </p:cNvSpPr>
            <p:nvPr/>
          </p:nvSpPr>
          <p:spPr bwMode="auto">
            <a:xfrm>
              <a:off x="8563402" y="1533900"/>
              <a:ext cx="380594" cy="1857191"/>
            </a:xfrm>
            <a:custGeom>
              <a:avLst/>
              <a:gdLst>
                <a:gd name="T0" fmla="*/ 0 w 710"/>
                <a:gd name="T1" fmla="*/ 0 h 1485"/>
                <a:gd name="T2" fmla="*/ 376 w 710"/>
                <a:gd name="T3" fmla="*/ 0 h 1485"/>
                <a:gd name="T4" fmla="*/ 710 w 710"/>
                <a:gd name="T5" fmla="*/ 1485 h 1485"/>
                <a:gd name="T6" fmla="*/ 327 w 710"/>
                <a:gd name="T7" fmla="*/ 1485 h 1485"/>
                <a:gd name="T8" fmla="*/ 0 w 710"/>
                <a:gd name="T9" fmla="*/ 0 h 1485"/>
              </a:gdLst>
              <a:ahLst/>
              <a:cxnLst>
                <a:cxn ang="0">
                  <a:pos x="T0" y="T1"/>
                </a:cxn>
                <a:cxn ang="0">
                  <a:pos x="T2" y="T3"/>
                </a:cxn>
                <a:cxn ang="0">
                  <a:pos x="T4" y="T5"/>
                </a:cxn>
                <a:cxn ang="0">
                  <a:pos x="T6" y="T7"/>
                </a:cxn>
                <a:cxn ang="0">
                  <a:pos x="T8" y="T9"/>
                </a:cxn>
              </a:cxnLst>
              <a:rect l="0" t="0" r="r" b="b"/>
              <a:pathLst>
                <a:path w="710" h="1485">
                  <a:moveTo>
                    <a:pt x="0" y="0"/>
                  </a:moveTo>
                  <a:lnTo>
                    <a:pt x="376" y="0"/>
                  </a:lnTo>
                  <a:lnTo>
                    <a:pt x="710" y="1485"/>
                  </a:lnTo>
                  <a:lnTo>
                    <a:pt x="327" y="1485"/>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07" name="Oval 22"/>
            <p:cNvSpPr>
              <a:spLocks noChangeArrowheads="1"/>
            </p:cNvSpPr>
            <p:nvPr/>
          </p:nvSpPr>
          <p:spPr bwMode="auto">
            <a:xfrm>
              <a:off x="8506046" y="3406102"/>
              <a:ext cx="670597" cy="670598"/>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endParaRPr lang="en-US"/>
            </a:p>
          </p:txBody>
        </p:sp>
        <p:sp>
          <p:nvSpPr>
            <p:cNvPr id="208" name="Oval 23"/>
            <p:cNvSpPr>
              <a:spLocks noChangeArrowheads="1"/>
            </p:cNvSpPr>
            <p:nvPr/>
          </p:nvSpPr>
          <p:spPr bwMode="auto">
            <a:xfrm>
              <a:off x="8582165" y="3482756"/>
              <a:ext cx="518358" cy="517824"/>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9" name="Freeform 24"/>
            <p:cNvSpPr>
              <a:spLocks/>
            </p:cNvSpPr>
            <p:nvPr/>
          </p:nvSpPr>
          <p:spPr bwMode="auto">
            <a:xfrm>
              <a:off x="8529095" y="3421649"/>
              <a:ext cx="403643" cy="320021"/>
            </a:xfrm>
            <a:custGeom>
              <a:avLst/>
              <a:gdLst>
                <a:gd name="T0" fmla="*/ 0 w 106"/>
                <a:gd name="T1" fmla="*/ 84 h 84"/>
                <a:gd name="T2" fmla="*/ 83 w 106"/>
                <a:gd name="T3" fmla="*/ 0 h 84"/>
                <a:gd name="T4" fmla="*/ 106 w 106"/>
                <a:gd name="T5" fmla="*/ 3 h 84"/>
              </a:gdLst>
              <a:ahLst/>
              <a:cxnLst>
                <a:cxn ang="0">
                  <a:pos x="T0" y="T1"/>
                </a:cxn>
                <a:cxn ang="0">
                  <a:pos x="T2" y="T3"/>
                </a:cxn>
                <a:cxn ang="0">
                  <a:pos x="T4" y="T5"/>
                </a:cxn>
              </a:cxnLst>
              <a:rect l="0" t="0" r="r" b="b"/>
              <a:pathLst>
                <a:path w="106" h="84">
                  <a:moveTo>
                    <a:pt x="0" y="84"/>
                  </a:moveTo>
                  <a:cubicBezTo>
                    <a:pt x="0" y="38"/>
                    <a:pt x="38" y="0"/>
                    <a:pt x="83" y="0"/>
                  </a:cubicBezTo>
                  <a:cubicBezTo>
                    <a:pt x="91" y="0"/>
                    <a:pt x="98" y="1"/>
                    <a:pt x="106" y="3"/>
                  </a:cubicBezTo>
                </a:path>
              </a:pathLst>
            </a:custGeom>
            <a:noFill/>
            <a:ln w="3175" cap="rnd">
              <a:solidFill>
                <a:srgbClr val="A7A8A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0" name="Freeform 25"/>
            <p:cNvSpPr>
              <a:spLocks/>
            </p:cNvSpPr>
            <p:nvPr/>
          </p:nvSpPr>
          <p:spPr bwMode="auto">
            <a:xfrm>
              <a:off x="8532850" y="3771688"/>
              <a:ext cx="45564" cy="137227"/>
            </a:xfrm>
            <a:custGeom>
              <a:avLst/>
              <a:gdLst>
                <a:gd name="T0" fmla="*/ 12 w 12"/>
                <a:gd name="T1" fmla="*/ 36 h 36"/>
                <a:gd name="T2" fmla="*/ 0 w 12"/>
                <a:gd name="T3" fmla="*/ 0 h 36"/>
              </a:gdLst>
              <a:ahLst/>
              <a:cxnLst>
                <a:cxn ang="0">
                  <a:pos x="T0" y="T1"/>
                </a:cxn>
                <a:cxn ang="0">
                  <a:pos x="T2" y="T3"/>
                </a:cxn>
              </a:cxnLst>
              <a:rect l="0" t="0" r="r" b="b"/>
              <a:pathLst>
                <a:path w="12" h="36">
                  <a:moveTo>
                    <a:pt x="12" y="36"/>
                  </a:moveTo>
                  <a:cubicBezTo>
                    <a:pt x="5" y="25"/>
                    <a:pt x="1" y="13"/>
                    <a:pt x="0" y="0"/>
                  </a:cubicBezTo>
                </a:path>
              </a:pathLst>
            </a:custGeom>
            <a:noFill/>
            <a:ln w="3175" cap="rnd">
              <a:solidFill>
                <a:srgbClr val="A7A8A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1" name="Oval 26"/>
            <p:cNvSpPr>
              <a:spLocks noChangeArrowheads="1"/>
            </p:cNvSpPr>
            <p:nvPr/>
          </p:nvSpPr>
          <p:spPr bwMode="auto">
            <a:xfrm>
              <a:off x="8582165" y="3482756"/>
              <a:ext cx="518358" cy="517824"/>
            </a:xfrm>
            <a:prstGeom prst="ellipse">
              <a:avLst/>
            </a:prstGeom>
            <a:noFill/>
            <a:ln w="9525" cap="flat">
              <a:solidFill>
                <a:srgbClr val="9799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12" name="Group 681"/>
            <p:cNvGrpSpPr>
              <a:grpSpLocks noChangeAspect="1"/>
            </p:cNvGrpSpPr>
            <p:nvPr/>
          </p:nvGrpSpPr>
          <p:grpSpPr bwMode="auto">
            <a:xfrm>
              <a:off x="9379261" y="4898503"/>
              <a:ext cx="1080039" cy="1080039"/>
              <a:chOff x="6210" y="2696"/>
              <a:chExt cx="340" cy="340"/>
            </a:xfrm>
            <a:solidFill>
              <a:schemeClr val="bg1"/>
            </a:solidFill>
          </p:grpSpPr>
          <p:sp>
            <p:nvSpPr>
              <p:cNvPr id="215" name="Freeform 682"/>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683"/>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Oval 684"/>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685"/>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13" name="Freeform 933"/>
            <p:cNvSpPr>
              <a:spLocks noEditPoints="1"/>
            </p:cNvSpPr>
            <p:nvPr/>
          </p:nvSpPr>
          <p:spPr bwMode="auto">
            <a:xfrm>
              <a:off x="10825138" y="3615065"/>
              <a:ext cx="351957" cy="245704"/>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solidFill>
              <a:schemeClr val="tx1">
                <a:lumMod val="65000"/>
                <a:lumOff val="35000"/>
              </a:schemeClr>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4" name="Freeform 671"/>
            <p:cNvSpPr>
              <a:spLocks noEditPoints="1"/>
            </p:cNvSpPr>
            <p:nvPr/>
          </p:nvSpPr>
          <p:spPr bwMode="auto">
            <a:xfrm>
              <a:off x="8680607" y="3582429"/>
              <a:ext cx="321478" cy="318475"/>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solidFill>
              <a:schemeClr val="tx1">
                <a:lumMod val="65000"/>
                <a:lumOff val="35000"/>
              </a:schemeClr>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3" name="Group 132"/>
          <p:cNvGrpSpPr/>
          <p:nvPr/>
        </p:nvGrpSpPr>
        <p:grpSpPr>
          <a:xfrm>
            <a:off x="472746" y="1017588"/>
            <a:ext cx="11252200" cy="510272"/>
            <a:chOff x="469900" y="1665288"/>
            <a:chExt cx="11252200" cy="771088"/>
          </a:xfrm>
        </p:grpSpPr>
        <p:sp>
          <p:nvSpPr>
            <p:cNvPr id="134" name="Rounded Rectangle 133"/>
            <p:cNvSpPr/>
            <p:nvPr/>
          </p:nvSpPr>
          <p:spPr bwMode="gray">
            <a:xfrm>
              <a:off x="469907" y="1666697"/>
              <a:ext cx="11252193" cy="769679"/>
            </a:xfrm>
            <a:prstGeom prst="roundRect">
              <a:avLst>
                <a:gd name="adj" fmla="val 18343"/>
              </a:avLst>
            </a:prstGeom>
            <a:solidFill>
              <a:schemeClr val="accent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5" name="Rectangle 134"/>
            <p:cNvSpPr/>
            <p:nvPr/>
          </p:nvSpPr>
          <p:spPr bwMode="gray">
            <a:xfrm>
              <a:off x="469900" y="1665288"/>
              <a:ext cx="11252193" cy="529880"/>
            </a:xfrm>
            <a:prstGeom prst="rect">
              <a:avLst/>
            </a:prstGeom>
            <a:solidFill>
              <a:schemeClr val="accent1"/>
            </a:solidFill>
            <a:ln w="19050" algn="ctr">
              <a:noFill/>
              <a:miter lim="800000"/>
              <a:headEnd/>
              <a:tailEnd/>
            </a:ln>
          </p:spPr>
          <p:txBody>
            <a:bodyPr wrap="square" lIns="0" tIns="88900" rIns="0" bIns="88900" rtlCol="0" anchor="ctr"/>
            <a:lstStyle/>
            <a:p>
              <a:pPr algn="ctr"/>
              <a:endParaRPr lang="en-US" sz="1100" b="1" dirty="0">
                <a:solidFill>
                  <a:schemeClr val="bg1"/>
                </a:solidFill>
              </a:endParaRPr>
            </a:p>
          </p:txBody>
        </p:sp>
      </p:grpSp>
      <p:grpSp>
        <p:nvGrpSpPr>
          <p:cNvPr id="136" name="Group 135"/>
          <p:cNvGrpSpPr/>
          <p:nvPr/>
        </p:nvGrpSpPr>
        <p:grpSpPr>
          <a:xfrm>
            <a:off x="1166454" y="1428654"/>
            <a:ext cx="6498024" cy="391386"/>
            <a:chOff x="4507367" y="4779676"/>
            <a:chExt cx="1778070" cy="203118"/>
          </a:xfrm>
        </p:grpSpPr>
        <p:sp>
          <p:nvSpPr>
            <p:cNvPr id="137" name="Line 7"/>
            <p:cNvSpPr>
              <a:spLocks noChangeShapeType="1"/>
            </p:cNvSpPr>
            <p:nvPr/>
          </p:nvSpPr>
          <p:spPr bwMode="auto">
            <a:xfrm>
              <a:off x="4595699" y="478948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Line 8"/>
            <p:cNvSpPr>
              <a:spLocks noChangeShapeType="1"/>
            </p:cNvSpPr>
            <p:nvPr/>
          </p:nvSpPr>
          <p:spPr bwMode="auto">
            <a:xfrm>
              <a:off x="4595699" y="478948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9" name="Group 138"/>
            <p:cNvGrpSpPr/>
            <p:nvPr/>
          </p:nvGrpSpPr>
          <p:grpSpPr>
            <a:xfrm>
              <a:off x="4507367" y="4779676"/>
              <a:ext cx="46922" cy="188674"/>
              <a:chOff x="719343" y="1993661"/>
              <a:chExt cx="83284" cy="334885"/>
            </a:xfrm>
          </p:grpSpPr>
          <p:sp>
            <p:nvSpPr>
              <p:cNvPr id="175" name="Oval 174"/>
              <p:cNvSpPr/>
              <p:nvPr/>
            </p:nvSpPr>
            <p:spPr bwMode="gray">
              <a:xfrm>
                <a:off x="719343"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6" name="Oval 175"/>
              <p:cNvSpPr/>
              <p:nvPr/>
            </p:nvSpPr>
            <p:spPr bwMode="gray">
              <a:xfrm>
                <a:off x="719343"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77" name="Group 176"/>
              <p:cNvGrpSpPr/>
              <p:nvPr/>
            </p:nvGrpSpPr>
            <p:grpSpPr>
              <a:xfrm>
                <a:off x="735791" y="2037149"/>
                <a:ext cx="50387" cy="250454"/>
                <a:chOff x="2400750" y="4703107"/>
                <a:chExt cx="61012" cy="298800"/>
              </a:xfrm>
            </p:grpSpPr>
            <p:sp>
              <p:nvSpPr>
                <p:cNvPr id="178" name="Rounded Rectangle 177"/>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9" name="Rounded Rectangle 178"/>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0" name="Rounded Rectangle 179"/>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40" name="Group 139"/>
            <p:cNvGrpSpPr/>
            <p:nvPr/>
          </p:nvGrpSpPr>
          <p:grpSpPr>
            <a:xfrm>
              <a:off x="4863119" y="4779676"/>
              <a:ext cx="46922" cy="188674"/>
              <a:chOff x="1401091" y="1993661"/>
              <a:chExt cx="83284" cy="334885"/>
            </a:xfrm>
          </p:grpSpPr>
          <p:sp>
            <p:nvSpPr>
              <p:cNvPr id="169" name="Oval 168"/>
              <p:cNvSpPr/>
              <p:nvPr/>
            </p:nvSpPr>
            <p:spPr bwMode="gray">
              <a:xfrm>
                <a:off x="1401091"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0" name="Oval 169"/>
              <p:cNvSpPr/>
              <p:nvPr/>
            </p:nvSpPr>
            <p:spPr bwMode="gray">
              <a:xfrm>
                <a:off x="1401091"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71" name="Group 170"/>
              <p:cNvGrpSpPr/>
              <p:nvPr/>
            </p:nvGrpSpPr>
            <p:grpSpPr>
              <a:xfrm>
                <a:off x="1417538" y="2037149"/>
                <a:ext cx="50387" cy="250454"/>
                <a:chOff x="2400750" y="4703107"/>
                <a:chExt cx="61012" cy="298800"/>
              </a:xfrm>
            </p:grpSpPr>
            <p:sp>
              <p:nvSpPr>
                <p:cNvPr id="172" name="Rounded Rectangle 171"/>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3" name="Rounded Rectangle 172"/>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4" name="Rounded Rectangle 173"/>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41" name="Group 140"/>
            <p:cNvGrpSpPr/>
            <p:nvPr/>
          </p:nvGrpSpPr>
          <p:grpSpPr>
            <a:xfrm>
              <a:off x="5218871" y="4779676"/>
              <a:ext cx="46922" cy="188674"/>
              <a:chOff x="2131784" y="1993661"/>
              <a:chExt cx="83284" cy="334885"/>
            </a:xfrm>
          </p:grpSpPr>
          <p:sp>
            <p:nvSpPr>
              <p:cNvPr id="163" name="Oval 162"/>
              <p:cNvSpPr/>
              <p:nvPr/>
            </p:nvSpPr>
            <p:spPr bwMode="gray">
              <a:xfrm>
                <a:off x="2131784"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4" name="Oval 163"/>
              <p:cNvSpPr/>
              <p:nvPr/>
            </p:nvSpPr>
            <p:spPr bwMode="gray">
              <a:xfrm>
                <a:off x="2131784"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65" name="Group 164"/>
              <p:cNvGrpSpPr/>
              <p:nvPr/>
            </p:nvGrpSpPr>
            <p:grpSpPr>
              <a:xfrm>
                <a:off x="2148232" y="2037149"/>
                <a:ext cx="50387" cy="250454"/>
                <a:chOff x="2400750" y="4703107"/>
                <a:chExt cx="61012" cy="298800"/>
              </a:xfrm>
            </p:grpSpPr>
            <p:sp>
              <p:nvSpPr>
                <p:cNvPr id="166" name="Rounded Rectangle 165"/>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7" name="Rounded Rectangle 166"/>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8" name="Rounded Rectangle 167"/>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42" name="Group 141"/>
            <p:cNvGrpSpPr/>
            <p:nvPr/>
          </p:nvGrpSpPr>
          <p:grpSpPr>
            <a:xfrm>
              <a:off x="5574623" y="4779676"/>
              <a:ext cx="46922" cy="188674"/>
              <a:chOff x="2813532" y="1993661"/>
              <a:chExt cx="83284" cy="334885"/>
            </a:xfrm>
          </p:grpSpPr>
          <p:sp>
            <p:nvSpPr>
              <p:cNvPr id="157" name="Oval 156"/>
              <p:cNvSpPr/>
              <p:nvPr/>
            </p:nvSpPr>
            <p:spPr bwMode="gray">
              <a:xfrm>
                <a:off x="2813532"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8" name="Oval 157"/>
              <p:cNvSpPr/>
              <p:nvPr/>
            </p:nvSpPr>
            <p:spPr bwMode="gray">
              <a:xfrm>
                <a:off x="2813532"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59" name="Group 158"/>
              <p:cNvGrpSpPr/>
              <p:nvPr/>
            </p:nvGrpSpPr>
            <p:grpSpPr>
              <a:xfrm>
                <a:off x="2829979" y="2037149"/>
                <a:ext cx="50387" cy="250454"/>
                <a:chOff x="2400750" y="4703107"/>
                <a:chExt cx="61012" cy="298800"/>
              </a:xfrm>
            </p:grpSpPr>
            <p:sp>
              <p:nvSpPr>
                <p:cNvPr id="160" name="Rounded Rectangle 159"/>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1" name="Rounded Rectangle 160"/>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2" name="Rounded Rectangle 161"/>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43" name="Group 142"/>
            <p:cNvGrpSpPr/>
            <p:nvPr/>
          </p:nvGrpSpPr>
          <p:grpSpPr>
            <a:xfrm>
              <a:off x="5930375" y="4779676"/>
              <a:ext cx="46922" cy="188674"/>
              <a:chOff x="2813532" y="1993661"/>
              <a:chExt cx="83284" cy="334885"/>
            </a:xfrm>
          </p:grpSpPr>
          <p:sp>
            <p:nvSpPr>
              <p:cNvPr id="151" name="Oval 150"/>
              <p:cNvSpPr/>
              <p:nvPr/>
            </p:nvSpPr>
            <p:spPr bwMode="gray">
              <a:xfrm>
                <a:off x="2813532"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2" name="Oval 151"/>
              <p:cNvSpPr/>
              <p:nvPr/>
            </p:nvSpPr>
            <p:spPr bwMode="gray">
              <a:xfrm>
                <a:off x="2813532"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53" name="Group 152"/>
              <p:cNvGrpSpPr/>
              <p:nvPr/>
            </p:nvGrpSpPr>
            <p:grpSpPr>
              <a:xfrm>
                <a:off x="2829979" y="2037149"/>
                <a:ext cx="50387" cy="250454"/>
                <a:chOff x="2400750" y="4703107"/>
                <a:chExt cx="61012" cy="298800"/>
              </a:xfrm>
            </p:grpSpPr>
            <p:sp>
              <p:nvSpPr>
                <p:cNvPr id="154" name="Rounded Rectangle 153"/>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5" name="Rounded Rectangle 154"/>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6" name="Rounded Rectangle 155"/>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44" name="Group 143"/>
            <p:cNvGrpSpPr/>
            <p:nvPr/>
          </p:nvGrpSpPr>
          <p:grpSpPr>
            <a:xfrm>
              <a:off x="6238515" y="4794120"/>
              <a:ext cx="46922" cy="188674"/>
              <a:chOff x="2813532" y="1993661"/>
              <a:chExt cx="83284" cy="334885"/>
            </a:xfrm>
          </p:grpSpPr>
          <p:sp>
            <p:nvSpPr>
              <p:cNvPr id="145" name="Oval 144"/>
              <p:cNvSpPr/>
              <p:nvPr/>
            </p:nvSpPr>
            <p:spPr bwMode="gray">
              <a:xfrm>
                <a:off x="2813532"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6" name="Oval 145"/>
              <p:cNvSpPr/>
              <p:nvPr/>
            </p:nvSpPr>
            <p:spPr bwMode="gray">
              <a:xfrm>
                <a:off x="2813532"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47" name="Group 146"/>
              <p:cNvGrpSpPr/>
              <p:nvPr/>
            </p:nvGrpSpPr>
            <p:grpSpPr>
              <a:xfrm>
                <a:off x="2829979" y="2037149"/>
                <a:ext cx="50387" cy="250454"/>
                <a:chOff x="2400750" y="4703107"/>
                <a:chExt cx="61012" cy="298800"/>
              </a:xfrm>
            </p:grpSpPr>
            <p:sp>
              <p:nvSpPr>
                <p:cNvPr id="148" name="Rounded Rectangle 147"/>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9" name="Rounded Rectangle 148"/>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0" name="Rounded Rectangle 149"/>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sp>
        <p:nvSpPr>
          <p:cNvPr id="3" name="Text Placeholder 2"/>
          <p:cNvSpPr>
            <a:spLocks noGrp="1"/>
          </p:cNvSpPr>
          <p:nvPr>
            <p:ph type="body" sz="quarter" idx="4294967295"/>
          </p:nvPr>
        </p:nvSpPr>
        <p:spPr>
          <a:xfrm>
            <a:off x="1106059" y="2075996"/>
            <a:ext cx="2884488" cy="3060700"/>
          </a:xfrm>
        </p:spPr>
        <p:txBody>
          <a:bodyPr/>
          <a:lstStyle/>
          <a:p>
            <a:pPr>
              <a:spcAft>
                <a:spcPts val="0"/>
              </a:spcAft>
            </a:pPr>
            <a:r>
              <a:rPr lang="en-US" dirty="0"/>
              <a:t>XXXXXXXXXX</a:t>
            </a:r>
          </a:p>
          <a:p>
            <a:pPr>
              <a:spcAft>
                <a:spcPts val="0"/>
              </a:spcAft>
            </a:pPr>
            <a:endParaRPr lang="en-US" dirty="0"/>
          </a:p>
          <a:p>
            <a:pPr>
              <a:spcAft>
                <a:spcPts val="0"/>
              </a:spcAft>
            </a:pPr>
            <a:r>
              <a:rPr lang="en-US" b="0" dirty="0">
                <a:solidFill>
                  <a:schemeClr val="tx1"/>
                </a:solidFill>
              </a:rPr>
              <a:t>XXXXXXXXXXX</a:t>
            </a:r>
          </a:p>
          <a:p>
            <a:pPr>
              <a:spcAft>
                <a:spcPts val="0"/>
              </a:spcAft>
            </a:pPr>
            <a:r>
              <a:rPr lang="en-US" b="0" dirty="0">
                <a:solidFill>
                  <a:schemeClr val="tx1"/>
                </a:solidFill>
              </a:rPr>
              <a:t>XXXXXXXXXXX</a:t>
            </a:r>
            <a:br>
              <a:rPr lang="en-US" b="0" dirty="0">
                <a:solidFill>
                  <a:schemeClr val="tx1"/>
                </a:solidFill>
              </a:rPr>
            </a:br>
            <a:r>
              <a:rPr lang="en-US" b="0" dirty="0" err="1">
                <a:solidFill>
                  <a:schemeClr val="tx1"/>
                </a:solidFill>
              </a:rPr>
              <a:t>XXXXXXXXXXX</a:t>
            </a:r>
            <a:br>
              <a:rPr lang="en-US" b="0" dirty="0">
                <a:solidFill>
                  <a:schemeClr val="tx1"/>
                </a:solidFill>
              </a:rPr>
            </a:br>
            <a:r>
              <a:rPr lang="en-US" b="0" dirty="0" err="1">
                <a:solidFill>
                  <a:schemeClr val="tx1"/>
                </a:solidFill>
              </a:rPr>
              <a:t>XXXXXXXXXXX</a:t>
            </a:r>
            <a:br>
              <a:rPr lang="en-US" b="0" dirty="0">
                <a:solidFill>
                  <a:schemeClr val="tx1"/>
                </a:solidFill>
              </a:rPr>
            </a:br>
            <a:r>
              <a:rPr lang="en-US" b="0" dirty="0" err="1">
                <a:solidFill>
                  <a:schemeClr val="tx1"/>
                </a:solidFill>
              </a:rPr>
              <a:t>XXXXXXXXXXX</a:t>
            </a:r>
            <a:endParaRPr lang="en-US" b="0" dirty="0">
              <a:solidFill>
                <a:schemeClr val="tx1"/>
              </a:solidFill>
            </a:endParaRPr>
          </a:p>
          <a:p>
            <a:pPr>
              <a:spcAft>
                <a:spcPts val="0"/>
              </a:spcAft>
            </a:pPr>
            <a:r>
              <a:rPr lang="en-US" b="0" dirty="0">
                <a:solidFill>
                  <a:schemeClr val="tx1"/>
                </a:solidFill>
              </a:rPr>
              <a:t>XXXXXXXXXXX</a:t>
            </a:r>
          </a:p>
          <a:p>
            <a:pPr>
              <a:spcAft>
                <a:spcPts val="0"/>
              </a:spcAft>
            </a:pPr>
            <a:r>
              <a:rPr lang="en-US" b="0" dirty="0">
                <a:solidFill>
                  <a:schemeClr val="tx1"/>
                </a:solidFill>
              </a:rPr>
              <a:t>XXXXXXXXXXXXXXXXXXXXXXXXXXXXXXXXXXXXXXXXXXXXXXXXXXXXXXXXXXXXXXXXXXXXXXXXXXXXXXXXXXXXXXXXXXXXXXXXXXXXXXXXXXXXXXXXXXXXXXXXXXXXXXXXXXXXXXXXXXXXXXXXXXXXXXXXXXXXXXXXXXXXXXXXXXXXXXXXXXXXXXXXXXXXX</a:t>
            </a:r>
            <a:br>
              <a:rPr lang="en-US" dirty="0"/>
            </a:br>
            <a:endParaRPr lang="en-US" dirty="0"/>
          </a:p>
        </p:txBody>
      </p:sp>
    </p:spTree>
    <p:custDataLst>
      <p:tags r:id="rId1"/>
    </p:custDataLst>
    <p:extLst>
      <p:ext uri="{BB962C8B-B14F-4D97-AF65-F5344CB8AC3E}">
        <p14:creationId xmlns:p14="http://schemas.microsoft.com/office/powerpoint/2010/main" val="1523547319"/>
      </p:ext>
    </p:extLst>
  </p:cSld>
  <p:clrMapOvr>
    <a:masterClrMapping/>
  </p:clrMapOvr>
  <p:transition>
    <p:fade/>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 Single Corner Rectangle 20">
            <a:extLst>
              <a:ext uri="{FF2B5EF4-FFF2-40B4-BE49-F238E27FC236}">
                <a16:creationId xmlns:a16="http://schemas.microsoft.com/office/drawing/2014/main" id="{B941A8F2-90DB-2543-AF8C-E30AC20B61CA}"/>
              </a:ext>
            </a:extLst>
          </p:cNvPr>
          <p:cNvSpPr/>
          <p:nvPr/>
        </p:nvSpPr>
        <p:spPr>
          <a:xfrm>
            <a:off x="1604419" y="2192962"/>
            <a:ext cx="3753796" cy="2252754"/>
          </a:xfrm>
          <a:prstGeom prst="round1Rect">
            <a:avLst>
              <a:gd name="adj" fmla="val 0"/>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92365" tIns="61577" rIns="0" bIns="61577" rtlCol="0" anchor="t" anchorCtr="0"/>
          <a:lstStyle/>
          <a:p>
            <a:pPr>
              <a:spcBef>
                <a:spcPts val="513"/>
              </a:spcBef>
            </a:pPr>
            <a:r>
              <a:rPr lang="en-US" sz="1026" dirty="0">
                <a:solidFill>
                  <a:schemeClr val="tx1"/>
                </a:solidFill>
              </a:rPr>
              <a:t>Lorem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a:t>
            </a:r>
            <a:endParaRPr lang="en-US" sz="1026" dirty="0">
              <a:solidFill>
                <a:schemeClr val="tx1"/>
              </a:solidFill>
            </a:endParaRPr>
          </a:p>
        </p:txBody>
      </p:sp>
      <p:sp>
        <p:nvSpPr>
          <p:cNvPr id="22" name="Oval 21">
            <a:extLst>
              <a:ext uri="{FF2B5EF4-FFF2-40B4-BE49-F238E27FC236}">
                <a16:creationId xmlns:a16="http://schemas.microsoft.com/office/drawing/2014/main" id="{38EE2070-D1CD-F34C-AE68-14D97A5326B0}"/>
              </a:ext>
            </a:extLst>
          </p:cNvPr>
          <p:cNvSpPr/>
          <p:nvPr/>
        </p:nvSpPr>
        <p:spPr bwMode="gray">
          <a:xfrm>
            <a:off x="1596964" y="1724320"/>
            <a:ext cx="398908" cy="398908"/>
          </a:xfrm>
          <a:prstGeom prst="ellipse">
            <a:avLst/>
          </a:prstGeom>
          <a:solidFill>
            <a:schemeClr val="bg1"/>
          </a:solidFill>
          <a:ln w="19050" algn="ctr">
            <a:solidFill>
              <a:srgbClr val="86BC25"/>
            </a:solid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197" b="1" dirty="0">
              <a:solidFill>
                <a:srgbClr val="00A3E0"/>
              </a:solidFill>
            </a:endParaRPr>
          </a:p>
        </p:txBody>
      </p:sp>
      <p:cxnSp>
        <p:nvCxnSpPr>
          <p:cNvPr id="24" name="Straight Connector 23">
            <a:extLst>
              <a:ext uri="{FF2B5EF4-FFF2-40B4-BE49-F238E27FC236}">
                <a16:creationId xmlns:a16="http://schemas.microsoft.com/office/drawing/2014/main" id="{886DF631-3B5B-8D43-B575-9778B8D26B28}"/>
              </a:ext>
            </a:extLst>
          </p:cNvPr>
          <p:cNvCxnSpPr>
            <a:cxnSpLocks/>
            <a:stCxn id="22" idx="4"/>
          </p:cNvCxnSpPr>
          <p:nvPr/>
        </p:nvCxnSpPr>
        <p:spPr>
          <a:xfrm>
            <a:off x="1796418" y="2123228"/>
            <a:ext cx="3561797"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EC210D49-7D0E-3E45-A765-A15712E2F76D}"/>
              </a:ext>
            </a:extLst>
          </p:cNvPr>
          <p:cNvSpPr/>
          <p:nvPr/>
        </p:nvSpPr>
        <p:spPr>
          <a:xfrm>
            <a:off x="1995874" y="1826890"/>
            <a:ext cx="3362342" cy="276551"/>
          </a:xfrm>
          <a:prstGeom prst="rect">
            <a:avLst/>
          </a:prstGeom>
        </p:spPr>
        <p:txBody>
          <a:bodyPr wrap="square">
            <a:spAutoFit/>
          </a:bodyPr>
          <a:lstStyle/>
          <a:p>
            <a:r>
              <a:rPr lang="da-DK" sz="1197" dirty="0">
                <a:solidFill>
                  <a:srgbClr val="86BC25"/>
                </a:solidFill>
              </a:rPr>
              <a:t>LOREM IPSUM DOLOR SIT AME</a:t>
            </a:r>
            <a:endParaRPr lang="en-US" sz="1197" dirty="0">
              <a:solidFill>
                <a:srgbClr val="86BC25"/>
              </a:solidFill>
            </a:endParaRPr>
          </a:p>
        </p:txBody>
      </p:sp>
      <p:sp>
        <p:nvSpPr>
          <p:cNvPr id="26" name="Freeform 940">
            <a:extLst>
              <a:ext uri="{FF2B5EF4-FFF2-40B4-BE49-F238E27FC236}">
                <a16:creationId xmlns:a16="http://schemas.microsoft.com/office/drawing/2014/main" id="{85F90CF6-8177-8B49-B076-D6CDF79A5B5A}"/>
              </a:ext>
            </a:extLst>
          </p:cNvPr>
          <p:cNvSpPr>
            <a:spLocks noChangeAspect="1" noEditPoints="1"/>
          </p:cNvSpPr>
          <p:nvPr/>
        </p:nvSpPr>
        <p:spPr bwMode="auto">
          <a:xfrm>
            <a:off x="1642475" y="1769831"/>
            <a:ext cx="307884" cy="307884"/>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rgbClr val="86BC25"/>
          </a:solidFill>
          <a:ln>
            <a:noFill/>
          </a:ln>
        </p:spPr>
        <p:txBody>
          <a:bodyPr vert="horz" wrap="square" lIns="78203" tIns="39101" rIns="78203" bIns="39101" numCol="1" anchor="t" anchorCtr="0" compatLnSpc="1">
            <a:prstTxWarp prst="textNoShape">
              <a:avLst/>
            </a:prstTxWarp>
          </a:bodyPr>
          <a:lstStyle/>
          <a:p>
            <a:endParaRPr lang="en-GB" sz="1539" dirty="0"/>
          </a:p>
        </p:txBody>
      </p:sp>
      <p:cxnSp>
        <p:nvCxnSpPr>
          <p:cNvPr id="28" name="Straight Connector 27">
            <a:extLst>
              <a:ext uri="{FF2B5EF4-FFF2-40B4-BE49-F238E27FC236}">
                <a16:creationId xmlns:a16="http://schemas.microsoft.com/office/drawing/2014/main" id="{803F39BA-9F62-154C-B1AF-83B4D3FABAE9}"/>
              </a:ext>
            </a:extLst>
          </p:cNvPr>
          <p:cNvCxnSpPr>
            <a:cxnSpLocks/>
          </p:cNvCxnSpPr>
          <p:nvPr/>
        </p:nvCxnSpPr>
        <p:spPr>
          <a:xfrm>
            <a:off x="1596964" y="4519186"/>
            <a:ext cx="3761251"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A9D66C5C-8D60-3C4B-94DD-9771E7C13B56}"/>
              </a:ext>
            </a:extLst>
          </p:cNvPr>
          <p:cNvCxnSpPr/>
          <p:nvPr/>
        </p:nvCxnSpPr>
        <p:spPr>
          <a:xfrm>
            <a:off x="3390519" y="4519186"/>
            <a:ext cx="0" cy="713608"/>
          </a:xfrm>
          <a:prstGeom prst="line">
            <a:avLst/>
          </a:prstGeom>
          <a:ln w="19050">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sp>
        <p:nvSpPr>
          <p:cNvPr id="44" name="Freeform 723">
            <a:extLst>
              <a:ext uri="{FF2B5EF4-FFF2-40B4-BE49-F238E27FC236}">
                <a16:creationId xmlns:a16="http://schemas.microsoft.com/office/drawing/2014/main" id="{3BDFD409-A200-D14F-AA95-A5B3D257A14F}"/>
              </a:ext>
            </a:extLst>
          </p:cNvPr>
          <p:cNvSpPr>
            <a:spLocks noChangeAspect="1" noEditPoints="1"/>
          </p:cNvSpPr>
          <p:nvPr/>
        </p:nvSpPr>
        <p:spPr bwMode="auto">
          <a:xfrm>
            <a:off x="6253839" y="1755875"/>
            <a:ext cx="400249" cy="400249"/>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0097A9"/>
          </a:solidFill>
          <a:ln>
            <a:noFill/>
          </a:ln>
        </p:spPr>
        <p:txBody>
          <a:bodyPr vert="horz" wrap="square" lIns="78203" tIns="39101" rIns="78203" bIns="39101" numCol="1" anchor="t" anchorCtr="0" compatLnSpc="1">
            <a:prstTxWarp prst="textNoShape">
              <a:avLst/>
            </a:prstTxWarp>
          </a:bodyPr>
          <a:lstStyle/>
          <a:p>
            <a:endParaRPr lang="en-GB" sz="1539" dirty="0"/>
          </a:p>
        </p:txBody>
      </p:sp>
      <p:sp>
        <p:nvSpPr>
          <p:cNvPr id="45" name="Round Single Corner Rectangle 44">
            <a:extLst>
              <a:ext uri="{FF2B5EF4-FFF2-40B4-BE49-F238E27FC236}">
                <a16:creationId xmlns:a16="http://schemas.microsoft.com/office/drawing/2014/main" id="{BCA329B9-D91D-A343-92DC-1D617B10DAF8}"/>
              </a:ext>
            </a:extLst>
          </p:cNvPr>
          <p:cNvSpPr/>
          <p:nvPr/>
        </p:nvSpPr>
        <p:spPr>
          <a:xfrm>
            <a:off x="6722329" y="2192962"/>
            <a:ext cx="3753796" cy="2252754"/>
          </a:xfrm>
          <a:prstGeom prst="round1Rect">
            <a:avLst>
              <a:gd name="adj" fmla="val 0"/>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92365" tIns="61577" rIns="0" bIns="61577" rtlCol="0" anchor="t" anchorCtr="0"/>
          <a:lstStyle/>
          <a:p>
            <a:pPr>
              <a:spcBef>
                <a:spcPts val="513"/>
              </a:spcBef>
            </a:pPr>
            <a:r>
              <a:rPr lang="en-US" sz="1026" dirty="0">
                <a:solidFill>
                  <a:schemeClr val="tx1"/>
                </a:solidFill>
              </a:rPr>
              <a:t>Lorem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a:t>
            </a:r>
            <a:endParaRPr lang="en-US" sz="1026" dirty="0">
              <a:solidFill>
                <a:schemeClr val="tx1"/>
              </a:solidFill>
            </a:endParaRPr>
          </a:p>
        </p:txBody>
      </p:sp>
      <p:sp>
        <p:nvSpPr>
          <p:cNvPr id="48" name="Rectangle 47">
            <a:extLst>
              <a:ext uri="{FF2B5EF4-FFF2-40B4-BE49-F238E27FC236}">
                <a16:creationId xmlns:a16="http://schemas.microsoft.com/office/drawing/2014/main" id="{D5D759BE-B006-A849-82DF-713E3AC4EAD4}"/>
              </a:ext>
            </a:extLst>
          </p:cNvPr>
          <p:cNvSpPr/>
          <p:nvPr/>
        </p:nvSpPr>
        <p:spPr>
          <a:xfrm>
            <a:off x="6722329" y="1895130"/>
            <a:ext cx="3362342" cy="276551"/>
          </a:xfrm>
          <a:prstGeom prst="rect">
            <a:avLst/>
          </a:prstGeom>
        </p:spPr>
        <p:txBody>
          <a:bodyPr wrap="square">
            <a:spAutoFit/>
          </a:bodyPr>
          <a:lstStyle/>
          <a:p>
            <a:r>
              <a:rPr lang="da-DK" sz="1197" dirty="0">
                <a:solidFill>
                  <a:srgbClr val="0097A9"/>
                </a:solidFill>
              </a:rPr>
              <a:t>LOREM IPSUM DOLOR SIT AME</a:t>
            </a:r>
            <a:endParaRPr lang="en-US" sz="1197" dirty="0">
              <a:solidFill>
                <a:srgbClr val="0097A9"/>
              </a:solidFill>
            </a:endParaRPr>
          </a:p>
        </p:txBody>
      </p:sp>
      <p:cxnSp>
        <p:nvCxnSpPr>
          <p:cNvPr id="50" name="Straight Connector 49">
            <a:extLst>
              <a:ext uri="{FF2B5EF4-FFF2-40B4-BE49-F238E27FC236}">
                <a16:creationId xmlns:a16="http://schemas.microsoft.com/office/drawing/2014/main" id="{4378172F-3577-5C4D-AB05-59B689256CBF}"/>
              </a:ext>
            </a:extLst>
          </p:cNvPr>
          <p:cNvCxnSpPr>
            <a:cxnSpLocks/>
          </p:cNvCxnSpPr>
          <p:nvPr/>
        </p:nvCxnSpPr>
        <p:spPr>
          <a:xfrm flipV="1">
            <a:off x="10562878" y="2197907"/>
            <a:ext cx="0" cy="2247809"/>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DCE00AC-EDDA-3946-9DC4-BBC405331F46}"/>
              </a:ext>
            </a:extLst>
          </p:cNvPr>
          <p:cNvSpPr/>
          <p:nvPr/>
        </p:nvSpPr>
        <p:spPr bwMode="gray">
          <a:xfrm>
            <a:off x="6264325" y="2192962"/>
            <a:ext cx="389763" cy="2252754"/>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51" name="Straight Connector 50">
            <a:extLst>
              <a:ext uri="{FF2B5EF4-FFF2-40B4-BE49-F238E27FC236}">
                <a16:creationId xmlns:a16="http://schemas.microsoft.com/office/drawing/2014/main" id="{DE2E5C65-CBB8-C349-B24B-8B1D19B706D6}"/>
              </a:ext>
            </a:extLst>
          </p:cNvPr>
          <p:cNvCxnSpPr>
            <a:cxnSpLocks/>
          </p:cNvCxnSpPr>
          <p:nvPr/>
        </p:nvCxnSpPr>
        <p:spPr>
          <a:xfrm flipV="1">
            <a:off x="6181947" y="2197907"/>
            <a:ext cx="0" cy="2247809"/>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285581196"/>
      </p:ext>
    </p:extLst>
  </p:cSld>
  <p:clrMapOvr>
    <a:masterClrMapping/>
  </p:clrMapOvr>
  <p:transition>
    <p:fade/>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4F61C91-7309-DF43-BE00-AD3427AE1540}"/>
              </a:ext>
            </a:extLst>
          </p:cNvPr>
          <p:cNvSpPr/>
          <p:nvPr/>
        </p:nvSpPr>
        <p:spPr bwMode="gray">
          <a:xfrm>
            <a:off x="2034886" y="2646259"/>
            <a:ext cx="8122228" cy="2761185"/>
          </a:xfrm>
          <a:prstGeom prst="rect">
            <a:avLst/>
          </a:prstGeom>
          <a:solidFill>
            <a:schemeClr val="bg1">
              <a:lumMod val="9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18" name="Rectangle 17">
            <a:extLst>
              <a:ext uri="{FF2B5EF4-FFF2-40B4-BE49-F238E27FC236}">
                <a16:creationId xmlns:a16="http://schemas.microsoft.com/office/drawing/2014/main" id="{E90EFD77-0E3A-BB48-9130-49074D2B4F90}"/>
              </a:ext>
            </a:extLst>
          </p:cNvPr>
          <p:cNvSpPr/>
          <p:nvPr/>
        </p:nvSpPr>
        <p:spPr bwMode="gray">
          <a:xfrm>
            <a:off x="2034886" y="2264314"/>
            <a:ext cx="8122228" cy="333295"/>
          </a:xfrm>
          <a:prstGeom prst="rect">
            <a:avLst/>
          </a:prstGeom>
          <a:solidFill>
            <a:schemeClr val="bg1">
              <a:lumMod val="9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19" name="Rectangle 18">
            <a:extLst>
              <a:ext uri="{FF2B5EF4-FFF2-40B4-BE49-F238E27FC236}">
                <a16:creationId xmlns:a16="http://schemas.microsoft.com/office/drawing/2014/main" id="{CFE51BFB-5E91-E940-832D-459BF4EAFEBB}"/>
              </a:ext>
            </a:extLst>
          </p:cNvPr>
          <p:cNvSpPr/>
          <p:nvPr/>
        </p:nvSpPr>
        <p:spPr bwMode="gray">
          <a:xfrm>
            <a:off x="2034886" y="1891918"/>
            <a:ext cx="8122228" cy="333295"/>
          </a:xfrm>
          <a:prstGeom prst="rect">
            <a:avLst/>
          </a:prstGeom>
          <a:solidFill>
            <a:schemeClr val="bg1">
              <a:lumMod val="9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22" name="Pentagon 21">
            <a:extLst>
              <a:ext uri="{FF2B5EF4-FFF2-40B4-BE49-F238E27FC236}">
                <a16:creationId xmlns:a16="http://schemas.microsoft.com/office/drawing/2014/main" id="{1266325E-66F4-054A-AD91-5BDA25E5C50F}"/>
              </a:ext>
            </a:extLst>
          </p:cNvPr>
          <p:cNvSpPr/>
          <p:nvPr/>
        </p:nvSpPr>
        <p:spPr bwMode="gray">
          <a:xfrm>
            <a:off x="1542721" y="1891917"/>
            <a:ext cx="600712" cy="333295"/>
          </a:xfrm>
          <a:prstGeom prst="homePlate">
            <a:avLst>
              <a:gd name="adj" fmla="val 27830"/>
            </a:avLst>
          </a:prstGeom>
          <a:solidFill>
            <a:schemeClr val="accent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31" name="Pentagon 30">
            <a:extLst>
              <a:ext uri="{FF2B5EF4-FFF2-40B4-BE49-F238E27FC236}">
                <a16:creationId xmlns:a16="http://schemas.microsoft.com/office/drawing/2014/main" id="{A4B7DA46-E05B-794D-A673-E95F07625E9B}"/>
              </a:ext>
            </a:extLst>
          </p:cNvPr>
          <p:cNvSpPr/>
          <p:nvPr/>
        </p:nvSpPr>
        <p:spPr bwMode="gray">
          <a:xfrm>
            <a:off x="1542721" y="2269172"/>
            <a:ext cx="600712" cy="333295"/>
          </a:xfrm>
          <a:prstGeom prst="homePlate">
            <a:avLst>
              <a:gd name="adj" fmla="val 27830"/>
            </a:avLst>
          </a:prstGeom>
          <a:solidFill>
            <a:schemeClr val="accent2"/>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35" name="Pentagon 34">
            <a:extLst>
              <a:ext uri="{FF2B5EF4-FFF2-40B4-BE49-F238E27FC236}">
                <a16:creationId xmlns:a16="http://schemas.microsoft.com/office/drawing/2014/main" id="{5CE179A2-C6AF-F94E-A251-5CA1348B3FF8}"/>
              </a:ext>
            </a:extLst>
          </p:cNvPr>
          <p:cNvSpPr/>
          <p:nvPr/>
        </p:nvSpPr>
        <p:spPr bwMode="gray">
          <a:xfrm>
            <a:off x="1542721" y="2646425"/>
            <a:ext cx="600712" cy="333295"/>
          </a:xfrm>
          <a:prstGeom prst="homePlate">
            <a:avLst>
              <a:gd name="adj" fmla="val 27830"/>
            </a:avLst>
          </a:prstGeom>
          <a:solidFill>
            <a:schemeClr val="accent3"/>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55" name="Freeform 557">
            <a:extLst>
              <a:ext uri="{FF2B5EF4-FFF2-40B4-BE49-F238E27FC236}">
                <a16:creationId xmlns:a16="http://schemas.microsoft.com/office/drawing/2014/main" id="{E0D426B0-4417-4EAA-9C4B-CBB045CD7B2C}"/>
              </a:ext>
            </a:extLst>
          </p:cNvPr>
          <p:cNvSpPr>
            <a:spLocks noChangeAspect="1" noEditPoints="1"/>
          </p:cNvSpPr>
          <p:nvPr/>
        </p:nvSpPr>
        <p:spPr bwMode="auto">
          <a:xfrm>
            <a:off x="1802415" y="2325287"/>
            <a:ext cx="211893" cy="212517"/>
          </a:xfrm>
          <a:custGeom>
            <a:avLst/>
            <a:gdLst>
              <a:gd name="T0" fmla="*/ 247 w 512"/>
              <a:gd name="T1" fmla="*/ 265 h 512"/>
              <a:gd name="T2" fmla="*/ 254 w 512"/>
              <a:gd name="T3" fmla="*/ 272 h 512"/>
              <a:gd name="T4" fmla="*/ 170 w 512"/>
              <a:gd name="T5" fmla="*/ 357 h 512"/>
              <a:gd name="T6" fmla="*/ 159 w 512"/>
              <a:gd name="T7" fmla="*/ 360 h 512"/>
              <a:gd name="T8" fmla="*/ 152 w 512"/>
              <a:gd name="T9" fmla="*/ 360 h 512"/>
              <a:gd name="T10" fmla="*/ 152 w 512"/>
              <a:gd name="T11" fmla="*/ 352 h 512"/>
              <a:gd name="T12" fmla="*/ 154 w 512"/>
              <a:gd name="T13" fmla="*/ 342 h 512"/>
              <a:gd name="T14" fmla="*/ 239 w 512"/>
              <a:gd name="T15" fmla="*/ 257 h 512"/>
              <a:gd name="T16" fmla="*/ 247 w 512"/>
              <a:gd name="T17" fmla="*/ 265 h 512"/>
              <a:gd name="T18" fmla="*/ 337 w 512"/>
              <a:gd name="T19" fmla="*/ 146 h 512"/>
              <a:gd name="T20" fmla="*/ 331 w 512"/>
              <a:gd name="T21" fmla="*/ 151 h 512"/>
              <a:gd name="T22" fmla="*/ 322 w 512"/>
              <a:gd name="T23" fmla="*/ 166 h 512"/>
              <a:gd name="T24" fmla="*/ 252 w 512"/>
              <a:gd name="T25" fmla="*/ 229 h 512"/>
              <a:gd name="T26" fmla="*/ 245 w 512"/>
              <a:gd name="T27" fmla="*/ 232 h 512"/>
              <a:gd name="T28" fmla="*/ 262 w 512"/>
              <a:gd name="T29" fmla="*/ 250 h 512"/>
              <a:gd name="T30" fmla="*/ 280 w 512"/>
              <a:gd name="T31" fmla="*/ 268 h 512"/>
              <a:gd name="T32" fmla="*/ 283 w 512"/>
              <a:gd name="T33" fmla="*/ 260 h 512"/>
              <a:gd name="T34" fmla="*/ 346 w 512"/>
              <a:gd name="T35" fmla="*/ 191 h 512"/>
              <a:gd name="T36" fmla="*/ 362 w 512"/>
              <a:gd name="T37" fmla="*/ 181 h 512"/>
              <a:gd name="T38" fmla="*/ 366 w 512"/>
              <a:gd name="T39" fmla="*/ 175 h 512"/>
              <a:gd name="T40" fmla="*/ 356 w 512"/>
              <a:gd name="T41" fmla="*/ 156 h 512"/>
              <a:gd name="T42" fmla="*/ 337 w 512"/>
              <a:gd name="T43" fmla="*/ 146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71 w 512"/>
              <a:gd name="T55" fmla="*/ 141 h 512"/>
              <a:gd name="T56" fmla="*/ 335 w 512"/>
              <a:gd name="T57" fmla="*/ 125 h 512"/>
              <a:gd name="T58" fmla="*/ 313 w 512"/>
              <a:gd name="T59" fmla="*/ 139 h 512"/>
              <a:gd name="T60" fmla="*/ 304 w 512"/>
              <a:gd name="T61" fmla="*/ 154 h 512"/>
              <a:gd name="T62" fmla="*/ 243 w 512"/>
              <a:gd name="T63" fmla="*/ 210 h 512"/>
              <a:gd name="T64" fmla="*/ 242 w 512"/>
              <a:gd name="T65" fmla="*/ 211 h 512"/>
              <a:gd name="T66" fmla="*/ 222 w 512"/>
              <a:gd name="T67" fmla="*/ 217 h 512"/>
              <a:gd name="T68" fmla="*/ 214 w 512"/>
              <a:gd name="T69" fmla="*/ 225 h 512"/>
              <a:gd name="T70" fmla="*/ 217 w 512"/>
              <a:gd name="T71" fmla="*/ 235 h 512"/>
              <a:gd name="T72" fmla="*/ 224 w 512"/>
              <a:gd name="T73" fmla="*/ 242 h 512"/>
              <a:gd name="T74" fmla="*/ 139 w 512"/>
              <a:gd name="T75" fmla="*/ 327 h 512"/>
              <a:gd name="T76" fmla="*/ 131 w 512"/>
              <a:gd name="T77" fmla="*/ 356 h 512"/>
              <a:gd name="T78" fmla="*/ 130 w 512"/>
              <a:gd name="T79" fmla="*/ 359 h 512"/>
              <a:gd name="T80" fmla="*/ 132 w 512"/>
              <a:gd name="T81" fmla="*/ 379 h 512"/>
              <a:gd name="T82" fmla="*/ 142 w 512"/>
              <a:gd name="T83" fmla="*/ 383 h 512"/>
              <a:gd name="T84" fmla="*/ 152 w 512"/>
              <a:gd name="T85" fmla="*/ 381 h 512"/>
              <a:gd name="T86" fmla="*/ 155 w 512"/>
              <a:gd name="T87" fmla="*/ 381 h 512"/>
              <a:gd name="T88" fmla="*/ 185 w 512"/>
              <a:gd name="T89" fmla="*/ 372 h 512"/>
              <a:gd name="T90" fmla="*/ 269 w 512"/>
              <a:gd name="T91" fmla="*/ 287 h 512"/>
              <a:gd name="T92" fmla="*/ 277 w 512"/>
              <a:gd name="T93" fmla="*/ 295 h 512"/>
              <a:gd name="T94" fmla="*/ 285 w 512"/>
              <a:gd name="T95" fmla="*/ 298 h 512"/>
              <a:gd name="T96" fmla="*/ 288 w 512"/>
              <a:gd name="T97" fmla="*/ 298 h 512"/>
              <a:gd name="T98" fmla="*/ 295 w 512"/>
              <a:gd name="T99" fmla="*/ 288 h 512"/>
              <a:gd name="T100" fmla="*/ 301 w 512"/>
              <a:gd name="T101" fmla="*/ 266 h 512"/>
              <a:gd name="T102" fmla="*/ 302 w 512"/>
              <a:gd name="T103" fmla="*/ 267 h 512"/>
              <a:gd name="T104" fmla="*/ 357 w 512"/>
              <a:gd name="T105" fmla="*/ 208 h 512"/>
              <a:gd name="T106" fmla="*/ 373 w 512"/>
              <a:gd name="T107" fmla="*/ 198 h 512"/>
              <a:gd name="T108" fmla="*/ 387 w 512"/>
              <a:gd name="T109" fmla="*/ 177 h 512"/>
              <a:gd name="T110" fmla="*/ 371 w 512"/>
              <a:gd name="T111"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47" y="265"/>
                </a:moveTo>
                <a:cubicBezTo>
                  <a:pt x="254" y="272"/>
                  <a:pt x="254" y="272"/>
                  <a:pt x="254" y="272"/>
                </a:cubicBezTo>
                <a:cubicBezTo>
                  <a:pt x="170" y="357"/>
                  <a:pt x="170" y="357"/>
                  <a:pt x="170" y="357"/>
                </a:cubicBezTo>
                <a:cubicBezTo>
                  <a:pt x="167" y="360"/>
                  <a:pt x="163" y="361"/>
                  <a:pt x="159" y="360"/>
                </a:cubicBezTo>
                <a:cubicBezTo>
                  <a:pt x="157" y="359"/>
                  <a:pt x="154" y="359"/>
                  <a:pt x="152" y="360"/>
                </a:cubicBezTo>
                <a:cubicBezTo>
                  <a:pt x="152" y="357"/>
                  <a:pt x="152" y="355"/>
                  <a:pt x="152" y="352"/>
                </a:cubicBezTo>
                <a:cubicBezTo>
                  <a:pt x="151" y="348"/>
                  <a:pt x="152" y="344"/>
                  <a:pt x="154" y="342"/>
                </a:cubicBezTo>
                <a:cubicBezTo>
                  <a:pt x="239" y="257"/>
                  <a:pt x="239" y="257"/>
                  <a:pt x="239" y="257"/>
                </a:cubicBezTo>
                <a:lnTo>
                  <a:pt x="247" y="265"/>
                </a:lnTo>
                <a:close/>
                <a:moveTo>
                  <a:pt x="337" y="146"/>
                </a:moveTo>
                <a:cubicBezTo>
                  <a:pt x="336" y="147"/>
                  <a:pt x="333" y="147"/>
                  <a:pt x="331" y="151"/>
                </a:cubicBezTo>
                <a:cubicBezTo>
                  <a:pt x="322" y="166"/>
                  <a:pt x="322" y="166"/>
                  <a:pt x="322" y="166"/>
                </a:cubicBezTo>
                <a:cubicBezTo>
                  <a:pt x="292" y="209"/>
                  <a:pt x="257" y="227"/>
                  <a:pt x="252" y="229"/>
                </a:cubicBezTo>
                <a:cubicBezTo>
                  <a:pt x="250" y="230"/>
                  <a:pt x="248" y="231"/>
                  <a:pt x="245" y="232"/>
                </a:cubicBezTo>
                <a:cubicBezTo>
                  <a:pt x="262" y="250"/>
                  <a:pt x="262" y="250"/>
                  <a:pt x="262" y="250"/>
                </a:cubicBezTo>
                <a:cubicBezTo>
                  <a:pt x="280" y="268"/>
                  <a:pt x="280" y="268"/>
                  <a:pt x="280" y="268"/>
                </a:cubicBezTo>
                <a:cubicBezTo>
                  <a:pt x="281" y="265"/>
                  <a:pt x="282" y="262"/>
                  <a:pt x="283" y="260"/>
                </a:cubicBezTo>
                <a:cubicBezTo>
                  <a:pt x="285" y="255"/>
                  <a:pt x="303" y="221"/>
                  <a:pt x="346" y="191"/>
                </a:cubicBezTo>
                <a:cubicBezTo>
                  <a:pt x="362" y="181"/>
                  <a:pt x="362" y="181"/>
                  <a:pt x="362" y="181"/>
                </a:cubicBezTo>
                <a:cubicBezTo>
                  <a:pt x="365" y="179"/>
                  <a:pt x="366" y="177"/>
                  <a:pt x="366" y="175"/>
                </a:cubicBezTo>
                <a:cubicBezTo>
                  <a:pt x="366" y="170"/>
                  <a:pt x="362" y="163"/>
                  <a:pt x="356" y="156"/>
                </a:cubicBezTo>
                <a:cubicBezTo>
                  <a:pt x="349" y="150"/>
                  <a:pt x="342" y="146"/>
                  <a:pt x="337" y="14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1" y="141"/>
                </a:moveTo>
                <a:cubicBezTo>
                  <a:pt x="360" y="130"/>
                  <a:pt x="347" y="124"/>
                  <a:pt x="335" y="125"/>
                </a:cubicBezTo>
                <a:cubicBezTo>
                  <a:pt x="329" y="126"/>
                  <a:pt x="320" y="129"/>
                  <a:pt x="313" y="139"/>
                </a:cubicBezTo>
                <a:cubicBezTo>
                  <a:pt x="304" y="154"/>
                  <a:pt x="304" y="154"/>
                  <a:pt x="304" y="154"/>
                </a:cubicBezTo>
                <a:cubicBezTo>
                  <a:pt x="276" y="194"/>
                  <a:pt x="243" y="210"/>
                  <a:pt x="243" y="210"/>
                </a:cubicBezTo>
                <a:cubicBezTo>
                  <a:pt x="242" y="210"/>
                  <a:pt x="242" y="210"/>
                  <a:pt x="242" y="211"/>
                </a:cubicBezTo>
                <a:cubicBezTo>
                  <a:pt x="241" y="211"/>
                  <a:pt x="237" y="213"/>
                  <a:pt x="222" y="217"/>
                </a:cubicBezTo>
                <a:cubicBezTo>
                  <a:pt x="218" y="218"/>
                  <a:pt x="215" y="221"/>
                  <a:pt x="214" y="225"/>
                </a:cubicBezTo>
                <a:cubicBezTo>
                  <a:pt x="213" y="228"/>
                  <a:pt x="214" y="232"/>
                  <a:pt x="217" y="235"/>
                </a:cubicBezTo>
                <a:cubicBezTo>
                  <a:pt x="224" y="242"/>
                  <a:pt x="224" y="242"/>
                  <a:pt x="224" y="242"/>
                </a:cubicBezTo>
                <a:cubicBezTo>
                  <a:pt x="139" y="327"/>
                  <a:pt x="139" y="327"/>
                  <a:pt x="139" y="327"/>
                </a:cubicBezTo>
                <a:cubicBezTo>
                  <a:pt x="132" y="334"/>
                  <a:pt x="129" y="345"/>
                  <a:pt x="131" y="356"/>
                </a:cubicBezTo>
                <a:cubicBezTo>
                  <a:pt x="131" y="357"/>
                  <a:pt x="130" y="358"/>
                  <a:pt x="130" y="359"/>
                </a:cubicBezTo>
                <a:cubicBezTo>
                  <a:pt x="128" y="365"/>
                  <a:pt x="126" y="373"/>
                  <a:pt x="132" y="379"/>
                </a:cubicBezTo>
                <a:cubicBezTo>
                  <a:pt x="135" y="382"/>
                  <a:pt x="138" y="383"/>
                  <a:pt x="142" y="383"/>
                </a:cubicBezTo>
                <a:cubicBezTo>
                  <a:pt x="145" y="383"/>
                  <a:pt x="149" y="382"/>
                  <a:pt x="152" y="381"/>
                </a:cubicBezTo>
                <a:cubicBezTo>
                  <a:pt x="153" y="381"/>
                  <a:pt x="154" y="381"/>
                  <a:pt x="155" y="381"/>
                </a:cubicBezTo>
                <a:cubicBezTo>
                  <a:pt x="166" y="383"/>
                  <a:pt x="177" y="380"/>
                  <a:pt x="185" y="372"/>
                </a:cubicBezTo>
                <a:cubicBezTo>
                  <a:pt x="269" y="287"/>
                  <a:pt x="269" y="287"/>
                  <a:pt x="269" y="287"/>
                </a:cubicBezTo>
                <a:cubicBezTo>
                  <a:pt x="277" y="295"/>
                  <a:pt x="277" y="295"/>
                  <a:pt x="277" y="295"/>
                </a:cubicBezTo>
                <a:cubicBezTo>
                  <a:pt x="279" y="297"/>
                  <a:pt x="282" y="298"/>
                  <a:pt x="285" y="298"/>
                </a:cubicBezTo>
                <a:cubicBezTo>
                  <a:pt x="286" y="298"/>
                  <a:pt x="287" y="298"/>
                  <a:pt x="288" y="298"/>
                </a:cubicBezTo>
                <a:cubicBezTo>
                  <a:pt x="291" y="297"/>
                  <a:pt x="294" y="292"/>
                  <a:pt x="295" y="288"/>
                </a:cubicBezTo>
                <a:cubicBezTo>
                  <a:pt x="299" y="273"/>
                  <a:pt x="301" y="266"/>
                  <a:pt x="301" y="266"/>
                </a:cubicBezTo>
                <a:cubicBezTo>
                  <a:pt x="301" y="266"/>
                  <a:pt x="302" y="268"/>
                  <a:pt x="302" y="267"/>
                </a:cubicBezTo>
                <a:cubicBezTo>
                  <a:pt x="302" y="267"/>
                  <a:pt x="318" y="235"/>
                  <a:pt x="357" y="208"/>
                </a:cubicBezTo>
                <a:cubicBezTo>
                  <a:pt x="373" y="198"/>
                  <a:pt x="373" y="198"/>
                  <a:pt x="373" y="198"/>
                </a:cubicBezTo>
                <a:cubicBezTo>
                  <a:pt x="383" y="191"/>
                  <a:pt x="386" y="183"/>
                  <a:pt x="387" y="177"/>
                </a:cubicBezTo>
                <a:cubicBezTo>
                  <a:pt x="388" y="165"/>
                  <a:pt x="382" y="152"/>
                  <a:pt x="371" y="141"/>
                </a:cubicBez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56" name="Freeform 395">
            <a:extLst>
              <a:ext uri="{FF2B5EF4-FFF2-40B4-BE49-F238E27FC236}">
                <a16:creationId xmlns:a16="http://schemas.microsoft.com/office/drawing/2014/main" id="{26CC2272-3401-4EA9-9BA6-0AFB048D1D23}"/>
              </a:ext>
            </a:extLst>
          </p:cNvPr>
          <p:cNvSpPr>
            <a:spLocks noChangeAspect="1" noEditPoints="1"/>
          </p:cNvSpPr>
          <p:nvPr/>
        </p:nvSpPr>
        <p:spPr bwMode="auto">
          <a:xfrm>
            <a:off x="1802415" y="2713353"/>
            <a:ext cx="211893" cy="211894"/>
          </a:xfrm>
          <a:custGeom>
            <a:avLst/>
            <a:gdLst>
              <a:gd name="T0" fmla="*/ 245 w 512"/>
              <a:gd name="T1" fmla="*/ 192 h 512"/>
              <a:gd name="T2" fmla="*/ 224 w 512"/>
              <a:gd name="T3" fmla="*/ 213 h 512"/>
              <a:gd name="T4" fmla="*/ 266 w 512"/>
              <a:gd name="T5" fmla="*/ 320 h 512"/>
              <a:gd name="T6" fmla="*/ 288 w 512"/>
              <a:gd name="T7" fmla="*/ 298 h 512"/>
              <a:gd name="T8" fmla="*/ 266 w 512"/>
              <a:gd name="T9" fmla="*/ 320 h 512"/>
              <a:gd name="T10" fmla="*/ 256 w 512"/>
              <a:gd name="T11" fmla="*/ 512 h 512"/>
              <a:gd name="T12" fmla="*/ 256 w 512"/>
              <a:gd name="T13" fmla="*/ 0 h 512"/>
              <a:gd name="T14" fmla="*/ 181 w 512"/>
              <a:gd name="T15" fmla="*/ 181 h 512"/>
              <a:gd name="T16" fmla="*/ 139 w 512"/>
              <a:gd name="T17" fmla="*/ 170 h 512"/>
              <a:gd name="T18" fmla="*/ 181 w 512"/>
              <a:gd name="T19" fmla="*/ 126 h 512"/>
              <a:gd name="T20" fmla="*/ 117 w 512"/>
              <a:gd name="T21" fmla="*/ 181 h 512"/>
              <a:gd name="T22" fmla="*/ 128 w 512"/>
              <a:gd name="T23" fmla="*/ 234 h 512"/>
              <a:gd name="T24" fmla="*/ 181 w 512"/>
              <a:gd name="T25" fmla="*/ 224 h 512"/>
              <a:gd name="T26" fmla="*/ 213 w 512"/>
              <a:gd name="T27" fmla="*/ 234 h 512"/>
              <a:gd name="T28" fmla="*/ 266 w 512"/>
              <a:gd name="T29" fmla="*/ 224 h 512"/>
              <a:gd name="T30" fmla="*/ 256 w 512"/>
              <a:gd name="T31" fmla="*/ 170 h 512"/>
              <a:gd name="T32" fmla="*/ 257 w 512"/>
              <a:gd name="T33" fmla="*/ 138 h 512"/>
              <a:gd name="T34" fmla="*/ 254 w 512"/>
              <a:gd name="T35" fmla="*/ 117 h 512"/>
              <a:gd name="T36" fmla="*/ 202 w 512"/>
              <a:gd name="T37" fmla="*/ 224 h 512"/>
              <a:gd name="T38" fmla="*/ 309 w 512"/>
              <a:gd name="T39" fmla="*/ 288 h 512"/>
              <a:gd name="T40" fmla="*/ 256 w 512"/>
              <a:gd name="T41" fmla="*/ 277 h 512"/>
              <a:gd name="T42" fmla="*/ 245 w 512"/>
              <a:gd name="T43" fmla="*/ 330 h 512"/>
              <a:gd name="T44" fmla="*/ 287 w 512"/>
              <a:gd name="T45" fmla="*/ 341 h 512"/>
              <a:gd name="T46" fmla="*/ 245 w 512"/>
              <a:gd name="T47" fmla="*/ 385 h 512"/>
              <a:gd name="T48" fmla="*/ 257 w 512"/>
              <a:gd name="T49" fmla="*/ 394 h 512"/>
              <a:gd name="T50" fmla="*/ 309 w 512"/>
              <a:gd name="T51" fmla="*/ 288 h 512"/>
              <a:gd name="T52" fmla="*/ 384 w 512"/>
              <a:gd name="T53" fmla="*/ 277 h 512"/>
              <a:gd name="T54" fmla="*/ 330 w 512"/>
              <a:gd name="T55" fmla="*/ 288 h 512"/>
              <a:gd name="T56" fmla="*/ 341 w 512"/>
              <a:gd name="T57" fmla="*/ 341 h 512"/>
              <a:gd name="T58" fmla="*/ 340 w 512"/>
              <a:gd name="T59" fmla="*/ 373 h 512"/>
              <a:gd name="T60" fmla="*/ 341 w 512"/>
              <a:gd name="T61" fmla="*/ 394 h 512"/>
              <a:gd name="T62" fmla="*/ 394 w 512"/>
              <a:gd name="T63" fmla="*/ 330 h 512"/>
              <a:gd name="T64" fmla="*/ 138 w 512"/>
              <a:gd name="T65" fmla="*/ 213 h 512"/>
              <a:gd name="T66" fmla="*/ 160 w 512"/>
              <a:gd name="T67" fmla="*/ 192 h 512"/>
              <a:gd name="T68" fmla="*/ 138 w 512"/>
              <a:gd name="T69" fmla="*/ 213 h 512"/>
              <a:gd name="T70" fmla="*/ 373 w 512"/>
              <a:gd name="T71" fmla="*/ 320 h 512"/>
              <a:gd name="T72" fmla="*/ 352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24" y="192"/>
                </a:moveTo>
                <a:cubicBezTo>
                  <a:pt x="245" y="192"/>
                  <a:pt x="245" y="192"/>
                  <a:pt x="245" y="192"/>
                </a:cubicBezTo>
                <a:cubicBezTo>
                  <a:pt x="245" y="213"/>
                  <a:pt x="245" y="213"/>
                  <a:pt x="245" y="213"/>
                </a:cubicBezTo>
                <a:cubicBezTo>
                  <a:pt x="224" y="213"/>
                  <a:pt x="224" y="213"/>
                  <a:pt x="224" y="213"/>
                </a:cubicBezTo>
                <a:lnTo>
                  <a:pt x="224" y="192"/>
                </a:lnTo>
                <a:close/>
                <a:moveTo>
                  <a:pt x="266" y="320"/>
                </a:moveTo>
                <a:cubicBezTo>
                  <a:pt x="288" y="320"/>
                  <a:pt x="288" y="320"/>
                  <a:pt x="288" y="320"/>
                </a:cubicBezTo>
                <a:cubicBezTo>
                  <a:pt x="288" y="298"/>
                  <a:pt x="288" y="298"/>
                  <a:pt x="288" y="298"/>
                </a:cubicBezTo>
                <a:cubicBezTo>
                  <a:pt x="266" y="298"/>
                  <a:pt x="266" y="298"/>
                  <a:pt x="266" y="298"/>
                </a:cubicBezTo>
                <a:lnTo>
                  <a:pt x="266"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1" y="181"/>
                </a:moveTo>
                <a:cubicBezTo>
                  <a:pt x="181" y="175"/>
                  <a:pt x="176" y="170"/>
                  <a:pt x="170" y="170"/>
                </a:cubicBezTo>
                <a:cubicBezTo>
                  <a:pt x="139" y="170"/>
                  <a:pt x="139" y="170"/>
                  <a:pt x="139" y="170"/>
                </a:cubicBezTo>
                <a:cubicBezTo>
                  <a:pt x="144" y="143"/>
                  <a:pt x="168" y="139"/>
                  <a:pt x="172" y="138"/>
                </a:cubicBezTo>
                <a:cubicBezTo>
                  <a:pt x="177" y="138"/>
                  <a:pt x="182" y="132"/>
                  <a:pt x="181" y="126"/>
                </a:cubicBezTo>
                <a:cubicBezTo>
                  <a:pt x="180" y="121"/>
                  <a:pt x="175" y="117"/>
                  <a:pt x="169" y="117"/>
                </a:cubicBezTo>
                <a:cubicBezTo>
                  <a:pt x="151" y="119"/>
                  <a:pt x="117" y="135"/>
                  <a:pt x="117" y="181"/>
                </a:cubicBezTo>
                <a:cubicBezTo>
                  <a:pt x="117" y="224"/>
                  <a:pt x="117" y="224"/>
                  <a:pt x="117" y="224"/>
                </a:cubicBezTo>
                <a:cubicBezTo>
                  <a:pt x="117" y="230"/>
                  <a:pt x="122" y="234"/>
                  <a:pt x="128" y="234"/>
                </a:cubicBezTo>
                <a:cubicBezTo>
                  <a:pt x="170" y="234"/>
                  <a:pt x="170" y="234"/>
                  <a:pt x="170" y="234"/>
                </a:cubicBezTo>
                <a:cubicBezTo>
                  <a:pt x="176" y="234"/>
                  <a:pt x="181" y="230"/>
                  <a:pt x="181" y="224"/>
                </a:cubicBezTo>
                <a:lnTo>
                  <a:pt x="181" y="181"/>
                </a:lnTo>
                <a:close/>
                <a:moveTo>
                  <a:pt x="213" y="234"/>
                </a:moveTo>
                <a:cubicBezTo>
                  <a:pt x="256" y="234"/>
                  <a:pt x="256" y="234"/>
                  <a:pt x="256" y="234"/>
                </a:cubicBezTo>
                <a:cubicBezTo>
                  <a:pt x="262" y="234"/>
                  <a:pt x="266" y="230"/>
                  <a:pt x="266" y="224"/>
                </a:cubicBezTo>
                <a:cubicBezTo>
                  <a:pt x="266" y="181"/>
                  <a:pt x="266" y="181"/>
                  <a:pt x="266" y="181"/>
                </a:cubicBezTo>
                <a:cubicBezTo>
                  <a:pt x="266" y="175"/>
                  <a:pt x="262" y="170"/>
                  <a:pt x="256" y="170"/>
                </a:cubicBezTo>
                <a:cubicBezTo>
                  <a:pt x="225" y="170"/>
                  <a:pt x="225" y="170"/>
                  <a:pt x="225" y="170"/>
                </a:cubicBezTo>
                <a:cubicBezTo>
                  <a:pt x="230" y="143"/>
                  <a:pt x="254" y="139"/>
                  <a:pt x="257" y="138"/>
                </a:cubicBezTo>
                <a:cubicBezTo>
                  <a:pt x="263" y="138"/>
                  <a:pt x="267" y="132"/>
                  <a:pt x="266" y="126"/>
                </a:cubicBezTo>
                <a:cubicBezTo>
                  <a:pt x="266" y="121"/>
                  <a:pt x="260" y="117"/>
                  <a:pt x="254" y="117"/>
                </a:cubicBezTo>
                <a:cubicBezTo>
                  <a:pt x="236" y="119"/>
                  <a:pt x="202" y="135"/>
                  <a:pt x="202" y="181"/>
                </a:cubicBezTo>
                <a:cubicBezTo>
                  <a:pt x="202" y="224"/>
                  <a:pt x="202" y="224"/>
                  <a:pt x="202" y="224"/>
                </a:cubicBezTo>
                <a:cubicBezTo>
                  <a:pt x="202" y="230"/>
                  <a:pt x="207" y="234"/>
                  <a:pt x="213" y="234"/>
                </a:cubicBezTo>
                <a:close/>
                <a:moveTo>
                  <a:pt x="309" y="288"/>
                </a:moveTo>
                <a:cubicBezTo>
                  <a:pt x="309" y="282"/>
                  <a:pt x="304" y="277"/>
                  <a:pt x="298" y="277"/>
                </a:cubicBezTo>
                <a:cubicBezTo>
                  <a:pt x="256" y="277"/>
                  <a:pt x="256" y="277"/>
                  <a:pt x="256" y="277"/>
                </a:cubicBezTo>
                <a:cubicBezTo>
                  <a:pt x="250" y="277"/>
                  <a:pt x="245" y="282"/>
                  <a:pt x="245" y="288"/>
                </a:cubicBezTo>
                <a:cubicBezTo>
                  <a:pt x="245" y="330"/>
                  <a:pt x="245" y="330"/>
                  <a:pt x="245" y="330"/>
                </a:cubicBezTo>
                <a:cubicBezTo>
                  <a:pt x="245" y="336"/>
                  <a:pt x="250" y="341"/>
                  <a:pt x="256" y="341"/>
                </a:cubicBezTo>
                <a:cubicBezTo>
                  <a:pt x="287" y="341"/>
                  <a:pt x="287" y="341"/>
                  <a:pt x="287" y="341"/>
                </a:cubicBezTo>
                <a:cubicBezTo>
                  <a:pt x="282" y="369"/>
                  <a:pt x="258" y="373"/>
                  <a:pt x="254" y="373"/>
                </a:cubicBezTo>
                <a:cubicBezTo>
                  <a:pt x="249" y="374"/>
                  <a:pt x="244" y="379"/>
                  <a:pt x="245" y="385"/>
                </a:cubicBezTo>
                <a:cubicBezTo>
                  <a:pt x="246" y="390"/>
                  <a:pt x="250" y="394"/>
                  <a:pt x="256" y="394"/>
                </a:cubicBezTo>
                <a:cubicBezTo>
                  <a:pt x="256" y="394"/>
                  <a:pt x="256" y="394"/>
                  <a:pt x="257" y="394"/>
                </a:cubicBezTo>
                <a:cubicBezTo>
                  <a:pt x="275" y="392"/>
                  <a:pt x="309" y="376"/>
                  <a:pt x="309" y="330"/>
                </a:cubicBezTo>
                <a:lnTo>
                  <a:pt x="309" y="288"/>
                </a:lnTo>
                <a:close/>
                <a:moveTo>
                  <a:pt x="394" y="288"/>
                </a:moveTo>
                <a:cubicBezTo>
                  <a:pt x="394" y="282"/>
                  <a:pt x="390" y="277"/>
                  <a:pt x="384" y="277"/>
                </a:cubicBezTo>
                <a:cubicBezTo>
                  <a:pt x="341" y="277"/>
                  <a:pt x="341" y="277"/>
                  <a:pt x="341" y="277"/>
                </a:cubicBezTo>
                <a:cubicBezTo>
                  <a:pt x="335" y="277"/>
                  <a:pt x="330" y="282"/>
                  <a:pt x="330" y="288"/>
                </a:cubicBezTo>
                <a:cubicBezTo>
                  <a:pt x="330" y="330"/>
                  <a:pt x="330" y="330"/>
                  <a:pt x="330" y="330"/>
                </a:cubicBezTo>
                <a:cubicBezTo>
                  <a:pt x="330" y="336"/>
                  <a:pt x="335" y="341"/>
                  <a:pt x="341" y="341"/>
                </a:cubicBezTo>
                <a:cubicBezTo>
                  <a:pt x="372" y="341"/>
                  <a:pt x="372" y="341"/>
                  <a:pt x="372" y="341"/>
                </a:cubicBezTo>
                <a:cubicBezTo>
                  <a:pt x="367" y="369"/>
                  <a:pt x="343" y="373"/>
                  <a:pt x="340" y="373"/>
                </a:cubicBezTo>
                <a:cubicBezTo>
                  <a:pt x="334" y="374"/>
                  <a:pt x="330" y="379"/>
                  <a:pt x="330" y="385"/>
                </a:cubicBezTo>
                <a:cubicBezTo>
                  <a:pt x="331" y="390"/>
                  <a:pt x="336" y="394"/>
                  <a:pt x="341" y="394"/>
                </a:cubicBezTo>
                <a:cubicBezTo>
                  <a:pt x="341" y="394"/>
                  <a:pt x="342" y="394"/>
                  <a:pt x="342" y="394"/>
                </a:cubicBezTo>
                <a:cubicBezTo>
                  <a:pt x="360" y="392"/>
                  <a:pt x="394" y="376"/>
                  <a:pt x="394" y="330"/>
                </a:cubicBezTo>
                <a:lnTo>
                  <a:pt x="394" y="288"/>
                </a:lnTo>
                <a:close/>
                <a:moveTo>
                  <a:pt x="138" y="213"/>
                </a:moveTo>
                <a:cubicBezTo>
                  <a:pt x="160" y="213"/>
                  <a:pt x="160" y="213"/>
                  <a:pt x="160" y="213"/>
                </a:cubicBezTo>
                <a:cubicBezTo>
                  <a:pt x="160" y="192"/>
                  <a:pt x="160" y="192"/>
                  <a:pt x="160" y="192"/>
                </a:cubicBezTo>
                <a:cubicBezTo>
                  <a:pt x="138" y="192"/>
                  <a:pt x="138" y="192"/>
                  <a:pt x="138" y="192"/>
                </a:cubicBezTo>
                <a:lnTo>
                  <a:pt x="138" y="213"/>
                </a:lnTo>
                <a:close/>
                <a:moveTo>
                  <a:pt x="352" y="320"/>
                </a:moveTo>
                <a:cubicBezTo>
                  <a:pt x="373" y="320"/>
                  <a:pt x="373" y="320"/>
                  <a:pt x="373" y="320"/>
                </a:cubicBezTo>
                <a:cubicBezTo>
                  <a:pt x="373" y="298"/>
                  <a:pt x="373" y="298"/>
                  <a:pt x="373" y="298"/>
                </a:cubicBezTo>
                <a:cubicBezTo>
                  <a:pt x="352" y="298"/>
                  <a:pt x="352" y="298"/>
                  <a:pt x="352" y="298"/>
                </a:cubicBezTo>
                <a:lnTo>
                  <a:pt x="352" y="320"/>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54" name="Freeform 518">
            <a:extLst>
              <a:ext uri="{FF2B5EF4-FFF2-40B4-BE49-F238E27FC236}">
                <a16:creationId xmlns:a16="http://schemas.microsoft.com/office/drawing/2014/main" id="{77D402DD-32A7-4691-B0EF-9C75D56DBD1F}"/>
              </a:ext>
            </a:extLst>
          </p:cNvPr>
          <p:cNvSpPr>
            <a:spLocks noChangeAspect="1" noEditPoints="1"/>
          </p:cNvSpPr>
          <p:nvPr/>
        </p:nvSpPr>
        <p:spPr bwMode="auto">
          <a:xfrm>
            <a:off x="1802415" y="1921328"/>
            <a:ext cx="211893" cy="211894"/>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Tree>
    <p:custDataLst>
      <p:tags r:id="rId1"/>
    </p:custDataLst>
    <p:extLst>
      <p:ext uri="{BB962C8B-B14F-4D97-AF65-F5344CB8AC3E}">
        <p14:creationId xmlns:p14="http://schemas.microsoft.com/office/powerpoint/2010/main" val="1162282778"/>
      </p:ext>
    </p:extLst>
  </p:cSld>
  <p:clrMapOvr>
    <a:masterClrMapping/>
  </p:clrMapOvr>
  <p:transition>
    <p:fade/>
  </p:transition>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F5FB6C2-57D7-BC4B-BFF1-8E48D53E6563}"/>
              </a:ext>
            </a:extLst>
          </p:cNvPr>
          <p:cNvSpPr/>
          <p:nvPr/>
        </p:nvSpPr>
        <p:spPr bwMode="gray">
          <a:xfrm>
            <a:off x="1900239" y="1408856"/>
            <a:ext cx="8391525" cy="29135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a-DK" sz="1400" b="1" dirty="0">
                <a:solidFill>
                  <a:schemeClr val="bg1"/>
                </a:solidFill>
              </a:rPr>
              <a:t>Lorem ipsum dolor sit amet, </a:t>
            </a:r>
            <a:endParaRPr lang="en-US" sz="1400" b="1" dirty="0">
              <a:solidFill>
                <a:schemeClr val="bg1"/>
              </a:solidFill>
            </a:endParaRPr>
          </a:p>
        </p:txBody>
      </p:sp>
      <p:grpSp>
        <p:nvGrpSpPr>
          <p:cNvPr id="17" name="Group 16">
            <a:extLst>
              <a:ext uri="{FF2B5EF4-FFF2-40B4-BE49-F238E27FC236}">
                <a16:creationId xmlns:a16="http://schemas.microsoft.com/office/drawing/2014/main" id="{C6550267-95B1-2D45-A716-9BD23D584B96}"/>
              </a:ext>
            </a:extLst>
          </p:cNvPr>
          <p:cNvGrpSpPr/>
          <p:nvPr/>
        </p:nvGrpSpPr>
        <p:grpSpPr>
          <a:xfrm>
            <a:off x="1723430" y="2457471"/>
            <a:ext cx="2845991" cy="2147887"/>
            <a:chOff x="381397" y="1928813"/>
            <a:chExt cx="2845991" cy="2147887"/>
          </a:xfrm>
        </p:grpSpPr>
        <p:sp>
          <p:nvSpPr>
            <p:cNvPr id="18" name="Freeform 5">
              <a:extLst>
                <a:ext uri="{FF2B5EF4-FFF2-40B4-BE49-F238E27FC236}">
                  <a16:creationId xmlns:a16="http://schemas.microsoft.com/office/drawing/2014/main" id="{3E6C48D9-1FAF-894C-87CF-A0663317F7C6}"/>
                </a:ext>
              </a:extLst>
            </p:cNvPr>
            <p:cNvSpPr>
              <a:spLocks/>
            </p:cNvSpPr>
            <p:nvPr/>
          </p:nvSpPr>
          <p:spPr bwMode="auto">
            <a:xfrm>
              <a:off x="556682" y="1928813"/>
              <a:ext cx="2567517" cy="1919287"/>
            </a:xfrm>
            <a:custGeom>
              <a:avLst/>
              <a:gdLst>
                <a:gd name="T0" fmla="*/ 83 w 87"/>
                <a:gd name="T1" fmla="*/ 50 h 50"/>
                <a:gd name="T2" fmla="*/ 4 w 87"/>
                <a:gd name="T3" fmla="*/ 50 h 50"/>
                <a:gd name="T4" fmla="*/ 0 w 87"/>
                <a:gd name="T5" fmla="*/ 47 h 50"/>
                <a:gd name="T6" fmla="*/ 0 w 87"/>
                <a:gd name="T7" fmla="*/ 3 h 50"/>
                <a:gd name="T8" fmla="*/ 4 w 87"/>
                <a:gd name="T9" fmla="*/ 0 h 50"/>
                <a:gd name="T10" fmla="*/ 83 w 87"/>
                <a:gd name="T11" fmla="*/ 0 h 50"/>
                <a:gd name="T12" fmla="*/ 87 w 87"/>
                <a:gd name="T13" fmla="*/ 3 h 50"/>
                <a:gd name="T14" fmla="*/ 87 w 87"/>
                <a:gd name="T15" fmla="*/ 47 h 50"/>
                <a:gd name="T16" fmla="*/ 83 w 87"/>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50">
                  <a:moveTo>
                    <a:pt x="83" y="50"/>
                  </a:moveTo>
                  <a:cubicBezTo>
                    <a:pt x="4" y="50"/>
                    <a:pt x="4" y="50"/>
                    <a:pt x="4" y="50"/>
                  </a:cubicBezTo>
                  <a:cubicBezTo>
                    <a:pt x="2" y="50"/>
                    <a:pt x="0" y="48"/>
                    <a:pt x="0" y="47"/>
                  </a:cubicBezTo>
                  <a:cubicBezTo>
                    <a:pt x="0" y="3"/>
                    <a:pt x="0" y="3"/>
                    <a:pt x="0" y="3"/>
                  </a:cubicBezTo>
                  <a:cubicBezTo>
                    <a:pt x="0" y="1"/>
                    <a:pt x="2" y="0"/>
                    <a:pt x="4" y="0"/>
                  </a:cubicBezTo>
                  <a:cubicBezTo>
                    <a:pt x="83" y="0"/>
                    <a:pt x="83" y="0"/>
                    <a:pt x="83" y="0"/>
                  </a:cubicBezTo>
                  <a:cubicBezTo>
                    <a:pt x="85" y="0"/>
                    <a:pt x="87" y="1"/>
                    <a:pt x="87" y="3"/>
                  </a:cubicBezTo>
                  <a:cubicBezTo>
                    <a:pt x="87" y="47"/>
                    <a:pt x="87" y="47"/>
                    <a:pt x="87" y="47"/>
                  </a:cubicBezTo>
                  <a:cubicBezTo>
                    <a:pt x="87" y="48"/>
                    <a:pt x="85" y="50"/>
                    <a:pt x="83" y="50"/>
                  </a:cubicBezTo>
                  <a:close/>
                </a:path>
              </a:pathLst>
            </a:custGeom>
            <a:solidFill>
              <a:schemeClr val="accent1"/>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Rectangle 6">
              <a:extLst>
                <a:ext uri="{FF2B5EF4-FFF2-40B4-BE49-F238E27FC236}">
                  <a16:creationId xmlns:a16="http://schemas.microsoft.com/office/drawing/2014/main" id="{52CA4A26-FD45-E242-B78B-7D3A269D8501}"/>
                </a:ext>
              </a:extLst>
            </p:cNvPr>
            <p:cNvSpPr>
              <a:spLocks noChangeArrowheads="1"/>
            </p:cNvSpPr>
            <p:nvPr/>
          </p:nvSpPr>
          <p:spPr bwMode="auto">
            <a:xfrm>
              <a:off x="705285" y="2100263"/>
              <a:ext cx="2270313" cy="1504950"/>
            </a:xfrm>
            <a:prstGeom prst="rect">
              <a:avLst/>
            </a:prstGeom>
            <a:solidFill>
              <a:schemeClr val="bg1"/>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7">
              <a:extLst>
                <a:ext uri="{FF2B5EF4-FFF2-40B4-BE49-F238E27FC236}">
                  <a16:creationId xmlns:a16="http://schemas.microsoft.com/office/drawing/2014/main" id="{0584BA4E-EBFD-9C4C-9E25-A962D1560B13}"/>
                </a:ext>
              </a:extLst>
            </p:cNvPr>
            <p:cNvSpPr>
              <a:spLocks/>
            </p:cNvSpPr>
            <p:nvPr/>
          </p:nvSpPr>
          <p:spPr bwMode="auto">
            <a:xfrm>
              <a:off x="381397" y="3786185"/>
              <a:ext cx="2845991" cy="290515"/>
            </a:xfrm>
            <a:custGeom>
              <a:avLst/>
              <a:gdLst>
                <a:gd name="T0" fmla="*/ 94 w 99"/>
                <a:gd name="T1" fmla="*/ 10 h 10"/>
                <a:gd name="T2" fmla="*/ 5 w 99"/>
                <a:gd name="T3" fmla="*/ 10 h 10"/>
                <a:gd name="T4" fmla="*/ 0 w 99"/>
                <a:gd name="T5" fmla="*/ 5 h 10"/>
                <a:gd name="T6" fmla="*/ 0 w 99"/>
                <a:gd name="T7" fmla="*/ 5 h 10"/>
                <a:gd name="T8" fmla="*/ 5 w 99"/>
                <a:gd name="T9" fmla="*/ 0 h 10"/>
                <a:gd name="T10" fmla="*/ 94 w 99"/>
                <a:gd name="T11" fmla="*/ 0 h 10"/>
                <a:gd name="T12" fmla="*/ 99 w 99"/>
                <a:gd name="T13" fmla="*/ 5 h 10"/>
                <a:gd name="T14" fmla="*/ 99 w 99"/>
                <a:gd name="T15" fmla="*/ 5 h 10"/>
                <a:gd name="T16" fmla="*/ 94 w 99"/>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0">
                  <a:moveTo>
                    <a:pt x="94" y="10"/>
                  </a:moveTo>
                  <a:cubicBezTo>
                    <a:pt x="5" y="10"/>
                    <a:pt x="5" y="10"/>
                    <a:pt x="5" y="10"/>
                  </a:cubicBezTo>
                  <a:cubicBezTo>
                    <a:pt x="2" y="10"/>
                    <a:pt x="0" y="8"/>
                    <a:pt x="0" y="5"/>
                  </a:cubicBezTo>
                  <a:cubicBezTo>
                    <a:pt x="0" y="5"/>
                    <a:pt x="0" y="5"/>
                    <a:pt x="0" y="5"/>
                  </a:cubicBezTo>
                  <a:cubicBezTo>
                    <a:pt x="0" y="2"/>
                    <a:pt x="2" y="0"/>
                    <a:pt x="5" y="0"/>
                  </a:cubicBezTo>
                  <a:cubicBezTo>
                    <a:pt x="94" y="0"/>
                    <a:pt x="94" y="0"/>
                    <a:pt x="94" y="0"/>
                  </a:cubicBezTo>
                  <a:cubicBezTo>
                    <a:pt x="97" y="0"/>
                    <a:pt x="99" y="2"/>
                    <a:pt x="99" y="5"/>
                  </a:cubicBezTo>
                  <a:cubicBezTo>
                    <a:pt x="99" y="5"/>
                    <a:pt x="99" y="5"/>
                    <a:pt x="99" y="5"/>
                  </a:cubicBezTo>
                  <a:cubicBezTo>
                    <a:pt x="99" y="8"/>
                    <a:pt x="97" y="10"/>
                    <a:pt x="94" y="10"/>
                  </a:cubicBezTo>
                  <a:close/>
                </a:path>
              </a:pathLst>
            </a:custGeom>
            <a:solidFill>
              <a:schemeClr val="accent1"/>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8">
              <a:extLst>
                <a:ext uri="{FF2B5EF4-FFF2-40B4-BE49-F238E27FC236}">
                  <a16:creationId xmlns:a16="http://schemas.microsoft.com/office/drawing/2014/main" id="{DD4EFAA8-E51B-EE40-BAD0-7FCF2E6F4A27}"/>
                </a:ext>
              </a:extLst>
            </p:cNvPr>
            <p:cNvSpPr>
              <a:spLocks noChangeArrowheads="1"/>
            </p:cNvSpPr>
            <p:nvPr/>
          </p:nvSpPr>
          <p:spPr bwMode="auto">
            <a:xfrm>
              <a:off x="483062"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9">
              <a:extLst>
                <a:ext uri="{FF2B5EF4-FFF2-40B4-BE49-F238E27FC236}">
                  <a16:creationId xmlns:a16="http://schemas.microsoft.com/office/drawing/2014/main" id="{7B419F01-295E-0E4F-A4FA-01B9B9C4CC2B}"/>
                </a:ext>
              </a:extLst>
            </p:cNvPr>
            <p:cNvSpPr>
              <a:spLocks noChangeArrowheads="1"/>
            </p:cNvSpPr>
            <p:nvPr/>
          </p:nvSpPr>
          <p:spPr bwMode="auto">
            <a:xfrm>
              <a:off x="727877"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Rectangle 10">
              <a:extLst>
                <a:ext uri="{FF2B5EF4-FFF2-40B4-BE49-F238E27FC236}">
                  <a16:creationId xmlns:a16="http://schemas.microsoft.com/office/drawing/2014/main" id="{95C4738E-CC06-F24E-A81A-4EEB34428AA8}"/>
                </a:ext>
              </a:extLst>
            </p:cNvPr>
            <p:cNvSpPr>
              <a:spLocks noChangeArrowheads="1"/>
            </p:cNvSpPr>
            <p:nvPr/>
          </p:nvSpPr>
          <p:spPr bwMode="auto">
            <a:xfrm>
              <a:off x="972692" y="3709059"/>
              <a:ext cx="175286"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 name="Rectangle 11">
              <a:extLst>
                <a:ext uri="{FF2B5EF4-FFF2-40B4-BE49-F238E27FC236}">
                  <a16:creationId xmlns:a16="http://schemas.microsoft.com/office/drawing/2014/main" id="{E6C642D1-8D4C-C545-ABC4-A19BED9C4752}"/>
                </a:ext>
              </a:extLst>
            </p:cNvPr>
            <p:cNvSpPr>
              <a:spLocks noChangeArrowheads="1"/>
            </p:cNvSpPr>
            <p:nvPr/>
          </p:nvSpPr>
          <p:spPr bwMode="auto">
            <a:xfrm>
              <a:off x="1242046" y="3709059"/>
              <a:ext cx="929019"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 name="Rectangle 12">
              <a:extLst>
                <a:ext uri="{FF2B5EF4-FFF2-40B4-BE49-F238E27FC236}">
                  <a16:creationId xmlns:a16="http://schemas.microsoft.com/office/drawing/2014/main" id="{CF7135E8-E009-F84D-A6E3-A01848637CAD}"/>
                </a:ext>
              </a:extLst>
            </p:cNvPr>
            <p:cNvSpPr>
              <a:spLocks noChangeArrowheads="1"/>
            </p:cNvSpPr>
            <p:nvPr/>
          </p:nvSpPr>
          <p:spPr bwMode="auto">
            <a:xfrm>
              <a:off x="2265133"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 name="Rectangle 13">
              <a:extLst>
                <a:ext uri="{FF2B5EF4-FFF2-40B4-BE49-F238E27FC236}">
                  <a16:creationId xmlns:a16="http://schemas.microsoft.com/office/drawing/2014/main" id="{CD140A4C-041F-E74B-93EB-6F2F521BEB6F}"/>
                </a:ext>
              </a:extLst>
            </p:cNvPr>
            <p:cNvSpPr>
              <a:spLocks noChangeArrowheads="1"/>
            </p:cNvSpPr>
            <p:nvPr/>
          </p:nvSpPr>
          <p:spPr bwMode="auto">
            <a:xfrm>
              <a:off x="2754763"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 name="Rectangle 14">
              <a:extLst>
                <a:ext uri="{FF2B5EF4-FFF2-40B4-BE49-F238E27FC236}">
                  <a16:creationId xmlns:a16="http://schemas.microsoft.com/office/drawing/2014/main" id="{B0EB2578-F3A7-B940-8309-D2A77A596281}"/>
                </a:ext>
              </a:extLst>
            </p:cNvPr>
            <p:cNvSpPr>
              <a:spLocks noChangeArrowheads="1"/>
            </p:cNvSpPr>
            <p:nvPr/>
          </p:nvSpPr>
          <p:spPr bwMode="auto">
            <a:xfrm>
              <a:off x="2999576"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Rectangle 15">
              <a:extLst>
                <a:ext uri="{FF2B5EF4-FFF2-40B4-BE49-F238E27FC236}">
                  <a16:creationId xmlns:a16="http://schemas.microsoft.com/office/drawing/2014/main" id="{AC22F955-9EB4-A344-A76D-9F1CA27F83B0}"/>
                </a:ext>
              </a:extLst>
            </p:cNvPr>
            <p:cNvSpPr>
              <a:spLocks noChangeArrowheads="1"/>
            </p:cNvSpPr>
            <p:nvPr/>
          </p:nvSpPr>
          <p:spPr bwMode="auto">
            <a:xfrm>
              <a:off x="2509948"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Rectangle 28">
            <a:extLst>
              <a:ext uri="{FF2B5EF4-FFF2-40B4-BE49-F238E27FC236}">
                <a16:creationId xmlns:a16="http://schemas.microsoft.com/office/drawing/2014/main" id="{DAFAFDCC-D158-4D49-8644-5E73141E25D6}"/>
              </a:ext>
            </a:extLst>
          </p:cNvPr>
          <p:cNvSpPr/>
          <p:nvPr/>
        </p:nvSpPr>
        <p:spPr>
          <a:xfrm>
            <a:off x="1854446" y="4305321"/>
            <a:ext cx="2554276" cy="307777"/>
          </a:xfrm>
          <a:prstGeom prst="rect">
            <a:avLst/>
          </a:prstGeom>
          <a:noFill/>
        </p:spPr>
        <p:txBody>
          <a:bodyPr wrap="square">
            <a:spAutoFit/>
          </a:bodyPr>
          <a:lstStyle/>
          <a:p>
            <a:pPr algn="ctr"/>
            <a:r>
              <a:rPr lang="da-DK" sz="1400" b="1" dirty="0">
                <a:solidFill>
                  <a:schemeClr val="bg1"/>
                </a:solidFill>
              </a:rPr>
              <a:t>Lorem ipsum dolor sit amet, </a:t>
            </a:r>
            <a:endParaRPr lang="en-US" sz="1400" b="1" dirty="0">
              <a:solidFill>
                <a:schemeClr val="bg1"/>
              </a:solidFill>
            </a:endParaRPr>
          </a:p>
        </p:txBody>
      </p:sp>
      <p:sp>
        <p:nvSpPr>
          <p:cNvPr id="30" name="Rectangle 29">
            <a:extLst>
              <a:ext uri="{FF2B5EF4-FFF2-40B4-BE49-F238E27FC236}">
                <a16:creationId xmlns:a16="http://schemas.microsoft.com/office/drawing/2014/main" id="{62CB46DD-90B8-F143-B43C-352D2EF04D35}"/>
              </a:ext>
            </a:extLst>
          </p:cNvPr>
          <p:cNvSpPr/>
          <p:nvPr/>
        </p:nvSpPr>
        <p:spPr>
          <a:xfrm>
            <a:off x="2485758" y="2748783"/>
            <a:ext cx="1238656" cy="326243"/>
          </a:xfrm>
          <a:prstGeom prst="rect">
            <a:avLst/>
          </a:prstGeom>
        </p:spPr>
        <p:txBody>
          <a:bodyPr wrap="square" lIns="0" tIns="0" rIns="0" bIns="0">
            <a:spAutoFit/>
          </a:bodyPr>
          <a:lstStyle/>
          <a:p>
            <a:pPr>
              <a:lnSpc>
                <a:spcPct val="106000"/>
              </a:lnSpc>
            </a:pPr>
            <a:r>
              <a:rPr lang="da-DK" sz="1000" dirty="0">
                <a:ea typeface="Verdana" panose="020B0604030504040204" pitchFamily="34" charset="0"/>
                <a:cs typeface="Verdana" panose="020B0604030504040204" pitchFamily="34" charset="0"/>
              </a:rPr>
              <a:t>Lorem ipsum dolor sit amet, </a:t>
            </a:r>
            <a:endParaRPr lang="en-IN" sz="1000" dirty="0">
              <a:ea typeface="Verdana" panose="020B0604030504040204" pitchFamily="34" charset="0"/>
              <a:cs typeface="Verdana" panose="020B0604030504040204" pitchFamily="34" charset="0"/>
            </a:endParaRPr>
          </a:p>
        </p:txBody>
      </p:sp>
      <p:sp>
        <p:nvSpPr>
          <p:cNvPr id="31" name="Rectangle 30">
            <a:extLst>
              <a:ext uri="{FF2B5EF4-FFF2-40B4-BE49-F238E27FC236}">
                <a16:creationId xmlns:a16="http://schemas.microsoft.com/office/drawing/2014/main" id="{164A06C8-35A9-6344-9F77-83C0527515EA}"/>
              </a:ext>
            </a:extLst>
          </p:cNvPr>
          <p:cNvSpPr/>
          <p:nvPr/>
        </p:nvSpPr>
        <p:spPr>
          <a:xfrm>
            <a:off x="2485758" y="3730232"/>
            <a:ext cx="1340612" cy="326243"/>
          </a:xfrm>
          <a:prstGeom prst="rect">
            <a:avLst/>
          </a:prstGeom>
        </p:spPr>
        <p:txBody>
          <a:bodyPr wrap="square" lIns="0" tIns="0" rIns="0" bIns="0">
            <a:spAutoFit/>
          </a:bodyPr>
          <a:lstStyle/>
          <a:p>
            <a:pPr>
              <a:lnSpc>
                <a:spcPct val="106000"/>
              </a:lnSpc>
            </a:pPr>
            <a:r>
              <a:rPr lang="da-DK" sz="1000" dirty="0">
                <a:ea typeface="Verdana" panose="020B0604030504040204" pitchFamily="34" charset="0"/>
                <a:cs typeface="Verdana" panose="020B0604030504040204" pitchFamily="34" charset="0"/>
              </a:rPr>
              <a:t>Lorem ipsum dolor sit amet, </a:t>
            </a:r>
            <a:endParaRPr lang="en-IN" sz="1000" dirty="0">
              <a:ea typeface="Verdana" panose="020B0604030504040204" pitchFamily="34" charset="0"/>
              <a:cs typeface="Verdana" panose="020B0604030504040204" pitchFamily="34" charset="0"/>
            </a:endParaRPr>
          </a:p>
        </p:txBody>
      </p:sp>
      <p:sp>
        <p:nvSpPr>
          <p:cNvPr id="32" name="Rectangle 31">
            <a:extLst>
              <a:ext uri="{FF2B5EF4-FFF2-40B4-BE49-F238E27FC236}">
                <a16:creationId xmlns:a16="http://schemas.microsoft.com/office/drawing/2014/main" id="{51A9C552-29FD-E946-86F6-75F86F1C4A51}"/>
              </a:ext>
            </a:extLst>
          </p:cNvPr>
          <p:cNvSpPr/>
          <p:nvPr/>
        </p:nvSpPr>
        <p:spPr>
          <a:xfrm>
            <a:off x="2485759" y="3239507"/>
            <a:ext cx="1234775" cy="326243"/>
          </a:xfrm>
          <a:prstGeom prst="rect">
            <a:avLst/>
          </a:prstGeom>
        </p:spPr>
        <p:txBody>
          <a:bodyPr wrap="square" lIns="0" tIns="0" rIns="0" bIns="0">
            <a:spAutoFit/>
          </a:bodyPr>
          <a:lstStyle/>
          <a:p>
            <a:pPr>
              <a:lnSpc>
                <a:spcPct val="106000"/>
              </a:lnSpc>
            </a:pPr>
            <a:r>
              <a:rPr lang="da-DK" sz="1000" dirty="0">
                <a:ea typeface="Verdana" panose="020B0604030504040204" pitchFamily="34" charset="0"/>
                <a:cs typeface="Verdana" panose="020B0604030504040204" pitchFamily="34" charset="0"/>
              </a:rPr>
              <a:t>Lorem ipsum dolor sit amet, </a:t>
            </a:r>
            <a:endParaRPr lang="en-IN" sz="1000" dirty="0">
              <a:ea typeface="Verdana" panose="020B0604030504040204" pitchFamily="34" charset="0"/>
              <a:cs typeface="Verdana" panose="020B0604030504040204" pitchFamily="34" charset="0"/>
            </a:endParaRPr>
          </a:p>
        </p:txBody>
      </p:sp>
      <p:sp>
        <p:nvSpPr>
          <p:cNvPr id="33" name="Rectangle 32">
            <a:extLst>
              <a:ext uri="{FF2B5EF4-FFF2-40B4-BE49-F238E27FC236}">
                <a16:creationId xmlns:a16="http://schemas.microsoft.com/office/drawing/2014/main" id="{44790D26-03E5-B243-A81E-FE87F9A96917}"/>
              </a:ext>
            </a:extLst>
          </p:cNvPr>
          <p:cNvSpPr/>
          <p:nvPr/>
        </p:nvSpPr>
        <p:spPr>
          <a:xfrm>
            <a:off x="3740373" y="2765100"/>
            <a:ext cx="509918" cy="293607"/>
          </a:xfrm>
          <a:prstGeom prst="rect">
            <a:avLst/>
          </a:prstGeom>
        </p:spPr>
        <p:txBody>
          <a:bodyPr wrap="square" lIns="0" tIns="0" rIns="0" bIns="0">
            <a:spAutoFit/>
          </a:bodyPr>
          <a:lstStyle/>
          <a:p>
            <a:pPr>
              <a:lnSpc>
                <a:spcPct val="106000"/>
              </a:lnSpc>
            </a:pPr>
            <a:r>
              <a:rPr lang="en-IN" b="1" dirty="0">
                <a:ea typeface="Verdana" panose="020B0604030504040204" pitchFamily="34" charset="0"/>
                <a:cs typeface="Verdana" panose="020B0604030504040204" pitchFamily="34" charset="0"/>
              </a:rPr>
              <a:t>88</a:t>
            </a:r>
          </a:p>
        </p:txBody>
      </p:sp>
      <p:sp>
        <p:nvSpPr>
          <p:cNvPr id="34" name="Rectangle 33">
            <a:extLst>
              <a:ext uri="{FF2B5EF4-FFF2-40B4-BE49-F238E27FC236}">
                <a16:creationId xmlns:a16="http://schemas.microsoft.com/office/drawing/2014/main" id="{817E0794-B89C-7440-8EFD-6F83987644A4}"/>
              </a:ext>
            </a:extLst>
          </p:cNvPr>
          <p:cNvSpPr/>
          <p:nvPr/>
        </p:nvSpPr>
        <p:spPr>
          <a:xfrm>
            <a:off x="3740374" y="3754949"/>
            <a:ext cx="529597" cy="293607"/>
          </a:xfrm>
          <a:prstGeom prst="rect">
            <a:avLst/>
          </a:prstGeom>
        </p:spPr>
        <p:txBody>
          <a:bodyPr wrap="square" lIns="0" tIns="0" rIns="0" bIns="0">
            <a:spAutoFit/>
          </a:bodyPr>
          <a:lstStyle/>
          <a:p>
            <a:pPr>
              <a:lnSpc>
                <a:spcPct val="106000"/>
              </a:lnSpc>
            </a:pPr>
            <a:r>
              <a:rPr lang="en-IN" b="1" dirty="0">
                <a:ea typeface="Verdana" panose="020B0604030504040204" pitchFamily="34" charset="0"/>
                <a:cs typeface="Verdana" panose="020B0604030504040204" pitchFamily="34" charset="0"/>
              </a:rPr>
              <a:t>29</a:t>
            </a:r>
          </a:p>
        </p:txBody>
      </p:sp>
      <p:sp>
        <p:nvSpPr>
          <p:cNvPr id="35" name="Rectangle 34">
            <a:extLst>
              <a:ext uri="{FF2B5EF4-FFF2-40B4-BE49-F238E27FC236}">
                <a16:creationId xmlns:a16="http://schemas.microsoft.com/office/drawing/2014/main" id="{129C5318-B2FA-4F4C-AEFA-280C7985F59C}"/>
              </a:ext>
            </a:extLst>
          </p:cNvPr>
          <p:cNvSpPr/>
          <p:nvPr/>
        </p:nvSpPr>
        <p:spPr>
          <a:xfrm>
            <a:off x="3740374" y="3266229"/>
            <a:ext cx="329739" cy="293607"/>
          </a:xfrm>
          <a:prstGeom prst="rect">
            <a:avLst/>
          </a:prstGeom>
        </p:spPr>
        <p:txBody>
          <a:bodyPr wrap="square" lIns="0" tIns="0" rIns="0" bIns="0">
            <a:spAutoFit/>
          </a:bodyPr>
          <a:lstStyle/>
          <a:p>
            <a:pPr>
              <a:lnSpc>
                <a:spcPct val="106000"/>
              </a:lnSpc>
            </a:pPr>
            <a:r>
              <a:rPr lang="en-IN" b="1" dirty="0">
                <a:ea typeface="Verdana" panose="020B0604030504040204" pitchFamily="34" charset="0"/>
                <a:cs typeface="Verdana" panose="020B0604030504040204" pitchFamily="34" charset="0"/>
              </a:rPr>
              <a:t>1</a:t>
            </a:r>
          </a:p>
        </p:txBody>
      </p:sp>
      <p:cxnSp>
        <p:nvCxnSpPr>
          <p:cNvPr id="36" name="Straight Connector 35">
            <a:extLst>
              <a:ext uri="{FF2B5EF4-FFF2-40B4-BE49-F238E27FC236}">
                <a16:creationId xmlns:a16="http://schemas.microsoft.com/office/drawing/2014/main" id="{B4AC37E1-B0AF-2443-90D1-D7B13AA39EB8}"/>
              </a:ext>
            </a:extLst>
          </p:cNvPr>
          <p:cNvCxnSpPr/>
          <p:nvPr/>
        </p:nvCxnSpPr>
        <p:spPr>
          <a:xfrm>
            <a:off x="2137529" y="3143303"/>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8319A56-A840-A34D-BC09-7858032FCA2A}"/>
              </a:ext>
            </a:extLst>
          </p:cNvPr>
          <p:cNvCxnSpPr/>
          <p:nvPr/>
        </p:nvCxnSpPr>
        <p:spPr>
          <a:xfrm>
            <a:off x="2137529" y="3644464"/>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48" name="Freeform 5">
            <a:extLst>
              <a:ext uri="{FF2B5EF4-FFF2-40B4-BE49-F238E27FC236}">
                <a16:creationId xmlns:a16="http://schemas.microsoft.com/office/drawing/2014/main" id="{FE987C66-E10C-B34E-9F47-1E0EC55349C7}"/>
              </a:ext>
            </a:extLst>
          </p:cNvPr>
          <p:cNvSpPr>
            <a:spLocks/>
          </p:cNvSpPr>
          <p:nvPr/>
        </p:nvSpPr>
        <p:spPr bwMode="auto">
          <a:xfrm>
            <a:off x="4807853" y="2457471"/>
            <a:ext cx="2567517" cy="1919287"/>
          </a:xfrm>
          <a:custGeom>
            <a:avLst/>
            <a:gdLst>
              <a:gd name="T0" fmla="*/ 83 w 87"/>
              <a:gd name="T1" fmla="*/ 50 h 50"/>
              <a:gd name="T2" fmla="*/ 4 w 87"/>
              <a:gd name="T3" fmla="*/ 50 h 50"/>
              <a:gd name="T4" fmla="*/ 0 w 87"/>
              <a:gd name="T5" fmla="*/ 47 h 50"/>
              <a:gd name="T6" fmla="*/ 0 w 87"/>
              <a:gd name="T7" fmla="*/ 3 h 50"/>
              <a:gd name="T8" fmla="*/ 4 w 87"/>
              <a:gd name="T9" fmla="*/ 0 h 50"/>
              <a:gd name="T10" fmla="*/ 83 w 87"/>
              <a:gd name="T11" fmla="*/ 0 h 50"/>
              <a:gd name="T12" fmla="*/ 87 w 87"/>
              <a:gd name="T13" fmla="*/ 3 h 50"/>
              <a:gd name="T14" fmla="*/ 87 w 87"/>
              <a:gd name="T15" fmla="*/ 47 h 50"/>
              <a:gd name="T16" fmla="*/ 83 w 87"/>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50">
                <a:moveTo>
                  <a:pt x="83" y="50"/>
                </a:moveTo>
                <a:cubicBezTo>
                  <a:pt x="4" y="50"/>
                  <a:pt x="4" y="50"/>
                  <a:pt x="4" y="50"/>
                </a:cubicBezTo>
                <a:cubicBezTo>
                  <a:pt x="2" y="50"/>
                  <a:pt x="0" y="48"/>
                  <a:pt x="0" y="47"/>
                </a:cubicBezTo>
                <a:cubicBezTo>
                  <a:pt x="0" y="3"/>
                  <a:pt x="0" y="3"/>
                  <a:pt x="0" y="3"/>
                </a:cubicBezTo>
                <a:cubicBezTo>
                  <a:pt x="0" y="1"/>
                  <a:pt x="2" y="0"/>
                  <a:pt x="4" y="0"/>
                </a:cubicBezTo>
                <a:cubicBezTo>
                  <a:pt x="83" y="0"/>
                  <a:pt x="83" y="0"/>
                  <a:pt x="83" y="0"/>
                </a:cubicBezTo>
                <a:cubicBezTo>
                  <a:pt x="85" y="0"/>
                  <a:pt x="87" y="1"/>
                  <a:pt x="87" y="3"/>
                </a:cubicBezTo>
                <a:cubicBezTo>
                  <a:pt x="87" y="47"/>
                  <a:pt x="87" y="47"/>
                  <a:pt x="87" y="47"/>
                </a:cubicBezTo>
                <a:cubicBezTo>
                  <a:pt x="87" y="48"/>
                  <a:pt x="85" y="50"/>
                  <a:pt x="83" y="50"/>
                </a:cubicBezTo>
                <a:close/>
              </a:path>
            </a:pathLst>
          </a:custGeom>
          <a:solidFill>
            <a:schemeClr val="accent6"/>
          </a:solidFill>
          <a:ln w="22225"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 name="Rectangle 6">
            <a:extLst>
              <a:ext uri="{FF2B5EF4-FFF2-40B4-BE49-F238E27FC236}">
                <a16:creationId xmlns:a16="http://schemas.microsoft.com/office/drawing/2014/main" id="{CCCAAC0A-3D97-D34D-8555-FC825AE79424}"/>
              </a:ext>
            </a:extLst>
          </p:cNvPr>
          <p:cNvSpPr>
            <a:spLocks noChangeArrowheads="1"/>
          </p:cNvSpPr>
          <p:nvPr/>
        </p:nvSpPr>
        <p:spPr bwMode="auto">
          <a:xfrm>
            <a:off x="4956456" y="2628920"/>
            <a:ext cx="2270313" cy="1504950"/>
          </a:xfrm>
          <a:prstGeom prst="rect">
            <a:avLst/>
          </a:prstGeom>
          <a:solidFill>
            <a:schemeClr val="bg1"/>
          </a:solidFill>
          <a:ln w="22225"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7">
            <a:extLst>
              <a:ext uri="{FF2B5EF4-FFF2-40B4-BE49-F238E27FC236}">
                <a16:creationId xmlns:a16="http://schemas.microsoft.com/office/drawing/2014/main" id="{6FF319E8-B0F9-974C-90EF-D19C98A7B8D5}"/>
              </a:ext>
            </a:extLst>
          </p:cNvPr>
          <p:cNvSpPr>
            <a:spLocks/>
          </p:cNvSpPr>
          <p:nvPr/>
        </p:nvSpPr>
        <p:spPr bwMode="auto">
          <a:xfrm>
            <a:off x="4632568" y="4314843"/>
            <a:ext cx="2845991" cy="290515"/>
          </a:xfrm>
          <a:custGeom>
            <a:avLst/>
            <a:gdLst>
              <a:gd name="T0" fmla="*/ 94 w 99"/>
              <a:gd name="T1" fmla="*/ 10 h 10"/>
              <a:gd name="T2" fmla="*/ 5 w 99"/>
              <a:gd name="T3" fmla="*/ 10 h 10"/>
              <a:gd name="T4" fmla="*/ 0 w 99"/>
              <a:gd name="T5" fmla="*/ 5 h 10"/>
              <a:gd name="T6" fmla="*/ 0 w 99"/>
              <a:gd name="T7" fmla="*/ 5 h 10"/>
              <a:gd name="T8" fmla="*/ 5 w 99"/>
              <a:gd name="T9" fmla="*/ 0 h 10"/>
              <a:gd name="T10" fmla="*/ 94 w 99"/>
              <a:gd name="T11" fmla="*/ 0 h 10"/>
              <a:gd name="T12" fmla="*/ 99 w 99"/>
              <a:gd name="T13" fmla="*/ 5 h 10"/>
              <a:gd name="T14" fmla="*/ 99 w 99"/>
              <a:gd name="T15" fmla="*/ 5 h 10"/>
              <a:gd name="T16" fmla="*/ 94 w 99"/>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0">
                <a:moveTo>
                  <a:pt x="94" y="10"/>
                </a:moveTo>
                <a:cubicBezTo>
                  <a:pt x="5" y="10"/>
                  <a:pt x="5" y="10"/>
                  <a:pt x="5" y="10"/>
                </a:cubicBezTo>
                <a:cubicBezTo>
                  <a:pt x="2" y="10"/>
                  <a:pt x="0" y="8"/>
                  <a:pt x="0" y="5"/>
                </a:cubicBezTo>
                <a:cubicBezTo>
                  <a:pt x="0" y="5"/>
                  <a:pt x="0" y="5"/>
                  <a:pt x="0" y="5"/>
                </a:cubicBezTo>
                <a:cubicBezTo>
                  <a:pt x="0" y="2"/>
                  <a:pt x="2" y="0"/>
                  <a:pt x="5" y="0"/>
                </a:cubicBezTo>
                <a:cubicBezTo>
                  <a:pt x="94" y="0"/>
                  <a:pt x="94" y="0"/>
                  <a:pt x="94" y="0"/>
                </a:cubicBezTo>
                <a:cubicBezTo>
                  <a:pt x="97" y="0"/>
                  <a:pt x="99" y="2"/>
                  <a:pt x="99" y="5"/>
                </a:cubicBezTo>
                <a:cubicBezTo>
                  <a:pt x="99" y="5"/>
                  <a:pt x="99" y="5"/>
                  <a:pt x="99" y="5"/>
                </a:cubicBezTo>
                <a:cubicBezTo>
                  <a:pt x="99" y="8"/>
                  <a:pt x="97" y="10"/>
                  <a:pt x="94" y="10"/>
                </a:cubicBezTo>
                <a:close/>
              </a:path>
            </a:pathLst>
          </a:custGeom>
          <a:solidFill>
            <a:schemeClr val="accent6"/>
          </a:solidFill>
          <a:ln w="22225"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 name="Rectangle 8">
            <a:extLst>
              <a:ext uri="{FF2B5EF4-FFF2-40B4-BE49-F238E27FC236}">
                <a16:creationId xmlns:a16="http://schemas.microsoft.com/office/drawing/2014/main" id="{A7587014-8165-9647-BA43-80A70B4B1064}"/>
              </a:ext>
            </a:extLst>
          </p:cNvPr>
          <p:cNvSpPr>
            <a:spLocks noChangeArrowheads="1"/>
          </p:cNvSpPr>
          <p:nvPr/>
        </p:nvSpPr>
        <p:spPr bwMode="auto">
          <a:xfrm>
            <a:off x="4734233"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 name="Rectangle 9">
            <a:extLst>
              <a:ext uri="{FF2B5EF4-FFF2-40B4-BE49-F238E27FC236}">
                <a16:creationId xmlns:a16="http://schemas.microsoft.com/office/drawing/2014/main" id="{3A7DFD08-F8C9-354B-A3A0-42839152B8B2}"/>
              </a:ext>
            </a:extLst>
          </p:cNvPr>
          <p:cNvSpPr>
            <a:spLocks noChangeArrowheads="1"/>
          </p:cNvSpPr>
          <p:nvPr/>
        </p:nvSpPr>
        <p:spPr bwMode="auto">
          <a:xfrm>
            <a:off x="4979048"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 name="Rectangle 10">
            <a:extLst>
              <a:ext uri="{FF2B5EF4-FFF2-40B4-BE49-F238E27FC236}">
                <a16:creationId xmlns:a16="http://schemas.microsoft.com/office/drawing/2014/main" id="{6371654C-543C-224D-B4A4-C2E253A1649E}"/>
              </a:ext>
            </a:extLst>
          </p:cNvPr>
          <p:cNvSpPr>
            <a:spLocks noChangeArrowheads="1"/>
          </p:cNvSpPr>
          <p:nvPr/>
        </p:nvSpPr>
        <p:spPr bwMode="auto">
          <a:xfrm>
            <a:off x="5223862" y="4237716"/>
            <a:ext cx="175286"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 name="Rectangle 11">
            <a:extLst>
              <a:ext uri="{FF2B5EF4-FFF2-40B4-BE49-F238E27FC236}">
                <a16:creationId xmlns:a16="http://schemas.microsoft.com/office/drawing/2014/main" id="{56F21504-8430-9344-80E5-D0AA5B96D205}"/>
              </a:ext>
            </a:extLst>
          </p:cNvPr>
          <p:cNvSpPr>
            <a:spLocks noChangeArrowheads="1"/>
          </p:cNvSpPr>
          <p:nvPr/>
        </p:nvSpPr>
        <p:spPr bwMode="auto">
          <a:xfrm>
            <a:off x="5493217" y="4237716"/>
            <a:ext cx="929019"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 name="Rectangle 12">
            <a:extLst>
              <a:ext uri="{FF2B5EF4-FFF2-40B4-BE49-F238E27FC236}">
                <a16:creationId xmlns:a16="http://schemas.microsoft.com/office/drawing/2014/main" id="{A6C6CBDB-9168-D64E-8157-4EAE55C0AE3B}"/>
              </a:ext>
            </a:extLst>
          </p:cNvPr>
          <p:cNvSpPr>
            <a:spLocks noChangeArrowheads="1"/>
          </p:cNvSpPr>
          <p:nvPr/>
        </p:nvSpPr>
        <p:spPr bwMode="auto">
          <a:xfrm>
            <a:off x="6516304"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 name="Rectangle 13">
            <a:extLst>
              <a:ext uri="{FF2B5EF4-FFF2-40B4-BE49-F238E27FC236}">
                <a16:creationId xmlns:a16="http://schemas.microsoft.com/office/drawing/2014/main" id="{C79293BD-393F-764E-A0AB-ACD85828573A}"/>
              </a:ext>
            </a:extLst>
          </p:cNvPr>
          <p:cNvSpPr>
            <a:spLocks noChangeArrowheads="1"/>
          </p:cNvSpPr>
          <p:nvPr/>
        </p:nvSpPr>
        <p:spPr bwMode="auto">
          <a:xfrm>
            <a:off x="7005934"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 name="Rectangle 14">
            <a:extLst>
              <a:ext uri="{FF2B5EF4-FFF2-40B4-BE49-F238E27FC236}">
                <a16:creationId xmlns:a16="http://schemas.microsoft.com/office/drawing/2014/main" id="{8F60FD44-FA9A-234B-B815-A48BA9A7931B}"/>
              </a:ext>
            </a:extLst>
          </p:cNvPr>
          <p:cNvSpPr>
            <a:spLocks noChangeArrowheads="1"/>
          </p:cNvSpPr>
          <p:nvPr/>
        </p:nvSpPr>
        <p:spPr bwMode="auto">
          <a:xfrm>
            <a:off x="7250747"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15">
            <a:extLst>
              <a:ext uri="{FF2B5EF4-FFF2-40B4-BE49-F238E27FC236}">
                <a16:creationId xmlns:a16="http://schemas.microsoft.com/office/drawing/2014/main" id="{7707BA77-66CA-F14B-9049-2F034EA3D9EB}"/>
              </a:ext>
            </a:extLst>
          </p:cNvPr>
          <p:cNvSpPr>
            <a:spLocks noChangeArrowheads="1"/>
          </p:cNvSpPr>
          <p:nvPr/>
        </p:nvSpPr>
        <p:spPr bwMode="auto">
          <a:xfrm>
            <a:off x="6761119"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 name="Rectangle 58">
            <a:extLst>
              <a:ext uri="{FF2B5EF4-FFF2-40B4-BE49-F238E27FC236}">
                <a16:creationId xmlns:a16="http://schemas.microsoft.com/office/drawing/2014/main" id="{CC80625F-8CB2-4144-89C5-B98B5949BD03}"/>
              </a:ext>
            </a:extLst>
          </p:cNvPr>
          <p:cNvSpPr/>
          <p:nvPr/>
        </p:nvSpPr>
        <p:spPr>
          <a:xfrm>
            <a:off x="4763584" y="4305321"/>
            <a:ext cx="2554276" cy="307777"/>
          </a:xfrm>
          <a:prstGeom prst="rect">
            <a:avLst/>
          </a:prstGeom>
          <a:noFill/>
        </p:spPr>
        <p:txBody>
          <a:bodyPr wrap="square">
            <a:spAutoFit/>
          </a:bodyPr>
          <a:lstStyle/>
          <a:p>
            <a:pPr algn="ctr"/>
            <a:r>
              <a:rPr lang="da-DK" sz="1400" b="1" dirty="0">
                <a:solidFill>
                  <a:schemeClr val="bg1"/>
                </a:solidFill>
              </a:rPr>
              <a:t>Lorem ipsum dolor sit amet, </a:t>
            </a:r>
            <a:endParaRPr lang="en-US" sz="1400" b="1" dirty="0">
              <a:solidFill>
                <a:schemeClr val="bg1"/>
              </a:solidFill>
            </a:endParaRPr>
          </a:p>
        </p:txBody>
      </p:sp>
      <p:sp>
        <p:nvSpPr>
          <p:cNvPr id="60" name="Rectangle 59">
            <a:extLst>
              <a:ext uri="{FF2B5EF4-FFF2-40B4-BE49-F238E27FC236}">
                <a16:creationId xmlns:a16="http://schemas.microsoft.com/office/drawing/2014/main" id="{D6B478B2-9A38-864A-97A1-FEFC75BD38CF}"/>
              </a:ext>
            </a:extLst>
          </p:cNvPr>
          <p:cNvSpPr/>
          <p:nvPr/>
        </p:nvSpPr>
        <p:spPr>
          <a:xfrm>
            <a:off x="5394896" y="2748783"/>
            <a:ext cx="834454" cy="326243"/>
          </a:xfrm>
          <a:prstGeom prst="rect">
            <a:avLst/>
          </a:prstGeom>
        </p:spPr>
        <p:txBody>
          <a:bodyPr wrap="square" lIns="0" tIns="0" rIns="0" bIns="0">
            <a:spAutoFit/>
          </a:bodyPr>
          <a:lstStyle/>
          <a:p>
            <a:pPr>
              <a:lnSpc>
                <a:spcPct val="106000"/>
              </a:lnSpc>
            </a:pPr>
            <a:r>
              <a:rPr lang="da-DK" sz="1000" dirty="0">
                <a:ea typeface="Verdana" panose="020B0604030504040204" pitchFamily="34" charset="0"/>
                <a:cs typeface="Verdana" panose="020B0604030504040204" pitchFamily="34" charset="0"/>
              </a:rPr>
              <a:t>Lorem ipsum dolor</a:t>
            </a:r>
            <a:endParaRPr lang="en-IN" sz="1000" dirty="0">
              <a:ea typeface="Verdana" panose="020B0604030504040204" pitchFamily="34" charset="0"/>
              <a:cs typeface="Verdana" panose="020B0604030504040204" pitchFamily="34" charset="0"/>
            </a:endParaRPr>
          </a:p>
        </p:txBody>
      </p:sp>
      <p:sp>
        <p:nvSpPr>
          <p:cNvPr id="61" name="Rectangle 60">
            <a:extLst>
              <a:ext uri="{FF2B5EF4-FFF2-40B4-BE49-F238E27FC236}">
                <a16:creationId xmlns:a16="http://schemas.microsoft.com/office/drawing/2014/main" id="{0EE88A35-DF68-BA47-ADCB-859B479631C3}"/>
              </a:ext>
            </a:extLst>
          </p:cNvPr>
          <p:cNvSpPr/>
          <p:nvPr/>
        </p:nvSpPr>
        <p:spPr>
          <a:xfrm>
            <a:off x="5394897" y="3239506"/>
            <a:ext cx="1064251" cy="326243"/>
          </a:xfrm>
          <a:prstGeom prst="rect">
            <a:avLst/>
          </a:prstGeom>
        </p:spPr>
        <p:txBody>
          <a:bodyPr wrap="square" lIns="0" tIns="0" rIns="0" bIns="0">
            <a:spAutoFit/>
          </a:bodyPr>
          <a:lstStyle/>
          <a:p>
            <a:pPr>
              <a:lnSpc>
                <a:spcPct val="106000"/>
              </a:lnSpc>
            </a:pPr>
            <a:r>
              <a:rPr lang="da-DK" sz="1000" dirty="0">
                <a:ea typeface="Verdana" panose="020B0604030504040204" pitchFamily="34" charset="0"/>
                <a:cs typeface="Verdana" panose="020B0604030504040204" pitchFamily="34" charset="0"/>
              </a:rPr>
              <a:t>Lorem ipsum dolor sit amet, </a:t>
            </a:r>
            <a:endParaRPr lang="en-IN" sz="1000" dirty="0">
              <a:ea typeface="Verdana" panose="020B0604030504040204" pitchFamily="34" charset="0"/>
              <a:cs typeface="Verdana" panose="020B0604030504040204" pitchFamily="34" charset="0"/>
            </a:endParaRPr>
          </a:p>
        </p:txBody>
      </p:sp>
      <p:sp>
        <p:nvSpPr>
          <p:cNvPr id="65" name="Rectangle 64">
            <a:extLst>
              <a:ext uri="{FF2B5EF4-FFF2-40B4-BE49-F238E27FC236}">
                <a16:creationId xmlns:a16="http://schemas.microsoft.com/office/drawing/2014/main" id="{628F4339-C4D2-3F4F-BA4E-F5BC7EAAF22F}"/>
              </a:ext>
            </a:extLst>
          </p:cNvPr>
          <p:cNvSpPr/>
          <p:nvPr/>
        </p:nvSpPr>
        <p:spPr>
          <a:xfrm>
            <a:off x="6449549" y="2765100"/>
            <a:ext cx="709880" cy="293607"/>
          </a:xfrm>
          <a:prstGeom prst="rect">
            <a:avLst/>
          </a:prstGeom>
        </p:spPr>
        <p:txBody>
          <a:bodyPr wrap="square" lIns="0" tIns="0" rIns="0" bIns="0">
            <a:spAutoFit/>
          </a:bodyPr>
          <a:lstStyle/>
          <a:p>
            <a:pPr>
              <a:lnSpc>
                <a:spcPct val="106000"/>
              </a:lnSpc>
            </a:pPr>
            <a:r>
              <a:rPr lang="en-IN" b="1" dirty="0">
                <a:ea typeface="Verdana" panose="020B0604030504040204" pitchFamily="34" charset="0"/>
                <a:cs typeface="Verdana" panose="020B0604030504040204" pitchFamily="34" charset="0"/>
              </a:rPr>
              <a:t>428</a:t>
            </a:r>
          </a:p>
        </p:txBody>
      </p:sp>
      <p:sp>
        <p:nvSpPr>
          <p:cNvPr id="66" name="Rectangle 65">
            <a:extLst>
              <a:ext uri="{FF2B5EF4-FFF2-40B4-BE49-F238E27FC236}">
                <a16:creationId xmlns:a16="http://schemas.microsoft.com/office/drawing/2014/main" id="{EA3E9D41-68C4-7B42-A5F1-C3754DADA7E5}"/>
              </a:ext>
            </a:extLst>
          </p:cNvPr>
          <p:cNvSpPr/>
          <p:nvPr/>
        </p:nvSpPr>
        <p:spPr>
          <a:xfrm>
            <a:off x="6449550" y="3266229"/>
            <a:ext cx="329739" cy="293607"/>
          </a:xfrm>
          <a:prstGeom prst="rect">
            <a:avLst/>
          </a:prstGeom>
        </p:spPr>
        <p:txBody>
          <a:bodyPr wrap="square" lIns="0" tIns="0" rIns="0" bIns="0">
            <a:spAutoFit/>
          </a:bodyPr>
          <a:lstStyle/>
          <a:p>
            <a:pPr>
              <a:lnSpc>
                <a:spcPct val="106000"/>
              </a:lnSpc>
            </a:pPr>
            <a:r>
              <a:rPr lang="en-IN" b="1" dirty="0">
                <a:ea typeface="Verdana" panose="020B0604030504040204" pitchFamily="34" charset="0"/>
                <a:cs typeface="Verdana" panose="020B0604030504040204" pitchFamily="34" charset="0"/>
              </a:rPr>
              <a:t>1</a:t>
            </a:r>
          </a:p>
        </p:txBody>
      </p:sp>
      <p:cxnSp>
        <p:nvCxnSpPr>
          <p:cNvPr id="67" name="Straight Connector 66">
            <a:extLst>
              <a:ext uri="{FF2B5EF4-FFF2-40B4-BE49-F238E27FC236}">
                <a16:creationId xmlns:a16="http://schemas.microsoft.com/office/drawing/2014/main" id="{93CDD4E3-9493-8E42-BB0E-1FB166FD7F91}"/>
              </a:ext>
            </a:extLst>
          </p:cNvPr>
          <p:cNvCxnSpPr/>
          <p:nvPr/>
        </p:nvCxnSpPr>
        <p:spPr>
          <a:xfrm>
            <a:off x="5046667" y="3143303"/>
            <a:ext cx="205173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68" name="Freeform 5">
            <a:extLst>
              <a:ext uri="{FF2B5EF4-FFF2-40B4-BE49-F238E27FC236}">
                <a16:creationId xmlns:a16="http://schemas.microsoft.com/office/drawing/2014/main" id="{AF496F4A-AE43-9543-B21B-C7E11B18106E}"/>
              </a:ext>
            </a:extLst>
          </p:cNvPr>
          <p:cNvSpPr>
            <a:spLocks/>
          </p:cNvSpPr>
          <p:nvPr/>
        </p:nvSpPr>
        <p:spPr bwMode="auto">
          <a:xfrm>
            <a:off x="7716992" y="2457471"/>
            <a:ext cx="2567517" cy="1919287"/>
          </a:xfrm>
          <a:custGeom>
            <a:avLst/>
            <a:gdLst>
              <a:gd name="T0" fmla="*/ 83 w 87"/>
              <a:gd name="T1" fmla="*/ 50 h 50"/>
              <a:gd name="T2" fmla="*/ 4 w 87"/>
              <a:gd name="T3" fmla="*/ 50 h 50"/>
              <a:gd name="T4" fmla="*/ 0 w 87"/>
              <a:gd name="T5" fmla="*/ 47 h 50"/>
              <a:gd name="T6" fmla="*/ 0 w 87"/>
              <a:gd name="T7" fmla="*/ 3 h 50"/>
              <a:gd name="T8" fmla="*/ 4 w 87"/>
              <a:gd name="T9" fmla="*/ 0 h 50"/>
              <a:gd name="T10" fmla="*/ 83 w 87"/>
              <a:gd name="T11" fmla="*/ 0 h 50"/>
              <a:gd name="T12" fmla="*/ 87 w 87"/>
              <a:gd name="T13" fmla="*/ 3 h 50"/>
              <a:gd name="T14" fmla="*/ 87 w 87"/>
              <a:gd name="T15" fmla="*/ 47 h 50"/>
              <a:gd name="T16" fmla="*/ 83 w 87"/>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50">
                <a:moveTo>
                  <a:pt x="83" y="50"/>
                </a:moveTo>
                <a:cubicBezTo>
                  <a:pt x="4" y="50"/>
                  <a:pt x="4" y="50"/>
                  <a:pt x="4" y="50"/>
                </a:cubicBezTo>
                <a:cubicBezTo>
                  <a:pt x="2" y="50"/>
                  <a:pt x="0" y="48"/>
                  <a:pt x="0" y="47"/>
                </a:cubicBezTo>
                <a:cubicBezTo>
                  <a:pt x="0" y="3"/>
                  <a:pt x="0" y="3"/>
                  <a:pt x="0" y="3"/>
                </a:cubicBezTo>
                <a:cubicBezTo>
                  <a:pt x="0" y="1"/>
                  <a:pt x="2" y="0"/>
                  <a:pt x="4" y="0"/>
                </a:cubicBezTo>
                <a:cubicBezTo>
                  <a:pt x="83" y="0"/>
                  <a:pt x="83" y="0"/>
                  <a:pt x="83" y="0"/>
                </a:cubicBezTo>
                <a:cubicBezTo>
                  <a:pt x="85" y="0"/>
                  <a:pt x="87" y="1"/>
                  <a:pt x="87" y="3"/>
                </a:cubicBezTo>
                <a:cubicBezTo>
                  <a:pt x="87" y="47"/>
                  <a:pt x="87" y="47"/>
                  <a:pt x="87" y="47"/>
                </a:cubicBezTo>
                <a:cubicBezTo>
                  <a:pt x="87" y="48"/>
                  <a:pt x="85" y="50"/>
                  <a:pt x="83" y="50"/>
                </a:cubicBezTo>
                <a:close/>
              </a:path>
            </a:pathLst>
          </a:custGeom>
          <a:solidFill>
            <a:schemeClr val="accent5"/>
          </a:solidFill>
          <a:ln w="222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9" name="Rectangle 6">
            <a:extLst>
              <a:ext uri="{FF2B5EF4-FFF2-40B4-BE49-F238E27FC236}">
                <a16:creationId xmlns:a16="http://schemas.microsoft.com/office/drawing/2014/main" id="{1B16E462-5451-8D44-9230-2AB12E84DEC0}"/>
              </a:ext>
            </a:extLst>
          </p:cNvPr>
          <p:cNvSpPr>
            <a:spLocks noChangeArrowheads="1"/>
          </p:cNvSpPr>
          <p:nvPr/>
        </p:nvSpPr>
        <p:spPr bwMode="auto">
          <a:xfrm>
            <a:off x="7865595" y="2628920"/>
            <a:ext cx="2270313" cy="1504950"/>
          </a:xfrm>
          <a:prstGeom prst="rect">
            <a:avLst/>
          </a:prstGeom>
          <a:solidFill>
            <a:schemeClr val="bg1"/>
          </a:solidFill>
          <a:ln w="222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7">
            <a:extLst>
              <a:ext uri="{FF2B5EF4-FFF2-40B4-BE49-F238E27FC236}">
                <a16:creationId xmlns:a16="http://schemas.microsoft.com/office/drawing/2014/main" id="{2B443F8B-DBBA-574C-AA1A-97D73BE63F47}"/>
              </a:ext>
            </a:extLst>
          </p:cNvPr>
          <p:cNvSpPr>
            <a:spLocks/>
          </p:cNvSpPr>
          <p:nvPr/>
        </p:nvSpPr>
        <p:spPr bwMode="auto">
          <a:xfrm>
            <a:off x="7541707" y="4314843"/>
            <a:ext cx="2845991" cy="290515"/>
          </a:xfrm>
          <a:custGeom>
            <a:avLst/>
            <a:gdLst>
              <a:gd name="T0" fmla="*/ 94 w 99"/>
              <a:gd name="T1" fmla="*/ 10 h 10"/>
              <a:gd name="T2" fmla="*/ 5 w 99"/>
              <a:gd name="T3" fmla="*/ 10 h 10"/>
              <a:gd name="T4" fmla="*/ 0 w 99"/>
              <a:gd name="T5" fmla="*/ 5 h 10"/>
              <a:gd name="T6" fmla="*/ 0 w 99"/>
              <a:gd name="T7" fmla="*/ 5 h 10"/>
              <a:gd name="T8" fmla="*/ 5 w 99"/>
              <a:gd name="T9" fmla="*/ 0 h 10"/>
              <a:gd name="T10" fmla="*/ 94 w 99"/>
              <a:gd name="T11" fmla="*/ 0 h 10"/>
              <a:gd name="T12" fmla="*/ 99 w 99"/>
              <a:gd name="T13" fmla="*/ 5 h 10"/>
              <a:gd name="T14" fmla="*/ 99 w 99"/>
              <a:gd name="T15" fmla="*/ 5 h 10"/>
              <a:gd name="T16" fmla="*/ 94 w 99"/>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0">
                <a:moveTo>
                  <a:pt x="94" y="10"/>
                </a:moveTo>
                <a:cubicBezTo>
                  <a:pt x="5" y="10"/>
                  <a:pt x="5" y="10"/>
                  <a:pt x="5" y="10"/>
                </a:cubicBezTo>
                <a:cubicBezTo>
                  <a:pt x="2" y="10"/>
                  <a:pt x="0" y="8"/>
                  <a:pt x="0" y="5"/>
                </a:cubicBezTo>
                <a:cubicBezTo>
                  <a:pt x="0" y="5"/>
                  <a:pt x="0" y="5"/>
                  <a:pt x="0" y="5"/>
                </a:cubicBezTo>
                <a:cubicBezTo>
                  <a:pt x="0" y="2"/>
                  <a:pt x="2" y="0"/>
                  <a:pt x="5" y="0"/>
                </a:cubicBezTo>
                <a:cubicBezTo>
                  <a:pt x="94" y="0"/>
                  <a:pt x="94" y="0"/>
                  <a:pt x="94" y="0"/>
                </a:cubicBezTo>
                <a:cubicBezTo>
                  <a:pt x="97" y="0"/>
                  <a:pt x="99" y="2"/>
                  <a:pt x="99" y="5"/>
                </a:cubicBezTo>
                <a:cubicBezTo>
                  <a:pt x="99" y="5"/>
                  <a:pt x="99" y="5"/>
                  <a:pt x="99" y="5"/>
                </a:cubicBezTo>
                <a:cubicBezTo>
                  <a:pt x="99" y="8"/>
                  <a:pt x="97" y="10"/>
                  <a:pt x="94" y="10"/>
                </a:cubicBezTo>
                <a:close/>
              </a:path>
            </a:pathLst>
          </a:custGeom>
          <a:solidFill>
            <a:schemeClr val="accent5"/>
          </a:solidFill>
          <a:ln w="222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 name="Rectangle 8">
            <a:extLst>
              <a:ext uri="{FF2B5EF4-FFF2-40B4-BE49-F238E27FC236}">
                <a16:creationId xmlns:a16="http://schemas.microsoft.com/office/drawing/2014/main" id="{30FA8346-A7BA-8B41-A4C1-464818C7BC8B}"/>
              </a:ext>
            </a:extLst>
          </p:cNvPr>
          <p:cNvSpPr>
            <a:spLocks noChangeArrowheads="1"/>
          </p:cNvSpPr>
          <p:nvPr/>
        </p:nvSpPr>
        <p:spPr bwMode="auto">
          <a:xfrm>
            <a:off x="7643372"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2" name="Rectangle 9">
            <a:extLst>
              <a:ext uri="{FF2B5EF4-FFF2-40B4-BE49-F238E27FC236}">
                <a16:creationId xmlns:a16="http://schemas.microsoft.com/office/drawing/2014/main" id="{82B52CA2-3018-2E40-BA25-A9ED3011BF90}"/>
              </a:ext>
            </a:extLst>
          </p:cNvPr>
          <p:cNvSpPr>
            <a:spLocks noChangeArrowheads="1"/>
          </p:cNvSpPr>
          <p:nvPr/>
        </p:nvSpPr>
        <p:spPr bwMode="auto">
          <a:xfrm>
            <a:off x="7888187"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 name="Rectangle 10">
            <a:extLst>
              <a:ext uri="{FF2B5EF4-FFF2-40B4-BE49-F238E27FC236}">
                <a16:creationId xmlns:a16="http://schemas.microsoft.com/office/drawing/2014/main" id="{576E9A9F-8A07-604E-A944-6F93C0068259}"/>
              </a:ext>
            </a:extLst>
          </p:cNvPr>
          <p:cNvSpPr>
            <a:spLocks noChangeArrowheads="1"/>
          </p:cNvSpPr>
          <p:nvPr/>
        </p:nvSpPr>
        <p:spPr bwMode="auto">
          <a:xfrm>
            <a:off x="8133001" y="4237716"/>
            <a:ext cx="175286"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 name="Rectangle 11">
            <a:extLst>
              <a:ext uri="{FF2B5EF4-FFF2-40B4-BE49-F238E27FC236}">
                <a16:creationId xmlns:a16="http://schemas.microsoft.com/office/drawing/2014/main" id="{B6414855-6DC8-4243-A067-9036D56E4F8B}"/>
              </a:ext>
            </a:extLst>
          </p:cNvPr>
          <p:cNvSpPr>
            <a:spLocks noChangeArrowheads="1"/>
          </p:cNvSpPr>
          <p:nvPr/>
        </p:nvSpPr>
        <p:spPr bwMode="auto">
          <a:xfrm>
            <a:off x="8402356" y="4237716"/>
            <a:ext cx="929019"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 name="Rectangle 12">
            <a:extLst>
              <a:ext uri="{FF2B5EF4-FFF2-40B4-BE49-F238E27FC236}">
                <a16:creationId xmlns:a16="http://schemas.microsoft.com/office/drawing/2014/main" id="{C7B9BB2E-8015-3342-B1DE-5DCEAE8894BF}"/>
              </a:ext>
            </a:extLst>
          </p:cNvPr>
          <p:cNvSpPr>
            <a:spLocks noChangeArrowheads="1"/>
          </p:cNvSpPr>
          <p:nvPr/>
        </p:nvSpPr>
        <p:spPr bwMode="auto">
          <a:xfrm>
            <a:off x="9425443"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 name="Rectangle 13">
            <a:extLst>
              <a:ext uri="{FF2B5EF4-FFF2-40B4-BE49-F238E27FC236}">
                <a16:creationId xmlns:a16="http://schemas.microsoft.com/office/drawing/2014/main" id="{89C439A0-C930-8647-BD66-3D530ECA2B86}"/>
              </a:ext>
            </a:extLst>
          </p:cNvPr>
          <p:cNvSpPr>
            <a:spLocks noChangeArrowheads="1"/>
          </p:cNvSpPr>
          <p:nvPr/>
        </p:nvSpPr>
        <p:spPr bwMode="auto">
          <a:xfrm>
            <a:off x="9915073"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 name="Rectangle 14">
            <a:extLst>
              <a:ext uri="{FF2B5EF4-FFF2-40B4-BE49-F238E27FC236}">
                <a16:creationId xmlns:a16="http://schemas.microsoft.com/office/drawing/2014/main" id="{BD55C8C1-DB2E-E845-923D-C684E7FC0959}"/>
              </a:ext>
            </a:extLst>
          </p:cNvPr>
          <p:cNvSpPr>
            <a:spLocks noChangeArrowheads="1"/>
          </p:cNvSpPr>
          <p:nvPr/>
        </p:nvSpPr>
        <p:spPr bwMode="auto">
          <a:xfrm>
            <a:off x="10159886"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 name="Rectangle 15">
            <a:extLst>
              <a:ext uri="{FF2B5EF4-FFF2-40B4-BE49-F238E27FC236}">
                <a16:creationId xmlns:a16="http://schemas.microsoft.com/office/drawing/2014/main" id="{F8E82F25-BFFE-6543-A2F1-53CF0CC896C2}"/>
              </a:ext>
            </a:extLst>
          </p:cNvPr>
          <p:cNvSpPr>
            <a:spLocks noChangeArrowheads="1"/>
          </p:cNvSpPr>
          <p:nvPr/>
        </p:nvSpPr>
        <p:spPr bwMode="auto">
          <a:xfrm>
            <a:off x="9670258"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 name="Rectangle 78">
            <a:extLst>
              <a:ext uri="{FF2B5EF4-FFF2-40B4-BE49-F238E27FC236}">
                <a16:creationId xmlns:a16="http://schemas.microsoft.com/office/drawing/2014/main" id="{5CD9DC71-0610-5F4D-98E9-881B38AA2965}"/>
              </a:ext>
            </a:extLst>
          </p:cNvPr>
          <p:cNvSpPr/>
          <p:nvPr/>
        </p:nvSpPr>
        <p:spPr>
          <a:xfrm>
            <a:off x="7672723" y="4305321"/>
            <a:ext cx="2554276" cy="307777"/>
          </a:xfrm>
          <a:prstGeom prst="rect">
            <a:avLst/>
          </a:prstGeom>
          <a:noFill/>
          <a:ln>
            <a:noFill/>
          </a:ln>
        </p:spPr>
        <p:txBody>
          <a:bodyPr wrap="square">
            <a:spAutoFit/>
          </a:bodyPr>
          <a:lstStyle/>
          <a:p>
            <a:pPr algn="ctr"/>
            <a:r>
              <a:rPr lang="da-DK" sz="1400" b="1" dirty="0">
                <a:solidFill>
                  <a:schemeClr val="bg1"/>
                </a:solidFill>
              </a:rPr>
              <a:t>Lorem ipsum dolor sit amet, </a:t>
            </a:r>
            <a:endParaRPr lang="en-US" sz="1400" b="1" dirty="0">
              <a:solidFill>
                <a:schemeClr val="bg1"/>
              </a:solidFill>
            </a:endParaRPr>
          </a:p>
        </p:txBody>
      </p:sp>
      <p:sp>
        <p:nvSpPr>
          <p:cNvPr id="80" name="Rectangle 79">
            <a:extLst>
              <a:ext uri="{FF2B5EF4-FFF2-40B4-BE49-F238E27FC236}">
                <a16:creationId xmlns:a16="http://schemas.microsoft.com/office/drawing/2014/main" id="{A341080E-794B-924F-AC96-ECBE71A6A1FE}"/>
              </a:ext>
            </a:extLst>
          </p:cNvPr>
          <p:cNvSpPr/>
          <p:nvPr/>
        </p:nvSpPr>
        <p:spPr>
          <a:xfrm>
            <a:off x="8304036" y="2748783"/>
            <a:ext cx="1001893" cy="326243"/>
          </a:xfrm>
          <a:prstGeom prst="rect">
            <a:avLst/>
          </a:prstGeom>
          <a:ln>
            <a:noFill/>
          </a:ln>
        </p:spPr>
        <p:txBody>
          <a:bodyPr wrap="square" lIns="0" tIns="0" rIns="0" bIns="0">
            <a:spAutoFit/>
          </a:bodyPr>
          <a:lstStyle/>
          <a:p>
            <a:pPr>
              <a:lnSpc>
                <a:spcPct val="106000"/>
              </a:lnSpc>
            </a:pPr>
            <a:r>
              <a:rPr lang="da-DK" sz="1000" b="1" dirty="0">
                <a:solidFill>
                  <a:schemeClr val="accent5"/>
                </a:solidFill>
                <a:ea typeface="Verdana" panose="020B0604030504040204" pitchFamily="34" charset="0"/>
                <a:cs typeface="Verdana" panose="020B0604030504040204" pitchFamily="34" charset="0"/>
              </a:rPr>
              <a:t>Lorem ipsum dolor sit</a:t>
            </a:r>
            <a:endParaRPr lang="en-IN" sz="1000" b="1" dirty="0">
              <a:solidFill>
                <a:schemeClr val="accent5"/>
              </a:solidFill>
              <a:ea typeface="Verdana" panose="020B0604030504040204" pitchFamily="34" charset="0"/>
              <a:cs typeface="Verdana" panose="020B0604030504040204" pitchFamily="34" charset="0"/>
            </a:endParaRPr>
          </a:p>
        </p:txBody>
      </p:sp>
      <p:sp>
        <p:nvSpPr>
          <p:cNvPr id="81" name="Rectangle 80">
            <a:extLst>
              <a:ext uri="{FF2B5EF4-FFF2-40B4-BE49-F238E27FC236}">
                <a16:creationId xmlns:a16="http://schemas.microsoft.com/office/drawing/2014/main" id="{B505CD58-84D3-E84F-AC70-0C8A30ADCCEB}"/>
              </a:ext>
            </a:extLst>
          </p:cNvPr>
          <p:cNvSpPr/>
          <p:nvPr/>
        </p:nvSpPr>
        <p:spPr>
          <a:xfrm>
            <a:off x="8304035" y="3730232"/>
            <a:ext cx="1340612" cy="163122"/>
          </a:xfrm>
          <a:prstGeom prst="rect">
            <a:avLst/>
          </a:prstGeom>
          <a:ln>
            <a:noFill/>
          </a:ln>
        </p:spPr>
        <p:txBody>
          <a:bodyPr wrap="square" lIns="0" tIns="0" rIns="0" bIns="0">
            <a:spAutoFit/>
          </a:bodyPr>
          <a:lstStyle/>
          <a:p>
            <a:pPr>
              <a:lnSpc>
                <a:spcPct val="106000"/>
              </a:lnSpc>
            </a:pPr>
            <a:r>
              <a:rPr lang="da-DK" sz="1000" b="1" dirty="0">
                <a:solidFill>
                  <a:schemeClr val="accent5"/>
                </a:solidFill>
                <a:ea typeface="Verdana" panose="020B0604030504040204" pitchFamily="34" charset="0"/>
                <a:cs typeface="Verdana" panose="020B0604030504040204" pitchFamily="34" charset="0"/>
              </a:rPr>
              <a:t>Lorem</a:t>
            </a:r>
            <a:endParaRPr lang="en-IN" sz="1000" b="1" dirty="0">
              <a:solidFill>
                <a:schemeClr val="accent5"/>
              </a:solidFill>
              <a:ea typeface="Verdana" panose="020B0604030504040204" pitchFamily="34" charset="0"/>
              <a:cs typeface="Verdana" panose="020B0604030504040204" pitchFamily="34" charset="0"/>
            </a:endParaRPr>
          </a:p>
        </p:txBody>
      </p:sp>
      <p:sp>
        <p:nvSpPr>
          <p:cNvPr id="82" name="Rectangle 81">
            <a:extLst>
              <a:ext uri="{FF2B5EF4-FFF2-40B4-BE49-F238E27FC236}">
                <a16:creationId xmlns:a16="http://schemas.microsoft.com/office/drawing/2014/main" id="{4E08728A-D33A-E24C-AF9B-C47114728339}"/>
              </a:ext>
            </a:extLst>
          </p:cNvPr>
          <p:cNvSpPr/>
          <p:nvPr/>
        </p:nvSpPr>
        <p:spPr>
          <a:xfrm>
            <a:off x="8304036" y="3239506"/>
            <a:ext cx="1064250" cy="326243"/>
          </a:xfrm>
          <a:prstGeom prst="rect">
            <a:avLst/>
          </a:prstGeom>
          <a:ln>
            <a:noFill/>
          </a:ln>
        </p:spPr>
        <p:txBody>
          <a:bodyPr wrap="square" lIns="0" tIns="0" rIns="0" bIns="0">
            <a:spAutoFit/>
          </a:bodyPr>
          <a:lstStyle/>
          <a:p>
            <a:pPr>
              <a:lnSpc>
                <a:spcPct val="106000"/>
              </a:lnSpc>
            </a:pPr>
            <a:r>
              <a:rPr lang="da-DK" sz="1000" b="1" dirty="0">
                <a:solidFill>
                  <a:schemeClr val="accent5"/>
                </a:solidFill>
                <a:ea typeface="Verdana" panose="020B0604030504040204" pitchFamily="34" charset="0"/>
                <a:cs typeface="Verdana" panose="020B0604030504040204" pitchFamily="34" charset="0"/>
              </a:rPr>
              <a:t>Lorem ipsum dolor sit amet, </a:t>
            </a:r>
            <a:endParaRPr lang="en-IN" sz="1000" b="1" dirty="0">
              <a:solidFill>
                <a:schemeClr val="accent5"/>
              </a:solidFill>
              <a:ea typeface="Verdana" panose="020B0604030504040204" pitchFamily="34" charset="0"/>
              <a:cs typeface="Verdana" panose="020B0604030504040204" pitchFamily="34" charset="0"/>
            </a:endParaRPr>
          </a:p>
        </p:txBody>
      </p:sp>
      <p:sp>
        <p:nvSpPr>
          <p:cNvPr id="83" name="Rectangle 82">
            <a:extLst>
              <a:ext uri="{FF2B5EF4-FFF2-40B4-BE49-F238E27FC236}">
                <a16:creationId xmlns:a16="http://schemas.microsoft.com/office/drawing/2014/main" id="{B38CC0EB-BFF4-0542-91E0-75C2E4CD0CF5}"/>
              </a:ext>
            </a:extLst>
          </p:cNvPr>
          <p:cNvSpPr/>
          <p:nvPr/>
        </p:nvSpPr>
        <p:spPr>
          <a:xfrm>
            <a:off x="9397378" y="2765100"/>
            <a:ext cx="671190" cy="293607"/>
          </a:xfrm>
          <a:prstGeom prst="rect">
            <a:avLst/>
          </a:prstGeom>
          <a:ln>
            <a:noFill/>
          </a:ln>
        </p:spPr>
        <p:txBody>
          <a:bodyPr wrap="square" lIns="0" tIns="0" rIns="0" bIns="0">
            <a:spAutoFit/>
          </a:bodyPr>
          <a:lstStyle/>
          <a:p>
            <a:pPr>
              <a:lnSpc>
                <a:spcPct val="106000"/>
              </a:lnSpc>
            </a:pPr>
            <a:r>
              <a:rPr lang="en-IN" b="1" dirty="0">
                <a:solidFill>
                  <a:schemeClr val="accent5"/>
                </a:solidFill>
                <a:ea typeface="Verdana" panose="020B0604030504040204" pitchFamily="34" charset="0"/>
                <a:cs typeface="Verdana" panose="020B0604030504040204" pitchFamily="34" charset="0"/>
              </a:rPr>
              <a:t>8</a:t>
            </a:r>
          </a:p>
        </p:txBody>
      </p:sp>
      <p:sp>
        <p:nvSpPr>
          <p:cNvPr id="84" name="Rectangle 83">
            <a:extLst>
              <a:ext uri="{FF2B5EF4-FFF2-40B4-BE49-F238E27FC236}">
                <a16:creationId xmlns:a16="http://schemas.microsoft.com/office/drawing/2014/main" id="{17DDAFF3-8F49-DC43-9EC4-28BE6ECF83F5}"/>
              </a:ext>
            </a:extLst>
          </p:cNvPr>
          <p:cNvSpPr/>
          <p:nvPr/>
        </p:nvSpPr>
        <p:spPr>
          <a:xfrm>
            <a:off x="9397379" y="3754949"/>
            <a:ext cx="529597" cy="293607"/>
          </a:xfrm>
          <a:prstGeom prst="rect">
            <a:avLst/>
          </a:prstGeom>
          <a:ln>
            <a:noFill/>
          </a:ln>
        </p:spPr>
        <p:txBody>
          <a:bodyPr wrap="square" lIns="0" tIns="0" rIns="0" bIns="0">
            <a:spAutoFit/>
          </a:bodyPr>
          <a:lstStyle/>
          <a:p>
            <a:pPr>
              <a:lnSpc>
                <a:spcPct val="106000"/>
              </a:lnSpc>
            </a:pPr>
            <a:r>
              <a:rPr lang="en-IN" b="1" dirty="0">
                <a:solidFill>
                  <a:schemeClr val="accent5"/>
                </a:solidFill>
                <a:ea typeface="Verdana" panose="020B0604030504040204" pitchFamily="34" charset="0"/>
                <a:cs typeface="Verdana" panose="020B0604030504040204" pitchFamily="34" charset="0"/>
              </a:rPr>
              <a:t>394</a:t>
            </a:r>
          </a:p>
        </p:txBody>
      </p:sp>
      <p:sp>
        <p:nvSpPr>
          <p:cNvPr id="85" name="Rectangle 84">
            <a:extLst>
              <a:ext uri="{FF2B5EF4-FFF2-40B4-BE49-F238E27FC236}">
                <a16:creationId xmlns:a16="http://schemas.microsoft.com/office/drawing/2014/main" id="{BD752B1E-DC00-B94D-9232-227105D6F62E}"/>
              </a:ext>
            </a:extLst>
          </p:cNvPr>
          <p:cNvSpPr/>
          <p:nvPr/>
        </p:nvSpPr>
        <p:spPr>
          <a:xfrm>
            <a:off x="9397379" y="3266229"/>
            <a:ext cx="520103" cy="293607"/>
          </a:xfrm>
          <a:prstGeom prst="rect">
            <a:avLst/>
          </a:prstGeom>
          <a:ln>
            <a:noFill/>
          </a:ln>
        </p:spPr>
        <p:txBody>
          <a:bodyPr wrap="square" lIns="0" tIns="0" rIns="0" bIns="0">
            <a:spAutoFit/>
          </a:bodyPr>
          <a:lstStyle/>
          <a:p>
            <a:pPr>
              <a:lnSpc>
                <a:spcPct val="106000"/>
              </a:lnSpc>
            </a:pPr>
            <a:r>
              <a:rPr lang="en-IN" b="1" dirty="0">
                <a:solidFill>
                  <a:schemeClr val="accent5"/>
                </a:solidFill>
                <a:ea typeface="Verdana" panose="020B0604030504040204" pitchFamily="34" charset="0"/>
                <a:cs typeface="Verdana" panose="020B0604030504040204" pitchFamily="34" charset="0"/>
              </a:rPr>
              <a:t>6</a:t>
            </a:r>
          </a:p>
        </p:txBody>
      </p:sp>
      <p:cxnSp>
        <p:nvCxnSpPr>
          <p:cNvPr id="86" name="Straight Connector 85">
            <a:extLst>
              <a:ext uri="{FF2B5EF4-FFF2-40B4-BE49-F238E27FC236}">
                <a16:creationId xmlns:a16="http://schemas.microsoft.com/office/drawing/2014/main" id="{6EDE5482-AC2E-0347-B978-9388B7AC5317}"/>
              </a:ext>
            </a:extLst>
          </p:cNvPr>
          <p:cNvCxnSpPr/>
          <p:nvPr/>
        </p:nvCxnSpPr>
        <p:spPr>
          <a:xfrm>
            <a:off x="7955806" y="3143303"/>
            <a:ext cx="2051730" cy="0"/>
          </a:xfrm>
          <a:prstGeom prst="line">
            <a:avLst/>
          </a:prstGeom>
          <a:ln>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80782DC5-4B23-F243-B656-49A4600BF64C}"/>
              </a:ext>
            </a:extLst>
          </p:cNvPr>
          <p:cNvCxnSpPr/>
          <p:nvPr/>
        </p:nvCxnSpPr>
        <p:spPr>
          <a:xfrm>
            <a:off x="7955806" y="3644464"/>
            <a:ext cx="2051730" cy="0"/>
          </a:xfrm>
          <a:prstGeom prst="line">
            <a:avLst/>
          </a:prstGeom>
          <a:ln>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F43E8E4-7598-8C41-B404-E95DD7ED454A}"/>
              </a:ext>
            </a:extLst>
          </p:cNvPr>
          <p:cNvCxnSpPr/>
          <p:nvPr/>
        </p:nvCxnSpPr>
        <p:spPr>
          <a:xfrm>
            <a:off x="6125137" y="1785939"/>
            <a:ext cx="0" cy="581025"/>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81645DE-82F4-CF48-B120-3713384F3BB4}"/>
              </a:ext>
            </a:extLst>
          </p:cNvPr>
          <p:cNvCxnSpPr/>
          <p:nvPr/>
        </p:nvCxnSpPr>
        <p:spPr>
          <a:xfrm flipH="1">
            <a:off x="4341609" y="1804988"/>
            <a:ext cx="1459117" cy="45720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52B0F69-450E-EF46-864E-CB2B52EE1B01}"/>
              </a:ext>
            </a:extLst>
          </p:cNvPr>
          <p:cNvCxnSpPr/>
          <p:nvPr/>
        </p:nvCxnSpPr>
        <p:spPr>
          <a:xfrm>
            <a:off x="6449550" y="1804988"/>
            <a:ext cx="1459117" cy="45720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91" name="Freeform 375">
            <a:extLst>
              <a:ext uri="{FF2B5EF4-FFF2-40B4-BE49-F238E27FC236}">
                <a16:creationId xmlns:a16="http://schemas.microsoft.com/office/drawing/2014/main" id="{350050C0-472A-2F4D-8FDD-880665E4853D}"/>
              </a:ext>
            </a:extLst>
          </p:cNvPr>
          <p:cNvSpPr>
            <a:spLocks noChangeAspect="1" noEditPoints="1"/>
          </p:cNvSpPr>
          <p:nvPr/>
        </p:nvSpPr>
        <p:spPr bwMode="auto">
          <a:xfrm>
            <a:off x="2154113" y="2749763"/>
            <a:ext cx="285920" cy="285920"/>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2" name="Freeform 774">
            <a:extLst>
              <a:ext uri="{FF2B5EF4-FFF2-40B4-BE49-F238E27FC236}">
                <a16:creationId xmlns:a16="http://schemas.microsoft.com/office/drawing/2014/main" id="{5B72AD04-23EB-684C-8481-91C03D126B77}"/>
              </a:ext>
            </a:extLst>
          </p:cNvPr>
          <p:cNvSpPr>
            <a:spLocks noChangeAspect="1" noEditPoints="1"/>
          </p:cNvSpPr>
          <p:nvPr/>
        </p:nvSpPr>
        <p:spPr bwMode="auto">
          <a:xfrm>
            <a:off x="2152434" y="3266228"/>
            <a:ext cx="285920" cy="285920"/>
          </a:xfrm>
          <a:custGeom>
            <a:avLst/>
            <a:gdLst>
              <a:gd name="T0" fmla="*/ 216 w 512"/>
              <a:gd name="T1" fmla="*/ 171 h 512"/>
              <a:gd name="T2" fmla="*/ 320 w 512"/>
              <a:gd name="T3" fmla="*/ 275 h 512"/>
              <a:gd name="T4" fmla="*/ 223 w 512"/>
              <a:gd name="T5" fmla="*/ 268 h 512"/>
              <a:gd name="T6" fmla="*/ 216 w 512"/>
              <a:gd name="T7" fmla="*/ 171 h 512"/>
              <a:gd name="T8" fmla="*/ 197 w 512"/>
              <a:gd name="T9" fmla="*/ 395 h 512"/>
              <a:gd name="T10" fmla="*/ 251 w 512"/>
              <a:gd name="T11" fmla="*/ 395 h 512"/>
              <a:gd name="T12" fmla="*/ 224 w 512"/>
              <a:gd name="T13" fmla="*/ 320 h 512"/>
              <a:gd name="T14" fmla="*/ 197 w 512"/>
              <a:gd name="T15" fmla="*/ 395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47 w 512"/>
              <a:gd name="T27" fmla="*/ 276 h 512"/>
              <a:gd name="T28" fmla="*/ 343 w 512"/>
              <a:gd name="T29" fmla="*/ 268 h 512"/>
              <a:gd name="T30" fmla="*/ 291 w 512"/>
              <a:gd name="T31" fmla="*/ 215 h 512"/>
              <a:gd name="T32" fmla="*/ 296 w 512"/>
              <a:gd name="T33" fmla="*/ 211 h 512"/>
              <a:gd name="T34" fmla="*/ 296 w 512"/>
              <a:gd name="T35" fmla="*/ 195 h 512"/>
              <a:gd name="T36" fmla="*/ 280 w 512"/>
              <a:gd name="T37" fmla="*/ 195 h 512"/>
              <a:gd name="T38" fmla="*/ 276 w 512"/>
              <a:gd name="T39" fmla="*/ 200 h 512"/>
              <a:gd name="T40" fmla="*/ 223 w 512"/>
              <a:gd name="T41" fmla="*/ 148 h 512"/>
              <a:gd name="T42" fmla="*/ 208 w 512"/>
              <a:gd name="T43" fmla="*/ 148 h 512"/>
              <a:gd name="T44" fmla="*/ 208 w 512"/>
              <a:gd name="T45" fmla="*/ 283 h 512"/>
              <a:gd name="T46" fmla="*/ 213 w 512"/>
              <a:gd name="T47" fmla="*/ 288 h 512"/>
              <a:gd name="T48" fmla="*/ 174 w 512"/>
              <a:gd name="T49" fmla="*/ 395 h 512"/>
              <a:gd name="T50" fmla="*/ 160 w 512"/>
              <a:gd name="T51" fmla="*/ 395 h 512"/>
              <a:gd name="T52" fmla="*/ 149 w 512"/>
              <a:gd name="T53" fmla="*/ 406 h 512"/>
              <a:gd name="T54" fmla="*/ 160 w 512"/>
              <a:gd name="T55" fmla="*/ 416 h 512"/>
              <a:gd name="T56" fmla="*/ 288 w 512"/>
              <a:gd name="T57" fmla="*/ 416 h 512"/>
              <a:gd name="T58" fmla="*/ 299 w 512"/>
              <a:gd name="T59" fmla="*/ 406 h 512"/>
              <a:gd name="T60" fmla="*/ 288 w 512"/>
              <a:gd name="T61" fmla="*/ 395 h 512"/>
              <a:gd name="T62" fmla="*/ 274 w 512"/>
              <a:gd name="T63" fmla="*/ 395 h 512"/>
              <a:gd name="T64" fmla="*/ 241 w 512"/>
              <a:gd name="T65" fmla="*/ 305 h 512"/>
              <a:gd name="T66" fmla="*/ 276 w 512"/>
              <a:gd name="T67" fmla="*/ 311 h 512"/>
              <a:gd name="T68" fmla="*/ 343 w 512"/>
              <a:gd name="T69" fmla="*/ 283 h 512"/>
              <a:gd name="T70" fmla="*/ 347 w 512"/>
              <a:gd name="T71" fmla="*/ 276 h 512"/>
              <a:gd name="T72" fmla="*/ 288 w 512"/>
              <a:gd name="T73" fmla="*/ 182 h 512"/>
              <a:gd name="T74" fmla="*/ 309 w 512"/>
              <a:gd name="T75" fmla="*/ 203 h 512"/>
              <a:gd name="T76" fmla="*/ 320 w 512"/>
              <a:gd name="T77" fmla="*/ 214 h 512"/>
              <a:gd name="T78" fmla="*/ 331 w 512"/>
              <a:gd name="T79" fmla="*/ 203 h 512"/>
              <a:gd name="T80" fmla="*/ 288 w 512"/>
              <a:gd name="T81" fmla="*/ 160 h 512"/>
              <a:gd name="T82" fmla="*/ 277 w 512"/>
              <a:gd name="T83" fmla="*/ 171 h 512"/>
              <a:gd name="T84" fmla="*/ 288 w 512"/>
              <a:gd name="T85" fmla="*/ 182 h 512"/>
              <a:gd name="T86" fmla="*/ 373 w 512"/>
              <a:gd name="T87" fmla="*/ 203 h 512"/>
              <a:gd name="T88" fmla="*/ 288 w 512"/>
              <a:gd name="T89" fmla="*/ 118 h 512"/>
              <a:gd name="T90" fmla="*/ 277 w 512"/>
              <a:gd name="T91" fmla="*/ 128 h 512"/>
              <a:gd name="T92" fmla="*/ 288 w 512"/>
              <a:gd name="T93" fmla="*/ 139 h 512"/>
              <a:gd name="T94" fmla="*/ 352 w 512"/>
              <a:gd name="T95" fmla="*/ 203 h 512"/>
              <a:gd name="T96" fmla="*/ 363 w 512"/>
              <a:gd name="T97" fmla="*/ 214 h 512"/>
              <a:gd name="T98" fmla="*/ 373 w 512"/>
              <a:gd name="T99" fmla="*/ 2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16" y="171"/>
                </a:moveTo>
                <a:cubicBezTo>
                  <a:pt x="320" y="275"/>
                  <a:pt x="320" y="275"/>
                  <a:pt x="320" y="275"/>
                </a:cubicBezTo>
                <a:cubicBezTo>
                  <a:pt x="291" y="297"/>
                  <a:pt x="249" y="295"/>
                  <a:pt x="223" y="268"/>
                </a:cubicBezTo>
                <a:cubicBezTo>
                  <a:pt x="196" y="242"/>
                  <a:pt x="194" y="200"/>
                  <a:pt x="216" y="171"/>
                </a:cubicBezTo>
                <a:close/>
                <a:moveTo>
                  <a:pt x="197" y="395"/>
                </a:moveTo>
                <a:cubicBezTo>
                  <a:pt x="251" y="395"/>
                  <a:pt x="251" y="395"/>
                  <a:pt x="251" y="395"/>
                </a:cubicBezTo>
                <a:cubicBezTo>
                  <a:pt x="224" y="320"/>
                  <a:pt x="224" y="320"/>
                  <a:pt x="224" y="320"/>
                </a:cubicBezTo>
                <a:lnTo>
                  <a:pt x="197" y="395"/>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47" y="276"/>
                </a:moveTo>
                <a:cubicBezTo>
                  <a:pt x="347" y="273"/>
                  <a:pt x="345" y="270"/>
                  <a:pt x="343" y="268"/>
                </a:cubicBezTo>
                <a:cubicBezTo>
                  <a:pt x="291" y="215"/>
                  <a:pt x="291" y="215"/>
                  <a:pt x="291" y="215"/>
                </a:cubicBezTo>
                <a:cubicBezTo>
                  <a:pt x="296" y="211"/>
                  <a:pt x="296" y="211"/>
                  <a:pt x="296" y="211"/>
                </a:cubicBezTo>
                <a:cubicBezTo>
                  <a:pt x="300" y="206"/>
                  <a:pt x="300" y="200"/>
                  <a:pt x="296" y="195"/>
                </a:cubicBezTo>
                <a:cubicBezTo>
                  <a:pt x="291" y="191"/>
                  <a:pt x="285" y="191"/>
                  <a:pt x="280" y="195"/>
                </a:cubicBezTo>
                <a:cubicBezTo>
                  <a:pt x="276" y="200"/>
                  <a:pt x="276" y="200"/>
                  <a:pt x="276" y="200"/>
                </a:cubicBezTo>
                <a:cubicBezTo>
                  <a:pt x="223" y="148"/>
                  <a:pt x="223" y="148"/>
                  <a:pt x="223" y="148"/>
                </a:cubicBezTo>
                <a:cubicBezTo>
                  <a:pt x="219" y="143"/>
                  <a:pt x="212" y="143"/>
                  <a:pt x="208" y="148"/>
                </a:cubicBezTo>
                <a:cubicBezTo>
                  <a:pt x="170" y="185"/>
                  <a:pt x="170" y="246"/>
                  <a:pt x="208" y="283"/>
                </a:cubicBezTo>
                <a:cubicBezTo>
                  <a:pt x="209" y="285"/>
                  <a:pt x="211" y="287"/>
                  <a:pt x="213" y="288"/>
                </a:cubicBezTo>
                <a:cubicBezTo>
                  <a:pt x="174" y="395"/>
                  <a:pt x="174" y="395"/>
                  <a:pt x="174" y="395"/>
                </a:cubicBezTo>
                <a:cubicBezTo>
                  <a:pt x="160" y="395"/>
                  <a:pt x="160" y="395"/>
                  <a:pt x="160" y="395"/>
                </a:cubicBezTo>
                <a:cubicBezTo>
                  <a:pt x="154" y="395"/>
                  <a:pt x="149" y="400"/>
                  <a:pt x="149" y="406"/>
                </a:cubicBezTo>
                <a:cubicBezTo>
                  <a:pt x="149" y="412"/>
                  <a:pt x="154" y="416"/>
                  <a:pt x="160" y="416"/>
                </a:cubicBezTo>
                <a:cubicBezTo>
                  <a:pt x="288" y="416"/>
                  <a:pt x="288" y="416"/>
                  <a:pt x="288" y="416"/>
                </a:cubicBezTo>
                <a:cubicBezTo>
                  <a:pt x="294" y="416"/>
                  <a:pt x="299" y="412"/>
                  <a:pt x="299" y="406"/>
                </a:cubicBezTo>
                <a:cubicBezTo>
                  <a:pt x="299" y="400"/>
                  <a:pt x="294" y="395"/>
                  <a:pt x="288" y="395"/>
                </a:cubicBezTo>
                <a:cubicBezTo>
                  <a:pt x="274" y="395"/>
                  <a:pt x="274" y="395"/>
                  <a:pt x="274" y="395"/>
                </a:cubicBezTo>
                <a:cubicBezTo>
                  <a:pt x="241" y="305"/>
                  <a:pt x="241" y="305"/>
                  <a:pt x="241" y="305"/>
                </a:cubicBezTo>
                <a:cubicBezTo>
                  <a:pt x="252" y="309"/>
                  <a:pt x="264" y="311"/>
                  <a:pt x="276" y="311"/>
                </a:cubicBezTo>
                <a:cubicBezTo>
                  <a:pt x="300" y="311"/>
                  <a:pt x="325" y="302"/>
                  <a:pt x="343" y="283"/>
                </a:cubicBezTo>
                <a:cubicBezTo>
                  <a:pt x="345" y="281"/>
                  <a:pt x="347" y="279"/>
                  <a:pt x="347" y="276"/>
                </a:cubicBezTo>
                <a:close/>
                <a:moveTo>
                  <a:pt x="288" y="182"/>
                </a:moveTo>
                <a:cubicBezTo>
                  <a:pt x="300" y="182"/>
                  <a:pt x="309" y="191"/>
                  <a:pt x="309" y="203"/>
                </a:cubicBezTo>
                <a:cubicBezTo>
                  <a:pt x="309" y="209"/>
                  <a:pt x="314" y="214"/>
                  <a:pt x="320" y="214"/>
                </a:cubicBezTo>
                <a:cubicBezTo>
                  <a:pt x="326" y="214"/>
                  <a:pt x="331" y="209"/>
                  <a:pt x="331" y="203"/>
                </a:cubicBezTo>
                <a:cubicBezTo>
                  <a:pt x="331" y="179"/>
                  <a:pt x="312" y="160"/>
                  <a:pt x="288" y="160"/>
                </a:cubicBezTo>
                <a:cubicBezTo>
                  <a:pt x="282" y="160"/>
                  <a:pt x="277" y="165"/>
                  <a:pt x="277" y="171"/>
                </a:cubicBezTo>
                <a:cubicBezTo>
                  <a:pt x="277" y="177"/>
                  <a:pt x="282" y="182"/>
                  <a:pt x="288" y="182"/>
                </a:cubicBezTo>
                <a:close/>
                <a:moveTo>
                  <a:pt x="373" y="203"/>
                </a:moveTo>
                <a:cubicBezTo>
                  <a:pt x="373" y="156"/>
                  <a:pt x="335" y="118"/>
                  <a:pt x="288" y="118"/>
                </a:cubicBezTo>
                <a:cubicBezTo>
                  <a:pt x="282" y="118"/>
                  <a:pt x="277" y="122"/>
                  <a:pt x="277" y="128"/>
                </a:cubicBezTo>
                <a:cubicBezTo>
                  <a:pt x="277" y="134"/>
                  <a:pt x="282" y="139"/>
                  <a:pt x="288" y="139"/>
                </a:cubicBezTo>
                <a:cubicBezTo>
                  <a:pt x="323" y="139"/>
                  <a:pt x="352" y="168"/>
                  <a:pt x="352" y="203"/>
                </a:cubicBezTo>
                <a:cubicBezTo>
                  <a:pt x="352" y="209"/>
                  <a:pt x="357" y="214"/>
                  <a:pt x="363" y="214"/>
                </a:cubicBezTo>
                <a:cubicBezTo>
                  <a:pt x="369" y="214"/>
                  <a:pt x="373" y="209"/>
                  <a:pt x="373" y="20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3" name="Freeform 105">
            <a:extLst>
              <a:ext uri="{FF2B5EF4-FFF2-40B4-BE49-F238E27FC236}">
                <a16:creationId xmlns:a16="http://schemas.microsoft.com/office/drawing/2014/main" id="{9AEE1747-278D-1C4D-A309-923B48C04150}"/>
              </a:ext>
            </a:extLst>
          </p:cNvPr>
          <p:cNvSpPr>
            <a:spLocks noChangeAspect="1" noEditPoints="1"/>
          </p:cNvSpPr>
          <p:nvPr/>
        </p:nvSpPr>
        <p:spPr bwMode="auto">
          <a:xfrm>
            <a:off x="2148791" y="3752868"/>
            <a:ext cx="285920" cy="285920"/>
          </a:xfrm>
          <a:custGeom>
            <a:avLst/>
            <a:gdLst>
              <a:gd name="T0" fmla="*/ 330 w 512"/>
              <a:gd name="T1" fmla="*/ 345 h 512"/>
              <a:gd name="T2" fmla="*/ 362 w 512"/>
              <a:gd name="T3" fmla="*/ 306 h 512"/>
              <a:gd name="T4" fmla="*/ 362 w 512"/>
              <a:gd name="T5" fmla="*/ 352 h 512"/>
              <a:gd name="T6" fmla="*/ 330 w 512"/>
              <a:gd name="T7" fmla="*/ 352 h 512"/>
              <a:gd name="T8" fmla="*/ 330 w 512"/>
              <a:gd name="T9" fmla="*/ 345 h 512"/>
              <a:gd name="T10" fmla="*/ 117 w 512"/>
              <a:gd name="T11" fmla="*/ 288 h 512"/>
              <a:gd name="T12" fmla="*/ 181 w 512"/>
              <a:gd name="T13" fmla="*/ 288 h 512"/>
              <a:gd name="T14" fmla="*/ 181 w 512"/>
              <a:gd name="T15" fmla="*/ 256 h 512"/>
              <a:gd name="T16" fmla="*/ 117 w 512"/>
              <a:gd name="T17" fmla="*/ 256 h 512"/>
              <a:gd name="T18" fmla="*/ 117 w 512"/>
              <a:gd name="T19" fmla="*/ 288 h 512"/>
              <a:gd name="T20" fmla="*/ 330 w 512"/>
              <a:gd name="T21" fmla="*/ 121 h 512"/>
              <a:gd name="T22" fmla="*/ 175 w 512"/>
              <a:gd name="T23" fmla="*/ 170 h 512"/>
              <a:gd name="T24" fmla="*/ 330 w 512"/>
              <a:gd name="T25" fmla="*/ 170 h 512"/>
              <a:gd name="T26" fmla="*/ 330 w 512"/>
              <a:gd name="T27" fmla="*/ 121 h 512"/>
              <a:gd name="T28" fmla="*/ 330 w 512"/>
              <a:gd name="T29" fmla="*/ 312 h 512"/>
              <a:gd name="T30" fmla="*/ 362 w 512"/>
              <a:gd name="T31" fmla="*/ 273 h 512"/>
              <a:gd name="T32" fmla="*/ 362 w 512"/>
              <a:gd name="T33" fmla="*/ 232 h 512"/>
              <a:gd name="T34" fmla="*/ 330 w 512"/>
              <a:gd name="T35" fmla="*/ 270 h 512"/>
              <a:gd name="T36" fmla="*/ 330 w 512"/>
              <a:gd name="T37" fmla="*/ 312 h 512"/>
              <a:gd name="T38" fmla="*/ 330 w 512"/>
              <a:gd name="T39" fmla="*/ 237 h 512"/>
              <a:gd name="T40" fmla="*/ 362 w 512"/>
              <a:gd name="T41" fmla="*/ 198 h 512"/>
              <a:gd name="T42" fmla="*/ 362 w 512"/>
              <a:gd name="T43" fmla="*/ 192 h 512"/>
              <a:gd name="T44" fmla="*/ 330 w 512"/>
              <a:gd name="T45" fmla="*/ 192 h 512"/>
              <a:gd name="T46" fmla="*/ 330 w 512"/>
              <a:gd name="T47" fmla="*/ 237 h 512"/>
              <a:gd name="T48" fmla="*/ 352 w 512"/>
              <a:gd name="T49" fmla="*/ 170 h 512"/>
              <a:gd name="T50" fmla="*/ 382 w 512"/>
              <a:gd name="T51" fmla="*/ 170 h 512"/>
              <a:gd name="T52" fmla="*/ 352 w 512"/>
              <a:gd name="T53" fmla="*/ 135 h 512"/>
              <a:gd name="T54" fmla="*/ 352 w 512"/>
              <a:gd name="T55" fmla="*/ 170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3 w 512"/>
              <a:gd name="T67" fmla="*/ 174 h 512"/>
              <a:gd name="T68" fmla="*/ 349 w 512"/>
              <a:gd name="T69" fmla="*/ 99 h 512"/>
              <a:gd name="T70" fmla="*/ 338 w 512"/>
              <a:gd name="T71" fmla="*/ 96 h 512"/>
              <a:gd name="T72" fmla="*/ 103 w 512"/>
              <a:gd name="T73" fmla="*/ 171 h 512"/>
              <a:gd name="T74" fmla="*/ 96 w 512"/>
              <a:gd name="T75" fmla="*/ 183 h 512"/>
              <a:gd name="T76" fmla="*/ 106 w 512"/>
              <a:gd name="T77" fmla="*/ 192 h 512"/>
              <a:gd name="T78" fmla="*/ 138 w 512"/>
              <a:gd name="T79" fmla="*/ 192 h 512"/>
              <a:gd name="T80" fmla="*/ 138 w 512"/>
              <a:gd name="T81" fmla="*/ 234 h 512"/>
              <a:gd name="T82" fmla="*/ 106 w 512"/>
              <a:gd name="T83" fmla="*/ 234 h 512"/>
              <a:gd name="T84" fmla="*/ 96 w 512"/>
              <a:gd name="T85" fmla="*/ 245 h 512"/>
              <a:gd name="T86" fmla="*/ 96 w 512"/>
              <a:gd name="T87" fmla="*/ 298 h 512"/>
              <a:gd name="T88" fmla="*/ 106 w 512"/>
              <a:gd name="T89" fmla="*/ 309 h 512"/>
              <a:gd name="T90" fmla="*/ 192 w 512"/>
              <a:gd name="T91" fmla="*/ 309 h 512"/>
              <a:gd name="T92" fmla="*/ 202 w 512"/>
              <a:gd name="T93" fmla="*/ 298 h 512"/>
              <a:gd name="T94" fmla="*/ 202 w 512"/>
              <a:gd name="T95" fmla="*/ 245 h 512"/>
              <a:gd name="T96" fmla="*/ 192 w 512"/>
              <a:gd name="T97" fmla="*/ 234 h 512"/>
              <a:gd name="T98" fmla="*/ 160 w 512"/>
              <a:gd name="T99" fmla="*/ 234 h 512"/>
              <a:gd name="T100" fmla="*/ 160 w 512"/>
              <a:gd name="T101" fmla="*/ 192 h 512"/>
              <a:gd name="T102" fmla="*/ 309 w 512"/>
              <a:gd name="T103" fmla="*/ 192 h 512"/>
              <a:gd name="T104" fmla="*/ 309 w 512"/>
              <a:gd name="T105" fmla="*/ 352 h 512"/>
              <a:gd name="T106" fmla="*/ 128 w 512"/>
              <a:gd name="T107" fmla="*/ 352 h 512"/>
              <a:gd name="T108" fmla="*/ 117 w 512"/>
              <a:gd name="T109" fmla="*/ 362 h 512"/>
              <a:gd name="T110" fmla="*/ 128 w 512"/>
              <a:gd name="T111" fmla="*/ 373 h 512"/>
              <a:gd name="T112" fmla="*/ 384 w 512"/>
              <a:gd name="T113" fmla="*/ 373 h 512"/>
              <a:gd name="T114" fmla="*/ 394 w 512"/>
              <a:gd name="T115" fmla="*/ 362 h 512"/>
              <a:gd name="T116" fmla="*/ 384 w 512"/>
              <a:gd name="T117" fmla="*/ 352 h 512"/>
              <a:gd name="T118" fmla="*/ 384 w 512"/>
              <a:gd name="T119" fmla="*/ 192 h 512"/>
              <a:gd name="T120" fmla="*/ 405 w 512"/>
              <a:gd name="T121" fmla="*/ 192 h 512"/>
              <a:gd name="T122" fmla="*/ 415 w 512"/>
              <a:gd name="T123" fmla="*/ 185 h 512"/>
              <a:gd name="T124" fmla="*/ 413 w 512"/>
              <a:gd name="T125" fmla="*/ 1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30" y="345"/>
                </a:moveTo>
                <a:cubicBezTo>
                  <a:pt x="362" y="306"/>
                  <a:pt x="362" y="306"/>
                  <a:pt x="362" y="306"/>
                </a:cubicBezTo>
                <a:cubicBezTo>
                  <a:pt x="362" y="352"/>
                  <a:pt x="362" y="352"/>
                  <a:pt x="362" y="352"/>
                </a:cubicBezTo>
                <a:cubicBezTo>
                  <a:pt x="330" y="352"/>
                  <a:pt x="330" y="352"/>
                  <a:pt x="330" y="352"/>
                </a:cubicBezTo>
                <a:lnTo>
                  <a:pt x="330" y="345"/>
                </a:lnTo>
                <a:close/>
                <a:moveTo>
                  <a:pt x="117" y="288"/>
                </a:moveTo>
                <a:cubicBezTo>
                  <a:pt x="181" y="288"/>
                  <a:pt x="181" y="288"/>
                  <a:pt x="181" y="288"/>
                </a:cubicBezTo>
                <a:cubicBezTo>
                  <a:pt x="181" y="256"/>
                  <a:pt x="181" y="256"/>
                  <a:pt x="181" y="256"/>
                </a:cubicBezTo>
                <a:cubicBezTo>
                  <a:pt x="117" y="256"/>
                  <a:pt x="117" y="256"/>
                  <a:pt x="117" y="256"/>
                </a:cubicBezTo>
                <a:lnTo>
                  <a:pt x="117" y="288"/>
                </a:lnTo>
                <a:close/>
                <a:moveTo>
                  <a:pt x="330" y="121"/>
                </a:moveTo>
                <a:cubicBezTo>
                  <a:pt x="175" y="170"/>
                  <a:pt x="175" y="170"/>
                  <a:pt x="175" y="170"/>
                </a:cubicBezTo>
                <a:cubicBezTo>
                  <a:pt x="330" y="170"/>
                  <a:pt x="330" y="170"/>
                  <a:pt x="330" y="170"/>
                </a:cubicBezTo>
                <a:lnTo>
                  <a:pt x="330" y="121"/>
                </a:lnTo>
                <a:close/>
                <a:moveTo>
                  <a:pt x="330" y="312"/>
                </a:moveTo>
                <a:cubicBezTo>
                  <a:pt x="362" y="273"/>
                  <a:pt x="362" y="273"/>
                  <a:pt x="362" y="273"/>
                </a:cubicBezTo>
                <a:cubicBezTo>
                  <a:pt x="362" y="232"/>
                  <a:pt x="362" y="232"/>
                  <a:pt x="362" y="232"/>
                </a:cubicBezTo>
                <a:cubicBezTo>
                  <a:pt x="330" y="270"/>
                  <a:pt x="330" y="270"/>
                  <a:pt x="330" y="270"/>
                </a:cubicBezTo>
                <a:lnTo>
                  <a:pt x="330" y="312"/>
                </a:lnTo>
                <a:close/>
                <a:moveTo>
                  <a:pt x="330" y="237"/>
                </a:moveTo>
                <a:cubicBezTo>
                  <a:pt x="362" y="198"/>
                  <a:pt x="362" y="198"/>
                  <a:pt x="362" y="198"/>
                </a:cubicBezTo>
                <a:cubicBezTo>
                  <a:pt x="362" y="192"/>
                  <a:pt x="362" y="192"/>
                  <a:pt x="362" y="192"/>
                </a:cubicBezTo>
                <a:cubicBezTo>
                  <a:pt x="330" y="192"/>
                  <a:pt x="330" y="192"/>
                  <a:pt x="330" y="192"/>
                </a:cubicBezTo>
                <a:lnTo>
                  <a:pt x="330" y="237"/>
                </a:lnTo>
                <a:close/>
                <a:moveTo>
                  <a:pt x="352" y="170"/>
                </a:moveTo>
                <a:cubicBezTo>
                  <a:pt x="382" y="170"/>
                  <a:pt x="382" y="170"/>
                  <a:pt x="382" y="170"/>
                </a:cubicBezTo>
                <a:cubicBezTo>
                  <a:pt x="352" y="135"/>
                  <a:pt x="352" y="135"/>
                  <a:pt x="352" y="135"/>
                </a:cubicBezTo>
                <a:lnTo>
                  <a:pt x="352"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74"/>
                </a:moveTo>
                <a:cubicBezTo>
                  <a:pt x="349" y="99"/>
                  <a:pt x="349" y="99"/>
                  <a:pt x="349" y="99"/>
                </a:cubicBezTo>
                <a:cubicBezTo>
                  <a:pt x="346" y="96"/>
                  <a:pt x="342" y="95"/>
                  <a:pt x="338" y="96"/>
                </a:cubicBezTo>
                <a:cubicBezTo>
                  <a:pt x="103" y="171"/>
                  <a:pt x="103" y="171"/>
                  <a:pt x="103" y="171"/>
                </a:cubicBezTo>
                <a:cubicBezTo>
                  <a:pt x="98" y="172"/>
                  <a:pt x="95" y="177"/>
                  <a:pt x="96" y="183"/>
                </a:cubicBezTo>
                <a:cubicBezTo>
                  <a:pt x="97" y="188"/>
                  <a:pt x="101" y="192"/>
                  <a:pt x="106" y="192"/>
                </a:cubicBezTo>
                <a:cubicBezTo>
                  <a:pt x="138" y="192"/>
                  <a:pt x="138" y="192"/>
                  <a:pt x="138" y="192"/>
                </a:cubicBezTo>
                <a:cubicBezTo>
                  <a:pt x="138" y="234"/>
                  <a:pt x="138" y="234"/>
                  <a:pt x="138" y="234"/>
                </a:cubicBezTo>
                <a:cubicBezTo>
                  <a:pt x="106" y="234"/>
                  <a:pt x="106" y="234"/>
                  <a:pt x="106" y="234"/>
                </a:cubicBezTo>
                <a:cubicBezTo>
                  <a:pt x="100" y="234"/>
                  <a:pt x="96" y="239"/>
                  <a:pt x="96" y="245"/>
                </a:cubicBezTo>
                <a:cubicBezTo>
                  <a:pt x="96" y="298"/>
                  <a:pt x="96" y="298"/>
                  <a:pt x="96" y="298"/>
                </a:cubicBezTo>
                <a:cubicBezTo>
                  <a:pt x="96" y="304"/>
                  <a:pt x="100" y="309"/>
                  <a:pt x="106" y="309"/>
                </a:cubicBezTo>
                <a:cubicBezTo>
                  <a:pt x="192" y="309"/>
                  <a:pt x="192" y="309"/>
                  <a:pt x="192" y="309"/>
                </a:cubicBezTo>
                <a:cubicBezTo>
                  <a:pt x="198" y="309"/>
                  <a:pt x="202" y="304"/>
                  <a:pt x="202" y="298"/>
                </a:cubicBezTo>
                <a:cubicBezTo>
                  <a:pt x="202" y="245"/>
                  <a:pt x="202" y="245"/>
                  <a:pt x="202" y="245"/>
                </a:cubicBezTo>
                <a:cubicBezTo>
                  <a:pt x="202" y="239"/>
                  <a:pt x="198" y="234"/>
                  <a:pt x="192" y="234"/>
                </a:cubicBezTo>
                <a:cubicBezTo>
                  <a:pt x="160" y="234"/>
                  <a:pt x="160" y="234"/>
                  <a:pt x="160" y="234"/>
                </a:cubicBezTo>
                <a:cubicBezTo>
                  <a:pt x="160" y="192"/>
                  <a:pt x="160" y="192"/>
                  <a:pt x="160" y="192"/>
                </a:cubicBezTo>
                <a:cubicBezTo>
                  <a:pt x="309" y="192"/>
                  <a:pt x="309" y="192"/>
                  <a:pt x="309" y="192"/>
                </a:cubicBezTo>
                <a:cubicBezTo>
                  <a:pt x="309" y="352"/>
                  <a:pt x="309" y="352"/>
                  <a:pt x="309" y="352"/>
                </a:cubicBezTo>
                <a:cubicBezTo>
                  <a:pt x="128" y="352"/>
                  <a:pt x="128" y="352"/>
                  <a:pt x="128" y="352"/>
                </a:cubicBezTo>
                <a:cubicBezTo>
                  <a:pt x="122" y="352"/>
                  <a:pt x="117" y="356"/>
                  <a:pt x="117" y="362"/>
                </a:cubicBezTo>
                <a:cubicBezTo>
                  <a:pt x="117" y="368"/>
                  <a:pt x="122" y="373"/>
                  <a:pt x="128" y="373"/>
                </a:cubicBezTo>
                <a:cubicBezTo>
                  <a:pt x="384" y="373"/>
                  <a:pt x="384" y="373"/>
                  <a:pt x="384" y="373"/>
                </a:cubicBezTo>
                <a:cubicBezTo>
                  <a:pt x="390" y="373"/>
                  <a:pt x="394" y="368"/>
                  <a:pt x="394" y="362"/>
                </a:cubicBezTo>
                <a:cubicBezTo>
                  <a:pt x="394" y="356"/>
                  <a:pt x="390" y="352"/>
                  <a:pt x="384" y="352"/>
                </a:cubicBezTo>
                <a:cubicBezTo>
                  <a:pt x="384" y="192"/>
                  <a:pt x="384" y="192"/>
                  <a:pt x="384" y="192"/>
                </a:cubicBezTo>
                <a:cubicBezTo>
                  <a:pt x="405" y="192"/>
                  <a:pt x="405" y="192"/>
                  <a:pt x="405" y="192"/>
                </a:cubicBezTo>
                <a:cubicBezTo>
                  <a:pt x="409" y="192"/>
                  <a:pt x="413" y="189"/>
                  <a:pt x="415" y="185"/>
                </a:cubicBezTo>
                <a:cubicBezTo>
                  <a:pt x="416" y="182"/>
                  <a:pt x="416" y="177"/>
                  <a:pt x="413" y="1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4" name="Freeform 746">
            <a:extLst>
              <a:ext uri="{FF2B5EF4-FFF2-40B4-BE49-F238E27FC236}">
                <a16:creationId xmlns:a16="http://schemas.microsoft.com/office/drawing/2014/main" id="{FCBE441C-B699-C342-80F1-9C86CF44A1F8}"/>
              </a:ext>
            </a:extLst>
          </p:cNvPr>
          <p:cNvSpPr>
            <a:spLocks noChangeAspect="1" noEditPoints="1"/>
          </p:cNvSpPr>
          <p:nvPr/>
        </p:nvSpPr>
        <p:spPr bwMode="auto">
          <a:xfrm>
            <a:off x="5050114" y="3267456"/>
            <a:ext cx="283464" cy="283464"/>
          </a:xfrm>
          <a:custGeom>
            <a:avLst/>
            <a:gdLst>
              <a:gd name="T0" fmla="*/ 324 w 512"/>
              <a:gd name="T1" fmla="*/ 223 h 512"/>
              <a:gd name="T2" fmla="*/ 394 w 512"/>
              <a:gd name="T3" fmla="*/ 188 h 512"/>
              <a:gd name="T4" fmla="*/ 394 w 512"/>
              <a:gd name="T5" fmla="*/ 324 h 512"/>
              <a:gd name="T6" fmla="*/ 324 w 512"/>
              <a:gd name="T7" fmla="*/ 289 h 512"/>
              <a:gd name="T8" fmla="*/ 314 w 512"/>
              <a:gd name="T9" fmla="*/ 289 h 512"/>
              <a:gd name="T10" fmla="*/ 309 w 512"/>
              <a:gd name="T11" fmla="*/ 298 h 512"/>
              <a:gd name="T12" fmla="*/ 309 w 512"/>
              <a:gd name="T13" fmla="*/ 352 h 512"/>
              <a:gd name="T14" fmla="*/ 117 w 512"/>
              <a:gd name="T15" fmla="*/ 352 h 512"/>
              <a:gd name="T16" fmla="*/ 117 w 512"/>
              <a:gd name="T17" fmla="*/ 160 h 512"/>
              <a:gd name="T18" fmla="*/ 309 w 512"/>
              <a:gd name="T19" fmla="*/ 160 h 512"/>
              <a:gd name="T20" fmla="*/ 309 w 512"/>
              <a:gd name="T21" fmla="*/ 213 h 512"/>
              <a:gd name="T22" fmla="*/ 314 w 512"/>
              <a:gd name="T23" fmla="*/ 222 h 512"/>
              <a:gd name="T24" fmla="*/ 324 w 512"/>
              <a:gd name="T25" fmla="*/ 223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70 h 512"/>
              <a:gd name="T38" fmla="*/ 411 w 512"/>
              <a:gd name="T39" fmla="*/ 161 h 512"/>
              <a:gd name="T40" fmla="*/ 400 w 512"/>
              <a:gd name="T41" fmla="*/ 161 h 512"/>
              <a:gd name="T42" fmla="*/ 330 w 512"/>
              <a:gd name="T43" fmla="*/ 196 h 512"/>
              <a:gd name="T44" fmla="*/ 330 w 512"/>
              <a:gd name="T45" fmla="*/ 149 h 512"/>
              <a:gd name="T46" fmla="*/ 320 w 512"/>
              <a:gd name="T47" fmla="*/ 138 h 512"/>
              <a:gd name="T48" fmla="*/ 106 w 512"/>
              <a:gd name="T49" fmla="*/ 138 h 512"/>
              <a:gd name="T50" fmla="*/ 96 w 512"/>
              <a:gd name="T51" fmla="*/ 149 h 512"/>
              <a:gd name="T52" fmla="*/ 96 w 512"/>
              <a:gd name="T53" fmla="*/ 362 h 512"/>
              <a:gd name="T54" fmla="*/ 106 w 512"/>
              <a:gd name="T55" fmla="*/ 373 h 512"/>
              <a:gd name="T56" fmla="*/ 320 w 512"/>
              <a:gd name="T57" fmla="*/ 373 h 512"/>
              <a:gd name="T58" fmla="*/ 330 w 512"/>
              <a:gd name="T59" fmla="*/ 362 h 512"/>
              <a:gd name="T60" fmla="*/ 330 w 512"/>
              <a:gd name="T61" fmla="*/ 316 h 512"/>
              <a:gd name="T62" fmla="*/ 400 w 512"/>
              <a:gd name="T63" fmla="*/ 351 h 512"/>
              <a:gd name="T64" fmla="*/ 411 w 512"/>
              <a:gd name="T65" fmla="*/ 350 h 512"/>
              <a:gd name="T66" fmla="*/ 416 w 512"/>
              <a:gd name="T67" fmla="*/ 341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24" y="223"/>
                </a:moveTo>
                <a:cubicBezTo>
                  <a:pt x="394" y="188"/>
                  <a:pt x="394" y="188"/>
                  <a:pt x="394" y="188"/>
                </a:cubicBezTo>
                <a:cubicBezTo>
                  <a:pt x="394" y="324"/>
                  <a:pt x="394" y="324"/>
                  <a:pt x="394" y="324"/>
                </a:cubicBezTo>
                <a:cubicBezTo>
                  <a:pt x="324" y="289"/>
                  <a:pt x="324" y="289"/>
                  <a:pt x="324" y="289"/>
                </a:cubicBezTo>
                <a:cubicBezTo>
                  <a:pt x="321" y="287"/>
                  <a:pt x="317" y="287"/>
                  <a:pt x="314" y="289"/>
                </a:cubicBezTo>
                <a:cubicBezTo>
                  <a:pt x="311" y="291"/>
                  <a:pt x="309" y="295"/>
                  <a:pt x="309" y="298"/>
                </a:cubicBezTo>
                <a:cubicBezTo>
                  <a:pt x="309" y="352"/>
                  <a:pt x="309" y="352"/>
                  <a:pt x="309" y="352"/>
                </a:cubicBezTo>
                <a:cubicBezTo>
                  <a:pt x="117" y="352"/>
                  <a:pt x="117" y="352"/>
                  <a:pt x="117" y="352"/>
                </a:cubicBezTo>
                <a:cubicBezTo>
                  <a:pt x="117" y="160"/>
                  <a:pt x="117" y="160"/>
                  <a:pt x="117" y="160"/>
                </a:cubicBezTo>
                <a:cubicBezTo>
                  <a:pt x="309" y="160"/>
                  <a:pt x="309" y="160"/>
                  <a:pt x="309" y="160"/>
                </a:cubicBezTo>
                <a:cubicBezTo>
                  <a:pt x="309" y="213"/>
                  <a:pt x="309" y="213"/>
                  <a:pt x="309" y="213"/>
                </a:cubicBezTo>
                <a:cubicBezTo>
                  <a:pt x="309" y="217"/>
                  <a:pt x="311" y="220"/>
                  <a:pt x="314" y="222"/>
                </a:cubicBezTo>
                <a:cubicBezTo>
                  <a:pt x="317" y="224"/>
                  <a:pt x="321" y="224"/>
                  <a:pt x="324" y="2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7"/>
                  <a:pt x="414" y="163"/>
                  <a:pt x="411" y="161"/>
                </a:cubicBezTo>
                <a:cubicBezTo>
                  <a:pt x="407" y="159"/>
                  <a:pt x="404" y="159"/>
                  <a:pt x="400" y="161"/>
                </a:cubicBezTo>
                <a:cubicBezTo>
                  <a:pt x="330" y="196"/>
                  <a:pt x="330" y="196"/>
                  <a:pt x="330" y="196"/>
                </a:cubicBezTo>
                <a:cubicBezTo>
                  <a:pt x="330" y="149"/>
                  <a:pt x="330" y="149"/>
                  <a:pt x="330" y="149"/>
                </a:cubicBezTo>
                <a:cubicBezTo>
                  <a:pt x="330" y="143"/>
                  <a:pt x="326" y="138"/>
                  <a:pt x="32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320" y="373"/>
                  <a:pt x="320" y="373"/>
                  <a:pt x="320" y="373"/>
                </a:cubicBezTo>
                <a:cubicBezTo>
                  <a:pt x="326" y="373"/>
                  <a:pt x="330" y="368"/>
                  <a:pt x="330" y="362"/>
                </a:cubicBezTo>
                <a:cubicBezTo>
                  <a:pt x="330" y="316"/>
                  <a:pt x="330" y="316"/>
                  <a:pt x="330" y="316"/>
                </a:cubicBezTo>
                <a:cubicBezTo>
                  <a:pt x="400" y="351"/>
                  <a:pt x="400" y="351"/>
                  <a:pt x="400" y="351"/>
                </a:cubicBezTo>
                <a:cubicBezTo>
                  <a:pt x="404" y="352"/>
                  <a:pt x="407" y="352"/>
                  <a:pt x="411" y="350"/>
                </a:cubicBezTo>
                <a:cubicBezTo>
                  <a:pt x="414" y="348"/>
                  <a:pt x="416" y="345"/>
                  <a:pt x="416" y="341"/>
                </a:cubicBezTo>
                <a:lnTo>
                  <a:pt x="416" y="17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5" name="Freeform 574">
            <a:extLst>
              <a:ext uri="{FF2B5EF4-FFF2-40B4-BE49-F238E27FC236}">
                <a16:creationId xmlns:a16="http://schemas.microsoft.com/office/drawing/2014/main" id="{37C20EAB-21FD-3A40-8700-DC49C8D52882}"/>
              </a:ext>
            </a:extLst>
          </p:cNvPr>
          <p:cNvSpPr>
            <a:spLocks noChangeAspect="1" noEditPoints="1"/>
          </p:cNvSpPr>
          <p:nvPr/>
        </p:nvSpPr>
        <p:spPr bwMode="auto">
          <a:xfrm>
            <a:off x="5050114" y="2755993"/>
            <a:ext cx="283464" cy="283464"/>
          </a:xfrm>
          <a:custGeom>
            <a:avLst/>
            <a:gdLst>
              <a:gd name="T0" fmla="*/ 181 w 512"/>
              <a:gd name="T1" fmla="*/ 309 h 512"/>
              <a:gd name="T2" fmla="*/ 330 w 512"/>
              <a:gd name="T3" fmla="*/ 309 h 512"/>
              <a:gd name="T4" fmla="*/ 330 w 512"/>
              <a:gd name="T5" fmla="*/ 394 h 512"/>
              <a:gd name="T6" fmla="*/ 181 w 512"/>
              <a:gd name="T7" fmla="*/ 394 h 512"/>
              <a:gd name="T8" fmla="*/ 181 w 512"/>
              <a:gd name="T9" fmla="*/ 309 h 512"/>
              <a:gd name="T10" fmla="*/ 330 w 512"/>
              <a:gd name="T11" fmla="*/ 117 h 512"/>
              <a:gd name="T12" fmla="*/ 181 w 512"/>
              <a:gd name="T13" fmla="*/ 117 h 512"/>
              <a:gd name="T14" fmla="*/ 181 w 512"/>
              <a:gd name="T15" fmla="*/ 181 h 512"/>
              <a:gd name="T16" fmla="*/ 330 w 512"/>
              <a:gd name="T17" fmla="*/ 181 h 512"/>
              <a:gd name="T18" fmla="*/ 330 w 512"/>
              <a:gd name="T19" fmla="*/ 117 h 512"/>
              <a:gd name="T20" fmla="*/ 117 w 512"/>
              <a:gd name="T21" fmla="*/ 202 h 512"/>
              <a:gd name="T22" fmla="*/ 394 w 512"/>
              <a:gd name="T23" fmla="*/ 202 h 512"/>
              <a:gd name="T24" fmla="*/ 394 w 512"/>
              <a:gd name="T25" fmla="*/ 352 h 512"/>
              <a:gd name="T26" fmla="*/ 352 w 512"/>
              <a:gd name="T27" fmla="*/ 352 h 512"/>
              <a:gd name="T28" fmla="*/ 352 w 512"/>
              <a:gd name="T29" fmla="*/ 298 h 512"/>
              <a:gd name="T30" fmla="*/ 341 w 512"/>
              <a:gd name="T31" fmla="*/ 288 h 512"/>
              <a:gd name="T32" fmla="*/ 170 w 512"/>
              <a:gd name="T33" fmla="*/ 288 h 512"/>
              <a:gd name="T34" fmla="*/ 160 w 512"/>
              <a:gd name="T35" fmla="*/ 298 h 512"/>
              <a:gd name="T36" fmla="*/ 160 w 512"/>
              <a:gd name="T37" fmla="*/ 352 h 512"/>
              <a:gd name="T38" fmla="*/ 117 w 512"/>
              <a:gd name="T39" fmla="*/ 352 h 512"/>
              <a:gd name="T40" fmla="*/ 117 w 512"/>
              <a:gd name="T41" fmla="*/ 202 h 512"/>
              <a:gd name="T42" fmla="*/ 330 w 512"/>
              <a:gd name="T43" fmla="*/ 234 h 512"/>
              <a:gd name="T44" fmla="*/ 341 w 512"/>
              <a:gd name="T45" fmla="*/ 245 h 512"/>
              <a:gd name="T46" fmla="*/ 362 w 512"/>
              <a:gd name="T47" fmla="*/ 245 h 512"/>
              <a:gd name="T48" fmla="*/ 373 w 512"/>
              <a:gd name="T49" fmla="*/ 234 h 512"/>
              <a:gd name="T50" fmla="*/ 362 w 512"/>
              <a:gd name="T51" fmla="*/ 224 h 512"/>
              <a:gd name="T52" fmla="*/ 341 w 512"/>
              <a:gd name="T53" fmla="*/ 224 h 512"/>
              <a:gd name="T54" fmla="*/ 330 w 512"/>
              <a:gd name="T55" fmla="*/ 234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6 w 512"/>
              <a:gd name="T67" fmla="*/ 192 h 512"/>
              <a:gd name="T68" fmla="*/ 405 w 512"/>
              <a:gd name="T69" fmla="*/ 181 h 512"/>
              <a:gd name="T70" fmla="*/ 352 w 512"/>
              <a:gd name="T71" fmla="*/ 181 h 512"/>
              <a:gd name="T72" fmla="*/ 352 w 512"/>
              <a:gd name="T73" fmla="*/ 106 h 512"/>
              <a:gd name="T74" fmla="*/ 341 w 512"/>
              <a:gd name="T75" fmla="*/ 96 h 512"/>
              <a:gd name="T76" fmla="*/ 170 w 512"/>
              <a:gd name="T77" fmla="*/ 96 h 512"/>
              <a:gd name="T78" fmla="*/ 160 w 512"/>
              <a:gd name="T79" fmla="*/ 106 h 512"/>
              <a:gd name="T80" fmla="*/ 160 w 512"/>
              <a:gd name="T81" fmla="*/ 181 h 512"/>
              <a:gd name="T82" fmla="*/ 106 w 512"/>
              <a:gd name="T83" fmla="*/ 181 h 512"/>
              <a:gd name="T84" fmla="*/ 96 w 512"/>
              <a:gd name="T85" fmla="*/ 192 h 512"/>
              <a:gd name="T86" fmla="*/ 96 w 512"/>
              <a:gd name="T87" fmla="*/ 362 h 512"/>
              <a:gd name="T88" fmla="*/ 106 w 512"/>
              <a:gd name="T89" fmla="*/ 373 h 512"/>
              <a:gd name="T90" fmla="*/ 160 w 512"/>
              <a:gd name="T91" fmla="*/ 373 h 512"/>
              <a:gd name="T92" fmla="*/ 160 w 512"/>
              <a:gd name="T93" fmla="*/ 405 h 512"/>
              <a:gd name="T94" fmla="*/ 170 w 512"/>
              <a:gd name="T95" fmla="*/ 416 h 512"/>
              <a:gd name="T96" fmla="*/ 341 w 512"/>
              <a:gd name="T97" fmla="*/ 416 h 512"/>
              <a:gd name="T98" fmla="*/ 352 w 512"/>
              <a:gd name="T99" fmla="*/ 405 h 512"/>
              <a:gd name="T100" fmla="*/ 352 w 512"/>
              <a:gd name="T101" fmla="*/ 373 h 512"/>
              <a:gd name="T102" fmla="*/ 405 w 512"/>
              <a:gd name="T103" fmla="*/ 373 h 512"/>
              <a:gd name="T104" fmla="*/ 416 w 512"/>
              <a:gd name="T105" fmla="*/ 362 h 512"/>
              <a:gd name="T106" fmla="*/ 416 w 512"/>
              <a:gd name="T10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81" y="309"/>
                </a:moveTo>
                <a:cubicBezTo>
                  <a:pt x="330" y="309"/>
                  <a:pt x="330" y="309"/>
                  <a:pt x="330" y="309"/>
                </a:cubicBezTo>
                <a:cubicBezTo>
                  <a:pt x="330" y="394"/>
                  <a:pt x="330" y="394"/>
                  <a:pt x="330" y="394"/>
                </a:cubicBezTo>
                <a:cubicBezTo>
                  <a:pt x="181" y="394"/>
                  <a:pt x="181" y="394"/>
                  <a:pt x="181" y="394"/>
                </a:cubicBezTo>
                <a:lnTo>
                  <a:pt x="181" y="309"/>
                </a:lnTo>
                <a:close/>
                <a:moveTo>
                  <a:pt x="330" y="117"/>
                </a:moveTo>
                <a:cubicBezTo>
                  <a:pt x="181" y="117"/>
                  <a:pt x="181" y="117"/>
                  <a:pt x="181" y="117"/>
                </a:cubicBezTo>
                <a:cubicBezTo>
                  <a:pt x="181" y="181"/>
                  <a:pt x="181" y="181"/>
                  <a:pt x="181" y="181"/>
                </a:cubicBezTo>
                <a:cubicBezTo>
                  <a:pt x="330" y="181"/>
                  <a:pt x="330" y="181"/>
                  <a:pt x="330" y="181"/>
                </a:cubicBezTo>
                <a:lnTo>
                  <a:pt x="330" y="117"/>
                </a:lnTo>
                <a:close/>
                <a:moveTo>
                  <a:pt x="117" y="202"/>
                </a:moveTo>
                <a:cubicBezTo>
                  <a:pt x="394" y="202"/>
                  <a:pt x="394" y="202"/>
                  <a:pt x="394" y="202"/>
                </a:cubicBezTo>
                <a:cubicBezTo>
                  <a:pt x="394" y="352"/>
                  <a:pt x="394" y="352"/>
                  <a:pt x="394" y="352"/>
                </a:cubicBezTo>
                <a:cubicBezTo>
                  <a:pt x="352" y="352"/>
                  <a:pt x="352" y="352"/>
                  <a:pt x="352" y="352"/>
                </a:cubicBezTo>
                <a:cubicBezTo>
                  <a:pt x="352" y="298"/>
                  <a:pt x="352" y="298"/>
                  <a:pt x="352" y="298"/>
                </a:cubicBezTo>
                <a:cubicBezTo>
                  <a:pt x="352" y="292"/>
                  <a:pt x="347" y="288"/>
                  <a:pt x="341" y="288"/>
                </a:cubicBezTo>
                <a:cubicBezTo>
                  <a:pt x="170" y="288"/>
                  <a:pt x="170" y="288"/>
                  <a:pt x="170" y="288"/>
                </a:cubicBezTo>
                <a:cubicBezTo>
                  <a:pt x="164" y="288"/>
                  <a:pt x="160" y="292"/>
                  <a:pt x="160" y="298"/>
                </a:cubicBezTo>
                <a:cubicBezTo>
                  <a:pt x="160" y="352"/>
                  <a:pt x="160" y="352"/>
                  <a:pt x="160" y="352"/>
                </a:cubicBezTo>
                <a:cubicBezTo>
                  <a:pt x="117" y="352"/>
                  <a:pt x="117" y="352"/>
                  <a:pt x="117" y="352"/>
                </a:cubicBezTo>
                <a:lnTo>
                  <a:pt x="117" y="202"/>
                </a:lnTo>
                <a:close/>
                <a:moveTo>
                  <a:pt x="330" y="234"/>
                </a:moveTo>
                <a:cubicBezTo>
                  <a:pt x="330" y="240"/>
                  <a:pt x="335" y="245"/>
                  <a:pt x="341" y="245"/>
                </a:cubicBezTo>
                <a:cubicBezTo>
                  <a:pt x="362" y="245"/>
                  <a:pt x="362" y="245"/>
                  <a:pt x="362" y="245"/>
                </a:cubicBezTo>
                <a:cubicBezTo>
                  <a:pt x="368" y="245"/>
                  <a:pt x="373" y="240"/>
                  <a:pt x="373" y="234"/>
                </a:cubicBezTo>
                <a:cubicBezTo>
                  <a:pt x="373" y="228"/>
                  <a:pt x="368" y="224"/>
                  <a:pt x="362" y="224"/>
                </a:cubicBezTo>
                <a:cubicBezTo>
                  <a:pt x="341" y="224"/>
                  <a:pt x="341" y="224"/>
                  <a:pt x="341" y="224"/>
                </a:cubicBezTo>
                <a:cubicBezTo>
                  <a:pt x="335" y="224"/>
                  <a:pt x="330" y="228"/>
                  <a:pt x="330"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52" y="181"/>
                  <a:pt x="352" y="181"/>
                  <a:pt x="352" y="181"/>
                </a:cubicBezTo>
                <a:cubicBezTo>
                  <a:pt x="352" y="106"/>
                  <a:pt x="352" y="106"/>
                  <a:pt x="352" y="106"/>
                </a:cubicBezTo>
                <a:cubicBezTo>
                  <a:pt x="352" y="100"/>
                  <a:pt x="347" y="96"/>
                  <a:pt x="341" y="96"/>
                </a:cubicBezTo>
                <a:cubicBezTo>
                  <a:pt x="170" y="96"/>
                  <a:pt x="170" y="96"/>
                  <a:pt x="170" y="96"/>
                </a:cubicBezTo>
                <a:cubicBezTo>
                  <a:pt x="164" y="96"/>
                  <a:pt x="160" y="100"/>
                  <a:pt x="160" y="106"/>
                </a:cubicBezTo>
                <a:cubicBezTo>
                  <a:pt x="160" y="181"/>
                  <a:pt x="160" y="181"/>
                  <a:pt x="160"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160" y="373"/>
                  <a:pt x="160" y="373"/>
                  <a:pt x="160" y="373"/>
                </a:cubicBezTo>
                <a:cubicBezTo>
                  <a:pt x="160" y="405"/>
                  <a:pt x="160" y="405"/>
                  <a:pt x="160" y="405"/>
                </a:cubicBezTo>
                <a:cubicBezTo>
                  <a:pt x="160" y="411"/>
                  <a:pt x="164" y="416"/>
                  <a:pt x="170" y="416"/>
                </a:cubicBezTo>
                <a:cubicBezTo>
                  <a:pt x="341" y="416"/>
                  <a:pt x="341" y="416"/>
                  <a:pt x="341" y="416"/>
                </a:cubicBezTo>
                <a:cubicBezTo>
                  <a:pt x="347" y="416"/>
                  <a:pt x="352" y="411"/>
                  <a:pt x="352" y="405"/>
                </a:cubicBezTo>
                <a:cubicBezTo>
                  <a:pt x="352" y="373"/>
                  <a:pt x="352" y="373"/>
                  <a:pt x="352" y="373"/>
                </a:cubicBezTo>
                <a:cubicBezTo>
                  <a:pt x="405" y="373"/>
                  <a:pt x="405" y="373"/>
                  <a:pt x="405" y="373"/>
                </a:cubicBezTo>
                <a:cubicBezTo>
                  <a:pt x="411" y="373"/>
                  <a:pt x="416" y="368"/>
                  <a:pt x="416" y="362"/>
                </a:cubicBezTo>
                <a:lnTo>
                  <a:pt x="416" y="19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6" name="Group 331">
            <a:extLst>
              <a:ext uri="{FF2B5EF4-FFF2-40B4-BE49-F238E27FC236}">
                <a16:creationId xmlns:a16="http://schemas.microsoft.com/office/drawing/2014/main" id="{2F3A174B-F097-7746-A0ED-97B6A04E531E}"/>
              </a:ext>
            </a:extLst>
          </p:cNvPr>
          <p:cNvGrpSpPr>
            <a:grpSpLocks noChangeAspect="1"/>
          </p:cNvGrpSpPr>
          <p:nvPr/>
        </p:nvGrpSpPr>
        <p:grpSpPr bwMode="auto">
          <a:xfrm>
            <a:off x="7974846" y="2750991"/>
            <a:ext cx="283464" cy="283464"/>
            <a:chOff x="3832" y="1197"/>
            <a:chExt cx="340" cy="340"/>
          </a:xfrm>
          <a:solidFill>
            <a:schemeClr val="accent5"/>
          </a:solidFill>
        </p:grpSpPr>
        <p:sp>
          <p:nvSpPr>
            <p:cNvPr id="97" name="Freeform 332">
              <a:extLst>
                <a:ext uri="{FF2B5EF4-FFF2-40B4-BE49-F238E27FC236}">
                  <a16:creationId xmlns:a16="http://schemas.microsoft.com/office/drawing/2014/main" id="{8D6AC9C6-09DE-DF4E-93D6-F39F3B917980}"/>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8" name="Freeform 333">
              <a:extLst>
                <a:ext uri="{FF2B5EF4-FFF2-40B4-BE49-F238E27FC236}">
                  <a16:creationId xmlns:a16="http://schemas.microsoft.com/office/drawing/2014/main" id="{E97B6840-1BB1-734E-94B5-0C8D2B4D5D75}"/>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9" name="Freeform 538">
            <a:extLst>
              <a:ext uri="{FF2B5EF4-FFF2-40B4-BE49-F238E27FC236}">
                <a16:creationId xmlns:a16="http://schemas.microsoft.com/office/drawing/2014/main" id="{5D9A73AC-FCE3-B245-955C-8BE3FD2E649F}"/>
              </a:ext>
            </a:extLst>
          </p:cNvPr>
          <p:cNvSpPr>
            <a:spLocks noChangeAspect="1" noEditPoints="1"/>
          </p:cNvSpPr>
          <p:nvPr/>
        </p:nvSpPr>
        <p:spPr bwMode="auto">
          <a:xfrm>
            <a:off x="7974846" y="3751557"/>
            <a:ext cx="283464" cy="283464"/>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0" name="Freeform 240">
            <a:extLst>
              <a:ext uri="{FF2B5EF4-FFF2-40B4-BE49-F238E27FC236}">
                <a16:creationId xmlns:a16="http://schemas.microsoft.com/office/drawing/2014/main" id="{04F5FED2-A034-5245-82FE-D6CDB18BDB2F}"/>
              </a:ext>
            </a:extLst>
          </p:cNvPr>
          <p:cNvSpPr>
            <a:spLocks noChangeAspect="1" noEditPoints="1"/>
          </p:cNvSpPr>
          <p:nvPr/>
        </p:nvSpPr>
        <p:spPr bwMode="auto">
          <a:xfrm>
            <a:off x="7974846" y="3271299"/>
            <a:ext cx="283464" cy="283464"/>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2604071000"/>
      </p:ext>
    </p:extLst>
  </p:cSld>
  <p:clrMapOvr>
    <a:masterClrMapping/>
  </p:clrMapOvr>
  <p:transition>
    <p:fade/>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Pentagon 71">
            <a:extLst>
              <a:ext uri="{FF2B5EF4-FFF2-40B4-BE49-F238E27FC236}">
                <a16:creationId xmlns:a16="http://schemas.microsoft.com/office/drawing/2014/main" id="{53914D0B-F175-A645-8870-69C4CCFA7922}"/>
              </a:ext>
            </a:extLst>
          </p:cNvPr>
          <p:cNvSpPr/>
          <p:nvPr/>
        </p:nvSpPr>
        <p:spPr bwMode="gray">
          <a:xfrm rot="5400000">
            <a:off x="315932" y="1630248"/>
            <a:ext cx="3910479" cy="3201722"/>
          </a:xfrm>
          <a:custGeom>
            <a:avLst/>
            <a:gdLst>
              <a:gd name="connsiteX0" fmla="*/ 0 w 4333557"/>
              <a:gd name="connsiteY0" fmla="*/ 0 h 3201722"/>
              <a:gd name="connsiteX1" fmla="*/ 3896714 w 4333557"/>
              <a:gd name="connsiteY1" fmla="*/ 0 h 3201722"/>
              <a:gd name="connsiteX2" fmla="*/ 4333557 w 4333557"/>
              <a:gd name="connsiteY2" fmla="*/ 1600861 h 3201722"/>
              <a:gd name="connsiteX3" fmla="*/ 3896714 w 4333557"/>
              <a:gd name="connsiteY3" fmla="*/ 3201722 h 3201722"/>
              <a:gd name="connsiteX4" fmla="*/ 0 w 4333557"/>
              <a:gd name="connsiteY4" fmla="*/ 3201722 h 3201722"/>
              <a:gd name="connsiteX5" fmla="*/ 0 w 4333557"/>
              <a:gd name="connsiteY5" fmla="*/ 0 h 3201722"/>
              <a:gd name="connsiteX0" fmla="*/ 0 w 3910479"/>
              <a:gd name="connsiteY0" fmla="*/ 0 h 3201722"/>
              <a:gd name="connsiteX1" fmla="*/ 3896714 w 3910479"/>
              <a:gd name="connsiteY1" fmla="*/ 0 h 3201722"/>
              <a:gd name="connsiteX2" fmla="*/ 3910479 w 3910479"/>
              <a:gd name="connsiteY2" fmla="*/ 1546270 h 3201722"/>
              <a:gd name="connsiteX3" fmla="*/ 3896714 w 3910479"/>
              <a:gd name="connsiteY3" fmla="*/ 3201722 h 3201722"/>
              <a:gd name="connsiteX4" fmla="*/ 0 w 3910479"/>
              <a:gd name="connsiteY4" fmla="*/ 3201722 h 3201722"/>
              <a:gd name="connsiteX5" fmla="*/ 0 w 3910479"/>
              <a:gd name="connsiteY5" fmla="*/ 0 h 320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0479" h="3201722">
                <a:moveTo>
                  <a:pt x="0" y="0"/>
                </a:moveTo>
                <a:lnTo>
                  <a:pt x="3896714" y="0"/>
                </a:lnTo>
                <a:lnTo>
                  <a:pt x="3910479" y="1546270"/>
                </a:lnTo>
                <a:lnTo>
                  <a:pt x="3896714" y="3201722"/>
                </a:lnTo>
                <a:lnTo>
                  <a:pt x="0" y="3201722"/>
                </a:lnTo>
                <a:lnTo>
                  <a:pt x="0" y="0"/>
                </a:lnTo>
                <a:close/>
              </a:path>
            </a:pathLst>
          </a:custGeom>
          <a:solidFill>
            <a:srgbClr val="86BC25">
              <a:lumMod val="20000"/>
              <a:lumOff val="80000"/>
            </a:srgb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73" name="Rectangle 72">
            <a:extLst>
              <a:ext uri="{FF2B5EF4-FFF2-40B4-BE49-F238E27FC236}">
                <a16:creationId xmlns:a16="http://schemas.microsoft.com/office/drawing/2014/main" id="{5729D73E-844C-1D47-B567-5AEFDA2C6720}"/>
              </a:ext>
            </a:extLst>
          </p:cNvPr>
          <p:cNvSpPr/>
          <p:nvPr/>
        </p:nvSpPr>
        <p:spPr bwMode="gray">
          <a:xfrm>
            <a:off x="457453" y="1262222"/>
            <a:ext cx="3627438" cy="859134"/>
          </a:xfrm>
          <a:prstGeom prst="rect">
            <a:avLst/>
          </a:prstGeom>
          <a:solidFill>
            <a:schemeClr val="accent1"/>
          </a:solidFill>
          <a:ln w="19050" algn="ctr">
            <a:noFill/>
            <a:miter lim="800000"/>
            <a:headEnd/>
            <a:tailEnd/>
          </a:ln>
        </p:spPr>
        <p:txBody>
          <a:bodyPr wrap="square" lIns="88900" tIns="88900" rIns="88900" bIns="88900" rtlCol="0" anchor="ctr"/>
          <a:lstStyle/>
          <a:p>
            <a:pPr algn="ctr" defTabSz="1219170">
              <a:lnSpc>
                <a:spcPct val="106000"/>
              </a:lnSpc>
            </a:pPr>
            <a:endParaRPr lang="en-GB" sz="1600" b="1" dirty="0">
              <a:solidFill>
                <a:prstClr val="white"/>
              </a:solidFill>
            </a:endParaRPr>
          </a:p>
        </p:txBody>
      </p:sp>
      <p:sp>
        <p:nvSpPr>
          <p:cNvPr id="74" name="Right Triangle 73">
            <a:extLst>
              <a:ext uri="{FF2B5EF4-FFF2-40B4-BE49-F238E27FC236}">
                <a16:creationId xmlns:a16="http://schemas.microsoft.com/office/drawing/2014/main" id="{50856A96-4419-0F47-9D24-00765688990F}"/>
              </a:ext>
            </a:extLst>
          </p:cNvPr>
          <p:cNvSpPr/>
          <p:nvPr/>
        </p:nvSpPr>
        <p:spPr bwMode="gray">
          <a:xfrm flipV="1">
            <a:off x="3874579" y="2120742"/>
            <a:ext cx="210312" cy="210312"/>
          </a:xfrm>
          <a:prstGeom prst="rtTriangle">
            <a:avLst/>
          </a:prstGeom>
          <a:solidFill>
            <a:srgbClr val="046A38"/>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75" name="Right Triangle 74">
            <a:extLst>
              <a:ext uri="{FF2B5EF4-FFF2-40B4-BE49-F238E27FC236}">
                <a16:creationId xmlns:a16="http://schemas.microsoft.com/office/drawing/2014/main" id="{B6096496-250B-B243-AB0C-E3D865D8C546}"/>
              </a:ext>
            </a:extLst>
          </p:cNvPr>
          <p:cNvSpPr/>
          <p:nvPr/>
        </p:nvSpPr>
        <p:spPr bwMode="gray">
          <a:xfrm flipH="1" flipV="1">
            <a:off x="453634" y="2120742"/>
            <a:ext cx="210312" cy="210312"/>
          </a:xfrm>
          <a:prstGeom prst="rtTriangle">
            <a:avLst/>
          </a:prstGeom>
          <a:solidFill>
            <a:srgbClr val="046A38"/>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76" name="Rectangle 5">
            <a:extLst>
              <a:ext uri="{FF2B5EF4-FFF2-40B4-BE49-F238E27FC236}">
                <a16:creationId xmlns:a16="http://schemas.microsoft.com/office/drawing/2014/main" id="{9CC902C9-7201-1C46-806E-34185AF9F131}"/>
              </a:ext>
            </a:extLst>
          </p:cNvPr>
          <p:cNvSpPr txBox="1">
            <a:spLocks noChangeArrowheads="1"/>
          </p:cNvSpPr>
          <p:nvPr/>
        </p:nvSpPr>
        <p:spPr bwMode="gray">
          <a:xfrm>
            <a:off x="899572" y="2447616"/>
            <a:ext cx="2743200" cy="1107996"/>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0" lvl="2" defTabSz="1219170">
              <a:spcAft>
                <a:spcPts val="600"/>
              </a:spcAft>
              <a:buSzPct val="100000"/>
              <a:tabLst>
                <a:tab pos="8972326" algn="r"/>
              </a:tabLst>
            </a:pPr>
            <a:r>
              <a:rPr lang="da-DK" sz="1200" dirty="0">
                <a:solidFill>
                  <a:prstClr val="black"/>
                </a:solidFill>
              </a:rPr>
              <a:t>Lorem ipsum dolor sit amet, Lorem ipsum dolor sit amet, Lorem ipsum dolor sit amet, Lorem ipsum dolor sit amet, Lorem ipsum dolor sit amet, Lorem ipsum dolor sit amet, Lorem ipsum dolor sit amet, Lorem ipsum dolor sit amet, Lorem ipsum dolor sit amet, </a:t>
            </a:r>
            <a:endParaRPr lang="en-US" sz="1200" dirty="0">
              <a:solidFill>
                <a:prstClr val="black"/>
              </a:solidFill>
            </a:endParaRPr>
          </a:p>
        </p:txBody>
      </p:sp>
      <p:grpSp>
        <p:nvGrpSpPr>
          <p:cNvPr id="77" name="Group 934">
            <a:extLst>
              <a:ext uri="{FF2B5EF4-FFF2-40B4-BE49-F238E27FC236}">
                <a16:creationId xmlns:a16="http://schemas.microsoft.com/office/drawing/2014/main" id="{89BB060D-4270-E644-B96C-0040742B9355}"/>
              </a:ext>
            </a:extLst>
          </p:cNvPr>
          <p:cNvGrpSpPr>
            <a:grpSpLocks noChangeAspect="1"/>
          </p:cNvGrpSpPr>
          <p:nvPr/>
        </p:nvGrpSpPr>
        <p:grpSpPr bwMode="auto">
          <a:xfrm>
            <a:off x="839191" y="1371749"/>
            <a:ext cx="640080" cy="640080"/>
            <a:chOff x="1155" y="3472"/>
            <a:chExt cx="340" cy="340"/>
          </a:xfrm>
          <a:solidFill>
            <a:sysClr val="window" lastClr="FFFFFF"/>
          </a:solidFill>
        </p:grpSpPr>
        <p:sp>
          <p:nvSpPr>
            <p:cNvPr id="78" name="Freeform 935">
              <a:extLst>
                <a:ext uri="{FF2B5EF4-FFF2-40B4-BE49-F238E27FC236}">
                  <a16:creationId xmlns:a16="http://schemas.microsoft.com/office/drawing/2014/main" id="{C5A212AE-E2D6-294E-927F-A277B4DC73D4}"/>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sp>
          <p:nvSpPr>
            <p:cNvPr id="79" name="Freeform 936">
              <a:extLst>
                <a:ext uri="{FF2B5EF4-FFF2-40B4-BE49-F238E27FC236}">
                  <a16:creationId xmlns:a16="http://schemas.microsoft.com/office/drawing/2014/main" id="{916D6F0D-31F5-AC46-89A4-A59C3CAD259E}"/>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grpSp>
      <p:sp>
        <p:nvSpPr>
          <p:cNvPr id="80" name="Pentagon 79">
            <a:extLst>
              <a:ext uri="{FF2B5EF4-FFF2-40B4-BE49-F238E27FC236}">
                <a16:creationId xmlns:a16="http://schemas.microsoft.com/office/drawing/2014/main" id="{AAB60F58-B9E0-8D40-B10F-526E7D63FC73}"/>
              </a:ext>
            </a:extLst>
          </p:cNvPr>
          <p:cNvSpPr/>
          <p:nvPr/>
        </p:nvSpPr>
        <p:spPr bwMode="gray">
          <a:xfrm rot="5400000">
            <a:off x="4133329" y="1616599"/>
            <a:ext cx="3910478" cy="3201722"/>
          </a:xfrm>
          <a:custGeom>
            <a:avLst/>
            <a:gdLst>
              <a:gd name="connsiteX0" fmla="*/ 0 w 4333557"/>
              <a:gd name="connsiteY0" fmla="*/ 0 h 3201722"/>
              <a:gd name="connsiteX1" fmla="*/ 3896714 w 4333557"/>
              <a:gd name="connsiteY1" fmla="*/ 0 h 3201722"/>
              <a:gd name="connsiteX2" fmla="*/ 4333557 w 4333557"/>
              <a:gd name="connsiteY2" fmla="*/ 1600861 h 3201722"/>
              <a:gd name="connsiteX3" fmla="*/ 3896714 w 4333557"/>
              <a:gd name="connsiteY3" fmla="*/ 3201722 h 3201722"/>
              <a:gd name="connsiteX4" fmla="*/ 0 w 4333557"/>
              <a:gd name="connsiteY4" fmla="*/ 3201722 h 3201722"/>
              <a:gd name="connsiteX5" fmla="*/ 0 w 4333557"/>
              <a:gd name="connsiteY5" fmla="*/ 0 h 3201722"/>
              <a:gd name="connsiteX0" fmla="*/ 0 w 3910478"/>
              <a:gd name="connsiteY0" fmla="*/ 0 h 3201722"/>
              <a:gd name="connsiteX1" fmla="*/ 3896714 w 3910478"/>
              <a:gd name="connsiteY1" fmla="*/ 0 h 3201722"/>
              <a:gd name="connsiteX2" fmla="*/ 3910478 w 3910478"/>
              <a:gd name="connsiteY2" fmla="*/ 1641805 h 3201722"/>
              <a:gd name="connsiteX3" fmla="*/ 3896714 w 3910478"/>
              <a:gd name="connsiteY3" fmla="*/ 3201722 h 3201722"/>
              <a:gd name="connsiteX4" fmla="*/ 0 w 3910478"/>
              <a:gd name="connsiteY4" fmla="*/ 3201722 h 3201722"/>
              <a:gd name="connsiteX5" fmla="*/ 0 w 3910478"/>
              <a:gd name="connsiteY5" fmla="*/ 0 h 320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0478" h="3201722">
                <a:moveTo>
                  <a:pt x="0" y="0"/>
                </a:moveTo>
                <a:lnTo>
                  <a:pt x="3896714" y="0"/>
                </a:lnTo>
                <a:lnTo>
                  <a:pt x="3910478" y="1641805"/>
                </a:lnTo>
                <a:lnTo>
                  <a:pt x="3896714" y="3201722"/>
                </a:lnTo>
                <a:lnTo>
                  <a:pt x="0" y="3201722"/>
                </a:lnTo>
                <a:lnTo>
                  <a:pt x="0" y="0"/>
                </a:lnTo>
                <a:close/>
              </a:path>
            </a:pathLst>
          </a:custGeom>
          <a:solidFill>
            <a:srgbClr val="62B5E5">
              <a:lumMod val="20000"/>
              <a:lumOff val="80000"/>
            </a:srgb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81" name="Rectangle 80">
            <a:extLst>
              <a:ext uri="{FF2B5EF4-FFF2-40B4-BE49-F238E27FC236}">
                <a16:creationId xmlns:a16="http://schemas.microsoft.com/office/drawing/2014/main" id="{B841E0B7-DE80-6D47-BC6A-98C07F89F872}"/>
              </a:ext>
            </a:extLst>
          </p:cNvPr>
          <p:cNvSpPr/>
          <p:nvPr/>
        </p:nvSpPr>
        <p:spPr bwMode="gray">
          <a:xfrm>
            <a:off x="4274849" y="1262222"/>
            <a:ext cx="3627438" cy="859134"/>
          </a:xfrm>
          <a:prstGeom prst="rect">
            <a:avLst/>
          </a:prstGeom>
          <a:solidFill>
            <a:srgbClr val="0076A8"/>
          </a:solidFill>
          <a:ln w="19050" algn="ctr">
            <a:noFill/>
            <a:miter lim="800000"/>
            <a:headEnd/>
            <a:tailEnd/>
          </a:ln>
        </p:spPr>
        <p:txBody>
          <a:bodyPr wrap="square" lIns="88900" tIns="88900" rIns="88900" bIns="88900" rtlCol="0" anchor="ctr"/>
          <a:lstStyle/>
          <a:p>
            <a:pPr algn="ctr" defTabSz="1219170">
              <a:lnSpc>
                <a:spcPct val="106000"/>
              </a:lnSpc>
            </a:pPr>
            <a:endParaRPr lang="en-GB" sz="1600" b="1" dirty="0">
              <a:solidFill>
                <a:prstClr val="white"/>
              </a:solidFill>
            </a:endParaRPr>
          </a:p>
        </p:txBody>
      </p:sp>
      <p:sp>
        <p:nvSpPr>
          <p:cNvPr id="82" name="Right Triangle 81">
            <a:extLst>
              <a:ext uri="{FF2B5EF4-FFF2-40B4-BE49-F238E27FC236}">
                <a16:creationId xmlns:a16="http://schemas.microsoft.com/office/drawing/2014/main" id="{21BB186F-30A5-B24E-88F4-AA9A7FD0E17C}"/>
              </a:ext>
            </a:extLst>
          </p:cNvPr>
          <p:cNvSpPr/>
          <p:nvPr/>
        </p:nvSpPr>
        <p:spPr bwMode="gray">
          <a:xfrm flipV="1">
            <a:off x="7691975" y="2120742"/>
            <a:ext cx="210312" cy="210312"/>
          </a:xfrm>
          <a:prstGeom prst="rtTriangle">
            <a:avLst/>
          </a:prstGeom>
          <a:solidFill>
            <a:srgbClr val="012169"/>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83" name="Right Triangle 82">
            <a:extLst>
              <a:ext uri="{FF2B5EF4-FFF2-40B4-BE49-F238E27FC236}">
                <a16:creationId xmlns:a16="http://schemas.microsoft.com/office/drawing/2014/main" id="{56181616-DC09-FC4B-9352-3722F7C3EE18}"/>
              </a:ext>
            </a:extLst>
          </p:cNvPr>
          <p:cNvSpPr/>
          <p:nvPr/>
        </p:nvSpPr>
        <p:spPr bwMode="gray">
          <a:xfrm flipH="1" flipV="1">
            <a:off x="4274849" y="2120742"/>
            <a:ext cx="210312" cy="210312"/>
          </a:xfrm>
          <a:prstGeom prst="rtTriangle">
            <a:avLst/>
          </a:prstGeom>
          <a:solidFill>
            <a:srgbClr val="012169"/>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84" name="Rectangle 5">
            <a:extLst>
              <a:ext uri="{FF2B5EF4-FFF2-40B4-BE49-F238E27FC236}">
                <a16:creationId xmlns:a16="http://schemas.microsoft.com/office/drawing/2014/main" id="{004FEE4D-E61D-B141-8D8E-218D9F4E16B7}"/>
              </a:ext>
            </a:extLst>
          </p:cNvPr>
          <p:cNvSpPr txBox="1">
            <a:spLocks noChangeArrowheads="1"/>
          </p:cNvSpPr>
          <p:nvPr/>
        </p:nvSpPr>
        <p:spPr bwMode="gray">
          <a:xfrm>
            <a:off x="4716968" y="2447617"/>
            <a:ext cx="2743200" cy="2477601"/>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0" lvl="2" defTabSz="1219170">
              <a:spcAft>
                <a:spcPts val="600"/>
              </a:spcAft>
              <a:buSzPct val="100000"/>
              <a:tabLst>
                <a:tab pos="8972326" algn="r"/>
              </a:tabLst>
            </a:pPr>
            <a:r>
              <a:rPr lang="da-DK" sz="1200" dirty="0">
                <a:solidFill>
                  <a:prstClr val="black"/>
                </a:solidFill>
              </a:rPr>
              <a:t>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a:t>
            </a:r>
            <a:endParaRPr lang="en-US" sz="1200" dirty="0">
              <a:solidFill>
                <a:prstClr val="black"/>
              </a:solidFill>
            </a:endParaRPr>
          </a:p>
          <a:p>
            <a:pPr marL="0" lvl="2" defTabSz="1219170">
              <a:spcAft>
                <a:spcPts val="600"/>
              </a:spcAft>
              <a:buSzPct val="100000"/>
              <a:tabLst>
                <a:tab pos="8972326" algn="r"/>
              </a:tabLst>
            </a:pPr>
            <a:endParaRPr lang="en-US" sz="1200" dirty="0">
              <a:solidFill>
                <a:prstClr val="black"/>
              </a:solidFill>
            </a:endParaRPr>
          </a:p>
        </p:txBody>
      </p:sp>
      <p:grpSp>
        <p:nvGrpSpPr>
          <p:cNvPr id="85" name="Group 192">
            <a:extLst>
              <a:ext uri="{FF2B5EF4-FFF2-40B4-BE49-F238E27FC236}">
                <a16:creationId xmlns:a16="http://schemas.microsoft.com/office/drawing/2014/main" id="{1D6BB100-EBB5-014E-9649-EC6AE20583B2}"/>
              </a:ext>
            </a:extLst>
          </p:cNvPr>
          <p:cNvGrpSpPr>
            <a:grpSpLocks noChangeAspect="1"/>
          </p:cNvGrpSpPr>
          <p:nvPr/>
        </p:nvGrpSpPr>
        <p:grpSpPr bwMode="auto">
          <a:xfrm>
            <a:off x="4656587" y="1371749"/>
            <a:ext cx="640080" cy="640080"/>
            <a:chOff x="378" y="713"/>
            <a:chExt cx="340" cy="340"/>
          </a:xfrm>
          <a:solidFill>
            <a:sysClr val="window" lastClr="FFFFFF"/>
          </a:solidFill>
        </p:grpSpPr>
        <p:sp>
          <p:nvSpPr>
            <p:cNvPr id="86" name="Freeform 193">
              <a:extLst>
                <a:ext uri="{FF2B5EF4-FFF2-40B4-BE49-F238E27FC236}">
                  <a16:creationId xmlns:a16="http://schemas.microsoft.com/office/drawing/2014/main" id="{109E06D7-73D7-D841-AD35-8A2E9123D48D}"/>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sp>
          <p:nvSpPr>
            <p:cNvPr id="87" name="Freeform 194">
              <a:extLst>
                <a:ext uri="{FF2B5EF4-FFF2-40B4-BE49-F238E27FC236}">
                  <a16:creationId xmlns:a16="http://schemas.microsoft.com/office/drawing/2014/main" id="{E970BFB9-D046-0D40-B878-E3C26AD046BB}"/>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grpSp>
      <p:sp>
        <p:nvSpPr>
          <p:cNvPr id="88" name="Pentagon 87">
            <a:extLst>
              <a:ext uri="{FF2B5EF4-FFF2-40B4-BE49-F238E27FC236}">
                <a16:creationId xmlns:a16="http://schemas.microsoft.com/office/drawing/2014/main" id="{8C027D5D-3EEB-334E-840B-A13245B4168C}"/>
              </a:ext>
            </a:extLst>
          </p:cNvPr>
          <p:cNvSpPr/>
          <p:nvPr/>
        </p:nvSpPr>
        <p:spPr bwMode="gray">
          <a:xfrm rot="5400000">
            <a:off x="7940694" y="1630248"/>
            <a:ext cx="3910479" cy="3201722"/>
          </a:xfrm>
          <a:custGeom>
            <a:avLst/>
            <a:gdLst>
              <a:gd name="connsiteX0" fmla="*/ 0 w 4333557"/>
              <a:gd name="connsiteY0" fmla="*/ 0 h 3201722"/>
              <a:gd name="connsiteX1" fmla="*/ 3896714 w 4333557"/>
              <a:gd name="connsiteY1" fmla="*/ 0 h 3201722"/>
              <a:gd name="connsiteX2" fmla="*/ 4333557 w 4333557"/>
              <a:gd name="connsiteY2" fmla="*/ 1600861 h 3201722"/>
              <a:gd name="connsiteX3" fmla="*/ 3896714 w 4333557"/>
              <a:gd name="connsiteY3" fmla="*/ 3201722 h 3201722"/>
              <a:gd name="connsiteX4" fmla="*/ 0 w 4333557"/>
              <a:gd name="connsiteY4" fmla="*/ 3201722 h 3201722"/>
              <a:gd name="connsiteX5" fmla="*/ 0 w 4333557"/>
              <a:gd name="connsiteY5" fmla="*/ 0 h 3201722"/>
              <a:gd name="connsiteX0" fmla="*/ 0 w 3910479"/>
              <a:gd name="connsiteY0" fmla="*/ 0 h 3201722"/>
              <a:gd name="connsiteX1" fmla="*/ 3896714 w 3910479"/>
              <a:gd name="connsiteY1" fmla="*/ 0 h 3201722"/>
              <a:gd name="connsiteX2" fmla="*/ 3910479 w 3910479"/>
              <a:gd name="connsiteY2" fmla="*/ 1682747 h 3201722"/>
              <a:gd name="connsiteX3" fmla="*/ 3896714 w 3910479"/>
              <a:gd name="connsiteY3" fmla="*/ 3201722 h 3201722"/>
              <a:gd name="connsiteX4" fmla="*/ 0 w 3910479"/>
              <a:gd name="connsiteY4" fmla="*/ 3201722 h 3201722"/>
              <a:gd name="connsiteX5" fmla="*/ 0 w 3910479"/>
              <a:gd name="connsiteY5" fmla="*/ 0 h 320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0479" h="3201722">
                <a:moveTo>
                  <a:pt x="0" y="0"/>
                </a:moveTo>
                <a:lnTo>
                  <a:pt x="3896714" y="0"/>
                </a:lnTo>
                <a:lnTo>
                  <a:pt x="3910479" y="1682747"/>
                </a:lnTo>
                <a:lnTo>
                  <a:pt x="3896714" y="3201722"/>
                </a:lnTo>
                <a:lnTo>
                  <a:pt x="0" y="3201722"/>
                </a:lnTo>
                <a:lnTo>
                  <a:pt x="0" y="0"/>
                </a:lnTo>
                <a:close/>
              </a:path>
            </a:pathLst>
          </a:custGeom>
          <a:solidFill>
            <a:schemeClr val="bg1">
              <a:lumMod val="95000"/>
            </a:scheme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89" name="Rectangle 88">
            <a:extLst>
              <a:ext uri="{FF2B5EF4-FFF2-40B4-BE49-F238E27FC236}">
                <a16:creationId xmlns:a16="http://schemas.microsoft.com/office/drawing/2014/main" id="{BDDA1B76-AA4A-E34D-8C18-ECA0E1EFDB19}"/>
              </a:ext>
            </a:extLst>
          </p:cNvPr>
          <p:cNvSpPr/>
          <p:nvPr/>
        </p:nvSpPr>
        <p:spPr bwMode="gray">
          <a:xfrm>
            <a:off x="8082215" y="1262222"/>
            <a:ext cx="3627438" cy="859134"/>
          </a:xfrm>
          <a:prstGeom prst="rect">
            <a:avLst/>
          </a:prstGeom>
          <a:solidFill>
            <a:schemeClr val="tx1"/>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90" name="Right Triangle 89">
            <a:extLst>
              <a:ext uri="{FF2B5EF4-FFF2-40B4-BE49-F238E27FC236}">
                <a16:creationId xmlns:a16="http://schemas.microsoft.com/office/drawing/2014/main" id="{B7F44C9B-2C10-3E44-91EB-445D1FEAD75A}"/>
              </a:ext>
            </a:extLst>
          </p:cNvPr>
          <p:cNvSpPr/>
          <p:nvPr/>
        </p:nvSpPr>
        <p:spPr bwMode="gray">
          <a:xfrm flipV="1">
            <a:off x="11500614" y="2120742"/>
            <a:ext cx="210312" cy="210312"/>
          </a:xfrm>
          <a:prstGeom prst="rtTriangle">
            <a:avLst/>
          </a:prstGeom>
          <a:solidFill>
            <a:srgbClr val="046A38">
              <a:lumMod val="50000"/>
            </a:srgb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91" name="Right Triangle 90">
            <a:extLst>
              <a:ext uri="{FF2B5EF4-FFF2-40B4-BE49-F238E27FC236}">
                <a16:creationId xmlns:a16="http://schemas.microsoft.com/office/drawing/2014/main" id="{E9EFDA1D-C2B8-8A4C-A0CC-ADD0F8CC529D}"/>
              </a:ext>
            </a:extLst>
          </p:cNvPr>
          <p:cNvSpPr/>
          <p:nvPr/>
        </p:nvSpPr>
        <p:spPr bwMode="gray">
          <a:xfrm flipH="1" flipV="1">
            <a:off x="8082215" y="2120742"/>
            <a:ext cx="210312" cy="210312"/>
          </a:xfrm>
          <a:prstGeom prst="rtTriangle">
            <a:avLst/>
          </a:prstGeom>
          <a:solidFill>
            <a:srgbClr val="046A38">
              <a:lumMod val="50000"/>
            </a:srgb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92" name="Rectangle 5">
            <a:extLst>
              <a:ext uri="{FF2B5EF4-FFF2-40B4-BE49-F238E27FC236}">
                <a16:creationId xmlns:a16="http://schemas.microsoft.com/office/drawing/2014/main" id="{327DBA47-4EDE-DE4D-A448-B442A7F0E20B}"/>
              </a:ext>
            </a:extLst>
          </p:cNvPr>
          <p:cNvSpPr txBox="1">
            <a:spLocks noChangeArrowheads="1"/>
          </p:cNvSpPr>
          <p:nvPr/>
        </p:nvSpPr>
        <p:spPr bwMode="gray">
          <a:xfrm>
            <a:off x="8524334" y="2447616"/>
            <a:ext cx="2743200" cy="1107996"/>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0" lvl="2" defTabSz="1219170">
              <a:spcAft>
                <a:spcPts val="600"/>
              </a:spcAft>
              <a:buSzPct val="100000"/>
              <a:tabLst>
                <a:tab pos="8972326" algn="r"/>
              </a:tabLst>
            </a:pPr>
            <a:r>
              <a:rPr lang="da-DK" sz="1200" dirty="0">
                <a:solidFill>
                  <a:prstClr val="black"/>
                </a:solidFill>
              </a:rPr>
              <a:t>Lorem ipsum dolor sit amet, Lorem ipsum dolor sit amet, Lorem ipsum dolor sit amet, Lorem ipsum dolor sit amet, Lorem ipsum dolor sit amet, Lorem ipsum dolor sit amet, Lorem ipsum dolor sit amet, Lorem ipsum dolor sit amet, Lorem ipsum dolor sit amet, </a:t>
            </a:r>
            <a:endParaRPr lang="en-US" sz="1200" dirty="0">
              <a:solidFill>
                <a:prstClr val="black"/>
              </a:solidFill>
            </a:endParaRPr>
          </a:p>
        </p:txBody>
      </p:sp>
      <p:grpSp>
        <p:nvGrpSpPr>
          <p:cNvPr id="93" name="Group 583">
            <a:extLst>
              <a:ext uri="{FF2B5EF4-FFF2-40B4-BE49-F238E27FC236}">
                <a16:creationId xmlns:a16="http://schemas.microsoft.com/office/drawing/2014/main" id="{304314E8-A64B-2B4B-BE9A-D618E6028552}"/>
              </a:ext>
            </a:extLst>
          </p:cNvPr>
          <p:cNvGrpSpPr>
            <a:grpSpLocks noChangeAspect="1"/>
          </p:cNvGrpSpPr>
          <p:nvPr/>
        </p:nvGrpSpPr>
        <p:grpSpPr bwMode="auto">
          <a:xfrm>
            <a:off x="8463012" y="1371749"/>
            <a:ext cx="641962" cy="640080"/>
            <a:chOff x="1138" y="1953"/>
            <a:chExt cx="341" cy="340"/>
          </a:xfrm>
          <a:solidFill>
            <a:sysClr val="window" lastClr="FFFFFF"/>
          </a:solidFill>
        </p:grpSpPr>
        <p:sp>
          <p:nvSpPr>
            <p:cNvPr id="94" name="Freeform 584">
              <a:extLst>
                <a:ext uri="{FF2B5EF4-FFF2-40B4-BE49-F238E27FC236}">
                  <a16:creationId xmlns:a16="http://schemas.microsoft.com/office/drawing/2014/main" id="{643BD4BF-B8C0-5440-85EB-5E641CA09696}"/>
                </a:ext>
              </a:extLst>
            </p:cNvPr>
            <p:cNvSpPr>
              <a:spLocks noEditPoints="1"/>
            </p:cNvSpPr>
            <p:nvPr/>
          </p:nvSpPr>
          <p:spPr bwMode="auto">
            <a:xfrm>
              <a:off x="1138" y="195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sp>
          <p:nvSpPr>
            <p:cNvPr id="95" name="Freeform 585">
              <a:extLst>
                <a:ext uri="{FF2B5EF4-FFF2-40B4-BE49-F238E27FC236}">
                  <a16:creationId xmlns:a16="http://schemas.microsoft.com/office/drawing/2014/main" id="{E29BF470-615C-4640-A53A-60C2768D6718}"/>
                </a:ext>
              </a:extLst>
            </p:cNvPr>
            <p:cNvSpPr>
              <a:spLocks noEditPoints="1"/>
            </p:cNvSpPr>
            <p:nvPr/>
          </p:nvSpPr>
          <p:spPr bwMode="auto">
            <a:xfrm>
              <a:off x="1273" y="2017"/>
              <a:ext cx="71" cy="212"/>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grpSp>
    </p:spTree>
    <p:custDataLst>
      <p:tags r:id="rId1"/>
    </p:custDataLst>
    <p:extLst>
      <p:ext uri="{BB962C8B-B14F-4D97-AF65-F5344CB8AC3E}">
        <p14:creationId xmlns:p14="http://schemas.microsoft.com/office/powerpoint/2010/main" val="3492132442"/>
      </p:ext>
    </p:extLst>
  </p:cSld>
  <p:clrMapOvr>
    <a:masterClrMapping/>
  </p:clrMapOvr>
  <p:transition>
    <p:fade/>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a:extLst>
              <a:ext uri="{FF2B5EF4-FFF2-40B4-BE49-F238E27FC236}">
                <a16:creationId xmlns:a16="http://schemas.microsoft.com/office/drawing/2014/main" id="{6C317FCE-39CB-D541-94C1-391CF33FD6C4}"/>
              </a:ext>
            </a:extLst>
          </p:cNvPr>
          <p:cNvGrpSpPr/>
          <p:nvPr/>
        </p:nvGrpSpPr>
        <p:grpSpPr>
          <a:xfrm>
            <a:off x="4590757" y="1386567"/>
            <a:ext cx="3024224" cy="3478335"/>
            <a:chOff x="2987824" y="1628801"/>
            <a:chExt cx="2293337" cy="2016226"/>
          </a:xfrm>
        </p:grpSpPr>
        <p:sp>
          <p:nvSpPr>
            <p:cNvPr id="68" name="Text Placeholder 5">
              <a:extLst>
                <a:ext uri="{FF2B5EF4-FFF2-40B4-BE49-F238E27FC236}">
                  <a16:creationId xmlns:a16="http://schemas.microsoft.com/office/drawing/2014/main" id="{76CFDC56-1FD3-9746-A13C-5BFDFCADA165}"/>
                </a:ext>
              </a:extLst>
            </p:cNvPr>
            <p:cNvSpPr txBox="1">
              <a:spLocks/>
            </p:cNvSpPr>
            <p:nvPr>
              <p:custDataLst>
                <p:tags r:id="rId5"/>
              </p:custDataLst>
            </p:nvPr>
          </p:nvSpPr>
          <p:spPr>
            <a:xfrm rot="5400000">
              <a:off x="3126380" y="1490245"/>
              <a:ext cx="2016226" cy="2293337"/>
            </a:xfrm>
            <a:prstGeom prst="homePlate">
              <a:avLst>
                <a:gd name="adj" fmla="val 26427"/>
              </a:avLst>
            </a:prstGeom>
            <a:solidFill>
              <a:srgbClr val="DFF1FB"/>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FFFFFF"/>
                </a:solidFill>
              </a:endParaRPr>
            </a:p>
          </p:txBody>
        </p:sp>
        <p:sp>
          <p:nvSpPr>
            <p:cNvPr id="69" name="Text Placeholder 5">
              <a:extLst>
                <a:ext uri="{FF2B5EF4-FFF2-40B4-BE49-F238E27FC236}">
                  <a16:creationId xmlns:a16="http://schemas.microsoft.com/office/drawing/2014/main" id="{17272C7C-558E-384A-B999-8788C97C0F3F}"/>
                </a:ext>
              </a:extLst>
            </p:cNvPr>
            <p:cNvSpPr txBox="1">
              <a:spLocks noChangeAspect="1"/>
            </p:cNvSpPr>
            <p:nvPr>
              <p:custDataLst>
                <p:tags r:id="rId6"/>
              </p:custDataLst>
            </p:nvPr>
          </p:nvSpPr>
          <p:spPr>
            <a:xfrm rot="5400000">
              <a:off x="3250194" y="1617808"/>
              <a:ext cx="1768600" cy="2011680"/>
            </a:xfrm>
            <a:prstGeom prst="homePlate">
              <a:avLst>
                <a:gd name="adj" fmla="val 26427"/>
              </a:avLst>
            </a:prstGeom>
            <a:solidFill>
              <a:schemeClr val="accent6"/>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FFFFFF"/>
                </a:solidFill>
              </a:endParaRPr>
            </a:p>
          </p:txBody>
        </p:sp>
      </p:grpSp>
      <p:sp>
        <p:nvSpPr>
          <p:cNvPr id="71" name="Text Placeholder 5">
            <a:extLst>
              <a:ext uri="{FF2B5EF4-FFF2-40B4-BE49-F238E27FC236}">
                <a16:creationId xmlns:a16="http://schemas.microsoft.com/office/drawing/2014/main" id="{F2536F11-5A05-F442-A145-345763FE1A71}"/>
              </a:ext>
            </a:extLst>
          </p:cNvPr>
          <p:cNvSpPr txBox="1">
            <a:spLocks/>
          </p:cNvSpPr>
          <p:nvPr>
            <p:custDataLst>
              <p:tags r:id="rId1"/>
            </p:custDataLst>
          </p:nvPr>
        </p:nvSpPr>
        <p:spPr>
          <a:xfrm rot="5400000">
            <a:off x="1242986" y="1613622"/>
            <a:ext cx="3478335" cy="3024224"/>
          </a:xfrm>
          <a:prstGeom prst="homePlate">
            <a:avLst>
              <a:gd name="adj" fmla="val 26427"/>
            </a:avLst>
          </a:prstGeom>
          <a:solidFill>
            <a:schemeClr val="accent1">
              <a:lumMod val="20000"/>
              <a:lumOff val="80000"/>
            </a:schemeClr>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FFFFFF"/>
              </a:solidFill>
            </a:endParaRPr>
          </a:p>
        </p:txBody>
      </p:sp>
      <p:sp>
        <p:nvSpPr>
          <p:cNvPr id="72" name="Text Placeholder 5">
            <a:extLst>
              <a:ext uri="{FF2B5EF4-FFF2-40B4-BE49-F238E27FC236}">
                <a16:creationId xmlns:a16="http://schemas.microsoft.com/office/drawing/2014/main" id="{E34960A0-A5A2-C34A-96EE-DC59060A4633}"/>
              </a:ext>
            </a:extLst>
          </p:cNvPr>
          <p:cNvSpPr txBox="1">
            <a:spLocks noChangeAspect="1"/>
          </p:cNvSpPr>
          <p:nvPr>
            <p:custDataLst>
              <p:tags r:id="rId2"/>
            </p:custDataLst>
          </p:nvPr>
        </p:nvSpPr>
        <p:spPr>
          <a:xfrm rot="5400000">
            <a:off x="1456586" y="1776447"/>
            <a:ext cx="3051138" cy="2652803"/>
          </a:xfrm>
          <a:prstGeom prst="homePlate">
            <a:avLst>
              <a:gd name="adj" fmla="val 26427"/>
            </a:avLst>
          </a:prstGeom>
          <a:solidFill>
            <a:schemeClr val="accent1"/>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FFFFFF"/>
              </a:solidFill>
            </a:endParaRPr>
          </a:p>
        </p:txBody>
      </p:sp>
      <p:grpSp>
        <p:nvGrpSpPr>
          <p:cNvPr id="73" name="Group 72">
            <a:extLst>
              <a:ext uri="{FF2B5EF4-FFF2-40B4-BE49-F238E27FC236}">
                <a16:creationId xmlns:a16="http://schemas.microsoft.com/office/drawing/2014/main" id="{F4F19DB6-02D0-7E48-AE77-A61CF9D4BDCE}"/>
              </a:ext>
            </a:extLst>
          </p:cNvPr>
          <p:cNvGrpSpPr/>
          <p:nvPr/>
        </p:nvGrpSpPr>
        <p:grpSpPr>
          <a:xfrm>
            <a:off x="7711475" y="1386567"/>
            <a:ext cx="3024224" cy="3478335"/>
            <a:chOff x="5511290" y="1590261"/>
            <a:chExt cx="2293337" cy="2016226"/>
          </a:xfrm>
        </p:grpSpPr>
        <p:sp>
          <p:nvSpPr>
            <p:cNvPr id="74" name="Text Placeholder 5">
              <a:extLst>
                <a:ext uri="{FF2B5EF4-FFF2-40B4-BE49-F238E27FC236}">
                  <a16:creationId xmlns:a16="http://schemas.microsoft.com/office/drawing/2014/main" id="{EB2834AB-BD5D-8D41-8974-1B378C966E99}"/>
                </a:ext>
              </a:extLst>
            </p:cNvPr>
            <p:cNvSpPr txBox="1">
              <a:spLocks/>
            </p:cNvSpPr>
            <p:nvPr>
              <p:custDataLst>
                <p:tags r:id="rId3"/>
              </p:custDataLst>
            </p:nvPr>
          </p:nvSpPr>
          <p:spPr>
            <a:xfrm rot="5400000">
              <a:off x="5649846" y="1451705"/>
              <a:ext cx="2016226" cy="2293337"/>
            </a:xfrm>
            <a:prstGeom prst="homePlate">
              <a:avLst>
                <a:gd name="adj" fmla="val 26427"/>
              </a:avLst>
            </a:prstGeom>
            <a:solidFill>
              <a:schemeClr val="bg1">
                <a:lumMod val="85000"/>
              </a:schemeClr>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FFFFFF"/>
                </a:solidFill>
              </a:endParaRPr>
            </a:p>
          </p:txBody>
        </p:sp>
        <p:sp>
          <p:nvSpPr>
            <p:cNvPr id="75" name="Text Placeholder 5">
              <a:extLst>
                <a:ext uri="{FF2B5EF4-FFF2-40B4-BE49-F238E27FC236}">
                  <a16:creationId xmlns:a16="http://schemas.microsoft.com/office/drawing/2014/main" id="{DDCA6DD8-A787-5A4B-851D-CB32181A74D4}"/>
                </a:ext>
              </a:extLst>
            </p:cNvPr>
            <p:cNvSpPr txBox="1">
              <a:spLocks noChangeAspect="1"/>
            </p:cNvSpPr>
            <p:nvPr>
              <p:custDataLst>
                <p:tags r:id="rId4"/>
              </p:custDataLst>
            </p:nvPr>
          </p:nvSpPr>
          <p:spPr>
            <a:xfrm rot="5400000">
              <a:off x="5773660" y="1579268"/>
              <a:ext cx="1768600" cy="2011680"/>
            </a:xfrm>
            <a:prstGeom prst="homePlate">
              <a:avLst>
                <a:gd name="adj" fmla="val 26427"/>
              </a:avLst>
            </a:prstGeom>
            <a:solidFill>
              <a:schemeClr val="tx1"/>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00A1DE"/>
                </a:solidFill>
              </a:endParaRPr>
            </a:p>
          </p:txBody>
        </p:sp>
      </p:grpSp>
      <p:sp>
        <p:nvSpPr>
          <p:cNvPr id="76" name="Rectangle 75">
            <a:extLst>
              <a:ext uri="{FF2B5EF4-FFF2-40B4-BE49-F238E27FC236}">
                <a16:creationId xmlns:a16="http://schemas.microsoft.com/office/drawing/2014/main" id="{654DDD9E-04D9-F84A-9FB2-BA9BE66D8675}"/>
              </a:ext>
            </a:extLst>
          </p:cNvPr>
          <p:cNvSpPr/>
          <p:nvPr/>
        </p:nvSpPr>
        <p:spPr>
          <a:xfrm>
            <a:off x="2450746" y="1767559"/>
            <a:ext cx="1242887" cy="223157"/>
          </a:xfrm>
          <a:prstGeom prst="rect">
            <a:avLst/>
          </a:prstGeom>
        </p:spPr>
        <p:txBody>
          <a:bodyPr wrap="square" lIns="0" tIns="0" rIns="0" bIns="0">
            <a:spAutoFit/>
          </a:bodyPr>
          <a:lstStyle/>
          <a:p>
            <a:pPr defTabSz="913686" fontAlgn="base">
              <a:spcBef>
                <a:spcPct val="20000"/>
              </a:spcBef>
              <a:spcAft>
                <a:spcPts val="600"/>
              </a:spcAft>
            </a:pPr>
            <a:r>
              <a:rPr lang="en-US" sz="1400" b="1" dirty="0">
                <a:solidFill>
                  <a:srgbClr val="FFFFFF"/>
                </a:solidFill>
                <a:cs typeface="Arial" pitchFamily="34" charset="0"/>
              </a:rPr>
              <a:t>Lorem ipsum</a:t>
            </a:r>
          </a:p>
        </p:txBody>
      </p:sp>
      <p:sp>
        <p:nvSpPr>
          <p:cNvPr id="77" name="Rectangle 76">
            <a:extLst>
              <a:ext uri="{FF2B5EF4-FFF2-40B4-BE49-F238E27FC236}">
                <a16:creationId xmlns:a16="http://schemas.microsoft.com/office/drawing/2014/main" id="{32985949-38E4-7145-A4F3-47EAE3A92A51}"/>
              </a:ext>
            </a:extLst>
          </p:cNvPr>
          <p:cNvSpPr/>
          <p:nvPr/>
        </p:nvSpPr>
        <p:spPr>
          <a:xfrm>
            <a:off x="5613189" y="1754736"/>
            <a:ext cx="1242887" cy="215444"/>
          </a:xfrm>
          <a:prstGeom prst="rect">
            <a:avLst/>
          </a:prstGeom>
        </p:spPr>
        <p:txBody>
          <a:bodyPr wrap="square" lIns="0" tIns="0" rIns="0" bIns="0">
            <a:spAutoFit/>
          </a:bodyPr>
          <a:lstStyle/>
          <a:p>
            <a:pPr defTabSz="913686" fontAlgn="base">
              <a:spcBef>
                <a:spcPct val="20000"/>
              </a:spcBef>
              <a:spcAft>
                <a:spcPts val="600"/>
              </a:spcAft>
            </a:pPr>
            <a:r>
              <a:rPr lang="en-US" sz="1400" b="1" dirty="0">
                <a:solidFill>
                  <a:srgbClr val="FFFFFF"/>
                </a:solidFill>
                <a:cs typeface="Arial" pitchFamily="34" charset="0"/>
              </a:rPr>
              <a:t>Lorem ipsum</a:t>
            </a:r>
          </a:p>
        </p:txBody>
      </p:sp>
      <p:sp>
        <p:nvSpPr>
          <p:cNvPr id="78" name="Rectangle 77">
            <a:extLst>
              <a:ext uri="{FF2B5EF4-FFF2-40B4-BE49-F238E27FC236}">
                <a16:creationId xmlns:a16="http://schemas.microsoft.com/office/drawing/2014/main" id="{C5E4DBE2-0537-3E43-9CE3-4B302449EEC3}"/>
              </a:ext>
            </a:extLst>
          </p:cNvPr>
          <p:cNvSpPr/>
          <p:nvPr/>
        </p:nvSpPr>
        <p:spPr>
          <a:xfrm>
            <a:off x="8893604" y="1754736"/>
            <a:ext cx="1454354" cy="215444"/>
          </a:xfrm>
          <a:prstGeom prst="rect">
            <a:avLst/>
          </a:prstGeom>
        </p:spPr>
        <p:txBody>
          <a:bodyPr wrap="square" lIns="0" tIns="0" rIns="0" bIns="0">
            <a:spAutoFit/>
          </a:bodyPr>
          <a:lstStyle/>
          <a:p>
            <a:pPr defTabSz="913686" fontAlgn="base">
              <a:spcBef>
                <a:spcPct val="20000"/>
              </a:spcBef>
              <a:spcAft>
                <a:spcPts val="600"/>
              </a:spcAft>
            </a:pPr>
            <a:r>
              <a:rPr lang="en-US" sz="1400" b="1" dirty="0">
                <a:solidFill>
                  <a:srgbClr val="FFFFFF"/>
                </a:solidFill>
                <a:cs typeface="Arial" pitchFamily="34" charset="0"/>
              </a:rPr>
              <a:t>Lorem ipsum</a:t>
            </a:r>
          </a:p>
        </p:txBody>
      </p:sp>
      <p:sp>
        <p:nvSpPr>
          <p:cNvPr id="79" name="Rectangle 78">
            <a:extLst>
              <a:ext uri="{FF2B5EF4-FFF2-40B4-BE49-F238E27FC236}">
                <a16:creationId xmlns:a16="http://schemas.microsoft.com/office/drawing/2014/main" id="{C7C76A07-E4E2-EA46-B160-2694D5493FB0}"/>
              </a:ext>
            </a:extLst>
          </p:cNvPr>
          <p:cNvSpPr/>
          <p:nvPr/>
        </p:nvSpPr>
        <p:spPr>
          <a:xfrm>
            <a:off x="8013819" y="2135713"/>
            <a:ext cx="2370355" cy="1384924"/>
          </a:xfrm>
          <a:prstGeom prst="rect">
            <a:avLst/>
          </a:prstGeom>
        </p:spPr>
        <p:txBody>
          <a:bodyPr wrap="square" lIns="91370" tIns="45685" rIns="91370" bIns="45685">
            <a:spAutoFit/>
          </a:bodyPr>
          <a:lstStyle/>
          <a:p>
            <a:pPr defTabSz="913686" fontAlgn="base">
              <a:spcBef>
                <a:spcPct val="20000"/>
              </a:spcBef>
              <a:spcAft>
                <a:spcPct val="0"/>
              </a:spcAft>
            </a:pPr>
            <a:r>
              <a:rPr lang="en-US" sz="1200" dirty="0">
                <a:solidFill>
                  <a:srgbClr val="FFFFFF"/>
                </a:solidFill>
                <a:cs typeface="Arial" pitchFamily="34" charset="0"/>
              </a:rPr>
              <a:t>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a:t>
            </a:r>
          </a:p>
        </p:txBody>
      </p:sp>
      <p:sp>
        <p:nvSpPr>
          <p:cNvPr id="80" name="Rectangle 79">
            <a:extLst>
              <a:ext uri="{FF2B5EF4-FFF2-40B4-BE49-F238E27FC236}">
                <a16:creationId xmlns:a16="http://schemas.microsoft.com/office/drawing/2014/main" id="{6D7B34A5-44AC-C844-AEBC-FF771A072F95}"/>
              </a:ext>
            </a:extLst>
          </p:cNvPr>
          <p:cNvSpPr/>
          <p:nvPr/>
        </p:nvSpPr>
        <p:spPr>
          <a:xfrm>
            <a:off x="4922628" y="2161791"/>
            <a:ext cx="2370355" cy="830926"/>
          </a:xfrm>
          <a:prstGeom prst="rect">
            <a:avLst/>
          </a:prstGeom>
        </p:spPr>
        <p:txBody>
          <a:bodyPr wrap="square" lIns="91370" tIns="45685" rIns="91370" bIns="45685">
            <a:spAutoFit/>
          </a:bodyPr>
          <a:lstStyle/>
          <a:p>
            <a:pPr defTabSz="913686" fontAlgn="base">
              <a:spcBef>
                <a:spcPct val="20000"/>
              </a:spcBef>
              <a:spcAft>
                <a:spcPct val="0"/>
              </a:spcAft>
            </a:pPr>
            <a:r>
              <a:rPr lang="en-US" sz="1200" dirty="0">
                <a:solidFill>
                  <a:srgbClr val="FFFFFF"/>
                </a:solidFill>
                <a:cs typeface="Arial" pitchFamily="34" charset="0"/>
              </a:rPr>
              <a:t>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a:t>
            </a:r>
          </a:p>
        </p:txBody>
      </p:sp>
      <p:sp>
        <p:nvSpPr>
          <p:cNvPr id="25" name="Rectangle 24">
            <a:extLst>
              <a:ext uri="{FF2B5EF4-FFF2-40B4-BE49-F238E27FC236}">
                <a16:creationId xmlns:a16="http://schemas.microsoft.com/office/drawing/2014/main" id="{D3FB9E83-F56F-EF4D-A14C-4100C88C8528}"/>
              </a:ext>
            </a:extLst>
          </p:cNvPr>
          <p:cNvSpPr/>
          <p:nvPr/>
        </p:nvSpPr>
        <p:spPr>
          <a:xfrm>
            <a:off x="1783643" y="2161791"/>
            <a:ext cx="2370355" cy="830926"/>
          </a:xfrm>
          <a:prstGeom prst="rect">
            <a:avLst/>
          </a:prstGeom>
        </p:spPr>
        <p:txBody>
          <a:bodyPr wrap="square" lIns="91370" tIns="45685" rIns="91370" bIns="45685">
            <a:spAutoFit/>
          </a:bodyPr>
          <a:lstStyle/>
          <a:p>
            <a:pPr defTabSz="913686" fontAlgn="base">
              <a:spcBef>
                <a:spcPct val="20000"/>
              </a:spcBef>
              <a:spcAft>
                <a:spcPct val="0"/>
              </a:spcAft>
            </a:pPr>
            <a:r>
              <a:rPr lang="en-US" sz="1200" dirty="0">
                <a:solidFill>
                  <a:srgbClr val="FFFFFF"/>
                </a:solidFill>
                <a:cs typeface="Arial" pitchFamily="34" charset="0"/>
              </a:rPr>
              <a:t>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a:t>
            </a:r>
          </a:p>
        </p:txBody>
      </p:sp>
    </p:spTree>
    <p:extLst>
      <p:ext uri="{BB962C8B-B14F-4D97-AF65-F5344CB8AC3E}">
        <p14:creationId xmlns:p14="http://schemas.microsoft.com/office/powerpoint/2010/main" val="725387688"/>
      </p:ext>
    </p:extLst>
  </p:cSld>
  <p:clrMapOvr>
    <a:masterClrMapping/>
  </p:clrMapOvr>
  <p:transition>
    <p:fade/>
  </p:transition>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11">
            <a:extLst>
              <a:ext uri="{FF2B5EF4-FFF2-40B4-BE49-F238E27FC236}">
                <a16:creationId xmlns:a16="http://schemas.microsoft.com/office/drawing/2014/main" id="{D888EC4E-A23F-3940-9361-7438466B3EFD}"/>
              </a:ext>
            </a:extLst>
          </p:cNvPr>
          <p:cNvSpPr>
            <a:spLocks/>
          </p:cNvSpPr>
          <p:nvPr/>
        </p:nvSpPr>
        <p:spPr bwMode="auto">
          <a:xfrm>
            <a:off x="4922839" y="3304614"/>
            <a:ext cx="2956291" cy="2831510"/>
          </a:xfrm>
          <a:custGeom>
            <a:avLst/>
            <a:gdLst>
              <a:gd name="T0" fmla="*/ 0 w 2017"/>
              <a:gd name="T1" fmla="*/ 0 h 1585"/>
              <a:gd name="T2" fmla="*/ 0 w 2017"/>
              <a:gd name="T3" fmla="*/ 672 h 1585"/>
              <a:gd name="T4" fmla="*/ 23 w 2017"/>
              <a:gd name="T5" fmla="*/ 1167 h 1585"/>
              <a:gd name="T6" fmla="*/ 36 w 2017"/>
              <a:gd name="T7" fmla="*/ 1269 h 1585"/>
              <a:gd name="T8" fmla="*/ 52 w 2017"/>
              <a:gd name="T9" fmla="*/ 1353 h 1585"/>
              <a:gd name="T10" fmla="*/ 74 w 2017"/>
              <a:gd name="T11" fmla="*/ 1437 h 1585"/>
              <a:gd name="T12" fmla="*/ 103 w 2017"/>
              <a:gd name="T13" fmla="*/ 1500 h 1585"/>
              <a:gd name="T14" fmla="*/ 142 w 2017"/>
              <a:gd name="T15" fmla="*/ 1551 h 1585"/>
              <a:gd name="T16" fmla="*/ 207 w 2017"/>
              <a:gd name="T17" fmla="*/ 1584 h 1585"/>
              <a:gd name="T18" fmla="*/ 2016 w 2017"/>
              <a:gd name="T19" fmla="*/ 1584 h 1585"/>
              <a:gd name="T20" fmla="*/ 1919 w 2017"/>
              <a:gd name="T21" fmla="*/ 1515 h 1585"/>
              <a:gd name="T22" fmla="*/ 1880 w 2017"/>
              <a:gd name="T23" fmla="*/ 1482 h 1585"/>
              <a:gd name="T24" fmla="*/ 1842 w 2017"/>
              <a:gd name="T25" fmla="*/ 1437 h 1585"/>
              <a:gd name="T26" fmla="*/ 1816 w 2017"/>
              <a:gd name="T27" fmla="*/ 1392 h 1585"/>
              <a:gd name="T28" fmla="*/ 1796 w 2017"/>
              <a:gd name="T29" fmla="*/ 1317 h 1585"/>
              <a:gd name="T30" fmla="*/ 1780 w 2017"/>
              <a:gd name="T31" fmla="*/ 1254 h 1585"/>
              <a:gd name="T32" fmla="*/ 1774 w 2017"/>
              <a:gd name="T33" fmla="*/ 1155 h 1585"/>
              <a:gd name="T34" fmla="*/ 1758 w 2017"/>
              <a:gd name="T35" fmla="*/ 336 h 1585"/>
              <a:gd name="T36" fmla="*/ 1758 w 2017"/>
              <a:gd name="T37" fmla="*/ 0 h 1585"/>
              <a:gd name="T38" fmla="*/ 0 w 2017"/>
              <a:gd name="T39" fmla="*/ 0 h 15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17"/>
              <a:gd name="T61" fmla="*/ 0 h 1585"/>
              <a:gd name="T62" fmla="*/ 2017 w 2017"/>
              <a:gd name="T63" fmla="*/ 1585 h 158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17" h="1585">
                <a:moveTo>
                  <a:pt x="0" y="0"/>
                </a:moveTo>
                <a:lnTo>
                  <a:pt x="0" y="672"/>
                </a:lnTo>
                <a:lnTo>
                  <a:pt x="23" y="1167"/>
                </a:lnTo>
                <a:lnTo>
                  <a:pt x="36" y="1269"/>
                </a:lnTo>
                <a:lnTo>
                  <a:pt x="52" y="1353"/>
                </a:lnTo>
                <a:lnTo>
                  <a:pt x="74" y="1437"/>
                </a:lnTo>
                <a:lnTo>
                  <a:pt x="103" y="1500"/>
                </a:lnTo>
                <a:lnTo>
                  <a:pt x="142" y="1551"/>
                </a:lnTo>
                <a:lnTo>
                  <a:pt x="207" y="1584"/>
                </a:lnTo>
                <a:lnTo>
                  <a:pt x="2016" y="1584"/>
                </a:lnTo>
                <a:lnTo>
                  <a:pt x="1919" y="1515"/>
                </a:lnTo>
                <a:lnTo>
                  <a:pt x="1880" y="1482"/>
                </a:lnTo>
                <a:lnTo>
                  <a:pt x="1842" y="1437"/>
                </a:lnTo>
                <a:lnTo>
                  <a:pt x="1816" y="1392"/>
                </a:lnTo>
                <a:lnTo>
                  <a:pt x="1796" y="1317"/>
                </a:lnTo>
                <a:lnTo>
                  <a:pt x="1780" y="1254"/>
                </a:lnTo>
                <a:lnTo>
                  <a:pt x="1774" y="1155"/>
                </a:lnTo>
                <a:lnTo>
                  <a:pt x="1758" y="336"/>
                </a:lnTo>
                <a:lnTo>
                  <a:pt x="1758"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lstStyle/>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p:txBody>
      </p:sp>
      <p:sp>
        <p:nvSpPr>
          <p:cNvPr id="23" name="Freeform 12">
            <a:extLst>
              <a:ext uri="{FF2B5EF4-FFF2-40B4-BE49-F238E27FC236}">
                <a16:creationId xmlns:a16="http://schemas.microsoft.com/office/drawing/2014/main" id="{31323CA5-0D07-C740-AD5C-B1322BFC5635}"/>
              </a:ext>
            </a:extLst>
          </p:cNvPr>
          <p:cNvSpPr>
            <a:spLocks/>
          </p:cNvSpPr>
          <p:nvPr/>
        </p:nvSpPr>
        <p:spPr bwMode="auto">
          <a:xfrm>
            <a:off x="4922839" y="3259394"/>
            <a:ext cx="2579609" cy="457200"/>
          </a:xfrm>
          <a:custGeom>
            <a:avLst/>
            <a:gdLst>
              <a:gd name="T0" fmla="*/ 0 w 1760"/>
              <a:gd name="T1" fmla="*/ 0 h 315"/>
              <a:gd name="T2" fmla="*/ 0 w 1760"/>
              <a:gd name="T3" fmla="*/ 314 h 315"/>
              <a:gd name="T4" fmla="*/ 1759 w 1760"/>
              <a:gd name="T5" fmla="*/ 314 h 315"/>
              <a:gd name="T6" fmla="*/ 1759 w 1760"/>
              <a:gd name="T7" fmla="*/ 0 h 315"/>
              <a:gd name="T8" fmla="*/ 0 w 1760"/>
              <a:gd name="T9" fmla="*/ 0 h 315"/>
              <a:gd name="T10" fmla="*/ 0 60000 65536"/>
              <a:gd name="T11" fmla="*/ 0 60000 65536"/>
              <a:gd name="T12" fmla="*/ 0 60000 65536"/>
              <a:gd name="T13" fmla="*/ 0 60000 65536"/>
              <a:gd name="T14" fmla="*/ 0 60000 65536"/>
              <a:gd name="T15" fmla="*/ 0 w 1760"/>
              <a:gd name="T16" fmla="*/ 0 h 315"/>
              <a:gd name="T17" fmla="*/ 1760 w 1760"/>
              <a:gd name="T18" fmla="*/ 315 h 315"/>
            </a:gdLst>
            <a:ahLst/>
            <a:cxnLst>
              <a:cxn ang="T10">
                <a:pos x="T0" y="T1"/>
              </a:cxn>
              <a:cxn ang="T11">
                <a:pos x="T2" y="T3"/>
              </a:cxn>
              <a:cxn ang="T12">
                <a:pos x="T4" y="T5"/>
              </a:cxn>
              <a:cxn ang="T13">
                <a:pos x="T6" y="T7"/>
              </a:cxn>
              <a:cxn ang="T14">
                <a:pos x="T8" y="T9"/>
              </a:cxn>
            </a:cxnLst>
            <a:rect l="T15" t="T16" r="T17" b="T18"/>
            <a:pathLst>
              <a:path w="1760" h="315">
                <a:moveTo>
                  <a:pt x="0" y="0"/>
                </a:moveTo>
                <a:lnTo>
                  <a:pt x="0" y="314"/>
                </a:lnTo>
                <a:lnTo>
                  <a:pt x="1759" y="314"/>
                </a:lnTo>
                <a:lnTo>
                  <a:pt x="1759" y="0"/>
                </a:lnTo>
                <a:lnTo>
                  <a:pt x="0" y="0"/>
                </a:lnTo>
              </a:path>
            </a:pathLst>
          </a:custGeom>
          <a:solidFill>
            <a:schemeClr val="accent1"/>
          </a:solidFill>
          <a:ln w="9525" cap="rnd" cmpd="sng">
            <a:solidFill>
              <a:schemeClr val="accent1"/>
            </a:solidFill>
            <a:prstDash val="solid"/>
            <a:round/>
            <a:headEnd type="none" w="med" len="med"/>
            <a:tailEnd type="none" w="med" len="med"/>
          </a:ln>
        </p:spPr>
        <p:txBody>
          <a:bodyPr lIns="91440" tIns="91440" rIns="91440" bIns="91440" anchor="ctr" anchorCtr="0"/>
          <a:lstStyle/>
          <a:p>
            <a:pPr algn="ctr" defTabSz="913686">
              <a:spcBef>
                <a:spcPts val="600"/>
              </a:spcBef>
              <a:buSzPct val="100000"/>
            </a:pPr>
            <a:r>
              <a:rPr lang="en-US" sz="1400" dirty="0">
                <a:solidFill>
                  <a:prstClr val="white"/>
                </a:solidFill>
              </a:rPr>
              <a:t>Lorem ipsum </a:t>
            </a:r>
          </a:p>
        </p:txBody>
      </p:sp>
      <p:grpSp>
        <p:nvGrpSpPr>
          <p:cNvPr id="24" name="Group 23">
            <a:extLst>
              <a:ext uri="{FF2B5EF4-FFF2-40B4-BE49-F238E27FC236}">
                <a16:creationId xmlns:a16="http://schemas.microsoft.com/office/drawing/2014/main" id="{553663C1-F88C-EE46-A7F9-3D4B0085EB4B}"/>
              </a:ext>
            </a:extLst>
          </p:cNvPr>
          <p:cNvGrpSpPr/>
          <p:nvPr/>
        </p:nvGrpSpPr>
        <p:grpSpPr>
          <a:xfrm>
            <a:off x="5889615" y="3060680"/>
            <a:ext cx="165623" cy="269876"/>
            <a:chOff x="4204659" y="1516063"/>
            <a:chExt cx="165623" cy="269876"/>
          </a:xfrm>
          <a:solidFill>
            <a:schemeClr val="bg1">
              <a:lumMod val="50000"/>
            </a:schemeClr>
          </a:solidFill>
        </p:grpSpPr>
        <p:sp>
          <p:nvSpPr>
            <p:cNvPr id="25" name="Freeform 15">
              <a:extLst>
                <a:ext uri="{FF2B5EF4-FFF2-40B4-BE49-F238E27FC236}">
                  <a16:creationId xmlns:a16="http://schemas.microsoft.com/office/drawing/2014/main" id="{D07DAFDA-3B83-9E40-B6B0-A8F6CCE67BC0}"/>
                </a:ext>
              </a:extLst>
            </p:cNvPr>
            <p:cNvSpPr>
              <a:spLocks/>
            </p:cNvSpPr>
            <p:nvPr/>
          </p:nvSpPr>
          <p:spPr bwMode="auto">
            <a:xfrm>
              <a:off x="4255958" y="1584326"/>
              <a:ext cx="114324" cy="201613"/>
            </a:xfrm>
            <a:custGeom>
              <a:avLst/>
              <a:gdLst>
                <a:gd name="T0" fmla="*/ 35 w 78"/>
                <a:gd name="T1" fmla="*/ 0 h 127"/>
                <a:gd name="T2" fmla="*/ 77 w 78"/>
                <a:gd name="T3" fmla="*/ 126 h 127"/>
                <a:gd name="T4" fmla="*/ 0 w 78"/>
                <a:gd name="T5" fmla="*/ 13 h 127"/>
                <a:gd name="T6" fmla="*/ 35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35" y="0"/>
                  </a:moveTo>
                  <a:lnTo>
                    <a:pt x="77" y="126"/>
                  </a:lnTo>
                  <a:lnTo>
                    <a:pt x="0" y="13"/>
                  </a:lnTo>
                  <a:lnTo>
                    <a:pt x="35"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defTabSz="913686"/>
              <a:endParaRPr lang="en-US" dirty="0">
                <a:solidFill>
                  <a:srgbClr val="000000"/>
                </a:solidFill>
              </a:endParaRPr>
            </a:p>
          </p:txBody>
        </p:sp>
        <p:sp>
          <p:nvSpPr>
            <p:cNvPr id="46" name="Oval 16">
              <a:extLst>
                <a:ext uri="{FF2B5EF4-FFF2-40B4-BE49-F238E27FC236}">
                  <a16:creationId xmlns:a16="http://schemas.microsoft.com/office/drawing/2014/main" id="{2CE23AD5-5847-0C4F-A099-55516012B425}"/>
                </a:ext>
              </a:extLst>
            </p:cNvPr>
            <p:cNvSpPr>
              <a:spLocks noChangeArrowheads="1"/>
            </p:cNvSpPr>
            <p:nvPr/>
          </p:nvSpPr>
          <p:spPr bwMode="auto">
            <a:xfrm rot="19680000" flipH="1">
              <a:off x="4204659" y="1516063"/>
              <a:ext cx="134844" cy="93663"/>
            </a:xfrm>
            <a:prstGeom prst="ellipse">
              <a:avLst/>
            </a:prstGeom>
            <a:grpFill/>
            <a:ln w="9525">
              <a:solidFill>
                <a:schemeClr val="bg2">
                  <a:lumMod val="75000"/>
                </a:schemeClr>
              </a:solidFill>
              <a:round/>
              <a:headEnd/>
              <a:tailEnd/>
            </a:ln>
          </p:spPr>
          <p:txBody>
            <a:bodyPr wrap="none" anchor="ctr"/>
            <a:lstStyle/>
            <a:p>
              <a:pPr algn="ctr" defTabSz="913686"/>
              <a:endParaRPr lang="en-US" dirty="0">
                <a:solidFill>
                  <a:srgbClr val="000000"/>
                </a:solidFill>
              </a:endParaRPr>
            </a:p>
          </p:txBody>
        </p:sp>
      </p:grpSp>
      <p:sp>
        <p:nvSpPr>
          <p:cNvPr id="47" name="Freeform 19">
            <a:extLst>
              <a:ext uri="{FF2B5EF4-FFF2-40B4-BE49-F238E27FC236}">
                <a16:creationId xmlns:a16="http://schemas.microsoft.com/office/drawing/2014/main" id="{BE0827F7-457A-7144-A66C-99CEA4EBA14B}"/>
              </a:ext>
            </a:extLst>
          </p:cNvPr>
          <p:cNvSpPr>
            <a:spLocks/>
          </p:cNvSpPr>
          <p:nvPr/>
        </p:nvSpPr>
        <p:spPr bwMode="auto">
          <a:xfrm>
            <a:off x="2141166" y="1312754"/>
            <a:ext cx="2814638" cy="1602560"/>
          </a:xfrm>
          <a:custGeom>
            <a:avLst/>
            <a:gdLst>
              <a:gd name="T0" fmla="*/ 0 w 1921"/>
              <a:gd name="T1" fmla="*/ 0 h 2017"/>
              <a:gd name="T2" fmla="*/ 0 w 1921"/>
              <a:gd name="T3" fmla="*/ 1462 h 2017"/>
              <a:gd name="T4" fmla="*/ 12 w 1921"/>
              <a:gd name="T5" fmla="*/ 1771 h 2017"/>
              <a:gd name="T6" fmla="*/ 14 w 1921"/>
              <a:gd name="T7" fmla="*/ 1840 h 2017"/>
              <a:gd name="T8" fmla="*/ 29 w 1921"/>
              <a:gd name="T9" fmla="*/ 1910 h 2017"/>
              <a:gd name="T10" fmla="*/ 48 w 1921"/>
              <a:gd name="T11" fmla="*/ 1966 h 2017"/>
              <a:gd name="T12" fmla="*/ 72 w 1921"/>
              <a:gd name="T13" fmla="*/ 1998 h 2017"/>
              <a:gd name="T14" fmla="*/ 96 w 1921"/>
              <a:gd name="T15" fmla="*/ 2016 h 2017"/>
              <a:gd name="T16" fmla="*/ 1920 w 1921"/>
              <a:gd name="T17" fmla="*/ 2016 h 2017"/>
              <a:gd name="T18" fmla="*/ 1815 w 1921"/>
              <a:gd name="T19" fmla="*/ 1928 h 2017"/>
              <a:gd name="T20" fmla="*/ 1773 w 1921"/>
              <a:gd name="T21" fmla="*/ 1877 h 2017"/>
              <a:gd name="T22" fmla="*/ 1740 w 1921"/>
              <a:gd name="T23" fmla="*/ 1824 h 2017"/>
              <a:gd name="T24" fmla="*/ 1707 w 1921"/>
              <a:gd name="T25" fmla="*/ 1755 h 2017"/>
              <a:gd name="T26" fmla="*/ 1686 w 1921"/>
              <a:gd name="T27" fmla="*/ 1670 h 2017"/>
              <a:gd name="T28" fmla="*/ 1668 w 1921"/>
              <a:gd name="T29" fmla="*/ 1588 h 2017"/>
              <a:gd name="T30" fmla="*/ 1650 w 1921"/>
              <a:gd name="T31" fmla="*/ 1471 h 2017"/>
              <a:gd name="T32" fmla="*/ 1641 w 1921"/>
              <a:gd name="T33" fmla="*/ 1329 h 2017"/>
              <a:gd name="T34" fmla="*/ 1632 w 1921"/>
              <a:gd name="T35" fmla="*/ 1109 h 2017"/>
              <a:gd name="T36" fmla="*/ 1632 w 1921"/>
              <a:gd name="T37" fmla="*/ 0 h 2017"/>
              <a:gd name="T38" fmla="*/ 0 w 1921"/>
              <a:gd name="T39" fmla="*/ 0 h 20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21"/>
              <a:gd name="T61" fmla="*/ 0 h 2017"/>
              <a:gd name="T62" fmla="*/ 1921 w 1921"/>
              <a:gd name="T63" fmla="*/ 2017 h 20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21" h="2017">
                <a:moveTo>
                  <a:pt x="0" y="0"/>
                </a:moveTo>
                <a:lnTo>
                  <a:pt x="0" y="1462"/>
                </a:lnTo>
                <a:lnTo>
                  <a:pt x="12" y="1771"/>
                </a:lnTo>
                <a:lnTo>
                  <a:pt x="14" y="1840"/>
                </a:lnTo>
                <a:lnTo>
                  <a:pt x="29" y="1910"/>
                </a:lnTo>
                <a:lnTo>
                  <a:pt x="48" y="1966"/>
                </a:lnTo>
                <a:lnTo>
                  <a:pt x="72" y="1998"/>
                </a:lnTo>
                <a:lnTo>
                  <a:pt x="96" y="2016"/>
                </a:lnTo>
                <a:lnTo>
                  <a:pt x="1920" y="2016"/>
                </a:lnTo>
                <a:lnTo>
                  <a:pt x="1815" y="1928"/>
                </a:lnTo>
                <a:lnTo>
                  <a:pt x="1773" y="1877"/>
                </a:lnTo>
                <a:lnTo>
                  <a:pt x="1740" y="1824"/>
                </a:lnTo>
                <a:lnTo>
                  <a:pt x="1707" y="1755"/>
                </a:lnTo>
                <a:lnTo>
                  <a:pt x="1686" y="1670"/>
                </a:lnTo>
                <a:lnTo>
                  <a:pt x="1668" y="1588"/>
                </a:lnTo>
                <a:lnTo>
                  <a:pt x="1650" y="1471"/>
                </a:lnTo>
                <a:lnTo>
                  <a:pt x="1641" y="1329"/>
                </a:lnTo>
                <a:lnTo>
                  <a:pt x="1632" y="1109"/>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lstStyle/>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p:txBody>
      </p:sp>
      <p:sp>
        <p:nvSpPr>
          <p:cNvPr id="48" name="Freeform 20">
            <a:extLst>
              <a:ext uri="{FF2B5EF4-FFF2-40B4-BE49-F238E27FC236}">
                <a16:creationId xmlns:a16="http://schemas.microsoft.com/office/drawing/2014/main" id="{531E7FE9-2898-884C-AE9F-15B6CE3E54B5}"/>
              </a:ext>
            </a:extLst>
          </p:cNvPr>
          <p:cNvSpPr>
            <a:spLocks/>
          </p:cNvSpPr>
          <p:nvPr/>
        </p:nvSpPr>
        <p:spPr bwMode="auto">
          <a:xfrm>
            <a:off x="2141166" y="1287329"/>
            <a:ext cx="2392662" cy="457200"/>
          </a:xfrm>
          <a:custGeom>
            <a:avLst/>
            <a:gdLst>
              <a:gd name="T0" fmla="*/ 0 w 1633"/>
              <a:gd name="T1" fmla="*/ 0 h 315"/>
              <a:gd name="T2" fmla="*/ 0 w 1633"/>
              <a:gd name="T3" fmla="*/ 314 h 315"/>
              <a:gd name="T4" fmla="*/ 1632 w 1633"/>
              <a:gd name="T5" fmla="*/ 314 h 315"/>
              <a:gd name="T6" fmla="*/ 1632 w 1633"/>
              <a:gd name="T7" fmla="*/ 0 h 315"/>
              <a:gd name="T8" fmla="*/ 0 w 1633"/>
              <a:gd name="T9" fmla="*/ 0 h 315"/>
              <a:gd name="T10" fmla="*/ 0 60000 65536"/>
              <a:gd name="T11" fmla="*/ 0 60000 65536"/>
              <a:gd name="T12" fmla="*/ 0 60000 65536"/>
              <a:gd name="T13" fmla="*/ 0 60000 65536"/>
              <a:gd name="T14" fmla="*/ 0 60000 65536"/>
              <a:gd name="T15" fmla="*/ 0 w 1633"/>
              <a:gd name="T16" fmla="*/ 0 h 315"/>
              <a:gd name="T17" fmla="*/ 1633 w 1633"/>
              <a:gd name="T18" fmla="*/ 315 h 315"/>
            </a:gdLst>
            <a:ahLst/>
            <a:cxnLst>
              <a:cxn ang="T10">
                <a:pos x="T0" y="T1"/>
              </a:cxn>
              <a:cxn ang="T11">
                <a:pos x="T2" y="T3"/>
              </a:cxn>
              <a:cxn ang="T12">
                <a:pos x="T4" y="T5"/>
              </a:cxn>
              <a:cxn ang="T13">
                <a:pos x="T6" y="T7"/>
              </a:cxn>
              <a:cxn ang="T14">
                <a:pos x="T8" y="T9"/>
              </a:cxn>
            </a:cxnLst>
            <a:rect l="T15" t="T16" r="T17" b="T18"/>
            <a:pathLst>
              <a:path w="1633" h="315">
                <a:moveTo>
                  <a:pt x="0" y="0"/>
                </a:moveTo>
                <a:lnTo>
                  <a:pt x="0" y="314"/>
                </a:lnTo>
                <a:lnTo>
                  <a:pt x="1632" y="314"/>
                </a:lnTo>
                <a:lnTo>
                  <a:pt x="1632" y="0"/>
                </a:lnTo>
                <a:lnTo>
                  <a:pt x="0" y="0"/>
                </a:lnTo>
              </a:path>
            </a:pathLst>
          </a:custGeom>
          <a:solidFill>
            <a:schemeClr val="accent3"/>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913686"/>
            <a:r>
              <a:rPr lang="en-GB" sz="1400" b="1" dirty="0">
                <a:solidFill>
                  <a:prstClr val="white"/>
                </a:solidFill>
              </a:rPr>
              <a:t>Lorem ipsum </a:t>
            </a:r>
          </a:p>
        </p:txBody>
      </p:sp>
      <p:grpSp>
        <p:nvGrpSpPr>
          <p:cNvPr id="49" name="Group 48">
            <a:extLst>
              <a:ext uri="{FF2B5EF4-FFF2-40B4-BE49-F238E27FC236}">
                <a16:creationId xmlns:a16="http://schemas.microsoft.com/office/drawing/2014/main" id="{FE494BA7-9EDA-364B-B402-B70BD41DCEC2}"/>
              </a:ext>
            </a:extLst>
          </p:cNvPr>
          <p:cNvGrpSpPr/>
          <p:nvPr/>
        </p:nvGrpSpPr>
        <p:grpSpPr>
          <a:xfrm>
            <a:off x="3307040" y="1051375"/>
            <a:ext cx="164102" cy="269876"/>
            <a:chOff x="1967343" y="1635125"/>
            <a:chExt cx="164102" cy="269876"/>
          </a:xfrm>
          <a:solidFill>
            <a:schemeClr val="bg1">
              <a:lumMod val="50000"/>
            </a:schemeClr>
          </a:solidFill>
        </p:grpSpPr>
        <p:sp>
          <p:nvSpPr>
            <p:cNvPr id="50" name="Freeform 23">
              <a:extLst>
                <a:ext uri="{FF2B5EF4-FFF2-40B4-BE49-F238E27FC236}">
                  <a16:creationId xmlns:a16="http://schemas.microsoft.com/office/drawing/2014/main" id="{DC9DD240-7D43-464B-B91F-165749CEA284}"/>
                </a:ext>
              </a:extLst>
            </p:cNvPr>
            <p:cNvSpPr>
              <a:spLocks/>
            </p:cNvSpPr>
            <p:nvPr/>
          </p:nvSpPr>
          <p:spPr bwMode="auto">
            <a:xfrm>
              <a:off x="1967343" y="1703388"/>
              <a:ext cx="114285"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defTabSz="913686"/>
              <a:endParaRPr lang="en-US" dirty="0">
                <a:solidFill>
                  <a:srgbClr val="000000"/>
                </a:solidFill>
              </a:endParaRPr>
            </a:p>
          </p:txBody>
        </p:sp>
        <p:sp>
          <p:nvSpPr>
            <p:cNvPr id="51" name="Oval 24">
              <a:extLst>
                <a:ext uri="{FF2B5EF4-FFF2-40B4-BE49-F238E27FC236}">
                  <a16:creationId xmlns:a16="http://schemas.microsoft.com/office/drawing/2014/main" id="{0F216BBD-41D8-894C-9BC5-DB544167F4D6}"/>
                </a:ext>
              </a:extLst>
            </p:cNvPr>
            <p:cNvSpPr>
              <a:spLocks noChangeArrowheads="1"/>
            </p:cNvSpPr>
            <p:nvPr/>
          </p:nvSpPr>
          <p:spPr bwMode="auto">
            <a:xfrm rot="1920000">
              <a:off x="1996647" y="1635125"/>
              <a:ext cx="134798" cy="93663"/>
            </a:xfrm>
            <a:prstGeom prst="ellipse">
              <a:avLst/>
            </a:prstGeom>
            <a:grpFill/>
            <a:ln w="9525">
              <a:solidFill>
                <a:schemeClr val="bg2">
                  <a:lumMod val="75000"/>
                </a:schemeClr>
              </a:solidFill>
              <a:round/>
              <a:headEnd/>
              <a:tailEnd/>
            </a:ln>
          </p:spPr>
          <p:txBody>
            <a:bodyPr wrap="none" anchor="ctr"/>
            <a:lstStyle/>
            <a:p>
              <a:pPr algn="ctr" defTabSz="913686"/>
              <a:endParaRPr lang="en-US" dirty="0">
                <a:solidFill>
                  <a:srgbClr val="000000"/>
                </a:solidFill>
              </a:endParaRPr>
            </a:p>
          </p:txBody>
        </p:sp>
      </p:grpSp>
      <p:sp>
        <p:nvSpPr>
          <p:cNvPr id="52" name="Freeform 33">
            <a:extLst>
              <a:ext uri="{FF2B5EF4-FFF2-40B4-BE49-F238E27FC236}">
                <a16:creationId xmlns:a16="http://schemas.microsoft.com/office/drawing/2014/main" id="{9AA327D5-4D76-F54E-B67D-9C7E6938C963}"/>
              </a:ext>
            </a:extLst>
          </p:cNvPr>
          <p:cNvSpPr>
            <a:spLocks/>
          </p:cNvSpPr>
          <p:nvPr/>
        </p:nvSpPr>
        <p:spPr bwMode="auto">
          <a:xfrm>
            <a:off x="7462557" y="1718412"/>
            <a:ext cx="2718517" cy="1612145"/>
          </a:xfrm>
          <a:custGeom>
            <a:avLst/>
            <a:gdLst>
              <a:gd name="T0" fmla="*/ 0 w 1873"/>
              <a:gd name="T1" fmla="*/ 0 h 1105"/>
              <a:gd name="T2" fmla="*/ 0 w 1873"/>
              <a:gd name="T3" fmla="*/ 574 h 1105"/>
              <a:gd name="T4" fmla="*/ 12 w 1873"/>
              <a:gd name="T5" fmla="*/ 825 h 1105"/>
              <a:gd name="T6" fmla="*/ 22 w 1873"/>
              <a:gd name="T7" fmla="*/ 901 h 1105"/>
              <a:gd name="T8" fmla="*/ 48 w 1873"/>
              <a:gd name="T9" fmla="*/ 972 h 1105"/>
              <a:gd name="T10" fmla="*/ 84 w 1873"/>
              <a:gd name="T11" fmla="*/ 1018 h 1105"/>
              <a:gd name="T12" fmla="*/ 129 w 1873"/>
              <a:gd name="T13" fmla="*/ 1063 h 1105"/>
              <a:gd name="T14" fmla="*/ 192 w 1873"/>
              <a:gd name="T15" fmla="*/ 1104 h 1105"/>
              <a:gd name="T16" fmla="*/ 1872 w 1873"/>
              <a:gd name="T17" fmla="*/ 1104 h 1105"/>
              <a:gd name="T18" fmla="*/ 1791 w 1873"/>
              <a:gd name="T19" fmla="*/ 1057 h 1105"/>
              <a:gd name="T20" fmla="*/ 1749 w 1873"/>
              <a:gd name="T21" fmla="*/ 1024 h 1105"/>
              <a:gd name="T22" fmla="*/ 1716 w 1873"/>
              <a:gd name="T23" fmla="*/ 985 h 1105"/>
              <a:gd name="T24" fmla="*/ 1692 w 1873"/>
              <a:gd name="T25" fmla="*/ 952 h 1105"/>
              <a:gd name="T26" fmla="*/ 1665 w 1873"/>
              <a:gd name="T27" fmla="*/ 886 h 1105"/>
              <a:gd name="T28" fmla="*/ 1647 w 1873"/>
              <a:gd name="T29" fmla="*/ 709 h 1105"/>
              <a:gd name="T30" fmla="*/ 1632 w 1873"/>
              <a:gd name="T31" fmla="*/ 353 h 1105"/>
              <a:gd name="T32" fmla="*/ 1632 w 1873"/>
              <a:gd name="T33" fmla="*/ 0 h 1105"/>
              <a:gd name="T34" fmla="*/ 0 w 1873"/>
              <a:gd name="T35" fmla="*/ 0 h 110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73"/>
              <a:gd name="T55" fmla="*/ 0 h 1105"/>
              <a:gd name="T56" fmla="*/ 1873 w 1873"/>
              <a:gd name="T57" fmla="*/ 1105 h 110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73" h="1105">
                <a:moveTo>
                  <a:pt x="0" y="0"/>
                </a:moveTo>
                <a:lnTo>
                  <a:pt x="0" y="574"/>
                </a:lnTo>
                <a:lnTo>
                  <a:pt x="12" y="825"/>
                </a:lnTo>
                <a:lnTo>
                  <a:pt x="22" y="901"/>
                </a:lnTo>
                <a:lnTo>
                  <a:pt x="48" y="972"/>
                </a:lnTo>
                <a:lnTo>
                  <a:pt x="84" y="1018"/>
                </a:lnTo>
                <a:lnTo>
                  <a:pt x="129" y="1063"/>
                </a:lnTo>
                <a:lnTo>
                  <a:pt x="192" y="1104"/>
                </a:lnTo>
                <a:lnTo>
                  <a:pt x="1872" y="1104"/>
                </a:lnTo>
                <a:lnTo>
                  <a:pt x="1791" y="1057"/>
                </a:lnTo>
                <a:lnTo>
                  <a:pt x="1749" y="1024"/>
                </a:lnTo>
                <a:lnTo>
                  <a:pt x="1716" y="985"/>
                </a:lnTo>
                <a:lnTo>
                  <a:pt x="1692" y="952"/>
                </a:lnTo>
                <a:lnTo>
                  <a:pt x="1665" y="886"/>
                </a:lnTo>
                <a:lnTo>
                  <a:pt x="1647" y="709"/>
                </a:lnTo>
                <a:lnTo>
                  <a:pt x="1632" y="353"/>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lstStyle/>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p:txBody>
      </p:sp>
      <p:sp>
        <p:nvSpPr>
          <p:cNvPr id="53" name="Freeform 34">
            <a:extLst>
              <a:ext uri="{FF2B5EF4-FFF2-40B4-BE49-F238E27FC236}">
                <a16:creationId xmlns:a16="http://schemas.microsoft.com/office/drawing/2014/main" id="{3A4A6B5A-466D-9F43-94DA-BE64F3E651C1}"/>
              </a:ext>
            </a:extLst>
          </p:cNvPr>
          <p:cNvSpPr>
            <a:spLocks/>
          </p:cNvSpPr>
          <p:nvPr/>
        </p:nvSpPr>
        <p:spPr bwMode="auto">
          <a:xfrm>
            <a:off x="7462557" y="1607451"/>
            <a:ext cx="2400407" cy="457200"/>
          </a:xfrm>
          <a:custGeom>
            <a:avLst/>
            <a:gdLst>
              <a:gd name="T0" fmla="*/ 0 w 1638"/>
              <a:gd name="T1" fmla="*/ 0 h 315"/>
              <a:gd name="T2" fmla="*/ 0 w 1638"/>
              <a:gd name="T3" fmla="*/ 314 h 315"/>
              <a:gd name="T4" fmla="*/ 1637 w 1638"/>
              <a:gd name="T5" fmla="*/ 314 h 315"/>
              <a:gd name="T6" fmla="*/ 1637 w 1638"/>
              <a:gd name="T7" fmla="*/ 0 h 315"/>
              <a:gd name="T8" fmla="*/ 0 w 1638"/>
              <a:gd name="T9" fmla="*/ 0 h 315"/>
              <a:gd name="T10" fmla="*/ 0 60000 65536"/>
              <a:gd name="T11" fmla="*/ 0 60000 65536"/>
              <a:gd name="T12" fmla="*/ 0 60000 65536"/>
              <a:gd name="T13" fmla="*/ 0 60000 65536"/>
              <a:gd name="T14" fmla="*/ 0 60000 65536"/>
              <a:gd name="T15" fmla="*/ 0 w 1638"/>
              <a:gd name="T16" fmla="*/ 0 h 315"/>
              <a:gd name="T17" fmla="*/ 1638 w 1638"/>
              <a:gd name="T18" fmla="*/ 315 h 315"/>
            </a:gdLst>
            <a:ahLst/>
            <a:cxnLst>
              <a:cxn ang="T10">
                <a:pos x="T0" y="T1"/>
              </a:cxn>
              <a:cxn ang="T11">
                <a:pos x="T2" y="T3"/>
              </a:cxn>
              <a:cxn ang="T12">
                <a:pos x="T4" y="T5"/>
              </a:cxn>
              <a:cxn ang="T13">
                <a:pos x="T6" y="T7"/>
              </a:cxn>
              <a:cxn ang="T14">
                <a:pos x="T8" y="T9"/>
              </a:cxn>
            </a:cxnLst>
            <a:rect l="T15" t="T16" r="T17" b="T18"/>
            <a:pathLst>
              <a:path w="1638" h="315">
                <a:moveTo>
                  <a:pt x="0" y="0"/>
                </a:moveTo>
                <a:lnTo>
                  <a:pt x="0" y="314"/>
                </a:lnTo>
                <a:lnTo>
                  <a:pt x="1637" y="314"/>
                </a:lnTo>
                <a:lnTo>
                  <a:pt x="1637" y="0"/>
                </a:lnTo>
                <a:lnTo>
                  <a:pt x="0" y="0"/>
                </a:lnTo>
              </a:path>
            </a:pathLst>
          </a:custGeom>
          <a:solidFill>
            <a:schemeClr val="accent2"/>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913686">
              <a:spcBef>
                <a:spcPts val="600"/>
              </a:spcBef>
              <a:buSzPct val="100000"/>
            </a:pPr>
            <a:r>
              <a:rPr lang="en-US" sz="1400" dirty="0">
                <a:solidFill>
                  <a:prstClr val="white"/>
                </a:solidFill>
              </a:rPr>
              <a:t>Lorem ipsum </a:t>
            </a:r>
          </a:p>
        </p:txBody>
      </p:sp>
      <p:grpSp>
        <p:nvGrpSpPr>
          <p:cNvPr id="54" name="Group 53">
            <a:extLst>
              <a:ext uri="{FF2B5EF4-FFF2-40B4-BE49-F238E27FC236}">
                <a16:creationId xmlns:a16="http://schemas.microsoft.com/office/drawing/2014/main" id="{F316D7B0-5169-BB4A-8E73-39F11D69CCF9}"/>
              </a:ext>
            </a:extLst>
          </p:cNvPr>
          <p:cNvGrpSpPr/>
          <p:nvPr/>
        </p:nvGrpSpPr>
        <p:grpSpPr>
          <a:xfrm>
            <a:off x="8580694" y="1378203"/>
            <a:ext cx="164130" cy="269876"/>
            <a:chOff x="6408668" y="3935413"/>
            <a:chExt cx="164130" cy="269876"/>
          </a:xfrm>
          <a:solidFill>
            <a:schemeClr val="bg1">
              <a:lumMod val="50000"/>
            </a:schemeClr>
          </a:solidFill>
        </p:grpSpPr>
        <p:sp>
          <p:nvSpPr>
            <p:cNvPr id="55" name="Freeform 36">
              <a:extLst>
                <a:ext uri="{FF2B5EF4-FFF2-40B4-BE49-F238E27FC236}">
                  <a16:creationId xmlns:a16="http://schemas.microsoft.com/office/drawing/2014/main" id="{A19D7C21-1BFD-354F-8130-BDDA74AF9C10}"/>
                </a:ext>
              </a:extLst>
            </p:cNvPr>
            <p:cNvSpPr>
              <a:spLocks/>
            </p:cNvSpPr>
            <p:nvPr/>
          </p:nvSpPr>
          <p:spPr bwMode="auto">
            <a:xfrm>
              <a:off x="6408668" y="4003676"/>
              <a:ext cx="114305"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defTabSz="913686"/>
              <a:endParaRPr lang="en-US" dirty="0">
                <a:solidFill>
                  <a:srgbClr val="000000"/>
                </a:solidFill>
              </a:endParaRPr>
            </a:p>
          </p:txBody>
        </p:sp>
        <p:sp>
          <p:nvSpPr>
            <p:cNvPr id="56" name="Oval 37">
              <a:extLst>
                <a:ext uri="{FF2B5EF4-FFF2-40B4-BE49-F238E27FC236}">
                  <a16:creationId xmlns:a16="http://schemas.microsoft.com/office/drawing/2014/main" id="{A26CD664-F42D-0A4D-AFB6-D489378D6292}"/>
                </a:ext>
              </a:extLst>
            </p:cNvPr>
            <p:cNvSpPr>
              <a:spLocks noChangeArrowheads="1"/>
            </p:cNvSpPr>
            <p:nvPr/>
          </p:nvSpPr>
          <p:spPr bwMode="auto">
            <a:xfrm rot="1920000">
              <a:off x="6437977" y="3935413"/>
              <a:ext cx="134821" cy="93663"/>
            </a:xfrm>
            <a:prstGeom prst="ellipse">
              <a:avLst/>
            </a:prstGeom>
            <a:grpFill/>
            <a:ln w="9525">
              <a:solidFill>
                <a:schemeClr val="bg2">
                  <a:lumMod val="75000"/>
                </a:schemeClr>
              </a:solidFill>
              <a:round/>
              <a:headEnd/>
              <a:tailEnd/>
            </a:ln>
          </p:spPr>
          <p:txBody>
            <a:bodyPr wrap="none" anchor="ctr"/>
            <a:lstStyle/>
            <a:p>
              <a:pPr algn="ctr" defTabSz="913686"/>
              <a:endParaRPr lang="en-US" dirty="0">
                <a:solidFill>
                  <a:srgbClr val="000000"/>
                </a:solidFill>
              </a:endParaRPr>
            </a:p>
          </p:txBody>
        </p:sp>
      </p:grpSp>
    </p:spTree>
    <p:custDataLst>
      <p:tags r:id="rId1"/>
    </p:custDataLst>
    <p:extLst>
      <p:ext uri="{BB962C8B-B14F-4D97-AF65-F5344CB8AC3E}">
        <p14:creationId xmlns:p14="http://schemas.microsoft.com/office/powerpoint/2010/main" val="588872727"/>
      </p:ext>
    </p:extLst>
  </p:cSld>
  <p:clrMapOvr>
    <a:masterClrMapping/>
  </p:clrMapOvr>
  <p:transition>
    <p:fade/>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208A8FD2-2ADC-DB42-A8E1-EEDAE63641E8}"/>
              </a:ext>
            </a:extLst>
          </p:cNvPr>
          <p:cNvGrpSpPr/>
          <p:nvPr/>
        </p:nvGrpSpPr>
        <p:grpSpPr>
          <a:xfrm>
            <a:off x="8350464" y="1758226"/>
            <a:ext cx="2908937" cy="228600"/>
            <a:chOff x="833432" y="2405743"/>
            <a:chExt cx="2908937" cy="228600"/>
          </a:xfrm>
        </p:grpSpPr>
        <p:sp>
          <p:nvSpPr>
            <p:cNvPr id="23" name="Isosceles Triangle 36">
              <a:extLst>
                <a:ext uri="{FF2B5EF4-FFF2-40B4-BE49-F238E27FC236}">
                  <a16:creationId xmlns:a16="http://schemas.microsoft.com/office/drawing/2014/main" id="{EC7B37B8-6F21-8746-803C-6368813DDFAD}"/>
                </a:ext>
              </a:extLst>
            </p:cNvPr>
            <p:cNvSpPr/>
            <p:nvPr/>
          </p:nvSpPr>
          <p:spPr bwMode="gray">
            <a:xfrm>
              <a:off x="3576634"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sp>
          <p:nvSpPr>
            <p:cNvPr id="24" name="Isosceles Triangle 37">
              <a:extLst>
                <a:ext uri="{FF2B5EF4-FFF2-40B4-BE49-F238E27FC236}">
                  <a16:creationId xmlns:a16="http://schemas.microsoft.com/office/drawing/2014/main" id="{9124E573-B339-9046-A45D-0E56F9DD1CE3}"/>
                </a:ext>
              </a:extLst>
            </p:cNvPr>
            <p:cNvSpPr/>
            <p:nvPr/>
          </p:nvSpPr>
          <p:spPr bwMode="gray">
            <a:xfrm>
              <a:off x="833432"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grpSp>
      <p:grpSp>
        <p:nvGrpSpPr>
          <p:cNvPr id="25" name="Group 24">
            <a:extLst>
              <a:ext uri="{FF2B5EF4-FFF2-40B4-BE49-F238E27FC236}">
                <a16:creationId xmlns:a16="http://schemas.microsoft.com/office/drawing/2014/main" id="{21A300DC-7634-DB45-885F-44014EFC6926}"/>
              </a:ext>
            </a:extLst>
          </p:cNvPr>
          <p:cNvGrpSpPr/>
          <p:nvPr/>
        </p:nvGrpSpPr>
        <p:grpSpPr>
          <a:xfrm>
            <a:off x="4542364" y="1758226"/>
            <a:ext cx="2908937" cy="228600"/>
            <a:chOff x="833432" y="2405743"/>
            <a:chExt cx="2908937" cy="228600"/>
          </a:xfrm>
        </p:grpSpPr>
        <p:sp>
          <p:nvSpPr>
            <p:cNvPr id="26" name="Isosceles Triangle 33">
              <a:extLst>
                <a:ext uri="{FF2B5EF4-FFF2-40B4-BE49-F238E27FC236}">
                  <a16:creationId xmlns:a16="http://schemas.microsoft.com/office/drawing/2014/main" id="{8E630DCA-B32C-2647-AF62-73216866D13D}"/>
                </a:ext>
              </a:extLst>
            </p:cNvPr>
            <p:cNvSpPr/>
            <p:nvPr/>
          </p:nvSpPr>
          <p:spPr bwMode="gray">
            <a:xfrm>
              <a:off x="3576634"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sp>
          <p:nvSpPr>
            <p:cNvPr id="27" name="Isosceles Triangle 34">
              <a:extLst>
                <a:ext uri="{FF2B5EF4-FFF2-40B4-BE49-F238E27FC236}">
                  <a16:creationId xmlns:a16="http://schemas.microsoft.com/office/drawing/2014/main" id="{D0382F4B-3DC0-6240-971E-0473F6E8B037}"/>
                </a:ext>
              </a:extLst>
            </p:cNvPr>
            <p:cNvSpPr/>
            <p:nvPr/>
          </p:nvSpPr>
          <p:spPr bwMode="gray">
            <a:xfrm>
              <a:off x="833432"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grpSp>
      <p:grpSp>
        <p:nvGrpSpPr>
          <p:cNvPr id="28" name="Group 27">
            <a:extLst>
              <a:ext uri="{FF2B5EF4-FFF2-40B4-BE49-F238E27FC236}">
                <a16:creationId xmlns:a16="http://schemas.microsoft.com/office/drawing/2014/main" id="{DCE92D3C-BDCE-7347-A46D-D180935F8428}"/>
              </a:ext>
            </a:extLst>
          </p:cNvPr>
          <p:cNvGrpSpPr/>
          <p:nvPr/>
        </p:nvGrpSpPr>
        <p:grpSpPr>
          <a:xfrm>
            <a:off x="734264" y="1758226"/>
            <a:ext cx="2908937" cy="228600"/>
            <a:chOff x="833432" y="2405743"/>
            <a:chExt cx="2908937" cy="228600"/>
          </a:xfrm>
        </p:grpSpPr>
        <p:sp>
          <p:nvSpPr>
            <p:cNvPr id="29" name="Isosceles Triangle 31">
              <a:extLst>
                <a:ext uri="{FF2B5EF4-FFF2-40B4-BE49-F238E27FC236}">
                  <a16:creationId xmlns:a16="http://schemas.microsoft.com/office/drawing/2014/main" id="{9E99DA28-5EEA-8E48-9DA9-406A248FBBBC}"/>
                </a:ext>
              </a:extLst>
            </p:cNvPr>
            <p:cNvSpPr/>
            <p:nvPr/>
          </p:nvSpPr>
          <p:spPr bwMode="gray">
            <a:xfrm>
              <a:off x="3576634"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sp>
          <p:nvSpPr>
            <p:cNvPr id="31" name="Isosceles Triangle 5">
              <a:extLst>
                <a:ext uri="{FF2B5EF4-FFF2-40B4-BE49-F238E27FC236}">
                  <a16:creationId xmlns:a16="http://schemas.microsoft.com/office/drawing/2014/main" id="{CD22FB24-28B0-E746-BF29-0ED436A6A8E9}"/>
                </a:ext>
              </a:extLst>
            </p:cNvPr>
            <p:cNvSpPr/>
            <p:nvPr/>
          </p:nvSpPr>
          <p:spPr bwMode="gray">
            <a:xfrm>
              <a:off x="833432"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grpSp>
      <p:sp>
        <p:nvSpPr>
          <p:cNvPr id="32" name="Rectangle: Rounded Corners 7">
            <a:extLst>
              <a:ext uri="{FF2B5EF4-FFF2-40B4-BE49-F238E27FC236}">
                <a16:creationId xmlns:a16="http://schemas.microsoft.com/office/drawing/2014/main" id="{9853B1E8-532C-8B41-BF7E-C3280CB47B57}"/>
              </a:ext>
            </a:extLst>
          </p:cNvPr>
          <p:cNvSpPr/>
          <p:nvPr/>
        </p:nvSpPr>
        <p:spPr bwMode="gray">
          <a:xfrm>
            <a:off x="370731" y="1986827"/>
            <a:ext cx="3636000" cy="3664857"/>
          </a:xfrm>
          <a:prstGeom prst="roundRect">
            <a:avLst>
              <a:gd name="adj" fmla="val 6603"/>
            </a:avLst>
          </a:prstGeom>
          <a:solidFill>
            <a:schemeClr val="bg1">
              <a:lumMod val="95000"/>
            </a:schemeClr>
          </a:solidFill>
          <a:ln w="19050" algn="ctr">
            <a:noFill/>
            <a:miter lim="800000"/>
            <a:headEnd/>
            <a:tailEnd/>
          </a:ln>
        </p:spPr>
        <p:txBody>
          <a:bodyPr wrap="square" lIns="88900" tIns="182880" rIns="88900" bIns="88900" rtlCol="0" anchor="t"/>
          <a:lstStyle/>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p:txBody>
      </p:sp>
      <p:sp>
        <p:nvSpPr>
          <p:cNvPr id="33" name="Rectangle: Rounded Corners 8">
            <a:extLst>
              <a:ext uri="{FF2B5EF4-FFF2-40B4-BE49-F238E27FC236}">
                <a16:creationId xmlns:a16="http://schemas.microsoft.com/office/drawing/2014/main" id="{E4CBE2C7-7928-8A4D-9A0B-5E5AD5D8D8FE}"/>
              </a:ext>
            </a:extLst>
          </p:cNvPr>
          <p:cNvSpPr/>
          <p:nvPr/>
        </p:nvSpPr>
        <p:spPr bwMode="gray">
          <a:xfrm>
            <a:off x="4178831" y="1986827"/>
            <a:ext cx="3636000" cy="3664857"/>
          </a:xfrm>
          <a:prstGeom prst="roundRect">
            <a:avLst>
              <a:gd name="adj" fmla="val 5982"/>
            </a:avLst>
          </a:prstGeom>
          <a:solidFill>
            <a:schemeClr val="bg1">
              <a:lumMod val="95000"/>
            </a:schemeClr>
          </a:solidFill>
          <a:ln w="19050" algn="ctr">
            <a:noFill/>
            <a:miter lim="800000"/>
            <a:headEnd/>
            <a:tailEnd/>
          </a:ln>
        </p:spPr>
        <p:txBody>
          <a:bodyPr wrap="square" lIns="88900" tIns="182880" rIns="88900" bIns="88900" rtlCol="0" anchor="t"/>
          <a:lstStyle/>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p:txBody>
      </p:sp>
      <p:sp>
        <p:nvSpPr>
          <p:cNvPr id="34" name="Rectangle: Rounded Corners 9">
            <a:extLst>
              <a:ext uri="{FF2B5EF4-FFF2-40B4-BE49-F238E27FC236}">
                <a16:creationId xmlns:a16="http://schemas.microsoft.com/office/drawing/2014/main" id="{F344ED2D-0286-AE4B-8D13-595A9FC8ACD0}"/>
              </a:ext>
            </a:extLst>
          </p:cNvPr>
          <p:cNvSpPr/>
          <p:nvPr/>
        </p:nvSpPr>
        <p:spPr bwMode="gray">
          <a:xfrm>
            <a:off x="8001514" y="1986826"/>
            <a:ext cx="3636000" cy="3664858"/>
          </a:xfrm>
          <a:prstGeom prst="roundRect">
            <a:avLst>
              <a:gd name="adj" fmla="val 5656"/>
            </a:avLst>
          </a:prstGeom>
          <a:solidFill>
            <a:schemeClr val="bg1">
              <a:lumMod val="95000"/>
            </a:schemeClr>
          </a:solidFill>
          <a:ln w="19050" algn="ctr">
            <a:noFill/>
            <a:miter lim="800000"/>
            <a:headEnd/>
            <a:tailEnd/>
          </a:ln>
        </p:spPr>
        <p:txBody>
          <a:bodyPr wrap="square" lIns="88900" tIns="182880" rIns="88900" bIns="88900" rtlCol="0" anchor="t"/>
          <a:lstStyle/>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p:txBody>
      </p:sp>
      <p:sp>
        <p:nvSpPr>
          <p:cNvPr id="35" name="Rectangle: Top Corners Rounded 12">
            <a:extLst>
              <a:ext uri="{FF2B5EF4-FFF2-40B4-BE49-F238E27FC236}">
                <a16:creationId xmlns:a16="http://schemas.microsoft.com/office/drawing/2014/main" id="{B547E863-FBB9-DD42-9464-D9EA5D59BF7B}"/>
              </a:ext>
            </a:extLst>
          </p:cNvPr>
          <p:cNvSpPr/>
          <p:nvPr/>
        </p:nvSpPr>
        <p:spPr bwMode="gray">
          <a:xfrm flipV="1">
            <a:off x="817131" y="1758226"/>
            <a:ext cx="2743200" cy="457200"/>
          </a:xfrm>
          <a:prstGeom prst="round2Same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200" b="1" dirty="0">
              <a:solidFill>
                <a:schemeClr val="bg1"/>
              </a:solidFill>
            </a:endParaRPr>
          </a:p>
        </p:txBody>
      </p:sp>
      <p:sp>
        <p:nvSpPr>
          <p:cNvPr id="36" name="Rectangle: Top Corners Rounded 13">
            <a:extLst>
              <a:ext uri="{FF2B5EF4-FFF2-40B4-BE49-F238E27FC236}">
                <a16:creationId xmlns:a16="http://schemas.microsoft.com/office/drawing/2014/main" id="{45DDCCB2-D870-F545-B298-F8B3FAFE0036}"/>
              </a:ext>
            </a:extLst>
          </p:cNvPr>
          <p:cNvSpPr/>
          <p:nvPr/>
        </p:nvSpPr>
        <p:spPr bwMode="gray">
          <a:xfrm flipV="1">
            <a:off x="4625231" y="1758226"/>
            <a:ext cx="2743200" cy="457200"/>
          </a:xfrm>
          <a:prstGeom prst="round2Same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200" b="1" dirty="0">
              <a:solidFill>
                <a:schemeClr val="bg1"/>
              </a:solidFill>
            </a:endParaRPr>
          </a:p>
        </p:txBody>
      </p:sp>
      <p:sp>
        <p:nvSpPr>
          <p:cNvPr id="37" name="Rectangle: Top Corners Rounded 14">
            <a:extLst>
              <a:ext uri="{FF2B5EF4-FFF2-40B4-BE49-F238E27FC236}">
                <a16:creationId xmlns:a16="http://schemas.microsoft.com/office/drawing/2014/main" id="{1ABED5BF-31FB-EE43-A879-2F98E0B751C6}"/>
              </a:ext>
            </a:extLst>
          </p:cNvPr>
          <p:cNvSpPr/>
          <p:nvPr/>
        </p:nvSpPr>
        <p:spPr bwMode="gray">
          <a:xfrm flipV="1">
            <a:off x="8433331" y="1758226"/>
            <a:ext cx="2743200" cy="457200"/>
          </a:xfrm>
          <a:prstGeom prst="round2SameRect">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200" b="1" dirty="0">
              <a:solidFill>
                <a:schemeClr val="bg1"/>
              </a:solidFill>
            </a:endParaRPr>
          </a:p>
        </p:txBody>
      </p:sp>
      <p:sp>
        <p:nvSpPr>
          <p:cNvPr id="57" name="Rectangle 56">
            <a:extLst>
              <a:ext uri="{FF2B5EF4-FFF2-40B4-BE49-F238E27FC236}">
                <a16:creationId xmlns:a16="http://schemas.microsoft.com/office/drawing/2014/main" id="{04E33129-96C9-DA4D-B3C0-B2009336A5B8}"/>
              </a:ext>
            </a:extLst>
          </p:cNvPr>
          <p:cNvSpPr/>
          <p:nvPr/>
        </p:nvSpPr>
        <p:spPr>
          <a:xfrm>
            <a:off x="1756370" y="1894493"/>
            <a:ext cx="864724" cy="184666"/>
          </a:xfrm>
          <a:prstGeom prst="rect">
            <a:avLst/>
          </a:prstGeom>
        </p:spPr>
        <p:txBody>
          <a:bodyPr wrap="none" lIns="0" tIns="0" rIns="0" bIns="0">
            <a:spAutoFit/>
          </a:bodyPr>
          <a:lstStyle/>
          <a:p>
            <a:pPr lvl="0" algn="ctr"/>
            <a:r>
              <a:rPr lang="en-GB" sz="1200" b="1" dirty="0">
                <a:solidFill>
                  <a:srgbClr val="FFFFFF"/>
                </a:solidFill>
              </a:rPr>
              <a:t>Lorem ipsum </a:t>
            </a:r>
          </a:p>
        </p:txBody>
      </p:sp>
      <p:sp>
        <p:nvSpPr>
          <p:cNvPr id="58" name="Rectangle 57">
            <a:extLst>
              <a:ext uri="{FF2B5EF4-FFF2-40B4-BE49-F238E27FC236}">
                <a16:creationId xmlns:a16="http://schemas.microsoft.com/office/drawing/2014/main" id="{D75EDC67-D530-814D-A2A7-1D47A75447B9}"/>
              </a:ext>
            </a:extLst>
          </p:cNvPr>
          <p:cNvSpPr/>
          <p:nvPr/>
        </p:nvSpPr>
        <p:spPr>
          <a:xfrm>
            <a:off x="5564469" y="1894493"/>
            <a:ext cx="864724" cy="184666"/>
          </a:xfrm>
          <a:prstGeom prst="rect">
            <a:avLst/>
          </a:prstGeom>
        </p:spPr>
        <p:txBody>
          <a:bodyPr wrap="none" lIns="0" tIns="0" rIns="0" bIns="0">
            <a:spAutoFit/>
          </a:bodyPr>
          <a:lstStyle/>
          <a:p>
            <a:pPr lvl="0" algn="ctr"/>
            <a:r>
              <a:rPr lang="en-GB" sz="1200" b="1" dirty="0">
                <a:solidFill>
                  <a:srgbClr val="FFFFFF"/>
                </a:solidFill>
              </a:rPr>
              <a:t>Lorem ipsum </a:t>
            </a:r>
          </a:p>
        </p:txBody>
      </p:sp>
      <p:sp>
        <p:nvSpPr>
          <p:cNvPr id="59" name="Rectangle 58">
            <a:extLst>
              <a:ext uri="{FF2B5EF4-FFF2-40B4-BE49-F238E27FC236}">
                <a16:creationId xmlns:a16="http://schemas.microsoft.com/office/drawing/2014/main" id="{B61DC257-C2FD-354D-9A36-9FEB3C7AD0D0}"/>
              </a:ext>
            </a:extLst>
          </p:cNvPr>
          <p:cNvSpPr/>
          <p:nvPr/>
        </p:nvSpPr>
        <p:spPr>
          <a:xfrm>
            <a:off x="9424922" y="1894493"/>
            <a:ext cx="864724" cy="184666"/>
          </a:xfrm>
          <a:prstGeom prst="rect">
            <a:avLst/>
          </a:prstGeom>
        </p:spPr>
        <p:txBody>
          <a:bodyPr wrap="none" lIns="0" tIns="0" rIns="0" bIns="0">
            <a:spAutoFit/>
          </a:bodyPr>
          <a:lstStyle/>
          <a:p>
            <a:pPr lvl="0" algn="ctr"/>
            <a:r>
              <a:rPr lang="en-GB" sz="1200" b="1" dirty="0">
                <a:solidFill>
                  <a:srgbClr val="FFFFFF"/>
                </a:solidFill>
              </a:rPr>
              <a:t>Lorem ipsum </a:t>
            </a:r>
          </a:p>
        </p:txBody>
      </p:sp>
      <p:sp>
        <p:nvSpPr>
          <p:cNvPr id="60" name="Oval 59">
            <a:extLst>
              <a:ext uri="{FF2B5EF4-FFF2-40B4-BE49-F238E27FC236}">
                <a16:creationId xmlns:a16="http://schemas.microsoft.com/office/drawing/2014/main" id="{097EBCCD-C986-2E42-B3B2-0D10880CD653}"/>
              </a:ext>
            </a:extLst>
          </p:cNvPr>
          <p:cNvSpPr/>
          <p:nvPr/>
        </p:nvSpPr>
        <p:spPr bwMode="gray">
          <a:xfrm>
            <a:off x="1865565" y="1060712"/>
            <a:ext cx="646332" cy="646332"/>
          </a:xfrm>
          <a:prstGeom prst="ellipse">
            <a:avLst/>
          </a:prstGeom>
          <a:solidFill>
            <a:schemeClr val="bg1"/>
          </a:solidFill>
          <a:ln w="254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sp>
        <p:nvSpPr>
          <p:cNvPr id="61" name="Oval 60">
            <a:extLst>
              <a:ext uri="{FF2B5EF4-FFF2-40B4-BE49-F238E27FC236}">
                <a16:creationId xmlns:a16="http://schemas.microsoft.com/office/drawing/2014/main" id="{4C53558A-B3CA-524B-B549-3700A2893D82}"/>
              </a:ext>
            </a:extLst>
          </p:cNvPr>
          <p:cNvSpPr/>
          <p:nvPr/>
        </p:nvSpPr>
        <p:spPr bwMode="gray">
          <a:xfrm>
            <a:off x="5673665" y="1060712"/>
            <a:ext cx="646332" cy="646332"/>
          </a:xfrm>
          <a:prstGeom prst="ellipse">
            <a:avLst/>
          </a:prstGeom>
          <a:solidFill>
            <a:schemeClr val="bg1"/>
          </a:solidFill>
          <a:ln w="2540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sp>
        <p:nvSpPr>
          <p:cNvPr id="62" name="Oval 61">
            <a:extLst>
              <a:ext uri="{FF2B5EF4-FFF2-40B4-BE49-F238E27FC236}">
                <a16:creationId xmlns:a16="http://schemas.microsoft.com/office/drawing/2014/main" id="{2EB0B62F-C2E0-1241-B767-1D129F74C271}"/>
              </a:ext>
            </a:extLst>
          </p:cNvPr>
          <p:cNvSpPr/>
          <p:nvPr/>
        </p:nvSpPr>
        <p:spPr bwMode="gray">
          <a:xfrm>
            <a:off x="9496348" y="1060712"/>
            <a:ext cx="646332" cy="646332"/>
          </a:xfrm>
          <a:prstGeom prst="ellipse">
            <a:avLst/>
          </a:prstGeom>
          <a:solidFill>
            <a:schemeClr val="bg1"/>
          </a:solidFill>
          <a:ln w="25400" algn="ctr">
            <a:solidFill>
              <a:srgbClr val="00ABA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grpSp>
        <p:nvGrpSpPr>
          <p:cNvPr id="63" name="Group 243">
            <a:extLst>
              <a:ext uri="{FF2B5EF4-FFF2-40B4-BE49-F238E27FC236}">
                <a16:creationId xmlns:a16="http://schemas.microsoft.com/office/drawing/2014/main" id="{0B3893F3-A9B9-7B4C-92B4-A0A7877B8886}"/>
              </a:ext>
            </a:extLst>
          </p:cNvPr>
          <p:cNvGrpSpPr>
            <a:grpSpLocks noChangeAspect="1"/>
          </p:cNvGrpSpPr>
          <p:nvPr/>
        </p:nvGrpSpPr>
        <p:grpSpPr bwMode="auto">
          <a:xfrm>
            <a:off x="1937472" y="1131878"/>
            <a:ext cx="502521" cy="504000"/>
            <a:chOff x="3476" y="785"/>
            <a:chExt cx="340" cy="341"/>
          </a:xfrm>
          <a:solidFill>
            <a:schemeClr val="accent1"/>
          </a:solidFill>
        </p:grpSpPr>
        <p:sp>
          <p:nvSpPr>
            <p:cNvPr id="64" name="Freeform 244">
              <a:extLst>
                <a:ext uri="{FF2B5EF4-FFF2-40B4-BE49-F238E27FC236}">
                  <a16:creationId xmlns:a16="http://schemas.microsoft.com/office/drawing/2014/main" id="{8F6EF9C2-2D42-1840-A3B9-B8CBAA19D3A7}"/>
                </a:ext>
              </a:extLst>
            </p:cNvPr>
            <p:cNvSpPr>
              <a:spLocks noEditPoints="1"/>
            </p:cNvSpPr>
            <p:nvPr/>
          </p:nvSpPr>
          <p:spPr bwMode="auto">
            <a:xfrm>
              <a:off x="3539" y="888"/>
              <a:ext cx="214" cy="146"/>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45">
              <a:extLst>
                <a:ext uri="{FF2B5EF4-FFF2-40B4-BE49-F238E27FC236}">
                  <a16:creationId xmlns:a16="http://schemas.microsoft.com/office/drawing/2014/main" id="{60CC115B-8F86-E848-849A-3044760C553F}"/>
                </a:ext>
              </a:extLst>
            </p:cNvPr>
            <p:cNvSpPr>
              <a:spLocks noEditPoints="1"/>
            </p:cNvSpPr>
            <p:nvPr/>
          </p:nvSpPr>
          <p:spPr bwMode="auto">
            <a:xfrm>
              <a:off x="3476" y="78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6" name="Group 844">
            <a:extLst>
              <a:ext uri="{FF2B5EF4-FFF2-40B4-BE49-F238E27FC236}">
                <a16:creationId xmlns:a16="http://schemas.microsoft.com/office/drawing/2014/main" id="{A5783994-6112-6C49-8632-D63811C33C70}"/>
              </a:ext>
            </a:extLst>
          </p:cNvPr>
          <p:cNvGrpSpPr>
            <a:grpSpLocks noChangeAspect="1"/>
          </p:cNvGrpSpPr>
          <p:nvPr/>
        </p:nvGrpSpPr>
        <p:grpSpPr bwMode="auto">
          <a:xfrm>
            <a:off x="5744831" y="1131878"/>
            <a:ext cx="504000" cy="504000"/>
            <a:chOff x="4301" y="3046"/>
            <a:chExt cx="340" cy="340"/>
          </a:xfrm>
          <a:solidFill>
            <a:schemeClr val="accent3"/>
          </a:solidFill>
        </p:grpSpPr>
        <p:sp>
          <p:nvSpPr>
            <p:cNvPr id="67" name="Freeform 845">
              <a:extLst>
                <a:ext uri="{FF2B5EF4-FFF2-40B4-BE49-F238E27FC236}">
                  <a16:creationId xmlns:a16="http://schemas.microsoft.com/office/drawing/2014/main" id="{B3F7E442-9388-FA4A-8C99-23DFD50E90FB}"/>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846">
              <a:extLst>
                <a:ext uri="{FF2B5EF4-FFF2-40B4-BE49-F238E27FC236}">
                  <a16:creationId xmlns:a16="http://schemas.microsoft.com/office/drawing/2014/main" id="{CF535AF8-7C11-9F4F-BFCC-5EEA109380EC}"/>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847">
              <a:extLst>
                <a:ext uri="{FF2B5EF4-FFF2-40B4-BE49-F238E27FC236}">
                  <a16:creationId xmlns:a16="http://schemas.microsoft.com/office/drawing/2014/main" id="{17E810CD-9473-F44C-8E16-4CFE05341716}"/>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848">
              <a:extLst>
                <a:ext uri="{FF2B5EF4-FFF2-40B4-BE49-F238E27FC236}">
                  <a16:creationId xmlns:a16="http://schemas.microsoft.com/office/drawing/2014/main" id="{B662D341-4052-3147-9040-70EF741545D5}"/>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849">
              <a:extLst>
                <a:ext uri="{FF2B5EF4-FFF2-40B4-BE49-F238E27FC236}">
                  <a16:creationId xmlns:a16="http://schemas.microsoft.com/office/drawing/2014/main" id="{8D67DA29-E65C-1B4E-A30D-F2F1830010C5}"/>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850">
              <a:extLst>
                <a:ext uri="{FF2B5EF4-FFF2-40B4-BE49-F238E27FC236}">
                  <a16:creationId xmlns:a16="http://schemas.microsoft.com/office/drawing/2014/main" id="{2ECD3C41-6470-2B49-BFCF-FFF4F532186F}"/>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851">
              <a:extLst>
                <a:ext uri="{FF2B5EF4-FFF2-40B4-BE49-F238E27FC236}">
                  <a16:creationId xmlns:a16="http://schemas.microsoft.com/office/drawing/2014/main" id="{1CD5DBF7-C801-9E46-8A9D-4286DAF0402D}"/>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4" name="Group 349">
            <a:extLst>
              <a:ext uri="{FF2B5EF4-FFF2-40B4-BE49-F238E27FC236}">
                <a16:creationId xmlns:a16="http://schemas.microsoft.com/office/drawing/2014/main" id="{5B49420A-DB43-5B43-828E-F3709BF5531A}"/>
              </a:ext>
            </a:extLst>
          </p:cNvPr>
          <p:cNvGrpSpPr>
            <a:grpSpLocks noChangeAspect="1"/>
          </p:cNvGrpSpPr>
          <p:nvPr/>
        </p:nvGrpSpPr>
        <p:grpSpPr bwMode="auto">
          <a:xfrm>
            <a:off x="9567514" y="1131878"/>
            <a:ext cx="504000" cy="504000"/>
            <a:chOff x="5018" y="1229"/>
            <a:chExt cx="340" cy="340"/>
          </a:xfrm>
          <a:solidFill>
            <a:srgbClr val="00ABAB"/>
          </a:solidFill>
        </p:grpSpPr>
        <p:sp>
          <p:nvSpPr>
            <p:cNvPr id="75" name="Freeform 350">
              <a:extLst>
                <a:ext uri="{FF2B5EF4-FFF2-40B4-BE49-F238E27FC236}">
                  <a16:creationId xmlns:a16="http://schemas.microsoft.com/office/drawing/2014/main" id="{E4A54F6C-7259-4947-85A1-2101854FD6EB}"/>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351">
              <a:extLst>
                <a:ext uri="{FF2B5EF4-FFF2-40B4-BE49-F238E27FC236}">
                  <a16:creationId xmlns:a16="http://schemas.microsoft.com/office/drawing/2014/main" id="{2736BD16-EC8D-A54E-84A4-42E6892AB2F7}"/>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ustDataLst>
      <p:tags r:id="rId1"/>
    </p:custDataLst>
    <p:extLst>
      <p:ext uri="{BB962C8B-B14F-4D97-AF65-F5344CB8AC3E}">
        <p14:creationId xmlns:p14="http://schemas.microsoft.com/office/powerpoint/2010/main" val="9728195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椭圆 2"/>
          <p:cNvSpPr/>
          <p:nvPr/>
        </p:nvSpPr>
        <p:spPr>
          <a:xfrm>
            <a:off x="469900" y="1714500"/>
            <a:ext cx="3713756" cy="3713750"/>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5" name="椭圆 3"/>
          <p:cNvSpPr/>
          <p:nvPr/>
        </p:nvSpPr>
        <p:spPr>
          <a:xfrm>
            <a:off x="8008344" y="1714500"/>
            <a:ext cx="3713756" cy="3713750"/>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6" name="椭圆 4"/>
          <p:cNvSpPr/>
          <p:nvPr/>
        </p:nvSpPr>
        <p:spPr>
          <a:xfrm>
            <a:off x="4319641" y="3401793"/>
            <a:ext cx="339165" cy="339165"/>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7" name="椭圆 5"/>
          <p:cNvSpPr/>
          <p:nvPr/>
        </p:nvSpPr>
        <p:spPr>
          <a:xfrm>
            <a:off x="4721335" y="3401793"/>
            <a:ext cx="339165" cy="339165"/>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8" name="椭圆 6"/>
          <p:cNvSpPr/>
          <p:nvPr/>
        </p:nvSpPr>
        <p:spPr>
          <a:xfrm>
            <a:off x="5123029" y="3401793"/>
            <a:ext cx="339165" cy="339165"/>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9" name="椭圆 7"/>
          <p:cNvSpPr/>
          <p:nvPr/>
        </p:nvSpPr>
        <p:spPr>
          <a:xfrm>
            <a:off x="5524723" y="3401793"/>
            <a:ext cx="339165" cy="339165"/>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10" name="椭圆 8"/>
          <p:cNvSpPr/>
          <p:nvPr/>
        </p:nvSpPr>
        <p:spPr>
          <a:xfrm>
            <a:off x="5926417"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1" name="椭圆 9"/>
          <p:cNvSpPr/>
          <p:nvPr/>
        </p:nvSpPr>
        <p:spPr>
          <a:xfrm>
            <a:off x="6328111"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2" name="椭圆 10"/>
          <p:cNvSpPr/>
          <p:nvPr/>
        </p:nvSpPr>
        <p:spPr>
          <a:xfrm>
            <a:off x="6729804"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3" name="椭圆 11"/>
          <p:cNvSpPr/>
          <p:nvPr/>
        </p:nvSpPr>
        <p:spPr>
          <a:xfrm>
            <a:off x="7131498"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4" name="椭圆 12"/>
          <p:cNvSpPr/>
          <p:nvPr/>
        </p:nvSpPr>
        <p:spPr>
          <a:xfrm>
            <a:off x="7533190"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5" name="任意多边形 14"/>
          <p:cNvSpPr/>
          <p:nvPr/>
        </p:nvSpPr>
        <p:spPr>
          <a:xfrm rot="5400000">
            <a:off x="5941904" y="2314659"/>
            <a:ext cx="942418" cy="1039724"/>
          </a:xfrm>
          <a:custGeom>
            <a:avLst/>
            <a:gdLst>
              <a:gd name="connsiteX0" fmla="*/ 0 w 1044303"/>
              <a:gd name="connsiteY0" fmla="*/ 1016528 h 1152128"/>
              <a:gd name="connsiteX1" fmla="*/ 0 w 1044303"/>
              <a:gd name="connsiteY1" fmla="*/ 135600 h 1152128"/>
              <a:gd name="connsiteX2" fmla="*/ 135600 w 1044303"/>
              <a:gd name="connsiteY2" fmla="*/ 0 h 1152128"/>
              <a:gd name="connsiteX3" fmla="*/ 677985 w 1044303"/>
              <a:gd name="connsiteY3" fmla="*/ 0 h 1152128"/>
              <a:gd name="connsiteX4" fmla="*/ 813585 w 1044303"/>
              <a:gd name="connsiteY4" fmla="*/ 135600 h 1152128"/>
              <a:gd name="connsiteX5" fmla="*/ 813585 w 1044303"/>
              <a:gd name="connsiteY5" fmla="*/ 648343 h 1152128"/>
              <a:gd name="connsiteX6" fmla="*/ 1044303 w 1044303"/>
              <a:gd name="connsiteY6" fmla="*/ 939297 h 1152128"/>
              <a:gd name="connsiteX7" fmla="*/ 813585 w 1044303"/>
              <a:gd name="connsiteY7" fmla="*/ 939297 h 1152128"/>
              <a:gd name="connsiteX8" fmla="*/ 813585 w 1044303"/>
              <a:gd name="connsiteY8" fmla="*/ 1016528 h 1152128"/>
              <a:gd name="connsiteX9" fmla="*/ 677985 w 1044303"/>
              <a:gd name="connsiteY9" fmla="*/ 1152128 h 1152128"/>
              <a:gd name="connsiteX10" fmla="*/ 135600 w 1044303"/>
              <a:gd name="connsiteY10" fmla="*/ 1152128 h 1152128"/>
              <a:gd name="connsiteX11" fmla="*/ 0 w 1044303"/>
              <a:gd name="connsiteY11" fmla="*/ 1016528 h 115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4303" h="1152128">
                <a:moveTo>
                  <a:pt x="0" y="1016528"/>
                </a:moveTo>
                <a:lnTo>
                  <a:pt x="0" y="135600"/>
                </a:lnTo>
                <a:cubicBezTo>
                  <a:pt x="0" y="60710"/>
                  <a:pt x="60710" y="0"/>
                  <a:pt x="135600" y="0"/>
                </a:cubicBezTo>
                <a:lnTo>
                  <a:pt x="677985" y="0"/>
                </a:lnTo>
                <a:cubicBezTo>
                  <a:pt x="752875" y="0"/>
                  <a:pt x="813585" y="60710"/>
                  <a:pt x="813585" y="135600"/>
                </a:cubicBezTo>
                <a:lnTo>
                  <a:pt x="813585" y="648343"/>
                </a:lnTo>
                <a:lnTo>
                  <a:pt x="1044303" y="939297"/>
                </a:lnTo>
                <a:lnTo>
                  <a:pt x="813585" y="939297"/>
                </a:lnTo>
                <a:lnTo>
                  <a:pt x="813585" y="1016528"/>
                </a:lnTo>
                <a:cubicBezTo>
                  <a:pt x="813585" y="1091418"/>
                  <a:pt x="752875" y="1152128"/>
                  <a:pt x="677985" y="1152128"/>
                </a:cubicBezTo>
                <a:lnTo>
                  <a:pt x="135600" y="1152128"/>
                </a:lnTo>
                <a:cubicBezTo>
                  <a:pt x="60710" y="1152128"/>
                  <a:pt x="0" y="1091418"/>
                  <a:pt x="0" y="1016528"/>
                </a:cubicBezTo>
                <a:close/>
              </a:path>
            </a:pathLst>
          </a:cu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16" name="矩形 15"/>
          <p:cNvSpPr/>
          <p:nvPr/>
        </p:nvSpPr>
        <p:spPr>
          <a:xfrm>
            <a:off x="6088502" y="2494295"/>
            <a:ext cx="621709" cy="400110"/>
          </a:xfrm>
          <a:prstGeom prst="rect">
            <a:avLst/>
          </a:prstGeom>
        </p:spPr>
        <p:txBody>
          <a:bodyPr wrap="none">
            <a:spAutoFit/>
          </a:bodyPr>
          <a:lstStyle/>
          <a:p>
            <a:pPr algn="ctr"/>
            <a:r>
              <a:rPr lang="en-US" altLang="zh-CN" sz="2000" b="1" dirty="0">
                <a:solidFill>
                  <a:schemeClr val="bg1"/>
                </a:solidFill>
                <a:latin typeface="+mj-lt"/>
              </a:rPr>
              <a:t>Text</a:t>
            </a:r>
            <a:endParaRPr lang="zh-CN" altLang="en-US" sz="2000" b="1" dirty="0">
              <a:solidFill>
                <a:schemeClr val="bg1"/>
              </a:solidFill>
              <a:latin typeface="+mj-lt"/>
            </a:endParaRPr>
          </a:p>
        </p:txBody>
      </p:sp>
      <p:sp>
        <p:nvSpPr>
          <p:cNvPr id="17" name="圆角矩形 16"/>
          <p:cNvSpPr/>
          <p:nvPr/>
        </p:nvSpPr>
        <p:spPr>
          <a:xfrm flipH="1">
            <a:off x="1070369" y="2675078"/>
            <a:ext cx="2751234" cy="2200602"/>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2000" b="1" dirty="0">
                <a:solidFill>
                  <a:schemeClr val="bg1"/>
                </a:solidFill>
                <a:latin typeface="+mj-lt"/>
              </a:rPr>
              <a:t>Text</a:t>
            </a:r>
          </a:p>
          <a:p>
            <a:r>
              <a:rPr lang="en-US" altLang="zh-CN" sz="1300" dirty="0">
                <a:solidFill>
                  <a:schemeClr val="bg1"/>
                </a:solidFill>
              </a:rPr>
              <a:t>This is dummy text it is not here to be read. The is just text to show where you could insert text. Please replace with your text content here.</a:t>
            </a:r>
          </a:p>
          <a:p>
            <a:endParaRPr lang="en-US" altLang="zh-CN" sz="1300" dirty="0">
              <a:solidFill>
                <a:schemeClr val="bg1"/>
              </a:solidFill>
            </a:endParaRPr>
          </a:p>
          <a:p>
            <a:r>
              <a:rPr lang="en-US" altLang="zh-CN" sz="1300" dirty="0">
                <a:solidFill>
                  <a:schemeClr val="bg1"/>
                </a:solidFill>
              </a:rPr>
              <a:t>This is dummy text it is not here to be read. The is just text to show where you could insert text. Please replace with your text content here.</a:t>
            </a:r>
          </a:p>
        </p:txBody>
      </p:sp>
      <p:sp>
        <p:nvSpPr>
          <p:cNvPr id="18" name="圆角矩形 17"/>
          <p:cNvSpPr/>
          <p:nvPr/>
        </p:nvSpPr>
        <p:spPr>
          <a:xfrm flipH="1">
            <a:off x="8380956" y="2675078"/>
            <a:ext cx="2740673" cy="2200602"/>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pPr algn="r"/>
            <a:r>
              <a:rPr lang="en-US" altLang="zh-CN" sz="2000" b="1" dirty="0">
                <a:solidFill>
                  <a:schemeClr val="tx1"/>
                </a:solidFill>
                <a:latin typeface="+mj-lt"/>
              </a:rPr>
              <a:t>Text</a:t>
            </a:r>
          </a:p>
          <a:p>
            <a:pPr algn="r"/>
            <a:r>
              <a:rPr lang="en-US" altLang="zh-CN" sz="1300" dirty="0">
                <a:solidFill>
                  <a:schemeClr val="tx1"/>
                </a:solidFill>
              </a:rPr>
              <a:t>This is dummy text it is not here to be read. The is just text to show where you could insert text. Please replace with your text content here.</a:t>
            </a:r>
          </a:p>
          <a:p>
            <a:pPr algn="r"/>
            <a:endParaRPr lang="en-US" altLang="zh-CN" sz="1300" dirty="0">
              <a:solidFill>
                <a:schemeClr val="tx1"/>
              </a:solidFill>
            </a:endParaRPr>
          </a:p>
          <a:p>
            <a:pPr algn="r"/>
            <a:r>
              <a:rPr lang="en-US" altLang="zh-CN" sz="1300" dirty="0">
                <a:solidFill>
                  <a:schemeClr val="tx1"/>
                </a:solidFill>
              </a:rPr>
              <a:t>This is dummy text it is not here to be read. The is just text to show where you could insert text. Please replace with your text content here.</a:t>
            </a:r>
          </a:p>
        </p:txBody>
      </p:sp>
      <p:sp>
        <p:nvSpPr>
          <p:cNvPr id="19" name="圆角矩形 18"/>
          <p:cNvSpPr/>
          <p:nvPr/>
        </p:nvSpPr>
        <p:spPr>
          <a:xfrm flipH="1">
            <a:off x="4288445" y="4014263"/>
            <a:ext cx="3615111" cy="1624433"/>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r>
              <a:rPr lang="en-US" altLang="zh-CN" sz="2000" b="1" dirty="0">
                <a:solidFill>
                  <a:schemeClr val="tx1"/>
                </a:solidFill>
                <a:latin typeface="+mj-lt"/>
              </a:rPr>
              <a:t>Text</a:t>
            </a:r>
          </a:p>
          <a:p>
            <a:pPr algn="ctr"/>
            <a:r>
              <a:rPr lang="en-US" altLang="zh-CN" sz="1300" dirty="0">
                <a:solidFill>
                  <a:schemeClr val="tx1"/>
                </a:solidFill>
              </a:rPr>
              <a:t>This is dummy text it is not here to be read. The is just text to show where you could insert text. Please replace with your text content here.</a:t>
            </a:r>
          </a:p>
        </p:txBody>
      </p:sp>
    </p:spTree>
    <p:custDataLst>
      <p:tags r:id="rId1"/>
    </p:custDataLst>
    <p:extLst>
      <p:ext uri="{BB962C8B-B14F-4D97-AF65-F5344CB8AC3E}">
        <p14:creationId xmlns:p14="http://schemas.microsoft.com/office/powerpoint/2010/main" val="3495235380"/>
      </p:ext>
    </p:extLst>
  </p:cSld>
  <p:clrMapOvr>
    <a:masterClrMapping/>
  </p:clrMapOvr>
  <p:transition>
    <p:fade/>
  </p:transition>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8FCC4CCC-5F06-7146-9BCB-050D725E3BC4}"/>
              </a:ext>
            </a:extLst>
          </p:cNvPr>
          <p:cNvSpPr/>
          <p:nvPr/>
        </p:nvSpPr>
        <p:spPr bwMode="gray">
          <a:xfrm>
            <a:off x="2466976" y="1683066"/>
            <a:ext cx="581025" cy="581025"/>
          </a:xfrm>
          <a:prstGeom prst="ellipse">
            <a:avLst/>
          </a:prstGeom>
          <a:solidFill>
            <a:srgbClr val="43B02A"/>
          </a:solidFill>
          <a:ln w="19050" algn="ctr">
            <a:noFill/>
            <a:miter lim="800000"/>
            <a:headEnd/>
            <a:tailEnd/>
          </a:ln>
        </p:spPr>
        <p:txBody>
          <a:bodyPr wrap="square" lIns="66675" tIns="66675" rIns="66675" bIns="66675" rtlCol="0" anchor="ctr"/>
          <a:lstStyle/>
          <a:p>
            <a:pPr algn="ctr" defTabSz="914378">
              <a:lnSpc>
                <a:spcPct val="106000"/>
              </a:lnSpc>
            </a:pPr>
            <a:endParaRPr lang="en-US" sz="1200" b="1" dirty="0" err="1">
              <a:solidFill>
                <a:srgbClr val="FFFFFF"/>
              </a:solidFill>
            </a:endParaRPr>
          </a:p>
        </p:txBody>
      </p:sp>
      <p:sp>
        <p:nvSpPr>
          <p:cNvPr id="21" name="Rectangle 20">
            <a:extLst>
              <a:ext uri="{FF2B5EF4-FFF2-40B4-BE49-F238E27FC236}">
                <a16:creationId xmlns:a16="http://schemas.microsoft.com/office/drawing/2014/main" id="{CBD43071-3612-8747-ADE6-185DBCFE34D2}"/>
              </a:ext>
            </a:extLst>
          </p:cNvPr>
          <p:cNvSpPr/>
          <p:nvPr/>
        </p:nvSpPr>
        <p:spPr bwMode="gray">
          <a:xfrm>
            <a:off x="8590323" y="2509558"/>
            <a:ext cx="1877176" cy="3088762"/>
          </a:xfrm>
          <a:prstGeom prst="rect">
            <a:avLst/>
          </a:prstGeom>
          <a:solidFill>
            <a:schemeClr val="bg1"/>
          </a:solidFill>
          <a:ln>
            <a:solidFill>
              <a:schemeClr val="bg1">
                <a:lumMod val="75000"/>
              </a:schemeClr>
            </a:solidFill>
            <a:headEnd/>
            <a:tailEnd/>
          </a:ln>
        </p:spPr>
        <p:style>
          <a:lnRef idx="2">
            <a:schemeClr val="accent3"/>
          </a:lnRef>
          <a:fillRef idx="1">
            <a:schemeClr val="lt1"/>
          </a:fillRef>
          <a:effectRef idx="0">
            <a:schemeClr val="accent3"/>
          </a:effectRef>
          <a:fontRef idx="minor">
            <a:schemeClr val="dk1"/>
          </a:fontRef>
        </p:style>
        <p:txBody>
          <a:bodyPr wrap="square" lIns="66675" tIns="66675" rIns="66675" bIns="66675" rtlCol="0" anchor="ctr"/>
          <a:lstStyle/>
          <a:p>
            <a:pPr defTabSz="914378">
              <a:spcAft>
                <a:spcPts val="75"/>
              </a:spcAft>
              <a:buClr>
                <a:srgbClr val="000000"/>
              </a:buClr>
              <a:buSzPct val="80000"/>
            </a:pPr>
            <a:r>
              <a:rPr lang="en-US" sz="750" b="1" dirty="0">
                <a:solidFill>
                  <a:schemeClr val="tx1">
                    <a:lumMod val="50000"/>
                    <a:lumOff val="50000"/>
                  </a:schemeClr>
                </a:solidFill>
                <a:cs typeface="Arial" charset="0"/>
              </a:rPr>
              <a:t>Lorem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a:t>
            </a:r>
          </a:p>
        </p:txBody>
      </p:sp>
      <p:sp>
        <p:nvSpPr>
          <p:cNvPr id="23" name="Pentagon 6">
            <a:extLst>
              <a:ext uri="{FF2B5EF4-FFF2-40B4-BE49-F238E27FC236}">
                <a16:creationId xmlns:a16="http://schemas.microsoft.com/office/drawing/2014/main" id="{B4E30D4B-0184-BB43-8D3E-A3EC7C3FE277}"/>
              </a:ext>
            </a:extLst>
          </p:cNvPr>
          <p:cNvSpPr/>
          <p:nvPr/>
        </p:nvSpPr>
        <p:spPr bwMode="gray">
          <a:xfrm rot="5400000">
            <a:off x="1984393" y="2097070"/>
            <a:ext cx="1577340" cy="1876620"/>
          </a:xfrm>
          <a:prstGeom prst="homePlate">
            <a:avLst>
              <a:gd name="adj" fmla="val 4262"/>
            </a:avLst>
          </a:prstGeom>
          <a:solidFill>
            <a:schemeClr val="bg1">
              <a:lumMod val="9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24" name="Rectangle 23">
            <a:extLst>
              <a:ext uri="{FF2B5EF4-FFF2-40B4-BE49-F238E27FC236}">
                <a16:creationId xmlns:a16="http://schemas.microsoft.com/office/drawing/2014/main" id="{2693E972-5854-A64A-9B12-515B8E2B618C}"/>
              </a:ext>
            </a:extLst>
          </p:cNvPr>
          <p:cNvSpPr/>
          <p:nvPr/>
        </p:nvSpPr>
        <p:spPr bwMode="gray">
          <a:xfrm>
            <a:off x="1709992" y="2132411"/>
            <a:ext cx="2126144" cy="377419"/>
          </a:xfrm>
          <a:prstGeom prst="rect">
            <a:avLst/>
          </a:prstGeom>
          <a:solidFill>
            <a:srgbClr val="43B02A"/>
          </a:solidFill>
          <a:ln w="19050" algn="ctr">
            <a:noFill/>
            <a:miter lim="800000"/>
            <a:headEnd/>
            <a:tailEnd/>
          </a:ln>
        </p:spPr>
        <p:txBody>
          <a:bodyPr wrap="square" lIns="66675" tIns="66675" rIns="66675" bIns="66675" rtlCol="0" anchor="ctr"/>
          <a:lstStyle/>
          <a:p>
            <a:pPr algn="ctr" defTabSz="914378">
              <a:lnSpc>
                <a:spcPct val="106000"/>
              </a:lnSpc>
            </a:pPr>
            <a:r>
              <a:rPr lang="en-GB" sz="1125" b="1" dirty="0">
                <a:solidFill>
                  <a:srgbClr val="FFFFFF"/>
                </a:solidFill>
              </a:rPr>
              <a:t>Lorem ipsum do</a:t>
            </a:r>
          </a:p>
        </p:txBody>
      </p:sp>
      <p:sp>
        <p:nvSpPr>
          <p:cNvPr id="25" name="Right Triangle 24">
            <a:extLst>
              <a:ext uri="{FF2B5EF4-FFF2-40B4-BE49-F238E27FC236}">
                <a16:creationId xmlns:a16="http://schemas.microsoft.com/office/drawing/2014/main" id="{03621346-F5E2-554E-8FAD-A19C8647029A}"/>
              </a:ext>
            </a:extLst>
          </p:cNvPr>
          <p:cNvSpPr/>
          <p:nvPr/>
        </p:nvSpPr>
        <p:spPr bwMode="gray">
          <a:xfrm flipV="1">
            <a:off x="3712865" y="2509559"/>
            <a:ext cx="123270" cy="92390"/>
          </a:xfrm>
          <a:prstGeom prst="rtTriangle">
            <a:avLst/>
          </a:prstGeom>
          <a:solidFill>
            <a:schemeClr val="accent2"/>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26" name="Right Triangle 25">
            <a:extLst>
              <a:ext uri="{FF2B5EF4-FFF2-40B4-BE49-F238E27FC236}">
                <a16:creationId xmlns:a16="http://schemas.microsoft.com/office/drawing/2014/main" id="{5F6B4438-7CA2-3748-A391-2EC1722C54CA}"/>
              </a:ext>
            </a:extLst>
          </p:cNvPr>
          <p:cNvSpPr/>
          <p:nvPr/>
        </p:nvSpPr>
        <p:spPr bwMode="gray">
          <a:xfrm flipH="1" flipV="1">
            <a:off x="1709991" y="2509559"/>
            <a:ext cx="123270" cy="92390"/>
          </a:xfrm>
          <a:prstGeom prst="rtTriangle">
            <a:avLst/>
          </a:prstGeom>
          <a:solidFill>
            <a:schemeClr val="accent2"/>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grpSp>
        <p:nvGrpSpPr>
          <p:cNvPr id="27" name="Group 26">
            <a:extLst>
              <a:ext uri="{FF2B5EF4-FFF2-40B4-BE49-F238E27FC236}">
                <a16:creationId xmlns:a16="http://schemas.microsoft.com/office/drawing/2014/main" id="{0727A24F-6EBC-4848-A64F-5067084ABF9C}"/>
              </a:ext>
            </a:extLst>
          </p:cNvPr>
          <p:cNvGrpSpPr/>
          <p:nvPr/>
        </p:nvGrpSpPr>
        <p:grpSpPr>
          <a:xfrm>
            <a:off x="1834007" y="4938965"/>
            <a:ext cx="1878113" cy="659356"/>
            <a:chOff x="413342" y="5442286"/>
            <a:chExt cx="2504150" cy="879141"/>
          </a:xfrm>
        </p:grpSpPr>
        <p:sp>
          <p:nvSpPr>
            <p:cNvPr id="28" name="Chevron 27">
              <a:extLst>
                <a:ext uri="{FF2B5EF4-FFF2-40B4-BE49-F238E27FC236}">
                  <a16:creationId xmlns:a16="http://schemas.microsoft.com/office/drawing/2014/main" id="{AD8A09BD-AAF3-5547-981A-EAC3396BBE54}"/>
                </a:ext>
              </a:extLst>
            </p:cNvPr>
            <p:cNvSpPr/>
            <p:nvPr/>
          </p:nvSpPr>
          <p:spPr bwMode="gray">
            <a:xfrm rot="5400000">
              <a:off x="1389331" y="4467290"/>
              <a:ext cx="552909" cy="2502901"/>
            </a:xfrm>
            <a:prstGeom prst="chevron">
              <a:avLst>
                <a:gd name="adj" fmla="val 14317"/>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29" name="Rectangle 28">
              <a:extLst>
                <a:ext uri="{FF2B5EF4-FFF2-40B4-BE49-F238E27FC236}">
                  <a16:creationId xmlns:a16="http://schemas.microsoft.com/office/drawing/2014/main" id="{4B795881-674F-C74A-AE39-289F05C91CC4}"/>
                </a:ext>
              </a:extLst>
            </p:cNvPr>
            <p:cNvSpPr/>
            <p:nvPr/>
          </p:nvSpPr>
          <p:spPr bwMode="gray">
            <a:xfrm>
              <a:off x="413342" y="5810251"/>
              <a:ext cx="2504150" cy="511176"/>
            </a:xfrm>
            <a:prstGeom prst="rect">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US" sz="750" b="1" dirty="0" err="1">
                <a:solidFill>
                  <a:srgbClr val="FFFFFF"/>
                </a:solidFill>
              </a:endParaRPr>
            </a:p>
          </p:txBody>
        </p:sp>
      </p:grpSp>
      <p:sp>
        <p:nvSpPr>
          <p:cNvPr id="30" name="Freeform: Shape 42">
            <a:extLst>
              <a:ext uri="{FF2B5EF4-FFF2-40B4-BE49-F238E27FC236}">
                <a16:creationId xmlns:a16="http://schemas.microsoft.com/office/drawing/2014/main" id="{AEF9AB4E-CD62-8146-AD4A-9451296A7788}"/>
              </a:ext>
            </a:extLst>
          </p:cNvPr>
          <p:cNvSpPr/>
          <p:nvPr/>
        </p:nvSpPr>
        <p:spPr bwMode="gray">
          <a:xfrm rot="5400000">
            <a:off x="2170270" y="3436388"/>
            <a:ext cx="1205589" cy="1876620"/>
          </a:xfrm>
          <a:custGeom>
            <a:avLst/>
            <a:gdLst>
              <a:gd name="connsiteX0" fmla="*/ 0 w 2085023"/>
              <a:gd name="connsiteY0" fmla="*/ 2502160 h 2502160"/>
              <a:gd name="connsiteX1" fmla="*/ 0 w 2085023"/>
              <a:gd name="connsiteY1" fmla="*/ 2502159 h 2502160"/>
              <a:gd name="connsiteX2" fmla="*/ 24348 w 2085023"/>
              <a:gd name="connsiteY2" fmla="*/ 2502159 h 2502160"/>
              <a:gd name="connsiteX3" fmla="*/ 113983 w 2085023"/>
              <a:gd name="connsiteY3" fmla="*/ 1251080 h 2502160"/>
              <a:gd name="connsiteX4" fmla="*/ 24348 w 2085023"/>
              <a:gd name="connsiteY4" fmla="*/ 0 h 2502160"/>
              <a:gd name="connsiteX5" fmla="*/ 1996159 w 2085023"/>
              <a:gd name="connsiteY5" fmla="*/ 0 h 2502160"/>
              <a:gd name="connsiteX6" fmla="*/ 2085023 w 2085023"/>
              <a:gd name="connsiteY6" fmla="*/ 1251080 h 2502160"/>
              <a:gd name="connsiteX7" fmla="*/ 1996159 w 2085023"/>
              <a:gd name="connsiteY7" fmla="*/ 2502160 h 250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5023" h="2502160">
                <a:moveTo>
                  <a:pt x="0" y="2502160"/>
                </a:moveTo>
                <a:lnTo>
                  <a:pt x="0" y="2502159"/>
                </a:lnTo>
                <a:lnTo>
                  <a:pt x="24348" y="2502159"/>
                </a:lnTo>
                <a:lnTo>
                  <a:pt x="113983" y="1251080"/>
                </a:lnTo>
                <a:lnTo>
                  <a:pt x="24348" y="0"/>
                </a:lnTo>
                <a:lnTo>
                  <a:pt x="1996159" y="0"/>
                </a:lnTo>
                <a:lnTo>
                  <a:pt x="2085023" y="1251080"/>
                </a:lnTo>
                <a:lnTo>
                  <a:pt x="1996159" y="2502160"/>
                </a:lnTo>
                <a:close/>
              </a:path>
            </a:pathLst>
          </a:custGeom>
          <a:solidFill>
            <a:schemeClr val="bg1">
              <a:lumMod val="8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31" name="Pentagon 6">
            <a:extLst>
              <a:ext uri="{FF2B5EF4-FFF2-40B4-BE49-F238E27FC236}">
                <a16:creationId xmlns:a16="http://schemas.microsoft.com/office/drawing/2014/main" id="{C1B1CA78-82D7-F046-8501-F4ACD6A076C3}"/>
              </a:ext>
            </a:extLst>
          </p:cNvPr>
          <p:cNvSpPr/>
          <p:nvPr/>
        </p:nvSpPr>
        <p:spPr bwMode="gray">
          <a:xfrm rot="5400000">
            <a:off x="4194193" y="2097070"/>
            <a:ext cx="1577340" cy="1876620"/>
          </a:xfrm>
          <a:prstGeom prst="homePlate">
            <a:avLst>
              <a:gd name="adj" fmla="val 4262"/>
            </a:avLst>
          </a:prstGeom>
          <a:solidFill>
            <a:schemeClr val="bg1">
              <a:lumMod val="9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grpSp>
        <p:nvGrpSpPr>
          <p:cNvPr id="32" name="Group 31">
            <a:extLst>
              <a:ext uri="{FF2B5EF4-FFF2-40B4-BE49-F238E27FC236}">
                <a16:creationId xmlns:a16="http://schemas.microsoft.com/office/drawing/2014/main" id="{7979281B-8AA5-944F-9700-7F74CE8D2B3F}"/>
              </a:ext>
            </a:extLst>
          </p:cNvPr>
          <p:cNvGrpSpPr/>
          <p:nvPr/>
        </p:nvGrpSpPr>
        <p:grpSpPr>
          <a:xfrm>
            <a:off x="3919792" y="2132411"/>
            <a:ext cx="2126144" cy="469539"/>
            <a:chOff x="247988" y="1979988"/>
            <a:chExt cx="2834859" cy="995609"/>
          </a:xfrm>
        </p:grpSpPr>
        <p:sp>
          <p:nvSpPr>
            <p:cNvPr id="33" name="Rectangle 32">
              <a:extLst>
                <a:ext uri="{FF2B5EF4-FFF2-40B4-BE49-F238E27FC236}">
                  <a16:creationId xmlns:a16="http://schemas.microsoft.com/office/drawing/2014/main" id="{79C6388A-8AD4-3A4A-A942-78711495351F}"/>
                </a:ext>
              </a:extLst>
            </p:cNvPr>
            <p:cNvSpPr/>
            <p:nvPr/>
          </p:nvSpPr>
          <p:spPr bwMode="gray">
            <a:xfrm>
              <a:off x="247988" y="1979988"/>
              <a:ext cx="2834859" cy="800278"/>
            </a:xfrm>
            <a:prstGeom prst="rect">
              <a:avLst/>
            </a:prstGeom>
            <a:solidFill>
              <a:schemeClr val="accent3"/>
            </a:solidFill>
            <a:ln w="19050" algn="ctr">
              <a:noFill/>
              <a:miter lim="800000"/>
              <a:headEnd/>
              <a:tailEnd/>
            </a:ln>
          </p:spPr>
          <p:txBody>
            <a:bodyPr wrap="square" lIns="66675" tIns="66675" rIns="66675" bIns="66675" rtlCol="0" anchor="ctr"/>
            <a:lstStyle/>
            <a:p>
              <a:pPr algn="ctr" defTabSz="914378">
                <a:lnSpc>
                  <a:spcPct val="106000"/>
                </a:lnSpc>
              </a:pPr>
              <a:r>
                <a:rPr lang="en-GB" sz="1125" b="1" dirty="0">
                  <a:solidFill>
                    <a:srgbClr val="FFFFFF"/>
                  </a:solidFill>
                </a:rPr>
                <a:t>Lorem ipsum do</a:t>
              </a:r>
            </a:p>
          </p:txBody>
        </p:sp>
        <p:sp>
          <p:nvSpPr>
            <p:cNvPr id="34" name="Right Triangle 33">
              <a:extLst>
                <a:ext uri="{FF2B5EF4-FFF2-40B4-BE49-F238E27FC236}">
                  <a16:creationId xmlns:a16="http://schemas.microsoft.com/office/drawing/2014/main" id="{18733E42-5A54-E04E-96CE-E1FC3FCB1D80}"/>
                </a:ext>
              </a:extLst>
            </p:cNvPr>
            <p:cNvSpPr/>
            <p:nvPr/>
          </p:nvSpPr>
          <p:spPr bwMode="gray">
            <a:xfrm flipV="1">
              <a:off x="2918487" y="2779693"/>
              <a:ext cx="164360" cy="195904"/>
            </a:xfrm>
            <a:prstGeom prst="rtTriangle">
              <a:avLst/>
            </a:prstGeom>
            <a:solidFill>
              <a:schemeClr val="accent3">
                <a:lumMod val="50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35" name="Right Triangle 34">
              <a:extLst>
                <a:ext uri="{FF2B5EF4-FFF2-40B4-BE49-F238E27FC236}">
                  <a16:creationId xmlns:a16="http://schemas.microsoft.com/office/drawing/2014/main" id="{FF4DA6C9-E4E9-F144-8BDD-BAC9942891E3}"/>
                </a:ext>
              </a:extLst>
            </p:cNvPr>
            <p:cNvSpPr/>
            <p:nvPr/>
          </p:nvSpPr>
          <p:spPr bwMode="gray">
            <a:xfrm flipH="1" flipV="1">
              <a:off x="247988" y="2779693"/>
              <a:ext cx="164360" cy="195904"/>
            </a:xfrm>
            <a:prstGeom prst="rtTriangle">
              <a:avLst/>
            </a:prstGeom>
            <a:solidFill>
              <a:schemeClr val="accent3">
                <a:lumMod val="50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grpSp>
      <p:sp>
        <p:nvSpPr>
          <p:cNvPr id="36" name="Chevron 25">
            <a:extLst>
              <a:ext uri="{FF2B5EF4-FFF2-40B4-BE49-F238E27FC236}">
                <a16:creationId xmlns:a16="http://schemas.microsoft.com/office/drawing/2014/main" id="{16E4E81F-A677-E54A-8BA2-4D4DBFAFC444}"/>
              </a:ext>
            </a:extLst>
          </p:cNvPr>
          <p:cNvSpPr/>
          <p:nvPr/>
        </p:nvSpPr>
        <p:spPr bwMode="gray">
          <a:xfrm rot="5400000">
            <a:off x="4775799" y="4207718"/>
            <a:ext cx="414682" cy="1877176"/>
          </a:xfrm>
          <a:prstGeom prst="chevron">
            <a:avLst>
              <a:gd name="adj" fmla="val 14317"/>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37" name="Rectangle 36">
            <a:extLst>
              <a:ext uri="{FF2B5EF4-FFF2-40B4-BE49-F238E27FC236}">
                <a16:creationId xmlns:a16="http://schemas.microsoft.com/office/drawing/2014/main" id="{761D7F56-5A17-AF4A-800F-90C24D159C80}"/>
              </a:ext>
            </a:extLst>
          </p:cNvPr>
          <p:cNvSpPr/>
          <p:nvPr/>
        </p:nvSpPr>
        <p:spPr bwMode="gray">
          <a:xfrm>
            <a:off x="4043062" y="5214938"/>
            <a:ext cx="1878113" cy="383382"/>
          </a:xfrm>
          <a:prstGeom prst="rect">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US" sz="750" b="1" dirty="0" err="1">
              <a:solidFill>
                <a:srgbClr val="FFFFFF"/>
              </a:solidFill>
            </a:endParaRPr>
          </a:p>
        </p:txBody>
      </p:sp>
      <p:sp>
        <p:nvSpPr>
          <p:cNvPr id="38" name="Freeform: Shape 51">
            <a:extLst>
              <a:ext uri="{FF2B5EF4-FFF2-40B4-BE49-F238E27FC236}">
                <a16:creationId xmlns:a16="http://schemas.microsoft.com/office/drawing/2014/main" id="{EC7DEE49-898E-7043-854C-16189E2164EA}"/>
              </a:ext>
            </a:extLst>
          </p:cNvPr>
          <p:cNvSpPr/>
          <p:nvPr/>
        </p:nvSpPr>
        <p:spPr bwMode="gray">
          <a:xfrm rot="5400000">
            <a:off x="4380070" y="3436388"/>
            <a:ext cx="1205589" cy="1876620"/>
          </a:xfrm>
          <a:custGeom>
            <a:avLst/>
            <a:gdLst>
              <a:gd name="connsiteX0" fmla="*/ 0 w 2085023"/>
              <a:gd name="connsiteY0" fmla="*/ 2502160 h 2502160"/>
              <a:gd name="connsiteX1" fmla="*/ 0 w 2085023"/>
              <a:gd name="connsiteY1" fmla="*/ 2502159 h 2502160"/>
              <a:gd name="connsiteX2" fmla="*/ 24348 w 2085023"/>
              <a:gd name="connsiteY2" fmla="*/ 2502159 h 2502160"/>
              <a:gd name="connsiteX3" fmla="*/ 113983 w 2085023"/>
              <a:gd name="connsiteY3" fmla="*/ 1251080 h 2502160"/>
              <a:gd name="connsiteX4" fmla="*/ 24348 w 2085023"/>
              <a:gd name="connsiteY4" fmla="*/ 0 h 2502160"/>
              <a:gd name="connsiteX5" fmla="*/ 1996159 w 2085023"/>
              <a:gd name="connsiteY5" fmla="*/ 0 h 2502160"/>
              <a:gd name="connsiteX6" fmla="*/ 2085023 w 2085023"/>
              <a:gd name="connsiteY6" fmla="*/ 1251080 h 2502160"/>
              <a:gd name="connsiteX7" fmla="*/ 1996159 w 2085023"/>
              <a:gd name="connsiteY7" fmla="*/ 2502160 h 250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5023" h="2502160">
                <a:moveTo>
                  <a:pt x="0" y="2502160"/>
                </a:moveTo>
                <a:lnTo>
                  <a:pt x="0" y="2502159"/>
                </a:lnTo>
                <a:lnTo>
                  <a:pt x="24348" y="2502159"/>
                </a:lnTo>
                <a:lnTo>
                  <a:pt x="113983" y="1251080"/>
                </a:lnTo>
                <a:lnTo>
                  <a:pt x="24348" y="0"/>
                </a:lnTo>
                <a:lnTo>
                  <a:pt x="1996159" y="0"/>
                </a:lnTo>
                <a:lnTo>
                  <a:pt x="2085023" y="1251080"/>
                </a:lnTo>
                <a:lnTo>
                  <a:pt x="1996159" y="2502160"/>
                </a:lnTo>
                <a:close/>
              </a:path>
            </a:pathLst>
          </a:custGeom>
          <a:solidFill>
            <a:schemeClr val="bg1">
              <a:lumMod val="8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39" name="Pentagon 6">
            <a:extLst>
              <a:ext uri="{FF2B5EF4-FFF2-40B4-BE49-F238E27FC236}">
                <a16:creationId xmlns:a16="http://schemas.microsoft.com/office/drawing/2014/main" id="{68B6F665-9788-A84C-AA90-9D69E3FA7800}"/>
              </a:ext>
            </a:extLst>
          </p:cNvPr>
          <p:cNvSpPr/>
          <p:nvPr/>
        </p:nvSpPr>
        <p:spPr bwMode="gray">
          <a:xfrm rot="5400000">
            <a:off x="6403993" y="2097070"/>
            <a:ext cx="1577340" cy="1876620"/>
          </a:xfrm>
          <a:prstGeom prst="homePlate">
            <a:avLst>
              <a:gd name="adj" fmla="val 4262"/>
            </a:avLst>
          </a:prstGeom>
          <a:solidFill>
            <a:schemeClr val="bg1">
              <a:lumMod val="9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grpSp>
        <p:nvGrpSpPr>
          <p:cNvPr id="40" name="Group 39">
            <a:extLst>
              <a:ext uri="{FF2B5EF4-FFF2-40B4-BE49-F238E27FC236}">
                <a16:creationId xmlns:a16="http://schemas.microsoft.com/office/drawing/2014/main" id="{DAEFFE2C-F25A-4E4B-9A14-DFF122546333}"/>
              </a:ext>
            </a:extLst>
          </p:cNvPr>
          <p:cNvGrpSpPr/>
          <p:nvPr/>
        </p:nvGrpSpPr>
        <p:grpSpPr>
          <a:xfrm>
            <a:off x="6129592" y="2132411"/>
            <a:ext cx="2126144" cy="469539"/>
            <a:chOff x="247988" y="1979988"/>
            <a:chExt cx="2834859" cy="995609"/>
          </a:xfrm>
        </p:grpSpPr>
        <p:sp>
          <p:nvSpPr>
            <p:cNvPr id="41" name="Rectangle 40">
              <a:extLst>
                <a:ext uri="{FF2B5EF4-FFF2-40B4-BE49-F238E27FC236}">
                  <a16:creationId xmlns:a16="http://schemas.microsoft.com/office/drawing/2014/main" id="{C10358CA-CFC9-534F-9A9B-FD470BEE1E23}"/>
                </a:ext>
              </a:extLst>
            </p:cNvPr>
            <p:cNvSpPr/>
            <p:nvPr/>
          </p:nvSpPr>
          <p:spPr bwMode="gray">
            <a:xfrm>
              <a:off x="247988" y="1979988"/>
              <a:ext cx="2834859" cy="800278"/>
            </a:xfrm>
            <a:prstGeom prst="rect">
              <a:avLst/>
            </a:prstGeom>
            <a:solidFill>
              <a:schemeClr val="accent6"/>
            </a:solidFill>
            <a:ln w="19050" algn="ctr">
              <a:noFill/>
              <a:miter lim="800000"/>
              <a:headEnd/>
              <a:tailEnd/>
            </a:ln>
          </p:spPr>
          <p:txBody>
            <a:bodyPr wrap="square" lIns="66675" tIns="66675" rIns="66675" bIns="66675" rtlCol="0" anchor="ctr"/>
            <a:lstStyle/>
            <a:p>
              <a:pPr algn="ctr" defTabSz="914378">
                <a:lnSpc>
                  <a:spcPct val="106000"/>
                </a:lnSpc>
              </a:pPr>
              <a:r>
                <a:rPr lang="en-GB" sz="1125" b="1" dirty="0">
                  <a:solidFill>
                    <a:srgbClr val="FFFFFF"/>
                  </a:solidFill>
                </a:rPr>
                <a:t>Lorem ipsum do</a:t>
              </a:r>
            </a:p>
          </p:txBody>
        </p:sp>
        <p:sp>
          <p:nvSpPr>
            <p:cNvPr id="42" name="Right Triangle 41">
              <a:extLst>
                <a:ext uri="{FF2B5EF4-FFF2-40B4-BE49-F238E27FC236}">
                  <a16:creationId xmlns:a16="http://schemas.microsoft.com/office/drawing/2014/main" id="{6DF493B0-DD3F-6947-97B9-68B44AA79FCD}"/>
                </a:ext>
              </a:extLst>
            </p:cNvPr>
            <p:cNvSpPr/>
            <p:nvPr/>
          </p:nvSpPr>
          <p:spPr bwMode="gray">
            <a:xfrm flipV="1">
              <a:off x="2918487" y="2779693"/>
              <a:ext cx="164360" cy="195904"/>
            </a:xfrm>
            <a:prstGeom prst="rtTriangle">
              <a:avLst/>
            </a:prstGeom>
            <a:solidFill>
              <a:schemeClr val="tx2"/>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43" name="Right Triangle 42">
              <a:extLst>
                <a:ext uri="{FF2B5EF4-FFF2-40B4-BE49-F238E27FC236}">
                  <a16:creationId xmlns:a16="http://schemas.microsoft.com/office/drawing/2014/main" id="{AA3C154C-C0C7-4444-B032-BF17128FBF75}"/>
                </a:ext>
              </a:extLst>
            </p:cNvPr>
            <p:cNvSpPr/>
            <p:nvPr/>
          </p:nvSpPr>
          <p:spPr bwMode="gray">
            <a:xfrm flipH="1" flipV="1">
              <a:off x="247988" y="2779693"/>
              <a:ext cx="164360" cy="195904"/>
            </a:xfrm>
            <a:prstGeom prst="rtTriangle">
              <a:avLst/>
            </a:prstGeom>
            <a:solidFill>
              <a:schemeClr val="tx2"/>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grpSp>
      <p:sp>
        <p:nvSpPr>
          <p:cNvPr id="44" name="Chevron 25">
            <a:extLst>
              <a:ext uri="{FF2B5EF4-FFF2-40B4-BE49-F238E27FC236}">
                <a16:creationId xmlns:a16="http://schemas.microsoft.com/office/drawing/2014/main" id="{B4722723-1761-A944-9537-BDB4A6D9B490}"/>
              </a:ext>
            </a:extLst>
          </p:cNvPr>
          <p:cNvSpPr/>
          <p:nvPr/>
        </p:nvSpPr>
        <p:spPr bwMode="gray">
          <a:xfrm rot="5400000">
            <a:off x="6985599" y="4207718"/>
            <a:ext cx="414682" cy="1877176"/>
          </a:xfrm>
          <a:prstGeom prst="chevron">
            <a:avLst>
              <a:gd name="adj" fmla="val 14317"/>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45" name="Rectangle 44">
            <a:extLst>
              <a:ext uri="{FF2B5EF4-FFF2-40B4-BE49-F238E27FC236}">
                <a16:creationId xmlns:a16="http://schemas.microsoft.com/office/drawing/2014/main" id="{916AE8DE-FE8B-5741-B46E-DFEE74731155}"/>
              </a:ext>
            </a:extLst>
          </p:cNvPr>
          <p:cNvSpPr/>
          <p:nvPr/>
        </p:nvSpPr>
        <p:spPr bwMode="gray">
          <a:xfrm>
            <a:off x="6252862" y="5214938"/>
            <a:ext cx="1878113" cy="383382"/>
          </a:xfrm>
          <a:prstGeom prst="rect">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US" sz="750" b="1" dirty="0" err="1">
              <a:solidFill>
                <a:srgbClr val="FFFFFF"/>
              </a:solidFill>
            </a:endParaRPr>
          </a:p>
        </p:txBody>
      </p:sp>
      <p:sp>
        <p:nvSpPr>
          <p:cNvPr id="46" name="Freeform: Shape 60">
            <a:extLst>
              <a:ext uri="{FF2B5EF4-FFF2-40B4-BE49-F238E27FC236}">
                <a16:creationId xmlns:a16="http://schemas.microsoft.com/office/drawing/2014/main" id="{EBEF0E6F-EA2E-B449-A2DA-E11258818A7D}"/>
              </a:ext>
            </a:extLst>
          </p:cNvPr>
          <p:cNvSpPr/>
          <p:nvPr/>
        </p:nvSpPr>
        <p:spPr bwMode="gray">
          <a:xfrm rot="5400000">
            <a:off x="6589870" y="3436388"/>
            <a:ext cx="1205589" cy="1876620"/>
          </a:xfrm>
          <a:custGeom>
            <a:avLst/>
            <a:gdLst>
              <a:gd name="connsiteX0" fmla="*/ 0 w 2085023"/>
              <a:gd name="connsiteY0" fmla="*/ 2502160 h 2502160"/>
              <a:gd name="connsiteX1" fmla="*/ 0 w 2085023"/>
              <a:gd name="connsiteY1" fmla="*/ 2502159 h 2502160"/>
              <a:gd name="connsiteX2" fmla="*/ 24348 w 2085023"/>
              <a:gd name="connsiteY2" fmla="*/ 2502159 h 2502160"/>
              <a:gd name="connsiteX3" fmla="*/ 113983 w 2085023"/>
              <a:gd name="connsiteY3" fmla="*/ 1251080 h 2502160"/>
              <a:gd name="connsiteX4" fmla="*/ 24348 w 2085023"/>
              <a:gd name="connsiteY4" fmla="*/ 0 h 2502160"/>
              <a:gd name="connsiteX5" fmla="*/ 1996159 w 2085023"/>
              <a:gd name="connsiteY5" fmla="*/ 0 h 2502160"/>
              <a:gd name="connsiteX6" fmla="*/ 2085023 w 2085023"/>
              <a:gd name="connsiteY6" fmla="*/ 1251080 h 2502160"/>
              <a:gd name="connsiteX7" fmla="*/ 1996159 w 2085023"/>
              <a:gd name="connsiteY7" fmla="*/ 2502160 h 250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5023" h="2502160">
                <a:moveTo>
                  <a:pt x="0" y="2502160"/>
                </a:moveTo>
                <a:lnTo>
                  <a:pt x="0" y="2502159"/>
                </a:lnTo>
                <a:lnTo>
                  <a:pt x="24348" y="2502159"/>
                </a:lnTo>
                <a:lnTo>
                  <a:pt x="113983" y="1251080"/>
                </a:lnTo>
                <a:lnTo>
                  <a:pt x="24348" y="0"/>
                </a:lnTo>
                <a:lnTo>
                  <a:pt x="1996159" y="0"/>
                </a:lnTo>
                <a:lnTo>
                  <a:pt x="2085023" y="1251080"/>
                </a:lnTo>
                <a:lnTo>
                  <a:pt x="1996159" y="2502160"/>
                </a:lnTo>
                <a:close/>
              </a:path>
            </a:pathLst>
          </a:custGeom>
          <a:solidFill>
            <a:schemeClr val="bg1">
              <a:lumMod val="8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47" name="Rectangle 46">
            <a:extLst>
              <a:ext uri="{FF2B5EF4-FFF2-40B4-BE49-F238E27FC236}">
                <a16:creationId xmlns:a16="http://schemas.microsoft.com/office/drawing/2014/main" id="{73CFE8BD-6943-404D-B5AE-6C1EABAB7A92}"/>
              </a:ext>
            </a:extLst>
          </p:cNvPr>
          <p:cNvSpPr/>
          <p:nvPr/>
        </p:nvSpPr>
        <p:spPr>
          <a:xfrm>
            <a:off x="1918675" y="2571267"/>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48" name="Rectangle 47">
            <a:extLst>
              <a:ext uri="{FF2B5EF4-FFF2-40B4-BE49-F238E27FC236}">
                <a16:creationId xmlns:a16="http://schemas.microsoft.com/office/drawing/2014/main" id="{13CAE31A-86C8-6C4B-93EB-2C8A795814E8}"/>
              </a:ext>
            </a:extLst>
          </p:cNvPr>
          <p:cNvSpPr/>
          <p:nvPr/>
        </p:nvSpPr>
        <p:spPr>
          <a:xfrm>
            <a:off x="1918675" y="3926176"/>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49" name="Rectangle 48">
            <a:extLst>
              <a:ext uri="{FF2B5EF4-FFF2-40B4-BE49-F238E27FC236}">
                <a16:creationId xmlns:a16="http://schemas.microsoft.com/office/drawing/2014/main" id="{06FD6E89-7186-9D46-B050-28473D8AF4D9}"/>
              </a:ext>
            </a:extLst>
          </p:cNvPr>
          <p:cNvSpPr/>
          <p:nvPr/>
        </p:nvSpPr>
        <p:spPr>
          <a:xfrm>
            <a:off x="2312129" y="5187019"/>
            <a:ext cx="775853" cy="138499"/>
          </a:xfrm>
          <a:prstGeom prst="rect">
            <a:avLst/>
          </a:prstGeom>
        </p:spPr>
        <p:txBody>
          <a:bodyPr wrap="none" lIns="0" tIns="0" rIns="0" bIns="0">
            <a:spAutoFit/>
          </a:bodyPr>
          <a:lstStyle/>
          <a:p>
            <a:pPr defTabSz="914378"/>
            <a:r>
              <a:rPr lang="en-US" sz="900" b="1" dirty="0">
                <a:solidFill>
                  <a:srgbClr val="86BC25"/>
                </a:solidFill>
              </a:rPr>
              <a:t>Lorem ipsum do</a:t>
            </a:r>
          </a:p>
        </p:txBody>
      </p:sp>
      <p:sp>
        <p:nvSpPr>
          <p:cNvPr id="50" name="Rectangle 49">
            <a:extLst>
              <a:ext uri="{FF2B5EF4-FFF2-40B4-BE49-F238E27FC236}">
                <a16:creationId xmlns:a16="http://schemas.microsoft.com/office/drawing/2014/main" id="{15B14909-8852-CD42-BA8A-F18F497F530F}"/>
              </a:ext>
            </a:extLst>
          </p:cNvPr>
          <p:cNvSpPr/>
          <p:nvPr/>
        </p:nvSpPr>
        <p:spPr>
          <a:xfrm>
            <a:off x="4128475" y="2571265"/>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51" name="Rectangle 50">
            <a:extLst>
              <a:ext uri="{FF2B5EF4-FFF2-40B4-BE49-F238E27FC236}">
                <a16:creationId xmlns:a16="http://schemas.microsoft.com/office/drawing/2014/main" id="{BC7049C3-9A14-474E-B894-62E7BC0FE7EC}"/>
              </a:ext>
            </a:extLst>
          </p:cNvPr>
          <p:cNvSpPr/>
          <p:nvPr/>
        </p:nvSpPr>
        <p:spPr>
          <a:xfrm>
            <a:off x="4128475" y="3926175"/>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52" name="Rectangle 51">
            <a:extLst>
              <a:ext uri="{FF2B5EF4-FFF2-40B4-BE49-F238E27FC236}">
                <a16:creationId xmlns:a16="http://schemas.microsoft.com/office/drawing/2014/main" id="{0DBAF36D-727B-3743-8611-CE7FD587CCA7}"/>
              </a:ext>
            </a:extLst>
          </p:cNvPr>
          <p:cNvSpPr/>
          <p:nvPr/>
        </p:nvSpPr>
        <p:spPr>
          <a:xfrm>
            <a:off x="6338275" y="2571267"/>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53" name="Rectangle 52">
            <a:extLst>
              <a:ext uri="{FF2B5EF4-FFF2-40B4-BE49-F238E27FC236}">
                <a16:creationId xmlns:a16="http://schemas.microsoft.com/office/drawing/2014/main" id="{6B89DB63-0A5E-0F45-92F0-2A6F5870C33B}"/>
              </a:ext>
            </a:extLst>
          </p:cNvPr>
          <p:cNvSpPr/>
          <p:nvPr/>
        </p:nvSpPr>
        <p:spPr>
          <a:xfrm>
            <a:off x="6338275" y="3926176"/>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54" name="Rectangle 53">
            <a:extLst>
              <a:ext uri="{FF2B5EF4-FFF2-40B4-BE49-F238E27FC236}">
                <a16:creationId xmlns:a16="http://schemas.microsoft.com/office/drawing/2014/main" id="{5AC27553-EE43-7741-8815-CA02AF090D90}"/>
              </a:ext>
            </a:extLst>
          </p:cNvPr>
          <p:cNvSpPr/>
          <p:nvPr/>
        </p:nvSpPr>
        <p:spPr>
          <a:xfrm>
            <a:off x="4503895" y="5187019"/>
            <a:ext cx="775853" cy="138499"/>
          </a:xfrm>
          <a:prstGeom prst="rect">
            <a:avLst/>
          </a:prstGeom>
        </p:spPr>
        <p:txBody>
          <a:bodyPr wrap="none" lIns="0" tIns="0" rIns="0" bIns="0">
            <a:spAutoFit/>
          </a:bodyPr>
          <a:lstStyle/>
          <a:p>
            <a:pPr defTabSz="914378"/>
            <a:r>
              <a:rPr lang="en-US" sz="900" b="1" dirty="0">
                <a:solidFill>
                  <a:srgbClr val="62B5E5"/>
                </a:solidFill>
              </a:rPr>
              <a:t>Lorem ipsum do</a:t>
            </a:r>
          </a:p>
        </p:txBody>
      </p:sp>
      <p:sp>
        <p:nvSpPr>
          <p:cNvPr id="55" name="Rectangle 54">
            <a:extLst>
              <a:ext uri="{FF2B5EF4-FFF2-40B4-BE49-F238E27FC236}">
                <a16:creationId xmlns:a16="http://schemas.microsoft.com/office/drawing/2014/main" id="{85E5DDED-727A-3D4D-97D3-B9B3DB115D3A}"/>
              </a:ext>
            </a:extLst>
          </p:cNvPr>
          <p:cNvSpPr/>
          <p:nvPr/>
        </p:nvSpPr>
        <p:spPr>
          <a:xfrm>
            <a:off x="6720307" y="5187019"/>
            <a:ext cx="775853" cy="138499"/>
          </a:xfrm>
          <a:prstGeom prst="rect">
            <a:avLst/>
          </a:prstGeom>
        </p:spPr>
        <p:txBody>
          <a:bodyPr wrap="none" lIns="0" tIns="0" rIns="0" bIns="0">
            <a:spAutoFit/>
          </a:bodyPr>
          <a:lstStyle/>
          <a:p>
            <a:pPr defTabSz="914378"/>
            <a:r>
              <a:rPr lang="en-US" sz="900" b="1" dirty="0">
                <a:solidFill>
                  <a:srgbClr val="E7E6E6"/>
                </a:solidFill>
              </a:rPr>
              <a:t>Lorem ipsum do</a:t>
            </a:r>
          </a:p>
        </p:txBody>
      </p:sp>
      <p:grpSp>
        <p:nvGrpSpPr>
          <p:cNvPr id="56" name="Group 55">
            <a:extLst>
              <a:ext uri="{FF2B5EF4-FFF2-40B4-BE49-F238E27FC236}">
                <a16:creationId xmlns:a16="http://schemas.microsoft.com/office/drawing/2014/main" id="{098E5668-E983-8E47-8850-94331904E896}"/>
              </a:ext>
            </a:extLst>
          </p:cNvPr>
          <p:cNvGrpSpPr/>
          <p:nvPr/>
        </p:nvGrpSpPr>
        <p:grpSpPr>
          <a:xfrm>
            <a:off x="8292593" y="2574244"/>
            <a:ext cx="285064" cy="2713646"/>
            <a:chOff x="9024790" y="2201722"/>
            <a:chExt cx="380085" cy="3618194"/>
          </a:xfrm>
        </p:grpSpPr>
        <p:sp>
          <p:nvSpPr>
            <p:cNvPr id="57" name="Left Brace 56">
              <a:extLst>
                <a:ext uri="{FF2B5EF4-FFF2-40B4-BE49-F238E27FC236}">
                  <a16:creationId xmlns:a16="http://schemas.microsoft.com/office/drawing/2014/main" id="{41795F7B-1785-614F-B0DC-9D2A5D0F0902}"/>
                </a:ext>
              </a:extLst>
            </p:cNvPr>
            <p:cNvSpPr/>
            <p:nvPr/>
          </p:nvSpPr>
          <p:spPr>
            <a:xfrm flipH="1">
              <a:off x="9051332" y="2201722"/>
              <a:ext cx="353543" cy="3618194"/>
            </a:xfrm>
            <a:prstGeom prst="leftBrace">
              <a:avLst>
                <a:gd name="adj1" fmla="val 29610"/>
                <a:gd name="adj2" fmla="val 50000"/>
              </a:avLst>
            </a:prstGeom>
            <a:no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8"/>
              <a:endParaRPr lang="en-GB">
                <a:solidFill>
                  <a:srgbClr val="000000"/>
                </a:solidFill>
              </a:endParaRPr>
            </a:p>
          </p:txBody>
        </p:sp>
        <p:sp>
          <p:nvSpPr>
            <p:cNvPr id="58" name="Left Brace 57">
              <a:extLst>
                <a:ext uri="{FF2B5EF4-FFF2-40B4-BE49-F238E27FC236}">
                  <a16:creationId xmlns:a16="http://schemas.microsoft.com/office/drawing/2014/main" id="{749793CA-BD71-4243-8100-92483C2EBFCE}"/>
                </a:ext>
              </a:extLst>
            </p:cNvPr>
            <p:cNvSpPr/>
            <p:nvPr/>
          </p:nvSpPr>
          <p:spPr>
            <a:xfrm flipH="1">
              <a:off x="9024790" y="2201722"/>
              <a:ext cx="325329" cy="3618194"/>
            </a:xfrm>
            <a:prstGeom prst="leftBrace">
              <a:avLst>
                <a:gd name="adj1" fmla="val 29610"/>
                <a:gd name="adj2" fmla="val 50000"/>
              </a:avLst>
            </a:prstGeom>
            <a:no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8"/>
              <a:endParaRPr lang="en-GB">
                <a:solidFill>
                  <a:srgbClr val="000000"/>
                </a:solidFill>
              </a:endParaRPr>
            </a:p>
          </p:txBody>
        </p:sp>
      </p:grpSp>
      <p:grpSp>
        <p:nvGrpSpPr>
          <p:cNvPr id="59" name="Group 472">
            <a:extLst>
              <a:ext uri="{FF2B5EF4-FFF2-40B4-BE49-F238E27FC236}">
                <a16:creationId xmlns:a16="http://schemas.microsoft.com/office/drawing/2014/main" id="{407BB162-BF56-2840-ACB5-6ED35BC9CB5B}"/>
              </a:ext>
            </a:extLst>
          </p:cNvPr>
          <p:cNvGrpSpPr>
            <a:grpSpLocks noChangeAspect="1"/>
          </p:cNvGrpSpPr>
          <p:nvPr/>
        </p:nvGrpSpPr>
        <p:grpSpPr bwMode="auto">
          <a:xfrm>
            <a:off x="2541428" y="1746143"/>
            <a:ext cx="432120" cy="432120"/>
            <a:chOff x="400" y="1576"/>
            <a:chExt cx="340" cy="340"/>
          </a:xfrm>
          <a:solidFill>
            <a:schemeClr val="bg1"/>
          </a:solidFill>
        </p:grpSpPr>
        <p:sp>
          <p:nvSpPr>
            <p:cNvPr id="60" name="Freeform 473">
              <a:extLst>
                <a:ext uri="{FF2B5EF4-FFF2-40B4-BE49-F238E27FC236}">
                  <a16:creationId xmlns:a16="http://schemas.microsoft.com/office/drawing/2014/main" id="{659B1767-B73B-B542-9973-63C49BE85D9A}"/>
                </a:ext>
              </a:extLst>
            </p:cNvPr>
            <p:cNvSpPr>
              <a:spLocks noEditPoints="1"/>
            </p:cNvSpPr>
            <p:nvPr/>
          </p:nvSpPr>
          <p:spPr bwMode="auto">
            <a:xfrm>
              <a:off x="499" y="1654"/>
              <a:ext cx="170" cy="184"/>
            </a:xfrm>
            <a:custGeom>
              <a:avLst/>
              <a:gdLst>
                <a:gd name="T0" fmla="*/ 11 w 256"/>
                <a:gd name="T1" fmla="*/ 277 h 277"/>
                <a:gd name="T2" fmla="*/ 5 w 256"/>
                <a:gd name="T3" fmla="*/ 276 h 277"/>
                <a:gd name="T4" fmla="*/ 0 w 256"/>
                <a:gd name="T5" fmla="*/ 267 h 277"/>
                <a:gd name="T6" fmla="*/ 0 w 256"/>
                <a:gd name="T7" fmla="*/ 11 h 277"/>
                <a:gd name="T8" fmla="*/ 5 w 256"/>
                <a:gd name="T9" fmla="*/ 1 h 277"/>
                <a:gd name="T10" fmla="*/ 16 w 256"/>
                <a:gd name="T11" fmla="*/ 1 h 277"/>
                <a:gd name="T12" fmla="*/ 250 w 256"/>
                <a:gd name="T13" fmla="*/ 129 h 277"/>
                <a:gd name="T14" fmla="*/ 256 w 256"/>
                <a:gd name="T15" fmla="*/ 139 h 277"/>
                <a:gd name="T16" fmla="*/ 250 w 256"/>
                <a:gd name="T17" fmla="*/ 148 h 277"/>
                <a:gd name="T18" fmla="*/ 16 w 256"/>
                <a:gd name="T19" fmla="*/ 276 h 277"/>
                <a:gd name="T20" fmla="*/ 11 w 256"/>
                <a:gd name="T21" fmla="*/ 277 h 277"/>
                <a:gd name="T22" fmla="*/ 21 w 256"/>
                <a:gd name="T23" fmla="*/ 29 h 277"/>
                <a:gd name="T24" fmla="*/ 21 w 256"/>
                <a:gd name="T25" fmla="*/ 249 h 277"/>
                <a:gd name="T26" fmla="*/ 223 w 256"/>
                <a:gd name="T27" fmla="*/ 139 h 277"/>
                <a:gd name="T28" fmla="*/ 21 w 256"/>
                <a:gd name="T29" fmla="*/ 2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77">
                  <a:moveTo>
                    <a:pt x="11" y="277"/>
                  </a:moveTo>
                  <a:cubicBezTo>
                    <a:pt x="9" y="277"/>
                    <a:pt x="7" y="277"/>
                    <a:pt x="5" y="276"/>
                  </a:cubicBezTo>
                  <a:cubicBezTo>
                    <a:pt x="2" y="274"/>
                    <a:pt x="0" y="270"/>
                    <a:pt x="0" y="267"/>
                  </a:cubicBezTo>
                  <a:cubicBezTo>
                    <a:pt x="0" y="11"/>
                    <a:pt x="0" y="11"/>
                    <a:pt x="0" y="11"/>
                  </a:cubicBezTo>
                  <a:cubicBezTo>
                    <a:pt x="0" y="7"/>
                    <a:pt x="2" y="3"/>
                    <a:pt x="5" y="1"/>
                  </a:cubicBezTo>
                  <a:cubicBezTo>
                    <a:pt x="8" y="0"/>
                    <a:pt x="12" y="0"/>
                    <a:pt x="16" y="1"/>
                  </a:cubicBezTo>
                  <a:cubicBezTo>
                    <a:pt x="250" y="129"/>
                    <a:pt x="250" y="129"/>
                    <a:pt x="250" y="129"/>
                  </a:cubicBezTo>
                  <a:cubicBezTo>
                    <a:pt x="254" y="131"/>
                    <a:pt x="256" y="135"/>
                    <a:pt x="256" y="139"/>
                  </a:cubicBezTo>
                  <a:cubicBezTo>
                    <a:pt x="256" y="143"/>
                    <a:pt x="254" y="146"/>
                    <a:pt x="250" y="148"/>
                  </a:cubicBezTo>
                  <a:cubicBezTo>
                    <a:pt x="16" y="276"/>
                    <a:pt x="16" y="276"/>
                    <a:pt x="16" y="276"/>
                  </a:cubicBezTo>
                  <a:cubicBezTo>
                    <a:pt x="14" y="277"/>
                    <a:pt x="12" y="277"/>
                    <a:pt x="11" y="277"/>
                  </a:cubicBezTo>
                  <a:close/>
                  <a:moveTo>
                    <a:pt x="21" y="29"/>
                  </a:moveTo>
                  <a:cubicBezTo>
                    <a:pt x="21" y="249"/>
                    <a:pt x="21" y="249"/>
                    <a:pt x="21" y="249"/>
                  </a:cubicBezTo>
                  <a:cubicBezTo>
                    <a:pt x="223" y="139"/>
                    <a:pt x="223" y="139"/>
                    <a:pt x="223" y="139"/>
                  </a:cubicBezTo>
                  <a:lnTo>
                    <a:pt x="21" y="29"/>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61" name="Freeform 474">
              <a:extLst>
                <a:ext uri="{FF2B5EF4-FFF2-40B4-BE49-F238E27FC236}">
                  <a16:creationId xmlns:a16="http://schemas.microsoft.com/office/drawing/2014/main" id="{E77F4820-AC09-9F48-98EF-1BB0BD680A95}"/>
                </a:ext>
              </a:extLst>
            </p:cNvPr>
            <p:cNvSpPr>
              <a:spLocks noEditPoints="1"/>
            </p:cNvSpPr>
            <p:nvPr/>
          </p:nvSpPr>
          <p:spPr bwMode="auto">
            <a:xfrm>
              <a:off x="400" y="157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sp>
        <p:nvSpPr>
          <p:cNvPr id="62" name="Oval 61">
            <a:extLst>
              <a:ext uri="{FF2B5EF4-FFF2-40B4-BE49-F238E27FC236}">
                <a16:creationId xmlns:a16="http://schemas.microsoft.com/office/drawing/2014/main" id="{C796DDB0-C255-E845-AEED-6915A20AF47E}"/>
              </a:ext>
            </a:extLst>
          </p:cNvPr>
          <p:cNvSpPr/>
          <p:nvPr/>
        </p:nvSpPr>
        <p:spPr bwMode="gray">
          <a:xfrm>
            <a:off x="4692351" y="1683066"/>
            <a:ext cx="581025" cy="581025"/>
          </a:xfrm>
          <a:prstGeom prst="ellipse">
            <a:avLst/>
          </a:prstGeom>
          <a:solidFill>
            <a:schemeClr val="accent3"/>
          </a:solidFill>
          <a:ln w="19050" algn="ctr">
            <a:noFill/>
            <a:miter lim="800000"/>
            <a:headEnd/>
            <a:tailEnd/>
          </a:ln>
        </p:spPr>
        <p:txBody>
          <a:bodyPr wrap="square" lIns="66675" tIns="66675" rIns="66675" bIns="66675" rtlCol="0" anchor="ctr"/>
          <a:lstStyle/>
          <a:p>
            <a:pPr algn="ctr" defTabSz="914378">
              <a:lnSpc>
                <a:spcPct val="106000"/>
              </a:lnSpc>
            </a:pPr>
            <a:endParaRPr lang="en-US" sz="1125" b="1" dirty="0" err="1">
              <a:solidFill>
                <a:srgbClr val="FFFFFF"/>
              </a:solidFill>
            </a:endParaRPr>
          </a:p>
        </p:txBody>
      </p:sp>
      <p:sp>
        <p:nvSpPr>
          <p:cNvPr id="63" name="Oval 62">
            <a:extLst>
              <a:ext uri="{FF2B5EF4-FFF2-40B4-BE49-F238E27FC236}">
                <a16:creationId xmlns:a16="http://schemas.microsoft.com/office/drawing/2014/main" id="{E024954B-7941-D048-93C3-9A25D7118E49}"/>
              </a:ext>
            </a:extLst>
          </p:cNvPr>
          <p:cNvSpPr/>
          <p:nvPr/>
        </p:nvSpPr>
        <p:spPr bwMode="gray">
          <a:xfrm>
            <a:off x="6902151" y="1683066"/>
            <a:ext cx="581025" cy="581025"/>
          </a:xfrm>
          <a:prstGeom prst="ellipse">
            <a:avLst/>
          </a:prstGeom>
          <a:solidFill>
            <a:schemeClr val="accent6"/>
          </a:solidFill>
          <a:ln w="19050" algn="ctr">
            <a:noFill/>
            <a:miter lim="800000"/>
            <a:headEnd/>
            <a:tailEnd/>
          </a:ln>
        </p:spPr>
        <p:txBody>
          <a:bodyPr wrap="square" lIns="66675" tIns="66675" rIns="66675" bIns="66675" rtlCol="0" anchor="ctr"/>
          <a:lstStyle/>
          <a:p>
            <a:pPr algn="ctr" defTabSz="914378">
              <a:lnSpc>
                <a:spcPct val="106000"/>
              </a:lnSpc>
            </a:pPr>
            <a:endParaRPr lang="en-US" sz="1125" b="1" dirty="0" err="1">
              <a:solidFill>
                <a:srgbClr val="FFFFFF"/>
              </a:solidFill>
            </a:endParaRPr>
          </a:p>
        </p:txBody>
      </p:sp>
      <p:grpSp>
        <p:nvGrpSpPr>
          <p:cNvPr id="64" name="Group 699">
            <a:extLst>
              <a:ext uri="{FF2B5EF4-FFF2-40B4-BE49-F238E27FC236}">
                <a16:creationId xmlns:a16="http://schemas.microsoft.com/office/drawing/2014/main" id="{7130D694-7969-DE42-A65D-87FA90C5B33F}"/>
              </a:ext>
            </a:extLst>
          </p:cNvPr>
          <p:cNvGrpSpPr>
            <a:grpSpLocks noChangeAspect="1"/>
          </p:cNvGrpSpPr>
          <p:nvPr/>
        </p:nvGrpSpPr>
        <p:grpSpPr bwMode="auto">
          <a:xfrm>
            <a:off x="4766836" y="1757551"/>
            <a:ext cx="432054" cy="432054"/>
            <a:chOff x="4147" y="2931"/>
            <a:chExt cx="340" cy="340"/>
          </a:xfrm>
          <a:solidFill>
            <a:schemeClr val="bg1"/>
          </a:solidFill>
        </p:grpSpPr>
        <p:sp>
          <p:nvSpPr>
            <p:cNvPr id="65" name="Freeform 852">
              <a:extLst>
                <a:ext uri="{FF2B5EF4-FFF2-40B4-BE49-F238E27FC236}">
                  <a16:creationId xmlns:a16="http://schemas.microsoft.com/office/drawing/2014/main" id="{CA6C7EA2-7858-4643-8451-D628F9169995}"/>
                </a:ext>
              </a:extLst>
            </p:cNvPr>
            <p:cNvSpPr>
              <a:spLocks noEditPoints="1"/>
            </p:cNvSpPr>
            <p:nvPr/>
          </p:nvSpPr>
          <p:spPr bwMode="auto">
            <a:xfrm>
              <a:off x="4147" y="29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66" name="Freeform 853">
              <a:extLst>
                <a:ext uri="{FF2B5EF4-FFF2-40B4-BE49-F238E27FC236}">
                  <a16:creationId xmlns:a16="http://schemas.microsoft.com/office/drawing/2014/main" id="{7DEB5DD3-DEB2-CA42-8214-424D4BC15CFB}"/>
                </a:ext>
              </a:extLst>
            </p:cNvPr>
            <p:cNvSpPr>
              <a:spLocks noEditPoints="1"/>
            </p:cNvSpPr>
            <p:nvPr/>
          </p:nvSpPr>
          <p:spPr bwMode="auto">
            <a:xfrm>
              <a:off x="4211" y="2995"/>
              <a:ext cx="212" cy="212"/>
            </a:xfrm>
            <a:custGeom>
              <a:avLst/>
              <a:gdLst>
                <a:gd name="T0" fmla="*/ 170 w 320"/>
                <a:gd name="T1" fmla="*/ 10 h 320"/>
                <a:gd name="T2" fmla="*/ 170 w 320"/>
                <a:gd name="T3" fmla="*/ 85 h 320"/>
                <a:gd name="T4" fmla="*/ 160 w 320"/>
                <a:gd name="T5" fmla="*/ 96 h 320"/>
                <a:gd name="T6" fmla="*/ 149 w 320"/>
                <a:gd name="T7" fmla="*/ 85 h 320"/>
                <a:gd name="T8" fmla="*/ 149 w 320"/>
                <a:gd name="T9" fmla="*/ 10 h 320"/>
                <a:gd name="T10" fmla="*/ 160 w 320"/>
                <a:gd name="T11" fmla="*/ 0 h 320"/>
                <a:gd name="T12" fmla="*/ 170 w 320"/>
                <a:gd name="T13" fmla="*/ 10 h 320"/>
                <a:gd name="T14" fmla="*/ 213 w 320"/>
                <a:gd name="T15" fmla="*/ 117 h 320"/>
                <a:gd name="T16" fmla="*/ 221 w 320"/>
                <a:gd name="T17" fmla="*/ 114 h 320"/>
                <a:gd name="T18" fmla="*/ 274 w 320"/>
                <a:gd name="T19" fmla="*/ 61 h 320"/>
                <a:gd name="T20" fmla="*/ 274 w 320"/>
                <a:gd name="T21" fmla="*/ 45 h 320"/>
                <a:gd name="T22" fmla="*/ 259 w 320"/>
                <a:gd name="T23" fmla="*/ 45 h 320"/>
                <a:gd name="T24" fmla="*/ 205 w 320"/>
                <a:gd name="T25" fmla="*/ 99 h 320"/>
                <a:gd name="T26" fmla="*/ 205 w 320"/>
                <a:gd name="T27" fmla="*/ 114 h 320"/>
                <a:gd name="T28" fmla="*/ 213 w 320"/>
                <a:gd name="T29" fmla="*/ 117 h 320"/>
                <a:gd name="T30" fmla="*/ 309 w 320"/>
                <a:gd name="T31" fmla="*/ 149 h 320"/>
                <a:gd name="T32" fmla="*/ 234 w 320"/>
                <a:gd name="T33" fmla="*/ 149 h 320"/>
                <a:gd name="T34" fmla="*/ 224 w 320"/>
                <a:gd name="T35" fmla="*/ 160 h 320"/>
                <a:gd name="T36" fmla="*/ 234 w 320"/>
                <a:gd name="T37" fmla="*/ 170 h 320"/>
                <a:gd name="T38" fmla="*/ 309 w 320"/>
                <a:gd name="T39" fmla="*/ 170 h 320"/>
                <a:gd name="T40" fmla="*/ 320 w 320"/>
                <a:gd name="T41" fmla="*/ 160 h 320"/>
                <a:gd name="T42" fmla="*/ 309 w 320"/>
                <a:gd name="T43" fmla="*/ 149 h 320"/>
                <a:gd name="T44" fmla="*/ 221 w 320"/>
                <a:gd name="T45" fmla="*/ 205 h 320"/>
                <a:gd name="T46" fmla="*/ 205 w 320"/>
                <a:gd name="T47" fmla="*/ 205 h 320"/>
                <a:gd name="T48" fmla="*/ 205 w 320"/>
                <a:gd name="T49" fmla="*/ 221 h 320"/>
                <a:gd name="T50" fmla="*/ 259 w 320"/>
                <a:gd name="T51" fmla="*/ 274 h 320"/>
                <a:gd name="T52" fmla="*/ 266 w 320"/>
                <a:gd name="T53" fmla="*/ 277 h 320"/>
                <a:gd name="T54" fmla="*/ 274 w 320"/>
                <a:gd name="T55" fmla="*/ 274 h 320"/>
                <a:gd name="T56" fmla="*/ 274 w 320"/>
                <a:gd name="T57" fmla="*/ 259 h 320"/>
                <a:gd name="T58" fmla="*/ 221 w 320"/>
                <a:gd name="T59" fmla="*/ 205 h 320"/>
                <a:gd name="T60" fmla="*/ 160 w 320"/>
                <a:gd name="T61" fmla="*/ 224 h 320"/>
                <a:gd name="T62" fmla="*/ 149 w 320"/>
                <a:gd name="T63" fmla="*/ 234 h 320"/>
                <a:gd name="T64" fmla="*/ 149 w 320"/>
                <a:gd name="T65" fmla="*/ 309 h 320"/>
                <a:gd name="T66" fmla="*/ 160 w 320"/>
                <a:gd name="T67" fmla="*/ 320 h 320"/>
                <a:gd name="T68" fmla="*/ 170 w 320"/>
                <a:gd name="T69" fmla="*/ 309 h 320"/>
                <a:gd name="T70" fmla="*/ 170 w 320"/>
                <a:gd name="T71" fmla="*/ 234 h 320"/>
                <a:gd name="T72" fmla="*/ 160 w 320"/>
                <a:gd name="T73" fmla="*/ 224 h 320"/>
                <a:gd name="T74" fmla="*/ 99 w 320"/>
                <a:gd name="T75" fmla="*/ 205 h 320"/>
                <a:gd name="T76" fmla="*/ 45 w 320"/>
                <a:gd name="T77" fmla="*/ 259 h 320"/>
                <a:gd name="T78" fmla="*/ 45 w 320"/>
                <a:gd name="T79" fmla="*/ 274 h 320"/>
                <a:gd name="T80" fmla="*/ 53 w 320"/>
                <a:gd name="T81" fmla="*/ 277 h 320"/>
                <a:gd name="T82" fmla="*/ 61 w 320"/>
                <a:gd name="T83" fmla="*/ 274 h 320"/>
                <a:gd name="T84" fmla="*/ 114 w 320"/>
                <a:gd name="T85" fmla="*/ 221 h 320"/>
                <a:gd name="T86" fmla="*/ 114 w 320"/>
                <a:gd name="T87" fmla="*/ 205 h 320"/>
                <a:gd name="T88" fmla="*/ 99 w 320"/>
                <a:gd name="T89" fmla="*/ 205 h 320"/>
                <a:gd name="T90" fmla="*/ 96 w 320"/>
                <a:gd name="T91" fmla="*/ 160 h 320"/>
                <a:gd name="T92" fmla="*/ 85 w 320"/>
                <a:gd name="T93" fmla="*/ 149 h 320"/>
                <a:gd name="T94" fmla="*/ 10 w 320"/>
                <a:gd name="T95" fmla="*/ 149 h 320"/>
                <a:gd name="T96" fmla="*/ 0 w 320"/>
                <a:gd name="T97" fmla="*/ 160 h 320"/>
                <a:gd name="T98" fmla="*/ 10 w 320"/>
                <a:gd name="T99" fmla="*/ 170 h 320"/>
                <a:gd name="T100" fmla="*/ 85 w 320"/>
                <a:gd name="T101" fmla="*/ 170 h 320"/>
                <a:gd name="T102" fmla="*/ 96 w 320"/>
                <a:gd name="T103"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320">
                  <a:moveTo>
                    <a:pt x="170" y="10"/>
                  </a:moveTo>
                  <a:cubicBezTo>
                    <a:pt x="170" y="85"/>
                    <a:pt x="170" y="85"/>
                    <a:pt x="170" y="85"/>
                  </a:cubicBezTo>
                  <a:cubicBezTo>
                    <a:pt x="170" y="91"/>
                    <a:pt x="166" y="96"/>
                    <a:pt x="160" y="96"/>
                  </a:cubicBezTo>
                  <a:cubicBezTo>
                    <a:pt x="154" y="96"/>
                    <a:pt x="149" y="91"/>
                    <a:pt x="149" y="85"/>
                  </a:cubicBezTo>
                  <a:cubicBezTo>
                    <a:pt x="149" y="10"/>
                    <a:pt x="149" y="10"/>
                    <a:pt x="149" y="10"/>
                  </a:cubicBezTo>
                  <a:cubicBezTo>
                    <a:pt x="149" y="4"/>
                    <a:pt x="154" y="0"/>
                    <a:pt x="160" y="0"/>
                  </a:cubicBezTo>
                  <a:cubicBezTo>
                    <a:pt x="166" y="0"/>
                    <a:pt x="170" y="4"/>
                    <a:pt x="170" y="10"/>
                  </a:cubicBezTo>
                  <a:close/>
                  <a:moveTo>
                    <a:pt x="213" y="117"/>
                  </a:moveTo>
                  <a:cubicBezTo>
                    <a:pt x="216" y="117"/>
                    <a:pt x="218" y="116"/>
                    <a:pt x="221" y="114"/>
                  </a:cubicBezTo>
                  <a:cubicBezTo>
                    <a:pt x="274" y="61"/>
                    <a:pt x="274" y="61"/>
                    <a:pt x="274" y="61"/>
                  </a:cubicBezTo>
                  <a:cubicBezTo>
                    <a:pt x="278" y="56"/>
                    <a:pt x="278" y="50"/>
                    <a:pt x="274" y="45"/>
                  </a:cubicBezTo>
                  <a:cubicBezTo>
                    <a:pt x="270" y="41"/>
                    <a:pt x="263" y="41"/>
                    <a:pt x="259" y="45"/>
                  </a:cubicBezTo>
                  <a:cubicBezTo>
                    <a:pt x="205" y="99"/>
                    <a:pt x="205" y="99"/>
                    <a:pt x="205" y="99"/>
                  </a:cubicBezTo>
                  <a:cubicBezTo>
                    <a:pt x="201" y="103"/>
                    <a:pt x="201" y="110"/>
                    <a:pt x="205" y="114"/>
                  </a:cubicBezTo>
                  <a:cubicBezTo>
                    <a:pt x="208" y="116"/>
                    <a:pt x="210" y="117"/>
                    <a:pt x="213" y="117"/>
                  </a:cubicBezTo>
                  <a:close/>
                  <a:moveTo>
                    <a:pt x="309" y="149"/>
                  </a:moveTo>
                  <a:cubicBezTo>
                    <a:pt x="234" y="149"/>
                    <a:pt x="234" y="149"/>
                    <a:pt x="234" y="149"/>
                  </a:cubicBezTo>
                  <a:cubicBezTo>
                    <a:pt x="228" y="149"/>
                    <a:pt x="224" y="154"/>
                    <a:pt x="224" y="160"/>
                  </a:cubicBezTo>
                  <a:cubicBezTo>
                    <a:pt x="224" y="166"/>
                    <a:pt x="228" y="170"/>
                    <a:pt x="234" y="170"/>
                  </a:cubicBezTo>
                  <a:cubicBezTo>
                    <a:pt x="309" y="170"/>
                    <a:pt x="309" y="170"/>
                    <a:pt x="309" y="170"/>
                  </a:cubicBezTo>
                  <a:cubicBezTo>
                    <a:pt x="315" y="170"/>
                    <a:pt x="320" y="166"/>
                    <a:pt x="320" y="160"/>
                  </a:cubicBezTo>
                  <a:cubicBezTo>
                    <a:pt x="320" y="154"/>
                    <a:pt x="315" y="149"/>
                    <a:pt x="309" y="149"/>
                  </a:cubicBezTo>
                  <a:close/>
                  <a:moveTo>
                    <a:pt x="221" y="205"/>
                  </a:moveTo>
                  <a:cubicBezTo>
                    <a:pt x="216" y="201"/>
                    <a:pt x="210" y="201"/>
                    <a:pt x="205" y="205"/>
                  </a:cubicBezTo>
                  <a:cubicBezTo>
                    <a:pt x="201" y="210"/>
                    <a:pt x="201" y="216"/>
                    <a:pt x="205" y="221"/>
                  </a:cubicBezTo>
                  <a:cubicBezTo>
                    <a:pt x="259" y="274"/>
                    <a:pt x="259" y="274"/>
                    <a:pt x="259" y="274"/>
                  </a:cubicBezTo>
                  <a:cubicBezTo>
                    <a:pt x="261" y="276"/>
                    <a:pt x="264" y="277"/>
                    <a:pt x="266" y="277"/>
                  </a:cubicBezTo>
                  <a:cubicBezTo>
                    <a:pt x="269" y="277"/>
                    <a:pt x="272" y="276"/>
                    <a:pt x="274" y="274"/>
                  </a:cubicBezTo>
                  <a:cubicBezTo>
                    <a:pt x="278" y="270"/>
                    <a:pt x="278" y="263"/>
                    <a:pt x="274" y="259"/>
                  </a:cubicBezTo>
                  <a:lnTo>
                    <a:pt x="221" y="205"/>
                  </a:lnTo>
                  <a:close/>
                  <a:moveTo>
                    <a:pt x="160" y="224"/>
                  </a:moveTo>
                  <a:cubicBezTo>
                    <a:pt x="154" y="224"/>
                    <a:pt x="149" y="228"/>
                    <a:pt x="149" y="234"/>
                  </a:cubicBezTo>
                  <a:cubicBezTo>
                    <a:pt x="149" y="309"/>
                    <a:pt x="149" y="309"/>
                    <a:pt x="149" y="309"/>
                  </a:cubicBezTo>
                  <a:cubicBezTo>
                    <a:pt x="149" y="315"/>
                    <a:pt x="154" y="320"/>
                    <a:pt x="160" y="320"/>
                  </a:cubicBezTo>
                  <a:cubicBezTo>
                    <a:pt x="166" y="320"/>
                    <a:pt x="170" y="315"/>
                    <a:pt x="170" y="309"/>
                  </a:cubicBezTo>
                  <a:cubicBezTo>
                    <a:pt x="170" y="234"/>
                    <a:pt x="170" y="234"/>
                    <a:pt x="170" y="234"/>
                  </a:cubicBezTo>
                  <a:cubicBezTo>
                    <a:pt x="170" y="228"/>
                    <a:pt x="166" y="224"/>
                    <a:pt x="160" y="224"/>
                  </a:cubicBezTo>
                  <a:close/>
                  <a:moveTo>
                    <a:pt x="99" y="205"/>
                  </a:moveTo>
                  <a:cubicBezTo>
                    <a:pt x="45" y="259"/>
                    <a:pt x="45" y="259"/>
                    <a:pt x="45" y="259"/>
                  </a:cubicBezTo>
                  <a:cubicBezTo>
                    <a:pt x="41" y="263"/>
                    <a:pt x="41" y="270"/>
                    <a:pt x="45" y="274"/>
                  </a:cubicBezTo>
                  <a:cubicBezTo>
                    <a:pt x="48" y="276"/>
                    <a:pt x="50" y="277"/>
                    <a:pt x="53" y="277"/>
                  </a:cubicBezTo>
                  <a:cubicBezTo>
                    <a:pt x="56" y="277"/>
                    <a:pt x="58" y="276"/>
                    <a:pt x="61" y="274"/>
                  </a:cubicBezTo>
                  <a:cubicBezTo>
                    <a:pt x="114" y="221"/>
                    <a:pt x="114" y="221"/>
                    <a:pt x="114" y="221"/>
                  </a:cubicBezTo>
                  <a:cubicBezTo>
                    <a:pt x="118" y="216"/>
                    <a:pt x="118" y="210"/>
                    <a:pt x="114" y="205"/>
                  </a:cubicBezTo>
                  <a:cubicBezTo>
                    <a:pt x="110" y="201"/>
                    <a:pt x="103" y="201"/>
                    <a:pt x="99" y="205"/>
                  </a:cubicBezTo>
                  <a:close/>
                  <a:moveTo>
                    <a:pt x="96" y="160"/>
                  </a:moveTo>
                  <a:cubicBezTo>
                    <a:pt x="96" y="154"/>
                    <a:pt x="91" y="149"/>
                    <a:pt x="85" y="149"/>
                  </a:cubicBezTo>
                  <a:cubicBezTo>
                    <a:pt x="10" y="149"/>
                    <a:pt x="10" y="149"/>
                    <a:pt x="10" y="149"/>
                  </a:cubicBezTo>
                  <a:cubicBezTo>
                    <a:pt x="4" y="149"/>
                    <a:pt x="0" y="154"/>
                    <a:pt x="0" y="160"/>
                  </a:cubicBezTo>
                  <a:cubicBezTo>
                    <a:pt x="0" y="166"/>
                    <a:pt x="4" y="170"/>
                    <a:pt x="10" y="170"/>
                  </a:cubicBezTo>
                  <a:cubicBezTo>
                    <a:pt x="85" y="170"/>
                    <a:pt x="85" y="170"/>
                    <a:pt x="85" y="170"/>
                  </a:cubicBezTo>
                  <a:cubicBezTo>
                    <a:pt x="91" y="170"/>
                    <a:pt x="96" y="166"/>
                    <a:pt x="96" y="16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grpSp>
        <p:nvGrpSpPr>
          <p:cNvPr id="67" name="Group 600">
            <a:extLst>
              <a:ext uri="{FF2B5EF4-FFF2-40B4-BE49-F238E27FC236}">
                <a16:creationId xmlns:a16="http://schemas.microsoft.com/office/drawing/2014/main" id="{68C2643D-5C6E-A841-9D96-A6015F15CA2F}"/>
              </a:ext>
            </a:extLst>
          </p:cNvPr>
          <p:cNvGrpSpPr>
            <a:grpSpLocks noChangeAspect="1"/>
          </p:cNvGrpSpPr>
          <p:nvPr/>
        </p:nvGrpSpPr>
        <p:grpSpPr bwMode="auto">
          <a:xfrm>
            <a:off x="6976636" y="1757551"/>
            <a:ext cx="432054" cy="432054"/>
            <a:chOff x="1949" y="2395"/>
            <a:chExt cx="340" cy="340"/>
          </a:xfrm>
          <a:solidFill>
            <a:schemeClr val="bg1"/>
          </a:solidFill>
        </p:grpSpPr>
        <p:sp>
          <p:nvSpPr>
            <p:cNvPr id="68" name="Freeform 601">
              <a:extLst>
                <a:ext uri="{FF2B5EF4-FFF2-40B4-BE49-F238E27FC236}">
                  <a16:creationId xmlns:a16="http://schemas.microsoft.com/office/drawing/2014/main" id="{36039690-7E06-A64A-8BB6-484B1CF7D7E1}"/>
                </a:ext>
              </a:extLst>
            </p:cNvPr>
            <p:cNvSpPr>
              <a:spLocks noEditPoints="1"/>
            </p:cNvSpPr>
            <p:nvPr/>
          </p:nvSpPr>
          <p:spPr bwMode="auto">
            <a:xfrm>
              <a:off x="1949" y="23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69" name="Freeform 602">
              <a:extLst>
                <a:ext uri="{FF2B5EF4-FFF2-40B4-BE49-F238E27FC236}">
                  <a16:creationId xmlns:a16="http://schemas.microsoft.com/office/drawing/2014/main" id="{220A7FAB-14ED-084C-9E97-70A22D492F77}"/>
                </a:ext>
              </a:extLst>
            </p:cNvPr>
            <p:cNvSpPr>
              <a:spLocks noEditPoints="1"/>
            </p:cNvSpPr>
            <p:nvPr/>
          </p:nvSpPr>
          <p:spPr bwMode="auto">
            <a:xfrm>
              <a:off x="2019" y="2487"/>
              <a:ext cx="206" cy="156"/>
            </a:xfrm>
            <a:custGeom>
              <a:avLst/>
              <a:gdLst>
                <a:gd name="T0" fmla="*/ 128 w 310"/>
                <a:gd name="T1" fmla="*/ 235 h 236"/>
                <a:gd name="T2" fmla="*/ 123 w 310"/>
                <a:gd name="T3" fmla="*/ 234 h 236"/>
                <a:gd name="T4" fmla="*/ 118 w 310"/>
                <a:gd name="T5" fmla="*/ 224 h 236"/>
                <a:gd name="T6" fmla="*/ 118 w 310"/>
                <a:gd name="T7" fmla="*/ 170 h 236"/>
                <a:gd name="T8" fmla="*/ 17 w 310"/>
                <a:gd name="T9" fmla="*/ 233 h 236"/>
                <a:gd name="T10" fmla="*/ 6 w 310"/>
                <a:gd name="T11" fmla="*/ 234 h 236"/>
                <a:gd name="T12" fmla="*/ 0 w 310"/>
                <a:gd name="T13" fmla="*/ 224 h 236"/>
                <a:gd name="T14" fmla="*/ 0 w 310"/>
                <a:gd name="T15" fmla="*/ 11 h 236"/>
                <a:gd name="T16" fmla="*/ 6 w 310"/>
                <a:gd name="T17" fmla="*/ 2 h 236"/>
                <a:gd name="T18" fmla="*/ 17 w 310"/>
                <a:gd name="T19" fmla="*/ 2 h 236"/>
                <a:gd name="T20" fmla="*/ 118 w 310"/>
                <a:gd name="T21" fmla="*/ 65 h 236"/>
                <a:gd name="T22" fmla="*/ 118 w 310"/>
                <a:gd name="T23" fmla="*/ 11 h 236"/>
                <a:gd name="T24" fmla="*/ 123 w 310"/>
                <a:gd name="T25" fmla="*/ 2 h 236"/>
                <a:gd name="T26" fmla="*/ 134 w 310"/>
                <a:gd name="T27" fmla="*/ 2 h 236"/>
                <a:gd name="T28" fmla="*/ 305 w 310"/>
                <a:gd name="T29" fmla="*/ 109 h 236"/>
                <a:gd name="T30" fmla="*/ 310 w 310"/>
                <a:gd name="T31" fmla="*/ 118 h 236"/>
                <a:gd name="T32" fmla="*/ 305 w 310"/>
                <a:gd name="T33" fmla="*/ 127 h 236"/>
                <a:gd name="T34" fmla="*/ 134 w 310"/>
                <a:gd name="T35" fmla="*/ 233 h 236"/>
                <a:gd name="T36" fmla="*/ 128 w 310"/>
                <a:gd name="T37" fmla="*/ 235 h 236"/>
                <a:gd name="T38" fmla="*/ 128 w 310"/>
                <a:gd name="T39" fmla="*/ 140 h 236"/>
                <a:gd name="T40" fmla="*/ 134 w 310"/>
                <a:gd name="T41" fmla="*/ 142 h 236"/>
                <a:gd name="T42" fmla="*/ 139 w 310"/>
                <a:gd name="T43" fmla="*/ 151 h 236"/>
                <a:gd name="T44" fmla="*/ 139 w 310"/>
                <a:gd name="T45" fmla="*/ 205 h 236"/>
                <a:gd name="T46" fmla="*/ 279 w 310"/>
                <a:gd name="T47" fmla="*/ 118 h 236"/>
                <a:gd name="T48" fmla="*/ 139 w 310"/>
                <a:gd name="T49" fmla="*/ 30 h 236"/>
                <a:gd name="T50" fmla="*/ 139 w 310"/>
                <a:gd name="T51" fmla="*/ 84 h 236"/>
                <a:gd name="T52" fmla="*/ 134 w 310"/>
                <a:gd name="T53" fmla="*/ 94 h 236"/>
                <a:gd name="T54" fmla="*/ 123 w 310"/>
                <a:gd name="T55" fmla="*/ 93 h 236"/>
                <a:gd name="T56" fmla="*/ 22 w 310"/>
                <a:gd name="T57" fmla="*/ 30 h 236"/>
                <a:gd name="T58" fmla="*/ 22 w 310"/>
                <a:gd name="T59" fmla="*/ 205 h 236"/>
                <a:gd name="T60" fmla="*/ 123 w 310"/>
                <a:gd name="T61" fmla="*/ 142 h 236"/>
                <a:gd name="T62" fmla="*/ 128 w 310"/>
                <a:gd name="T63"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0" h="236">
                  <a:moveTo>
                    <a:pt x="128" y="235"/>
                  </a:moveTo>
                  <a:cubicBezTo>
                    <a:pt x="127" y="235"/>
                    <a:pt x="125" y="235"/>
                    <a:pt x="123" y="234"/>
                  </a:cubicBezTo>
                  <a:cubicBezTo>
                    <a:pt x="120" y="232"/>
                    <a:pt x="118" y="228"/>
                    <a:pt x="118" y="224"/>
                  </a:cubicBezTo>
                  <a:cubicBezTo>
                    <a:pt x="118" y="170"/>
                    <a:pt x="118" y="170"/>
                    <a:pt x="118" y="170"/>
                  </a:cubicBezTo>
                  <a:cubicBezTo>
                    <a:pt x="17" y="233"/>
                    <a:pt x="17" y="233"/>
                    <a:pt x="17" y="233"/>
                  </a:cubicBezTo>
                  <a:cubicBezTo>
                    <a:pt x="13" y="235"/>
                    <a:pt x="9" y="236"/>
                    <a:pt x="6" y="234"/>
                  </a:cubicBezTo>
                  <a:cubicBezTo>
                    <a:pt x="2" y="232"/>
                    <a:pt x="0" y="228"/>
                    <a:pt x="0" y="224"/>
                  </a:cubicBezTo>
                  <a:cubicBezTo>
                    <a:pt x="0" y="11"/>
                    <a:pt x="0" y="11"/>
                    <a:pt x="0" y="11"/>
                  </a:cubicBezTo>
                  <a:cubicBezTo>
                    <a:pt x="0" y="7"/>
                    <a:pt x="2" y="4"/>
                    <a:pt x="6" y="2"/>
                  </a:cubicBezTo>
                  <a:cubicBezTo>
                    <a:pt x="9" y="0"/>
                    <a:pt x="13" y="0"/>
                    <a:pt x="17" y="2"/>
                  </a:cubicBezTo>
                  <a:cubicBezTo>
                    <a:pt x="118" y="65"/>
                    <a:pt x="118" y="65"/>
                    <a:pt x="118" y="65"/>
                  </a:cubicBezTo>
                  <a:cubicBezTo>
                    <a:pt x="118" y="11"/>
                    <a:pt x="118" y="11"/>
                    <a:pt x="118" y="11"/>
                  </a:cubicBezTo>
                  <a:cubicBezTo>
                    <a:pt x="118" y="7"/>
                    <a:pt x="120" y="4"/>
                    <a:pt x="123" y="2"/>
                  </a:cubicBezTo>
                  <a:cubicBezTo>
                    <a:pt x="127" y="0"/>
                    <a:pt x="131" y="0"/>
                    <a:pt x="134" y="2"/>
                  </a:cubicBezTo>
                  <a:cubicBezTo>
                    <a:pt x="305" y="109"/>
                    <a:pt x="305" y="109"/>
                    <a:pt x="305" y="109"/>
                  </a:cubicBezTo>
                  <a:cubicBezTo>
                    <a:pt x="308" y="111"/>
                    <a:pt x="310" y="114"/>
                    <a:pt x="310" y="118"/>
                  </a:cubicBezTo>
                  <a:cubicBezTo>
                    <a:pt x="310" y="121"/>
                    <a:pt x="308" y="125"/>
                    <a:pt x="305" y="127"/>
                  </a:cubicBezTo>
                  <a:cubicBezTo>
                    <a:pt x="134" y="233"/>
                    <a:pt x="134" y="233"/>
                    <a:pt x="134" y="233"/>
                  </a:cubicBezTo>
                  <a:cubicBezTo>
                    <a:pt x="132" y="234"/>
                    <a:pt x="130" y="235"/>
                    <a:pt x="128" y="235"/>
                  </a:cubicBezTo>
                  <a:close/>
                  <a:moveTo>
                    <a:pt x="128" y="140"/>
                  </a:moveTo>
                  <a:cubicBezTo>
                    <a:pt x="130" y="140"/>
                    <a:pt x="132" y="141"/>
                    <a:pt x="134" y="142"/>
                  </a:cubicBezTo>
                  <a:cubicBezTo>
                    <a:pt x="137" y="144"/>
                    <a:pt x="139" y="147"/>
                    <a:pt x="139" y="151"/>
                  </a:cubicBezTo>
                  <a:cubicBezTo>
                    <a:pt x="139" y="205"/>
                    <a:pt x="139" y="205"/>
                    <a:pt x="139" y="205"/>
                  </a:cubicBezTo>
                  <a:cubicBezTo>
                    <a:pt x="279" y="118"/>
                    <a:pt x="279" y="118"/>
                    <a:pt x="279" y="118"/>
                  </a:cubicBezTo>
                  <a:cubicBezTo>
                    <a:pt x="139" y="30"/>
                    <a:pt x="139" y="30"/>
                    <a:pt x="139" y="30"/>
                  </a:cubicBezTo>
                  <a:cubicBezTo>
                    <a:pt x="139" y="84"/>
                    <a:pt x="139" y="84"/>
                    <a:pt x="139" y="84"/>
                  </a:cubicBezTo>
                  <a:cubicBezTo>
                    <a:pt x="139" y="88"/>
                    <a:pt x="137" y="92"/>
                    <a:pt x="134" y="94"/>
                  </a:cubicBezTo>
                  <a:cubicBezTo>
                    <a:pt x="130" y="96"/>
                    <a:pt x="126" y="95"/>
                    <a:pt x="123" y="93"/>
                  </a:cubicBezTo>
                  <a:cubicBezTo>
                    <a:pt x="22" y="30"/>
                    <a:pt x="22" y="30"/>
                    <a:pt x="22" y="30"/>
                  </a:cubicBezTo>
                  <a:cubicBezTo>
                    <a:pt x="22" y="205"/>
                    <a:pt x="22" y="205"/>
                    <a:pt x="22" y="205"/>
                  </a:cubicBezTo>
                  <a:cubicBezTo>
                    <a:pt x="123" y="142"/>
                    <a:pt x="123" y="142"/>
                    <a:pt x="123" y="142"/>
                  </a:cubicBezTo>
                  <a:cubicBezTo>
                    <a:pt x="124" y="141"/>
                    <a:pt x="126" y="140"/>
                    <a:pt x="128" y="14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grpSp>
        <p:nvGrpSpPr>
          <p:cNvPr id="70" name="Group 578">
            <a:extLst>
              <a:ext uri="{FF2B5EF4-FFF2-40B4-BE49-F238E27FC236}">
                <a16:creationId xmlns:a16="http://schemas.microsoft.com/office/drawing/2014/main" id="{BD383B82-B675-994A-8196-FB35F03B8E00}"/>
              </a:ext>
            </a:extLst>
          </p:cNvPr>
          <p:cNvGrpSpPr>
            <a:grpSpLocks noChangeAspect="1"/>
          </p:cNvGrpSpPr>
          <p:nvPr/>
        </p:nvGrpSpPr>
        <p:grpSpPr bwMode="auto">
          <a:xfrm>
            <a:off x="1914345" y="5097192"/>
            <a:ext cx="342900" cy="342900"/>
            <a:chOff x="1932" y="2478"/>
            <a:chExt cx="340" cy="340"/>
          </a:xfrm>
          <a:solidFill>
            <a:schemeClr val="accent1"/>
          </a:solidFill>
        </p:grpSpPr>
        <p:sp>
          <p:nvSpPr>
            <p:cNvPr id="71" name="Freeform 579">
              <a:extLst>
                <a:ext uri="{FF2B5EF4-FFF2-40B4-BE49-F238E27FC236}">
                  <a16:creationId xmlns:a16="http://schemas.microsoft.com/office/drawing/2014/main" id="{E7C1C326-6B79-7C4F-BE2E-7E7D79FE01B0}"/>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72" name="Freeform 580">
              <a:extLst>
                <a:ext uri="{FF2B5EF4-FFF2-40B4-BE49-F238E27FC236}">
                  <a16:creationId xmlns:a16="http://schemas.microsoft.com/office/drawing/2014/main" id="{8AAFE8FF-ED51-1D40-8494-C39F8E82E5D0}"/>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grpSp>
        <p:nvGrpSpPr>
          <p:cNvPr id="73" name="Group 578">
            <a:extLst>
              <a:ext uri="{FF2B5EF4-FFF2-40B4-BE49-F238E27FC236}">
                <a16:creationId xmlns:a16="http://schemas.microsoft.com/office/drawing/2014/main" id="{BDD641D6-9C64-F042-BC63-0BF515925494}"/>
              </a:ext>
            </a:extLst>
          </p:cNvPr>
          <p:cNvGrpSpPr>
            <a:grpSpLocks noChangeAspect="1"/>
          </p:cNvGrpSpPr>
          <p:nvPr/>
        </p:nvGrpSpPr>
        <p:grpSpPr bwMode="auto">
          <a:xfrm>
            <a:off x="4105095" y="5097192"/>
            <a:ext cx="342900" cy="342900"/>
            <a:chOff x="1932" y="2478"/>
            <a:chExt cx="340" cy="340"/>
          </a:xfrm>
          <a:solidFill>
            <a:schemeClr val="accent3"/>
          </a:solidFill>
        </p:grpSpPr>
        <p:sp>
          <p:nvSpPr>
            <p:cNvPr id="74" name="Freeform 579">
              <a:extLst>
                <a:ext uri="{FF2B5EF4-FFF2-40B4-BE49-F238E27FC236}">
                  <a16:creationId xmlns:a16="http://schemas.microsoft.com/office/drawing/2014/main" id="{C00610B3-FF20-7D4A-B821-BAAB1D9043DC}"/>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75" name="Freeform 580">
              <a:extLst>
                <a:ext uri="{FF2B5EF4-FFF2-40B4-BE49-F238E27FC236}">
                  <a16:creationId xmlns:a16="http://schemas.microsoft.com/office/drawing/2014/main" id="{60C034B5-2D37-9049-BE40-C5971EDEF442}"/>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grpSp>
        <p:nvGrpSpPr>
          <p:cNvPr id="76" name="Group 578">
            <a:extLst>
              <a:ext uri="{FF2B5EF4-FFF2-40B4-BE49-F238E27FC236}">
                <a16:creationId xmlns:a16="http://schemas.microsoft.com/office/drawing/2014/main" id="{9378E26B-37F9-B144-B230-307D133B4405}"/>
              </a:ext>
            </a:extLst>
          </p:cNvPr>
          <p:cNvGrpSpPr>
            <a:grpSpLocks noChangeAspect="1"/>
          </p:cNvGrpSpPr>
          <p:nvPr/>
        </p:nvGrpSpPr>
        <p:grpSpPr bwMode="auto">
          <a:xfrm>
            <a:off x="6324420" y="5097192"/>
            <a:ext cx="342900" cy="342900"/>
            <a:chOff x="1932" y="2478"/>
            <a:chExt cx="340" cy="340"/>
          </a:xfrm>
          <a:solidFill>
            <a:schemeClr val="accent6"/>
          </a:solidFill>
        </p:grpSpPr>
        <p:sp>
          <p:nvSpPr>
            <p:cNvPr id="77" name="Freeform 579">
              <a:extLst>
                <a:ext uri="{FF2B5EF4-FFF2-40B4-BE49-F238E27FC236}">
                  <a16:creationId xmlns:a16="http://schemas.microsoft.com/office/drawing/2014/main" id="{5673D71D-422F-E245-BBE0-AE0725E43BFB}"/>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78" name="Freeform 580">
              <a:extLst>
                <a:ext uri="{FF2B5EF4-FFF2-40B4-BE49-F238E27FC236}">
                  <a16:creationId xmlns:a16="http://schemas.microsoft.com/office/drawing/2014/main" id="{CBFE3BFD-D5A7-E74B-BC57-AD7911325DB5}"/>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spTree>
    <p:custDataLst>
      <p:tags r:id="rId1"/>
    </p:custDataLst>
    <p:extLst>
      <p:ext uri="{BB962C8B-B14F-4D97-AF65-F5344CB8AC3E}">
        <p14:creationId xmlns:p14="http://schemas.microsoft.com/office/powerpoint/2010/main" val="9341828"/>
      </p:ext>
    </p:extLst>
  </p:cSld>
  <p:clrMapOvr>
    <a:masterClrMapping/>
  </p:clrMapOvr>
  <p:transition>
    <p:fade/>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五边形 2"/>
          <p:cNvSpPr/>
          <p:nvPr/>
        </p:nvSpPr>
        <p:spPr>
          <a:xfrm>
            <a:off x="527050" y="2564904"/>
            <a:ext cx="3953355" cy="2304256"/>
          </a:xfrm>
          <a:prstGeom prst="homePlat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2000" tIns="45720" rIns="720000" bIns="45720" numCol="1" spcCol="0" rtlCol="0" fromWordArt="0" anchor="ctr" anchorCtr="0" forceAA="0" compatLnSpc="1">
            <a:noAutofit/>
          </a:bodyPr>
          <a:lstStyle/>
          <a:p>
            <a:pPr>
              <a:spcBef>
                <a:spcPts val="200"/>
              </a:spcBef>
              <a:spcAft>
                <a:spcPts val="200"/>
              </a:spcAft>
            </a:pPr>
            <a:r>
              <a:rPr lang="en-US" altLang="zh-CN" sz="2800" b="1" dirty="0">
                <a:solidFill>
                  <a:srgbClr val="FFFFFF"/>
                </a:solidFill>
                <a:latin typeface="+mj-lt"/>
              </a:rPr>
              <a:t>TEXT</a:t>
            </a:r>
            <a:endParaRPr lang="en-US" altLang="zh-CN" sz="2000" b="1" dirty="0">
              <a:solidFill>
                <a:srgbClr val="FFFFFF"/>
              </a:solidFill>
              <a:latin typeface="+mj-lt"/>
            </a:endParaRPr>
          </a:p>
          <a:p>
            <a:pPr>
              <a:spcBef>
                <a:spcPts val="200"/>
              </a:spcBef>
              <a:spcAft>
                <a:spcPts val="200"/>
              </a:spcAft>
            </a:pPr>
            <a:r>
              <a:rPr lang="en-US" altLang="zh-CN" sz="1400" dirty="0">
                <a:solidFill>
                  <a:srgbClr val="FFFFFF"/>
                </a:solidFill>
              </a:rPr>
              <a:t>And the earth was waste and without form; and it was dark on the face of the deep: and the Spirit of God was moving on the face of the </a:t>
            </a:r>
            <a:r>
              <a:rPr lang="en-US" altLang="zh-CN" sz="1600" dirty="0">
                <a:solidFill>
                  <a:srgbClr val="FFFFFF"/>
                </a:solidFill>
              </a:rPr>
              <a:t>waters</a:t>
            </a:r>
            <a:endParaRPr lang="zh-CN" altLang="en-US" sz="4000" dirty="0">
              <a:solidFill>
                <a:schemeClr val="bg1"/>
              </a:solidFill>
              <a:latin typeface="+mj-lt"/>
            </a:endParaRPr>
          </a:p>
        </p:txBody>
      </p:sp>
      <p:sp>
        <p:nvSpPr>
          <p:cNvPr id="5" name="五边形 3"/>
          <p:cNvSpPr/>
          <p:nvPr/>
        </p:nvSpPr>
        <p:spPr>
          <a:xfrm flipH="1">
            <a:off x="4696428" y="2564904"/>
            <a:ext cx="6968523" cy="2304256"/>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45720" rIns="432000" bIns="45720" numCol="1" spcCol="0" rtlCol="0" fromWordArt="0" anchor="ctr" anchorCtr="0" forceAA="0" compatLnSpc="1">
            <a:noAutofit/>
          </a:bodyPr>
          <a:lstStyle/>
          <a:p>
            <a:pPr>
              <a:spcBef>
                <a:spcPts val="200"/>
              </a:spcBef>
              <a:spcAft>
                <a:spcPts val="200"/>
              </a:spcAft>
            </a:pPr>
            <a:r>
              <a:rPr lang="en-US" altLang="zh-CN" sz="2800" b="1" dirty="0">
                <a:solidFill>
                  <a:srgbClr val="FFFFFF"/>
                </a:solidFill>
                <a:latin typeface="+mj-lt"/>
              </a:rPr>
              <a:t>TEXT</a:t>
            </a:r>
          </a:p>
          <a:p>
            <a:pPr>
              <a:spcBef>
                <a:spcPts val="200"/>
              </a:spcBef>
              <a:spcAft>
                <a:spcPts val="200"/>
              </a:spcAft>
            </a:pPr>
            <a:r>
              <a:rPr lang="en-US" altLang="zh-CN" sz="1400" dirty="0">
                <a:solidFill>
                  <a:schemeClr val="bg1"/>
                </a:solidFill>
              </a:rPr>
              <a:t>And the earth was waste and without form; and it was dark on the face of the deep: and the Spirit of God was moving on the face of the </a:t>
            </a:r>
            <a:r>
              <a:rPr lang="en-US" altLang="zh-CN" sz="1600" dirty="0">
                <a:solidFill>
                  <a:schemeClr val="bg1"/>
                </a:solidFill>
              </a:rPr>
              <a:t>waters</a:t>
            </a:r>
          </a:p>
        </p:txBody>
      </p:sp>
      <p:sp>
        <p:nvSpPr>
          <p:cNvPr id="6" name="等腰三角形 4"/>
          <p:cNvSpPr/>
          <p:nvPr/>
        </p:nvSpPr>
        <p:spPr>
          <a:xfrm rot="10800000">
            <a:off x="2985584" y="1988840"/>
            <a:ext cx="3205666" cy="1551897"/>
          </a:xfrm>
          <a:prstGeom prst="triangle">
            <a:avLst/>
          </a:prstGeom>
          <a:solidFill>
            <a:srgbClr val="D0D0CE"/>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2400" dirty="0">
              <a:solidFill>
                <a:schemeClr val="tx1"/>
              </a:solidFill>
              <a:latin typeface="+mj-lt"/>
            </a:endParaRPr>
          </a:p>
        </p:txBody>
      </p:sp>
      <p:sp>
        <p:nvSpPr>
          <p:cNvPr id="7" name="等腰三角形 5"/>
          <p:cNvSpPr/>
          <p:nvPr/>
        </p:nvSpPr>
        <p:spPr>
          <a:xfrm rot="10800000" flipV="1">
            <a:off x="2985584" y="3893329"/>
            <a:ext cx="3205666" cy="1551897"/>
          </a:xfrm>
          <a:prstGeom prst="triangle">
            <a:avLst/>
          </a:prstGeom>
          <a:solidFill>
            <a:srgbClr val="D0D0CE"/>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2400" dirty="0">
              <a:solidFill>
                <a:schemeClr val="tx1"/>
              </a:solidFill>
              <a:latin typeface="+mj-lt"/>
            </a:endParaRPr>
          </a:p>
        </p:txBody>
      </p:sp>
      <p:sp>
        <p:nvSpPr>
          <p:cNvPr id="8" name="矩形 6"/>
          <p:cNvSpPr/>
          <p:nvPr/>
        </p:nvSpPr>
        <p:spPr>
          <a:xfrm>
            <a:off x="3891752" y="2139488"/>
            <a:ext cx="1393330" cy="683264"/>
          </a:xfrm>
          <a:prstGeom prst="rect">
            <a:avLst/>
          </a:prstGeom>
        </p:spPr>
        <p:txBody>
          <a:bodyPr wrap="none">
            <a:spAutoFit/>
          </a:bodyPr>
          <a:lstStyle/>
          <a:p>
            <a:pPr>
              <a:lnSpc>
                <a:spcPct val="120000"/>
              </a:lnSpc>
              <a:spcBef>
                <a:spcPts val="200"/>
              </a:spcBef>
              <a:spcAft>
                <a:spcPts val="200"/>
              </a:spcAft>
            </a:pPr>
            <a:r>
              <a:rPr lang="en-US" altLang="zh-CN" sz="3200" b="1" dirty="0">
                <a:latin typeface="+mj-lt"/>
              </a:rPr>
              <a:t>TEXT</a:t>
            </a:r>
            <a:endParaRPr lang="en-US" altLang="zh-CN" sz="2400" b="1" dirty="0">
              <a:latin typeface="+mj-lt"/>
            </a:endParaRPr>
          </a:p>
        </p:txBody>
      </p:sp>
      <p:sp>
        <p:nvSpPr>
          <p:cNvPr id="9" name="矩形 7"/>
          <p:cNvSpPr/>
          <p:nvPr/>
        </p:nvSpPr>
        <p:spPr>
          <a:xfrm>
            <a:off x="3891752" y="4582256"/>
            <a:ext cx="1393330" cy="683264"/>
          </a:xfrm>
          <a:prstGeom prst="rect">
            <a:avLst/>
          </a:prstGeom>
        </p:spPr>
        <p:txBody>
          <a:bodyPr wrap="none">
            <a:spAutoFit/>
          </a:bodyPr>
          <a:lstStyle/>
          <a:p>
            <a:pPr>
              <a:lnSpc>
                <a:spcPct val="120000"/>
              </a:lnSpc>
              <a:spcBef>
                <a:spcPts val="200"/>
              </a:spcBef>
              <a:spcAft>
                <a:spcPts val="200"/>
              </a:spcAft>
            </a:pPr>
            <a:r>
              <a:rPr lang="en-US" altLang="zh-CN" sz="3200" b="1" dirty="0">
                <a:latin typeface="+mj-lt"/>
              </a:rPr>
              <a:t>TEXT</a:t>
            </a:r>
          </a:p>
        </p:txBody>
      </p:sp>
    </p:spTree>
    <p:custDataLst>
      <p:tags r:id="rId1"/>
    </p:custDataLst>
    <p:extLst>
      <p:ext uri="{BB962C8B-B14F-4D97-AF65-F5344CB8AC3E}">
        <p14:creationId xmlns:p14="http://schemas.microsoft.com/office/powerpoint/2010/main" val="3323197915"/>
      </p:ext>
    </p:extLst>
  </p:cSld>
  <p:clrMapOvr>
    <a:masterClrMapping/>
  </p:clrMapOvr>
  <p:transition>
    <p:fade/>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C967EC44-6E02-664B-AFA2-90609362AEA3}"/>
              </a:ext>
            </a:extLst>
          </p:cNvPr>
          <p:cNvSpPr txBox="1"/>
          <p:nvPr/>
        </p:nvSpPr>
        <p:spPr bwMode="gray">
          <a:xfrm>
            <a:off x="1875625" y="2091067"/>
            <a:ext cx="4010658" cy="3534116"/>
          </a:xfrm>
          <a:prstGeom prst="rect">
            <a:avLst/>
          </a:prstGeom>
          <a:solidFill>
            <a:schemeClr val="accent3"/>
          </a:solidFill>
          <a:ln w="28575">
            <a:solidFill>
              <a:schemeClr val="bg1"/>
            </a:solidFill>
          </a:ln>
        </p:spPr>
        <p:style>
          <a:lnRef idx="2">
            <a:schemeClr val="accent2"/>
          </a:lnRef>
          <a:fillRef idx="1">
            <a:schemeClr val="lt1"/>
          </a:fillRef>
          <a:effectRef idx="0">
            <a:schemeClr val="accent2"/>
          </a:effectRef>
          <a:fontRef idx="minor">
            <a:schemeClr val="dk1"/>
          </a:fontRef>
        </p:style>
        <p:txBody>
          <a:bodyPr wrap="square" lIns="55000" tIns="55000" rIns="55000" bIns="55000" rtlCol="0" anchor="ctr">
            <a:noAutofit/>
          </a:bodyPr>
          <a:lstStyle/>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p:txBody>
      </p:sp>
      <p:grpSp>
        <p:nvGrpSpPr>
          <p:cNvPr id="45" name="Group 44">
            <a:extLst>
              <a:ext uri="{FF2B5EF4-FFF2-40B4-BE49-F238E27FC236}">
                <a16:creationId xmlns:a16="http://schemas.microsoft.com/office/drawing/2014/main" id="{2EDAC8FD-CF5C-D340-9EEA-E72E0C938001}"/>
              </a:ext>
            </a:extLst>
          </p:cNvPr>
          <p:cNvGrpSpPr/>
          <p:nvPr/>
        </p:nvGrpSpPr>
        <p:grpSpPr>
          <a:xfrm>
            <a:off x="4535619" y="2091067"/>
            <a:ext cx="5773788" cy="3534117"/>
            <a:chOff x="4005558" y="1639976"/>
            <a:chExt cx="7679339" cy="4700498"/>
          </a:xfrm>
        </p:grpSpPr>
        <p:sp>
          <p:nvSpPr>
            <p:cNvPr id="46" name="TextBox 45">
              <a:extLst>
                <a:ext uri="{FF2B5EF4-FFF2-40B4-BE49-F238E27FC236}">
                  <a16:creationId xmlns:a16="http://schemas.microsoft.com/office/drawing/2014/main" id="{C2804C0D-2700-0E4A-AB6E-3B0E0F5E4AA3}"/>
                </a:ext>
              </a:extLst>
            </p:cNvPr>
            <p:cNvSpPr txBox="1"/>
            <p:nvPr/>
          </p:nvSpPr>
          <p:spPr bwMode="gray">
            <a:xfrm flipH="1" flipV="1">
              <a:off x="4005558" y="1639977"/>
              <a:ext cx="7679339" cy="4700497"/>
            </a:xfrm>
            <a:prstGeom prst="homePlate">
              <a:avLst>
                <a:gd name="adj" fmla="val 35711"/>
              </a:avLst>
            </a:prstGeom>
            <a:solidFill>
              <a:schemeClr val="bg1"/>
            </a:solidFill>
            <a:ln w="28575">
              <a:solidFill>
                <a:schemeClr val="bg1"/>
              </a:solidFill>
            </a:ln>
          </p:spPr>
          <p:style>
            <a:lnRef idx="2">
              <a:schemeClr val="accent2"/>
            </a:lnRef>
            <a:fillRef idx="1">
              <a:schemeClr val="lt1"/>
            </a:fillRef>
            <a:effectRef idx="0">
              <a:schemeClr val="accent2"/>
            </a:effectRef>
            <a:fontRef idx="minor">
              <a:schemeClr val="dk1"/>
            </a:fontRef>
          </p:style>
          <p:txBody>
            <a:bodyPr wrap="square" lIns="55000" tIns="55000" rIns="55000" bIns="55000" rtlCol="0">
              <a:noAutofit/>
            </a:bodyPr>
            <a:lstStyle/>
            <a:p>
              <a:pPr marL="214855" indent="-214855">
                <a:spcBef>
                  <a:spcPts val="902"/>
                </a:spcBef>
                <a:spcAft>
                  <a:spcPts val="451"/>
                </a:spcAft>
                <a:buFont typeface="Arial" panose="020B0604020202020204" pitchFamily="34" charset="0"/>
                <a:buChar char="•"/>
              </a:pPr>
              <a:endParaRPr lang="en-US" sz="1203" dirty="0"/>
            </a:p>
          </p:txBody>
        </p:sp>
        <p:sp>
          <p:nvSpPr>
            <p:cNvPr id="47" name="TextBox 46">
              <a:extLst>
                <a:ext uri="{FF2B5EF4-FFF2-40B4-BE49-F238E27FC236}">
                  <a16:creationId xmlns:a16="http://schemas.microsoft.com/office/drawing/2014/main" id="{5DF24535-8B15-B840-AD7B-AC96A612B721}"/>
                </a:ext>
              </a:extLst>
            </p:cNvPr>
            <p:cNvSpPr txBox="1"/>
            <p:nvPr/>
          </p:nvSpPr>
          <p:spPr bwMode="gray">
            <a:xfrm flipH="1" flipV="1">
              <a:off x="4232136" y="1639976"/>
              <a:ext cx="7103363" cy="4700497"/>
            </a:xfrm>
            <a:prstGeom prst="homePlate">
              <a:avLst>
                <a:gd name="adj" fmla="val 35711"/>
              </a:avLst>
            </a:prstGeom>
            <a:solidFill>
              <a:schemeClr val="bg1">
                <a:lumMod val="75000"/>
              </a:schemeClr>
            </a:solidFill>
            <a:ln w="28575">
              <a:solidFill>
                <a:schemeClr val="bg1"/>
              </a:solidFill>
            </a:ln>
          </p:spPr>
          <p:style>
            <a:lnRef idx="2">
              <a:schemeClr val="accent2"/>
            </a:lnRef>
            <a:fillRef idx="1">
              <a:schemeClr val="lt1"/>
            </a:fillRef>
            <a:effectRef idx="0">
              <a:schemeClr val="accent2"/>
            </a:effectRef>
            <a:fontRef idx="minor">
              <a:schemeClr val="dk1"/>
            </a:fontRef>
          </p:style>
          <p:txBody>
            <a:bodyPr wrap="square" lIns="55000" tIns="55000" rIns="55000" bIns="55000" rtlCol="0">
              <a:noAutofit/>
            </a:bodyPr>
            <a:lstStyle/>
            <a:p>
              <a:pPr marL="214855" indent="-214855">
                <a:spcBef>
                  <a:spcPts val="902"/>
                </a:spcBef>
                <a:spcAft>
                  <a:spcPts val="451"/>
                </a:spcAft>
                <a:buFont typeface="Arial" panose="020B0604020202020204" pitchFamily="34" charset="0"/>
                <a:buChar char="•"/>
              </a:pPr>
              <a:endParaRPr lang="en-US" sz="1203" dirty="0"/>
            </a:p>
          </p:txBody>
        </p:sp>
        <p:sp>
          <p:nvSpPr>
            <p:cNvPr id="48" name="TextBox 47">
              <a:extLst>
                <a:ext uri="{FF2B5EF4-FFF2-40B4-BE49-F238E27FC236}">
                  <a16:creationId xmlns:a16="http://schemas.microsoft.com/office/drawing/2014/main" id="{EF2C8AE8-7EB4-6D45-9F10-6CE85E5772B8}"/>
                </a:ext>
              </a:extLst>
            </p:cNvPr>
            <p:cNvSpPr txBox="1"/>
            <p:nvPr/>
          </p:nvSpPr>
          <p:spPr bwMode="gray">
            <a:xfrm flipH="1" flipV="1">
              <a:off x="4572001" y="1639976"/>
              <a:ext cx="7103364" cy="4700497"/>
            </a:xfrm>
            <a:prstGeom prst="homePlate">
              <a:avLst>
                <a:gd name="adj" fmla="val 35711"/>
              </a:avLst>
            </a:prstGeom>
            <a:solidFill>
              <a:schemeClr val="bg2">
                <a:lumMod val="20000"/>
                <a:lumOff val="80000"/>
              </a:schemeClr>
            </a:solidFill>
            <a:ln w="28575">
              <a:solidFill>
                <a:schemeClr val="bg1"/>
              </a:solidFill>
            </a:ln>
          </p:spPr>
          <p:style>
            <a:lnRef idx="2">
              <a:schemeClr val="accent2"/>
            </a:lnRef>
            <a:fillRef idx="1">
              <a:schemeClr val="lt1"/>
            </a:fillRef>
            <a:effectRef idx="0">
              <a:schemeClr val="accent2"/>
            </a:effectRef>
            <a:fontRef idx="minor">
              <a:schemeClr val="dk1"/>
            </a:fontRef>
          </p:style>
          <p:txBody>
            <a:bodyPr wrap="square" lIns="55000" tIns="55000" rIns="55000" bIns="55000" rtlCol="0">
              <a:noAutofit/>
            </a:bodyPr>
            <a:lstStyle/>
            <a:p>
              <a:pPr marL="214855" indent="-214855">
                <a:spcBef>
                  <a:spcPts val="902"/>
                </a:spcBef>
                <a:spcAft>
                  <a:spcPts val="451"/>
                </a:spcAft>
                <a:buFont typeface="Arial" panose="020B0604020202020204" pitchFamily="34" charset="0"/>
                <a:buChar char="•"/>
              </a:pPr>
              <a:endParaRPr lang="en-US" sz="1203" dirty="0"/>
            </a:p>
          </p:txBody>
        </p:sp>
      </p:grpSp>
      <p:grpSp>
        <p:nvGrpSpPr>
          <p:cNvPr id="49" name="Group 48">
            <a:extLst>
              <a:ext uri="{FF2B5EF4-FFF2-40B4-BE49-F238E27FC236}">
                <a16:creationId xmlns:a16="http://schemas.microsoft.com/office/drawing/2014/main" id="{F9003310-D105-2E4A-BBD4-E6C86B48B964}"/>
              </a:ext>
            </a:extLst>
          </p:cNvPr>
          <p:cNvGrpSpPr/>
          <p:nvPr/>
        </p:nvGrpSpPr>
        <p:grpSpPr>
          <a:xfrm>
            <a:off x="6554271" y="2237787"/>
            <a:ext cx="3381535" cy="3272030"/>
            <a:chOff x="3839229" y="1835120"/>
            <a:chExt cx="4497559" cy="4351913"/>
          </a:xfrm>
        </p:grpSpPr>
        <p:sp>
          <p:nvSpPr>
            <p:cNvPr id="50" name="Freeform 3">
              <a:extLst>
                <a:ext uri="{FF2B5EF4-FFF2-40B4-BE49-F238E27FC236}">
                  <a16:creationId xmlns:a16="http://schemas.microsoft.com/office/drawing/2014/main" id="{C721DE68-8068-3A48-9EE2-329A67A8139B}"/>
                </a:ext>
              </a:extLst>
            </p:cNvPr>
            <p:cNvSpPr>
              <a:spLocks/>
            </p:cNvSpPr>
            <p:nvPr/>
          </p:nvSpPr>
          <p:spPr bwMode="auto">
            <a:xfrm>
              <a:off x="5555298" y="4998133"/>
              <a:ext cx="1098665" cy="1188900"/>
            </a:xfrm>
            <a:custGeom>
              <a:avLst/>
              <a:gdLst>
                <a:gd name="T0" fmla="*/ 605650 w 553"/>
                <a:gd name="T1" fmla="*/ 1190277 h 616"/>
                <a:gd name="T2" fmla="*/ 478145 w 553"/>
                <a:gd name="T3" fmla="*/ 1190277 h 616"/>
                <a:gd name="T4" fmla="*/ 478145 w 553"/>
                <a:gd name="T5" fmla="*/ 230314 h 616"/>
                <a:gd name="T6" fmla="*/ 79691 w 553"/>
                <a:gd name="T7" fmla="*/ 601912 h 616"/>
                <a:gd name="T8" fmla="*/ 0 w 553"/>
                <a:gd name="T9" fmla="*/ 539979 h 616"/>
                <a:gd name="T10" fmla="*/ 573774 w 553"/>
                <a:gd name="T11" fmla="*/ 0 h 616"/>
                <a:gd name="T12" fmla="*/ 1099733 w 553"/>
                <a:gd name="T13" fmla="*/ 524496 h 616"/>
                <a:gd name="T14" fmla="*/ 1020042 w 553"/>
                <a:gd name="T15" fmla="*/ 601912 h 616"/>
                <a:gd name="T16" fmla="*/ 605650 w 553"/>
                <a:gd name="T17" fmla="*/ 230314 h 616"/>
                <a:gd name="T18" fmla="*/ 605650 w 553"/>
                <a:gd name="T19" fmla="*/ 1190277 h 6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16"/>
                <a:gd name="T32" fmla="*/ 553 w 553"/>
                <a:gd name="T33" fmla="*/ 616 h 6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16">
                  <a:moveTo>
                    <a:pt x="304" y="615"/>
                  </a:moveTo>
                  <a:lnTo>
                    <a:pt x="240" y="615"/>
                  </a:lnTo>
                  <a:lnTo>
                    <a:pt x="240" y="119"/>
                  </a:lnTo>
                  <a:lnTo>
                    <a:pt x="40" y="311"/>
                  </a:lnTo>
                  <a:lnTo>
                    <a:pt x="0" y="279"/>
                  </a:lnTo>
                  <a:lnTo>
                    <a:pt x="288" y="0"/>
                  </a:lnTo>
                  <a:lnTo>
                    <a:pt x="552" y="271"/>
                  </a:lnTo>
                  <a:lnTo>
                    <a:pt x="512" y="311"/>
                  </a:lnTo>
                  <a:lnTo>
                    <a:pt x="304" y="119"/>
                  </a:lnTo>
                  <a:lnTo>
                    <a:pt x="304" y="615"/>
                  </a:lnTo>
                </a:path>
              </a:pathLst>
            </a:custGeom>
            <a:solidFill>
              <a:schemeClr val="bg2">
                <a:lumMod val="60000"/>
                <a:lumOff val="40000"/>
              </a:schemeClr>
            </a:solidFill>
            <a:ln w="12700" cap="rnd">
              <a:solidFill>
                <a:schemeClr val="bg1"/>
              </a:solidFill>
              <a:round/>
              <a:headEnd/>
              <a:tailEnd/>
            </a:ln>
          </p:spPr>
          <p:txBody>
            <a:bodyPr wrap="square" lIns="26992" tIns="26992" rIns="26992" bIns="26992"/>
            <a:lstStyle/>
            <a:p>
              <a:pPr>
                <a:defRPr/>
              </a:pPr>
              <a:endParaRPr lang="en-US" sz="1350" dirty="0">
                <a:solidFill>
                  <a:prstClr val="black"/>
                </a:solidFill>
              </a:endParaRPr>
            </a:p>
          </p:txBody>
        </p:sp>
        <p:sp>
          <p:nvSpPr>
            <p:cNvPr id="51" name="Oval 4">
              <a:extLst>
                <a:ext uri="{FF2B5EF4-FFF2-40B4-BE49-F238E27FC236}">
                  <a16:creationId xmlns:a16="http://schemas.microsoft.com/office/drawing/2014/main" id="{9E4BBD7D-58F8-7F43-B1F5-D7CA559CD753}"/>
                </a:ext>
              </a:extLst>
            </p:cNvPr>
            <p:cNvSpPr>
              <a:spLocks noChangeArrowheads="1"/>
            </p:cNvSpPr>
            <p:nvPr/>
          </p:nvSpPr>
          <p:spPr bwMode="auto">
            <a:xfrm>
              <a:off x="5330514" y="3285229"/>
              <a:ext cx="1548232" cy="1523250"/>
            </a:xfrm>
            <a:prstGeom prst="ellipse">
              <a:avLst/>
            </a:prstGeom>
            <a:solidFill>
              <a:schemeClr val="accent3"/>
            </a:solidFill>
            <a:ln w="12700">
              <a:solidFill>
                <a:schemeClr val="bg1"/>
              </a:solidFill>
              <a:round/>
              <a:headEnd/>
              <a:tailEnd/>
            </a:ln>
          </p:spPr>
          <p:txBody>
            <a:bodyPr wrap="square" lIns="68559" tIns="68559" rIns="68559" bIns="68559" anchor="ctr"/>
            <a:lstStyle/>
            <a:p>
              <a:pPr algn="ctr">
                <a:spcBef>
                  <a:spcPct val="0"/>
                </a:spcBef>
              </a:pPr>
              <a:r>
                <a:rPr lang="en-US" sz="900" b="1" dirty="0">
                  <a:solidFill>
                    <a:prstClr val="white"/>
                  </a:solidFill>
                </a:rPr>
                <a:t>Lorem ipsum dolor sit </a:t>
              </a:r>
              <a:r>
                <a:rPr lang="en-US" sz="900" b="1" dirty="0" err="1">
                  <a:solidFill>
                    <a:prstClr val="white"/>
                  </a:solidFill>
                </a:rPr>
                <a:t>amet</a:t>
              </a:r>
              <a:r>
                <a:rPr lang="en-US" sz="900" b="1" dirty="0">
                  <a:solidFill>
                    <a:prstClr val="white"/>
                  </a:solidFill>
                </a:rPr>
                <a:t>, co</a:t>
              </a:r>
            </a:p>
          </p:txBody>
        </p:sp>
        <p:sp>
          <p:nvSpPr>
            <p:cNvPr id="52" name="Freeform 5">
              <a:extLst>
                <a:ext uri="{FF2B5EF4-FFF2-40B4-BE49-F238E27FC236}">
                  <a16:creationId xmlns:a16="http://schemas.microsoft.com/office/drawing/2014/main" id="{5E09F7D4-5E6E-FF46-8B64-7303EFEB9334}"/>
                </a:ext>
              </a:extLst>
            </p:cNvPr>
            <p:cNvSpPr>
              <a:spLocks/>
            </p:cNvSpPr>
            <p:nvPr/>
          </p:nvSpPr>
          <p:spPr bwMode="auto">
            <a:xfrm>
              <a:off x="6842351" y="4736922"/>
              <a:ext cx="953020" cy="894447"/>
            </a:xfrm>
            <a:custGeom>
              <a:avLst/>
              <a:gdLst>
                <a:gd name="T0" fmla="*/ 698837 w 480"/>
                <a:gd name="T1" fmla="*/ 92787 h 464"/>
                <a:gd name="T2" fmla="*/ 698837 w 480"/>
                <a:gd name="T3" fmla="*/ 0 h 464"/>
                <a:gd name="T4" fmla="*/ 0 w 480"/>
                <a:gd name="T5" fmla="*/ 0 h 464"/>
                <a:gd name="T6" fmla="*/ 0 w 480"/>
                <a:gd name="T7" fmla="*/ 663038 h 464"/>
                <a:gd name="T8" fmla="*/ 127423 w 480"/>
                <a:gd name="T9" fmla="*/ 663038 h 464"/>
                <a:gd name="T10" fmla="*/ 127423 w 480"/>
                <a:gd name="T11" fmla="*/ 201038 h 464"/>
                <a:gd name="T12" fmla="*/ 842189 w 480"/>
                <a:gd name="T13" fmla="*/ 895005 h 464"/>
                <a:gd name="T14" fmla="*/ 953684 w 480"/>
                <a:gd name="T15" fmla="*/ 786754 h 464"/>
                <a:gd name="T16" fmla="*/ 238919 w 480"/>
                <a:gd name="T17" fmla="*/ 123716 h 464"/>
                <a:gd name="T18" fmla="*/ 698837 w 480"/>
                <a:gd name="T19" fmla="*/ 123716 h 464"/>
                <a:gd name="T20" fmla="*/ 698837 w 480"/>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0"/>
                <a:gd name="T34" fmla="*/ 0 h 464"/>
                <a:gd name="T35" fmla="*/ 480 w 480"/>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0" h="464">
                  <a:moveTo>
                    <a:pt x="351" y="48"/>
                  </a:moveTo>
                  <a:lnTo>
                    <a:pt x="351" y="0"/>
                  </a:lnTo>
                  <a:lnTo>
                    <a:pt x="0" y="0"/>
                  </a:lnTo>
                  <a:lnTo>
                    <a:pt x="0" y="343"/>
                  </a:lnTo>
                  <a:lnTo>
                    <a:pt x="64" y="343"/>
                  </a:lnTo>
                  <a:lnTo>
                    <a:pt x="64" y="104"/>
                  </a:lnTo>
                  <a:lnTo>
                    <a:pt x="423" y="463"/>
                  </a:lnTo>
                  <a:lnTo>
                    <a:pt x="479" y="407"/>
                  </a:lnTo>
                  <a:lnTo>
                    <a:pt x="120" y="64"/>
                  </a:lnTo>
                  <a:lnTo>
                    <a:pt x="351" y="64"/>
                  </a:lnTo>
                  <a:lnTo>
                    <a:pt x="351" y="0"/>
                  </a:lnTo>
                </a:path>
              </a:pathLst>
            </a:custGeom>
            <a:solidFill>
              <a:schemeClr val="bg2">
                <a:lumMod val="60000"/>
                <a:lumOff val="40000"/>
              </a:schemeClr>
            </a:solidFill>
            <a:ln w="12700" cap="rnd">
              <a:solidFill>
                <a:schemeClr val="bg1"/>
              </a:solidFill>
              <a:round/>
              <a:headEnd type="none" w="sm" len="sm"/>
              <a:tailEnd type="none" w="sm" len="sm"/>
            </a:ln>
          </p:spPr>
          <p:txBody>
            <a:bodyPr wrap="square" lIns="26992" tIns="26992" rIns="26992" bIns="26992"/>
            <a:lstStyle/>
            <a:p>
              <a:pPr>
                <a:defRPr/>
              </a:pPr>
              <a:endParaRPr lang="en-US" sz="1350" dirty="0">
                <a:solidFill>
                  <a:prstClr val="black"/>
                </a:solidFill>
              </a:endParaRPr>
            </a:p>
          </p:txBody>
        </p:sp>
        <p:sp>
          <p:nvSpPr>
            <p:cNvPr id="53" name="Freeform 6">
              <a:extLst>
                <a:ext uri="{FF2B5EF4-FFF2-40B4-BE49-F238E27FC236}">
                  <a16:creationId xmlns:a16="http://schemas.microsoft.com/office/drawing/2014/main" id="{7BEDD1E5-B7B1-8544-A16A-FED0AADE086D}"/>
                </a:ext>
              </a:extLst>
            </p:cNvPr>
            <p:cNvSpPr>
              <a:spLocks/>
            </p:cNvSpPr>
            <p:nvPr/>
          </p:nvSpPr>
          <p:spPr bwMode="auto">
            <a:xfrm>
              <a:off x="6828102" y="2420863"/>
              <a:ext cx="935606" cy="881781"/>
            </a:xfrm>
            <a:custGeom>
              <a:avLst/>
              <a:gdLst>
                <a:gd name="T0" fmla="*/ 681794 w 472"/>
                <a:gd name="T1" fmla="*/ 789220 h 456"/>
                <a:gd name="T2" fmla="*/ 681794 w 472"/>
                <a:gd name="T3" fmla="*/ 882298 h 456"/>
                <a:gd name="T4" fmla="*/ 0 w 472"/>
                <a:gd name="T5" fmla="*/ 882298 h 456"/>
                <a:gd name="T6" fmla="*/ 0 w 472"/>
                <a:gd name="T7" fmla="*/ 217181 h 456"/>
                <a:gd name="T8" fmla="*/ 127215 w 472"/>
                <a:gd name="T9" fmla="*/ 217181 h 456"/>
                <a:gd name="T10" fmla="*/ 127215 w 472"/>
                <a:gd name="T11" fmla="*/ 680630 h 456"/>
                <a:gd name="T12" fmla="*/ 840813 w 472"/>
                <a:gd name="T13" fmla="*/ 0 h 456"/>
                <a:gd name="T14" fmla="*/ 936224 w 472"/>
                <a:gd name="T15" fmla="*/ 93078 h 456"/>
                <a:gd name="T16" fmla="*/ 222627 w 472"/>
                <a:gd name="T17" fmla="*/ 758194 h 456"/>
                <a:gd name="T18" fmla="*/ 681794 w 472"/>
                <a:gd name="T19" fmla="*/ 758194 h 456"/>
                <a:gd name="T20" fmla="*/ 681794 w 472"/>
                <a:gd name="T21" fmla="*/ 882298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56"/>
                <a:gd name="T35" fmla="*/ 472 w 472"/>
                <a:gd name="T36" fmla="*/ 456 h 4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56">
                  <a:moveTo>
                    <a:pt x="343" y="407"/>
                  </a:moveTo>
                  <a:lnTo>
                    <a:pt x="343" y="455"/>
                  </a:lnTo>
                  <a:lnTo>
                    <a:pt x="0" y="455"/>
                  </a:lnTo>
                  <a:lnTo>
                    <a:pt x="0" y="112"/>
                  </a:lnTo>
                  <a:lnTo>
                    <a:pt x="64" y="112"/>
                  </a:lnTo>
                  <a:lnTo>
                    <a:pt x="64" y="351"/>
                  </a:lnTo>
                  <a:lnTo>
                    <a:pt x="423" y="0"/>
                  </a:lnTo>
                  <a:lnTo>
                    <a:pt x="471" y="48"/>
                  </a:lnTo>
                  <a:lnTo>
                    <a:pt x="112" y="391"/>
                  </a:lnTo>
                  <a:lnTo>
                    <a:pt x="343" y="391"/>
                  </a:lnTo>
                  <a:lnTo>
                    <a:pt x="343" y="455"/>
                  </a:lnTo>
                </a:path>
              </a:pathLst>
            </a:custGeom>
            <a:solidFill>
              <a:schemeClr val="bg2">
                <a:lumMod val="60000"/>
                <a:lumOff val="40000"/>
              </a:schemeClr>
            </a:solidFill>
            <a:ln w="12700" cap="rnd">
              <a:solidFill>
                <a:schemeClr val="bg1"/>
              </a:solidFill>
              <a:round/>
              <a:headEnd type="none" w="sm" len="sm"/>
              <a:tailEnd type="none" w="sm" len="sm"/>
            </a:ln>
          </p:spPr>
          <p:txBody>
            <a:bodyPr wrap="square" lIns="26992" tIns="26992" rIns="26992" bIns="26992"/>
            <a:lstStyle/>
            <a:p>
              <a:pPr>
                <a:defRPr/>
              </a:pPr>
              <a:endParaRPr lang="en-US" sz="1350" dirty="0">
                <a:solidFill>
                  <a:prstClr val="black"/>
                </a:solidFill>
              </a:endParaRPr>
            </a:p>
          </p:txBody>
        </p:sp>
        <p:sp>
          <p:nvSpPr>
            <p:cNvPr id="54" name="Freeform 7">
              <a:extLst>
                <a:ext uri="{FF2B5EF4-FFF2-40B4-BE49-F238E27FC236}">
                  <a16:creationId xmlns:a16="http://schemas.microsoft.com/office/drawing/2014/main" id="{A4A19C09-6C8C-2840-AAA3-F3F420E2D6CA}"/>
                </a:ext>
              </a:extLst>
            </p:cNvPr>
            <p:cNvSpPr>
              <a:spLocks/>
            </p:cNvSpPr>
            <p:nvPr/>
          </p:nvSpPr>
          <p:spPr bwMode="auto">
            <a:xfrm>
              <a:off x="4413890" y="4703678"/>
              <a:ext cx="934023" cy="897612"/>
            </a:xfrm>
            <a:custGeom>
              <a:avLst/>
              <a:gdLst>
                <a:gd name="T0" fmla="*/ 254000 w 472"/>
                <a:gd name="T1" fmla="*/ 108634 h 464"/>
                <a:gd name="T2" fmla="*/ 254000 w 472"/>
                <a:gd name="T3" fmla="*/ 0 h 464"/>
                <a:gd name="T4" fmla="*/ 934641 w 472"/>
                <a:gd name="T5" fmla="*/ 0 h 464"/>
                <a:gd name="T6" fmla="*/ 934641 w 472"/>
                <a:gd name="T7" fmla="*/ 665385 h 464"/>
                <a:gd name="T8" fmla="*/ 807641 w 472"/>
                <a:gd name="T9" fmla="*/ 665385 h 464"/>
                <a:gd name="T10" fmla="*/ 807641 w 472"/>
                <a:gd name="T11" fmla="*/ 201749 h 464"/>
                <a:gd name="T12" fmla="*/ 95250 w 472"/>
                <a:gd name="T13" fmla="*/ 898172 h 464"/>
                <a:gd name="T14" fmla="*/ 0 w 472"/>
                <a:gd name="T15" fmla="*/ 789538 h 464"/>
                <a:gd name="T16" fmla="*/ 696516 w 472"/>
                <a:gd name="T17" fmla="*/ 124153 h 464"/>
                <a:gd name="T18" fmla="*/ 254000 w 472"/>
                <a:gd name="T19" fmla="*/ 124153 h 464"/>
                <a:gd name="T20" fmla="*/ 254000 w 472"/>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56"/>
                  </a:moveTo>
                  <a:lnTo>
                    <a:pt x="128" y="0"/>
                  </a:lnTo>
                  <a:lnTo>
                    <a:pt x="471" y="0"/>
                  </a:lnTo>
                  <a:lnTo>
                    <a:pt x="471" y="343"/>
                  </a:lnTo>
                  <a:lnTo>
                    <a:pt x="407" y="343"/>
                  </a:lnTo>
                  <a:lnTo>
                    <a:pt x="407" y="104"/>
                  </a:lnTo>
                  <a:lnTo>
                    <a:pt x="48" y="463"/>
                  </a:lnTo>
                  <a:lnTo>
                    <a:pt x="0" y="407"/>
                  </a:lnTo>
                  <a:lnTo>
                    <a:pt x="351" y="64"/>
                  </a:lnTo>
                  <a:lnTo>
                    <a:pt x="128" y="64"/>
                  </a:lnTo>
                  <a:lnTo>
                    <a:pt x="128" y="0"/>
                  </a:lnTo>
                </a:path>
              </a:pathLst>
            </a:custGeom>
            <a:solidFill>
              <a:schemeClr val="bg2">
                <a:lumMod val="60000"/>
                <a:lumOff val="40000"/>
              </a:schemeClr>
            </a:solidFill>
            <a:ln w="12700" cap="rnd">
              <a:solidFill>
                <a:schemeClr val="bg1"/>
              </a:solidFill>
              <a:round/>
              <a:headEnd type="none" w="sm" len="sm"/>
              <a:tailEnd type="none" w="sm" len="sm"/>
            </a:ln>
          </p:spPr>
          <p:txBody>
            <a:bodyPr wrap="square" lIns="26992" tIns="26992" rIns="26992" bIns="26992"/>
            <a:lstStyle/>
            <a:p>
              <a:pPr>
                <a:defRPr/>
              </a:pPr>
              <a:endParaRPr lang="en-US" sz="1350" dirty="0">
                <a:solidFill>
                  <a:prstClr val="black"/>
                </a:solidFill>
              </a:endParaRPr>
            </a:p>
          </p:txBody>
        </p:sp>
        <p:sp>
          <p:nvSpPr>
            <p:cNvPr id="55" name="Freeform 8">
              <a:extLst>
                <a:ext uri="{FF2B5EF4-FFF2-40B4-BE49-F238E27FC236}">
                  <a16:creationId xmlns:a16="http://schemas.microsoft.com/office/drawing/2014/main" id="{E07F4FCC-50CD-604B-A326-BFE87C91EB4C}"/>
                </a:ext>
              </a:extLst>
            </p:cNvPr>
            <p:cNvSpPr>
              <a:spLocks/>
            </p:cNvSpPr>
            <p:nvPr/>
          </p:nvSpPr>
          <p:spPr bwMode="auto">
            <a:xfrm>
              <a:off x="4428137" y="2390782"/>
              <a:ext cx="935606" cy="894447"/>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bg2">
                <a:lumMod val="60000"/>
                <a:lumOff val="40000"/>
              </a:schemeClr>
            </a:solidFill>
            <a:ln w="12700" cap="rnd">
              <a:solidFill>
                <a:schemeClr val="bg1"/>
              </a:solidFill>
              <a:round/>
              <a:headEnd type="none" w="sm" len="sm"/>
              <a:tailEnd type="none" w="sm" len="sm"/>
            </a:ln>
          </p:spPr>
          <p:txBody>
            <a:bodyPr wrap="square" lIns="26992" tIns="26992" rIns="26992" bIns="26992"/>
            <a:lstStyle/>
            <a:p>
              <a:pPr>
                <a:defRPr/>
              </a:pPr>
              <a:endParaRPr lang="en-US" sz="1350" dirty="0">
                <a:solidFill>
                  <a:prstClr val="black"/>
                </a:solidFill>
              </a:endParaRPr>
            </a:p>
          </p:txBody>
        </p:sp>
        <p:sp>
          <p:nvSpPr>
            <p:cNvPr id="56" name="Freeform 9">
              <a:extLst>
                <a:ext uri="{FF2B5EF4-FFF2-40B4-BE49-F238E27FC236}">
                  <a16:creationId xmlns:a16="http://schemas.microsoft.com/office/drawing/2014/main" id="{114CF7C2-5888-B242-A817-714656E51FF1}"/>
                </a:ext>
              </a:extLst>
            </p:cNvPr>
            <p:cNvSpPr>
              <a:spLocks/>
            </p:cNvSpPr>
            <p:nvPr/>
          </p:nvSpPr>
          <p:spPr bwMode="auto">
            <a:xfrm>
              <a:off x="5522053" y="1835120"/>
              <a:ext cx="1098665" cy="1174653"/>
            </a:xfrm>
            <a:custGeom>
              <a:avLst/>
              <a:gdLst>
                <a:gd name="T0" fmla="*/ 637526 w 553"/>
                <a:gd name="T1" fmla="*/ 0 h 608"/>
                <a:gd name="T2" fmla="*/ 494083 w 553"/>
                <a:gd name="T3" fmla="*/ 0 h 608"/>
                <a:gd name="T4" fmla="*/ 494083 w 553"/>
                <a:gd name="T5" fmla="*/ 960939 h 608"/>
                <a:gd name="T6" fmla="*/ 79691 w 553"/>
                <a:gd name="T7" fmla="*/ 588963 h 608"/>
                <a:gd name="T8" fmla="*/ 0 w 553"/>
                <a:gd name="T9" fmla="*/ 635460 h 608"/>
                <a:gd name="T10" fmla="*/ 589712 w 553"/>
                <a:gd name="T11" fmla="*/ 1175988 h 608"/>
                <a:gd name="T12" fmla="*/ 1099733 w 553"/>
                <a:gd name="T13" fmla="*/ 666458 h 608"/>
                <a:gd name="T14" fmla="*/ 1020042 w 553"/>
                <a:gd name="T15" fmla="*/ 588963 h 608"/>
                <a:gd name="T16" fmla="*/ 637526 w 553"/>
                <a:gd name="T17" fmla="*/ 960939 h 608"/>
                <a:gd name="T18" fmla="*/ 637526 w 553"/>
                <a:gd name="T19" fmla="*/ 0 h 6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08"/>
                <a:gd name="T32" fmla="*/ 553 w 553"/>
                <a:gd name="T33" fmla="*/ 608 h 6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08">
                  <a:moveTo>
                    <a:pt x="320" y="0"/>
                  </a:moveTo>
                  <a:lnTo>
                    <a:pt x="248" y="0"/>
                  </a:lnTo>
                  <a:lnTo>
                    <a:pt x="248" y="496"/>
                  </a:lnTo>
                  <a:lnTo>
                    <a:pt x="40" y="304"/>
                  </a:lnTo>
                  <a:lnTo>
                    <a:pt x="0" y="328"/>
                  </a:lnTo>
                  <a:lnTo>
                    <a:pt x="296" y="607"/>
                  </a:lnTo>
                  <a:lnTo>
                    <a:pt x="552" y="344"/>
                  </a:lnTo>
                  <a:lnTo>
                    <a:pt x="512" y="304"/>
                  </a:lnTo>
                  <a:lnTo>
                    <a:pt x="320" y="496"/>
                  </a:lnTo>
                  <a:lnTo>
                    <a:pt x="320" y="0"/>
                  </a:lnTo>
                </a:path>
              </a:pathLst>
            </a:custGeom>
            <a:solidFill>
              <a:schemeClr val="bg2">
                <a:lumMod val="60000"/>
                <a:lumOff val="40000"/>
              </a:schemeClr>
            </a:solidFill>
            <a:ln w="12700" cap="rnd">
              <a:solidFill>
                <a:schemeClr val="bg1"/>
              </a:solidFill>
              <a:round/>
              <a:headEnd/>
              <a:tailEnd/>
            </a:ln>
          </p:spPr>
          <p:txBody>
            <a:bodyPr wrap="square" lIns="26992" tIns="26992" rIns="26992" bIns="26992"/>
            <a:lstStyle/>
            <a:p>
              <a:pPr>
                <a:defRPr/>
              </a:pPr>
              <a:endParaRPr lang="en-US" sz="1350" dirty="0">
                <a:solidFill>
                  <a:prstClr val="black"/>
                </a:solidFill>
              </a:endParaRPr>
            </a:p>
          </p:txBody>
        </p:sp>
        <p:sp>
          <p:nvSpPr>
            <p:cNvPr id="57" name="Freeform 10">
              <a:extLst>
                <a:ext uri="{FF2B5EF4-FFF2-40B4-BE49-F238E27FC236}">
                  <a16:creationId xmlns:a16="http://schemas.microsoft.com/office/drawing/2014/main" id="{90A41DBD-199C-E047-BA9B-05D43929041B}"/>
                </a:ext>
              </a:extLst>
            </p:cNvPr>
            <p:cNvSpPr>
              <a:spLocks/>
            </p:cNvSpPr>
            <p:nvPr/>
          </p:nvSpPr>
          <p:spPr bwMode="auto">
            <a:xfrm>
              <a:off x="3839229" y="3460161"/>
              <a:ext cx="1225312" cy="1068585"/>
            </a:xfrm>
            <a:custGeom>
              <a:avLst/>
              <a:gdLst>
                <a:gd name="T0" fmla="*/ 0 w 616"/>
                <a:gd name="T1" fmla="*/ 449552 h 553"/>
                <a:gd name="T2" fmla="*/ 0 w 616"/>
                <a:gd name="T3" fmla="*/ 589068 h 553"/>
                <a:gd name="T4" fmla="*/ 989363 w 616"/>
                <a:gd name="T5" fmla="*/ 589068 h 553"/>
                <a:gd name="T6" fmla="*/ 606384 w 616"/>
                <a:gd name="T7" fmla="*/ 992115 h 553"/>
                <a:gd name="T8" fmla="*/ 654256 w 616"/>
                <a:gd name="T9" fmla="*/ 1069624 h 553"/>
                <a:gd name="T10" fmla="*/ 1226730 w 616"/>
                <a:gd name="T11" fmla="*/ 496058 h 553"/>
                <a:gd name="T12" fmla="*/ 686171 w 616"/>
                <a:gd name="T13" fmla="*/ 0 h 553"/>
                <a:gd name="T14" fmla="*/ 606384 w 616"/>
                <a:gd name="T15" fmla="*/ 77509 h 553"/>
                <a:gd name="T16" fmla="*/ 989363 w 616"/>
                <a:gd name="T17" fmla="*/ 449552 h 553"/>
                <a:gd name="T18" fmla="*/ 0 w 616"/>
                <a:gd name="T19" fmla="*/ 449552 h 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53"/>
                <a:gd name="T32" fmla="*/ 616 w 616"/>
                <a:gd name="T33" fmla="*/ 553 h 5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53">
                  <a:moveTo>
                    <a:pt x="0" y="232"/>
                  </a:moveTo>
                  <a:lnTo>
                    <a:pt x="0" y="304"/>
                  </a:lnTo>
                  <a:lnTo>
                    <a:pt x="496" y="304"/>
                  </a:lnTo>
                  <a:lnTo>
                    <a:pt x="304" y="512"/>
                  </a:lnTo>
                  <a:lnTo>
                    <a:pt x="328" y="552"/>
                  </a:lnTo>
                  <a:lnTo>
                    <a:pt x="615" y="256"/>
                  </a:lnTo>
                  <a:lnTo>
                    <a:pt x="344" y="0"/>
                  </a:lnTo>
                  <a:lnTo>
                    <a:pt x="304" y="40"/>
                  </a:lnTo>
                  <a:lnTo>
                    <a:pt x="496" y="232"/>
                  </a:lnTo>
                  <a:lnTo>
                    <a:pt x="0" y="232"/>
                  </a:lnTo>
                </a:path>
              </a:pathLst>
            </a:custGeom>
            <a:solidFill>
              <a:schemeClr val="bg2">
                <a:lumMod val="60000"/>
                <a:lumOff val="40000"/>
              </a:schemeClr>
            </a:solidFill>
            <a:ln w="12700" cap="rnd">
              <a:solidFill>
                <a:schemeClr val="bg1"/>
              </a:solidFill>
              <a:round/>
              <a:headEnd/>
              <a:tailEnd/>
            </a:ln>
          </p:spPr>
          <p:txBody>
            <a:bodyPr wrap="square" lIns="26992" tIns="26992" rIns="26992" bIns="26992"/>
            <a:lstStyle/>
            <a:p>
              <a:pPr>
                <a:defRPr/>
              </a:pPr>
              <a:endParaRPr lang="en-US" sz="1350" dirty="0">
                <a:solidFill>
                  <a:prstClr val="black"/>
                </a:solidFill>
              </a:endParaRPr>
            </a:p>
          </p:txBody>
        </p:sp>
        <p:sp>
          <p:nvSpPr>
            <p:cNvPr id="58" name="Freeform 11">
              <a:extLst>
                <a:ext uri="{FF2B5EF4-FFF2-40B4-BE49-F238E27FC236}">
                  <a16:creationId xmlns:a16="http://schemas.microsoft.com/office/drawing/2014/main" id="{EB3FBD5A-BAF7-F94B-B7BA-C6B2F5A51D06}"/>
                </a:ext>
              </a:extLst>
            </p:cNvPr>
            <p:cNvSpPr>
              <a:spLocks/>
            </p:cNvSpPr>
            <p:nvPr/>
          </p:nvSpPr>
          <p:spPr bwMode="auto">
            <a:xfrm>
              <a:off x="7111476" y="3467286"/>
              <a:ext cx="1225312" cy="1054338"/>
            </a:xfrm>
            <a:custGeom>
              <a:avLst/>
              <a:gdLst>
                <a:gd name="T0" fmla="*/ 1226730 w 616"/>
                <a:gd name="T1" fmla="*/ 465589 h 545"/>
                <a:gd name="T2" fmla="*/ 1226730 w 616"/>
                <a:gd name="T3" fmla="*/ 589746 h 545"/>
                <a:gd name="T4" fmla="*/ 237367 w 616"/>
                <a:gd name="T5" fmla="*/ 589746 h 545"/>
                <a:gd name="T6" fmla="*/ 620347 w 616"/>
                <a:gd name="T7" fmla="*/ 977737 h 545"/>
                <a:gd name="T8" fmla="*/ 556517 w 616"/>
                <a:gd name="T9" fmla="*/ 1055335 h 545"/>
                <a:gd name="T10" fmla="*/ 0 w 616"/>
                <a:gd name="T11" fmla="*/ 496628 h 545"/>
                <a:gd name="T12" fmla="*/ 540559 w 616"/>
                <a:gd name="T13" fmla="*/ 0 h 545"/>
                <a:gd name="T14" fmla="*/ 620347 w 616"/>
                <a:gd name="T15" fmla="*/ 77598 h 545"/>
                <a:gd name="T16" fmla="*/ 237367 w 616"/>
                <a:gd name="T17" fmla="*/ 465589 h 545"/>
                <a:gd name="T18" fmla="*/ 1226730 w 616"/>
                <a:gd name="T19" fmla="*/ 465589 h 5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45"/>
                <a:gd name="T32" fmla="*/ 616 w 616"/>
                <a:gd name="T33" fmla="*/ 545 h 5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45">
                  <a:moveTo>
                    <a:pt x="615" y="240"/>
                  </a:moveTo>
                  <a:lnTo>
                    <a:pt x="615" y="304"/>
                  </a:lnTo>
                  <a:lnTo>
                    <a:pt x="119" y="304"/>
                  </a:lnTo>
                  <a:lnTo>
                    <a:pt x="311" y="504"/>
                  </a:lnTo>
                  <a:lnTo>
                    <a:pt x="279" y="544"/>
                  </a:lnTo>
                  <a:lnTo>
                    <a:pt x="0" y="256"/>
                  </a:lnTo>
                  <a:lnTo>
                    <a:pt x="271" y="0"/>
                  </a:lnTo>
                  <a:lnTo>
                    <a:pt x="311" y="40"/>
                  </a:lnTo>
                  <a:lnTo>
                    <a:pt x="119" y="240"/>
                  </a:lnTo>
                  <a:lnTo>
                    <a:pt x="615" y="240"/>
                  </a:lnTo>
                </a:path>
              </a:pathLst>
            </a:custGeom>
            <a:solidFill>
              <a:schemeClr val="bg2">
                <a:lumMod val="60000"/>
                <a:lumOff val="40000"/>
              </a:schemeClr>
            </a:solidFill>
            <a:ln w="12700" cap="rnd">
              <a:solidFill>
                <a:schemeClr val="bg1"/>
              </a:solidFill>
              <a:round/>
              <a:headEnd/>
              <a:tailEnd/>
            </a:ln>
          </p:spPr>
          <p:txBody>
            <a:bodyPr wrap="square" lIns="26992" tIns="26992" rIns="26992" bIns="26992"/>
            <a:lstStyle/>
            <a:p>
              <a:pPr>
                <a:defRPr/>
              </a:pPr>
              <a:endParaRPr lang="en-US" sz="1350" dirty="0">
                <a:solidFill>
                  <a:prstClr val="black"/>
                </a:solidFill>
              </a:endParaRPr>
            </a:p>
          </p:txBody>
        </p:sp>
      </p:grpSp>
      <p:grpSp>
        <p:nvGrpSpPr>
          <p:cNvPr id="59" name="Group 58">
            <a:extLst>
              <a:ext uri="{FF2B5EF4-FFF2-40B4-BE49-F238E27FC236}">
                <a16:creationId xmlns:a16="http://schemas.microsoft.com/office/drawing/2014/main" id="{AA8C7614-4E6C-2146-8EC1-5B01F135BE13}"/>
              </a:ext>
            </a:extLst>
          </p:cNvPr>
          <p:cNvGrpSpPr/>
          <p:nvPr/>
        </p:nvGrpSpPr>
        <p:grpSpPr>
          <a:xfrm>
            <a:off x="2075075" y="2261680"/>
            <a:ext cx="179164" cy="157552"/>
            <a:chOff x="702469" y="1866899"/>
            <a:chExt cx="238294" cy="209550"/>
          </a:xfrm>
        </p:grpSpPr>
        <p:sp>
          <p:nvSpPr>
            <p:cNvPr id="60" name="Oval 59">
              <a:extLst>
                <a:ext uri="{FF2B5EF4-FFF2-40B4-BE49-F238E27FC236}">
                  <a16:creationId xmlns:a16="http://schemas.microsoft.com/office/drawing/2014/main" id="{3647F321-8283-C140-9CB2-330D3E24EAAF}"/>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61" name="Oval 60">
              <a:extLst>
                <a:ext uri="{FF2B5EF4-FFF2-40B4-BE49-F238E27FC236}">
                  <a16:creationId xmlns:a16="http://schemas.microsoft.com/office/drawing/2014/main" id="{A812494C-6120-7141-8A3D-E12FE918190E}"/>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62" name="Group 61">
            <a:extLst>
              <a:ext uri="{FF2B5EF4-FFF2-40B4-BE49-F238E27FC236}">
                <a16:creationId xmlns:a16="http://schemas.microsoft.com/office/drawing/2014/main" id="{F3FDFCED-3006-F142-9A74-732E33EC1DDB}"/>
              </a:ext>
            </a:extLst>
          </p:cNvPr>
          <p:cNvGrpSpPr/>
          <p:nvPr/>
        </p:nvGrpSpPr>
        <p:grpSpPr>
          <a:xfrm>
            <a:off x="2075075" y="2599701"/>
            <a:ext cx="179164" cy="157552"/>
            <a:chOff x="702469" y="1866899"/>
            <a:chExt cx="238294" cy="209550"/>
          </a:xfrm>
        </p:grpSpPr>
        <p:sp>
          <p:nvSpPr>
            <p:cNvPr id="63" name="Oval 62">
              <a:extLst>
                <a:ext uri="{FF2B5EF4-FFF2-40B4-BE49-F238E27FC236}">
                  <a16:creationId xmlns:a16="http://schemas.microsoft.com/office/drawing/2014/main" id="{851FF21E-88CA-4247-B35F-1FA5AB933B7D}"/>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64" name="Oval 63">
              <a:extLst>
                <a:ext uri="{FF2B5EF4-FFF2-40B4-BE49-F238E27FC236}">
                  <a16:creationId xmlns:a16="http://schemas.microsoft.com/office/drawing/2014/main" id="{410195ED-2B16-7541-94D2-5E860B559215}"/>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65" name="Group 64">
            <a:extLst>
              <a:ext uri="{FF2B5EF4-FFF2-40B4-BE49-F238E27FC236}">
                <a16:creationId xmlns:a16="http://schemas.microsoft.com/office/drawing/2014/main" id="{A9ECAB09-FA68-A643-9445-3A81836DD78D}"/>
              </a:ext>
            </a:extLst>
          </p:cNvPr>
          <p:cNvGrpSpPr/>
          <p:nvPr/>
        </p:nvGrpSpPr>
        <p:grpSpPr>
          <a:xfrm>
            <a:off x="2075075" y="2937723"/>
            <a:ext cx="179164" cy="157552"/>
            <a:chOff x="702469" y="1866899"/>
            <a:chExt cx="238294" cy="209550"/>
          </a:xfrm>
        </p:grpSpPr>
        <p:sp>
          <p:nvSpPr>
            <p:cNvPr id="66" name="Oval 65">
              <a:extLst>
                <a:ext uri="{FF2B5EF4-FFF2-40B4-BE49-F238E27FC236}">
                  <a16:creationId xmlns:a16="http://schemas.microsoft.com/office/drawing/2014/main" id="{9711ABA8-3080-984E-A00F-5125D6017976}"/>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67" name="Oval 66">
              <a:extLst>
                <a:ext uri="{FF2B5EF4-FFF2-40B4-BE49-F238E27FC236}">
                  <a16:creationId xmlns:a16="http://schemas.microsoft.com/office/drawing/2014/main" id="{74C22B60-E94C-6646-BA85-1A6F14DE59D6}"/>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68" name="Group 67">
            <a:extLst>
              <a:ext uri="{FF2B5EF4-FFF2-40B4-BE49-F238E27FC236}">
                <a16:creationId xmlns:a16="http://schemas.microsoft.com/office/drawing/2014/main" id="{B420EF3A-7B45-794F-B9DF-4F558DBF07B1}"/>
              </a:ext>
            </a:extLst>
          </p:cNvPr>
          <p:cNvGrpSpPr/>
          <p:nvPr/>
        </p:nvGrpSpPr>
        <p:grpSpPr>
          <a:xfrm>
            <a:off x="2075075" y="3270015"/>
            <a:ext cx="179164" cy="157552"/>
            <a:chOff x="702469" y="1866899"/>
            <a:chExt cx="238294" cy="209550"/>
          </a:xfrm>
        </p:grpSpPr>
        <p:sp>
          <p:nvSpPr>
            <p:cNvPr id="69" name="Oval 68">
              <a:extLst>
                <a:ext uri="{FF2B5EF4-FFF2-40B4-BE49-F238E27FC236}">
                  <a16:creationId xmlns:a16="http://schemas.microsoft.com/office/drawing/2014/main" id="{6F69AC15-4810-6E4F-86FC-650370E740A2}"/>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70" name="Oval 69">
              <a:extLst>
                <a:ext uri="{FF2B5EF4-FFF2-40B4-BE49-F238E27FC236}">
                  <a16:creationId xmlns:a16="http://schemas.microsoft.com/office/drawing/2014/main" id="{CD79CD78-2807-D84A-B653-D876EDD70256}"/>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71" name="Group 70">
            <a:extLst>
              <a:ext uri="{FF2B5EF4-FFF2-40B4-BE49-F238E27FC236}">
                <a16:creationId xmlns:a16="http://schemas.microsoft.com/office/drawing/2014/main" id="{17277643-F80D-7A4B-B2DD-CB4F7F72D5BD}"/>
              </a:ext>
            </a:extLst>
          </p:cNvPr>
          <p:cNvGrpSpPr/>
          <p:nvPr/>
        </p:nvGrpSpPr>
        <p:grpSpPr>
          <a:xfrm>
            <a:off x="2075075" y="3642411"/>
            <a:ext cx="179164" cy="157552"/>
            <a:chOff x="702469" y="1866899"/>
            <a:chExt cx="238294" cy="209550"/>
          </a:xfrm>
        </p:grpSpPr>
        <p:sp>
          <p:nvSpPr>
            <p:cNvPr id="72" name="Oval 71">
              <a:extLst>
                <a:ext uri="{FF2B5EF4-FFF2-40B4-BE49-F238E27FC236}">
                  <a16:creationId xmlns:a16="http://schemas.microsoft.com/office/drawing/2014/main" id="{D5B6DBDE-56F1-CB47-B9B0-78806E13C03F}"/>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73" name="Oval 72">
              <a:extLst>
                <a:ext uri="{FF2B5EF4-FFF2-40B4-BE49-F238E27FC236}">
                  <a16:creationId xmlns:a16="http://schemas.microsoft.com/office/drawing/2014/main" id="{1009DDC9-9E05-9941-8D9E-0EF7D86F7E4B}"/>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74" name="Group 73">
            <a:extLst>
              <a:ext uri="{FF2B5EF4-FFF2-40B4-BE49-F238E27FC236}">
                <a16:creationId xmlns:a16="http://schemas.microsoft.com/office/drawing/2014/main" id="{5628B55A-4DC7-FB46-B4CD-5F539F2B1736}"/>
              </a:ext>
            </a:extLst>
          </p:cNvPr>
          <p:cNvGrpSpPr/>
          <p:nvPr/>
        </p:nvGrpSpPr>
        <p:grpSpPr>
          <a:xfrm>
            <a:off x="2075075" y="3974703"/>
            <a:ext cx="179164" cy="157552"/>
            <a:chOff x="702469" y="1866899"/>
            <a:chExt cx="238294" cy="209550"/>
          </a:xfrm>
        </p:grpSpPr>
        <p:sp>
          <p:nvSpPr>
            <p:cNvPr id="75" name="Oval 74">
              <a:extLst>
                <a:ext uri="{FF2B5EF4-FFF2-40B4-BE49-F238E27FC236}">
                  <a16:creationId xmlns:a16="http://schemas.microsoft.com/office/drawing/2014/main" id="{F0F0594D-5A08-9545-A64E-0423F2102D6C}"/>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76" name="Oval 75">
              <a:extLst>
                <a:ext uri="{FF2B5EF4-FFF2-40B4-BE49-F238E27FC236}">
                  <a16:creationId xmlns:a16="http://schemas.microsoft.com/office/drawing/2014/main" id="{588406C3-6F00-5C4D-A589-105E76323B59}"/>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77" name="Group 76">
            <a:extLst>
              <a:ext uri="{FF2B5EF4-FFF2-40B4-BE49-F238E27FC236}">
                <a16:creationId xmlns:a16="http://schemas.microsoft.com/office/drawing/2014/main" id="{AB3E702F-AC67-F348-AC49-DEDFDA4C6B8E}"/>
              </a:ext>
            </a:extLst>
          </p:cNvPr>
          <p:cNvGrpSpPr/>
          <p:nvPr/>
        </p:nvGrpSpPr>
        <p:grpSpPr>
          <a:xfrm>
            <a:off x="2075075" y="4298402"/>
            <a:ext cx="179164" cy="157552"/>
            <a:chOff x="702469" y="1866899"/>
            <a:chExt cx="238294" cy="209550"/>
          </a:xfrm>
        </p:grpSpPr>
        <p:sp>
          <p:nvSpPr>
            <p:cNvPr id="78" name="Oval 77">
              <a:extLst>
                <a:ext uri="{FF2B5EF4-FFF2-40B4-BE49-F238E27FC236}">
                  <a16:creationId xmlns:a16="http://schemas.microsoft.com/office/drawing/2014/main" id="{2F1AC803-F072-0547-948D-B5CF16598FF4}"/>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79" name="Oval 78">
              <a:extLst>
                <a:ext uri="{FF2B5EF4-FFF2-40B4-BE49-F238E27FC236}">
                  <a16:creationId xmlns:a16="http://schemas.microsoft.com/office/drawing/2014/main" id="{6298B024-7456-8541-A941-D22C5C8A05F4}"/>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80" name="Group 79">
            <a:extLst>
              <a:ext uri="{FF2B5EF4-FFF2-40B4-BE49-F238E27FC236}">
                <a16:creationId xmlns:a16="http://schemas.microsoft.com/office/drawing/2014/main" id="{6F7A66C4-1FBF-C742-9582-70243E91AAB2}"/>
              </a:ext>
            </a:extLst>
          </p:cNvPr>
          <p:cNvGrpSpPr/>
          <p:nvPr/>
        </p:nvGrpSpPr>
        <p:grpSpPr>
          <a:xfrm>
            <a:off x="2075075" y="4630694"/>
            <a:ext cx="179164" cy="157552"/>
            <a:chOff x="702469" y="1866899"/>
            <a:chExt cx="238294" cy="209550"/>
          </a:xfrm>
        </p:grpSpPr>
        <p:sp>
          <p:nvSpPr>
            <p:cNvPr id="81" name="Oval 80">
              <a:extLst>
                <a:ext uri="{FF2B5EF4-FFF2-40B4-BE49-F238E27FC236}">
                  <a16:creationId xmlns:a16="http://schemas.microsoft.com/office/drawing/2014/main" id="{793501FE-3F85-514C-92C3-FC6E7D7F2849}"/>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82" name="Oval 81">
              <a:extLst>
                <a:ext uri="{FF2B5EF4-FFF2-40B4-BE49-F238E27FC236}">
                  <a16:creationId xmlns:a16="http://schemas.microsoft.com/office/drawing/2014/main" id="{87F6048B-E94A-444C-922D-A862D792EAE1}"/>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83" name="Group 82">
            <a:extLst>
              <a:ext uri="{FF2B5EF4-FFF2-40B4-BE49-F238E27FC236}">
                <a16:creationId xmlns:a16="http://schemas.microsoft.com/office/drawing/2014/main" id="{49CFEB7A-C7E6-B54E-831F-978E38E648BB}"/>
              </a:ext>
            </a:extLst>
          </p:cNvPr>
          <p:cNvGrpSpPr/>
          <p:nvPr/>
        </p:nvGrpSpPr>
        <p:grpSpPr>
          <a:xfrm>
            <a:off x="2075075" y="4960121"/>
            <a:ext cx="179164" cy="157552"/>
            <a:chOff x="702469" y="1866899"/>
            <a:chExt cx="238294" cy="209550"/>
          </a:xfrm>
        </p:grpSpPr>
        <p:sp>
          <p:nvSpPr>
            <p:cNvPr id="84" name="Oval 83">
              <a:extLst>
                <a:ext uri="{FF2B5EF4-FFF2-40B4-BE49-F238E27FC236}">
                  <a16:creationId xmlns:a16="http://schemas.microsoft.com/office/drawing/2014/main" id="{753FFB46-E4EC-C349-8B1D-5A9A04829690}"/>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85" name="Oval 84">
              <a:extLst>
                <a:ext uri="{FF2B5EF4-FFF2-40B4-BE49-F238E27FC236}">
                  <a16:creationId xmlns:a16="http://schemas.microsoft.com/office/drawing/2014/main" id="{A3958010-8931-6441-9E0A-D82A19C68057}"/>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86" name="Group 85">
            <a:extLst>
              <a:ext uri="{FF2B5EF4-FFF2-40B4-BE49-F238E27FC236}">
                <a16:creationId xmlns:a16="http://schemas.microsoft.com/office/drawing/2014/main" id="{6E7BE728-A35E-7D48-B90C-B45DA2401F2B}"/>
              </a:ext>
            </a:extLst>
          </p:cNvPr>
          <p:cNvGrpSpPr/>
          <p:nvPr/>
        </p:nvGrpSpPr>
        <p:grpSpPr>
          <a:xfrm>
            <a:off x="2075075" y="5292413"/>
            <a:ext cx="179164" cy="157552"/>
            <a:chOff x="702469" y="1866899"/>
            <a:chExt cx="238294" cy="209550"/>
          </a:xfrm>
        </p:grpSpPr>
        <p:sp>
          <p:nvSpPr>
            <p:cNvPr id="87" name="Oval 86">
              <a:extLst>
                <a:ext uri="{FF2B5EF4-FFF2-40B4-BE49-F238E27FC236}">
                  <a16:creationId xmlns:a16="http://schemas.microsoft.com/office/drawing/2014/main" id="{5405AC5D-EAA5-5B4D-B893-58764AAFE2D3}"/>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88" name="Oval 87">
              <a:extLst>
                <a:ext uri="{FF2B5EF4-FFF2-40B4-BE49-F238E27FC236}">
                  <a16:creationId xmlns:a16="http://schemas.microsoft.com/office/drawing/2014/main" id="{977E6577-19F8-A941-BB5D-B275BECE1F0E}"/>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spTree>
    <p:custDataLst>
      <p:tags r:id="rId1"/>
    </p:custDataLst>
    <p:extLst>
      <p:ext uri="{BB962C8B-B14F-4D97-AF65-F5344CB8AC3E}">
        <p14:creationId xmlns:p14="http://schemas.microsoft.com/office/powerpoint/2010/main" val="171780320"/>
      </p:ext>
    </p:extLst>
  </p:cSld>
  <p:clrMapOvr>
    <a:masterClrMapping/>
  </p:clrMapOvr>
  <p:transition>
    <p:fade/>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DFA1756-DDBB-8A48-B121-2EF45AB06DC6}"/>
              </a:ext>
            </a:extLst>
          </p:cNvPr>
          <p:cNvSpPr/>
          <p:nvPr/>
        </p:nvSpPr>
        <p:spPr bwMode="gray">
          <a:xfrm>
            <a:off x="1889133" y="2034713"/>
            <a:ext cx="3755645" cy="1412384"/>
          </a:xfrm>
          <a:prstGeom prst="rect">
            <a:avLst/>
          </a:prstGeom>
          <a:solidFill>
            <a:schemeClr val="bg1">
              <a:lumMod val="95000"/>
            </a:schemeClr>
          </a:solidFill>
          <a:ln w="19050" algn="ctr">
            <a:noFill/>
            <a:miter lim="800000"/>
            <a:headEnd/>
            <a:tailEnd/>
          </a:ln>
        </p:spPr>
        <p:txBody>
          <a:bodyPr wrap="square" lIns="88830" tIns="88830" rIns="88830" bIns="88830" rtlCol="0" anchor="ctr"/>
          <a:lstStyle/>
          <a:p>
            <a:pPr algn="ctr" defTabSz="913686">
              <a:lnSpc>
                <a:spcPct val="106000"/>
              </a:lnSpc>
            </a:pPr>
            <a:endParaRPr lang="en-US" sz="1600" b="1" dirty="0">
              <a:solidFill>
                <a:prstClr val="white"/>
              </a:solidFill>
            </a:endParaRPr>
          </a:p>
        </p:txBody>
      </p:sp>
      <p:grpSp>
        <p:nvGrpSpPr>
          <p:cNvPr id="9" name="Group 8">
            <a:extLst>
              <a:ext uri="{FF2B5EF4-FFF2-40B4-BE49-F238E27FC236}">
                <a16:creationId xmlns:a16="http://schemas.microsoft.com/office/drawing/2014/main" id="{DBF63FAF-36E5-E746-94D3-E3F2DB136E45}"/>
              </a:ext>
            </a:extLst>
          </p:cNvPr>
          <p:cNvGrpSpPr/>
          <p:nvPr/>
        </p:nvGrpSpPr>
        <p:grpSpPr>
          <a:xfrm>
            <a:off x="1889126" y="1616084"/>
            <a:ext cx="4117975" cy="481805"/>
            <a:chOff x="365125" y="1616076"/>
            <a:chExt cx="4117975" cy="481805"/>
          </a:xfrm>
        </p:grpSpPr>
        <p:sp>
          <p:nvSpPr>
            <p:cNvPr id="10" name="Chevron 1">
              <a:extLst>
                <a:ext uri="{FF2B5EF4-FFF2-40B4-BE49-F238E27FC236}">
                  <a16:creationId xmlns:a16="http://schemas.microsoft.com/office/drawing/2014/main" id="{D968B541-4B5E-BC40-B66A-6ECAE75F96DF}"/>
                </a:ext>
              </a:extLst>
            </p:cNvPr>
            <p:cNvSpPr/>
            <p:nvPr/>
          </p:nvSpPr>
          <p:spPr>
            <a:xfrm flipH="1">
              <a:off x="365125" y="1617261"/>
              <a:ext cx="3756708" cy="41745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defTabSz="913686"/>
              <a:r>
                <a:rPr lang="en-US" sz="1400" b="1" dirty="0">
                  <a:solidFill>
                    <a:prstClr val="white"/>
                  </a:solidFill>
                </a:rPr>
                <a:t>Lorem ipsum dolor sit </a:t>
              </a:r>
              <a:r>
                <a:rPr lang="en-US" sz="1400" b="1" dirty="0" err="1">
                  <a:solidFill>
                    <a:prstClr val="white"/>
                  </a:solidFill>
                </a:rPr>
                <a:t>amet</a:t>
              </a:r>
              <a:r>
                <a:rPr lang="en-US" sz="1400" b="1" dirty="0">
                  <a:solidFill>
                    <a:prstClr val="white"/>
                  </a:solidFill>
                </a:rPr>
                <a:t>, co</a:t>
              </a:r>
            </a:p>
          </p:txBody>
        </p:sp>
        <p:sp>
          <p:nvSpPr>
            <p:cNvPr id="11" name="Chevron 5">
              <a:extLst>
                <a:ext uri="{FF2B5EF4-FFF2-40B4-BE49-F238E27FC236}">
                  <a16:creationId xmlns:a16="http://schemas.microsoft.com/office/drawing/2014/main" id="{D7EEF6EC-8594-8940-A7B7-CADE2A21EE25}"/>
                </a:ext>
              </a:extLst>
            </p:cNvPr>
            <p:cNvSpPr/>
            <p:nvPr/>
          </p:nvSpPr>
          <p:spPr>
            <a:xfrm flipH="1">
              <a:off x="4232812" y="1681163"/>
              <a:ext cx="250288" cy="416718"/>
            </a:xfrm>
            <a:custGeom>
              <a:avLst/>
              <a:gdLst>
                <a:gd name="connsiteX0" fmla="*/ 0 w 691279"/>
                <a:gd name="connsiteY0" fmla="*/ 0 h 484632"/>
                <a:gd name="connsiteX1" fmla="*/ 448963 w 691279"/>
                <a:gd name="connsiteY1" fmla="*/ 0 h 484632"/>
                <a:gd name="connsiteX2" fmla="*/ 691279 w 691279"/>
                <a:gd name="connsiteY2" fmla="*/ 242316 h 484632"/>
                <a:gd name="connsiteX3" fmla="*/ 448963 w 691279"/>
                <a:gd name="connsiteY3" fmla="*/ 484632 h 484632"/>
                <a:gd name="connsiteX4" fmla="*/ 0 w 691279"/>
                <a:gd name="connsiteY4" fmla="*/ 484632 h 484632"/>
                <a:gd name="connsiteX5" fmla="*/ 242316 w 691279"/>
                <a:gd name="connsiteY5" fmla="*/ 242316 h 484632"/>
                <a:gd name="connsiteX6" fmla="*/ 0 w 691279"/>
                <a:gd name="connsiteY6" fmla="*/ 0 h 484632"/>
                <a:gd name="connsiteX0" fmla="*/ 0 w 448963"/>
                <a:gd name="connsiteY0" fmla="*/ 0 h 484632"/>
                <a:gd name="connsiteX1" fmla="*/ 448963 w 448963"/>
                <a:gd name="connsiteY1" fmla="*/ 0 h 484632"/>
                <a:gd name="connsiteX2" fmla="*/ 448963 w 448963"/>
                <a:gd name="connsiteY2" fmla="*/ 484632 h 484632"/>
                <a:gd name="connsiteX3" fmla="*/ 0 w 448963"/>
                <a:gd name="connsiteY3" fmla="*/ 484632 h 484632"/>
                <a:gd name="connsiteX4" fmla="*/ 242316 w 448963"/>
                <a:gd name="connsiteY4" fmla="*/ 242316 h 484632"/>
                <a:gd name="connsiteX5" fmla="*/ 0 w 448963"/>
                <a:gd name="connsiteY5" fmla="*/ 0 h 48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963" h="484632">
                  <a:moveTo>
                    <a:pt x="0" y="0"/>
                  </a:moveTo>
                  <a:lnTo>
                    <a:pt x="448963" y="0"/>
                  </a:lnTo>
                  <a:lnTo>
                    <a:pt x="448963" y="484632"/>
                  </a:lnTo>
                  <a:lnTo>
                    <a:pt x="0" y="484632"/>
                  </a:lnTo>
                  <a:lnTo>
                    <a:pt x="242316" y="242316"/>
                  </a:lnTo>
                  <a:lnTo>
                    <a:pt x="0" y="0"/>
                  </a:ln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black"/>
                </a:solidFill>
              </a:endParaRPr>
            </a:p>
          </p:txBody>
        </p:sp>
        <p:sp>
          <p:nvSpPr>
            <p:cNvPr id="12" name="Parallelogram 11">
              <a:extLst>
                <a:ext uri="{FF2B5EF4-FFF2-40B4-BE49-F238E27FC236}">
                  <a16:creationId xmlns:a16="http://schemas.microsoft.com/office/drawing/2014/main" id="{AAE74448-5CFF-DC4D-90C3-CD52B3964764}"/>
                </a:ext>
              </a:extLst>
            </p:cNvPr>
            <p:cNvSpPr/>
            <p:nvPr/>
          </p:nvSpPr>
          <p:spPr>
            <a:xfrm rot="5400000">
              <a:off x="3936048" y="1800798"/>
              <a:ext cx="481804" cy="112360"/>
            </a:xfrm>
            <a:prstGeom prst="parallelogram">
              <a:avLst>
                <a:gd name="adj" fmla="val 56900"/>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white"/>
                </a:solidFill>
              </a:endParaRPr>
            </a:p>
          </p:txBody>
        </p:sp>
      </p:grpSp>
      <p:sp>
        <p:nvSpPr>
          <p:cNvPr id="14" name="Rectangle 13">
            <a:extLst>
              <a:ext uri="{FF2B5EF4-FFF2-40B4-BE49-F238E27FC236}">
                <a16:creationId xmlns:a16="http://schemas.microsoft.com/office/drawing/2014/main" id="{F6FB2A98-4A12-CB4A-858A-4C64B3591D80}"/>
              </a:ext>
            </a:extLst>
          </p:cNvPr>
          <p:cNvSpPr/>
          <p:nvPr/>
        </p:nvSpPr>
        <p:spPr>
          <a:xfrm>
            <a:off x="2982440" y="2179604"/>
            <a:ext cx="2467068" cy="738664"/>
          </a:xfrm>
          <a:prstGeom prst="rect">
            <a:avLst/>
          </a:prstGeom>
        </p:spPr>
        <p:txBody>
          <a:bodyPr wrap="square" lIns="0" tIns="0" rIns="0" bIns="0">
            <a:spAutoFit/>
          </a:bodyPr>
          <a:lstStyle/>
          <a:p>
            <a:pPr marL="1588" defTabSz="913686" fontAlgn="base">
              <a:spcAft>
                <a:spcPct val="0"/>
              </a:spcAft>
              <a:buClr>
                <a:srgbClr val="000000"/>
              </a:buClr>
            </a:pPr>
            <a:r>
              <a:rPr lang="en-US" sz="1200" dirty="0">
                <a:solidFill>
                  <a:srgbClr val="313131"/>
                </a:solidFill>
                <a:cs typeface="Arial" charset="0"/>
              </a:rPr>
              <a:t>Lorem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co</a:t>
            </a:r>
            <a:endParaRPr lang="en-US" sz="1200" i="1" dirty="0">
              <a:solidFill>
                <a:srgbClr val="313131"/>
              </a:solidFill>
              <a:cs typeface="Arial" charset="0"/>
            </a:endParaRPr>
          </a:p>
        </p:txBody>
      </p:sp>
      <p:sp>
        <p:nvSpPr>
          <p:cNvPr id="15" name="Rectangle 14">
            <a:extLst>
              <a:ext uri="{FF2B5EF4-FFF2-40B4-BE49-F238E27FC236}">
                <a16:creationId xmlns:a16="http://schemas.microsoft.com/office/drawing/2014/main" id="{09D5BD7D-F0FD-B24F-9B23-8646FF97ECCE}"/>
              </a:ext>
            </a:extLst>
          </p:cNvPr>
          <p:cNvSpPr/>
          <p:nvPr/>
        </p:nvSpPr>
        <p:spPr bwMode="gray">
          <a:xfrm>
            <a:off x="6184908" y="2034713"/>
            <a:ext cx="3755645" cy="1412384"/>
          </a:xfrm>
          <a:prstGeom prst="rect">
            <a:avLst/>
          </a:prstGeom>
          <a:solidFill>
            <a:schemeClr val="bg1">
              <a:lumMod val="95000"/>
            </a:schemeClr>
          </a:solidFill>
          <a:ln w="19050" algn="ctr">
            <a:noFill/>
            <a:miter lim="800000"/>
            <a:headEnd/>
            <a:tailEnd/>
          </a:ln>
        </p:spPr>
        <p:txBody>
          <a:bodyPr wrap="square" lIns="88830" tIns="88830" rIns="88830" bIns="88830" rtlCol="0" anchor="ctr"/>
          <a:lstStyle/>
          <a:p>
            <a:pPr algn="ctr" defTabSz="913686">
              <a:lnSpc>
                <a:spcPct val="106000"/>
              </a:lnSpc>
            </a:pPr>
            <a:endParaRPr lang="en-US" sz="1600" b="1" dirty="0">
              <a:solidFill>
                <a:prstClr val="white"/>
              </a:solidFill>
            </a:endParaRPr>
          </a:p>
        </p:txBody>
      </p:sp>
      <p:grpSp>
        <p:nvGrpSpPr>
          <p:cNvPr id="16" name="Group 15">
            <a:extLst>
              <a:ext uri="{FF2B5EF4-FFF2-40B4-BE49-F238E27FC236}">
                <a16:creationId xmlns:a16="http://schemas.microsoft.com/office/drawing/2014/main" id="{D23EAC7A-DA0D-BA4B-A84C-B8FF8704EDFD}"/>
              </a:ext>
            </a:extLst>
          </p:cNvPr>
          <p:cNvGrpSpPr/>
          <p:nvPr/>
        </p:nvGrpSpPr>
        <p:grpSpPr>
          <a:xfrm>
            <a:off x="6184902" y="1616084"/>
            <a:ext cx="4117975" cy="481805"/>
            <a:chOff x="365125" y="1616076"/>
            <a:chExt cx="4117975" cy="481805"/>
          </a:xfrm>
        </p:grpSpPr>
        <p:sp>
          <p:nvSpPr>
            <p:cNvPr id="17" name="Chevron 1">
              <a:extLst>
                <a:ext uri="{FF2B5EF4-FFF2-40B4-BE49-F238E27FC236}">
                  <a16:creationId xmlns:a16="http://schemas.microsoft.com/office/drawing/2014/main" id="{03BDECE0-8A25-8F42-8F4A-DDF685B152EA}"/>
                </a:ext>
              </a:extLst>
            </p:cNvPr>
            <p:cNvSpPr/>
            <p:nvPr/>
          </p:nvSpPr>
          <p:spPr>
            <a:xfrm flipH="1">
              <a:off x="365125" y="1617261"/>
              <a:ext cx="3756708" cy="41745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defTabSz="913686"/>
              <a:r>
                <a:rPr lang="en-US" sz="1400" b="1" dirty="0">
                  <a:solidFill>
                    <a:prstClr val="white"/>
                  </a:solidFill>
                </a:rPr>
                <a:t>Lorem ipsum dolor sit </a:t>
              </a:r>
              <a:r>
                <a:rPr lang="en-US" sz="1400" b="1" dirty="0" err="1">
                  <a:solidFill>
                    <a:prstClr val="white"/>
                  </a:solidFill>
                </a:rPr>
                <a:t>amet</a:t>
              </a:r>
              <a:r>
                <a:rPr lang="en-US" sz="1400" b="1" dirty="0">
                  <a:solidFill>
                    <a:prstClr val="white"/>
                  </a:solidFill>
                </a:rPr>
                <a:t>, co</a:t>
              </a:r>
            </a:p>
          </p:txBody>
        </p:sp>
        <p:sp>
          <p:nvSpPr>
            <p:cNvPr id="18" name="Chevron 5">
              <a:extLst>
                <a:ext uri="{FF2B5EF4-FFF2-40B4-BE49-F238E27FC236}">
                  <a16:creationId xmlns:a16="http://schemas.microsoft.com/office/drawing/2014/main" id="{03FA283E-16CF-D84E-8655-F18BE5F7489D}"/>
                </a:ext>
              </a:extLst>
            </p:cNvPr>
            <p:cNvSpPr/>
            <p:nvPr/>
          </p:nvSpPr>
          <p:spPr>
            <a:xfrm flipH="1">
              <a:off x="4232812" y="1681163"/>
              <a:ext cx="250288" cy="416718"/>
            </a:xfrm>
            <a:custGeom>
              <a:avLst/>
              <a:gdLst>
                <a:gd name="connsiteX0" fmla="*/ 0 w 691279"/>
                <a:gd name="connsiteY0" fmla="*/ 0 h 484632"/>
                <a:gd name="connsiteX1" fmla="*/ 448963 w 691279"/>
                <a:gd name="connsiteY1" fmla="*/ 0 h 484632"/>
                <a:gd name="connsiteX2" fmla="*/ 691279 w 691279"/>
                <a:gd name="connsiteY2" fmla="*/ 242316 h 484632"/>
                <a:gd name="connsiteX3" fmla="*/ 448963 w 691279"/>
                <a:gd name="connsiteY3" fmla="*/ 484632 h 484632"/>
                <a:gd name="connsiteX4" fmla="*/ 0 w 691279"/>
                <a:gd name="connsiteY4" fmla="*/ 484632 h 484632"/>
                <a:gd name="connsiteX5" fmla="*/ 242316 w 691279"/>
                <a:gd name="connsiteY5" fmla="*/ 242316 h 484632"/>
                <a:gd name="connsiteX6" fmla="*/ 0 w 691279"/>
                <a:gd name="connsiteY6" fmla="*/ 0 h 484632"/>
                <a:gd name="connsiteX0" fmla="*/ 0 w 448963"/>
                <a:gd name="connsiteY0" fmla="*/ 0 h 484632"/>
                <a:gd name="connsiteX1" fmla="*/ 448963 w 448963"/>
                <a:gd name="connsiteY1" fmla="*/ 0 h 484632"/>
                <a:gd name="connsiteX2" fmla="*/ 448963 w 448963"/>
                <a:gd name="connsiteY2" fmla="*/ 484632 h 484632"/>
                <a:gd name="connsiteX3" fmla="*/ 0 w 448963"/>
                <a:gd name="connsiteY3" fmla="*/ 484632 h 484632"/>
                <a:gd name="connsiteX4" fmla="*/ 242316 w 448963"/>
                <a:gd name="connsiteY4" fmla="*/ 242316 h 484632"/>
                <a:gd name="connsiteX5" fmla="*/ 0 w 448963"/>
                <a:gd name="connsiteY5" fmla="*/ 0 h 48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963" h="484632">
                  <a:moveTo>
                    <a:pt x="0" y="0"/>
                  </a:moveTo>
                  <a:lnTo>
                    <a:pt x="448963" y="0"/>
                  </a:lnTo>
                  <a:lnTo>
                    <a:pt x="448963" y="484632"/>
                  </a:lnTo>
                  <a:lnTo>
                    <a:pt x="0" y="484632"/>
                  </a:lnTo>
                  <a:lnTo>
                    <a:pt x="242316" y="242316"/>
                  </a:lnTo>
                  <a:lnTo>
                    <a:pt x="0" y="0"/>
                  </a:ln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black"/>
                </a:solidFill>
              </a:endParaRPr>
            </a:p>
          </p:txBody>
        </p:sp>
        <p:sp>
          <p:nvSpPr>
            <p:cNvPr id="19" name="Parallelogram 18">
              <a:extLst>
                <a:ext uri="{FF2B5EF4-FFF2-40B4-BE49-F238E27FC236}">
                  <a16:creationId xmlns:a16="http://schemas.microsoft.com/office/drawing/2014/main" id="{1718C83C-B9B5-6243-945B-A9A35552A623}"/>
                </a:ext>
              </a:extLst>
            </p:cNvPr>
            <p:cNvSpPr/>
            <p:nvPr/>
          </p:nvSpPr>
          <p:spPr>
            <a:xfrm rot="5400000">
              <a:off x="3936048" y="1800798"/>
              <a:ext cx="481804" cy="112360"/>
            </a:xfrm>
            <a:prstGeom prst="parallelogram">
              <a:avLst>
                <a:gd name="adj" fmla="val 56900"/>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white"/>
                </a:solidFill>
              </a:endParaRPr>
            </a:p>
          </p:txBody>
        </p:sp>
      </p:grpSp>
      <p:sp>
        <p:nvSpPr>
          <p:cNvPr id="20" name="Rectangle 19">
            <a:extLst>
              <a:ext uri="{FF2B5EF4-FFF2-40B4-BE49-F238E27FC236}">
                <a16:creationId xmlns:a16="http://schemas.microsoft.com/office/drawing/2014/main" id="{0ACE805C-99AD-E241-8B87-F200E81FC977}"/>
              </a:ext>
            </a:extLst>
          </p:cNvPr>
          <p:cNvSpPr/>
          <p:nvPr/>
        </p:nvSpPr>
        <p:spPr>
          <a:xfrm>
            <a:off x="7278215" y="2179597"/>
            <a:ext cx="2467068" cy="738664"/>
          </a:xfrm>
          <a:prstGeom prst="rect">
            <a:avLst/>
          </a:prstGeom>
        </p:spPr>
        <p:txBody>
          <a:bodyPr wrap="square" lIns="0" tIns="0" rIns="0" bIns="0">
            <a:spAutoFit/>
          </a:bodyPr>
          <a:lstStyle/>
          <a:p>
            <a:pPr marL="1588" defTabSz="913686" fontAlgn="base">
              <a:spcAft>
                <a:spcPct val="0"/>
              </a:spcAft>
              <a:buClr>
                <a:srgbClr val="000000"/>
              </a:buClr>
            </a:pPr>
            <a:r>
              <a:rPr lang="en-US" sz="1200" dirty="0">
                <a:solidFill>
                  <a:srgbClr val="313131"/>
                </a:solidFill>
                <a:cs typeface="Arial" charset="0"/>
              </a:rPr>
              <a:t>Lorem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co</a:t>
            </a:r>
            <a:endParaRPr lang="en-US" sz="1200" i="1" dirty="0">
              <a:solidFill>
                <a:srgbClr val="313131"/>
              </a:solidFill>
              <a:cs typeface="Arial" charset="0"/>
            </a:endParaRPr>
          </a:p>
        </p:txBody>
      </p:sp>
      <p:sp>
        <p:nvSpPr>
          <p:cNvPr id="21" name="Rectangle 20">
            <a:extLst>
              <a:ext uri="{FF2B5EF4-FFF2-40B4-BE49-F238E27FC236}">
                <a16:creationId xmlns:a16="http://schemas.microsoft.com/office/drawing/2014/main" id="{165D03E5-F409-884C-BB27-434325B88355}"/>
              </a:ext>
            </a:extLst>
          </p:cNvPr>
          <p:cNvSpPr/>
          <p:nvPr/>
        </p:nvSpPr>
        <p:spPr bwMode="gray">
          <a:xfrm>
            <a:off x="1889132" y="4084493"/>
            <a:ext cx="3755645" cy="1412384"/>
          </a:xfrm>
          <a:prstGeom prst="rect">
            <a:avLst/>
          </a:prstGeom>
          <a:solidFill>
            <a:schemeClr val="bg1">
              <a:lumMod val="95000"/>
            </a:schemeClr>
          </a:solidFill>
          <a:ln w="19050" algn="ctr">
            <a:noFill/>
            <a:miter lim="800000"/>
            <a:headEnd/>
            <a:tailEnd/>
          </a:ln>
        </p:spPr>
        <p:txBody>
          <a:bodyPr wrap="square" lIns="88830" tIns="88830" rIns="88830" bIns="88830" rtlCol="0" anchor="ctr"/>
          <a:lstStyle/>
          <a:p>
            <a:pPr algn="ctr" defTabSz="913686">
              <a:lnSpc>
                <a:spcPct val="106000"/>
              </a:lnSpc>
            </a:pPr>
            <a:endParaRPr lang="en-US" sz="1600" b="1" dirty="0">
              <a:solidFill>
                <a:prstClr val="white"/>
              </a:solidFill>
            </a:endParaRPr>
          </a:p>
        </p:txBody>
      </p:sp>
      <p:grpSp>
        <p:nvGrpSpPr>
          <p:cNvPr id="22" name="Group 21">
            <a:extLst>
              <a:ext uri="{FF2B5EF4-FFF2-40B4-BE49-F238E27FC236}">
                <a16:creationId xmlns:a16="http://schemas.microsoft.com/office/drawing/2014/main" id="{6B5376F7-0183-EC46-9F71-2FD2DBFB241A}"/>
              </a:ext>
            </a:extLst>
          </p:cNvPr>
          <p:cNvGrpSpPr/>
          <p:nvPr/>
        </p:nvGrpSpPr>
        <p:grpSpPr>
          <a:xfrm>
            <a:off x="1889125" y="3665864"/>
            <a:ext cx="4117975" cy="481805"/>
            <a:chOff x="365125" y="1616076"/>
            <a:chExt cx="4117975" cy="481805"/>
          </a:xfrm>
        </p:grpSpPr>
        <p:sp>
          <p:nvSpPr>
            <p:cNvPr id="23" name="Chevron 1">
              <a:extLst>
                <a:ext uri="{FF2B5EF4-FFF2-40B4-BE49-F238E27FC236}">
                  <a16:creationId xmlns:a16="http://schemas.microsoft.com/office/drawing/2014/main" id="{52B8128B-697A-4D48-AF59-1EF0B5566E05}"/>
                </a:ext>
              </a:extLst>
            </p:cNvPr>
            <p:cNvSpPr/>
            <p:nvPr/>
          </p:nvSpPr>
          <p:spPr>
            <a:xfrm flipH="1">
              <a:off x="365125" y="1617261"/>
              <a:ext cx="3756708" cy="41745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defTabSz="913686"/>
              <a:r>
                <a:rPr lang="en-US" sz="1400" b="1" dirty="0">
                  <a:solidFill>
                    <a:prstClr val="white"/>
                  </a:solidFill>
                </a:rPr>
                <a:t>Lorem ipsum dolor sit </a:t>
              </a:r>
              <a:r>
                <a:rPr lang="en-US" sz="1400" b="1" dirty="0" err="1">
                  <a:solidFill>
                    <a:prstClr val="white"/>
                  </a:solidFill>
                </a:rPr>
                <a:t>amet</a:t>
              </a:r>
              <a:r>
                <a:rPr lang="en-US" sz="1400" b="1" dirty="0">
                  <a:solidFill>
                    <a:prstClr val="white"/>
                  </a:solidFill>
                </a:rPr>
                <a:t>, co</a:t>
              </a:r>
            </a:p>
          </p:txBody>
        </p:sp>
        <p:sp>
          <p:nvSpPr>
            <p:cNvPr id="24" name="Chevron 5">
              <a:extLst>
                <a:ext uri="{FF2B5EF4-FFF2-40B4-BE49-F238E27FC236}">
                  <a16:creationId xmlns:a16="http://schemas.microsoft.com/office/drawing/2014/main" id="{8650B1C3-B7AD-EE42-884D-7679031878E4}"/>
                </a:ext>
              </a:extLst>
            </p:cNvPr>
            <p:cNvSpPr/>
            <p:nvPr/>
          </p:nvSpPr>
          <p:spPr>
            <a:xfrm flipH="1">
              <a:off x="4232812" y="1681163"/>
              <a:ext cx="250288" cy="416718"/>
            </a:xfrm>
            <a:custGeom>
              <a:avLst/>
              <a:gdLst>
                <a:gd name="connsiteX0" fmla="*/ 0 w 691279"/>
                <a:gd name="connsiteY0" fmla="*/ 0 h 484632"/>
                <a:gd name="connsiteX1" fmla="*/ 448963 w 691279"/>
                <a:gd name="connsiteY1" fmla="*/ 0 h 484632"/>
                <a:gd name="connsiteX2" fmla="*/ 691279 w 691279"/>
                <a:gd name="connsiteY2" fmla="*/ 242316 h 484632"/>
                <a:gd name="connsiteX3" fmla="*/ 448963 w 691279"/>
                <a:gd name="connsiteY3" fmla="*/ 484632 h 484632"/>
                <a:gd name="connsiteX4" fmla="*/ 0 w 691279"/>
                <a:gd name="connsiteY4" fmla="*/ 484632 h 484632"/>
                <a:gd name="connsiteX5" fmla="*/ 242316 w 691279"/>
                <a:gd name="connsiteY5" fmla="*/ 242316 h 484632"/>
                <a:gd name="connsiteX6" fmla="*/ 0 w 691279"/>
                <a:gd name="connsiteY6" fmla="*/ 0 h 484632"/>
                <a:gd name="connsiteX0" fmla="*/ 0 w 448963"/>
                <a:gd name="connsiteY0" fmla="*/ 0 h 484632"/>
                <a:gd name="connsiteX1" fmla="*/ 448963 w 448963"/>
                <a:gd name="connsiteY1" fmla="*/ 0 h 484632"/>
                <a:gd name="connsiteX2" fmla="*/ 448963 w 448963"/>
                <a:gd name="connsiteY2" fmla="*/ 484632 h 484632"/>
                <a:gd name="connsiteX3" fmla="*/ 0 w 448963"/>
                <a:gd name="connsiteY3" fmla="*/ 484632 h 484632"/>
                <a:gd name="connsiteX4" fmla="*/ 242316 w 448963"/>
                <a:gd name="connsiteY4" fmla="*/ 242316 h 484632"/>
                <a:gd name="connsiteX5" fmla="*/ 0 w 448963"/>
                <a:gd name="connsiteY5" fmla="*/ 0 h 48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963" h="484632">
                  <a:moveTo>
                    <a:pt x="0" y="0"/>
                  </a:moveTo>
                  <a:lnTo>
                    <a:pt x="448963" y="0"/>
                  </a:lnTo>
                  <a:lnTo>
                    <a:pt x="448963" y="484632"/>
                  </a:lnTo>
                  <a:lnTo>
                    <a:pt x="0" y="484632"/>
                  </a:lnTo>
                  <a:lnTo>
                    <a:pt x="242316" y="242316"/>
                  </a:lnTo>
                  <a:lnTo>
                    <a:pt x="0" y="0"/>
                  </a:ln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black"/>
                </a:solidFill>
              </a:endParaRPr>
            </a:p>
          </p:txBody>
        </p:sp>
        <p:sp>
          <p:nvSpPr>
            <p:cNvPr id="31" name="Parallelogram 30">
              <a:extLst>
                <a:ext uri="{FF2B5EF4-FFF2-40B4-BE49-F238E27FC236}">
                  <a16:creationId xmlns:a16="http://schemas.microsoft.com/office/drawing/2014/main" id="{882F9512-5CC0-5541-922D-EE0E15BA7DB9}"/>
                </a:ext>
              </a:extLst>
            </p:cNvPr>
            <p:cNvSpPr/>
            <p:nvPr/>
          </p:nvSpPr>
          <p:spPr>
            <a:xfrm rot="5400000">
              <a:off x="3936048" y="1800798"/>
              <a:ext cx="481804" cy="112360"/>
            </a:xfrm>
            <a:prstGeom prst="parallelogram">
              <a:avLst>
                <a:gd name="adj" fmla="val 56900"/>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white"/>
                </a:solidFill>
              </a:endParaRPr>
            </a:p>
          </p:txBody>
        </p:sp>
      </p:grpSp>
      <p:sp>
        <p:nvSpPr>
          <p:cNvPr id="32" name="Rectangle 31">
            <a:extLst>
              <a:ext uri="{FF2B5EF4-FFF2-40B4-BE49-F238E27FC236}">
                <a16:creationId xmlns:a16="http://schemas.microsoft.com/office/drawing/2014/main" id="{0B235EC7-7C4C-3B41-BE11-1370534EF7C7}"/>
              </a:ext>
            </a:extLst>
          </p:cNvPr>
          <p:cNvSpPr/>
          <p:nvPr/>
        </p:nvSpPr>
        <p:spPr>
          <a:xfrm>
            <a:off x="2982447" y="4229384"/>
            <a:ext cx="2252501" cy="767101"/>
          </a:xfrm>
          <a:prstGeom prst="rect">
            <a:avLst/>
          </a:prstGeom>
        </p:spPr>
        <p:txBody>
          <a:bodyPr wrap="square" lIns="0" tIns="0" rIns="0" bIns="0">
            <a:spAutoFit/>
          </a:bodyPr>
          <a:lstStyle/>
          <a:p>
            <a:pPr marL="1588" defTabSz="913686" fontAlgn="base">
              <a:spcAft>
                <a:spcPct val="0"/>
              </a:spcAft>
              <a:buClr>
                <a:srgbClr val="000000"/>
              </a:buClr>
            </a:pPr>
            <a:r>
              <a:rPr lang="en-US" sz="1200" dirty="0">
                <a:solidFill>
                  <a:srgbClr val="313131"/>
                </a:solidFill>
                <a:cs typeface="Arial" charset="0"/>
              </a:rPr>
              <a:t>Lorem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co</a:t>
            </a:r>
            <a:endParaRPr lang="en-US" sz="1200" i="1" dirty="0">
              <a:solidFill>
                <a:srgbClr val="313131"/>
              </a:solidFill>
              <a:cs typeface="Arial" charset="0"/>
            </a:endParaRPr>
          </a:p>
        </p:txBody>
      </p:sp>
      <p:sp>
        <p:nvSpPr>
          <p:cNvPr id="33" name="Rectangle 32">
            <a:extLst>
              <a:ext uri="{FF2B5EF4-FFF2-40B4-BE49-F238E27FC236}">
                <a16:creationId xmlns:a16="http://schemas.microsoft.com/office/drawing/2014/main" id="{A20DB73A-AFBC-B148-8295-CD7389C3924F}"/>
              </a:ext>
            </a:extLst>
          </p:cNvPr>
          <p:cNvSpPr/>
          <p:nvPr/>
        </p:nvSpPr>
        <p:spPr bwMode="gray">
          <a:xfrm>
            <a:off x="6184907" y="4084493"/>
            <a:ext cx="3755645" cy="1412384"/>
          </a:xfrm>
          <a:prstGeom prst="rect">
            <a:avLst/>
          </a:prstGeom>
          <a:solidFill>
            <a:schemeClr val="bg1">
              <a:lumMod val="95000"/>
            </a:schemeClr>
          </a:solidFill>
          <a:ln w="19050" algn="ctr">
            <a:noFill/>
            <a:miter lim="800000"/>
            <a:headEnd/>
            <a:tailEnd/>
          </a:ln>
        </p:spPr>
        <p:txBody>
          <a:bodyPr wrap="square" lIns="88830" tIns="88830" rIns="88830" bIns="88830" rtlCol="0" anchor="ctr"/>
          <a:lstStyle/>
          <a:p>
            <a:pPr algn="ctr" defTabSz="913686">
              <a:lnSpc>
                <a:spcPct val="106000"/>
              </a:lnSpc>
            </a:pPr>
            <a:endParaRPr lang="en-US" sz="1600" b="1" dirty="0">
              <a:solidFill>
                <a:prstClr val="white"/>
              </a:solidFill>
            </a:endParaRPr>
          </a:p>
        </p:txBody>
      </p:sp>
      <p:grpSp>
        <p:nvGrpSpPr>
          <p:cNvPr id="34" name="Group 33">
            <a:extLst>
              <a:ext uri="{FF2B5EF4-FFF2-40B4-BE49-F238E27FC236}">
                <a16:creationId xmlns:a16="http://schemas.microsoft.com/office/drawing/2014/main" id="{A60DFCEC-D6E3-9447-9A3B-BA1F45774590}"/>
              </a:ext>
            </a:extLst>
          </p:cNvPr>
          <p:cNvGrpSpPr/>
          <p:nvPr/>
        </p:nvGrpSpPr>
        <p:grpSpPr>
          <a:xfrm>
            <a:off x="6184902" y="3665864"/>
            <a:ext cx="4117975" cy="481805"/>
            <a:chOff x="365125" y="1616076"/>
            <a:chExt cx="4117975" cy="481805"/>
          </a:xfrm>
        </p:grpSpPr>
        <p:sp>
          <p:nvSpPr>
            <p:cNvPr id="35" name="Chevron 1">
              <a:extLst>
                <a:ext uri="{FF2B5EF4-FFF2-40B4-BE49-F238E27FC236}">
                  <a16:creationId xmlns:a16="http://schemas.microsoft.com/office/drawing/2014/main" id="{9E909ED2-E12D-5B4D-BE7A-0C0A016823C8}"/>
                </a:ext>
              </a:extLst>
            </p:cNvPr>
            <p:cNvSpPr/>
            <p:nvPr/>
          </p:nvSpPr>
          <p:spPr>
            <a:xfrm flipH="1">
              <a:off x="365125" y="1617261"/>
              <a:ext cx="3756708" cy="41745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defTabSz="913686"/>
              <a:r>
                <a:rPr lang="en-US" sz="1400" b="1" dirty="0">
                  <a:solidFill>
                    <a:prstClr val="white"/>
                  </a:solidFill>
                </a:rPr>
                <a:t>Lorem ipsum dolor sit </a:t>
              </a:r>
              <a:r>
                <a:rPr lang="en-US" sz="1400" b="1" dirty="0" err="1">
                  <a:solidFill>
                    <a:prstClr val="white"/>
                  </a:solidFill>
                </a:rPr>
                <a:t>amet</a:t>
              </a:r>
              <a:r>
                <a:rPr lang="en-US" sz="1400" b="1" dirty="0">
                  <a:solidFill>
                    <a:prstClr val="white"/>
                  </a:solidFill>
                </a:rPr>
                <a:t>, co</a:t>
              </a:r>
            </a:p>
          </p:txBody>
        </p:sp>
        <p:sp>
          <p:nvSpPr>
            <p:cNvPr id="36" name="Chevron 5">
              <a:extLst>
                <a:ext uri="{FF2B5EF4-FFF2-40B4-BE49-F238E27FC236}">
                  <a16:creationId xmlns:a16="http://schemas.microsoft.com/office/drawing/2014/main" id="{EC04DE09-4950-BC4C-AD16-34C759A45DC4}"/>
                </a:ext>
              </a:extLst>
            </p:cNvPr>
            <p:cNvSpPr/>
            <p:nvPr/>
          </p:nvSpPr>
          <p:spPr>
            <a:xfrm flipH="1">
              <a:off x="4232812" y="1681163"/>
              <a:ext cx="250288" cy="416718"/>
            </a:xfrm>
            <a:custGeom>
              <a:avLst/>
              <a:gdLst>
                <a:gd name="connsiteX0" fmla="*/ 0 w 691279"/>
                <a:gd name="connsiteY0" fmla="*/ 0 h 484632"/>
                <a:gd name="connsiteX1" fmla="*/ 448963 w 691279"/>
                <a:gd name="connsiteY1" fmla="*/ 0 h 484632"/>
                <a:gd name="connsiteX2" fmla="*/ 691279 w 691279"/>
                <a:gd name="connsiteY2" fmla="*/ 242316 h 484632"/>
                <a:gd name="connsiteX3" fmla="*/ 448963 w 691279"/>
                <a:gd name="connsiteY3" fmla="*/ 484632 h 484632"/>
                <a:gd name="connsiteX4" fmla="*/ 0 w 691279"/>
                <a:gd name="connsiteY4" fmla="*/ 484632 h 484632"/>
                <a:gd name="connsiteX5" fmla="*/ 242316 w 691279"/>
                <a:gd name="connsiteY5" fmla="*/ 242316 h 484632"/>
                <a:gd name="connsiteX6" fmla="*/ 0 w 691279"/>
                <a:gd name="connsiteY6" fmla="*/ 0 h 484632"/>
                <a:gd name="connsiteX0" fmla="*/ 0 w 448963"/>
                <a:gd name="connsiteY0" fmla="*/ 0 h 484632"/>
                <a:gd name="connsiteX1" fmla="*/ 448963 w 448963"/>
                <a:gd name="connsiteY1" fmla="*/ 0 h 484632"/>
                <a:gd name="connsiteX2" fmla="*/ 448963 w 448963"/>
                <a:gd name="connsiteY2" fmla="*/ 484632 h 484632"/>
                <a:gd name="connsiteX3" fmla="*/ 0 w 448963"/>
                <a:gd name="connsiteY3" fmla="*/ 484632 h 484632"/>
                <a:gd name="connsiteX4" fmla="*/ 242316 w 448963"/>
                <a:gd name="connsiteY4" fmla="*/ 242316 h 484632"/>
                <a:gd name="connsiteX5" fmla="*/ 0 w 448963"/>
                <a:gd name="connsiteY5" fmla="*/ 0 h 48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963" h="484632">
                  <a:moveTo>
                    <a:pt x="0" y="0"/>
                  </a:moveTo>
                  <a:lnTo>
                    <a:pt x="448963" y="0"/>
                  </a:lnTo>
                  <a:lnTo>
                    <a:pt x="448963" y="484632"/>
                  </a:lnTo>
                  <a:lnTo>
                    <a:pt x="0" y="484632"/>
                  </a:lnTo>
                  <a:lnTo>
                    <a:pt x="242316" y="242316"/>
                  </a:lnTo>
                  <a:lnTo>
                    <a:pt x="0" y="0"/>
                  </a:ln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black"/>
                </a:solidFill>
              </a:endParaRPr>
            </a:p>
          </p:txBody>
        </p:sp>
        <p:sp>
          <p:nvSpPr>
            <p:cNvPr id="37" name="Parallelogram 36">
              <a:extLst>
                <a:ext uri="{FF2B5EF4-FFF2-40B4-BE49-F238E27FC236}">
                  <a16:creationId xmlns:a16="http://schemas.microsoft.com/office/drawing/2014/main" id="{B16B11B0-5558-864F-AE68-3C0A35E3A72E}"/>
                </a:ext>
              </a:extLst>
            </p:cNvPr>
            <p:cNvSpPr/>
            <p:nvPr/>
          </p:nvSpPr>
          <p:spPr>
            <a:xfrm rot="5400000">
              <a:off x="3936048" y="1800798"/>
              <a:ext cx="481804" cy="112360"/>
            </a:xfrm>
            <a:prstGeom prst="parallelogram">
              <a:avLst>
                <a:gd name="adj" fmla="val 56900"/>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white"/>
                </a:solidFill>
              </a:endParaRPr>
            </a:p>
          </p:txBody>
        </p:sp>
      </p:grpSp>
      <p:sp>
        <p:nvSpPr>
          <p:cNvPr id="38" name="Rectangle 37">
            <a:extLst>
              <a:ext uri="{FF2B5EF4-FFF2-40B4-BE49-F238E27FC236}">
                <a16:creationId xmlns:a16="http://schemas.microsoft.com/office/drawing/2014/main" id="{E431FDBD-DD3A-1B49-B35E-C99C367FD2BE}"/>
              </a:ext>
            </a:extLst>
          </p:cNvPr>
          <p:cNvSpPr/>
          <p:nvPr/>
        </p:nvSpPr>
        <p:spPr>
          <a:xfrm>
            <a:off x="7278214" y="4229377"/>
            <a:ext cx="2467068" cy="738664"/>
          </a:xfrm>
          <a:prstGeom prst="rect">
            <a:avLst/>
          </a:prstGeom>
        </p:spPr>
        <p:txBody>
          <a:bodyPr wrap="square" lIns="0" tIns="0" rIns="0" bIns="0">
            <a:spAutoFit/>
          </a:bodyPr>
          <a:lstStyle/>
          <a:p>
            <a:pPr marL="1588" defTabSz="913686" fontAlgn="base">
              <a:spcAft>
                <a:spcPct val="0"/>
              </a:spcAft>
              <a:buClr>
                <a:srgbClr val="000000"/>
              </a:buClr>
            </a:pPr>
            <a:r>
              <a:rPr lang="en-US" sz="1200" dirty="0">
                <a:solidFill>
                  <a:srgbClr val="313131"/>
                </a:solidFill>
                <a:cs typeface="Arial" charset="0"/>
              </a:rPr>
              <a:t>Lorem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co</a:t>
            </a:r>
            <a:endParaRPr lang="en-US" sz="1200" i="1" dirty="0">
              <a:solidFill>
                <a:srgbClr val="313131"/>
              </a:solidFill>
              <a:cs typeface="Arial" charset="0"/>
            </a:endParaRPr>
          </a:p>
        </p:txBody>
      </p:sp>
    </p:spTree>
    <p:custDataLst>
      <p:tags r:id="rId1"/>
    </p:custDataLst>
    <p:extLst>
      <p:ext uri="{BB962C8B-B14F-4D97-AF65-F5344CB8AC3E}">
        <p14:creationId xmlns:p14="http://schemas.microsoft.com/office/powerpoint/2010/main" val="320190786"/>
      </p:ext>
    </p:extLst>
  </p:cSld>
  <p:clrMapOvr>
    <a:masterClrMapping/>
  </p:clrMapOvr>
  <p:transition>
    <p:fade/>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Rounded Rectangle 220"/>
          <p:cNvSpPr/>
          <p:nvPr/>
        </p:nvSpPr>
        <p:spPr bwMode="gray">
          <a:xfrm>
            <a:off x="1213742" y="1280299"/>
            <a:ext cx="4757560" cy="2381094"/>
          </a:xfrm>
          <a:prstGeom prst="roundRect">
            <a:avLst>
              <a:gd name="adj" fmla="val 4641"/>
            </a:avLst>
          </a:prstGeom>
          <a:solidFill>
            <a:schemeClr val="bg1">
              <a:lumMod val="95000"/>
            </a:schemeClr>
          </a:solidFill>
          <a:ln w="12700" algn="ctr">
            <a:solidFill>
              <a:schemeClr val="bg1"/>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en-GB" sz="1091" b="1" dirty="0">
              <a:solidFill>
                <a:schemeClr val="bg1"/>
              </a:solidFill>
            </a:endParaRPr>
          </a:p>
        </p:txBody>
      </p:sp>
      <p:sp>
        <p:nvSpPr>
          <p:cNvPr id="248" name="Rectangle 221"/>
          <p:cNvSpPr/>
          <p:nvPr/>
        </p:nvSpPr>
        <p:spPr>
          <a:xfrm>
            <a:off x="2200271" y="1980950"/>
            <a:ext cx="3622186" cy="1435842"/>
          </a:xfrm>
          <a:prstGeom prst="rect">
            <a:avLst/>
          </a:prstGeom>
        </p:spPr>
        <p:txBody>
          <a:bodyPr wrap="square" lIns="0" tIns="0" rIns="0" bIns="0">
            <a:spAutoFit/>
          </a:bodyPr>
          <a:lstStyle/>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endParaRPr lang="en-GB" sz="818" dirty="0"/>
          </a:p>
        </p:txBody>
      </p:sp>
      <p:sp>
        <p:nvSpPr>
          <p:cNvPr id="265" name="Rounded Rectangle 187"/>
          <p:cNvSpPr/>
          <p:nvPr/>
        </p:nvSpPr>
        <p:spPr bwMode="gray">
          <a:xfrm>
            <a:off x="1213742" y="3845177"/>
            <a:ext cx="4757560" cy="2397361"/>
          </a:xfrm>
          <a:prstGeom prst="roundRect">
            <a:avLst>
              <a:gd name="adj" fmla="val 4641"/>
            </a:avLst>
          </a:prstGeom>
          <a:solidFill>
            <a:schemeClr val="bg1">
              <a:lumMod val="95000"/>
            </a:schemeClr>
          </a:solidFill>
          <a:ln w="12700" algn="ctr">
            <a:solidFill>
              <a:schemeClr val="bg1"/>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en-GB" sz="1091" b="1" dirty="0">
              <a:solidFill>
                <a:schemeClr val="bg1"/>
              </a:solidFill>
            </a:endParaRPr>
          </a:p>
        </p:txBody>
      </p:sp>
      <p:sp>
        <p:nvSpPr>
          <p:cNvPr id="266" name="Rectangle 188"/>
          <p:cNvSpPr/>
          <p:nvPr/>
        </p:nvSpPr>
        <p:spPr>
          <a:xfrm>
            <a:off x="2200271" y="4543347"/>
            <a:ext cx="3622186" cy="1472904"/>
          </a:xfrm>
          <a:prstGeom prst="rect">
            <a:avLst/>
          </a:prstGeom>
        </p:spPr>
        <p:txBody>
          <a:bodyPr wrap="square" lIns="0" tIns="0" rIns="0" bIns="0">
            <a:spAutoFit/>
          </a:bodyPr>
          <a:lstStyle/>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endParaRPr lang="en-GB" sz="818" dirty="0"/>
          </a:p>
        </p:txBody>
      </p:sp>
      <p:sp>
        <p:nvSpPr>
          <p:cNvPr id="276" name="Rounded Rectangle 198"/>
          <p:cNvSpPr/>
          <p:nvPr/>
        </p:nvSpPr>
        <p:spPr bwMode="gray">
          <a:xfrm>
            <a:off x="6216007" y="1271711"/>
            <a:ext cx="4757560" cy="2381094"/>
          </a:xfrm>
          <a:prstGeom prst="roundRect">
            <a:avLst>
              <a:gd name="adj" fmla="val 4641"/>
            </a:avLst>
          </a:prstGeom>
          <a:solidFill>
            <a:schemeClr val="bg1">
              <a:lumMod val="95000"/>
            </a:schemeClr>
          </a:solidFill>
          <a:ln w="12700" algn="ctr">
            <a:solidFill>
              <a:schemeClr val="bg1"/>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en-GB" sz="1091" b="1" dirty="0">
              <a:solidFill>
                <a:schemeClr val="bg1"/>
              </a:solidFill>
            </a:endParaRPr>
          </a:p>
        </p:txBody>
      </p:sp>
      <p:sp>
        <p:nvSpPr>
          <p:cNvPr id="280" name="Rounded Rectangle 202"/>
          <p:cNvSpPr/>
          <p:nvPr/>
        </p:nvSpPr>
        <p:spPr bwMode="gray">
          <a:xfrm>
            <a:off x="6216007" y="3845177"/>
            <a:ext cx="4757560" cy="2397361"/>
          </a:xfrm>
          <a:prstGeom prst="roundRect">
            <a:avLst>
              <a:gd name="adj" fmla="val 4641"/>
            </a:avLst>
          </a:prstGeom>
          <a:solidFill>
            <a:schemeClr val="bg1">
              <a:lumMod val="95000"/>
            </a:schemeClr>
          </a:solidFill>
          <a:ln w="12700" algn="ctr">
            <a:solidFill>
              <a:schemeClr val="bg1"/>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en-GB" sz="1091" b="1" dirty="0">
              <a:solidFill>
                <a:schemeClr val="bg1"/>
              </a:solidFill>
            </a:endParaRPr>
          </a:p>
        </p:txBody>
      </p:sp>
      <p:sp>
        <p:nvSpPr>
          <p:cNvPr id="285" name="Freeform 208"/>
          <p:cNvSpPr/>
          <p:nvPr/>
        </p:nvSpPr>
        <p:spPr bwMode="gray">
          <a:xfrm flipH="1">
            <a:off x="6020392" y="1222321"/>
            <a:ext cx="60020" cy="2432539"/>
          </a:xfrm>
          <a:custGeom>
            <a:avLst/>
            <a:gdLst>
              <a:gd name="connsiteX0" fmla="*/ 0 w 0"/>
              <a:gd name="connsiteY0" fmla="*/ 0 h 2562225"/>
              <a:gd name="connsiteX1" fmla="*/ 0 w 0"/>
              <a:gd name="connsiteY1" fmla="*/ 2562225 h 2562225"/>
            </a:gdLst>
            <a:ahLst/>
            <a:cxnLst>
              <a:cxn ang="0">
                <a:pos x="connsiteX0" y="connsiteY0"/>
              </a:cxn>
              <a:cxn ang="0">
                <a:pos x="connsiteX1" y="connsiteY1"/>
              </a:cxn>
            </a:cxnLst>
            <a:rect l="l" t="t" r="r" b="b"/>
            <a:pathLst>
              <a:path h="2562225">
                <a:moveTo>
                  <a:pt x="0" y="0"/>
                </a:moveTo>
                <a:lnTo>
                  <a:pt x="0" y="2562225"/>
                </a:lnTo>
              </a:path>
            </a:pathLst>
          </a:custGeom>
          <a:noFill/>
          <a:ln w="19050" algn="ctr">
            <a:solidFill>
              <a:schemeClr val="bg1"/>
            </a:solidFill>
            <a:prstDash val="sysDot"/>
            <a:miter lim="800000"/>
            <a:headEnd type="oval"/>
            <a:tailEnd/>
          </a:ln>
        </p:spPr>
        <p:txBody>
          <a:bodyPr rtlCol="0" anchor="ctr"/>
          <a:lstStyle/>
          <a:p>
            <a:pPr algn="ctr"/>
            <a:endParaRPr lang="en-GB" sz="1227" dirty="0"/>
          </a:p>
        </p:txBody>
      </p:sp>
      <p:sp>
        <p:nvSpPr>
          <p:cNvPr id="286" name="Freeform 209"/>
          <p:cNvSpPr/>
          <p:nvPr/>
        </p:nvSpPr>
        <p:spPr bwMode="gray">
          <a:xfrm flipH="1">
            <a:off x="6022040" y="3805265"/>
            <a:ext cx="64957" cy="2410591"/>
          </a:xfrm>
          <a:custGeom>
            <a:avLst/>
            <a:gdLst>
              <a:gd name="connsiteX0" fmla="*/ 0 w 0"/>
              <a:gd name="connsiteY0" fmla="*/ 2428875 h 2428875"/>
              <a:gd name="connsiteX1" fmla="*/ 0 w 0"/>
              <a:gd name="connsiteY1" fmla="*/ 0 h 2428875"/>
            </a:gdLst>
            <a:ahLst/>
            <a:cxnLst>
              <a:cxn ang="0">
                <a:pos x="connsiteX0" y="connsiteY0"/>
              </a:cxn>
              <a:cxn ang="0">
                <a:pos x="connsiteX1" y="connsiteY1"/>
              </a:cxn>
            </a:cxnLst>
            <a:rect l="l" t="t" r="r" b="b"/>
            <a:pathLst>
              <a:path h="2428875">
                <a:moveTo>
                  <a:pt x="0" y="2428875"/>
                </a:moveTo>
                <a:lnTo>
                  <a:pt x="0" y="0"/>
                </a:lnTo>
              </a:path>
            </a:pathLst>
          </a:custGeom>
          <a:noFill/>
          <a:ln w="19050" algn="ctr">
            <a:solidFill>
              <a:schemeClr val="bg1"/>
            </a:solidFill>
            <a:prstDash val="sysDot"/>
            <a:miter lim="800000"/>
            <a:headEnd type="oval"/>
            <a:tailEnd/>
          </a:ln>
        </p:spPr>
        <p:txBody>
          <a:bodyPr rtlCol="0" anchor="ctr"/>
          <a:lstStyle/>
          <a:p>
            <a:pPr algn="ctr"/>
            <a:endParaRPr lang="en-GB" sz="1227" dirty="0"/>
          </a:p>
        </p:txBody>
      </p:sp>
      <p:sp>
        <p:nvSpPr>
          <p:cNvPr id="287" name="Freeform 210"/>
          <p:cNvSpPr/>
          <p:nvPr/>
        </p:nvSpPr>
        <p:spPr bwMode="gray">
          <a:xfrm flipV="1">
            <a:off x="1211191" y="3684454"/>
            <a:ext cx="4777522" cy="44638"/>
          </a:xfrm>
          <a:custGeom>
            <a:avLst/>
            <a:gdLst>
              <a:gd name="connsiteX0" fmla="*/ 0 w 4114800"/>
              <a:gd name="connsiteY0" fmla="*/ 0 h 0"/>
              <a:gd name="connsiteX1" fmla="*/ 4114800 w 4114800"/>
              <a:gd name="connsiteY1" fmla="*/ 0 h 0"/>
            </a:gdLst>
            <a:ahLst/>
            <a:cxnLst>
              <a:cxn ang="0">
                <a:pos x="connsiteX0" y="connsiteY0"/>
              </a:cxn>
              <a:cxn ang="0">
                <a:pos x="connsiteX1" y="connsiteY1"/>
              </a:cxn>
            </a:cxnLst>
            <a:rect l="l" t="t" r="r" b="b"/>
            <a:pathLst>
              <a:path w="4114800">
                <a:moveTo>
                  <a:pt x="0" y="0"/>
                </a:moveTo>
                <a:lnTo>
                  <a:pt x="4114800" y="0"/>
                </a:lnTo>
              </a:path>
            </a:pathLst>
          </a:custGeom>
          <a:noFill/>
          <a:ln w="19050" algn="ctr">
            <a:solidFill>
              <a:schemeClr val="bg1"/>
            </a:solidFill>
            <a:prstDash val="sysDot"/>
            <a:miter lim="800000"/>
            <a:headEnd type="none"/>
            <a:tailEnd type="oval"/>
          </a:ln>
        </p:spPr>
        <p:txBody>
          <a:bodyPr rtlCol="0" anchor="ctr"/>
          <a:lstStyle/>
          <a:p>
            <a:pPr algn="ctr"/>
            <a:endParaRPr lang="en-GB" sz="1227" dirty="0"/>
          </a:p>
        </p:txBody>
      </p:sp>
      <p:sp>
        <p:nvSpPr>
          <p:cNvPr id="288" name="Freeform 211"/>
          <p:cNvSpPr/>
          <p:nvPr/>
        </p:nvSpPr>
        <p:spPr bwMode="gray">
          <a:xfrm>
            <a:off x="6187306" y="3719987"/>
            <a:ext cx="4740288" cy="44638"/>
          </a:xfrm>
          <a:custGeom>
            <a:avLst/>
            <a:gdLst>
              <a:gd name="connsiteX0" fmla="*/ 0 w 4114800"/>
              <a:gd name="connsiteY0" fmla="*/ 0 h 0"/>
              <a:gd name="connsiteX1" fmla="*/ 4114800 w 4114800"/>
              <a:gd name="connsiteY1" fmla="*/ 0 h 0"/>
            </a:gdLst>
            <a:ahLst/>
            <a:cxnLst>
              <a:cxn ang="0">
                <a:pos x="connsiteX0" y="connsiteY0"/>
              </a:cxn>
              <a:cxn ang="0">
                <a:pos x="connsiteX1" y="connsiteY1"/>
              </a:cxn>
            </a:cxnLst>
            <a:rect l="l" t="t" r="r" b="b"/>
            <a:pathLst>
              <a:path w="4114800">
                <a:moveTo>
                  <a:pt x="0" y="0"/>
                </a:moveTo>
                <a:lnTo>
                  <a:pt x="4114800" y="0"/>
                </a:lnTo>
              </a:path>
            </a:pathLst>
          </a:custGeom>
          <a:noFill/>
          <a:ln w="19050" algn="ctr">
            <a:solidFill>
              <a:schemeClr val="bg1"/>
            </a:solidFill>
            <a:prstDash val="sysDot"/>
            <a:miter lim="800000"/>
            <a:headEnd type="oval"/>
            <a:tailEnd type="none"/>
          </a:ln>
        </p:spPr>
        <p:txBody>
          <a:bodyPr rtlCol="0" anchor="ctr"/>
          <a:lstStyle/>
          <a:p>
            <a:pPr algn="ctr"/>
            <a:endParaRPr lang="en-GB" sz="1227" dirty="0"/>
          </a:p>
        </p:txBody>
      </p:sp>
      <p:sp>
        <p:nvSpPr>
          <p:cNvPr id="298" name="Rectangle 221"/>
          <p:cNvSpPr/>
          <p:nvPr/>
        </p:nvSpPr>
        <p:spPr>
          <a:xfrm>
            <a:off x="7192368" y="1980950"/>
            <a:ext cx="3569441" cy="1435842"/>
          </a:xfrm>
          <a:prstGeom prst="rect">
            <a:avLst/>
          </a:prstGeom>
        </p:spPr>
        <p:txBody>
          <a:bodyPr wrap="square" lIns="0" tIns="0" rIns="0" bIns="0">
            <a:spAutoFit/>
          </a:bodyPr>
          <a:lstStyle/>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endParaRPr lang="en-GB" sz="818" dirty="0"/>
          </a:p>
        </p:txBody>
      </p:sp>
      <p:sp>
        <p:nvSpPr>
          <p:cNvPr id="302" name="Rectangle 188"/>
          <p:cNvSpPr/>
          <p:nvPr/>
        </p:nvSpPr>
        <p:spPr>
          <a:xfrm>
            <a:off x="7192368" y="4543347"/>
            <a:ext cx="3630619" cy="1435842"/>
          </a:xfrm>
          <a:prstGeom prst="rect">
            <a:avLst/>
          </a:prstGeom>
        </p:spPr>
        <p:txBody>
          <a:bodyPr wrap="square" lIns="0" tIns="0" rIns="0" bIns="0">
            <a:spAutoFit/>
          </a:bodyPr>
          <a:lstStyle/>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endParaRPr lang="en-GB" sz="818" dirty="0"/>
          </a:p>
        </p:txBody>
      </p:sp>
      <p:pic>
        <p:nvPicPr>
          <p:cNvPr id="317" name="图片 316"/>
          <p:cNvPicPr>
            <a:picLocks noChangeAspect="1"/>
          </p:cNvPicPr>
          <p:nvPr/>
        </p:nvPicPr>
        <p:blipFill>
          <a:blip r:embed="rId4"/>
          <a:stretch>
            <a:fillRect/>
          </a:stretch>
        </p:blipFill>
        <p:spPr>
          <a:xfrm>
            <a:off x="6249908" y="2719917"/>
            <a:ext cx="559078" cy="673690"/>
          </a:xfrm>
          <a:prstGeom prst="rect">
            <a:avLst/>
          </a:prstGeom>
        </p:spPr>
      </p:pic>
      <p:sp>
        <p:nvSpPr>
          <p:cNvPr id="165" name="矩形 164"/>
          <p:cNvSpPr/>
          <p:nvPr/>
        </p:nvSpPr>
        <p:spPr bwMode="gray">
          <a:xfrm>
            <a:off x="1211189" y="1532618"/>
            <a:ext cx="4760112" cy="324147"/>
          </a:xfrm>
          <a:prstGeom prst="rect">
            <a:avLst/>
          </a:prstGeom>
          <a:solidFill>
            <a:schemeClr val="accent6">
              <a:lumMod val="75000"/>
            </a:schemeClr>
          </a:solidFill>
          <a:ln w="19050" algn="ctr">
            <a:noFill/>
            <a:miter lim="800000"/>
            <a:headEnd/>
            <a:tailEnd/>
          </a:ln>
        </p:spPr>
        <p:txBody>
          <a:bodyPr wrap="square" lIns="981818" tIns="60614" rIns="60614" bIns="60614" rtlCol="0" anchor="ctr"/>
          <a:lstStyle/>
          <a:p>
            <a:pPr>
              <a:lnSpc>
                <a:spcPct val="106000"/>
              </a:lnSpc>
              <a:buFont typeface="Wingdings 2" pitchFamily="18" charset="2"/>
              <a:buNone/>
            </a:pPr>
            <a:r>
              <a:rPr lang="en-US" altLang="zh-CN" sz="955" b="1" dirty="0">
                <a:solidFill>
                  <a:schemeClr val="bg1"/>
                </a:solidFill>
              </a:rPr>
              <a:t>Lorem ipsum dolor sit </a:t>
            </a:r>
            <a:r>
              <a:rPr lang="en-US" altLang="zh-CN" sz="955" b="1" dirty="0" err="1">
                <a:solidFill>
                  <a:schemeClr val="bg1"/>
                </a:solidFill>
              </a:rPr>
              <a:t>amet</a:t>
            </a:r>
            <a:r>
              <a:rPr lang="en-US" altLang="zh-CN" sz="955" b="1" dirty="0">
                <a:solidFill>
                  <a:schemeClr val="bg1"/>
                </a:solidFill>
              </a:rPr>
              <a:t>, co</a:t>
            </a:r>
          </a:p>
        </p:txBody>
      </p:sp>
      <p:sp>
        <p:nvSpPr>
          <p:cNvPr id="166" name="椭圆 165"/>
          <p:cNvSpPr/>
          <p:nvPr/>
        </p:nvSpPr>
        <p:spPr bwMode="gray">
          <a:xfrm>
            <a:off x="1466286" y="1435799"/>
            <a:ext cx="550587" cy="550587"/>
          </a:xfrm>
          <a:prstGeom prst="ellipse">
            <a:avLst/>
          </a:prstGeom>
          <a:solidFill>
            <a:srgbClr val="FFFFFF"/>
          </a:solidFill>
          <a:ln w="19050" algn="ctr">
            <a:solidFill>
              <a:srgbClr val="FFFFFF"/>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zh-CN" altLang="en-US" sz="955" b="1" dirty="0">
              <a:solidFill>
                <a:schemeClr val="bg1"/>
              </a:solidFill>
            </a:endParaRPr>
          </a:p>
        </p:txBody>
      </p:sp>
      <p:grpSp>
        <p:nvGrpSpPr>
          <p:cNvPr id="253" name="Group 226"/>
          <p:cNvGrpSpPr>
            <a:grpSpLocks/>
          </p:cNvGrpSpPr>
          <p:nvPr/>
        </p:nvGrpSpPr>
        <p:grpSpPr>
          <a:xfrm>
            <a:off x="1482191" y="1451704"/>
            <a:ext cx="518776" cy="518776"/>
            <a:chOff x="5672138" y="4513263"/>
            <a:chExt cx="1579562" cy="1571625"/>
          </a:xfrm>
          <a:solidFill>
            <a:schemeClr val="accent6"/>
          </a:solidFill>
        </p:grpSpPr>
        <p:sp>
          <p:nvSpPr>
            <p:cNvPr id="257" name="Rectangle 5"/>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58" name="Oval 6"/>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59" name="Rectangle 7"/>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60" name="Oval 8"/>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61" name="Oval 9"/>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62" name="Freeform 10"/>
            <p:cNvSpPr>
              <a:spLocks noEditPoints="1"/>
            </p:cNvSpPr>
            <p:nvPr/>
          </p:nvSpPr>
          <p:spPr bwMode="auto">
            <a:xfrm>
              <a:off x="5672138" y="4513263"/>
              <a:ext cx="1579562" cy="15716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63" name="Freeform 11"/>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grpSp>
      <p:sp>
        <p:nvSpPr>
          <p:cNvPr id="167" name="矩形 166"/>
          <p:cNvSpPr/>
          <p:nvPr/>
        </p:nvSpPr>
        <p:spPr bwMode="gray">
          <a:xfrm>
            <a:off x="6218793" y="1532618"/>
            <a:ext cx="4760112" cy="324147"/>
          </a:xfrm>
          <a:prstGeom prst="rect">
            <a:avLst/>
          </a:prstGeom>
          <a:solidFill>
            <a:srgbClr val="005587"/>
          </a:solidFill>
          <a:ln w="19050" algn="ctr">
            <a:noFill/>
            <a:miter lim="800000"/>
            <a:headEnd/>
            <a:tailEnd/>
          </a:ln>
        </p:spPr>
        <p:txBody>
          <a:bodyPr wrap="square" lIns="981818" tIns="60614" rIns="60614" bIns="60614" rtlCol="0" anchor="ctr"/>
          <a:lstStyle/>
          <a:p>
            <a:pPr>
              <a:lnSpc>
                <a:spcPct val="106000"/>
              </a:lnSpc>
              <a:buFont typeface="Wingdings 2" pitchFamily="18" charset="2"/>
              <a:buNone/>
            </a:pPr>
            <a:r>
              <a:rPr lang="en-US" altLang="zh-CN" sz="955" b="1" dirty="0">
                <a:solidFill>
                  <a:schemeClr val="bg1"/>
                </a:solidFill>
              </a:rPr>
              <a:t>Lorem ipsum dolor sit </a:t>
            </a:r>
            <a:r>
              <a:rPr lang="en-US" altLang="zh-CN" sz="955" b="1" dirty="0" err="1">
                <a:solidFill>
                  <a:schemeClr val="bg1"/>
                </a:solidFill>
              </a:rPr>
              <a:t>amet</a:t>
            </a:r>
            <a:r>
              <a:rPr lang="en-US" altLang="zh-CN" sz="955" b="1" dirty="0">
                <a:solidFill>
                  <a:schemeClr val="bg1"/>
                </a:solidFill>
              </a:rPr>
              <a:t>, co</a:t>
            </a:r>
          </a:p>
        </p:txBody>
      </p:sp>
      <p:sp>
        <p:nvSpPr>
          <p:cNvPr id="168" name="椭圆 167"/>
          <p:cNvSpPr/>
          <p:nvPr/>
        </p:nvSpPr>
        <p:spPr bwMode="gray">
          <a:xfrm>
            <a:off x="6473889" y="1435799"/>
            <a:ext cx="550587" cy="550587"/>
          </a:xfrm>
          <a:prstGeom prst="ellipse">
            <a:avLst/>
          </a:prstGeom>
          <a:solidFill>
            <a:srgbClr val="FFFFFF"/>
          </a:solidFill>
          <a:ln w="19050" algn="ctr">
            <a:solidFill>
              <a:srgbClr val="FFFFFF"/>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zh-CN" altLang="en-US" sz="955" b="1" dirty="0">
              <a:solidFill>
                <a:schemeClr val="bg1"/>
              </a:solidFill>
            </a:endParaRPr>
          </a:p>
        </p:txBody>
      </p:sp>
      <p:grpSp>
        <p:nvGrpSpPr>
          <p:cNvPr id="304" name="Group 481"/>
          <p:cNvGrpSpPr>
            <a:grpSpLocks noChangeAspect="1"/>
          </p:cNvGrpSpPr>
          <p:nvPr/>
        </p:nvGrpSpPr>
        <p:grpSpPr bwMode="auto">
          <a:xfrm>
            <a:off x="6492810" y="1454375"/>
            <a:ext cx="517909" cy="517909"/>
            <a:chOff x="6960" y="1953"/>
            <a:chExt cx="340" cy="340"/>
          </a:xfrm>
          <a:solidFill>
            <a:srgbClr val="005587"/>
          </a:solidFill>
        </p:grpSpPr>
        <p:sp>
          <p:nvSpPr>
            <p:cNvPr id="305" name="Rectangle 482"/>
            <p:cNvSpPr>
              <a:spLocks noChangeArrowheads="1"/>
            </p:cNvSpPr>
            <p:nvPr/>
          </p:nvSpPr>
          <p:spPr bwMode="auto">
            <a:xfrm>
              <a:off x="7151" y="2130"/>
              <a:ext cx="43" cy="42"/>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en-GB" sz="1227"/>
            </a:p>
          </p:txBody>
        </p:sp>
        <p:sp>
          <p:nvSpPr>
            <p:cNvPr id="306" name="Freeform 483"/>
            <p:cNvSpPr>
              <a:spLocks noEditPoints="1"/>
            </p:cNvSpPr>
            <p:nvPr/>
          </p:nvSpPr>
          <p:spPr bwMode="auto">
            <a:xfrm>
              <a:off x="6960" y="1953"/>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245 h 512"/>
                <a:gd name="T12" fmla="*/ 245 w 512"/>
                <a:gd name="T13" fmla="*/ 256 h 512"/>
                <a:gd name="T14" fmla="*/ 245 w 512"/>
                <a:gd name="T15" fmla="*/ 341 h 512"/>
                <a:gd name="T16" fmla="*/ 234 w 512"/>
                <a:gd name="T17" fmla="*/ 352 h 512"/>
                <a:gd name="T18" fmla="*/ 149 w 512"/>
                <a:gd name="T19" fmla="*/ 352 h 512"/>
                <a:gd name="T20" fmla="*/ 138 w 512"/>
                <a:gd name="T21" fmla="*/ 341 h 512"/>
                <a:gd name="T22" fmla="*/ 138 w 512"/>
                <a:gd name="T23" fmla="*/ 256 h 512"/>
                <a:gd name="T24" fmla="*/ 234 w 512"/>
                <a:gd name="T25" fmla="*/ 160 h 512"/>
                <a:gd name="T26" fmla="*/ 245 w 512"/>
                <a:gd name="T27" fmla="*/ 170 h 512"/>
                <a:gd name="T28" fmla="*/ 234 w 512"/>
                <a:gd name="T29" fmla="*/ 181 h 512"/>
                <a:gd name="T30" fmla="*/ 160 w 512"/>
                <a:gd name="T31" fmla="*/ 245 h 512"/>
                <a:gd name="T32" fmla="*/ 234 w 512"/>
                <a:gd name="T33" fmla="*/ 245 h 512"/>
                <a:gd name="T34" fmla="*/ 362 w 512"/>
                <a:gd name="T35" fmla="*/ 245 h 512"/>
                <a:gd name="T36" fmla="*/ 373 w 512"/>
                <a:gd name="T37" fmla="*/ 256 h 512"/>
                <a:gd name="T38" fmla="*/ 373 w 512"/>
                <a:gd name="T39" fmla="*/ 341 h 512"/>
                <a:gd name="T40" fmla="*/ 362 w 512"/>
                <a:gd name="T41" fmla="*/ 352 h 512"/>
                <a:gd name="T42" fmla="*/ 277 w 512"/>
                <a:gd name="T43" fmla="*/ 352 h 512"/>
                <a:gd name="T44" fmla="*/ 266 w 512"/>
                <a:gd name="T45" fmla="*/ 341 h 512"/>
                <a:gd name="T46" fmla="*/ 266 w 512"/>
                <a:gd name="T47" fmla="*/ 256 h 512"/>
                <a:gd name="T48" fmla="*/ 362 w 512"/>
                <a:gd name="T49" fmla="*/ 160 h 512"/>
                <a:gd name="T50" fmla="*/ 373 w 512"/>
                <a:gd name="T51" fmla="*/ 170 h 512"/>
                <a:gd name="T52" fmla="*/ 362 w 512"/>
                <a:gd name="T53" fmla="*/ 181 h 512"/>
                <a:gd name="T54" fmla="*/ 288 w 512"/>
                <a:gd name="T55" fmla="*/ 245 h 512"/>
                <a:gd name="T56" fmla="*/ 362 w 512"/>
                <a:gd name="T57"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245"/>
                  </a:moveTo>
                  <a:cubicBezTo>
                    <a:pt x="240" y="245"/>
                    <a:pt x="245" y="250"/>
                    <a:pt x="245" y="256"/>
                  </a:cubicBezTo>
                  <a:cubicBezTo>
                    <a:pt x="245" y="341"/>
                    <a:pt x="245" y="341"/>
                    <a:pt x="245" y="341"/>
                  </a:cubicBezTo>
                  <a:cubicBezTo>
                    <a:pt x="245" y="347"/>
                    <a:pt x="240" y="352"/>
                    <a:pt x="234" y="352"/>
                  </a:cubicBezTo>
                  <a:cubicBezTo>
                    <a:pt x="149" y="352"/>
                    <a:pt x="149" y="352"/>
                    <a:pt x="149" y="352"/>
                  </a:cubicBezTo>
                  <a:cubicBezTo>
                    <a:pt x="143" y="352"/>
                    <a:pt x="138" y="347"/>
                    <a:pt x="138" y="341"/>
                  </a:cubicBezTo>
                  <a:cubicBezTo>
                    <a:pt x="138" y="256"/>
                    <a:pt x="138" y="256"/>
                    <a:pt x="138" y="256"/>
                  </a:cubicBezTo>
                  <a:cubicBezTo>
                    <a:pt x="138" y="201"/>
                    <a:pt x="180" y="160"/>
                    <a:pt x="234" y="160"/>
                  </a:cubicBezTo>
                  <a:cubicBezTo>
                    <a:pt x="240" y="160"/>
                    <a:pt x="245" y="164"/>
                    <a:pt x="245" y="170"/>
                  </a:cubicBezTo>
                  <a:cubicBezTo>
                    <a:pt x="245" y="176"/>
                    <a:pt x="240" y="181"/>
                    <a:pt x="234" y="181"/>
                  </a:cubicBezTo>
                  <a:cubicBezTo>
                    <a:pt x="195" y="181"/>
                    <a:pt x="165" y="208"/>
                    <a:pt x="160" y="245"/>
                  </a:cubicBezTo>
                  <a:lnTo>
                    <a:pt x="234" y="245"/>
                  </a:lnTo>
                  <a:close/>
                  <a:moveTo>
                    <a:pt x="362" y="245"/>
                  </a:moveTo>
                  <a:cubicBezTo>
                    <a:pt x="368" y="245"/>
                    <a:pt x="373" y="250"/>
                    <a:pt x="373" y="256"/>
                  </a:cubicBezTo>
                  <a:cubicBezTo>
                    <a:pt x="373" y="341"/>
                    <a:pt x="373" y="341"/>
                    <a:pt x="373" y="341"/>
                  </a:cubicBezTo>
                  <a:cubicBezTo>
                    <a:pt x="373" y="347"/>
                    <a:pt x="368" y="352"/>
                    <a:pt x="362" y="352"/>
                  </a:cubicBezTo>
                  <a:cubicBezTo>
                    <a:pt x="277" y="352"/>
                    <a:pt x="277" y="352"/>
                    <a:pt x="277" y="352"/>
                  </a:cubicBezTo>
                  <a:cubicBezTo>
                    <a:pt x="271" y="352"/>
                    <a:pt x="266" y="347"/>
                    <a:pt x="266" y="341"/>
                  </a:cubicBezTo>
                  <a:cubicBezTo>
                    <a:pt x="266" y="256"/>
                    <a:pt x="266" y="256"/>
                    <a:pt x="266" y="256"/>
                  </a:cubicBezTo>
                  <a:cubicBezTo>
                    <a:pt x="266" y="201"/>
                    <a:pt x="308" y="160"/>
                    <a:pt x="362" y="160"/>
                  </a:cubicBezTo>
                  <a:cubicBezTo>
                    <a:pt x="368" y="160"/>
                    <a:pt x="373" y="164"/>
                    <a:pt x="373" y="170"/>
                  </a:cubicBezTo>
                  <a:cubicBezTo>
                    <a:pt x="373" y="176"/>
                    <a:pt x="368" y="181"/>
                    <a:pt x="362" y="181"/>
                  </a:cubicBezTo>
                  <a:cubicBezTo>
                    <a:pt x="323" y="181"/>
                    <a:pt x="293" y="213"/>
                    <a:pt x="288" y="245"/>
                  </a:cubicBezTo>
                  <a:lnTo>
                    <a:pt x="362" y="24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GB" sz="1227"/>
            </a:p>
          </p:txBody>
        </p:sp>
        <p:sp>
          <p:nvSpPr>
            <p:cNvPr id="307" name="Rectangle 484"/>
            <p:cNvSpPr>
              <a:spLocks noChangeArrowheads="1"/>
            </p:cNvSpPr>
            <p:nvPr/>
          </p:nvSpPr>
          <p:spPr bwMode="auto">
            <a:xfrm>
              <a:off x="7066" y="2130"/>
              <a:ext cx="43" cy="42"/>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en-GB" sz="1227"/>
            </a:p>
          </p:txBody>
        </p:sp>
      </p:grpSp>
      <p:sp>
        <p:nvSpPr>
          <p:cNvPr id="177" name="矩形 176"/>
          <p:cNvSpPr/>
          <p:nvPr/>
        </p:nvSpPr>
        <p:spPr bwMode="gray">
          <a:xfrm>
            <a:off x="1211189" y="4091005"/>
            <a:ext cx="4760112" cy="324147"/>
          </a:xfrm>
          <a:prstGeom prst="rect">
            <a:avLst/>
          </a:prstGeom>
          <a:solidFill>
            <a:schemeClr val="accent6"/>
          </a:solidFill>
          <a:ln w="19050" algn="ctr">
            <a:noFill/>
            <a:miter lim="800000"/>
            <a:headEnd/>
            <a:tailEnd/>
          </a:ln>
        </p:spPr>
        <p:txBody>
          <a:bodyPr wrap="square" lIns="981818" tIns="60614" rIns="60614" bIns="60614" rtlCol="0" anchor="ctr"/>
          <a:lstStyle/>
          <a:p>
            <a:pPr>
              <a:lnSpc>
                <a:spcPct val="106000"/>
              </a:lnSpc>
              <a:buFont typeface="Wingdings 2" pitchFamily="18" charset="2"/>
              <a:buNone/>
            </a:pPr>
            <a:r>
              <a:rPr lang="en-US" altLang="zh-CN" sz="955" b="1" dirty="0">
                <a:solidFill>
                  <a:schemeClr val="bg1"/>
                </a:solidFill>
              </a:rPr>
              <a:t>Lorem ipsum dolor sit </a:t>
            </a:r>
            <a:r>
              <a:rPr lang="en-US" altLang="zh-CN" sz="955" b="1" dirty="0" err="1">
                <a:solidFill>
                  <a:schemeClr val="bg1"/>
                </a:solidFill>
              </a:rPr>
              <a:t>amet</a:t>
            </a:r>
            <a:r>
              <a:rPr lang="en-US" altLang="zh-CN" sz="955" b="1" dirty="0">
                <a:solidFill>
                  <a:schemeClr val="bg1"/>
                </a:solidFill>
              </a:rPr>
              <a:t>, co</a:t>
            </a:r>
          </a:p>
        </p:txBody>
      </p:sp>
      <p:sp>
        <p:nvSpPr>
          <p:cNvPr id="178" name="椭圆 177"/>
          <p:cNvSpPr/>
          <p:nvPr/>
        </p:nvSpPr>
        <p:spPr bwMode="gray">
          <a:xfrm>
            <a:off x="1466286" y="3994187"/>
            <a:ext cx="550587" cy="550587"/>
          </a:xfrm>
          <a:prstGeom prst="ellipse">
            <a:avLst/>
          </a:prstGeom>
          <a:solidFill>
            <a:srgbClr val="FFFFFF"/>
          </a:solidFill>
          <a:ln w="19050" algn="ctr">
            <a:solidFill>
              <a:srgbClr val="FFFFFF"/>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zh-CN" altLang="en-US" sz="955" b="1" dirty="0">
              <a:solidFill>
                <a:schemeClr val="bg1"/>
              </a:solidFill>
            </a:endParaRPr>
          </a:p>
        </p:txBody>
      </p:sp>
      <p:sp>
        <p:nvSpPr>
          <p:cNvPr id="311" name="Freeform 205"/>
          <p:cNvSpPr>
            <a:spLocks noChangeAspect="1" noEditPoints="1"/>
          </p:cNvSpPr>
          <p:nvPr/>
        </p:nvSpPr>
        <p:spPr bwMode="auto">
          <a:xfrm>
            <a:off x="1483058" y="4010526"/>
            <a:ext cx="517909" cy="517909"/>
          </a:xfrm>
          <a:custGeom>
            <a:avLst/>
            <a:gdLst>
              <a:gd name="T0" fmla="*/ 0 w 512"/>
              <a:gd name="T1" fmla="*/ 256 h 512"/>
              <a:gd name="T2" fmla="*/ 512 w 512"/>
              <a:gd name="T3" fmla="*/ 256 h 512"/>
              <a:gd name="T4" fmla="*/ 234 w 512"/>
              <a:gd name="T5" fmla="*/ 341 h 512"/>
              <a:gd name="T6" fmla="*/ 213 w 512"/>
              <a:gd name="T7" fmla="*/ 341 h 512"/>
              <a:gd name="T8" fmla="*/ 157 w 512"/>
              <a:gd name="T9" fmla="*/ 370 h 512"/>
              <a:gd name="T10" fmla="*/ 141 w 512"/>
              <a:gd name="T11" fmla="*/ 370 h 512"/>
              <a:gd name="T12" fmla="*/ 198 w 512"/>
              <a:gd name="T13" fmla="*/ 298 h 512"/>
              <a:gd name="T14" fmla="*/ 160 w 512"/>
              <a:gd name="T15" fmla="*/ 288 h 512"/>
              <a:gd name="T16" fmla="*/ 224 w 512"/>
              <a:gd name="T17" fmla="*/ 277 h 512"/>
              <a:gd name="T18" fmla="*/ 234 w 512"/>
              <a:gd name="T19" fmla="*/ 288 h 512"/>
              <a:gd name="T20" fmla="*/ 234 w 512"/>
              <a:gd name="T21" fmla="*/ 341 h 512"/>
              <a:gd name="T22" fmla="*/ 228 w 512"/>
              <a:gd name="T23" fmla="*/ 234 h 512"/>
              <a:gd name="T24" fmla="*/ 170 w 512"/>
              <a:gd name="T25" fmla="*/ 234 h 512"/>
              <a:gd name="T26" fmla="*/ 170 w 512"/>
              <a:gd name="T27" fmla="*/ 213 h 512"/>
              <a:gd name="T28" fmla="*/ 141 w 512"/>
              <a:gd name="T29" fmla="*/ 157 h 512"/>
              <a:gd name="T30" fmla="*/ 157 w 512"/>
              <a:gd name="T31" fmla="*/ 141 h 512"/>
              <a:gd name="T32" fmla="*/ 213 w 512"/>
              <a:gd name="T33" fmla="*/ 170 h 512"/>
              <a:gd name="T34" fmla="*/ 234 w 512"/>
              <a:gd name="T35" fmla="*/ 170 h 512"/>
              <a:gd name="T36" fmla="*/ 370 w 512"/>
              <a:gd name="T37" fmla="*/ 370 h 512"/>
              <a:gd name="T38" fmla="*/ 355 w 512"/>
              <a:gd name="T39" fmla="*/ 370 h 512"/>
              <a:gd name="T40" fmla="*/ 298 w 512"/>
              <a:gd name="T41" fmla="*/ 341 h 512"/>
              <a:gd name="T42" fmla="*/ 277 w 512"/>
              <a:gd name="T43" fmla="*/ 341 h 512"/>
              <a:gd name="T44" fmla="*/ 277 w 512"/>
              <a:gd name="T45" fmla="*/ 288 h 512"/>
              <a:gd name="T46" fmla="*/ 288 w 512"/>
              <a:gd name="T47" fmla="*/ 277 h 512"/>
              <a:gd name="T48" fmla="*/ 352 w 512"/>
              <a:gd name="T49" fmla="*/ 288 h 512"/>
              <a:gd name="T50" fmla="*/ 313 w 512"/>
              <a:gd name="T51" fmla="*/ 298 h 512"/>
              <a:gd name="T52" fmla="*/ 370 w 512"/>
              <a:gd name="T53" fmla="*/ 370 h 512"/>
              <a:gd name="T54" fmla="*/ 313 w 512"/>
              <a:gd name="T55" fmla="*/ 213 h 512"/>
              <a:gd name="T56" fmla="*/ 352 w 512"/>
              <a:gd name="T57" fmla="*/ 224 h 512"/>
              <a:gd name="T58" fmla="*/ 288 w 512"/>
              <a:gd name="T59" fmla="*/ 234 h 512"/>
              <a:gd name="T60" fmla="*/ 277 w 512"/>
              <a:gd name="T61" fmla="*/ 224 h 512"/>
              <a:gd name="T62" fmla="*/ 288 w 512"/>
              <a:gd name="T63" fmla="*/ 160 h 512"/>
              <a:gd name="T64" fmla="*/ 298 w 512"/>
              <a:gd name="T65" fmla="*/ 198 h 512"/>
              <a:gd name="T66" fmla="*/ 370 w 512"/>
              <a:gd name="T67"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341"/>
                </a:moveTo>
                <a:cubicBezTo>
                  <a:pt x="234" y="347"/>
                  <a:pt x="230" y="352"/>
                  <a:pt x="224" y="352"/>
                </a:cubicBezTo>
                <a:cubicBezTo>
                  <a:pt x="218" y="352"/>
                  <a:pt x="213" y="347"/>
                  <a:pt x="213" y="341"/>
                </a:cubicBezTo>
                <a:cubicBezTo>
                  <a:pt x="213" y="313"/>
                  <a:pt x="213" y="313"/>
                  <a:pt x="213" y="313"/>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8" y="298"/>
                  <a:pt x="198" y="298"/>
                  <a:pt x="198" y="298"/>
                </a:cubicBezTo>
                <a:cubicBezTo>
                  <a:pt x="170" y="298"/>
                  <a:pt x="170" y="298"/>
                  <a:pt x="170" y="298"/>
                </a:cubicBezTo>
                <a:cubicBezTo>
                  <a:pt x="164" y="298"/>
                  <a:pt x="160" y="294"/>
                  <a:pt x="160" y="288"/>
                </a:cubicBezTo>
                <a:cubicBezTo>
                  <a:pt x="160" y="282"/>
                  <a:pt x="164" y="277"/>
                  <a:pt x="170" y="277"/>
                </a:cubicBezTo>
                <a:cubicBezTo>
                  <a:pt x="224" y="277"/>
                  <a:pt x="224" y="277"/>
                  <a:pt x="224" y="277"/>
                </a:cubicBezTo>
                <a:cubicBezTo>
                  <a:pt x="228" y="277"/>
                  <a:pt x="232" y="280"/>
                  <a:pt x="234" y="284"/>
                </a:cubicBezTo>
                <a:cubicBezTo>
                  <a:pt x="234" y="285"/>
                  <a:pt x="234" y="286"/>
                  <a:pt x="234" y="288"/>
                </a:cubicBezTo>
                <a:cubicBezTo>
                  <a:pt x="234" y="288"/>
                  <a:pt x="234" y="288"/>
                  <a:pt x="234" y="288"/>
                </a:cubicBezTo>
                <a:lnTo>
                  <a:pt x="234" y="341"/>
                </a:lnTo>
                <a:close/>
                <a:moveTo>
                  <a:pt x="234" y="224"/>
                </a:moveTo>
                <a:cubicBezTo>
                  <a:pt x="234" y="228"/>
                  <a:pt x="232" y="232"/>
                  <a:pt x="228" y="234"/>
                </a:cubicBezTo>
                <a:cubicBezTo>
                  <a:pt x="226" y="234"/>
                  <a:pt x="225" y="234"/>
                  <a:pt x="224" y="234"/>
                </a:cubicBezTo>
                <a:cubicBezTo>
                  <a:pt x="170" y="234"/>
                  <a:pt x="170" y="234"/>
                  <a:pt x="170" y="234"/>
                </a:cubicBezTo>
                <a:cubicBezTo>
                  <a:pt x="164" y="234"/>
                  <a:pt x="160" y="230"/>
                  <a:pt x="160" y="224"/>
                </a:cubicBezTo>
                <a:cubicBezTo>
                  <a:pt x="160" y="218"/>
                  <a:pt x="164" y="213"/>
                  <a:pt x="170" y="213"/>
                </a:cubicBezTo>
                <a:cubicBezTo>
                  <a:pt x="198" y="213"/>
                  <a:pt x="198" y="213"/>
                  <a:pt x="198" y="213"/>
                </a:cubicBezTo>
                <a:cubicBezTo>
                  <a:pt x="141" y="157"/>
                  <a:pt x="141" y="157"/>
                  <a:pt x="141" y="157"/>
                </a:cubicBezTo>
                <a:cubicBezTo>
                  <a:pt x="137" y="152"/>
                  <a:pt x="137" y="146"/>
                  <a:pt x="141" y="141"/>
                </a:cubicBezTo>
                <a:cubicBezTo>
                  <a:pt x="146" y="137"/>
                  <a:pt x="152" y="137"/>
                  <a:pt x="157" y="141"/>
                </a:cubicBezTo>
                <a:cubicBezTo>
                  <a:pt x="213" y="198"/>
                  <a:pt x="213" y="198"/>
                  <a:pt x="213" y="198"/>
                </a:cubicBezTo>
                <a:cubicBezTo>
                  <a:pt x="213" y="170"/>
                  <a:pt x="213" y="170"/>
                  <a:pt x="213" y="170"/>
                </a:cubicBezTo>
                <a:cubicBezTo>
                  <a:pt x="213" y="164"/>
                  <a:pt x="218" y="160"/>
                  <a:pt x="224" y="160"/>
                </a:cubicBezTo>
                <a:cubicBezTo>
                  <a:pt x="230" y="160"/>
                  <a:pt x="234" y="164"/>
                  <a:pt x="234" y="170"/>
                </a:cubicBezTo>
                <a:lnTo>
                  <a:pt x="234" y="224"/>
                </a:lnTo>
                <a:close/>
                <a:moveTo>
                  <a:pt x="370" y="370"/>
                </a:moveTo>
                <a:cubicBezTo>
                  <a:pt x="368" y="372"/>
                  <a:pt x="365" y="373"/>
                  <a:pt x="362" y="373"/>
                </a:cubicBezTo>
                <a:cubicBezTo>
                  <a:pt x="360" y="373"/>
                  <a:pt x="357" y="372"/>
                  <a:pt x="355" y="370"/>
                </a:cubicBezTo>
                <a:cubicBezTo>
                  <a:pt x="298" y="313"/>
                  <a:pt x="298" y="313"/>
                  <a:pt x="298" y="313"/>
                </a:cubicBezTo>
                <a:cubicBezTo>
                  <a:pt x="298" y="341"/>
                  <a:pt x="298" y="341"/>
                  <a:pt x="298" y="341"/>
                </a:cubicBezTo>
                <a:cubicBezTo>
                  <a:pt x="298" y="347"/>
                  <a:pt x="294" y="352"/>
                  <a:pt x="288" y="352"/>
                </a:cubicBezTo>
                <a:cubicBezTo>
                  <a:pt x="282" y="352"/>
                  <a:pt x="277" y="347"/>
                  <a:pt x="277" y="341"/>
                </a:cubicBezTo>
                <a:cubicBezTo>
                  <a:pt x="277" y="288"/>
                  <a:pt x="277" y="288"/>
                  <a:pt x="277" y="288"/>
                </a:cubicBezTo>
                <a:cubicBezTo>
                  <a:pt x="277" y="288"/>
                  <a:pt x="277" y="288"/>
                  <a:pt x="277" y="288"/>
                </a:cubicBezTo>
                <a:cubicBezTo>
                  <a:pt x="277" y="286"/>
                  <a:pt x="277" y="285"/>
                  <a:pt x="278" y="284"/>
                </a:cubicBezTo>
                <a:cubicBezTo>
                  <a:pt x="279" y="280"/>
                  <a:pt x="283" y="277"/>
                  <a:pt x="288" y="277"/>
                </a:cubicBezTo>
                <a:cubicBezTo>
                  <a:pt x="341" y="277"/>
                  <a:pt x="341" y="277"/>
                  <a:pt x="341" y="277"/>
                </a:cubicBezTo>
                <a:cubicBezTo>
                  <a:pt x="347" y="277"/>
                  <a:pt x="352" y="282"/>
                  <a:pt x="352" y="288"/>
                </a:cubicBezTo>
                <a:cubicBezTo>
                  <a:pt x="352" y="294"/>
                  <a:pt x="347" y="298"/>
                  <a:pt x="341" y="298"/>
                </a:cubicBezTo>
                <a:cubicBezTo>
                  <a:pt x="313" y="298"/>
                  <a:pt x="313" y="298"/>
                  <a:pt x="313" y="298"/>
                </a:cubicBezTo>
                <a:cubicBezTo>
                  <a:pt x="370" y="355"/>
                  <a:pt x="370" y="355"/>
                  <a:pt x="370" y="355"/>
                </a:cubicBezTo>
                <a:cubicBezTo>
                  <a:pt x="374" y="359"/>
                  <a:pt x="374" y="366"/>
                  <a:pt x="370" y="370"/>
                </a:cubicBezTo>
                <a:close/>
                <a:moveTo>
                  <a:pt x="370" y="157"/>
                </a:moveTo>
                <a:cubicBezTo>
                  <a:pt x="313" y="213"/>
                  <a:pt x="313" y="213"/>
                  <a:pt x="313" y="213"/>
                </a:cubicBezTo>
                <a:cubicBezTo>
                  <a:pt x="341" y="213"/>
                  <a:pt x="341" y="213"/>
                  <a:pt x="341" y="213"/>
                </a:cubicBezTo>
                <a:cubicBezTo>
                  <a:pt x="347" y="213"/>
                  <a:pt x="352" y="218"/>
                  <a:pt x="352" y="224"/>
                </a:cubicBezTo>
                <a:cubicBezTo>
                  <a:pt x="352" y="230"/>
                  <a:pt x="347" y="234"/>
                  <a:pt x="341" y="234"/>
                </a:cubicBezTo>
                <a:cubicBezTo>
                  <a:pt x="288" y="234"/>
                  <a:pt x="288" y="234"/>
                  <a:pt x="288" y="234"/>
                </a:cubicBezTo>
                <a:cubicBezTo>
                  <a:pt x="286" y="234"/>
                  <a:pt x="285" y="234"/>
                  <a:pt x="284" y="234"/>
                </a:cubicBezTo>
                <a:cubicBezTo>
                  <a:pt x="280" y="232"/>
                  <a:pt x="277" y="228"/>
                  <a:pt x="277" y="224"/>
                </a:cubicBezTo>
                <a:cubicBezTo>
                  <a:pt x="277" y="170"/>
                  <a:pt x="277" y="170"/>
                  <a:pt x="277" y="170"/>
                </a:cubicBezTo>
                <a:cubicBezTo>
                  <a:pt x="277" y="164"/>
                  <a:pt x="282" y="160"/>
                  <a:pt x="288" y="160"/>
                </a:cubicBezTo>
                <a:cubicBezTo>
                  <a:pt x="294" y="160"/>
                  <a:pt x="298" y="164"/>
                  <a:pt x="298" y="170"/>
                </a:cubicBezTo>
                <a:cubicBezTo>
                  <a:pt x="298" y="198"/>
                  <a:pt x="298" y="198"/>
                  <a:pt x="298" y="198"/>
                </a:cubicBezTo>
                <a:cubicBezTo>
                  <a:pt x="355" y="141"/>
                  <a:pt x="355" y="141"/>
                  <a:pt x="355" y="141"/>
                </a:cubicBezTo>
                <a:cubicBezTo>
                  <a:pt x="359" y="137"/>
                  <a:pt x="366" y="137"/>
                  <a:pt x="370" y="141"/>
                </a:cubicBezTo>
                <a:cubicBezTo>
                  <a:pt x="374" y="146"/>
                  <a:pt x="374" y="152"/>
                  <a:pt x="370" y="157"/>
                </a:cubicBezTo>
                <a:close/>
              </a:path>
            </a:pathLst>
          </a:custGeom>
          <a:solidFill>
            <a:schemeClr val="accent6"/>
          </a:solidFill>
          <a:ln>
            <a:noFill/>
          </a:ln>
        </p:spPr>
        <p:txBody>
          <a:bodyPr vert="horz" wrap="square" lIns="62345" tIns="31173" rIns="62345" bIns="31173" numCol="1" anchor="t" anchorCtr="0" compatLnSpc="1">
            <a:prstTxWarp prst="textNoShape">
              <a:avLst/>
            </a:prstTxWarp>
          </a:bodyPr>
          <a:lstStyle/>
          <a:p>
            <a:endParaRPr lang="en-GB" sz="1227"/>
          </a:p>
        </p:txBody>
      </p:sp>
      <p:sp>
        <p:nvSpPr>
          <p:cNvPr id="189" name="矩形 188"/>
          <p:cNvSpPr/>
          <p:nvPr/>
        </p:nvSpPr>
        <p:spPr bwMode="gray">
          <a:xfrm>
            <a:off x="6213456" y="4091005"/>
            <a:ext cx="4760112" cy="324147"/>
          </a:xfrm>
          <a:prstGeom prst="rect">
            <a:avLst/>
          </a:prstGeom>
          <a:solidFill>
            <a:srgbClr val="005587"/>
          </a:solidFill>
          <a:ln w="19050" algn="ctr">
            <a:noFill/>
            <a:miter lim="800000"/>
            <a:headEnd/>
            <a:tailEnd/>
          </a:ln>
        </p:spPr>
        <p:txBody>
          <a:bodyPr wrap="square" lIns="981818" tIns="60614" rIns="60614" bIns="60614" rtlCol="0" anchor="ctr"/>
          <a:lstStyle/>
          <a:p>
            <a:pPr>
              <a:lnSpc>
                <a:spcPct val="106000"/>
              </a:lnSpc>
              <a:buFont typeface="Wingdings 2" pitchFamily="18" charset="2"/>
              <a:buNone/>
            </a:pPr>
            <a:r>
              <a:rPr lang="en-US" altLang="zh-CN" sz="955" b="1" dirty="0">
                <a:solidFill>
                  <a:schemeClr val="bg1"/>
                </a:solidFill>
              </a:rPr>
              <a:t>Lorem ipsum dolor sit </a:t>
            </a:r>
            <a:r>
              <a:rPr lang="en-US" altLang="zh-CN" sz="955" b="1" dirty="0" err="1">
                <a:solidFill>
                  <a:schemeClr val="bg1"/>
                </a:solidFill>
              </a:rPr>
              <a:t>amet</a:t>
            </a:r>
            <a:r>
              <a:rPr lang="en-US" altLang="zh-CN" sz="955" b="1" dirty="0">
                <a:solidFill>
                  <a:schemeClr val="bg1"/>
                </a:solidFill>
              </a:rPr>
              <a:t>, co</a:t>
            </a:r>
          </a:p>
        </p:txBody>
      </p:sp>
      <p:sp>
        <p:nvSpPr>
          <p:cNvPr id="190" name="椭圆 189"/>
          <p:cNvSpPr/>
          <p:nvPr/>
        </p:nvSpPr>
        <p:spPr bwMode="gray">
          <a:xfrm>
            <a:off x="6468552" y="3994187"/>
            <a:ext cx="550587" cy="550587"/>
          </a:xfrm>
          <a:prstGeom prst="ellipse">
            <a:avLst/>
          </a:prstGeom>
          <a:solidFill>
            <a:srgbClr val="FFFFFF"/>
          </a:solidFill>
          <a:ln w="19050" algn="ctr">
            <a:solidFill>
              <a:srgbClr val="FFFFFF"/>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zh-CN" altLang="en-US" sz="955" b="1" dirty="0">
              <a:solidFill>
                <a:schemeClr val="bg1"/>
              </a:solidFill>
            </a:endParaRPr>
          </a:p>
        </p:txBody>
      </p:sp>
      <p:grpSp>
        <p:nvGrpSpPr>
          <p:cNvPr id="4" name="Group 5"/>
          <p:cNvGrpSpPr>
            <a:grpSpLocks noChangeAspect="1"/>
          </p:cNvGrpSpPr>
          <p:nvPr/>
        </p:nvGrpSpPr>
        <p:grpSpPr bwMode="auto">
          <a:xfrm>
            <a:off x="10889344" y="226910"/>
            <a:ext cx="739660" cy="880121"/>
            <a:chOff x="4643" y="318"/>
            <a:chExt cx="495" cy="589"/>
          </a:xfrm>
        </p:grpSpPr>
        <p:sp>
          <p:nvSpPr>
            <p:cNvPr id="5" name="AutoShape 4"/>
            <p:cNvSpPr>
              <a:spLocks noChangeAspect="1" noChangeArrowheads="1" noTextEdit="1"/>
            </p:cNvSpPr>
            <p:nvPr/>
          </p:nvSpPr>
          <p:spPr bwMode="auto">
            <a:xfrm>
              <a:off x="4643" y="318"/>
              <a:ext cx="495"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6" name="Rectangle 6"/>
            <p:cNvSpPr>
              <a:spLocks noChangeArrowheads="1"/>
            </p:cNvSpPr>
            <p:nvPr/>
          </p:nvSpPr>
          <p:spPr bwMode="auto">
            <a:xfrm>
              <a:off x="4806" y="475"/>
              <a:ext cx="169" cy="20"/>
            </a:xfrm>
            <a:prstGeom prst="rect">
              <a:avLst/>
            </a:prstGeom>
            <a:solidFill>
              <a:srgbClr val="6366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7" name="Rectangle 7"/>
            <p:cNvSpPr>
              <a:spLocks noChangeArrowheads="1"/>
            </p:cNvSpPr>
            <p:nvPr/>
          </p:nvSpPr>
          <p:spPr bwMode="auto">
            <a:xfrm>
              <a:off x="4891" y="475"/>
              <a:ext cx="84" cy="20"/>
            </a:xfrm>
            <a:prstGeom prst="rect">
              <a:avLst/>
            </a:prstGeom>
            <a:solidFill>
              <a:srgbClr val="5356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8" name="Freeform 8"/>
            <p:cNvSpPr>
              <a:spLocks noEditPoints="1"/>
            </p:cNvSpPr>
            <p:nvPr/>
          </p:nvSpPr>
          <p:spPr bwMode="auto">
            <a:xfrm>
              <a:off x="4644" y="317"/>
              <a:ext cx="493" cy="590"/>
            </a:xfrm>
            <a:custGeom>
              <a:avLst/>
              <a:gdLst>
                <a:gd name="T0" fmla="*/ 871 w 916"/>
                <a:gd name="T1" fmla="*/ 555 h 1093"/>
                <a:gd name="T2" fmla="*/ 825 w 916"/>
                <a:gd name="T3" fmla="*/ 630 h 1093"/>
                <a:gd name="T4" fmla="*/ 857 w 916"/>
                <a:gd name="T5" fmla="*/ 630 h 1093"/>
                <a:gd name="T6" fmla="*/ 521 w 916"/>
                <a:gd name="T7" fmla="*/ 899 h 1093"/>
                <a:gd name="T8" fmla="*/ 473 w 916"/>
                <a:gd name="T9" fmla="*/ 230 h 1093"/>
                <a:gd name="T10" fmla="*/ 579 w 916"/>
                <a:gd name="T11" fmla="*/ 115 h 1093"/>
                <a:gd name="T12" fmla="*/ 458 w 916"/>
                <a:gd name="T13" fmla="*/ 0 h 1093"/>
                <a:gd name="T14" fmla="*/ 337 w 916"/>
                <a:gd name="T15" fmla="*/ 115 h 1093"/>
                <a:gd name="T16" fmla="*/ 438 w 916"/>
                <a:gd name="T17" fmla="*/ 230 h 1093"/>
                <a:gd name="T18" fmla="*/ 391 w 916"/>
                <a:gd name="T19" fmla="*/ 898 h 1093"/>
                <a:gd name="T20" fmla="*/ 60 w 916"/>
                <a:gd name="T21" fmla="*/ 630 h 1093"/>
                <a:gd name="T22" fmla="*/ 91 w 916"/>
                <a:gd name="T23" fmla="*/ 630 h 1093"/>
                <a:gd name="T24" fmla="*/ 46 w 916"/>
                <a:gd name="T25" fmla="*/ 555 h 1093"/>
                <a:gd name="T26" fmla="*/ 0 w 916"/>
                <a:gd name="T27" fmla="*/ 630 h 1093"/>
                <a:gd name="T28" fmla="*/ 31 w 916"/>
                <a:gd name="T29" fmla="*/ 630 h 1093"/>
                <a:gd name="T30" fmla="*/ 414 w 916"/>
                <a:gd name="T31" fmla="*/ 1020 h 1093"/>
                <a:gd name="T32" fmla="*/ 458 w 916"/>
                <a:gd name="T33" fmla="*/ 1093 h 1093"/>
                <a:gd name="T34" fmla="*/ 502 w 916"/>
                <a:gd name="T35" fmla="*/ 1020 h 1093"/>
                <a:gd name="T36" fmla="*/ 886 w 916"/>
                <a:gd name="T37" fmla="*/ 630 h 1093"/>
                <a:gd name="T38" fmla="*/ 916 w 916"/>
                <a:gd name="T39" fmla="*/ 630 h 1093"/>
                <a:gd name="T40" fmla="*/ 871 w 916"/>
                <a:gd name="T41" fmla="*/ 555 h 1093"/>
                <a:gd name="T42" fmla="*/ 389 w 916"/>
                <a:gd name="T43" fmla="*/ 115 h 1093"/>
                <a:gd name="T44" fmla="*/ 458 w 916"/>
                <a:gd name="T45" fmla="*/ 49 h 1093"/>
                <a:gd name="T46" fmla="*/ 527 w 916"/>
                <a:gd name="T47" fmla="*/ 115 h 1093"/>
                <a:gd name="T48" fmla="*/ 458 w 916"/>
                <a:gd name="T49" fmla="*/ 182 h 1093"/>
                <a:gd name="T50" fmla="*/ 389 w 916"/>
                <a:gd name="T51" fmla="*/ 115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6" h="1093">
                  <a:moveTo>
                    <a:pt x="871" y="555"/>
                  </a:moveTo>
                  <a:cubicBezTo>
                    <a:pt x="825" y="630"/>
                    <a:pt x="825" y="630"/>
                    <a:pt x="825" y="630"/>
                  </a:cubicBezTo>
                  <a:cubicBezTo>
                    <a:pt x="857" y="630"/>
                    <a:pt x="857" y="630"/>
                    <a:pt x="857" y="630"/>
                  </a:cubicBezTo>
                  <a:cubicBezTo>
                    <a:pt x="801" y="772"/>
                    <a:pt x="674" y="877"/>
                    <a:pt x="521" y="899"/>
                  </a:cubicBezTo>
                  <a:cubicBezTo>
                    <a:pt x="473" y="230"/>
                    <a:pt x="473" y="230"/>
                    <a:pt x="473" y="230"/>
                  </a:cubicBezTo>
                  <a:cubicBezTo>
                    <a:pt x="533" y="223"/>
                    <a:pt x="579" y="174"/>
                    <a:pt x="579" y="115"/>
                  </a:cubicBezTo>
                  <a:cubicBezTo>
                    <a:pt x="579" y="51"/>
                    <a:pt x="525" y="0"/>
                    <a:pt x="458" y="0"/>
                  </a:cubicBezTo>
                  <a:cubicBezTo>
                    <a:pt x="391" y="0"/>
                    <a:pt x="337" y="51"/>
                    <a:pt x="337" y="115"/>
                  </a:cubicBezTo>
                  <a:cubicBezTo>
                    <a:pt x="337" y="173"/>
                    <a:pt x="381" y="221"/>
                    <a:pt x="438" y="230"/>
                  </a:cubicBezTo>
                  <a:cubicBezTo>
                    <a:pt x="391" y="898"/>
                    <a:pt x="391" y="898"/>
                    <a:pt x="391" y="898"/>
                  </a:cubicBezTo>
                  <a:cubicBezTo>
                    <a:pt x="240" y="874"/>
                    <a:pt x="115" y="770"/>
                    <a:pt x="60" y="630"/>
                  </a:cubicBezTo>
                  <a:cubicBezTo>
                    <a:pt x="91" y="630"/>
                    <a:pt x="91" y="630"/>
                    <a:pt x="91" y="630"/>
                  </a:cubicBezTo>
                  <a:cubicBezTo>
                    <a:pt x="46" y="555"/>
                    <a:pt x="46" y="555"/>
                    <a:pt x="46" y="555"/>
                  </a:cubicBezTo>
                  <a:cubicBezTo>
                    <a:pt x="0" y="630"/>
                    <a:pt x="0" y="630"/>
                    <a:pt x="0" y="630"/>
                  </a:cubicBezTo>
                  <a:cubicBezTo>
                    <a:pt x="31" y="630"/>
                    <a:pt x="31" y="630"/>
                    <a:pt x="31" y="630"/>
                  </a:cubicBezTo>
                  <a:cubicBezTo>
                    <a:pt x="51" y="836"/>
                    <a:pt x="212" y="999"/>
                    <a:pt x="414" y="1020"/>
                  </a:cubicBezTo>
                  <a:cubicBezTo>
                    <a:pt x="458" y="1093"/>
                    <a:pt x="458" y="1093"/>
                    <a:pt x="458" y="1093"/>
                  </a:cubicBezTo>
                  <a:cubicBezTo>
                    <a:pt x="502" y="1020"/>
                    <a:pt x="502" y="1020"/>
                    <a:pt x="502" y="1020"/>
                  </a:cubicBezTo>
                  <a:cubicBezTo>
                    <a:pt x="705" y="999"/>
                    <a:pt x="865" y="836"/>
                    <a:pt x="886" y="630"/>
                  </a:cubicBezTo>
                  <a:cubicBezTo>
                    <a:pt x="916" y="630"/>
                    <a:pt x="916" y="630"/>
                    <a:pt x="916" y="630"/>
                  </a:cubicBezTo>
                  <a:lnTo>
                    <a:pt x="871" y="555"/>
                  </a:lnTo>
                  <a:close/>
                  <a:moveTo>
                    <a:pt x="389" y="115"/>
                  </a:moveTo>
                  <a:cubicBezTo>
                    <a:pt x="389" y="79"/>
                    <a:pt x="420" y="49"/>
                    <a:pt x="458" y="49"/>
                  </a:cubicBezTo>
                  <a:cubicBezTo>
                    <a:pt x="496" y="49"/>
                    <a:pt x="527" y="79"/>
                    <a:pt x="527" y="115"/>
                  </a:cubicBezTo>
                  <a:cubicBezTo>
                    <a:pt x="527" y="152"/>
                    <a:pt x="496" y="182"/>
                    <a:pt x="458" y="182"/>
                  </a:cubicBezTo>
                  <a:cubicBezTo>
                    <a:pt x="420" y="182"/>
                    <a:pt x="389" y="152"/>
                    <a:pt x="389" y="115"/>
                  </a:cubicBezTo>
                  <a:close/>
                </a:path>
              </a:pathLst>
            </a:custGeom>
            <a:solidFill>
              <a:srgbClr val="9799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9" name="Freeform 9"/>
            <p:cNvSpPr>
              <a:spLocks/>
            </p:cNvSpPr>
            <p:nvPr/>
          </p:nvSpPr>
          <p:spPr bwMode="auto">
            <a:xfrm>
              <a:off x="4891" y="317"/>
              <a:ext cx="246" cy="590"/>
            </a:xfrm>
            <a:custGeom>
              <a:avLst/>
              <a:gdLst>
                <a:gd name="T0" fmla="*/ 69 w 458"/>
                <a:gd name="T1" fmla="*/ 115 h 1093"/>
                <a:gd name="T2" fmla="*/ 0 w 458"/>
                <a:gd name="T3" fmla="*/ 182 h 1093"/>
                <a:gd name="T4" fmla="*/ 0 w 458"/>
                <a:gd name="T5" fmla="*/ 1093 h 1093"/>
                <a:gd name="T6" fmla="*/ 44 w 458"/>
                <a:gd name="T7" fmla="*/ 1020 h 1093"/>
                <a:gd name="T8" fmla="*/ 428 w 458"/>
                <a:gd name="T9" fmla="*/ 630 h 1093"/>
                <a:gd name="T10" fmla="*/ 458 w 458"/>
                <a:gd name="T11" fmla="*/ 630 h 1093"/>
                <a:gd name="T12" fmla="*/ 413 w 458"/>
                <a:gd name="T13" fmla="*/ 555 h 1093"/>
                <a:gd name="T14" fmla="*/ 367 w 458"/>
                <a:gd name="T15" fmla="*/ 630 h 1093"/>
                <a:gd name="T16" fmla="*/ 399 w 458"/>
                <a:gd name="T17" fmla="*/ 630 h 1093"/>
                <a:gd name="T18" fmla="*/ 63 w 458"/>
                <a:gd name="T19" fmla="*/ 899 h 1093"/>
                <a:gd name="T20" fmla="*/ 15 w 458"/>
                <a:gd name="T21" fmla="*/ 230 h 1093"/>
                <a:gd name="T22" fmla="*/ 121 w 458"/>
                <a:gd name="T23" fmla="*/ 115 h 1093"/>
                <a:gd name="T24" fmla="*/ 0 w 458"/>
                <a:gd name="T25" fmla="*/ 0 h 1093"/>
                <a:gd name="T26" fmla="*/ 0 w 458"/>
                <a:gd name="T27" fmla="*/ 49 h 1093"/>
                <a:gd name="T28" fmla="*/ 69 w 458"/>
                <a:gd name="T29" fmla="*/ 115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8" h="1093">
                  <a:moveTo>
                    <a:pt x="69" y="115"/>
                  </a:moveTo>
                  <a:cubicBezTo>
                    <a:pt x="69" y="152"/>
                    <a:pt x="38" y="182"/>
                    <a:pt x="0" y="182"/>
                  </a:cubicBezTo>
                  <a:cubicBezTo>
                    <a:pt x="0" y="1093"/>
                    <a:pt x="0" y="1093"/>
                    <a:pt x="0" y="1093"/>
                  </a:cubicBezTo>
                  <a:cubicBezTo>
                    <a:pt x="44" y="1020"/>
                    <a:pt x="44" y="1020"/>
                    <a:pt x="44" y="1020"/>
                  </a:cubicBezTo>
                  <a:cubicBezTo>
                    <a:pt x="247" y="999"/>
                    <a:pt x="407" y="836"/>
                    <a:pt x="428" y="630"/>
                  </a:cubicBezTo>
                  <a:cubicBezTo>
                    <a:pt x="458" y="630"/>
                    <a:pt x="458" y="630"/>
                    <a:pt x="458" y="630"/>
                  </a:cubicBezTo>
                  <a:cubicBezTo>
                    <a:pt x="413" y="555"/>
                    <a:pt x="413" y="555"/>
                    <a:pt x="413" y="555"/>
                  </a:cubicBezTo>
                  <a:cubicBezTo>
                    <a:pt x="367" y="630"/>
                    <a:pt x="367" y="630"/>
                    <a:pt x="367" y="630"/>
                  </a:cubicBezTo>
                  <a:cubicBezTo>
                    <a:pt x="399" y="630"/>
                    <a:pt x="399" y="630"/>
                    <a:pt x="399" y="630"/>
                  </a:cubicBezTo>
                  <a:cubicBezTo>
                    <a:pt x="343" y="772"/>
                    <a:pt x="216" y="876"/>
                    <a:pt x="63" y="899"/>
                  </a:cubicBezTo>
                  <a:cubicBezTo>
                    <a:pt x="15" y="230"/>
                    <a:pt x="15" y="230"/>
                    <a:pt x="15" y="230"/>
                  </a:cubicBezTo>
                  <a:cubicBezTo>
                    <a:pt x="75" y="223"/>
                    <a:pt x="121" y="174"/>
                    <a:pt x="121" y="115"/>
                  </a:cubicBezTo>
                  <a:cubicBezTo>
                    <a:pt x="121" y="51"/>
                    <a:pt x="67" y="0"/>
                    <a:pt x="0" y="0"/>
                  </a:cubicBezTo>
                  <a:cubicBezTo>
                    <a:pt x="0" y="49"/>
                    <a:pt x="0" y="49"/>
                    <a:pt x="0" y="49"/>
                  </a:cubicBezTo>
                  <a:cubicBezTo>
                    <a:pt x="38" y="49"/>
                    <a:pt x="69" y="79"/>
                    <a:pt x="69" y="115"/>
                  </a:cubicBezTo>
                  <a:close/>
                </a:path>
              </a:pathLst>
            </a:custGeom>
            <a:solidFill>
              <a:srgbClr val="7578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10" name="Freeform 10"/>
            <p:cNvSpPr>
              <a:spLocks/>
            </p:cNvSpPr>
            <p:nvPr/>
          </p:nvSpPr>
          <p:spPr bwMode="auto">
            <a:xfrm>
              <a:off x="4879" y="441"/>
              <a:ext cx="21" cy="15"/>
            </a:xfrm>
            <a:custGeom>
              <a:avLst/>
              <a:gdLst>
                <a:gd name="T0" fmla="*/ 21 w 38"/>
                <a:gd name="T1" fmla="*/ 27 h 27"/>
                <a:gd name="T2" fmla="*/ 38 w 38"/>
                <a:gd name="T3" fmla="*/ 26 h 27"/>
                <a:gd name="T4" fmla="*/ 36 w 38"/>
                <a:gd name="T5" fmla="*/ 1 h 27"/>
                <a:gd name="T6" fmla="*/ 21 w 38"/>
                <a:gd name="T7" fmla="*/ 2 h 27"/>
                <a:gd name="T8" fmla="*/ 1 w 38"/>
                <a:gd name="T9" fmla="*/ 1 h 27"/>
                <a:gd name="T10" fmla="*/ 0 w 38"/>
                <a:gd name="T11" fmla="*/ 25 h 27"/>
                <a:gd name="T12" fmla="*/ 21 w 38"/>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38" h="27">
                  <a:moveTo>
                    <a:pt x="21" y="27"/>
                  </a:moveTo>
                  <a:cubicBezTo>
                    <a:pt x="27" y="27"/>
                    <a:pt x="32" y="26"/>
                    <a:pt x="38" y="26"/>
                  </a:cubicBezTo>
                  <a:cubicBezTo>
                    <a:pt x="36" y="1"/>
                    <a:pt x="36" y="1"/>
                    <a:pt x="36" y="1"/>
                  </a:cubicBezTo>
                  <a:cubicBezTo>
                    <a:pt x="36" y="1"/>
                    <a:pt x="26" y="2"/>
                    <a:pt x="21" y="2"/>
                  </a:cubicBezTo>
                  <a:cubicBezTo>
                    <a:pt x="14" y="2"/>
                    <a:pt x="1" y="0"/>
                    <a:pt x="1" y="1"/>
                  </a:cubicBezTo>
                  <a:cubicBezTo>
                    <a:pt x="0" y="25"/>
                    <a:pt x="0" y="25"/>
                    <a:pt x="0" y="25"/>
                  </a:cubicBezTo>
                  <a:cubicBezTo>
                    <a:pt x="7" y="26"/>
                    <a:pt x="14" y="27"/>
                    <a:pt x="21" y="27"/>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11" name="Freeform 11"/>
            <p:cNvSpPr>
              <a:spLocks/>
            </p:cNvSpPr>
            <p:nvPr/>
          </p:nvSpPr>
          <p:spPr bwMode="auto">
            <a:xfrm>
              <a:off x="4676" y="657"/>
              <a:ext cx="178" cy="165"/>
            </a:xfrm>
            <a:custGeom>
              <a:avLst/>
              <a:gdLst>
                <a:gd name="T0" fmla="*/ 0 w 331"/>
                <a:gd name="T1" fmla="*/ 0 h 305"/>
                <a:gd name="T2" fmla="*/ 328 w 331"/>
                <a:gd name="T3" fmla="*/ 305 h 305"/>
                <a:gd name="T4" fmla="*/ 331 w 331"/>
                <a:gd name="T5" fmla="*/ 268 h 305"/>
                <a:gd name="T6" fmla="*/ 0 w 331"/>
                <a:gd name="T7" fmla="*/ 0 h 305"/>
              </a:gdLst>
              <a:ahLst/>
              <a:cxnLst>
                <a:cxn ang="0">
                  <a:pos x="T0" y="T1"/>
                </a:cxn>
                <a:cxn ang="0">
                  <a:pos x="T2" y="T3"/>
                </a:cxn>
                <a:cxn ang="0">
                  <a:pos x="T4" y="T5"/>
                </a:cxn>
                <a:cxn ang="0">
                  <a:pos x="T6" y="T7"/>
                </a:cxn>
              </a:cxnLst>
              <a:rect l="0" t="0" r="r" b="b"/>
              <a:pathLst>
                <a:path w="331" h="305">
                  <a:moveTo>
                    <a:pt x="0" y="0"/>
                  </a:moveTo>
                  <a:cubicBezTo>
                    <a:pt x="0" y="0"/>
                    <a:pt x="30" y="254"/>
                    <a:pt x="328" y="305"/>
                  </a:cubicBezTo>
                  <a:cubicBezTo>
                    <a:pt x="331" y="268"/>
                    <a:pt x="331" y="268"/>
                    <a:pt x="331" y="268"/>
                  </a:cubicBezTo>
                  <a:cubicBezTo>
                    <a:pt x="331" y="268"/>
                    <a:pt x="98" y="239"/>
                    <a:pt x="0" y="0"/>
                  </a:cubicBezTo>
                  <a:close/>
                </a:path>
              </a:pathLst>
            </a:custGeom>
            <a:solidFill>
              <a:srgbClr val="6366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12" name="Freeform 12"/>
            <p:cNvSpPr>
              <a:spLocks/>
            </p:cNvSpPr>
            <p:nvPr/>
          </p:nvSpPr>
          <p:spPr bwMode="auto">
            <a:xfrm>
              <a:off x="4925" y="657"/>
              <a:ext cx="181" cy="165"/>
            </a:xfrm>
            <a:custGeom>
              <a:avLst/>
              <a:gdLst>
                <a:gd name="T0" fmla="*/ 336 w 336"/>
                <a:gd name="T1" fmla="*/ 0 h 305"/>
                <a:gd name="T2" fmla="*/ 2 w 336"/>
                <a:gd name="T3" fmla="*/ 305 h 305"/>
                <a:gd name="T4" fmla="*/ 0 w 336"/>
                <a:gd name="T5" fmla="*/ 268 h 305"/>
                <a:gd name="T6" fmla="*/ 336 w 336"/>
                <a:gd name="T7" fmla="*/ 0 h 305"/>
              </a:gdLst>
              <a:ahLst/>
              <a:cxnLst>
                <a:cxn ang="0">
                  <a:pos x="T0" y="T1"/>
                </a:cxn>
                <a:cxn ang="0">
                  <a:pos x="T2" y="T3"/>
                </a:cxn>
                <a:cxn ang="0">
                  <a:pos x="T4" y="T5"/>
                </a:cxn>
                <a:cxn ang="0">
                  <a:pos x="T6" y="T7"/>
                </a:cxn>
              </a:cxnLst>
              <a:rect l="0" t="0" r="r" b="b"/>
              <a:pathLst>
                <a:path w="336" h="305">
                  <a:moveTo>
                    <a:pt x="336" y="0"/>
                  </a:moveTo>
                  <a:cubicBezTo>
                    <a:pt x="336" y="0"/>
                    <a:pt x="300" y="254"/>
                    <a:pt x="2" y="305"/>
                  </a:cubicBezTo>
                  <a:cubicBezTo>
                    <a:pt x="0" y="268"/>
                    <a:pt x="0" y="268"/>
                    <a:pt x="0" y="268"/>
                  </a:cubicBezTo>
                  <a:cubicBezTo>
                    <a:pt x="0" y="268"/>
                    <a:pt x="237" y="239"/>
                    <a:pt x="336" y="0"/>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13" name="Freeform 13"/>
            <p:cNvSpPr>
              <a:spLocks/>
            </p:cNvSpPr>
            <p:nvPr/>
          </p:nvSpPr>
          <p:spPr bwMode="auto">
            <a:xfrm>
              <a:off x="4891" y="442"/>
              <a:ext cx="9" cy="13"/>
            </a:xfrm>
            <a:custGeom>
              <a:avLst/>
              <a:gdLst>
                <a:gd name="T0" fmla="*/ 0 w 17"/>
                <a:gd name="T1" fmla="*/ 0 h 25"/>
                <a:gd name="T2" fmla="*/ 0 w 17"/>
                <a:gd name="T3" fmla="*/ 0 h 25"/>
                <a:gd name="T4" fmla="*/ 0 w 17"/>
                <a:gd name="T5" fmla="*/ 25 h 25"/>
                <a:gd name="T6" fmla="*/ 0 w 17"/>
                <a:gd name="T7" fmla="*/ 25 h 25"/>
                <a:gd name="T8" fmla="*/ 17 w 17"/>
                <a:gd name="T9" fmla="*/ 24 h 25"/>
                <a:gd name="T10" fmla="*/ 15 w 17"/>
                <a:gd name="T11" fmla="*/ 0 h 25"/>
                <a:gd name="T12" fmla="*/ 0 w 1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7" h="25">
                  <a:moveTo>
                    <a:pt x="0" y="0"/>
                  </a:moveTo>
                  <a:cubicBezTo>
                    <a:pt x="0" y="0"/>
                    <a:pt x="0" y="0"/>
                    <a:pt x="0" y="0"/>
                  </a:cubicBezTo>
                  <a:cubicBezTo>
                    <a:pt x="0" y="25"/>
                    <a:pt x="0" y="25"/>
                    <a:pt x="0" y="25"/>
                  </a:cubicBezTo>
                  <a:cubicBezTo>
                    <a:pt x="0" y="25"/>
                    <a:pt x="0" y="25"/>
                    <a:pt x="0" y="25"/>
                  </a:cubicBezTo>
                  <a:cubicBezTo>
                    <a:pt x="6" y="25"/>
                    <a:pt x="11" y="25"/>
                    <a:pt x="17" y="24"/>
                  </a:cubicBezTo>
                  <a:cubicBezTo>
                    <a:pt x="15" y="0"/>
                    <a:pt x="15" y="0"/>
                    <a:pt x="15" y="0"/>
                  </a:cubicBezTo>
                  <a:cubicBezTo>
                    <a:pt x="15" y="0"/>
                    <a:pt x="5" y="0"/>
                    <a:pt x="0" y="0"/>
                  </a:cubicBezTo>
                  <a:close/>
                </a:path>
              </a:pathLst>
            </a:custGeom>
            <a:solidFill>
              <a:srgbClr val="1E74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grpSp>
      <p:cxnSp>
        <p:nvCxnSpPr>
          <p:cNvPr id="15" name="直接连接符 14"/>
          <p:cNvCxnSpPr/>
          <p:nvPr/>
        </p:nvCxnSpPr>
        <p:spPr>
          <a:xfrm>
            <a:off x="11246727" y="0"/>
            <a:ext cx="9398" cy="308822"/>
          </a:xfrm>
          <a:prstGeom prst="line">
            <a:avLst/>
          </a:prstGeom>
          <a:ln w="19050">
            <a:solidFill>
              <a:srgbClr val="000000"/>
            </a:solidFill>
          </a:ln>
        </p:spPr>
        <p:style>
          <a:lnRef idx="1">
            <a:schemeClr val="accent1"/>
          </a:lnRef>
          <a:fillRef idx="0">
            <a:schemeClr val="accent1"/>
          </a:fillRef>
          <a:effectRef idx="0">
            <a:schemeClr val="accent1"/>
          </a:effectRef>
          <a:fontRef idx="minor">
            <a:schemeClr val="tx1"/>
          </a:fontRef>
        </p:style>
      </p:cxnSp>
      <p:pic>
        <p:nvPicPr>
          <p:cNvPr id="206" name="图片 205"/>
          <p:cNvPicPr>
            <a:picLocks noChangeAspect="1"/>
          </p:cNvPicPr>
          <p:nvPr/>
        </p:nvPicPr>
        <p:blipFill>
          <a:blip r:embed="rId5"/>
          <a:stretch>
            <a:fillRect/>
          </a:stretch>
        </p:blipFill>
        <p:spPr>
          <a:xfrm>
            <a:off x="702845" y="5236822"/>
            <a:ext cx="699168" cy="797134"/>
          </a:xfrm>
          <a:prstGeom prst="rect">
            <a:avLst/>
          </a:prstGeom>
        </p:spPr>
      </p:pic>
      <p:sp>
        <p:nvSpPr>
          <p:cNvPr id="208" name="Freeform 106"/>
          <p:cNvSpPr>
            <a:spLocks noEditPoints="1"/>
          </p:cNvSpPr>
          <p:nvPr/>
        </p:nvSpPr>
        <p:spPr bwMode="auto">
          <a:xfrm>
            <a:off x="6484891" y="4010526"/>
            <a:ext cx="517909" cy="517909"/>
          </a:xfrm>
          <a:custGeom>
            <a:avLst/>
            <a:gdLst>
              <a:gd name="T0" fmla="*/ 373 w 512"/>
              <a:gd name="T1" fmla="*/ 362 h 512"/>
              <a:gd name="T2" fmla="*/ 352 w 512"/>
              <a:gd name="T3" fmla="*/ 298 h 512"/>
              <a:gd name="T4" fmla="*/ 330 w 512"/>
              <a:gd name="T5" fmla="*/ 298 h 512"/>
              <a:gd name="T6" fmla="*/ 298 w 512"/>
              <a:gd name="T7" fmla="*/ 323 h 512"/>
              <a:gd name="T8" fmla="*/ 288 w 512"/>
              <a:gd name="T9" fmla="*/ 288 h 512"/>
              <a:gd name="T10" fmla="*/ 277 w 512"/>
              <a:gd name="T11" fmla="*/ 330 h 512"/>
              <a:gd name="T12" fmla="*/ 277 w 512"/>
              <a:gd name="T13" fmla="*/ 333 h 512"/>
              <a:gd name="T14" fmla="*/ 216 w 512"/>
              <a:gd name="T15" fmla="*/ 394 h 512"/>
              <a:gd name="T16" fmla="*/ 234 w 512"/>
              <a:gd name="T17" fmla="*/ 331 h 512"/>
              <a:gd name="T18" fmla="*/ 234 w 512"/>
              <a:gd name="T19" fmla="*/ 298 h 512"/>
              <a:gd name="T20" fmla="*/ 213 w 512"/>
              <a:gd name="T21" fmla="*/ 298 h 512"/>
              <a:gd name="T22" fmla="*/ 181 w 512"/>
              <a:gd name="T23" fmla="*/ 336 h 512"/>
              <a:gd name="T24" fmla="*/ 170 w 512"/>
              <a:gd name="T25" fmla="*/ 288 h 512"/>
              <a:gd name="T26" fmla="*/ 160 w 512"/>
              <a:gd name="T27" fmla="*/ 346 h 512"/>
              <a:gd name="T28" fmla="*/ 138 w 512"/>
              <a:gd name="T29" fmla="*/ 197 h 512"/>
              <a:gd name="T30" fmla="*/ 167 w 512"/>
              <a:gd name="T31" fmla="*/ 187 h 512"/>
              <a:gd name="T32" fmla="*/ 208 w 512"/>
              <a:gd name="T33" fmla="*/ 213 h 512"/>
              <a:gd name="T34" fmla="*/ 218 w 512"/>
              <a:gd name="T35" fmla="*/ 143 h 512"/>
              <a:gd name="T36" fmla="*/ 226 w 512"/>
              <a:gd name="T37" fmla="*/ 135 h 512"/>
              <a:gd name="T38" fmla="*/ 251 w 512"/>
              <a:gd name="T39" fmla="*/ 117 h 512"/>
              <a:gd name="T40" fmla="*/ 283 w 512"/>
              <a:gd name="T41" fmla="*/ 146 h 512"/>
              <a:gd name="T42" fmla="*/ 269 w 512"/>
              <a:gd name="T43" fmla="*/ 163 h 512"/>
              <a:gd name="T44" fmla="*/ 304 w 512"/>
              <a:gd name="T45" fmla="*/ 213 h 512"/>
              <a:gd name="T46" fmla="*/ 344 w 512"/>
              <a:gd name="T47" fmla="*/ 187 h 512"/>
              <a:gd name="T48" fmla="*/ 373 w 512"/>
              <a:gd name="T49" fmla="*/ 197 h 512"/>
              <a:gd name="T50" fmla="*/ 256 w 512"/>
              <a:gd name="T51" fmla="*/ 512 h 512"/>
              <a:gd name="T52" fmla="*/ 256 w 512"/>
              <a:gd name="T53" fmla="*/ 0 h 512"/>
              <a:gd name="T54" fmla="*/ 394 w 512"/>
              <a:gd name="T55" fmla="*/ 197 h 512"/>
              <a:gd name="T56" fmla="*/ 327 w 512"/>
              <a:gd name="T57" fmla="*/ 174 h 512"/>
              <a:gd name="T58" fmla="*/ 304 w 512"/>
              <a:gd name="T59" fmla="*/ 192 h 512"/>
              <a:gd name="T60" fmla="*/ 303 w 512"/>
              <a:gd name="T61" fmla="*/ 152 h 512"/>
              <a:gd name="T62" fmla="*/ 250 w 512"/>
              <a:gd name="T63" fmla="*/ 96 h 512"/>
              <a:gd name="T64" fmla="*/ 211 w 512"/>
              <a:gd name="T65" fmla="*/ 120 h 512"/>
              <a:gd name="T66" fmla="*/ 189 w 512"/>
              <a:gd name="T67" fmla="*/ 141 h 512"/>
              <a:gd name="T68" fmla="*/ 195 w 512"/>
              <a:gd name="T69" fmla="*/ 160 h 512"/>
              <a:gd name="T70" fmla="*/ 208 w 512"/>
              <a:gd name="T71" fmla="*/ 192 h 512"/>
              <a:gd name="T72" fmla="*/ 184 w 512"/>
              <a:gd name="T73" fmla="*/ 175 h 512"/>
              <a:gd name="T74" fmla="*/ 117 w 512"/>
              <a:gd name="T75" fmla="*/ 197 h 512"/>
              <a:gd name="T76" fmla="*/ 123 w 512"/>
              <a:gd name="T77" fmla="*/ 393 h 512"/>
              <a:gd name="T78" fmla="*/ 176 w 512"/>
              <a:gd name="T79" fmla="*/ 361 h 512"/>
              <a:gd name="T80" fmla="*/ 192 w 512"/>
              <a:gd name="T81" fmla="*/ 402 h 512"/>
              <a:gd name="T82" fmla="*/ 202 w 512"/>
              <a:gd name="T83" fmla="*/ 416 h 512"/>
              <a:gd name="T84" fmla="*/ 309 w 512"/>
              <a:gd name="T85" fmla="*/ 416 h 512"/>
              <a:gd name="T86" fmla="*/ 312 w 512"/>
              <a:gd name="T87" fmla="*/ 415 h 512"/>
              <a:gd name="T88" fmla="*/ 304 w 512"/>
              <a:gd name="T89" fmla="*/ 348 h 512"/>
              <a:gd name="T90" fmla="*/ 377 w 512"/>
              <a:gd name="T91" fmla="*/ 392 h 512"/>
              <a:gd name="T92" fmla="*/ 388 w 512"/>
              <a:gd name="T93" fmla="*/ 393 h 512"/>
              <a:gd name="T94" fmla="*/ 394 w 512"/>
              <a:gd name="T95"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73" y="197"/>
                </a:moveTo>
                <a:cubicBezTo>
                  <a:pt x="373" y="362"/>
                  <a:pt x="373" y="362"/>
                  <a:pt x="373" y="362"/>
                </a:cubicBezTo>
                <a:cubicBezTo>
                  <a:pt x="352" y="346"/>
                  <a:pt x="352" y="346"/>
                  <a:pt x="352" y="346"/>
                </a:cubicBezTo>
                <a:cubicBezTo>
                  <a:pt x="352" y="298"/>
                  <a:pt x="352" y="298"/>
                  <a:pt x="352" y="298"/>
                </a:cubicBezTo>
                <a:cubicBezTo>
                  <a:pt x="352" y="292"/>
                  <a:pt x="347" y="288"/>
                  <a:pt x="341" y="288"/>
                </a:cubicBezTo>
                <a:cubicBezTo>
                  <a:pt x="335" y="288"/>
                  <a:pt x="330" y="292"/>
                  <a:pt x="330" y="298"/>
                </a:cubicBezTo>
                <a:cubicBezTo>
                  <a:pt x="330" y="336"/>
                  <a:pt x="330" y="336"/>
                  <a:pt x="330" y="336"/>
                </a:cubicBezTo>
                <a:cubicBezTo>
                  <a:pt x="298" y="323"/>
                  <a:pt x="298" y="323"/>
                  <a:pt x="298" y="323"/>
                </a:cubicBezTo>
                <a:cubicBezTo>
                  <a:pt x="298" y="298"/>
                  <a:pt x="298" y="298"/>
                  <a:pt x="298" y="298"/>
                </a:cubicBezTo>
                <a:cubicBezTo>
                  <a:pt x="298" y="292"/>
                  <a:pt x="294" y="288"/>
                  <a:pt x="288" y="288"/>
                </a:cubicBezTo>
                <a:cubicBezTo>
                  <a:pt x="282" y="288"/>
                  <a:pt x="277" y="292"/>
                  <a:pt x="277" y="298"/>
                </a:cubicBezTo>
                <a:cubicBezTo>
                  <a:pt x="277" y="330"/>
                  <a:pt x="277" y="330"/>
                  <a:pt x="277" y="330"/>
                </a:cubicBezTo>
                <a:cubicBezTo>
                  <a:pt x="277" y="331"/>
                  <a:pt x="277" y="331"/>
                  <a:pt x="277" y="331"/>
                </a:cubicBezTo>
                <a:cubicBezTo>
                  <a:pt x="277" y="332"/>
                  <a:pt x="277" y="332"/>
                  <a:pt x="277" y="333"/>
                </a:cubicBezTo>
                <a:cubicBezTo>
                  <a:pt x="295" y="394"/>
                  <a:pt x="295" y="394"/>
                  <a:pt x="295" y="394"/>
                </a:cubicBezTo>
                <a:cubicBezTo>
                  <a:pt x="216" y="394"/>
                  <a:pt x="216" y="394"/>
                  <a:pt x="216" y="394"/>
                </a:cubicBezTo>
                <a:cubicBezTo>
                  <a:pt x="234" y="333"/>
                  <a:pt x="234" y="333"/>
                  <a:pt x="234" y="333"/>
                </a:cubicBezTo>
                <a:cubicBezTo>
                  <a:pt x="234" y="332"/>
                  <a:pt x="234" y="332"/>
                  <a:pt x="234" y="331"/>
                </a:cubicBezTo>
                <a:cubicBezTo>
                  <a:pt x="234" y="331"/>
                  <a:pt x="234" y="331"/>
                  <a:pt x="234" y="330"/>
                </a:cubicBezTo>
                <a:cubicBezTo>
                  <a:pt x="234" y="298"/>
                  <a:pt x="234" y="298"/>
                  <a:pt x="234" y="298"/>
                </a:cubicBezTo>
                <a:cubicBezTo>
                  <a:pt x="234" y="292"/>
                  <a:pt x="230" y="288"/>
                  <a:pt x="224" y="288"/>
                </a:cubicBezTo>
                <a:cubicBezTo>
                  <a:pt x="218" y="288"/>
                  <a:pt x="213" y="292"/>
                  <a:pt x="213" y="298"/>
                </a:cubicBezTo>
                <a:cubicBezTo>
                  <a:pt x="213" y="323"/>
                  <a:pt x="213" y="323"/>
                  <a:pt x="213" y="323"/>
                </a:cubicBezTo>
                <a:cubicBezTo>
                  <a:pt x="181" y="336"/>
                  <a:pt x="181" y="336"/>
                  <a:pt x="181" y="336"/>
                </a:cubicBezTo>
                <a:cubicBezTo>
                  <a:pt x="181" y="298"/>
                  <a:pt x="181" y="298"/>
                  <a:pt x="181" y="298"/>
                </a:cubicBezTo>
                <a:cubicBezTo>
                  <a:pt x="181" y="292"/>
                  <a:pt x="176" y="288"/>
                  <a:pt x="170" y="288"/>
                </a:cubicBezTo>
                <a:cubicBezTo>
                  <a:pt x="164" y="288"/>
                  <a:pt x="160" y="292"/>
                  <a:pt x="160" y="298"/>
                </a:cubicBezTo>
                <a:cubicBezTo>
                  <a:pt x="160" y="346"/>
                  <a:pt x="160" y="346"/>
                  <a:pt x="160" y="346"/>
                </a:cubicBezTo>
                <a:cubicBezTo>
                  <a:pt x="138" y="362"/>
                  <a:pt x="138" y="362"/>
                  <a:pt x="138" y="362"/>
                </a:cubicBezTo>
                <a:cubicBezTo>
                  <a:pt x="138" y="197"/>
                  <a:pt x="138" y="197"/>
                  <a:pt x="138" y="197"/>
                </a:cubicBezTo>
                <a:cubicBezTo>
                  <a:pt x="138" y="188"/>
                  <a:pt x="146" y="181"/>
                  <a:pt x="154" y="181"/>
                </a:cubicBezTo>
                <a:cubicBezTo>
                  <a:pt x="159" y="181"/>
                  <a:pt x="164" y="183"/>
                  <a:pt x="167" y="187"/>
                </a:cubicBezTo>
                <a:cubicBezTo>
                  <a:pt x="167" y="187"/>
                  <a:pt x="172" y="194"/>
                  <a:pt x="176" y="199"/>
                </a:cubicBezTo>
                <a:cubicBezTo>
                  <a:pt x="187" y="211"/>
                  <a:pt x="198" y="213"/>
                  <a:pt x="208" y="213"/>
                </a:cubicBezTo>
                <a:cubicBezTo>
                  <a:pt x="232" y="213"/>
                  <a:pt x="245" y="198"/>
                  <a:pt x="245" y="170"/>
                </a:cubicBezTo>
                <a:cubicBezTo>
                  <a:pt x="245" y="156"/>
                  <a:pt x="231" y="148"/>
                  <a:pt x="218" y="143"/>
                </a:cubicBezTo>
                <a:cubicBezTo>
                  <a:pt x="221" y="140"/>
                  <a:pt x="221" y="140"/>
                  <a:pt x="221" y="140"/>
                </a:cubicBezTo>
                <a:cubicBezTo>
                  <a:pt x="222" y="139"/>
                  <a:pt x="223" y="138"/>
                  <a:pt x="226" y="135"/>
                </a:cubicBezTo>
                <a:cubicBezTo>
                  <a:pt x="228" y="133"/>
                  <a:pt x="230" y="131"/>
                  <a:pt x="232" y="128"/>
                </a:cubicBezTo>
                <a:cubicBezTo>
                  <a:pt x="239" y="121"/>
                  <a:pt x="242" y="117"/>
                  <a:pt x="251" y="117"/>
                </a:cubicBezTo>
                <a:cubicBezTo>
                  <a:pt x="264" y="117"/>
                  <a:pt x="273" y="120"/>
                  <a:pt x="279" y="127"/>
                </a:cubicBezTo>
                <a:cubicBezTo>
                  <a:pt x="284" y="133"/>
                  <a:pt x="284" y="141"/>
                  <a:pt x="283" y="146"/>
                </a:cubicBezTo>
                <a:cubicBezTo>
                  <a:pt x="281" y="152"/>
                  <a:pt x="274" y="158"/>
                  <a:pt x="271" y="161"/>
                </a:cubicBezTo>
                <a:cubicBezTo>
                  <a:pt x="271" y="162"/>
                  <a:pt x="270" y="162"/>
                  <a:pt x="269" y="163"/>
                </a:cubicBezTo>
                <a:cubicBezTo>
                  <a:pt x="267" y="165"/>
                  <a:pt x="266" y="167"/>
                  <a:pt x="266" y="170"/>
                </a:cubicBezTo>
                <a:cubicBezTo>
                  <a:pt x="266" y="197"/>
                  <a:pt x="286" y="213"/>
                  <a:pt x="304" y="213"/>
                </a:cubicBezTo>
                <a:cubicBezTo>
                  <a:pt x="322" y="213"/>
                  <a:pt x="332" y="204"/>
                  <a:pt x="336" y="198"/>
                </a:cubicBezTo>
                <a:cubicBezTo>
                  <a:pt x="339" y="193"/>
                  <a:pt x="344" y="188"/>
                  <a:pt x="344" y="187"/>
                </a:cubicBezTo>
                <a:cubicBezTo>
                  <a:pt x="347" y="183"/>
                  <a:pt x="352" y="181"/>
                  <a:pt x="357" y="181"/>
                </a:cubicBezTo>
                <a:cubicBezTo>
                  <a:pt x="366" y="181"/>
                  <a:pt x="373" y="188"/>
                  <a:pt x="373" y="1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7"/>
                </a:moveTo>
                <a:cubicBezTo>
                  <a:pt x="394" y="176"/>
                  <a:pt x="378" y="160"/>
                  <a:pt x="357" y="160"/>
                </a:cubicBezTo>
                <a:cubicBezTo>
                  <a:pt x="345" y="160"/>
                  <a:pt x="334" y="165"/>
                  <a:pt x="327" y="174"/>
                </a:cubicBezTo>
                <a:cubicBezTo>
                  <a:pt x="327" y="174"/>
                  <a:pt x="322" y="180"/>
                  <a:pt x="319" y="185"/>
                </a:cubicBezTo>
                <a:cubicBezTo>
                  <a:pt x="316" y="189"/>
                  <a:pt x="311" y="192"/>
                  <a:pt x="304" y="192"/>
                </a:cubicBezTo>
                <a:cubicBezTo>
                  <a:pt x="298" y="192"/>
                  <a:pt x="290" y="186"/>
                  <a:pt x="288" y="175"/>
                </a:cubicBezTo>
                <a:cubicBezTo>
                  <a:pt x="293" y="170"/>
                  <a:pt x="301" y="162"/>
                  <a:pt x="303" y="152"/>
                </a:cubicBezTo>
                <a:cubicBezTo>
                  <a:pt x="306" y="141"/>
                  <a:pt x="305" y="126"/>
                  <a:pt x="295" y="114"/>
                </a:cubicBezTo>
                <a:cubicBezTo>
                  <a:pt x="289" y="105"/>
                  <a:pt x="275" y="95"/>
                  <a:pt x="250" y="96"/>
                </a:cubicBezTo>
                <a:cubicBezTo>
                  <a:pt x="232" y="96"/>
                  <a:pt x="223" y="107"/>
                  <a:pt x="216" y="114"/>
                </a:cubicBezTo>
                <a:cubicBezTo>
                  <a:pt x="214" y="116"/>
                  <a:pt x="213" y="118"/>
                  <a:pt x="211" y="120"/>
                </a:cubicBezTo>
                <a:cubicBezTo>
                  <a:pt x="208" y="123"/>
                  <a:pt x="207" y="124"/>
                  <a:pt x="205" y="125"/>
                </a:cubicBezTo>
                <a:cubicBezTo>
                  <a:pt x="189" y="141"/>
                  <a:pt x="189" y="141"/>
                  <a:pt x="189" y="141"/>
                </a:cubicBezTo>
                <a:cubicBezTo>
                  <a:pt x="187" y="144"/>
                  <a:pt x="186" y="148"/>
                  <a:pt x="187" y="152"/>
                </a:cubicBezTo>
                <a:cubicBezTo>
                  <a:pt x="188" y="156"/>
                  <a:pt x="191" y="159"/>
                  <a:pt x="195" y="160"/>
                </a:cubicBezTo>
                <a:cubicBezTo>
                  <a:pt x="208" y="162"/>
                  <a:pt x="222" y="167"/>
                  <a:pt x="224" y="170"/>
                </a:cubicBezTo>
                <a:cubicBezTo>
                  <a:pt x="224" y="192"/>
                  <a:pt x="214" y="192"/>
                  <a:pt x="208" y="192"/>
                </a:cubicBezTo>
                <a:cubicBezTo>
                  <a:pt x="202" y="192"/>
                  <a:pt x="198" y="191"/>
                  <a:pt x="192" y="185"/>
                </a:cubicBezTo>
                <a:cubicBezTo>
                  <a:pt x="188" y="181"/>
                  <a:pt x="184" y="175"/>
                  <a:pt x="184" y="175"/>
                </a:cubicBezTo>
                <a:cubicBezTo>
                  <a:pt x="177" y="165"/>
                  <a:pt x="166" y="160"/>
                  <a:pt x="154" y="160"/>
                </a:cubicBezTo>
                <a:cubicBezTo>
                  <a:pt x="134" y="160"/>
                  <a:pt x="117" y="176"/>
                  <a:pt x="117" y="197"/>
                </a:cubicBezTo>
                <a:cubicBezTo>
                  <a:pt x="117" y="384"/>
                  <a:pt x="117" y="384"/>
                  <a:pt x="117" y="384"/>
                </a:cubicBezTo>
                <a:cubicBezTo>
                  <a:pt x="117" y="388"/>
                  <a:pt x="119" y="391"/>
                  <a:pt x="123" y="393"/>
                </a:cubicBezTo>
                <a:cubicBezTo>
                  <a:pt x="127" y="395"/>
                  <a:pt x="131" y="395"/>
                  <a:pt x="134" y="392"/>
                </a:cubicBezTo>
                <a:cubicBezTo>
                  <a:pt x="176" y="361"/>
                  <a:pt x="176" y="361"/>
                  <a:pt x="176" y="361"/>
                </a:cubicBezTo>
                <a:cubicBezTo>
                  <a:pt x="207" y="348"/>
                  <a:pt x="207" y="348"/>
                  <a:pt x="207" y="348"/>
                </a:cubicBezTo>
                <a:cubicBezTo>
                  <a:pt x="192" y="402"/>
                  <a:pt x="192" y="402"/>
                  <a:pt x="192" y="402"/>
                </a:cubicBezTo>
                <a:cubicBezTo>
                  <a:pt x="190" y="408"/>
                  <a:pt x="194" y="414"/>
                  <a:pt x="199" y="415"/>
                </a:cubicBezTo>
                <a:cubicBezTo>
                  <a:pt x="200" y="416"/>
                  <a:pt x="201" y="416"/>
                  <a:pt x="202" y="416"/>
                </a:cubicBezTo>
                <a:cubicBezTo>
                  <a:pt x="202" y="416"/>
                  <a:pt x="202" y="416"/>
                  <a:pt x="202" y="416"/>
                </a:cubicBezTo>
                <a:cubicBezTo>
                  <a:pt x="309" y="416"/>
                  <a:pt x="309" y="416"/>
                  <a:pt x="309" y="416"/>
                </a:cubicBezTo>
                <a:cubicBezTo>
                  <a:pt x="309" y="416"/>
                  <a:pt x="309" y="416"/>
                  <a:pt x="309" y="416"/>
                </a:cubicBezTo>
                <a:cubicBezTo>
                  <a:pt x="310" y="416"/>
                  <a:pt x="311" y="416"/>
                  <a:pt x="312" y="415"/>
                </a:cubicBezTo>
                <a:cubicBezTo>
                  <a:pt x="318" y="414"/>
                  <a:pt x="321" y="408"/>
                  <a:pt x="319" y="402"/>
                </a:cubicBezTo>
                <a:cubicBezTo>
                  <a:pt x="304" y="348"/>
                  <a:pt x="304" y="348"/>
                  <a:pt x="304" y="348"/>
                </a:cubicBezTo>
                <a:cubicBezTo>
                  <a:pt x="336" y="361"/>
                  <a:pt x="336" y="361"/>
                  <a:pt x="336" y="361"/>
                </a:cubicBezTo>
                <a:cubicBezTo>
                  <a:pt x="377" y="392"/>
                  <a:pt x="377" y="392"/>
                  <a:pt x="377" y="392"/>
                </a:cubicBezTo>
                <a:cubicBezTo>
                  <a:pt x="379" y="394"/>
                  <a:pt x="381" y="394"/>
                  <a:pt x="384" y="394"/>
                </a:cubicBezTo>
                <a:cubicBezTo>
                  <a:pt x="385" y="394"/>
                  <a:pt x="387" y="394"/>
                  <a:pt x="388" y="393"/>
                </a:cubicBezTo>
                <a:cubicBezTo>
                  <a:pt x="392" y="391"/>
                  <a:pt x="394" y="388"/>
                  <a:pt x="394" y="384"/>
                </a:cubicBezTo>
                <a:lnTo>
                  <a:pt x="394" y="197"/>
                </a:lnTo>
                <a:close/>
              </a:path>
            </a:pathLst>
          </a:custGeom>
          <a:solidFill>
            <a:srgbClr val="005587"/>
          </a:solidFill>
          <a:ln>
            <a:noFill/>
          </a:ln>
        </p:spPr>
        <p:txBody>
          <a:bodyPr vert="horz" wrap="square" lIns="62345" tIns="31173" rIns="62345" bIns="31173" numCol="1" anchor="t" anchorCtr="0" compatLnSpc="1">
            <a:prstTxWarp prst="textNoShape">
              <a:avLst/>
            </a:prstTxWarp>
          </a:bodyPr>
          <a:lstStyle/>
          <a:p>
            <a:endParaRPr lang="en-GB" sz="1227"/>
          </a:p>
        </p:txBody>
      </p:sp>
      <p:pic>
        <p:nvPicPr>
          <p:cNvPr id="56" name="图片 316">
            <a:extLst>
              <a:ext uri="{FF2B5EF4-FFF2-40B4-BE49-F238E27FC236}">
                <a16:creationId xmlns:a16="http://schemas.microsoft.com/office/drawing/2014/main" id="{2295CC54-903A-834C-963F-D32FBAEF122A}"/>
              </a:ext>
            </a:extLst>
          </p:cNvPr>
          <p:cNvPicPr>
            <a:picLocks noChangeAspect="1"/>
          </p:cNvPicPr>
          <p:nvPr/>
        </p:nvPicPr>
        <p:blipFill>
          <a:blip r:embed="rId4"/>
          <a:stretch>
            <a:fillRect/>
          </a:stretch>
        </p:blipFill>
        <p:spPr>
          <a:xfrm>
            <a:off x="10889344" y="4866639"/>
            <a:ext cx="1141823" cy="1375899"/>
          </a:xfrm>
          <a:prstGeom prst="rect">
            <a:avLst/>
          </a:prstGeom>
        </p:spPr>
      </p:pic>
    </p:spTree>
    <p:custDataLst>
      <p:tags r:id="rId1"/>
    </p:custDataLst>
    <p:extLst>
      <p:ext uri="{BB962C8B-B14F-4D97-AF65-F5344CB8AC3E}">
        <p14:creationId xmlns:p14="http://schemas.microsoft.com/office/powerpoint/2010/main" val="2153962263"/>
      </p:ext>
    </p:extLst>
  </p:cSld>
  <p:clrMapOvr>
    <a:masterClrMapping/>
  </p:clrMapOvr>
  <p:transition>
    <p:fade/>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ext Placeholder 4">
            <a:extLst>
              <a:ext uri="{FF2B5EF4-FFF2-40B4-BE49-F238E27FC236}">
                <a16:creationId xmlns:a16="http://schemas.microsoft.com/office/drawing/2014/main" id="{8335DD32-9F60-4841-937E-DE625C613769}"/>
              </a:ext>
            </a:extLst>
          </p:cNvPr>
          <p:cNvSpPr txBox="1">
            <a:spLocks/>
          </p:cNvSpPr>
          <p:nvPr/>
        </p:nvSpPr>
        <p:spPr>
          <a:xfrm>
            <a:off x="1800509" y="1768351"/>
            <a:ext cx="1666316" cy="4203967"/>
          </a:xfrm>
          <a:prstGeom prst="rect">
            <a:avLst/>
          </a:prstGeom>
          <a:solidFill>
            <a:srgbClr val="007680"/>
          </a:solidFill>
        </p:spPr>
        <p:txBody>
          <a:bodyPr vert="horz" lIns="91440" tIns="182880" rIns="91440" bIns="91440" rtlCol="0">
            <a:noAutofit/>
          </a:bodyPr>
          <a:lstStyle>
            <a:lvl1pPr marL="0" indent="0" algn="l" defTabSz="914400" rtl="0" eaLnBrk="1" latinLnBrk="0" hangingPunct="1">
              <a:lnSpc>
                <a:spcPts val="1800"/>
              </a:lnSpc>
              <a:spcBef>
                <a:spcPts val="0"/>
              </a:spcBef>
              <a:spcAft>
                <a:spcPts val="900"/>
              </a:spcAft>
              <a:buSzPct val="100000"/>
              <a:buFontTx/>
              <a:buNone/>
              <a:defRPr sz="1400" b="0" kern="1200">
                <a:solidFill>
                  <a:schemeClr val="tx2"/>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100000"/>
              </a:lnSpc>
              <a:spcAft>
                <a:spcPts val="600"/>
              </a:spcAft>
              <a:defRPr/>
            </a:pPr>
            <a:r>
              <a:rPr lang="en-US" sz="1000" dirty="0">
                <a:solidFill>
                  <a:prstClr val="white"/>
                </a:solidFill>
              </a:rPr>
              <a:t>Lorem ipsum dolor sit </a:t>
            </a:r>
            <a:r>
              <a:rPr lang="en-US" sz="1000" dirty="0" err="1">
                <a:solidFill>
                  <a:prstClr val="white"/>
                </a:solidFill>
              </a:rPr>
              <a:t>amet</a:t>
            </a:r>
            <a:r>
              <a:rPr lang="en-US" sz="1000" dirty="0">
                <a:solidFill>
                  <a:prstClr val="white"/>
                </a:solidFill>
              </a:rPr>
              <a:t>, </a:t>
            </a:r>
            <a:r>
              <a:rPr lang="en-US" sz="1000" dirty="0" err="1">
                <a:solidFill>
                  <a:prstClr val="white"/>
                </a:solidFill>
              </a:rPr>
              <a:t>consectetur</a:t>
            </a:r>
            <a:r>
              <a:rPr lang="en-US" sz="1000" dirty="0">
                <a:solidFill>
                  <a:prstClr val="white"/>
                </a:solidFill>
              </a:rPr>
              <a:t> </a:t>
            </a:r>
            <a:r>
              <a:rPr lang="en-US" sz="1000" dirty="0" err="1">
                <a:solidFill>
                  <a:prstClr val="white"/>
                </a:solidFill>
              </a:rPr>
              <a:t>adipiscing</a:t>
            </a:r>
            <a:r>
              <a:rPr lang="en-US" sz="1000" dirty="0">
                <a:solidFill>
                  <a:prstClr val="white"/>
                </a:solidFill>
              </a:rPr>
              <a:t> </a:t>
            </a:r>
            <a:r>
              <a:rPr lang="en-US" sz="1000" dirty="0" err="1">
                <a:solidFill>
                  <a:prstClr val="white"/>
                </a:solidFill>
              </a:rPr>
              <a:t>elit</a:t>
            </a:r>
            <a:r>
              <a:rPr lang="en-US" sz="1000" dirty="0">
                <a:solidFill>
                  <a:prstClr val="white"/>
                </a:solidFill>
              </a:rPr>
              <a:t>, </a:t>
            </a:r>
            <a:r>
              <a:rPr lang="en-US" sz="1000" dirty="0" err="1">
                <a:solidFill>
                  <a:prstClr val="white"/>
                </a:solidFill>
              </a:rPr>
              <a:t>sed</a:t>
            </a:r>
            <a:r>
              <a:rPr lang="en-US" sz="1000" dirty="0">
                <a:solidFill>
                  <a:prstClr val="white"/>
                </a:solidFill>
              </a:rPr>
              <a:t> do </a:t>
            </a:r>
            <a:r>
              <a:rPr lang="en-US" sz="1000" dirty="0" err="1">
                <a:solidFill>
                  <a:prstClr val="white"/>
                </a:solidFill>
              </a:rPr>
              <a:t>eiusmod</a:t>
            </a:r>
            <a:r>
              <a:rPr lang="en-US" sz="1000" dirty="0">
                <a:solidFill>
                  <a:prstClr val="white"/>
                </a:solidFill>
              </a:rPr>
              <a:t> </a:t>
            </a:r>
            <a:r>
              <a:rPr lang="en-US" sz="1000" dirty="0" err="1">
                <a:solidFill>
                  <a:prstClr val="white"/>
                </a:solidFill>
              </a:rPr>
              <a:t>tempor</a:t>
            </a:r>
            <a:r>
              <a:rPr lang="en-US" sz="1000" dirty="0">
                <a:solidFill>
                  <a:prstClr val="white"/>
                </a:solidFill>
              </a:rPr>
              <a:t> </a:t>
            </a:r>
            <a:r>
              <a:rPr lang="en-US" sz="1000" dirty="0" err="1">
                <a:solidFill>
                  <a:prstClr val="white"/>
                </a:solidFill>
              </a:rPr>
              <a:t>incididunt</a:t>
            </a:r>
            <a:r>
              <a:rPr lang="en-US" sz="1000" dirty="0">
                <a:solidFill>
                  <a:prstClr val="white"/>
                </a:solidFill>
              </a:rPr>
              <a:t> </a:t>
            </a:r>
          </a:p>
        </p:txBody>
      </p:sp>
      <p:sp>
        <p:nvSpPr>
          <p:cNvPr id="67" name="AutoShape 3">
            <a:extLst>
              <a:ext uri="{FF2B5EF4-FFF2-40B4-BE49-F238E27FC236}">
                <a16:creationId xmlns:a16="http://schemas.microsoft.com/office/drawing/2014/main" id="{DA2CE639-18F0-454A-A514-2AC23077E63E}"/>
              </a:ext>
            </a:extLst>
          </p:cNvPr>
          <p:cNvSpPr>
            <a:spLocks noChangeAspect="1" noChangeArrowheads="1" noTextEdit="1"/>
          </p:cNvSpPr>
          <p:nvPr/>
        </p:nvSpPr>
        <p:spPr bwMode="auto">
          <a:xfrm>
            <a:off x="3540473" y="1636940"/>
            <a:ext cx="6655756" cy="43250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68" name="Rectangle 5">
            <a:extLst>
              <a:ext uri="{FF2B5EF4-FFF2-40B4-BE49-F238E27FC236}">
                <a16:creationId xmlns:a16="http://schemas.microsoft.com/office/drawing/2014/main" id="{6F275C62-1A6A-FC49-8B62-4CB6B1A3C960}"/>
              </a:ext>
            </a:extLst>
          </p:cNvPr>
          <p:cNvSpPr>
            <a:spLocks noChangeArrowheads="1"/>
          </p:cNvSpPr>
          <p:nvPr/>
        </p:nvSpPr>
        <p:spPr bwMode="auto">
          <a:xfrm>
            <a:off x="3539030" y="2730106"/>
            <a:ext cx="4452093" cy="1005078"/>
          </a:xfrm>
          <a:prstGeom prst="rect">
            <a:avLst/>
          </a:prstGeom>
          <a:solidFill>
            <a:srgbClr val="6FC2B4"/>
          </a:solidFill>
          <a:ln w="9525">
            <a:noFill/>
            <a:miter lim="800000"/>
            <a:headEnd/>
            <a:tailEnd/>
          </a:ln>
        </p:spPr>
        <p:txBody>
          <a:bodyPr vert="horz" wrap="square" lIns="91440" tIns="45720" rIns="91440" bIns="45720" numCol="1" anchor="t" anchorCtr="0" compatLnSpc="1">
            <a:prstTxWarp prst="textNoShape">
              <a:avLst/>
            </a:prstTxWarp>
          </a:bodyPr>
          <a:lstStyle/>
          <a:p>
            <a:pPr defTabSz="1018824">
              <a:defRPr/>
            </a:pPr>
            <a:endParaRPr lang="en-US" sz="1000" kern="0" dirty="0">
              <a:solidFill>
                <a:prstClr val="white"/>
              </a:solidFill>
            </a:endParaRPr>
          </a:p>
        </p:txBody>
      </p:sp>
      <p:sp>
        <p:nvSpPr>
          <p:cNvPr id="69" name="Oval 9">
            <a:extLst>
              <a:ext uri="{FF2B5EF4-FFF2-40B4-BE49-F238E27FC236}">
                <a16:creationId xmlns:a16="http://schemas.microsoft.com/office/drawing/2014/main" id="{7E78DFDB-336D-8C44-A7DD-4B60D4978805}"/>
              </a:ext>
            </a:extLst>
          </p:cNvPr>
          <p:cNvSpPr>
            <a:spLocks noChangeArrowheads="1"/>
          </p:cNvSpPr>
          <p:nvPr/>
        </p:nvSpPr>
        <p:spPr bwMode="auto">
          <a:xfrm>
            <a:off x="6401192" y="2621800"/>
            <a:ext cx="1265012" cy="1223134"/>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70" name="Freeform 10">
            <a:extLst>
              <a:ext uri="{FF2B5EF4-FFF2-40B4-BE49-F238E27FC236}">
                <a16:creationId xmlns:a16="http://schemas.microsoft.com/office/drawing/2014/main" id="{D26061E7-EBF5-4647-AE33-26F073033B14}"/>
              </a:ext>
            </a:extLst>
          </p:cNvPr>
          <p:cNvSpPr>
            <a:spLocks noEditPoints="1"/>
          </p:cNvSpPr>
          <p:nvPr/>
        </p:nvSpPr>
        <p:spPr bwMode="auto">
          <a:xfrm>
            <a:off x="6525383" y="2740215"/>
            <a:ext cx="1015187" cy="986305"/>
          </a:xfrm>
          <a:custGeom>
            <a:avLst/>
            <a:gdLst>
              <a:gd name="T0" fmla="*/ 1363 w 4744"/>
              <a:gd name="T1" fmla="*/ 1581 h 4760"/>
              <a:gd name="T2" fmla="*/ 1863 w 4744"/>
              <a:gd name="T3" fmla="*/ 1581 h 4760"/>
              <a:gd name="T4" fmla="*/ 2067 w 4744"/>
              <a:gd name="T5" fmla="*/ 1581 h 4760"/>
              <a:gd name="T6" fmla="*/ 2372 w 4744"/>
              <a:gd name="T7" fmla="*/ 1088 h 4760"/>
              <a:gd name="T8" fmla="*/ 1233 w 4744"/>
              <a:gd name="T9" fmla="*/ 1785 h 4760"/>
              <a:gd name="T10" fmla="*/ 1779 w 4744"/>
              <a:gd name="T11" fmla="*/ 2278 h 4760"/>
              <a:gd name="T12" fmla="*/ 2020 w 4744"/>
              <a:gd name="T13" fmla="*/ 2975 h 4760"/>
              <a:gd name="T14" fmla="*/ 2762 w 4744"/>
              <a:gd name="T15" fmla="*/ 2473 h 4760"/>
              <a:gd name="T16" fmla="*/ 2020 w 4744"/>
              <a:gd name="T17" fmla="*/ 2975 h 4760"/>
              <a:gd name="T18" fmla="*/ 2706 w 4744"/>
              <a:gd name="T19" fmla="*/ 1135 h 4760"/>
              <a:gd name="T20" fmla="*/ 3382 w 4744"/>
              <a:gd name="T21" fmla="*/ 1581 h 4760"/>
              <a:gd name="T22" fmla="*/ 2020 w 4744"/>
              <a:gd name="T23" fmla="*/ 1785 h 4760"/>
              <a:gd name="T24" fmla="*/ 2762 w 4744"/>
              <a:gd name="T25" fmla="*/ 2278 h 4760"/>
              <a:gd name="T26" fmla="*/ 1779 w 4744"/>
              <a:gd name="T27" fmla="*/ 2473 h 4760"/>
              <a:gd name="T28" fmla="*/ 1233 w 4744"/>
              <a:gd name="T29" fmla="*/ 2975 h 4760"/>
              <a:gd name="T30" fmla="*/ 1779 w 4744"/>
              <a:gd name="T31" fmla="*/ 2473 h 4760"/>
              <a:gd name="T32" fmla="*/ 3651 w 4744"/>
              <a:gd name="T33" fmla="*/ 2278 h 4760"/>
              <a:gd name="T34" fmla="*/ 2910 w 4744"/>
              <a:gd name="T35" fmla="*/ 1785 h 4760"/>
              <a:gd name="T36" fmla="*/ 4744 w 4744"/>
              <a:gd name="T37" fmla="*/ 2380 h 4760"/>
              <a:gd name="T38" fmla="*/ 0 w 4744"/>
              <a:gd name="T39" fmla="*/ 2380 h 4760"/>
              <a:gd name="T40" fmla="*/ 4744 w 4744"/>
              <a:gd name="T41" fmla="*/ 2380 h 4760"/>
              <a:gd name="T42" fmla="*/ 2372 w 4744"/>
              <a:gd name="T43" fmla="*/ 893 h 4760"/>
              <a:gd name="T44" fmla="*/ 2372 w 4744"/>
              <a:gd name="T45" fmla="*/ 3868 h 4760"/>
              <a:gd name="T46" fmla="*/ 2910 w 4744"/>
              <a:gd name="T47" fmla="*/ 2975 h 4760"/>
              <a:gd name="T48" fmla="*/ 3651 w 4744"/>
              <a:gd name="T49" fmla="*/ 2473 h 4760"/>
              <a:gd name="T50" fmla="*/ 2910 w 4744"/>
              <a:gd name="T51" fmla="*/ 2975 h 4760"/>
              <a:gd name="T52" fmla="*/ 2039 w 4744"/>
              <a:gd name="T53" fmla="*/ 3617 h 4760"/>
              <a:gd name="T54" fmla="*/ 1363 w 4744"/>
              <a:gd name="T55" fmla="*/ 3171 h 4760"/>
              <a:gd name="T56" fmla="*/ 3382 w 4744"/>
              <a:gd name="T57" fmla="*/ 3171 h 4760"/>
              <a:gd name="T58" fmla="*/ 2706 w 4744"/>
              <a:gd name="T59" fmla="*/ 3617 h 4760"/>
              <a:gd name="T60" fmla="*/ 2669 w 4744"/>
              <a:gd name="T61" fmla="*/ 3171 h 4760"/>
              <a:gd name="T62" fmla="*/ 2372 w 4744"/>
              <a:gd name="T63" fmla="*/ 3663 h 4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44" h="4760">
                <a:moveTo>
                  <a:pt x="1863" y="1581"/>
                </a:moveTo>
                <a:cubicBezTo>
                  <a:pt x="1363" y="1581"/>
                  <a:pt x="1363" y="1581"/>
                  <a:pt x="1363" y="1581"/>
                </a:cubicBezTo>
                <a:cubicBezTo>
                  <a:pt x="1529" y="1367"/>
                  <a:pt x="1761" y="1209"/>
                  <a:pt x="2039" y="1135"/>
                </a:cubicBezTo>
                <a:cubicBezTo>
                  <a:pt x="1965" y="1256"/>
                  <a:pt x="1909" y="1404"/>
                  <a:pt x="1863" y="1581"/>
                </a:cubicBezTo>
                <a:close/>
                <a:moveTo>
                  <a:pt x="2372" y="1088"/>
                </a:moveTo>
                <a:cubicBezTo>
                  <a:pt x="2271" y="1088"/>
                  <a:pt x="2150" y="1274"/>
                  <a:pt x="2067" y="1581"/>
                </a:cubicBezTo>
                <a:cubicBezTo>
                  <a:pt x="2669" y="1581"/>
                  <a:pt x="2669" y="1581"/>
                  <a:pt x="2669" y="1581"/>
                </a:cubicBezTo>
                <a:cubicBezTo>
                  <a:pt x="2586" y="1274"/>
                  <a:pt x="2465" y="1088"/>
                  <a:pt x="2372" y="1088"/>
                </a:cubicBezTo>
                <a:close/>
                <a:moveTo>
                  <a:pt x="1826" y="1785"/>
                </a:moveTo>
                <a:cubicBezTo>
                  <a:pt x="1233" y="1785"/>
                  <a:pt x="1233" y="1785"/>
                  <a:pt x="1233" y="1785"/>
                </a:cubicBezTo>
                <a:cubicBezTo>
                  <a:pt x="1149" y="1934"/>
                  <a:pt x="1103" y="2102"/>
                  <a:pt x="1094" y="2278"/>
                </a:cubicBezTo>
                <a:cubicBezTo>
                  <a:pt x="1779" y="2278"/>
                  <a:pt x="1779" y="2278"/>
                  <a:pt x="1779" y="2278"/>
                </a:cubicBezTo>
                <a:cubicBezTo>
                  <a:pt x="1779" y="2111"/>
                  <a:pt x="1798" y="1944"/>
                  <a:pt x="1826" y="1785"/>
                </a:cubicBezTo>
                <a:close/>
                <a:moveTo>
                  <a:pt x="2020" y="2975"/>
                </a:moveTo>
                <a:cubicBezTo>
                  <a:pt x="2715" y="2975"/>
                  <a:pt x="2715" y="2975"/>
                  <a:pt x="2715" y="2975"/>
                </a:cubicBezTo>
                <a:cubicBezTo>
                  <a:pt x="2743" y="2827"/>
                  <a:pt x="2762" y="2659"/>
                  <a:pt x="2762" y="2473"/>
                </a:cubicBezTo>
                <a:cubicBezTo>
                  <a:pt x="1974" y="2473"/>
                  <a:pt x="1974" y="2473"/>
                  <a:pt x="1974" y="2473"/>
                </a:cubicBezTo>
                <a:cubicBezTo>
                  <a:pt x="1983" y="2659"/>
                  <a:pt x="2002" y="2827"/>
                  <a:pt x="2020" y="2975"/>
                </a:cubicBezTo>
                <a:close/>
                <a:moveTo>
                  <a:pt x="3382" y="1581"/>
                </a:moveTo>
                <a:cubicBezTo>
                  <a:pt x="3216" y="1367"/>
                  <a:pt x="2975" y="1209"/>
                  <a:pt x="2706" y="1135"/>
                </a:cubicBezTo>
                <a:cubicBezTo>
                  <a:pt x="2771" y="1256"/>
                  <a:pt x="2836" y="1404"/>
                  <a:pt x="2873" y="1581"/>
                </a:cubicBezTo>
                <a:lnTo>
                  <a:pt x="3382" y="1581"/>
                </a:lnTo>
                <a:close/>
                <a:moveTo>
                  <a:pt x="2715" y="1785"/>
                </a:moveTo>
                <a:cubicBezTo>
                  <a:pt x="2020" y="1785"/>
                  <a:pt x="2020" y="1785"/>
                  <a:pt x="2020" y="1785"/>
                </a:cubicBezTo>
                <a:cubicBezTo>
                  <a:pt x="2002" y="1925"/>
                  <a:pt x="1983" y="2092"/>
                  <a:pt x="1974" y="2278"/>
                </a:cubicBezTo>
                <a:cubicBezTo>
                  <a:pt x="2762" y="2278"/>
                  <a:pt x="2762" y="2278"/>
                  <a:pt x="2762" y="2278"/>
                </a:cubicBezTo>
                <a:cubicBezTo>
                  <a:pt x="2762" y="2092"/>
                  <a:pt x="2743" y="1925"/>
                  <a:pt x="2715" y="1785"/>
                </a:cubicBezTo>
                <a:close/>
                <a:moveTo>
                  <a:pt x="1779" y="2473"/>
                </a:moveTo>
                <a:cubicBezTo>
                  <a:pt x="1094" y="2473"/>
                  <a:pt x="1094" y="2473"/>
                  <a:pt x="1094" y="2473"/>
                </a:cubicBezTo>
                <a:cubicBezTo>
                  <a:pt x="1103" y="2650"/>
                  <a:pt x="1149" y="2817"/>
                  <a:pt x="1233" y="2975"/>
                </a:cubicBezTo>
                <a:cubicBezTo>
                  <a:pt x="1826" y="2975"/>
                  <a:pt x="1826" y="2975"/>
                  <a:pt x="1826" y="2975"/>
                </a:cubicBezTo>
                <a:cubicBezTo>
                  <a:pt x="1798" y="2817"/>
                  <a:pt x="1779" y="2641"/>
                  <a:pt x="1779" y="2473"/>
                </a:cubicBezTo>
                <a:close/>
                <a:moveTo>
                  <a:pt x="2956" y="2278"/>
                </a:moveTo>
                <a:cubicBezTo>
                  <a:pt x="3651" y="2278"/>
                  <a:pt x="3651" y="2278"/>
                  <a:pt x="3651" y="2278"/>
                </a:cubicBezTo>
                <a:cubicBezTo>
                  <a:pt x="3633" y="2102"/>
                  <a:pt x="3586" y="1934"/>
                  <a:pt x="3512" y="1785"/>
                </a:cubicBezTo>
                <a:cubicBezTo>
                  <a:pt x="2910" y="1785"/>
                  <a:pt x="2910" y="1785"/>
                  <a:pt x="2910" y="1785"/>
                </a:cubicBezTo>
                <a:cubicBezTo>
                  <a:pt x="2938" y="1944"/>
                  <a:pt x="2956" y="2111"/>
                  <a:pt x="2956" y="2278"/>
                </a:cubicBezTo>
                <a:close/>
                <a:moveTo>
                  <a:pt x="4744" y="2380"/>
                </a:moveTo>
                <a:cubicBezTo>
                  <a:pt x="4744" y="3691"/>
                  <a:pt x="3679" y="4760"/>
                  <a:pt x="2372" y="4760"/>
                </a:cubicBezTo>
                <a:cubicBezTo>
                  <a:pt x="1057" y="4760"/>
                  <a:pt x="0" y="3691"/>
                  <a:pt x="0" y="2380"/>
                </a:cubicBezTo>
                <a:cubicBezTo>
                  <a:pt x="0" y="1060"/>
                  <a:pt x="1057" y="0"/>
                  <a:pt x="2372" y="0"/>
                </a:cubicBezTo>
                <a:cubicBezTo>
                  <a:pt x="3679" y="0"/>
                  <a:pt x="4744" y="1060"/>
                  <a:pt x="4744" y="2380"/>
                </a:cubicBezTo>
                <a:close/>
                <a:moveTo>
                  <a:pt x="3855" y="2380"/>
                </a:moveTo>
                <a:cubicBezTo>
                  <a:pt x="3855" y="1553"/>
                  <a:pt x="3188" y="893"/>
                  <a:pt x="2372" y="893"/>
                </a:cubicBezTo>
                <a:cubicBezTo>
                  <a:pt x="1548" y="893"/>
                  <a:pt x="890" y="1553"/>
                  <a:pt x="890" y="2380"/>
                </a:cubicBezTo>
                <a:cubicBezTo>
                  <a:pt x="890" y="3199"/>
                  <a:pt x="1548" y="3868"/>
                  <a:pt x="2372" y="3868"/>
                </a:cubicBezTo>
                <a:cubicBezTo>
                  <a:pt x="3188" y="3868"/>
                  <a:pt x="3855" y="3199"/>
                  <a:pt x="3855" y="2380"/>
                </a:cubicBezTo>
                <a:close/>
                <a:moveTo>
                  <a:pt x="2910" y="2975"/>
                </a:moveTo>
                <a:cubicBezTo>
                  <a:pt x="3512" y="2975"/>
                  <a:pt x="3512" y="2975"/>
                  <a:pt x="3512" y="2975"/>
                </a:cubicBezTo>
                <a:cubicBezTo>
                  <a:pt x="3586" y="2817"/>
                  <a:pt x="3633" y="2650"/>
                  <a:pt x="3651" y="2473"/>
                </a:cubicBezTo>
                <a:cubicBezTo>
                  <a:pt x="2956" y="2473"/>
                  <a:pt x="2956" y="2473"/>
                  <a:pt x="2956" y="2473"/>
                </a:cubicBezTo>
                <a:cubicBezTo>
                  <a:pt x="2956" y="2641"/>
                  <a:pt x="2938" y="2817"/>
                  <a:pt x="2910" y="2975"/>
                </a:cubicBezTo>
                <a:close/>
                <a:moveTo>
                  <a:pt x="1363" y="3171"/>
                </a:moveTo>
                <a:cubicBezTo>
                  <a:pt x="1529" y="3385"/>
                  <a:pt x="1761" y="3543"/>
                  <a:pt x="2039" y="3617"/>
                </a:cubicBezTo>
                <a:cubicBezTo>
                  <a:pt x="1965" y="3505"/>
                  <a:pt x="1909" y="3347"/>
                  <a:pt x="1863" y="3171"/>
                </a:cubicBezTo>
                <a:lnTo>
                  <a:pt x="1363" y="3171"/>
                </a:lnTo>
                <a:close/>
                <a:moveTo>
                  <a:pt x="2706" y="3617"/>
                </a:moveTo>
                <a:cubicBezTo>
                  <a:pt x="2975" y="3543"/>
                  <a:pt x="3216" y="3385"/>
                  <a:pt x="3382" y="3171"/>
                </a:cubicBezTo>
                <a:cubicBezTo>
                  <a:pt x="2873" y="3171"/>
                  <a:pt x="2873" y="3171"/>
                  <a:pt x="2873" y="3171"/>
                </a:cubicBezTo>
                <a:cubicBezTo>
                  <a:pt x="2836" y="3347"/>
                  <a:pt x="2771" y="3505"/>
                  <a:pt x="2706" y="3617"/>
                </a:cubicBezTo>
                <a:close/>
                <a:moveTo>
                  <a:pt x="2372" y="3663"/>
                </a:moveTo>
                <a:cubicBezTo>
                  <a:pt x="2465" y="3663"/>
                  <a:pt x="2586" y="3487"/>
                  <a:pt x="2669" y="3171"/>
                </a:cubicBezTo>
                <a:cubicBezTo>
                  <a:pt x="2067" y="3171"/>
                  <a:pt x="2067" y="3171"/>
                  <a:pt x="2067" y="3171"/>
                </a:cubicBezTo>
                <a:cubicBezTo>
                  <a:pt x="2150" y="3487"/>
                  <a:pt x="2271" y="3663"/>
                  <a:pt x="2372" y="3663"/>
                </a:cubicBezTo>
                <a:close/>
              </a:path>
            </a:pathLst>
          </a:custGeom>
          <a:solidFill>
            <a:srgbClr val="6FC2B4"/>
          </a:solidFill>
          <a:ln w="0">
            <a:noFill/>
            <a:prstDash val="solid"/>
            <a:round/>
            <a:headEnd/>
            <a:tailEnd/>
          </a:ln>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71" name="Rectangle 11">
            <a:extLst>
              <a:ext uri="{FF2B5EF4-FFF2-40B4-BE49-F238E27FC236}">
                <a16:creationId xmlns:a16="http://schemas.microsoft.com/office/drawing/2014/main" id="{FB817136-3C9E-1E41-A84A-0412EE13B7A4}"/>
              </a:ext>
            </a:extLst>
          </p:cNvPr>
          <p:cNvSpPr>
            <a:spLocks noChangeArrowheads="1"/>
          </p:cNvSpPr>
          <p:nvPr/>
        </p:nvSpPr>
        <p:spPr bwMode="auto">
          <a:xfrm>
            <a:off x="3539029" y="3807388"/>
            <a:ext cx="4072300" cy="2156008"/>
          </a:xfrm>
          <a:prstGeom prst="rect">
            <a:avLst/>
          </a:prstGeom>
          <a:solidFill>
            <a:srgbClr val="00ABAB"/>
          </a:solidFill>
          <a:ln w="9525">
            <a:noFill/>
            <a:miter lim="800000"/>
            <a:headEnd/>
            <a:tailEnd/>
          </a:ln>
        </p:spPr>
        <p:txBody>
          <a:bodyPr vert="horz" wrap="square" lIns="91440" tIns="45720" rIns="731520" bIns="45720" numCol="1" anchor="t" anchorCtr="0" compatLnSpc="1">
            <a:prstTxWarp prst="textNoShape">
              <a:avLst/>
            </a:prstTxWarp>
          </a:bodyPr>
          <a:lstStyle/>
          <a:p>
            <a:pPr defTabSz="1018824">
              <a:defRPr/>
            </a:pPr>
            <a:r>
              <a:rPr lang="en-US" sz="1000" b="1" kern="0" dirty="0">
                <a:solidFill>
                  <a:prstClr val="white"/>
                </a:solidFill>
              </a:rPr>
              <a:t>Lorem ipsum dolor sit </a:t>
            </a:r>
            <a:r>
              <a:rPr lang="en-US" sz="1000" b="1" kern="0" dirty="0" err="1">
                <a:solidFill>
                  <a:prstClr val="white"/>
                </a:solidFill>
              </a:rPr>
              <a:t>amet</a:t>
            </a:r>
            <a:r>
              <a:rPr lang="en-US" sz="1000" b="1" kern="0" dirty="0">
                <a:solidFill>
                  <a:prstClr val="white"/>
                </a:solidFill>
              </a:rPr>
              <a:t>, </a:t>
            </a:r>
            <a:r>
              <a:rPr lang="en-US" sz="1000" b="1" kern="0" dirty="0" err="1">
                <a:solidFill>
                  <a:prstClr val="white"/>
                </a:solidFill>
              </a:rPr>
              <a:t>consectetur</a:t>
            </a:r>
            <a:r>
              <a:rPr lang="en-US" sz="1000" b="1" kern="0" dirty="0">
                <a:solidFill>
                  <a:prstClr val="white"/>
                </a:solidFill>
              </a:rPr>
              <a:t> </a:t>
            </a:r>
            <a:r>
              <a:rPr lang="en-US" sz="1000" b="1" kern="0" dirty="0" err="1">
                <a:solidFill>
                  <a:prstClr val="white"/>
                </a:solidFill>
              </a:rPr>
              <a:t>adipiscing</a:t>
            </a:r>
            <a:r>
              <a:rPr lang="en-US" sz="1000" b="1" kern="0" dirty="0">
                <a:solidFill>
                  <a:prstClr val="white"/>
                </a:solidFill>
              </a:rPr>
              <a:t> </a:t>
            </a:r>
            <a:r>
              <a:rPr lang="en-US" sz="1000" b="1" kern="0" dirty="0" err="1">
                <a:solidFill>
                  <a:prstClr val="white"/>
                </a:solidFill>
              </a:rPr>
              <a:t>elit</a:t>
            </a:r>
            <a:r>
              <a:rPr lang="en-US" sz="1000" b="1" kern="0" dirty="0">
                <a:solidFill>
                  <a:prstClr val="white"/>
                </a:solidFill>
              </a:rPr>
              <a:t>, </a:t>
            </a:r>
            <a:r>
              <a:rPr lang="en-US" sz="1000" b="1" kern="0" dirty="0" err="1">
                <a:solidFill>
                  <a:prstClr val="white"/>
                </a:solidFill>
              </a:rPr>
              <a:t>sed</a:t>
            </a:r>
            <a:r>
              <a:rPr lang="en-US" sz="1000" b="1" kern="0" dirty="0">
                <a:solidFill>
                  <a:prstClr val="white"/>
                </a:solidFill>
              </a:rPr>
              <a:t> do </a:t>
            </a:r>
            <a:r>
              <a:rPr lang="en-US" sz="1000" b="1" kern="0" dirty="0" err="1">
                <a:solidFill>
                  <a:prstClr val="white"/>
                </a:solidFill>
              </a:rPr>
              <a:t>eiusmod</a:t>
            </a:r>
            <a:r>
              <a:rPr lang="en-US" sz="1000" b="1" kern="0" dirty="0">
                <a:solidFill>
                  <a:prstClr val="white"/>
                </a:solidFill>
              </a:rPr>
              <a:t> </a:t>
            </a:r>
            <a:r>
              <a:rPr lang="en-US" sz="1000" b="1" kern="0" dirty="0" err="1">
                <a:solidFill>
                  <a:prstClr val="white"/>
                </a:solidFill>
              </a:rPr>
              <a:t>tempor</a:t>
            </a:r>
            <a:r>
              <a:rPr lang="en-US" sz="1000" b="1" kern="0" dirty="0">
                <a:solidFill>
                  <a:prstClr val="white"/>
                </a:solidFill>
              </a:rPr>
              <a:t> </a:t>
            </a:r>
            <a:r>
              <a:rPr lang="en-US" sz="1000" b="1" kern="0" dirty="0" err="1">
                <a:solidFill>
                  <a:prstClr val="white"/>
                </a:solidFill>
              </a:rPr>
              <a:t>incididunt</a:t>
            </a:r>
            <a:r>
              <a:rPr lang="en-US" sz="1000" b="1" kern="0" dirty="0">
                <a:solidFill>
                  <a:prstClr val="white"/>
                </a:solidFill>
              </a:rPr>
              <a:t> s</a:t>
            </a:r>
          </a:p>
          <a:p>
            <a:pPr marL="171450" indent="-171450" defTabSz="1018824">
              <a:buFont typeface="Arial" panose="020B0604020202020204" pitchFamily="34" charset="0"/>
              <a:buChar char="•"/>
              <a:defRPr/>
            </a:pPr>
            <a:r>
              <a:rPr lang="en-US" sz="1000" kern="0" dirty="0">
                <a:solidFill>
                  <a:prstClr val="white"/>
                </a:solidFill>
              </a:rPr>
              <a:t>Lorem </a:t>
            </a:r>
            <a:r>
              <a:rPr lang="en-US" sz="1000" kern="0" dirty="0" err="1">
                <a:solidFill>
                  <a:prstClr val="white"/>
                </a:solidFill>
              </a:rPr>
              <a:t>ipsumLorem</a:t>
            </a:r>
            <a:r>
              <a:rPr lang="en-US" sz="1000" kern="0" dirty="0">
                <a:solidFill>
                  <a:prstClr val="white"/>
                </a:solidFill>
              </a:rPr>
              <a:t> ipsum</a:t>
            </a:r>
          </a:p>
          <a:p>
            <a:pPr marL="171450" indent="-171450" defTabSz="1018824">
              <a:buFont typeface="Arial" panose="020B0604020202020204" pitchFamily="34" charset="0"/>
              <a:buChar char="•"/>
              <a:defRPr/>
            </a:pPr>
            <a:r>
              <a:rPr lang="en-US" sz="1000" kern="0" dirty="0">
                <a:solidFill>
                  <a:prstClr val="white"/>
                </a:solidFill>
              </a:rPr>
              <a:t>Lorem </a:t>
            </a:r>
            <a:r>
              <a:rPr lang="en-US" sz="1000" kern="0" dirty="0" err="1">
                <a:solidFill>
                  <a:prstClr val="white"/>
                </a:solidFill>
              </a:rPr>
              <a:t>ipsumLorem</a:t>
            </a:r>
            <a:r>
              <a:rPr lang="en-US" sz="1000" kern="0" dirty="0">
                <a:solidFill>
                  <a:prstClr val="white"/>
                </a:solidFill>
              </a:rPr>
              <a:t>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a:t>
            </a:r>
            <a:r>
              <a:rPr lang="en-US" sz="1000" kern="0" dirty="0" err="1">
                <a:solidFill>
                  <a:prstClr val="white"/>
                </a:solidFill>
              </a:rPr>
              <a:t>ipsumLorem</a:t>
            </a:r>
            <a:r>
              <a:rPr lang="en-US" sz="1000" kern="0" dirty="0">
                <a:solidFill>
                  <a:prstClr val="white"/>
                </a:solidFill>
              </a:rPr>
              <a:t> ipsum</a:t>
            </a:r>
          </a:p>
          <a:p>
            <a:pPr marL="171450" indent="-171450" defTabSz="1018824">
              <a:buFont typeface="Arial" panose="020B0604020202020204" pitchFamily="34" charset="0"/>
              <a:buChar char="•"/>
              <a:defRPr/>
            </a:pPr>
            <a:r>
              <a:rPr lang="en-US" sz="1000" kern="0" dirty="0">
                <a:solidFill>
                  <a:prstClr val="white"/>
                </a:solidFill>
              </a:rPr>
              <a:t>Lorem </a:t>
            </a:r>
            <a:r>
              <a:rPr lang="en-US" sz="1000" kern="0" dirty="0" err="1">
                <a:solidFill>
                  <a:prstClr val="white"/>
                </a:solidFill>
              </a:rPr>
              <a:t>ipsumLorem</a:t>
            </a:r>
            <a:r>
              <a:rPr lang="en-US" sz="1000" kern="0" dirty="0">
                <a:solidFill>
                  <a:prstClr val="white"/>
                </a:solidFill>
              </a:rPr>
              <a:t> ipsum</a:t>
            </a:r>
          </a:p>
          <a:p>
            <a:pPr marL="171450" indent="-171450" defTabSz="1018824">
              <a:buFont typeface="Arial" panose="020B0604020202020204" pitchFamily="34" charset="0"/>
              <a:buChar char="•"/>
              <a:defRPr/>
            </a:pPr>
            <a:r>
              <a:rPr lang="en-US" sz="1000" kern="0" dirty="0">
                <a:solidFill>
                  <a:prstClr val="white"/>
                </a:solidFill>
              </a:rPr>
              <a:t>Lorem ipsum</a:t>
            </a:r>
          </a:p>
        </p:txBody>
      </p:sp>
      <p:sp>
        <p:nvSpPr>
          <p:cNvPr id="72" name="Rectangle 33">
            <a:extLst>
              <a:ext uri="{FF2B5EF4-FFF2-40B4-BE49-F238E27FC236}">
                <a16:creationId xmlns:a16="http://schemas.microsoft.com/office/drawing/2014/main" id="{62DD37A9-EF11-514C-85BC-B280673E4899}"/>
              </a:ext>
            </a:extLst>
          </p:cNvPr>
          <p:cNvSpPr>
            <a:spLocks noChangeArrowheads="1"/>
          </p:cNvSpPr>
          <p:nvPr/>
        </p:nvSpPr>
        <p:spPr bwMode="auto">
          <a:xfrm>
            <a:off x="3539030" y="1768350"/>
            <a:ext cx="4456425" cy="886664"/>
          </a:xfrm>
          <a:prstGeom prst="rect">
            <a:avLst/>
          </a:prstGeom>
          <a:solidFill>
            <a:srgbClr val="0097A9"/>
          </a:solidFill>
          <a:ln w="9525">
            <a:noFill/>
            <a:miter lim="800000"/>
            <a:headEnd/>
            <a:tailEnd/>
          </a:ln>
        </p:spPr>
        <p:txBody>
          <a:bodyPr vert="horz" wrap="square" lIns="91440" tIns="45720" rIns="1097280" bIns="45720" numCol="1" anchor="ctr" anchorCtr="0" compatLnSpc="1">
            <a:prstTxWarp prst="textNoShape">
              <a:avLst/>
            </a:prstTxWarp>
          </a:bodyPr>
          <a:lstStyle/>
          <a:p>
            <a:pPr defTabSz="1018824">
              <a:defRPr/>
            </a:pPr>
            <a:r>
              <a:rPr lang="en-US" sz="1000" kern="0" dirty="0">
                <a:solidFill>
                  <a:prstClr val="white"/>
                </a:solidFill>
              </a:rPr>
              <a:t>Lorem ipsum dolor sit </a:t>
            </a:r>
            <a:r>
              <a:rPr lang="en-US" sz="1000" kern="0" dirty="0" err="1">
                <a:solidFill>
                  <a:prstClr val="white"/>
                </a:solidFill>
              </a:rPr>
              <a:t>amet</a:t>
            </a:r>
            <a:r>
              <a:rPr lang="en-US" sz="1000" kern="0" dirty="0">
                <a:solidFill>
                  <a:prstClr val="white"/>
                </a:solidFill>
              </a:rPr>
              <a:t>, </a:t>
            </a:r>
            <a:r>
              <a:rPr lang="en-US" sz="1000" kern="0" dirty="0" err="1">
                <a:solidFill>
                  <a:prstClr val="white"/>
                </a:solidFill>
              </a:rPr>
              <a:t>consectetur</a:t>
            </a:r>
            <a:r>
              <a:rPr lang="en-US" sz="1000" kern="0" dirty="0">
                <a:solidFill>
                  <a:prstClr val="white"/>
                </a:solidFill>
              </a:rPr>
              <a:t> </a:t>
            </a:r>
            <a:r>
              <a:rPr lang="en-US" sz="1000" kern="0" dirty="0" err="1">
                <a:solidFill>
                  <a:prstClr val="white"/>
                </a:solidFill>
              </a:rPr>
              <a:t>adipiscing</a:t>
            </a:r>
            <a:r>
              <a:rPr lang="en-US" sz="1000" kern="0" dirty="0">
                <a:solidFill>
                  <a:prstClr val="white"/>
                </a:solidFill>
              </a:rPr>
              <a:t> </a:t>
            </a:r>
            <a:r>
              <a:rPr lang="en-US" sz="1000" kern="0" dirty="0" err="1">
                <a:solidFill>
                  <a:prstClr val="white"/>
                </a:solidFill>
              </a:rPr>
              <a:t>elit</a:t>
            </a:r>
            <a:r>
              <a:rPr lang="en-US" sz="1000" kern="0" dirty="0">
                <a:solidFill>
                  <a:prstClr val="white"/>
                </a:solidFill>
              </a:rPr>
              <a:t>, </a:t>
            </a:r>
            <a:r>
              <a:rPr lang="en-US" sz="1000" kern="0" dirty="0" err="1">
                <a:solidFill>
                  <a:prstClr val="white"/>
                </a:solidFill>
              </a:rPr>
              <a:t>sed</a:t>
            </a:r>
            <a:r>
              <a:rPr lang="en-US" sz="1000" kern="0" dirty="0">
                <a:solidFill>
                  <a:prstClr val="white"/>
                </a:solidFill>
              </a:rPr>
              <a:t> do </a:t>
            </a:r>
            <a:r>
              <a:rPr lang="en-US" sz="1000" kern="0" dirty="0" err="1">
                <a:solidFill>
                  <a:prstClr val="white"/>
                </a:solidFill>
              </a:rPr>
              <a:t>eiusmod</a:t>
            </a:r>
            <a:r>
              <a:rPr lang="en-US" sz="1000" kern="0" dirty="0">
                <a:solidFill>
                  <a:prstClr val="white"/>
                </a:solidFill>
              </a:rPr>
              <a:t> </a:t>
            </a:r>
            <a:r>
              <a:rPr lang="en-US" sz="1000" kern="0" dirty="0" err="1">
                <a:solidFill>
                  <a:prstClr val="white"/>
                </a:solidFill>
              </a:rPr>
              <a:t>tempor</a:t>
            </a:r>
            <a:r>
              <a:rPr lang="en-US" sz="1000" kern="0" dirty="0">
                <a:solidFill>
                  <a:prstClr val="white"/>
                </a:solidFill>
              </a:rPr>
              <a:t> </a:t>
            </a:r>
            <a:r>
              <a:rPr lang="en-US" sz="1000" kern="0" dirty="0" err="1">
                <a:solidFill>
                  <a:prstClr val="white"/>
                </a:solidFill>
              </a:rPr>
              <a:t>incididunt</a:t>
            </a:r>
            <a:r>
              <a:rPr lang="en-US" sz="1000" kern="0" dirty="0">
                <a:solidFill>
                  <a:prstClr val="white"/>
                </a:solidFill>
              </a:rPr>
              <a:t> </a:t>
            </a:r>
          </a:p>
        </p:txBody>
      </p:sp>
      <p:sp>
        <p:nvSpPr>
          <p:cNvPr id="73" name="Rectangle 44">
            <a:extLst>
              <a:ext uri="{FF2B5EF4-FFF2-40B4-BE49-F238E27FC236}">
                <a16:creationId xmlns:a16="http://schemas.microsoft.com/office/drawing/2014/main" id="{D641D168-3449-B240-B7BB-8C6CE519F9CA}"/>
              </a:ext>
            </a:extLst>
          </p:cNvPr>
          <p:cNvSpPr>
            <a:spLocks noChangeArrowheads="1"/>
          </p:cNvSpPr>
          <p:nvPr/>
        </p:nvSpPr>
        <p:spPr bwMode="auto">
          <a:xfrm>
            <a:off x="8063327" y="1768350"/>
            <a:ext cx="2132903" cy="883776"/>
          </a:xfrm>
          <a:prstGeom prst="rect">
            <a:avLst/>
          </a:prstGeom>
          <a:solidFill>
            <a:srgbClr val="007680"/>
          </a:solidFill>
          <a:ln w="9525">
            <a:noFill/>
            <a:miter lim="800000"/>
            <a:headEnd/>
            <a:tailEnd/>
          </a:ln>
        </p:spPr>
        <p:txBody>
          <a:bodyPr vert="horz" wrap="square" lIns="914400" tIns="45720" rIns="91440" bIns="45720" numCol="1" anchor="t" anchorCtr="0" compatLnSpc="1">
            <a:prstTxWarp prst="textNoShape">
              <a:avLst/>
            </a:prstTxWarp>
          </a:bodyPr>
          <a:lstStyle/>
          <a:p>
            <a:pPr defTabSz="1018824">
              <a:defRPr/>
            </a:pPr>
            <a:endParaRPr lang="en-US" sz="1000" kern="0" dirty="0">
              <a:solidFill>
                <a:prstClr val="white"/>
              </a:solidFill>
            </a:endParaRPr>
          </a:p>
          <a:p>
            <a:pPr defTabSz="1018824">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p:txBody>
      </p:sp>
      <p:sp>
        <p:nvSpPr>
          <p:cNvPr id="75" name="Rectangle 55">
            <a:extLst>
              <a:ext uri="{FF2B5EF4-FFF2-40B4-BE49-F238E27FC236}">
                <a16:creationId xmlns:a16="http://schemas.microsoft.com/office/drawing/2014/main" id="{FB3F7A16-B972-AC42-808B-9935E4A2EE35}"/>
              </a:ext>
            </a:extLst>
          </p:cNvPr>
          <p:cNvSpPr>
            <a:spLocks noChangeArrowheads="1"/>
          </p:cNvSpPr>
          <p:nvPr/>
        </p:nvSpPr>
        <p:spPr bwMode="auto">
          <a:xfrm>
            <a:off x="8063327" y="2734439"/>
            <a:ext cx="2132903" cy="992081"/>
          </a:xfrm>
          <a:prstGeom prst="rect">
            <a:avLst/>
          </a:prstGeom>
          <a:solidFill>
            <a:srgbClr val="7F7F7F"/>
          </a:solidFill>
          <a:ln w="9525">
            <a:noFill/>
            <a:miter lim="800000"/>
            <a:headEnd/>
            <a:tailEnd/>
          </a:ln>
        </p:spPr>
        <p:txBody>
          <a:bodyPr vert="horz" wrap="square" lIns="91440" tIns="45720" rIns="91440" bIns="45720" numCol="1" anchor="ctr" anchorCtr="0" compatLnSpc="1">
            <a:prstTxWarp prst="textNoShape">
              <a:avLst/>
            </a:prstTxWarp>
          </a:bodyPr>
          <a:lstStyle/>
          <a:p>
            <a:pPr defTabSz="1018824">
              <a:defRPr/>
            </a:pPr>
            <a:r>
              <a:rPr lang="en-US" sz="1000" kern="0" dirty="0">
                <a:solidFill>
                  <a:prstClr val="white"/>
                </a:solidFill>
              </a:rPr>
              <a:t>Lorem ipsum dolor sit </a:t>
            </a:r>
            <a:r>
              <a:rPr lang="en-US" sz="1000" kern="0" dirty="0" err="1">
                <a:solidFill>
                  <a:prstClr val="white"/>
                </a:solidFill>
              </a:rPr>
              <a:t>amet</a:t>
            </a:r>
            <a:r>
              <a:rPr lang="en-US" sz="1000" kern="0" dirty="0">
                <a:solidFill>
                  <a:prstClr val="white"/>
                </a:solidFill>
              </a:rPr>
              <a:t>, </a:t>
            </a:r>
            <a:r>
              <a:rPr lang="en-US" sz="1000" kern="0" dirty="0" err="1">
                <a:solidFill>
                  <a:prstClr val="white"/>
                </a:solidFill>
              </a:rPr>
              <a:t>consectetur</a:t>
            </a:r>
            <a:r>
              <a:rPr lang="en-US" sz="1000" kern="0" dirty="0">
                <a:solidFill>
                  <a:prstClr val="white"/>
                </a:solidFill>
              </a:rPr>
              <a:t> ad </a:t>
            </a:r>
            <a:r>
              <a:rPr lang="en-US" sz="1600" b="1" kern="0" dirty="0">
                <a:solidFill>
                  <a:prstClr val="white"/>
                </a:solidFill>
              </a:rPr>
              <a:t>Lorem ipsum dolor sit </a:t>
            </a:r>
            <a:r>
              <a:rPr lang="en-US" sz="1000" kern="0" dirty="0">
                <a:solidFill>
                  <a:prstClr val="white"/>
                </a:solidFill>
              </a:rPr>
              <a:t>Lorem ipsum dolor sit </a:t>
            </a:r>
            <a:r>
              <a:rPr lang="en-US" sz="1000" kern="0" dirty="0" err="1">
                <a:solidFill>
                  <a:prstClr val="white"/>
                </a:solidFill>
              </a:rPr>
              <a:t>amet</a:t>
            </a:r>
            <a:r>
              <a:rPr lang="en-US" sz="1000" kern="0" dirty="0">
                <a:solidFill>
                  <a:prstClr val="white"/>
                </a:solidFill>
              </a:rPr>
              <a:t>, </a:t>
            </a:r>
            <a:r>
              <a:rPr lang="en-US" sz="1000" kern="0" dirty="0" err="1">
                <a:solidFill>
                  <a:prstClr val="white"/>
                </a:solidFill>
              </a:rPr>
              <a:t>consectetur</a:t>
            </a:r>
            <a:r>
              <a:rPr lang="en-US" sz="1000" kern="0" dirty="0">
                <a:solidFill>
                  <a:prstClr val="white"/>
                </a:solidFill>
              </a:rPr>
              <a:t> </a:t>
            </a:r>
            <a:r>
              <a:rPr lang="en-US" sz="1000" kern="0" dirty="0" err="1">
                <a:solidFill>
                  <a:prstClr val="white"/>
                </a:solidFill>
              </a:rPr>
              <a:t>adipisc</a:t>
            </a:r>
            <a:endParaRPr lang="en-US" sz="1000" kern="0" dirty="0">
              <a:solidFill>
                <a:prstClr val="white"/>
              </a:solidFill>
            </a:endParaRPr>
          </a:p>
        </p:txBody>
      </p:sp>
      <p:sp>
        <p:nvSpPr>
          <p:cNvPr id="76" name="Rectangle 64">
            <a:extLst>
              <a:ext uri="{FF2B5EF4-FFF2-40B4-BE49-F238E27FC236}">
                <a16:creationId xmlns:a16="http://schemas.microsoft.com/office/drawing/2014/main" id="{0D46112B-1030-2F4F-B40C-A147C3BF2D61}"/>
              </a:ext>
            </a:extLst>
          </p:cNvPr>
          <p:cNvSpPr>
            <a:spLocks noChangeArrowheads="1"/>
          </p:cNvSpPr>
          <p:nvPr/>
        </p:nvSpPr>
        <p:spPr bwMode="auto">
          <a:xfrm>
            <a:off x="7693642" y="3811242"/>
            <a:ext cx="2502587" cy="2153120"/>
          </a:xfrm>
          <a:prstGeom prst="rect">
            <a:avLst/>
          </a:prstGeom>
          <a:solidFill>
            <a:srgbClr val="007680"/>
          </a:solidFill>
          <a:ln w="9525">
            <a:noFill/>
            <a:miter lim="800000"/>
            <a:headEnd/>
            <a:tailEnd/>
          </a:ln>
        </p:spPr>
        <p:txBody>
          <a:bodyPr vert="horz" wrap="square" lIns="91440" tIns="45720" rIns="91440" bIns="45720" numCol="1" anchor="t" anchorCtr="0" compatLnSpc="1">
            <a:prstTxWarp prst="textNoShape">
              <a:avLst/>
            </a:prstTxWarp>
          </a:bodyPr>
          <a:lstStyle/>
          <a:p>
            <a:pPr defTabSz="1018824">
              <a:defRPr/>
            </a:pPr>
            <a:endParaRPr lang="en-US" sz="1000" kern="0" dirty="0">
              <a:solidFill>
                <a:prstClr val="white"/>
              </a:solidFill>
            </a:endParaRPr>
          </a:p>
        </p:txBody>
      </p:sp>
      <p:sp>
        <p:nvSpPr>
          <p:cNvPr id="77" name="Rectangle 76">
            <a:extLst>
              <a:ext uri="{FF2B5EF4-FFF2-40B4-BE49-F238E27FC236}">
                <a16:creationId xmlns:a16="http://schemas.microsoft.com/office/drawing/2014/main" id="{822AB602-FB1A-3A48-A16F-688B1DF7EC01}"/>
              </a:ext>
            </a:extLst>
          </p:cNvPr>
          <p:cNvSpPr>
            <a:spLocks noChangeArrowheads="1"/>
          </p:cNvSpPr>
          <p:nvPr/>
        </p:nvSpPr>
        <p:spPr bwMode="auto">
          <a:xfrm>
            <a:off x="7909235" y="3945204"/>
            <a:ext cx="389530" cy="92333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6000" kern="0" dirty="0">
                <a:solidFill>
                  <a:srgbClr val="FFFFFF"/>
                </a:solidFill>
                <a:latin typeface="Calibri Light" panose="020F0302020204030204" pitchFamily="34" charset="0"/>
                <a:cs typeface="Calibri Light" panose="020F0302020204030204" pitchFamily="34" charset="0"/>
              </a:rPr>
              <a:t>6</a:t>
            </a:r>
            <a:endParaRPr lang="en-US" altLang="en-US" sz="6000" kern="0" dirty="0">
              <a:solidFill>
                <a:prstClr val="black"/>
              </a:solidFill>
              <a:latin typeface="Calibri Light" panose="020F0302020204030204" pitchFamily="34" charset="0"/>
              <a:cs typeface="Calibri Light" panose="020F0302020204030204" pitchFamily="34" charset="0"/>
            </a:endParaRPr>
          </a:p>
        </p:txBody>
      </p:sp>
      <p:sp>
        <p:nvSpPr>
          <p:cNvPr id="79" name="Freeform 78">
            <a:extLst>
              <a:ext uri="{FF2B5EF4-FFF2-40B4-BE49-F238E27FC236}">
                <a16:creationId xmlns:a16="http://schemas.microsoft.com/office/drawing/2014/main" id="{E8EA5042-9C07-E646-9BCF-90AEF0D708C8}"/>
              </a:ext>
            </a:extLst>
          </p:cNvPr>
          <p:cNvSpPr>
            <a:spLocks noEditPoints="1"/>
          </p:cNvSpPr>
          <p:nvPr/>
        </p:nvSpPr>
        <p:spPr bwMode="auto">
          <a:xfrm>
            <a:off x="7459702" y="2123594"/>
            <a:ext cx="206503" cy="200727"/>
          </a:xfrm>
          <a:custGeom>
            <a:avLst/>
            <a:gdLst>
              <a:gd name="T0" fmla="*/ 490 w 968"/>
              <a:gd name="T1" fmla="*/ 0 h 968"/>
              <a:gd name="T2" fmla="*/ 0 w 968"/>
              <a:gd name="T3" fmla="*/ 479 h 968"/>
              <a:gd name="T4" fmla="*/ 490 w 968"/>
              <a:gd name="T5" fmla="*/ 968 h 968"/>
              <a:gd name="T6" fmla="*/ 968 w 968"/>
              <a:gd name="T7" fmla="*/ 479 h 968"/>
              <a:gd name="T8" fmla="*/ 490 w 968"/>
              <a:gd name="T9" fmla="*/ 0 h 968"/>
              <a:gd name="T10" fmla="*/ 490 w 968"/>
              <a:gd name="T11" fmla="*/ 875 h 968"/>
              <a:gd name="T12" fmla="*/ 105 w 968"/>
              <a:gd name="T13" fmla="*/ 479 h 968"/>
              <a:gd name="T14" fmla="*/ 490 w 968"/>
              <a:gd name="T15" fmla="*/ 94 h 968"/>
              <a:gd name="T16" fmla="*/ 875 w 968"/>
              <a:gd name="T17" fmla="*/ 479 h 968"/>
              <a:gd name="T18" fmla="*/ 490 w 968"/>
              <a:gd name="T19" fmla="*/ 875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8" h="968">
                <a:moveTo>
                  <a:pt x="490" y="0"/>
                </a:moveTo>
                <a:cubicBezTo>
                  <a:pt x="219" y="0"/>
                  <a:pt x="0" y="219"/>
                  <a:pt x="0" y="479"/>
                </a:cubicBezTo>
                <a:cubicBezTo>
                  <a:pt x="0" y="750"/>
                  <a:pt x="219" y="968"/>
                  <a:pt x="490" y="968"/>
                </a:cubicBezTo>
                <a:cubicBezTo>
                  <a:pt x="750" y="968"/>
                  <a:pt x="968" y="750"/>
                  <a:pt x="968" y="479"/>
                </a:cubicBezTo>
                <a:cubicBezTo>
                  <a:pt x="968" y="219"/>
                  <a:pt x="750" y="0"/>
                  <a:pt x="490" y="0"/>
                </a:cubicBezTo>
                <a:close/>
                <a:moveTo>
                  <a:pt x="490" y="875"/>
                </a:moveTo>
                <a:cubicBezTo>
                  <a:pt x="271" y="875"/>
                  <a:pt x="105" y="698"/>
                  <a:pt x="105" y="479"/>
                </a:cubicBezTo>
                <a:cubicBezTo>
                  <a:pt x="105" y="271"/>
                  <a:pt x="271" y="94"/>
                  <a:pt x="490" y="94"/>
                </a:cubicBezTo>
                <a:cubicBezTo>
                  <a:pt x="698" y="94"/>
                  <a:pt x="875" y="271"/>
                  <a:pt x="875" y="479"/>
                </a:cubicBezTo>
                <a:cubicBezTo>
                  <a:pt x="875" y="698"/>
                  <a:pt x="698" y="875"/>
                  <a:pt x="490" y="875"/>
                </a:cubicBezTo>
                <a:close/>
              </a:path>
            </a:pathLst>
          </a:custGeom>
          <a:solidFill>
            <a:srgbClr val="0097A9"/>
          </a:solidFill>
          <a:ln w="0">
            <a:noFill/>
            <a:prstDash val="solid"/>
            <a:round/>
            <a:headEnd/>
            <a:tailEnd/>
          </a:ln>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80" name="Freeform 79">
            <a:extLst>
              <a:ext uri="{FF2B5EF4-FFF2-40B4-BE49-F238E27FC236}">
                <a16:creationId xmlns:a16="http://schemas.microsoft.com/office/drawing/2014/main" id="{DEF43A44-989D-B146-92E9-0C94850E157C}"/>
              </a:ext>
            </a:extLst>
          </p:cNvPr>
          <p:cNvSpPr>
            <a:spLocks noEditPoints="1"/>
          </p:cNvSpPr>
          <p:nvPr/>
        </p:nvSpPr>
        <p:spPr bwMode="auto">
          <a:xfrm>
            <a:off x="7300852" y="1970522"/>
            <a:ext cx="525644" cy="508315"/>
          </a:xfrm>
          <a:custGeom>
            <a:avLst/>
            <a:gdLst>
              <a:gd name="T0" fmla="*/ 2394 w 2456"/>
              <a:gd name="T1" fmla="*/ 1020 h 2456"/>
              <a:gd name="T2" fmla="*/ 2030 w 2456"/>
              <a:gd name="T3" fmla="*/ 781 h 2456"/>
              <a:gd name="T4" fmla="*/ 2207 w 2456"/>
              <a:gd name="T5" fmla="*/ 490 h 2456"/>
              <a:gd name="T6" fmla="*/ 1905 w 2456"/>
              <a:gd name="T7" fmla="*/ 250 h 2456"/>
              <a:gd name="T8" fmla="*/ 1478 w 2456"/>
              <a:gd name="T9" fmla="*/ 344 h 2456"/>
              <a:gd name="T10" fmla="*/ 1395 w 2456"/>
              <a:gd name="T11" fmla="*/ 21 h 2456"/>
              <a:gd name="T12" fmla="*/ 1010 w 2456"/>
              <a:gd name="T13" fmla="*/ 63 h 2456"/>
              <a:gd name="T14" fmla="*/ 771 w 2456"/>
              <a:gd name="T15" fmla="*/ 427 h 2456"/>
              <a:gd name="T16" fmla="*/ 490 w 2456"/>
              <a:gd name="T17" fmla="*/ 250 h 2456"/>
              <a:gd name="T18" fmla="*/ 344 w 2456"/>
              <a:gd name="T19" fmla="*/ 375 h 2456"/>
              <a:gd name="T20" fmla="*/ 250 w 2456"/>
              <a:gd name="T21" fmla="*/ 552 h 2456"/>
              <a:gd name="T22" fmla="*/ 333 w 2456"/>
              <a:gd name="T23" fmla="*/ 979 h 2456"/>
              <a:gd name="T24" fmla="*/ 11 w 2456"/>
              <a:gd name="T25" fmla="*/ 1062 h 2456"/>
              <a:gd name="T26" fmla="*/ 0 w 2456"/>
              <a:gd name="T27" fmla="*/ 1249 h 2456"/>
              <a:gd name="T28" fmla="*/ 53 w 2456"/>
              <a:gd name="T29" fmla="*/ 1447 h 2456"/>
              <a:gd name="T30" fmla="*/ 417 w 2456"/>
              <a:gd name="T31" fmla="*/ 1686 h 2456"/>
              <a:gd name="T32" fmla="*/ 250 w 2456"/>
              <a:gd name="T33" fmla="*/ 1978 h 2456"/>
              <a:gd name="T34" fmla="*/ 365 w 2456"/>
              <a:gd name="T35" fmla="*/ 2113 h 2456"/>
              <a:gd name="T36" fmla="*/ 542 w 2456"/>
              <a:gd name="T37" fmla="*/ 2217 h 2456"/>
              <a:gd name="T38" fmla="*/ 979 w 2456"/>
              <a:gd name="T39" fmla="*/ 2123 h 2456"/>
              <a:gd name="T40" fmla="*/ 1052 w 2456"/>
              <a:gd name="T41" fmla="*/ 2446 h 2456"/>
              <a:gd name="T42" fmla="*/ 1395 w 2456"/>
              <a:gd name="T43" fmla="*/ 2446 h 2456"/>
              <a:gd name="T44" fmla="*/ 1478 w 2456"/>
              <a:gd name="T45" fmla="*/ 2123 h 2456"/>
              <a:gd name="T46" fmla="*/ 1905 w 2456"/>
              <a:gd name="T47" fmla="*/ 2217 h 2456"/>
              <a:gd name="T48" fmla="*/ 2207 w 2456"/>
              <a:gd name="T49" fmla="*/ 1978 h 2456"/>
              <a:gd name="T50" fmla="*/ 2030 w 2456"/>
              <a:gd name="T51" fmla="*/ 1686 h 2456"/>
              <a:gd name="T52" fmla="*/ 2394 w 2456"/>
              <a:gd name="T53" fmla="*/ 1447 h 2456"/>
              <a:gd name="T54" fmla="*/ 2456 w 2456"/>
              <a:gd name="T55" fmla="*/ 1228 h 2456"/>
              <a:gd name="T56" fmla="*/ 2342 w 2456"/>
              <a:gd name="T57" fmla="*/ 1353 h 2456"/>
              <a:gd name="T58" fmla="*/ 2019 w 2456"/>
              <a:gd name="T59" fmla="*/ 1426 h 2456"/>
              <a:gd name="T60" fmla="*/ 1926 w 2456"/>
              <a:gd name="T61" fmla="*/ 1718 h 2456"/>
              <a:gd name="T62" fmla="*/ 1936 w 2456"/>
              <a:gd name="T63" fmla="*/ 2113 h 2456"/>
              <a:gd name="T64" fmla="*/ 1655 w 2456"/>
              <a:gd name="T65" fmla="*/ 1936 h 2456"/>
              <a:gd name="T66" fmla="*/ 1385 w 2456"/>
              <a:gd name="T67" fmla="*/ 2071 h 2456"/>
              <a:gd name="T68" fmla="*/ 1104 w 2456"/>
              <a:gd name="T69" fmla="*/ 2352 h 2456"/>
              <a:gd name="T70" fmla="*/ 1031 w 2456"/>
              <a:gd name="T71" fmla="*/ 2030 h 2456"/>
              <a:gd name="T72" fmla="*/ 739 w 2456"/>
              <a:gd name="T73" fmla="*/ 1936 h 2456"/>
              <a:gd name="T74" fmla="*/ 438 w 2456"/>
              <a:gd name="T75" fmla="*/ 2040 h 2456"/>
              <a:gd name="T76" fmla="*/ 354 w 2456"/>
              <a:gd name="T77" fmla="*/ 1947 h 2456"/>
              <a:gd name="T78" fmla="*/ 521 w 2456"/>
              <a:gd name="T79" fmla="*/ 1666 h 2456"/>
              <a:gd name="T80" fmla="*/ 386 w 2456"/>
              <a:gd name="T81" fmla="*/ 1385 h 2456"/>
              <a:gd name="T82" fmla="*/ 94 w 2456"/>
              <a:gd name="T83" fmla="*/ 1249 h 2456"/>
              <a:gd name="T84" fmla="*/ 105 w 2456"/>
              <a:gd name="T85" fmla="*/ 1114 h 2456"/>
              <a:gd name="T86" fmla="*/ 427 w 2456"/>
              <a:gd name="T87" fmla="*/ 1041 h 2456"/>
              <a:gd name="T88" fmla="*/ 521 w 2456"/>
              <a:gd name="T89" fmla="*/ 750 h 2456"/>
              <a:gd name="T90" fmla="*/ 417 w 2456"/>
              <a:gd name="T91" fmla="*/ 448 h 2456"/>
              <a:gd name="T92" fmla="*/ 521 w 2456"/>
              <a:gd name="T93" fmla="*/ 354 h 2456"/>
              <a:gd name="T94" fmla="*/ 802 w 2456"/>
              <a:gd name="T95" fmla="*/ 531 h 2456"/>
              <a:gd name="T96" fmla="*/ 1072 w 2456"/>
              <a:gd name="T97" fmla="*/ 396 h 2456"/>
              <a:gd name="T98" fmla="*/ 1343 w 2456"/>
              <a:gd name="T99" fmla="*/ 115 h 2456"/>
              <a:gd name="T100" fmla="*/ 1416 w 2456"/>
              <a:gd name="T101" fmla="*/ 438 h 2456"/>
              <a:gd name="T102" fmla="*/ 1707 w 2456"/>
              <a:gd name="T103" fmla="*/ 531 h 2456"/>
              <a:gd name="T104" fmla="*/ 2103 w 2456"/>
              <a:gd name="T105" fmla="*/ 521 h 2456"/>
              <a:gd name="T106" fmla="*/ 1926 w 2456"/>
              <a:gd name="T107" fmla="*/ 802 h 2456"/>
              <a:gd name="T108" fmla="*/ 2061 w 2456"/>
              <a:gd name="T109" fmla="*/ 1083 h 2456"/>
              <a:gd name="T110" fmla="*/ 2352 w 2456"/>
              <a:gd name="T111" fmla="*/ 1228 h 2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56" h="2456">
                <a:moveTo>
                  <a:pt x="2436" y="1062"/>
                </a:moveTo>
                <a:cubicBezTo>
                  <a:pt x="2436" y="1041"/>
                  <a:pt x="2415" y="1020"/>
                  <a:pt x="2394" y="1020"/>
                </a:cubicBezTo>
                <a:cubicBezTo>
                  <a:pt x="2113" y="979"/>
                  <a:pt x="2113" y="979"/>
                  <a:pt x="2113" y="979"/>
                </a:cubicBezTo>
                <a:cubicBezTo>
                  <a:pt x="2092" y="916"/>
                  <a:pt x="2061" y="843"/>
                  <a:pt x="2030" y="781"/>
                </a:cubicBezTo>
                <a:cubicBezTo>
                  <a:pt x="2207" y="552"/>
                  <a:pt x="2207" y="552"/>
                  <a:pt x="2207" y="552"/>
                </a:cubicBezTo>
                <a:cubicBezTo>
                  <a:pt x="2217" y="542"/>
                  <a:pt x="2217" y="510"/>
                  <a:pt x="2207" y="490"/>
                </a:cubicBezTo>
                <a:cubicBezTo>
                  <a:pt x="2134" y="406"/>
                  <a:pt x="2051" y="323"/>
                  <a:pt x="1967" y="250"/>
                </a:cubicBezTo>
                <a:cubicBezTo>
                  <a:pt x="1947" y="240"/>
                  <a:pt x="1926" y="240"/>
                  <a:pt x="1905" y="250"/>
                </a:cubicBezTo>
                <a:cubicBezTo>
                  <a:pt x="1676" y="427"/>
                  <a:pt x="1676" y="427"/>
                  <a:pt x="1676" y="427"/>
                </a:cubicBezTo>
                <a:cubicBezTo>
                  <a:pt x="1614" y="396"/>
                  <a:pt x="1541" y="365"/>
                  <a:pt x="1478" y="344"/>
                </a:cubicBezTo>
                <a:cubicBezTo>
                  <a:pt x="1437" y="63"/>
                  <a:pt x="1437" y="63"/>
                  <a:pt x="1437" y="63"/>
                </a:cubicBezTo>
                <a:cubicBezTo>
                  <a:pt x="1437" y="42"/>
                  <a:pt x="1416" y="21"/>
                  <a:pt x="1395" y="21"/>
                </a:cubicBezTo>
                <a:cubicBezTo>
                  <a:pt x="1281" y="0"/>
                  <a:pt x="1166" y="0"/>
                  <a:pt x="1052" y="21"/>
                </a:cubicBezTo>
                <a:cubicBezTo>
                  <a:pt x="1031" y="21"/>
                  <a:pt x="1020" y="42"/>
                  <a:pt x="1010" y="63"/>
                </a:cubicBezTo>
                <a:cubicBezTo>
                  <a:pt x="979" y="344"/>
                  <a:pt x="979" y="344"/>
                  <a:pt x="979" y="344"/>
                </a:cubicBezTo>
                <a:cubicBezTo>
                  <a:pt x="906" y="365"/>
                  <a:pt x="833" y="396"/>
                  <a:pt x="771" y="427"/>
                </a:cubicBezTo>
                <a:cubicBezTo>
                  <a:pt x="542" y="250"/>
                  <a:pt x="542" y="250"/>
                  <a:pt x="542" y="250"/>
                </a:cubicBezTo>
                <a:cubicBezTo>
                  <a:pt x="531" y="240"/>
                  <a:pt x="500" y="240"/>
                  <a:pt x="490" y="250"/>
                </a:cubicBezTo>
                <a:cubicBezTo>
                  <a:pt x="448" y="281"/>
                  <a:pt x="406" y="323"/>
                  <a:pt x="365" y="354"/>
                </a:cubicBezTo>
                <a:cubicBezTo>
                  <a:pt x="344" y="375"/>
                  <a:pt x="344" y="375"/>
                  <a:pt x="344" y="375"/>
                </a:cubicBezTo>
                <a:cubicBezTo>
                  <a:pt x="313" y="417"/>
                  <a:pt x="281" y="448"/>
                  <a:pt x="250" y="490"/>
                </a:cubicBezTo>
                <a:cubicBezTo>
                  <a:pt x="229" y="510"/>
                  <a:pt x="229" y="531"/>
                  <a:pt x="250" y="552"/>
                </a:cubicBezTo>
                <a:cubicBezTo>
                  <a:pt x="417" y="781"/>
                  <a:pt x="417" y="781"/>
                  <a:pt x="417" y="781"/>
                </a:cubicBezTo>
                <a:cubicBezTo>
                  <a:pt x="386" y="843"/>
                  <a:pt x="354" y="916"/>
                  <a:pt x="333" y="979"/>
                </a:cubicBezTo>
                <a:cubicBezTo>
                  <a:pt x="53" y="1020"/>
                  <a:pt x="53" y="1020"/>
                  <a:pt x="53" y="1020"/>
                </a:cubicBezTo>
                <a:cubicBezTo>
                  <a:pt x="32" y="1020"/>
                  <a:pt x="11" y="1041"/>
                  <a:pt x="11" y="1062"/>
                </a:cubicBezTo>
                <a:cubicBezTo>
                  <a:pt x="0" y="1114"/>
                  <a:pt x="0" y="1166"/>
                  <a:pt x="0" y="1218"/>
                </a:cubicBezTo>
                <a:cubicBezTo>
                  <a:pt x="0" y="1249"/>
                  <a:pt x="0" y="1249"/>
                  <a:pt x="0" y="1249"/>
                </a:cubicBezTo>
                <a:cubicBezTo>
                  <a:pt x="0" y="1301"/>
                  <a:pt x="0" y="1353"/>
                  <a:pt x="11" y="1405"/>
                </a:cubicBezTo>
                <a:cubicBezTo>
                  <a:pt x="11" y="1426"/>
                  <a:pt x="32" y="1447"/>
                  <a:pt x="53" y="1447"/>
                </a:cubicBezTo>
                <a:cubicBezTo>
                  <a:pt x="333" y="1478"/>
                  <a:pt x="333" y="1478"/>
                  <a:pt x="333" y="1478"/>
                </a:cubicBezTo>
                <a:cubicBezTo>
                  <a:pt x="354" y="1551"/>
                  <a:pt x="386" y="1624"/>
                  <a:pt x="417" y="1686"/>
                </a:cubicBezTo>
                <a:cubicBezTo>
                  <a:pt x="250" y="1915"/>
                  <a:pt x="250" y="1915"/>
                  <a:pt x="250" y="1915"/>
                </a:cubicBezTo>
                <a:cubicBezTo>
                  <a:pt x="229" y="1926"/>
                  <a:pt x="229" y="1957"/>
                  <a:pt x="250" y="1978"/>
                </a:cubicBezTo>
                <a:cubicBezTo>
                  <a:pt x="281" y="2019"/>
                  <a:pt x="313" y="2051"/>
                  <a:pt x="344" y="2092"/>
                </a:cubicBezTo>
                <a:cubicBezTo>
                  <a:pt x="365" y="2113"/>
                  <a:pt x="365" y="2113"/>
                  <a:pt x="365" y="2113"/>
                </a:cubicBezTo>
                <a:cubicBezTo>
                  <a:pt x="406" y="2144"/>
                  <a:pt x="448" y="2186"/>
                  <a:pt x="490" y="2217"/>
                </a:cubicBezTo>
                <a:cubicBezTo>
                  <a:pt x="500" y="2228"/>
                  <a:pt x="531" y="2228"/>
                  <a:pt x="542" y="2217"/>
                </a:cubicBezTo>
                <a:cubicBezTo>
                  <a:pt x="771" y="2040"/>
                  <a:pt x="771" y="2040"/>
                  <a:pt x="771" y="2040"/>
                </a:cubicBezTo>
                <a:cubicBezTo>
                  <a:pt x="833" y="2071"/>
                  <a:pt x="906" y="2103"/>
                  <a:pt x="979" y="2123"/>
                </a:cubicBezTo>
                <a:cubicBezTo>
                  <a:pt x="1010" y="2404"/>
                  <a:pt x="1010" y="2404"/>
                  <a:pt x="1010" y="2404"/>
                </a:cubicBezTo>
                <a:cubicBezTo>
                  <a:pt x="1020" y="2425"/>
                  <a:pt x="1031" y="2446"/>
                  <a:pt x="1052" y="2446"/>
                </a:cubicBezTo>
                <a:cubicBezTo>
                  <a:pt x="1114" y="2456"/>
                  <a:pt x="1166" y="2456"/>
                  <a:pt x="1228" y="2456"/>
                </a:cubicBezTo>
                <a:cubicBezTo>
                  <a:pt x="1281" y="2456"/>
                  <a:pt x="1333" y="2456"/>
                  <a:pt x="1395" y="2446"/>
                </a:cubicBezTo>
                <a:cubicBezTo>
                  <a:pt x="1416" y="2446"/>
                  <a:pt x="1437" y="2425"/>
                  <a:pt x="1437" y="2404"/>
                </a:cubicBezTo>
                <a:cubicBezTo>
                  <a:pt x="1478" y="2123"/>
                  <a:pt x="1478" y="2123"/>
                  <a:pt x="1478" y="2123"/>
                </a:cubicBezTo>
                <a:cubicBezTo>
                  <a:pt x="1541" y="2103"/>
                  <a:pt x="1614" y="2071"/>
                  <a:pt x="1676" y="2040"/>
                </a:cubicBezTo>
                <a:cubicBezTo>
                  <a:pt x="1905" y="2217"/>
                  <a:pt x="1905" y="2217"/>
                  <a:pt x="1905" y="2217"/>
                </a:cubicBezTo>
                <a:cubicBezTo>
                  <a:pt x="1926" y="2228"/>
                  <a:pt x="1947" y="2228"/>
                  <a:pt x="1967" y="2217"/>
                </a:cubicBezTo>
                <a:cubicBezTo>
                  <a:pt x="2051" y="2144"/>
                  <a:pt x="2134" y="2061"/>
                  <a:pt x="2207" y="1978"/>
                </a:cubicBezTo>
                <a:cubicBezTo>
                  <a:pt x="2217" y="1957"/>
                  <a:pt x="2217" y="1926"/>
                  <a:pt x="2207" y="1915"/>
                </a:cubicBezTo>
                <a:cubicBezTo>
                  <a:pt x="2030" y="1686"/>
                  <a:pt x="2030" y="1686"/>
                  <a:pt x="2030" y="1686"/>
                </a:cubicBezTo>
                <a:cubicBezTo>
                  <a:pt x="2061" y="1624"/>
                  <a:pt x="2092" y="1551"/>
                  <a:pt x="2113" y="1478"/>
                </a:cubicBezTo>
                <a:cubicBezTo>
                  <a:pt x="2394" y="1447"/>
                  <a:pt x="2394" y="1447"/>
                  <a:pt x="2394" y="1447"/>
                </a:cubicBezTo>
                <a:cubicBezTo>
                  <a:pt x="2415" y="1447"/>
                  <a:pt x="2436" y="1426"/>
                  <a:pt x="2436" y="1405"/>
                </a:cubicBezTo>
                <a:cubicBezTo>
                  <a:pt x="2446" y="1343"/>
                  <a:pt x="2456" y="1291"/>
                  <a:pt x="2456" y="1228"/>
                </a:cubicBezTo>
                <a:cubicBezTo>
                  <a:pt x="2456" y="1176"/>
                  <a:pt x="2446" y="1124"/>
                  <a:pt x="2436" y="1062"/>
                </a:cubicBezTo>
                <a:close/>
                <a:moveTo>
                  <a:pt x="2342" y="1353"/>
                </a:moveTo>
                <a:cubicBezTo>
                  <a:pt x="2061" y="1385"/>
                  <a:pt x="2061" y="1385"/>
                  <a:pt x="2061" y="1385"/>
                </a:cubicBezTo>
                <a:cubicBezTo>
                  <a:pt x="2040" y="1395"/>
                  <a:pt x="2030" y="1405"/>
                  <a:pt x="2019" y="1426"/>
                </a:cubicBezTo>
                <a:cubicBezTo>
                  <a:pt x="1999" y="1509"/>
                  <a:pt x="1967" y="1593"/>
                  <a:pt x="1926" y="1666"/>
                </a:cubicBezTo>
                <a:cubicBezTo>
                  <a:pt x="1915" y="1676"/>
                  <a:pt x="1915" y="1697"/>
                  <a:pt x="1926" y="1718"/>
                </a:cubicBezTo>
                <a:cubicBezTo>
                  <a:pt x="2103" y="1947"/>
                  <a:pt x="2103" y="1947"/>
                  <a:pt x="2103" y="1947"/>
                </a:cubicBezTo>
                <a:cubicBezTo>
                  <a:pt x="2051" y="1999"/>
                  <a:pt x="1999" y="2061"/>
                  <a:pt x="1936" y="2113"/>
                </a:cubicBezTo>
                <a:cubicBezTo>
                  <a:pt x="1707" y="1936"/>
                  <a:pt x="1707" y="1936"/>
                  <a:pt x="1707" y="1936"/>
                </a:cubicBezTo>
                <a:cubicBezTo>
                  <a:pt x="1697" y="1926"/>
                  <a:pt x="1676" y="1926"/>
                  <a:pt x="1655" y="1936"/>
                </a:cubicBezTo>
                <a:cubicBezTo>
                  <a:pt x="1582" y="1978"/>
                  <a:pt x="1499" y="2009"/>
                  <a:pt x="1416" y="2030"/>
                </a:cubicBezTo>
                <a:cubicBezTo>
                  <a:pt x="1395" y="2040"/>
                  <a:pt x="1385" y="2051"/>
                  <a:pt x="1385" y="2071"/>
                </a:cubicBezTo>
                <a:cubicBezTo>
                  <a:pt x="1343" y="2352"/>
                  <a:pt x="1343" y="2352"/>
                  <a:pt x="1343" y="2352"/>
                </a:cubicBezTo>
                <a:cubicBezTo>
                  <a:pt x="1260" y="2363"/>
                  <a:pt x="1187" y="2363"/>
                  <a:pt x="1104" y="2352"/>
                </a:cubicBezTo>
                <a:cubicBezTo>
                  <a:pt x="1072" y="2071"/>
                  <a:pt x="1072" y="2071"/>
                  <a:pt x="1072" y="2071"/>
                </a:cubicBezTo>
                <a:cubicBezTo>
                  <a:pt x="1072" y="2051"/>
                  <a:pt x="1052" y="2040"/>
                  <a:pt x="1031" y="2030"/>
                </a:cubicBezTo>
                <a:cubicBezTo>
                  <a:pt x="947" y="2009"/>
                  <a:pt x="875" y="1978"/>
                  <a:pt x="802" y="1936"/>
                </a:cubicBezTo>
                <a:cubicBezTo>
                  <a:pt x="781" y="1926"/>
                  <a:pt x="760" y="1926"/>
                  <a:pt x="739" y="1936"/>
                </a:cubicBezTo>
                <a:cubicBezTo>
                  <a:pt x="521" y="2113"/>
                  <a:pt x="521" y="2113"/>
                  <a:pt x="521" y="2113"/>
                </a:cubicBezTo>
                <a:cubicBezTo>
                  <a:pt x="490" y="2092"/>
                  <a:pt x="458" y="2061"/>
                  <a:pt x="438" y="2040"/>
                </a:cubicBezTo>
                <a:cubicBezTo>
                  <a:pt x="417" y="2019"/>
                  <a:pt x="417" y="2019"/>
                  <a:pt x="417" y="2019"/>
                </a:cubicBezTo>
                <a:cubicBezTo>
                  <a:pt x="396" y="1999"/>
                  <a:pt x="375" y="1967"/>
                  <a:pt x="354" y="1947"/>
                </a:cubicBezTo>
                <a:cubicBezTo>
                  <a:pt x="521" y="1718"/>
                  <a:pt x="521" y="1718"/>
                  <a:pt x="521" y="1718"/>
                </a:cubicBezTo>
                <a:cubicBezTo>
                  <a:pt x="531" y="1707"/>
                  <a:pt x="531" y="1676"/>
                  <a:pt x="521" y="1666"/>
                </a:cubicBezTo>
                <a:cubicBezTo>
                  <a:pt x="479" y="1593"/>
                  <a:pt x="448" y="1509"/>
                  <a:pt x="427" y="1426"/>
                </a:cubicBezTo>
                <a:cubicBezTo>
                  <a:pt x="427" y="1405"/>
                  <a:pt x="406" y="1395"/>
                  <a:pt x="386" y="1385"/>
                </a:cubicBezTo>
                <a:cubicBezTo>
                  <a:pt x="105" y="1353"/>
                  <a:pt x="105" y="1353"/>
                  <a:pt x="105" y="1353"/>
                </a:cubicBezTo>
                <a:cubicBezTo>
                  <a:pt x="105" y="1322"/>
                  <a:pt x="94" y="1281"/>
                  <a:pt x="94" y="1249"/>
                </a:cubicBezTo>
                <a:cubicBezTo>
                  <a:pt x="94" y="1218"/>
                  <a:pt x="94" y="1218"/>
                  <a:pt x="94" y="1218"/>
                </a:cubicBezTo>
                <a:cubicBezTo>
                  <a:pt x="94" y="1187"/>
                  <a:pt x="105" y="1145"/>
                  <a:pt x="105" y="1114"/>
                </a:cubicBezTo>
                <a:cubicBezTo>
                  <a:pt x="386" y="1083"/>
                  <a:pt x="386" y="1083"/>
                  <a:pt x="386" y="1083"/>
                </a:cubicBezTo>
                <a:cubicBezTo>
                  <a:pt x="406" y="1072"/>
                  <a:pt x="427" y="1062"/>
                  <a:pt x="427" y="1041"/>
                </a:cubicBezTo>
                <a:cubicBezTo>
                  <a:pt x="448" y="958"/>
                  <a:pt x="479" y="875"/>
                  <a:pt x="521" y="802"/>
                </a:cubicBezTo>
                <a:cubicBezTo>
                  <a:pt x="531" y="791"/>
                  <a:pt x="531" y="760"/>
                  <a:pt x="521" y="750"/>
                </a:cubicBezTo>
                <a:cubicBezTo>
                  <a:pt x="354" y="521"/>
                  <a:pt x="354" y="521"/>
                  <a:pt x="354" y="521"/>
                </a:cubicBezTo>
                <a:cubicBezTo>
                  <a:pt x="375" y="500"/>
                  <a:pt x="396" y="469"/>
                  <a:pt x="417" y="448"/>
                </a:cubicBezTo>
                <a:cubicBezTo>
                  <a:pt x="438" y="427"/>
                  <a:pt x="438" y="427"/>
                  <a:pt x="438" y="427"/>
                </a:cubicBezTo>
                <a:cubicBezTo>
                  <a:pt x="458" y="406"/>
                  <a:pt x="490" y="375"/>
                  <a:pt x="521" y="354"/>
                </a:cubicBezTo>
                <a:cubicBezTo>
                  <a:pt x="739" y="531"/>
                  <a:pt x="739" y="531"/>
                  <a:pt x="739" y="531"/>
                </a:cubicBezTo>
                <a:cubicBezTo>
                  <a:pt x="760" y="542"/>
                  <a:pt x="781" y="542"/>
                  <a:pt x="802" y="531"/>
                </a:cubicBezTo>
                <a:cubicBezTo>
                  <a:pt x="875" y="490"/>
                  <a:pt x="947" y="458"/>
                  <a:pt x="1031" y="438"/>
                </a:cubicBezTo>
                <a:cubicBezTo>
                  <a:pt x="1052" y="427"/>
                  <a:pt x="1072" y="417"/>
                  <a:pt x="1072" y="396"/>
                </a:cubicBezTo>
                <a:cubicBezTo>
                  <a:pt x="1104" y="115"/>
                  <a:pt x="1104" y="115"/>
                  <a:pt x="1104" y="115"/>
                </a:cubicBezTo>
                <a:cubicBezTo>
                  <a:pt x="1187" y="105"/>
                  <a:pt x="1260" y="105"/>
                  <a:pt x="1343" y="115"/>
                </a:cubicBezTo>
                <a:cubicBezTo>
                  <a:pt x="1385" y="396"/>
                  <a:pt x="1385" y="396"/>
                  <a:pt x="1385" y="396"/>
                </a:cubicBezTo>
                <a:cubicBezTo>
                  <a:pt x="1385" y="417"/>
                  <a:pt x="1395" y="427"/>
                  <a:pt x="1416" y="438"/>
                </a:cubicBezTo>
                <a:cubicBezTo>
                  <a:pt x="1499" y="458"/>
                  <a:pt x="1582" y="490"/>
                  <a:pt x="1655" y="531"/>
                </a:cubicBezTo>
                <a:cubicBezTo>
                  <a:pt x="1676" y="542"/>
                  <a:pt x="1697" y="542"/>
                  <a:pt x="1707" y="531"/>
                </a:cubicBezTo>
                <a:cubicBezTo>
                  <a:pt x="1936" y="354"/>
                  <a:pt x="1936" y="354"/>
                  <a:pt x="1936" y="354"/>
                </a:cubicBezTo>
                <a:cubicBezTo>
                  <a:pt x="1999" y="406"/>
                  <a:pt x="2051" y="458"/>
                  <a:pt x="2103" y="521"/>
                </a:cubicBezTo>
                <a:cubicBezTo>
                  <a:pt x="1926" y="750"/>
                  <a:pt x="1926" y="750"/>
                  <a:pt x="1926" y="750"/>
                </a:cubicBezTo>
                <a:cubicBezTo>
                  <a:pt x="1915" y="760"/>
                  <a:pt x="1915" y="791"/>
                  <a:pt x="1926" y="802"/>
                </a:cubicBezTo>
                <a:cubicBezTo>
                  <a:pt x="1967" y="875"/>
                  <a:pt x="1999" y="958"/>
                  <a:pt x="2019" y="1041"/>
                </a:cubicBezTo>
                <a:cubicBezTo>
                  <a:pt x="2030" y="1062"/>
                  <a:pt x="2040" y="1072"/>
                  <a:pt x="2061" y="1083"/>
                </a:cubicBezTo>
                <a:cubicBezTo>
                  <a:pt x="2342" y="1114"/>
                  <a:pt x="2342" y="1114"/>
                  <a:pt x="2342" y="1114"/>
                </a:cubicBezTo>
                <a:cubicBezTo>
                  <a:pt x="2352" y="1156"/>
                  <a:pt x="2352" y="1197"/>
                  <a:pt x="2352" y="1228"/>
                </a:cubicBezTo>
                <a:cubicBezTo>
                  <a:pt x="2352" y="1270"/>
                  <a:pt x="2352" y="1312"/>
                  <a:pt x="2342" y="1353"/>
                </a:cubicBezTo>
                <a:close/>
              </a:path>
            </a:pathLst>
          </a:custGeom>
          <a:solidFill>
            <a:srgbClr val="0097A9"/>
          </a:solidFill>
          <a:ln w="0">
            <a:noFill/>
            <a:prstDash val="solid"/>
            <a:round/>
            <a:headEnd/>
            <a:tailEnd/>
          </a:ln>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86" name="Oval 85">
            <a:extLst>
              <a:ext uri="{FF2B5EF4-FFF2-40B4-BE49-F238E27FC236}">
                <a16:creationId xmlns:a16="http://schemas.microsoft.com/office/drawing/2014/main" id="{C8477D02-8115-EE4F-9BF4-EF2E2B23FF04}"/>
              </a:ext>
            </a:extLst>
          </p:cNvPr>
          <p:cNvSpPr>
            <a:spLocks noChangeArrowheads="1"/>
          </p:cNvSpPr>
          <p:nvPr/>
        </p:nvSpPr>
        <p:spPr bwMode="auto">
          <a:xfrm>
            <a:off x="6353529" y="4309424"/>
            <a:ext cx="1157199" cy="1118220"/>
          </a:xfrm>
          <a:prstGeom prst="ellipse">
            <a:avLst/>
          </a:pr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87" name="Rectangle 86">
            <a:extLst>
              <a:ext uri="{FF2B5EF4-FFF2-40B4-BE49-F238E27FC236}">
                <a16:creationId xmlns:a16="http://schemas.microsoft.com/office/drawing/2014/main" id="{126A9543-7FB9-EC4B-B643-94107EF8FE27}"/>
              </a:ext>
            </a:extLst>
          </p:cNvPr>
          <p:cNvSpPr>
            <a:spLocks noChangeArrowheads="1"/>
          </p:cNvSpPr>
          <p:nvPr/>
        </p:nvSpPr>
        <p:spPr bwMode="auto">
          <a:xfrm>
            <a:off x="6651435" y="4804387"/>
            <a:ext cx="570669"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2200" kern="0" dirty="0">
                <a:solidFill>
                  <a:srgbClr val="005587"/>
                </a:solidFill>
                <a:latin typeface="+mn-lt"/>
              </a:rPr>
              <a:t>2016</a:t>
            </a:r>
            <a:endParaRPr lang="en-US" altLang="en-US" kern="0" dirty="0">
              <a:solidFill>
                <a:srgbClr val="005587"/>
              </a:solidFill>
              <a:latin typeface="+mn-lt"/>
            </a:endParaRPr>
          </a:p>
        </p:txBody>
      </p:sp>
      <p:sp>
        <p:nvSpPr>
          <p:cNvPr id="88" name="Rectangle 87">
            <a:extLst>
              <a:ext uri="{FF2B5EF4-FFF2-40B4-BE49-F238E27FC236}">
                <a16:creationId xmlns:a16="http://schemas.microsoft.com/office/drawing/2014/main" id="{8E786F5A-55DB-D140-8B5F-C382E6081269}"/>
              </a:ext>
            </a:extLst>
          </p:cNvPr>
          <p:cNvSpPr>
            <a:spLocks noChangeArrowheads="1"/>
          </p:cNvSpPr>
          <p:nvPr/>
        </p:nvSpPr>
        <p:spPr bwMode="auto">
          <a:xfrm>
            <a:off x="6669463" y="4650198"/>
            <a:ext cx="532197"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200" kern="0" dirty="0">
                <a:solidFill>
                  <a:srgbClr val="005587"/>
                </a:solidFill>
                <a:latin typeface="+mn-lt"/>
              </a:rPr>
              <a:t>WINNER</a:t>
            </a:r>
            <a:endParaRPr lang="en-US" altLang="en-US" kern="0" dirty="0">
              <a:solidFill>
                <a:srgbClr val="005587"/>
              </a:solidFill>
              <a:latin typeface="+mn-lt"/>
            </a:endParaRPr>
          </a:p>
        </p:txBody>
      </p:sp>
      <p:sp>
        <p:nvSpPr>
          <p:cNvPr id="89" name="Content Placeholder 2">
            <a:extLst>
              <a:ext uri="{FF2B5EF4-FFF2-40B4-BE49-F238E27FC236}">
                <a16:creationId xmlns:a16="http://schemas.microsoft.com/office/drawing/2014/main" id="{5EFD9916-465B-A24E-BF70-6FA38441E7C6}"/>
              </a:ext>
            </a:extLst>
          </p:cNvPr>
          <p:cNvSpPr txBox="1">
            <a:spLocks/>
          </p:cNvSpPr>
          <p:nvPr/>
        </p:nvSpPr>
        <p:spPr>
          <a:xfrm>
            <a:off x="1804705" y="997163"/>
            <a:ext cx="8391525" cy="698977"/>
          </a:xfrm>
          <a:prstGeom prst="rect">
            <a:avLst/>
          </a:prstGeom>
          <a:solidFill>
            <a:sysClr val="window" lastClr="FFFFFF">
              <a:lumMod val="95000"/>
            </a:sysClr>
          </a:solidFill>
          <a:ln w="6350">
            <a:noFill/>
          </a:ln>
        </p:spPr>
        <p:txBody>
          <a:bodyPr wrap="square" lIns="91370" tIns="91370" rIns="91370" bIns="91370" anchor="ctr">
            <a:noAutofit/>
          </a:bodyPr>
          <a:lst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defRPr/>
            </a:pPr>
            <a:r>
              <a:rPr lang="en-US" sz="1400" dirty="0">
                <a:solidFill>
                  <a:srgbClr val="313131"/>
                </a:solidFill>
              </a:rPr>
              <a:t>Lorem ipsum dolor sit </a:t>
            </a:r>
            <a:r>
              <a:rPr lang="en-US" sz="1400" dirty="0" err="1">
                <a:solidFill>
                  <a:srgbClr val="313131"/>
                </a:solidFill>
              </a:rPr>
              <a:t>amet</a:t>
            </a:r>
            <a:r>
              <a:rPr lang="en-US" sz="1400" dirty="0">
                <a:solidFill>
                  <a:srgbClr val="313131"/>
                </a:solidFill>
              </a:rPr>
              <a:t>, </a:t>
            </a:r>
            <a:r>
              <a:rPr lang="en-US" sz="1400" dirty="0" err="1">
                <a:solidFill>
                  <a:srgbClr val="313131"/>
                </a:solidFill>
              </a:rPr>
              <a:t>consectetur</a:t>
            </a:r>
            <a:r>
              <a:rPr lang="en-US" sz="1400" dirty="0">
                <a:solidFill>
                  <a:srgbClr val="313131"/>
                </a:solidFill>
              </a:rPr>
              <a:t> </a:t>
            </a:r>
            <a:r>
              <a:rPr lang="en-US" sz="1400" dirty="0" err="1">
                <a:solidFill>
                  <a:srgbClr val="313131"/>
                </a:solidFill>
              </a:rPr>
              <a:t>adipiscing</a:t>
            </a:r>
            <a:r>
              <a:rPr lang="en-US" sz="1400" dirty="0">
                <a:solidFill>
                  <a:srgbClr val="313131"/>
                </a:solidFill>
              </a:rPr>
              <a:t> </a:t>
            </a:r>
            <a:r>
              <a:rPr lang="en-US" sz="1400" dirty="0" err="1">
                <a:solidFill>
                  <a:srgbClr val="313131"/>
                </a:solidFill>
              </a:rPr>
              <a:t>elit</a:t>
            </a:r>
            <a:r>
              <a:rPr lang="en-US" sz="1400" dirty="0">
                <a:solidFill>
                  <a:srgbClr val="313131"/>
                </a:solidFill>
              </a:rPr>
              <a:t>, </a:t>
            </a:r>
            <a:r>
              <a:rPr lang="en-US" sz="1400" dirty="0" err="1">
                <a:solidFill>
                  <a:srgbClr val="313131"/>
                </a:solidFill>
              </a:rPr>
              <a:t>sed</a:t>
            </a:r>
            <a:r>
              <a:rPr lang="en-US" sz="1400" dirty="0">
                <a:solidFill>
                  <a:srgbClr val="313131"/>
                </a:solidFill>
              </a:rPr>
              <a:t> do </a:t>
            </a:r>
            <a:r>
              <a:rPr lang="en-US" sz="1400" dirty="0" err="1">
                <a:solidFill>
                  <a:srgbClr val="313131"/>
                </a:solidFill>
              </a:rPr>
              <a:t>eiusmod</a:t>
            </a:r>
            <a:r>
              <a:rPr lang="en-US" sz="1400" dirty="0">
                <a:solidFill>
                  <a:srgbClr val="313131"/>
                </a:solidFill>
              </a:rPr>
              <a:t> </a:t>
            </a:r>
            <a:r>
              <a:rPr lang="en-US" sz="1400" dirty="0" err="1">
                <a:solidFill>
                  <a:srgbClr val="313131"/>
                </a:solidFill>
              </a:rPr>
              <a:t>tempor</a:t>
            </a:r>
            <a:r>
              <a:rPr lang="en-US" sz="1400" dirty="0">
                <a:solidFill>
                  <a:srgbClr val="313131"/>
                </a:solidFill>
              </a:rPr>
              <a:t> </a:t>
            </a:r>
            <a:r>
              <a:rPr lang="en-US" sz="1400" dirty="0" err="1">
                <a:solidFill>
                  <a:srgbClr val="313131"/>
                </a:solidFill>
              </a:rPr>
              <a:t>incididunt</a:t>
            </a:r>
            <a:r>
              <a:rPr lang="en-US" sz="1400" dirty="0">
                <a:solidFill>
                  <a:srgbClr val="313131"/>
                </a:solidFill>
              </a:rPr>
              <a:t> </a:t>
            </a:r>
            <a:endParaRPr sz="1400" dirty="0">
              <a:solidFill>
                <a:srgbClr val="313131"/>
              </a:solidFill>
            </a:endParaRPr>
          </a:p>
        </p:txBody>
      </p:sp>
      <p:sp>
        <p:nvSpPr>
          <p:cNvPr id="90" name="Freeform 89">
            <a:extLst>
              <a:ext uri="{FF2B5EF4-FFF2-40B4-BE49-F238E27FC236}">
                <a16:creationId xmlns:a16="http://schemas.microsoft.com/office/drawing/2014/main" id="{FD559591-E18F-634D-92D4-7AC39CE9B0B8}"/>
              </a:ext>
            </a:extLst>
          </p:cNvPr>
          <p:cNvSpPr>
            <a:spLocks/>
          </p:cNvSpPr>
          <p:nvPr/>
        </p:nvSpPr>
        <p:spPr bwMode="auto">
          <a:xfrm>
            <a:off x="1800510" y="606569"/>
            <a:ext cx="1274794" cy="391071"/>
          </a:xfrm>
          <a:custGeom>
            <a:avLst/>
            <a:gdLst>
              <a:gd name="T0" fmla="*/ 0 w 2220"/>
              <a:gd name="T1" fmla="*/ 1325 h 1325"/>
              <a:gd name="T2" fmla="*/ 0 w 2220"/>
              <a:gd name="T3" fmla="*/ 1325 h 1325"/>
              <a:gd name="T4" fmla="*/ 2220 w 2220"/>
              <a:gd name="T5" fmla="*/ 1325 h 1325"/>
              <a:gd name="T6" fmla="*/ 2220 w 2220"/>
              <a:gd name="T7" fmla="*/ 0 h 1325"/>
              <a:gd name="T8" fmla="*/ 0 w 2220"/>
              <a:gd name="T9" fmla="*/ 0 h 1325"/>
              <a:gd name="T10" fmla="*/ 0 w 2220"/>
              <a:gd name="T11" fmla="*/ 1325 h 1325"/>
            </a:gdLst>
            <a:ahLst/>
            <a:cxnLst>
              <a:cxn ang="0">
                <a:pos x="T0" y="T1"/>
              </a:cxn>
              <a:cxn ang="0">
                <a:pos x="T2" y="T3"/>
              </a:cxn>
              <a:cxn ang="0">
                <a:pos x="T4" y="T5"/>
              </a:cxn>
              <a:cxn ang="0">
                <a:pos x="T6" y="T7"/>
              </a:cxn>
              <a:cxn ang="0">
                <a:pos x="T8" y="T9"/>
              </a:cxn>
              <a:cxn ang="0">
                <a:pos x="T10" y="T11"/>
              </a:cxn>
            </a:cxnLst>
            <a:rect l="0" t="0" r="r" b="b"/>
            <a:pathLst>
              <a:path w="2220" h="1325">
                <a:moveTo>
                  <a:pt x="0" y="1325"/>
                </a:moveTo>
                <a:lnTo>
                  <a:pt x="0" y="1325"/>
                </a:lnTo>
                <a:lnTo>
                  <a:pt x="2220" y="1325"/>
                </a:lnTo>
                <a:lnTo>
                  <a:pt x="2220" y="0"/>
                </a:lnTo>
                <a:lnTo>
                  <a:pt x="0" y="0"/>
                </a:lnTo>
                <a:lnTo>
                  <a:pt x="0" y="1325"/>
                </a:lnTo>
                <a:close/>
              </a:path>
            </a:pathLst>
          </a:custGeom>
          <a:solidFill>
            <a:schemeClr val="tx1"/>
          </a:solidFill>
          <a:ln w="6350">
            <a:solidFill>
              <a:sysClr val="window" lastClr="FFFFFF"/>
            </a:solidFill>
            <a:prstDash val="solid"/>
            <a:round/>
            <a:headEnd/>
            <a:tailEnd/>
          </a:ln>
        </p:spPr>
        <p:txBody>
          <a:bodyPr vert="horz" wrap="square" lIns="91370" tIns="45685" rIns="91370" bIns="45685" numCol="1" anchor="t" anchorCtr="0" compatLnSpc="1">
            <a:prstTxWarp prst="textNoShape">
              <a:avLst/>
            </a:prstTxWarp>
          </a:bodyPr>
          <a:lstStyle/>
          <a:p>
            <a:pPr>
              <a:defRPr/>
            </a:pPr>
            <a:endParaRPr lang="en-US" sz="1600" kern="0" dirty="0">
              <a:solidFill>
                <a:prstClr val="black"/>
              </a:solidFill>
            </a:endParaRPr>
          </a:p>
        </p:txBody>
      </p:sp>
      <p:sp>
        <p:nvSpPr>
          <p:cNvPr id="91" name="Rectangle 90">
            <a:extLst>
              <a:ext uri="{FF2B5EF4-FFF2-40B4-BE49-F238E27FC236}">
                <a16:creationId xmlns:a16="http://schemas.microsoft.com/office/drawing/2014/main" id="{98C66C5A-4012-DB45-9D19-4E06658C601D}"/>
              </a:ext>
            </a:extLst>
          </p:cNvPr>
          <p:cNvSpPr/>
          <p:nvPr/>
        </p:nvSpPr>
        <p:spPr>
          <a:xfrm>
            <a:off x="2051585" y="709770"/>
            <a:ext cx="829458" cy="184666"/>
          </a:xfrm>
          <a:prstGeom prst="rect">
            <a:avLst/>
          </a:prstGeom>
        </p:spPr>
        <p:txBody>
          <a:bodyPr wrap="none" lIns="0" tIns="0" rIns="0" bIns="0">
            <a:spAutoFit/>
          </a:bodyPr>
          <a:lstStyle/>
          <a:p>
            <a:r>
              <a:rPr lang="en-US" sz="1200" b="1" dirty="0">
                <a:solidFill>
                  <a:prstClr val="white"/>
                </a:solidFill>
              </a:rPr>
              <a:t>Lorem ipsum</a:t>
            </a:r>
          </a:p>
        </p:txBody>
      </p:sp>
      <p:sp>
        <p:nvSpPr>
          <p:cNvPr id="95" name="TextBox 94">
            <a:extLst>
              <a:ext uri="{FF2B5EF4-FFF2-40B4-BE49-F238E27FC236}">
                <a16:creationId xmlns:a16="http://schemas.microsoft.com/office/drawing/2014/main" id="{A5A6E93B-67AB-0541-8A95-BCE33DD37C38}"/>
              </a:ext>
            </a:extLst>
          </p:cNvPr>
          <p:cNvSpPr txBox="1"/>
          <p:nvPr/>
        </p:nvSpPr>
        <p:spPr>
          <a:xfrm>
            <a:off x="8429571" y="4116230"/>
            <a:ext cx="1458671" cy="615553"/>
          </a:xfrm>
          <a:prstGeom prst="rect">
            <a:avLst/>
          </a:prstGeom>
          <a:noFill/>
        </p:spPr>
        <p:txBody>
          <a:bodyPr vert="horz" wrap="square" lIns="0" tIns="0" rIns="0" bIns="0" rtlCol="0">
            <a:spAutoFit/>
          </a:bodyPr>
          <a:lstStyle/>
          <a:p>
            <a:pPr>
              <a:spcBef>
                <a:spcPts val="200"/>
              </a:spcBef>
              <a:buSzPct val="100000"/>
            </a:pPr>
            <a:r>
              <a:rPr lang="en-US" sz="1000" dirty="0">
                <a:solidFill>
                  <a:prstClr val="white"/>
                </a:solidFill>
              </a:rPr>
              <a:t>Lorem ipsum dolor sit </a:t>
            </a:r>
            <a:r>
              <a:rPr lang="en-US" sz="1000" dirty="0" err="1">
                <a:solidFill>
                  <a:prstClr val="white"/>
                </a:solidFill>
              </a:rPr>
              <a:t>amet</a:t>
            </a:r>
            <a:r>
              <a:rPr lang="en-US" sz="1000" dirty="0">
                <a:solidFill>
                  <a:prstClr val="white"/>
                </a:solidFill>
              </a:rPr>
              <a:t>, </a:t>
            </a:r>
            <a:r>
              <a:rPr lang="en-US" sz="1000" dirty="0" err="1">
                <a:solidFill>
                  <a:prstClr val="white"/>
                </a:solidFill>
              </a:rPr>
              <a:t>consectetur</a:t>
            </a:r>
            <a:r>
              <a:rPr lang="en-US" sz="1000" dirty="0">
                <a:solidFill>
                  <a:prstClr val="white"/>
                </a:solidFill>
              </a:rPr>
              <a:t> </a:t>
            </a:r>
            <a:r>
              <a:rPr lang="en-US" sz="1000" dirty="0" err="1">
                <a:solidFill>
                  <a:prstClr val="white"/>
                </a:solidFill>
              </a:rPr>
              <a:t>adipiscing</a:t>
            </a:r>
            <a:r>
              <a:rPr lang="en-US" sz="1000" dirty="0">
                <a:solidFill>
                  <a:prstClr val="white"/>
                </a:solidFill>
              </a:rPr>
              <a:t> </a:t>
            </a:r>
            <a:r>
              <a:rPr lang="en-US" sz="1000" dirty="0" err="1">
                <a:solidFill>
                  <a:prstClr val="white"/>
                </a:solidFill>
              </a:rPr>
              <a:t>elit</a:t>
            </a:r>
            <a:r>
              <a:rPr lang="en-US" sz="1000" dirty="0">
                <a:solidFill>
                  <a:prstClr val="white"/>
                </a:solidFill>
              </a:rPr>
              <a:t>, </a:t>
            </a:r>
            <a:r>
              <a:rPr lang="en-US" sz="1000" dirty="0" err="1">
                <a:solidFill>
                  <a:prstClr val="white"/>
                </a:solidFill>
              </a:rPr>
              <a:t>sed</a:t>
            </a:r>
            <a:r>
              <a:rPr lang="en-US" sz="1000" dirty="0">
                <a:solidFill>
                  <a:prstClr val="white"/>
                </a:solidFill>
              </a:rPr>
              <a:t> do </a:t>
            </a:r>
            <a:r>
              <a:rPr lang="en-US" sz="1000" dirty="0" err="1">
                <a:solidFill>
                  <a:prstClr val="white"/>
                </a:solidFill>
              </a:rPr>
              <a:t>eiusmod</a:t>
            </a:r>
            <a:r>
              <a:rPr lang="en-US" sz="1000" dirty="0">
                <a:solidFill>
                  <a:prstClr val="white"/>
                </a:solidFill>
              </a:rPr>
              <a:t> </a:t>
            </a:r>
            <a:r>
              <a:rPr lang="en-US" sz="1000" dirty="0" err="1">
                <a:solidFill>
                  <a:prstClr val="white"/>
                </a:solidFill>
              </a:rPr>
              <a:t>tempor</a:t>
            </a:r>
            <a:r>
              <a:rPr lang="en-US" sz="1000" dirty="0">
                <a:solidFill>
                  <a:prstClr val="white"/>
                </a:solidFill>
              </a:rPr>
              <a:t> </a:t>
            </a:r>
            <a:r>
              <a:rPr lang="en-US" sz="1000" dirty="0" err="1">
                <a:solidFill>
                  <a:prstClr val="white"/>
                </a:solidFill>
              </a:rPr>
              <a:t>incididunt</a:t>
            </a:r>
            <a:r>
              <a:rPr lang="en-US" sz="1000" dirty="0">
                <a:solidFill>
                  <a:prstClr val="white"/>
                </a:solidFill>
              </a:rPr>
              <a:t> </a:t>
            </a:r>
          </a:p>
        </p:txBody>
      </p:sp>
      <p:grpSp>
        <p:nvGrpSpPr>
          <p:cNvPr id="99" name="Group 98">
            <a:extLst>
              <a:ext uri="{FF2B5EF4-FFF2-40B4-BE49-F238E27FC236}">
                <a16:creationId xmlns:a16="http://schemas.microsoft.com/office/drawing/2014/main" id="{42CD59BF-E360-964E-BAE0-806D93D373A9}"/>
              </a:ext>
            </a:extLst>
          </p:cNvPr>
          <p:cNvGrpSpPr/>
          <p:nvPr/>
        </p:nvGrpSpPr>
        <p:grpSpPr>
          <a:xfrm>
            <a:off x="3868329" y="2813125"/>
            <a:ext cx="1522218" cy="839043"/>
            <a:chOff x="2358385" y="3240630"/>
            <a:chExt cx="1522218" cy="839043"/>
          </a:xfrm>
        </p:grpSpPr>
        <p:grpSp>
          <p:nvGrpSpPr>
            <p:cNvPr id="100" name="Group 99">
              <a:extLst>
                <a:ext uri="{FF2B5EF4-FFF2-40B4-BE49-F238E27FC236}">
                  <a16:creationId xmlns:a16="http://schemas.microsoft.com/office/drawing/2014/main" id="{1A044D58-A914-D949-97C8-415B5EBAA960}"/>
                </a:ext>
              </a:extLst>
            </p:cNvPr>
            <p:cNvGrpSpPr/>
            <p:nvPr/>
          </p:nvGrpSpPr>
          <p:grpSpPr>
            <a:xfrm>
              <a:off x="2635704" y="3529347"/>
              <a:ext cx="1244899" cy="261610"/>
              <a:chOff x="2635704" y="3558129"/>
              <a:chExt cx="1244899" cy="261610"/>
            </a:xfrm>
          </p:grpSpPr>
          <p:sp>
            <p:nvSpPr>
              <p:cNvPr id="107" name="Rectangle 7">
                <a:extLst>
                  <a:ext uri="{FF2B5EF4-FFF2-40B4-BE49-F238E27FC236}">
                    <a16:creationId xmlns:a16="http://schemas.microsoft.com/office/drawing/2014/main" id="{493D7328-DD4E-554D-8529-DD13E71B0FF5}"/>
                  </a:ext>
                </a:extLst>
              </p:cNvPr>
              <p:cNvSpPr>
                <a:spLocks noChangeArrowheads="1"/>
              </p:cNvSpPr>
              <p:nvPr/>
            </p:nvSpPr>
            <p:spPr bwMode="auto">
              <a:xfrm>
                <a:off x="2635704" y="3558129"/>
                <a:ext cx="331822" cy="261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defRPr/>
                </a:pPr>
                <a:r>
                  <a:rPr lang="en-US" altLang="en-US" sz="1700" b="1" kern="0" dirty="0">
                    <a:solidFill>
                      <a:srgbClr val="FFFFFF"/>
                    </a:solidFill>
                    <a:latin typeface="+mn-lt"/>
                  </a:rPr>
                  <a:t>162</a:t>
                </a:r>
                <a:endParaRPr lang="en-US" altLang="en-US" kern="0" dirty="0">
                  <a:solidFill>
                    <a:prstClr val="black"/>
                  </a:solidFill>
                  <a:latin typeface="+mn-lt"/>
                </a:endParaRPr>
              </a:p>
            </p:txBody>
          </p:sp>
          <p:sp>
            <p:nvSpPr>
              <p:cNvPr id="108" name="Rectangle 62">
                <a:extLst>
                  <a:ext uri="{FF2B5EF4-FFF2-40B4-BE49-F238E27FC236}">
                    <a16:creationId xmlns:a16="http://schemas.microsoft.com/office/drawing/2014/main" id="{9BA93C51-C769-CC4A-8939-D86844B6FEE6}"/>
                  </a:ext>
                </a:extLst>
              </p:cNvPr>
              <p:cNvSpPr>
                <a:spLocks noChangeArrowheads="1"/>
              </p:cNvSpPr>
              <p:nvPr/>
            </p:nvSpPr>
            <p:spPr bwMode="auto">
              <a:xfrm>
                <a:off x="3202532" y="3611990"/>
                <a:ext cx="678071" cy="1538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kern="0" dirty="0">
                    <a:solidFill>
                      <a:srgbClr val="FFFFFF"/>
                    </a:solidFill>
                    <a:latin typeface="+mn-lt"/>
                  </a:rPr>
                  <a:t>Lorem ipsum</a:t>
                </a:r>
                <a:endParaRPr lang="en-US" altLang="en-US" sz="1000" kern="0" dirty="0">
                  <a:solidFill>
                    <a:prstClr val="black"/>
                  </a:solidFill>
                  <a:latin typeface="+mn-lt"/>
                </a:endParaRPr>
              </a:p>
            </p:txBody>
          </p:sp>
        </p:grpSp>
        <p:grpSp>
          <p:nvGrpSpPr>
            <p:cNvPr id="101" name="Group 100">
              <a:extLst>
                <a:ext uri="{FF2B5EF4-FFF2-40B4-BE49-F238E27FC236}">
                  <a16:creationId xmlns:a16="http://schemas.microsoft.com/office/drawing/2014/main" id="{73B9DD41-2C85-B84A-9CF1-62625D950761}"/>
                </a:ext>
              </a:extLst>
            </p:cNvPr>
            <p:cNvGrpSpPr/>
            <p:nvPr/>
          </p:nvGrpSpPr>
          <p:grpSpPr>
            <a:xfrm>
              <a:off x="2358385" y="3818063"/>
              <a:ext cx="1522218" cy="261610"/>
              <a:chOff x="2358385" y="3818063"/>
              <a:chExt cx="1522218" cy="261610"/>
            </a:xfrm>
          </p:grpSpPr>
          <p:sp>
            <p:nvSpPr>
              <p:cNvPr id="105" name="Rectangle 8">
                <a:extLst>
                  <a:ext uri="{FF2B5EF4-FFF2-40B4-BE49-F238E27FC236}">
                    <a16:creationId xmlns:a16="http://schemas.microsoft.com/office/drawing/2014/main" id="{2CAC88A5-E171-1F48-86DA-DCA5F529531B}"/>
                  </a:ext>
                </a:extLst>
              </p:cNvPr>
              <p:cNvSpPr>
                <a:spLocks noChangeArrowheads="1"/>
              </p:cNvSpPr>
              <p:nvPr/>
            </p:nvSpPr>
            <p:spPr bwMode="auto">
              <a:xfrm>
                <a:off x="2358385" y="3818063"/>
                <a:ext cx="609141" cy="261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defRPr/>
                </a:pPr>
                <a:r>
                  <a:rPr lang="nl-BE" altLang="en-US" sz="1700" b="1" kern="0" dirty="0">
                    <a:solidFill>
                      <a:srgbClr val="FFFFFF"/>
                    </a:solidFill>
                    <a:latin typeface="+mn-lt"/>
                  </a:rPr>
                  <a:t>20,000</a:t>
                </a:r>
                <a:endParaRPr lang="en-US" altLang="en-US" kern="0" dirty="0">
                  <a:solidFill>
                    <a:prstClr val="black"/>
                  </a:solidFill>
                  <a:latin typeface="+mn-lt"/>
                </a:endParaRPr>
              </a:p>
            </p:txBody>
          </p:sp>
          <p:sp>
            <p:nvSpPr>
              <p:cNvPr id="106" name="Rectangle 63">
                <a:extLst>
                  <a:ext uri="{FF2B5EF4-FFF2-40B4-BE49-F238E27FC236}">
                    <a16:creationId xmlns:a16="http://schemas.microsoft.com/office/drawing/2014/main" id="{A60E6954-E939-214E-8299-E31D62C0FB17}"/>
                  </a:ext>
                </a:extLst>
              </p:cNvPr>
              <p:cNvSpPr>
                <a:spLocks noChangeArrowheads="1"/>
              </p:cNvSpPr>
              <p:nvPr/>
            </p:nvSpPr>
            <p:spPr bwMode="auto">
              <a:xfrm>
                <a:off x="3202532" y="3871924"/>
                <a:ext cx="678071" cy="1538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kern="0" dirty="0">
                    <a:solidFill>
                      <a:srgbClr val="FFFFFF"/>
                    </a:solidFill>
                    <a:latin typeface="+mn-lt"/>
                  </a:rPr>
                  <a:t>Lorem ipsum</a:t>
                </a:r>
                <a:endParaRPr lang="en-US" altLang="en-US" sz="1000" kern="0" dirty="0">
                  <a:solidFill>
                    <a:prstClr val="black"/>
                  </a:solidFill>
                  <a:latin typeface="+mn-lt"/>
                </a:endParaRPr>
              </a:p>
            </p:txBody>
          </p:sp>
        </p:grpSp>
        <p:grpSp>
          <p:nvGrpSpPr>
            <p:cNvPr id="102" name="Group 101">
              <a:extLst>
                <a:ext uri="{FF2B5EF4-FFF2-40B4-BE49-F238E27FC236}">
                  <a16:creationId xmlns:a16="http://schemas.microsoft.com/office/drawing/2014/main" id="{5CB374E2-236E-D34D-84D7-0FAD03BB166C}"/>
                </a:ext>
              </a:extLst>
            </p:cNvPr>
            <p:cNvGrpSpPr/>
            <p:nvPr/>
          </p:nvGrpSpPr>
          <p:grpSpPr>
            <a:xfrm>
              <a:off x="2635704" y="3240630"/>
              <a:ext cx="1244898" cy="261610"/>
              <a:chOff x="2635704" y="3240630"/>
              <a:chExt cx="1244898" cy="261610"/>
            </a:xfrm>
          </p:grpSpPr>
          <p:sp>
            <p:nvSpPr>
              <p:cNvPr id="103" name="Rectangle 6">
                <a:extLst>
                  <a:ext uri="{FF2B5EF4-FFF2-40B4-BE49-F238E27FC236}">
                    <a16:creationId xmlns:a16="http://schemas.microsoft.com/office/drawing/2014/main" id="{BE27B4EB-FCFC-4345-83A7-453023CD1A5A}"/>
                  </a:ext>
                </a:extLst>
              </p:cNvPr>
              <p:cNvSpPr>
                <a:spLocks noChangeArrowheads="1"/>
              </p:cNvSpPr>
              <p:nvPr/>
            </p:nvSpPr>
            <p:spPr bwMode="auto">
              <a:xfrm>
                <a:off x="2635704" y="3240630"/>
                <a:ext cx="331822" cy="261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defRPr/>
                </a:pPr>
                <a:r>
                  <a:rPr lang="nl-BE" altLang="en-US" sz="1700" b="1" kern="0" dirty="0">
                    <a:solidFill>
                      <a:srgbClr val="FFFFFF"/>
                    </a:solidFill>
                    <a:latin typeface="+mn-lt"/>
                  </a:rPr>
                  <a:t>300</a:t>
                </a:r>
                <a:endParaRPr lang="en-US" altLang="en-US" kern="0" dirty="0">
                  <a:solidFill>
                    <a:prstClr val="black"/>
                  </a:solidFill>
                  <a:latin typeface="+mn-lt"/>
                </a:endParaRPr>
              </a:p>
            </p:txBody>
          </p:sp>
          <p:sp>
            <p:nvSpPr>
              <p:cNvPr id="104" name="Rectangle 77">
                <a:extLst>
                  <a:ext uri="{FF2B5EF4-FFF2-40B4-BE49-F238E27FC236}">
                    <a16:creationId xmlns:a16="http://schemas.microsoft.com/office/drawing/2014/main" id="{A842E331-3F3D-F84D-BFC8-434336413899}"/>
                  </a:ext>
                </a:extLst>
              </p:cNvPr>
              <p:cNvSpPr>
                <a:spLocks noChangeArrowheads="1"/>
              </p:cNvSpPr>
              <p:nvPr/>
            </p:nvSpPr>
            <p:spPr bwMode="auto">
              <a:xfrm>
                <a:off x="3202532" y="3294491"/>
                <a:ext cx="678070" cy="1538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kern="0" dirty="0">
                    <a:solidFill>
                      <a:srgbClr val="FFFFFF"/>
                    </a:solidFill>
                    <a:latin typeface="+mn-lt"/>
                  </a:rPr>
                  <a:t>Lorem ipsum</a:t>
                </a:r>
                <a:endParaRPr lang="en-US" altLang="en-US" sz="1000" kern="0" dirty="0">
                  <a:solidFill>
                    <a:prstClr val="black"/>
                  </a:solidFill>
                  <a:latin typeface="+mn-lt"/>
                </a:endParaRPr>
              </a:p>
            </p:txBody>
          </p:sp>
        </p:grpSp>
      </p:grpSp>
      <p:sp>
        <p:nvSpPr>
          <p:cNvPr id="46" name="Rectangle 45">
            <a:extLst>
              <a:ext uri="{FF2B5EF4-FFF2-40B4-BE49-F238E27FC236}">
                <a16:creationId xmlns:a16="http://schemas.microsoft.com/office/drawing/2014/main" id="{A8B63B7B-4644-104A-9FAE-7F5D90D891D5}"/>
              </a:ext>
            </a:extLst>
          </p:cNvPr>
          <p:cNvSpPr>
            <a:spLocks noChangeArrowheads="1"/>
          </p:cNvSpPr>
          <p:nvPr/>
        </p:nvSpPr>
        <p:spPr bwMode="auto">
          <a:xfrm>
            <a:off x="8429571" y="1734266"/>
            <a:ext cx="389530" cy="92333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6000" kern="0" dirty="0">
                <a:solidFill>
                  <a:srgbClr val="FFFFFF"/>
                </a:solidFill>
                <a:latin typeface="Calibri Light" panose="020F0302020204030204" pitchFamily="34" charset="0"/>
                <a:cs typeface="Calibri Light" panose="020F0302020204030204" pitchFamily="34" charset="0"/>
              </a:rPr>
              <a:t>4</a:t>
            </a:r>
            <a:endParaRPr lang="en-US" altLang="en-US" sz="6000" kern="0" dirty="0">
              <a:solidFill>
                <a:prstClr val="black"/>
              </a:solidFill>
              <a:latin typeface="Calibri Light" panose="020F0302020204030204" pitchFamily="34" charset="0"/>
              <a:cs typeface="Calibri Light" panose="020F0302020204030204" pitchFamily="34" charset="0"/>
            </a:endParaRPr>
          </a:p>
        </p:txBody>
      </p:sp>
    </p:spTree>
    <p:custDataLst>
      <p:tags r:id="rId1"/>
    </p:custDataLst>
    <p:extLst>
      <p:ext uri="{BB962C8B-B14F-4D97-AF65-F5344CB8AC3E}">
        <p14:creationId xmlns:p14="http://schemas.microsoft.com/office/powerpoint/2010/main" val="603963610"/>
      </p:ext>
    </p:extLst>
  </p:cSld>
  <p:clrMapOvr>
    <a:masterClrMapping/>
  </p:clrMapOvr>
  <p:transition>
    <p:fade/>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 name="圆角矩形 495"/>
          <p:cNvSpPr/>
          <p:nvPr/>
        </p:nvSpPr>
        <p:spPr bwMode="gray">
          <a:xfrm>
            <a:off x="8138449" y="1209443"/>
            <a:ext cx="3522726" cy="1115456"/>
          </a:xfrm>
          <a:prstGeom prst="roundRect">
            <a:avLst>
              <a:gd name="adj" fmla="val 6557"/>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5" name="圆角矩形 494"/>
          <p:cNvSpPr/>
          <p:nvPr/>
        </p:nvSpPr>
        <p:spPr bwMode="gray">
          <a:xfrm>
            <a:off x="4334637" y="1217062"/>
            <a:ext cx="3522726" cy="1115456"/>
          </a:xfrm>
          <a:prstGeom prst="roundRect">
            <a:avLst>
              <a:gd name="adj" fmla="val 6557"/>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圆角矩形 61"/>
          <p:cNvSpPr/>
          <p:nvPr/>
        </p:nvSpPr>
        <p:spPr bwMode="gray">
          <a:xfrm>
            <a:off x="533323" y="1209443"/>
            <a:ext cx="3522726" cy="1115456"/>
          </a:xfrm>
          <a:prstGeom prst="roundRect">
            <a:avLst>
              <a:gd name="adj" fmla="val 6557"/>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61" name="组合 60"/>
          <p:cNvGrpSpPr/>
          <p:nvPr/>
        </p:nvGrpSpPr>
        <p:grpSpPr>
          <a:xfrm>
            <a:off x="8078473" y="2440317"/>
            <a:ext cx="3637488" cy="3431261"/>
            <a:chOff x="4432456" y="2592717"/>
            <a:chExt cx="3637488" cy="3431261"/>
          </a:xfrm>
        </p:grpSpPr>
        <p:sp>
          <p:nvSpPr>
            <p:cNvPr id="490" name="圆角矩形 489"/>
            <p:cNvSpPr/>
            <p:nvPr/>
          </p:nvSpPr>
          <p:spPr bwMode="gray">
            <a:xfrm>
              <a:off x="4432456" y="3014112"/>
              <a:ext cx="3627438" cy="1443588"/>
            </a:xfrm>
            <a:prstGeom prst="roundRect">
              <a:avLst>
                <a:gd name="adj" fmla="val 0"/>
              </a:avLst>
            </a:prstGeom>
            <a:noFill/>
            <a:ln w="28575" algn="ctr">
              <a:solidFill>
                <a:srgbClr val="75787B"/>
              </a:solidFill>
              <a:miter lim="800000"/>
              <a:headEnd/>
              <a:tailEnd/>
            </a:ln>
          </p:spPr>
          <p:txBody>
            <a:bodyPr wrap="square" lIns="180000" tIns="88900" rIns="88900" bIns="88900" rtlCol="0" anchor="ctr"/>
            <a:lstStyle/>
            <a:p>
              <a:pPr lvl="0" defTabSz="914400">
                <a:defRPr/>
              </a:pPr>
              <a:endParaRPr lang="en-US" sz="1200" kern="0" dirty="0">
                <a:solidFill>
                  <a:prstClr val="white"/>
                </a:solidFill>
                <a:ea typeface="Verdana" panose="020B0604030504040204" pitchFamily="34" charset="0"/>
                <a:cs typeface="Verdana" panose="020B0604030504040204" pitchFamily="34" charset="0"/>
              </a:endParaRPr>
            </a:p>
          </p:txBody>
        </p:sp>
        <p:sp>
          <p:nvSpPr>
            <p:cNvPr id="491" name="同侧圆角矩形 490"/>
            <p:cNvSpPr/>
            <p:nvPr/>
          </p:nvSpPr>
          <p:spPr bwMode="gray">
            <a:xfrm>
              <a:off x="4432456" y="2592717"/>
              <a:ext cx="3637488" cy="339812"/>
            </a:xfrm>
            <a:prstGeom prst="round2SameRect">
              <a:avLst>
                <a:gd name="adj1" fmla="val 36849"/>
                <a:gd name="adj2" fmla="val 0"/>
              </a:avLst>
            </a:prstGeom>
            <a:solidFill>
              <a:srgbClr val="005587"/>
            </a:solidFill>
            <a:ln w="28575" algn="ctr">
              <a:noFill/>
              <a:miter lim="800000"/>
              <a:headEnd/>
              <a:tailEnd/>
            </a:ln>
          </p:spPr>
          <p:txBody>
            <a:bodyPr wrap="square" lIns="180000" tIns="88900" rIns="88900" bIns="88900" rtlCol="0" anchor="ctr"/>
            <a:lstStyle/>
            <a:p>
              <a:pPr lvl="0">
                <a:defRPr/>
              </a:pPr>
              <a:r>
                <a:rPr lang="en-US" sz="1200" u="sng" kern="0" dirty="0">
                  <a:solidFill>
                    <a:prstClr val="white"/>
                  </a:solidFill>
                  <a:ea typeface="Verdana" panose="020B0604030504040204" pitchFamily="34" charset="0"/>
                  <a:cs typeface="Verdana" panose="020B0604030504040204" pitchFamily="34" charset="0"/>
                </a:rPr>
                <a:t>Lorem ipsum</a:t>
              </a:r>
              <a:endParaRPr lang="en-US" sz="1200" kern="0" dirty="0">
                <a:solidFill>
                  <a:prstClr val="white"/>
                </a:solidFill>
                <a:ea typeface="Verdana" panose="020B0604030504040204" pitchFamily="34" charset="0"/>
                <a:cs typeface="Verdana" panose="020B0604030504040204" pitchFamily="34" charset="0"/>
              </a:endParaRPr>
            </a:p>
          </p:txBody>
        </p:sp>
        <p:sp>
          <p:nvSpPr>
            <p:cNvPr id="492" name="TextBox 69"/>
            <p:cNvSpPr txBox="1"/>
            <p:nvPr/>
          </p:nvSpPr>
          <p:spPr>
            <a:xfrm>
              <a:off x="4523788" y="3061106"/>
              <a:ext cx="1724612" cy="1169551"/>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sp>
          <p:nvSpPr>
            <p:cNvPr id="494" name="TextBox 69"/>
            <p:cNvSpPr txBox="1"/>
            <p:nvPr/>
          </p:nvSpPr>
          <p:spPr>
            <a:xfrm>
              <a:off x="4523789" y="4485095"/>
              <a:ext cx="3523088" cy="1538883"/>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grpSp>
      <p:grpSp>
        <p:nvGrpSpPr>
          <p:cNvPr id="58" name="组合 57"/>
          <p:cNvGrpSpPr/>
          <p:nvPr/>
        </p:nvGrpSpPr>
        <p:grpSpPr>
          <a:xfrm>
            <a:off x="4280056" y="2427627"/>
            <a:ext cx="3637488" cy="3443951"/>
            <a:chOff x="4280056" y="2635726"/>
            <a:chExt cx="3637488" cy="3443951"/>
          </a:xfrm>
        </p:grpSpPr>
        <p:sp>
          <p:nvSpPr>
            <p:cNvPr id="453" name="圆角矩形 452"/>
            <p:cNvSpPr/>
            <p:nvPr/>
          </p:nvSpPr>
          <p:spPr bwMode="gray">
            <a:xfrm>
              <a:off x="4280056" y="3069811"/>
              <a:ext cx="3627438" cy="1443588"/>
            </a:xfrm>
            <a:prstGeom prst="roundRect">
              <a:avLst>
                <a:gd name="adj" fmla="val 0"/>
              </a:avLst>
            </a:prstGeom>
            <a:noFill/>
            <a:ln w="28575" algn="ctr">
              <a:solidFill>
                <a:srgbClr val="75787B"/>
              </a:solidFill>
              <a:miter lim="800000"/>
              <a:headEnd/>
              <a:tailEnd/>
            </a:ln>
          </p:spPr>
          <p:txBody>
            <a:bodyPr wrap="square" lIns="180000" tIns="88900" rIns="88900" bIns="88900" rtlCol="0" anchor="ctr"/>
            <a:lstStyle/>
            <a:p>
              <a:pPr lvl="0" defTabSz="914400">
                <a:defRPr/>
              </a:pPr>
              <a:endParaRPr lang="en-US" sz="1200" kern="0" dirty="0">
                <a:solidFill>
                  <a:prstClr val="white"/>
                </a:solidFill>
                <a:ea typeface="Verdana" panose="020B0604030504040204" pitchFamily="34" charset="0"/>
                <a:cs typeface="Verdana" panose="020B0604030504040204" pitchFamily="34" charset="0"/>
              </a:endParaRPr>
            </a:p>
          </p:txBody>
        </p:sp>
        <p:sp>
          <p:nvSpPr>
            <p:cNvPr id="454" name="同侧圆角矩形 453"/>
            <p:cNvSpPr/>
            <p:nvPr/>
          </p:nvSpPr>
          <p:spPr bwMode="gray">
            <a:xfrm>
              <a:off x="4280056" y="2635726"/>
              <a:ext cx="3637488" cy="352502"/>
            </a:xfrm>
            <a:prstGeom prst="round2SameRect">
              <a:avLst>
                <a:gd name="adj1" fmla="val 38284"/>
                <a:gd name="adj2" fmla="val 0"/>
              </a:avLst>
            </a:prstGeom>
            <a:solidFill>
              <a:srgbClr val="004F59"/>
            </a:solidFill>
            <a:ln w="28575" algn="ctr">
              <a:noFill/>
              <a:miter lim="800000"/>
              <a:headEnd/>
              <a:tailEnd/>
            </a:ln>
          </p:spPr>
          <p:txBody>
            <a:bodyPr wrap="square" lIns="180000" tIns="88900" rIns="88900" bIns="88900" rtlCol="0" anchor="ctr"/>
            <a:lstStyle/>
            <a:p>
              <a:pPr lvl="0">
                <a:defRPr/>
              </a:pPr>
              <a:r>
                <a:rPr lang="en-US" sz="1200" u="sng" kern="0" dirty="0">
                  <a:solidFill>
                    <a:prstClr val="white"/>
                  </a:solidFill>
                  <a:ea typeface="Verdana" panose="020B0604030504040204" pitchFamily="34" charset="0"/>
                  <a:cs typeface="Verdana" panose="020B0604030504040204" pitchFamily="34" charset="0"/>
                </a:rPr>
                <a:t>Lorem ipsum</a:t>
              </a:r>
              <a:endParaRPr lang="en-US" sz="1200" kern="0" dirty="0">
                <a:solidFill>
                  <a:prstClr val="white"/>
                </a:solidFill>
                <a:ea typeface="Verdana" panose="020B0604030504040204" pitchFamily="34" charset="0"/>
                <a:cs typeface="Verdana" panose="020B0604030504040204" pitchFamily="34" charset="0"/>
              </a:endParaRPr>
            </a:p>
          </p:txBody>
        </p:sp>
        <p:sp>
          <p:nvSpPr>
            <p:cNvPr id="456" name="TextBox 69"/>
            <p:cNvSpPr txBox="1"/>
            <p:nvPr/>
          </p:nvSpPr>
          <p:spPr>
            <a:xfrm>
              <a:off x="4371388" y="3116805"/>
              <a:ext cx="1724612" cy="1169551"/>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sp>
          <p:nvSpPr>
            <p:cNvPr id="458" name="TextBox 69"/>
            <p:cNvSpPr txBox="1"/>
            <p:nvPr/>
          </p:nvSpPr>
          <p:spPr>
            <a:xfrm>
              <a:off x="4371389" y="4540794"/>
              <a:ext cx="3536106" cy="1538883"/>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grpSp>
      <p:sp>
        <p:nvSpPr>
          <p:cNvPr id="87" name="Rectangle 4"/>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sp>
        <p:nvSpPr>
          <p:cNvPr id="88" name="Rectangle 5"/>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sp>
        <p:nvSpPr>
          <p:cNvPr id="350" name="Rounded Rectangle 249"/>
          <p:cNvSpPr/>
          <p:nvPr/>
        </p:nvSpPr>
        <p:spPr bwMode="gray">
          <a:xfrm>
            <a:off x="8080162" y="2429399"/>
            <a:ext cx="3627438" cy="3520551"/>
          </a:xfrm>
          <a:prstGeom prst="roundRect">
            <a:avLst>
              <a:gd name="adj" fmla="val 3660"/>
            </a:avLst>
          </a:prstGeom>
          <a:noFill/>
          <a:ln w="28575" algn="ctr">
            <a:solidFill>
              <a:srgbClr val="0076A8"/>
            </a:solidFill>
            <a:miter lim="800000"/>
            <a:headEnd/>
            <a:tailEnd/>
          </a:ln>
        </p:spPr>
        <p:txBody>
          <a:bodyPr wrap="square" lIns="88900" tIns="144000" rIns="88900" bIns="90000" rtlCol="0" anchor="t" anchorCtr="0">
            <a:noAutofit/>
          </a:bodyPr>
          <a:lstStyle/>
          <a:p>
            <a:pPr marL="180000" indent="-180000">
              <a:spcAft>
                <a:spcPts val="1200"/>
              </a:spcAft>
              <a:buFont typeface="Arial" panose="020B0604020202020204" pitchFamily="34" charset="0"/>
              <a:buChar char="•"/>
            </a:pPr>
            <a:endParaRPr lang="en-US" sz="1400" dirty="0">
              <a:solidFill>
                <a:srgbClr val="FFFFFF"/>
              </a:solidFill>
            </a:endParaRPr>
          </a:p>
        </p:txBody>
      </p:sp>
      <p:sp>
        <p:nvSpPr>
          <p:cNvPr id="351" name="Rounded Rectangle 247"/>
          <p:cNvSpPr/>
          <p:nvPr/>
        </p:nvSpPr>
        <p:spPr bwMode="gray">
          <a:xfrm>
            <a:off x="8080162" y="1165861"/>
            <a:ext cx="3629452" cy="1206138"/>
          </a:xfrm>
          <a:prstGeom prst="roundRect">
            <a:avLst>
              <a:gd name="adj" fmla="val 11192"/>
            </a:avLst>
          </a:prstGeom>
          <a:noFill/>
          <a:ln w="28575" algn="ctr">
            <a:solidFill>
              <a:srgbClr val="0076A8"/>
            </a:solidFill>
            <a:miter lim="800000"/>
            <a:headEnd/>
            <a:tailEnd/>
          </a:ln>
        </p:spPr>
        <p:txBody>
          <a:bodyPr wrap="square" lIns="0" tIns="36000" rIns="0" bIns="88900" rtlCol="0" anchor="ctr"/>
          <a:lstStyle/>
          <a:p>
            <a:pPr>
              <a:spcAft>
                <a:spcPts val="600"/>
              </a:spcAft>
            </a:pPr>
            <a:endParaRPr lang="en-US" sz="1400" b="1" dirty="0">
              <a:solidFill>
                <a:srgbClr val="FFFFFF"/>
              </a:solidFill>
              <a:ea typeface="Verdana" panose="020B0604030504040204" pitchFamily="34" charset="0"/>
              <a:cs typeface="Verdana" panose="020B0604030504040204" pitchFamily="34" charset="0"/>
            </a:endParaRPr>
          </a:p>
        </p:txBody>
      </p:sp>
      <p:grpSp>
        <p:nvGrpSpPr>
          <p:cNvPr id="352" name="组合 351"/>
          <p:cNvGrpSpPr/>
          <p:nvPr/>
        </p:nvGrpSpPr>
        <p:grpSpPr>
          <a:xfrm>
            <a:off x="8693950" y="2257664"/>
            <a:ext cx="2401876" cy="265593"/>
            <a:chOff x="1049566" y="1406129"/>
            <a:chExt cx="2401876" cy="265593"/>
          </a:xfrm>
        </p:grpSpPr>
        <p:grpSp>
          <p:nvGrpSpPr>
            <p:cNvPr id="353" name="组合 352"/>
            <p:cNvGrpSpPr/>
            <p:nvPr/>
          </p:nvGrpSpPr>
          <p:grpSpPr>
            <a:xfrm>
              <a:off x="1049566" y="1406129"/>
              <a:ext cx="93859" cy="265593"/>
              <a:chOff x="7219305" y="3201743"/>
              <a:chExt cx="113352" cy="320752"/>
            </a:xfrm>
          </p:grpSpPr>
          <p:sp>
            <p:nvSpPr>
              <p:cNvPr id="366"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7"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8"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54" name="组合 353"/>
            <p:cNvGrpSpPr/>
            <p:nvPr/>
          </p:nvGrpSpPr>
          <p:grpSpPr>
            <a:xfrm>
              <a:off x="1818905" y="1406129"/>
              <a:ext cx="93859" cy="265593"/>
              <a:chOff x="7219305" y="3201743"/>
              <a:chExt cx="113352" cy="320752"/>
            </a:xfrm>
          </p:grpSpPr>
          <p:sp>
            <p:nvSpPr>
              <p:cNvPr id="363"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4"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5"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55" name="组合 354"/>
            <p:cNvGrpSpPr/>
            <p:nvPr/>
          </p:nvGrpSpPr>
          <p:grpSpPr>
            <a:xfrm>
              <a:off x="2588244" y="1406129"/>
              <a:ext cx="93859" cy="265593"/>
              <a:chOff x="7219305" y="3201743"/>
              <a:chExt cx="113352" cy="320752"/>
            </a:xfrm>
          </p:grpSpPr>
          <p:sp>
            <p:nvSpPr>
              <p:cNvPr id="360"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1"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2"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56" name="组合 355"/>
            <p:cNvGrpSpPr/>
            <p:nvPr/>
          </p:nvGrpSpPr>
          <p:grpSpPr>
            <a:xfrm>
              <a:off x="3357583" y="1406129"/>
              <a:ext cx="93859" cy="265593"/>
              <a:chOff x="7219305" y="3201743"/>
              <a:chExt cx="113352" cy="320752"/>
            </a:xfrm>
          </p:grpSpPr>
          <p:sp>
            <p:nvSpPr>
              <p:cNvPr id="357"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58"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59"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grpSp>
        <p:nvGrpSpPr>
          <p:cNvPr id="63" name="组合 62"/>
          <p:cNvGrpSpPr/>
          <p:nvPr/>
        </p:nvGrpSpPr>
        <p:grpSpPr>
          <a:xfrm>
            <a:off x="8411526" y="1348817"/>
            <a:ext cx="2070345" cy="806400"/>
            <a:chOff x="8411526" y="1348817"/>
            <a:chExt cx="2070345" cy="806400"/>
          </a:xfrm>
        </p:grpSpPr>
        <p:sp>
          <p:nvSpPr>
            <p:cNvPr id="416" name="矩形 415"/>
            <p:cNvSpPr/>
            <p:nvPr/>
          </p:nvSpPr>
          <p:spPr>
            <a:xfrm>
              <a:off x="9377979" y="1387778"/>
              <a:ext cx="1103892" cy="538609"/>
            </a:xfrm>
            <a:prstGeom prst="rect">
              <a:avLst/>
            </a:prstGeom>
          </p:spPr>
          <p:txBody>
            <a:bodyPr wrap="none">
              <a:spAutoFit/>
            </a:bodyPr>
            <a:lstStyle/>
            <a:p>
              <a:pPr>
                <a:spcAft>
                  <a:spcPts val="600"/>
                </a:spcAft>
              </a:pPr>
              <a:r>
                <a:rPr lang="en-US" sz="1200" b="1" u="sng" dirty="0">
                  <a:solidFill>
                    <a:srgbClr val="FFFFFF"/>
                  </a:solidFill>
                  <a:ea typeface="Verdana" panose="020B0604030504040204" pitchFamily="34" charset="0"/>
                  <a:cs typeface="Verdana" panose="020B0604030504040204" pitchFamily="34" charset="0"/>
                </a:rPr>
                <a:t> Lorem </a:t>
              </a:r>
              <a:r>
                <a:rPr lang="en-US" sz="1200" b="1" u="sng" dirty="0" err="1">
                  <a:solidFill>
                    <a:srgbClr val="FFFFFF"/>
                  </a:solidFill>
                  <a:ea typeface="Verdana" panose="020B0604030504040204" pitchFamily="34" charset="0"/>
                  <a:cs typeface="Verdana" panose="020B0604030504040204" pitchFamily="34" charset="0"/>
                </a:rPr>
                <a:t>ipsumr</a:t>
              </a:r>
              <a:endParaRPr lang="en-US" sz="1200" b="1" u="sng" dirty="0">
                <a:solidFill>
                  <a:srgbClr val="FFFFFF"/>
                </a:solidFill>
                <a:ea typeface="Verdana" panose="020B0604030504040204" pitchFamily="34" charset="0"/>
                <a:cs typeface="Verdana" panose="020B0604030504040204" pitchFamily="34" charset="0"/>
              </a:endParaRPr>
            </a:p>
            <a:p>
              <a:pPr>
                <a:spcAft>
                  <a:spcPts val="600"/>
                </a:spcAft>
              </a:pPr>
              <a:r>
                <a:rPr lang="en-US" sz="1200" dirty="0">
                  <a:solidFill>
                    <a:srgbClr val="FFFFFF"/>
                  </a:solidFill>
                  <a:ea typeface="Verdana" panose="020B0604030504040204" pitchFamily="34" charset="0"/>
                  <a:cs typeface="Verdana" panose="020B0604030504040204" pitchFamily="34" charset="0"/>
                </a:rPr>
                <a:t>Lorem ipsum</a:t>
              </a:r>
            </a:p>
          </p:txBody>
        </p:sp>
        <p:grpSp>
          <p:nvGrpSpPr>
            <p:cNvPr id="36" name="组合 35"/>
            <p:cNvGrpSpPr>
              <a:grpSpLocks noChangeAspect="1"/>
            </p:cNvGrpSpPr>
            <p:nvPr/>
          </p:nvGrpSpPr>
          <p:grpSpPr>
            <a:xfrm>
              <a:off x="8411526" y="1348817"/>
              <a:ext cx="806400" cy="806400"/>
              <a:chOff x="1001231" y="3016514"/>
              <a:chExt cx="939255" cy="939255"/>
            </a:xfrm>
          </p:grpSpPr>
          <p:sp>
            <p:nvSpPr>
              <p:cNvPr id="418" name="椭圆 417"/>
              <p:cNvSpPr/>
              <p:nvPr/>
            </p:nvSpPr>
            <p:spPr bwMode="gray">
              <a:xfrm>
                <a:off x="1001231" y="3016514"/>
                <a:ext cx="939255" cy="939255"/>
              </a:xfrm>
              <a:prstGeom prst="ellipse">
                <a:avLst/>
              </a:prstGeom>
              <a:noFill/>
              <a:ln w="28575" algn="ctr">
                <a:solidFill>
                  <a:srgbClr val="62B5E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nvGrpSpPr>
              <p:cNvPr id="435" name="Group 245"/>
              <p:cNvGrpSpPr>
                <a:grpSpLocks noChangeAspect="1"/>
              </p:cNvGrpSpPr>
              <p:nvPr/>
            </p:nvGrpSpPr>
            <p:grpSpPr bwMode="auto">
              <a:xfrm>
                <a:off x="1056858" y="3072141"/>
                <a:ext cx="828000" cy="828000"/>
                <a:chOff x="3480" y="792"/>
                <a:chExt cx="340" cy="340"/>
              </a:xfrm>
              <a:solidFill>
                <a:schemeClr val="bg1"/>
              </a:solidFill>
            </p:grpSpPr>
            <p:sp>
              <p:nvSpPr>
                <p:cNvPr id="436"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37"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38"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39"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40"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grpSp>
        </p:grpSp>
      </p:grpSp>
      <p:sp>
        <p:nvSpPr>
          <p:cNvPr id="390" name="Rounded Rectangle 249"/>
          <p:cNvSpPr/>
          <p:nvPr/>
        </p:nvSpPr>
        <p:spPr bwMode="gray">
          <a:xfrm>
            <a:off x="4280056" y="2429399"/>
            <a:ext cx="3627438" cy="3520551"/>
          </a:xfrm>
          <a:prstGeom prst="roundRect">
            <a:avLst>
              <a:gd name="adj" fmla="val 3660"/>
            </a:avLst>
          </a:prstGeom>
          <a:noFill/>
          <a:ln w="28575" algn="ctr">
            <a:solidFill>
              <a:srgbClr val="0097A9"/>
            </a:solidFill>
            <a:miter lim="800000"/>
            <a:headEnd/>
            <a:tailEnd/>
          </a:ln>
        </p:spPr>
        <p:txBody>
          <a:bodyPr wrap="square" lIns="88900" tIns="144000" rIns="88900" bIns="90000" rtlCol="0" anchor="t" anchorCtr="0">
            <a:noAutofit/>
          </a:bodyPr>
          <a:lstStyle/>
          <a:p>
            <a:pPr marL="180000" indent="-180000">
              <a:spcAft>
                <a:spcPts val="1200"/>
              </a:spcAft>
              <a:buFont typeface="Arial" panose="020B0604020202020204" pitchFamily="34" charset="0"/>
              <a:buChar char="•"/>
            </a:pPr>
            <a:endParaRPr lang="en-US" sz="1400" dirty="0">
              <a:solidFill>
                <a:srgbClr val="FFFFFF"/>
              </a:solidFill>
            </a:endParaRPr>
          </a:p>
        </p:txBody>
      </p:sp>
      <p:sp>
        <p:nvSpPr>
          <p:cNvPr id="391" name="Rounded Rectangle 247"/>
          <p:cNvSpPr/>
          <p:nvPr/>
        </p:nvSpPr>
        <p:spPr bwMode="gray">
          <a:xfrm>
            <a:off x="4280056" y="1165861"/>
            <a:ext cx="3629452" cy="1206138"/>
          </a:xfrm>
          <a:prstGeom prst="roundRect">
            <a:avLst>
              <a:gd name="adj" fmla="val 11192"/>
            </a:avLst>
          </a:prstGeom>
          <a:noFill/>
          <a:ln w="28575" algn="ctr">
            <a:solidFill>
              <a:srgbClr val="0097A9"/>
            </a:solidFill>
            <a:miter lim="800000"/>
            <a:headEnd/>
            <a:tailEnd/>
          </a:ln>
        </p:spPr>
        <p:txBody>
          <a:bodyPr wrap="square" lIns="0" tIns="36000" rIns="0" bIns="88900" rtlCol="0" anchor="ctr"/>
          <a:lstStyle/>
          <a:p>
            <a:pPr>
              <a:spcAft>
                <a:spcPts val="600"/>
              </a:spcAft>
            </a:pPr>
            <a:endParaRPr lang="en-US" sz="1400" b="1" u="sng" dirty="0">
              <a:solidFill>
                <a:srgbClr val="FFFFFF"/>
              </a:solidFill>
              <a:ea typeface="Verdana" panose="020B0604030504040204" pitchFamily="34" charset="0"/>
              <a:cs typeface="Verdana" panose="020B0604030504040204" pitchFamily="34" charset="0"/>
            </a:endParaRPr>
          </a:p>
        </p:txBody>
      </p:sp>
      <p:grpSp>
        <p:nvGrpSpPr>
          <p:cNvPr id="392" name="组合 391"/>
          <p:cNvGrpSpPr/>
          <p:nvPr/>
        </p:nvGrpSpPr>
        <p:grpSpPr>
          <a:xfrm>
            <a:off x="4893844" y="2257664"/>
            <a:ext cx="2401876" cy="265593"/>
            <a:chOff x="1049566" y="1406129"/>
            <a:chExt cx="2401876" cy="265593"/>
          </a:xfrm>
        </p:grpSpPr>
        <p:grpSp>
          <p:nvGrpSpPr>
            <p:cNvPr id="393" name="组合 392"/>
            <p:cNvGrpSpPr/>
            <p:nvPr/>
          </p:nvGrpSpPr>
          <p:grpSpPr>
            <a:xfrm>
              <a:off x="1049566" y="1406129"/>
              <a:ext cx="93859" cy="265593"/>
              <a:chOff x="7219305" y="3201743"/>
              <a:chExt cx="113352" cy="320752"/>
            </a:xfrm>
          </p:grpSpPr>
          <p:sp>
            <p:nvSpPr>
              <p:cNvPr id="406"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7"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8"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94" name="组合 393"/>
            <p:cNvGrpSpPr/>
            <p:nvPr/>
          </p:nvGrpSpPr>
          <p:grpSpPr>
            <a:xfrm>
              <a:off x="1818905" y="1406129"/>
              <a:ext cx="93859" cy="265593"/>
              <a:chOff x="7219305" y="3201743"/>
              <a:chExt cx="113352" cy="320752"/>
            </a:xfrm>
          </p:grpSpPr>
          <p:sp>
            <p:nvSpPr>
              <p:cNvPr id="403"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4"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5"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95" name="组合 394"/>
            <p:cNvGrpSpPr/>
            <p:nvPr/>
          </p:nvGrpSpPr>
          <p:grpSpPr>
            <a:xfrm>
              <a:off x="2588244" y="1406129"/>
              <a:ext cx="93859" cy="265593"/>
              <a:chOff x="7219305" y="3201743"/>
              <a:chExt cx="113352" cy="320752"/>
            </a:xfrm>
          </p:grpSpPr>
          <p:sp>
            <p:nvSpPr>
              <p:cNvPr id="400"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1"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2"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96" name="组合 395"/>
            <p:cNvGrpSpPr/>
            <p:nvPr/>
          </p:nvGrpSpPr>
          <p:grpSpPr>
            <a:xfrm>
              <a:off x="3357583" y="1406129"/>
              <a:ext cx="93859" cy="265593"/>
              <a:chOff x="7219305" y="3201743"/>
              <a:chExt cx="113352" cy="320752"/>
            </a:xfrm>
          </p:grpSpPr>
          <p:sp>
            <p:nvSpPr>
              <p:cNvPr id="397"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98"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99"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sp>
        <p:nvSpPr>
          <p:cNvPr id="429" name="矩形 428"/>
          <p:cNvSpPr/>
          <p:nvPr/>
        </p:nvSpPr>
        <p:spPr>
          <a:xfrm>
            <a:off x="6000147" y="1613518"/>
            <a:ext cx="1014124" cy="276999"/>
          </a:xfrm>
          <a:prstGeom prst="rect">
            <a:avLst/>
          </a:prstGeom>
        </p:spPr>
        <p:txBody>
          <a:bodyPr wrap="none">
            <a:spAutoFit/>
          </a:bodyPr>
          <a:lstStyle/>
          <a:p>
            <a:pPr>
              <a:spcAft>
                <a:spcPts val="600"/>
              </a:spcAft>
            </a:pPr>
            <a:r>
              <a:rPr lang="en-US" sz="1200" b="1" u="sng" dirty="0">
                <a:solidFill>
                  <a:srgbClr val="FFFFFF"/>
                </a:solidFill>
                <a:ea typeface="Verdana" panose="020B0604030504040204" pitchFamily="34" charset="0"/>
                <a:cs typeface="Verdana" panose="020B0604030504040204" pitchFamily="34" charset="0"/>
              </a:rPr>
              <a:t>Lorem ipsum</a:t>
            </a:r>
          </a:p>
        </p:txBody>
      </p:sp>
      <p:grpSp>
        <p:nvGrpSpPr>
          <p:cNvPr id="34" name="组合 33"/>
          <p:cNvGrpSpPr>
            <a:grpSpLocks noChangeAspect="1"/>
          </p:cNvGrpSpPr>
          <p:nvPr/>
        </p:nvGrpSpPr>
        <p:grpSpPr>
          <a:xfrm>
            <a:off x="5117514" y="1348817"/>
            <a:ext cx="806400" cy="806400"/>
            <a:chOff x="4934634" y="1257375"/>
            <a:chExt cx="939255" cy="939255"/>
          </a:xfrm>
        </p:grpSpPr>
        <p:grpSp>
          <p:nvGrpSpPr>
            <p:cNvPr id="430" name="组合 429"/>
            <p:cNvGrpSpPr/>
            <p:nvPr/>
          </p:nvGrpSpPr>
          <p:grpSpPr>
            <a:xfrm>
              <a:off x="4934634" y="1257375"/>
              <a:ext cx="939255" cy="939255"/>
              <a:chOff x="1001231" y="3016514"/>
              <a:chExt cx="939255" cy="939255"/>
            </a:xfrm>
          </p:grpSpPr>
          <p:sp>
            <p:nvSpPr>
              <p:cNvPr id="431" name="椭圆 430"/>
              <p:cNvSpPr/>
              <p:nvPr/>
            </p:nvSpPr>
            <p:spPr bwMode="gray">
              <a:xfrm>
                <a:off x="1001231" y="3016514"/>
                <a:ext cx="939255" cy="939255"/>
              </a:xfrm>
              <a:prstGeom prst="ellipse">
                <a:avLst/>
              </a:prstGeom>
              <a:noFill/>
              <a:ln w="28575"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nvGrpSpPr>
              <p:cNvPr id="432" name="Group 257"/>
              <p:cNvGrpSpPr>
                <a:grpSpLocks noChangeAspect="1"/>
              </p:cNvGrpSpPr>
              <p:nvPr/>
            </p:nvGrpSpPr>
            <p:grpSpPr bwMode="auto">
              <a:xfrm>
                <a:off x="1056858" y="3072141"/>
                <a:ext cx="828000" cy="828000"/>
                <a:chOff x="2724" y="770"/>
                <a:chExt cx="340" cy="340"/>
              </a:xfrm>
              <a:solidFill>
                <a:srgbClr val="FFFFFF"/>
              </a:solidFill>
            </p:grpSpPr>
            <p:sp>
              <p:nvSpPr>
                <p:cNvPr id="433" name="Freeform 258"/>
                <p:cNvSpPr>
                  <a:spLocks noEditPoints="1"/>
                </p:cNvSpPr>
                <p:nvPr/>
              </p:nvSpPr>
              <p:spPr bwMode="auto">
                <a:xfrm>
                  <a:off x="2788" y="86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34" name="Freeform 259"/>
                <p:cNvSpPr>
                  <a:spLocks noEditPoints="1"/>
                </p:cNvSpPr>
                <p:nvPr/>
              </p:nvSpPr>
              <p:spPr bwMode="auto">
                <a:xfrm>
                  <a:off x="2724"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grpSp>
        </p:grpSp>
        <p:sp>
          <p:nvSpPr>
            <p:cNvPr id="444" name="Oval 60"/>
            <p:cNvSpPr>
              <a:spLocks noChangeArrowheads="1"/>
            </p:cNvSpPr>
            <p:nvPr/>
          </p:nvSpPr>
          <p:spPr bwMode="auto">
            <a:xfrm>
              <a:off x="5315107" y="1690473"/>
              <a:ext cx="36529" cy="36529"/>
            </a:xfrm>
            <a:prstGeom prst="ellipse">
              <a:avLst/>
            </a:pr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45" name="Oval 61"/>
            <p:cNvSpPr>
              <a:spLocks noChangeArrowheads="1"/>
            </p:cNvSpPr>
            <p:nvPr/>
          </p:nvSpPr>
          <p:spPr bwMode="auto">
            <a:xfrm>
              <a:off x="5385731" y="1690473"/>
              <a:ext cx="34094" cy="36529"/>
            </a:xfrm>
            <a:prstGeom prst="ellipse">
              <a:avLst/>
            </a:pr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46" name="Oval 62"/>
            <p:cNvSpPr>
              <a:spLocks noChangeArrowheads="1"/>
            </p:cNvSpPr>
            <p:nvPr/>
          </p:nvSpPr>
          <p:spPr bwMode="auto">
            <a:xfrm>
              <a:off x="5453919" y="1690473"/>
              <a:ext cx="34094" cy="36529"/>
            </a:xfrm>
            <a:prstGeom prst="ellipse">
              <a:avLst/>
            </a:pr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grpSp>
      <p:sp>
        <p:nvSpPr>
          <p:cNvPr id="449" name="圆角矩形 448"/>
          <p:cNvSpPr/>
          <p:nvPr/>
        </p:nvSpPr>
        <p:spPr bwMode="gray">
          <a:xfrm>
            <a:off x="479950" y="2861712"/>
            <a:ext cx="3627438" cy="1443588"/>
          </a:xfrm>
          <a:prstGeom prst="roundRect">
            <a:avLst>
              <a:gd name="adj" fmla="val 0"/>
            </a:avLst>
          </a:prstGeom>
          <a:noFill/>
          <a:ln w="28575" algn="ctr">
            <a:solidFill>
              <a:srgbClr val="75787B"/>
            </a:solidFill>
            <a:miter lim="800000"/>
            <a:headEnd/>
            <a:tailEnd/>
          </a:ln>
        </p:spPr>
        <p:txBody>
          <a:bodyPr wrap="square" lIns="180000" tIns="88900" rIns="88900" bIns="88900" rtlCol="0" anchor="ctr"/>
          <a:lstStyle/>
          <a:p>
            <a:pPr lvl="0" defTabSz="914400">
              <a:defRPr/>
            </a:pPr>
            <a:endParaRPr lang="en-US" sz="1200" kern="0" dirty="0">
              <a:solidFill>
                <a:prstClr val="white"/>
              </a:solidFill>
              <a:ea typeface="Verdana" panose="020B0604030504040204" pitchFamily="34" charset="0"/>
              <a:cs typeface="Verdana" panose="020B0604030504040204" pitchFamily="34" charset="0"/>
            </a:endParaRPr>
          </a:p>
        </p:txBody>
      </p:sp>
      <p:sp>
        <p:nvSpPr>
          <p:cNvPr id="448" name="同侧圆角矩形 447"/>
          <p:cNvSpPr/>
          <p:nvPr/>
        </p:nvSpPr>
        <p:spPr bwMode="gray">
          <a:xfrm>
            <a:off x="469900" y="2446469"/>
            <a:ext cx="3637488" cy="333660"/>
          </a:xfrm>
          <a:prstGeom prst="round2SameRect">
            <a:avLst/>
          </a:prstGeom>
          <a:solidFill>
            <a:srgbClr val="046A38"/>
          </a:solidFill>
          <a:ln w="28575" algn="ctr">
            <a:noFill/>
            <a:miter lim="800000"/>
            <a:headEnd/>
            <a:tailEnd/>
          </a:ln>
        </p:spPr>
        <p:txBody>
          <a:bodyPr wrap="square" lIns="180000" tIns="88900" rIns="88900" bIns="88900" rtlCol="0" anchor="ctr"/>
          <a:lstStyle/>
          <a:p>
            <a:pPr lvl="0">
              <a:defRPr/>
            </a:pPr>
            <a:r>
              <a:rPr lang="en-US" sz="1200" u="sng" kern="0" dirty="0">
                <a:solidFill>
                  <a:prstClr val="white"/>
                </a:solidFill>
                <a:ea typeface="Verdana" panose="020B0604030504040204" pitchFamily="34" charset="0"/>
                <a:cs typeface="Verdana" panose="020B0604030504040204" pitchFamily="34" charset="0"/>
              </a:rPr>
              <a:t>Lorem ipsum</a:t>
            </a:r>
            <a:endParaRPr lang="en-US" sz="1200" kern="0" dirty="0">
              <a:solidFill>
                <a:prstClr val="white"/>
              </a:solidFill>
              <a:ea typeface="Verdana" panose="020B0604030504040204" pitchFamily="34" charset="0"/>
              <a:cs typeface="Verdana" panose="020B0604030504040204" pitchFamily="34" charset="0"/>
            </a:endParaRPr>
          </a:p>
        </p:txBody>
      </p:sp>
      <p:grpSp>
        <p:nvGrpSpPr>
          <p:cNvPr id="369" name="组合 368"/>
          <p:cNvGrpSpPr/>
          <p:nvPr/>
        </p:nvGrpSpPr>
        <p:grpSpPr>
          <a:xfrm>
            <a:off x="479950" y="1165861"/>
            <a:ext cx="3629452" cy="4784089"/>
            <a:chOff x="8080162" y="1165861"/>
            <a:chExt cx="3629452" cy="4784089"/>
          </a:xfrm>
        </p:grpSpPr>
        <p:sp>
          <p:nvSpPr>
            <p:cNvPr id="370" name="Rounded Rectangle 249"/>
            <p:cNvSpPr/>
            <p:nvPr/>
          </p:nvSpPr>
          <p:spPr bwMode="gray">
            <a:xfrm>
              <a:off x="8080162" y="2429399"/>
              <a:ext cx="3627438" cy="3520551"/>
            </a:xfrm>
            <a:prstGeom prst="roundRect">
              <a:avLst>
                <a:gd name="adj" fmla="val 3660"/>
              </a:avLst>
            </a:prstGeom>
            <a:noFill/>
            <a:ln w="28575" algn="ctr">
              <a:solidFill>
                <a:srgbClr val="C4D600"/>
              </a:solidFill>
              <a:miter lim="800000"/>
              <a:headEnd/>
              <a:tailEnd/>
            </a:ln>
          </p:spPr>
          <p:txBody>
            <a:bodyPr wrap="square" lIns="88900" tIns="144000" rIns="88900" bIns="90000" rtlCol="0" anchor="t" anchorCtr="0">
              <a:noAutofit/>
            </a:bodyPr>
            <a:lstStyle/>
            <a:p>
              <a:pPr marL="180000" indent="-180000">
                <a:spcAft>
                  <a:spcPts val="1200"/>
                </a:spcAft>
                <a:buFont typeface="Arial" panose="020B0604020202020204" pitchFamily="34" charset="0"/>
                <a:buChar char="•"/>
              </a:pPr>
              <a:endParaRPr lang="en-US" sz="1200" dirty="0">
                <a:solidFill>
                  <a:srgbClr val="FFFFFF"/>
                </a:solidFill>
              </a:endParaRPr>
            </a:p>
          </p:txBody>
        </p:sp>
        <p:sp>
          <p:nvSpPr>
            <p:cNvPr id="371" name="Rounded Rectangle 247"/>
            <p:cNvSpPr/>
            <p:nvPr/>
          </p:nvSpPr>
          <p:spPr bwMode="gray">
            <a:xfrm>
              <a:off x="8080162" y="1165861"/>
              <a:ext cx="3629452" cy="1206138"/>
            </a:xfrm>
            <a:prstGeom prst="roundRect">
              <a:avLst>
                <a:gd name="adj" fmla="val 11192"/>
              </a:avLst>
            </a:prstGeom>
            <a:noFill/>
            <a:ln w="28575" algn="ctr">
              <a:solidFill>
                <a:srgbClr val="C4D600"/>
              </a:solidFill>
              <a:miter lim="800000"/>
              <a:headEnd/>
              <a:tailEnd/>
            </a:ln>
          </p:spPr>
          <p:txBody>
            <a:bodyPr wrap="square" lIns="0" tIns="36000" rIns="0" bIns="88900" rtlCol="0" anchor="ctr"/>
            <a:lstStyle/>
            <a:p>
              <a:pPr>
                <a:spcAft>
                  <a:spcPts val="600"/>
                </a:spcAft>
              </a:pPr>
              <a:endParaRPr lang="en-US" sz="1200" b="1" u="sng" dirty="0">
                <a:solidFill>
                  <a:srgbClr val="FFFFFF"/>
                </a:solidFill>
                <a:ea typeface="Verdana" panose="020B0604030504040204" pitchFamily="34" charset="0"/>
                <a:cs typeface="Verdana" panose="020B0604030504040204" pitchFamily="34" charset="0"/>
              </a:endParaRPr>
            </a:p>
          </p:txBody>
        </p:sp>
        <p:grpSp>
          <p:nvGrpSpPr>
            <p:cNvPr id="372" name="组合 371"/>
            <p:cNvGrpSpPr/>
            <p:nvPr/>
          </p:nvGrpSpPr>
          <p:grpSpPr>
            <a:xfrm>
              <a:off x="8693950" y="2257664"/>
              <a:ext cx="2401876" cy="265593"/>
              <a:chOff x="1049566" y="1406129"/>
              <a:chExt cx="2401876" cy="265593"/>
            </a:xfrm>
          </p:grpSpPr>
          <p:grpSp>
            <p:nvGrpSpPr>
              <p:cNvPr id="373" name="组合 372"/>
              <p:cNvGrpSpPr/>
              <p:nvPr/>
            </p:nvGrpSpPr>
            <p:grpSpPr>
              <a:xfrm>
                <a:off x="1049566" y="1406129"/>
                <a:ext cx="93859" cy="265593"/>
                <a:chOff x="7219305" y="3201743"/>
                <a:chExt cx="113352" cy="320752"/>
              </a:xfrm>
            </p:grpSpPr>
            <p:sp>
              <p:nvSpPr>
                <p:cNvPr id="386"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7"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8"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74" name="组合 373"/>
              <p:cNvGrpSpPr/>
              <p:nvPr/>
            </p:nvGrpSpPr>
            <p:grpSpPr>
              <a:xfrm>
                <a:off x="1818905" y="1406129"/>
                <a:ext cx="93859" cy="265593"/>
                <a:chOff x="7219305" y="3201743"/>
                <a:chExt cx="113352" cy="320752"/>
              </a:xfrm>
            </p:grpSpPr>
            <p:sp>
              <p:nvSpPr>
                <p:cNvPr id="383"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4"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5"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75" name="组合 374"/>
              <p:cNvGrpSpPr/>
              <p:nvPr/>
            </p:nvGrpSpPr>
            <p:grpSpPr>
              <a:xfrm>
                <a:off x="2588244" y="1406129"/>
                <a:ext cx="93859" cy="265593"/>
                <a:chOff x="7219305" y="3201743"/>
                <a:chExt cx="113352" cy="320752"/>
              </a:xfrm>
            </p:grpSpPr>
            <p:sp>
              <p:nvSpPr>
                <p:cNvPr id="380"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1"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2"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76" name="组合 375"/>
              <p:cNvGrpSpPr/>
              <p:nvPr/>
            </p:nvGrpSpPr>
            <p:grpSpPr>
              <a:xfrm>
                <a:off x="3357583" y="1406129"/>
                <a:ext cx="93859" cy="265593"/>
                <a:chOff x="7219305" y="3201743"/>
                <a:chExt cx="113352" cy="320752"/>
              </a:xfrm>
            </p:grpSpPr>
            <p:sp>
              <p:nvSpPr>
                <p:cNvPr id="377"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78"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79"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grpSp>
      <p:sp>
        <p:nvSpPr>
          <p:cNvPr id="232" name="矩形 231"/>
          <p:cNvSpPr/>
          <p:nvPr/>
        </p:nvSpPr>
        <p:spPr>
          <a:xfrm>
            <a:off x="2199607" y="1633316"/>
            <a:ext cx="1014124" cy="276999"/>
          </a:xfrm>
          <a:prstGeom prst="rect">
            <a:avLst/>
          </a:prstGeom>
        </p:spPr>
        <p:txBody>
          <a:bodyPr wrap="none">
            <a:spAutoFit/>
          </a:bodyPr>
          <a:lstStyle/>
          <a:p>
            <a:pPr>
              <a:spcAft>
                <a:spcPts val="600"/>
              </a:spcAft>
            </a:pPr>
            <a:r>
              <a:rPr lang="en-US" sz="1200" b="1" u="sng" dirty="0">
                <a:solidFill>
                  <a:srgbClr val="FFFFFF"/>
                </a:solidFill>
                <a:ea typeface="Verdana" panose="020B0604030504040204" pitchFamily="34" charset="0"/>
                <a:cs typeface="Verdana" panose="020B0604030504040204" pitchFamily="34" charset="0"/>
              </a:rPr>
              <a:t>Lorem ipsum</a:t>
            </a:r>
          </a:p>
        </p:txBody>
      </p:sp>
      <p:grpSp>
        <p:nvGrpSpPr>
          <p:cNvPr id="238" name="组合 237"/>
          <p:cNvGrpSpPr/>
          <p:nvPr/>
        </p:nvGrpSpPr>
        <p:grpSpPr>
          <a:xfrm>
            <a:off x="1336514" y="1348817"/>
            <a:ext cx="806990" cy="806990"/>
            <a:chOff x="1001231" y="1303168"/>
            <a:chExt cx="939255" cy="939255"/>
          </a:xfrm>
        </p:grpSpPr>
        <p:sp>
          <p:nvSpPr>
            <p:cNvPr id="236" name="椭圆 235"/>
            <p:cNvSpPr/>
            <p:nvPr/>
          </p:nvSpPr>
          <p:spPr bwMode="gray">
            <a:xfrm>
              <a:off x="1001231" y="1303168"/>
              <a:ext cx="939255" cy="939255"/>
            </a:xfrm>
            <a:prstGeom prst="ellipse">
              <a:avLst/>
            </a:prstGeom>
            <a:noFill/>
            <a:ln w="28575"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nvGrpSpPr>
            <p:cNvPr id="409" name="Group 57"/>
            <p:cNvGrpSpPr>
              <a:grpSpLocks noChangeAspect="1"/>
            </p:cNvGrpSpPr>
            <p:nvPr/>
          </p:nvGrpSpPr>
          <p:grpSpPr bwMode="auto">
            <a:xfrm>
              <a:off x="1056858" y="1358795"/>
              <a:ext cx="828000" cy="828000"/>
              <a:chOff x="3880" y="2160"/>
              <a:chExt cx="340" cy="340"/>
            </a:xfrm>
            <a:solidFill>
              <a:srgbClr val="FFFFFF"/>
            </a:solidFill>
          </p:grpSpPr>
          <p:sp>
            <p:nvSpPr>
              <p:cNvPr id="410" name="Freeform 58"/>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11" name="Freeform 59"/>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grpSp>
      </p:grpSp>
      <p:sp>
        <p:nvSpPr>
          <p:cNvPr id="450" name="TextBox 69"/>
          <p:cNvSpPr txBox="1"/>
          <p:nvPr/>
        </p:nvSpPr>
        <p:spPr>
          <a:xfrm>
            <a:off x="561232" y="2908706"/>
            <a:ext cx="1495427" cy="1169551"/>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sp>
        <p:nvSpPr>
          <p:cNvPr id="452" name="TextBox 69"/>
          <p:cNvSpPr txBox="1"/>
          <p:nvPr/>
        </p:nvSpPr>
        <p:spPr>
          <a:xfrm>
            <a:off x="561232" y="4332695"/>
            <a:ext cx="3408788" cy="1538883"/>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spTree>
    <p:custDataLst>
      <p:tags r:id="rId1"/>
    </p:custDataLst>
    <p:extLst>
      <p:ext uri="{BB962C8B-B14F-4D97-AF65-F5344CB8AC3E}">
        <p14:creationId xmlns:p14="http://schemas.microsoft.com/office/powerpoint/2010/main" val="3624163593"/>
      </p:ext>
    </p:extLst>
  </p:cSld>
  <p:clrMapOvr>
    <a:masterClrMapping/>
  </p:clrMapOvr>
  <p:transition>
    <p:fade/>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6C87B3A-403C-5D4B-B593-89549D7CD9DF}"/>
              </a:ext>
            </a:extLst>
          </p:cNvPr>
          <p:cNvPicPr>
            <a:picLocks noChangeAspect="1"/>
          </p:cNvPicPr>
          <p:nvPr/>
        </p:nvPicPr>
        <p:blipFill>
          <a:blip r:embed="rId3"/>
          <a:stretch>
            <a:fillRect/>
          </a:stretch>
        </p:blipFill>
        <p:spPr>
          <a:xfrm>
            <a:off x="1566223" y="481625"/>
            <a:ext cx="9059554" cy="5894750"/>
          </a:xfrm>
          <a:prstGeom prst="rect">
            <a:avLst/>
          </a:prstGeom>
        </p:spPr>
      </p:pic>
      <p:sp>
        <p:nvSpPr>
          <p:cNvPr id="40" name="Freeform 7">
            <a:extLst>
              <a:ext uri="{FF2B5EF4-FFF2-40B4-BE49-F238E27FC236}">
                <a16:creationId xmlns:a16="http://schemas.microsoft.com/office/drawing/2014/main" id="{9F927163-F4B6-0B48-965C-94739B1C9466}"/>
              </a:ext>
            </a:extLst>
          </p:cNvPr>
          <p:cNvSpPr>
            <a:spLocks/>
          </p:cNvSpPr>
          <p:nvPr/>
        </p:nvSpPr>
        <p:spPr bwMode="auto">
          <a:xfrm>
            <a:off x="2950015" y="1292767"/>
            <a:ext cx="6327398" cy="501673"/>
          </a:xfrm>
          <a:prstGeom prst="rect">
            <a:avLst/>
          </a:prstGeom>
          <a:solidFill>
            <a:schemeClr val="tx1"/>
          </a:solidFill>
          <a:ln>
            <a:noFill/>
          </a:ln>
        </p:spPr>
        <p:txBody>
          <a:bodyPr vert="horz" wrap="square" lIns="91440" tIns="45720" rIns="91440" bIns="45720" numCol="1" anchor="ctr" anchorCtr="0" compatLnSpc="1">
            <a:prstTxWarp prst="textNoShape">
              <a:avLst/>
            </a:prstTxWarp>
          </a:bodyPr>
          <a:lstStyle/>
          <a:p>
            <a:r>
              <a:rPr lang="en-US" sz="800" dirty="0">
                <a:solidFill>
                  <a:schemeClr val="bg1"/>
                </a:solidFill>
              </a:rPr>
              <a:t>Lorem ipsum dolor sit </a:t>
            </a:r>
            <a:r>
              <a:rPr lang="en-US" sz="800" dirty="0" err="1">
                <a:solidFill>
                  <a:schemeClr val="bg1"/>
                </a:solidFill>
              </a:rPr>
              <a:t>amet</a:t>
            </a:r>
            <a:r>
              <a:rPr lang="en-US" sz="800" dirty="0">
                <a:solidFill>
                  <a:schemeClr val="bg1"/>
                </a:solidFill>
              </a:rPr>
              <a:t>, </a:t>
            </a:r>
            <a:r>
              <a:rPr lang="en-US" sz="800" dirty="0" err="1">
                <a:solidFill>
                  <a:schemeClr val="bg1"/>
                </a:solidFill>
              </a:rPr>
              <a:t>consectetur</a:t>
            </a:r>
            <a:r>
              <a:rPr lang="en-US" sz="800" dirty="0">
                <a:solidFill>
                  <a:schemeClr val="bg1"/>
                </a:solidFill>
              </a:rPr>
              <a:t> </a:t>
            </a:r>
            <a:r>
              <a:rPr lang="en-US" sz="800" dirty="0" err="1">
                <a:solidFill>
                  <a:schemeClr val="bg1"/>
                </a:solidFill>
              </a:rPr>
              <a:t>adipiscing</a:t>
            </a:r>
            <a:r>
              <a:rPr lang="en-US" sz="800" dirty="0">
                <a:solidFill>
                  <a:schemeClr val="bg1"/>
                </a:solidFill>
              </a:rPr>
              <a:t> </a:t>
            </a:r>
            <a:r>
              <a:rPr lang="en-US" sz="800" dirty="0" err="1">
                <a:solidFill>
                  <a:schemeClr val="bg1"/>
                </a:solidFill>
              </a:rPr>
              <a:t>elit</a:t>
            </a:r>
            <a:r>
              <a:rPr lang="en-US" sz="800" dirty="0">
                <a:solidFill>
                  <a:schemeClr val="bg1"/>
                </a:solidFill>
              </a:rPr>
              <a:t>, </a:t>
            </a:r>
            <a:r>
              <a:rPr lang="en-US" sz="800" dirty="0" err="1">
                <a:solidFill>
                  <a:schemeClr val="bg1"/>
                </a:solidFill>
              </a:rPr>
              <a:t>sed</a:t>
            </a:r>
            <a:r>
              <a:rPr lang="en-US" sz="800" dirty="0">
                <a:solidFill>
                  <a:schemeClr val="bg1"/>
                </a:solidFill>
              </a:rPr>
              <a:t> do </a:t>
            </a:r>
            <a:r>
              <a:rPr lang="en-US" sz="800" dirty="0" err="1">
                <a:solidFill>
                  <a:schemeClr val="bg1"/>
                </a:solidFill>
              </a:rPr>
              <a:t>eiusmod</a:t>
            </a:r>
            <a:r>
              <a:rPr lang="en-US" sz="800" dirty="0">
                <a:solidFill>
                  <a:schemeClr val="bg1"/>
                </a:solidFill>
              </a:rPr>
              <a:t> </a:t>
            </a:r>
            <a:r>
              <a:rPr lang="en-US" sz="800" dirty="0" err="1">
                <a:solidFill>
                  <a:schemeClr val="bg1"/>
                </a:solidFill>
              </a:rPr>
              <a:t>tempor</a:t>
            </a:r>
            <a:r>
              <a:rPr lang="en-US" sz="800" dirty="0">
                <a:solidFill>
                  <a:schemeClr val="bg1"/>
                </a:solidFill>
              </a:rPr>
              <a:t> </a:t>
            </a:r>
            <a:r>
              <a:rPr lang="en-US" sz="800" dirty="0" err="1">
                <a:solidFill>
                  <a:schemeClr val="bg1"/>
                </a:solidFill>
              </a:rPr>
              <a:t>incididu</a:t>
            </a:r>
            <a:endParaRPr lang="en-US" sz="800" dirty="0">
              <a:solidFill>
                <a:schemeClr val="bg1"/>
              </a:solidFill>
            </a:endParaRPr>
          </a:p>
        </p:txBody>
      </p:sp>
      <p:sp>
        <p:nvSpPr>
          <p:cNvPr id="41" name="Oval 11">
            <a:extLst>
              <a:ext uri="{FF2B5EF4-FFF2-40B4-BE49-F238E27FC236}">
                <a16:creationId xmlns:a16="http://schemas.microsoft.com/office/drawing/2014/main" id="{4E018A16-64FF-444D-9CAE-01B031A68810}"/>
              </a:ext>
            </a:extLst>
          </p:cNvPr>
          <p:cNvSpPr>
            <a:spLocks noChangeArrowheads="1"/>
          </p:cNvSpPr>
          <p:nvPr/>
        </p:nvSpPr>
        <p:spPr bwMode="auto">
          <a:xfrm>
            <a:off x="6592700" y="1484572"/>
            <a:ext cx="111471" cy="10928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Arrow: Right 7">
            <a:extLst>
              <a:ext uri="{FF2B5EF4-FFF2-40B4-BE49-F238E27FC236}">
                <a16:creationId xmlns:a16="http://schemas.microsoft.com/office/drawing/2014/main" id="{441AE9FE-1F33-3544-9CAF-F7030BF882C1}"/>
              </a:ext>
            </a:extLst>
          </p:cNvPr>
          <p:cNvSpPr/>
          <p:nvPr/>
        </p:nvSpPr>
        <p:spPr bwMode="gray">
          <a:xfrm>
            <a:off x="3616980" y="2444808"/>
            <a:ext cx="1329050" cy="821358"/>
          </a:xfrm>
          <a:prstGeom prst="rightArrow">
            <a:avLst>
              <a:gd name="adj1" fmla="val 50000"/>
              <a:gd name="adj2" fmla="val 45361"/>
            </a:avLst>
          </a:prstGeom>
          <a:gradFill flip="none" rotWithShape="1">
            <a:gsLst>
              <a:gs pos="0">
                <a:schemeClr val="accent1">
                  <a:lumMod val="5000"/>
                  <a:lumOff val="95000"/>
                </a:schemeClr>
              </a:gs>
              <a:gs pos="100000">
                <a:schemeClr val="tx1"/>
              </a:gs>
            </a:gsLst>
            <a:lin ang="0" scaled="1"/>
            <a:tileRect/>
          </a:gradFill>
          <a:ln w="19050" algn="ctr">
            <a:noFill/>
            <a:miter lim="800000"/>
            <a:headEnd/>
            <a:tailEnd/>
          </a:ln>
        </p:spPr>
        <p:txBody>
          <a:bodyPr wrap="square" lIns="88900" tIns="88900" rIns="88900" bIns="88900" rtlCol="0" anchor="ctr"/>
          <a:lstStyle/>
          <a:p>
            <a:pPr algn="ctr" defTabSz="913686">
              <a:lnSpc>
                <a:spcPct val="106000"/>
              </a:lnSpc>
            </a:pPr>
            <a:r>
              <a:rPr lang="en-US" sz="700" b="1" dirty="0">
                <a:cs typeface="Arial" panose="020B0604020202020204" pitchFamily="34" charset="0"/>
              </a:rPr>
              <a:t>Lorem ipsum dolor </a:t>
            </a:r>
          </a:p>
        </p:txBody>
      </p:sp>
      <p:grpSp>
        <p:nvGrpSpPr>
          <p:cNvPr id="6" name="Group 5">
            <a:extLst>
              <a:ext uri="{FF2B5EF4-FFF2-40B4-BE49-F238E27FC236}">
                <a16:creationId xmlns:a16="http://schemas.microsoft.com/office/drawing/2014/main" id="{D3230EC4-D643-6A4C-A6D2-77DBC67662DF}"/>
              </a:ext>
            </a:extLst>
          </p:cNvPr>
          <p:cNvGrpSpPr/>
          <p:nvPr/>
        </p:nvGrpSpPr>
        <p:grpSpPr>
          <a:xfrm>
            <a:off x="2990959" y="4079750"/>
            <a:ext cx="6221281" cy="1187187"/>
            <a:chOff x="2950015" y="3861383"/>
            <a:chExt cx="6552438" cy="1250380"/>
          </a:xfrm>
        </p:grpSpPr>
        <p:sp>
          <p:nvSpPr>
            <p:cNvPr id="42" name="Rectangle 41">
              <a:extLst>
                <a:ext uri="{FF2B5EF4-FFF2-40B4-BE49-F238E27FC236}">
                  <a16:creationId xmlns:a16="http://schemas.microsoft.com/office/drawing/2014/main" id="{F711B0F8-9086-C549-8B71-9071AB667363}"/>
                </a:ext>
              </a:extLst>
            </p:cNvPr>
            <p:cNvSpPr/>
            <p:nvPr/>
          </p:nvSpPr>
          <p:spPr bwMode="gray">
            <a:xfrm>
              <a:off x="2950015" y="4176403"/>
              <a:ext cx="1644964" cy="935360"/>
            </a:xfrm>
            <a:prstGeom prst="rect">
              <a:avLst/>
            </a:prstGeom>
            <a:solidFill>
              <a:schemeClr val="bg1">
                <a:lumMod val="95000"/>
              </a:schemeClr>
            </a:solidFill>
            <a:ln w="19050" algn="ctr">
              <a:noFill/>
              <a:miter lim="800000"/>
              <a:headEnd/>
              <a:tailEnd/>
            </a:ln>
          </p:spPr>
          <p:txBody>
            <a:bodyPr wrap="square" lIns="45720" tIns="45720" rIns="45720" bIns="45720" rtlCol="0" anchor="t" anchorCtr="0">
              <a:noAutofit/>
            </a:bodyPr>
            <a:lstStyle/>
            <a:p>
              <a:r>
                <a:rPr lang="en-US" sz="800" dirty="0">
                  <a:solidFill>
                    <a:srgbClr val="000000"/>
                  </a:solidFill>
                </a:rPr>
                <a:t>Lorem ipsum dolor sit </a:t>
              </a:r>
              <a:r>
                <a:rPr lang="en-US" sz="800" dirty="0" err="1">
                  <a:solidFill>
                    <a:srgbClr val="000000"/>
                  </a:solidFill>
                </a:rPr>
                <a:t>amet</a:t>
              </a:r>
              <a:r>
                <a:rPr lang="en-US" sz="800" dirty="0">
                  <a:solidFill>
                    <a:srgbClr val="000000"/>
                  </a:solidFill>
                </a:rPr>
                <a:t>, </a:t>
              </a:r>
              <a:r>
                <a:rPr lang="en-US" sz="800" dirty="0" err="1">
                  <a:solidFill>
                    <a:srgbClr val="000000"/>
                  </a:solidFill>
                </a:rPr>
                <a:t>consectetur</a:t>
              </a:r>
              <a:r>
                <a:rPr lang="en-US" sz="800" dirty="0">
                  <a:solidFill>
                    <a:srgbClr val="000000"/>
                  </a:solidFill>
                </a:rPr>
                <a:t> </a:t>
              </a:r>
              <a:r>
                <a:rPr lang="en-US" sz="800" dirty="0" err="1">
                  <a:solidFill>
                    <a:srgbClr val="000000"/>
                  </a:solidFill>
                </a:rPr>
                <a:t>adipiscing</a:t>
              </a:r>
              <a:r>
                <a:rPr lang="en-US" sz="800" dirty="0">
                  <a:solidFill>
                    <a:srgbClr val="000000"/>
                  </a:solidFill>
                </a:rPr>
                <a:t> </a:t>
              </a:r>
              <a:r>
                <a:rPr lang="en-US" sz="800" dirty="0" err="1">
                  <a:solidFill>
                    <a:srgbClr val="000000"/>
                  </a:solidFill>
                </a:rPr>
                <a:t>elit</a:t>
              </a:r>
              <a:r>
                <a:rPr lang="en-US" sz="800" dirty="0">
                  <a:solidFill>
                    <a:srgbClr val="000000"/>
                  </a:solidFill>
                </a:rPr>
                <a:t>, </a:t>
              </a:r>
              <a:r>
                <a:rPr lang="en-US" sz="800" dirty="0" err="1">
                  <a:solidFill>
                    <a:srgbClr val="000000"/>
                  </a:solidFill>
                </a:rPr>
                <a:t>sed</a:t>
              </a:r>
              <a:r>
                <a:rPr lang="en-US" sz="800" dirty="0">
                  <a:solidFill>
                    <a:srgbClr val="000000"/>
                  </a:solidFill>
                </a:rPr>
                <a:t> do </a:t>
              </a:r>
              <a:r>
                <a:rPr lang="en-US" sz="800" dirty="0" err="1">
                  <a:solidFill>
                    <a:srgbClr val="000000"/>
                  </a:solidFill>
                </a:rPr>
                <a:t>eiusmod</a:t>
              </a:r>
              <a:r>
                <a:rPr lang="en-US" sz="800" dirty="0">
                  <a:solidFill>
                    <a:srgbClr val="000000"/>
                  </a:solidFill>
                </a:rPr>
                <a:t> </a:t>
              </a:r>
              <a:r>
                <a:rPr lang="en-US" sz="800" dirty="0" err="1">
                  <a:solidFill>
                    <a:srgbClr val="000000"/>
                  </a:solidFill>
                </a:rPr>
                <a:t>tempor</a:t>
              </a:r>
              <a:r>
                <a:rPr lang="en-US" sz="800" dirty="0">
                  <a:solidFill>
                    <a:srgbClr val="000000"/>
                  </a:solidFill>
                </a:rPr>
                <a:t> </a:t>
              </a:r>
              <a:r>
                <a:rPr lang="en-US" sz="800" dirty="0" err="1">
                  <a:solidFill>
                    <a:srgbClr val="000000"/>
                  </a:solidFill>
                </a:rPr>
                <a:t>incididu</a:t>
              </a:r>
              <a:endParaRPr lang="en-US" sz="800" b="1" dirty="0">
                <a:solidFill>
                  <a:srgbClr val="000000"/>
                </a:solidFill>
              </a:endParaRPr>
            </a:p>
          </p:txBody>
        </p:sp>
        <p:sp>
          <p:nvSpPr>
            <p:cNvPr id="43" name="Rectangle 42">
              <a:extLst>
                <a:ext uri="{FF2B5EF4-FFF2-40B4-BE49-F238E27FC236}">
                  <a16:creationId xmlns:a16="http://schemas.microsoft.com/office/drawing/2014/main" id="{1AF8CBAB-DD17-624C-BD78-A7B4247486AD}"/>
                </a:ext>
              </a:extLst>
            </p:cNvPr>
            <p:cNvSpPr/>
            <p:nvPr/>
          </p:nvSpPr>
          <p:spPr bwMode="gray">
            <a:xfrm>
              <a:off x="4585840" y="4176403"/>
              <a:ext cx="1644964" cy="935360"/>
            </a:xfrm>
            <a:prstGeom prst="rect">
              <a:avLst/>
            </a:prstGeom>
            <a:solidFill>
              <a:schemeClr val="bg1">
                <a:lumMod val="85000"/>
              </a:schemeClr>
            </a:solidFill>
            <a:ln w="19050" algn="ctr">
              <a:noFill/>
              <a:miter lim="800000"/>
              <a:headEnd/>
              <a:tailEnd/>
            </a:ln>
          </p:spPr>
          <p:txBody>
            <a:bodyPr wrap="square" lIns="45720" tIns="45720" rIns="45720" bIns="45720" rtlCol="0" anchor="t" anchorCtr="0">
              <a:noAutofit/>
            </a:bodyPr>
            <a:lstStyle/>
            <a:p>
              <a:r>
                <a:rPr lang="en-US" sz="800" dirty="0">
                  <a:solidFill>
                    <a:srgbClr val="000000"/>
                  </a:solidFill>
                </a:rPr>
                <a:t>Lorem ipsum dolor sit </a:t>
              </a:r>
              <a:r>
                <a:rPr lang="en-US" sz="800" dirty="0" err="1">
                  <a:solidFill>
                    <a:srgbClr val="000000"/>
                  </a:solidFill>
                </a:rPr>
                <a:t>amet</a:t>
              </a:r>
              <a:r>
                <a:rPr lang="en-US" sz="800" dirty="0">
                  <a:solidFill>
                    <a:srgbClr val="000000"/>
                  </a:solidFill>
                </a:rPr>
                <a:t>, </a:t>
              </a:r>
              <a:r>
                <a:rPr lang="en-US" sz="800" dirty="0" err="1">
                  <a:solidFill>
                    <a:srgbClr val="000000"/>
                  </a:solidFill>
                </a:rPr>
                <a:t>consectetur</a:t>
              </a:r>
              <a:r>
                <a:rPr lang="en-US" sz="800" dirty="0">
                  <a:solidFill>
                    <a:srgbClr val="000000"/>
                  </a:solidFill>
                </a:rPr>
                <a:t> </a:t>
              </a:r>
              <a:r>
                <a:rPr lang="en-US" sz="800" dirty="0" err="1">
                  <a:solidFill>
                    <a:srgbClr val="000000"/>
                  </a:solidFill>
                </a:rPr>
                <a:t>adipiscing</a:t>
              </a:r>
              <a:r>
                <a:rPr lang="en-US" sz="800" dirty="0">
                  <a:solidFill>
                    <a:srgbClr val="000000"/>
                  </a:solidFill>
                </a:rPr>
                <a:t> </a:t>
              </a:r>
              <a:r>
                <a:rPr lang="en-US" sz="800" dirty="0" err="1">
                  <a:solidFill>
                    <a:srgbClr val="000000"/>
                  </a:solidFill>
                </a:rPr>
                <a:t>elit</a:t>
              </a:r>
              <a:r>
                <a:rPr lang="en-US" sz="800" dirty="0">
                  <a:solidFill>
                    <a:srgbClr val="000000"/>
                  </a:solidFill>
                </a:rPr>
                <a:t>, </a:t>
              </a:r>
              <a:r>
                <a:rPr lang="en-US" sz="800" dirty="0" err="1">
                  <a:solidFill>
                    <a:srgbClr val="000000"/>
                  </a:solidFill>
                </a:rPr>
                <a:t>sed</a:t>
              </a:r>
              <a:r>
                <a:rPr lang="en-US" sz="800" dirty="0">
                  <a:solidFill>
                    <a:srgbClr val="000000"/>
                  </a:solidFill>
                </a:rPr>
                <a:t> do </a:t>
              </a:r>
              <a:r>
                <a:rPr lang="en-US" sz="800" dirty="0" err="1">
                  <a:solidFill>
                    <a:srgbClr val="000000"/>
                  </a:solidFill>
                </a:rPr>
                <a:t>eiusmod</a:t>
              </a:r>
              <a:r>
                <a:rPr lang="en-US" sz="800" dirty="0">
                  <a:solidFill>
                    <a:srgbClr val="000000"/>
                  </a:solidFill>
                </a:rPr>
                <a:t> </a:t>
              </a:r>
              <a:r>
                <a:rPr lang="en-US" sz="800" dirty="0" err="1">
                  <a:solidFill>
                    <a:srgbClr val="000000"/>
                  </a:solidFill>
                </a:rPr>
                <a:t>tempor</a:t>
              </a:r>
              <a:r>
                <a:rPr lang="en-US" sz="800" dirty="0">
                  <a:solidFill>
                    <a:srgbClr val="000000"/>
                  </a:solidFill>
                </a:rPr>
                <a:t> </a:t>
              </a:r>
              <a:r>
                <a:rPr lang="en-US" sz="800" dirty="0" err="1">
                  <a:solidFill>
                    <a:srgbClr val="000000"/>
                  </a:solidFill>
                </a:rPr>
                <a:t>incididu</a:t>
              </a:r>
              <a:endParaRPr lang="en-US" sz="800" dirty="0">
                <a:solidFill>
                  <a:srgbClr val="000000"/>
                </a:solidFill>
              </a:endParaRPr>
            </a:p>
          </p:txBody>
        </p:sp>
        <p:sp>
          <p:nvSpPr>
            <p:cNvPr id="44" name="Rectangle 43">
              <a:extLst>
                <a:ext uri="{FF2B5EF4-FFF2-40B4-BE49-F238E27FC236}">
                  <a16:creationId xmlns:a16="http://schemas.microsoft.com/office/drawing/2014/main" id="{D96DC818-90FA-DB45-84F1-D902893E6DF0}"/>
                </a:ext>
              </a:extLst>
            </p:cNvPr>
            <p:cNvSpPr/>
            <p:nvPr/>
          </p:nvSpPr>
          <p:spPr bwMode="gray">
            <a:xfrm>
              <a:off x="6221665" y="4176403"/>
              <a:ext cx="1644964" cy="935360"/>
            </a:xfrm>
            <a:prstGeom prst="rect">
              <a:avLst/>
            </a:prstGeom>
            <a:solidFill>
              <a:schemeClr val="bg1">
                <a:lumMod val="95000"/>
              </a:schemeClr>
            </a:solidFill>
            <a:ln w="19050" algn="ctr">
              <a:noFill/>
              <a:miter lim="800000"/>
              <a:headEnd/>
              <a:tailEnd/>
            </a:ln>
          </p:spPr>
          <p:txBody>
            <a:bodyPr wrap="square" lIns="45720" tIns="45720" rIns="45720" bIns="45720" rtlCol="0" anchor="t" anchorCtr="0">
              <a:noAutofit/>
            </a:bodyPr>
            <a:lstStyle/>
            <a:p>
              <a:r>
                <a:rPr lang="en-GB" sz="800" dirty="0">
                  <a:solidFill>
                    <a:srgbClr val="000000"/>
                  </a:solidFill>
                </a:rPr>
                <a:t>Lorem ipsum </a:t>
              </a:r>
              <a:r>
                <a:rPr lang="en-GB" sz="800" dirty="0" err="1">
                  <a:solidFill>
                    <a:srgbClr val="000000"/>
                  </a:solidFill>
                </a:rPr>
                <a:t>dolor</a:t>
              </a:r>
              <a:r>
                <a:rPr lang="en-GB" sz="800" dirty="0">
                  <a:solidFill>
                    <a:srgbClr val="000000"/>
                  </a:solidFill>
                </a:rPr>
                <a:t> sit </a:t>
              </a:r>
              <a:r>
                <a:rPr lang="en-GB" sz="800" dirty="0" err="1">
                  <a:solidFill>
                    <a:srgbClr val="000000"/>
                  </a:solidFill>
                </a:rPr>
                <a:t>amet</a:t>
              </a:r>
              <a:r>
                <a:rPr lang="en-GB" sz="800" dirty="0">
                  <a:solidFill>
                    <a:srgbClr val="000000"/>
                  </a:solidFill>
                </a:rPr>
                <a:t>, </a:t>
              </a:r>
              <a:r>
                <a:rPr lang="en-GB" sz="800" dirty="0" err="1">
                  <a:solidFill>
                    <a:srgbClr val="000000"/>
                  </a:solidFill>
                </a:rPr>
                <a:t>consectetur</a:t>
              </a:r>
              <a:r>
                <a:rPr lang="en-GB" sz="800" dirty="0">
                  <a:solidFill>
                    <a:srgbClr val="000000"/>
                  </a:solidFill>
                </a:rPr>
                <a:t> </a:t>
              </a:r>
              <a:r>
                <a:rPr lang="en-GB" sz="800" dirty="0" err="1">
                  <a:solidFill>
                    <a:srgbClr val="000000"/>
                  </a:solidFill>
                </a:rPr>
                <a:t>adipiscing</a:t>
              </a:r>
              <a:r>
                <a:rPr lang="en-GB" sz="800" dirty="0">
                  <a:solidFill>
                    <a:srgbClr val="000000"/>
                  </a:solidFill>
                </a:rPr>
                <a:t> </a:t>
              </a:r>
              <a:r>
                <a:rPr lang="en-GB" sz="800" dirty="0" err="1">
                  <a:solidFill>
                    <a:srgbClr val="000000"/>
                  </a:solidFill>
                </a:rPr>
                <a:t>elit</a:t>
              </a:r>
              <a:r>
                <a:rPr lang="en-GB" sz="800" dirty="0">
                  <a:solidFill>
                    <a:srgbClr val="000000"/>
                  </a:solidFill>
                </a:rPr>
                <a:t>, </a:t>
              </a:r>
              <a:r>
                <a:rPr lang="en-GB" sz="800" dirty="0" err="1">
                  <a:solidFill>
                    <a:srgbClr val="000000"/>
                  </a:solidFill>
                </a:rPr>
                <a:t>sed</a:t>
              </a:r>
              <a:r>
                <a:rPr lang="en-GB" sz="800" dirty="0">
                  <a:solidFill>
                    <a:srgbClr val="000000"/>
                  </a:solidFill>
                </a:rPr>
                <a:t> do </a:t>
              </a:r>
              <a:r>
                <a:rPr lang="en-GB" sz="800" dirty="0" err="1">
                  <a:solidFill>
                    <a:srgbClr val="000000"/>
                  </a:solidFill>
                </a:rPr>
                <a:t>eiusmod</a:t>
              </a:r>
              <a:r>
                <a:rPr lang="en-GB" sz="800" dirty="0">
                  <a:solidFill>
                    <a:srgbClr val="000000"/>
                  </a:solidFill>
                </a:rPr>
                <a:t> </a:t>
              </a:r>
              <a:r>
                <a:rPr lang="en-GB" sz="800" dirty="0" err="1">
                  <a:solidFill>
                    <a:srgbClr val="000000"/>
                  </a:solidFill>
                </a:rPr>
                <a:t>tempor</a:t>
              </a:r>
              <a:r>
                <a:rPr lang="en-GB" sz="800" dirty="0">
                  <a:solidFill>
                    <a:srgbClr val="000000"/>
                  </a:solidFill>
                </a:rPr>
                <a:t> </a:t>
              </a:r>
              <a:r>
                <a:rPr lang="en-GB" sz="800" dirty="0" err="1">
                  <a:solidFill>
                    <a:srgbClr val="000000"/>
                  </a:solidFill>
                </a:rPr>
                <a:t>incididu</a:t>
              </a:r>
              <a:endParaRPr lang="en-GB" sz="800" dirty="0">
                <a:solidFill>
                  <a:srgbClr val="000000"/>
                </a:solidFill>
              </a:endParaRPr>
            </a:p>
          </p:txBody>
        </p:sp>
        <p:sp>
          <p:nvSpPr>
            <p:cNvPr id="45" name="Rectangle 44">
              <a:extLst>
                <a:ext uri="{FF2B5EF4-FFF2-40B4-BE49-F238E27FC236}">
                  <a16:creationId xmlns:a16="http://schemas.microsoft.com/office/drawing/2014/main" id="{C311F30D-A667-CE41-AB29-5E4409F0416C}"/>
                </a:ext>
              </a:extLst>
            </p:cNvPr>
            <p:cNvSpPr/>
            <p:nvPr/>
          </p:nvSpPr>
          <p:spPr bwMode="gray">
            <a:xfrm>
              <a:off x="7857489" y="4176403"/>
              <a:ext cx="1644964" cy="935360"/>
            </a:xfrm>
            <a:prstGeom prst="rect">
              <a:avLst/>
            </a:prstGeom>
            <a:solidFill>
              <a:schemeClr val="bg1">
                <a:lumMod val="85000"/>
              </a:schemeClr>
            </a:solidFill>
            <a:ln w="19050" algn="ctr">
              <a:noFill/>
              <a:miter lim="800000"/>
              <a:headEnd/>
              <a:tailEnd/>
            </a:ln>
          </p:spPr>
          <p:txBody>
            <a:bodyPr wrap="square" lIns="45720" tIns="45720" rIns="45720" bIns="45720" rtlCol="0" anchor="t" anchorCtr="0">
              <a:noAutofit/>
            </a:bodyPr>
            <a:lstStyle/>
            <a:p>
              <a:r>
                <a:rPr lang="en-US" sz="800" dirty="0">
                  <a:solidFill>
                    <a:srgbClr val="000000"/>
                  </a:solidFill>
                </a:rPr>
                <a:t>Lorem ipsum dolor sit </a:t>
              </a:r>
              <a:r>
                <a:rPr lang="en-US" sz="800" dirty="0" err="1">
                  <a:solidFill>
                    <a:srgbClr val="000000"/>
                  </a:solidFill>
                </a:rPr>
                <a:t>amet</a:t>
              </a:r>
              <a:r>
                <a:rPr lang="en-US" sz="800" dirty="0">
                  <a:solidFill>
                    <a:srgbClr val="000000"/>
                  </a:solidFill>
                </a:rPr>
                <a:t>, </a:t>
              </a:r>
              <a:r>
                <a:rPr lang="en-US" sz="800" dirty="0" err="1">
                  <a:solidFill>
                    <a:srgbClr val="000000"/>
                  </a:solidFill>
                </a:rPr>
                <a:t>consectetur</a:t>
              </a:r>
              <a:r>
                <a:rPr lang="en-US" sz="800" dirty="0">
                  <a:solidFill>
                    <a:srgbClr val="000000"/>
                  </a:solidFill>
                </a:rPr>
                <a:t> </a:t>
              </a:r>
              <a:r>
                <a:rPr lang="en-US" sz="800" dirty="0" err="1">
                  <a:solidFill>
                    <a:srgbClr val="000000"/>
                  </a:solidFill>
                </a:rPr>
                <a:t>adipiscing</a:t>
              </a:r>
              <a:r>
                <a:rPr lang="en-US" sz="800" dirty="0">
                  <a:solidFill>
                    <a:srgbClr val="000000"/>
                  </a:solidFill>
                </a:rPr>
                <a:t> </a:t>
              </a:r>
              <a:r>
                <a:rPr lang="en-US" sz="800" dirty="0" err="1">
                  <a:solidFill>
                    <a:srgbClr val="000000"/>
                  </a:solidFill>
                </a:rPr>
                <a:t>elit</a:t>
              </a:r>
              <a:r>
                <a:rPr lang="en-US" sz="800" dirty="0">
                  <a:solidFill>
                    <a:srgbClr val="000000"/>
                  </a:solidFill>
                </a:rPr>
                <a:t>, </a:t>
              </a:r>
              <a:r>
                <a:rPr lang="en-US" sz="800" dirty="0" err="1">
                  <a:solidFill>
                    <a:srgbClr val="000000"/>
                  </a:solidFill>
                </a:rPr>
                <a:t>sed</a:t>
              </a:r>
              <a:r>
                <a:rPr lang="en-US" sz="800" dirty="0">
                  <a:solidFill>
                    <a:srgbClr val="000000"/>
                  </a:solidFill>
                </a:rPr>
                <a:t> do </a:t>
              </a:r>
              <a:r>
                <a:rPr lang="en-US" sz="800" dirty="0" err="1">
                  <a:solidFill>
                    <a:srgbClr val="000000"/>
                  </a:solidFill>
                </a:rPr>
                <a:t>eiusmod</a:t>
              </a:r>
              <a:r>
                <a:rPr lang="en-US" sz="800" dirty="0">
                  <a:solidFill>
                    <a:srgbClr val="000000"/>
                  </a:solidFill>
                </a:rPr>
                <a:t> </a:t>
              </a:r>
              <a:r>
                <a:rPr lang="en-US" sz="800" dirty="0" err="1">
                  <a:solidFill>
                    <a:srgbClr val="000000"/>
                  </a:solidFill>
                </a:rPr>
                <a:t>tempor</a:t>
              </a:r>
              <a:r>
                <a:rPr lang="en-US" sz="800" dirty="0">
                  <a:solidFill>
                    <a:srgbClr val="000000"/>
                  </a:solidFill>
                </a:rPr>
                <a:t> </a:t>
              </a:r>
              <a:r>
                <a:rPr lang="en-US" sz="800" dirty="0" err="1">
                  <a:solidFill>
                    <a:srgbClr val="000000"/>
                  </a:solidFill>
                </a:rPr>
                <a:t>incididu</a:t>
              </a:r>
              <a:endParaRPr lang="en-US" sz="800" dirty="0">
                <a:solidFill>
                  <a:srgbClr val="000000"/>
                </a:solidFill>
              </a:endParaRPr>
            </a:p>
          </p:txBody>
        </p:sp>
        <p:sp>
          <p:nvSpPr>
            <p:cNvPr id="57" name="Rectangle: Rounded Corners 8">
              <a:extLst>
                <a:ext uri="{FF2B5EF4-FFF2-40B4-BE49-F238E27FC236}">
                  <a16:creationId xmlns:a16="http://schemas.microsoft.com/office/drawing/2014/main" id="{C0D573EC-3637-A14A-B1D9-4694EBE15FF5}"/>
                </a:ext>
              </a:extLst>
            </p:cNvPr>
            <p:cNvSpPr/>
            <p:nvPr/>
          </p:nvSpPr>
          <p:spPr bwMode="gray">
            <a:xfrm>
              <a:off x="7948451" y="3861383"/>
              <a:ext cx="1463040" cy="309268"/>
            </a:xfrm>
            <a:prstGeom prst="roundRect">
              <a:avLst/>
            </a:prstGeom>
            <a:noFill/>
            <a:ln w="6350" algn="ctr">
              <a:solidFill>
                <a:schemeClr val="accent6"/>
              </a:solidFill>
              <a:miter lim="800000"/>
              <a:headEnd/>
              <a:tailEnd/>
            </a:ln>
          </p:spPr>
          <p:txBody>
            <a:bodyPr wrap="square" lIns="88900" tIns="88900" rIns="88900" bIns="88900" rtlCol="0" anchor="ctr"/>
            <a:lstStyle/>
            <a:p>
              <a:pPr algn="ctr"/>
              <a:r>
                <a:rPr lang="en-US" sz="800" b="1" dirty="0">
                  <a:solidFill>
                    <a:srgbClr val="000000"/>
                  </a:solidFill>
                </a:rPr>
                <a:t>Lorem ipsum dolor </a:t>
              </a:r>
            </a:p>
          </p:txBody>
        </p:sp>
        <p:sp>
          <p:nvSpPr>
            <p:cNvPr id="58" name="Rectangle: Rounded Corners 32">
              <a:extLst>
                <a:ext uri="{FF2B5EF4-FFF2-40B4-BE49-F238E27FC236}">
                  <a16:creationId xmlns:a16="http://schemas.microsoft.com/office/drawing/2014/main" id="{B16CFFF8-B5D6-7C47-89BB-BB59287BDCF9}"/>
                </a:ext>
              </a:extLst>
            </p:cNvPr>
            <p:cNvSpPr/>
            <p:nvPr/>
          </p:nvSpPr>
          <p:spPr bwMode="gray">
            <a:xfrm>
              <a:off x="6312627" y="3861383"/>
              <a:ext cx="1463040" cy="309268"/>
            </a:xfrm>
            <a:prstGeom prst="roundRect">
              <a:avLst/>
            </a:prstGeom>
            <a:noFill/>
            <a:ln w="6350" algn="ctr">
              <a:solidFill>
                <a:schemeClr val="accent6"/>
              </a:solidFill>
              <a:miter lim="800000"/>
              <a:headEnd/>
              <a:tailEnd/>
            </a:ln>
          </p:spPr>
          <p:txBody>
            <a:bodyPr wrap="square" lIns="88900" tIns="88900" rIns="88900" bIns="88900" rtlCol="0" anchor="ctr"/>
            <a:lstStyle/>
            <a:p>
              <a:pPr algn="ctr"/>
              <a:r>
                <a:rPr lang="en-GB" sz="800" b="1" dirty="0">
                  <a:solidFill>
                    <a:srgbClr val="000000"/>
                  </a:solidFill>
                </a:rPr>
                <a:t>Lorem ipsum </a:t>
              </a:r>
              <a:r>
                <a:rPr lang="en-GB" sz="800" b="1" dirty="0" err="1">
                  <a:solidFill>
                    <a:srgbClr val="000000"/>
                  </a:solidFill>
                </a:rPr>
                <a:t>dolor</a:t>
              </a:r>
              <a:r>
                <a:rPr lang="en-GB" sz="800" b="1" dirty="0">
                  <a:solidFill>
                    <a:srgbClr val="000000"/>
                  </a:solidFill>
                </a:rPr>
                <a:t> </a:t>
              </a:r>
            </a:p>
          </p:txBody>
        </p:sp>
        <p:sp>
          <p:nvSpPr>
            <p:cNvPr id="59" name="Rectangle: Rounded Corners 33">
              <a:extLst>
                <a:ext uri="{FF2B5EF4-FFF2-40B4-BE49-F238E27FC236}">
                  <a16:creationId xmlns:a16="http://schemas.microsoft.com/office/drawing/2014/main" id="{3E7323C3-0212-A547-A557-B1D470638EFF}"/>
                </a:ext>
              </a:extLst>
            </p:cNvPr>
            <p:cNvSpPr/>
            <p:nvPr/>
          </p:nvSpPr>
          <p:spPr bwMode="gray">
            <a:xfrm>
              <a:off x="3040977" y="3861383"/>
              <a:ext cx="1463040" cy="309268"/>
            </a:xfrm>
            <a:prstGeom prst="roundRect">
              <a:avLst/>
            </a:prstGeom>
            <a:noFill/>
            <a:ln w="6350" algn="ctr">
              <a:solidFill>
                <a:schemeClr val="accent6"/>
              </a:solidFill>
              <a:miter lim="800000"/>
              <a:headEnd/>
              <a:tailEnd/>
            </a:ln>
          </p:spPr>
          <p:txBody>
            <a:bodyPr wrap="square" lIns="88900" tIns="88900" rIns="88900" bIns="88900" rtlCol="0" anchor="ctr"/>
            <a:lstStyle/>
            <a:p>
              <a:pPr algn="ctr"/>
              <a:r>
                <a:rPr lang="en-US" sz="800" b="1" dirty="0">
                  <a:solidFill>
                    <a:srgbClr val="000000"/>
                  </a:solidFill>
                </a:rPr>
                <a:t>Lorem ipsum</a:t>
              </a:r>
            </a:p>
          </p:txBody>
        </p:sp>
        <p:sp>
          <p:nvSpPr>
            <p:cNvPr id="60" name="Rectangle: Rounded Corners 34">
              <a:extLst>
                <a:ext uri="{FF2B5EF4-FFF2-40B4-BE49-F238E27FC236}">
                  <a16:creationId xmlns:a16="http://schemas.microsoft.com/office/drawing/2014/main" id="{1F64F08C-B769-E140-AD5A-79DF82740FD1}"/>
                </a:ext>
              </a:extLst>
            </p:cNvPr>
            <p:cNvSpPr/>
            <p:nvPr/>
          </p:nvSpPr>
          <p:spPr bwMode="gray">
            <a:xfrm>
              <a:off x="4676802" y="3861383"/>
              <a:ext cx="1463040" cy="309268"/>
            </a:xfrm>
            <a:prstGeom prst="roundRect">
              <a:avLst/>
            </a:prstGeom>
            <a:noFill/>
            <a:ln w="6350" algn="ctr">
              <a:solidFill>
                <a:schemeClr val="accent6"/>
              </a:solidFill>
              <a:miter lim="800000"/>
              <a:headEnd/>
              <a:tailEnd/>
            </a:ln>
          </p:spPr>
          <p:txBody>
            <a:bodyPr wrap="square" lIns="88900" tIns="88900" rIns="88900" bIns="88900" rtlCol="0" anchor="ctr"/>
            <a:lstStyle/>
            <a:p>
              <a:pPr algn="ctr"/>
              <a:r>
                <a:rPr lang="en-US" sz="800" b="1" dirty="0">
                  <a:solidFill>
                    <a:srgbClr val="000000"/>
                  </a:solidFill>
                </a:rPr>
                <a:t>Lorem ipsum dolor </a:t>
              </a:r>
            </a:p>
          </p:txBody>
        </p:sp>
        <p:sp>
          <p:nvSpPr>
            <p:cNvPr id="61" name="Freeform 143">
              <a:extLst>
                <a:ext uri="{FF2B5EF4-FFF2-40B4-BE49-F238E27FC236}">
                  <a16:creationId xmlns:a16="http://schemas.microsoft.com/office/drawing/2014/main" id="{56D9FAFA-82DF-CD49-A44A-4AA57E69EC48}"/>
                </a:ext>
              </a:extLst>
            </p:cNvPr>
            <p:cNvSpPr>
              <a:spLocks noChangeAspect="1" noEditPoints="1"/>
            </p:cNvSpPr>
            <p:nvPr/>
          </p:nvSpPr>
          <p:spPr bwMode="auto">
            <a:xfrm>
              <a:off x="3233796" y="3903894"/>
              <a:ext cx="229271" cy="2286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7 w 512"/>
                <a:gd name="T11" fmla="*/ 346 h 512"/>
                <a:gd name="T12" fmla="*/ 339 w 512"/>
                <a:gd name="T13" fmla="*/ 350 h 512"/>
                <a:gd name="T14" fmla="*/ 332 w 512"/>
                <a:gd name="T15" fmla="*/ 347 h 512"/>
                <a:gd name="T16" fmla="*/ 331 w 512"/>
                <a:gd name="T17" fmla="*/ 332 h 512"/>
                <a:gd name="T18" fmla="*/ 352 w 512"/>
                <a:gd name="T19" fmla="*/ 265 h 512"/>
                <a:gd name="T20" fmla="*/ 352 w 512"/>
                <a:gd name="T21" fmla="*/ 223 h 512"/>
                <a:gd name="T22" fmla="*/ 339 w 512"/>
                <a:gd name="T23" fmla="*/ 212 h 512"/>
                <a:gd name="T24" fmla="*/ 330 w 512"/>
                <a:gd name="T25" fmla="*/ 226 h 512"/>
                <a:gd name="T26" fmla="*/ 320 w 512"/>
                <a:gd name="T27" fmla="*/ 237 h 512"/>
                <a:gd name="T28" fmla="*/ 309 w 512"/>
                <a:gd name="T29" fmla="*/ 226 h 512"/>
                <a:gd name="T30" fmla="*/ 309 w 512"/>
                <a:gd name="T31" fmla="*/ 201 h 512"/>
                <a:gd name="T32" fmla="*/ 297 w 512"/>
                <a:gd name="T33" fmla="*/ 191 h 512"/>
                <a:gd name="T34" fmla="*/ 288 w 512"/>
                <a:gd name="T35" fmla="*/ 204 h 512"/>
                <a:gd name="T36" fmla="*/ 288 w 512"/>
                <a:gd name="T37" fmla="*/ 224 h 512"/>
                <a:gd name="T38" fmla="*/ 277 w 512"/>
                <a:gd name="T39" fmla="*/ 234 h 512"/>
                <a:gd name="T40" fmla="*/ 266 w 512"/>
                <a:gd name="T41" fmla="*/ 224 h 512"/>
                <a:gd name="T42" fmla="*/ 266 w 512"/>
                <a:gd name="T43" fmla="*/ 190 h 512"/>
                <a:gd name="T44" fmla="*/ 255 w 512"/>
                <a:gd name="T45" fmla="*/ 180 h 512"/>
                <a:gd name="T46" fmla="*/ 245 w 512"/>
                <a:gd name="T47" fmla="*/ 193 h 512"/>
                <a:gd name="T48" fmla="*/ 245 w 512"/>
                <a:gd name="T49" fmla="*/ 201 h 512"/>
                <a:gd name="T50" fmla="*/ 245 w 512"/>
                <a:gd name="T51" fmla="*/ 224 h 512"/>
                <a:gd name="T52" fmla="*/ 234 w 512"/>
                <a:gd name="T53" fmla="*/ 234 h 512"/>
                <a:gd name="T54" fmla="*/ 224 w 512"/>
                <a:gd name="T55" fmla="*/ 224 h 512"/>
                <a:gd name="T56" fmla="*/ 224 w 512"/>
                <a:gd name="T57" fmla="*/ 201 h 512"/>
                <a:gd name="T58" fmla="*/ 213 w 512"/>
                <a:gd name="T59" fmla="*/ 190 h 512"/>
                <a:gd name="T60" fmla="*/ 202 w 512"/>
                <a:gd name="T61" fmla="*/ 201 h 512"/>
                <a:gd name="T62" fmla="*/ 202 w 512"/>
                <a:gd name="T63" fmla="*/ 266 h 512"/>
                <a:gd name="T64" fmla="*/ 192 w 512"/>
                <a:gd name="T65" fmla="*/ 277 h 512"/>
                <a:gd name="T66" fmla="*/ 181 w 512"/>
                <a:gd name="T67" fmla="*/ 266 h 512"/>
                <a:gd name="T68" fmla="*/ 181 w 512"/>
                <a:gd name="T69" fmla="*/ 223 h 512"/>
                <a:gd name="T70" fmla="*/ 173 w 512"/>
                <a:gd name="T71" fmla="*/ 226 h 512"/>
                <a:gd name="T72" fmla="*/ 160 w 512"/>
                <a:gd name="T73" fmla="*/ 258 h 512"/>
                <a:gd name="T74" fmla="*/ 206 w 512"/>
                <a:gd name="T75" fmla="*/ 332 h 512"/>
                <a:gd name="T76" fmla="*/ 210 w 512"/>
                <a:gd name="T77" fmla="*/ 347 h 512"/>
                <a:gd name="T78" fmla="*/ 201 w 512"/>
                <a:gd name="T79" fmla="*/ 352 h 512"/>
                <a:gd name="T80" fmla="*/ 195 w 512"/>
                <a:gd name="T81" fmla="*/ 351 h 512"/>
                <a:gd name="T82" fmla="*/ 138 w 512"/>
                <a:gd name="T83" fmla="*/ 258 h 512"/>
                <a:gd name="T84" fmla="*/ 161 w 512"/>
                <a:gd name="T85" fmla="*/ 208 h 512"/>
                <a:gd name="T86" fmla="*/ 181 w 512"/>
                <a:gd name="T87" fmla="*/ 202 h 512"/>
                <a:gd name="T88" fmla="*/ 181 w 512"/>
                <a:gd name="T89" fmla="*/ 201 h 512"/>
                <a:gd name="T90" fmla="*/ 213 w 512"/>
                <a:gd name="T91" fmla="*/ 169 h 512"/>
                <a:gd name="T92" fmla="*/ 229 w 512"/>
                <a:gd name="T93" fmla="*/ 174 h 512"/>
                <a:gd name="T94" fmla="*/ 255 w 512"/>
                <a:gd name="T95" fmla="*/ 159 h 512"/>
                <a:gd name="T96" fmla="*/ 283 w 512"/>
                <a:gd name="T97" fmla="*/ 174 h 512"/>
                <a:gd name="T98" fmla="*/ 297 w 512"/>
                <a:gd name="T99" fmla="*/ 169 h 512"/>
                <a:gd name="T100" fmla="*/ 329 w 512"/>
                <a:gd name="T101" fmla="*/ 193 h 512"/>
                <a:gd name="T102" fmla="*/ 339 w 512"/>
                <a:gd name="T103" fmla="*/ 191 h 512"/>
                <a:gd name="T104" fmla="*/ 373 w 512"/>
                <a:gd name="T105" fmla="*/ 223 h 512"/>
                <a:gd name="T106" fmla="*/ 373 w 512"/>
                <a:gd name="T107" fmla="*/ 265 h 512"/>
                <a:gd name="T108" fmla="*/ 347 w 512"/>
                <a:gd name="T109" fmla="*/ 3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7" y="346"/>
                  </a:moveTo>
                  <a:cubicBezTo>
                    <a:pt x="345" y="348"/>
                    <a:pt x="342" y="350"/>
                    <a:pt x="339" y="350"/>
                  </a:cubicBezTo>
                  <a:cubicBezTo>
                    <a:pt x="337" y="350"/>
                    <a:pt x="334" y="349"/>
                    <a:pt x="332" y="347"/>
                  </a:cubicBezTo>
                  <a:cubicBezTo>
                    <a:pt x="328" y="343"/>
                    <a:pt x="327" y="337"/>
                    <a:pt x="331" y="332"/>
                  </a:cubicBezTo>
                  <a:cubicBezTo>
                    <a:pt x="353" y="307"/>
                    <a:pt x="352" y="266"/>
                    <a:pt x="352" y="265"/>
                  </a:cubicBezTo>
                  <a:cubicBezTo>
                    <a:pt x="352" y="223"/>
                    <a:pt x="352" y="223"/>
                    <a:pt x="352" y="223"/>
                  </a:cubicBezTo>
                  <a:cubicBezTo>
                    <a:pt x="352" y="217"/>
                    <a:pt x="345" y="212"/>
                    <a:pt x="339" y="212"/>
                  </a:cubicBezTo>
                  <a:cubicBezTo>
                    <a:pt x="334" y="212"/>
                    <a:pt x="330" y="220"/>
                    <a:pt x="330" y="226"/>
                  </a:cubicBezTo>
                  <a:cubicBezTo>
                    <a:pt x="330" y="232"/>
                    <a:pt x="326" y="237"/>
                    <a:pt x="320" y="237"/>
                  </a:cubicBezTo>
                  <a:cubicBezTo>
                    <a:pt x="314" y="237"/>
                    <a:pt x="309" y="232"/>
                    <a:pt x="309" y="226"/>
                  </a:cubicBezTo>
                  <a:cubicBezTo>
                    <a:pt x="309" y="222"/>
                    <a:pt x="309" y="201"/>
                    <a:pt x="309" y="201"/>
                  </a:cubicBezTo>
                  <a:cubicBezTo>
                    <a:pt x="309" y="195"/>
                    <a:pt x="304" y="191"/>
                    <a:pt x="297" y="191"/>
                  </a:cubicBezTo>
                  <a:cubicBezTo>
                    <a:pt x="292" y="191"/>
                    <a:pt x="288" y="198"/>
                    <a:pt x="288" y="204"/>
                  </a:cubicBezTo>
                  <a:cubicBezTo>
                    <a:pt x="288" y="224"/>
                    <a:pt x="288" y="224"/>
                    <a:pt x="288" y="224"/>
                  </a:cubicBezTo>
                  <a:cubicBezTo>
                    <a:pt x="288" y="230"/>
                    <a:pt x="283" y="234"/>
                    <a:pt x="277" y="234"/>
                  </a:cubicBezTo>
                  <a:cubicBezTo>
                    <a:pt x="271" y="234"/>
                    <a:pt x="266" y="230"/>
                    <a:pt x="266" y="224"/>
                  </a:cubicBezTo>
                  <a:cubicBezTo>
                    <a:pt x="266" y="190"/>
                    <a:pt x="266" y="190"/>
                    <a:pt x="266" y="190"/>
                  </a:cubicBezTo>
                  <a:cubicBezTo>
                    <a:pt x="266" y="185"/>
                    <a:pt x="261" y="180"/>
                    <a:pt x="255" y="180"/>
                  </a:cubicBezTo>
                  <a:cubicBezTo>
                    <a:pt x="249" y="180"/>
                    <a:pt x="245" y="187"/>
                    <a:pt x="245" y="193"/>
                  </a:cubicBezTo>
                  <a:cubicBezTo>
                    <a:pt x="245" y="194"/>
                    <a:pt x="245" y="199"/>
                    <a:pt x="245" y="201"/>
                  </a:cubicBezTo>
                  <a:cubicBezTo>
                    <a:pt x="245" y="224"/>
                    <a:pt x="245" y="224"/>
                    <a:pt x="245" y="224"/>
                  </a:cubicBezTo>
                  <a:cubicBezTo>
                    <a:pt x="245" y="230"/>
                    <a:pt x="240" y="234"/>
                    <a:pt x="234" y="234"/>
                  </a:cubicBezTo>
                  <a:cubicBezTo>
                    <a:pt x="228" y="234"/>
                    <a:pt x="224" y="230"/>
                    <a:pt x="224" y="224"/>
                  </a:cubicBezTo>
                  <a:cubicBezTo>
                    <a:pt x="224" y="201"/>
                    <a:pt x="224" y="201"/>
                    <a:pt x="224" y="201"/>
                  </a:cubicBezTo>
                  <a:cubicBezTo>
                    <a:pt x="224" y="195"/>
                    <a:pt x="219" y="190"/>
                    <a:pt x="213" y="190"/>
                  </a:cubicBezTo>
                  <a:cubicBezTo>
                    <a:pt x="207" y="190"/>
                    <a:pt x="202" y="195"/>
                    <a:pt x="202" y="201"/>
                  </a:cubicBezTo>
                  <a:cubicBezTo>
                    <a:pt x="202" y="266"/>
                    <a:pt x="202" y="266"/>
                    <a:pt x="202" y="266"/>
                  </a:cubicBezTo>
                  <a:cubicBezTo>
                    <a:pt x="202" y="272"/>
                    <a:pt x="198" y="277"/>
                    <a:pt x="192" y="277"/>
                  </a:cubicBezTo>
                  <a:cubicBezTo>
                    <a:pt x="186" y="277"/>
                    <a:pt x="181" y="272"/>
                    <a:pt x="181" y="266"/>
                  </a:cubicBezTo>
                  <a:cubicBezTo>
                    <a:pt x="181" y="223"/>
                    <a:pt x="181" y="223"/>
                    <a:pt x="181" y="223"/>
                  </a:cubicBezTo>
                  <a:cubicBezTo>
                    <a:pt x="178" y="223"/>
                    <a:pt x="175" y="224"/>
                    <a:pt x="173" y="226"/>
                  </a:cubicBezTo>
                  <a:cubicBezTo>
                    <a:pt x="165" y="231"/>
                    <a:pt x="159" y="245"/>
                    <a:pt x="160" y="258"/>
                  </a:cubicBezTo>
                  <a:cubicBezTo>
                    <a:pt x="160" y="280"/>
                    <a:pt x="161" y="304"/>
                    <a:pt x="206" y="332"/>
                  </a:cubicBezTo>
                  <a:cubicBezTo>
                    <a:pt x="211" y="336"/>
                    <a:pt x="213" y="342"/>
                    <a:pt x="210" y="347"/>
                  </a:cubicBezTo>
                  <a:cubicBezTo>
                    <a:pt x="208" y="350"/>
                    <a:pt x="204" y="352"/>
                    <a:pt x="201" y="352"/>
                  </a:cubicBezTo>
                  <a:cubicBezTo>
                    <a:pt x="199" y="352"/>
                    <a:pt x="197" y="352"/>
                    <a:pt x="195" y="351"/>
                  </a:cubicBezTo>
                  <a:cubicBezTo>
                    <a:pt x="145" y="319"/>
                    <a:pt x="139" y="289"/>
                    <a:pt x="138" y="258"/>
                  </a:cubicBezTo>
                  <a:cubicBezTo>
                    <a:pt x="138" y="238"/>
                    <a:pt x="147" y="217"/>
                    <a:pt x="161" y="208"/>
                  </a:cubicBezTo>
                  <a:cubicBezTo>
                    <a:pt x="167" y="204"/>
                    <a:pt x="174" y="202"/>
                    <a:pt x="181" y="202"/>
                  </a:cubicBezTo>
                  <a:cubicBezTo>
                    <a:pt x="181" y="201"/>
                    <a:pt x="181" y="201"/>
                    <a:pt x="181" y="201"/>
                  </a:cubicBezTo>
                  <a:cubicBezTo>
                    <a:pt x="181" y="183"/>
                    <a:pt x="195" y="169"/>
                    <a:pt x="213" y="169"/>
                  </a:cubicBezTo>
                  <a:cubicBezTo>
                    <a:pt x="219" y="169"/>
                    <a:pt x="225" y="171"/>
                    <a:pt x="229" y="174"/>
                  </a:cubicBezTo>
                  <a:cubicBezTo>
                    <a:pt x="235" y="165"/>
                    <a:pt x="244" y="159"/>
                    <a:pt x="255" y="159"/>
                  </a:cubicBezTo>
                  <a:cubicBezTo>
                    <a:pt x="267" y="159"/>
                    <a:pt x="277" y="165"/>
                    <a:pt x="283" y="174"/>
                  </a:cubicBezTo>
                  <a:cubicBezTo>
                    <a:pt x="287" y="171"/>
                    <a:pt x="292" y="169"/>
                    <a:pt x="297" y="169"/>
                  </a:cubicBezTo>
                  <a:cubicBezTo>
                    <a:pt x="313" y="169"/>
                    <a:pt x="325" y="179"/>
                    <a:pt x="329" y="193"/>
                  </a:cubicBezTo>
                  <a:cubicBezTo>
                    <a:pt x="332" y="192"/>
                    <a:pt x="335" y="191"/>
                    <a:pt x="339" y="191"/>
                  </a:cubicBezTo>
                  <a:cubicBezTo>
                    <a:pt x="357" y="191"/>
                    <a:pt x="373" y="205"/>
                    <a:pt x="373" y="223"/>
                  </a:cubicBezTo>
                  <a:cubicBezTo>
                    <a:pt x="373" y="265"/>
                    <a:pt x="373" y="265"/>
                    <a:pt x="373" y="265"/>
                  </a:cubicBezTo>
                  <a:cubicBezTo>
                    <a:pt x="373" y="267"/>
                    <a:pt x="374" y="314"/>
                    <a:pt x="347" y="34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2" name="Freeform 1017">
              <a:extLst>
                <a:ext uri="{FF2B5EF4-FFF2-40B4-BE49-F238E27FC236}">
                  <a16:creationId xmlns:a16="http://schemas.microsoft.com/office/drawing/2014/main" id="{1B17C356-0CD4-5542-9422-EE4359E6847A}"/>
                </a:ext>
              </a:extLst>
            </p:cNvPr>
            <p:cNvSpPr>
              <a:spLocks noChangeAspect="1" noEditPoints="1"/>
            </p:cNvSpPr>
            <p:nvPr/>
          </p:nvSpPr>
          <p:spPr bwMode="auto">
            <a:xfrm>
              <a:off x="4747351" y="3894938"/>
              <a:ext cx="228600" cy="228600"/>
            </a:xfrm>
            <a:custGeom>
              <a:avLst/>
              <a:gdLst>
                <a:gd name="T0" fmla="*/ 0 w 512"/>
                <a:gd name="T1" fmla="*/ 256 h 512"/>
                <a:gd name="T2" fmla="*/ 512 w 512"/>
                <a:gd name="T3" fmla="*/ 256 h 512"/>
                <a:gd name="T4" fmla="*/ 124 w 512"/>
                <a:gd name="T5" fmla="*/ 246 h 512"/>
                <a:gd name="T6" fmla="*/ 115 w 512"/>
                <a:gd name="T7" fmla="*/ 240 h 512"/>
                <a:gd name="T8" fmla="*/ 104 w 512"/>
                <a:gd name="T9" fmla="*/ 199 h 512"/>
                <a:gd name="T10" fmla="*/ 121 w 512"/>
                <a:gd name="T11" fmla="*/ 208 h 512"/>
                <a:gd name="T12" fmla="*/ 169 w 512"/>
                <a:gd name="T13" fmla="*/ 135 h 512"/>
                <a:gd name="T14" fmla="*/ 175 w 512"/>
                <a:gd name="T15" fmla="*/ 114 h 512"/>
                <a:gd name="T16" fmla="*/ 212 w 512"/>
                <a:gd name="T17" fmla="*/ 135 h 512"/>
                <a:gd name="T18" fmla="*/ 194 w 512"/>
                <a:gd name="T19" fmla="*/ 172 h 512"/>
                <a:gd name="T20" fmla="*/ 183 w 512"/>
                <a:gd name="T21" fmla="*/ 159 h 512"/>
                <a:gd name="T22" fmla="*/ 142 w 512"/>
                <a:gd name="T23" fmla="*/ 213 h 512"/>
                <a:gd name="T24" fmla="*/ 160 w 512"/>
                <a:gd name="T25" fmla="*/ 215 h 512"/>
                <a:gd name="T26" fmla="*/ 130 w 512"/>
                <a:gd name="T27" fmla="*/ 244 h 512"/>
                <a:gd name="T28" fmla="*/ 371 w 512"/>
                <a:gd name="T29" fmla="*/ 412 h 512"/>
                <a:gd name="T30" fmla="*/ 356 w 512"/>
                <a:gd name="T31" fmla="*/ 413 h 512"/>
                <a:gd name="T32" fmla="*/ 373 w 512"/>
                <a:gd name="T33" fmla="*/ 331 h 512"/>
                <a:gd name="T34" fmla="*/ 362 w 512"/>
                <a:gd name="T35" fmla="*/ 277 h 512"/>
                <a:gd name="T36" fmla="*/ 341 w 512"/>
                <a:gd name="T37" fmla="*/ 298 h 512"/>
                <a:gd name="T38" fmla="*/ 341 w 512"/>
                <a:gd name="T39" fmla="*/ 298 h 512"/>
                <a:gd name="T40" fmla="*/ 330 w 512"/>
                <a:gd name="T41" fmla="*/ 277 h 512"/>
                <a:gd name="T42" fmla="*/ 309 w 512"/>
                <a:gd name="T43" fmla="*/ 277 h 512"/>
                <a:gd name="T44" fmla="*/ 298 w 512"/>
                <a:gd name="T45" fmla="*/ 298 h 512"/>
                <a:gd name="T46" fmla="*/ 288 w 512"/>
                <a:gd name="T47" fmla="*/ 256 h 512"/>
                <a:gd name="T48" fmla="*/ 266 w 512"/>
                <a:gd name="T49" fmla="*/ 256 h 512"/>
                <a:gd name="T50" fmla="*/ 256 w 512"/>
                <a:gd name="T51" fmla="*/ 298 h 512"/>
                <a:gd name="T52" fmla="*/ 245 w 512"/>
                <a:gd name="T53" fmla="*/ 202 h 512"/>
                <a:gd name="T54" fmla="*/ 224 w 512"/>
                <a:gd name="T55" fmla="*/ 202 h 512"/>
                <a:gd name="T56" fmla="*/ 217 w 512"/>
                <a:gd name="T57" fmla="*/ 340 h 512"/>
                <a:gd name="T58" fmla="*/ 173 w 512"/>
                <a:gd name="T59" fmla="*/ 281 h 512"/>
                <a:gd name="T60" fmla="*/ 159 w 512"/>
                <a:gd name="T61" fmla="*/ 277 h 512"/>
                <a:gd name="T62" fmla="*/ 158 w 512"/>
                <a:gd name="T63" fmla="*/ 295 h 512"/>
                <a:gd name="T64" fmla="*/ 232 w 512"/>
                <a:gd name="T65" fmla="*/ 411 h 512"/>
                <a:gd name="T66" fmla="*/ 217 w 512"/>
                <a:gd name="T67" fmla="*/ 414 h 512"/>
                <a:gd name="T68" fmla="*/ 149 w 512"/>
                <a:gd name="T69" fmla="*/ 258 h 512"/>
                <a:gd name="T70" fmla="*/ 192 w 512"/>
                <a:gd name="T71" fmla="*/ 272 h 512"/>
                <a:gd name="T72" fmla="*/ 202 w 512"/>
                <a:gd name="T73" fmla="*/ 202 h 512"/>
                <a:gd name="T74" fmla="*/ 266 w 512"/>
                <a:gd name="T75" fmla="*/ 202 h 512"/>
                <a:gd name="T76" fmla="*/ 277 w 512"/>
                <a:gd name="T77" fmla="*/ 224 h 512"/>
                <a:gd name="T78" fmla="*/ 320 w 512"/>
                <a:gd name="T79" fmla="*/ 245 h 512"/>
                <a:gd name="T80" fmla="*/ 362 w 512"/>
                <a:gd name="T81" fmla="*/ 256 h 512"/>
                <a:gd name="T82" fmla="*/ 394 w 512"/>
                <a:gd name="T83"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4" y="246"/>
                  </a:moveTo>
                  <a:cubicBezTo>
                    <a:pt x="123" y="246"/>
                    <a:pt x="122" y="245"/>
                    <a:pt x="122" y="245"/>
                  </a:cubicBezTo>
                  <a:cubicBezTo>
                    <a:pt x="119" y="244"/>
                    <a:pt x="116" y="243"/>
                    <a:pt x="115" y="240"/>
                  </a:cubicBezTo>
                  <a:cubicBezTo>
                    <a:pt x="100" y="214"/>
                    <a:pt x="100" y="214"/>
                    <a:pt x="100" y="214"/>
                  </a:cubicBezTo>
                  <a:cubicBezTo>
                    <a:pt x="97" y="209"/>
                    <a:pt x="99" y="202"/>
                    <a:pt x="104" y="199"/>
                  </a:cubicBezTo>
                  <a:cubicBezTo>
                    <a:pt x="109" y="196"/>
                    <a:pt x="116" y="198"/>
                    <a:pt x="119" y="203"/>
                  </a:cubicBezTo>
                  <a:cubicBezTo>
                    <a:pt x="121" y="208"/>
                    <a:pt x="121" y="208"/>
                    <a:pt x="121" y="208"/>
                  </a:cubicBezTo>
                  <a:cubicBezTo>
                    <a:pt x="129" y="177"/>
                    <a:pt x="148" y="152"/>
                    <a:pt x="175" y="136"/>
                  </a:cubicBezTo>
                  <a:cubicBezTo>
                    <a:pt x="169" y="135"/>
                    <a:pt x="169" y="135"/>
                    <a:pt x="169" y="135"/>
                  </a:cubicBezTo>
                  <a:cubicBezTo>
                    <a:pt x="164" y="133"/>
                    <a:pt x="160" y="127"/>
                    <a:pt x="162" y="122"/>
                  </a:cubicBezTo>
                  <a:cubicBezTo>
                    <a:pt x="163" y="116"/>
                    <a:pt x="169" y="113"/>
                    <a:pt x="175" y="114"/>
                  </a:cubicBezTo>
                  <a:cubicBezTo>
                    <a:pt x="204" y="122"/>
                    <a:pt x="204" y="122"/>
                    <a:pt x="204" y="122"/>
                  </a:cubicBezTo>
                  <a:cubicBezTo>
                    <a:pt x="210" y="123"/>
                    <a:pt x="213" y="129"/>
                    <a:pt x="212" y="135"/>
                  </a:cubicBezTo>
                  <a:cubicBezTo>
                    <a:pt x="204" y="164"/>
                    <a:pt x="204" y="164"/>
                    <a:pt x="204" y="164"/>
                  </a:cubicBezTo>
                  <a:cubicBezTo>
                    <a:pt x="203" y="169"/>
                    <a:pt x="198" y="172"/>
                    <a:pt x="194" y="172"/>
                  </a:cubicBezTo>
                  <a:cubicBezTo>
                    <a:pt x="193" y="172"/>
                    <a:pt x="192" y="172"/>
                    <a:pt x="191" y="172"/>
                  </a:cubicBezTo>
                  <a:cubicBezTo>
                    <a:pt x="185" y="170"/>
                    <a:pt x="182" y="164"/>
                    <a:pt x="183" y="159"/>
                  </a:cubicBezTo>
                  <a:cubicBezTo>
                    <a:pt x="184" y="156"/>
                    <a:pt x="184" y="156"/>
                    <a:pt x="184" y="156"/>
                  </a:cubicBezTo>
                  <a:cubicBezTo>
                    <a:pt x="163" y="169"/>
                    <a:pt x="148" y="189"/>
                    <a:pt x="142" y="213"/>
                  </a:cubicBezTo>
                  <a:cubicBezTo>
                    <a:pt x="145" y="211"/>
                    <a:pt x="145" y="211"/>
                    <a:pt x="145" y="211"/>
                  </a:cubicBezTo>
                  <a:cubicBezTo>
                    <a:pt x="151" y="208"/>
                    <a:pt x="157" y="210"/>
                    <a:pt x="160" y="215"/>
                  </a:cubicBezTo>
                  <a:cubicBezTo>
                    <a:pt x="163" y="220"/>
                    <a:pt x="161" y="226"/>
                    <a:pt x="156" y="229"/>
                  </a:cubicBezTo>
                  <a:cubicBezTo>
                    <a:pt x="130" y="244"/>
                    <a:pt x="130" y="244"/>
                    <a:pt x="130" y="244"/>
                  </a:cubicBezTo>
                  <a:cubicBezTo>
                    <a:pt x="128" y="245"/>
                    <a:pt x="126" y="246"/>
                    <a:pt x="124" y="246"/>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5" name="Freeform 1006">
              <a:extLst>
                <a:ext uri="{FF2B5EF4-FFF2-40B4-BE49-F238E27FC236}">
                  <a16:creationId xmlns:a16="http://schemas.microsoft.com/office/drawing/2014/main" id="{66234739-0642-A941-8D0D-9782B8D2C337}"/>
                </a:ext>
              </a:extLst>
            </p:cNvPr>
            <p:cNvSpPr>
              <a:spLocks noChangeAspect="1" noEditPoints="1"/>
            </p:cNvSpPr>
            <p:nvPr/>
          </p:nvSpPr>
          <p:spPr bwMode="auto">
            <a:xfrm>
              <a:off x="6362217" y="3894938"/>
              <a:ext cx="228600" cy="228600"/>
            </a:xfrm>
            <a:custGeom>
              <a:avLst/>
              <a:gdLst>
                <a:gd name="T0" fmla="*/ 0 w 512"/>
                <a:gd name="T1" fmla="*/ 256 h 512"/>
                <a:gd name="T2" fmla="*/ 512 w 512"/>
                <a:gd name="T3" fmla="*/ 256 h 512"/>
                <a:gd name="T4" fmla="*/ 328 w 512"/>
                <a:gd name="T5" fmla="*/ 412 h 512"/>
                <a:gd name="T6" fmla="*/ 312 w 512"/>
                <a:gd name="T7" fmla="*/ 413 h 512"/>
                <a:gd name="T8" fmla="*/ 330 w 512"/>
                <a:gd name="T9" fmla="*/ 331 h 512"/>
                <a:gd name="T10" fmla="*/ 319 w 512"/>
                <a:gd name="T11" fmla="*/ 277 h 512"/>
                <a:gd name="T12" fmla="*/ 309 w 512"/>
                <a:gd name="T13" fmla="*/ 288 h 512"/>
                <a:gd name="T14" fmla="*/ 298 w 512"/>
                <a:gd name="T15" fmla="*/ 298 h 512"/>
                <a:gd name="T16" fmla="*/ 288 w 512"/>
                <a:gd name="T17" fmla="*/ 288 h 512"/>
                <a:gd name="T18" fmla="*/ 277 w 512"/>
                <a:gd name="T19" fmla="*/ 266 h 512"/>
                <a:gd name="T20" fmla="*/ 266 w 512"/>
                <a:gd name="T21" fmla="*/ 288 h 512"/>
                <a:gd name="T22" fmla="*/ 245 w 512"/>
                <a:gd name="T23" fmla="*/ 288 h 512"/>
                <a:gd name="T24" fmla="*/ 234 w 512"/>
                <a:gd name="T25" fmla="*/ 245 h 512"/>
                <a:gd name="T26" fmla="*/ 224 w 512"/>
                <a:gd name="T27" fmla="*/ 288 h 512"/>
                <a:gd name="T28" fmla="*/ 202 w 512"/>
                <a:gd name="T29" fmla="*/ 288 h 512"/>
                <a:gd name="T30" fmla="*/ 192 w 512"/>
                <a:gd name="T31" fmla="*/ 192 h 512"/>
                <a:gd name="T32" fmla="*/ 181 w 512"/>
                <a:gd name="T33" fmla="*/ 330 h 512"/>
                <a:gd name="T34" fmla="*/ 163 w 512"/>
                <a:gd name="T35" fmla="*/ 338 h 512"/>
                <a:gd name="T36" fmla="*/ 125 w 512"/>
                <a:gd name="T37" fmla="*/ 276 h 512"/>
                <a:gd name="T38" fmla="*/ 116 w 512"/>
                <a:gd name="T39" fmla="*/ 294 h 512"/>
                <a:gd name="T40" fmla="*/ 187 w 512"/>
                <a:gd name="T41" fmla="*/ 396 h 512"/>
                <a:gd name="T42" fmla="*/ 181 w 512"/>
                <a:gd name="T43" fmla="*/ 416 h 512"/>
                <a:gd name="T44" fmla="*/ 96 w 512"/>
                <a:gd name="T45" fmla="*/ 303 h 512"/>
                <a:gd name="T46" fmla="*/ 132 w 512"/>
                <a:gd name="T47" fmla="*/ 256 h 512"/>
                <a:gd name="T48" fmla="*/ 160 w 512"/>
                <a:gd name="T49" fmla="*/ 293 h 512"/>
                <a:gd name="T50" fmla="*/ 192 w 512"/>
                <a:gd name="T51" fmla="*/ 170 h 512"/>
                <a:gd name="T52" fmla="*/ 224 w 512"/>
                <a:gd name="T53" fmla="*/ 226 h 512"/>
                <a:gd name="T54" fmla="*/ 265 w 512"/>
                <a:gd name="T55" fmla="*/ 247 h 512"/>
                <a:gd name="T56" fmla="*/ 304 w 512"/>
                <a:gd name="T57" fmla="*/ 260 h 512"/>
                <a:gd name="T58" fmla="*/ 352 w 512"/>
                <a:gd name="T59" fmla="*/ 288 h 512"/>
                <a:gd name="T60" fmla="*/ 328 w 512"/>
                <a:gd name="T61" fmla="*/ 412 h 512"/>
                <a:gd name="T62" fmla="*/ 391 w 512"/>
                <a:gd name="T63" fmla="*/ 199 h 512"/>
                <a:gd name="T64" fmla="*/ 376 w 512"/>
                <a:gd name="T65" fmla="*/ 199 h 512"/>
                <a:gd name="T66" fmla="*/ 379 w 512"/>
                <a:gd name="T67" fmla="*/ 181 h 512"/>
                <a:gd name="T68" fmla="*/ 352 w 512"/>
                <a:gd name="T69" fmla="*/ 209 h 512"/>
                <a:gd name="T70" fmla="*/ 370 w 512"/>
                <a:gd name="T71" fmla="*/ 205 h 512"/>
                <a:gd name="T72" fmla="*/ 349 w 512"/>
                <a:gd name="T73" fmla="*/ 242 h 512"/>
                <a:gd name="T74" fmla="*/ 333 w 512"/>
                <a:gd name="T75" fmla="*/ 242 h 512"/>
                <a:gd name="T76" fmla="*/ 312 w 512"/>
                <a:gd name="T77" fmla="*/ 205 h 512"/>
                <a:gd name="T78" fmla="*/ 330 w 512"/>
                <a:gd name="T79" fmla="*/ 209 h 512"/>
                <a:gd name="T80" fmla="*/ 303 w 512"/>
                <a:gd name="T81" fmla="*/ 181 h 512"/>
                <a:gd name="T82" fmla="*/ 306 w 512"/>
                <a:gd name="T83" fmla="*/ 199 h 512"/>
                <a:gd name="T84" fmla="*/ 291 w 512"/>
                <a:gd name="T85" fmla="*/ 199 h 512"/>
                <a:gd name="T86" fmla="*/ 269 w 512"/>
                <a:gd name="T87" fmla="*/ 163 h 512"/>
                <a:gd name="T88" fmla="*/ 306 w 512"/>
                <a:gd name="T89" fmla="*/ 141 h 512"/>
                <a:gd name="T90" fmla="*/ 303 w 512"/>
                <a:gd name="T91" fmla="*/ 160 h 512"/>
                <a:gd name="T92" fmla="*/ 330 w 512"/>
                <a:gd name="T93" fmla="*/ 132 h 512"/>
                <a:gd name="T94" fmla="*/ 320 w 512"/>
                <a:gd name="T95" fmla="*/ 138 h 512"/>
                <a:gd name="T96" fmla="*/ 312 w 512"/>
                <a:gd name="T97" fmla="*/ 120 h 512"/>
                <a:gd name="T98" fmla="*/ 349 w 512"/>
                <a:gd name="T99" fmla="*/ 99 h 512"/>
                <a:gd name="T100" fmla="*/ 370 w 512"/>
                <a:gd name="T101" fmla="*/ 135 h 512"/>
                <a:gd name="T102" fmla="*/ 355 w 512"/>
                <a:gd name="T103" fmla="*/ 135 h 512"/>
                <a:gd name="T104" fmla="*/ 352 w 512"/>
                <a:gd name="T105" fmla="*/ 160 h 512"/>
                <a:gd name="T106" fmla="*/ 376 w 512"/>
                <a:gd name="T107" fmla="*/ 157 h 512"/>
                <a:gd name="T108" fmla="*/ 391 w 512"/>
                <a:gd name="T109" fmla="*/ 141 h 512"/>
                <a:gd name="T110" fmla="*/ 413 w 512"/>
                <a:gd name="T111"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8" y="412"/>
                  </a:moveTo>
                  <a:cubicBezTo>
                    <a:pt x="326" y="414"/>
                    <a:pt x="322" y="416"/>
                    <a:pt x="319" y="416"/>
                  </a:cubicBezTo>
                  <a:cubicBezTo>
                    <a:pt x="317" y="416"/>
                    <a:pt x="314" y="415"/>
                    <a:pt x="312" y="413"/>
                  </a:cubicBezTo>
                  <a:cubicBezTo>
                    <a:pt x="308" y="409"/>
                    <a:pt x="307" y="403"/>
                    <a:pt x="311" y="398"/>
                  </a:cubicBezTo>
                  <a:cubicBezTo>
                    <a:pt x="333" y="373"/>
                    <a:pt x="330" y="332"/>
                    <a:pt x="330" y="331"/>
                  </a:cubicBezTo>
                  <a:cubicBezTo>
                    <a:pt x="330" y="288"/>
                    <a:pt x="330" y="288"/>
                    <a:pt x="330" y="288"/>
                  </a:cubicBezTo>
                  <a:cubicBezTo>
                    <a:pt x="330" y="282"/>
                    <a:pt x="325" y="277"/>
                    <a:pt x="319" y="277"/>
                  </a:cubicBezTo>
                  <a:cubicBezTo>
                    <a:pt x="314" y="277"/>
                    <a:pt x="310" y="281"/>
                    <a:pt x="309" y="286"/>
                  </a:cubicBezTo>
                  <a:cubicBezTo>
                    <a:pt x="309" y="288"/>
                    <a:pt x="309" y="288"/>
                    <a:pt x="309" y="288"/>
                  </a:cubicBezTo>
                  <a:cubicBezTo>
                    <a:pt x="309" y="294"/>
                    <a:pt x="304" y="298"/>
                    <a:pt x="298" y="298"/>
                  </a:cubicBezTo>
                  <a:cubicBezTo>
                    <a:pt x="298" y="298"/>
                    <a:pt x="298" y="298"/>
                    <a:pt x="298" y="298"/>
                  </a:cubicBezTo>
                  <a:cubicBezTo>
                    <a:pt x="298" y="298"/>
                    <a:pt x="298" y="298"/>
                    <a:pt x="298" y="298"/>
                  </a:cubicBezTo>
                  <a:cubicBezTo>
                    <a:pt x="292" y="298"/>
                    <a:pt x="288" y="294"/>
                    <a:pt x="288" y="288"/>
                  </a:cubicBezTo>
                  <a:cubicBezTo>
                    <a:pt x="288" y="277"/>
                    <a:pt x="288" y="277"/>
                    <a:pt x="288" y="277"/>
                  </a:cubicBezTo>
                  <a:cubicBezTo>
                    <a:pt x="288" y="271"/>
                    <a:pt x="283" y="266"/>
                    <a:pt x="277" y="266"/>
                  </a:cubicBezTo>
                  <a:cubicBezTo>
                    <a:pt x="271" y="266"/>
                    <a:pt x="266" y="271"/>
                    <a:pt x="266" y="277"/>
                  </a:cubicBezTo>
                  <a:cubicBezTo>
                    <a:pt x="266" y="288"/>
                    <a:pt x="266" y="288"/>
                    <a:pt x="266" y="288"/>
                  </a:cubicBezTo>
                  <a:cubicBezTo>
                    <a:pt x="266" y="294"/>
                    <a:pt x="262" y="298"/>
                    <a:pt x="256" y="298"/>
                  </a:cubicBezTo>
                  <a:cubicBezTo>
                    <a:pt x="250" y="298"/>
                    <a:pt x="245" y="294"/>
                    <a:pt x="245" y="288"/>
                  </a:cubicBezTo>
                  <a:cubicBezTo>
                    <a:pt x="245" y="256"/>
                    <a:pt x="245" y="256"/>
                    <a:pt x="245" y="256"/>
                  </a:cubicBezTo>
                  <a:cubicBezTo>
                    <a:pt x="245" y="250"/>
                    <a:pt x="240" y="245"/>
                    <a:pt x="234" y="245"/>
                  </a:cubicBezTo>
                  <a:cubicBezTo>
                    <a:pt x="228" y="245"/>
                    <a:pt x="224" y="250"/>
                    <a:pt x="224" y="256"/>
                  </a:cubicBezTo>
                  <a:cubicBezTo>
                    <a:pt x="224" y="288"/>
                    <a:pt x="224" y="288"/>
                    <a:pt x="224" y="288"/>
                  </a:cubicBezTo>
                  <a:cubicBezTo>
                    <a:pt x="224" y="294"/>
                    <a:pt x="219" y="298"/>
                    <a:pt x="213" y="298"/>
                  </a:cubicBezTo>
                  <a:cubicBezTo>
                    <a:pt x="207" y="298"/>
                    <a:pt x="202" y="294"/>
                    <a:pt x="202" y="288"/>
                  </a:cubicBezTo>
                  <a:cubicBezTo>
                    <a:pt x="202" y="202"/>
                    <a:pt x="202" y="202"/>
                    <a:pt x="202" y="202"/>
                  </a:cubicBezTo>
                  <a:cubicBezTo>
                    <a:pt x="202" y="196"/>
                    <a:pt x="198" y="192"/>
                    <a:pt x="192" y="192"/>
                  </a:cubicBezTo>
                  <a:cubicBezTo>
                    <a:pt x="186" y="192"/>
                    <a:pt x="181" y="196"/>
                    <a:pt x="181" y="202"/>
                  </a:cubicBezTo>
                  <a:cubicBezTo>
                    <a:pt x="181" y="330"/>
                    <a:pt x="181" y="330"/>
                    <a:pt x="181" y="330"/>
                  </a:cubicBezTo>
                  <a:cubicBezTo>
                    <a:pt x="181" y="335"/>
                    <a:pt x="179" y="338"/>
                    <a:pt x="175" y="340"/>
                  </a:cubicBezTo>
                  <a:cubicBezTo>
                    <a:pt x="171" y="342"/>
                    <a:pt x="167" y="341"/>
                    <a:pt x="163" y="338"/>
                  </a:cubicBezTo>
                  <a:cubicBezTo>
                    <a:pt x="149" y="326"/>
                    <a:pt x="134" y="288"/>
                    <a:pt x="131" y="281"/>
                  </a:cubicBezTo>
                  <a:cubicBezTo>
                    <a:pt x="130" y="279"/>
                    <a:pt x="128" y="277"/>
                    <a:pt x="125" y="276"/>
                  </a:cubicBezTo>
                  <a:cubicBezTo>
                    <a:pt x="122" y="276"/>
                    <a:pt x="120" y="276"/>
                    <a:pt x="117" y="277"/>
                  </a:cubicBezTo>
                  <a:cubicBezTo>
                    <a:pt x="113" y="279"/>
                    <a:pt x="113" y="288"/>
                    <a:pt x="116" y="294"/>
                  </a:cubicBezTo>
                  <a:cubicBezTo>
                    <a:pt x="116" y="294"/>
                    <a:pt x="116" y="294"/>
                    <a:pt x="116" y="295"/>
                  </a:cubicBezTo>
                  <a:cubicBezTo>
                    <a:pt x="117" y="295"/>
                    <a:pt x="143" y="369"/>
                    <a:pt x="187" y="396"/>
                  </a:cubicBezTo>
                  <a:cubicBezTo>
                    <a:pt x="192" y="399"/>
                    <a:pt x="193" y="406"/>
                    <a:pt x="190" y="411"/>
                  </a:cubicBezTo>
                  <a:cubicBezTo>
                    <a:pt x="188" y="414"/>
                    <a:pt x="185" y="416"/>
                    <a:pt x="181" y="416"/>
                  </a:cubicBezTo>
                  <a:cubicBezTo>
                    <a:pt x="179" y="416"/>
                    <a:pt x="177" y="415"/>
                    <a:pt x="175" y="414"/>
                  </a:cubicBezTo>
                  <a:cubicBezTo>
                    <a:pt x="127" y="384"/>
                    <a:pt x="99" y="310"/>
                    <a:pt x="96" y="303"/>
                  </a:cubicBezTo>
                  <a:cubicBezTo>
                    <a:pt x="89" y="287"/>
                    <a:pt x="91" y="266"/>
                    <a:pt x="107" y="258"/>
                  </a:cubicBezTo>
                  <a:cubicBezTo>
                    <a:pt x="115" y="254"/>
                    <a:pt x="124" y="253"/>
                    <a:pt x="132" y="256"/>
                  </a:cubicBezTo>
                  <a:cubicBezTo>
                    <a:pt x="140" y="259"/>
                    <a:pt x="147" y="265"/>
                    <a:pt x="150" y="272"/>
                  </a:cubicBezTo>
                  <a:cubicBezTo>
                    <a:pt x="153" y="279"/>
                    <a:pt x="156" y="286"/>
                    <a:pt x="160" y="293"/>
                  </a:cubicBezTo>
                  <a:cubicBezTo>
                    <a:pt x="160" y="202"/>
                    <a:pt x="160" y="202"/>
                    <a:pt x="160" y="202"/>
                  </a:cubicBezTo>
                  <a:cubicBezTo>
                    <a:pt x="160" y="185"/>
                    <a:pt x="174" y="170"/>
                    <a:pt x="192" y="170"/>
                  </a:cubicBezTo>
                  <a:cubicBezTo>
                    <a:pt x="209" y="170"/>
                    <a:pt x="224" y="185"/>
                    <a:pt x="224" y="202"/>
                  </a:cubicBezTo>
                  <a:cubicBezTo>
                    <a:pt x="224" y="226"/>
                    <a:pt x="224" y="226"/>
                    <a:pt x="224" y="226"/>
                  </a:cubicBezTo>
                  <a:cubicBezTo>
                    <a:pt x="227" y="224"/>
                    <a:pt x="231" y="224"/>
                    <a:pt x="234" y="224"/>
                  </a:cubicBezTo>
                  <a:cubicBezTo>
                    <a:pt x="249" y="224"/>
                    <a:pt x="261" y="234"/>
                    <a:pt x="265" y="247"/>
                  </a:cubicBezTo>
                  <a:cubicBezTo>
                    <a:pt x="269" y="246"/>
                    <a:pt x="273" y="245"/>
                    <a:pt x="277" y="245"/>
                  </a:cubicBezTo>
                  <a:cubicBezTo>
                    <a:pt x="288" y="245"/>
                    <a:pt x="298" y="251"/>
                    <a:pt x="304" y="260"/>
                  </a:cubicBezTo>
                  <a:cubicBezTo>
                    <a:pt x="309" y="257"/>
                    <a:pt x="314" y="256"/>
                    <a:pt x="320" y="256"/>
                  </a:cubicBezTo>
                  <a:cubicBezTo>
                    <a:pt x="337" y="256"/>
                    <a:pt x="352" y="270"/>
                    <a:pt x="352" y="288"/>
                  </a:cubicBezTo>
                  <a:cubicBezTo>
                    <a:pt x="352" y="330"/>
                    <a:pt x="352" y="330"/>
                    <a:pt x="352" y="330"/>
                  </a:cubicBezTo>
                  <a:cubicBezTo>
                    <a:pt x="352" y="332"/>
                    <a:pt x="355" y="380"/>
                    <a:pt x="328" y="412"/>
                  </a:cubicBezTo>
                  <a:close/>
                  <a:moveTo>
                    <a:pt x="413" y="178"/>
                  </a:moveTo>
                  <a:cubicBezTo>
                    <a:pt x="391" y="199"/>
                    <a:pt x="391" y="199"/>
                    <a:pt x="391" y="199"/>
                  </a:cubicBezTo>
                  <a:cubicBezTo>
                    <a:pt x="389" y="201"/>
                    <a:pt x="386" y="202"/>
                    <a:pt x="384" y="202"/>
                  </a:cubicBezTo>
                  <a:cubicBezTo>
                    <a:pt x="381" y="202"/>
                    <a:pt x="378" y="201"/>
                    <a:pt x="376" y="199"/>
                  </a:cubicBezTo>
                  <a:cubicBezTo>
                    <a:pt x="372" y="195"/>
                    <a:pt x="372" y="188"/>
                    <a:pt x="376" y="184"/>
                  </a:cubicBezTo>
                  <a:cubicBezTo>
                    <a:pt x="379" y="181"/>
                    <a:pt x="379" y="181"/>
                    <a:pt x="379" y="181"/>
                  </a:cubicBezTo>
                  <a:cubicBezTo>
                    <a:pt x="352" y="181"/>
                    <a:pt x="352" y="181"/>
                    <a:pt x="352" y="181"/>
                  </a:cubicBezTo>
                  <a:cubicBezTo>
                    <a:pt x="352" y="209"/>
                    <a:pt x="352" y="209"/>
                    <a:pt x="352" y="209"/>
                  </a:cubicBezTo>
                  <a:cubicBezTo>
                    <a:pt x="355" y="205"/>
                    <a:pt x="355" y="205"/>
                    <a:pt x="355" y="205"/>
                  </a:cubicBezTo>
                  <a:cubicBezTo>
                    <a:pt x="359" y="201"/>
                    <a:pt x="366" y="201"/>
                    <a:pt x="370" y="205"/>
                  </a:cubicBezTo>
                  <a:cubicBezTo>
                    <a:pt x="374" y="210"/>
                    <a:pt x="374" y="216"/>
                    <a:pt x="370" y="221"/>
                  </a:cubicBezTo>
                  <a:cubicBezTo>
                    <a:pt x="349" y="242"/>
                    <a:pt x="349" y="242"/>
                    <a:pt x="349" y="242"/>
                  </a:cubicBezTo>
                  <a:cubicBezTo>
                    <a:pt x="346" y="244"/>
                    <a:pt x="344" y="245"/>
                    <a:pt x="341" y="245"/>
                  </a:cubicBezTo>
                  <a:cubicBezTo>
                    <a:pt x="338" y="245"/>
                    <a:pt x="336" y="244"/>
                    <a:pt x="333" y="242"/>
                  </a:cubicBezTo>
                  <a:cubicBezTo>
                    <a:pt x="312" y="221"/>
                    <a:pt x="312" y="221"/>
                    <a:pt x="312" y="221"/>
                  </a:cubicBezTo>
                  <a:cubicBezTo>
                    <a:pt x="308" y="216"/>
                    <a:pt x="308" y="210"/>
                    <a:pt x="312" y="205"/>
                  </a:cubicBezTo>
                  <a:cubicBezTo>
                    <a:pt x="316" y="201"/>
                    <a:pt x="323" y="201"/>
                    <a:pt x="327" y="205"/>
                  </a:cubicBezTo>
                  <a:cubicBezTo>
                    <a:pt x="330" y="209"/>
                    <a:pt x="330" y="209"/>
                    <a:pt x="330" y="209"/>
                  </a:cubicBezTo>
                  <a:cubicBezTo>
                    <a:pt x="330" y="181"/>
                    <a:pt x="330" y="181"/>
                    <a:pt x="330" y="181"/>
                  </a:cubicBezTo>
                  <a:cubicBezTo>
                    <a:pt x="303" y="181"/>
                    <a:pt x="303" y="181"/>
                    <a:pt x="303" y="181"/>
                  </a:cubicBezTo>
                  <a:cubicBezTo>
                    <a:pt x="306" y="184"/>
                    <a:pt x="306" y="184"/>
                    <a:pt x="306" y="184"/>
                  </a:cubicBezTo>
                  <a:cubicBezTo>
                    <a:pt x="310" y="188"/>
                    <a:pt x="310" y="195"/>
                    <a:pt x="306" y="199"/>
                  </a:cubicBezTo>
                  <a:cubicBezTo>
                    <a:pt x="304" y="201"/>
                    <a:pt x="301" y="202"/>
                    <a:pt x="298" y="202"/>
                  </a:cubicBezTo>
                  <a:cubicBezTo>
                    <a:pt x="296" y="202"/>
                    <a:pt x="293" y="201"/>
                    <a:pt x="291" y="199"/>
                  </a:cubicBezTo>
                  <a:cubicBezTo>
                    <a:pt x="269" y="178"/>
                    <a:pt x="269" y="178"/>
                    <a:pt x="269" y="178"/>
                  </a:cubicBezTo>
                  <a:cubicBezTo>
                    <a:pt x="265" y="174"/>
                    <a:pt x="265" y="167"/>
                    <a:pt x="269" y="163"/>
                  </a:cubicBezTo>
                  <a:cubicBezTo>
                    <a:pt x="291" y="141"/>
                    <a:pt x="291" y="141"/>
                    <a:pt x="291" y="141"/>
                  </a:cubicBezTo>
                  <a:cubicBezTo>
                    <a:pt x="295" y="137"/>
                    <a:pt x="302" y="137"/>
                    <a:pt x="306" y="141"/>
                  </a:cubicBezTo>
                  <a:cubicBezTo>
                    <a:pt x="310" y="146"/>
                    <a:pt x="310" y="152"/>
                    <a:pt x="306" y="157"/>
                  </a:cubicBezTo>
                  <a:cubicBezTo>
                    <a:pt x="303" y="160"/>
                    <a:pt x="303" y="160"/>
                    <a:pt x="303" y="160"/>
                  </a:cubicBezTo>
                  <a:cubicBezTo>
                    <a:pt x="330" y="160"/>
                    <a:pt x="330" y="160"/>
                    <a:pt x="330" y="160"/>
                  </a:cubicBezTo>
                  <a:cubicBezTo>
                    <a:pt x="330" y="132"/>
                    <a:pt x="330" y="132"/>
                    <a:pt x="330" y="132"/>
                  </a:cubicBezTo>
                  <a:cubicBezTo>
                    <a:pt x="327" y="135"/>
                    <a:pt x="327" y="135"/>
                    <a:pt x="327" y="135"/>
                  </a:cubicBezTo>
                  <a:cubicBezTo>
                    <a:pt x="325" y="137"/>
                    <a:pt x="322" y="138"/>
                    <a:pt x="320" y="138"/>
                  </a:cubicBezTo>
                  <a:cubicBezTo>
                    <a:pt x="317" y="138"/>
                    <a:pt x="314" y="137"/>
                    <a:pt x="312" y="135"/>
                  </a:cubicBezTo>
                  <a:cubicBezTo>
                    <a:pt x="308" y="131"/>
                    <a:pt x="308" y="124"/>
                    <a:pt x="312" y="120"/>
                  </a:cubicBezTo>
                  <a:cubicBezTo>
                    <a:pt x="333" y="99"/>
                    <a:pt x="333" y="99"/>
                    <a:pt x="333" y="99"/>
                  </a:cubicBezTo>
                  <a:cubicBezTo>
                    <a:pt x="338" y="95"/>
                    <a:pt x="344" y="95"/>
                    <a:pt x="349" y="99"/>
                  </a:cubicBezTo>
                  <a:cubicBezTo>
                    <a:pt x="370" y="120"/>
                    <a:pt x="370" y="120"/>
                    <a:pt x="370" y="120"/>
                  </a:cubicBezTo>
                  <a:cubicBezTo>
                    <a:pt x="374" y="124"/>
                    <a:pt x="374" y="131"/>
                    <a:pt x="370" y="135"/>
                  </a:cubicBezTo>
                  <a:cubicBezTo>
                    <a:pt x="368" y="137"/>
                    <a:pt x="365" y="138"/>
                    <a:pt x="362" y="138"/>
                  </a:cubicBezTo>
                  <a:cubicBezTo>
                    <a:pt x="360" y="138"/>
                    <a:pt x="357" y="137"/>
                    <a:pt x="355" y="135"/>
                  </a:cubicBezTo>
                  <a:cubicBezTo>
                    <a:pt x="352" y="132"/>
                    <a:pt x="352" y="132"/>
                    <a:pt x="352" y="132"/>
                  </a:cubicBezTo>
                  <a:cubicBezTo>
                    <a:pt x="352" y="160"/>
                    <a:pt x="352" y="160"/>
                    <a:pt x="352" y="160"/>
                  </a:cubicBezTo>
                  <a:cubicBezTo>
                    <a:pt x="379" y="160"/>
                    <a:pt x="379" y="160"/>
                    <a:pt x="379" y="160"/>
                  </a:cubicBezTo>
                  <a:cubicBezTo>
                    <a:pt x="376" y="157"/>
                    <a:pt x="376" y="157"/>
                    <a:pt x="376" y="157"/>
                  </a:cubicBezTo>
                  <a:cubicBezTo>
                    <a:pt x="372" y="152"/>
                    <a:pt x="372" y="146"/>
                    <a:pt x="376" y="141"/>
                  </a:cubicBezTo>
                  <a:cubicBezTo>
                    <a:pt x="380" y="137"/>
                    <a:pt x="387" y="137"/>
                    <a:pt x="391" y="141"/>
                  </a:cubicBezTo>
                  <a:cubicBezTo>
                    <a:pt x="413" y="163"/>
                    <a:pt x="413" y="163"/>
                    <a:pt x="413" y="163"/>
                  </a:cubicBezTo>
                  <a:cubicBezTo>
                    <a:pt x="417" y="167"/>
                    <a:pt x="417" y="174"/>
                    <a:pt x="413" y="1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6" name="Freeform 171">
              <a:extLst>
                <a:ext uri="{FF2B5EF4-FFF2-40B4-BE49-F238E27FC236}">
                  <a16:creationId xmlns:a16="http://schemas.microsoft.com/office/drawing/2014/main" id="{6BE344B2-56FC-7E44-BA06-C0603CD5167C}"/>
                </a:ext>
              </a:extLst>
            </p:cNvPr>
            <p:cNvSpPr>
              <a:spLocks noChangeAspect="1" noEditPoints="1"/>
            </p:cNvSpPr>
            <p:nvPr/>
          </p:nvSpPr>
          <p:spPr bwMode="auto">
            <a:xfrm>
              <a:off x="7999726" y="3894938"/>
              <a:ext cx="228600" cy="2286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6 w 512"/>
                <a:gd name="T11" fmla="*/ 246 h 512"/>
                <a:gd name="T12" fmla="*/ 332 w 512"/>
                <a:gd name="T13" fmla="*/ 246 h 512"/>
                <a:gd name="T14" fmla="*/ 334 w 512"/>
                <a:gd name="T15" fmla="*/ 255 h 512"/>
                <a:gd name="T16" fmla="*/ 310 w 512"/>
                <a:gd name="T17" fmla="*/ 287 h 512"/>
                <a:gd name="T18" fmla="*/ 312 w 512"/>
                <a:gd name="T19" fmla="*/ 298 h 512"/>
                <a:gd name="T20" fmla="*/ 298 w 512"/>
                <a:gd name="T21" fmla="*/ 326 h 512"/>
                <a:gd name="T22" fmla="*/ 302 w 512"/>
                <a:gd name="T23" fmla="*/ 340 h 512"/>
                <a:gd name="T24" fmla="*/ 270 w 512"/>
                <a:gd name="T25" fmla="*/ 374 h 512"/>
                <a:gd name="T26" fmla="*/ 228 w 512"/>
                <a:gd name="T27" fmla="*/ 374 h 512"/>
                <a:gd name="T28" fmla="*/ 226 w 512"/>
                <a:gd name="T29" fmla="*/ 374 h 512"/>
                <a:gd name="T30" fmla="*/ 146 w 512"/>
                <a:gd name="T31" fmla="*/ 348 h 512"/>
                <a:gd name="T32" fmla="*/ 145 w 512"/>
                <a:gd name="T33" fmla="*/ 333 h 512"/>
                <a:gd name="T34" fmla="*/ 160 w 512"/>
                <a:gd name="T35" fmla="*/ 332 h 512"/>
                <a:gd name="T36" fmla="*/ 227 w 512"/>
                <a:gd name="T37" fmla="*/ 352 h 512"/>
                <a:gd name="T38" fmla="*/ 270 w 512"/>
                <a:gd name="T39" fmla="*/ 352 h 512"/>
                <a:gd name="T40" fmla="*/ 281 w 512"/>
                <a:gd name="T41" fmla="*/ 340 h 512"/>
                <a:gd name="T42" fmla="*/ 267 w 512"/>
                <a:gd name="T43" fmla="*/ 331 h 512"/>
                <a:gd name="T44" fmla="*/ 256 w 512"/>
                <a:gd name="T45" fmla="*/ 320 h 512"/>
                <a:gd name="T46" fmla="*/ 267 w 512"/>
                <a:gd name="T47" fmla="*/ 310 h 512"/>
                <a:gd name="T48" fmla="*/ 281 w 512"/>
                <a:gd name="T49" fmla="*/ 310 h 512"/>
                <a:gd name="T50" fmla="*/ 291 w 512"/>
                <a:gd name="T51" fmla="*/ 298 h 512"/>
                <a:gd name="T52" fmla="*/ 277 w 512"/>
                <a:gd name="T53" fmla="*/ 288 h 512"/>
                <a:gd name="T54" fmla="*/ 267 w 512"/>
                <a:gd name="T55" fmla="*/ 288 h 512"/>
                <a:gd name="T56" fmla="*/ 256 w 512"/>
                <a:gd name="T57" fmla="*/ 278 h 512"/>
                <a:gd name="T58" fmla="*/ 267 w 512"/>
                <a:gd name="T59" fmla="*/ 267 h 512"/>
                <a:gd name="T60" fmla="*/ 302 w 512"/>
                <a:gd name="T61" fmla="*/ 267 h 512"/>
                <a:gd name="T62" fmla="*/ 312 w 512"/>
                <a:gd name="T63" fmla="*/ 255 h 512"/>
                <a:gd name="T64" fmla="*/ 299 w 512"/>
                <a:gd name="T65" fmla="*/ 246 h 512"/>
                <a:gd name="T66" fmla="*/ 267 w 512"/>
                <a:gd name="T67" fmla="*/ 246 h 512"/>
                <a:gd name="T68" fmla="*/ 256 w 512"/>
                <a:gd name="T69" fmla="*/ 235 h 512"/>
                <a:gd name="T70" fmla="*/ 267 w 512"/>
                <a:gd name="T71" fmla="*/ 224 h 512"/>
                <a:gd name="T72" fmla="*/ 356 w 512"/>
                <a:gd name="T73" fmla="*/ 224 h 512"/>
                <a:gd name="T74" fmla="*/ 366 w 512"/>
                <a:gd name="T75" fmla="*/ 214 h 512"/>
                <a:gd name="T76" fmla="*/ 356 w 512"/>
                <a:gd name="T77" fmla="*/ 203 h 512"/>
                <a:gd name="T78" fmla="*/ 228 w 512"/>
                <a:gd name="T79" fmla="*/ 203 h 512"/>
                <a:gd name="T80" fmla="*/ 219 w 512"/>
                <a:gd name="T81" fmla="*/ 198 h 512"/>
                <a:gd name="T82" fmla="*/ 218 w 512"/>
                <a:gd name="T83" fmla="*/ 187 h 512"/>
                <a:gd name="T84" fmla="*/ 277 w 512"/>
                <a:gd name="T85" fmla="*/ 151 h 512"/>
                <a:gd name="T86" fmla="*/ 281 w 512"/>
                <a:gd name="T87" fmla="*/ 136 h 512"/>
                <a:gd name="T88" fmla="*/ 265 w 512"/>
                <a:gd name="T89" fmla="*/ 135 h 512"/>
                <a:gd name="T90" fmla="*/ 263 w 512"/>
                <a:gd name="T91" fmla="*/ 135 h 512"/>
                <a:gd name="T92" fmla="*/ 160 w 512"/>
                <a:gd name="T93" fmla="*/ 207 h 512"/>
                <a:gd name="T94" fmla="*/ 146 w 512"/>
                <a:gd name="T95" fmla="*/ 210 h 512"/>
                <a:gd name="T96" fmla="*/ 142 w 512"/>
                <a:gd name="T97" fmla="*/ 196 h 512"/>
                <a:gd name="T98" fmla="*/ 256 w 512"/>
                <a:gd name="T99" fmla="*/ 115 h 512"/>
                <a:gd name="T100" fmla="*/ 300 w 512"/>
                <a:gd name="T101" fmla="*/ 127 h 512"/>
                <a:gd name="T102" fmla="*/ 286 w 512"/>
                <a:gd name="T103" fmla="*/ 170 h 512"/>
                <a:gd name="T104" fmla="*/ 284 w 512"/>
                <a:gd name="T105" fmla="*/ 171 h 512"/>
                <a:gd name="T106" fmla="*/ 256 w 512"/>
                <a:gd name="T107" fmla="*/ 182 h 512"/>
                <a:gd name="T108" fmla="*/ 356 w 512"/>
                <a:gd name="T109" fmla="*/ 182 h 512"/>
                <a:gd name="T110" fmla="*/ 388 w 512"/>
                <a:gd name="T111" fmla="*/ 214 h 512"/>
                <a:gd name="T112" fmla="*/ 356 w 512"/>
                <a:gd name="T113"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6" y="246"/>
                  </a:moveTo>
                  <a:cubicBezTo>
                    <a:pt x="332" y="246"/>
                    <a:pt x="332" y="246"/>
                    <a:pt x="332" y="246"/>
                  </a:cubicBezTo>
                  <a:cubicBezTo>
                    <a:pt x="333" y="249"/>
                    <a:pt x="334" y="252"/>
                    <a:pt x="334" y="255"/>
                  </a:cubicBezTo>
                  <a:cubicBezTo>
                    <a:pt x="334" y="271"/>
                    <a:pt x="323" y="284"/>
                    <a:pt x="310" y="287"/>
                  </a:cubicBezTo>
                  <a:cubicBezTo>
                    <a:pt x="311" y="291"/>
                    <a:pt x="312" y="294"/>
                    <a:pt x="312" y="298"/>
                  </a:cubicBezTo>
                  <a:cubicBezTo>
                    <a:pt x="312" y="310"/>
                    <a:pt x="307" y="320"/>
                    <a:pt x="298" y="326"/>
                  </a:cubicBezTo>
                  <a:cubicBezTo>
                    <a:pt x="301" y="330"/>
                    <a:pt x="302" y="334"/>
                    <a:pt x="302" y="340"/>
                  </a:cubicBezTo>
                  <a:cubicBezTo>
                    <a:pt x="302" y="358"/>
                    <a:pt x="288" y="374"/>
                    <a:pt x="270" y="374"/>
                  </a:cubicBezTo>
                  <a:cubicBezTo>
                    <a:pt x="228" y="374"/>
                    <a:pt x="228" y="374"/>
                    <a:pt x="228" y="374"/>
                  </a:cubicBezTo>
                  <a:cubicBezTo>
                    <a:pt x="228" y="374"/>
                    <a:pt x="227" y="374"/>
                    <a:pt x="226" y="374"/>
                  </a:cubicBezTo>
                  <a:cubicBezTo>
                    <a:pt x="216" y="374"/>
                    <a:pt x="175" y="372"/>
                    <a:pt x="146" y="348"/>
                  </a:cubicBezTo>
                  <a:cubicBezTo>
                    <a:pt x="142" y="344"/>
                    <a:pt x="141" y="337"/>
                    <a:pt x="145" y="333"/>
                  </a:cubicBezTo>
                  <a:cubicBezTo>
                    <a:pt x="149" y="328"/>
                    <a:pt x="156" y="328"/>
                    <a:pt x="160" y="332"/>
                  </a:cubicBezTo>
                  <a:cubicBezTo>
                    <a:pt x="186" y="353"/>
                    <a:pt x="227" y="352"/>
                    <a:pt x="227" y="352"/>
                  </a:cubicBezTo>
                  <a:cubicBezTo>
                    <a:pt x="270" y="352"/>
                    <a:pt x="270" y="352"/>
                    <a:pt x="270" y="352"/>
                  </a:cubicBezTo>
                  <a:cubicBezTo>
                    <a:pt x="276" y="352"/>
                    <a:pt x="281" y="346"/>
                    <a:pt x="281" y="340"/>
                  </a:cubicBezTo>
                  <a:cubicBezTo>
                    <a:pt x="281" y="335"/>
                    <a:pt x="274" y="331"/>
                    <a:pt x="267" y="331"/>
                  </a:cubicBezTo>
                  <a:cubicBezTo>
                    <a:pt x="261" y="331"/>
                    <a:pt x="256" y="326"/>
                    <a:pt x="256" y="320"/>
                  </a:cubicBezTo>
                  <a:cubicBezTo>
                    <a:pt x="256" y="314"/>
                    <a:pt x="261" y="310"/>
                    <a:pt x="267" y="310"/>
                  </a:cubicBezTo>
                  <a:cubicBezTo>
                    <a:pt x="281" y="310"/>
                    <a:pt x="281" y="310"/>
                    <a:pt x="281" y="310"/>
                  </a:cubicBezTo>
                  <a:cubicBezTo>
                    <a:pt x="287" y="310"/>
                    <a:pt x="291" y="304"/>
                    <a:pt x="291" y="298"/>
                  </a:cubicBezTo>
                  <a:cubicBezTo>
                    <a:pt x="291" y="293"/>
                    <a:pt x="284" y="288"/>
                    <a:pt x="277" y="288"/>
                  </a:cubicBezTo>
                  <a:cubicBezTo>
                    <a:pt x="267" y="288"/>
                    <a:pt x="267" y="288"/>
                    <a:pt x="267" y="288"/>
                  </a:cubicBezTo>
                  <a:cubicBezTo>
                    <a:pt x="261" y="288"/>
                    <a:pt x="256" y="284"/>
                    <a:pt x="256" y="278"/>
                  </a:cubicBezTo>
                  <a:cubicBezTo>
                    <a:pt x="256" y="272"/>
                    <a:pt x="261" y="267"/>
                    <a:pt x="267" y="267"/>
                  </a:cubicBezTo>
                  <a:cubicBezTo>
                    <a:pt x="302" y="267"/>
                    <a:pt x="302" y="267"/>
                    <a:pt x="302" y="267"/>
                  </a:cubicBezTo>
                  <a:cubicBezTo>
                    <a:pt x="308" y="267"/>
                    <a:pt x="312" y="261"/>
                    <a:pt x="312" y="255"/>
                  </a:cubicBezTo>
                  <a:cubicBezTo>
                    <a:pt x="312" y="250"/>
                    <a:pt x="305" y="246"/>
                    <a:pt x="299" y="246"/>
                  </a:cubicBezTo>
                  <a:cubicBezTo>
                    <a:pt x="267" y="246"/>
                    <a:pt x="267" y="246"/>
                    <a:pt x="267" y="246"/>
                  </a:cubicBezTo>
                  <a:cubicBezTo>
                    <a:pt x="261" y="246"/>
                    <a:pt x="256" y="241"/>
                    <a:pt x="256" y="235"/>
                  </a:cubicBezTo>
                  <a:cubicBezTo>
                    <a:pt x="256" y="229"/>
                    <a:pt x="261" y="224"/>
                    <a:pt x="267" y="224"/>
                  </a:cubicBezTo>
                  <a:cubicBezTo>
                    <a:pt x="356" y="224"/>
                    <a:pt x="356" y="224"/>
                    <a:pt x="356" y="224"/>
                  </a:cubicBezTo>
                  <a:cubicBezTo>
                    <a:pt x="362" y="224"/>
                    <a:pt x="366" y="220"/>
                    <a:pt x="366" y="214"/>
                  </a:cubicBezTo>
                  <a:cubicBezTo>
                    <a:pt x="366" y="208"/>
                    <a:pt x="362" y="203"/>
                    <a:pt x="356" y="203"/>
                  </a:cubicBezTo>
                  <a:cubicBezTo>
                    <a:pt x="228" y="203"/>
                    <a:pt x="228" y="203"/>
                    <a:pt x="228" y="203"/>
                  </a:cubicBezTo>
                  <a:cubicBezTo>
                    <a:pt x="224" y="203"/>
                    <a:pt x="221" y="201"/>
                    <a:pt x="219" y="198"/>
                  </a:cubicBezTo>
                  <a:cubicBezTo>
                    <a:pt x="217" y="195"/>
                    <a:pt x="217" y="191"/>
                    <a:pt x="218" y="187"/>
                  </a:cubicBezTo>
                  <a:cubicBezTo>
                    <a:pt x="230" y="164"/>
                    <a:pt x="268" y="153"/>
                    <a:pt x="277" y="151"/>
                  </a:cubicBezTo>
                  <a:cubicBezTo>
                    <a:pt x="282" y="148"/>
                    <a:pt x="284" y="141"/>
                    <a:pt x="281" y="136"/>
                  </a:cubicBezTo>
                  <a:cubicBezTo>
                    <a:pt x="279" y="132"/>
                    <a:pt x="270" y="132"/>
                    <a:pt x="265" y="135"/>
                  </a:cubicBezTo>
                  <a:cubicBezTo>
                    <a:pt x="264" y="135"/>
                    <a:pt x="264" y="135"/>
                    <a:pt x="263" y="135"/>
                  </a:cubicBezTo>
                  <a:cubicBezTo>
                    <a:pt x="263" y="135"/>
                    <a:pt x="187" y="164"/>
                    <a:pt x="160" y="207"/>
                  </a:cubicBezTo>
                  <a:cubicBezTo>
                    <a:pt x="157" y="212"/>
                    <a:pt x="151" y="214"/>
                    <a:pt x="146" y="210"/>
                  </a:cubicBezTo>
                  <a:cubicBezTo>
                    <a:pt x="141" y="207"/>
                    <a:pt x="139" y="201"/>
                    <a:pt x="142" y="196"/>
                  </a:cubicBezTo>
                  <a:cubicBezTo>
                    <a:pt x="172" y="148"/>
                    <a:pt x="248" y="118"/>
                    <a:pt x="256" y="115"/>
                  </a:cubicBezTo>
                  <a:cubicBezTo>
                    <a:pt x="271" y="108"/>
                    <a:pt x="292" y="110"/>
                    <a:pt x="300" y="127"/>
                  </a:cubicBezTo>
                  <a:cubicBezTo>
                    <a:pt x="308" y="143"/>
                    <a:pt x="302" y="163"/>
                    <a:pt x="286" y="170"/>
                  </a:cubicBezTo>
                  <a:cubicBezTo>
                    <a:pt x="285" y="171"/>
                    <a:pt x="284" y="171"/>
                    <a:pt x="284" y="171"/>
                  </a:cubicBezTo>
                  <a:cubicBezTo>
                    <a:pt x="276" y="173"/>
                    <a:pt x="265" y="177"/>
                    <a:pt x="256" y="182"/>
                  </a:cubicBezTo>
                  <a:cubicBezTo>
                    <a:pt x="356" y="182"/>
                    <a:pt x="356" y="182"/>
                    <a:pt x="356" y="182"/>
                  </a:cubicBezTo>
                  <a:cubicBezTo>
                    <a:pt x="373" y="182"/>
                    <a:pt x="388" y="196"/>
                    <a:pt x="388" y="214"/>
                  </a:cubicBezTo>
                  <a:cubicBezTo>
                    <a:pt x="388" y="231"/>
                    <a:pt x="373" y="246"/>
                    <a:pt x="356" y="24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7" name="Group 6">
            <a:extLst>
              <a:ext uri="{FF2B5EF4-FFF2-40B4-BE49-F238E27FC236}">
                <a16:creationId xmlns:a16="http://schemas.microsoft.com/office/drawing/2014/main" id="{42127AAB-77E4-E14E-9F03-3C1FBB95E9A9}"/>
              </a:ext>
            </a:extLst>
          </p:cNvPr>
          <p:cNvGrpSpPr/>
          <p:nvPr/>
        </p:nvGrpSpPr>
        <p:grpSpPr>
          <a:xfrm>
            <a:off x="5124450" y="2098761"/>
            <a:ext cx="1943100" cy="1743102"/>
            <a:chOff x="5075125" y="2145819"/>
            <a:chExt cx="1943100" cy="1743102"/>
          </a:xfrm>
        </p:grpSpPr>
        <p:grpSp>
          <p:nvGrpSpPr>
            <p:cNvPr id="46" name="Group 45">
              <a:extLst>
                <a:ext uri="{FF2B5EF4-FFF2-40B4-BE49-F238E27FC236}">
                  <a16:creationId xmlns:a16="http://schemas.microsoft.com/office/drawing/2014/main" id="{9FDED15E-8624-F643-9174-0F5588A53F84}"/>
                </a:ext>
              </a:extLst>
            </p:cNvPr>
            <p:cNvGrpSpPr/>
            <p:nvPr/>
          </p:nvGrpSpPr>
          <p:grpSpPr>
            <a:xfrm>
              <a:off x="5075125" y="2145819"/>
              <a:ext cx="1943100" cy="1611912"/>
              <a:chOff x="2754218" y="2561482"/>
              <a:chExt cx="1943100" cy="1611912"/>
            </a:xfrm>
          </p:grpSpPr>
          <p:sp>
            <p:nvSpPr>
              <p:cNvPr id="47" name="Freeform 7">
                <a:extLst>
                  <a:ext uri="{FF2B5EF4-FFF2-40B4-BE49-F238E27FC236}">
                    <a16:creationId xmlns:a16="http://schemas.microsoft.com/office/drawing/2014/main" id="{DF20CA11-6650-1D42-9D48-C3367D7DD633}"/>
                  </a:ext>
                </a:extLst>
              </p:cNvPr>
              <p:cNvSpPr>
                <a:spLocks/>
              </p:cNvSpPr>
              <p:nvPr/>
            </p:nvSpPr>
            <p:spPr bwMode="gray">
              <a:xfrm rot="107936" flipH="1">
                <a:off x="3323872" y="2616366"/>
                <a:ext cx="768096" cy="769056"/>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rgbClr val="00A3E0"/>
              </a:solidFill>
              <a:ln>
                <a:noFill/>
                <a:headEnd/>
                <a:tailEnd/>
              </a:ln>
              <a:effectLst/>
            </p:spPr>
            <p:style>
              <a:lnRef idx="3">
                <a:schemeClr val="lt1"/>
              </a:lnRef>
              <a:fillRef idx="1">
                <a:schemeClr val="accent5"/>
              </a:fillRef>
              <a:effectRef idx="1">
                <a:schemeClr val="accent5"/>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endParaRPr lang="en-US" sz="800" b="1" dirty="0">
                  <a:solidFill>
                    <a:srgbClr val="FFFFFF"/>
                  </a:solidFill>
                  <a:cs typeface="Arial" panose="020B0604020202020204" pitchFamily="34" charset="0"/>
                </a:endParaRPr>
              </a:p>
            </p:txBody>
          </p:sp>
          <p:sp>
            <p:nvSpPr>
              <p:cNvPr id="48" name="Freeform 47">
                <a:extLst>
                  <a:ext uri="{FF2B5EF4-FFF2-40B4-BE49-F238E27FC236}">
                    <a16:creationId xmlns:a16="http://schemas.microsoft.com/office/drawing/2014/main" id="{77303EFA-8C3F-5547-9678-D41E13F30C02}"/>
                  </a:ext>
                </a:extLst>
              </p:cNvPr>
              <p:cNvSpPr>
                <a:spLocks/>
              </p:cNvSpPr>
              <p:nvPr/>
            </p:nvSpPr>
            <p:spPr bwMode="gray">
              <a:xfrm rot="107936" flipH="1">
                <a:off x="3836979" y="3323555"/>
                <a:ext cx="768096" cy="768096"/>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chemeClr val="accent1"/>
              </a:solidFill>
              <a:ln>
                <a:noFill/>
                <a:headEnd/>
                <a:tailEnd/>
              </a:ln>
              <a:effectLst/>
            </p:spPr>
            <p:style>
              <a:lnRef idx="3">
                <a:schemeClr val="lt1"/>
              </a:lnRef>
              <a:fillRef idx="1">
                <a:schemeClr val="accent6"/>
              </a:fillRef>
              <a:effectRef idx="1">
                <a:schemeClr val="accent6"/>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endParaRPr lang="en-US" sz="800" b="1" dirty="0">
                  <a:solidFill>
                    <a:prstClr val="white"/>
                  </a:solidFill>
                  <a:cs typeface="Arial" panose="020B0604020202020204" pitchFamily="34" charset="0"/>
                </a:endParaRPr>
              </a:p>
            </p:txBody>
          </p:sp>
          <p:sp>
            <p:nvSpPr>
              <p:cNvPr id="49" name="Freeform 7">
                <a:extLst>
                  <a:ext uri="{FF2B5EF4-FFF2-40B4-BE49-F238E27FC236}">
                    <a16:creationId xmlns:a16="http://schemas.microsoft.com/office/drawing/2014/main" id="{9618118F-8EE0-3544-ABB5-733E53476382}"/>
                  </a:ext>
                </a:extLst>
              </p:cNvPr>
              <p:cNvSpPr>
                <a:spLocks/>
              </p:cNvSpPr>
              <p:nvPr/>
            </p:nvSpPr>
            <p:spPr bwMode="gray">
              <a:xfrm rot="107936" flipH="1">
                <a:off x="2826752" y="3302480"/>
                <a:ext cx="768096" cy="769056"/>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rgbClr val="00ABAB"/>
              </a:solidFill>
              <a:ln>
                <a:noFill/>
                <a:headEnd/>
                <a:tailEnd/>
              </a:ln>
              <a:effectLst/>
            </p:spPr>
            <p:style>
              <a:lnRef idx="3">
                <a:schemeClr val="lt1"/>
              </a:lnRef>
              <a:fillRef idx="1">
                <a:schemeClr val="accent2"/>
              </a:fillRef>
              <a:effectRef idx="1">
                <a:schemeClr val="accent2"/>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endParaRPr lang="en-US" sz="800" b="1" dirty="0">
                  <a:solidFill>
                    <a:prstClr val="white"/>
                  </a:solidFill>
                  <a:cs typeface="Arial" panose="020B0604020202020204" pitchFamily="34" charset="0"/>
                </a:endParaRPr>
              </a:p>
            </p:txBody>
          </p:sp>
          <p:sp>
            <p:nvSpPr>
              <p:cNvPr id="50" name="Arc 49">
                <a:extLst>
                  <a:ext uri="{FF2B5EF4-FFF2-40B4-BE49-F238E27FC236}">
                    <a16:creationId xmlns:a16="http://schemas.microsoft.com/office/drawing/2014/main" id="{8016DA28-0BAE-9B4A-84E5-900C82BC4E11}"/>
                  </a:ext>
                </a:extLst>
              </p:cNvPr>
              <p:cNvSpPr/>
              <p:nvPr/>
            </p:nvSpPr>
            <p:spPr bwMode="gray">
              <a:xfrm rot="617810">
                <a:off x="3668013" y="3245961"/>
                <a:ext cx="1029305" cy="927433"/>
              </a:xfrm>
              <a:prstGeom prst="arc">
                <a:avLst>
                  <a:gd name="adj1" fmla="val 16686941"/>
                  <a:gd name="adj2" fmla="val 8034923"/>
                </a:avLst>
              </a:prstGeom>
              <a:ln w="285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800" dirty="0">
                  <a:solidFill>
                    <a:srgbClr val="000000"/>
                  </a:solidFill>
                </a:endParaRPr>
              </a:p>
            </p:txBody>
          </p:sp>
          <p:sp>
            <p:nvSpPr>
              <p:cNvPr id="51" name="Arc 50">
                <a:extLst>
                  <a:ext uri="{FF2B5EF4-FFF2-40B4-BE49-F238E27FC236}">
                    <a16:creationId xmlns:a16="http://schemas.microsoft.com/office/drawing/2014/main" id="{85447B08-2406-1D4E-9A15-C7DC6ECC9762}"/>
                  </a:ext>
                </a:extLst>
              </p:cNvPr>
              <p:cNvSpPr/>
              <p:nvPr/>
            </p:nvSpPr>
            <p:spPr bwMode="gray">
              <a:xfrm rot="617810">
                <a:off x="3227294" y="2561482"/>
                <a:ext cx="977821" cy="939445"/>
              </a:xfrm>
              <a:prstGeom prst="arc">
                <a:avLst>
                  <a:gd name="adj1" fmla="val 10210110"/>
                  <a:gd name="adj2" fmla="val 175146"/>
                </a:avLst>
              </a:prstGeom>
              <a:ln w="28575">
                <a:solidFill>
                  <a:srgbClr val="00A3E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800" dirty="0">
                  <a:solidFill>
                    <a:srgbClr val="000000"/>
                  </a:solidFill>
                </a:endParaRPr>
              </a:p>
            </p:txBody>
          </p:sp>
          <p:sp>
            <p:nvSpPr>
              <p:cNvPr id="52" name="Arc 51">
                <a:extLst>
                  <a:ext uri="{FF2B5EF4-FFF2-40B4-BE49-F238E27FC236}">
                    <a16:creationId xmlns:a16="http://schemas.microsoft.com/office/drawing/2014/main" id="{D13BCBDB-D573-F846-93A3-199CE1B12636}"/>
                  </a:ext>
                </a:extLst>
              </p:cNvPr>
              <p:cNvSpPr/>
              <p:nvPr/>
            </p:nvSpPr>
            <p:spPr bwMode="gray">
              <a:xfrm rot="5756245" flipH="1">
                <a:off x="2773407" y="3198367"/>
                <a:ext cx="939444" cy="977821"/>
              </a:xfrm>
              <a:prstGeom prst="arc">
                <a:avLst>
                  <a:gd name="adj1" fmla="val 1078623"/>
                  <a:gd name="adj2" fmla="val 13769744"/>
                </a:avLst>
              </a:prstGeom>
              <a:ln w="28575">
                <a:solidFill>
                  <a:srgbClr val="00ABAB"/>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800" dirty="0">
                  <a:solidFill>
                    <a:srgbClr val="000000"/>
                  </a:solidFill>
                  <a:cs typeface="Arial" panose="020B0604020202020204" pitchFamily="34" charset="0"/>
                </a:endParaRPr>
              </a:p>
            </p:txBody>
          </p:sp>
          <p:sp>
            <p:nvSpPr>
              <p:cNvPr id="53" name="Rectangle 52">
                <a:extLst>
                  <a:ext uri="{FF2B5EF4-FFF2-40B4-BE49-F238E27FC236}">
                    <a16:creationId xmlns:a16="http://schemas.microsoft.com/office/drawing/2014/main" id="{E806DDD3-8D95-464C-8019-ED7A52D1021F}"/>
                  </a:ext>
                </a:extLst>
              </p:cNvPr>
              <p:cNvSpPr/>
              <p:nvPr/>
            </p:nvSpPr>
            <p:spPr>
              <a:xfrm>
                <a:off x="3028860" y="3579286"/>
                <a:ext cx="363881" cy="215444"/>
              </a:xfrm>
              <a:prstGeom prst="rect">
                <a:avLst/>
              </a:prstGeom>
            </p:spPr>
            <p:txBody>
              <a:bodyPr wrap="none" lIns="0" tIns="0" rIns="0" bIns="0">
                <a:spAutoFit/>
              </a:bodyPr>
              <a:lstStyle/>
              <a:p>
                <a:pPr algn="ctr" defTabSz="913686"/>
                <a:r>
                  <a:rPr lang="en-US" sz="700" b="1" dirty="0">
                    <a:solidFill>
                      <a:prstClr val="white"/>
                    </a:solidFill>
                    <a:cs typeface="Arial" panose="020B0604020202020204" pitchFamily="34" charset="0"/>
                  </a:rPr>
                  <a:t>Lorem </a:t>
                </a:r>
                <a:r>
                  <a:rPr lang="en-US" sz="700" b="1" dirty="0" err="1">
                    <a:solidFill>
                      <a:prstClr val="white"/>
                    </a:solidFill>
                    <a:cs typeface="Arial" panose="020B0604020202020204" pitchFamily="34" charset="0"/>
                  </a:rPr>
                  <a:t>ips</a:t>
                </a:r>
                <a:endParaRPr lang="en-US" sz="700" b="1" dirty="0">
                  <a:solidFill>
                    <a:prstClr val="white"/>
                  </a:solidFill>
                  <a:cs typeface="Arial" panose="020B0604020202020204" pitchFamily="34" charset="0"/>
                </a:endParaRPr>
              </a:p>
              <a:p>
                <a:pPr algn="ctr" defTabSz="913686"/>
                <a:r>
                  <a:rPr lang="en-US" sz="700" b="1" dirty="0">
                    <a:solidFill>
                      <a:prstClr val="white"/>
                    </a:solidFill>
                    <a:cs typeface="Arial" panose="020B0604020202020204" pitchFamily="34" charset="0"/>
                  </a:rPr>
                  <a:t>um dolor </a:t>
                </a:r>
              </a:p>
            </p:txBody>
          </p:sp>
          <p:sp>
            <p:nvSpPr>
              <p:cNvPr id="54" name="Rectangle 53">
                <a:extLst>
                  <a:ext uri="{FF2B5EF4-FFF2-40B4-BE49-F238E27FC236}">
                    <a16:creationId xmlns:a16="http://schemas.microsoft.com/office/drawing/2014/main" id="{BA82BE6C-A597-754C-B912-ACBF36493D4A}"/>
                  </a:ext>
                </a:extLst>
              </p:cNvPr>
              <p:cNvSpPr/>
              <p:nvPr/>
            </p:nvSpPr>
            <p:spPr>
              <a:xfrm>
                <a:off x="4003821" y="3599881"/>
                <a:ext cx="434413" cy="215444"/>
              </a:xfrm>
              <a:prstGeom prst="rect">
                <a:avLst/>
              </a:prstGeom>
            </p:spPr>
            <p:txBody>
              <a:bodyPr wrap="none" lIns="0" tIns="0" rIns="0" bIns="0">
                <a:spAutoFit/>
              </a:bodyPr>
              <a:lstStyle/>
              <a:p>
                <a:pPr algn="ctr" defTabSz="913686"/>
                <a:r>
                  <a:rPr lang="en-US" sz="700" b="1" dirty="0">
                    <a:solidFill>
                      <a:prstClr val="white"/>
                    </a:solidFill>
                    <a:cs typeface="Arial" panose="020B0604020202020204" pitchFamily="34" charset="0"/>
                  </a:rPr>
                  <a:t>Lorem </a:t>
                </a:r>
                <a:r>
                  <a:rPr lang="en-US" sz="700" b="1" dirty="0" err="1">
                    <a:solidFill>
                      <a:prstClr val="white"/>
                    </a:solidFill>
                    <a:cs typeface="Arial" panose="020B0604020202020204" pitchFamily="34" charset="0"/>
                  </a:rPr>
                  <a:t>ipsu</a:t>
                </a:r>
                <a:r>
                  <a:rPr lang="en-US" sz="700" b="1" dirty="0">
                    <a:solidFill>
                      <a:prstClr val="white"/>
                    </a:solidFill>
                    <a:cs typeface="Arial" panose="020B0604020202020204" pitchFamily="34" charset="0"/>
                  </a:rPr>
                  <a:t>’</a:t>
                </a:r>
              </a:p>
              <a:p>
                <a:pPr algn="ctr" defTabSz="913686"/>
                <a:r>
                  <a:rPr lang="en-US" sz="700" b="1" dirty="0">
                    <a:solidFill>
                      <a:prstClr val="white"/>
                    </a:solidFill>
                    <a:cs typeface="Arial" panose="020B0604020202020204" pitchFamily="34" charset="0"/>
                  </a:rPr>
                  <a:t>m dolor </a:t>
                </a:r>
              </a:p>
            </p:txBody>
          </p:sp>
          <p:sp>
            <p:nvSpPr>
              <p:cNvPr id="55" name="Rectangle 54">
                <a:extLst>
                  <a:ext uri="{FF2B5EF4-FFF2-40B4-BE49-F238E27FC236}">
                    <a16:creationId xmlns:a16="http://schemas.microsoft.com/office/drawing/2014/main" id="{93D7BA29-4F4A-1C44-B45C-33FE8A9702A8}"/>
                  </a:ext>
                </a:extLst>
              </p:cNvPr>
              <p:cNvSpPr/>
              <p:nvPr/>
            </p:nvSpPr>
            <p:spPr>
              <a:xfrm>
                <a:off x="3509148" y="2893172"/>
                <a:ext cx="397545" cy="215444"/>
              </a:xfrm>
              <a:prstGeom prst="rect">
                <a:avLst/>
              </a:prstGeom>
            </p:spPr>
            <p:txBody>
              <a:bodyPr wrap="none" lIns="0" tIns="0" rIns="0" bIns="0">
                <a:spAutoFit/>
              </a:bodyPr>
              <a:lstStyle/>
              <a:p>
                <a:pPr algn="ctr" defTabSz="913686"/>
                <a:r>
                  <a:rPr lang="en-US" sz="700" b="1" dirty="0">
                    <a:solidFill>
                      <a:prstClr val="white"/>
                    </a:solidFill>
                    <a:cs typeface="Arial" panose="020B0604020202020204" pitchFamily="34" charset="0"/>
                  </a:rPr>
                  <a:t>Lorem </a:t>
                </a:r>
                <a:r>
                  <a:rPr lang="en-US" sz="700" b="1" dirty="0" err="1">
                    <a:solidFill>
                      <a:prstClr val="white"/>
                    </a:solidFill>
                    <a:cs typeface="Arial" panose="020B0604020202020204" pitchFamily="34" charset="0"/>
                  </a:rPr>
                  <a:t>ip</a:t>
                </a:r>
                <a:endParaRPr lang="en-US" sz="700" b="1" dirty="0">
                  <a:solidFill>
                    <a:prstClr val="white"/>
                  </a:solidFill>
                  <a:cs typeface="Arial" panose="020B0604020202020204" pitchFamily="34" charset="0"/>
                </a:endParaRPr>
              </a:p>
              <a:p>
                <a:pPr algn="ctr" defTabSz="913686"/>
                <a:r>
                  <a:rPr lang="en-US" sz="700" b="1" dirty="0">
                    <a:solidFill>
                      <a:prstClr val="white"/>
                    </a:solidFill>
                    <a:cs typeface="Arial" panose="020B0604020202020204" pitchFamily="34" charset="0"/>
                  </a:rPr>
                  <a:t>sum dolor </a:t>
                </a:r>
              </a:p>
            </p:txBody>
          </p:sp>
        </p:grpSp>
        <p:sp>
          <p:nvSpPr>
            <p:cNvPr id="97" name="Freeform 976">
              <a:extLst>
                <a:ext uri="{FF2B5EF4-FFF2-40B4-BE49-F238E27FC236}">
                  <a16:creationId xmlns:a16="http://schemas.microsoft.com/office/drawing/2014/main" id="{554744AE-A74C-3243-A683-8A54DB64E433}"/>
                </a:ext>
              </a:extLst>
            </p:cNvPr>
            <p:cNvSpPr>
              <a:spLocks noChangeAspect="1" noEditPoints="1"/>
            </p:cNvSpPr>
            <p:nvPr/>
          </p:nvSpPr>
          <p:spPr bwMode="auto">
            <a:xfrm>
              <a:off x="5207205" y="2478979"/>
              <a:ext cx="274321"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8" name="Freeform 249">
              <a:extLst>
                <a:ext uri="{FF2B5EF4-FFF2-40B4-BE49-F238E27FC236}">
                  <a16:creationId xmlns:a16="http://schemas.microsoft.com/office/drawing/2014/main" id="{7C96CF93-E59D-1941-BC6C-62E04B80028D}"/>
                </a:ext>
              </a:extLst>
            </p:cNvPr>
            <p:cNvSpPr>
              <a:spLocks noChangeAspect="1" noEditPoints="1"/>
            </p:cNvSpPr>
            <p:nvPr/>
          </p:nvSpPr>
          <p:spPr bwMode="auto">
            <a:xfrm>
              <a:off x="6592699" y="2541581"/>
              <a:ext cx="274320"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1 w 512"/>
                <a:gd name="T13" fmla="*/ 266 h 512"/>
                <a:gd name="T14" fmla="*/ 362 w 512"/>
                <a:gd name="T15" fmla="*/ 301 h 512"/>
                <a:gd name="T16" fmla="*/ 352 w 512"/>
                <a:gd name="T17" fmla="*/ 309 h 512"/>
                <a:gd name="T18" fmla="*/ 342 w 512"/>
                <a:gd name="T19" fmla="*/ 302 h 512"/>
                <a:gd name="T20" fmla="*/ 322 w 512"/>
                <a:gd name="T21" fmla="*/ 243 h 512"/>
                <a:gd name="T22" fmla="*/ 287 w 512"/>
                <a:gd name="T23" fmla="*/ 407 h 512"/>
                <a:gd name="T24" fmla="*/ 277 w 512"/>
                <a:gd name="T25" fmla="*/ 416 h 512"/>
                <a:gd name="T26" fmla="*/ 277 w 512"/>
                <a:gd name="T27" fmla="*/ 416 h 512"/>
                <a:gd name="T28" fmla="*/ 267 w 512"/>
                <a:gd name="T29" fmla="*/ 407 h 512"/>
                <a:gd name="T30" fmla="*/ 222 w 512"/>
                <a:gd name="T31" fmla="*/ 159 h 512"/>
                <a:gd name="T32" fmla="*/ 191 w 512"/>
                <a:gd name="T33" fmla="*/ 290 h 512"/>
                <a:gd name="T34" fmla="*/ 181 w 512"/>
                <a:gd name="T35" fmla="*/ 298 h 512"/>
                <a:gd name="T36" fmla="*/ 171 w 512"/>
                <a:gd name="T37" fmla="*/ 291 h 512"/>
                <a:gd name="T38" fmla="*/ 156 w 512"/>
                <a:gd name="T39" fmla="*/ 248 h 512"/>
                <a:gd name="T40" fmla="*/ 147 w 512"/>
                <a:gd name="T41" fmla="*/ 262 h 512"/>
                <a:gd name="T42" fmla="*/ 138 w 512"/>
                <a:gd name="T43" fmla="*/ 266 h 512"/>
                <a:gd name="T44" fmla="*/ 106 w 512"/>
                <a:gd name="T45" fmla="*/ 266 h 512"/>
                <a:gd name="T46" fmla="*/ 96 w 512"/>
                <a:gd name="T47" fmla="*/ 256 h 512"/>
                <a:gd name="T48" fmla="*/ 106 w 512"/>
                <a:gd name="T49" fmla="*/ 245 h 512"/>
                <a:gd name="T50" fmla="*/ 133 w 512"/>
                <a:gd name="T51" fmla="*/ 245 h 512"/>
                <a:gd name="T52" fmla="*/ 151 w 512"/>
                <a:gd name="T53" fmla="*/ 218 h 512"/>
                <a:gd name="T54" fmla="*/ 161 w 512"/>
                <a:gd name="T55" fmla="*/ 213 h 512"/>
                <a:gd name="T56" fmla="*/ 170 w 512"/>
                <a:gd name="T57" fmla="*/ 220 h 512"/>
                <a:gd name="T58" fmla="*/ 179 w 512"/>
                <a:gd name="T59" fmla="*/ 249 h 512"/>
                <a:gd name="T60" fmla="*/ 213 w 512"/>
                <a:gd name="T61" fmla="*/ 104 h 512"/>
                <a:gd name="T62" fmla="*/ 224 w 512"/>
                <a:gd name="T63" fmla="*/ 96 h 512"/>
                <a:gd name="T64" fmla="*/ 234 w 512"/>
                <a:gd name="T65" fmla="*/ 104 h 512"/>
                <a:gd name="T66" fmla="*/ 278 w 512"/>
                <a:gd name="T67" fmla="*/ 349 h 512"/>
                <a:gd name="T68" fmla="*/ 309 w 512"/>
                <a:gd name="T69" fmla="*/ 200 h 512"/>
                <a:gd name="T70" fmla="*/ 319 w 512"/>
                <a:gd name="T71" fmla="*/ 192 h 512"/>
                <a:gd name="T72" fmla="*/ 330 w 512"/>
                <a:gd name="T73" fmla="*/ 199 h 512"/>
                <a:gd name="T74" fmla="*/ 350 w 512"/>
                <a:gd name="T75" fmla="*/ 260 h 512"/>
                <a:gd name="T76" fmla="*/ 352 w 512"/>
                <a:gd name="T77" fmla="*/ 253 h 512"/>
                <a:gd name="T78" fmla="*/ 362 w 512"/>
                <a:gd name="T79" fmla="*/ 245 h 512"/>
                <a:gd name="T80" fmla="*/ 405 w 512"/>
                <a:gd name="T81" fmla="*/ 245 h 512"/>
                <a:gd name="T82" fmla="*/ 416 w 512"/>
                <a:gd name="T83" fmla="*/ 256 h 512"/>
                <a:gd name="T84" fmla="*/ 405 w 512"/>
                <a:gd name="T8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1" y="266"/>
                    <a:pt x="371" y="266"/>
                    <a:pt x="371" y="266"/>
                  </a:cubicBezTo>
                  <a:cubicBezTo>
                    <a:pt x="362" y="301"/>
                    <a:pt x="362" y="301"/>
                    <a:pt x="362" y="301"/>
                  </a:cubicBezTo>
                  <a:cubicBezTo>
                    <a:pt x="361" y="306"/>
                    <a:pt x="357" y="309"/>
                    <a:pt x="352" y="309"/>
                  </a:cubicBezTo>
                  <a:cubicBezTo>
                    <a:pt x="347" y="309"/>
                    <a:pt x="343" y="306"/>
                    <a:pt x="342" y="302"/>
                  </a:cubicBezTo>
                  <a:cubicBezTo>
                    <a:pt x="322" y="243"/>
                    <a:pt x="322" y="243"/>
                    <a:pt x="322" y="243"/>
                  </a:cubicBezTo>
                  <a:cubicBezTo>
                    <a:pt x="287" y="407"/>
                    <a:pt x="287" y="407"/>
                    <a:pt x="287" y="407"/>
                  </a:cubicBezTo>
                  <a:cubicBezTo>
                    <a:pt x="286" y="412"/>
                    <a:pt x="282" y="416"/>
                    <a:pt x="277" y="416"/>
                  </a:cubicBezTo>
                  <a:cubicBezTo>
                    <a:pt x="277" y="416"/>
                    <a:pt x="277" y="416"/>
                    <a:pt x="277" y="416"/>
                  </a:cubicBezTo>
                  <a:cubicBezTo>
                    <a:pt x="272" y="416"/>
                    <a:pt x="267" y="412"/>
                    <a:pt x="267" y="407"/>
                  </a:cubicBezTo>
                  <a:cubicBezTo>
                    <a:pt x="222" y="159"/>
                    <a:pt x="222" y="159"/>
                    <a:pt x="222" y="159"/>
                  </a:cubicBezTo>
                  <a:cubicBezTo>
                    <a:pt x="191" y="290"/>
                    <a:pt x="191" y="290"/>
                    <a:pt x="191" y="290"/>
                  </a:cubicBezTo>
                  <a:cubicBezTo>
                    <a:pt x="190" y="295"/>
                    <a:pt x="186" y="298"/>
                    <a:pt x="181" y="298"/>
                  </a:cubicBezTo>
                  <a:cubicBezTo>
                    <a:pt x="177" y="299"/>
                    <a:pt x="172" y="296"/>
                    <a:pt x="171" y="291"/>
                  </a:cubicBezTo>
                  <a:cubicBezTo>
                    <a:pt x="156" y="248"/>
                    <a:pt x="156" y="248"/>
                    <a:pt x="156" y="248"/>
                  </a:cubicBezTo>
                  <a:cubicBezTo>
                    <a:pt x="147" y="262"/>
                    <a:pt x="147" y="262"/>
                    <a:pt x="147" y="262"/>
                  </a:cubicBezTo>
                  <a:cubicBezTo>
                    <a:pt x="145" y="265"/>
                    <a:pt x="142" y="266"/>
                    <a:pt x="138" y="266"/>
                  </a:cubicBezTo>
                  <a:cubicBezTo>
                    <a:pt x="106" y="266"/>
                    <a:pt x="106" y="266"/>
                    <a:pt x="106" y="266"/>
                  </a:cubicBezTo>
                  <a:cubicBezTo>
                    <a:pt x="100" y="266"/>
                    <a:pt x="96" y="262"/>
                    <a:pt x="96" y="256"/>
                  </a:cubicBezTo>
                  <a:cubicBezTo>
                    <a:pt x="96" y="250"/>
                    <a:pt x="100" y="245"/>
                    <a:pt x="106" y="245"/>
                  </a:cubicBezTo>
                  <a:cubicBezTo>
                    <a:pt x="133" y="245"/>
                    <a:pt x="133" y="245"/>
                    <a:pt x="133" y="245"/>
                  </a:cubicBezTo>
                  <a:cubicBezTo>
                    <a:pt x="151" y="218"/>
                    <a:pt x="151" y="218"/>
                    <a:pt x="151" y="218"/>
                  </a:cubicBezTo>
                  <a:cubicBezTo>
                    <a:pt x="153" y="214"/>
                    <a:pt x="157" y="213"/>
                    <a:pt x="161" y="213"/>
                  </a:cubicBezTo>
                  <a:cubicBezTo>
                    <a:pt x="165" y="214"/>
                    <a:pt x="168" y="216"/>
                    <a:pt x="170" y="220"/>
                  </a:cubicBezTo>
                  <a:cubicBezTo>
                    <a:pt x="179" y="249"/>
                    <a:pt x="179" y="249"/>
                    <a:pt x="179" y="249"/>
                  </a:cubicBezTo>
                  <a:cubicBezTo>
                    <a:pt x="213" y="104"/>
                    <a:pt x="213" y="104"/>
                    <a:pt x="213" y="104"/>
                  </a:cubicBezTo>
                  <a:cubicBezTo>
                    <a:pt x="214" y="99"/>
                    <a:pt x="219" y="96"/>
                    <a:pt x="224" y="96"/>
                  </a:cubicBezTo>
                  <a:cubicBezTo>
                    <a:pt x="229" y="96"/>
                    <a:pt x="233" y="99"/>
                    <a:pt x="234" y="104"/>
                  </a:cubicBezTo>
                  <a:cubicBezTo>
                    <a:pt x="278" y="349"/>
                    <a:pt x="278" y="349"/>
                    <a:pt x="278" y="349"/>
                  </a:cubicBezTo>
                  <a:cubicBezTo>
                    <a:pt x="309" y="200"/>
                    <a:pt x="309" y="200"/>
                    <a:pt x="309" y="200"/>
                  </a:cubicBezTo>
                  <a:cubicBezTo>
                    <a:pt x="310" y="195"/>
                    <a:pt x="314" y="192"/>
                    <a:pt x="319" y="192"/>
                  </a:cubicBezTo>
                  <a:cubicBezTo>
                    <a:pt x="324" y="191"/>
                    <a:pt x="328" y="194"/>
                    <a:pt x="330" y="199"/>
                  </a:cubicBezTo>
                  <a:cubicBezTo>
                    <a:pt x="350" y="260"/>
                    <a:pt x="350" y="260"/>
                    <a:pt x="350" y="260"/>
                  </a:cubicBezTo>
                  <a:cubicBezTo>
                    <a:pt x="352" y="253"/>
                    <a:pt x="352" y="253"/>
                    <a:pt x="352" y="253"/>
                  </a:cubicBezTo>
                  <a:cubicBezTo>
                    <a:pt x="353" y="248"/>
                    <a:pt x="357" y="245"/>
                    <a:pt x="362" y="245"/>
                  </a:cubicBezTo>
                  <a:cubicBezTo>
                    <a:pt x="405" y="245"/>
                    <a:pt x="405" y="245"/>
                    <a:pt x="405" y="245"/>
                  </a:cubicBezTo>
                  <a:cubicBezTo>
                    <a:pt x="411" y="245"/>
                    <a:pt x="416" y="250"/>
                    <a:pt x="416" y="256"/>
                  </a:cubicBezTo>
                  <a:cubicBezTo>
                    <a:pt x="416" y="262"/>
                    <a:pt x="411" y="266"/>
                    <a:pt x="405" y="266"/>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9" name="Freeform 624">
              <a:extLst>
                <a:ext uri="{FF2B5EF4-FFF2-40B4-BE49-F238E27FC236}">
                  <a16:creationId xmlns:a16="http://schemas.microsoft.com/office/drawing/2014/main" id="{13A6216C-7083-D146-9079-8AC8427BAA0C}"/>
                </a:ext>
              </a:extLst>
            </p:cNvPr>
            <p:cNvSpPr>
              <a:spLocks noChangeAspect="1" noEditPoints="1"/>
            </p:cNvSpPr>
            <p:nvPr/>
          </p:nvSpPr>
          <p:spPr bwMode="auto">
            <a:xfrm>
              <a:off x="5876115" y="3614601"/>
              <a:ext cx="274320" cy="274320"/>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spTree>
    <p:custDataLst>
      <p:tags r:id="rId1"/>
    </p:custDataLst>
    <p:extLst>
      <p:ext uri="{BB962C8B-B14F-4D97-AF65-F5344CB8AC3E}">
        <p14:creationId xmlns:p14="http://schemas.microsoft.com/office/powerpoint/2010/main" val="4111305131"/>
      </p:ext>
    </p:extLst>
  </p:cSld>
  <p:clrMapOvr>
    <a:masterClrMapping/>
  </p:clrMapOvr>
  <p:transition>
    <p:fade/>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组合 43"/>
          <p:cNvGrpSpPr/>
          <p:nvPr/>
        </p:nvGrpSpPr>
        <p:grpSpPr>
          <a:xfrm>
            <a:off x="3396363" y="1304982"/>
            <a:ext cx="4941744" cy="4717892"/>
            <a:chOff x="4313336" y="2840419"/>
            <a:chExt cx="3613938" cy="3450233"/>
          </a:xfrm>
        </p:grpSpPr>
        <p:sp>
          <p:nvSpPr>
            <p:cNvPr id="2" name="Oval 22"/>
            <p:cNvSpPr/>
            <p:nvPr/>
          </p:nvSpPr>
          <p:spPr bwMode="gray">
            <a:xfrm>
              <a:off x="4763854" y="3237933"/>
              <a:ext cx="2654901" cy="2654902"/>
            </a:xfrm>
            <a:prstGeom prst="ellipse">
              <a:avLst/>
            </a:prstGeom>
            <a:solidFill>
              <a:srgbClr val="FFFFFF"/>
            </a:solidFill>
            <a:ln w="28575" algn="ctr">
              <a:solidFill>
                <a:srgbClr val="97999B"/>
              </a:solidFill>
              <a:prstDash val="sysDash"/>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3" name="Oval 24"/>
            <p:cNvSpPr>
              <a:spLocks noChangeArrowheads="1"/>
            </p:cNvSpPr>
            <p:nvPr/>
          </p:nvSpPr>
          <p:spPr bwMode="blackWhite">
            <a:xfrm>
              <a:off x="4746593" y="5154736"/>
              <a:ext cx="737705" cy="737705"/>
            </a:xfrm>
            <a:prstGeom prst="ellipse">
              <a:avLst/>
            </a:prstGeom>
            <a:solidFill>
              <a:schemeClr val="accent1"/>
            </a:solidFill>
            <a:ln w="12700">
              <a:noFill/>
              <a:round/>
              <a:headEnd/>
              <a:tailEnd/>
            </a:ln>
          </p:spPr>
          <p:txBody>
            <a:bodyPr wrap="none" lIns="66675" tIns="66675" rIns="66675" bIns="66675" anchor="ctr"/>
            <a:lstStyle/>
            <a:p>
              <a:pPr algn="ctr" defTabSz="615539">
                <a:spcBef>
                  <a:spcPct val="20000"/>
                </a:spcBef>
                <a:spcAft>
                  <a:spcPct val="37000"/>
                </a:spcAft>
                <a:defRPr/>
              </a:pPr>
              <a:endParaRPr lang="en-GB" sz="1051" dirty="0">
                <a:solidFill>
                  <a:schemeClr val="bg1"/>
                </a:solidFill>
                <a:ea typeface="ＭＳ Ｐゴシック" pitchFamily="50" charset="-128"/>
                <a:cs typeface="Arial" pitchFamily="34" charset="0"/>
              </a:endParaRPr>
            </a:p>
          </p:txBody>
        </p:sp>
        <p:sp>
          <p:nvSpPr>
            <p:cNvPr id="4" name="Oval 25"/>
            <p:cNvSpPr>
              <a:spLocks noChangeArrowheads="1"/>
            </p:cNvSpPr>
            <p:nvPr/>
          </p:nvSpPr>
          <p:spPr bwMode="blackWhite">
            <a:xfrm>
              <a:off x="5527212" y="4008849"/>
              <a:ext cx="1113069" cy="1113069"/>
            </a:xfrm>
            <a:prstGeom prst="ellipse">
              <a:avLst/>
            </a:prstGeom>
            <a:solidFill>
              <a:srgbClr val="00ABAB"/>
            </a:solidFill>
            <a:ln w="19050">
              <a:solidFill>
                <a:schemeClr val="bg1"/>
              </a:solidFill>
              <a:prstDash val="sysDash"/>
              <a:round/>
              <a:headEnd/>
              <a:tailEnd/>
            </a:ln>
          </p:spPr>
          <p:txBody>
            <a:bodyPr wrap="none" lIns="66675" tIns="66675" rIns="66675" bIns="66675" anchor="ctr"/>
            <a:lstStyle/>
            <a:p>
              <a:pPr algn="ctr" defTabSz="615539">
                <a:spcBef>
                  <a:spcPct val="20000"/>
                </a:spcBef>
                <a:spcAft>
                  <a:spcPct val="37000"/>
                </a:spcAft>
                <a:defRPr/>
              </a:pPr>
              <a:endParaRPr lang="en-GB" sz="1051" dirty="0">
                <a:ea typeface="ＭＳ Ｐゴシック" pitchFamily="50" charset="-128"/>
                <a:cs typeface="Arial" pitchFamily="34" charset="0"/>
              </a:endParaRPr>
            </a:p>
          </p:txBody>
        </p:sp>
        <p:cxnSp>
          <p:nvCxnSpPr>
            <p:cNvPr id="5" name="Straight Arrow Connector 27"/>
            <p:cNvCxnSpPr>
              <a:stCxn id="40" idx="4"/>
              <a:endCxn id="4" idx="0"/>
            </p:cNvCxnSpPr>
            <p:nvPr/>
          </p:nvCxnSpPr>
          <p:spPr bwMode="auto">
            <a:xfrm>
              <a:off x="6082227" y="3578125"/>
              <a:ext cx="1520" cy="430724"/>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28"/>
            <p:cNvCxnSpPr>
              <a:stCxn id="4" idx="3"/>
              <a:endCxn id="3" idx="7"/>
            </p:cNvCxnSpPr>
            <p:nvPr/>
          </p:nvCxnSpPr>
          <p:spPr bwMode="auto">
            <a:xfrm flipH="1">
              <a:off x="5376264" y="4958913"/>
              <a:ext cx="313953" cy="303857"/>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29"/>
            <p:cNvCxnSpPr>
              <a:endCxn id="26" idx="1"/>
            </p:cNvCxnSpPr>
            <p:nvPr/>
          </p:nvCxnSpPr>
          <p:spPr bwMode="auto">
            <a:xfrm>
              <a:off x="6460346" y="4933692"/>
              <a:ext cx="423186" cy="344486"/>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Box 30"/>
            <p:cNvSpPr txBox="1"/>
            <p:nvPr/>
          </p:nvSpPr>
          <p:spPr>
            <a:xfrm>
              <a:off x="5877919" y="4489372"/>
              <a:ext cx="407617" cy="304045"/>
            </a:xfrm>
            <a:prstGeom prst="rect">
              <a:avLst/>
            </a:prstGeom>
            <a:noFill/>
          </p:spPr>
          <p:txBody>
            <a:bodyPr wrap="square" lIns="0" tIns="0" rIns="0" bIns="0" rtlCol="0">
              <a:spAutoFit/>
            </a:bodyPr>
            <a:lstStyle/>
            <a:p>
              <a:pPr>
                <a:spcBef>
                  <a:spcPts val="451"/>
                </a:spcBef>
                <a:buSzPct val="100000"/>
              </a:pPr>
              <a:r>
                <a:rPr lang="en-US" altLang="zh-CN" sz="1351" b="1" dirty="0">
                  <a:solidFill>
                    <a:schemeClr val="bg1"/>
                  </a:solidFill>
                </a:rPr>
                <a:t>Lorem </a:t>
              </a:r>
              <a:r>
                <a:rPr lang="en-US" altLang="zh-CN" sz="1351" b="1" dirty="0" err="1">
                  <a:solidFill>
                    <a:schemeClr val="bg1"/>
                  </a:solidFill>
                </a:rPr>
                <a:t>ipsu</a:t>
              </a:r>
              <a:endParaRPr lang="en-US" sz="1351" b="1" dirty="0">
                <a:solidFill>
                  <a:schemeClr val="bg1"/>
                </a:solidFill>
              </a:endParaRPr>
            </a:p>
          </p:txBody>
        </p:sp>
        <p:grpSp>
          <p:nvGrpSpPr>
            <p:cNvPr id="9" name="Group 6"/>
            <p:cNvGrpSpPr/>
            <p:nvPr/>
          </p:nvGrpSpPr>
          <p:grpSpPr>
            <a:xfrm rot="170143">
              <a:off x="6767095" y="3191889"/>
              <a:ext cx="1024747" cy="1999402"/>
              <a:chOff x="6558901" y="1973254"/>
              <a:chExt cx="1366329" cy="2665869"/>
            </a:xfrm>
          </p:grpSpPr>
          <p:sp>
            <p:nvSpPr>
              <p:cNvPr id="10" name="Chevron 18"/>
              <p:cNvSpPr/>
              <p:nvPr/>
            </p:nvSpPr>
            <p:spPr bwMode="gray">
              <a:xfrm rot="1560542">
                <a:off x="6558901" y="1973254"/>
                <a:ext cx="283731" cy="279489"/>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1" name="Chevron 19"/>
              <p:cNvSpPr/>
              <p:nvPr/>
            </p:nvSpPr>
            <p:spPr bwMode="gray">
              <a:xfrm rot="2781834">
                <a:off x="7111756" y="2409525"/>
                <a:ext cx="283731" cy="279489"/>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2" name="Chevron 20"/>
              <p:cNvSpPr/>
              <p:nvPr/>
            </p:nvSpPr>
            <p:spPr bwMode="gray">
              <a:xfrm rot="5141665">
                <a:off x="7641261" y="3709655"/>
                <a:ext cx="282321" cy="285617"/>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3" name="Chevron 21"/>
              <p:cNvSpPr/>
              <p:nvPr/>
            </p:nvSpPr>
            <p:spPr bwMode="gray">
              <a:xfrm rot="6162311">
                <a:off x="7564615" y="4355154"/>
                <a:ext cx="282321" cy="285617"/>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4" name="Group 7"/>
            <p:cNvGrpSpPr/>
            <p:nvPr/>
          </p:nvGrpSpPr>
          <p:grpSpPr>
            <a:xfrm>
              <a:off x="5422901" y="5919505"/>
              <a:ext cx="1361181" cy="225848"/>
              <a:chOff x="4903884" y="5613334"/>
              <a:chExt cx="1814908" cy="301131"/>
            </a:xfrm>
          </p:grpSpPr>
          <p:sp>
            <p:nvSpPr>
              <p:cNvPr id="15" name="Chevron 16"/>
              <p:cNvSpPr/>
              <p:nvPr/>
            </p:nvSpPr>
            <p:spPr bwMode="gray">
              <a:xfrm rot="9660870">
                <a:off x="6436471" y="5613334"/>
                <a:ext cx="282321" cy="285618"/>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6" name="Chevron 17"/>
              <p:cNvSpPr/>
              <p:nvPr/>
            </p:nvSpPr>
            <p:spPr bwMode="gray">
              <a:xfrm rot="11448409">
                <a:off x="4903884" y="5628847"/>
                <a:ext cx="282321" cy="285618"/>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7" name="Group 8"/>
            <p:cNvGrpSpPr/>
            <p:nvPr/>
          </p:nvGrpSpPr>
          <p:grpSpPr>
            <a:xfrm rot="13255613">
              <a:off x="4389643" y="3157254"/>
              <a:ext cx="1023465" cy="2030764"/>
              <a:chOff x="6769171" y="2127406"/>
              <a:chExt cx="1364620" cy="2707685"/>
            </a:xfrm>
          </p:grpSpPr>
          <p:sp>
            <p:nvSpPr>
              <p:cNvPr id="18" name="Chevron 12"/>
              <p:cNvSpPr/>
              <p:nvPr/>
            </p:nvSpPr>
            <p:spPr bwMode="gray">
              <a:xfrm rot="1560542">
                <a:off x="6769171" y="2127406"/>
                <a:ext cx="283731" cy="279489"/>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9" name="Chevron 13"/>
              <p:cNvSpPr/>
              <p:nvPr/>
            </p:nvSpPr>
            <p:spPr bwMode="gray">
              <a:xfrm rot="2781834">
                <a:off x="7293662" y="2509535"/>
                <a:ext cx="283731" cy="279489"/>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20" name="Chevron 14"/>
              <p:cNvSpPr/>
              <p:nvPr/>
            </p:nvSpPr>
            <p:spPr bwMode="gray">
              <a:xfrm rot="5141665">
                <a:off x="7849822" y="3798815"/>
                <a:ext cx="282321" cy="285617"/>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21" name="Chevron 15"/>
              <p:cNvSpPr/>
              <p:nvPr/>
            </p:nvSpPr>
            <p:spPr bwMode="gray">
              <a:xfrm rot="6162311">
                <a:off x="7750992" y="4551122"/>
                <a:ext cx="282321" cy="285617"/>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grpSp>
        <p:sp>
          <p:nvSpPr>
            <p:cNvPr id="22" name="TextBox 9"/>
            <p:cNvSpPr txBox="1"/>
            <p:nvPr/>
          </p:nvSpPr>
          <p:spPr>
            <a:xfrm>
              <a:off x="7516597" y="4041034"/>
              <a:ext cx="410677" cy="315111"/>
            </a:xfrm>
            <a:prstGeom prst="rect">
              <a:avLst/>
            </a:prstGeom>
            <a:noFill/>
          </p:spPr>
          <p:txBody>
            <a:bodyPr wrap="square" lIns="0" tIns="0" rIns="0" bIns="0" rtlCol="0">
              <a:spAutoFit/>
            </a:bodyPr>
            <a:lstStyle/>
            <a:p>
              <a:pPr>
                <a:spcBef>
                  <a:spcPts val="451"/>
                </a:spcBef>
                <a:buSzPct val="100000"/>
              </a:pPr>
              <a:r>
                <a:rPr lang="en-US" altLang="zh-CN" sz="1400" dirty="0">
                  <a:solidFill>
                    <a:srgbClr val="313131"/>
                  </a:solidFill>
                  <a:latin typeface="+mn-ea"/>
                </a:rPr>
                <a:t>Lorem </a:t>
              </a:r>
              <a:r>
                <a:rPr lang="en-US" altLang="zh-CN" sz="1400" dirty="0" err="1">
                  <a:solidFill>
                    <a:srgbClr val="313131"/>
                  </a:solidFill>
                  <a:latin typeface="+mn-ea"/>
                </a:rPr>
                <a:t>ipsu</a:t>
              </a:r>
              <a:endParaRPr lang="en-US" sz="1400" dirty="0">
                <a:solidFill>
                  <a:srgbClr val="313131"/>
                </a:solidFill>
                <a:latin typeface="+mn-ea"/>
              </a:endParaRPr>
            </a:p>
          </p:txBody>
        </p:sp>
        <p:sp>
          <p:nvSpPr>
            <p:cNvPr id="23" name="TextBox 10"/>
            <p:cNvSpPr txBox="1"/>
            <p:nvPr/>
          </p:nvSpPr>
          <p:spPr>
            <a:xfrm>
              <a:off x="5924312" y="5975541"/>
              <a:ext cx="416745" cy="315111"/>
            </a:xfrm>
            <a:prstGeom prst="rect">
              <a:avLst/>
            </a:prstGeom>
            <a:noFill/>
          </p:spPr>
          <p:txBody>
            <a:bodyPr wrap="square" lIns="0" tIns="0" rIns="0" bIns="0" rtlCol="0">
              <a:spAutoFit/>
            </a:bodyPr>
            <a:lstStyle/>
            <a:p>
              <a:pPr>
                <a:spcBef>
                  <a:spcPts val="451"/>
                </a:spcBef>
                <a:buSzPct val="100000"/>
              </a:pPr>
              <a:r>
                <a:rPr lang="en-US" altLang="zh-CN" sz="1400" dirty="0">
                  <a:solidFill>
                    <a:srgbClr val="313131"/>
                  </a:solidFill>
                  <a:latin typeface="+mn-ea"/>
                </a:rPr>
                <a:t>Lorem </a:t>
              </a:r>
              <a:r>
                <a:rPr lang="en-US" altLang="zh-CN" sz="1400" dirty="0" err="1">
                  <a:solidFill>
                    <a:srgbClr val="313131"/>
                  </a:solidFill>
                  <a:latin typeface="+mn-ea"/>
                </a:rPr>
                <a:t>ipsu</a:t>
              </a:r>
              <a:endParaRPr lang="en-US" sz="1400" dirty="0">
                <a:solidFill>
                  <a:srgbClr val="313131"/>
                </a:solidFill>
                <a:latin typeface="+mn-ea"/>
              </a:endParaRPr>
            </a:p>
          </p:txBody>
        </p:sp>
        <p:sp>
          <p:nvSpPr>
            <p:cNvPr id="24" name="TextBox 11"/>
            <p:cNvSpPr txBox="1"/>
            <p:nvPr/>
          </p:nvSpPr>
          <p:spPr>
            <a:xfrm>
              <a:off x="4313336" y="4071269"/>
              <a:ext cx="433257" cy="315111"/>
            </a:xfrm>
            <a:prstGeom prst="rect">
              <a:avLst/>
            </a:prstGeom>
            <a:noFill/>
          </p:spPr>
          <p:txBody>
            <a:bodyPr wrap="square" lIns="0" tIns="0" rIns="0" bIns="0" rtlCol="0">
              <a:spAutoFit/>
            </a:bodyPr>
            <a:lstStyle/>
            <a:p>
              <a:pPr>
                <a:spcBef>
                  <a:spcPts val="451"/>
                </a:spcBef>
                <a:buSzPct val="100000"/>
              </a:pPr>
              <a:r>
                <a:rPr lang="en-US" altLang="zh-CN" sz="1400" dirty="0">
                  <a:solidFill>
                    <a:srgbClr val="313131"/>
                  </a:solidFill>
                  <a:latin typeface="+mn-ea"/>
                </a:rPr>
                <a:t>Lorem </a:t>
              </a:r>
              <a:r>
                <a:rPr lang="en-US" altLang="zh-CN" sz="1400" dirty="0" err="1">
                  <a:solidFill>
                    <a:srgbClr val="313131"/>
                  </a:solidFill>
                  <a:latin typeface="+mn-ea"/>
                </a:rPr>
                <a:t>ipsu</a:t>
              </a:r>
              <a:endParaRPr lang="en-US" sz="1400" dirty="0">
                <a:solidFill>
                  <a:srgbClr val="313131"/>
                </a:solidFill>
                <a:latin typeface="+mn-ea"/>
              </a:endParaRPr>
            </a:p>
          </p:txBody>
        </p:sp>
        <p:grpSp>
          <p:nvGrpSpPr>
            <p:cNvPr id="25" name="组合 24"/>
            <p:cNvGrpSpPr/>
            <p:nvPr/>
          </p:nvGrpSpPr>
          <p:grpSpPr>
            <a:xfrm>
              <a:off x="6775498" y="5170143"/>
              <a:ext cx="737705" cy="737706"/>
              <a:chOff x="6775498" y="5170143"/>
              <a:chExt cx="737705" cy="737706"/>
            </a:xfrm>
          </p:grpSpPr>
          <p:sp>
            <p:nvSpPr>
              <p:cNvPr id="26" name="Oval 26"/>
              <p:cNvSpPr>
                <a:spLocks noChangeArrowheads="1"/>
              </p:cNvSpPr>
              <p:nvPr/>
            </p:nvSpPr>
            <p:spPr bwMode="blackWhite">
              <a:xfrm>
                <a:off x="6775498" y="5170143"/>
                <a:ext cx="737705" cy="737706"/>
              </a:xfrm>
              <a:prstGeom prst="ellipse">
                <a:avLst/>
              </a:prstGeom>
              <a:solidFill>
                <a:schemeClr val="accent2"/>
              </a:solidFill>
              <a:ln w="12700">
                <a:noFill/>
                <a:round/>
                <a:headEnd/>
                <a:tailEnd/>
              </a:ln>
            </p:spPr>
            <p:txBody>
              <a:bodyPr wrap="none" lIns="66675" tIns="66675" rIns="66675" bIns="66675" anchor="ctr"/>
              <a:lstStyle/>
              <a:p>
                <a:pPr algn="ctr" defTabSz="615539">
                  <a:spcBef>
                    <a:spcPct val="20000"/>
                  </a:spcBef>
                  <a:spcAft>
                    <a:spcPct val="37000"/>
                  </a:spcAft>
                  <a:defRPr/>
                </a:pPr>
                <a:endParaRPr lang="en-GB" sz="1051" dirty="0">
                  <a:solidFill>
                    <a:schemeClr val="bg1"/>
                  </a:solidFill>
                  <a:ea typeface="ＭＳ Ｐゴシック" pitchFamily="50" charset="-128"/>
                  <a:cs typeface="Arial" pitchFamily="34" charset="0"/>
                </a:endParaRPr>
              </a:p>
            </p:txBody>
          </p:sp>
          <p:grpSp>
            <p:nvGrpSpPr>
              <p:cNvPr id="27" name="Group 235"/>
              <p:cNvGrpSpPr>
                <a:grpSpLocks noChangeAspect="1"/>
              </p:cNvGrpSpPr>
              <p:nvPr/>
            </p:nvGrpSpPr>
            <p:grpSpPr bwMode="auto">
              <a:xfrm>
                <a:off x="6846794" y="5241440"/>
                <a:ext cx="595113" cy="595113"/>
                <a:chOff x="4264" y="792"/>
                <a:chExt cx="340" cy="340"/>
              </a:xfrm>
              <a:solidFill>
                <a:srgbClr val="FFFFFF"/>
              </a:solidFill>
            </p:grpSpPr>
            <p:sp>
              <p:nvSpPr>
                <p:cNvPr id="28" name="Freeform 236"/>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9" name="Freeform 237"/>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0" name="Freeform 238"/>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grpSp>
          <p:nvGrpSpPr>
            <p:cNvPr id="31" name="Group 844"/>
            <p:cNvGrpSpPr>
              <a:grpSpLocks noChangeAspect="1"/>
            </p:cNvGrpSpPr>
            <p:nvPr/>
          </p:nvGrpSpPr>
          <p:grpSpPr bwMode="auto">
            <a:xfrm>
              <a:off x="4819185" y="5227328"/>
              <a:ext cx="592521" cy="592521"/>
              <a:chOff x="4301" y="3046"/>
              <a:chExt cx="340" cy="340"/>
            </a:xfrm>
            <a:solidFill>
              <a:srgbClr val="FFFFFF"/>
            </a:solidFill>
          </p:grpSpPr>
          <p:sp>
            <p:nvSpPr>
              <p:cNvPr id="32" name="Freeform 845"/>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3" name="Freeform 846"/>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4" name="Freeform 847"/>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5" name="Freeform 848"/>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6" name="Freeform 849"/>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7" name="Freeform 850"/>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8" name="Freeform 851"/>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39" name="组合 38"/>
            <p:cNvGrpSpPr/>
            <p:nvPr/>
          </p:nvGrpSpPr>
          <p:grpSpPr>
            <a:xfrm>
              <a:off x="5713374" y="2840419"/>
              <a:ext cx="737705" cy="737706"/>
              <a:chOff x="5853333" y="2840419"/>
              <a:chExt cx="737705" cy="737706"/>
            </a:xfrm>
          </p:grpSpPr>
          <p:sp>
            <p:nvSpPr>
              <p:cNvPr id="40" name="Oval 23"/>
              <p:cNvSpPr>
                <a:spLocks noChangeArrowheads="1"/>
              </p:cNvSpPr>
              <p:nvPr/>
            </p:nvSpPr>
            <p:spPr bwMode="blackWhite">
              <a:xfrm>
                <a:off x="5853333" y="2840419"/>
                <a:ext cx="737705" cy="737706"/>
              </a:xfrm>
              <a:prstGeom prst="ellipse">
                <a:avLst/>
              </a:prstGeom>
              <a:solidFill>
                <a:schemeClr val="bg1">
                  <a:lumMod val="65000"/>
                </a:schemeClr>
              </a:solidFill>
              <a:ln w="12700">
                <a:noFill/>
                <a:round/>
                <a:headEnd/>
                <a:tailEnd/>
              </a:ln>
            </p:spPr>
            <p:txBody>
              <a:bodyPr wrap="none" lIns="66675" tIns="66675" rIns="66675" bIns="66675" anchor="ctr"/>
              <a:lstStyle/>
              <a:p>
                <a:pPr algn="ctr" defTabSz="615539">
                  <a:spcBef>
                    <a:spcPct val="20000"/>
                  </a:spcBef>
                  <a:spcAft>
                    <a:spcPct val="37000"/>
                  </a:spcAft>
                  <a:defRPr/>
                </a:pPr>
                <a:endParaRPr lang="en-GB" sz="1051" dirty="0">
                  <a:ea typeface="ＭＳ Ｐゴシック" pitchFamily="50" charset="-128"/>
                  <a:cs typeface="Arial" pitchFamily="34" charset="0"/>
                </a:endParaRPr>
              </a:p>
            </p:txBody>
          </p:sp>
          <p:grpSp>
            <p:nvGrpSpPr>
              <p:cNvPr id="41" name="Group 58"/>
              <p:cNvGrpSpPr>
                <a:grpSpLocks noChangeAspect="1"/>
              </p:cNvGrpSpPr>
              <p:nvPr/>
            </p:nvGrpSpPr>
            <p:grpSpPr bwMode="auto">
              <a:xfrm>
                <a:off x="5963354" y="2950513"/>
                <a:ext cx="517662" cy="517519"/>
                <a:chOff x="1785" y="567"/>
                <a:chExt cx="3636" cy="3635"/>
              </a:xfrm>
              <a:solidFill>
                <a:srgbClr val="FFFFFF"/>
              </a:solidFill>
            </p:grpSpPr>
            <p:sp>
              <p:nvSpPr>
                <p:cNvPr id="42" name="Freeform 257"/>
                <p:cNvSpPr>
                  <a:spLocks noEditPoints="1"/>
                </p:cNvSpPr>
                <p:nvPr/>
              </p:nvSpPr>
              <p:spPr bwMode="auto">
                <a:xfrm>
                  <a:off x="1785" y="567"/>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58"/>
                <p:cNvSpPr>
                  <a:spLocks noEditPoints="1"/>
                </p:cNvSpPr>
                <p:nvPr/>
              </p:nvSpPr>
              <p:spPr bwMode="auto">
                <a:xfrm>
                  <a:off x="2602" y="1248"/>
                  <a:ext cx="1995" cy="2272"/>
                </a:xfrm>
                <a:custGeom>
                  <a:avLst/>
                  <a:gdLst>
                    <a:gd name="T0" fmla="*/ 278 w 281"/>
                    <a:gd name="T1" fmla="*/ 251 h 320"/>
                    <a:gd name="T2" fmla="*/ 268 w 281"/>
                    <a:gd name="T3" fmla="*/ 230 h 320"/>
                    <a:gd name="T4" fmla="*/ 258 w 281"/>
                    <a:gd name="T5" fmla="*/ 224 h 320"/>
                    <a:gd name="T6" fmla="*/ 237 w 281"/>
                    <a:gd name="T7" fmla="*/ 224 h 320"/>
                    <a:gd name="T8" fmla="*/ 226 w 281"/>
                    <a:gd name="T9" fmla="*/ 234 h 320"/>
                    <a:gd name="T10" fmla="*/ 237 w 281"/>
                    <a:gd name="T11" fmla="*/ 245 h 320"/>
                    <a:gd name="T12" fmla="*/ 239 w 281"/>
                    <a:gd name="T13" fmla="*/ 245 h 320"/>
                    <a:gd name="T14" fmla="*/ 151 w 281"/>
                    <a:gd name="T15" fmla="*/ 298 h 320"/>
                    <a:gd name="T16" fmla="*/ 151 w 281"/>
                    <a:gd name="T17" fmla="*/ 138 h 320"/>
                    <a:gd name="T18" fmla="*/ 173 w 281"/>
                    <a:gd name="T19" fmla="*/ 138 h 320"/>
                    <a:gd name="T20" fmla="*/ 183 w 281"/>
                    <a:gd name="T21" fmla="*/ 128 h 320"/>
                    <a:gd name="T22" fmla="*/ 173 w 281"/>
                    <a:gd name="T23" fmla="*/ 117 h 320"/>
                    <a:gd name="T24" fmla="*/ 151 w 281"/>
                    <a:gd name="T25" fmla="*/ 117 h 320"/>
                    <a:gd name="T26" fmla="*/ 151 w 281"/>
                    <a:gd name="T27" fmla="*/ 83 h 320"/>
                    <a:gd name="T28" fmla="*/ 183 w 281"/>
                    <a:gd name="T29" fmla="*/ 42 h 320"/>
                    <a:gd name="T30" fmla="*/ 141 w 281"/>
                    <a:gd name="T31" fmla="*/ 0 h 320"/>
                    <a:gd name="T32" fmla="*/ 98 w 281"/>
                    <a:gd name="T33" fmla="*/ 42 h 320"/>
                    <a:gd name="T34" fmla="*/ 130 w 281"/>
                    <a:gd name="T35" fmla="*/ 83 h 320"/>
                    <a:gd name="T36" fmla="*/ 130 w 281"/>
                    <a:gd name="T37" fmla="*/ 117 h 320"/>
                    <a:gd name="T38" fmla="*/ 109 w 281"/>
                    <a:gd name="T39" fmla="*/ 117 h 320"/>
                    <a:gd name="T40" fmla="*/ 98 w 281"/>
                    <a:gd name="T41" fmla="*/ 128 h 320"/>
                    <a:gd name="T42" fmla="*/ 109 w 281"/>
                    <a:gd name="T43" fmla="*/ 138 h 320"/>
                    <a:gd name="T44" fmla="*/ 130 w 281"/>
                    <a:gd name="T45" fmla="*/ 138 h 320"/>
                    <a:gd name="T46" fmla="*/ 130 w 281"/>
                    <a:gd name="T47" fmla="*/ 298 h 320"/>
                    <a:gd name="T48" fmla="*/ 42 w 281"/>
                    <a:gd name="T49" fmla="*/ 245 h 320"/>
                    <a:gd name="T50" fmla="*/ 45 w 281"/>
                    <a:gd name="T51" fmla="*/ 245 h 320"/>
                    <a:gd name="T52" fmla="*/ 55 w 281"/>
                    <a:gd name="T53" fmla="*/ 234 h 320"/>
                    <a:gd name="T54" fmla="*/ 45 w 281"/>
                    <a:gd name="T55" fmla="*/ 224 h 320"/>
                    <a:gd name="T56" fmla="*/ 24 w 281"/>
                    <a:gd name="T57" fmla="*/ 224 h 320"/>
                    <a:gd name="T58" fmla="*/ 24 w 281"/>
                    <a:gd name="T59" fmla="*/ 224 h 320"/>
                    <a:gd name="T60" fmla="*/ 23 w 281"/>
                    <a:gd name="T61" fmla="*/ 224 h 320"/>
                    <a:gd name="T62" fmla="*/ 14 w 281"/>
                    <a:gd name="T63" fmla="*/ 230 h 320"/>
                    <a:gd name="T64" fmla="*/ 3 w 281"/>
                    <a:gd name="T65" fmla="*/ 251 h 320"/>
                    <a:gd name="T66" fmla="*/ 8 w 281"/>
                    <a:gd name="T67" fmla="*/ 265 h 320"/>
                    <a:gd name="T68" fmla="*/ 13 w 281"/>
                    <a:gd name="T69" fmla="*/ 266 h 320"/>
                    <a:gd name="T70" fmla="*/ 22 w 281"/>
                    <a:gd name="T71" fmla="*/ 260 h 320"/>
                    <a:gd name="T72" fmla="*/ 24 w 281"/>
                    <a:gd name="T73" fmla="*/ 256 h 320"/>
                    <a:gd name="T74" fmla="*/ 141 w 281"/>
                    <a:gd name="T75" fmla="*/ 320 h 320"/>
                    <a:gd name="T76" fmla="*/ 257 w 281"/>
                    <a:gd name="T77" fmla="*/ 256 h 320"/>
                    <a:gd name="T78" fmla="*/ 259 w 281"/>
                    <a:gd name="T79" fmla="*/ 260 h 320"/>
                    <a:gd name="T80" fmla="*/ 269 w 281"/>
                    <a:gd name="T81" fmla="*/ 266 h 320"/>
                    <a:gd name="T82" fmla="*/ 273 w 281"/>
                    <a:gd name="T83" fmla="*/ 265 h 320"/>
                    <a:gd name="T84" fmla="*/ 278 w 281"/>
                    <a:gd name="T85" fmla="*/ 251 h 320"/>
                    <a:gd name="T86" fmla="*/ 119 w 281"/>
                    <a:gd name="T87" fmla="*/ 42 h 320"/>
                    <a:gd name="T88" fmla="*/ 141 w 281"/>
                    <a:gd name="T89" fmla="*/ 21 h 320"/>
                    <a:gd name="T90" fmla="*/ 162 w 281"/>
                    <a:gd name="T91" fmla="*/ 42 h 320"/>
                    <a:gd name="T92" fmla="*/ 141 w 281"/>
                    <a:gd name="T93" fmla="*/ 64 h 320"/>
                    <a:gd name="T94" fmla="*/ 119 w 281"/>
                    <a:gd name="T95" fmla="*/ 4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1" h="320">
                      <a:moveTo>
                        <a:pt x="278" y="251"/>
                      </a:moveTo>
                      <a:cubicBezTo>
                        <a:pt x="268" y="230"/>
                        <a:pt x="268" y="230"/>
                        <a:pt x="268" y="230"/>
                      </a:cubicBezTo>
                      <a:cubicBezTo>
                        <a:pt x="266" y="226"/>
                        <a:pt x="262" y="224"/>
                        <a:pt x="258" y="224"/>
                      </a:cubicBezTo>
                      <a:cubicBezTo>
                        <a:pt x="237" y="224"/>
                        <a:pt x="237" y="224"/>
                        <a:pt x="237" y="224"/>
                      </a:cubicBezTo>
                      <a:cubicBezTo>
                        <a:pt x="231" y="224"/>
                        <a:pt x="226" y="228"/>
                        <a:pt x="226" y="234"/>
                      </a:cubicBezTo>
                      <a:cubicBezTo>
                        <a:pt x="226" y="240"/>
                        <a:pt x="231" y="245"/>
                        <a:pt x="237" y="245"/>
                      </a:cubicBezTo>
                      <a:cubicBezTo>
                        <a:pt x="239" y="245"/>
                        <a:pt x="239" y="245"/>
                        <a:pt x="239" y="245"/>
                      </a:cubicBezTo>
                      <a:cubicBezTo>
                        <a:pt x="219" y="275"/>
                        <a:pt x="187" y="294"/>
                        <a:pt x="151" y="298"/>
                      </a:cubicBezTo>
                      <a:cubicBezTo>
                        <a:pt x="151" y="138"/>
                        <a:pt x="151" y="138"/>
                        <a:pt x="151" y="138"/>
                      </a:cubicBezTo>
                      <a:cubicBezTo>
                        <a:pt x="173" y="138"/>
                        <a:pt x="173" y="138"/>
                        <a:pt x="173" y="138"/>
                      </a:cubicBezTo>
                      <a:cubicBezTo>
                        <a:pt x="179" y="138"/>
                        <a:pt x="183" y="134"/>
                        <a:pt x="183" y="128"/>
                      </a:cubicBezTo>
                      <a:cubicBezTo>
                        <a:pt x="183" y="122"/>
                        <a:pt x="179" y="117"/>
                        <a:pt x="173" y="117"/>
                      </a:cubicBezTo>
                      <a:cubicBezTo>
                        <a:pt x="151" y="117"/>
                        <a:pt x="151" y="117"/>
                        <a:pt x="151" y="117"/>
                      </a:cubicBezTo>
                      <a:cubicBezTo>
                        <a:pt x="151" y="83"/>
                        <a:pt x="151" y="83"/>
                        <a:pt x="151" y="83"/>
                      </a:cubicBezTo>
                      <a:cubicBezTo>
                        <a:pt x="170" y="79"/>
                        <a:pt x="183" y="62"/>
                        <a:pt x="183" y="42"/>
                      </a:cubicBezTo>
                      <a:cubicBezTo>
                        <a:pt x="183" y="19"/>
                        <a:pt x="164" y="0"/>
                        <a:pt x="141" y="0"/>
                      </a:cubicBezTo>
                      <a:cubicBezTo>
                        <a:pt x="117" y="0"/>
                        <a:pt x="98" y="19"/>
                        <a:pt x="98" y="42"/>
                      </a:cubicBezTo>
                      <a:cubicBezTo>
                        <a:pt x="98" y="62"/>
                        <a:pt x="111" y="79"/>
                        <a:pt x="130" y="83"/>
                      </a:cubicBezTo>
                      <a:cubicBezTo>
                        <a:pt x="130" y="117"/>
                        <a:pt x="130" y="117"/>
                        <a:pt x="130" y="117"/>
                      </a:cubicBezTo>
                      <a:cubicBezTo>
                        <a:pt x="109" y="117"/>
                        <a:pt x="109" y="117"/>
                        <a:pt x="109" y="117"/>
                      </a:cubicBezTo>
                      <a:cubicBezTo>
                        <a:pt x="103" y="117"/>
                        <a:pt x="98" y="122"/>
                        <a:pt x="98" y="128"/>
                      </a:cubicBezTo>
                      <a:cubicBezTo>
                        <a:pt x="98" y="134"/>
                        <a:pt x="103" y="138"/>
                        <a:pt x="109" y="138"/>
                      </a:cubicBezTo>
                      <a:cubicBezTo>
                        <a:pt x="130" y="138"/>
                        <a:pt x="130" y="138"/>
                        <a:pt x="130" y="138"/>
                      </a:cubicBezTo>
                      <a:cubicBezTo>
                        <a:pt x="130" y="298"/>
                        <a:pt x="130" y="298"/>
                        <a:pt x="130" y="298"/>
                      </a:cubicBezTo>
                      <a:cubicBezTo>
                        <a:pt x="94" y="294"/>
                        <a:pt x="62" y="275"/>
                        <a:pt x="42" y="245"/>
                      </a:cubicBezTo>
                      <a:cubicBezTo>
                        <a:pt x="45" y="245"/>
                        <a:pt x="45" y="245"/>
                        <a:pt x="45" y="245"/>
                      </a:cubicBezTo>
                      <a:cubicBezTo>
                        <a:pt x="51" y="245"/>
                        <a:pt x="55" y="240"/>
                        <a:pt x="55" y="234"/>
                      </a:cubicBezTo>
                      <a:cubicBezTo>
                        <a:pt x="55" y="228"/>
                        <a:pt x="51" y="224"/>
                        <a:pt x="45" y="224"/>
                      </a:cubicBezTo>
                      <a:cubicBezTo>
                        <a:pt x="24" y="224"/>
                        <a:pt x="24" y="224"/>
                        <a:pt x="24" y="224"/>
                      </a:cubicBezTo>
                      <a:cubicBezTo>
                        <a:pt x="24" y="224"/>
                        <a:pt x="24" y="224"/>
                        <a:pt x="24" y="224"/>
                      </a:cubicBezTo>
                      <a:cubicBezTo>
                        <a:pt x="23" y="224"/>
                        <a:pt x="23" y="224"/>
                        <a:pt x="23" y="224"/>
                      </a:cubicBezTo>
                      <a:cubicBezTo>
                        <a:pt x="19" y="224"/>
                        <a:pt x="16" y="226"/>
                        <a:pt x="14" y="230"/>
                      </a:cubicBezTo>
                      <a:cubicBezTo>
                        <a:pt x="3" y="251"/>
                        <a:pt x="3" y="251"/>
                        <a:pt x="3" y="251"/>
                      </a:cubicBezTo>
                      <a:cubicBezTo>
                        <a:pt x="0" y="256"/>
                        <a:pt x="3" y="263"/>
                        <a:pt x="8" y="265"/>
                      </a:cubicBezTo>
                      <a:cubicBezTo>
                        <a:pt x="9" y="266"/>
                        <a:pt x="11" y="266"/>
                        <a:pt x="13" y="266"/>
                      </a:cubicBezTo>
                      <a:cubicBezTo>
                        <a:pt x="17" y="266"/>
                        <a:pt x="20" y="264"/>
                        <a:pt x="22" y="260"/>
                      </a:cubicBezTo>
                      <a:cubicBezTo>
                        <a:pt x="24" y="256"/>
                        <a:pt x="24" y="256"/>
                        <a:pt x="24" y="256"/>
                      </a:cubicBezTo>
                      <a:cubicBezTo>
                        <a:pt x="50" y="295"/>
                        <a:pt x="93" y="320"/>
                        <a:pt x="141" y="320"/>
                      </a:cubicBezTo>
                      <a:cubicBezTo>
                        <a:pt x="188" y="320"/>
                        <a:pt x="232" y="295"/>
                        <a:pt x="257" y="256"/>
                      </a:cubicBezTo>
                      <a:cubicBezTo>
                        <a:pt x="259" y="260"/>
                        <a:pt x="259" y="260"/>
                        <a:pt x="259" y="260"/>
                      </a:cubicBezTo>
                      <a:cubicBezTo>
                        <a:pt x="261" y="264"/>
                        <a:pt x="265" y="266"/>
                        <a:pt x="269" y="266"/>
                      </a:cubicBezTo>
                      <a:cubicBezTo>
                        <a:pt x="270" y="266"/>
                        <a:pt x="272" y="266"/>
                        <a:pt x="273" y="265"/>
                      </a:cubicBezTo>
                      <a:cubicBezTo>
                        <a:pt x="279" y="263"/>
                        <a:pt x="281" y="256"/>
                        <a:pt x="278" y="251"/>
                      </a:cubicBezTo>
                      <a:close/>
                      <a:moveTo>
                        <a:pt x="119" y="42"/>
                      </a:moveTo>
                      <a:cubicBezTo>
                        <a:pt x="119" y="31"/>
                        <a:pt x="129" y="21"/>
                        <a:pt x="141" y="21"/>
                      </a:cubicBezTo>
                      <a:cubicBezTo>
                        <a:pt x="152" y="21"/>
                        <a:pt x="162" y="31"/>
                        <a:pt x="162" y="42"/>
                      </a:cubicBezTo>
                      <a:cubicBezTo>
                        <a:pt x="162" y="54"/>
                        <a:pt x="152" y="64"/>
                        <a:pt x="141" y="64"/>
                      </a:cubicBezTo>
                      <a:cubicBezTo>
                        <a:pt x="129" y="64"/>
                        <a:pt x="119" y="54"/>
                        <a:pt x="119" y="42"/>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spTree>
    <p:custDataLst>
      <p:tags r:id="rId1"/>
    </p:custDataLst>
    <p:extLst>
      <p:ext uri="{BB962C8B-B14F-4D97-AF65-F5344CB8AC3E}">
        <p14:creationId xmlns:p14="http://schemas.microsoft.com/office/powerpoint/2010/main" val="4019272644"/>
      </p:ext>
    </p:extLst>
  </p:cSld>
  <p:clrMapOvr>
    <a:masterClrMapping/>
  </p:clrMapOvr>
  <p:transition>
    <p:fade/>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043357" y="812277"/>
            <a:ext cx="3895355" cy="1704360"/>
            <a:chOff x="3143620" y="1960040"/>
            <a:chExt cx="6238299" cy="2729484"/>
          </a:xfrm>
        </p:grpSpPr>
        <p:sp>
          <p:nvSpPr>
            <p:cNvPr id="15" name="Isosceles Triangle 30">
              <a:extLst>
                <a:ext uri="{FF2B5EF4-FFF2-40B4-BE49-F238E27FC236}">
                  <a16:creationId xmlns:a16="http://schemas.microsoft.com/office/drawing/2014/main" id="{5E93B95E-393F-2649-B1A7-215B12B7AABC}"/>
                </a:ext>
              </a:extLst>
            </p:cNvPr>
            <p:cNvSpPr/>
            <p:nvPr/>
          </p:nvSpPr>
          <p:spPr bwMode="gray">
            <a:xfrm rot="5400000">
              <a:off x="4919574" y="1390418"/>
              <a:ext cx="2218158" cy="3812475"/>
            </a:xfrm>
            <a:prstGeom prst="triangl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grpSp>
          <p:nvGrpSpPr>
            <p:cNvPr id="16" name="Group 15">
              <a:extLst>
                <a:ext uri="{FF2B5EF4-FFF2-40B4-BE49-F238E27FC236}">
                  <a16:creationId xmlns:a16="http://schemas.microsoft.com/office/drawing/2014/main" id="{5C859FE0-F080-8848-A559-E127D4EC1D34}"/>
                </a:ext>
              </a:extLst>
            </p:cNvPr>
            <p:cNvGrpSpPr/>
            <p:nvPr/>
          </p:nvGrpSpPr>
          <p:grpSpPr>
            <a:xfrm>
              <a:off x="3143620" y="1960040"/>
              <a:ext cx="2729484" cy="2729484"/>
              <a:chOff x="3875087" y="2509838"/>
              <a:chExt cx="2565401" cy="2562225"/>
            </a:xfrm>
          </p:grpSpPr>
          <p:sp>
            <p:nvSpPr>
              <p:cNvPr id="17" name="Freeform 139">
                <a:extLst>
                  <a:ext uri="{FF2B5EF4-FFF2-40B4-BE49-F238E27FC236}">
                    <a16:creationId xmlns:a16="http://schemas.microsoft.com/office/drawing/2014/main" id="{901F7054-A9DD-2247-AC6B-FFB1E9D4E5AF}"/>
                  </a:ext>
                </a:extLst>
              </p:cNvPr>
              <p:cNvSpPr>
                <a:spLocks noEditPoints="1"/>
              </p:cNvSpPr>
              <p:nvPr/>
            </p:nvSpPr>
            <p:spPr bwMode="auto">
              <a:xfrm>
                <a:off x="3875087" y="3586163"/>
                <a:ext cx="1839913" cy="1485900"/>
              </a:xfrm>
              <a:custGeom>
                <a:avLst/>
                <a:gdLst>
                  <a:gd name="T0" fmla="*/ 184 w 193"/>
                  <a:gd name="T1" fmla="*/ 24 h 156"/>
                  <a:gd name="T2" fmla="*/ 185 w 193"/>
                  <a:gd name="T3" fmla="*/ 22 h 156"/>
                  <a:gd name="T4" fmla="*/ 170 w 193"/>
                  <a:gd name="T5" fmla="*/ 0 h 156"/>
                  <a:gd name="T6" fmla="*/ 174 w 193"/>
                  <a:gd name="T7" fmla="*/ 7 h 156"/>
                  <a:gd name="T8" fmla="*/ 168 w 193"/>
                  <a:gd name="T9" fmla="*/ 0 h 156"/>
                  <a:gd name="T10" fmla="*/ 175 w 193"/>
                  <a:gd name="T11" fmla="*/ 22 h 156"/>
                  <a:gd name="T12" fmla="*/ 163 w 193"/>
                  <a:gd name="T13" fmla="*/ 50 h 156"/>
                  <a:gd name="T14" fmla="*/ 166 w 193"/>
                  <a:gd name="T15" fmla="*/ 47 h 156"/>
                  <a:gd name="T16" fmla="*/ 163 w 193"/>
                  <a:gd name="T17" fmla="*/ 50 h 156"/>
                  <a:gd name="T18" fmla="*/ 162 w 193"/>
                  <a:gd name="T19" fmla="*/ 51 h 156"/>
                  <a:gd name="T20" fmla="*/ 135 w 193"/>
                  <a:gd name="T21" fmla="*/ 70 h 156"/>
                  <a:gd name="T22" fmla="*/ 91 w 193"/>
                  <a:gd name="T23" fmla="*/ 80 h 156"/>
                  <a:gd name="T24" fmla="*/ 77 w 193"/>
                  <a:gd name="T25" fmla="*/ 79 h 156"/>
                  <a:gd name="T26" fmla="*/ 0 w 193"/>
                  <a:gd name="T27" fmla="*/ 22 h 156"/>
                  <a:gd name="T28" fmla="*/ 134 w 193"/>
                  <a:gd name="T29" fmla="*/ 156 h 156"/>
                  <a:gd name="T30" fmla="*/ 134 w 193"/>
                  <a:gd name="T31" fmla="*/ 156 h 156"/>
                  <a:gd name="T32" fmla="*/ 137 w 193"/>
                  <a:gd name="T33" fmla="*/ 156 h 156"/>
                  <a:gd name="T34" fmla="*/ 192 w 193"/>
                  <a:gd name="T35" fmla="*/ 78 h 156"/>
                  <a:gd name="T36" fmla="*/ 193 w 193"/>
                  <a:gd name="T37" fmla="*/ 66 h 156"/>
                  <a:gd name="T38" fmla="*/ 184 w 193"/>
                  <a:gd name="T39" fmla="*/ 24 h 156"/>
                  <a:gd name="T40" fmla="*/ 168 w 193"/>
                  <a:gd name="T41" fmla="*/ 44 h 156"/>
                  <a:gd name="T42" fmla="*/ 168 w 193"/>
                  <a:gd name="T43" fmla="*/ 45 h 156"/>
                  <a:gd name="T44" fmla="*/ 168 w 193"/>
                  <a:gd name="T45" fmla="*/ 44 h 156"/>
                  <a:gd name="T46" fmla="*/ 171 w 193"/>
                  <a:gd name="T47" fmla="*/ 42 h 156"/>
                  <a:gd name="T48" fmla="*/ 171 w 193"/>
                  <a:gd name="T49" fmla="*/ 42 h 156"/>
                  <a:gd name="T50" fmla="*/ 171 w 193"/>
                  <a:gd name="T51" fmla="*/ 4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3" h="156">
                    <a:moveTo>
                      <a:pt x="184" y="24"/>
                    </a:moveTo>
                    <a:cubicBezTo>
                      <a:pt x="184" y="23"/>
                      <a:pt x="184" y="23"/>
                      <a:pt x="185" y="22"/>
                    </a:cubicBezTo>
                    <a:cubicBezTo>
                      <a:pt x="181" y="14"/>
                      <a:pt x="176" y="7"/>
                      <a:pt x="170" y="0"/>
                    </a:cubicBezTo>
                    <a:cubicBezTo>
                      <a:pt x="172" y="2"/>
                      <a:pt x="173" y="5"/>
                      <a:pt x="174" y="7"/>
                    </a:cubicBezTo>
                    <a:cubicBezTo>
                      <a:pt x="172" y="5"/>
                      <a:pt x="170" y="2"/>
                      <a:pt x="168" y="0"/>
                    </a:cubicBezTo>
                    <a:cubicBezTo>
                      <a:pt x="172" y="6"/>
                      <a:pt x="175" y="14"/>
                      <a:pt x="175" y="22"/>
                    </a:cubicBezTo>
                    <a:cubicBezTo>
                      <a:pt x="175" y="33"/>
                      <a:pt x="170" y="43"/>
                      <a:pt x="163" y="50"/>
                    </a:cubicBezTo>
                    <a:cubicBezTo>
                      <a:pt x="164" y="49"/>
                      <a:pt x="165" y="48"/>
                      <a:pt x="166" y="47"/>
                    </a:cubicBezTo>
                    <a:cubicBezTo>
                      <a:pt x="165" y="48"/>
                      <a:pt x="164" y="49"/>
                      <a:pt x="163" y="50"/>
                    </a:cubicBezTo>
                    <a:cubicBezTo>
                      <a:pt x="163" y="50"/>
                      <a:pt x="163" y="51"/>
                      <a:pt x="162" y="51"/>
                    </a:cubicBezTo>
                    <a:cubicBezTo>
                      <a:pt x="154" y="59"/>
                      <a:pt x="145" y="65"/>
                      <a:pt x="135" y="70"/>
                    </a:cubicBezTo>
                    <a:cubicBezTo>
                      <a:pt x="122" y="76"/>
                      <a:pt x="107" y="80"/>
                      <a:pt x="91" y="80"/>
                    </a:cubicBezTo>
                    <a:cubicBezTo>
                      <a:pt x="87" y="80"/>
                      <a:pt x="82" y="80"/>
                      <a:pt x="77" y="79"/>
                    </a:cubicBezTo>
                    <a:cubicBezTo>
                      <a:pt x="43" y="74"/>
                      <a:pt x="14" y="52"/>
                      <a:pt x="0" y="22"/>
                    </a:cubicBezTo>
                    <a:cubicBezTo>
                      <a:pt x="0" y="96"/>
                      <a:pt x="60" y="156"/>
                      <a:pt x="134" y="156"/>
                    </a:cubicBezTo>
                    <a:cubicBezTo>
                      <a:pt x="134" y="156"/>
                      <a:pt x="134" y="156"/>
                      <a:pt x="134" y="156"/>
                    </a:cubicBezTo>
                    <a:cubicBezTo>
                      <a:pt x="135" y="156"/>
                      <a:pt x="136" y="156"/>
                      <a:pt x="137" y="156"/>
                    </a:cubicBezTo>
                    <a:cubicBezTo>
                      <a:pt x="166" y="141"/>
                      <a:pt x="187" y="112"/>
                      <a:pt x="192" y="78"/>
                    </a:cubicBezTo>
                    <a:cubicBezTo>
                      <a:pt x="192" y="74"/>
                      <a:pt x="193" y="70"/>
                      <a:pt x="193" y="66"/>
                    </a:cubicBezTo>
                    <a:cubicBezTo>
                      <a:pt x="193" y="51"/>
                      <a:pt x="189" y="37"/>
                      <a:pt x="184" y="24"/>
                    </a:cubicBezTo>
                    <a:moveTo>
                      <a:pt x="168" y="44"/>
                    </a:moveTo>
                    <a:cubicBezTo>
                      <a:pt x="168" y="45"/>
                      <a:pt x="168" y="45"/>
                      <a:pt x="168" y="45"/>
                    </a:cubicBezTo>
                    <a:cubicBezTo>
                      <a:pt x="168" y="45"/>
                      <a:pt x="168" y="45"/>
                      <a:pt x="168" y="44"/>
                    </a:cubicBezTo>
                    <a:moveTo>
                      <a:pt x="171" y="42"/>
                    </a:moveTo>
                    <a:cubicBezTo>
                      <a:pt x="171" y="42"/>
                      <a:pt x="171" y="42"/>
                      <a:pt x="171" y="42"/>
                    </a:cubicBezTo>
                    <a:cubicBezTo>
                      <a:pt x="171" y="42"/>
                      <a:pt x="171" y="42"/>
                      <a:pt x="171" y="42"/>
                    </a:cubicBezTo>
                  </a:path>
                </a:pathLst>
              </a:custGeom>
              <a:solidFill>
                <a:schemeClr val="accent4"/>
              </a:solidFill>
              <a:ln w="6350">
                <a:solidFill>
                  <a:schemeClr val="bg1"/>
                </a:solidFill>
              </a:ln>
            </p:spPr>
            <p:txBody>
              <a:bodyPr vert="horz" wrap="square" lIns="68580" tIns="34290" rIns="68580" bIns="34290" numCol="1" anchor="t" anchorCtr="0" compatLnSpc="1">
                <a:prstTxWarp prst="textNoShape">
                  <a:avLst/>
                </a:prstTxWarp>
              </a:bodyPr>
              <a:lstStyle/>
              <a:p>
                <a:endParaRPr lang="en-US" sz="1350" dirty="0"/>
              </a:p>
            </p:txBody>
          </p:sp>
          <p:sp>
            <p:nvSpPr>
              <p:cNvPr id="18" name="Freeform 140">
                <a:extLst>
                  <a:ext uri="{FF2B5EF4-FFF2-40B4-BE49-F238E27FC236}">
                    <a16:creationId xmlns:a16="http://schemas.microsoft.com/office/drawing/2014/main" id="{BA5AC921-5C9F-A043-8C73-5F8198488DE1}"/>
                  </a:ext>
                </a:extLst>
              </p:cNvPr>
              <p:cNvSpPr>
                <a:spLocks/>
              </p:cNvSpPr>
              <p:nvPr/>
            </p:nvSpPr>
            <p:spPr bwMode="auto">
              <a:xfrm>
                <a:off x="3875087" y="2509838"/>
                <a:ext cx="1544638" cy="1838325"/>
              </a:xfrm>
              <a:custGeom>
                <a:avLst/>
                <a:gdLst>
                  <a:gd name="T0" fmla="*/ 134 w 162"/>
                  <a:gd name="T1" fmla="*/ 175 h 193"/>
                  <a:gd name="T2" fmla="*/ 113 w 162"/>
                  <a:gd name="T3" fmla="*/ 169 h 193"/>
                  <a:gd name="T4" fmla="*/ 100 w 162"/>
                  <a:gd name="T5" fmla="*/ 157 h 193"/>
                  <a:gd name="T6" fmla="*/ 86 w 162"/>
                  <a:gd name="T7" fmla="*/ 134 h 193"/>
                  <a:gd name="T8" fmla="*/ 76 w 162"/>
                  <a:gd name="T9" fmla="*/ 91 h 193"/>
                  <a:gd name="T10" fmla="*/ 77 w 162"/>
                  <a:gd name="T11" fmla="*/ 78 h 193"/>
                  <a:gd name="T12" fmla="*/ 134 w 162"/>
                  <a:gd name="T13" fmla="*/ 0 h 193"/>
                  <a:gd name="T14" fmla="*/ 134 w 162"/>
                  <a:gd name="T15" fmla="*/ 0 h 193"/>
                  <a:gd name="T16" fmla="*/ 0 w 162"/>
                  <a:gd name="T17" fmla="*/ 134 h 193"/>
                  <a:gd name="T18" fmla="*/ 0 w 162"/>
                  <a:gd name="T19" fmla="*/ 135 h 193"/>
                  <a:gd name="T20" fmla="*/ 0 w 162"/>
                  <a:gd name="T21" fmla="*/ 135 h 193"/>
                  <a:gd name="T22" fmla="*/ 77 w 162"/>
                  <a:gd name="T23" fmla="*/ 192 h 193"/>
                  <a:gd name="T24" fmla="*/ 91 w 162"/>
                  <a:gd name="T25" fmla="*/ 193 h 193"/>
                  <a:gd name="T26" fmla="*/ 135 w 162"/>
                  <a:gd name="T27" fmla="*/ 183 h 193"/>
                  <a:gd name="T28" fmla="*/ 162 w 162"/>
                  <a:gd name="T29" fmla="*/ 164 h 193"/>
                  <a:gd name="T30" fmla="*/ 134 w 162"/>
                  <a:gd name="T31" fmla="*/ 17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2" h="193">
                    <a:moveTo>
                      <a:pt x="134" y="175"/>
                    </a:moveTo>
                    <a:cubicBezTo>
                      <a:pt x="126" y="175"/>
                      <a:pt x="119" y="173"/>
                      <a:pt x="113" y="169"/>
                    </a:cubicBezTo>
                    <a:cubicBezTo>
                      <a:pt x="108" y="166"/>
                      <a:pt x="104" y="162"/>
                      <a:pt x="100" y="157"/>
                    </a:cubicBezTo>
                    <a:cubicBezTo>
                      <a:pt x="95" y="150"/>
                      <a:pt x="90" y="142"/>
                      <a:pt x="86" y="134"/>
                    </a:cubicBezTo>
                    <a:cubicBezTo>
                      <a:pt x="80" y="121"/>
                      <a:pt x="76" y="107"/>
                      <a:pt x="76" y="91"/>
                    </a:cubicBezTo>
                    <a:cubicBezTo>
                      <a:pt x="76" y="87"/>
                      <a:pt x="77" y="82"/>
                      <a:pt x="77" y="78"/>
                    </a:cubicBezTo>
                    <a:cubicBezTo>
                      <a:pt x="81" y="44"/>
                      <a:pt x="103" y="14"/>
                      <a:pt x="134" y="0"/>
                    </a:cubicBezTo>
                    <a:cubicBezTo>
                      <a:pt x="134" y="0"/>
                      <a:pt x="134" y="0"/>
                      <a:pt x="134" y="0"/>
                    </a:cubicBezTo>
                    <a:cubicBezTo>
                      <a:pt x="60" y="0"/>
                      <a:pt x="0" y="60"/>
                      <a:pt x="0" y="134"/>
                    </a:cubicBezTo>
                    <a:cubicBezTo>
                      <a:pt x="0" y="135"/>
                      <a:pt x="0" y="135"/>
                      <a:pt x="0" y="135"/>
                    </a:cubicBezTo>
                    <a:cubicBezTo>
                      <a:pt x="0" y="135"/>
                      <a:pt x="0" y="135"/>
                      <a:pt x="0" y="135"/>
                    </a:cubicBezTo>
                    <a:cubicBezTo>
                      <a:pt x="14" y="165"/>
                      <a:pt x="43" y="187"/>
                      <a:pt x="77" y="192"/>
                    </a:cubicBezTo>
                    <a:cubicBezTo>
                      <a:pt x="82" y="193"/>
                      <a:pt x="87" y="193"/>
                      <a:pt x="91" y="193"/>
                    </a:cubicBezTo>
                    <a:cubicBezTo>
                      <a:pt x="107" y="193"/>
                      <a:pt x="122" y="189"/>
                      <a:pt x="135" y="183"/>
                    </a:cubicBezTo>
                    <a:cubicBezTo>
                      <a:pt x="145" y="178"/>
                      <a:pt x="154" y="172"/>
                      <a:pt x="162" y="164"/>
                    </a:cubicBezTo>
                    <a:cubicBezTo>
                      <a:pt x="155" y="171"/>
                      <a:pt x="145" y="175"/>
                      <a:pt x="134" y="175"/>
                    </a:cubicBezTo>
                  </a:path>
                </a:pathLst>
              </a:custGeom>
              <a:solidFill>
                <a:schemeClr val="accent5"/>
              </a:solidFill>
              <a:ln w="6350">
                <a:solidFill>
                  <a:schemeClr val="bg1"/>
                </a:solidFill>
              </a:ln>
            </p:spPr>
            <p:txBody>
              <a:bodyPr vert="horz" wrap="square" lIns="68580" tIns="34290" rIns="68580" bIns="34290" numCol="1" anchor="t" anchorCtr="0" compatLnSpc="1">
                <a:prstTxWarp prst="textNoShape">
                  <a:avLst/>
                </a:prstTxWarp>
              </a:bodyPr>
              <a:lstStyle/>
              <a:p>
                <a:endParaRPr lang="en-US" sz="1350" dirty="0"/>
              </a:p>
            </p:txBody>
          </p:sp>
          <p:sp>
            <p:nvSpPr>
              <p:cNvPr id="19" name="Freeform 142">
                <a:extLst>
                  <a:ext uri="{FF2B5EF4-FFF2-40B4-BE49-F238E27FC236}">
                    <a16:creationId xmlns:a16="http://schemas.microsoft.com/office/drawing/2014/main" id="{526DA053-5194-D547-A556-A81DC954A00C}"/>
                  </a:ext>
                </a:extLst>
              </p:cNvPr>
              <p:cNvSpPr>
                <a:spLocks/>
              </p:cNvSpPr>
              <p:nvPr/>
            </p:nvSpPr>
            <p:spPr bwMode="auto">
              <a:xfrm>
                <a:off x="4914900" y="3233738"/>
                <a:ext cx="1525588" cy="1838325"/>
              </a:xfrm>
              <a:custGeom>
                <a:avLst/>
                <a:gdLst>
                  <a:gd name="T0" fmla="*/ 83 w 160"/>
                  <a:gd name="T1" fmla="*/ 1 h 193"/>
                  <a:gd name="T2" fmla="*/ 69 w 160"/>
                  <a:gd name="T3" fmla="*/ 0 h 193"/>
                  <a:gd name="T4" fmla="*/ 25 w 160"/>
                  <a:gd name="T5" fmla="*/ 11 h 193"/>
                  <a:gd name="T6" fmla="*/ 0 w 160"/>
                  <a:gd name="T7" fmla="*/ 28 h 193"/>
                  <a:gd name="T8" fmla="*/ 25 w 160"/>
                  <a:gd name="T9" fmla="*/ 18 h 193"/>
                  <a:gd name="T10" fmla="*/ 47 w 160"/>
                  <a:gd name="T11" fmla="*/ 24 h 193"/>
                  <a:gd name="T12" fmla="*/ 59 w 160"/>
                  <a:gd name="T13" fmla="*/ 37 h 193"/>
                  <a:gd name="T14" fmla="*/ 74 w 160"/>
                  <a:gd name="T15" fmla="*/ 59 h 193"/>
                  <a:gd name="T16" fmla="*/ 84 w 160"/>
                  <a:gd name="T17" fmla="*/ 103 h 193"/>
                  <a:gd name="T18" fmla="*/ 83 w 160"/>
                  <a:gd name="T19" fmla="*/ 115 h 193"/>
                  <a:gd name="T20" fmla="*/ 28 w 160"/>
                  <a:gd name="T21" fmla="*/ 193 h 193"/>
                  <a:gd name="T22" fmla="*/ 160 w 160"/>
                  <a:gd name="T23" fmla="*/ 58 h 193"/>
                  <a:gd name="T24" fmla="*/ 160 w 160"/>
                  <a:gd name="T25" fmla="*/ 58 h 193"/>
                  <a:gd name="T26" fmla="*/ 160 w 160"/>
                  <a:gd name="T27" fmla="*/ 58 h 193"/>
                  <a:gd name="T28" fmla="*/ 83 w 160"/>
                  <a:gd name="T29" fmla="*/ 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0" h="193">
                    <a:moveTo>
                      <a:pt x="83" y="1"/>
                    </a:moveTo>
                    <a:cubicBezTo>
                      <a:pt x="78" y="1"/>
                      <a:pt x="73" y="0"/>
                      <a:pt x="69" y="0"/>
                    </a:cubicBezTo>
                    <a:cubicBezTo>
                      <a:pt x="53" y="0"/>
                      <a:pt x="38" y="4"/>
                      <a:pt x="25" y="11"/>
                    </a:cubicBezTo>
                    <a:cubicBezTo>
                      <a:pt x="15" y="15"/>
                      <a:pt x="7" y="21"/>
                      <a:pt x="0" y="28"/>
                    </a:cubicBezTo>
                    <a:cubicBezTo>
                      <a:pt x="7" y="22"/>
                      <a:pt x="16" y="18"/>
                      <a:pt x="25" y="18"/>
                    </a:cubicBezTo>
                    <a:cubicBezTo>
                      <a:pt x="33" y="18"/>
                      <a:pt x="41" y="21"/>
                      <a:pt x="47" y="24"/>
                    </a:cubicBezTo>
                    <a:cubicBezTo>
                      <a:pt x="52" y="28"/>
                      <a:pt x="56" y="32"/>
                      <a:pt x="59" y="37"/>
                    </a:cubicBezTo>
                    <a:cubicBezTo>
                      <a:pt x="65" y="44"/>
                      <a:pt x="70" y="51"/>
                      <a:pt x="74" y="59"/>
                    </a:cubicBezTo>
                    <a:cubicBezTo>
                      <a:pt x="80" y="72"/>
                      <a:pt x="84" y="87"/>
                      <a:pt x="84" y="103"/>
                    </a:cubicBezTo>
                    <a:cubicBezTo>
                      <a:pt x="84" y="107"/>
                      <a:pt x="83" y="111"/>
                      <a:pt x="83" y="115"/>
                    </a:cubicBezTo>
                    <a:cubicBezTo>
                      <a:pt x="78" y="149"/>
                      <a:pt x="57" y="178"/>
                      <a:pt x="28" y="193"/>
                    </a:cubicBezTo>
                    <a:cubicBezTo>
                      <a:pt x="101" y="192"/>
                      <a:pt x="160" y="132"/>
                      <a:pt x="160" y="58"/>
                    </a:cubicBezTo>
                    <a:cubicBezTo>
                      <a:pt x="160" y="58"/>
                      <a:pt x="160" y="58"/>
                      <a:pt x="160" y="58"/>
                    </a:cubicBezTo>
                    <a:cubicBezTo>
                      <a:pt x="160" y="58"/>
                      <a:pt x="160" y="58"/>
                      <a:pt x="160" y="58"/>
                    </a:cubicBezTo>
                    <a:cubicBezTo>
                      <a:pt x="146" y="28"/>
                      <a:pt x="117" y="6"/>
                      <a:pt x="83" y="1"/>
                    </a:cubicBezTo>
                    <a:close/>
                  </a:path>
                </a:pathLst>
              </a:custGeom>
              <a:solidFill>
                <a:schemeClr val="accent3"/>
              </a:solidFill>
              <a:ln w="6350">
                <a:solidFill>
                  <a:schemeClr val="bg1"/>
                </a:solidFill>
              </a:ln>
            </p:spPr>
            <p:txBody>
              <a:bodyPr vert="horz" wrap="square" lIns="68580" tIns="34290" rIns="68580" bIns="34290" numCol="1" anchor="t" anchorCtr="0" compatLnSpc="1">
                <a:prstTxWarp prst="textNoShape">
                  <a:avLst/>
                </a:prstTxWarp>
              </a:bodyPr>
              <a:lstStyle/>
              <a:p>
                <a:endParaRPr lang="en-US" sz="1350" dirty="0"/>
              </a:p>
            </p:txBody>
          </p:sp>
          <p:sp>
            <p:nvSpPr>
              <p:cNvPr id="20" name="Freeform 144">
                <a:extLst>
                  <a:ext uri="{FF2B5EF4-FFF2-40B4-BE49-F238E27FC236}">
                    <a16:creationId xmlns:a16="http://schemas.microsoft.com/office/drawing/2014/main" id="{BC42B3F3-53C0-9F4A-8281-FCBD3D931F36}"/>
                  </a:ext>
                </a:extLst>
              </p:cNvPr>
              <p:cNvSpPr>
                <a:spLocks/>
              </p:cNvSpPr>
              <p:nvPr/>
            </p:nvSpPr>
            <p:spPr bwMode="auto">
              <a:xfrm>
                <a:off x="4600575" y="2509838"/>
                <a:ext cx="1839913" cy="1495425"/>
              </a:xfrm>
              <a:custGeom>
                <a:avLst/>
                <a:gdLst>
                  <a:gd name="T0" fmla="*/ 58 w 193"/>
                  <a:gd name="T1" fmla="*/ 0 h 157"/>
                  <a:gd name="T2" fmla="*/ 58 w 193"/>
                  <a:gd name="T3" fmla="*/ 0 h 157"/>
                  <a:gd name="T4" fmla="*/ 58 w 193"/>
                  <a:gd name="T5" fmla="*/ 0 h 157"/>
                  <a:gd name="T6" fmla="*/ 1 w 193"/>
                  <a:gd name="T7" fmla="*/ 78 h 157"/>
                  <a:gd name="T8" fmla="*/ 0 w 193"/>
                  <a:gd name="T9" fmla="*/ 91 h 157"/>
                  <a:gd name="T10" fmla="*/ 10 w 193"/>
                  <a:gd name="T11" fmla="*/ 134 h 157"/>
                  <a:gd name="T12" fmla="*/ 24 w 193"/>
                  <a:gd name="T13" fmla="*/ 157 h 157"/>
                  <a:gd name="T14" fmla="*/ 18 w 193"/>
                  <a:gd name="T15" fmla="*/ 135 h 157"/>
                  <a:gd name="T16" fmla="*/ 27 w 193"/>
                  <a:gd name="T17" fmla="*/ 109 h 157"/>
                  <a:gd name="T18" fmla="*/ 33 w 193"/>
                  <a:gd name="T19" fmla="*/ 104 h 157"/>
                  <a:gd name="T20" fmla="*/ 58 w 193"/>
                  <a:gd name="T21" fmla="*/ 87 h 157"/>
                  <a:gd name="T22" fmla="*/ 102 w 193"/>
                  <a:gd name="T23" fmla="*/ 76 h 157"/>
                  <a:gd name="T24" fmla="*/ 116 w 193"/>
                  <a:gd name="T25" fmla="*/ 77 h 157"/>
                  <a:gd name="T26" fmla="*/ 193 w 193"/>
                  <a:gd name="T27" fmla="*/ 134 h 157"/>
                  <a:gd name="T28" fmla="*/ 58 w 193"/>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3" h="157">
                    <a:moveTo>
                      <a:pt x="58" y="0"/>
                    </a:moveTo>
                    <a:cubicBezTo>
                      <a:pt x="58" y="0"/>
                      <a:pt x="58" y="0"/>
                      <a:pt x="58" y="0"/>
                    </a:cubicBezTo>
                    <a:cubicBezTo>
                      <a:pt x="58" y="0"/>
                      <a:pt x="58" y="0"/>
                      <a:pt x="58" y="0"/>
                    </a:cubicBezTo>
                    <a:cubicBezTo>
                      <a:pt x="27" y="14"/>
                      <a:pt x="5" y="44"/>
                      <a:pt x="1" y="78"/>
                    </a:cubicBezTo>
                    <a:cubicBezTo>
                      <a:pt x="1" y="82"/>
                      <a:pt x="0" y="87"/>
                      <a:pt x="0" y="91"/>
                    </a:cubicBezTo>
                    <a:cubicBezTo>
                      <a:pt x="0" y="107"/>
                      <a:pt x="4" y="121"/>
                      <a:pt x="10" y="134"/>
                    </a:cubicBezTo>
                    <a:cubicBezTo>
                      <a:pt x="14" y="142"/>
                      <a:pt x="19" y="150"/>
                      <a:pt x="24" y="157"/>
                    </a:cubicBezTo>
                    <a:cubicBezTo>
                      <a:pt x="20" y="150"/>
                      <a:pt x="18" y="143"/>
                      <a:pt x="18" y="135"/>
                    </a:cubicBezTo>
                    <a:cubicBezTo>
                      <a:pt x="18" y="125"/>
                      <a:pt x="21" y="116"/>
                      <a:pt x="27" y="109"/>
                    </a:cubicBezTo>
                    <a:cubicBezTo>
                      <a:pt x="29" y="107"/>
                      <a:pt x="31" y="105"/>
                      <a:pt x="33" y="104"/>
                    </a:cubicBezTo>
                    <a:cubicBezTo>
                      <a:pt x="40" y="97"/>
                      <a:pt x="48" y="91"/>
                      <a:pt x="58" y="87"/>
                    </a:cubicBezTo>
                    <a:cubicBezTo>
                      <a:pt x="71" y="80"/>
                      <a:pt x="86" y="76"/>
                      <a:pt x="102" y="76"/>
                    </a:cubicBezTo>
                    <a:cubicBezTo>
                      <a:pt x="106" y="76"/>
                      <a:pt x="111" y="77"/>
                      <a:pt x="116" y="77"/>
                    </a:cubicBezTo>
                    <a:cubicBezTo>
                      <a:pt x="150" y="82"/>
                      <a:pt x="179" y="104"/>
                      <a:pt x="193" y="134"/>
                    </a:cubicBezTo>
                    <a:cubicBezTo>
                      <a:pt x="193" y="60"/>
                      <a:pt x="133" y="0"/>
                      <a:pt x="58" y="0"/>
                    </a:cubicBezTo>
                    <a:close/>
                  </a:path>
                </a:pathLst>
              </a:custGeom>
              <a:solidFill>
                <a:schemeClr val="accent2"/>
              </a:solidFill>
              <a:ln w="6350">
                <a:solidFill>
                  <a:schemeClr val="bg1"/>
                </a:solidFill>
              </a:ln>
            </p:spPr>
            <p:txBody>
              <a:bodyPr vert="horz" wrap="square" lIns="68580" tIns="34290" rIns="68580" bIns="34290" numCol="1" anchor="t" anchorCtr="0" compatLnSpc="1">
                <a:prstTxWarp prst="textNoShape">
                  <a:avLst/>
                </a:prstTxWarp>
              </a:bodyPr>
              <a:lstStyle/>
              <a:p>
                <a:endParaRPr lang="en-US" sz="1350" dirty="0"/>
              </a:p>
            </p:txBody>
          </p:sp>
        </p:grpSp>
        <p:sp>
          <p:nvSpPr>
            <p:cNvPr id="21" name="Isosceles Triangle 31">
              <a:extLst>
                <a:ext uri="{FF2B5EF4-FFF2-40B4-BE49-F238E27FC236}">
                  <a16:creationId xmlns:a16="http://schemas.microsoft.com/office/drawing/2014/main" id="{18F122E1-67CD-2341-8576-E8AA23DB9C5D}"/>
                </a:ext>
              </a:extLst>
            </p:cNvPr>
            <p:cNvSpPr/>
            <p:nvPr/>
          </p:nvSpPr>
          <p:spPr bwMode="gray">
            <a:xfrm rot="5400000">
              <a:off x="6869387" y="2618473"/>
              <a:ext cx="774648" cy="1356358"/>
            </a:xfrm>
            <a:prstGeom prst="triangle">
              <a:avLst/>
            </a:prstGeom>
            <a:solidFill>
              <a:schemeClr val="bg2"/>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22" name="Freeform 106">
              <a:extLst>
                <a:ext uri="{FF2B5EF4-FFF2-40B4-BE49-F238E27FC236}">
                  <a16:creationId xmlns:a16="http://schemas.microsoft.com/office/drawing/2014/main" id="{62279D8E-D318-1847-ACCF-11A36E3DA7D7}"/>
                </a:ext>
              </a:extLst>
            </p:cNvPr>
            <p:cNvSpPr>
              <a:spLocks noChangeAspect="1" noEditPoints="1"/>
            </p:cNvSpPr>
            <p:nvPr/>
          </p:nvSpPr>
          <p:spPr bwMode="auto">
            <a:xfrm>
              <a:off x="8494843" y="2801395"/>
              <a:ext cx="490820" cy="425086"/>
            </a:xfrm>
            <a:custGeom>
              <a:avLst/>
              <a:gdLst>
                <a:gd name="T0" fmla="*/ 203 w 212"/>
                <a:gd name="T1" fmla="*/ 154 h 183"/>
                <a:gd name="T2" fmla="*/ 123 w 212"/>
                <a:gd name="T3" fmla="*/ 16 h 183"/>
                <a:gd name="T4" fmla="*/ 89 w 212"/>
                <a:gd name="T5" fmla="*/ 16 h 183"/>
                <a:gd name="T6" fmla="*/ 9 w 212"/>
                <a:gd name="T7" fmla="*/ 154 h 183"/>
                <a:gd name="T8" fmla="*/ 26 w 212"/>
                <a:gd name="T9" fmla="*/ 183 h 183"/>
                <a:gd name="T10" fmla="*/ 186 w 212"/>
                <a:gd name="T11" fmla="*/ 183 h 183"/>
                <a:gd name="T12" fmla="*/ 203 w 212"/>
                <a:gd name="T13" fmla="*/ 154 h 183"/>
                <a:gd name="T14" fmla="*/ 116 w 212"/>
                <a:gd name="T15" fmla="*/ 157 h 183"/>
                <a:gd name="T16" fmla="*/ 96 w 212"/>
                <a:gd name="T17" fmla="*/ 157 h 183"/>
                <a:gd name="T18" fmla="*/ 96 w 212"/>
                <a:gd name="T19" fmla="*/ 138 h 183"/>
                <a:gd name="T20" fmla="*/ 116 w 212"/>
                <a:gd name="T21" fmla="*/ 138 h 183"/>
                <a:gd name="T22" fmla="*/ 116 w 212"/>
                <a:gd name="T23" fmla="*/ 157 h 183"/>
                <a:gd name="T24" fmla="*/ 114 w 212"/>
                <a:gd name="T25" fmla="*/ 127 h 183"/>
                <a:gd name="T26" fmla="*/ 98 w 212"/>
                <a:gd name="T27" fmla="*/ 127 h 183"/>
                <a:gd name="T28" fmla="*/ 94 w 212"/>
                <a:gd name="T29" fmla="*/ 55 h 183"/>
                <a:gd name="T30" fmla="*/ 118 w 212"/>
                <a:gd name="T31" fmla="*/ 55 h 183"/>
                <a:gd name="T32" fmla="*/ 114 w 212"/>
                <a:gd name="T33" fmla="*/ 12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183">
                  <a:moveTo>
                    <a:pt x="203" y="154"/>
                  </a:moveTo>
                  <a:cubicBezTo>
                    <a:pt x="123" y="16"/>
                    <a:pt x="123" y="16"/>
                    <a:pt x="123" y="16"/>
                  </a:cubicBezTo>
                  <a:cubicBezTo>
                    <a:pt x="114" y="0"/>
                    <a:pt x="99" y="0"/>
                    <a:pt x="89" y="16"/>
                  </a:cubicBezTo>
                  <a:cubicBezTo>
                    <a:pt x="9" y="154"/>
                    <a:pt x="9" y="154"/>
                    <a:pt x="9" y="154"/>
                  </a:cubicBezTo>
                  <a:cubicBezTo>
                    <a:pt x="0" y="170"/>
                    <a:pt x="8" y="183"/>
                    <a:pt x="26" y="183"/>
                  </a:cubicBezTo>
                  <a:cubicBezTo>
                    <a:pt x="186" y="183"/>
                    <a:pt x="186" y="183"/>
                    <a:pt x="186" y="183"/>
                  </a:cubicBezTo>
                  <a:cubicBezTo>
                    <a:pt x="205" y="183"/>
                    <a:pt x="212" y="170"/>
                    <a:pt x="203" y="154"/>
                  </a:cubicBezTo>
                  <a:close/>
                  <a:moveTo>
                    <a:pt x="116" y="157"/>
                  </a:moveTo>
                  <a:cubicBezTo>
                    <a:pt x="96" y="157"/>
                    <a:pt x="96" y="157"/>
                    <a:pt x="96" y="157"/>
                  </a:cubicBezTo>
                  <a:cubicBezTo>
                    <a:pt x="96" y="138"/>
                    <a:pt x="96" y="138"/>
                    <a:pt x="96" y="138"/>
                  </a:cubicBezTo>
                  <a:cubicBezTo>
                    <a:pt x="116" y="138"/>
                    <a:pt x="116" y="138"/>
                    <a:pt x="116" y="138"/>
                  </a:cubicBezTo>
                  <a:lnTo>
                    <a:pt x="116" y="157"/>
                  </a:lnTo>
                  <a:close/>
                  <a:moveTo>
                    <a:pt x="114" y="127"/>
                  </a:moveTo>
                  <a:cubicBezTo>
                    <a:pt x="98" y="127"/>
                    <a:pt x="98" y="127"/>
                    <a:pt x="98" y="127"/>
                  </a:cubicBezTo>
                  <a:cubicBezTo>
                    <a:pt x="94" y="55"/>
                    <a:pt x="94" y="55"/>
                    <a:pt x="94" y="55"/>
                  </a:cubicBezTo>
                  <a:cubicBezTo>
                    <a:pt x="118" y="55"/>
                    <a:pt x="118" y="55"/>
                    <a:pt x="118" y="55"/>
                  </a:cubicBezTo>
                  <a:lnTo>
                    <a:pt x="114" y="127"/>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23" name="Oval 22">
              <a:extLst>
                <a:ext uri="{FF2B5EF4-FFF2-40B4-BE49-F238E27FC236}">
                  <a16:creationId xmlns:a16="http://schemas.microsoft.com/office/drawing/2014/main" id="{D48440CB-E52F-A641-8168-463DF43D7750}"/>
                </a:ext>
              </a:extLst>
            </p:cNvPr>
            <p:cNvSpPr/>
            <p:nvPr/>
          </p:nvSpPr>
          <p:spPr bwMode="gray">
            <a:xfrm>
              <a:off x="4089428" y="2905849"/>
              <a:ext cx="837869" cy="837869"/>
            </a:xfrm>
            <a:prstGeom prst="ellips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24" name="Left Bracket 23">
              <a:extLst>
                <a:ext uri="{FF2B5EF4-FFF2-40B4-BE49-F238E27FC236}">
                  <a16:creationId xmlns:a16="http://schemas.microsoft.com/office/drawing/2014/main" id="{DCF4639D-1084-E14B-A94E-E840194861A9}"/>
                </a:ext>
              </a:extLst>
            </p:cNvPr>
            <p:cNvSpPr/>
            <p:nvPr/>
          </p:nvSpPr>
          <p:spPr>
            <a:xfrm>
              <a:off x="8098589" y="2743393"/>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25" name="Left Bracket 24">
              <a:extLst>
                <a:ext uri="{FF2B5EF4-FFF2-40B4-BE49-F238E27FC236}">
                  <a16:creationId xmlns:a16="http://schemas.microsoft.com/office/drawing/2014/main" id="{90B23007-DA15-024B-AC9B-BC1FC711B444}"/>
                </a:ext>
              </a:extLst>
            </p:cNvPr>
            <p:cNvSpPr/>
            <p:nvPr/>
          </p:nvSpPr>
          <p:spPr>
            <a:xfrm flipH="1">
              <a:off x="9225746" y="2743393"/>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26" name="TextBox 25">
              <a:extLst>
                <a:ext uri="{FF2B5EF4-FFF2-40B4-BE49-F238E27FC236}">
                  <a16:creationId xmlns:a16="http://schemas.microsoft.com/office/drawing/2014/main" id="{2E08552B-BBED-5844-9A8C-F3FED16C245B}"/>
                </a:ext>
              </a:extLst>
            </p:cNvPr>
            <p:cNvSpPr txBox="1"/>
            <p:nvPr/>
          </p:nvSpPr>
          <p:spPr>
            <a:xfrm>
              <a:off x="8284601" y="3386913"/>
              <a:ext cx="703403" cy="184835"/>
            </a:xfrm>
            <a:prstGeom prst="rect">
              <a:avLst/>
            </a:prstGeom>
            <a:noFill/>
          </p:spPr>
          <p:txBody>
            <a:bodyPr wrap="none" lIns="0" tIns="0" rIns="0" bIns="0" rtlCol="0">
              <a:spAutoFit/>
            </a:bodyPr>
            <a:lstStyle/>
            <a:p>
              <a:pP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grpSp>
      <p:grpSp>
        <p:nvGrpSpPr>
          <p:cNvPr id="27" name="Group 26"/>
          <p:cNvGrpSpPr/>
          <p:nvPr/>
        </p:nvGrpSpPr>
        <p:grpSpPr>
          <a:xfrm>
            <a:off x="3188204" y="2676524"/>
            <a:ext cx="4776454" cy="1887283"/>
            <a:chOff x="1982474" y="1803654"/>
            <a:chExt cx="8227055" cy="3250692"/>
          </a:xfrm>
        </p:grpSpPr>
        <p:sp>
          <p:nvSpPr>
            <p:cNvPr id="28" name="Isosceles Triangle 15">
              <a:extLst>
                <a:ext uri="{FF2B5EF4-FFF2-40B4-BE49-F238E27FC236}">
                  <a16:creationId xmlns:a16="http://schemas.microsoft.com/office/drawing/2014/main" id="{68ECDCC5-E7B0-8141-B911-F24984CDE287}"/>
                </a:ext>
              </a:extLst>
            </p:cNvPr>
            <p:cNvSpPr/>
            <p:nvPr/>
          </p:nvSpPr>
          <p:spPr bwMode="gray">
            <a:xfrm rot="5400000">
              <a:off x="4390605" y="678853"/>
              <a:ext cx="3247095" cy="5496698"/>
            </a:xfrm>
            <a:prstGeom prst="triangl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29" name="Isosceles Triangle 11">
              <a:extLst>
                <a:ext uri="{FF2B5EF4-FFF2-40B4-BE49-F238E27FC236}">
                  <a16:creationId xmlns:a16="http://schemas.microsoft.com/office/drawing/2014/main" id="{86875097-DFE8-7D49-BB49-0C8BECF60B7C}"/>
                </a:ext>
              </a:extLst>
            </p:cNvPr>
            <p:cNvSpPr/>
            <p:nvPr/>
          </p:nvSpPr>
          <p:spPr bwMode="gray">
            <a:xfrm rot="5400000">
              <a:off x="7696997" y="2749021"/>
              <a:ext cx="774648" cy="1356358"/>
            </a:xfrm>
            <a:prstGeom prst="triangle">
              <a:avLst/>
            </a:prstGeom>
            <a:solidFill>
              <a:schemeClr val="bg2"/>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30" name="Rectangle 36">
              <a:extLst>
                <a:ext uri="{FF2B5EF4-FFF2-40B4-BE49-F238E27FC236}">
                  <a16:creationId xmlns:a16="http://schemas.microsoft.com/office/drawing/2014/main" id="{69807AC7-6558-B04B-B6C0-D1DE9DE19BA1}"/>
                </a:ext>
              </a:extLst>
            </p:cNvPr>
            <p:cNvSpPr>
              <a:spLocks noChangeArrowheads="1"/>
            </p:cNvSpPr>
            <p:nvPr/>
          </p:nvSpPr>
          <p:spPr bwMode="blackWhite">
            <a:xfrm>
              <a:off x="7548133" y="3327802"/>
              <a:ext cx="756526" cy="198795"/>
            </a:xfrm>
            <a:prstGeom prst="rect">
              <a:avLst/>
            </a:prstGeom>
            <a:noFill/>
            <a:ln w="12700">
              <a:noFill/>
              <a:miter lim="800000"/>
              <a:headEnd/>
              <a:tailEnd/>
            </a:ln>
          </p:spPr>
          <p:txBody>
            <a:bodyPr wrap="none" lIns="0" tIns="0" rIns="0" bIns="0" anchor="ctr" anchorCtr="1">
              <a:spAutoFit/>
            </a:bodyPr>
            <a:lstStyle/>
            <a:p>
              <a:pPr algn="ctr" defTabSz="590550">
                <a:buClr>
                  <a:schemeClr val="tx1"/>
                </a:buClr>
              </a:pPr>
              <a:r>
                <a:rPr lang="en-US" sz="750" b="1" dirty="0">
                  <a:solidFill>
                    <a:schemeClr val="bg1"/>
                  </a:solidFill>
                </a:rPr>
                <a:t>Lorem </a:t>
              </a:r>
              <a:r>
                <a:rPr lang="en-US" sz="750" b="1" dirty="0" err="1">
                  <a:solidFill>
                    <a:schemeClr val="bg1"/>
                  </a:solidFill>
                </a:rPr>
                <a:t>ipsu</a:t>
              </a:r>
              <a:endParaRPr lang="en-US" sz="750" b="1" dirty="0">
                <a:solidFill>
                  <a:schemeClr val="bg1"/>
                </a:solidFill>
              </a:endParaRPr>
            </a:p>
          </p:txBody>
        </p:sp>
        <p:sp>
          <p:nvSpPr>
            <p:cNvPr id="31" name="Left Bracket 30">
              <a:extLst>
                <a:ext uri="{FF2B5EF4-FFF2-40B4-BE49-F238E27FC236}">
                  <a16:creationId xmlns:a16="http://schemas.microsoft.com/office/drawing/2014/main" id="{D4F86A69-4680-CE44-8AF0-2D2D4FCE9154}"/>
                </a:ext>
              </a:extLst>
            </p:cNvPr>
            <p:cNvSpPr/>
            <p:nvPr/>
          </p:nvSpPr>
          <p:spPr>
            <a:xfrm>
              <a:off x="8926199" y="2873941"/>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2" name="Left Bracket 31">
              <a:extLst>
                <a:ext uri="{FF2B5EF4-FFF2-40B4-BE49-F238E27FC236}">
                  <a16:creationId xmlns:a16="http://schemas.microsoft.com/office/drawing/2014/main" id="{1FB7C16A-18C5-A84B-8860-52D4585CEA65}"/>
                </a:ext>
              </a:extLst>
            </p:cNvPr>
            <p:cNvSpPr/>
            <p:nvPr/>
          </p:nvSpPr>
          <p:spPr>
            <a:xfrm flipH="1">
              <a:off x="10053356" y="2873941"/>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3" name="TextBox 32">
              <a:extLst>
                <a:ext uri="{FF2B5EF4-FFF2-40B4-BE49-F238E27FC236}">
                  <a16:creationId xmlns:a16="http://schemas.microsoft.com/office/drawing/2014/main" id="{963B0C74-8E1D-384D-AC45-F1F0A6EB519B}"/>
                </a:ext>
              </a:extLst>
            </p:cNvPr>
            <p:cNvSpPr txBox="1"/>
            <p:nvPr/>
          </p:nvSpPr>
          <p:spPr>
            <a:xfrm>
              <a:off x="9238893" y="3517461"/>
              <a:ext cx="756526" cy="198795"/>
            </a:xfrm>
            <a:prstGeom prst="rect">
              <a:avLst/>
            </a:prstGeom>
            <a:noFill/>
          </p:spPr>
          <p:txBody>
            <a:bodyPr wrap="none" lIns="0" tIns="0" rIns="0" bIns="0" rtlCol="0">
              <a:spAutoFit/>
            </a:bodyPr>
            <a:lstStyle/>
            <a:p>
              <a:pPr algn="ct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sp>
          <p:nvSpPr>
            <p:cNvPr id="34" name="Left Bracket 33">
              <a:extLst>
                <a:ext uri="{FF2B5EF4-FFF2-40B4-BE49-F238E27FC236}">
                  <a16:creationId xmlns:a16="http://schemas.microsoft.com/office/drawing/2014/main" id="{F2715220-73B7-EC42-BED3-F574C871AD83}"/>
                </a:ext>
              </a:extLst>
            </p:cNvPr>
            <p:cNvSpPr/>
            <p:nvPr/>
          </p:nvSpPr>
          <p:spPr>
            <a:xfrm>
              <a:off x="1982474" y="1803654"/>
              <a:ext cx="156173" cy="3250692"/>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5" name="Left Bracket 34">
              <a:extLst>
                <a:ext uri="{FF2B5EF4-FFF2-40B4-BE49-F238E27FC236}">
                  <a16:creationId xmlns:a16="http://schemas.microsoft.com/office/drawing/2014/main" id="{A5659A47-7298-724F-A9E3-34F9F2B9626C}"/>
                </a:ext>
              </a:extLst>
            </p:cNvPr>
            <p:cNvSpPr/>
            <p:nvPr/>
          </p:nvSpPr>
          <p:spPr>
            <a:xfrm flipH="1">
              <a:off x="3109631" y="1803654"/>
              <a:ext cx="156173" cy="3250692"/>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6" name="Freeform 106">
              <a:extLst>
                <a:ext uri="{FF2B5EF4-FFF2-40B4-BE49-F238E27FC236}">
                  <a16:creationId xmlns:a16="http://schemas.microsoft.com/office/drawing/2014/main" id="{3E06F9CB-6FB6-694B-886A-B5B2200F475E}"/>
                </a:ext>
              </a:extLst>
            </p:cNvPr>
            <p:cNvSpPr>
              <a:spLocks noChangeAspect="1" noEditPoints="1"/>
            </p:cNvSpPr>
            <p:nvPr/>
          </p:nvSpPr>
          <p:spPr bwMode="auto">
            <a:xfrm>
              <a:off x="2378728" y="2930896"/>
              <a:ext cx="490820" cy="425086"/>
            </a:xfrm>
            <a:custGeom>
              <a:avLst/>
              <a:gdLst>
                <a:gd name="T0" fmla="*/ 203 w 212"/>
                <a:gd name="T1" fmla="*/ 154 h 183"/>
                <a:gd name="T2" fmla="*/ 123 w 212"/>
                <a:gd name="T3" fmla="*/ 16 h 183"/>
                <a:gd name="T4" fmla="*/ 89 w 212"/>
                <a:gd name="T5" fmla="*/ 16 h 183"/>
                <a:gd name="T6" fmla="*/ 9 w 212"/>
                <a:gd name="T7" fmla="*/ 154 h 183"/>
                <a:gd name="T8" fmla="*/ 26 w 212"/>
                <a:gd name="T9" fmla="*/ 183 h 183"/>
                <a:gd name="T10" fmla="*/ 186 w 212"/>
                <a:gd name="T11" fmla="*/ 183 h 183"/>
                <a:gd name="T12" fmla="*/ 203 w 212"/>
                <a:gd name="T13" fmla="*/ 154 h 183"/>
                <a:gd name="T14" fmla="*/ 116 w 212"/>
                <a:gd name="T15" fmla="*/ 157 h 183"/>
                <a:gd name="T16" fmla="*/ 96 w 212"/>
                <a:gd name="T17" fmla="*/ 157 h 183"/>
                <a:gd name="T18" fmla="*/ 96 w 212"/>
                <a:gd name="T19" fmla="*/ 138 h 183"/>
                <a:gd name="T20" fmla="*/ 116 w 212"/>
                <a:gd name="T21" fmla="*/ 138 h 183"/>
                <a:gd name="T22" fmla="*/ 116 w 212"/>
                <a:gd name="T23" fmla="*/ 157 h 183"/>
                <a:gd name="T24" fmla="*/ 114 w 212"/>
                <a:gd name="T25" fmla="*/ 127 h 183"/>
                <a:gd name="T26" fmla="*/ 98 w 212"/>
                <a:gd name="T27" fmla="*/ 127 h 183"/>
                <a:gd name="T28" fmla="*/ 94 w 212"/>
                <a:gd name="T29" fmla="*/ 55 h 183"/>
                <a:gd name="T30" fmla="*/ 118 w 212"/>
                <a:gd name="T31" fmla="*/ 55 h 183"/>
                <a:gd name="T32" fmla="*/ 114 w 212"/>
                <a:gd name="T33" fmla="*/ 12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183">
                  <a:moveTo>
                    <a:pt x="203" y="154"/>
                  </a:moveTo>
                  <a:cubicBezTo>
                    <a:pt x="123" y="16"/>
                    <a:pt x="123" y="16"/>
                    <a:pt x="123" y="16"/>
                  </a:cubicBezTo>
                  <a:cubicBezTo>
                    <a:pt x="114" y="0"/>
                    <a:pt x="99" y="0"/>
                    <a:pt x="89" y="16"/>
                  </a:cubicBezTo>
                  <a:cubicBezTo>
                    <a:pt x="9" y="154"/>
                    <a:pt x="9" y="154"/>
                    <a:pt x="9" y="154"/>
                  </a:cubicBezTo>
                  <a:cubicBezTo>
                    <a:pt x="0" y="170"/>
                    <a:pt x="8" y="183"/>
                    <a:pt x="26" y="183"/>
                  </a:cubicBezTo>
                  <a:cubicBezTo>
                    <a:pt x="186" y="183"/>
                    <a:pt x="186" y="183"/>
                    <a:pt x="186" y="183"/>
                  </a:cubicBezTo>
                  <a:cubicBezTo>
                    <a:pt x="205" y="183"/>
                    <a:pt x="212" y="170"/>
                    <a:pt x="203" y="154"/>
                  </a:cubicBezTo>
                  <a:close/>
                  <a:moveTo>
                    <a:pt x="116" y="157"/>
                  </a:moveTo>
                  <a:cubicBezTo>
                    <a:pt x="96" y="157"/>
                    <a:pt x="96" y="157"/>
                    <a:pt x="96" y="157"/>
                  </a:cubicBezTo>
                  <a:cubicBezTo>
                    <a:pt x="96" y="138"/>
                    <a:pt x="96" y="138"/>
                    <a:pt x="96" y="138"/>
                  </a:cubicBezTo>
                  <a:cubicBezTo>
                    <a:pt x="116" y="138"/>
                    <a:pt x="116" y="138"/>
                    <a:pt x="116" y="138"/>
                  </a:cubicBezTo>
                  <a:lnTo>
                    <a:pt x="116" y="157"/>
                  </a:lnTo>
                  <a:close/>
                  <a:moveTo>
                    <a:pt x="114" y="127"/>
                  </a:moveTo>
                  <a:cubicBezTo>
                    <a:pt x="98" y="127"/>
                    <a:pt x="98" y="127"/>
                    <a:pt x="98" y="127"/>
                  </a:cubicBezTo>
                  <a:cubicBezTo>
                    <a:pt x="94" y="55"/>
                    <a:pt x="94" y="55"/>
                    <a:pt x="94" y="55"/>
                  </a:cubicBezTo>
                  <a:cubicBezTo>
                    <a:pt x="118" y="55"/>
                    <a:pt x="118" y="55"/>
                    <a:pt x="118" y="55"/>
                  </a:cubicBezTo>
                  <a:lnTo>
                    <a:pt x="114" y="127"/>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37" name="TextBox 36">
              <a:extLst>
                <a:ext uri="{FF2B5EF4-FFF2-40B4-BE49-F238E27FC236}">
                  <a16:creationId xmlns:a16="http://schemas.microsoft.com/office/drawing/2014/main" id="{C944E065-628C-C546-A23C-F77267FCD6A4}"/>
                </a:ext>
              </a:extLst>
            </p:cNvPr>
            <p:cNvSpPr txBox="1"/>
            <p:nvPr/>
          </p:nvSpPr>
          <p:spPr>
            <a:xfrm>
              <a:off x="2168485" y="3517461"/>
              <a:ext cx="756526" cy="198795"/>
            </a:xfrm>
            <a:prstGeom prst="rect">
              <a:avLst/>
            </a:prstGeom>
            <a:noFill/>
          </p:spPr>
          <p:txBody>
            <a:bodyPr wrap="none" lIns="0" tIns="0" rIns="0" bIns="0" rtlCol="0">
              <a:spAutoFit/>
            </a:bodyPr>
            <a:lstStyle/>
            <a:p>
              <a:pP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grpSp>
          <p:nvGrpSpPr>
            <p:cNvPr id="38" name="Group 37">
              <a:extLst>
                <a:ext uri="{FF2B5EF4-FFF2-40B4-BE49-F238E27FC236}">
                  <a16:creationId xmlns:a16="http://schemas.microsoft.com/office/drawing/2014/main" id="{31C2DCBB-386E-6E41-AF21-B2DC3CCCB64D}"/>
                </a:ext>
              </a:extLst>
            </p:cNvPr>
            <p:cNvGrpSpPr/>
            <p:nvPr/>
          </p:nvGrpSpPr>
          <p:grpSpPr>
            <a:xfrm>
              <a:off x="9355813" y="2991334"/>
              <a:ext cx="522684" cy="363606"/>
              <a:chOff x="7823201" y="1574800"/>
              <a:chExt cx="255588" cy="177800"/>
            </a:xfrm>
          </p:grpSpPr>
          <p:sp>
            <p:nvSpPr>
              <p:cNvPr id="45" name="Freeform 5">
                <a:extLst>
                  <a:ext uri="{FF2B5EF4-FFF2-40B4-BE49-F238E27FC236}">
                    <a16:creationId xmlns:a16="http://schemas.microsoft.com/office/drawing/2014/main" id="{EB7E40B6-B76A-A549-8DFB-F5B2AF661A3B}"/>
                  </a:ext>
                </a:extLst>
              </p:cNvPr>
              <p:cNvSpPr>
                <a:spLocks noEditPoints="1"/>
              </p:cNvSpPr>
              <p:nvPr/>
            </p:nvSpPr>
            <p:spPr bwMode="auto">
              <a:xfrm>
                <a:off x="7823201" y="1574800"/>
                <a:ext cx="255588" cy="177800"/>
              </a:xfrm>
              <a:custGeom>
                <a:avLst/>
                <a:gdLst>
                  <a:gd name="T0" fmla="*/ 121 w 601"/>
                  <a:gd name="T1" fmla="*/ 411 h 422"/>
                  <a:gd name="T2" fmla="*/ 121 w 601"/>
                  <a:gd name="T3" fmla="*/ 411 h 422"/>
                  <a:gd name="T4" fmla="*/ 11 w 601"/>
                  <a:gd name="T5" fmla="*/ 301 h 422"/>
                  <a:gd name="T6" fmla="*/ 16 w 601"/>
                  <a:gd name="T7" fmla="*/ 270 h 422"/>
                  <a:gd name="T8" fmla="*/ 121 w 601"/>
                  <a:gd name="T9" fmla="*/ 191 h 422"/>
                  <a:gd name="T10" fmla="*/ 223 w 601"/>
                  <a:gd name="T11" fmla="*/ 261 h 422"/>
                  <a:gd name="T12" fmla="*/ 231 w 601"/>
                  <a:gd name="T13" fmla="*/ 301 h 422"/>
                  <a:gd name="T14" fmla="*/ 121 w 601"/>
                  <a:gd name="T15" fmla="*/ 411 h 422"/>
                  <a:gd name="T16" fmla="*/ 344 w 601"/>
                  <a:gd name="T17" fmla="*/ 257 h 422"/>
                  <a:gd name="T18" fmla="*/ 344 w 601"/>
                  <a:gd name="T19" fmla="*/ 257 h 422"/>
                  <a:gd name="T20" fmla="*/ 302 w 601"/>
                  <a:gd name="T21" fmla="*/ 286 h 422"/>
                  <a:gd name="T22" fmla="*/ 262 w 601"/>
                  <a:gd name="T23" fmla="*/ 260 h 422"/>
                  <a:gd name="T24" fmla="*/ 258 w 601"/>
                  <a:gd name="T25" fmla="*/ 242 h 422"/>
                  <a:gd name="T26" fmla="*/ 302 w 601"/>
                  <a:gd name="T27" fmla="*/ 199 h 422"/>
                  <a:gd name="T28" fmla="*/ 346 w 601"/>
                  <a:gd name="T29" fmla="*/ 242 h 422"/>
                  <a:gd name="T30" fmla="*/ 344 w 601"/>
                  <a:gd name="T31" fmla="*/ 257 h 422"/>
                  <a:gd name="T32" fmla="*/ 481 w 601"/>
                  <a:gd name="T33" fmla="*/ 411 h 422"/>
                  <a:gd name="T34" fmla="*/ 481 w 601"/>
                  <a:gd name="T35" fmla="*/ 411 h 422"/>
                  <a:gd name="T36" fmla="*/ 371 w 601"/>
                  <a:gd name="T37" fmla="*/ 301 h 422"/>
                  <a:gd name="T38" fmla="*/ 381 w 601"/>
                  <a:gd name="T39" fmla="*/ 255 h 422"/>
                  <a:gd name="T40" fmla="*/ 481 w 601"/>
                  <a:gd name="T41" fmla="*/ 191 h 422"/>
                  <a:gd name="T42" fmla="*/ 576 w 601"/>
                  <a:gd name="T43" fmla="*/ 247 h 422"/>
                  <a:gd name="T44" fmla="*/ 591 w 601"/>
                  <a:gd name="T45" fmla="*/ 301 h 422"/>
                  <a:gd name="T46" fmla="*/ 481 w 601"/>
                  <a:gd name="T47" fmla="*/ 411 h 422"/>
                  <a:gd name="T48" fmla="*/ 579 w 601"/>
                  <a:gd name="T49" fmla="*/ 231 h 422"/>
                  <a:gd name="T50" fmla="*/ 579 w 601"/>
                  <a:gd name="T51" fmla="*/ 231 h 422"/>
                  <a:gd name="T52" fmla="*/ 451 w 601"/>
                  <a:gd name="T53" fmla="*/ 72 h 422"/>
                  <a:gd name="T54" fmla="*/ 452 w 601"/>
                  <a:gd name="T55" fmla="*/ 61 h 422"/>
                  <a:gd name="T56" fmla="*/ 383 w 601"/>
                  <a:gd name="T57" fmla="*/ 0 h 422"/>
                  <a:gd name="T58" fmla="*/ 314 w 601"/>
                  <a:gd name="T59" fmla="*/ 61 h 422"/>
                  <a:gd name="T60" fmla="*/ 293 w 601"/>
                  <a:gd name="T61" fmla="*/ 61 h 422"/>
                  <a:gd name="T62" fmla="*/ 224 w 601"/>
                  <a:gd name="T63" fmla="*/ 0 h 422"/>
                  <a:gd name="T64" fmla="*/ 155 w 601"/>
                  <a:gd name="T65" fmla="*/ 61 h 422"/>
                  <a:gd name="T66" fmla="*/ 156 w 601"/>
                  <a:gd name="T67" fmla="*/ 71 h 422"/>
                  <a:gd name="T68" fmla="*/ 18 w 601"/>
                  <a:gd name="T69" fmla="*/ 239 h 422"/>
                  <a:gd name="T70" fmla="*/ 0 w 601"/>
                  <a:gd name="T71" fmla="*/ 301 h 422"/>
                  <a:gd name="T72" fmla="*/ 121 w 601"/>
                  <a:gd name="T73" fmla="*/ 422 h 422"/>
                  <a:gd name="T74" fmla="*/ 241 w 601"/>
                  <a:gd name="T75" fmla="*/ 301 h 422"/>
                  <a:gd name="T76" fmla="*/ 239 w 601"/>
                  <a:gd name="T77" fmla="*/ 277 h 422"/>
                  <a:gd name="T78" fmla="*/ 302 w 601"/>
                  <a:gd name="T79" fmla="*/ 314 h 422"/>
                  <a:gd name="T80" fmla="*/ 362 w 601"/>
                  <a:gd name="T81" fmla="*/ 283 h 422"/>
                  <a:gd name="T82" fmla="*/ 360 w 601"/>
                  <a:gd name="T83" fmla="*/ 301 h 422"/>
                  <a:gd name="T84" fmla="*/ 481 w 601"/>
                  <a:gd name="T85" fmla="*/ 422 h 422"/>
                  <a:gd name="T86" fmla="*/ 601 w 601"/>
                  <a:gd name="T87" fmla="*/ 301 h 422"/>
                  <a:gd name="T88" fmla="*/ 579 w 601"/>
                  <a:gd name="T89" fmla="*/ 231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1" h="422">
                    <a:moveTo>
                      <a:pt x="121" y="411"/>
                    </a:moveTo>
                    <a:lnTo>
                      <a:pt x="121" y="411"/>
                    </a:lnTo>
                    <a:cubicBezTo>
                      <a:pt x="60" y="411"/>
                      <a:pt x="11" y="362"/>
                      <a:pt x="11" y="301"/>
                    </a:cubicBezTo>
                    <a:cubicBezTo>
                      <a:pt x="11" y="290"/>
                      <a:pt x="13" y="280"/>
                      <a:pt x="16" y="270"/>
                    </a:cubicBezTo>
                    <a:cubicBezTo>
                      <a:pt x="29" y="224"/>
                      <a:pt x="71" y="191"/>
                      <a:pt x="121" y="191"/>
                    </a:cubicBezTo>
                    <a:cubicBezTo>
                      <a:pt x="167" y="191"/>
                      <a:pt x="207" y="220"/>
                      <a:pt x="223" y="261"/>
                    </a:cubicBezTo>
                    <a:cubicBezTo>
                      <a:pt x="228" y="274"/>
                      <a:pt x="231" y="287"/>
                      <a:pt x="231" y="301"/>
                    </a:cubicBezTo>
                    <a:cubicBezTo>
                      <a:pt x="231" y="362"/>
                      <a:pt x="181" y="411"/>
                      <a:pt x="121" y="411"/>
                    </a:cubicBezTo>
                    <a:close/>
                    <a:moveTo>
                      <a:pt x="344" y="257"/>
                    </a:moveTo>
                    <a:lnTo>
                      <a:pt x="344" y="257"/>
                    </a:lnTo>
                    <a:cubicBezTo>
                      <a:pt x="338" y="274"/>
                      <a:pt x="321" y="286"/>
                      <a:pt x="302" y="286"/>
                    </a:cubicBezTo>
                    <a:cubicBezTo>
                      <a:pt x="284" y="286"/>
                      <a:pt x="269" y="275"/>
                      <a:pt x="262" y="260"/>
                    </a:cubicBezTo>
                    <a:cubicBezTo>
                      <a:pt x="260" y="255"/>
                      <a:pt x="258" y="249"/>
                      <a:pt x="258" y="242"/>
                    </a:cubicBezTo>
                    <a:cubicBezTo>
                      <a:pt x="258" y="218"/>
                      <a:pt x="278" y="199"/>
                      <a:pt x="302" y="199"/>
                    </a:cubicBezTo>
                    <a:cubicBezTo>
                      <a:pt x="326" y="199"/>
                      <a:pt x="346" y="218"/>
                      <a:pt x="346" y="242"/>
                    </a:cubicBezTo>
                    <a:cubicBezTo>
                      <a:pt x="346" y="247"/>
                      <a:pt x="345" y="252"/>
                      <a:pt x="344" y="257"/>
                    </a:cubicBezTo>
                    <a:close/>
                    <a:moveTo>
                      <a:pt x="481" y="411"/>
                    </a:moveTo>
                    <a:lnTo>
                      <a:pt x="481" y="411"/>
                    </a:lnTo>
                    <a:cubicBezTo>
                      <a:pt x="420" y="411"/>
                      <a:pt x="371" y="362"/>
                      <a:pt x="371" y="301"/>
                    </a:cubicBezTo>
                    <a:cubicBezTo>
                      <a:pt x="371" y="285"/>
                      <a:pt x="375" y="269"/>
                      <a:pt x="381" y="255"/>
                    </a:cubicBezTo>
                    <a:cubicBezTo>
                      <a:pt x="399" y="217"/>
                      <a:pt x="437" y="191"/>
                      <a:pt x="481" y="191"/>
                    </a:cubicBezTo>
                    <a:cubicBezTo>
                      <a:pt x="522" y="191"/>
                      <a:pt x="558" y="214"/>
                      <a:pt x="576" y="247"/>
                    </a:cubicBezTo>
                    <a:cubicBezTo>
                      <a:pt x="585" y="263"/>
                      <a:pt x="591" y="281"/>
                      <a:pt x="591" y="301"/>
                    </a:cubicBezTo>
                    <a:cubicBezTo>
                      <a:pt x="591" y="362"/>
                      <a:pt x="541" y="411"/>
                      <a:pt x="481" y="411"/>
                    </a:cubicBezTo>
                    <a:close/>
                    <a:moveTo>
                      <a:pt x="579" y="231"/>
                    </a:moveTo>
                    <a:lnTo>
                      <a:pt x="579" y="231"/>
                    </a:lnTo>
                    <a:cubicBezTo>
                      <a:pt x="544" y="162"/>
                      <a:pt x="479" y="98"/>
                      <a:pt x="451" y="72"/>
                    </a:cubicBezTo>
                    <a:cubicBezTo>
                      <a:pt x="452" y="69"/>
                      <a:pt x="452" y="65"/>
                      <a:pt x="452" y="61"/>
                    </a:cubicBezTo>
                    <a:cubicBezTo>
                      <a:pt x="452" y="28"/>
                      <a:pt x="421" y="0"/>
                      <a:pt x="383" y="0"/>
                    </a:cubicBezTo>
                    <a:cubicBezTo>
                      <a:pt x="345" y="0"/>
                      <a:pt x="314" y="27"/>
                      <a:pt x="314" y="61"/>
                    </a:cubicBezTo>
                    <a:lnTo>
                      <a:pt x="293" y="61"/>
                    </a:lnTo>
                    <a:cubicBezTo>
                      <a:pt x="293" y="27"/>
                      <a:pt x="262" y="0"/>
                      <a:pt x="224" y="0"/>
                    </a:cubicBezTo>
                    <a:cubicBezTo>
                      <a:pt x="186" y="0"/>
                      <a:pt x="155" y="28"/>
                      <a:pt x="155" y="61"/>
                    </a:cubicBezTo>
                    <a:cubicBezTo>
                      <a:pt x="155" y="65"/>
                      <a:pt x="155" y="68"/>
                      <a:pt x="156" y="71"/>
                    </a:cubicBezTo>
                    <a:cubicBezTo>
                      <a:pt x="70" y="148"/>
                      <a:pt x="33" y="206"/>
                      <a:pt x="18" y="239"/>
                    </a:cubicBezTo>
                    <a:cubicBezTo>
                      <a:pt x="7" y="257"/>
                      <a:pt x="0" y="278"/>
                      <a:pt x="0" y="301"/>
                    </a:cubicBezTo>
                    <a:cubicBezTo>
                      <a:pt x="0" y="368"/>
                      <a:pt x="54" y="422"/>
                      <a:pt x="121" y="422"/>
                    </a:cubicBezTo>
                    <a:cubicBezTo>
                      <a:pt x="187" y="422"/>
                      <a:pt x="241" y="368"/>
                      <a:pt x="241" y="301"/>
                    </a:cubicBezTo>
                    <a:cubicBezTo>
                      <a:pt x="241" y="293"/>
                      <a:pt x="241" y="285"/>
                      <a:pt x="239" y="277"/>
                    </a:cubicBezTo>
                    <a:cubicBezTo>
                      <a:pt x="251" y="299"/>
                      <a:pt x="275" y="314"/>
                      <a:pt x="302" y="314"/>
                    </a:cubicBezTo>
                    <a:cubicBezTo>
                      <a:pt x="327" y="314"/>
                      <a:pt x="349" y="302"/>
                      <a:pt x="362" y="283"/>
                    </a:cubicBezTo>
                    <a:cubicBezTo>
                      <a:pt x="361" y="289"/>
                      <a:pt x="360" y="295"/>
                      <a:pt x="360" y="301"/>
                    </a:cubicBezTo>
                    <a:cubicBezTo>
                      <a:pt x="360" y="368"/>
                      <a:pt x="414" y="422"/>
                      <a:pt x="481" y="422"/>
                    </a:cubicBezTo>
                    <a:cubicBezTo>
                      <a:pt x="547" y="422"/>
                      <a:pt x="601" y="368"/>
                      <a:pt x="601" y="301"/>
                    </a:cubicBezTo>
                    <a:cubicBezTo>
                      <a:pt x="601" y="275"/>
                      <a:pt x="593" y="251"/>
                      <a:pt x="579" y="231"/>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46" name="Freeform 6">
                <a:extLst>
                  <a:ext uri="{FF2B5EF4-FFF2-40B4-BE49-F238E27FC236}">
                    <a16:creationId xmlns:a16="http://schemas.microsoft.com/office/drawing/2014/main" id="{2FFD6A49-7B87-E243-94CA-DBA98FDFB12A}"/>
                  </a:ext>
                </a:extLst>
              </p:cNvPr>
              <p:cNvSpPr>
                <a:spLocks/>
              </p:cNvSpPr>
              <p:nvPr/>
            </p:nvSpPr>
            <p:spPr bwMode="auto">
              <a:xfrm>
                <a:off x="7834313" y="1693863"/>
                <a:ext cx="47625" cy="46038"/>
              </a:xfrm>
              <a:custGeom>
                <a:avLst/>
                <a:gdLst>
                  <a:gd name="T0" fmla="*/ 27 w 113"/>
                  <a:gd name="T1" fmla="*/ 0 h 109"/>
                  <a:gd name="T2" fmla="*/ 27 w 113"/>
                  <a:gd name="T3" fmla="*/ 0 h 109"/>
                  <a:gd name="T4" fmla="*/ 113 w 113"/>
                  <a:gd name="T5" fmla="*/ 89 h 109"/>
                  <a:gd name="T6" fmla="*/ 27 w 113"/>
                  <a:gd name="T7" fmla="*/ 0 h 109"/>
                </a:gdLst>
                <a:ahLst/>
                <a:cxnLst>
                  <a:cxn ang="0">
                    <a:pos x="T0" y="T1"/>
                  </a:cxn>
                  <a:cxn ang="0">
                    <a:pos x="T2" y="T3"/>
                  </a:cxn>
                  <a:cxn ang="0">
                    <a:pos x="T4" y="T5"/>
                  </a:cxn>
                  <a:cxn ang="0">
                    <a:pos x="T6" y="T7"/>
                  </a:cxn>
                </a:cxnLst>
                <a:rect l="0" t="0" r="r" b="b"/>
                <a:pathLst>
                  <a:path w="113" h="109">
                    <a:moveTo>
                      <a:pt x="27" y="0"/>
                    </a:moveTo>
                    <a:lnTo>
                      <a:pt x="27" y="0"/>
                    </a:lnTo>
                    <a:cubicBezTo>
                      <a:pt x="27" y="0"/>
                      <a:pt x="0" y="109"/>
                      <a:pt x="113" y="89"/>
                    </a:cubicBezTo>
                    <a:cubicBezTo>
                      <a:pt x="113" y="89"/>
                      <a:pt x="35" y="73"/>
                      <a:pt x="27" y="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47" name="Freeform 7">
                <a:extLst>
                  <a:ext uri="{FF2B5EF4-FFF2-40B4-BE49-F238E27FC236}">
                    <a16:creationId xmlns:a16="http://schemas.microsoft.com/office/drawing/2014/main" id="{9E907DF9-8F61-1147-90B5-F783232DEAA7}"/>
                  </a:ext>
                </a:extLst>
              </p:cNvPr>
              <p:cNvSpPr>
                <a:spLocks/>
              </p:cNvSpPr>
              <p:nvPr/>
            </p:nvSpPr>
            <p:spPr bwMode="auto">
              <a:xfrm>
                <a:off x="7985126" y="1693863"/>
                <a:ext cx="49213" cy="46038"/>
              </a:xfrm>
              <a:custGeom>
                <a:avLst/>
                <a:gdLst>
                  <a:gd name="T0" fmla="*/ 27 w 113"/>
                  <a:gd name="T1" fmla="*/ 0 h 109"/>
                  <a:gd name="T2" fmla="*/ 27 w 113"/>
                  <a:gd name="T3" fmla="*/ 0 h 109"/>
                  <a:gd name="T4" fmla="*/ 113 w 113"/>
                  <a:gd name="T5" fmla="*/ 89 h 109"/>
                  <a:gd name="T6" fmla="*/ 27 w 113"/>
                  <a:gd name="T7" fmla="*/ 0 h 109"/>
                </a:gdLst>
                <a:ahLst/>
                <a:cxnLst>
                  <a:cxn ang="0">
                    <a:pos x="T0" y="T1"/>
                  </a:cxn>
                  <a:cxn ang="0">
                    <a:pos x="T2" y="T3"/>
                  </a:cxn>
                  <a:cxn ang="0">
                    <a:pos x="T4" y="T5"/>
                  </a:cxn>
                  <a:cxn ang="0">
                    <a:pos x="T6" y="T7"/>
                  </a:cxn>
                </a:cxnLst>
                <a:rect l="0" t="0" r="r" b="b"/>
                <a:pathLst>
                  <a:path w="113" h="109">
                    <a:moveTo>
                      <a:pt x="27" y="0"/>
                    </a:moveTo>
                    <a:lnTo>
                      <a:pt x="27" y="0"/>
                    </a:lnTo>
                    <a:cubicBezTo>
                      <a:pt x="27" y="0"/>
                      <a:pt x="0" y="109"/>
                      <a:pt x="113" y="89"/>
                    </a:cubicBezTo>
                    <a:cubicBezTo>
                      <a:pt x="113" y="89"/>
                      <a:pt x="35" y="73"/>
                      <a:pt x="27" y="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grpSp>
        <p:grpSp>
          <p:nvGrpSpPr>
            <p:cNvPr id="39" name="Group 38">
              <a:extLst>
                <a:ext uri="{FF2B5EF4-FFF2-40B4-BE49-F238E27FC236}">
                  <a16:creationId xmlns:a16="http://schemas.microsoft.com/office/drawing/2014/main" id="{38F787C8-7225-454E-A148-5A62B51BF3D7}"/>
                </a:ext>
              </a:extLst>
            </p:cNvPr>
            <p:cNvGrpSpPr/>
            <p:nvPr/>
          </p:nvGrpSpPr>
          <p:grpSpPr>
            <a:xfrm>
              <a:off x="3971230" y="2090588"/>
              <a:ext cx="2729484" cy="2729484"/>
              <a:chOff x="2690813" y="2568575"/>
              <a:chExt cx="3330575" cy="3363912"/>
            </a:xfrm>
          </p:grpSpPr>
          <p:sp>
            <p:nvSpPr>
              <p:cNvPr id="41" name="Freeform 40">
                <a:extLst>
                  <a:ext uri="{FF2B5EF4-FFF2-40B4-BE49-F238E27FC236}">
                    <a16:creationId xmlns:a16="http://schemas.microsoft.com/office/drawing/2014/main" id="{3FFEC77D-B5F5-B648-9F42-E25080BB26CC}"/>
                  </a:ext>
                </a:extLst>
              </p:cNvPr>
              <p:cNvSpPr>
                <a:spLocks/>
              </p:cNvSpPr>
              <p:nvPr/>
            </p:nvSpPr>
            <p:spPr bwMode="auto">
              <a:xfrm>
                <a:off x="3951288" y="3378200"/>
                <a:ext cx="2070100" cy="2554287"/>
              </a:xfrm>
              <a:custGeom>
                <a:avLst/>
                <a:gdLst>
                  <a:gd name="T0" fmla="*/ 179 w 184"/>
                  <a:gd name="T1" fmla="*/ 39 h 227"/>
                  <a:gd name="T2" fmla="*/ 147 w 184"/>
                  <a:gd name="T3" fmla="*/ 13 h 227"/>
                  <a:gd name="T4" fmla="*/ 94 w 184"/>
                  <a:gd name="T5" fmla="*/ 0 h 227"/>
                  <a:gd name="T6" fmla="*/ 36 w 184"/>
                  <a:gd name="T7" fmla="*/ 16 h 227"/>
                  <a:gd name="T8" fmla="*/ 3 w 184"/>
                  <a:gd name="T9" fmla="*/ 47 h 227"/>
                  <a:gd name="T10" fmla="*/ 36 w 184"/>
                  <a:gd name="T11" fmla="*/ 32 h 227"/>
                  <a:gd name="T12" fmla="*/ 68 w 184"/>
                  <a:gd name="T13" fmla="*/ 47 h 227"/>
                  <a:gd name="T14" fmla="*/ 74 w 184"/>
                  <a:gd name="T15" fmla="*/ 56 h 227"/>
                  <a:gd name="T16" fmla="*/ 89 w 184"/>
                  <a:gd name="T17" fmla="*/ 103 h 227"/>
                  <a:gd name="T18" fmla="*/ 89 w 184"/>
                  <a:gd name="T19" fmla="*/ 112 h 227"/>
                  <a:gd name="T20" fmla="*/ 36 w 184"/>
                  <a:gd name="T21" fmla="*/ 208 h 227"/>
                  <a:gd name="T22" fmla="*/ 0 w 184"/>
                  <a:gd name="T23" fmla="*/ 222 h 227"/>
                  <a:gd name="T24" fmla="*/ 36 w 184"/>
                  <a:gd name="T25" fmla="*/ 227 h 227"/>
                  <a:gd name="T26" fmla="*/ 71 w 184"/>
                  <a:gd name="T27" fmla="*/ 222 h 227"/>
                  <a:gd name="T28" fmla="*/ 184 w 184"/>
                  <a:gd name="T29" fmla="*/ 78 h 227"/>
                  <a:gd name="T30" fmla="*/ 179 w 184"/>
                  <a:gd name="T31" fmla="*/ 3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4" h="227">
                    <a:moveTo>
                      <a:pt x="179" y="39"/>
                    </a:moveTo>
                    <a:cubicBezTo>
                      <a:pt x="170" y="28"/>
                      <a:pt x="159" y="20"/>
                      <a:pt x="147" y="13"/>
                    </a:cubicBezTo>
                    <a:cubicBezTo>
                      <a:pt x="131" y="4"/>
                      <a:pt x="113" y="0"/>
                      <a:pt x="94" y="0"/>
                    </a:cubicBezTo>
                    <a:cubicBezTo>
                      <a:pt x="73" y="0"/>
                      <a:pt x="53" y="6"/>
                      <a:pt x="36" y="16"/>
                    </a:cubicBezTo>
                    <a:cubicBezTo>
                      <a:pt x="23" y="24"/>
                      <a:pt x="12" y="35"/>
                      <a:pt x="3" y="47"/>
                    </a:cubicBezTo>
                    <a:cubicBezTo>
                      <a:pt x="11" y="38"/>
                      <a:pt x="22" y="32"/>
                      <a:pt x="36" y="32"/>
                    </a:cubicBezTo>
                    <a:cubicBezTo>
                      <a:pt x="49" y="32"/>
                      <a:pt x="61" y="38"/>
                      <a:pt x="68" y="47"/>
                    </a:cubicBezTo>
                    <a:cubicBezTo>
                      <a:pt x="71" y="50"/>
                      <a:pt x="73" y="53"/>
                      <a:pt x="74" y="56"/>
                    </a:cubicBezTo>
                    <a:cubicBezTo>
                      <a:pt x="82" y="70"/>
                      <a:pt x="87" y="86"/>
                      <a:pt x="89" y="103"/>
                    </a:cubicBezTo>
                    <a:cubicBezTo>
                      <a:pt x="89" y="106"/>
                      <a:pt x="89" y="109"/>
                      <a:pt x="89" y="112"/>
                    </a:cubicBezTo>
                    <a:cubicBezTo>
                      <a:pt x="89" y="153"/>
                      <a:pt x="68" y="188"/>
                      <a:pt x="36" y="208"/>
                    </a:cubicBezTo>
                    <a:cubicBezTo>
                      <a:pt x="25" y="215"/>
                      <a:pt x="13" y="220"/>
                      <a:pt x="0" y="222"/>
                    </a:cubicBezTo>
                    <a:cubicBezTo>
                      <a:pt x="11" y="225"/>
                      <a:pt x="23" y="227"/>
                      <a:pt x="36" y="227"/>
                    </a:cubicBezTo>
                    <a:cubicBezTo>
                      <a:pt x="48" y="227"/>
                      <a:pt x="60" y="225"/>
                      <a:pt x="71" y="222"/>
                    </a:cubicBezTo>
                    <a:cubicBezTo>
                      <a:pt x="136" y="206"/>
                      <a:pt x="184" y="148"/>
                      <a:pt x="184" y="78"/>
                    </a:cubicBezTo>
                    <a:cubicBezTo>
                      <a:pt x="184" y="64"/>
                      <a:pt x="182" y="51"/>
                      <a:pt x="179" y="39"/>
                    </a:cubicBezTo>
                    <a:close/>
                  </a:path>
                </a:pathLst>
              </a:custGeom>
              <a:solidFill>
                <a:schemeClr val="accent2"/>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2" name="Freeform 41">
                <a:extLst>
                  <a:ext uri="{FF2B5EF4-FFF2-40B4-BE49-F238E27FC236}">
                    <a16:creationId xmlns:a16="http://schemas.microsoft.com/office/drawing/2014/main" id="{5AB45288-AF02-9C4C-B8E5-A4FD766FD782}"/>
                  </a:ext>
                </a:extLst>
              </p:cNvPr>
              <p:cNvSpPr>
                <a:spLocks/>
              </p:cNvSpPr>
              <p:nvPr/>
            </p:nvSpPr>
            <p:spPr bwMode="auto">
              <a:xfrm>
                <a:off x="2690813" y="3108325"/>
                <a:ext cx="2262188" cy="2767012"/>
              </a:xfrm>
              <a:custGeom>
                <a:avLst/>
                <a:gdLst>
                  <a:gd name="T0" fmla="*/ 201 w 201"/>
                  <a:gd name="T1" fmla="*/ 127 h 246"/>
                  <a:gd name="T2" fmla="*/ 186 w 201"/>
                  <a:gd name="T3" fmla="*/ 80 h 246"/>
                  <a:gd name="T4" fmla="*/ 190 w 201"/>
                  <a:gd name="T5" fmla="*/ 98 h 246"/>
                  <a:gd name="T6" fmla="*/ 155 w 201"/>
                  <a:gd name="T7" fmla="*/ 140 h 246"/>
                  <a:gd name="T8" fmla="*/ 148 w 201"/>
                  <a:gd name="T9" fmla="*/ 141 h 246"/>
                  <a:gd name="T10" fmla="*/ 140 w 201"/>
                  <a:gd name="T11" fmla="*/ 140 h 246"/>
                  <a:gd name="T12" fmla="*/ 95 w 201"/>
                  <a:gd name="T13" fmla="*/ 127 h 246"/>
                  <a:gd name="T14" fmla="*/ 36 w 201"/>
                  <a:gd name="T15" fmla="*/ 37 h 246"/>
                  <a:gd name="T16" fmla="*/ 36 w 201"/>
                  <a:gd name="T17" fmla="*/ 28 h 246"/>
                  <a:gd name="T18" fmla="*/ 39 w 201"/>
                  <a:gd name="T19" fmla="*/ 0 h 246"/>
                  <a:gd name="T20" fmla="*/ 5 w 201"/>
                  <a:gd name="T21" fmla="*/ 63 h 246"/>
                  <a:gd name="T22" fmla="*/ 0 w 201"/>
                  <a:gd name="T23" fmla="*/ 102 h 246"/>
                  <a:gd name="T24" fmla="*/ 112 w 201"/>
                  <a:gd name="T25" fmla="*/ 246 h 246"/>
                  <a:gd name="T26" fmla="*/ 148 w 201"/>
                  <a:gd name="T27" fmla="*/ 232 h 246"/>
                  <a:gd name="T28" fmla="*/ 201 w 201"/>
                  <a:gd name="T29" fmla="*/ 136 h 246"/>
                  <a:gd name="T30" fmla="*/ 201 w 201"/>
                  <a:gd name="T31" fmla="*/ 12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1" h="246">
                    <a:moveTo>
                      <a:pt x="201" y="127"/>
                    </a:moveTo>
                    <a:cubicBezTo>
                      <a:pt x="199" y="110"/>
                      <a:pt x="194" y="94"/>
                      <a:pt x="186" y="80"/>
                    </a:cubicBezTo>
                    <a:cubicBezTo>
                      <a:pt x="189" y="85"/>
                      <a:pt x="190" y="92"/>
                      <a:pt x="190" y="98"/>
                    </a:cubicBezTo>
                    <a:cubicBezTo>
                      <a:pt x="190" y="119"/>
                      <a:pt x="175" y="136"/>
                      <a:pt x="155" y="140"/>
                    </a:cubicBezTo>
                    <a:cubicBezTo>
                      <a:pt x="153" y="140"/>
                      <a:pt x="150" y="141"/>
                      <a:pt x="148" y="141"/>
                    </a:cubicBezTo>
                    <a:cubicBezTo>
                      <a:pt x="145" y="141"/>
                      <a:pt x="143" y="140"/>
                      <a:pt x="140" y="140"/>
                    </a:cubicBezTo>
                    <a:cubicBezTo>
                      <a:pt x="124" y="139"/>
                      <a:pt x="108" y="134"/>
                      <a:pt x="95" y="127"/>
                    </a:cubicBezTo>
                    <a:cubicBezTo>
                      <a:pt x="62" y="109"/>
                      <a:pt x="40" y="76"/>
                      <a:pt x="36" y="37"/>
                    </a:cubicBezTo>
                    <a:cubicBezTo>
                      <a:pt x="36" y="34"/>
                      <a:pt x="36" y="31"/>
                      <a:pt x="36" y="28"/>
                    </a:cubicBezTo>
                    <a:cubicBezTo>
                      <a:pt x="36" y="18"/>
                      <a:pt x="37" y="9"/>
                      <a:pt x="39" y="0"/>
                    </a:cubicBezTo>
                    <a:cubicBezTo>
                      <a:pt x="23" y="18"/>
                      <a:pt x="11" y="39"/>
                      <a:pt x="5" y="63"/>
                    </a:cubicBezTo>
                    <a:cubicBezTo>
                      <a:pt x="2" y="75"/>
                      <a:pt x="0" y="88"/>
                      <a:pt x="0" y="102"/>
                    </a:cubicBezTo>
                    <a:cubicBezTo>
                      <a:pt x="0" y="171"/>
                      <a:pt x="47" y="230"/>
                      <a:pt x="112" y="246"/>
                    </a:cubicBezTo>
                    <a:cubicBezTo>
                      <a:pt x="125" y="244"/>
                      <a:pt x="137" y="239"/>
                      <a:pt x="148" y="232"/>
                    </a:cubicBezTo>
                    <a:cubicBezTo>
                      <a:pt x="180" y="212"/>
                      <a:pt x="201" y="177"/>
                      <a:pt x="201" y="136"/>
                    </a:cubicBezTo>
                    <a:cubicBezTo>
                      <a:pt x="201" y="133"/>
                      <a:pt x="201" y="130"/>
                      <a:pt x="201" y="127"/>
                    </a:cubicBezTo>
                    <a:close/>
                  </a:path>
                </a:pathLst>
              </a:custGeom>
              <a:solidFill>
                <a:schemeClr val="accent3"/>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3" name="Freeform 42">
                <a:extLst>
                  <a:ext uri="{FF2B5EF4-FFF2-40B4-BE49-F238E27FC236}">
                    <a16:creationId xmlns:a16="http://schemas.microsoft.com/office/drawing/2014/main" id="{6169A587-83BC-EA4B-98D9-CFB53CCD57B5}"/>
                  </a:ext>
                </a:extLst>
              </p:cNvPr>
              <p:cNvSpPr>
                <a:spLocks/>
              </p:cNvSpPr>
              <p:nvPr/>
            </p:nvSpPr>
            <p:spPr bwMode="auto">
              <a:xfrm>
                <a:off x="3095626" y="2568575"/>
                <a:ext cx="2870200" cy="2114550"/>
              </a:xfrm>
              <a:custGeom>
                <a:avLst/>
                <a:gdLst>
                  <a:gd name="T0" fmla="*/ 220 w 255"/>
                  <a:gd name="T1" fmla="*/ 47 h 188"/>
                  <a:gd name="T2" fmla="*/ 112 w 255"/>
                  <a:gd name="T3" fmla="*/ 0 h 188"/>
                  <a:gd name="T4" fmla="*/ 3 w 255"/>
                  <a:gd name="T5" fmla="*/ 48 h 188"/>
                  <a:gd name="T6" fmla="*/ 0 w 255"/>
                  <a:gd name="T7" fmla="*/ 76 h 188"/>
                  <a:gd name="T8" fmla="*/ 0 w 255"/>
                  <a:gd name="T9" fmla="*/ 85 h 188"/>
                  <a:gd name="T10" fmla="*/ 59 w 255"/>
                  <a:gd name="T11" fmla="*/ 175 h 188"/>
                  <a:gd name="T12" fmla="*/ 104 w 255"/>
                  <a:gd name="T13" fmla="*/ 188 h 188"/>
                  <a:gd name="T14" fmla="*/ 69 w 255"/>
                  <a:gd name="T15" fmla="*/ 146 h 188"/>
                  <a:gd name="T16" fmla="*/ 73 w 255"/>
                  <a:gd name="T17" fmla="*/ 128 h 188"/>
                  <a:gd name="T18" fmla="*/ 79 w 255"/>
                  <a:gd name="T19" fmla="*/ 119 h 188"/>
                  <a:gd name="T20" fmla="*/ 112 w 255"/>
                  <a:gd name="T21" fmla="*/ 88 h 188"/>
                  <a:gd name="T22" fmla="*/ 170 w 255"/>
                  <a:gd name="T23" fmla="*/ 72 h 188"/>
                  <a:gd name="T24" fmla="*/ 223 w 255"/>
                  <a:gd name="T25" fmla="*/ 85 h 188"/>
                  <a:gd name="T26" fmla="*/ 255 w 255"/>
                  <a:gd name="T27" fmla="*/ 111 h 188"/>
                  <a:gd name="T28" fmla="*/ 220 w 255"/>
                  <a:gd name="T29" fmla="*/ 4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5" h="188">
                    <a:moveTo>
                      <a:pt x="220" y="47"/>
                    </a:moveTo>
                    <a:cubicBezTo>
                      <a:pt x="193" y="18"/>
                      <a:pt x="154" y="0"/>
                      <a:pt x="112" y="0"/>
                    </a:cubicBezTo>
                    <a:cubicBezTo>
                      <a:pt x="69" y="0"/>
                      <a:pt x="31" y="19"/>
                      <a:pt x="3" y="48"/>
                    </a:cubicBezTo>
                    <a:cubicBezTo>
                      <a:pt x="1" y="57"/>
                      <a:pt x="0" y="66"/>
                      <a:pt x="0" y="76"/>
                    </a:cubicBezTo>
                    <a:cubicBezTo>
                      <a:pt x="0" y="79"/>
                      <a:pt x="0" y="82"/>
                      <a:pt x="0" y="85"/>
                    </a:cubicBezTo>
                    <a:cubicBezTo>
                      <a:pt x="4" y="124"/>
                      <a:pt x="26" y="157"/>
                      <a:pt x="59" y="175"/>
                    </a:cubicBezTo>
                    <a:cubicBezTo>
                      <a:pt x="72" y="182"/>
                      <a:pt x="88" y="187"/>
                      <a:pt x="104" y="188"/>
                    </a:cubicBezTo>
                    <a:cubicBezTo>
                      <a:pt x="84" y="184"/>
                      <a:pt x="69" y="167"/>
                      <a:pt x="69" y="146"/>
                    </a:cubicBezTo>
                    <a:cubicBezTo>
                      <a:pt x="69" y="139"/>
                      <a:pt x="71" y="133"/>
                      <a:pt x="73" y="128"/>
                    </a:cubicBezTo>
                    <a:cubicBezTo>
                      <a:pt x="75" y="125"/>
                      <a:pt x="77" y="122"/>
                      <a:pt x="79" y="119"/>
                    </a:cubicBezTo>
                    <a:cubicBezTo>
                      <a:pt x="88" y="107"/>
                      <a:pt x="99" y="96"/>
                      <a:pt x="112" y="88"/>
                    </a:cubicBezTo>
                    <a:cubicBezTo>
                      <a:pt x="129" y="78"/>
                      <a:pt x="149" y="72"/>
                      <a:pt x="170" y="72"/>
                    </a:cubicBezTo>
                    <a:cubicBezTo>
                      <a:pt x="189" y="72"/>
                      <a:pt x="207" y="76"/>
                      <a:pt x="223" y="85"/>
                    </a:cubicBezTo>
                    <a:cubicBezTo>
                      <a:pt x="235" y="92"/>
                      <a:pt x="246" y="100"/>
                      <a:pt x="255" y="111"/>
                    </a:cubicBezTo>
                    <a:cubicBezTo>
                      <a:pt x="249" y="87"/>
                      <a:pt x="236" y="65"/>
                      <a:pt x="220" y="47"/>
                    </a:cubicBezTo>
                    <a:close/>
                  </a:path>
                </a:pathLst>
              </a:custGeom>
              <a:solidFill>
                <a:schemeClr val="accent5"/>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4" name="Freeform 43">
                <a:extLst>
                  <a:ext uri="{FF2B5EF4-FFF2-40B4-BE49-F238E27FC236}">
                    <a16:creationId xmlns:a16="http://schemas.microsoft.com/office/drawing/2014/main" id="{627E0E8F-D764-C048-BAEB-E0038033228B}"/>
                  </a:ext>
                </a:extLst>
              </p:cNvPr>
              <p:cNvSpPr>
                <a:spLocks/>
              </p:cNvSpPr>
              <p:nvPr/>
            </p:nvSpPr>
            <p:spPr bwMode="auto">
              <a:xfrm>
                <a:off x="3871913" y="3738562"/>
                <a:ext cx="957263" cy="944562"/>
              </a:xfrm>
              <a:custGeom>
                <a:avLst/>
                <a:gdLst>
                  <a:gd name="T0" fmla="*/ 43 w 85"/>
                  <a:gd name="T1" fmla="*/ 0 h 84"/>
                  <a:gd name="T2" fmla="*/ 10 w 85"/>
                  <a:gd name="T3" fmla="*/ 15 h 84"/>
                  <a:gd name="T4" fmla="*/ 4 w 85"/>
                  <a:gd name="T5" fmla="*/ 24 h 84"/>
                  <a:gd name="T6" fmla="*/ 0 w 85"/>
                  <a:gd name="T7" fmla="*/ 42 h 84"/>
                  <a:gd name="T8" fmla="*/ 35 w 85"/>
                  <a:gd name="T9" fmla="*/ 84 h 84"/>
                  <a:gd name="T10" fmla="*/ 43 w 85"/>
                  <a:gd name="T11" fmla="*/ 84 h 84"/>
                  <a:gd name="T12" fmla="*/ 50 w 85"/>
                  <a:gd name="T13" fmla="*/ 84 h 84"/>
                  <a:gd name="T14" fmla="*/ 85 w 85"/>
                  <a:gd name="T15" fmla="*/ 42 h 84"/>
                  <a:gd name="T16" fmla="*/ 81 w 85"/>
                  <a:gd name="T17" fmla="*/ 24 h 84"/>
                  <a:gd name="T18" fmla="*/ 75 w 85"/>
                  <a:gd name="T19" fmla="*/ 15 h 84"/>
                  <a:gd name="T20" fmla="*/ 43 w 85"/>
                  <a:gd name="T21"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84">
                    <a:moveTo>
                      <a:pt x="43" y="0"/>
                    </a:moveTo>
                    <a:cubicBezTo>
                      <a:pt x="29" y="0"/>
                      <a:pt x="18" y="6"/>
                      <a:pt x="10" y="15"/>
                    </a:cubicBezTo>
                    <a:cubicBezTo>
                      <a:pt x="8" y="18"/>
                      <a:pt x="6" y="21"/>
                      <a:pt x="4" y="24"/>
                    </a:cubicBezTo>
                    <a:cubicBezTo>
                      <a:pt x="2" y="29"/>
                      <a:pt x="0" y="35"/>
                      <a:pt x="0" y="42"/>
                    </a:cubicBezTo>
                    <a:cubicBezTo>
                      <a:pt x="0" y="63"/>
                      <a:pt x="15" y="80"/>
                      <a:pt x="35" y="84"/>
                    </a:cubicBezTo>
                    <a:cubicBezTo>
                      <a:pt x="38" y="84"/>
                      <a:pt x="40" y="84"/>
                      <a:pt x="43" y="84"/>
                    </a:cubicBezTo>
                    <a:cubicBezTo>
                      <a:pt x="45" y="84"/>
                      <a:pt x="48" y="84"/>
                      <a:pt x="50" y="84"/>
                    </a:cubicBezTo>
                    <a:cubicBezTo>
                      <a:pt x="70" y="80"/>
                      <a:pt x="85" y="63"/>
                      <a:pt x="85" y="42"/>
                    </a:cubicBezTo>
                    <a:cubicBezTo>
                      <a:pt x="85" y="36"/>
                      <a:pt x="84" y="29"/>
                      <a:pt x="81" y="24"/>
                    </a:cubicBezTo>
                    <a:cubicBezTo>
                      <a:pt x="79" y="21"/>
                      <a:pt x="77" y="18"/>
                      <a:pt x="75" y="15"/>
                    </a:cubicBezTo>
                    <a:cubicBezTo>
                      <a:pt x="68" y="6"/>
                      <a:pt x="56" y="0"/>
                      <a:pt x="43" y="0"/>
                    </a:cubicBezTo>
                    <a:close/>
                  </a:path>
                </a:pathLst>
              </a:cu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grpSp>
        <p:sp>
          <p:nvSpPr>
            <p:cNvPr id="40" name="Oval 39">
              <a:extLst>
                <a:ext uri="{FF2B5EF4-FFF2-40B4-BE49-F238E27FC236}">
                  <a16:creationId xmlns:a16="http://schemas.microsoft.com/office/drawing/2014/main" id="{1A2CAB22-7914-954B-8BC9-BD2DAA414669}"/>
                </a:ext>
              </a:extLst>
            </p:cNvPr>
            <p:cNvSpPr/>
            <p:nvPr/>
          </p:nvSpPr>
          <p:spPr bwMode="gray">
            <a:xfrm>
              <a:off x="4917038" y="3036397"/>
              <a:ext cx="837869" cy="837869"/>
            </a:xfrm>
            <a:prstGeom prst="ellips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grpSp>
      <p:grpSp>
        <p:nvGrpSpPr>
          <p:cNvPr id="3" name="Group 2"/>
          <p:cNvGrpSpPr/>
          <p:nvPr/>
        </p:nvGrpSpPr>
        <p:grpSpPr>
          <a:xfrm>
            <a:off x="7185396" y="4561719"/>
            <a:ext cx="4419685" cy="1746316"/>
            <a:chOff x="1982474" y="1803654"/>
            <a:chExt cx="8227055" cy="3250692"/>
          </a:xfrm>
        </p:grpSpPr>
        <p:sp>
          <p:nvSpPr>
            <p:cNvPr id="48" name="Isosceles Triangle 15">
              <a:extLst>
                <a:ext uri="{FF2B5EF4-FFF2-40B4-BE49-F238E27FC236}">
                  <a16:creationId xmlns:a16="http://schemas.microsoft.com/office/drawing/2014/main" id="{73BA18F8-BFA6-354B-B31D-4EEB6F975177}"/>
                </a:ext>
              </a:extLst>
            </p:cNvPr>
            <p:cNvSpPr/>
            <p:nvPr/>
          </p:nvSpPr>
          <p:spPr bwMode="gray">
            <a:xfrm rot="5400000">
              <a:off x="4390605" y="678853"/>
              <a:ext cx="3247095" cy="5496698"/>
            </a:xfrm>
            <a:prstGeom prst="triangl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49" name="Isosceles Triangle 11">
              <a:extLst>
                <a:ext uri="{FF2B5EF4-FFF2-40B4-BE49-F238E27FC236}">
                  <a16:creationId xmlns:a16="http://schemas.microsoft.com/office/drawing/2014/main" id="{F739AF79-F9AB-084F-BE32-ABCC1646A127}"/>
                </a:ext>
              </a:extLst>
            </p:cNvPr>
            <p:cNvSpPr/>
            <p:nvPr/>
          </p:nvSpPr>
          <p:spPr bwMode="gray">
            <a:xfrm rot="5400000">
              <a:off x="7696997" y="2749021"/>
              <a:ext cx="774648" cy="1356358"/>
            </a:xfrm>
            <a:prstGeom prst="triangle">
              <a:avLst/>
            </a:prstGeom>
            <a:solidFill>
              <a:schemeClr val="bg2"/>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50" name="Left Bracket 49">
              <a:extLst>
                <a:ext uri="{FF2B5EF4-FFF2-40B4-BE49-F238E27FC236}">
                  <a16:creationId xmlns:a16="http://schemas.microsoft.com/office/drawing/2014/main" id="{05D76BF8-101A-A64A-BFD2-A06AE872B034}"/>
                </a:ext>
              </a:extLst>
            </p:cNvPr>
            <p:cNvSpPr/>
            <p:nvPr/>
          </p:nvSpPr>
          <p:spPr>
            <a:xfrm>
              <a:off x="8926199" y="2873941"/>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51" name="Left Bracket 50">
              <a:extLst>
                <a:ext uri="{FF2B5EF4-FFF2-40B4-BE49-F238E27FC236}">
                  <a16:creationId xmlns:a16="http://schemas.microsoft.com/office/drawing/2014/main" id="{4FEE87A1-ADCF-4D40-ABD2-06D60E47C3A1}"/>
                </a:ext>
              </a:extLst>
            </p:cNvPr>
            <p:cNvSpPr/>
            <p:nvPr/>
          </p:nvSpPr>
          <p:spPr>
            <a:xfrm flipH="1">
              <a:off x="10053356" y="2873941"/>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52" name="TextBox 51">
              <a:extLst>
                <a:ext uri="{FF2B5EF4-FFF2-40B4-BE49-F238E27FC236}">
                  <a16:creationId xmlns:a16="http://schemas.microsoft.com/office/drawing/2014/main" id="{61664B04-037D-034F-AA3A-A4F0F98B03F9}"/>
                </a:ext>
              </a:extLst>
            </p:cNvPr>
            <p:cNvSpPr txBox="1"/>
            <p:nvPr/>
          </p:nvSpPr>
          <p:spPr>
            <a:xfrm>
              <a:off x="9208357" y="3517460"/>
              <a:ext cx="817595" cy="214842"/>
            </a:xfrm>
            <a:prstGeom prst="rect">
              <a:avLst/>
            </a:prstGeom>
            <a:noFill/>
          </p:spPr>
          <p:txBody>
            <a:bodyPr wrap="none" lIns="0" tIns="0" rIns="0" bIns="0" rtlCol="0">
              <a:spAutoFit/>
            </a:bodyPr>
            <a:lstStyle/>
            <a:p>
              <a:pPr algn="ct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sp>
          <p:nvSpPr>
            <p:cNvPr id="53" name="Left Bracket 52">
              <a:extLst>
                <a:ext uri="{FF2B5EF4-FFF2-40B4-BE49-F238E27FC236}">
                  <a16:creationId xmlns:a16="http://schemas.microsoft.com/office/drawing/2014/main" id="{7F9F905B-EBA3-0C49-A5CD-B00B5479B1F3}"/>
                </a:ext>
              </a:extLst>
            </p:cNvPr>
            <p:cNvSpPr/>
            <p:nvPr/>
          </p:nvSpPr>
          <p:spPr>
            <a:xfrm>
              <a:off x="1982474" y="1803654"/>
              <a:ext cx="156173" cy="3250692"/>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54" name="Left Bracket 53">
              <a:extLst>
                <a:ext uri="{FF2B5EF4-FFF2-40B4-BE49-F238E27FC236}">
                  <a16:creationId xmlns:a16="http://schemas.microsoft.com/office/drawing/2014/main" id="{0A19D48B-779A-9641-AEC1-E0EA5357E7F4}"/>
                </a:ext>
              </a:extLst>
            </p:cNvPr>
            <p:cNvSpPr/>
            <p:nvPr/>
          </p:nvSpPr>
          <p:spPr>
            <a:xfrm flipH="1">
              <a:off x="3109631" y="1803654"/>
              <a:ext cx="156173" cy="3250692"/>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55" name="Freeform 106">
              <a:extLst>
                <a:ext uri="{FF2B5EF4-FFF2-40B4-BE49-F238E27FC236}">
                  <a16:creationId xmlns:a16="http://schemas.microsoft.com/office/drawing/2014/main" id="{174FFB92-52B1-4649-AD88-D93D1AECCAC5}"/>
                </a:ext>
              </a:extLst>
            </p:cNvPr>
            <p:cNvSpPr>
              <a:spLocks noChangeAspect="1" noEditPoints="1"/>
            </p:cNvSpPr>
            <p:nvPr/>
          </p:nvSpPr>
          <p:spPr bwMode="auto">
            <a:xfrm>
              <a:off x="2378728" y="3739251"/>
              <a:ext cx="490820" cy="425086"/>
            </a:xfrm>
            <a:custGeom>
              <a:avLst/>
              <a:gdLst>
                <a:gd name="T0" fmla="*/ 203 w 212"/>
                <a:gd name="T1" fmla="*/ 154 h 183"/>
                <a:gd name="T2" fmla="*/ 123 w 212"/>
                <a:gd name="T3" fmla="*/ 16 h 183"/>
                <a:gd name="T4" fmla="*/ 89 w 212"/>
                <a:gd name="T5" fmla="*/ 16 h 183"/>
                <a:gd name="T6" fmla="*/ 9 w 212"/>
                <a:gd name="T7" fmla="*/ 154 h 183"/>
                <a:gd name="T8" fmla="*/ 26 w 212"/>
                <a:gd name="T9" fmla="*/ 183 h 183"/>
                <a:gd name="T10" fmla="*/ 186 w 212"/>
                <a:gd name="T11" fmla="*/ 183 h 183"/>
                <a:gd name="T12" fmla="*/ 203 w 212"/>
                <a:gd name="T13" fmla="*/ 154 h 183"/>
                <a:gd name="T14" fmla="*/ 116 w 212"/>
                <a:gd name="T15" fmla="*/ 157 h 183"/>
                <a:gd name="T16" fmla="*/ 96 w 212"/>
                <a:gd name="T17" fmla="*/ 157 h 183"/>
                <a:gd name="T18" fmla="*/ 96 w 212"/>
                <a:gd name="T19" fmla="*/ 138 h 183"/>
                <a:gd name="T20" fmla="*/ 116 w 212"/>
                <a:gd name="T21" fmla="*/ 138 h 183"/>
                <a:gd name="T22" fmla="*/ 116 w 212"/>
                <a:gd name="T23" fmla="*/ 157 h 183"/>
                <a:gd name="T24" fmla="*/ 114 w 212"/>
                <a:gd name="T25" fmla="*/ 127 h 183"/>
                <a:gd name="T26" fmla="*/ 98 w 212"/>
                <a:gd name="T27" fmla="*/ 127 h 183"/>
                <a:gd name="T28" fmla="*/ 94 w 212"/>
                <a:gd name="T29" fmla="*/ 55 h 183"/>
                <a:gd name="T30" fmla="*/ 118 w 212"/>
                <a:gd name="T31" fmla="*/ 55 h 183"/>
                <a:gd name="T32" fmla="*/ 114 w 212"/>
                <a:gd name="T33" fmla="*/ 12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183">
                  <a:moveTo>
                    <a:pt x="203" y="154"/>
                  </a:moveTo>
                  <a:cubicBezTo>
                    <a:pt x="123" y="16"/>
                    <a:pt x="123" y="16"/>
                    <a:pt x="123" y="16"/>
                  </a:cubicBezTo>
                  <a:cubicBezTo>
                    <a:pt x="114" y="0"/>
                    <a:pt x="99" y="0"/>
                    <a:pt x="89" y="16"/>
                  </a:cubicBezTo>
                  <a:cubicBezTo>
                    <a:pt x="9" y="154"/>
                    <a:pt x="9" y="154"/>
                    <a:pt x="9" y="154"/>
                  </a:cubicBezTo>
                  <a:cubicBezTo>
                    <a:pt x="0" y="170"/>
                    <a:pt x="8" y="183"/>
                    <a:pt x="26" y="183"/>
                  </a:cubicBezTo>
                  <a:cubicBezTo>
                    <a:pt x="186" y="183"/>
                    <a:pt x="186" y="183"/>
                    <a:pt x="186" y="183"/>
                  </a:cubicBezTo>
                  <a:cubicBezTo>
                    <a:pt x="205" y="183"/>
                    <a:pt x="212" y="170"/>
                    <a:pt x="203" y="154"/>
                  </a:cubicBezTo>
                  <a:close/>
                  <a:moveTo>
                    <a:pt x="116" y="157"/>
                  </a:moveTo>
                  <a:cubicBezTo>
                    <a:pt x="96" y="157"/>
                    <a:pt x="96" y="157"/>
                    <a:pt x="96" y="157"/>
                  </a:cubicBezTo>
                  <a:cubicBezTo>
                    <a:pt x="96" y="138"/>
                    <a:pt x="96" y="138"/>
                    <a:pt x="96" y="138"/>
                  </a:cubicBezTo>
                  <a:cubicBezTo>
                    <a:pt x="116" y="138"/>
                    <a:pt x="116" y="138"/>
                    <a:pt x="116" y="138"/>
                  </a:cubicBezTo>
                  <a:lnTo>
                    <a:pt x="116" y="157"/>
                  </a:lnTo>
                  <a:close/>
                  <a:moveTo>
                    <a:pt x="114" y="127"/>
                  </a:moveTo>
                  <a:cubicBezTo>
                    <a:pt x="98" y="127"/>
                    <a:pt x="98" y="127"/>
                    <a:pt x="98" y="127"/>
                  </a:cubicBezTo>
                  <a:cubicBezTo>
                    <a:pt x="94" y="55"/>
                    <a:pt x="94" y="55"/>
                    <a:pt x="94" y="55"/>
                  </a:cubicBezTo>
                  <a:cubicBezTo>
                    <a:pt x="118" y="55"/>
                    <a:pt x="118" y="55"/>
                    <a:pt x="118" y="55"/>
                  </a:cubicBezTo>
                  <a:lnTo>
                    <a:pt x="114" y="127"/>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56" name="TextBox 55">
              <a:extLst>
                <a:ext uri="{FF2B5EF4-FFF2-40B4-BE49-F238E27FC236}">
                  <a16:creationId xmlns:a16="http://schemas.microsoft.com/office/drawing/2014/main" id="{C0BBFBDE-B3D9-944B-AACD-6599F2986627}"/>
                </a:ext>
              </a:extLst>
            </p:cNvPr>
            <p:cNvSpPr txBox="1"/>
            <p:nvPr/>
          </p:nvSpPr>
          <p:spPr>
            <a:xfrm>
              <a:off x="2168486" y="4234519"/>
              <a:ext cx="817595" cy="214842"/>
            </a:xfrm>
            <a:prstGeom prst="rect">
              <a:avLst/>
            </a:prstGeom>
            <a:noFill/>
          </p:spPr>
          <p:txBody>
            <a:bodyPr wrap="none" lIns="0" tIns="0" rIns="0" bIns="0" rtlCol="0">
              <a:spAutoFit/>
            </a:bodyPr>
            <a:lstStyle/>
            <a:p>
              <a:pP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sp>
          <p:nvSpPr>
            <p:cNvPr id="57" name="TextBox 56">
              <a:extLst>
                <a:ext uri="{FF2B5EF4-FFF2-40B4-BE49-F238E27FC236}">
                  <a16:creationId xmlns:a16="http://schemas.microsoft.com/office/drawing/2014/main" id="{1C64E52B-7A4E-3845-BFB1-908C904089D1}"/>
                </a:ext>
              </a:extLst>
            </p:cNvPr>
            <p:cNvSpPr txBox="1"/>
            <p:nvPr/>
          </p:nvSpPr>
          <p:spPr>
            <a:xfrm>
              <a:off x="2215340" y="2941855"/>
              <a:ext cx="817595" cy="214842"/>
            </a:xfrm>
            <a:prstGeom prst="rect">
              <a:avLst/>
            </a:prstGeom>
            <a:noFill/>
          </p:spPr>
          <p:txBody>
            <a:bodyPr wrap="none" lIns="0" tIns="0" rIns="0" bIns="0" rtlCol="0">
              <a:spAutoFit/>
            </a:bodyPr>
            <a:lstStyle/>
            <a:p>
              <a:pPr algn="ct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grpSp>
          <p:nvGrpSpPr>
            <p:cNvPr id="58" name="Group 57">
              <a:extLst>
                <a:ext uri="{FF2B5EF4-FFF2-40B4-BE49-F238E27FC236}">
                  <a16:creationId xmlns:a16="http://schemas.microsoft.com/office/drawing/2014/main" id="{D3F42649-EEC3-8E47-B507-834DDF5A202F}"/>
                </a:ext>
              </a:extLst>
            </p:cNvPr>
            <p:cNvGrpSpPr/>
            <p:nvPr/>
          </p:nvGrpSpPr>
          <p:grpSpPr>
            <a:xfrm>
              <a:off x="2362796" y="2508065"/>
              <a:ext cx="522684" cy="363606"/>
              <a:chOff x="7823201" y="1574800"/>
              <a:chExt cx="255588" cy="177800"/>
            </a:xfrm>
          </p:grpSpPr>
          <p:sp>
            <p:nvSpPr>
              <p:cNvPr id="59" name="Freeform 5">
                <a:extLst>
                  <a:ext uri="{FF2B5EF4-FFF2-40B4-BE49-F238E27FC236}">
                    <a16:creationId xmlns:a16="http://schemas.microsoft.com/office/drawing/2014/main" id="{874EE1F1-049A-6847-A63E-0125CCB46A49}"/>
                  </a:ext>
                </a:extLst>
              </p:cNvPr>
              <p:cNvSpPr>
                <a:spLocks noEditPoints="1"/>
              </p:cNvSpPr>
              <p:nvPr/>
            </p:nvSpPr>
            <p:spPr bwMode="auto">
              <a:xfrm>
                <a:off x="7823201" y="1574800"/>
                <a:ext cx="255588" cy="177800"/>
              </a:xfrm>
              <a:custGeom>
                <a:avLst/>
                <a:gdLst>
                  <a:gd name="T0" fmla="*/ 121 w 601"/>
                  <a:gd name="T1" fmla="*/ 411 h 422"/>
                  <a:gd name="T2" fmla="*/ 121 w 601"/>
                  <a:gd name="T3" fmla="*/ 411 h 422"/>
                  <a:gd name="T4" fmla="*/ 11 w 601"/>
                  <a:gd name="T5" fmla="*/ 301 h 422"/>
                  <a:gd name="T6" fmla="*/ 16 w 601"/>
                  <a:gd name="T7" fmla="*/ 270 h 422"/>
                  <a:gd name="T8" fmla="*/ 121 w 601"/>
                  <a:gd name="T9" fmla="*/ 191 h 422"/>
                  <a:gd name="T10" fmla="*/ 223 w 601"/>
                  <a:gd name="T11" fmla="*/ 261 h 422"/>
                  <a:gd name="T12" fmla="*/ 231 w 601"/>
                  <a:gd name="T13" fmla="*/ 301 h 422"/>
                  <a:gd name="T14" fmla="*/ 121 w 601"/>
                  <a:gd name="T15" fmla="*/ 411 h 422"/>
                  <a:gd name="T16" fmla="*/ 344 w 601"/>
                  <a:gd name="T17" fmla="*/ 257 h 422"/>
                  <a:gd name="T18" fmla="*/ 344 w 601"/>
                  <a:gd name="T19" fmla="*/ 257 h 422"/>
                  <a:gd name="T20" fmla="*/ 302 w 601"/>
                  <a:gd name="T21" fmla="*/ 286 h 422"/>
                  <a:gd name="T22" fmla="*/ 262 w 601"/>
                  <a:gd name="T23" fmla="*/ 260 h 422"/>
                  <a:gd name="T24" fmla="*/ 258 w 601"/>
                  <a:gd name="T25" fmla="*/ 242 h 422"/>
                  <a:gd name="T26" fmla="*/ 302 w 601"/>
                  <a:gd name="T27" fmla="*/ 199 h 422"/>
                  <a:gd name="T28" fmla="*/ 346 w 601"/>
                  <a:gd name="T29" fmla="*/ 242 h 422"/>
                  <a:gd name="T30" fmla="*/ 344 w 601"/>
                  <a:gd name="T31" fmla="*/ 257 h 422"/>
                  <a:gd name="T32" fmla="*/ 481 w 601"/>
                  <a:gd name="T33" fmla="*/ 411 h 422"/>
                  <a:gd name="T34" fmla="*/ 481 w 601"/>
                  <a:gd name="T35" fmla="*/ 411 h 422"/>
                  <a:gd name="T36" fmla="*/ 371 w 601"/>
                  <a:gd name="T37" fmla="*/ 301 h 422"/>
                  <a:gd name="T38" fmla="*/ 381 w 601"/>
                  <a:gd name="T39" fmla="*/ 255 h 422"/>
                  <a:gd name="T40" fmla="*/ 481 w 601"/>
                  <a:gd name="T41" fmla="*/ 191 h 422"/>
                  <a:gd name="T42" fmla="*/ 576 w 601"/>
                  <a:gd name="T43" fmla="*/ 247 h 422"/>
                  <a:gd name="T44" fmla="*/ 591 w 601"/>
                  <a:gd name="T45" fmla="*/ 301 h 422"/>
                  <a:gd name="T46" fmla="*/ 481 w 601"/>
                  <a:gd name="T47" fmla="*/ 411 h 422"/>
                  <a:gd name="T48" fmla="*/ 579 w 601"/>
                  <a:gd name="T49" fmla="*/ 231 h 422"/>
                  <a:gd name="T50" fmla="*/ 579 w 601"/>
                  <a:gd name="T51" fmla="*/ 231 h 422"/>
                  <a:gd name="T52" fmla="*/ 451 w 601"/>
                  <a:gd name="T53" fmla="*/ 72 h 422"/>
                  <a:gd name="T54" fmla="*/ 452 w 601"/>
                  <a:gd name="T55" fmla="*/ 61 h 422"/>
                  <a:gd name="T56" fmla="*/ 383 w 601"/>
                  <a:gd name="T57" fmla="*/ 0 h 422"/>
                  <a:gd name="T58" fmla="*/ 314 w 601"/>
                  <a:gd name="T59" fmla="*/ 61 h 422"/>
                  <a:gd name="T60" fmla="*/ 293 w 601"/>
                  <a:gd name="T61" fmla="*/ 61 h 422"/>
                  <a:gd name="T62" fmla="*/ 224 w 601"/>
                  <a:gd name="T63" fmla="*/ 0 h 422"/>
                  <a:gd name="T64" fmla="*/ 155 w 601"/>
                  <a:gd name="T65" fmla="*/ 61 h 422"/>
                  <a:gd name="T66" fmla="*/ 156 w 601"/>
                  <a:gd name="T67" fmla="*/ 71 h 422"/>
                  <a:gd name="T68" fmla="*/ 18 w 601"/>
                  <a:gd name="T69" fmla="*/ 239 h 422"/>
                  <a:gd name="T70" fmla="*/ 0 w 601"/>
                  <a:gd name="T71" fmla="*/ 301 h 422"/>
                  <a:gd name="T72" fmla="*/ 121 w 601"/>
                  <a:gd name="T73" fmla="*/ 422 h 422"/>
                  <a:gd name="T74" fmla="*/ 241 w 601"/>
                  <a:gd name="T75" fmla="*/ 301 h 422"/>
                  <a:gd name="T76" fmla="*/ 239 w 601"/>
                  <a:gd name="T77" fmla="*/ 277 h 422"/>
                  <a:gd name="T78" fmla="*/ 302 w 601"/>
                  <a:gd name="T79" fmla="*/ 314 h 422"/>
                  <a:gd name="T80" fmla="*/ 362 w 601"/>
                  <a:gd name="T81" fmla="*/ 283 h 422"/>
                  <a:gd name="T82" fmla="*/ 360 w 601"/>
                  <a:gd name="T83" fmla="*/ 301 h 422"/>
                  <a:gd name="T84" fmla="*/ 481 w 601"/>
                  <a:gd name="T85" fmla="*/ 422 h 422"/>
                  <a:gd name="T86" fmla="*/ 601 w 601"/>
                  <a:gd name="T87" fmla="*/ 301 h 422"/>
                  <a:gd name="T88" fmla="*/ 579 w 601"/>
                  <a:gd name="T89" fmla="*/ 231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1" h="422">
                    <a:moveTo>
                      <a:pt x="121" y="411"/>
                    </a:moveTo>
                    <a:lnTo>
                      <a:pt x="121" y="411"/>
                    </a:lnTo>
                    <a:cubicBezTo>
                      <a:pt x="60" y="411"/>
                      <a:pt x="11" y="362"/>
                      <a:pt x="11" y="301"/>
                    </a:cubicBezTo>
                    <a:cubicBezTo>
                      <a:pt x="11" y="290"/>
                      <a:pt x="13" y="280"/>
                      <a:pt x="16" y="270"/>
                    </a:cubicBezTo>
                    <a:cubicBezTo>
                      <a:pt x="29" y="224"/>
                      <a:pt x="71" y="191"/>
                      <a:pt x="121" y="191"/>
                    </a:cubicBezTo>
                    <a:cubicBezTo>
                      <a:pt x="167" y="191"/>
                      <a:pt x="207" y="220"/>
                      <a:pt x="223" y="261"/>
                    </a:cubicBezTo>
                    <a:cubicBezTo>
                      <a:pt x="228" y="274"/>
                      <a:pt x="231" y="287"/>
                      <a:pt x="231" y="301"/>
                    </a:cubicBezTo>
                    <a:cubicBezTo>
                      <a:pt x="231" y="362"/>
                      <a:pt x="181" y="411"/>
                      <a:pt x="121" y="411"/>
                    </a:cubicBezTo>
                    <a:close/>
                    <a:moveTo>
                      <a:pt x="344" y="257"/>
                    </a:moveTo>
                    <a:lnTo>
                      <a:pt x="344" y="257"/>
                    </a:lnTo>
                    <a:cubicBezTo>
                      <a:pt x="338" y="274"/>
                      <a:pt x="321" y="286"/>
                      <a:pt x="302" y="286"/>
                    </a:cubicBezTo>
                    <a:cubicBezTo>
                      <a:pt x="284" y="286"/>
                      <a:pt x="269" y="275"/>
                      <a:pt x="262" y="260"/>
                    </a:cubicBezTo>
                    <a:cubicBezTo>
                      <a:pt x="260" y="255"/>
                      <a:pt x="258" y="249"/>
                      <a:pt x="258" y="242"/>
                    </a:cubicBezTo>
                    <a:cubicBezTo>
                      <a:pt x="258" y="218"/>
                      <a:pt x="278" y="199"/>
                      <a:pt x="302" y="199"/>
                    </a:cubicBezTo>
                    <a:cubicBezTo>
                      <a:pt x="326" y="199"/>
                      <a:pt x="346" y="218"/>
                      <a:pt x="346" y="242"/>
                    </a:cubicBezTo>
                    <a:cubicBezTo>
                      <a:pt x="346" y="247"/>
                      <a:pt x="345" y="252"/>
                      <a:pt x="344" y="257"/>
                    </a:cubicBezTo>
                    <a:close/>
                    <a:moveTo>
                      <a:pt x="481" y="411"/>
                    </a:moveTo>
                    <a:lnTo>
                      <a:pt x="481" y="411"/>
                    </a:lnTo>
                    <a:cubicBezTo>
                      <a:pt x="420" y="411"/>
                      <a:pt x="371" y="362"/>
                      <a:pt x="371" y="301"/>
                    </a:cubicBezTo>
                    <a:cubicBezTo>
                      <a:pt x="371" y="285"/>
                      <a:pt x="375" y="269"/>
                      <a:pt x="381" y="255"/>
                    </a:cubicBezTo>
                    <a:cubicBezTo>
                      <a:pt x="399" y="217"/>
                      <a:pt x="437" y="191"/>
                      <a:pt x="481" y="191"/>
                    </a:cubicBezTo>
                    <a:cubicBezTo>
                      <a:pt x="522" y="191"/>
                      <a:pt x="558" y="214"/>
                      <a:pt x="576" y="247"/>
                    </a:cubicBezTo>
                    <a:cubicBezTo>
                      <a:pt x="585" y="263"/>
                      <a:pt x="591" y="281"/>
                      <a:pt x="591" y="301"/>
                    </a:cubicBezTo>
                    <a:cubicBezTo>
                      <a:pt x="591" y="362"/>
                      <a:pt x="541" y="411"/>
                      <a:pt x="481" y="411"/>
                    </a:cubicBezTo>
                    <a:close/>
                    <a:moveTo>
                      <a:pt x="579" y="231"/>
                    </a:moveTo>
                    <a:lnTo>
                      <a:pt x="579" y="231"/>
                    </a:lnTo>
                    <a:cubicBezTo>
                      <a:pt x="544" y="162"/>
                      <a:pt x="479" y="98"/>
                      <a:pt x="451" y="72"/>
                    </a:cubicBezTo>
                    <a:cubicBezTo>
                      <a:pt x="452" y="69"/>
                      <a:pt x="452" y="65"/>
                      <a:pt x="452" y="61"/>
                    </a:cubicBezTo>
                    <a:cubicBezTo>
                      <a:pt x="452" y="28"/>
                      <a:pt x="421" y="0"/>
                      <a:pt x="383" y="0"/>
                    </a:cubicBezTo>
                    <a:cubicBezTo>
                      <a:pt x="345" y="0"/>
                      <a:pt x="314" y="27"/>
                      <a:pt x="314" y="61"/>
                    </a:cubicBezTo>
                    <a:lnTo>
                      <a:pt x="293" y="61"/>
                    </a:lnTo>
                    <a:cubicBezTo>
                      <a:pt x="293" y="27"/>
                      <a:pt x="262" y="0"/>
                      <a:pt x="224" y="0"/>
                    </a:cubicBezTo>
                    <a:cubicBezTo>
                      <a:pt x="186" y="0"/>
                      <a:pt x="155" y="28"/>
                      <a:pt x="155" y="61"/>
                    </a:cubicBezTo>
                    <a:cubicBezTo>
                      <a:pt x="155" y="65"/>
                      <a:pt x="155" y="68"/>
                      <a:pt x="156" y="71"/>
                    </a:cubicBezTo>
                    <a:cubicBezTo>
                      <a:pt x="70" y="148"/>
                      <a:pt x="33" y="206"/>
                      <a:pt x="18" y="239"/>
                    </a:cubicBezTo>
                    <a:cubicBezTo>
                      <a:pt x="7" y="257"/>
                      <a:pt x="0" y="278"/>
                      <a:pt x="0" y="301"/>
                    </a:cubicBezTo>
                    <a:cubicBezTo>
                      <a:pt x="0" y="368"/>
                      <a:pt x="54" y="422"/>
                      <a:pt x="121" y="422"/>
                    </a:cubicBezTo>
                    <a:cubicBezTo>
                      <a:pt x="187" y="422"/>
                      <a:pt x="241" y="368"/>
                      <a:pt x="241" y="301"/>
                    </a:cubicBezTo>
                    <a:cubicBezTo>
                      <a:pt x="241" y="293"/>
                      <a:pt x="241" y="285"/>
                      <a:pt x="239" y="277"/>
                    </a:cubicBezTo>
                    <a:cubicBezTo>
                      <a:pt x="251" y="299"/>
                      <a:pt x="275" y="314"/>
                      <a:pt x="302" y="314"/>
                    </a:cubicBezTo>
                    <a:cubicBezTo>
                      <a:pt x="327" y="314"/>
                      <a:pt x="349" y="302"/>
                      <a:pt x="362" y="283"/>
                    </a:cubicBezTo>
                    <a:cubicBezTo>
                      <a:pt x="361" y="289"/>
                      <a:pt x="360" y="295"/>
                      <a:pt x="360" y="301"/>
                    </a:cubicBezTo>
                    <a:cubicBezTo>
                      <a:pt x="360" y="368"/>
                      <a:pt x="414" y="422"/>
                      <a:pt x="481" y="422"/>
                    </a:cubicBezTo>
                    <a:cubicBezTo>
                      <a:pt x="547" y="422"/>
                      <a:pt x="601" y="368"/>
                      <a:pt x="601" y="301"/>
                    </a:cubicBezTo>
                    <a:cubicBezTo>
                      <a:pt x="601" y="275"/>
                      <a:pt x="593" y="251"/>
                      <a:pt x="579" y="231"/>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0" name="Freeform 6">
                <a:extLst>
                  <a:ext uri="{FF2B5EF4-FFF2-40B4-BE49-F238E27FC236}">
                    <a16:creationId xmlns:a16="http://schemas.microsoft.com/office/drawing/2014/main" id="{875D557D-C936-2F46-BCC0-04B13AC61F04}"/>
                  </a:ext>
                </a:extLst>
              </p:cNvPr>
              <p:cNvSpPr>
                <a:spLocks/>
              </p:cNvSpPr>
              <p:nvPr/>
            </p:nvSpPr>
            <p:spPr bwMode="auto">
              <a:xfrm>
                <a:off x="7834313" y="1693863"/>
                <a:ext cx="47625" cy="46038"/>
              </a:xfrm>
              <a:custGeom>
                <a:avLst/>
                <a:gdLst>
                  <a:gd name="T0" fmla="*/ 27 w 113"/>
                  <a:gd name="T1" fmla="*/ 0 h 109"/>
                  <a:gd name="T2" fmla="*/ 27 w 113"/>
                  <a:gd name="T3" fmla="*/ 0 h 109"/>
                  <a:gd name="T4" fmla="*/ 113 w 113"/>
                  <a:gd name="T5" fmla="*/ 89 h 109"/>
                  <a:gd name="T6" fmla="*/ 27 w 113"/>
                  <a:gd name="T7" fmla="*/ 0 h 109"/>
                </a:gdLst>
                <a:ahLst/>
                <a:cxnLst>
                  <a:cxn ang="0">
                    <a:pos x="T0" y="T1"/>
                  </a:cxn>
                  <a:cxn ang="0">
                    <a:pos x="T2" y="T3"/>
                  </a:cxn>
                  <a:cxn ang="0">
                    <a:pos x="T4" y="T5"/>
                  </a:cxn>
                  <a:cxn ang="0">
                    <a:pos x="T6" y="T7"/>
                  </a:cxn>
                </a:cxnLst>
                <a:rect l="0" t="0" r="r" b="b"/>
                <a:pathLst>
                  <a:path w="113" h="109">
                    <a:moveTo>
                      <a:pt x="27" y="0"/>
                    </a:moveTo>
                    <a:lnTo>
                      <a:pt x="27" y="0"/>
                    </a:lnTo>
                    <a:cubicBezTo>
                      <a:pt x="27" y="0"/>
                      <a:pt x="0" y="109"/>
                      <a:pt x="113" y="89"/>
                    </a:cubicBezTo>
                    <a:cubicBezTo>
                      <a:pt x="113" y="89"/>
                      <a:pt x="35" y="73"/>
                      <a:pt x="27" y="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1" name="Freeform 7">
                <a:extLst>
                  <a:ext uri="{FF2B5EF4-FFF2-40B4-BE49-F238E27FC236}">
                    <a16:creationId xmlns:a16="http://schemas.microsoft.com/office/drawing/2014/main" id="{DCD29FD6-6250-544D-95C9-67BB684841A5}"/>
                  </a:ext>
                </a:extLst>
              </p:cNvPr>
              <p:cNvSpPr>
                <a:spLocks/>
              </p:cNvSpPr>
              <p:nvPr/>
            </p:nvSpPr>
            <p:spPr bwMode="auto">
              <a:xfrm>
                <a:off x="7985126" y="1693863"/>
                <a:ext cx="49213" cy="46038"/>
              </a:xfrm>
              <a:custGeom>
                <a:avLst/>
                <a:gdLst>
                  <a:gd name="T0" fmla="*/ 27 w 113"/>
                  <a:gd name="T1" fmla="*/ 0 h 109"/>
                  <a:gd name="T2" fmla="*/ 27 w 113"/>
                  <a:gd name="T3" fmla="*/ 0 h 109"/>
                  <a:gd name="T4" fmla="*/ 113 w 113"/>
                  <a:gd name="T5" fmla="*/ 89 h 109"/>
                  <a:gd name="T6" fmla="*/ 27 w 113"/>
                  <a:gd name="T7" fmla="*/ 0 h 109"/>
                </a:gdLst>
                <a:ahLst/>
                <a:cxnLst>
                  <a:cxn ang="0">
                    <a:pos x="T0" y="T1"/>
                  </a:cxn>
                  <a:cxn ang="0">
                    <a:pos x="T2" y="T3"/>
                  </a:cxn>
                  <a:cxn ang="0">
                    <a:pos x="T4" y="T5"/>
                  </a:cxn>
                  <a:cxn ang="0">
                    <a:pos x="T6" y="T7"/>
                  </a:cxn>
                </a:cxnLst>
                <a:rect l="0" t="0" r="r" b="b"/>
                <a:pathLst>
                  <a:path w="113" h="109">
                    <a:moveTo>
                      <a:pt x="27" y="0"/>
                    </a:moveTo>
                    <a:lnTo>
                      <a:pt x="27" y="0"/>
                    </a:lnTo>
                    <a:cubicBezTo>
                      <a:pt x="27" y="0"/>
                      <a:pt x="0" y="109"/>
                      <a:pt x="113" y="89"/>
                    </a:cubicBezTo>
                    <a:cubicBezTo>
                      <a:pt x="113" y="89"/>
                      <a:pt x="35" y="73"/>
                      <a:pt x="27" y="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grpSp>
        <p:sp>
          <p:nvSpPr>
            <p:cNvPr id="62" name="Freeform 171">
              <a:extLst>
                <a:ext uri="{FF2B5EF4-FFF2-40B4-BE49-F238E27FC236}">
                  <a16:creationId xmlns:a16="http://schemas.microsoft.com/office/drawing/2014/main" id="{C16E0775-D1A7-B34B-9ED8-66C9219BB8F7}"/>
                </a:ext>
              </a:extLst>
            </p:cNvPr>
            <p:cNvSpPr>
              <a:spLocks noEditPoints="1"/>
            </p:cNvSpPr>
            <p:nvPr/>
          </p:nvSpPr>
          <p:spPr bwMode="auto">
            <a:xfrm>
              <a:off x="9397545" y="2935065"/>
              <a:ext cx="439221" cy="420125"/>
            </a:xfrm>
            <a:custGeom>
              <a:avLst/>
              <a:gdLst>
                <a:gd name="T0" fmla="*/ 665 w 691"/>
                <a:gd name="T1" fmla="*/ 592 h 662"/>
                <a:gd name="T2" fmla="*/ 626 w 691"/>
                <a:gd name="T3" fmla="*/ 0 h 662"/>
                <a:gd name="T4" fmla="*/ 100 w 691"/>
                <a:gd name="T5" fmla="*/ 592 h 662"/>
                <a:gd name="T6" fmla="*/ 61 w 691"/>
                <a:gd name="T7" fmla="*/ 0 h 662"/>
                <a:gd name="T8" fmla="*/ 25 w 691"/>
                <a:gd name="T9" fmla="*/ 592 h 662"/>
                <a:gd name="T10" fmla="*/ 25 w 691"/>
                <a:gd name="T11" fmla="*/ 662 h 662"/>
                <a:gd name="T12" fmla="*/ 691 w 691"/>
                <a:gd name="T13" fmla="*/ 616 h 662"/>
                <a:gd name="T14" fmla="*/ 529 w 691"/>
                <a:gd name="T15" fmla="*/ 479 h 662"/>
                <a:gd name="T16" fmla="*/ 436 w 691"/>
                <a:gd name="T17" fmla="*/ 479 h 662"/>
                <a:gd name="T18" fmla="*/ 343 w 691"/>
                <a:gd name="T19" fmla="*/ 479 h 662"/>
                <a:gd name="T20" fmla="*/ 157 w 691"/>
                <a:gd name="T21" fmla="*/ 479 h 662"/>
                <a:gd name="T22" fmla="*/ 194 w 691"/>
                <a:gd name="T23" fmla="*/ 525 h 662"/>
                <a:gd name="T24" fmla="*/ 380 w 691"/>
                <a:gd name="T25" fmla="*/ 525 h 662"/>
                <a:gd name="T26" fmla="*/ 473 w 691"/>
                <a:gd name="T27" fmla="*/ 525 h 662"/>
                <a:gd name="T28" fmla="*/ 566 w 691"/>
                <a:gd name="T29" fmla="*/ 517 h 662"/>
                <a:gd name="T30" fmla="*/ 529 w 691"/>
                <a:gd name="T31" fmla="*/ 372 h 662"/>
                <a:gd name="T32" fmla="*/ 436 w 691"/>
                <a:gd name="T33" fmla="*/ 372 h 662"/>
                <a:gd name="T34" fmla="*/ 250 w 691"/>
                <a:gd name="T35" fmla="*/ 372 h 662"/>
                <a:gd name="T36" fmla="*/ 157 w 691"/>
                <a:gd name="T37" fmla="*/ 372 h 662"/>
                <a:gd name="T38" fmla="*/ 194 w 691"/>
                <a:gd name="T39" fmla="*/ 417 h 662"/>
                <a:gd name="T40" fmla="*/ 287 w 691"/>
                <a:gd name="T41" fmla="*/ 417 h 662"/>
                <a:gd name="T42" fmla="*/ 473 w 691"/>
                <a:gd name="T43" fmla="*/ 417 h 662"/>
                <a:gd name="T44" fmla="*/ 566 w 691"/>
                <a:gd name="T45" fmla="*/ 410 h 662"/>
                <a:gd name="T46" fmla="*/ 529 w 691"/>
                <a:gd name="T47" fmla="*/ 265 h 662"/>
                <a:gd name="T48" fmla="*/ 343 w 691"/>
                <a:gd name="T49" fmla="*/ 265 h 662"/>
                <a:gd name="T50" fmla="*/ 250 w 691"/>
                <a:gd name="T51" fmla="*/ 265 h 662"/>
                <a:gd name="T52" fmla="*/ 157 w 691"/>
                <a:gd name="T53" fmla="*/ 265 h 662"/>
                <a:gd name="T54" fmla="*/ 194 w 691"/>
                <a:gd name="T55" fmla="*/ 310 h 662"/>
                <a:gd name="T56" fmla="*/ 287 w 691"/>
                <a:gd name="T57" fmla="*/ 310 h 662"/>
                <a:gd name="T58" fmla="*/ 380 w 691"/>
                <a:gd name="T59" fmla="*/ 310 h 662"/>
                <a:gd name="T60" fmla="*/ 566 w 691"/>
                <a:gd name="T61" fmla="*/ 302 h 662"/>
                <a:gd name="T62" fmla="*/ 529 w 691"/>
                <a:gd name="T63" fmla="*/ 158 h 662"/>
                <a:gd name="T64" fmla="*/ 343 w 691"/>
                <a:gd name="T65" fmla="*/ 158 h 662"/>
                <a:gd name="T66" fmla="*/ 250 w 691"/>
                <a:gd name="T67" fmla="*/ 158 h 662"/>
                <a:gd name="T68" fmla="*/ 157 w 691"/>
                <a:gd name="T69" fmla="*/ 158 h 662"/>
                <a:gd name="T70" fmla="*/ 194 w 691"/>
                <a:gd name="T71" fmla="*/ 203 h 662"/>
                <a:gd name="T72" fmla="*/ 287 w 691"/>
                <a:gd name="T73" fmla="*/ 203 h 662"/>
                <a:gd name="T74" fmla="*/ 380 w 691"/>
                <a:gd name="T75" fmla="*/ 203 h 662"/>
                <a:gd name="T76" fmla="*/ 566 w 691"/>
                <a:gd name="T77" fmla="*/ 195 h 662"/>
                <a:gd name="T78" fmla="*/ 566 w 691"/>
                <a:gd name="T79" fmla="*/ 80 h 662"/>
                <a:gd name="T80" fmla="*/ 529 w 691"/>
                <a:gd name="T81" fmla="*/ 125 h 662"/>
                <a:gd name="T82" fmla="*/ 438 w 691"/>
                <a:gd name="T83" fmla="*/ 125 h 662"/>
                <a:gd name="T84" fmla="*/ 250 w 691"/>
                <a:gd name="T85" fmla="*/ 125 h 662"/>
                <a:gd name="T86" fmla="*/ 157 w 691"/>
                <a:gd name="T87" fmla="*/ 125 h 662"/>
                <a:gd name="T88" fmla="*/ 194 w 691"/>
                <a:gd name="T89" fmla="*/ 80 h 662"/>
                <a:gd name="T90" fmla="*/ 287 w 691"/>
                <a:gd name="T91" fmla="*/ 80 h 662"/>
                <a:gd name="T92" fmla="*/ 475 w 691"/>
                <a:gd name="T93" fmla="*/ 80 h 662"/>
                <a:gd name="T94" fmla="*/ 565 w 691"/>
                <a:gd name="T95" fmla="*/ 8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1" h="662">
                  <a:moveTo>
                    <a:pt x="667" y="592"/>
                  </a:moveTo>
                  <a:lnTo>
                    <a:pt x="667" y="592"/>
                  </a:lnTo>
                  <a:lnTo>
                    <a:pt x="665" y="592"/>
                  </a:lnTo>
                  <a:lnTo>
                    <a:pt x="665" y="34"/>
                  </a:lnTo>
                  <a:cubicBezTo>
                    <a:pt x="665" y="16"/>
                    <a:pt x="650" y="0"/>
                    <a:pt x="631" y="0"/>
                  </a:cubicBezTo>
                  <a:lnTo>
                    <a:pt x="626" y="0"/>
                  </a:lnTo>
                  <a:cubicBezTo>
                    <a:pt x="607" y="0"/>
                    <a:pt x="592" y="16"/>
                    <a:pt x="592" y="34"/>
                  </a:cubicBezTo>
                  <a:lnTo>
                    <a:pt x="592" y="592"/>
                  </a:lnTo>
                  <a:lnTo>
                    <a:pt x="100" y="592"/>
                  </a:lnTo>
                  <a:lnTo>
                    <a:pt x="100" y="34"/>
                  </a:lnTo>
                  <a:cubicBezTo>
                    <a:pt x="100" y="16"/>
                    <a:pt x="85" y="0"/>
                    <a:pt x="66" y="0"/>
                  </a:cubicBezTo>
                  <a:lnTo>
                    <a:pt x="61" y="0"/>
                  </a:lnTo>
                  <a:cubicBezTo>
                    <a:pt x="42" y="0"/>
                    <a:pt x="27" y="16"/>
                    <a:pt x="27" y="34"/>
                  </a:cubicBezTo>
                  <a:lnTo>
                    <a:pt x="27" y="592"/>
                  </a:lnTo>
                  <a:lnTo>
                    <a:pt x="25" y="592"/>
                  </a:lnTo>
                  <a:cubicBezTo>
                    <a:pt x="11" y="592"/>
                    <a:pt x="0" y="603"/>
                    <a:pt x="0" y="616"/>
                  </a:cubicBezTo>
                  <a:lnTo>
                    <a:pt x="0" y="637"/>
                  </a:lnTo>
                  <a:cubicBezTo>
                    <a:pt x="0" y="651"/>
                    <a:pt x="11" y="662"/>
                    <a:pt x="25" y="662"/>
                  </a:cubicBezTo>
                  <a:lnTo>
                    <a:pt x="667" y="662"/>
                  </a:lnTo>
                  <a:cubicBezTo>
                    <a:pt x="681" y="662"/>
                    <a:pt x="691" y="651"/>
                    <a:pt x="691" y="637"/>
                  </a:cubicBezTo>
                  <a:lnTo>
                    <a:pt x="691" y="616"/>
                  </a:lnTo>
                  <a:cubicBezTo>
                    <a:pt x="691" y="603"/>
                    <a:pt x="681" y="592"/>
                    <a:pt x="667" y="592"/>
                  </a:cubicBezTo>
                  <a:close/>
                  <a:moveTo>
                    <a:pt x="529" y="479"/>
                  </a:moveTo>
                  <a:lnTo>
                    <a:pt x="529" y="479"/>
                  </a:lnTo>
                  <a:cubicBezTo>
                    <a:pt x="511" y="479"/>
                    <a:pt x="496" y="492"/>
                    <a:pt x="493" y="509"/>
                  </a:cubicBezTo>
                  <a:lnTo>
                    <a:pt x="473" y="509"/>
                  </a:lnTo>
                  <a:cubicBezTo>
                    <a:pt x="469" y="492"/>
                    <a:pt x="454" y="479"/>
                    <a:pt x="436" y="479"/>
                  </a:cubicBezTo>
                  <a:cubicBezTo>
                    <a:pt x="418" y="479"/>
                    <a:pt x="403" y="492"/>
                    <a:pt x="400" y="509"/>
                  </a:cubicBezTo>
                  <a:lnTo>
                    <a:pt x="380" y="509"/>
                  </a:lnTo>
                  <a:cubicBezTo>
                    <a:pt x="376" y="492"/>
                    <a:pt x="361" y="479"/>
                    <a:pt x="343" y="479"/>
                  </a:cubicBezTo>
                  <a:cubicBezTo>
                    <a:pt x="325" y="479"/>
                    <a:pt x="311" y="492"/>
                    <a:pt x="307" y="509"/>
                  </a:cubicBezTo>
                  <a:lnTo>
                    <a:pt x="194" y="509"/>
                  </a:lnTo>
                  <a:cubicBezTo>
                    <a:pt x="190" y="492"/>
                    <a:pt x="175" y="479"/>
                    <a:pt x="157" y="479"/>
                  </a:cubicBezTo>
                  <a:cubicBezTo>
                    <a:pt x="137" y="479"/>
                    <a:pt x="120" y="496"/>
                    <a:pt x="120" y="517"/>
                  </a:cubicBezTo>
                  <a:cubicBezTo>
                    <a:pt x="120" y="537"/>
                    <a:pt x="137" y="554"/>
                    <a:pt x="157" y="554"/>
                  </a:cubicBezTo>
                  <a:cubicBezTo>
                    <a:pt x="175" y="554"/>
                    <a:pt x="190" y="541"/>
                    <a:pt x="194" y="525"/>
                  </a:cubicBezTo>
                  <a:lnTo>
                    <a:pt x="307" y="525"/>
                  </a:lnTo>
                  <a:cubicBezTo>
                    <a:pt x="311" y="541"/>
                    <a:pt x="325" y="554"/>
                    <a:pt x="343" y="554"/>
                  </a:cubicBezTo>
                  <a:cubicBezTo>
                    <a:pt x="361" y="554"/>
                    <a:pt x="376" y="541"/>
                    <a:pt x="380" y="525"/>
                  </a:cubicBezTo>
                  <a:lnTo>
                    <a:pt x="400" y="525"/>
                  </a:lnTo>
                  <a:cubicBezTo>
                    <a:pt x="403" y="541"/>
                    <a:pt x="418" y="554"/>
                    <a:pt x="436" y="554"/>
                  </a:cubicBezTo>
                  <a:cubicBezTo>
                    <a:pt x="454" y="554"/>
                    <a:pt x="469" y="541"/>
                    <a:pt x="473" y="525"/>
                  </a:cubicBezTo>
                  <a:lnTo>
                    <a:pt x="493" y="525"/>
                  </a:lnTo>
                  <a:cubicBezTo>
                    <a:pt x="496" y="541"/>
                    <a:pt x="511" y="554"/>
                    <a:pt x="529" y="554"/>
                  </a:cubicBezTo>
                  <a:cubicBezTo>
                    <a:pt x="550" y="554"/>
                    <a:pt x="566" y="537"/>
                    <a:pt x="566" y="517"/>
                  </a:cubicBezTo>
                  <a:cubicBezTo>
                    <a:pt x="566" y="496"/>
                    <a:pt x="550" y="479"/>
                    <a:pt x="529" y="479"/>
                  </a:cubicBezTo>
                  <a:close/>
                  <a:moveTo>
                    <a:pt x="529" y="372"/>
                  </a:moveTo>
                  <a:lnTo>
                    <a:pt x="529" y="372"/>
                  </a:lnTo>
                  <a:cubicBezTo>
                    <a:pt x="511" y="372"/>
                    <a:pt x="496" y="385"/>
                    <a:pt x="493" y="402"/>
                  </a:cubicBezTo>
                  <a:lnTo>
                    <a:pt x="473" y="402"/>
                  </a:lnTo>
                  <a:cubicBezTo>
                    <a:pt x="469" y="385"/>
                    <a:pt x="454" y="372"/>
                    <a:pt x="436" y="372"/>
                  </a:cubicBezTo>
                  <a:cubicBezTo>
                    <a:pt x="418" y="372"/>
                    <a:pt x="403" y="385"/>
                    <a:pt x="400" y="402"/>
                  </a:cubicBezTo>
                  <a:lnTo>
                    <a:pt x="287" y="402"/>
                  </a:lnTo>
                  <a:cubicBezTo>
                    <a:pt x="283" y="385"/>
                    <a:pt x="268" y="372"/>
                    <a:pt x="250" y="372"/>
                  </a:cubicBezTo>
                  <a:cubicBezTo>
                    <a:pt x="233" y="372"/>
                    <a:pt x="218" y="385"/>
                    <a:pt x="214" y="402"/>
                  </a:cubicBezTo>
                  <a:lnTo>
                    <a:pt x="194" y="402"/>
                  </a:lnTo>
                  <a:cubicBezTo>
                    <a:pt x="190" y="385"/>
                    <a:pt x="175" y="372"/>
                    <a:pt x="157" y="372"/>
                  </a:cubicBezTo>
                  <a:cubicBezTo>
                    <a:pt x="137" y="372"/>
                    <a:pt x="120" y="389"/>
                    <a:pt x="120" y="410"/>
                  </a:cubicBezTo>
                  <a:cubicBezTo>
                    <a:pt x="120" y="430"/>
                    <a:pt x="137" y="447"/>
                    <a:pt x="157" y="447"/>
                  </a:cubicBezTo>
                  <a:cubicBezTo>
                    <a:pt x="175" y="447"/>
                    <a:pt x="190" y="434"/>
                    <a:pt x="194" y="417"/>
                  </a:cubicBezTo>
                  <a:lnTo>
                    <a:pt x="214" y="417"/>
                  </a:lnTo>
                  <a:cubicBezTo>
                    <a:pt x="218" y="434"/>
                    <a:pt x="233" y="447"/>
                    <a:pt x="250" y="447"/>
                  </a:cubicBezTo>
                  <a:cubicBezTo>
                    <a:pt x="268" y="447"/>
                    <a:pt x="283" y="434"/>
                    <a:pt x="287" y="417"/>
                  </a:cubicBezTo>
                  <a:lnTo>
                    <a:pt x="400" y="417"/>
                  </a:lnTo>
                  <a:cubicBezTo>
                    <a:pt x="403" y="434"/>
                    <a:pt x="418" y="447"/>
                    <a:pt x="436" y="447"/>
                  </a:cubicBezTo>
                  <a:cubicBezTo>
                    <a:pt x="454" y="447"/>
                    <a:pt x="469" y="434"/>
                    <a:pt x="473" y="417"/>
                  </a:cubicBezTo>
                  <a:lnTo>
                    <a:pt x="493" y="417"/>
                  </a:lnTo>
                  <a:cubicBezTo>
                    <a:pt x="496" y="434"/>
                    <a:pt x="511" y="447"/>
                    <a:pt x="529" y="447"/>
                  </a:cubicBezTo>
                  <a:cubicBezTo>
                    <a:pt x="550" y="447"/>
                    <a:pt x="566" y="430"/>
                    <a:pt x="566" y="410"/>
                  </a:cubicBezTo>
                  <a:cubicBezTo>
                    <a:pt x="566" y="389"/>
                    <a:pt x="550" y="372"/>
                    <a:pt x="529" y="372"/>
                  </a:cubicBezTo>
                  <a:close/>
                  <a:moveTo>
                    <a:pt x="529" y="265"/>
                  </a:moveTo>
                  <a:lnTo>
                    <a:pt x="529" y="265"/>
                  </a:lnTo>
                  <a:cubicBezTo>
                    <a:pt x="511" y="265"/>
                    <a:pt x="496" y="278"/>
                    <a:pt x="493" y="294"/>
                  </a:cubicBezTo>
                  <a:lnTo>
                    <a:pt x="380" y="294"/>
                  </a:lnTo>
                  <a:cubicBezTo>
                    <a:pt x="376" y="278"/>
                    <a:pt x="361" y="265"/>
                    <a:pt x="343" y="265"/>
                  </a:cubicBezTo>
                  <a:cubicBezTo>
                    <a:pt x="325" y="265"/>
                    <a:pt x="311" y="278"/>
                    <a:pt x="307" y="294"/>
                  </a:cubicBezTo>
                  <a:lnTo>
                    <a:pt x="287" y="294"/>
                  </a:lnTo>
                  <a:cubicBezTo>
                    <a:pt x="283" y="278"/>
                    <a:pt x="268" y="265"/>
                    <a:pt x="250" y="265"/>
                  </a:cubicBezTo>
                  <a:cubicBezTo>
                    <a:pt x="233" y="265"/>
                    <a:pt x="218" y="278"/>
                    <a:pt x="214" y="294"/>
                  </a:cubicBezTo>
                  <a:lnTo>
                    <a:pt x="194" y="294"/>
                  </a:lnTo>
                  <a:cubicBezTo>
                    <a:pt x="190" y="278"/>
                    <a:pt x="175" y="265"/>
                    <a:pt x="157" y="265"/>
                  </a:cubicBezTo>
                  <a:cubicBezTo>
                    <a:pt x="137" y="265"/>
                    <a:pt x="120" y="282"/>
                    <a:pt x="120" y="302"/>
                  </a:cubicBezTo>
                  <a:cubicBezTo>
                    <a:pt x="120" y="323"/>
                    <a:pt x="137" y="340"/>
                    <a:pt x="157" y="340"/>
                  </a:cubicBezTo>
                  <a:cubicBezTo>
                    <a:pt x="175" y="340"/>
                    <a:pt x="190" y="327"/>
                    <a:pt x="194" y="310"/>
                  </a:cubicBezTo>
                  <a:lnTo>
                    <a:pt x="214" y="310"/>
                  </a:lnTo>
                  <a:cubicBezTo>
                    <a:pt x="218" y="327"/>
                    <a:pt x="233" y="340"/>
                    <a:pt x="250" y="340"/>
                  </a:cubicBezTo>
                  <a:cubicBezTo>
                    <a:pt x="268" y="340"/>
                    <a:pt x="283" y="327"/>
                    <a:pt x="287" y="310"/>
                  </a:cubicBezTo>
                  <a:lnTo>
                    <a:pt x="307" y="310"/>
                  </a:lnTo>
                  <a:cubicBezTo>
                    <a:pt x="311" y="327"/>
                    <a:pt x="325" y="340"/>
                    <a:pt x="343" y="340"/>
                  </a:cubicBezTo>
                  <a:cubicBezTo>
                    <a:pt x="361" y="340"/>
                    <a:pt x="376" y="327"/>
                    <a:pt x="380" y="310"/>
                  </a:cubicBezTo>
                  <a:lnTo>
                    <a:pt x="493" y="310"/>
                  </a:lnTo>
                  <a:cubicBezTo>
                    <a:pt x="496" y="327"/>
                    <a:pt x="511" y="340"/>
                    <a:pt x="529" y="340"/>
                  </a:cubicBezTo>
                  <a:cubicBezTo>
                    <a:pt x="550" y="340"/>
                    <a:pt x="566" y="323"/>
                    <a:pt x="566" y="302"/>
                  </a:cubicBezTo>
                  <a:cubicBezTo>
                    <a:pt x="566" y="282"/>
                    <a:pt x="550" y="265"/>
                    <a:pt x="529" y="265"/>
                  </a:cubicBezTo>
                  <a:close/>
                  <a:moveTo>
                    <a:pt x="529" y="158"/>
                  </a:moveTo>
                  <a:lnTo>
                    <a:pt x="529" y="158"/>
                  </a:lnTo>
                  <a:cubicBezTo>
                    <a:pt x="511" y="158"/>
                    <a:pt x="496" y="171"/>
                    <a:pt x="493" y="187"/>
                  </a:cubicBezTo>
                  <a:lnTo>
                    <a:pt x="380" y="187"/>
                  </a:lnTo>
                  <a:cubicBezTo>
                    <a:pt x="376" y="171"/>
                    <a:pt x="361" y="158"/>
                    <a:pt x="343" y="158"/>
                  </a:cubicBezTo>
                  <a:cubicBezTo>
                    <a:pt x="325" y="158"/>
                    <a:pt x="311" y="171"/>
                    <a:pt x="307" y="187"/>
                  </a:cubicBezTo>
                  <a:lnTo>
                    <a:pt x="287" y="187"/>
                  </a:lnTo>
                  <a:cubicBezTo>
                    <a:pt x="283" y="171"/>
                    <a:pt x="268" y="158"/>
                    <a:pt x="250" y="158"/>
                  </a:cubicBezTo>
                  <a:cubicBezTo>
                    <a:pt x="233" y="158"/>
                    <a:pt x="218" y="171"/>
                    <a:pt x="214" y="187"/>
                  </a:cubicBezTo>
                  <a:lnTo>
                    <a:pt x="194" y="187"/>
                  </a:lnTo>
                  <a:cubicBezTo>
                    <a:pt x="190" y="171"/>
                    <a:pt x="175" y="158"/>
                    <a:pt x="157" y="158"/>
                  </a:cubicBezTo>
                  <a:cubicBezTo>
                    <a:pt x="137" y="158"/>
                    <a:pt x="120" y="175"/>
                    <a:pt x="120" y="195"/>
                  </a:cubicBezTo>
                  <a:cubicBezTo>
                    <a:pt x="120" y="216"/>
                    <a:pt x="137" y="232"/>
                    <a:pt x="157" y="232"/>
                  </a:cubicBezTo>
                  <a:cubicBezTo>
                    <a:pt x="175" y="232"/>
                    <a:pt x="190" y="220"/>
                    <a:pt x="194" y="203"/>
                  </a:cubicBezTo>
                  <a:lnTo>
                    <a:pt x="214" y="203"/>
                  </a:lnTo>
                  <a:cubicBezTo>
                    <a:pt x="218" y="220"/>
                    <a:pt x="233" y="232"/>
                    <a:pt x="250" y="232"/>
                  </a:cubicBezTo>
                  <a:cubicBezTo>
                    <a:pt x="268" y="232"/>
                    <a:pt x="283" y="220"/>
                    <a:pt x="287" y="203"/>
                  </a:cubicBezTo>
                  <a:lnTo>
                    <a:pt x="307" y="203"/>
                  </a:lnTo>
                  <a:cubicBezTo>
                    <a:pt x="311" y="220"/>
                    <a:pt x="325" y="232"/>
                    <a:pt x="343" y="232"/>
                  </a:cubicBezTo>
                  <a:cubicBezTo>
                    <a:pt x="361" y="232"/>
                    <a:pt x="376" y="220"/>
                    <a:pt x="380" y="203"/>
                  </a:cubicBezTo>
                  <a:lnTo>
                    <a:pt x="493" y="203"/>
                  </a:lnTo>
                  <a:cubicBezTo>
                    <a:pt x="496" y="220"/>
                    <a:pt x="511" y="232"/>
                    <a:pt x="529" y="232"/>
                  </a:cubicBezTo>
                  <a:cubicBezTo>
                    <a:pt x="550" y="232"/>
                    <a:pt x="566" y="216"/>
                    <a:pt x="566" y="195"/>
                  </a:cubicBezTo>
                  <a:cubicBezTo>
                    <a:pt x="566" y="175"/>
                    <a:pt x="550" y="158"/>
                    <a:pt x="529" y="158"/>
                  </a:cubicBezTo>
                  <a:close/>
                  <a:moveTo>
                    <a:pt x="566" y="80"/>
                  </a:moveTo>
                  <a:lnTo>
                    <a:pt x="566" y="80"/>
                  </a:lnTo>
                  <a:lnTo>
                    <a:pt x="566" y="96"/>
                  </a:lnTo>
                  <a:lnTo>
                    <a:pt x="565" y="96"/>
                  </a:lnTo>
                  <a:cubicBezTo>
                    <a:pt x="562" y="113"/>
                    <a:pt x="547" y="125"/>
                    <a:pt x="529" y="125"/>
                  </a:cubicBezTo>
                  <a:cubicBezTo>
                    <a:pt x="511" y="125"/>
                    <a:pt x="496" y="113"/>
                    <a:pt x="493" y="96"/>
                  </a:cubicBezTo>
                  <a:lnTo>
                    <a:pt x="475" y="96"/>
                  </a:lnTo>
                  <a:cubicBezTo>
                    <a:pt x="471" y="113"/>
                    <a:pt x="456" y="125"/>
                    <a:pt x="438" y="125"/>
                  </a:cubicBezTo>
                  <a:cubicBezTo>
                    <a:pt x="420" y="125"/>
                    <a:pt x="405" y="113"/>
                    <a:pt x="402" y="96"/>
                  </a:cubicBezTo>
                  <a:lnTo>
                    <a:pt x="287" y="96"/>
                  </a:lnTo>
                  <a:cubicBezTo>
                    <a:pt x="283" y="113"/>
                    <a:pt x="268" y="125"/>
                    <a:pt x="250" y="125"/>
                  </a:cubicBezTo>
                  <a:cubicBezTo>
                    <a:pt x="233" y="125"/>
                    <a:pt x="218" y="113"/>
                    <a:pt x="214" y="96"/>
                  </a:cubicBezTo>
                  <a:lnTo>
                    <a:pt x="194" y="96"/>
                  </a:lnTo>
                  <a:cubicBezTo>
                    <a:pt x="190" y="113"/>
                    <a:pt x="175" y="125"/>
                    <a:pt x="157" y="125"/>
                  </a:cubicBezTo>
                  <a:cubicBezTo>
                    <a:pt x="137" y="125"/>
                    <a:pt x="120" y="109"/>
                    <a:pt x="120" y="88"/>
                  </a:cubicBezTo>
                  <a:cubicBezTo>
                    <a:pt x="120" y="67"/>
                    <a:pt x="137" y="51"/>
                    <a:pt x="157" y="51"/>
                  </a:cubicBezTo>
                  <a:cubicBezTo>
                    <a:pt x="175" y="51"/>
                    <a:pt x="190" y="63"/>
                    <a:pt x="194" y="80"/>
                  </a:cubicBezTo>
                  <a:lnTo>
                    <a:pt x="214" y="80"/>
                  </a:lnTo>
                  <a:cubicBezTo>
                    <a:pt x="218" y="63"/>
                    <a:pt x="233" y="51"/>
                    <a:pt x="250" y="51"/>
                  </a:cubicBezTo>
                  <a:cubicBezTo>
                    <a:pt x="268" y="51"/>
                    <a:pt x="283" y="63"/>
                    <a:pt x="287" y="80"/>
                  </a:cubicBezTo>
                  <a:lnTo>
                    <a:pt x="402" y="80"/>
                  </a:lnTo>
                  <a:cubicBezTo>
                    <a:pt x="405" y="63"/>
                    <a:pt x="420" y="51"/>
                    <a:pt x="438" y="51"/>
                  </a:cubicBezTo>
                  <a:cubicBezTo>
                    <a:pt x="456" y="51"/>
                    <a:pt x="471" y="63"/>
                    <a:pt x="475" y="80"/>
                  </a:cubicBezTo>
                  <a:lnTo>
                    <a:pt x="493" y="80"/>
                  </a:lnTo>
                  <a:cubicBezTo>
                    <a:pt x="496" y="63"/>
                    <a:pt x="511" y="51"/>
                    <a:pt x="529" y="51"/>
                  </a:cubicBezTo>
                  <a:cubicBezTo>
                    <a:pt x="547" y="51"/>
                    <a:pt x="562" y="63"/>
                    <a:pt x="565" y="80"/>
                  </a:cubicBezTo>
                  <a:lnTo>
                    <a:pt x="566" y="8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63" name="Group 62">
              <a:extLst>
                <a:ext uri="{FF2B5EF4-FFF2-40B4-BE49-F238E27FC236}">
                  <a16:creationId xmlns:a16="http://schemas.microsoft.com/office/drawing/2014/main" id="{E65EE5FD-1DA8-B34A-943F-C301F0DFBE10}"/>
                </a:ext>
              </a:extLst>
            </p:cNvPr>
            <p:cNvGrpSpPr/>
            <p:nvPr/>
          </p:nvGrpSpPr>
          <p:grpSpPr>
            <a:xfrm>
              <a:off x="5883814" y="2090588"/>
              <a:ext cx="2729484" cy="2729484"/>
              <a:chOff x="2690813" y="2568575"/>
              <a:chExt cx="3330575" cy="3363912"/>
            </a:xfrm>
          </p:grpSpPr>
          <p:sp>
            <p:nvSpPr>
              <p:cNvPr id="64" name="Freeform 63">
                <a:extLst>
                  <a:ext uri="{FF2B5EF4-FFF2-40B4-BE49-F238E27FC236}">
                    <a16:creationId xmlns:a16="http://schemas.microsoft.com/office/drawing/2014/main" id="{82AFDB33-1AFF-0B46-87CA-DE5E7F8B8CFB}"/>
                  </a:ext>
                </a:extLst>
              </p:cNvPr>
              <p:cNvSpPr>
                <a:spLocks/>
              </p:cNvSpPr>
              <p:nvPr/>
            </p:nvSpPr>
            <p:spPr bwMode="auto">
              <a:xfrm>
                <a:off x="3951288" y="3378200"/>
                <a:ext cx="2070100" cy="2554287"/>
              </a:xfrm>
              <a:custGeom>
                <a:avLst/>
                <a:gdLst>
                  <a:gd name="T0" fmla="*/ 179 w 184"/>
                  <a:gd name="T1" fmla="*/ 39 h 227"/>
                  <a:gd name="T2" fmla="*/ 147 w 184"/>
                  <a:gd name="T3" fmla="*/ 13 h 227"/>
                  <a:gd name="T4" fmla="*/ 94 w 184"/>
                  <a:gd name="T5" fmla="*/ 0 h 227"/>
                  <a:gd name="T6" fmla="*/ 36 w 184"/>
                  <a:gd name="T7" fmla="*/ 16 h 227"/>
                  <a:gd name="T8" fmla="*/ 3 w 184"/>
                  <a:gd name="T9" fmla="*/ 47 h 227"/>
                  <a:gd name="T10" fmla="*/ 36 w 184"/>
                  <a:gd name="T11" fmla="*/ 32 h 227"/>
                  <a:gd name="T12" fmla="*/ 68 w 184"/>
                  <a:gd name="T13" fmla="*/ 47 h 227"/>
                  <a:gd name="T14" fmla="*/ 74 w 184"/>
                  <a:gd name="T15" fmla="*/ 56 h 227"/>
                  <a:gd name="T16" fmla="*/ 89 w 184"/>
                  <a:gd name="T17" fmla="*/ 103 h 227"/>
                  <a:gd name="T18" fmla="*/ 89 w 184"/>
                  <a:gd name="T19" fmla="*/ 112 h 227"/>
                  <a:gd name="T20" fmla="*/ 36 w 184"/>
                  <a:gd name="T21" fmla="*/ 208 h 227"/>
                  <a:gd name="T22" fmla="*/ 0 w 184"/>
                  <a:gd name="T23" fmla="*/ 222 h 227"/>
                  <a:gd name="T24" fmla="*/ 36 w 184"/>
                  <a:gd name="T25" fmla="*/ 227 h 227"/>
                  <a:gd name="T26" fmla="*/ 71 w 184"/>
                  <a:gd name="T27" fmla="*/ 222 h 227"/>
                  <a:gd name="T28" fmla="*/ 184 w 184"/>
                  <a:gd name="T29" fmla="*/ 78 h 227"/>
                  <a:gd name="T30" fmla="*/ 179 w 184"/>
                  <a:gd name="T31" fmla="*/ 3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4" h="227">
                    <a:moveTo>
                      <a:pt x="179" y="39"/>
                    </a:moveTo>
                    <a:cubicBezTo>
                      <a:pt x="170" y="28"/>
                      <a:pt x="159" y="20"/>
                      <a:pt x="147" y="13"/>
                    </a:cubicBezTo>
                    <a:cubicBezTo>
                      <a:pt x="131" y="4"/>
                      <a:pt x="113" y="0"/>
                      <a:pt x="94" y="0"/>
                    </a:cubicBezTo>
                    <a:cubicBezTo>
                      <a:pt x="73" y="0"/>
                      <a:pt x="53" y="6"/>
                      <a:pt x="36" y="16"/>
                    </a:cubicBezTo>
                    <a:cubicBezTo>
                      <a:pt x="23" y="24"/>
                      <a:pt x="12" y="35"/>
                      <a:pt x="3" y="47"/>
                    </a:cubicBezTo>
                    <a:cubicBezTo>
                      <a:pt x="11" y="38"/>
                      <a:pt x="22" y="32"/>
                      <a:pt x="36" y="32"/>
                    </a:cubicBezTo>
                    <a:cubicBezTo>
                      <a:pt x="49" y="32"/>
                      <a:pt x="61" y="38"/>
                      <a:pt x="68" y="47"/>
                    </a:cubicBezTo>
                    <a:cubicBezTo>
                      <a:pt x="71" y="50"/>
                      <a:pt x="73" y="53"/>
                      <a:pt x="74" y="56"/>
                    </a:cubicBezTo>
                    <a:cubicBezTo>
                      <a:pt x="82" y="70"/>
                      <a:pt x="87" y="86"/>
                      <a:pt x="89" y="103"/>
                    </a:cubicBezTo>
                    <a:cubicBezTo>
                      <a:pt x="89" y="106"/>
                      <a:pt x="89" y="109"/>
                      <a:pt x="89" y="112"/>
                    </a:cubicBezTo>
                    <a:cubicBezTo>
                      <a:pt x="89" y="153"/>
                      <a:pt x="68" y="188"/>
                      <a:pt x="36" y="208"/>
                    </a:cubicBezTo>
                    <a:cubicBezTo>
                      <a:pt x="25" y="215"/>
                      <a:pt x="13" y="220"/>
                      <a:pt x="0" y="222"/>
                    </a:cubicBezTo>
                    <a:cubicBezTo>
                      <a:pt x="11" y="225"/>
                      <a:pt x="23" y="227"/>
                      <a:pt x="36" y="227"/>
                    </a:cubicBezTo>
                    <a:cubicBezTo>
                      <a:pt x="48" y="227"/>
                      <a:pt x="60" y="225"/>
                      <a:pt x="71" y="222"/>
                    </a:cubicBezTo>
                    <a:cubicBezTo>
                      <a:pt x="136" y="206"/>
                      <a:pt x="184" y="148"/>
                      <a:pt x="184" y="78"/>
                    </a:cubicBezTo>
                    <a:cubicBezTo>
                      <a:pt x="184" y="64"/>
                      <a:pt x="182" y="51"/>
                      <a:pt x="179" y="39"/>
                    </a:cubicBezTo>
                    <a:close/>
                  </a:path>
                </a:pathLst>
              </a:custGeom>
              <a:solidFill>
                <a:schemeClr val="accent2"/>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5" name="Freeform 64">
                <a:extLst>
                  <a:ext uri="{FF2B5EF4-FFF2-40B4-BE49-F238E27FC236}">
                    <a16:creationId xmlns:a16="http://schemas.microsoft.com/office/drawing/2014/main" id="{556A67FC-F798-2C4D-9227-8531E9DCB22D}"/>
                  </a:ext>
                </a:extLst>
              </p:cNvPr>
              <p:cNvSpPr>
                <a:spLocks/>
              </p:cNvSpPr>
              <p:nvPr/>
            </p:nvSpPr>
            <p:spPr bwMode="auto">
              <a:xfrm>
                <a:off x="2690813" y="3108325"/>
                <a:ext cx="2262188" cy="2767012"/>
              </a:xfrm>
              <a:custGeom>
                <a:avLst/>
                <a:gdLst>
                  <a:gd name="T0" fmla="*/ 201 w 201"/>
                  <a:gd name="T1" fmla="*/ 127 h 246"/>
                  <a:gd name="T2" fmla="*/ 186 w 201"/>
                  <a:gd name="T3" fmla="*/ 80 h 246"/>
                  <a:gd name="T4" fmla="*/ 190 w 201"/>
                  <a:gd name="T5" fmla="*/ 98 h 246"/>
                  <a:gd name="T6" fmla="*/ 155 w 201"/>
                  <a:gd name="T7" fmla="*/ 140 h 246"/>
                  <a:gd name="T8" fmla="*/ 148 w 201"/>
                  <a:gd name="T9" fmla="*/ 141 h 246"/>
                  <a:gd name="T10" fmla="*/ 140 w 201"/>
                  <a:gd name="T11" fmla="*/ 140 h 246"/>
                  <a:gd name="T12" fmla="*/ 95 w 201"/>
                  <a:gd name="T13" fmla="*/ 127 h 246"/>
                  <a:gd name="T14" fmla="*/ 36 w 201"/>
                  <a:gd name="T15" fmla="*/ 37 h 246"/>
                  <a:gd name="T16" fmla="*/ 36 w 201"/>
                  <a:gd name="T17" fmla="*/ 28 h 246"/>
                  <a:gd name="T18" fmla="*/ 39 w 201"/>
                  <a:gd name="T19" fmla="*/ 0 h 246"/>
                  <a:gd name="T20" fmla="*/ 5 w 201"/>
                  <a:gd name="T21" fmla="*/ 63 h 246"/>
                  <a:gd name="T22" fmla="*/ 0 w 201"/>
                  <a:gd name="T23" fmla="*/ 102 h 246"/>
                  <a:gd name="T24" fmla="*/ 112 w 201"/>
                  <a:gd name="T25" fmla="*/ 246 h 246"/>
                  <a:gd name="T26" fmla="*/ 148 w 201"/>
                  <a:gd name="T27" fmla="*/ 232 h 246"/>
                  <a:gd name="T28" fmla="*/ 201 w 201"/>
                  <a:gd name="T29" fmla="*/ 136 h 246"/>
                  <a:gd name="T30" fmla="*/ 201 w 201"/>
                  <a:gd name="T31" fmla="*/ 12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1" h="246">
                    <a:moveTo>
                      <a:pt x="201" y="127"/>
                    </a:moveTo>
                    <a:cubicBezTo>
                      <a:pt x="199" y="110"/>
                      <a:pt x="194" y="94"/>
                      <a:pt x="186" y="80"/>
                    </a:cubicBezTo>
                    <a:cubicBezTo>
                      <a:pt x="189" y="85"/>
                      <a:pt x="190" y="92"/>
                      <a:pt x="190" y="98"/>
                    </a:cubicBezTo>
                    <a:cubicBezTo>
                      <a:pt x="190" y="119"/>
                      <a:pt x="175" y="136"/>
                      <a:pt x="155" y="140"/>
                    </a:cubicBezTo>
                    <a:cubicBezTo>
                      <a:pt x="153" y="140"/>
                      <a:pt x="150" y="141"/>
                      <a:pt x="148" y="141"/>
                    </a:cubicBezTo>
                    <a:cubicBezTo>
                      <a:pt x="145" y="141"/>
                      <a:pt x="143" y="140"/>
                      <a:pt x="140" y="140"/>
                    </a:cubicBezTo>
                    <a:cubicBezTo>
                      <a:pt x="124" y="139"/>
                      <a:pt x="108" y="134"/>
                      <a:pt x="95" y="127"/>
                    </a:cubicBezTo>
                    <a:cubicBezTo>
                      <a:pt x="62" y="109"/>
                      <a:pt x="40" y="76"/>
                      <a:pt x="36" y="37"/>
                    </a:cubicBezTo>
                    <a:cubicBezTo>
                      <a:pt x="36" y="34"/>
                      <a:pt x="36" y="31"/>
                      <a:pt x="36" y="28"/>
                    </a:cubicBezTo>
                    <a:cubicBezTo>
                      <a:pt x="36" y="18"/>
                      <a:pt x="37" y="9"/>
                      <a:pt x="39" y="0"/>
                    </a:cubicBezTo>
                    <a:cubicBezTo>
                      <a:pt x="23" y="18"/>
                      <a:pt x="11" y="39"/>
                      <a:pt x="5" y="63"/>
                    </a:cubicBezTo>
                    <a:cubicBezTo>
                      <a:pt x="2" y="75"/>
                      <a:pt x="0" y="88"/>
                      <a:pt x="0" y="102"/>
                    </a:cubicBezTo>
                    <a:cubicBezTo>
                      <a:pt x="0" y="171"/>
                      <a:pt x="47" y="230"/>
                      <a:pt x="112" y="246"/>
                    </a:cubicBezTo>
                    <a:cubicBezTo>
                      <a:pt x="125" y="244"/>
                      <a:pt x="137" y="239"/>
                      <a:pt x="148" y="232"/>
                    </a:cubicBezTo>
                    <a:cubicBezTo>
                      <a:pt x="180" y="212"/>
                      <a:pt x="201" y="177"/>
                      <a:pt x="201" y="136"/>
                    </a:cubicBezTo>
                    <a:cubicBezTo>
                      <a:pt x="201" y="133"/>
                      <a:pt x="201" y="130"/>
                      <a:pt x="201" y="127"/>
                    </a:cubicBezTo>
                    <a:close/>
                  </a:path>
                </a:pathLst>
              </a:custGeom>
              <a:solidFill>
                <a:schemeClr val="accent3"/>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6" name="Freeform 65">
                <a:extLst>
                  <a:ext uri="{FF2B5EF4-FFF2-40B4-BE49-F238E27FC236}">
                    <a16:creationId xmlns:a16="http://schemas.microsoft.com/office/drawing/2014/main" id="{343F25AA-B48D-B248-970D-46BB121A9A71}"/>
                  </a:ext>
                </a:extLst>
              </p:cNvPr>
              <p:cNvSpPr>
                <a:spLocks/>
              </p:cNvSpPr>
              <p:nvPr/>
            </p:nvSpPr>
            <p:spPr bwMode="auto">
              <a:xfrm>
                <a:off x="3095626" y="2568575"/>
                <a:ext cx="2870200" cy="2114550"/>
              </a:xfrm>
              <a:custGeom>
                <a:avLst/>
                <a:gdLst>
                  <a:gd name="T0" fmla="*/ 220 w 255"/>
                  <a:gd name="T1" fmla="*/ 47 h 188"/>
                  <a:gd name="T2" fmla="*/ 112 w 255"/>
                  <a:gd name="T3" fmla="*/ 0 h 188"/>
                  <a:gd name="T4" fmla="*/ 3 w 255"/>
                  <a:gd name="T5" fmla="*/ 48 h 188"/>
                  <a:gd name="T6" fmla="*/ 0 w 255"/>
                  <a:gd name="T7" fmla="*/ 76 h 188"/>
                  <a:gd name="T8" fmla="*/ 0 w 255"/>
                  <a:gd name="T9" fmla="*/ 85 h 188"/>
                  <a:gd name="T10" fmla="*/ 59 w 255"/>
                  <a:gd name="T11" fmla="*/ 175 h 188"/>
                  <a:gd name="T12" fmla="*/ 104 w 255"/>
                  <a:gd name="T13" fmla="*/ 188 h 188"/>
                  <a:gd name="T14" fmla="*/ 69 w 255"/>
                  <a:gd name="T15" fmla="*/ 146 h 188"/>
                  <a:gd name="T16" fmla="*/ 73 w 255"/>
                  <a:gd name="T17" fmla="*/ 128 h 188"/>
                  <a:gd name="T18" fmla="*/ 79 w 255"/>
                  <a:gd name="T19" fmla="*/ 119 h 188"/>
                  <a:gd name="T20" fmla="*/ 112 w 255"/>
                  <a:gd name="T21" fmla="*/ 88 h 188"/>
                  <a:gd name="T22" fmla="*/ 170 w 255"/>
                  <a:gd name="T23" fmla="*/ 72 h 188"/>
                  <a:gd name="T24" fmla="*/ 223 w 255"/>
                  <a:gd name="T25" fmla="*/ 85 h 188"/>
                  <a:gd name="T26" fmla="*/ 255 w 255"/>
                  <a:gd name="T27" fmla="*/ 111 h 188"/>
                  <a:gd name="T28" fmla="*/ 220 w 255"/>
                  <a:gd name="T29" fmla="*/ 4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5" h="188">
                    <a:moveTo>
                      <a:pt x="220" y="47"/>
                    </a:moveTo>
                    <a:cubicBezTo>
                      <a:pt x="193" y="18"/>
                      <a:pt x="154" y="0"/>
                      <a:pt x="112" y="0"/>
                    </a:cubicBezTo>
                    <a:cubicBezTo>
                      <a:pt x="69" y="0"/>
                      <a:pt x="31" y="19"/>
                      <a:pt x="3" y="48"/>
                    </a:cubicBezTo>
                    <a:cubicBezTo>
                      <a:pt x="1" y="57"/>
                      <a:pt x="0" y="66"/>
                      <a:pt x="0" y="76"/>
                    </a:cubicBezTo>
                    <a:cubicBezTo>
                      <a:pt x="0" y="79"/>
                      <a:pt x="0" y="82"/>
                      <a:pt x="0" y="85"/>
                    </a:cubicBezTo>
                    <a:cubicBezTo>
                      <a:pt x="4" y="124"/>
                      <a:pt x="26" y="157"/>
                      <a:pt x="59" y="175"/>
                    </a:cubicBezTo>
                    <a:cubicBezTo>
                      <a:pt x="72" y="182"/>
                      <a:pt x="88" y="187"/>
                      <a:pt x="104" y="188"/>
                    </a:cubicBezTo>
                    <a:cubicBezTo>
                      <a:pt x="84" y="184"/>
                      <a:pt x="69" y="167"/>
                      <a:pt x="69" y="146"/>
                    </a:cubicBezTo>
                    <a:cubicBezTo>
                      <a:pt x="69" y="139"/>
                      <a:pt x="71" y="133"/>
                      <a:pt x="73" y="128"/>
                    </a:cubicBezTo>
                    <a:cubicBezTo>
                      <a:pt x="75" y="125"/>
                      <a:pt x="77" y="122"/>
                      <a:pt x="79" y="119"/>
                    </a:cubicBezTo>
                    <a:cubicBezTo>
                      <a:pt x="88" y="107"/>
                      <a:pt x="99" y="96"/>
                      <a:pt x="112" y="88"/>
                    </a:cubicBezTo>
                    <a:cubicBezTo>
                      <a:pt x="129" y="78"/>
                      <a:pt x="149" y="72"/>
                      <a:pt x="170" y="72"/>
                    </a:cubicBezTo>
                    <a:cubicBezTo>
                      <a:pt x="189" y="72"/>
                      <a:pt x="207" y="76"/>
                      <a:pt x="223" y="85"/>
                    </a:cubicBezTo>
                    <a:cubicBezTo>
                      <a:pt x="235" y="92"/>
                      <a:pt x="246" y="100"/>
                      <a:pt x="255" y="111"/>
                    </a:cubicBezTo>
                    <a:cubicBezTo>
                      <a:pt x="249" y="87"/>
                      <a:pt x="236" y="65"/>
                      <a:pt x="220" y="47"/>
                    </a:cubicBezTo>
                    <a:close/>
                  </a:path>
                </a:pathLst>
              </a:custGeom>
              <a:solidFill>
                <a:schemeClr val="accent5"/>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7" name="Freeform 66">
                <a:extLst>
                  <a:ext uri="{FF2B5EF4-FFF2-40B4-BE49-F238E27FC236}">
                    <a16:creationId xmlns:a16="http://schemas.microsoft.com/office/drawing/2014/main" id="{EB7FF177-5296-5143-8EE4-82B2BD35A78F}"/>
                  </a:ext>
                </a:extLst>
              </p:cNvPr>
              <p:cNvSpPr>
                <a:spLocks/>
              </p:cNvSpPr>
              <p:nvPr/>
            </p:nvSpPr>
            <p:spPr bwMode="auto">
              <a:xfrm>
                <a:off x="3871913" y="3738562"/>
                <a:ext cx="957263" cy="944562"/>
              </a:xfrm>
              <a:custGeom>
                <a:avLst/>
                <a:gdLst>
                  <a:gd name="T0" fmla="*/ 43 w 85"/>
                  <a:gd name="T1" fmla="*/ 0 h 84"/>
                  <a:gd name="T2" fmla="*/ 10 w 85"/>
                  <a:gd name="T3" fmla="*/ 15 h 84"/>
                  <a:gd name="T4" fmla="*/ 4 w 85"/>
                  <a:gd name="T5" fmla="*/ 24 h 84"/>
                  <a:gd name="T6" fmla="*/ 0 w 85"/>
                  <a:gd name="T7" fmla="*/ 42 h 84"/>
                  <a:gd name="T8" fmla="*/ 35 w 85"/>
                  <a:gd name="T9" fmla="*/ 84 h 84"/>
                  <a:gd name="T10" fmla="*/ 43 w 85"/>
                  <a:gd name="T11" fmla="*/ 84 h 84"/>
                  <a:gd name="T12" fmla="*/ 50 w 85"/>
                  <a:gd name="T13" fmla="*/ 84 h 84"/>
                  <a:gd name="T14" fmla="*/ 85 w 85"/>
                  <a:gd name="T15" fmla="*/ 42 h 84"/>
                  <a:gd name="T16" fmla="*/ 81 w 85"/>
                  <a:gd name="T17" fmla="*/ 24 h 84"/>
                  <a:gd name="T18" fmla="*/ 75 w 85"/>
                  <a:gd name="T19" fmla="*/ 15 h 84"/>
                  <a:gd name="T20" fmla="*/ 43 w 85"/>
                  <a:gd name="T21"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84">
                    <a:moveTo>
                      <a:pt x="43" y="0"/>
                    </a:moveTo>
                    <a:cubicBezTo>
                      <a:pt x="29" y="0"/>
                      <a:pt x="18" y="6"/>
                      <a:pt x="10" y="15"/>
                    </a:cubicBezTo>
                    <a:cubicBezTo>
                      <a:pt x="8" y="18"/>
                      <a:pt x="6" y="21"/>
                      <a:pt x="4" y="24"/>
                    </a:cubicBezTo>
                    <a:cubicBezTo>
                      <a:pt x="2" y="29"/>
                      <a:pt x="0" y="35"/>
                      <a:pt x="0" y="42"/>
                    </a:cubicBezTo>
                    <a:cubicBezTo>
                      <a:pt x="0" y="63"/>
                      <a:pt x="15" y="80"/>
                      <a:pt x="35" y="84"/>
                    </a:cubicBezTo>
                    <a:cubicBezTo>
                      <a:pt x="38" y="84"/>
                      <a:pt x="40" y="84"/>
                      <a:pt x="43" y="84"/>
                    </a:cubicBezTo>
                    <a:cubicBezTo>
                      <a:pt x="45" y="84"/>
                      <a:pt x="48" y="84"/>
                      <a:pt x="50" y="84"/>
                    </a:cubicBezTo>
                    <a:cubicBezTo>
                      <a:pt x="70" y="80"/>
                      <a:pt x="85" y="63"/>
                      <a:pt x="85" y="42"/>
                    </a:cubicBezTo>
                    <a:cubicBezTo>
                      <a:pt x="85" y="36"/>
                      <a:pt x="84" y="29"/>
                      <a:pt x="81" y="24"/>
                    </a:cubicBezTo>
                    <a:cubicBezTo>
                      <a:pt x="79" y="21"/>
                      <a:pt x="77" y="18"/>
                      <a:pt x="75" y="15"/>
                    </a:cubicBezTo>
                    <a:cubicBezTo>
                      <a:pt x="68" y="6"/>
                      <a:pt x="56" y="0"/>
                      <a:pt x="43" y="0"/>
                    </a:cubicBezTo>
                    <a:close/>
                  </a:path>
                </a:pathLst>
              </a:cu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grpSp>
        <p:sp>
          <p:nvSpPr>
            <p:cNvPr id="68" name="Oval 67">
              <a:extLst>
                <a:ext uri="{FF2B5EF4-FFF2-40B4-BE49-F238E27FC236}">
                  <a16:creationId xmlns:a16="http://schemas.microsoft.com/office/drawing/2014/main" id="{44035A7F-83BD-F141-8805-49A583D5E2C6}"/>
                </a:ext>
              </a:extLst>
            </p:cNvPr>
            <p:cNvSpPr/>
            <p:nvPr/>
          </p:nvSpPr>
          <p:spPr bwMode="gray">
            <a:xfrm>
              <a:off x="6829622" y="3036397"/>
              <a:ext cx="837869" cy="837869"/>
            </a:xfrm>
            <a:prstGeom prst="ellips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grpSp>
    </p:spTree>
    <p:custDataLst>
      <p:tags r:id="rId1"/>
    </p:custDataLst>
    <p:extLst>
      <p:ext uri="{BB962C8B-B14F-4D97-AF65-F5344CB8AC3E}">
        <p14:creationId xmlns:p14="http://schemas.microsoft.com/office/powerpoint/2010/main" val="267789782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圆角矩形 5"/>
          <p:cNvSpPr/>
          <p:nvPr/>
        </p:nvSpPr>
        <p:spPr>
          <a:xfrm>
            <a:off x="9205383" y="1940074"/>
            <a:ext cx="2448272" cy="3888432"/>
          </a:xfrm>
          <a:prstGeom prst="roundRect">
            <a:avLst>
              <a:gd name="adj" fmla="val 1624"/>
            </a:avLst>
          </a:prstGeom>
          <a:solidFill>
            <a:srgbClr val="43B02A"/>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77800"/>
            <a:endParaRPr lang="zh-CN" altLang="en-US" sz="2000" dirty="0">
              <a:latin typeface="+mj-lt"/>
            </a:endParaRPr>
          </a:p>
        </p:txBody>
      </p:sp>
      <p:sp>
        <p:nvSpPr>
          <p:cNvPr id="8" name="矩形 6"/>
          <p:cNvSpPr/>
          <p:nvPr/>
        </p:nvSpPr>
        <p:spPr>
          <a:xfrm>
            <a:off x="9243300" y="1976439"/>
            <a:ext cx="2372438" cy="3236912"/>
          </a:xfrm>
          <a:prstGeom prst="rect">
            <a:avLst/>
          </a:prstGeom>
          <a:solidFill>
            <a:srgbClr val="FFFFFF"/>
          </a:solidFill>
          <a:ln w="9525">
            <a:solidFill>
              <a:srgbClr val="97999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93980" indent="-93980">
              <a:buFont typeface="Arial" panose="020B0604020202020204" pitchFamily="34" charset="0"/>
              <a:buChar char="•"/>
            </a:pPr>
            <a:r>
              <a:rPr lang="en-US" altLang="zh-CN" sz="1300" dirty="0">
                <a:solidFill>
                  <a:srgbClr val="000000"/>
                </a:solidFill>
              </a:rPr>
              <a:t>This is dummy text it is not here to be read. The is just text to show where you could insert text. Please replace with your text content here.</a:t>
            </a:r>
          </a:p>
          <a:p>
            <a:pPr marL="93980" indent="-93980">
              <a:buFont typeface="Arial" panose="020B0604020202020204" pitchFamily="34" charset="0"/>
              <a:buChar char="•"/>
            </a:pPr>
            <a:endParaRPr lang="en-US" altLang="zh-CN" sz="1300" dirty="0">
              <a:solidFill>
                <a:srgbClr val="000000"/>
              </a:solidFill>
            </a:endParaRPr>
          </a:p>
          <a:p>
            <a:pPr marL="93980" indent="-93980">
              <a:buFont typeface="Arial" panose="020B0604020202020204" pitchFamily="34" charset="0"/>
              <a:buChar char="•"/>
            </a:pPr>
            <a:r>
              <a:rPr lang="en-US" altLang="zh-CN" sz="1300" dirty="0">
                <a:solidFill>
                  <a:srgbClr val="000000"/>
                </a:solidFill>
              </a:rPr>
              <a:t>This is dummy text it is not here to be read. The is just text to show where you could insert text. Please replace with your text content here.</a:t>
            </a:r>
          </a:p>
        </p:txBody>
      </p:sp>
      <p:sp>
        <p:nvSpPr>
          <p:cNvPr id="9" name="圆角矩形 8"/>
          <p:cNvSpPr/>
          <p:nvPr/>
        </p:nvSpPr>
        <p:spPr>
          <a:xfrm>
            <a:off x="9400821" y="5409880"/>
            <a:ext cx="464243" cy="222096"/>
          </a:xfrm>
          <a:prstGeom prst="roundRect">
            <a:avLst>
              <a:gd name="adj" fmla="val 4158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sp>
        <p:nvSpPr>
          <p:cNvPr id="10" name="圆角矩形 9"/>
          <p:cNvSpPr/>
          <p:nvPr/>
        </p:nvSpPr>
        <p:spPr>
          <a:xfrm>
            <a:off x="10197400" y="5409880"/>
            <a:ext cx="464243" cy="222096"/>
          </a:xfrm>
          <a:prstGeom prst="roundRect">
            <a:avLst>
              <a:gd name="adj" fmla="val 4158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sp>
        <p:nvSpPr>
          <p:cNvPr id="11" name="圆角矩形 10"/>
          <p:cNvSpPr/>
          <p:nvPr/>
        </p:nvSpPr>
        <p:spPr>
          <a:xfrm>
            <a:off x="10993980" y="5409880"/>
            <a:ext cx="464243" cy="222096"/>
          </a:xfrm>
          <a:prstGeom prst="roundRect">
            <a:avLst>
              <a:gd name="adj" fmla="val 4158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sp>
        <p:nvSpPr>
          <p:cNvPr id="14" name="圆角矩形 2"/>
          <p:cNvSpPr/>
          <p:nvPr/>
        </p:nvSpPr>
        <p:spPr>
          <a:xfrm>
            <a:off x="509894" y="1940074"/>
            <a:ext cx="2448272" cy="3888432"/>
          </a:xfrm>
          <a:prstGeom prst="roundRect">
            <a:avLst>
              <a:gd name="adj" fmla="val 1818"/>
            </a:avLst>
          </a:prstGeom>
          <a:solidFill>
            <a:srgbClr val="00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77800"/>
            <a:endParaRPr lang="zh-CN" altLang="en-US" sz="2000" dirty="0">
              <a:latin typeface="+mj-lt"/>
            </a:endParaRPr>
          </a:p>
        </p:txBody>
      </p:sp>
      <p:sp>
        <p:nvSpPr>
          <p:cNvPr id="15" name="矩形 3"/>
          <p:cNvSpPr/>
          <p:nvPr/>
        </p:nvSpPr>
        <p:spPr>
          <a:xfrm>
            <a:off x="547811" y="1976439"/>
            <a:ext cx="2372438" cy="3236912"/>
          </a:xfrm>
          <a:prstGeom prst="rect">
            <a:avLst/>
          </a:prstGeom>
          <a:solidFill>
            <a:srgbClr val="FFFFFF"/>
          </a:solidFill>
          <a:ln w="9525">
            <a:solidFill>
              <a:srgbClr val="97999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93980" indent="-93980">
              <a:buFont typeface="Arial" panose="020B0604020202020204" pitchFamily="34" charset="0"/>
              <a:buChar char="•"/>
            </a:pPr>
            <a:r>
              <a:rPr lang="en-US" altLang="zh-CN" sz="1300" dirty="0">
                <a:solidFill>
                  <a:srgbClr val="000000"/>
                </a:solidFill>
              </a:rPr>
              <a:t>This is dummy text it is not here to be read. The is just text to show where you could insert text. Please replace with your text content here.</a:t>
            </a:r>
          </a:p>
          <a:p>
            <a:pPr marL="93980" indent="-93980">
              <a:buFont typeface="Arial" panose="020B0604020202020204" pitchFamily="34" charset="0"/>
              <a:buChar char="•"/>
            </a:pPr>
            <a:endParaRPr lang="en-US" altLang="zh-CN" sz="1300" dirty="0">
              <a:solidFill>
                <a:srgbClr val="000000"/>
              </a:solidFill>
            </a:endParaRPr>
          </a:p>
          <a:p>
            <a:pPr marL="93980" indent="-93980">
              <a:buFont typeface="Arial" panose="020B0604020202020204" pitchFamily="34" charset="0"/>
              <a:buChar char="•"/>
            </a:pPr>
            <a:r>
              <a:rPr lang="en-US" altLang="zh-CN" sz="1300" dirty="0">
                <a:solidFill>
                  <a:srgbClr val="000000"/>
                </a:solidFill>
              </a:rPr>
              <a:t>This is dummy text it is not here to be read. The is just text to show where you could insert text. Please replace with your text content here.</a:t>
            </a:r>
          </a:p>
        </p:txBody>
      </p:sp>
      <p:sp>
        <p:nvSpPr>
          <p:cNvPr id="16" name="椭圆 4"/>
          <p:cNvSpPr/>
          <p:nvPr/>
        </p:nvSpPr>
        <p:spPr>
          <a:xfrm>
            <a:off x="1518131" y="5305029"/>
            <a:ext cx="431798" cy="431798"/>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cxnSp>
        <p:nvCxnSpPr>
          <p:cNvPr id="19" name="Elbow Connector 18"/>
          <p:cNvCxnSpPr>
            <a:stCxn id="7" idx="0"/>
            <a:endCxn id="14" idx="0"/>
          </p:cNvCxnSpPr>
          <p:nvPr/>
        </p:nvCxnSpPr>
        <p:spPr>
          <a:xfrm rot="16200000" flipV="1">
            <a:off x="6081775" y="-2407671"/>
            <a:ext cx="12700" cy="8695489"/>
          </a:xfrm>
          <a:prstGeom prst="bentConnector3">
            <a:avLst>
              <a:gd name="adj1" fmla="val 1800000"/>
            </a:avLst>
          </a:prstGeom>
          <a:ln w="12700">
            <a:solidFill>
              <a:srgbClr val="43B02A"/>
            </a:solidFill>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14" idx="2"/>
            <a:endCxn id="7" idx="2"/>
          </p:cNvCxnSpPr>
          <p:nvPr/>
        </p:nvCxnSpPr>
        <p:spPr>
          <a:xfrm rot="16200000" flipH="1">
            <a:off x="6081774" y="1480761"/>
            <a:ext cx="12700" cy="8695489"/>
          </a:xfrm>
          <a:prstGeom prst="bentConnector3">
            <a:avLst>
              <a:gd name="adj1" fmla="val 180000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810095422"/>
      </p:ext>
    </p:extLst>
  </p:cSld>
  <p:clrMapOvr>
    <a:masterClrMapping/>
  </p:clrMapOvr>
  <p:transition>
    <p:fade/>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2BCB3F95-68FD-1C42-BBD4-A25D60EEB6E8}"/>
              </a:ext>
            </a:extLst>
          </p:cNvPr>
          <p:cNvSpPr txBox="1"/>
          <p:nvPr/>
        </p:nvSpPr>
        <p:spPr>
          <a:xfrm>
            <a:off x="2941412" y="1989081"/>
            <a:ext cx="1776642" cy="553998"/>
          </a:xfrm>
          <a:prstGeom prst="rect">
            <a:avLst/>
          </a:prstGeom>
          <a:ln w="12700">
            <a:solidFill>
              <a:schemeClr val="accent6"/>
            </a:solidFill>
          </a:ln>
        </p:spPr>
        <p:style>
          <a:lnRef idx="2">
            <a:schemeClr val="accent4"/>
          </a:lnRef>
          <a:fillRef idx="1">
            <a:schemeClr val="lt1"/>
          </a:fillRef>
          <a:effectRef idx="0">
            <a:schemeClr val="accent4"/>
          </a:effectRef>
          <a:fontRef idx="minor">
            <a:schemeClr val="dk1"/>
          </a:fontRef>
        </p:style>
        <p:txBody>
          <a:bodyPr wrap="square" lIns="45720" tIns="45720" rIns="45720" bIns="45720" rtlCol="0" anchor="t" anchorCtr="0">
            <a:spAutoFit/>
          </a:bodyPr>
          <a:lstStyle>
            <a:defPPr>
              <a:defRPr lang="en-US"/>
            </a:defPPr>
            <a:lvl1pPr algn="ctr">
              <a:spcAft>
                <a:spcPts val="0"/>
              </a:spcAft>
              <a:buSzPct val="100000"/>
              <a:defRPr sz="1200" b="1">
                <a:solidFill>
                  <a:schemeClr val="tx1"/>
                </a:solidFill>
              </a:defRPr>
            </a:lvl1pPr>
          </a:lstStyle>
          <a:p>
            <a:pPr marL="0" lvl="2"/>
            <a:r>
              <a:rPr lang="en-US" sz="1000" b="1" dirty="0"/>
              <a:t>Step 2: </a:t>
            </a:r>
            <a:r>
              <a:rPr lang="en-US" sz="1000" dirty="0"/>
              <a:t>Lorem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a:t>
            </a:r>
            <a:endParaRPr lang="en-US" sz="1000" dirty="0"/>
          </a:p>
        </p:txBody>
      </p:sp>
      <p:grpSp>
        <p:nvGrpSpPr>
          <p:cNvPr id="44" name="Group 43">
            <a:extLst>
              <a:ext uri="{FF2B5EF4-FFF2-40B4-BE49-F238E27FC236}">
                <a16:creationId xmlns:a16="http://schemas.microsoft.com/office/drawing/2014/main" id="{87FC3834-292A-B143-92F9-1475C3E1B90F}"/>
              </a:ext>
            </a:extLst>
          </p:cNvPr>
          <p:cNvGrpSpPr/>
          <p:nvPr/>
        </p:nvGrpSpPr>
        <p:grpSpPr>
          <a:xfrm>
            <a:off x="2200275" y="5362175"/>
            <a:ext cx="7791450" cy="95250"/>
            <a:chOff x="676275" y="5362175"/>
            <a:chExt cx="7791450" cy="95250"/>
          </a:xfrm>
        </p:grpSpPr>
        <p:cxnSp>
          <p:nvCxnSpPr>
            <p:cNvPr id="45" name="Straight Connector 44">
              <a:extLst>
                <a:ext uri="{FF2B5EF4-FFF2-40B4-BE49-F238E27FC236}">
                  <a16:creationId xmlns:a16="http://schemas.microsoft.com/office/drawing/2014/main" id="{7ABEA845-380C-4143-9B8F-235DB4BB00BB}"/>
                </a:ext>
              </a:extLst>
            </p:cNvPr>
            <p:cNvCxnSpPr/>
            <p:nvPr/>
          </p:nvCxnSpPr>
          <p:spPr>
            <a:xfrm>
              <a:off x="676275" y="5409800"/>
              <a:ext cx="779145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BE289BE-AAED-C941-86E9-B8605481DB3B}"/>
                </a:ext>
              </a:extLst>
            </p:cNvPr>
            <p:cNvCxnSpPr/>
            <p:nvPr/>
          </p:nvCxnSpPr>
          <p:spPr>
            <a:xfrm>
              <a:off x="676275" y="5362175"/>
              <a:ext cx="0" cy="9525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F636E19-346C-DE4D-91D0-E4A9338A558C}"/>
                </a:ext>
              </a:extLst>
            </p:cNvPr>
            <p:cNvCxnSpPr/>
            <p:nvPr/>
          </p:nvCxnSpPr>
          <p:spPr>
            <a:xfrm>
              <a:off x="8467725" y="5362175"/>
              <a:ext cx="0" cy="9525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51" name="TextBox 50">
            <a:extLst>
              <a:ext uri="{FF2B5EF4-FFF2-40B4-BE49-F238E27FC236}">
                <a16:creationId xmlns:a16="http://schemas.microsoft.com/office/drawing/2014/main" id="{9B435911-A5E5-7841-B521-C830A9F75E48}"/>
              </a:ext>
            </a:extLst>
          </p:cNvPr>
          <p:cNvSpPr txBox="1"/>
          <p:nvPr/>
        </p:nvSpPr>
        <p:spPr>
          <a:xfrm>
            <a:off x="7610475" y="3618399"/>
            <a:ext cx="1327630" cy="707886"/>
          </a:xfrm>
          <a:prstGeom prst="rect">
            <a:avLst/>
          </a:prstGeom>
          <a:ln w="12700">
            <a:solidFill>
              <a:schemeClr val="accent6"/>
            </a:solidFill>
          </a:ln>
        </p:spPr>
        <p:style>
          <a:lnRef idx="2">
            <a:schemeClr val="accent4"/>
          </a:lnRef>
          <a:fillRef idx="1">
            <a:schemeClr val="lt1"/>
          </a:fillRef>
          <a:effectRef idx="0">
            <a:schemeClr val="accent4"/>
          </a:effectRef>
          <a:fontRef idx="minor">
            <a:schemeClr val="dk1"/>
          </a:fontRef>
        </p:style>
        <p:txBody>
          <a:bodyPr wrap="square" lIns="45720" tIns="45720" rIns="45720" bIns="45720" rtlCol="0" anchor="t" anchorCtr="0">
            <a:spAutoFit/>
          </a:bodyPr>
          <a:lstStyle>
            <a:defPPr>
              <a:defRPr lang="en-US"/>
            </a:defPPr>
            <a:lvl1pPr algn="ctr">
              <a:spcAft>
                <a:spcPts val="0"/>
              </a:spcAft>
              <a:buSzPct val="100000"/>
              <a:defRPr sz="1200" b="1">
                <a:solidFill>
                  <a:schemeClr val="tx1"/>
                </a:solidFill>
              </a:defRPr>
            </a:lvl1pPr>
          </a:lstStyle>
          <a:p>
            <a:pPr marL="0" lvl="2"/>
            <a:r>
              <a:rPr lang="en-US" sz="1000" b="1" dirty="0"/>
              <a:t>Step 3: </a:t>
            </a:r>
            <a:r>
              <a:rPr lang="en-US" sz="1000" dirty="0"/>
              <a:t>Lorem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a:t>
            </a:r>
            <a:endParaRPr lang="en-US" sz="1000" dirty="0"/>
          </a:p>
        </p:txBody>
      </p:sp>
      <p:sp>
        <p:nvSpPr>
          <p:cNvPr id="52" name="TextBox 51">
            <a:extLst>
              <a:ext uri="{FF2B5EF4-FFF2-40B4-BE49-F238E27FC236}">
                <a16:creationId xmlns:a16="http://schemas.microsoft.com/office/drawing/2014/main" id="{F3EAB8C4-B6DD-0C40-8A36-D54020421337}"/>
              </a:ext>
            </a:extLst>
          </p:cNvPr>
          <p:cNvSpPr txBox="1"/>
          <p:nvPr/>
        </p:nvSpPr>
        <p:spPr>
          <a:xfrm>
            <a:off x="1900238" y="4005448"/>
            <a:ext cx="1947154" cy="553998"/>
          </a:xfrm>
          <a:prstGeom prst="rect">
            <a:avLst/>
          </a:prstGeom>
          <a:ln w="12700">
            <a:solidFill>
              <a:schemeClr val="accent6"/>
            </a:solidFill>
          </a:ln>
        </p:spPr>
        <p:style>
          <a:lnRef idx="2">
            <a:schemeClr val="accent4"/>
          </a:lnRef>
          <a:fillRef idx="1">
            <a:schemeClr val="lt1"/>
          </a:fillRef>
          <a:effectRef idx="0">
            <a:schemeClr val="accent4"/>
          </a:effectRef>
          <a:fontRef idx="minor">
            <a:schemeClr val="dk1"/>
          </a:fontRef>
        </p:style>
        <p:txBody>
          <a:bodyPr wrap="square" lIns="45720" tIns="45720" rIns="45720" bIns="45720" rtlCol="0" anchor="t" anchorCtr="0">
            <a:spAutoFit/>
          </a:bodyPr>
          <a:lstStyle>
            <a:defPPr>
              <a:defRPr lang="en-US"/>
            </a:defPPr>
            <a:lvl1pPr algn="ctr">
              <a:spcAft>
                <a:spcPts val="0"/>
              </a:spcAft>
              <a:buSzPct val="100000"/>
              <a:defRPr sz="1200" b="1">
                <a:solidFill>
                  <a:schemeClr val="tx1"/>
                </a:solidFill>
              </a:defRPr>
            </a:lvl1pPr>
          </a:lstStyle>
          <a:p>
            <a:pPr marL="0" lvl="2"/>
            <a:r>
              <a:rPr lang="en-US" sz="1000" b="1" dirty="0"/>
              <a:t>Step 1: </a:t>
            </a:r>
            <a:r>
              <a:rPr lang="en-US" sz="1000" dirty="0"/>
              <a:t>Lorem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a:t>
            </a:r>
            <a:endParaRPr lang="en-US" sz="1000" dirty="0"/>
          </a:p>
        </p:txBody>
      </p:sp>
      <p:sp>
        <p:nvSpPr>
          <p:cNvPr id="53" name="Freeform 8">
            <a:extLst>
              <a:ext uri="{FF2B5EF4-FFF2-40B4-BE49-F238E27FC236}">
                <a16:creationId xmlns:a16="http://schemas.microsoft.com/office/drawing/2014/main" id="{B584B085-0284-DD4F-BABA-A19DABD84E4F}"/>
              </a:ext>
            </a:extLst>
          </p:cNvPr>
          <p:cNvSpPr>
            <a:spLocks/>
          </p:cNvSpPr>
          <p:nvPr/>
        </p:nvSpPr>
        <p:spPr bwMode="auto">
          <a:xfrm>
            <a:off x="4663749" y="3891002"/>
            <a:ext cx="4015866" cy="1723766"/>
          </a:xfrm>
          <a:custGeom>
            <a:avLst/>
            <a:gdLst>
              <a:gd name="T0" fmla="*/ 402 w 422"/>
              <a:gd name="T1" fmla="*/ 143 h 181"/>
              <a:gd name="T2" fmla="*/ 405 w 422"/>
              <a:gd name="T3" fmla="*/ 144 h 181"/>
              <a:gd name="T4" fmla="*/ 422 w 422"/>
              <a:gd name="T5" fmla="*/ 144 h 181"/>
              <a:gd name="T6" fmla="*/ 414 w 422"/>
              <a:gd name="T7" fmla="*/ 150 h 181"/>
              <a:gd name="T8" fmla="*/ 377 w 422"/>
              <a:gd name="T9" fmla="*/ 180 h 181"/>
              <a:gd name="T10" fmla="*/ 374 w 422"/>
              <a:gd name="T11" fmla="*/ 180 h 181"/>
              <a:gd name="T12" fmla="*/ 331 w 422"/>
              <a:gd name="T13" fmla="*/ 145 h 181"/>
              <a:gd name="T14" fmla="*/ 330 w 422"/>
              <a:gd name="T15" fmla="*/ 144 h 181"/>
              <a:gd name="T16" fmla="*/ 331 w 422"/>
              <a:gd name="T17" fmla="*/ 144 h 181"/>
              <a:gd name="T18" fmla="*/ 349 w 422"/>
              <a:gd name="T19" fmla="*/ 144 h 181"/>
              <a:gd name="T20" fmla="*/ 351 w 422"/>
              <a:gd name="T21" fmla="*/ 142 h 181"/>
              <a:gd name="T22" fmla="*/ 330 w 422"/>
              <a:gd name="T23" fmla="*/ 87 h 181"/>
              <a:gd name="T24" fmla="*/ 281 w 422"/>
              <a:gd name="T25" fmla="*/ 54 h 181"/>
              <a:gd name="T26" fmla="*/ 257 w 422"/>
              <a:gd name="T27" fmla="*/ 51 h 181"/>
              <a:gd name="T28" fmla="*/ 0 w 422"/>
              <a:gd name="T29" fmla="*/ 51 h 181"/>
              <a:gd name="T30" fmla="*/ 0 w 422"/>
              <a:gd name="T31" fmla="*/ 1 h 181"/>
              <a:gd name="T32" fmla="*/ 2 w 422"/>
              <a:gd name="T33" fmla="*/ 0 h 181"/>
              <a:gd name="T34" fmla="*/ 260 w 422"/>
              <a:gd name="T35" fmla="*/ 0 h 181"/>
              <a:gd name="T36" fmla="*/ 316 w 422"/>
              <a:gd name="T37" fmla="*/ 13 h 181"/>
              <a:gd name="T38" fmla="*/ 354 w 422"/>
              <a:gd name="T39" fmla="*/ 38 h 181"/>
              <a:gd name="T40" fmla="*/ 383 w 422"/>
              <a:gd name="T41" fmla="*/ 74 h 181"/>
              <a:gd name="T42" fmla="*/ 401 w 422"/>
              <a:gd name="T43" fmla="*/ 128 h 181"/>
              <a:gd name="T44" fmla="*/ 402 w 422"/>
              <a:gd name="T45" fmla="*/ 14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2" h="181">
                <a:moveTo>
                  <a:pt x="402" y="143"/>
                </a:moveTo>
                <a:cubicBezTo>
                  <a:pt x="403" y="144"/>
                  <a:pt x="404" y="144"/>
                  <a:pt x="405" y="144"/>
                </a:cubicBezTo>
                <a:cubicBezTo>
                  <a:pt x="410" y="144"/>
                  <a:pt x="415" y="144"/>
                  <a:pt x="422" y="144"/>
                </a:cubicBezTo>
                <a:cubicBezTo>
                  <a:pt x="419" y="146"/>
                  <a:pt x="417" y="148"/>
                  <a:pt x="414" y="150"/>
                </a:cubicBezTo>
                <a:cubicBezTo>
                  <a:pt x="402" y="160"/>
                  <a:pt x="389" y="170"/>
                  <a:pt x="377" y="180"/>
                </a:cubicBezTo>
                <a:cubicBezTo>
                  <a:pt x="376" y="181"/>
                  <a:pt x="375" y="181"/>
                  <a:pt x="374" y="180"/>
                </a:cubicBezTo>
                <a:cubicBezTo>
                  <a:pt x="360" y="169"/>
                  <a:pt x="345" y="157"/>
                  <a:pt x="331" y="145"/>
                </a:cubicBezTo>
                <a:cubicBezTo>
                  <a:pt x="330" y="145"/>
                  <a:pt x="330" y="145"/>
                  <a:pt x="330" y="144"/>
                </a:cubicBezTo>
                <a:cubicBezTo>
                  <a:pt x="330" y="144"/>
                  <a:pt x="331" y="144"/>
                  <a:pt x="331" y="144"/>
                </a:cubicBezTo>
                <a:cubicBezTo>
                  <a:pt x="337" y="144"/>
                  <a:pt x="343" y="144"/>
                  <a:pt x="349" y="144"/>
                </a:cubicBezTo>
                <a:cubicBezTo>
                  <a:pt x="351" y="144"/>
                  <a:pt x="351" y="143"/>
                  <a:pt x="351" y="142"/>
                </a:cubicBezTo>
                <a:cubicBezTo>
                  <a:pt x="350" y="121"/>
                  <a:pt x="343" y="103"/>
                  <a:pt x="330" y="87"/>
                </a:cubicBezTo>
                <a:cubicBezTo>
                  <a:pt x="317" y="71"/>
                  <a:pt x="301" y="60"/>
                  <a:pt x="281" y="54"/>
                </a:cubicBezTo>
                <a:cubicBezTo>
                  <a:pt x="273" y="52"/>
                  <a:pt x="265" y="51"/>
                  <a:pt x="257" y="51"/>
                </a:cubicBezTo>
                <a:cubicBezTo>
                  <a:pt x="171" y="51"/>
                  <a:pt x="86" y="51"/>
                  <a:pt x="0" y="51"/>
                </a:cubicBezTo>
                <a:cubicBezTo>
                  <a:pt x="0" y="34"/>
                  <a:pt x="0" y="17"/>
                  <a:pt x="0" y="1"/>
                </a:cubicBezTo>
                <a:cubicBezTo>
                  <a:pt x="1" y="0"/>
                  <a:pt x="1" y="0"/>
                  <a:pt x="2" y="0"/>
                </a:cubicBezTo>
                <a:cubicBezTo>
                  <a:pt x="88" y="0"/>
                  <a:pt x="174" y="0"/>
                  <a:pt x="260" y="0"/>
                </a:cubicBezTo>
                <a:cubicBezTo>
                  <a:pt x="280" y="0"/>
                  <a:pt x="299" y="5"/>
                  <a:pt x="316" y="13"/>
                </a:cubicBezTo>
                <a:cubicBezTo>
                  <a:pt x="330" y="20"/>
                  <a:pt x="343" y="28"/>
                  <a:pt x="354" y="38"/>
                </a:cubicBezTo>
                <a:cubicBezTo>
                  <a:pt x="366" y="48"/>
                  <a:pt x="375" y="60"/>
                  <a:pt x="383" y="74"/>
                </a:cubicBezTo>
                <a:cubicBezTo>
                  <a:pt x="393" y="91"/>
                  <a:pt x="399" y="109"/>
                  <a:pt x="401" y="128"/>
                </a:cubicBezTo>
                <a:cubicBezTo>
                  <a:pt x="402" y="133"/>
                  <a:pt x="402" y="138"/>
                  <a:pt x="402" y="1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5">
            <a:extLst>
              <a:ext uri="{FF2B5EF4-FFF2-40B4-BE49-F238E27FC236}">
                <a16:creationId xmlns:a16="http://schemas.microsoft.com/office/drawing/2014/main" id="{9FE5F3BC-50B3-4742-8166-CE5BC13F2418}"/>
              </a:ext>
            </a:extLst>
          </p:cNvPr>
          <p:cNvSpPr>
            <a:spLocks/>
          </p:cNvSpPr>
          <p:nvPr/>
        </p:nvSpPr>
        <p:spPr bwMode="auto">
          <a:xfrm>
            <a:off x="4301840" y="1881729"/>
            <a:ext cx="2655351" cy="2523991"/>
          </a:xfrm>
          <a:custGeom>
            <a:avLst/>
            <a:gdLst>
              <a:gd name="T0" fmla="*/ 276 w 279"/>
              <a:gd name="T1" fmla="*/ 108 h 265"/>
              <a:gd name="T2" fmla="*/ 227 w 279"/>
              <a:gd name="T3" fmla="*/ 28 h 265"/>
              <a:gd name="T4" fmla="*/ 155 w 279"/>
              <a:gd name="T5" fmla="*/ 1 h 265"/>
              <a:gd name="T6" fmla="*/ 131 w 279"/>
              <a:gd name="T7" fmla="*/ 1 h 265"/>
              <a:gd name="T8" fmla="*/ 90 w 279"/>
              <a:gd name="T9" fmla="*/ 13 h 265"/>
              <a:gd name="T10" fmla="*/ 14 w 279"/>
              <a:gd name="T11" fmla="*/ 128 h 265"/>
              <a:gd name="T12" fmla="*/ 10 w 279"/>
              <a:gd name="T13" fmla="*/ 132 h 265"/>
              <a:gd name="T14" fmla="*/ 0 w 279"/>
              <a:gd name="T15" fmla="*/ 132 h 265"/>
              <a:gd name="T16" fmla="*/ 39 w 279"/>
              <a:gd name="T17" fmla="*/ 164 h 265"/>
              <a:gd name="T18" fmla="*/ 42 w 279"/>
              <a:gd name="T19" fmla="*/ 164 h 265"/>
              <a:gd name="T20" fmla="*/ 69 w 279"/>
              <a:gd name="T21" fmla="*/ 141 h 265"/>
              <a:gd name="T22" fmla="*/ 81 w 279"/>
              <a:gd name="T23" fmla="*/ 132 h 265"/>
              <a:gd name="T24" fmla="*/ 79 w 279"/>
              <a:gd name="T25" fmla="*/ 132 h 265"/>
              <a:gd name="T26" fmla="*/ 68 w 279"/>
              <a:gd name="T27" fmla="*/ 132 h 265"/>
              <a:gd name="T28" fmla="*/ 66 w 279"/>
              <a:gd name="T29" fmla="*/ 131 h 265"/>
              <a:gd name="T30" fmla="*/ 67 w 279"/>
              <a:gd name="T31" fmla="*/ 121 h 265"/>
              <a:gd name="T32" fmla="*/ 82 w 279"/>
              <a:gd name="T33" fmla="*/ 84 h 265"/>
              <a:gd name="T34" fmla="*/ 162 w 279"/>
              <a:gd name="T35" fmla="*/ 54 h 265"/>
              <a:gd name="T36" fmla="*/ 206 w 279"/>
              <a:gd name="T37" fmla="*/ 79 h 265"/>
              <a:gd name="T38" fmla="*/ 225 w 279"/>
              <a:gd name="T39" fmla="*/ 150 h 265"/>
              <a:gd name="T40" fmla="*/ 197 w 279"/>
              <a:gd name="T41" fmla="*/ 195 h 265"/>
              <a:gd name="T42" fmla="*/ 149 w 279"/>
              <a:gd name="T43" fmla="*/ 212 h 265"/>
              <a:gd name="T44" fmla="*/ 147 w 279"/>
              <a:gd name="T45" fmla="*/ 215 h 265"/>
              <a:gd name="T46" fmla="*/ 147 w 279"/>
              <a:gd name="T47" fmla="*/ 247 h 265"/>
              <a:gd name="T48" fmla="*/ 147 w 279"/>
              <a:gd name="T49" fmla="*/ 263 h 265"/>
              <a:gd name="T50" fmla="*/ 149 w 279"/>
              <a:gd name="T51" fmla="*/ 265 h 265"/>
              <a:gd name="T52" fmla="*/ 154 w 279"/>
              <a:gd name="T53" fmla="*/ 264 h 265"/>
              <a:gd name="T54" fmla="*/ 175 w 279"/>
              <a:gd name="T55" fmla="*/ 261 h 265"/>
              <a:gd name="T56" fmla="*/ 248 w 279"/>
              <a:gd name="T57" fmla="*/ 217 h 265"/>
              <a:gd name="T58" fmla="*/ 278 w 279"/>
              <a:gd name="T59" fmla="*/ 140 h 265"/>
              <a:gd name="T60" fmla="*/ 276 w 279"/>
              <a:gd name="T61" fmla="*/ 10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9" h="265">
                <a:moveTo>
                  <a:pt x="276" y="108"/>
                </a:moveTo>
                <a:cubicBezTo>
                  <a:pt x="270" y="75"/>
                  <a:pt x="254" y="48"/>
                  <a:pt x="227" y="28"/>
                </a:cubicBezTo>
                <a:cubicBezTo>
                  <a:pt x="206" y="11"/>
                  <a:pt x="181" y="2"/>
                  <a:pt x="155" y="1"/>
                </a:cubicBezTo>
                <a:cubicBezTo>
                  <a:pt x="147" y="0"/>
                  <a:pt x="139" y="1"/>
                  <a:pt x="131" y="1"/>
                </a:cubicBezTo>
                <a:cubicBezTo>
                  <a:pt x="117" y="3"/>
                  <a:pt x="103" y="7"/>
                  <a:pt x="90" y="13"/>
                </a:cubicBezTo>
                <a:cubicBezTo>
                  <a:pt x="43" y="37"/>
                  <a:pt x="18" y="75"/>
                  <a:pt x="14" y="128"/>
                </a:cubicBezTo>
                <a:cubicBezTo>
                  <a:pt x="14" y="132"/>
                  <a:pt x="14" y="132"/>
                  <a:pt x="10" y="132"/>
                </a:cubicBezTo>
                <a:cubicBezTo>
                  <a:pt x="7" y="132"/>
                  <a:pt x="4" y="132"/>
                  <a:pt x="0" y="132"/>
                </a:cubicBezTo>
                <a:cubicBezTo>
                  <a:pt x="13" y="143"/>
                  <a:pt x="26" y="154"/>
                  <a:pt x="39" y="164"/>
                </a:cubicBezTo>
                <a:cubicBezTo>
                  <a:pt x="40" y="165"/>
                  <a:pt x="41" y="165"/>
                  <a:pt x="42" y="164"/>
                </a:cubicBezTo>
                <a:cubicBezTo>
                  <a:pt x="51" y="156"/>
                  <a:pt x="60" y="149"/>
                  <a:pt x="69" y="141"/>
                </a:cubicBezTo>
                <a:cubicBezTo>
                  <a:pt x="73" y="138"/>
                  <a:pt x="77" y="136"/>
                  <a:pt x="81" y="132"/>
                </a:cubicBezTo>
                <a:cubicBezTo>
                  <a:pt x="80" y="132"/>
                  <a:pt x="79" y="132"/>
                  <a:pt x="79" y="132"/>
                </a:cubicBezTo>
                <a:cubicBezTo>
                  <a:pt x="75" y="132"/>
                  <a:pt x="72" y="132"/>
                  <a:pt x="68" y="132"/>
                </a:cubicBezTo>
                <a:cubicBezTo>
                  <a:pt x="67" y="132"/>
                  <a:pt x="66" y="131"/>
                  <a:pt x="66" y="131"/>
                </a:cubicBezTo>
                <a:cubicBezTo>
                  <a:pt x="66" y="128"/>
                  <a:pt x="67" y="124"/>
                  <a:pt x="67" y="121"/>
                </a:cubicBezTo>
                <a:cubicBezTo>
                  <a:pt x="69" y="108"/>
                  <a:pt x="74" y="95"/>
                  <a:pt x="82" y="84"/>
                </a:cubicBezTo>
                <a:cubicBezTo>
                  <a:pt x="103" y="59"/>
                  <a:pt x="130" y="48"/>
                  <a:pt x="162" y="54"/>
                </a:cubicBezTo>
                <a:cubicBezTo>
                  <a:pt x="180" y="57"/>
                  <a:pt x="195" y="66"/>
                  <a:pt x="206" y="79"/>
                </a:cubicBezTo>
                <a:cubicBezTo>
                  <a:pt x="224" y="100"/>
                  <a:pt x="230" y="124"/>
                  <a:pt x="225" y="150"/>
                </a:cubicBezTo>
                <a:cubicBezTo>
                  <a:pt x="221" y="168"/>
                  <a:pt x="211" y="183"/>
                  <a:pt x="197" y="195"/>
                </a:cubicBezTo>
                <a:cubicBezTo>
                  <a:pt x="183" y="206"/>
                  <a:pt x="167" y="212"/>
                  <a:pt x="149" y="212"/>
                </a:cubicBezTo>
                <a:cubicBezTo>
                  <a:pt x="147" y="212"/>
                  <a:pt x="147" y="213"/>
                  <a:pt x="147" y="215"/>
                </a:cubicBezTo>
                <a:cubicBezTo>
                  <a:pt x="147" y="226"/>
                  <a:pt x="147" y="237"/>
                  <a:pt x="147" y="247"/>
                </a:cubicBezTo>
                <a:cubicBezTo>
                  <a:pt x="147" y="252"/>
                  <a:pt x="147" y="257"/>
                  <a:pt x="147" y="263"/>
                </a:cubicBezTo>
                <a:cubicBezTo>
                  <a:pt x="147" y="264"/>
                  <a:pt x="147" y="265"/>
                  <a:pt x="149" y="265"/>
                </a:cubicBezTo>
                <a:cubicBezTo>
                  <a:pt x="151" y="265"/>
                  <a:pt x="152" y="265"/>
                  <a:pt x="154" y="264"/>
                </a:cubicBezTo>
                <a:cubicBezTo>
                  <a:pt x="161" y="263"/>
                  <a:pt x="168" y="263"/>
                  <a:pt x="175" y="261"/>
                </a:cubicBezTo>
                <a:cubicBezTo>
                  <a:pt x="205" y="255"/>
                  <a:pt x="229" y="240"/>
                  <a:pt x="248" y="217"/>
                </a:cubicBezTo>
                <a:cubicBezTo>
                  <a:pt x="267" y="195"/>
                  <a:pt x="277" y="169"/>
                  <a:pt x="278" y="140"/>
                </a:cubicBezTo>
                <a:cubicBezTo>
                  <a:pt x="279" y="130"/>
                  <a:pt x="278" y="119"/>
                  <a:pt x="276" y="108"/>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Oval 7">
            <a:extLst>
              <a:ext uri="{FF2B5EF4-FFF2-40B4-BE49-F238E27FC236}">
                <a16:creationId xmlns:a16="http://schemas.microsoft.com/office/drawing/2014/main" id="{92E826EE-86AD-7F4E-AAD6-062FFB0902D4}"/>
              </a:ext>
            </a:extLst>
          </p:cNvPr>
          <p:cNvSpPr>
            <a:spLocks noChangeArrowheads="1"/>
          </p:cNvSpPr>
          <p:nvPr/>
        </p:nvSpPr>
        <p:spPr bwMode="auto">
          <a:xfrm>
            <a:off x="4492177" y="3415156"/>
            <a:ext cx="1513322" cy="1514662"/>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21">
            <a:extLst>
              <a:ext uri="{FF2B5EF4-FFF2-40B4-BE49-F238E27FC236}">
                <a16:creationId xmlns:a16="http://schemas.microsoft.com/office/drawing/2014/main" id="{49AE57E2-A2FC-CA4E-A8CA-ED49CDED4769}"/>
              </a:ext>
            </a:extLst>
          </p:cNvPr>
          <p:cNvSpPr>
            <a:spLocks noChangeAspect="1" noEditPoints="1"/>
          </p:cNvSpPr>
          <p:nvPr/>
        </p:nvSpPr>
        <p:spPr bwMode="auto">
          <a:xfrm>
            <a:off x="4715251" y="3638230"/>
            <a:ext cx="1067120" cy="1067120"/>
          </a:xfrm>
          <a:custGeom>
            <a:avLst/>
            <a:gdLst>
              <a:gd name="T0" fmla="*/ 138 w 512"/>
              <a:gd name="T1" fmla="*/ 272 h 512"/>
              <a:gd name="T2" fmla="*/ 154 w 512"/>
              <a:gd name="T3" fmla="*/ 256 h 512"/>
              <a:gd name="T4" fmla="*/ 170 w 512"/>
              <a:gd name="T5" fmla="*/ 272 h 512"/>
              <a:gd name="T6" fmla="*/ 170 w 512"/>
              <a:gd name="T7" fmla="*/ 346 h 512"/>
              <a:gd name="T8" fmla="*/ 154 w 512"/>
              <a:gd name="T9" fmla="*/ 362 h 512"/>
              <a:gd name="T10" fmla="*/ 138 w 512"/>
              <a:gd name="T11" fmla="*/ 346 h 512"/>
              <a:gd name="T12" fmla="*/ 138 w 512"/>
              <a:gd name="T13" fmla="*/ 272 h 512"/>
              <a:gd name="T14" fmla="*/ 357 w 512"/>
              <a:gd name="T15" fmla="*/ 256 h 512"/>
              <a:gd name="T16" fmla="*/ 341 w 512"/>
              <a:gd name="T17" fmla="*/ 272 h 512"/>
              <a:gd name="T18" fmla="*/ 341 w 512"/>
              <a:gd name="T19" fmla="*/ 346 h 512"/>
              <a:gd name="T20" fmla="*/ 357 w 512"/>
              <a:gd name="T21" fmla="*/ 362 h 512"/>
              <a:gd name="T22" fmla="*/ 373 w 512"/>
              <a:gd name="T23" fmla="*/ 346 h 512"/>
              <a:gd name="T24" fmla="*/ 373 w 512"/>
              <a:gd name="T25" fmla="*/ 272 h 512"/>
              <a:gd name="T26" fmla="*/ 357 w 512"/>
              <a:gd name="T27" fmla="*/ 256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94 w 512"/>
              <a:gd name="T39" fmla="*/ 240 h 512"/>
              <a:gd name="T40" fmla="*/ 256 w 512"/>
              <a:gd name="T41" fmla="*/ 106 h 512"/>
              <a:gd name="T42" fmla="*/ 117 w 512"/>
              <a:gd name="T43" fmla="*/ 240 h 512"/>
              <a:gd name="T44" fmla="*/ 117 w 512"/>
              <a:gd name="T45" fmla="*/ 346 h 512"/>
              <a:gd name="T46" fmla="*/ 154 w 512"/>
              <a:gd name="T47" fmla="*/ 384 h 512"/>
              <a:gd name="T48" fmla="*/ 192 w 512"/>
              <a:gd name="T49" fmla="*/ 346 h 512"/>
              <a:gd name="T50" fmla="*/ 192 w 512"/>
              <a:gd name="T51" fmla="*/ 272 h 512"/>
              <a:gd name="T52" fmla="*/ 154 w 512"/>
              <a:gd name="T53" fmla="*/ 234 h 512"/>
              <a:gd name="T54" fmla="*/ 138 w 512"/>
              <a:gd name="T55" fmla="*/ 238 h 512"/>
              <a:gd name="T56" fmla="*/ 256 w 512"/>
              <a:gd name="T57" fmla="*/ 128 h 512"/>
              <a:gd name="T58" fmla="*/ 373 w 512"/>
              <a:gd name="T59" fmla="*/ 238 h 512"/>
              <a:gd name="T60" fmla="*/ 357 w 512"/>
              <a:gd name="T61" fmla="*/ 234 h 512"/>
              <a:gd name="T62" fmla="*/ 320 w 512"/>
              <a:gd name="T63" fmla="*/ 272 h 512"/>
              <a:gd name="T64" fmla="*/ 320 w 512"/>
              <a:gd name="T65" fmla="*/ 346 h 512"/>
              <a:gd name="T66" fmla="*/ 357 w 512"/>
              <a:gd name="T67" fmla="*/ 384 h 512"/>
              <a:gd name="T68" fmla="*/ 394 w 512"/>
              <a:gd name="T69" fmla="*/ 346 h 512"/>
              <a:gd name="T70" fmla="*/ 394 w 512"/>
              <a:gd name="T71"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38" y="272"/>
                </a:moveTo>
                <a:cubicBezTo>
                  <a:pt x="138" y="263"/>
                  <a:pt x="146" y="256"/>
                  <a:pt x="154" y="256"/>
                </a:cubicBezTo>
                <a:cubicBezTo>
                  <a:pt x="163" y="256"/>
                  <a:pt x="170" y="263"/>
                  <a:pt x="170" y="272"/>
                </a:cubicBezTo>
                <a:cubicBezTo>
                  <a:pt x="170" y="346"/>
                  <a:pt x="170" y="346"/>
                  <a:pt x="170" y="346"/>
                </a:cubicBezTo>
                <a:cubicBezTo>
                  <a:pt x="170" y="355"/>
                  <a:pt x="163" y="362"/>
                  <a:pt x="154" y="362"/>
                </a:cubicBezTo>
                <a:cubicBezTo>
                  <a:pt x="146" y="362"/>
                  <a:pt x="138" y="355"/>
                  <a:pt x="138" y="346"/>
                </a:cubicBezTo>
                <a:lnTo>
                  <a:pt x="138" y="272"/>
                </a:lnTo>
                <a:close/>
                <a:moveTo>
                  <a:pt x="357" y="256"/>
                </a:moveTo>
                <a:cubicBezTo>
                  <a:pt x="348" y="256"/>
                  <a:pt x="341" y="263"/>
                  <a:pt x="341" y="272"/>
                </a:cubicBezTo>
                <a:cubicBezTo>
                  <a:pt x="341" y="346"/>
                  <a:pt x="341" y="346"/>
                  <a:pt x="341" y="346"/>
                </a:cubicBezTo>
                <a:cubicBezTo>
                  <a:pt x="341" y="355"/>
                  <a:pt x="348" y="362"/>
                  <a:pt x="357" y="362"/>
                </a:cubicBezTo>
                <a:cubicBezTo>
                  <a:pt x="366" y="362"/>
                  <a:pt x="373" y="355"/>
                  <a:pt x="373" y="346"/>
                </a:cubicBezTo>
                <a:cubicBezTo>
                  <a:pt x="373" y="272"/>
                  <a:pt x="373" y="272"/>
                  <a:pt x="373" y="272"/>
                </a:cubicBezTo>
                <a:cubicBezTo>
                  <a:pt x="373" y="263"/>
                  <a:pt x="366" y="256"/>
                  <a:pt x="357"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40"/>
                </a:moveTo>
                <a:cubicBezTo>
                  <a:pt x="394" y="166"/>
                  <a:pt x="332" y="106"/>
                  <a:pt x="256" y="106"/>
                </a:cubicBezTo>
                <a:cubicBezTo>
                  <a:pt x="179" y="106"/>
                  <a:pt x="117" y="166"/>
                  <a:pt x="117" y="240"/>
                </a:cubicBezTo>
                <a:cubicBezTo>
                  <a:pt x="117" y="346"/>
                  <a:pt x="117" y="346"/>
                  <a:pt x="117" y="346"/>
                </a:cubicBezTo>
                <a:cubicBezTo>
                  <a:pt x="117" y="367"/>
                  <a:pt x="134" y="384"/>
                  <a:pt x="154" y="384"/>
                </a:cubicBezTo>
                <a:cubicBezTo>
                  <a:pt x="175" y="384"/>
                  <a:pt x="192" y="367"/>
                  <a:pt x="192" y="346"/>
                </a:cubicBezTo>
                <a:cubicBezTo>
                  <a:pt x="192" y="272"/>
                  <a:pt x="192" y="272"/>
                  <a:pt x="192" y="272"/>
                </a:cubicBezTo>
                <a:cubicBezTo>
                  <a:pt x="192" y="251"/>
                  <a:pt x="175" y="234"/>
                  <a:pt x="154" y="234"/>
                </a:cubicBezTo>
                <a:cubicBezTo>
                  <a:pt x="149" y="234"/>
                  <a:pt x="143" y="236"/>
                  <a:pt x="138" y="238"/>
                </a:cubicBezTo>
                <a:cubicBezTo>
                  <a:pt x="139" y="177"/>
                  <a:pt x="192" y="128"/>
                  <a:pt x="256" y="128"/>
                </a:cubicBezTo>
                <a:cubicBezTo>
                  <a:pt x="320" y="128"/>
                  <a:pt x="372" y="177"/>
                  <a:pt x="373" y="238"/>
                </a:cubicBezTo>
                <a:cubicBezTo>
                  <a:pt x="368" y="236"/>
                  <a:pt x="363" y="234"/>
                  <a:pt x="357" y="234"/>
                </a:cubicBezTo>
                <a:cubicBezTo>
                  <a:pt x="336" y="234"/>
                  <a:pt x="320" y="251"/>
                  <a:pt x="320" y="272"/>
                </a:cubicBezTo>
                <a:cubicBezTo>
                  <a:pt x="320" y="346"/>
                  <a:pt x="320" y="346"/>
                  <a:pt x="320" y="346"/>
                </a:cubicBezTo>
                <a:cubicBezTo>
                  <a:pt x="320" y="367"/>
                  <a:pt x="336" y="384"/>
                  <a:pt x="357" y="384"/>
                </a:cubicBezTo>
                <a:cubicBezTo>
                  <a:pt x="378" y="384"/>
                  <a:pt x="394" y="367"/>
                  <a:pt x="394" y="346"/>
                </a:cubicBezTo>
                <a:lnTo>
                  <a:pt x="394" y="24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6">
            <a:extLst>
              <a:ext uri="{FF2B5EF4-FFF2-40B4-BE49-F238E27FC236}">
                <a16:creationId xmlns:a16="http://schemas.microsoft.com/office/drawing/2014/main" id="{670AFEA4-414A-564D-BCC7-921D5B0CFDCF}"/>
              </a:ext>
            </a:extLst>
          </p:cNvPr>
          <p:cNvSpPr>
            <a:spLocks/>
          </p:cNvSpPr>
          <p:nvPr/>
        </p:nvSpPr>
        <p:spPr bwMode="auto">
          <a:xfrm>
            <a:off x="3387137" y="3996894"/>
            <a:ext cx="1209049" cy="1341750"/>
          </a:xfrm>
          <a:custGeom>
            <a:avLst/>
            <a:gdLst>
              <a:gd name="T0" fmla="*/ 127 w 127"/>
              <a:gd name="T1" fmla="*/ 37 h 141"/>
              <a:gd name="T2" fmla="*/ 98 w 127"/>
              <a:gd name="T3" fmla="*/ 0 h 141"/>
              <a:gd name="T4" fmla="*/ 98 w 127"/>
              <a:gd name="T5" fmla="*/ 0 h 141"/>
              <a:gd name="T6" fmla="*/ 98 w 127"/>
              <a:gd name="T7" fmla="*/ 8 h 141"/>
              <a:gd name="T8" fmla="*/ 96 w 127"/>
              <a:gd name="T9" fmla="*/ 10 h 141"/>
              <a:gd name="T10" fmla="*/ 76 w 127"/>
              <a:gd name="T11" fmla="*/ 18 h 141"/>
              <a:gd name="T12" fmla="*/ 14 w 127"/>
              <a:gd name="T13" fmla="*/ 82 h 141"/>
              <a:gd name="T14" fmla="*/ 1 w 127"/>
              <a:gd name="T15" fmla="*/ 128 h 141"/>
              <a:gd name="T16" fmla="*/ 0 w 127"/>
              <a:gd name="T17" fmla="*/ 136 h 141"/>
              <a:gd name="T18" fmla="*/ 0 w 127"/>
              <a:gd name="T19" fmla="*/ 141 h 141"/>
              <a:gd name="T20" fmla="*/ 50 w 127"/>
              <a:gd name="T21" fmla="*/ 141 h 141"/>
              <a:gd name="T22" fmla="*/ 63 w 127"/>
              <a:gd name="T23" fmla="*/ 96 h 141"/>
              <a:gd name="T24" fmla="*/ 97 w 127"/>
              <a:gd name="T25" fmla="*/ 63 h 141"/>
              <a:gd name="T26" fmla="*/ 97 w 127"/>
              <a:gd name="T27" fmla="*/ 73 h 141"/>
              <a:gd name="T28" fmla="*/ 127 w 127"/>
              <a:gd name="T29" fmla="*/ 3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41">
                <a:moveTo>
                  <a:pt x="127" y="37"/>
                </a:moveTo>
                <a:cubicBezTo>
                  <a:pt x="118" y="24"/>
                  <a:pt x="108" y="12"/>
                  <a:pt x="98" y="0"/>
                </a:cubicBezTo>
                <a:cubicBezTo>
                  <a:pt x="98" y="0"/>
                  <a:pt x="98" y="0"/>
                  <a:pt x="98" y="0"/>
                </a:cubicBezTo>
                <a:cubicBezTo>
                  <a:pt x="98" y="3"/>
                  <a:pt x="98" y="5"/>
                  <a:pt x="98" y="8"/>
                </a:cubicBezTo>
                <a:cubicBezTo>
                  <a:pt x="98" y="9"/>
                  <a:pt x="97" y="10"/>
                  <a:pt x="96" y="10"/>
                </a:cubicBezTo>
                <a:cubicBezTo>
                  <a:pt x="89" y="13"/>
                  <a:pt x="83" y="15"/>
                  <a:pt x="76" y="18"/>
                </a:cubicBezTo>
                <a:cubicBezTo>
                  <a:pt x="48" y="32"/>
                  <a:pt x="28" y="54"/>
                  <a:pt x="14" y="82"/>
                </a:cubicBezTo>
                <a:cubicBezTo>
                  <a:pt x="7" y="97"/>
                  <a:pt x="3" y="112"/>
                  <a:pt x="1" y="128"/>
                </a:cubicBezTo>
                <a:cubicBezTo>
                  <a:pt x="1" y="131"/>
                  <a:pt x="1" y="133"/>
                  <a:pt x="0" y="136"/>
                </a:cubicBezTo>
                <a:cubicBezTo>
                  <a:pt x="0" y="138"/>
                  <a:pt x="0" y="139"/>
                  <a:pt x="0" y="141"/>
                </a:cubicBezTo>
                <a:cubicBezTo>
                  <a:pt x="17" y="141"/>
                  <a:pt x="33" y="141"/>
                  <a:pt x="50" y="141"/>
                </a:cubicBezTo>
                <a:cubicBezTo>
                  <a:pt x="50" y="124"/>
                  <a:pt x="54" y="109"/>
                  <a:pt x="63" y="96"/>
                </a:cubicBezTo>
                <a:cubicBezTo>
                  <a:pt x="71" y="82"/>
                  <a:pt x="82" y="71"/>
                  <a:pt x="97" y="63"/>
                </a:cubicBezTo>
                <a:cubicBezTo>
                  <a:pt x="97" y="67"/>
                  <a:pt x="97" y="70"/>
                  <a:pt x="97" y="73"/>
                </a:cubicBezTo>
                <a:cubicBezTo>
                  <a:pt x="107" y="61"/>
                  <a:pt x="117" y="49"/>
                  <a:pt x="127" y="3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Oval 57">
            <a:extLst>
              <a:ext uri="{FF2B5EF4-FFF2-40B4-BE49-F238E27FC236}">
                <a16:creationId xmlns:a16="http://schemas.microsoft.com/office/drawing/2014/main" id="{2500F4CB-C256-194A-9641-4CE81FA8DACB}"/>
              </a:ext>
            </a:extLst>
          </p:cNvPr>
          <p:cNvSpPr/>
          <p:nvPr/>
        </p:nvSpPr>
        <p:spPr bwMode="gray">
          <a:xfrm>
            <a:off x="3553977" y="4906701"/>
            <a:ext cx="228600" cy="22860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1</a:t>
            </a:r>
            <a:endParaRPr lang="en-GB" sz="1000" b="1" dirty="0">
              <a:solidFill>
                <a:schemeClr val="bg1"/>
              </a:solidFill>
            </a:endParaRPr>
          </a:p>
        </p:txBody>
      </p:sp>
      <p:sp>
        <p:nvSpPr>
          <p:cNvPr id="59" name="TextBox 58">
            <a:extLst>
              <a:ext uri="{FF2B5EF4-FFF2-40B4-BE49-F238E27FC236}">
                <a16:creationId xmlns:a16="http://schemas.microsoft.com/office/drawing/2014/main" id="{14438481-8F55-9C42-8D82-B709DC8A3F71}"/>
              </a:ext>
            </a:extLst>
          </p:cNvPr>
          <p:cNvSpPr txBox="1"/>
          <p:nvPr/>
        </p:nvSpPr>
        <p:spPr>
          <a:xfrm rot="18738372">
            <a:off x="3703359" y="4555797"/>
            <a:ext cx="614609" cy="232498"/>
          </a:xfrm>
          <a:prstGeom prst="rect">
            <a:avLst/>
          </a:prstGeom>
          <a:noFill/>
        </p:spPr>
        <p:txBody>
          <a:bodyPr spcFirstLastPara="1" wrap="none" lIns="0" tIns="0" rIns="0" bIns="0" numCol="1" rtlCol="0">
            <a:prstTxWarp prst="textArchUp">
              <a:avLst/>
            </a:prstTxWarp>
            <a:spAutoFit/>
          </a:bodyPr>
          <a:lstStyle/>
          <a:p>
            <a:pPr algn="ctr">
              <a:spcBef>
                <a:spcPts val="600"/>
              </a:spcBef>
              <a:buSzPct val="100000"/>
            </a:pPr>
            <a:r>
              <a:rPr lang="en-US" sz="1200" dirty="0">
                <a:solidFill>
                  <a:schemeClr val="bg1"/>
                </a:solidFill>
              </a:rPr>
              <a:t>Lorem </a:t>
            </a:r>
            <a:r>
              <a:rPr lang="en-US" sz="1200" dirty="0" err="1">
                <a:solidFill>
                  <a:schemeClr val="bg1"/>
                </a:solidFill>
              </a:rPr>
              <a:t>ipsu</a:t>
            </a:r>
            <a:endParaRPr lang="en-GB" sz="1200" dirty="0">
              <a:solidFill>
                <a:schemeClr val="bg1"/>
              </a:solidFill>
            </a:endParaRPr>
          </a:p>
        </p:txBody>
      </p:sp>
      <p:sp>
        <p:nvSpPr>
          <p:cNvPr id="60" name="TextBox 59">
            <a:extLst>
              <a:ext uri="{FF2B5EF4-FFF2-40B4-BE49-F238E27FC236}">
                <a16:creationId xmlns:a16="http://schemas.microsoft.com/office/drawing/2014/main" id="{CAD2E693-6D9F-FC4B-B433-63BB511FCB60}"/>
              </a:ext>
            </a:extLst>
          </p:cNvPr>
          <p:cNvSpPr txBox="1"/>
          <p:nvPr/>
        </p:nvSpPr>
        <p:spPr>
          <a:xfrm rot="2096813">
            <a:off x="5762252" y="2298360"/>
            <a:ext cx="883675" cy="368101"/>
          </a:xfrm>
          <a:prstGeom prst="rect">
            <a:avLst/>
          </a:prstGeom>
          <a:noFill/>
        </p:spPr>
        <p:txBody>
          <a:bodyPr spcFirstLastPara="1" wrap="none" lIns="0" tIns="0" rIns="0" bIns="0" numCol="1" rtlCol="0">
            <a:prstTxWarp prst="textArchUp">
              <a:avLst/>
            </a:prstTxWarp>
            <a:spAutoFit/>
          </a:bodyPr>
          <a:lstStyle/>
          <a:p>
            <a:pPr algn="ctr">
              <a:spcBef>
                <a:spcPts val="600"/>
              </a:spcBef>
              <a:buSzPct val="100000"/>
            </a:pPr>
            <a:r>
              <a:rPr lang="en-US" sz="1200" dirty="0">
                <a:solidFill>
                  <a:schemeClr val="bg1"/>
                </a:solidFill>
              </a:rPr>
              <a:t>Lorem </a:t>
            </a:r>
            <a:r>
              <a:rPr lang="en-US" sz="1200" dirty="0" err="1">
                <a:solidFill>
                  <a:schemeClr val="bg1"/>
                </a:solidFill>
              </a:rPr>
              <a:t>ipsu</a:t>
            </a:r>
            <a:endParaRPr lang="en-GB" sz="1200" dirty="0">
              <a:solidFill>
                <a:schemeClr val="bg1"/>
              </a:solidFill>
            </a:endParaRPr>
          </a:p>
        </p:txBody>
      </p:sp>
      <p:sp>
        <p:nvSpPr>
          <p:cNvPr id="61" name="TextBox 60">
            <a:extLst>
              <a:ext uri="{FF2B5EF4-FFF2-40B4-BE49-F238E27FC236}">
                <a16:creationId xmlns:a16="http://schemas.microsoft.com/office/drawing/2014/main" id="{BBF01C7F-7941-314A-8CC1-2AE4F3FAC9DD}"/>
              </a:ext>
            </a:extLst>
          </p:cNvPr>
          <p:cNvSpPr txBox="1"/>
          <p:nvPr/>
        </p:nvSpPr>
        <p:spPr>
          <a:xfrm rot="2646970">
            <a:off x="7505393" y="4400761"/>
            <a:ext cx="614609" cy="232498"/>
          </a:xfrm>
          <a:prstGeom prst="rect">
            <a:avLst/>
          </a:prstGeom>
          <a:noFill/>
        </p:spPr>
        <p:txBody>
          <a:bodyPr spcFirstLastPara="1" wrap="none" lIns="0" tIns="0" rIns="0" bIns="0" numCol="1" rtlCol="0">
            <a:prstTxWarp prst="textArchUp">
              <a:avLst/>
            </a:prstTxWarp>
            <a:spAutoFit/>
          </a:bodyPr>
          <a:lstStyle/>
          <a:p>
            <a:pPr algn="ctr">
              <a:spcBef>
                <a:spcPts val="600"/>
              </a:spcBef>
              <a:buSzPct val="100000"/>
            </a:pPr>
            <a:r>
              <a:rPr lang="en-US" sz="1200" dirty="0">
                <a:solidFill>
                  <a:schemeClr val="bg1"/>
                </a:solidFill>
              </a:rPr>
              <a:t>Lorem </a:t>
            </a:r>
            <a:r>
              <a:rPr lang="en-US" sz="1200" dirty="0" err="1">
                <a:solidFill>
                  <a:schemeClr val="bg1"/>
                </a:solidFill>
              </a:rPr>
              <a:t>ipsu</a:t>
            </a:r>
            <a:endParaRPr lang="en-GB" sz="1200" dirty="0">
              <a:solidFill>
                <a:schemeClr val="bg1"/>
              </a:solidFill>
            </a:endParaRPr>
          </a:p>
        </p:txBody>
      </p:sp>
      <p:sp>
        <p:nvSpPr>
          <p:cNvPr id="62" name="Oval 61">
            <a:extLst>
              <a:ext uri="{FF2B5EF4-FFF2-40B4-BE49-F238E27FC236}">
                <a16:creationId xmlns:a16="http://schemas.microsoft.com/office/drawing/2014/main" id="{2BA3D53B-7028-C74E-B337-E9FDB7D193DD}"/>
              </a:ext>
            </a:extLst>
          </p:cNvPr>
          <p:cNvSpPr/>
          <p:nvPr/>
        </p:nvSpPr>
        <p:spPr bwMode="gray">
          <a:xfrm>
            <a:off x="5736494" y="2030830"/>
            <a:ext cx="228600" cy="22860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2</a:t>
            </a:r>
            <a:endParaRPr lang="en-GB" sz="1000" b="1" dirty="0">
              <a:solidFill>
                <a:schemeClr val="bg1"/>
              </a:solidFill>
            </a:endParaRPr>
          </a:p>
        </p:txBody>
      </p:sp>
      <p:sp>
        <p:nvSpPr>
          <p:cNvPr id="63" name="Oval 62">
            <a:extLst>
              <a:ext uri="{FF2B5EF4-FFF2-40B4-BE49-F238E27FC236}">
                <a16:creationId xmlns:a16="http://schemas.microsoft.com/office/drawing/2014/main" id="{B11DC6F9-E8AF-864A-8D03-F6BF34C16B08}"/>
              </a:ext>
            </a:extLst>
          </p:cNvPr>
          <p:cNvSpPr/>
          <p:nvPr/>
        </p:nvSpPr>
        <p:spPr bwMode="gray">
          <a:xfrm>
            <a:off x="7411637" y="4105331"/>
            <a:ext cx="228600" cy="228600"/>
          </a:xfrm>
          <a:prstGeom prst="ellipse">
            <a:avLst/>
          </a:prstGeom>
          <a:solidFill>
            <a:schemeClr val="tx1"/>
          </a:solidFill>
          <a:ln w="19050" algn="ctr">
            <a:noFill/>
            <a:miter lim="800000"/>
            <a:headEnd/>
            <a:tailEnd/>
          </a:ln>
        </p:spPr>
        <p:txBody>
          <a:bodyPr wrap="square" lIns="88900" tIns="88900" rIns="88900" bIns="88900" rtlCol="0" anchor="ctr"/>
          <a:lstStyle/>
          <a:p>
            <a:pPr algn="ctr">
              <a:buFont typeface="Wingdings 2" pitchFamily="18" charset="2"/>
              <a:buNone/>
            </a:pPr>
            <a:r>
              <a:rPr lang="en-US" sz="1000" b="1" dirty="0">
                <a:solidFill>
                  <a:schemeClr val="bg1"/>
                </a:solidFill>
              </a:rPr>
              <a:t>3</a:t>
            </a:r>
            <a:endParaRPr lang="en-GB" sz="1000" b="1" dirty="0">
              <a:solidFill>
                <a:schemeClr val="bg1"/>
              </a:solidFill>
            </a:endParaRPr>
          </a:p>
        </p:txBody>
      </p:sp>
      <p:sp>
        <p:nvSpPr>
          <p:cNvPr id="64" name="TextBox 63">
            <a:extLst>
              <a:ext uri="{FF2B5EF4-FFF2-40B4-BE49-F238E27FC236}">
                <a16:creationId xmlns:a16="http://schemas.microsoft.com/office/drawing/2014/main" id="{20F38094-3F0C-0046-A48D-C80092C5DF89}"/>
              </a:ext>
            </a:extLst>
          </p:cNvPr>
          <p:cNvSpPr txBox="1"/>
          <p:nvPr/>
        </p:nvSpPr>
        <p:spPr>
          <a:xfrm rot="17266914">
            <a:off x="3892969" y="5034691"/>
            <a:ext cx="959307" cy="399651"/>
          </a:xfrm>
          <a:prstGeom prst="rect">
            <a:avLst/>
          </a:prstGeom>
          <a:noFill/>
        </p:spPr>
        <p:txBody>
          <a:bodyPr spcFirstLastPara="1" wrap="none" lIns="0" tIns="0" rIns="0" bIns="0" numCol="1" rtlCol="0">
            <a:prstTxWarp prst="textArchUp">
              <a:avLst>
                <a:gd name="adj" fmla="val 11982953"/>
              </a:avLst>
            </a:prstTxWarp>
            <a:spAutoFit/>
          </a:bodyPr>
          <a:lstStyle/>
          <a:p>
            <a:pPr algn="ctr">
              <a:spcBef>
                <a:spcPts val="600"/>
              </a:spcBef>
              <a:buSzPct val="100000"/>
            </a:pPr>
            <a:r>
              <a:rPr lang="en-US" sz="1200" dirty="0"/>
              <a:t>Lorem </a:t>
            </a:r>
            <a:r>
              <a:rPr lang="en-US" sz="1200" dirty="0" err="1"/>
              <a:t>ipsu</a:t>
            </a:r>
            <a:endParaRPr lang="en-GB" sz="1200" dirty="0"/>
          </a:p>
        </p:txBody>
      </p:sp>
      <p:sp>
        <p:nvSpPr>
          <p:cNvPr id="65" name="Freeform 9">
            <a:extLst>
              <a:ext uri="{FF2B5EF4-FFF2-40B4-BE49-F238E27FC236}">
                <a16:creationId xmlns:a16="http://schemas.microsoft.com/office/drawing/2014/main" id="{3B1A99D0-4EC6-7A42-AD77-F70D6D052E27}"/>
              </a:ext>
            </a:extLst>
          </p:cNvPr>
          <p:cNvSpPr>
            <a:spLocks/>
          </p:cNvSpPr>
          <p:nvPr/>
        </p:nvSpPr>
        <p:spPr bwMode="auto">
          <a:xfrm>
            <a:off x="4187906" y="4681844"/>
            <a:ext cx="428931" cy="1057583"/>
          </a:xfrm>
          <a:custGeom>
            <a:avLst/>
            <a:gdLst>
              <a:gd name="T0" fmla="*/ 39 w 45"/>
              <a:gd name="T1" fmla="*/ 4 h 111"/>
              <a:gd name="T2" fmla="*/ 31 w 45"/>
              <a:gd name="T3" fmla="*/ 4 h 111"/>
              <a:gd name="T4" fmla="*/ 30 w 45"/>
              <a:gd name="T5" fmla="*/ 3 h 111"/>
              <a:gd name="T6" fmla="*/ 31 w 45"/>
              <a:gd name="T7" fmla="*/ 2 h 111"/>
              <a:gd name="T8" fmla="*/ 43 w 45"/>
              <a:gd name="T9" fmla="*/ 0 h 111"/>
              <a:gd name="T10" fmla="*/ 44 w 45"/>
              <a:gd name="T11" fmla="*/ 2 h 111"/>
              <a:gd name="T12" fmla="*/ 45 w 45"/>
              <a:gd name="T13" fmla="*/ 14 h 111"/>
              <a:gd name="T14" fmla="*/ 43 w 45"/>
              <a:gd name="T15" fmla="*/ 15 h 111"/>
              <a:gd name="T16" fmla="*/ 42 w 45"/>
              <a:gd name="T17" fmla="*/ 14 h 111"/>
              <a:gd name="T18" fmla="*/ 42 w 45"/>
              <a:gd name="T19" fmla="*/ 6 h 111"/>
              <a:gd name="T20" fmla="*/ 38 w 45"/>
              <a:gd name="T21" fmla="*/ 10 h 111"/>
              <a:gd name="T22" fmla="*/ 9 w 45"/>
              <a:gd name="T23" fmla="*/ 78 h 111"/>
              <a:gd name="T24" fmla="*/ 7 w 45"/>
              <a:gd name="T25" fmla="*/ 104 h 111"/>
              <a:gd name="T26" fmla="*/ 12 w 45"/>
              <a:gd name="T27" fmla="*/ 108 h 111"/>
              <a:gd name="T28" fmla="*/ 13 w 45"/>
              <a:gd name="T29" fmla="*/ 110 h 111"/>
              <a:gd name="T30" fmla="*/ 12 w 45"/>
              <a:gd name="T31" fmla="*/ 111 h 111"/>
              <a:gd name="T32" fmla="*/ 1 w 45"/>
              <a:gd name="T33" fmla="*/ 111 h 111"/>
              <a:gd name="T34" fmla="*/ 0 w 45"/>
              <a:gd name="T35" fmla="*/ 110 h 111"/>
              <a:gd name="T36" fmla="*/ 1 w 45"/>
              <a:gd name="T37" fmla="*/ 108 h 111"/>
              <a:gd name="T38" fmla="*/ 4 w 45"/>
              <a:gd name="T39" fmla="*/ 105 h 111"/>
              <a:gd name="T40" fmla="*/ 38 w 45"/>
              <a:gd name="T41" fmla="*/ 6 h 111"/>
              <a:gd name="T42" fmla="*/ 39 w 45"/>
              <a:gd name="T43" fmla="*/ 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111">
                <a:moveTo>
                  <a:pt x="39" y="4"/>
                </a:moveTo>
                <a:cubicBezTo>
                  <a:pt x="36" y="4"/>
                  <a:pt x="34" y="4"/>
                  <a:pt x="31" y="4"/>
                </a:cubicBezTo>
                <a:cubicBezTo>
                  <a:pt x="31" y="4"/>
                  <a:pt x="30" y="5"/>
                  <a:pt x="30" y="3"/>
                </a:cubicBezTo>
                <a:cubicBezTo>
                  <a:pt x="30" y="2"/>
                  <a:pt x="30" y="2"/>
                  <a:pt x="31" y="2"/>
                </a:cubicBezTo>
                <a:cubicBezTo>
                  <a:pt x="35" y="1"/>
                  <a:pt x="39" y="1"/>
                  <a:pt x="43" y="0"/>
                </a:cubicBezTo>
                <a:cubicBezTo>
                  <a:pt x="44" y="0"/>
                  <a:pt x="44" y="1"/>
                  <a:pt x="44" y="2"/>
                </a:cubicBezTo>
                <a:cubicBezTo>
                  <a:pt x="45" y="6"/>
                  <a:pt x="45" y="10"/>
                  <a:pt x="45" y="14"/>
                </a:cubicBezTo>
                <a:cubicBezTo>
                  <a:pt x="45" y="15"/>
                  <a:pt x="44" y="15"/>
                  <a:pt x="43" y="15"/>
                </a:cubicBezTo>
                <a:cubicBezTo>
                  <a:pt x="42" y="15"/>
                  <a:pt x="42" y="15"/>
                  <a:pt x="42" y="14"/>
                </a:cubicBezTo>
                <a:cubicBezTo>
                  <a:pt x="42" y="11"/>
                  <a:pt x="42" y="9"/>
                  <a:pt x="42" y="6"/>
                </a:cubicBezTo>
                <a:cubicBezTo>
                  <a:pt x="40" y="7"/>
                  <a:pt x="39" y="9"/>
                  <a:pt x="38" y="10"/>
                </a:cubicBezTo>
                <a:cubicBezTo>
                  <a:pt x="22" y="30"/>
                  <a:pt x="13" y="53"/>
                  <a:pt x="9" y="78"/>
                </a:cubicBezTo>
                <a:cubicBezTo>
                  <a:pt x="8" y="86"/>
                  <a:pt x="7" y="95"/>
                  <a:pt x="7" y="104"/>
                </a:cubicBezTo>
                <a:cubicBezTo>
                  <a:pt x="7" y="108"/>
                  <a:pt x="7" y="108"/>
                  <a:pt x="12" y="108"/>
                </a:cubicBezTo>
                <a:cubicBezTo>
                  <a:pt x="13" y="108"/>
                  <a:pt x="13" y="109"/>
                  <a:pt x="13" y="110"/>
                </a:cubicBezTo>
                <a:cubicBezTo>
                  <a:pt x="13" y="111"/>
                  <a:pt x="13" y="111"/>
                  <a:pt x="12" y="111"/>
                </a:cubicBezTo>
                <a:cubicBezTo>
                  <a:pt x="9" y="111"/>
                  <a:pt x="5" y="111"/>
                  <a:pt x="1" y="111"/>
                </a:cubicBezTo>
                <a:cubicBezTo>
                  <a:pt x="0" y="111"/>
                  <a:pt x="0" y="111"/>
                  <a:pt x="0" y="110"/>
                </a:cubicBezTo>
                <a:cubicBezTo>
                  <a:pt x="0" y="109"/>
                  <a:pt x="0" y="108"/>
                  <a:pt x="1" y="108"/>
                </a:cubicBezTo>
                <a:cubicBezTo>
                  <a:pt x="4" y="109"/>
                  <a:pt x="4" y="107"/>
                  <a:pt x="4" y="105"/>
                </a:cubicBezTo>
                <a:cubicBezTo>
                  <a:pt x="4" y="68"/>
                  <a:pt x="14" y="34"/>
                  <a:pt x="38" y="6"/>
                </a:cubicBezTo>
                <a:cubicBezTo>
                  <a:pt x="38" y="5"/>
                  <a:pt x="39" y="5"/>
                  <a:pt x="39" y="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TextBox 65">
            <a:extLst>
              <a:ext uri="{FF2B5EF4-FFF2-40B4-BE49-F238E27FC236}">
                <a16:creationId xmlns:a16="http://schemas.microsoft.com/office/drawing/2014/main" id="{8B730B7D-0200-094B-BD7D-7B11C2B2F37D}"/>
              </a:ext>
            </a:extLst>
          </p:cNvPr>
          <p:cNvSpPr txBox="1"/>
          <p:nvPr/>
        </p:nvSpPr>
        <p:spPr>
          <a:xfrm>
            <a:off x="4591931" y="3711554"/>
            <a:ext cx="1313814" cy="1073173"/>
          </a:xfrm>
          <a:prstGeom prst="rect">
            <a:avLst/>
          </a:prstGeom>
          <a:noFill/>
        </p:spPr>
        <p:txBody>
          <a:bodyPr spcFirstLastPara="1" wrap="none" lIns="0" tIns="0" rIns="0" bIns="0" numCol="1" rtlCol="0">
            <a:prstTxWarp prst="textArchDown">
              <a:avLst>
                <a:gd name="adj" fmla="val 2748235"/>
              </a:avLst>
            </a:prstTxWarp>
            <a:spAutoFit/>
          </a:bodyPr>
          <a:lstStyle/>
          <a:p>
            <a:pPr>
              <a:spcBef>
                <a:spcPts val="600"/>
              </a:spcBef>
              <a:buSzPct val="100000"/>
            </a:pPr>
            <a:r>
              <a:rPr lang="en-US" sz="1200" dirty="0">
                <a:solidFill>
                  <a:schemeClr val="bg1"/>
                </a:solidFill>
              </a:rPr>
              <a:t>Lorem </a:t>
            </a:r>
            <a:r>
              <a:rPr lang="en-US" sz="1200" dirty="0" err="1">
                <a:solidFill>
                  <a:schemeClr val="bg1"/>
                </a:solidFill>
              </a:rPr>
              <a:t>ipsu</a:t>
            </a:r>
            <a:endParaRPr lang="en-US" sz="1200" dirty="0">
              <a:solidFill>
                <a:schemeClr val="bg1"/>
              </a:solidFill>
            </a:endParaRPr>
          </a:p>
        </p:txBody>
      </p:sp>
    </p:spTree>
    <p:custDataLst>
      <p:tags r:id="rId1"/>
    </p:custDataLst>
    <p:extLst>
      <p:ext uri="{BB962C8B-B14F-4D97-AF65-F5344CB8AC3E}">
        <p14:creationId xmlns:p14="http://schemas.microsoft.com/office/powerpoint/2010/main" val="2811102926"/>
      </p:ext>
    </p:extLst>
  </p:cSld>
  <p:clrMapOvr>
    <a:masterClrMapping/>
  </p:clrMapOvr>
  <p:transition>
    <p:fade/>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85E6EDE-C9D8-1341-8475-5886717A9BFF}"/>
              </a:ext>
            </a:extLst>
          </p:cNvPr>
          <p:cNvGrpSpPr/>
          <p:nvPr/>
        </p:nvGrpSpPr>
        <p:grpSpPr>
          <a:xfrm>
            <a:off x="2200275" y="5279047"/>
            <a:ext cx="7791450" cy="95250"/>
            <a:chOff x="676275" y="5362175"/>
            <a:chExt cx="7791450" cy="95250"/>
          </a:xfrm>
        </p:grpSpPr>
        <p:cxnSp>
          <p:nvCxnSpPr>
            <p:cNvPr id="24" name="Straight Connector 23">
              <a:extLst>
                <a:ext uri="{FF2B5EF4-FFF2-40B4-BE49-F238E27FC236}">
                  <a16:creationId xmlns:a16="http://schemas.microsoft.com/office/drawing/2014/main" id="{970699D4-360D-CD49-9E52-DC0C3A7D9A5D}"/>
                </a:ext>
              </a:extLst>
            </p:cNvPr>
            <p:cNvCxnSpPr/>
            <p:nvPr/>
          </p:nvCxnSpPr>
          <p:spPr>
            <a:xfrm>
              <a:off x="676275" y="5409800"/>
              <a:ext cx="779145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FC781ED-8CFC-DC4C-B1B9-86C73CDB0A9E}"/>
                </a:ext>
              </a:extLst>
            </p:cNvPr>
            <p:cNvCxnSpPr/>
            <p:nvPr/>
          </p:nvCxnSpPr>
          <p:spPr>
            <a:xfrm>
              <a:off x="676275" y="5362175"/>
              <a:ext cx="0" cy="9525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5B8E0D9-C0DD-6C4E-BA36-9BC73E3B54E2}"/>
                </a:ext>
              </a:extLst>
            </p:cNvPr>
            <p:cNvCxnSpPr/>
            <p:nvPr/>
          </p:nvCxnSpPr>
          <p:spPr>
            <a:xfrm>
              <a:off x="8467725" y="5362175"/>
              <a:ext cx="0" cy="9525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D9EFA038-36AE-9445-BC1D-0A52F0B45BAC}"/>
              </a:ext>
            </a:extLst>
          </p:cNvPr>
          <p:cNvGrpSpPr/>
          <p:nvPr/>
        </p:nvGrpSpPr>
        <p:grpSpPr>
          <a:xfrm>
            <a:off x="2762797" y="1279794"/>
            <a:ext cx="6666409" cy="4759784"/>
            <a:chOff x="1324200" y="1279794"/>
            <a:chExt cx="6666409" cy="4759784"/>
          </a:xfrm>
        </p:grpSpPr>
        <p:grpSp>
          <p:nvGrpSpPr>
            <p:cNvPr id="28" name="Group 27">
              <a:extLst>
                <a:ext uri="{FF2B5EF4-FFF2-40B4-BE49-F238E27FC236}">
                  <a16:creationId xmlns:a16="http://schemas.microsoft.com/office/drawing/2014/main" id="{595A0DF8-4570-1C43-8C82-5709F58E056A}"/>
                </a:ext>
              </a:extLst>
            </p:cNvPr>
            <p:cNvGrpSpPr/>
            <p:nvPr/>
          </p:nvGrpSpPr>
          <p:grpSpPr>
            <a:xfrm rot="10800000" flipH="1">
              <a:off x="1333631" y="2518610"/>
              <a:ext cx="572018" cy="1560468"/>
              <a:chOff x="73025" y="4208463"/>
              <a:chExt cx="685801" cy="1870869"/>
            </a:xfrm>
          </p:grpSpPr>
          <p:sp>
            <p:nvSpPr>
              <p:cNvPr id="75" name="Freeform 42">
                <a:extLst>
                  <a:ext uri="{FF2B5EF4-FFF2-40B4-BE49-F238E27FC236}">
                    <a16:creationId xmlns:a16="http://schemas.microsoft.com/office/drawing/2014/main" id="{B8E7B6B1-839E-7E44-B9F3-9EADCE0058A6}"/>
                  </a:ext>
                </a:extLst>
              </p:cNvPr>
              <p:cNvSpPr>
                <a:spLocks/>
              </p:cNvSpPr>
              <p:nvPr/>
            </p:nvSpPr>
            <p:spPr bwMode="auto">
              <a:xfrm>
                <a:off x="119063" y="4208463"/>
                <a:ext cx="639763" cy="1866900"/>
              </a:xfrm>
              <a:custGeom>
                <a:avLst/>
                <a:gdLst>
                  <a:gd name="T0" fmla="*/ 1 w 56"/>
                  <a:gd name="T1" fmla="*/ 165 h 165"/>
                  <a:gd name="T2" fmla="*/ 56 w 56"/>
                  <a:gd name="T3" fmla="*/ 0 h 165"/>
                </a:gdLst>
                <a:ahLst/>
                <a:cxnLst>
                  <a:cxn ang="0">
                    <a:pos x="T0" y="T1"/>
                  </a:cxn>
                  <a:cxn ang="0">
                    <a:pos x="T2" y="T3"/>
                  </a:cxn>
                </a:cxnLst>
                <a:rect l="0" t="0" r="r" b="b"/>
                <a:pathLst>
                  <a:path w="56" h="165">
                    <a:moveTo>
                      <a:pt x="1" y="165"/>
                    </a:moveTo>
                    <a:cubicBezTo>
                      <a:pt x="0" y="104"/>
                      <a:pt x="18" y="48"/>
                      <a:pt x="56" y="0"/>
                    </a:cubicBezTo>
                  </a:path>
                </a:pathLst>
              </a:custGeom>
              <a:noFill/>
              <a:ln w="11113" cap="flat">
                <a:solidFill>
                  <a:schemeClr val="accent5"/>
                </a:soli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6" name="Line 43">
                <a:extLst>
                  <a:ext uri="{FF2B5EF4-FFF2-40B4-BE49-F238E27FC236}">
                    <a16:creationId xmlns:a16="http://schemas.microsoft.com/office/drawing/2014/main" id="{25DE2326-60DB-934A-9FBE-BA3655FC1C6D}"/>
                  </a:ext>
                </a:extLst>
              </p:cNvPr>
              <p:cNvSpPr>
                <a:spLocks noChangeShapeType="1"/>
              </p:cNvSpPr>
              <p:nvPr/>
            </p:nvSpPr>
            <p:spPr bwMode="auto">
              <a:xfrm>
                <a:off x="73025" y="6079332"/>
                <a:ext cx="114300" cy="0"/>
              </a:xfrm>
              <a:prstGeom prst="line">
                <a:avLst/>
              </a:prstGeom>
              <a:noFill/>
              <a:ln w="11113" cap="flat">
                <a:solidFill>
                  <a:schemeClr val="accent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grpSp>
        <p:sp>
          <p:nvSpPr>
            <p:cNvPr id="29" name="Freeform 33">
              <a:extLst>
                <a:ext uri="{FF2B5EF4-FFF2-40B4-BE49-F238E27FC236}">
                  <a16:creationId xmlns:a16="http://schemas.microsoft.com/office/drawing/2014/main" id="{7E8085D6-5620-FE4A-846C-9AC076270786}"/>
                </a:ext>
              </a:extLst>
            </p:cNvPr>
            <p:cNvSpPr>
              <a:spLocks/>
            </p:cNvSpPr>
            <p:nvPr/>
          </p:nvSpPr>
          <p:spPr bwMode="auto">
            <a:xfrm>
              <a:off x="3735852" y="1667560"/>
              <a:ext cx="1918838" cy="1543065"/>
            </a:xfrm>
            <a:custGeom>
              <a:avLst/>
              <a:gdLst>
                <a:gd name="T0" fmla="*/ 132 w 203"/>
                <a:gd name="T1" fmla="*/ 41 h 163"/>
                <a:gd name="T2" fmla="*/ 191 w 203"/>
                <a:gd name="T3" fmla="*/ 63 h 163"/>
                <a:gd name="T4" fmla="*/ 203 w 203"/>
                <a:gd name="T5" fmla="*/ 21 h 163"/>
                <a:gd name="T6" fmla="*/ 132 w 203"/>
                <a:gd name="T7" fmla="*/ 0 h 163"/>
                <a:gd name="T8" fmla="*/ 0 w 203"/>
                <a:gd name="T9" fmla="*/ 132 h 163"/>
                <a:gd name="T10" fmla="*/ 3 w 203"/>
                <a:gd name="T11" fmla="*/ 163 h 163"/>
                <a:gd name="T12" fmla="*/ 46 w 203"/>
                <a:gd name="T13" fmla="*/ 163 h 163"/>
                <a:gd name="T14" fmla="*/ 41 w 203"/>
                <a:gd name="T15" fmla="*/ 132 h 163"/>
                <a:gd name="T16" fmla="*/ 132 w 203"/>
                <a:gd name="T17" fmla="*/ 4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163">
                  <a:moveTo>
                    <a:pt x="132" y="41"/>
                  </a:moveTo>
                  <a:cubicBezTo>
                    <a:pt x="155" y="41"/>
                    <a:pt x="176" y="49"/>
                    <a:pt x="191" y="63"/>
                  </a:cubicBezTo>
                  <a:cubicBezTo>
                    <a:pt x="203" y="21"/>
                    <a:pt x="203" y="21"/>
                    <a:pt x="203" y="21"/>
                  </a:cubicBezTo>
                  <a:cubicBezTo>
                    <a:pt x="183" y="8"/>
                    <a:pt x="158" y="0"/>
                    <a:pt x="132" y="0"/>
                  </a:cubicBezTo>
                  <a:cubicBezTo>
                    <a:pt x="59" y="0"/>
                    <a:pt x="0" y="59"/>
                    <a:pt x="0" y="132"/>
                  </a:cubicBezTo>
                  <a:cubicBezTo>
                    <a:pt x="0" y="143"/>
                    <a:pt x="1" y="153"/>
                    <a:pt x="3" y="163"/>
                  </a:cubicBezTo>
                  <a:cubicBezTo>
                    <a:pt x="46" y="163"/>
                    <a:pt x="46" y="163"/>
                    <a:pt x="46" y="163"/>
                  </a:cubicBezTo>
                  <a:cubicBezTo>
                    <a:pt x="43" y="153"/>
                    <a:pt x="41" y="143"/>
                    <a:pt x="41" y="132"/>
                  </a:cubicBezTo>
                  <a:cubicBezTo>
                    <a:pt x="41" y="82"/>
                    <a:pt x="82" y="41"/>
                    <a:pt x="132" y="41"/>
                  </a:cubicBez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6">
              <a:extLst>
                <a:ext uri="{FF2B5EF4-FFF2-40B4-BE49-F238E27FC236}">
                  <a16:creationId xmlns:a16="http://schemas.microsoft.com/office/drawing/2014/main" id="{B4D66E70-A89E-B043-86D0-9F27FA9021D7}"/>
                </a:ext>
              </a:extLst>
            </p:cNvPr>
            <p:cNvSpPr>
              <a:spLocks/>
            </p:cNvSpPr>
            <p:nvPr/>
          </p:nvSpPr>
          <p:spPr bwMode="auto">
            <a:xfrm>
              <a:off x="3205507" y="3162654"/>
              <a:ext cx="1096669" cy="331799"/>
            </a:xfrm>
            <a:custGeom>
              <a:avLst/>
              <a:gdLst>
                <a:gd name="T0" fmla="*/ 412 w 823"/>
                <a:gd name="T1" fmla="*/ 0 h 249"/>
                <a:gd name="T2" fmla="*/ 823 w 823"/>
                <a:gd name="T3" fmla="*/ 0 h 249"/>
                <a:gd name="T4" fmla="*/ 618 w 823"/>
                <a:gd name="T5" fmla="*/ 121 h 249"/>
                <a:gd name="T6" fmla="*/ 412 w 823"/>
                <a:gd name="T7" fmla="*/ 249 h 249"/>
                <a:gd name="T8" fmla="*/ 206 w 823"/>
                <a:gd name="T9" fmla="*/ 121 h 249"/>
                <a:gd name="T10" fmla="*/ 0 w 823"/>
                <a:gd name="T11" fmla="*/ 0 h 249"/>
                <a:gd name="T12" fmla="*/ 412 w 823"/>
                <a:gd name="T13" fmla="*/ 0 h 249"/>
              </a:gdLst>
              <a:ahLst/>
              <a:cxnLst>
                <a:cxn ang="0">
                  <a:pos x="T0" y="T1"/>
                </a:cxn>
                <a:cxn ang="0">
                  <a:pos x="T2" y="T3"/>
                </a:cxn>
                <a:cxn ang="0">
                  <a:pos x="T4" y="T5"/>
                </a:cxn>
                <a:cxn ang="0">
                  <a:pos x="T6" y="T7"/>
                </a:cxn>
                <a:cxn ang="0">
                  <a:pos x="T8" y="T9"/>
                </a:cxn>
                <a:cxn ang="0">
                  <a:pos x="T10" y="T11"/>
                </a:cxn>
                <a:cxn ang="0">
                  <a:pos x="T12" y="T13"/>
                </a:cxn>
              </a:cxnLst>
              <a:rect l="0" t="0" r="r" b="b"/>
              <a:pathLst>
                <a:path w="823" h="249">
                  <a:moveTo>
                    <a:pt x="412" y="0"/>
                  </a:moveTo>
                  <a:lnTo>
                    <a:pt x="823" y="0"/>
                  </a:lnTo>
                  <a:lnTo>
                    <a:pt x="618" y="121"/>
                  </a:lnTo>
                  <a:lnTo>
                    <a:pt x="412" y="249"/>
                  </a:lnTo>
                  <a:lnTo>
                    <a:pt x="206" y="121"/>
                  </a:lnTo>
                  <a:lnTo>
                    <a:pt x="0" y="0"/>
                  </a:lnTo>
                  <a:lnTo>
                    <a:pt x="412" y="0"/>
                  </a:lnTo>
                  <a:close/>
                </a:path>
              </a:pathLst>
            </a:custGeom>
            <a:solidFill>
              <a:srgbClr val="105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a:extLst>
                <a:ext uri="{FF2B5EF4-FFF2-40B4-BE49-F238E27FC236}">
                  <a16:creationId xmlns:a16="http://schemas.microsoft.com/office/drawing/2014/main" id="{151458C1-A366-B544-99F0-F196EA08D8EB}"/>
                </a:ext>
              </a:extLst>
            </p:cNvPr>
            <p:cNvSpPr>
              <a:spLocks/>
            </p:cNvSpPr>
            <p:nvPr/>
          </p:nvSpPr>
          <p:spPr bwMode="auto">
            <a:xfrm>
              <a:off x="1466560" y="2509716"/>
              <a:ext cx="1635010" cy="1674986"/>
            </a:xfrm>
            <a:custGeom>
              <a:avLst/>
              <a:gdLst>
                <a:gd name="T0" fmla="*/ 141 w 173"/>
                <a:gd name="T1" fmla="*/ 100 h 177"/>
                <a:gd name="T2" fmla="*/ 108 w 173"/>
                <a:gd name="T3" fmla="*/ 5 h 177"/>
                <a:gd name="T4" fmla="*/ 55 w 173"/>
                <a:gd name="T5" fmla="*/ 28 h 177"/>
                <a:gd name="T6" fmla="*/ 5 w 173"/>
                <a:gd name="T7" fmla="*/ 0 h 177"/>
                <a:gd name="T8" fmla="*/ 68 w 173"/>
                <a:gd name="T9" fmla="*/ 173 h 177"/>
                <a:gd name="T10" fmla="*/ 73 w 173"/>
                <a:gd name="T11" fmla="*/ 177 h 177"/>
                <a:gd name="T12" fmla="*/ 173 w 173"/>
                <a:gd name="T13" fmla="*/ 123 h 177"/>
                <a:gd name="T14" fmla="*/ 141 w 173"/>
                <a:gd name="T15" fmla="*/ 100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177">
                  <a:moveTo>
                    <a:pt x="141" y="100"/>
                  </a:moveTo>
                  <a:cubicBezTo>
                    <a:pt x="115" y="74"/>
                    <a:pt x="104" y="39"/>
                    <a:pt x="108" y="5"/>
                  </a:cubicBezTo>
                  <a:cubicBezTo>
                    <a:pt x="55" y="28"/>
                    <a:pt x="55" y="28"/>
                    <a:pt x="55" y="28"/>
                  </a:cubicBezTo>
                  <a:cubicBezTo>
                    <a:pt x="5" y="0"/>
                    <a:pt x="5" y="0"/>
                    <a:pt x="5" y="0"/>
                  </a:cubicBezTo>
                  <a:cubicBezTo>
                    <a:pt x="0" y="62"/>
                    <a:pt x="21" y="126"/>
                    <a:pt x="68" y="173"/>
                  </a:cubicBezTo>
                  <a:cubicBezTo>
                    <a:pt x="70" y="174"/>
                    <a:pt x="71" y="176"/>
                    <a:pt x="73" y="177"/>
                  </a:cubicBezTo>
                  <a:cubicBezTo>
                    <a:pt x="102" y="150"/>
                    <a:pt x="137" y="132"/>
                    <a:pt x="173" y="123"/>
                  </a:cubicBezTo>
                  <a:cubicBezTo>
                    <a:pt x="162" y="118"/>
                    <a:pt x="150" y="110"/>
                    <a:pt x="141" y="10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a:extLst>
                <a:ext uri="{FF2B5EF4-FFF2-40B4-BE49-F238E27FC236}">
                  <a16:creationId xmlns:a16="http://schemas.microsoft.com/office/drawing/2014/main" id="{204519DA-8711-774C-9C5B-63B2856BC6EB}"/>
                </a:ext>
              </a:extLst>
            </p:cNvPr>
            <p:cNvSpPr>
              <a:spLocks/>
            </p:cNvSpPr>
            <p:nvPr/>
          </p:nvSpPr>
          <p:spPr bwMode="auto">
            <a:xfrm>
              <a:off x="3101570" y="4184701"/>
              <a:ext cx="378437" cy="558329"/>
            </a:xfrm>
            <a:custGeom>
              <a:avLst/>
              <a:gdLst>
                <a:gd name="T0" fmla="*/ 40 w 40"/>
                <a:gd name="T1" fmla="*/ 44 h 59"/>
                <a:gd name="T2" fmla="*/ 0 w 40"/>
                <a:gd name="T3" fmla="*/ 54 h 59"/>
                <a:gd name="T4" fmla="*/ 40 w 40"/>
                <a:gd name="T5" fmla="*/ 59 h 59"/>
                <a:gd name="T6" fmla="*/ 40 w 40"/>
                <a:gd name="T7" fmla="*/ 0 h 59"/>
                <a:gd name="T8" fmla="*/ 40 w 40"/>
                <a:gd name="T9" fmla="*/ 44 h 59"/>
              </a:gdLst>
              <a:ahLst/>
              <a:cxnLst>
                <a:cxn ang="0">
                  <a:pos x="T0" y="T1"/>
                </a:cxn>
                <a:cxn ang="0">
                  <a:pos x="T2" y="T3"/>
                </a:cxn>
                <a:cxn ang="0">
                  <a:pos x="T4" y="T5"/>
                </a:cxn>
                <a:cxn ang="0">
                  <a:pos x="T6" y="T7"/>
                </a:cxn>
                <a:cxn ang="0">
                  <a:pos x="T8" y="T9"/>
                </a:cxn>
              </a:cxnLst>
              <a:rect l="0" t="0" r="r" b="b"/>
              <a:pathLst>
                <a:path w="40" h="59">
                  <a:moveTo>
                    <a:pt x="40" y="44"/>
                  </a:moveTo>
                  <a:cubicBezTo>
                    <a:pt x="27" y="45"/>
                    <a:pt x="13" y="48"/>
                    <a:pt x="0" y="54"/>
                  </a:cubicBezTo>
                  <a:cubicBezTo>
                    <a:pt x="14" y="57"/>
                    <a:pt x="27" y="59"/>
                    <a:pt x="40" y="59"/>
                  </a:cubicBezTo>
                  <a:cubicBezTo>
                    <a:pt x="40" y="43"/>
                    <a:pt x="40" y="22"/>
                    <a:pt x="40" y="0"/>
                  </a:cubicBezTo>
                  <a:cubicBezTo>
                    <a:pt x="40" y="16"/>
                    <a:pt x="40" y="31"/>
                    <a:pt x="40" y="44"/>
                  </a:cubicBez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a:extLst>
                <a:ext uri="{FF2B5EF4-FFF2-40B4-BE49-F238E27FC236}">
                  <a16:creationId xmlns:a16="http://schemas.microsoft.com/office/drawing/2014/main" id="{A00F2851-CE14-F947-95B4-BB701A9CECA0}"/>
                </a:ext>
              </a:extLst>
            </p:cNvPr>
            <p:cNvSpPr>
              <a:spLocks/>
            </p:cNvSpPr>
            <p:nvPr/>
          </p:nvSpPr>
          <p:spPr bwMode="auto">
            <a:xfrm>
              <a:off x="1466560" y="4184701"/>
              <a:ext cx="1635010" cy="1674986"/>
            </a:xfrm>
            <a:custGeom>
              <a:avLst/>
              <a:gdLst>
                <a:gd name="T0" fmla="*/ 68 w 173"/>
                <a:gd name="T1" fmla="*/ 5 h 177"/>
                <a:gd name="T2" fmla="*/ 5 w 173"/>
                <a:gd name="T3" fmla="*/ 177 h 177"/>
                <a:gd name="T4" fmla="*/ 55 w 173"/>
                <a:gd name="T5" fmla="*/ 149 h 177"/>
                <a:gd name="T6" fmla="*/ 108 w 173"/>
                <a:gd name="T7" fmla="*/ 173 h 177"/>
                <a:gd name="T8" fmla="*/ 141 w 173"/>
                <a:gd name="T9" fmla="*/ 77 h 177"/>
                <a:gd name="T10" fmla="*/ 173 w 173"/>
                <a:gd name="T11" fmla="*/ 54 h 177"/>
                <a:gd name="T12" fmla="*/ 73 w 173"/>
                <a:gd name="T13" fmla="*/ 0 h 177"/>
                <a:gd name="T14" fmla="*/ 68 w 173"/>
                <a:gd name="T15" fmla="*/ 5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177">
                  <a:moveTo>
                    <a:pt x="68" y="5"/>
                  </a:moveTo>
                  <a:cubicBezTo>
                    <a:pt x="21" y="52"/>
                    <a:pt x="0" y="116"/>
                    <a:pt x="5" y="177"/>
                  </a:cubicBezTo>
                  <a:cubicBezTo>
                    <a:pt x="55" y="149"/>
                    <a:pt x="55" y="149"/>
                    <a:pt x="55" y="149"/>
                  </a:cubicBezTo>
                  <a:cubicBezTo>
                    <a:pt x="108" y="173"/>
                    <a:pt x="108" y="173"/>
                    <a:pt x="108" y="173"/>
                  </a:cubicBezTo>
                  <a:cubicBezTo>
                    <a:pt x="104" y="139"/>
                    <a:pt x="115" y="103"/>
                    <a:pt x="141" y="77"/>
                  </a:cubicBezTo>
                  <a:cubicBezTo>
                    <a:pt x="150" y="67"/>
                    <a:pt x="162" y="60"/>
                    <a:pt x="173" y="54"/>
                  </a:cubicBezTo>
                  <a:cubicBezTo>
                    <a:pt x="137" y="46"/>
                    <a:pt x="102" y="28"/>
                    <a:pt x="73" y="0"/>
                  </a:cubicBezTo>
                  <a:cubicBezTo>
                    <a:pt x="71" y="2"/>
                    <a:pt x="70" y="3"/>
                    <a:pt x="68" y="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a:extLst>
                <a:ext uri="{FF2B5EF4-FFF2-40B4-BE49-F238E27FC236}">
                  <a16:creationId xmlns:a16="http://schemas.microsoft.com/office/drawing/2014/main" id="{F3436BC9-9FCE-2B4F-B0C0-87C88B53F4B5}"/>
                </a:ext>
              </a:extLst>
            </p:cNvPr>
            <p:cNvSpPr>
              <a:spLocks/>
            </p:cNvSpPr>
            <p:nvPr/>
          </p:nvSpPr>
          <p:spPr bwMode="auto">
            <a:xfrm>
              <a:off x="3101570" y="3626373"/>
              <a:ext cx="378437" cy="558329"/>
            </a:xfrm>
            <a:custGeom>
              <a:avLst/>
              <a:gdLst>
                <a:gd name="T0" fmla="*/ 40 w 40"/>
                <a:gd name="T1" fmla="*/ 59 h 59"/>
                <a:gd name="T2" fmla="*/ 40 w 40"/>
                <a:gd name="T3" fmla="*/ 0 h 59"/>
                <a:gd name="T4" fmla="*/ 0 w 40"/>
                <a:gd name="T5" fmla="*/ 5 h 59"/>
                <a:gd name="T6" fmla="*/ 40 w 40"/>
                <a:gd name="T7" fmla="*/ 16 h 59"/>
                <a:gd name="T8" fmla="*/ 40 w 40"/>
                <a:gd name="T9" fmla="*/ 59 h 59"/>
              </a:gdLst>
              <a:ahLst/>
              <a:cxnLst>
                <a:cxn ang="0">
                  <a:pos x="T0" y="T1"/>
                </a:cxn>
                <a:cxn ang="0">
                  <a:pos x="T2" y="T3"/>
                </a:cxn>
                <a:cxn ang="0">
                  <a:pos x="T4" y="T5"/>
                </a:cxn>
                <a:cxn ang="0">
                  <a:pos x="T6" y="T7"/>
                </a:cxn>
                <a:cxn ang="0">
                  <a:pos x="T8" y="T9"/>
                </a:cxn>
              </a:cxnLst>
              <a:rect l="0" t="0" r="r" b="b"/>
              <a:pathLst>
                <a:path w="40" h="59">
                  <a:moveTo>
                    <a:pt x="40" y="59"/>
                  </a:moveTo>
                  <a:cubicBezTo>
                    <a:pt x="40" y="38"/>
                    <a:pt x="40" y="16"/>
                    <a:pt x="40" y="0"/>
                  </a:cubicBezTo>
                  <a:cubicBezTo>
                    <a:pt x="27" y="1"/>
                    <a:pt x="14" y="2"/>
                    <a:pt x="0" y="5"/>
                  </a:cubicBezTo>
                  <a:cubicBezTo>
                    <a:pt x="13" y="11"/>
                    <a:pt x="27" y="15"/>
                    <a:pt x="40" y="16"/>
                  </a:cubicBezTo>
                  <a:cubicBezTo>
                    <a:pt x="40" y="29"/>
                    <a:pt x="40" y="44"/>
                    <a:pt x="40" y="59"/>
                  </a:cubicBez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a:extLst>
                <a:ext uri="{FF2B5EF4-FFF2-40B4-BE49-F238E27FC236}">
                  <a16:creationId xmlns:a16="http://schemas.microsoft.com/office/drawing/2014/main" id="{4102E08E-F818-294C-B62C-0F809383A33D}"/>
                </a:ext>
              </a:extLst>
            </p:cNvPr>
            <p:cNvSpPr>
              <a:spLocks/>
            </p:cNvSpPr>
            <p:nvPr/>
          </p:nvSpPr>
          <p:spPr bwMode="auto">
            <a:xfrm>
              <a:off x="2156809" y="3674344"/>
              <a:ext cx="1323199" cy="1022048"/>
            </a:xfrm>
            <a:custGeom>
              <a:avLst/>
              <a:gdLst>
                <a:gd name="T0" fmla="*/ 140 w 140"/>
                <a:gd name="T1" fmla="*/ 54 h 108"/>
                <a:gd name="T2" fmla="*/ 140 w 140"/>
                <a:gd name="T3" fmla="*/ 11 h 108"/>
                <a:gd name="T4" fmla="*/ 100 w 140"/>
                <a:gd name="T5" fmla="*/ 0 h 108"/>
                <a:gd name="T6" fmla="*/ 0 w 140"/>
                <a:gd name="T7" fmla="*/ 54 h 108"/>
                <a:gd name="T8" fmla="*/ 100 w 140"/>
                <a:gd name="T9" fmla="*/ 108 h 108"/>
                <a:gd name="T10" fmla="*/ 140 w 140"/>
                <a:gd name="T11" fmla="*/ 98 h 108"/>
                <a:gd name="T12" fmla="*/ 140 w 140"/>
                <a:gd name="T13" fmla="*/ 54 h 108"/>
              </a:gdLst>
              <a:ahLst/>
              <a:cxnLst>
                <a:cxn ang="0">
                  <a:pos x="T0" y="T1"/>
                </a:cxn>
                <a:cxn ang="0">
                  <a:pos x="T2" y="T3"/>
                </a:cxn>
                <a:cxn ang="0">
                  <a:pos x="T4" y="T5"/>
                </a:cxn>
                <a:cxn ang="0">
                  <a:pos x="T6" y="T7"/>
                </a:cxn>
                <a:cxn ang="0">
                  <a:pos x="T8" y="T9"/>
                </a:cxn>
                <a:cxn ang="0">
                  <a:pos x="T10" y="T11"/>
                </a:cxn>
                <a:cxn ang="0">
                  <a:pos x="T12" y="T13"/>
                </a:cxn>
              </a:cxnLst>
              <a:rect l="0" t="0" r="r" b="b"/>
              <a:pathLst>
                <a:path w="140" h="108">
                  <a:moveTo>
                    <a:pt x="140" y="54"/>
                  </a:moveTo>
                  <a:cubicBezTo>
                    <a:pt x="140" y="39"/>
                    <a:pt x="140" y="24"/>
                    <a:pt x="140" y="11"/>
                  </a:cubicBezTo>
                  <a:cubicBezTo>
                    <a:pt x="127" y="10"/>
                    <a:pt x="113" y="6"/>
                    <a:pt x="100" y="0"/>
                  </a:cubicBezTo>
                  <a:cubicBezTo>
                    <a:pt x="64" y="9"/>
                    <a:pt x="29" y="27"/>
                    <a:pt x="0" y="54"/>
                  </a:cubicBezTo>
                  <a:cubicBezTo>
                    <a:pt x="29" y="82"/>
                    <a:pt x="64" y="100"/>
                    <a:pt x="100" y="108"/>
                  </a:cubicBezTo>
                  <a:cubicBezTo>
                    <a:pt x="113" y="102"/>
                    <a:pt x="127" y="99"/>
                    <a:pt x="140" y="98"/>
                  </a:cubicBezTo>
                  <a:cubicBezTo>
                    <a:pt x="140" y="85"/>
                    <a:pt x="140" y="70"/>
                    <a:pt x="140" y="5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32">
              <a:extLst>
                <a:ext uri="{FF2B5EF4-FFF2-40B4-BE49-F238E27FC236}">
                  <a16:creationId xmlns:a16="http://schemas.microsoft.com/office/drawing/2014/main" id="{851A5FFB-6D67-F142-86C0-C1AB050D7F07}"/>
                </a:ext>
              </a:extLst>
            </p:cNvPr>
            <p:cNvSpPr>
              <a:spLocks/>
            </p:cNvSpPr>
            <p:nvPr/>
          </p:nvSpPr>
          <p:spPr bwMode="auto">
            <a:xfrm>
              <a:off x="4218227" y="3674344"/>
              <a:ext cx="3772382" cy="2365234"/>
            </a:xfrm>
            <a:custGeom>
              <a:avLst/>
              <a:gdLst>
                <a:gd name="T0" fmla="*/ 378 w 399"/>
                <a:gd name="T1" fmla="*/ 205 h 250"/>
                <a:gd name="T2" fmla="*/ 378 w 399"/>
                <a:gd name="T3" fmla="*/ 180 h 250"/>
                <a:gd name="T4" fmla="*/ 325 w 399"/>
                <a:gd name="T5" fmla="*/ 63 h 250"/>
                <a:gd name="T6" fmla="*/ 183 w 399"/>
                <a:gd name="T7" fmla="*/ 1 h 250"/>
                <a:gd name="T8" fmla="*/ 2 w 399"/>
                <a:gd name="T9" fmla="*/ 0 h 250"/>
                <a:gd name="T10" fmla="*/ 0 w 399"/>
                <a:gd name="T11" fmla="*/ 110 h 250"/>
                <a:gd name="T12" fmla="*/ 182 w 399"/>
                <a:gd name="T13" fmla="*/ 110 h 250"/>
                <a:gd name="T14" fmla="*/ 251 w 399"/>
                <a:gd name="T15" fmla="*/ 143 h 250"/>
                <a:gd name="T16" fmla="*/ 274 w 399"/>
                <a:gd name="T17" fmla="*/ 195 h 250"/>
                <a:gd name="T18" fmla="*/ 274 w 399"/>
                <a:gd name="T19" fmla="*/ 205 h 250"/>
                <a:gd name="T20" fmla="*/ 254 w 399"/>
                <a:gd name="T21" fmla="*/ 205 h 250"/>
                <a:gd name="T22" fmla="*/ 290 w 399"/>
                <a:gd name="T23" fmla="*/ 227 h 250"/>
                <a:gd name="T24" fmla="*/ 326 w 399"/>
                <a:gd name="T25" fmla="*/ 250 h 250"/>
                <a:gd name="T26" fmla="*/ 363 w 399"/>
                <a:gd name="T27" fmla="*/ 227 h 250"/>
                <a:gd name="T28" fmla="*/ 399 w 399"/>
                <a:gd name="T29" fmla="*/ 205 h 250"/>
                <a:gd name="T30" fmla="*/ 378 w 399"/>
                <a:gd name="T31" fmla="*/ 20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9" h="250">
                  <a:moveTo>
                    <a:pt x="378" y="205"/>
                  </a:moveTo>
                  <a:cubicBezTo>
                    <a:pt x="378" y="196"/>
                    <a:pt x="378" y="181"/>
                    <a:pt x="378" y="180"/>
                  </a:cubicBezTo>
                  <a:cubicBezTo>
                    <a:pt x="373" y="138"/>
                    <a:pt x="359" y="96"/>
                    <a:pt x="325" y="63"/>
                  </a:cubicBezTo>
                  <a:cubicBezTo>
                    <a:pt x="286" y="25"/>
                    <a:pt x="235" y="4"/>
                    <a:pt x="183" y="1"/>
                  </a:cubicBezTo>
                  <a:cubicBezTo>
                    <a:pt x="183" y="0"/>
                    <a:pt x="3" y="0"/>
                    <a:pt x="2" y="0"/>
                  </a:cubicBezTo>
                  <a:cubicBezTo>
                    <a:pt x="1" y="26"/>
                    <a:pt x="1" y="80"/>
                    <a:pt x="0" y="110"/>
                  </a:cubicBezTo>
                  <a:cubicBezTo>
                    <a:pt x="1" y="110"/>
                    <a:pt x="181" y="110"/>
                    <a:pt x="182" y="110"/>
                  </a:cubicBezTo>
                  <a:cubicBezTo>
                    <a:pt x="207" y="113"/>
                    <a:pt x="232" y="124"/>
                    <a:pt x="251" y="143"/>
                  </a:cubicBezTo>
                  <a:cubicBezTo>
                    <a:pt x="266" y="158"/>
                    <a:pt x="270" y="176"/>
                    <a:pt x="274" y="195"/>
                  </a:cubicBezTo>
                  <a:cubicBezTo>
                    <a:pt x="274" y="195"/>
                    <a:pt x="274" y="200"/>
                    <a:pt x="274" y="205"/>
                  </a:cubicBezTo>
                  <a:cubicBezTo>
                    <a:pt x="254" y="205"/>
                    <a:pt x="254" y="205"/>
                    <a:pt x="254" y="205"/>
                  </a:cubicBezTo>
                  <a:cubicBezTo>
                    <a:pt x="290" y="227"/>
                    <a:pt x="290" y="227"/>
                    <a:pt x="290" y="227"/>
                  </a:cubicBezTo>
                  <a:cubicBezTo>
                    <a:pt x="326" y="250"/>
                    <a:pt x="326" y="250"/>
                    <a:pt x="326" y="250"/>
                  </a:cubicBezTo>
                  <a:cubicBezTo>
                    <a:pt x="363" y="227"/>
                    <a:pt x="363" y="227"/>
                    <a:pt x="363" y="227"/>
                  </a:cubicBezTo>
                  <a:cubicBezTo>
                    <a:pt x="399" y="205"/>
                    <a:pt x="399" y="205"/>
                    <a:pt x="399" y="205"/>
                  </a:cubicBezTo>
                  <a:lnTo>
                    <a:pt x="378" y="20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34">
              <a:extLst>
                <a:ext uri="{FF2B5EF4-FFF2-40B4-BE49-F238E27FC236}">
                  <a16:creationId xmlns:a16="http://schemas.microsoft.com/office/drawing/2014/main" id="{9103D396-0979-D749-9C2E-8E098ED49474}"/>
                </a:ext>
              </a:extLst>
            </p:cNvPr>
            <p:cNvSpPr>
              <a:spLocks/>
            </p:cNvSpPr>
            <p:nvPr/>
          </p:nvSpPr>
          <p:spPr bwMode="auto">
            <a:xfrm>
              <a:off x="4823194" y="1895421"/>
              <a:ext cx="1408481" cy="2270624"/>
            </a:xfrm>
            <a:custGeom>
              <a:avLst/>
              <a:gdLst>
                <a:gd name="T0" fmla="*/ 93 w 149"/>
                <a:gd name="T1" fmla="*/ 0 h 240"/>
                <a:gd name="T2" fmla="*/ 81 w 149"/>
                <a:gd name="T3" fmla="*/ 43 h 240"/>
                <a:gd name="T4" fmla="*/ 108 w 149"/>
                <a:gd name="T5" fmla="*/ 108 h 240"/>
                <a:gd name="T6" fmla="*/ 17 w 149"/>
                <a:gd name="T7" fmla="*/ 199 h 240"/>
                <a:gd name="T8" fmla="*/ 0 w 149"/>
                <a:gd name="T9" fmla="*/ 198 h 240"/>
                <a:gd name="T10" fmla="*/ 0 w 149"/>
                <a:gd name="T11" fmla="*/ 239 h 240"/>
                <a:gd name="T12" fmla="*/ 17 w 149"/>
                <a:gd name="T13" fmla="*/ 240 h 240"/>
                <a:gd name="T14" fmla="*/ 149 w 149"/>
                <a:gd name="T15" fmla="*/ 108 h 240"/>
                <a:gd name="T16" fmla="*/ 93 w 149"/>
                <a:gd name="T1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40">
                  <a:moveTo>
                    <a:pt x="93" y="0"/>
                  </a:moveTo>
                  <a:cubicBezTo>
                    <a:pt x="81" y="43"/>
                    <a:pt x="81" y="43"/>
                    <a:pt x="81" y="43"/>
                  </a:cubicBezTo>
                  <a:cubicBezTo>
                    <a:pt x="98" y="60"/>
                    <a:pt x="108" y="83"/>
                    <a:pt x="108" y="108"/>
                  </a:cubicBezTo>
                  <a:cubicBezTo>
                    <a:pt x="108" y="159"/>
                    <a:pt x="67" y="199"/>
                    <a:pt x="17" y="199"/>
                  </a:cubicBezTo>
                  <a:cubicBezTo>
                    <a:pt x="11" y="199"/>
                    <a:pt x="6" y="199"/>
                    <a:pt x="0" y="198"/>
                  </a:cubicBezTo>
                  <a:cubicBezTo>
                    <a:pt x="0" y="239"/>
                    <a:pt x="0" y="239"/>
                    <a:pt x="0" y="239"/>
                  </a:cubicBezTo>
                  <a:cubicBezTo>
                    <a:pt x="6" y="240"/>
                    <a:pt x="11" y="240"/>
                    <a:pt x="17" y="240"/>
                  </a:cubicBezTo>
                  <a:cubicBezTo>
                    <a:pt x="90" y="240"/>
                    <a:pt x="149" y="181"/>
                    <a:pt x="149" y="108"/>
                  </a:cubicBezTo>
                  <a:cubicBezTo>
                    <a:pt x="149" y="63"/>
                    <a:pt x="127" y="24"/>
                    <a:pt x="93" y="0"/>
                  </a:cubicBez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36">
              <a:extLst>
                <a:ext uri="{FF2B5EF4-FFF2-40B4-BE49-F238E27FC236}">
                  <a16:creationId xmlns:a16="http://schemas.microsoft.com/office/drawing/2014/main" id="{9C691DE1-6858-454D-A6E5-573F138264A6}"/>
                </a:ext>
              </a:extLst>
            </p:cNvPr>
            <p:cNvSpPr>
              <a:spLocks/>
            </p:cNvSpPr>
            <p:nvPr/>
          </p:nvSpPr>
          <p:spPr bwMode="auto">
            <a:xfrm>
              <a:off x="4823194" y="1715530"/>
              <a:ext cx="1796245" cy="2838281"/>
            </a:xfrm>
            <a:custGeom>
              <a:avLst/>
              <a:gdLst>
                <a:gd name="T0" fmla="*/ 134 w 190"/>
                <a:gd name="T1" fmla="*/ 0 h 300"/>
                <a:gd name="T2" fmla="*/ 93 w 190"/>
                <a:gd name="T3" fmla="*/ 18 h 300"/>
                <a:gd name="T4" fmla="*/ 93 w 190"/>
                <a:gd name="T5" fmla="*/ 19 h 300"/>
                <a:gd name="T6" fmla="*/ 149 w 190"/>
                <a:gd name="T7" fmla="*/ 127 h 300"/>
                <a:gd name="T8" fmla="*/ 17 w 190"/>
                <a:gd name="T9" fmla="*/ 259 h 300"/>
                <a:gd name="T10" fmla="*/ 0 w 190"/>
                <a:gd name="T11" fmla="*/ 258 h 300"/>
                <a:gd name="T12" fmla="*/ 0 w 190"/>
                <a:gd name="T13" fmla="*/ 299 h 300"/>
                <a:gd name="T14" fmla="*/ 17 w 190"/>
                <a:gd name="T15" fmla="*/ 300 h 300"/>
                <a:gd name="T16" fmla="*/ 190 w 190"/>
                <a:gd name="T17" fmla="*/ 127 h 300"/>
                <a:gd name="T18" fmla="*/ 134 w 190"/>
                <a:gd name="T19"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300">
                  <a:moveTo>
                    <a:pt x="134" y="0"/>
                  </a:moveTo>
                  <a:cubicBezTo>
                    <a:pt x="93" y="18"/>
                    <a:pt x="93" y="18"/>
                    <a:pt x="93" y="18"/>
                  </a:cubicBezTo>
                  <a:cubicBezTo>
                    <a:pt x="93" y="19"/>
                    <a:pt x="93" y="19"/>
                    <a:pt x="93" y="19"/>
                  </a:cubicBezTo>
                  <a:cubicBezTo>
                    <a:pt x="127" y="43"/>
                    <a:pt x="149" y="82"/>
                    <a:pt x="149" y="127"/>
                  </a:cubicBezTo>
                  <a:cubicBezTo>
                    <a:pt x="149" y="200"/>
                    <a:pt x="90" y="259"/>
                    <a:pt x="17" y="259"/>
                  </a:cubicBezTo>
                  <a:cubicBezTo>
                    <a:pt x="11" y="259"/>
                    <a:pt x="6" y="259"/>
                    <a:pt x="0" y="258"/>
                  </a:cubicBezTo>
                  <a:cubicBezTo>
                    <a:pt x="0" y="299"/>
                    <a:pt x="0" y="299"/>
                    <a:pt x="0" y="299"/>
                  </a:cubicBezTo>
                  <a:cubicBezTo>
                    <a:pt x="6" y="300"/>
                    <a:pt x="11" y="300"/>
                    <a:pt x="17" y="300"/>
                  </a:cubicBezTo>
                  <a:cubicBezTo>
                    <a:pt x="112" y="300"/>
                    <a:pt x="190" y="223"/>
                    <a:pt x="190" y="127"/>
                  </a:cubicBezTo>
                  <a:cubicBezTo>
                    <a:pt x="190" y="77"/>
                    <a:pt x="168" y="31"/>
                    <a:pt x="13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35">
              <a:extLst>
                <a:ext uri="{FF2B5EF4-FFF2-40B4-BE49-F238E27FC236}">
                  <a16:creationId xmlns:a16="http://schemas.microsoft.com/office/drawing/2014/main" id="{A112D609-AD98-F54B-963E-CED3FFD9730D}"/>
                </a:ext>
              </a:extLst>
            </p:cNvPr>
            <p:cNvSpPr>
              <a:spLocks/>
            </p:cNvSpPr>
            <p:nvPr/>
          </p:nvSpPr>
          <p:spPr bwMode="auto">
            <a:xfrm>
              <a:off x="2903024" y="3541091"/>
              <a:ext cx="2174683" cy="1296548"/>
            </a:xfrm>
            <a:custGeom>
              <a:avLst/>
              <a:gdLst>
                <a:gd name="T0" fmla="*/ 0 w 1632"/>
                <a:gd name="T1" fmla="*/ 0 h 973"/>
                <a:gd name="T2" fmla="*/ 1384 w 1632"/>
                <a:gd name="T3" fmla="*/ 0 h 973"/>
                <a:gd name="T4" fmla="*/ 1632 w 1632"/>
                <a:gd name="T5" fmla="*/ 483 h 973"/>
                <a:gd name="T6" fmla="*/ 1391 w 1632"/>
                <a:gd name="T7" fmla="*/ 973 h 973"/>
                <a:gd name="T8" fmla="*/ 0 w 1632"/>
                <a:gd name="T9" fmla="*/ 973 h 973"/>
                <a:gd name="T10" fmla="*/ 241 w 1632"/>
                <a:gd name="T11" fmla="*/ 483 h 973"/>
                <a:gd name="T12" fmla="*/ 0 w 1632"/>
                <a:gd name="T13" fmla="*/ 0 h 973"/>
              </a:gdLst>
              <a:ahLst/>
              <a:cxnLst>
                <a:cxn ang="0">
                  <a:pos x="T0" y="T1"/>
                </a:cxn>
                <a:cxn ang="0">
                  <a:pos x="T2" y="T3"/>
                </a:cxn>
                <a:cxn ang="0">
                  <a:pos x="T4" y="T5"/>
                </a:cxn>
                <a:cxn ang="0">
                  <a:pos x="T6" y="T7"/>
                </a:cxn>
                <a:cxn ang="0">
                  <a:pos x="T8" y="T9"/>
                </a:cxn>
                <a:cxn ang="0">
                  <a:pos x="T10" y="T11"/>
                </a:cxn>
                <a:cxn ang="0">
                  <a:pos x="T12" y="T13"/>
                </a:cxn>
              </a:cxnLst>
              <a:rect l="0" t="0" r="r" b="b"/>
              <a:pathLst>
                <a:path w="1632" h="973">
                  <a:moveTo>
                    <a:pt x="0" y="0"/>
                  </a:moveTo>
                  <a:lnTo>
                    <a:pt x="1384" y="0"/>
                  </a:lnTo>
                  <a:lnTo>
                    <a:pt x="1632" y="483"/>
                  </a:lnTo>
                  <a:lnTo>
                    <a:pt x="1391" y="973"/>
                  </a:lnTo>
                  <a:lnTo>
                    <a:pt x="0" y="973"/>
                  </a:lnTo>
                  <a:lnTo>
                    <a:pt x="241" y="483"/>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37">
              <a:extLst>
                <a:ext uri="{FF2B5EF4-FFF2-40B4-BE49-F238E27FC236}">
                  <a16:creationId xmlns:a16="http://schemas.microsoft.com/office/drawing/2014/main" id="{60288498-F178-9A40-836A-7B34EDB7427F}"/>
                </a:ext>
              </a:extLst>
            </p:cNvPr>
            <p:cNvSpPr>
              <a:spLocks/>
            </p:cNvSpPr>
            <p:nvPr/>
          </p:nvSpPr>
          <p:spPr bwMode="auto">
            <a:xfrm>
              <a:off x="3348088" y="1279794"/>
              <a:ext cx="2694368" cy="1930831"/>
            </a:xfrm>
            <a:custGeom>
              <a:avLst/>
              <a:gdLst>
                <a:gd name="T0" fmla="*/ 173 w 285"/>
                <a:gd name="T1" fmla="*/ 41 h 204"/>
                <a:gd name="T2" fmla="*/ 244 w 285"/>
                <a:gd name="T3" fmla="*/ 62 h 204"/>
                <a:gd name="T4" fmla="*/ 245 w 285"/>
                <a:gd name="T5" fmla="*/ 60 h 204"/>
                <a:gd name="T6" fmla="*/ 285 w 285"/>
                <a:gd name="T7" fmla="*/ 42 h 204"/>
                <a:gd name="T8" fmla="*/ 173 w 285"/>
                <a:gd name="T9" fmla="*/ 0 h 204"/>
                <a:gd name="T10" fmla="*/ 0 w 285"/>
                <a:gd name="T11" fmla="*/ 173 h 204"/>
                <a:gd name="T12" fmla="*/ 3 w 285"/>
                <a:gd name="T13" fmla="*/ 204 h 204"/>
                <a:gd name="T14" fmla="*/ 44 w 285"/>
                <a:gd name="T15" fmla="*/ 204 h 204"/>
                <a:gd name="T16" fmla="*/ 41 w 285"/>
                <a:gd name="T17" fmla="*/ 173 h 204"/>
                <a:gd name="T18" fmla="*/ 173 w 285"/>
                <a:gd name="T19" fmla="*/ 4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204">
                  <a:moveTo>
                    <a:pt x="173" y="41"/>
                  </a:moveTo>
                  <a:cubicBezTo>
                    <a:pt x="199" y="41"/>
                    <a:pt x="224" y="49"/>
                    <a:pt x="244" y="62"/>
                  </a:cubicBezTo>
                  <a:cubicBezTo>
                    <a:pt x="245" y="60"/>
                    <a:pt x="245" y="60"/>
                    <a:pt x="245" y="60"/>
                  </a:cubicBezTo>
                  <a:cubicBezTo>
                    <a:pt x="285" y="42"/>
                    <a:pt x="285" y="42"/>
                    <a:pt x="285" y="42"/>
                  </a:cubicBezTo>
                  <a:cubicBezTo>
                    <a:pt x="255" y="16"/>
                    <a:pt x="216" y="0"/>
                    <a:pt x="173" y="0"/>
                  </a:cubicBezTo>
                  <a:cubicBezTo>
                    <a:pt x="77" y="0"/>
                    <a:pt x="0" y="78"/>
                    <a:pt x="0" y="173"/>
                  </a:cubicBezTo>
                  <a:cubicBezTo>
                    <a:pt x="0" y="184"/>
                    <a:pt x="1" y="194"/>
                    <a:pt x="3" y="204"/>
                  </a:cubicBezTo>
                  <a:cubicBezTo>
                    <a:pt x="44" y="204"/>
                    <a:pt x="44" y="204"/>
                    <a:pt x="44" y="204"/>
                  </a:cubicBezTo>
                  <a:cubicBezTo>
                    <a:pt x="42" y="194"/>
                    <a:pt x="41" y="184"/>
                    <a:pt x="41" y="173"/>
                  </a:cubicBezTo>
                  <a:cubicBezTo>
                    <a:pt x="41" y="100"/>
                    <a:pt x="100" y="41"/>
                    <a:pt x="173"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38">
              <a:extLst>
                <a:ext uri="{FF2B5EF4-FFF2-40B4-BE49-F238E27FC236}">
                  <a16:creationId xmlns:a16="http://schemas.microsoft.com/office/drawing/2014/main" id="{D7352DC6-D021-3143-92C9-489E96F4F22B}"/>
                </a:ext>
              </a:extLst>
            </p:cNvPr>
            <p:cNvSpPr>
              <a:spLocks noEditPoints="1"/>
            </p:cNvSpPr>
            <p:nvPr/>
          </p:nvSpPr>
          <p:spPr bwMode="auto">
            <a:xfrm>
              <a:off x="2865713" y="3513108"/>
              <a:ext cx="2241309" cy="1352514"/>
            </a:xfrm>
            <a:custGeom>
              <a:avLst/>
              <a:gdLst>
                <a:gd name="T0" fmla="*/ 1433 w 1682"/>
                <a:gd name="T1" fmla="*/ 1015 h 1015"/>
                <a:gd name="T2" fmla="*/ 0 w 1682"/>
                <a:gd name="T3" fmla="*/ 1015 h 1015"/>
                <a:gd name="T4" fmla="*/ 248 w 1682"/>
                <a:gd name="T5" fmla="*/ 504 h 1015"/>
                <a:gd name="T6" fmla="*/ 0 w 1682"/>
                <a:gd name="T7" fmla="*/ 0 h 1015"/>
                <a:gd name="T8" fmla="*/ 1426 w 1682"/>
                <a:gd name="T9" fmla="*/ 0 h 1015"/>
                <a:gd name="T10" fmla="*/ 1682 w 1682"/>
                <a:gd name="T11" fmla="*/ 504 h 1015"/>
                <a:gd name="T12" fmla="*/ 1433 w 1682"/>
                <a:gd name="T13" fmla="*/ 1015 h 1015"/>
                <a:gd name="T14" fmla="*/ 64 w 1682"/>
                <a:gd name="T15" fmla="*/ 973 h 1015"/>
                <a:gd name="T16" fmla="*/ 1405 w 1682"/>
                <a:gd name="T17" fmla="*/ 973 h 1015"/>
                <a:gd name="T18" fmla="*/ 1639 w 1682"/>
                <a:gd name="T19" fmla="*/ 504 h 1015"/>
                <a:gd name="T20" fmla="*/ 1398 w 1682"/>
                <a:gd name="T21" fmla="*/ 43 h 1015"/>
                <a:gd name="T22" fmla="*/ 64 w 1682"/>
                <a:gd name="T23" fmla="*/ 43 h 1015"/>
                <a:gd name="T24" fmla="*/ 291 w 1682"/>
                <a:gd name="T25" fmla="*/ 504 h 1015"/>
                <a:gd name="T26" fmla="*/ 64 w 1682"/>
                <a:gd name="T27" fmla="*/ 9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2" h="1015">
                  <a:moveTo>
                    <a:pt x="1433" y="1015"/>
                  </a:moveTo>
                  <a:lnTo>
                    <a:pt x="0" y="1015"/>
                  </a:lnTo>
                  <a:lnTo>
                    <a:pt x="248" y="504"/>
                  </a:lnTo>
                  <a:lnTo>
                    <a:pt x="0" y="0"/>
                  </a:lnTo>
                  <a:lnTo>
                    <a:pt x="1426" y="0"/>
                  </a:lnTo>
                  <a:lnTo>
                    <a:pt x="1682" y="504"/>
                  </a:lnTo>
                  <a:lnTo>
                    <a:pt x="1433" y="1015"/>
                  </a:lnTo>
                  <a:close/>
                  <a:moveTo>
                    <a:pt x="64" y="973"/>
                  </a:moveTo>
                  <a:lnTo>
                    <a:pt x="1405" y="973"/>
                  </a:lnTo>
                  <a:lnTo>
                    <a:pt x="1639" y="504"/>
                  </a:lnTo>
                  <a:lnTo>
                    <a:pt x="1398" y="43"/>
                  </a:lnTo>
                  <a:lnTo>
                    <a:pt x="64" y="43"/>
                  </a:lnTo>
                  <a:lnTo>
                    <a:pt x="291" y="504"/>
                  </a:lnTo>
                  <a:lnTo>
                    <a:pt x="64" y="9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42" name="Group 41">
              <a:extLst>
                <a:ext uri="{FF2B5EF4-FFF2-40B4-BE49-F238E27FC236}">
                  <a16:creationId xmlns:a16="http://schemas.microsoft.com/office/drawing/2014/main" id="{597DCA1C-C290-F94B-8C49-7D7B5EC77315}"/>
                </a:ext>
              </a:extLst>
            </p:cNvPr>
            <p:cNvGrpSpPr/>
            <p:nvPr/>
          </p:nvGrpSpPr>
          <p:grpSpPr>
            <a:xfrm>
              <a:off x="1324200" y="4158193"/>
              <a:ext cx="572018" cy="1560468"/>
              <a:chOff x="73025" y="4208463"/>
              <a:chExt cx="685801" cy="1870869"/>
            </a:xfrm>
          </p:grpSpPr>
          <p:sp>
            <p:nvSpPr>
              <p:cNvPr id="73" name="Freeform 42">
                <a:extLst>
                  <a:ext uri="{FF2B5EF4-FFF2-40B4-BE49-F238E27FC236}">
                    <a16:creationId xmlns:a16="http://schemas.microsoft.com/office/drawing/2014/main" id="{748A6566-6BAB-C440-9E2E-3A638D39C1C7}"/>
                  </a:ext>
                </a:extLst>
              </p:cNvPr>
              <p:cNvSpPr>
                <a:spLocks/>
              </p:cNvSpPr>
              <p:nvPr/>
            </p:nvSpPr>
            <p:spPr bwMode="auto">
              <a:xfrm>
                <a:off x="119063" y="4208463"/>
                <a:ext cx="639763" cy="1866900"/>
              </a:xfrm>
              <a:custGeom>
                <a:avLst/>
                <a:gdLst>
                  <a:gd name="T0" fmla="*/ 1 w 56"/>
                  <a:gd name="T1" fmla="*/ 165 h 165"/>
                  <a:gd name="T2" fmla="*/ 56 w 56"/>
                  <a:gd name="T3" fmla="*/ 0 h 165"/>
                </a:gdLst>
                <a:ahLst/>
                <a:cxnLst>
                  <a:cxn ang="0">
                    <a:pos x="T0" y="T1"/>
                  </a:cxn>
                  <a:cxn ang="0">
                    <a:pos x="T2" y="T3"/>
                  </a:cxn>
                </a:cxnLst>
                <a:rect l="0" t="0" r="r" b="b"/>
                <a:pathLst>
                  <a:path w="56" h="165">
                    <a:moveTo>
                      <a:pt x="1" y="165"/>
                    </a:moveTo>
                    <a:cubicBezTo>
                      <a:pt x="0" y="104"/>
                      <a:pt x="18" y="48"/>
                      <a:pt x="56" y="0"/>
                    </a:cubicBezTo>
                  </a:path>
                </a:pathLst>
              </a:custGeom>
              <a:noFill/>
              <a:ln w="11113" cap="flat">
                <a:solidFill>
                  <a:schemeClr val="accent5"/>
                </a:soli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4" name="Line 43">
                <a:extLst>
                  <a:ext uri="{FF2B5EF4-FFF2-40B4-BE49-F238E27FC236}">
                    <a16:creationId xmlns:a16="http://schemas.microsoft.com/office/drawing/2014/main" id="{02CA02E1-5556-854B-A52C-B2E3119354EE}"/>
                  </a:ext>
                </a:extLst>
              </p:cNvPr>
              <p:cNvSpPr>
                <a:spLocks noChangeShapeType="1"/>
              </p:cNvSpPr>
              <p:nvPr/>
            </p:nvSpPr>
            <p:spPr bwMode="auto">
              <a:xfrm>
                <a:off x="73025" y="6079332"/>
                <a:ext cx="114300" cy="0"/>
              </a:xfrm>
              <a:prstGeom prst="line">
                <a:avLst/>
              </a:prstGeom>
              <a:noFill/>
              <a:ln w="11113" cap="flat">
                <a:solidFill>
                  <a:schemeClr val="accent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grpSp>
        <p:sp>
          <p:nvSpPr>
            <p:cNvPr id="48" name="TextBox 47">
              <a:extLst>
                <a:ext uri="{FF2B5EF4-FFF2-40B4-BE49-F238E27FC236}">
                  <a16:creationId xmlns:a16="http://schemas.microsoft.com/office/drawing/2014/main" id="{6729C25D-64A7-EC48-8E78-D6C237E6F9C9}"/>
                </a:ext>
              </a:extLst>
            </p:cNvPr>
            <p:cNvSpPr txBox="1"/>
            <p:nvPr/>
          </p:nvSpPr>
          <p:spPr>
            <a:xfrm rot="17463020">
              <a:off x="948186" y="4625303"/>
              <a:ext cx="1197834" cy="273771"/>
            </a:xfrm>
            <a:prstGeom prst="rect">
              <a:avLst/>
            </a:prstGeom>
            <a:noFill/>
          </p:spPr>
          <p:txBody>
            <a:bodyPr spcFirstLastPara="1" wrap="none" lIns="0" tIns="0" rIns="0" bIns="0" numCol="1" rtlCol="0">
              <a:prstTxWarp prst="textArchUp">
                <a:avLst>
                  <a:gd name="adj" fmla="val 11982953"/>
                </a:avLst>
              </a:prstTxWarp>
              <a:spAutoFit/>
            </a:bodyPr>
            <a:lstStyle/>
            <a:p>
              <a:pPr algn="ctr">
                <a:spcBef>
                  <a:spcPts val="600"/>
                </a:spcBef>
                <a:buSzPct val="100000"/>
              </a:pPr>
              <a:r>
                <a:rPr lang="en-US" sz="1200" dirty="0"/>
                <a:t>Lorem </a:t>
              </a:r>
              <a:r>
                <a:rPr lang="en-US" sz="1200" dirty="0" err="1"/>
                <a:t>ipsu</a:t>
              </a:r>
              <a:endParaRPr lang="en-GB" sz="1200" dirty="0"/>
            </a:p>
          </p:txBody>
        </p:sp>
        <p:sp>
          <p:nvSpPr>
            <p:cNvPr id="49" name="TextBox 48">
              <a:extLst>
                <a:ext uri="{FF2B5EF4-FFF2-40B4-BE49-F238E27FC236}">
                  <a16:creationId xmlns:a16="http://schemas.microsoft.com/office/drawing/2014/main" id="{354DBEE2-6AF6-514A-9959-233BE4AECB3B}"/>
                </a:ext>
              </a:extLst>
            </p:cNvPr>
            <p:cNvSpPr txBox="1"/>
            <p:nvPr/>
          </p:nvSpPr>
          <p:spPr>
            <a:xfrm rot="4250332">
              <a:off x="927257" y="3230171"/>
              <a:ext cx="1197834" cy="273771"/>
            </a:xfrm>
            <a:prstGeom prst="rect">
              <a:avLst/>
            </a:prstGeom>
            <a:noFill/>
          </p:spPr>
          <p:txBody>
            <a:bodyPr spcFirstLastPara="1" wrap="none" lIns="0" tIns="0" rIns="0" bIns="0" numCol="1" rtlCol="0">
              <a:prstTxWarp prst="textArchDown">
                <a:avLst/>
              </a:prstTxWarp>
              <a:spAutoFit/>
            </a:bodyPr>
            <a:lstStyle/>
            <a:p>
              <a:pPr algn="ctr">
                <a:spcBef>
                  <a:spcPts val="600"/>
                </a:spcBef>
                <a:buSzPct val="100000"/>
              </a:pPr>
              <a:r>
                <a:rPr lang="en-US" sz="1200" dirty="0"/>
                <a:t>Lorem </a:t>
              </a:r>
              <a:r>
                <a:rPr lang="en-US" sz="1200" dirty="0" err="1"/>
                <a:t>ipsu</a:t>
              </a:r>
              <a:endParaRPr lang="en-GB" sz="1200" dirty="0"/>
            </a:p>
          </p:txBody>
        </p:sp>
        <p:sp>
          <p:nvSpPr>
            <p:cNvPr id="50" name="TextBox 49">
              <a:extLst>
                <a:ext uri="{FF2B5EF4-FFF2-40B4-BE49-F238E27FC236}">
                  <a16:creationId xmlns:a16="http://schemas.microsoft.com/office/drawing/2014/main" id="{BC4B155A-EFC2-774E-BB6C-BA5929F66171}"/>
                </a:ext>
              </a:extLst>
            </p:cNvPr>
            <p:cNvSpPr txBox="1"/>
            <p:nvPr/>
          </p:nvSpPr>
          <p:spPr>
            <a:xfrm>
              <a:off x="3646329" y="4004699"/>
              <a:ext cx="688073" cy="184666"/>
            </a:xfrm>
            <a:prstGeom prst="rect">
              <a:avLst/>
            </a:prstGeom>
            <a:noFill/>
          </p:spPr>
          <p:txBody>
            <a:bodyPr wrap="none" lIns="0" tIns="0" rIns="0" bIns="0" rtlCol="0">
              <a:spAutoFit/>
            </a:bodyPr>
            <a:lstStyle>
              <a:defPPr>
                <a:defRPr lang="en-US"/>
              </a:defPPr>
              <a:lvl1pPr>
                <a:buSzPct val="100000"/>
                <a:defRPr sz="1200" b="1"/>
              </a:lvl1pPr>
            </a:lstStyle>
            <a:p>
              <a:pPr algn="ctr"/>
              <a:r>
                <a:rPr lang="en-US" b="0" dirty="0">
                  <a:solidFill>
                    <a:schemeClr val="bg1"/>
                  </a:solidFill>
                </a:rPr>
                <a:t>Lorem </a:t>
              </a:r>
              <a:r>
                <a:rPr lang="en-US" b="0" dirty="0" err="1">
                  <a:solidFill>
                    <a:schemeClr val="bg1"/>
                  </a:solidFill>
                </a:rPr>
                <a:t>ipsu</a:t>
              </a:r>
              <a:endParaRPr lang="en-US" b="0" dirty="0">
                <a:solidFill>
                  <a:schemeClr val="bg1"/>
                </a:solidFill>
              </a:endParaRPr>
            </a:p>
          </p:txBody>
        </p:sp>
        <p:sp>
          <p:nvSpPr>
            <p:cNvPr id="67" name="TextBox 66">
              <a:extLst>
                <a:ext uri="{FF2B5EF4-FFF2-40B4-BE49-F238E27FC236}">
                  <a16:creationId xmlns:a16="http://schemas.microsoft.com/office/drawing/2014/main" id="{FE9E2054-95A6-774D-8BDE-BFBA0B6ACDB3}"/>
                </a:ext>
              </a:extLst>
            </p:cNvPr>
            <p:cNvSpPr txBox="1"/>
            <p:nvPr/>
          </p:nvSpPr>
          <p:spPr>
            <a:xfrm>
              <a:off x="1848877" y="3256501"/>
              <a:ext cx="688073" cy="184666"/>
            </a:xfrm>
            <a:prstGeom prst="rect">
              <a:avLst/>
            </a:prstGeom>
            <a:noFill/>
          </p:spPr>
          <p:txBody>
            <a:bodyPr wrap="none" lIns="0" tIns="0" rIns="0" bIns="0" rtlCol="0">
              <a:spAutoFit/>
            </a:bodyPr>
            <a:lstStyle>
              <a:defPPr>
                <a:defRPr lang="en-US"/>
              </a:defPPr>
              <a:lvl1pPr>
                <a:buSzPct val="100000"/>
                <a:defRPr sz="1200" b="1"/>
              </a:lvl1pPr>
            </a:lstStyle>
            <a:p>
              <a:pPr algn="ctr"/>
              <a:r>
                <a:rPr lang="en-US" b="0" dirty="0"/>
                <a:t>Lorem </a:t>
              </a:r>
              <a:r>
                <a:rPr lang="en-US" b="0" dirty="0" err="1"/>
                <a:t>ipsu</a:t>
              </a:r>
              <a:endParaRPr lang="en-US" b="0" dirty="0"/>
            </a:p>
          </p:txBody>
        </p:sp>
        <p:sp>
          <p:nvSpPr>
            <p:cNvPr id="68" name="TextBox 67">
              <a:extLst>
                <a:ext uri="{FF2B5EF4-FFF2-40B4-BE49-F238E27FC236}">
                  <a16:creationId xmlns:a16="http://schemas.microsoft.com/office/drawing/2014/main" id="{8B16097C-FC9A-8140-AC3A-FB384AA6765B}"/>
                </a:ext>
              </a:extLst>
            </p:cNvPr>
            <p:cNvSpPr txBox="1"/>
            <p:nvPr/>
          </p:nvSpPr>
          <p:spPr>
            <a:xfrm>
              <a:off x="1798722" y="4753345"/>
              <a:ext cx="688072" cy="184666"/>
            </a:xfrm>
            <a:prstGeom prst="rect">
              <a:avLst/>
            </a:prstGeom>
            <a:noFill/>
          </p:spPr>
          <p:txBody>
            <a:bodyPr wrap="none" lIns="0" tIns="0" rIns="0" bIns="0" rtlCol="0">
              <a:spAutoFit/>
            </a:bodyPr>
            <a:lstStyle>
              <a:defPPr>
                <a:defRPr lang="en-US"/>
              </a:defPPr>
              <a:lvl1pPr>
                <a:buSzPct val="100000"/>
                <a:defRPr sz="1200" b="1"/>
              </a:lvl1pPr>
            </a:lstStyle>
            <a:p>
              <a:pPr algn="ctr"/>
              <a:r>
                <a:rPr lang="en-US" b="0" dirty="0"/>
                <a:t>Lorem </a:t>
              </a:r>
              <a:r>
                <a:rPr lang="en-US" b="0" dirty="0" err="1"/>
                <a:t>ipsu</a:t>
              </a:r>
              <a:endParaRPr lang="en-US" b="0" dirty="0"/>
            </a:p>
          </p:txBody>
        </p:sp>
        <p:sp>
          <p:nvSpPr>
            <p:cNvPr id="69" name="TextBox 68">
              <a:extLst>
                <a:ext uri="{FF2B5EF4-FFF2-40B4-BE49-F238E27FC236}">
                  <a16:creationId xmlns:a16="http://schemas.microsoft.com/office/drawing/2014/main" id="{86039A4E-4322-9146-BBF2-9300E8B00BAC}"/>
                </a:ext>
              </a:extLst>
            </p:cNvPr>
            <p:cNvSpPr txBox="1"/>
            <p:nvPr/>
          </p:nvSpPr>
          <p:spPr>
            <a:xfrm>
              <a:off x="6549231" y="4419375"/>
              <a:ext cx="688073" cy="184666"/>
            </a:xfrm>
            <a:prstGeom prst="rect">
              <a:avLst/>
            </a:prstGeom>
            <a:noFill/>
          </p:spPr>
          <p:txBody>
            <a:bodyPr wrap="none" lIns="0" tIns="0" rIns="0" bIns="0" rtlCol="0">
              <a:spAutoFit/>
            </a:bodyPr>
            <a:lstStyle>
              <a:defPPr>
                <a:defRPr lang="en-US"/>
              </a:defPPr>
              <a:lvl1pPr>
                <a:buSzPct val="100000"/>
                <a:defRPr sz="1200" b="1"/>
              </a:lvl1pPr>
            </a:lstStyle>
            <a:p>
              <a:pPr algn="ctr"/>
              <a:r>
                <a:rPr lang="en-US" b="0" dirty="0">
                  <a:solidFill>
                    <a:schemeClr val="bg1"/>
                  </a:solidFill>
                </a:rPr>
                <a:t>Lorem </a:t>
              </a:r>
              <a:r>
                <a:rPr lang="en-US" b="0" dirty="0" err="1">
                  <a:solidFill>
                    <a:schemeClr val="bg1"/>
                  </a:solidFill>
                </a:rPr>
                <a:t>ipsu</a:t>
              </a:r>
              <a:endParaRPr lang="en-US" b="0" dirty="0">
                <a:solidFill>
                  <a:schemeClr val="bg1"/>
                </a:solidFill>
              </a:endParaRPr>
            </a:p>
          </p:txBody>
        </p:sp>
        <p:sp>
          <p:nvSpPr>
            <p:cNvPr id="70" name="TextBox 69">
              <a:extLst>
                <a:ext uri="{FF2B5EF4-FFF2-40B4-BE49-F238E27FC236}">
                  <a16:creationId xmlns:a16="http://schemas.microsoft.com/office/drawing/2014/main" id="{D5CAEEF2-8BDC-9943-B17E-4CE1D9614A2B}"/>
                </a:ext>
              </a:extLst>
            </p:cNvPr>
            <p:cNvSpPr txBox="1"/>
            <p:nvPr/>
          </p:nvSpPr>
          <p:spPr>
            <a:xfrm>
              <a:off x="4219788" y="5395259"/>
              <a:ext cx="704424" cy="184666"/>
            </a:xfrm>
            <a:prstGeom prst="rect">
              <a:avLst/>
            </a:prstGeom>
            <a:noFill/>
          </p:spPr>
          <p:txBody>
            <a:bodyPr wrap="none" lIns="0" tIns="0" rIns="0" bIns="0" rtlCol="0">
              <a:spAutoFit/>
            </a:bodyPr>
            <a:lstStyle>
              <a:defPPr>
                <a:defRPr lang="en-US"/>
              </a:defPPr>
              <a:lvl1pPr>
                <a:buSzPct val="100000"/>
                <a:defRPr sz="1200" b="1"/>
              </a:lvl1pPr>
            </a:lstStyle>
            <a:p>
              <a:pPr algn="ctr"/>
              <a:r>
                <a:rPr lang="en-US" dirty="0"/>
                <a:t>Lorem </a:t>
              </a:r>
              <a:r>
                <a:rPr lang="en-US" dirty="0" err="1"/>
                <a:t>ipsu</a:t>
              </a:r>
              <a:endParaRPr lang="en-US" dirty="0"/>
            </a:p>
          </p:txBody>
        </p:sp>
        <p:sp>
          <p:nvSpPr>
            <p:cNvPr id="71" name="TextBox 70">
              <a:extLst>
                <a:ext uri="{FF2B5EF4-FFF2-40B4-BE49-F238E27FC236}">
                  <a16:creationId xmlns:a16="http://schemas.microsoft.com/office/drawing/2014/main" id="{21E400D9-0D8D-E34F-9DEB-7F92319D35D1}"/>
                </a:ext>
              </a:extLst>
            </p:cNvPr>
            <p:cNvSpPr txBox="1"/>
            <p:nvPr/>
          </p:nvSpPr>
          <p:spPr>
            <a:xfrm rot="18570785">
              <a:off x="3320116" y="1865486"/>
              <a:ext cx="1588438" cy="603734"/>
            </a:xfrm>
            <a:prstGeom prst="rect">
              <a:avLst/>
            </a:prstGeom>
            <a:noFill/>
          </p:spPr>
          <p:txBody>
            <a:bodyPr spcFirstLastPara="1" wrap="none" lIns="0" tIns="0" rIns="0" bIns="0" numCol="1" rtlCol="0">
              <a:prstTxWarp prst="textArchUp">
                <a:avLst/>
              </a:prstTxWarp>
              <a:spAutoFit/>
            </a:bodyPr>
            <a:lstStyle/>
            <a:p>
              <a:pPr algn="ctr">
                <a:spcBef>
                  <a:spcPts val="600"/>
                </a:spcBef>
                <a:buSzPct val="100000"/>
              </a:pPr>
              <a:r>
                <a:rPr lang="en-US" sz="1200" dirty="0">
                  <a:solidFill>
                    <a:schemeClr val="bg1"/>
                  </a:solidFill>
                </a:rPr>
                <a:t>Lorem </a:t>
              </a:r>
              <a:r>
                <a:rPr lang="en-US" sz="1200" dirty="0" err="1">
                  <a:solidFill>
                    <a:schemeClr val="bg1"/>
                  </a:solidFill>
                </a:rPr>
                <a:t>ipsu</a:t>
              </a:r>
              <a:endParaRPr lang="en-GB" sz="1200" dirty="0">
                <a:solidFill>
                  <a:schemeClr val="bg1"/>
                </a:solidFill>
              </a:endParaRPr>
            </a:p>
          </p:txBody>
        </p:sp>
        <p:sp>
          <p:nvSpPr>
            <p:cNvPr id="72" name="TextBox 71">
              <a:extLst>
                <a:ext uri="{FF2B5EF4-FFF2-40B4-BE49-F238E27FC236}">
                  <a16:creationId xmlns:a16="http://schemas.microsoft.com/office/drawing/2014/main" id="{13771EC3-9E2C-9745-9432-F9DF0AB7E71A}"/>
                </a:ext>
              </a:extLst>
            </p:cNvPr>
            <p:cNvSpPr txBox="1"/>
            <p:nvPr/>
          </p:nvSpPr>
          <p:spPr>
            <a:xfrm rot="18570785">
              <a:off x="5077100" y="3303342"/>
              <a:ext cx="1588438" cy="603734"/>
            </a:xfrm>
            <a:prstGeom prst="rect">
              <a:avLst/>
            </a:prstGeom>
            <a:noFill/>
          </p:spPr>
          <p:txBody>
            <a:bodyPr spcFirstLastPara="1" wrap="none" lIns="0" tIns="0" rIns="0" bIns="0" numCol="1" rtlCol="0">
              <a:prstTxWarp prst="textArchDown">
                <a:avLst/>
              </a:prstTxWarp>
              <a:spAutoFit/>
            </a:bodyPr>
            <a:lstStyle/>
            <a:p>
              <a:pPr algn="ctr">
                <a:spcBef>
                  <a:spcPts val="600"/>
                </a:spcBef>
                <a:buSzPct val="100000"/>
              </a:pPr>
              <a:r>
                <a:rPr lang="en-US" sz="1200" dirty="0">
                  <a:solidFill>
                    <a:schemeClr val="bg1"/>
                  </a:solidFill>
                </a:rPr>
                <a:t>Lorem </a:t>
              </a:r>
              <a:r>
                <a:rPr lang="en-US" sz="1200" dirty="0" err="1">
                  <a:solidFill>
                    <a:schemeClr val="bg1"/>
                  </a:solidFill>
                </a:rPr>
                <a:t>ipsu</a:t>
              </a:r>
              <a:endParaRPr lang="en-GB" sz="1200" dirty="0">
                <a:solidFill>
                  <a:schemeClr val="bg1"/>
                </a:solidFill>
              </a:endParaRPr>
            </a:p>
          </p:txBody>
        </p:sp>
      </p:grpSp>
      <p:sp>
        <p:nvSpPr>
          <p:cNvPr id="77" name="Hexagon 76">
            <a:extLst>
              <a:ext uri="{FF2B5EF4-FFF2-40B4-BE49-F238E27FC236}">
                <a16:creationId xmlns:a16="http://schemas.microsoft.com/office/drawing/2014/main" id="{B73D5A8F-6CCA-5147-96DD-0B040E6F5500}"/>
              </a:ext>
            </a:extLst>
          </p:cNvPr>
          <p:cNvSpPr/>
          <p:nvPr/>
        </p:nvSpPr>
        <p:spPr>
          <a:xfrm>
            <a:off x="4801129" y="2999084"/>
            <a:ext cx="792088" cy="504056"/>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t>Lorem </a:t>
            </a:r>
            <a:r>
              <a:rPr lang="en-AU" sz="1000" dirty="0" err="1"/>
              <a:t>ipsu</a:t>
            </a:r>
            <a:endParaRPr lang="en-AU" sz="1000" dirty="0"/>
          </a:p>
        </p:txBody>
      </p:sp>
      <p:sp>
        <p:nvSpPr>
          <p:cNvPr id="78" name="Hexagon 77">
            <a:extLst>
              <a:ext uri="{FF2B5EF4-FFF2-40B4-BE49-F238E27FC236}">
                <a16:creationId xmlns:a16="http://schemas.microsoft.com/office/drawing/2014/main" id="{C24C8E68-95A9-C645-83C3-67318C17CA03}"/>
              </a:ext>
            </a:extLst>
          </p:cNvPr>
          <p:cNvSpPr/>
          <p:nvPr/>
        </p:nvSpPr>
        <p:spPr>
          <a:xfrm>
            <a:off x="3604838" y="3715878"/>
            <a:ext cx="1036145" cy="939398"/>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t>Lorem </a:t>
            </a:r>
            <a:r>
              <a:rPr lang="en-AU" sz="1200" dirty="0" err="1"/>
              <a:t>ipsu</a:t>
            </a:r>
            <a:endParaRPr lang="en-AU" sz="1200" dirty="0"/>
          </a:p>
        </p:txBody>
      </p:sp>
    </p:spTree>
    <p:custDataLst>
      <p:tags r:id="rId1"/>
    </p:custDataLst>
    <p:extLst>
      <p:ext uri="{BB962C8B-B14F-4D97-AF65-F5344CB8AC3E}">
        <p14:creationId xmlns:p14="http://schemas.microsoft.com/office/powerpoint/2010/main" val="475495541"/>
      </p:ext>
    </p:extLst>
  </p:cSld>
  <p:clrMapOvr>
    <a:masterClrMapping/>
  </p:clrMapOvr>
  <p:transition>
    <p:fade/>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Shape 5"/>
          <p:cNvSpPr/>
          <p:nvPr/>
        </p:nvSpPr>
        <p:spPr>
          <a:xfrm>
            <a:off x="1664857" y="1117065"/>
            <a:ext cx="5536751" cy="3460658"/>
          </a:xfrm>
          <a:prstGeom prst="swooshArrow">
            <a:avLst>
              <a:gd name="adj1" fmla="val 25000"/>
              <a:gd name="adj2" fmla="val 25000"/>
            </a:avLst>
          </a:prstGeom>
          <a:solidFill>
            <a:srgbClr val="BBBCBC"/>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lIns="0" tIns="0" rIns="0" bIns="0"/>
          <a:lstStyle/>
          <a:p>
            <a:pPr algn="just">
              <a:lnSpc>
                <a:spcPct val="120000"/>
              </a:lnSpc>
            </a:pPr>
            <a:endParaRPr lang="zh-CN" altLang="en-US" sz="800" dirty="0">
              <a:solidFill>
                <a:schemeClr val="bg1">
                  <a:lumMod val="65000"/>
                </a:schemeClr>
              </a:solidFill>
              <a:cs typeface="+mn-ea"/>
              <a:sym typeface="Arial" panose="020B0604020202020204" pitchFamily="34" charset="0"/>
            </a:endParaRPr>
          </a:p>
        </p:txBody>
      </p:sp>
      <p:sp>
        <p:nvSpPr>
          <p:cNvPr id="59" name="Oval 6"/>
          <p:cNvSpPr/>
          <p:nvPr/>
        </p:nvSpPr>
        <p:spPr>
          <a:xfrm>
            <a:off x="2368025" y="3505610"/>
            <a:ext cx="143956" cy="143963"/>
          </a:xfrm>
          <a:prstGeom prst="ellipse">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tIns="0" rIns="0" bIns="0"/>
          <a:lstStyle/>
          <a:p>
            <a:pPr algn="just">
              <a:lnSpc>
                <a:spcPct val="120000"/>
              </a:lnSpc>
            </a:pPr>
            <a:endParaRPr lang="zh-CN" altLang="en-US" sz="800" dirty="0">
              <a:solidFill>
                <a:schemeClr val="bg1">
                  <a:lumMod val="65000"/>
                </a:schemeClr>
              </a:solidFill>
              <a:cs typeface="+mn-ea"/>
              <a:sym typeface="Arial" panose="020B0604020202020204" pitchFamily="34" charset="0"/>
            </a:endParaRPr>
          </a:p>
        </p:txBody>
      </p:sp>
      <p:sp>
        <p:nvSpPr>
          <p:cNvPr id="60" name="Oval 8"/>
          <p:cNvSpPr/>
          <p:nvPr/>
        </p:nvSpPr>
        <p:spPr>
          <a:xfrm>
            <a:off x="3638710" y="2565004"/>
            <a:ext cx="260227" cy="260242"/>
          </a:xfrm>
          <a:prstGeom prst="ellipse">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tIns="0" rIns="0" bIns="0"/>
          <a:lstStyle/>
          <a:p>
            <a:pPr algn="just">
              <a:lnSpc>
                <a:spcPct val="120000"/>
              </a:lnSpc>
            </a:pPr>
            <a:endParaRPr lang="zh-CN" altLang="en-US" sz="800" dirty="0">
              <a:solidFill>
                <a:schemeClr val="bg1">
                  <a:lumMod val="65000"/>
                </a:schemeClr>
              </a:solidFill>
              <a:cs typeface="+mn-ea"/>
              <a:sym typeface="Arial" panose="020B0604020202020204" pitchFamily="34" charset="0"/>
            </a:endParaRPr>
          </a:p>
        </p:txBody>
      </p:sp>
      <p:sp>
        <p:nvSpPr>
          <p:cNvPr id="61" name="Oval 10"/>
          <p:cNvSpPr/>
          <p:nvPr/>
        </p:nvSpPr>
        <p:spPr>
          <a:xfrm>
            <a:off x="5166853" y="1992610"/>
            <a:ext cx="359889" cy="359908"/>
          </a:xfrm>
          <a:prstGeom prst="ellipse">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tIns="0" rIns="0" bIns="0"/>
          <a:lstStyle/>
          <a:p>
            <a:pPr algn="just">
              <a:lnSpc>
                <a:spcPct val="120000"/>
              </a:lnSpc>
            </a:pPr>
            <a:endParaRPr lang="zh-CN" altLang="en-US" sz="800" dirty="0">
              <a:solidFill>
                <a:schemeClr val="bg1">
                  <a:lumMod val="65000"/>
                </a:schemeClr>
              </a:solidFill>
              <a:cs typeface="+mn-ea"/>
              <a:sym typeface="Arial" panose="020B0604020202020204" pitchFamily="34" charset="0"/>
            </a:endParaRPr>
          </a:p>
        </p:txBody>
      </p:sp>
      <p:sp>
        <p:nvSpPr>
          <p:cNvPr id="62" name="TextBox 13"/>
          <p:cNvSpPr txBox="1"/>
          <p:nvPr/>
        </p:nvSpPr>
        <p:spPr>
          <a:xfrm>
            <a:off x="5112758" y="1290045"/>
            <a:ext cx="468077" cy="332399"/>
          </a:xfrm>
          <a:prstGeom prst="rect">
            <a:avLst/>
          </a:prstGeom>
          <a:noFill/>
        </p:spPr>
        <p:txBody>
          <a:bodyPr wrap="none" lIns="0" tIns="0" rIns="0" bIns="0" rtlCol="0">
            <a:spAutoFit/>
          </a:bodyPr>
          <a:lstStyle/>
          <a:p>
            <a:pPr algn="just">
              <a:lnSpc>
                <a:spcPct val="120000"/>
              </a:lnSpc>
            </a:pPr>
            <a:r>
              <a:rPr lang="en-US" b="1" dirty="0">
                <a:solidFill>
                  <a:schemeClr val="bg1">
                    <a:lumMod val="65000"/>
                  </a:schemeClr>
                </a:solidFill>
                <a:cs typeface="+mn-ea"/>
                <a:sym typeface="Arial" panose="020B0604020202020204" pitchFamily="34" charset="0"/>
              </a:rPr>
              <a:t>2017</a:t>
            </a:r>
            <a:endParaRPr lang="en-GB" b="1" dirty="0">
              <a:solidFill>
                <a:schemeClr val="bg1">
                  <a:lumMod val="65000"/>
                </a:schemeClr>
              </a:solidFill>
              <a:cs typeface="+mn-ea"/>
              <a:sym typeface="Arial" panose="020B0604020202020204" pitchFamily="34" charset="0"/>
            </a:endParaRPr>
          </a:p>
        </p:txBody>
      </p:sp>
      <p:sp>
        <p:nvSpPr>
          <p:cNvPr id="63" name="TextBox 14"/>
          <p:cNvSpPr txBox="1"/>
          <p:nvPr/>
        </p:nvSpPr>
        <p:spPr>
          <a:xfrm>
            <a:off x="3528470" y="1862438"/>
            <a:ext cx="468077" cy="332399"/>
          </a:xfrm>
          <a:prstGeom prst="rect">
            <a:avLst/>
          </a:prstGeom>
          <a:noFill/>
        </p:spPr>
        <p:txBody>
          <a:bodyPr wrap="none" lIns="0" tIns="0" rIns="0" bIns="0" rtlCol="0">
            <a:spAutoFit/>
          </a:bodyPr>
          <a:lstStyle/>
          <a:p>
            <a:pPr algn="just">
              <a:lnSpc>
                <a:spcPct val="120000"/>
              </a:lnSpc>
            </a:pPr>
            <a:r>
              <a:rPr lang="en-US" b="1" dirty="0">
                <a:solidFill>
                  <a:schemeClr val="bg1">
                    <a:lumMod val="65000"/>
                  </a:schemeClr>
                </a:solidFill>
                <a:cs typeface="+mn-ea"/>
                <a:sym typeface="Arial" panose="020B0604020202020204" pitchFamily="34" charset="0"/>
              </a:rPr>
              <a:t>2016</a:t>
            </a:r>
            <a:endParaRPr lang="en-GB" b="1" dirty="0">
              <a:solidFill>
                <a:schemeClr val="bg1">
                  <a:lumMod val="65000"/>
                </a:schemeClr>
              </a:solidFill>
              <a:cs typeface="+mn-ea"/>
              <a:sym typeface="Arial" panose="020B0604020202020204" pitchFamily="34" charset="0"/>
            </a:endParaRPr>
          </a:p>
        </p:txBody>
      </p:sp>
      <p:sp>
        <p:nvSpPr>
          <p:cNvPr id="64" name="TextBox 15"/>
          <p:cNvSpPr txBox="1"/>
          <p:nvPr/>
        </p:nvSpPr>
        <p:spPr>
          <a:xfrm>
            <a:off x="2205963" y="2715584"/>
            <a:ext cx="468077" cy="332399"/>
          </a:xfrm>
          <a:prstGeom prst="rect">
            <a:avLst/>
          </a:prstGeom>
          <a:noFill/>
        </p:spPr>
        <p:txBody>
          <a:bodyPr wrap="none" lIns="0" tIns="0" rIns="0" bIns="0" rtlCol="0">
            <a:spAutoFit/>
          </a:bodyPr>
          <a:lstStyle/>
          <a:p>
            <a:pPr algn="just">
              <a:lnSpc>
                <a:spcPct val="120000"/>
              </a:lnSpc>
            </a:pPr>
            <a:r>
              <a:rPr lang="en-US" b="1" dirty="0">
                <a:solidFill>
                  <a:schemeClr val="bg1">
                    <a:lumMod val="65000"/>
                  </a:schemeClr>
                </a:solidFill>
                <a:cs typeface="+mn-ea"/>
                <a:sym typeface="Arial" panose="020B0604020202020204" pitchFamily="34" charset="0"/>
              </a:rPr>
              <a:t>2014</a:t>
            </a:r>
            <a:endParaRPr lang="en-GB" b="1" dirty="0">
              <a:solidFill>
                <a:schemeClr val="bg1">
                  <a:lumMod val="65000"/>
                </a:schemeClr>
              </a:solidFill>
              <a:cs typeface="+mn-ea"/>
              <a:sym typeface="Arial" panose="020B0604020202020204" pitchFamily="34" charset="0"/>
            </a:endParaRPr>
          </a:p>
        </p:txBody>
      </p:sp>
      <p:sp>
        <p:nvSpPr>
          <p:cNvPr id="65" name="Rectangle 19"/>
          <p:cNvSpPr/>
          <p:nvPr/>
        </p:nvSpPr>
        <p:spPr>
          <a:xfrm>
            <a:off x="7544428" y="1700029"/>
            <a:ext cx="2193916" cy="738664"/>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a:t>
            </a:r>
            <a:r>
              <a:rPr lang="en-US" altLang="zh-CN" sz="800" dirty="0" err="1">
                <a:solidFill>
                  <a:srgbClr val="000000"/>
                </a:solidFill>
                <a:cs typeface="+mn-ea"/>
                <a:sym typeface="Arial" panose="020B0604020202020204" pitchFamily="34" charset="0"/>
              </a:rPr>
              <a:t>directly.Please</a:t>
            </a:r>
            <a:r>
              <a:rPr lang="en-US" altLang="zh-CN" sz="800" dirty="0">
                <a:solidFill>
                  <a:srgbClr val="000000"/>
                </a:solidFill>
                <a:cs typeface="+mn-ea"/>
                <a:sym typeface="Arial" panose="020B0604020202020204" pitchFamily="34" charset="0"/>
              </a:rPr>
              <a:t> replace text, click add relevant headline, modify the text content, also can copy your content to this directly.</a:t>
            </a:r>
            <a:endParaRPr lang="en-GB" altLang="zh-CN" sz="800" dirty="0">
              <a:solidFill>
                <a:srgbClr val="000000"/>
              </a:solidFill>
              <a:cs typeface="+mn-ea"/>
              <a:sym typeface="Arial" panose="020B0604020202020204" pitchFamily="34" charset="0"/>
            </a:endParaRPr>
          </a:p>
        </p:txBody>
      </p:sp>
      <p:sp>
        <p:nvSpPr>
          <p:cNvPr id="66" name="TextBox 20"/>
          <p:cNvSpPr txBox="1"/>
          <p:nvPr/>
        </p:nvSpPr>
        <p:spPr>
          <a:xfrm>
            <a:off x="7544428" y="1365832"/>
            <a:ext cx="583493" cy="203133"/>
          </a:xfrm>
          <a:prstGeom prst="rect">
            <a:avLst/>
          </a:prstGeom>
          <a:noFill/>
        </p:spPr>
        <p:txBody>
          <a:bodyPr wrap="none" lIns="0" tIns="0" rIns="0" bIns="0" rtlCol="0">
            <a:spAutoFit/>
          </a:bodyPr>
          <a:lstStyle/>
          <a:p>
            <a:pPr>
              <a:lnSpc>
                <a:spcPct val="120000"/>
              </a:lnSpc>
            </a:pPr>
            <a:r>
              <a:rPr lang="en-US" altLang="zh-CN" sz="1100" b="1" dirty="0" err="1">
                <a:solidFill>
                  <a:srgbClr val="000000"/>
                </a:solidFill>
                <a:cs typeface="+mn-ea"/>
                <a:sym typeface="Arial" panose="020B0604020202020204" pitchFamily="34" charset="0"/>
              </a:rPr>
              <a:t>Duis</a:t>
            </a:r>
            <a:r>
              <a:rPr lang="en-US" altLang="zh-CN" sz="1100" b="1" dirty="0">
                <a:solidFill>
                  <a:srgbClr val="000000"/>
                </a:solidFill>
                <a:cs typeface="+mn-ea"/>
                <a:sym typeface="Arial" panose="020B0604020202020204" pitchFamily="34" charset="0"/>
              </a:rPr>
              <a:t> </a:t>
            </a:r>
            <a:r>
              <a:rPr lang="en-US" altLang="zh-CN" sz="1100" b="1" dirty="0" err="1">
                <a:solidFill>
                  <a:srgbClr val="000000"/>
                </a:solidFill>
                <a:cs typeface="+mn-ea"/>
                <a:sym typeface="Arial" panose="020B0604020202020204" pitchFamily="34" charset="0"/>
              </a:rPr>
              <a:t>aute</a:t>
            </a:r>
            <a:r>
              <a:rPr lang="en-US" altLang="zh-CN" sz="1100" b="1" dirty="0">
                <a:solidFill>
                  <a:srgbClr val="000000"/>
                </a:solidFill>
                <a:cs typeface="+mn-ea"/>
                <a:sym typeface="Arial" panose="020B0604020202020204" pitchFamily="34" charset="0"/>
              </a:rPr>
              <a:t> </a:t>
            </a:r>
            <a:endParaRPr lang="en-GB" sz="1100" b="1" dirty="0">
              <a:solidFill>
                <a:srgbClr val="000000"/>
              </a:solidFill>
              <a:cs typeface="+mn-ea"/>
              <a:sym typeface="Arial" panose="020B0604020202020204" pitchFamily="34" charset="0"/>
            </a:endParaRPr>
          </a:p>
        </p:txBody>
      </p:sp>
      <p:sp>
        <p:nvSpPr>
          <p:cNvPr id="67" name="TextBox 22"/>
          <p:cNvSpPr txBox="1"/>
          <p:nvPr/>
        </p:nvSpPr>
        <p:spPr>
          <a:xfrm>
            <a:off x="1332818" y="4678334"/>
            <a:ext cx="468077" cy="332399"/>
          </a:xfrm>
          <a:prstGeom prst="rect">
            <a:avLst/>
          </a:prstGeom>
          <a:noFill/>
        </p:spPr>
        <p:txBody>
          <a:bodyPr wrap="none" lIns="0" tIns="0" rIns="0" bIns="0" rtlCol="0">
            <a:spAutoFit/>
          </a:bodyPr>
          <a:lstStyle/>
          <a:p>
            <a:pPr algn="just">
              <a:lnSpc>
                <a:spcPct val="120000"/>
              </a:lnSpc>
            </a:pPr>
            <a:r>
              <a:rPr lang="en-US" b="1" dirty="0">
                <a:solidFill>
                  <a:schemeClr val="bg1">
                    <a:lumMod val="65000"/>
                  </a:schemeClr>
                </a:solidFill>
                <a:cs typeface="+mn-ea"/>
                <a:sym typeface="Arial" panose="020B0604020202020204" pitchFamily="34" charset="0"/>
              </a:rPr>
              <a:t>2012</a:t>
            </a:r>
            <a:endParaRPr lang="en-GB" b="1" dirty="0">
              <a:solidFill>
                <a:schemeClr val="bg1">
                  <a:lumMod val="65000"/>
                </a:schemeClr>
              </a:solidFill>
              <a:cs typeface="+mn-ea"/>
              <a:sym typeface="Arial" panose="020B0604020202020204" pitchFamily="34" charset="0"/>
            </a:endParaRPr>
          </a:p>
        </p:txBody>
      </p:sp>
      <p:sp>
        <p:nvSpPr>
          <p:cNvPr id="69" name="Rectangle 23"/>
          <p:cNvSpPr/>
          <p:nvPr/>
        </p:nvSpPr>
        <p:spPr>
          <a:xfrm>
            <a:off x="469900" y="5046703"/>
            <a:ext cx="2193916" cy="443198"/>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altLang="zh-CN" sz="800" dirty="0">
              <a:solidFill>
                <a:srgbClr val="000000"/>
              </a:solidFill>
              <a:cs typeface="+mn-ea"/>
              <a:sym typeface="Arial" panose="020B0604020202020204" pitchFamily="34" charset="0"/>
            </a:endParaRPr>
          </a:p>
        </p:txBody>
      </p:sp>
      <p:grpSp>
        <p:nvGrpSpPr>
          <p:cNvPr id="70" name="Group 24"/>
          <p:cNvGrpSpPr/>
          <p:nvPr/>
        </p:nvGrpSpPr>
        <p:grpSpPr>
          <a:xfrm>
            <a:off x="5647190" y="3791878"/>
            <a:ext cx="1959068" cy="745462"/>
            <a:chOff x="8508023" y="2061982"/>
            <a:chExt cx="1964297" cy="747411"/>
          </a:xfrm>
        </p:grpSpPr>
        <p:sp>
          <p:nvSpPr>
            <p:cNvPr id="71" name="TextBox 25"/>
            <p:cNvSpPr txBox="1"/>
            <p:nvPr/>
          </p:nvSpPr>
          <p:spPr>
            <a:xfrm>
              <a:off x="8515350" y="2061982"/>
              <a:ext cx="585050" cy="203664"/>
            </a:xfrm>
            <a:prstGeom prst="rect">
              <a:avLst/>
            </a:prstGeom>
            <a:noFill/>
          </p:spPr>
          <p:txBody>
            <a:bodyPr wrap="none" lIns="0" tIns="0" rIns="0" bIns="0" rtlCol="0">
              <a:spAutoFit/>
            </a:bodyPr>
            <a:lstStyle/>
            <a:p>
              <a:pPr>
                <a:lnSpc>
                  <a:spcPct val="120000"/>
                </a:lnSpc>
              </a:pPr>
              <a:r>
                <a:rPr lang="en-US" altLang="zh-CN" sz="1100" b="1" dirty="0" err="1">
                  <a:solidFill>
                    <a:srgbClr val="000000"/>
                  </a:solidFill>
                  <a:cs typeface="+mn-ea"/>
                  <a:sym typeface="Arial" panose="020B0604020202020204" pitchFamily="34" charset="0"/>
                </a:rPr>
                <a:t>Duis</a:t>
              </a:r>
              <a:r>
                <a:rPr lang="en-US" altLang="zh-CN" sz="1100" b="1" dirty="0">
                  <a:solidFill>
                    <a:srgbClr val="000000"/>
                  </a:solidFill>
                  <a:cs typeface="+mn-ea"/>
                  <a:sym typeface="Arial" panose="020B0604020202020204" pitchFamily="34" charset="0"/>
                </a:rPr>
                <a:t> </a:t>
              </a:r>
              <a:r>
                <a:rPr lang="en-US" altLang="zh-CN" sz="1100" b="1" dirty="0" err="1">
                  <a:solidFill>
                    <a:srgbClr val="000000"/>
                  </a:solidFill>
                  <a:cs typeface="+mn-ea"/>
                  <a:sym typeface="Arial" panose="020B0604020202020204" pitchFamily="34" charset="0"/>
                </a:rPr>
                <a:t>aute</a:t>
              </a:r>
              <a:r>
                <a:rPr lang="en-US" altLang="zh-CN" sz="1100" b="1" dirty="0">
                  <a:solidFill>
                    <a:srgbClr val="000000"/>
                  </a:solidFill>
                  <a:cs typeface="+mn-ea"/>
                  <a:sym typeface="Arial" panose="020B0604020202020204" pitchFamily="34" charset="0"/>
                </a:rPr>
                <a:t> </a:t>
              </a:r>
              <a:endParaRPr lang="en-GB" sz="1100" b="1" dirty="0">
                <a:solidFill>
                  <a:srgbClr val="000000"/>
                </a:solidFill>
                <a:cs typeface="+mn-ea"/>
                <a:sym typeface="Arial" panose="020B0604020202020204" pitchFamily="34" charset="0"/>
              </a:endParaRPr>
            </a:p>
          </p:txBody>
        </p:sp>
        <p:sp>
          <p:nvSpPr>
            <p:cNvPr id="72" name="Rectangle 26"/>
            <p:cNvSpPr/>
            <p:nvPr/>
          </p:nvSpPr>
          <p:spPr>
            <a:xfrm>
              <a:off x="8508023" y="2365036"/>
              <a:ext cx="1964297" cy="444357"/>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sz="800" dirty="0">
                <a:solidFill>
                  <a:srgbClr val="000000"/>
                </a:solidFill>
                <a:cs typeface="+mn-ea"/>
                <a:sym typeface="Arial" panose="020B0604020202020204" pitchFamily="34" charset="0"/>
              </a:endParaRPr>
            </a:p>
          </p:txBody>
        </p:sp>
      </p:grpSp>
      <p:grpSp>
        <p:nvGrpSpPr>
          <p:cNvPr id="73" name="Group 27"/>
          <p:cNvGrpSpPr/>
          <p:nvPr/>
        </p:nvGrpSpPr>
        <p:grpSpPr>
          <a:xfrm>
            <a:off x="5642485" y="4928620"/>
            <a:ext cx="1994747" cy="745462"/>
            <a:chOff x="8508023" y="2061982"/>
            <a:chExt cx="2000073" cy="747411"/>
          </a:xfrm>
        </p:grpSpPr>
        <p:sp>
          <p:nvSpPr>
            <p:cNvPr id="74" name="TextBox 28"/>
            <p:cNvSpPr txBox="1"/>
            <p:nvPr/>
          </p:nvSpPr>
          <p:spPr>
            <a:xfrm>
              <a:off x="8521482" y="2061982"/>
              <a:ext cx="585051" cy="203664"/>
            </a:xfrm>
            <a:prstGeom prst="rect">
              <a:avLst/>
            </a:prstGeom>
            <a:noFill/>
          </p:spPr>
          <p:txBody>
            <a:bodyPr wrap="none" lIns="0" tIns="0" rIns="0" bIns="0" rtlCol="0">
              <a:spAutoFit/>
            </a:bodyPr>
            <a:lstStyle/>
            <a:p>
              <a:pPr>
                <a:lnSpc>
                  <a:spcPct val="120000"/>
                </a:lnSpc>
              </a:pPr>
              <a:r>
                <a:rPr lang="en-US" altLang="zh-CN" sz="1100" b="1" dirty="0" err="1">
                  <a:solidFill>
                    <a:srgbClr val="000000"/>
                  </a:solidFill>
                  <a:cs typeface="+mn-ea"/>
                  <a:sym typeface="Arial" panose="020B0604020202020204" pitchFamily="34" charset="0"/>
                </a:rPr>
                <a:t>Duis</a:t>
              </a:r>
              <a:r>
                <a:rPr lang="en-US" altLang="zh-CN" sz="1100" b="1" dirty="0">
                  <a:solidFill>
                    <a:srgbClr val="000000"/>
                  </a:solidFill>
                  <a:cs typeface="+mn-ea"/>
                  <a:sym typeface="Arial" panose="020B0604020202020204" pitchFamily="34" charset="0"/>
                </a:rPr>
                <a:t> </a:t>
              </a:r>
              <a:r>
                <a:rPr lang="en-US" altLang="zh-CN" sz="1100" b="1" dirty="0" err="1">
                  <a:solidFill>
                    <a:srgbClr val="000000"/>
                  </a:solidFill>
                  <a:cs typeface="+mn-ea"/>
                  <a:sym typeface="Arial" panose="020B0604020202020204" pitchFamily="34" charset="0"/>
                </a:rPr>
                <a:t>aute</a:t>
              </a:r>
              <a:r>
                <a:rPr lang="en-US" altLang="zh-CN" sz="1100" b="1" dirty="0">
                  <a:solidFill>
                    <a:srgbClr val="000000"/>
                  </a:solidFill>
                  <a:cs typeface="+mn-ea"/>
                  <a:sym typeface="Arial" panose="020B0604020202020204" pitchFamily="34" charset="0"/>
                </a:rPr>
                <a:t> </a:t>
              </a:r>
              <a:endParaRPr lang="en-GB" sz="1100" b="1" dirty="0">
                <a:solidFill>
                  <a:srgbClr val="000000"/>
                </a:solidFill>
                <a:cs typeface="+mn-ea"/>
                <a:sym typeface="Arial" panose="020B0604020202020204" pitchFamily="34" charset="0"/>
              </a:endParaRPr>
            </a:p>
          </p:txBody>
        </p:sp>
        <p:sp>
          <p:nvSpPr>
            <p:cNvPr id="75" name="Rectangle 29"/>
            <p:cNvSpPr/>
            <p:nvPr/>
          </p:nvSpPr>
          <p:spPr>
            <a:xfrm>
              <a:off x="8508023" y="2365036"/>
              <a:ext cx="2000073" cy="444357"/>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sz="800" dirty="0">
                <a:solidFill>
                  <a:srgbClr val="000000"/>
                </a:solidFill>
                <a:cs typeface="+mn-ea"/>
                <a:sym typeface="Arial" panose="020B0604020202020204" pitchFamily="34" charset="0"/>
              </a:endParaRPr>
            </a:p>
          </p:txBody>
        </p:sp>
      </p:grpSp>
      <p:grpSp>
        <p:nvGrpSpPr>
          <p:cNvPr id="76" name="Group 30"/>
          <p:cNvGrpSpPr/>
          <p:nvPr/>
        </p:nvGrpSpPr>
        <p:grpSpPr>
          <a:xfrm>
            <a:off x="8604520" y="3791878"/>
            <a:ext cx="1949875" cy="745462"/>
            <a:chOff x="8508022" y="2061982"/>
            <a:chExt cx="1955081" cy="747411"/>
          </a:xfrm>
        </p:grpSpPr>
        <p:sp>
          <p:nvSpPr>
            <p:cNvPr id="77" name="TextBox 31"/>
            <p:cNvSpPr txBox="1"/>
            <p:nvPr/>
          </p:nvSpPr>
          <p:spPr>
            <a:xfrm>
              <a:off x="8528447" y="2061982"/>
              <a:ext cx="585051" cy="203664"/>
            </a:xfrm>
            <a:prstGeom prst="rect">
              <a:avLst/>
            </a:prstGeom>
            <a:noFill/>
          </p:spPr>
          <p:txBody>
            <a:bodyPr wrap="none" lIns="0" tIns="0" rIns="0" bIns="0" rtlCol="0">
              <a:spAutoFit/>
            </a:bodyPr>
            <a:lstStyle/>
            <a:p>
              <a:pPr>
                <a:lnSpc>
                  <a:spcPct val="120000"/>
                </a:lnSpc>
              </a:pPr>
              <a:r>
                <a:rPr lang="en-US" altLang="zh-CN" sz="1100" b="1" dirty="0" err="1">
                  <a:solidFill>
                    <a:srgbClr val="000000"/>
                  </a:solidFill>
                  <a:cs typeface="+mn-ea"/>
                  <a:sym typeface="Arial" panose="020B0604020202020204" pitchFamily="34" charset="0"/>
                </a:rPr>
                <a:t>Duis</a:t>
              </a:r>
              <a:r>
                <a:rPr lang="en-US" altLang="zh-CN" sz="1100" b="1" dirty="0">
                  <a:solidFill>
                    <a:srgbClr val="000000"/>
                  </a:solidFill>
                  <a:cs typeface="+mn-ea"/>
                  <a:sym typeface="Arial" panose="020B0604020202020204" pitchFamily="34" charset="0"/>
                </a:rPr>
                <a:t> </a:t>
              </a:r>
              <a:r>
                <a:rPr lang="en-US" altLang="zh-CN" sz="1100" b="1" dirty="0" err="1">
                  <a:solidFill>
                    <a:srgbClr val="000000"/>
                  </a:solidFill>
                  <a:cs typeface="+mn-ea"/>
                  <a:sym typeface="Arial" panose="020B0604020202020204" pitchFamily="34" charset="0"/>
                </a:rPr>
                <a:t>aute</a:t>
              </a:r>
              <a:r>
                <a:rPr lang="en-US" altLang="zh-CN" sz="1100" b="1" dirty="0">
                  <a:solidFill>
                    <a:srgbClr val="000000"/>
                  </a:solidFill>
                  <a:cs typeface="+mn-ea"/>
                  <a:sym typeface="Arial" panose="020B0604020202020204" pitchFamily="34" charset="0"/>
                </a:rPr>
                <a:t> </a:t>
              </a:r>
              <a:endParaRPr lang="en-GB" sz="1100" b="1" dirty="0">
                <a:solidFill>
                  <a:srgbClr val="000000"/>
                </a:solidFill>
                <a:cs typeface="+mn-ea"/>
                <a:sym typeface="Arial" panose="020B0604020202020204" pitchFamily="34" charset="0"/>
              </a:endParaRPr>
            </a:p>
          </p:txBody>
        </p:sp>
        <p:sp>
          <p:nvSpPr>
            <p:cNvPr id="78" name="Rectangle 32"/>
            <p:cNvSpPr/>
            <p:nvPr/>
          </p:nvSpPr>
          <p:spPr>
            <a:xfrm>
              <a:off x="8508022" y="2365036"/>
              <a:ext cx="1955081" cy="444357"/>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sz="800" dirty="0">
                <a:solidFill>
                  <a:srgbClr val="000000"/>
                </a:solidFill>
                <a:cs typeface="+mn-ea"/>
                <a:sym typeface="Arial" panose="020B0604020202020204" pitchFamily="34" charset="0"/>
              </a:endParaRPr>
            </a:p>
          </p:txBody>
        </p:sp>
      </p:grpSp>
      <p:grpSp>
        <p:nvGrpSpPr>
          <p:cNvPr id="79" name="Group 33"/>
          <p:cNvGrpSpPr/>
          <p:nvPr/>
        </p:nvGrpSpPr>
        <p:grpSpPr>
          <a:xfrm>
            <a:off x="8563868" y="4928620"/>
            <a:ext cx="1990526" cy="745462"/>
            <a:chOff x="8467262" y="2061982"/>
            <a:chExt cx="1995841" cy="747411"/>
          </a:xfrm>
        </p:grpSpPr>
        <p:sp>
          <p:nvSpPr>
            <p:cNvPr id="80" name="TextBox 34"/>
            <p:cNvSpPr txBox="1"/>
            <p:nvPr/>
          </p:nvSpPr>
          <p:spPr>
            <a:xfrm>
              <a:off x="8467262" y="2061982"/>
              <a:ext cx="585051" cy="203664"/>
            </a:xfrm>
            <a:prstGeom prst="rect">
              <a:avLst/>
            </a:prstGeom>
            <a:noFill/>
          </p:spPr>
          <p:txBody>
            <a:bodyPr wrap="none" lIns="0" tIns="0" rIns="0" bIns="0" rtlCol="0">
              <a:spAutoFit/>
            </a:bodyPr>
            <a:lstStyle/>
            <a:p>
              <a:pPr>
                <a:lnSpc>
                  <a:spcPct val="120000"/>
                </a:lnSpc>
              </a:pPr>
              <a:r>
                <a:rPr lang="en-US" altLang="zh-CN" sz="1100" b="1" dirty="0" err="1">
                  <a:solidFill>
                    <a:srgbClr val="000000"/>
                  </a:solidFill>
                  <a:cs typeface="+mn-ea"/>
                  <a:sym typeface="Arial" panose="020B0604020202020204" pitchFamily="34" charset="0"/>
                </a:rPr>
                <a:t>Duis</a:t>
              </a:r>
              <a:r>
                <a:rPr lang="en-US" altLang="zh-CN" sz="1100" b="1" dirty="0">
                  <a:solidFill>
                    <a:srgbClr val="000000"/>
                  </a:solidFill>
                  <a:cs typeface="+mn-ea"/>
                  <a:sym typeface="Arial" panose="020B0604020202020204" pitchFamily="34" charset="0"/>
                </a:rPr>
                <a:t> </a:t>
              </a:r>
              <a:r>
                <a:rPr lang="en-US" altLang="zh-CN" sz="1100" b="1" dirty="0" err="1">
                  <a:solidFill>
                    <a:srgbClr val="000000"/>
                  </a:solidFill>
                  <a:cs typeface="+mn-ea"/>
                  <a:sym typeface="Arial" panose="020B0604020202020204" pitchFamily="34" charset="0"/>
                </a:rPr>
                <a:t>aute</a:t>
              </a:r>
              <a:r>
                <a:rPr lang="en-US" altLang="zh-CN" sz="1100" b="1" dirty="0">
                  <a:solidFill>
                    <a:srgbClr val="000000"/>
                  </a:solidFill>
                  <a:cs typeface="+mn-ea"/>
                  <a:sym typeface="Arial" panose="020B0604020202020204" pitchFamily="34" charset="0"/>
                </a:rPr>
                <a:t> </a:t>
              </a:r>
              <a:endParaRPr lang="en-GB" sz="1100" b="1" dirty="0">
                <a:solidFill>
                  <a:srgbClr val="000000"/>
                </a:solidFill>
                <a:cs typeface="+mn-ea"/>
                <a:sym typeface="Arial" panose="020B0604020202020204" pitchFamily="34" charset="0"/>
              </a:endParaRPr>
            </a:p>
          </p:txBody>
        </p:sp>
        <p:sp>
          <p:nvSpPr>
            <p:cNvPr id="81" name="Rectangle 35"/>
            <p:cNvSpPr/>
            <p:nvPr/>
          </p:nvSpPr>
          <p:spPr>
            <a:xfrm>
              <a:off x="8508022" y="2365036"/>
              <a:ext cx="1955081" cy="444357"/>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sz="800" dirty="0">
                <a:solidFill>
                  <a:srgbClr val="000000"/>
                </a:solidFill>
                <a:cs typeface="+mn-ea"/>
                <a:sym typeface="Arial" panose="020B0604020202020204" pitchFamily="34" charset="0"/>
              </a:endParaRPr>
            </a:p>
          </p:txBody>
        </p:sp>
      </p:grpSp>
      <p:sp>
        <p:nvSpPr>
          <p:cNvPr id="83" name="Freeform 52"/>
          <p:cNvSpPr>
            <a:spLocks noEditPoints="1"/>
          </p:cNvSpPr>
          <p:nvPr/>
        </p:nvSpPr>
        <p:spPr bwMode="auto">
          <a:xfrm>
            <a:off x="5041381" y="5033475"/>
            <a:ext cx="553878" cy="553909"/>
          </a:xfrm>
          <a:custGeom>
            <a:avLst/>
            <a:gdLst>
              <a:gd name="T0" fmla="*/ 173 w 346"/>
              <a:gd name="T1" fmla="*/ 324 h 346"/>
              <a:gd name="T2" fmla="*/ 201 w 346"/>
              <a:gd name="T3" fmla="*/ 321 h 346"/>
              <a:gd name="T4" fmla="*/ 211 w 346"/>
              <a:gd name="T5" fmla="*/ 345 h 346"/>
              <a:gd name="T6" fmla="*/ 271 w 346"/>
              <a:gd name="T7" fmla="*/ 320 h 346"/>
              <a:gd name="T8" fmla="*/ 260 w 346"/>
              <a:gd name="T9" fmla="*/ 296 h 346"/>
              <a:gd name="T10" fmla="*/ 298 w 346"/>
              <a:gd name="T11" fmla="*/ 258 h 346"/>
              <a:gd name="T12" fmla="*/ 322 w 346"/>
              <a:gd name="T13" fmla="*/ 268 h 346"/>
              <a:gd name="T14" fmla="*/ 346 w 346"/>
              <a:gd name="T15" fmla="*/ 208 h 346"/>
              <a:gd name="T16" fmla="*/ 322 w 346"/>
              <a:gd name="T17" fmla="*/ 198 h 346"/>
              <a:gd name="T18" fmla="*/ 321 w 346"/>
              <a:gd name="T19" fmla="*/ 145 h 346"/>
              <a:gd name="T20" fmla="*/ 345 w 346"/>
              <a:gd name="T21" fmla="*/ 135 h 346"/>
              <a:gd name="T22" fmla="*/ 320 w 346"/>
              <a:gd name="T23" fmla="*/ 75 h 346"/>
              <a:gd name="T24" fmla="*/ 296 w 346"/>
              <a:gd name="T25" fmla="*/ 85 h 346"/>
              <a:gd name="T26" fmla="*/ 258 w 346"/>
              <a:gd name="T27" fmla="*/ 48 h 346"/>
              <a:gd name="T28" fmla="*/ 268 w 346"/>
              <a:gd name="T29" fmla="*/ 24 h 346"/>
              <a:gd name="T30" fmla="*/ 208 w 346"/>
              <a:gd name="T31" fmla="*/ 0 h 346"/>
              <a:gd name="T32" fmla="*/ 198 w 346"/>
              <a:gd name="T33" fmla="*/ 24 h 346"/>
              <a:gd name="T34" fmla="*/ 173 w 346"/>
              <a:gd name="T35" fmla="*/ 22 h 346"/>
              <a:gd name="T36" fmla="*/ 173 w 346"/>
              <a:gd name="T37" fmla="*/ 45 h 346"/>
              <a:gd name="T38" fmla="*/ 291 w 346"/>
              <a:gd name="T39" fmla="*/ 123 h 346"/>
              <a:gd name="T40" fmla="*/ 223 w 346"/>
              <a:gd name="T41" fmla="*/ 291 h 346"/>
              <a:gd name="T42" fmla="*/ 173 w 346"/>
              <a:gd name="T43" fmla="*/ 301 h 346"/>
              <a:gd name="T44" fmla="*/ 173 w 346"/>
              <a:gd name="T45" fmla="*/ 301 h 346"/>
              <a:gd name="T46" fmla="*/ 173 w 346"/>
              <a:gd name="T47" fmla="*/ 324 h 346"/>
              <a:gd name="T48" fmla="*/ 25 w 346"/>
              <a:gd name="T49" fmla="*/ 201 h 346"/>
              <a:gd name="T50" fmla="*/ 0 w 346"/>
              <a:gd name="T51" fmla="*/ 211 h 346"/>
              <a:gd name="T52" fmla="*/ 26 w 346"/>
              <a:gd name="T53" fmla="*/ 271 h 346"/>
              <a:gd name="T54" fmla="*/ 50 w 346"/>
              <a:gd name="T55" fmla="*/ 261 h 346"/>
              <a:gd name="T56" fmla="*/ 88 w 346"/>
              <a:gd name="T57" fmla="*/ 298 h 346"/>
              <a:gd name="T58" fmla="*/ 78 w 346"/>
              <a:gd name="T59" fmla="*/ 322 h 346"/>
              <a:gd name="T60" fmla="*/ 138 w 346"/>
              <a:gd name="T61" fmla="*/ 346 h 346"/>
              <a:gd name="T62" fmla="*/ 148 w 346"/>
              <a:gd name="T63" fmla="*/ 322 h 346"/>
              <a:gd name="T64" fmla="*/ 173 w 346"/>
              <a:gd name="T65" fmla="*/ 324 h 346"/>
              <a:gd name="T66" fmla="*/ 173 w 346"/>
              <a:gd name="T67" fmla="*/ 301 h 346"/>
              <a:gd name="T68" fmla="*/ 55 w 346"/>
              <a:gd name="T69" fmla="*/ 223 h 346"/>
              <a:gd name="T70" fmla="*/ 123 w 346"/>
              <a:gd name="T71" fmla="*/ 55 h 346"/>
              <a:gd name="T72" fmla="*/ 123 w 346"/>
              <a:gd name="T73" fmla="*/ 55 h 346"/>
              <a:gd name="T74" fmla="*/ 173 w 346"/>
              <a:gd name="T75" fmla="*/ 45 h 346"/>
              <a:gd name="T76" fmla="*/ 173 w 346"/>
              <a:gd name="T77" fmla="*/ 45 h 346"/>
              <a:gd name="T78" fmla="*/ 173 w 346"/>
              <a:gd name="T79" fmla="*/ 22 h 346"/>
              <a:gd name="T80" fmla="*/ 145 w 346"/>
              <a:gd name="T81" fmla="*/ 25 h 346"/>
              <a:gd name="T82" fmla="*/ 135 w 346"/>
              <a:gd name="T83" fmla="*/ 1 h 346"/>
              <a:gd name="T84" fmla="*/ 75 w 346"/>
              <a:gd name="T85" fmla="*/ 26 h 346"/>
              <a:gd name="T86" fmla="*/ 85 w 346"/>
              <a:gd name="T87" fmla="*/ 50 h 346"/>
              <a:gd name="T88" fmla="*/ 48 w 346"/>
              <a:gd name="T89" fmla="*/ 88 h 346"/>
              <a:gd name="T90" fmla="*/ 24 w 346"/>
              <a:gd name="T91" fmla="*/ 78 h 346"/>
              <a:gd name="T92" fmla="*/ 0 w 346"/>
              <a:gd name="T93" fmla="*/ 138 h 346"/>
              <a:gd name="T94" fmla="*/ 24 w 346"/>
              <a:gd name="T95" fmla="*/ 148 h 346"/>
              <a:gd name="T96" fmla="*/ 25 w 346"/>
              <a:gd name="T97" fmla="*/ 20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6" h="346">
                <a:moveTo>
                  <a:pt x="173" y="324"/>
                </a:moveTo>
                <a:cubicBezTo>
                  <a:pt x="182" y="324"/>
                  <a:pt x="192" y="323"/>
                  <a:pt x="201" y="321"/>
                </a:cubicBezTo>
                <a:cubicBezTo>
                  <a:pt x="211" y="345"/>
                  <a:pt x="211" y="345"/>
                  <a:pt x="211" y="345"/>
                </a:cubicBezTo>
                <a:cubicBezTo>
                  <a:pt x="271" y="320"/>
                  <a:pt x="271" y="320"/>
                  <a:pt x="271" y="320"/>
                </a:cubicBezTo>
                <a:cubicBezTo>
                  <a:pt x="260" y="296"/>
                  <a:pt x="260" y="296"/>
                  <a:pt x="260" y="296"/>
                </a:cubicBezTo>
                <a:cubicBezTo>
                  <a:pt x="275" y="286"/>
                  <a:pt x="287" y="273"/>
                  <a:pt x="298" y="258"/>
                </a:cubicBezTo>
                <a:cubicBezTo>
                  <a:pt x="322" y="268"/>
                  <a:pt x="322" y="268"/>
                  <a:pt x="322" y="268"/>
                </a:cubicBezTo>
                <a:cubicBezTo>
                  <a:pt x="346" y="208"/>
                  <a:pt x="346" y="208"/>
                  <a:pt x="346" y="208"/>
                </a:cubicBezTo>
                <a:cubicBezTo>
                  <a:pt x="322" y="198"/>
                  <a:pt x="322" y="198"/>
                  <a:pt x="322" y="198"/>
                </a:cubicBezTo>
                <a:cubicBezTo>
                  <a:pt x="325" y="180"/>
                  <a:pt x="324" y="163"/>
                  <a:pt x="321" y="145"/>
                </a:cubicBezTo>
                <a:cubicBezTo>
                  <a:pt x="345" y="135"/>
                  <a:pt x="345" y="135"/>
                  <a:pt x="345" y="135"/>
                </a:cubicBezTo>
                <a:cubicBezTo>
                  <a:pt x="320" y="75"/>
                  <a:pt x="320" y="75"/>
                  <a:pt x="320" y="75"/>
                </a:cubicBezTo>
                <a:cubicBezTo>
                  <a:pt x="296" y="85"/>
                  <a:pt x="296" y="85"/>
                  <a:pt x="296" y="85"/>
                </a:cubicBezTo>
                <a:cubicBezTo>
                  <a:pt x="285" y="71"/>
                  <a:pt x="273" y="58"/>
                  <a:pt x="258" y="48"/>
                </a:cubicBezTo>
                <a:cubicBezTo>
                  <a:pt x="268" y="24"/>
                  <a:pt x="268" y="24"/>
                  <a:pt x="268" y="24"/>
                </a:cubicBezTo>
                <a:cubicBezTo>
                  <a:pt x="208" y="0"/>
                  <a:pt x="208" y="0"/>
                  <a:pt x="208" y="0"/>
                </a:cubicBezTo>
                <a:cubicBezTo>
                  <a:pt x="198" y="24"/>
                  <a:pt x="198" y="24"/>
                  <a:pt x="198" y="24"/>
                </a:cubicBezTo>
                <a:cubicBezTo>
                  <a:pt x="190" y="23"/>
                  <a:pt x="181" y="22"/>
                  <a:pt x="173" y="22"/>
                </a:cubicBezTo>
                <a:cubicBezTo>
                  <a:pt x="173" y="45"/>
                  <a:pt x="173" y="45"/>
                  <a:pt x="173" y="45"/>
                </a:cubicBezTo>
                <a:cubicBezTo>
                  <a:pt x="224" y="45"/>
                  <a:pt x="271" y="75"/>
                  <a:pt x="291" y="123"/>
                </a:cubicBezTo>
                <a:cubicBezTo>
                  <a:pt x="318" y="188"/>
                  <a:pt x="288" y="263"/>
                  <a:pt x="223" y="291"/>
                </a:cubicBezTo>
                <a:cubicBezTo>
                  <a:pt x="207" y="298"/>
                  <a:pt x="190" y="301"/>
                  <a:pt x="173" y="301"/>
                </a:cubicBezTo>
                <a:cubicBezTo>
                  <a:pt x="173" y="301"/>
                  <a:pt x="173" y="301"/>
                  <a:pt x="173" y="301"/>
                </a:cubicBezTo>
                <a:lnTo>
                  <a:pt x="173" y="324"/>
                </a:lnTo>
                <a:close/>
                <a:moveTo>
                  <a:pt x="25" y="201"/>
                </a:moveTo>
                <a:cubicBezTo>
                  <a:pt x="0" y="211"/>
                  <a:pt x="0" y="211"/>
                  <a:pt x="0" y="211"/>
                </a:cubicBezTo>
                <a:cubicBezTo>
                  <a:pt x="26" y="271"/>
                  <a:pt x="26" y="271"/>
                  <a:pt x="26" y="271"/>
                </a:cubicBezTo>
                <a:cubicBezTo>
                  <a:pt x="50" y="261"/>
                  <a:pt x="50" y="261"/>
                  <a:pt x="50" y="261"/>
                </a:cubicBezTo>
                <a:cubicBezTo>
                  <a:pt x="60" y="275"/>
                  <a:pt x="73" y="288"/>
                  <a:pt x="88" y="298"/>
                </a:cubicBezTo>
                <a:cubicBezTo>
                  <a:pt x="78" y="322"/>
                  <a:pt x="78" y="322"/>
                  <a:pt x="78" y="322"/>
                </a:cubicBezTo>
                <a:cubicBezTo>
                  <a:pt x="138" y="346"/>
                  <a:pt x="138" y="346"/>
                  <a:pt x="138" y="346"/>
                </a:cubicBezTo>
                <a:cubicBezTo>
                  <a:pt x="148" y="322"/>
                  <a:pt x="148" y="322"/>
                  <a:pt x="148" y="322"/>
                </a:cubicBezTo>
                <a:cubicBezTo>
                  <a:pt x="156" y="323"/>
                  <a:pt x="164" y="324"/>
                  <a:pt x="173" y="324"/>
                </a:cubicBezTo>
                <a:cubicBezTo>
                  <a:pt x="173" y="301"/>
                  <a:pt x="173" y="301"/>
                  <a:pt x="173" y="301"/>
                </a:cubicBezTo>
                <a:cubicBezTo>
                  <a:pt x="121" y="301"/>
                  <a:pt x="75" y="271"/>
                  <a:pt x="55" y="223"/>
                </a:cubicBezTo>
                <a:cubicBezTo>
                  <a:pt x="27" y="158"/>
                  <a:pt x="58" y="83"/>
                  <a:pt x="123" y="55"/>
                </a:cubicBezTo>
                <a:cubicBezTo>
                  <a:pt x="123" y="55"/>
                  <a:pt x="123" y="55"/>
                  <a:pt x="123" y="55"/>
                </a:cubicBezTo>
                <a:cubicBezTo>
                  <a:pt x="139" y="48"/>
                  <a:pt x="155" y="45"/>
                  <a:pt x="173" y="45"/>
                </a:cubicBezTo>
                <a:cubicBezTo>
                  <a:pt x="173" y="45"/>
                  <a:pt x="173" y="45"/>
                  <a:pt x="173" y="45"/>
                </a:cubicBezTo>
                <a:cubicBezTo>
                  <a:pt x="173" y="22"/>
                  <a:pt x="173" y="22"/>
                  <a:pt x="173" y="22"/>
                </a:cubicBezTo>
                <a:cubicBezTo>
                  <a:pt x="163" y="22"/>
                  <a:pt x="154" y="23"/>
                  <a:pt x="145" y="25"/>
                </a:cubicBezTo>
                <a:cubicBezTo>
                  <a:pt x="135" y="1"/>
                  <a:pt x="135" y="1"/>
                  <a:pt x="135" y="1"/>
                </a:cubicBezTo>
                <a:cubicBezTo>
                  <a:pt x="75" y="26"/>
                  <a:pt x="75" y="26"/>
                  <a:pt x="75" y="26"/>
                </a:cubicBezTo>
                <a:cubicBezTo>
                  <a:pt x="85" y="50"/>
                  <a:pt x="85" y="50"/>
                  <a:pt x="85" y="50"/>
                </a:cubicBezTo>
                <a:cubicBezTo>
                  <a:pt x="71" y="60"/>
                  <a:pt x="58" y="73"/>
                  <a:pt x="48" y="88"/>
                </a:cubicBezTo>
                <a:cubicBezTo>
                  <a:pt x="24" y="78"/>
                  <a:pt x="24" y="78"/>
                  <a:pt x="24" y="78"/>
                </a:cubicBezTo>
                <a:cubicBezTo>
                  <a:pt x="0" y="138"/>
                  <a:pt x="0" y="138"/>
                  <a:pt x="0" y="138"/>
                </a:cubicBezTo>
                <a:cubicBezTo>
                  <a:pt x="24" y="148"/>
                  <a:pt x="24" y="148"/>
                  <a:pt x="24" y="148"/>
                </a:cubicBezTo>
                <a:cubicBezTo>
                  <a:pt x="21" y="166"/>
                  <a:pt x="21" y="183"/>
                  <a:pt x="25" y="201"/>
                </a:cubicBezTo>
                <a:close/>
              </a:path>
            </a:pathLst>
          </a:custGeom>
          <a:solidFill>
            <a:schemeClr val="accent3"/>
          </a:solidFill>
          <a:ln>
            <a:noFill/>
          </a:ln>
        </p:spPr>
        <p:txBody>
          <a:bodyPr vert="horz" wrap="square" lIns="0" tIns="0" rIns="0" bIns="0" numCol="1" anchor="t" anchorCtr="0" compatLnSpc="1">
            <a:prstTxWarp prst="textNoShape">
              <a:avLst/>
            </a:prstTxWarp>
          </a:bodyPr>
          <a:lstStyle/>
          <a:p>
            <a:pPr algn="just">
              <a:lnSpc>
                <a:spcPct val="120000"/>
              </a:lnSpc>
            </a:pPr>
            <a:endParaRPr lang="en-US" sz="800" dirty="0">
              <a:solidFill>
                <a:schemeClr val="bg1">
                  <a:lumMod val="65000"/>
                </a:schemeClr>
              </a:solidFill>
              <a:cs typeface="+mn-ea"/>
              <a:sym typeface="Arial" panose="020B0604020202020204" pitchFamily="34" charset="0"/>
            </a:endParaRPr>
          </a:p>
        </p:txBody>
      </p:sp>
      <p:sp>
        <p:nvSpPr>
          <p:cNvPr id="89" name="Freeform 52"/>
          <p:cNvSpPr>
            <a:spLocks noEditPoints="1"/>
          </p:cNvSpPr>
          <p:nvPr/>
        </p:nvSpPr>
        <p:spPr bwMode="auto">
          <a:xfrm>
            <a:off x="8017711" y="5033475"/>
            <a:ext cx="553878" cy="553909"/>
          </a:xfrm>
          <a:custGeom>
            <a:avLst/>
            <a:gdLst>
              <a:gd name="T0" fmla="*/ 173 w 346"/>
              <a:gd name="T1" fmla="*/ 324 h 346"/>
              <a:gd name="T2" fmla="*/ 201 w 346"/>
              <a:gd name="T3" fmla="*/ 321 h 346"/>
              <a:gd name="T4" fmla="*/ 211 w 346"/>
              <a:gd name="T5" fmla="*/ 345 h 346"/>
              <a:gd name="T6" fmla="*/ 271 w 346"/>
              <a:gd name="T7" fmla="*/ 320 h 346"/>
              <a:gd name="T8" fmla="*/ 260 w 346"/>
              <a:gd name="T9" fmla="*/ 296 h 346"/>
              <a:gd name="T10" fmla="*/ 298 w 346"/>
              <a:gd name="T11" fmla="*/ 258 h 346"/>
              <a:gd name="T12" fmla="*/ 322 w 346"/>
              <a:gd name="T13" fmla="*/ 268 h 346"/>
              <a:gd name="T14" fmla="*/ 346 w 346"/>
              <a:gd name="T15" fmla="*/ 208 h 346"/>
              <a:gd name="T16" fmla="*/ 322 w 346"/>
              <a:gd name="T17" fmla="*/ 198 h 346"/>
              <a:gd name="T18" fmla="*/ 321 w 346"/>
              <a:gd name="T19" fmla="*/ 145 h 346"/>
              <a:gd name="T20" fmla="*/ 345 w 346"/>
              <a:gd name="T21" fmla="*/ 135 h 346"/>
              <a:gd name="T22" fmla="*/ 320 w 346"/>
              <a:gd name="T23" fmla="*/ 75 h 346"/>
              <a:gd name="T24" fmla="*/ 296 w 346"/>
              <a:gd name="T25" fmla="*/ 85 h 346"/>
              <a:gd name="T26" fmla="*/ 258 w 346"/>
              <a:gd name="T27" fmla="*/ 48 h 346"/>
              <a:gd name="T28" fmla="*/ 268 w 346"/>
              <a:gd name="T29" fmla="*/ 24 h 346"/>
              <a:gd name="T30" fmla="*/ 208 w 346"/>
              <a:gd name="T31" fmla="*/ 0 h 346"/>
              <a:gd name="T32" fmla="*/ 198 w 346"/>
              <a:gd name="T33" fmla="*/ 24 h 346"/>
              <a:gd name="T34" fmla="*/ 173 w 346"/>
              <a:gd name="T35" fmla="*/ 22 h 346"/>
              <a:gd name="T36" fmla="*/ 173 w 346"/>
              <a:gd name="T37" fmla="*/ 45 h 346"/>
              <a:gd name="T38" fmla="*/ 291 w 346"/>
              <a:gd name="T39" fmla="*/ 123 h 346"/>
              <a:gd name="T40" fmla="*/ 223 w 346"/>
              <a:gd name="T41" fmla="*/ 291 h 346"/>
              <a:gd name="T42" fmla="*/ 173 w 346"/>
              <a:gd name="T43" fmla="*/ 301 h 346"/>
              <a:gd name="T44" fmla="*/ 173 w 346"/>
              <a:gd name="T45" fmla="*/ 301 h 346"/>
              <a:gd name="T46" fmla="*/ 173 w 346"/>
              <a:gd name="T47" fmla="*/ 324 h 346"/>
              <a:gd name="T48" fmla="*/ 25 w 346"/>
              <a:gd name="T49" fmla="*/ 201 h 346"/>
              <a:gd name="T50" fmla="*/ 0 w 346"/>
              <a:gd name="T51" fmla="*/ 211 h 346"/>
              <a:gd name="T52" fmla="*/ 26 w 346"/>
              <a:gd name="T53" fmla="*/ 271 h 346"/>
              <a:gd name="T54" fmla="*/ 50 w 346"/>
              <a:gd name="T55" fmla="*/ 261 h 346"/>
              <a:gd name="T56" fmla="*/ 88 w 346"/>
              <a:gd name="T57" fmla="*/ 298 h 346"/>
              <a:gd name="T58" fmla="*/ 78 w 346"/>
              <a:gd name="T59" fmla="*/ 322 h 346"/>
              <a:gd name="T60" fmla="*/ 138 w 346"/>
              <a:gd name="T61" fmla="*/ 346 h 346"/>
              <a:gd name="T62" fmla="*/ 148 w 346"/>
              <a:gd name="T63" fmla="*/ 322 h 346"/>
              <a:gd name="T64" fmla="*/ 173 w 346"/>
              <a:gd name="T65" fmla="*/ 324 h 346"/>
              <a:gd name="T66" fmla="*/ 173 w 346"/>
              <a:gd name="T67" fmla="*/ 301 h 346"/>
              <a:gd name="T68" fmla="*/ 55 w 346"/>
              <a:gd name="T69" fmla="*/ 223 h 346"/>
              <a:gd name="T70" fmla="*/ 123 w 346"/>
              <a:gd name="T71" fmla="*/ 55 h 346"/>
              <a:gd name="T72" fmla="*/ 123 w 346"/>
              <a:gd name="T73" fmla="*/ 55 h 346"/>
              <a:gd name="T74" fmla="*/ 173 w 346"/>
              <a:gd name="T75" fmla="*/ 45 h 346"/>
              <a:gd name="T76" fmla="*/ 173 w 346"/>
              <a:gd name="T77" fmla="*/ 45 h 346"/>
              <a:gd name="T78" fmla="*/ 173 w 346"/>
              <a:gd name="T79" fmla="*/ 22 h 346"/>
              <a:gd name="T80" fmla="*/ 145 w 346"/>
              <a:gd name="T81" fmla="*/ 25 h 346"/>
              <a:gd name="T82" fmla="*/ 135 w 346"/>
              <a:gd name="T83" fmla="*/ 1 h 346"/>
              <a:gd name="T84" fmla="*/ 75 w 346"/>
              <a:gd name="T85" fmla="*/ 26 h 346"/>
              <a:gd name="T86" fmla="*/ 85 w 346"/>
              <a:gd name="T87" fmla="*/ 50 h 346"/>
              <a:gd name="T88" fmla="*/ 48 w 346"/>
              <a:gd name="T89" fmla="*/ 88 h 346"/>
              <a:gd name="T90" fmla="*/ 24 w 346"/>
              <a:gd name="T91" fmla="*/ 78 h 346"/>
              <a:gd name="T92" fmla="*/ 0 w 346"/>
              <a:gd name="T93" fmla="*/ 138 h 346"/>
              <a:gd name="T94" fmla="*/ 24 w 346"/>
              <a:gd name="T95" fmla="*/ 148 h 346"/>
              <a:gd name="T96" fmla="*/ 25 w 346"/>
              <a:gd name="T97" fmla="*/ 20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6" h="346">
                <a:moveTo>
                  <a:pt x="173" y="324"/>
                </a:moveTo>
                <a:cubicBezTo>
                  <a:pt x="182" y="324"/>
                  <a:pt x="192" y="323"/>
                  <a:pt x="201" y="321"/>
                </a:cubicBezTo>
                <a:cubicBezTo>
                  <a:pt x="211" y="345"/>
                  <a:pt x="211" y="345"/>
                  <a:pt x="211" y="345"/>
                </a:cubicBezTo>
                <a:cubicBezTo>
                  <a:pt x="271" y="320"/>
                  <a:pt x="271" y="320"/>
                  <a:pt x="271" y="320"/>
                </a:cubicBezTo>
                <a:cubicBezTo>
                  <a:pt x="260" y="296"/>
                  <a:pt x="260" y="296"/>
                  <a:pt x="260" y="296"/>
                </a:cubicBezTo>
                <a:cubicBezTo>
                  <a:pt x="275" y="286"/>
                  <a:pt x="287" y="273"/>
                  <a:pt x="298" y="258"/>
                </a:cubicBezTo>
                <a:cubicBezTo>
                  <a:pt x="322" y="268"/>
                  <a:pt x="322" y="268"/>
                  <a:pt x="322" y="268"/>
                </a:cubicBezTo>
                <a:cubicBezTo>
                  <a:pt x="346" y="208"/>
                  <a:pt x="346" y="208"/>
                  <a:pt x="346" y="208"/>
                </a:cubicBezTo>
                <a:cubicBezTo>
                  <a:pt x="322" y="198"/>
                  <a:pt x="322" y="198"/>
                  <a:pt x="322" y="198"/>
                </a:cubicBezTo>
                <a:cubicBezTo>
                  <a:pt x="325" y="180"/>
                  <a:pt x="324" y="163"/>
                  <a:pt x="321" y="145"/>
                </a:cubicBezTo>
                <a:cubicBezTo>
                  <a:pt x="345" y="135"/>
                  <a:pt x="345" y="135"/>
                  <a:pt x="345" y="135"/>
                </a:cubicBezTo>
                <a:cubicBezTo>
                  <a:pt x="320" y="75"/>
                  <a:pt x="320" y="75"/>
                  <a:pt x="320" y="75"/>
                </a:cubicBezTo>
                <a:cubicBezTo>
                  <a:pt x="296" y="85"/>
                  <a:pt x="296" y="85"/>
                  <a:pt x="296" y="85"/>
                </a:cubicBezTo>
                <a:cubicBezTo>
                  <a:pt x="285" y="71"/>
                  <a:pt x="273" y="58"/>
                  <a:pt x="258" y="48"/>
                </a:cubicBezTo>
                <a:cubicBezTo>
                  <a:pt x="268" y="24"/>
                  <a:pt x="268" y="24"/>
                  <a:pt x="268" y="24"/>
                </a:cubicBezTo>
                <a:cubicBezTo>
                  <a:pt x="208" y="0"/>
                  <a:pt x="208" y="0"/>
                  <a:pt x="208" y="0"/>
                </a:cubicBezTo>
                <a:cubicBezTo>
                  <a:pt x="198" y="24"/>
                  <a:pt x="198" y="24"/>
                  <a:pt x="198" y="24"/>
                </a:cubicBezTo>
                <a:cubicBezTo>
                  <a:pt x="190" y="23"/>
                  <a:pt x="181" y="22"/>
                  <a:pt x="173" y="22"/>
                </a:cubicBezTo>
                <a:cubicBezTo>
                  <a:pt x="173" y="45"/>
                  <a:pt x="173" y="45"/>
                  <a:pt x="173" y="45"/>
                </a:cubicBezTo>
                <a:cubicBezTo>
                  <a:pt x="224" y="45"/>
                  <a:pt x="271" y="75"/>
                  <a:pt x="291" y="123"/>
                </a:cubicBezTo>
                <a:cubicBezTo>
                  <a:pt x="318" y="188"/>
                  <a:pt x="288" y="263"/>
                  <a:pt x="223" y="291"/>
                </a:cubicBezTo>
                <a:cubicBezTo>
                  <a:pt x="207" y="298"/>
                  <a:pt x="190" y="301"/>
                  <a:pt x="173" y="301"/>
                </a:cubicBezTo>
                <a:cubicBezTo>
                  <a:pt x="173" y="301"/>
                  <a:pt x="173" y="301"/>
                  <a:pt x="173" y="301"/>
                </a:cubicBezTo>
                <a:lnTo>
                  <a:pt x="173" y="324"/>
                </a:lnTo>
                <a:close/>
                <a:moveTo>
                  <a:pt x="25" y="201"/>
                </a:moveTo>
                <a:cubicBezTo>
                  <a:pt x="0" y="211"/>
                  <a:pt x="0" y="211"/>
                  <a:pt x="0" y="211"/>
                </a:cubicBezTo>
                <a:cubicBezTo>
                  <a:pt x="26" y="271"/>
                  <a:pt x="26" y="271"/>
                  <a:pt x="26" y="271"/>
                </a:cubicBezTo>
                <a:cubicBezTo>
                  <a:pt x="50" y="261"/>
                  <a:pt x="50" y="261"/>
                  <a:pt x="50" y="261"/>
                </a:cubicBezTo>
                <a:cubicBezTo>
                  <a:pt x="60" y="275"/>
                  <a:pt x="73" y="288"/>
                  <a:pt x="88" y="298"/>
                </a:cubicBezTo>
                <a:cubicBezTo>
                  <a:pt x="78" y="322"/>
                  <a:pt x="78" y="322"/>
                  <a:pt x="78" y="322"/>
                </a:cubicBezTo>
                <a:cubicBezTo>
                  <a:pt x="138" y="346"/>
                  <a:pt x="138" y="346"/>
                  <a:pt x="138" y="346"/>
                </a:cubicBezTo>
                <a:cubicBezTo>
                  <a:pt x="148" y="322"/>
                  <a:pt x="148" y="322"/>
                  <a:pt x="148" y="322"/>
                </a:cubicBezTo>
                <a:cubicBezTo>
                  <a:pt x="156" y="323"/>
                  <a:pt x="164" y="324"/>
                  <a:pt x="173" y="324"/>
                </a:cubicBezTo>
                <a:cubicBezTo>
                  <a:pt x="173" y="301"/>
                  <a:pt x="173" y="301"/>
                  <a:pt x="173" y="301"/>
                </a:cubicBezTo>
                <a:cubicBezTo>
                  <a:pt x="121" y="301"/>
                  <a:pt x="75" y="271"/>
                  <a:pt x="55" y="223"/>
                </a:cubicBezTo>
                <a:cubicBezTo>
                  <a:pt x="27" y="158"/>
                  <a:pt x="58" y="83"/>
                  <a:pt x="123" y="55"/>
                </a:cubicBezTo>
                <a:cubicBezTo>
                  <a:pt x="123" y="55"/>
                  <a:pt x="123" y="55"/>
                  <a:pt x="123" y="55"/>
                </a:cubicBezTo>
                <a:cubicBezTo>
                  <a:pt x="139" y="48"/>
                  <a:pt x="155" y="45"/>
                  <a:pt x="173" y="45"/>
                </a:cubicBezTo>
                <a:cubicBezTo>
                  <a:pt x="173" y="45"/>
                  <a:pt x="173" y="45"/>
                  <a:pt x="173" y="45"/>
                </a:cubicBezTo>
                <a:cubicBezTo>
                  <a:pt x="173" y="22"/>
                  <a:pt x="173" y="22"/>
                  <a:pt x="173" y="22"/>
                </a:cubicBezTo>
                <a:cubicBezTo>
                  <a:pt x="163" y="22"/>
                  <a:pt x="154" y="23"/>
                  <a:pt x="145" y="25"/>
                </a:cubicBezTo>
                <a:cubicBezTo>
                  <a:pt x="135" y="1"/>
                  <a:pt x="135" y="1"/>
                  <a:pt x="135" y="1"/>
                </a:cubicBezTo>
                <a:cubicBezTo>
                  <a:pt x="75" y="26"/>
                  <a:pt x="75" y="26"/>
                  <a:pt x="75" y="26"/>
                </a:cubicBezTo>
                <a:cubicBezTo>
                  <a:pt x="85" y="50"/>
                  <a:pt x="85" y="50"/>
                  <a:pt x="85" y="50"/>
                </a:cubicBezTo>
                <a:cubicBezTo>
                  <a:pt x="71" y="60"/>
                  <a:pt x="58" y="73"/>
                  <a:pt x="48" y="88"/>
                </a:cubicBezTo>
                <a:cubicBezTo>
                  <a:pt x="24" y="78"/>
                  <a:pt x="24" y="78"/>
                  <a:pt x="24" y="78"/>
                </a:cubicBezTo>
                <a:cubicBezTo>
                  <a:pt x="0" y="138"/>
                  <a:pt x="0" y="138"/>
                  <a:pt x="0" y="138"/>
                </a:cubicBezTo>
                <a:cubicBezTo>
                  <a:pt x="24" y="148"/>
                  <a:pt x="24" y="148"/>
                  <a:pt x="24" y="148"/>
                </a:cubicBezTo>
                <a:cubicBezTo>
                  <a:pt x="21" y="166"/>
                  <a:pt x="21" y="183"/>
                  <a:pt x="25" y="201"/>
                </a:cubicBezTo>
                <a:close/>
              </a:path>
            </a:pathLst>
          </a:custGeom>
          <a:solidFill>
            <a:schemeClr val="accent4"/>
          </a:solidFill>
          <a:ln>
            <a:noFill/>
          </a:ln>
        </p:spPr>
        <p:txBody>
          <a:bodyPr vert="horz" wrap="square" lIns="0" tIns="0" rIns="0" bIns="0" numCol="1" anchor="t" anchorCtr="0" compatLnSpc="1">
            <a:prstTxWarp prst="textNoShape">
              <a:avLst/>
            </a:prstTxWarp>
          </a:bodyPr>
          <a:lstStyle/>
          <a:p>
            <a:pPr algn="just">
              <a:lnSpc>
                <a:spcPct val="120000"/>
              </a:lnSpc>
            </a:pPr>
            <a:endParaRPr lang="en-US" sz="800" dirty="0">
              <a:solidFill>
                <a:schemeClr val="bg1">
                  <a:lumMod val="65000"/>
                </a:schemeClr>
              </a:solidFill>
              <a:cs typeface="+mn-ea"/>
              <a:sym typeface="Arial" panose="020B0604020202020204" pitchFamily="34" charset="0"/>
            </a:endParaRPr>
          </a:p>
        </p:txBody>
      </p:sp>
      <p:sp>
        <p:nvSpPr>
          <p:cNvPr id="96" name="Freeform 52"/>
          <p:cNvSpPr>
            <a:spLocks noEditPoints="1"/>
          </p:cNvSpPr>
          <p:nvPr/>
        </p:nvSpPr>
        <p:spPr bwMode="auto">
          <a:xfrm>
            <a:off x="8017711" y="3891955"/>
            <a:ext cx="553878" cy="553909"/>
          </a:xfrm>
          <a:custGeom>
            <a:avLst/>
            <a:gdLst>
              <a:gd name="T0" fmla="*/ 173 w 346"/>
              <a:gd name="T1" fmla="*/ 324 h 346"/>
              <a:gd name="T2" fmla="*/ 201 w 346"/>
              <a:gd name="T3" fmla="*/ 321 h 346"/>
              <a:gd name="T4" fmla="*/ 211 w 346"/>
              <a:gd name="T5" fmla="*/ 345 h 346"/>
              <a:gd name="T6" fmla="*/ 271 w 346"/>
              <a:gd name="T7" fmla="*/ 320 h 346"/>
              <a:gd name="T8" fmla="*/ 260 w 346"/>
              <a:gd name="T9" fmla="*/ 296 h 346"/>
              <a:gd name="T10" fmla="*/ 298 w 346"/>
              <a:gd name="T11" fmla="*/ 258 h 346"/>
              <a:gd name="T12" fmla="*/ 322 w 346"/>
              <a:gd name="T13" fmla="*/ 268 h 346"/>
              <a:gd name="T14" fmla="*/ 346 w 346"/>
              <a:gd name="T15" fmla="*/ 208 h 346"/>
              <a:gd name="T16" fmla="*/ 322 w 346"/>
              <a:gd name="T17" fmla="*/ 198 h 346"/>
              <a:gd name="T18" fmla="*/ 321 w 346"/>
              <a:gd name="T19" fmla="*/ 145 h 346"/>
              <a:gd name="T20" fmla="*/ 345 w 346"/>
              <a:gd name="T21" fmla="*/ 135 h 346"/>
              <a:gd name="T22" fmla="*/ 320 w 346"/>
              <a:gd name="T23" fmla="*/ 75 h 346"/>
              <a:gd name="T24" fmla="*/ 296 w 346"/>
              <a:gd name="T25" fmla="*/ 85 h 346"/>
              <a:gd name="T26" fmla="*/ 258 w 346"/>
              <a:gd name="T27" fmla="*/ 48 h 346"/>
              <a:gd name="T28" fmla="*/ 268 w 346"/>
              <a:gd name="T29" fmla="*/ 24 h 346"/>
              <a:gd name="T30" fmla="*/ 208 w 346"/>
              <a:gd name="T31" fmla="*/ 0 h 346"/>
              <a:gd name="T32" fmla="*/ 198 w 346"/>
              <a:gd name="T33" fmla="*/ 24 h 346"/>
              <a:gd name="T34" fmla="*/ 173 w 346"/>
              <a:gd name="T35" fmla="*/ 22 h 346"/>
              <a:gd name="T36" fmla="*/ 173 w 346"/>
              <a:gd name="T37" fmla="*/ 45 h 346"/>
              <a:gd name="T38" fmla="*/ 291 w 346"/>
              <a:gd name="T39" fmla="*/ 123 h 346"/>
              <a:gd name="T40" fmla="*/ 223 w 346"/>
              <a:gd name="T41" fmla="*/ 291 h 346"/>
              <a:gd name="T42" fmla="*/ 173 w 346"/>
              <a:gd name="T43" fmla="*/ 301 h 346"/>
              <a:gd name="T44" fmla="*/ 173 w 346"/>
              <a:gd name="T45" fmla="*/ 301 h 346"/>
              <a:gd name="T46" fmla="*/ 173 w 346"/>
              <a:gd name="T47" fmla="*/ 324 h 346"/>
              <a:gd name="T48" fmla="*/ 25 w 346"/>
              <a:gd name="T49" fmla="*/ 201 h 346"/>
              <a:gd name="T50" fmla="*/ 0 w 346"/>
              <a:gd name="T51" fmla="*/ 211 h 346"/>
              <a:gd name="T52" fmla="*/ 26 w 346"/>
              <a:gd name="T53" fmla="*/ 271 h 346"/>
              <a:gd name="T54" fmla="*/ 50 w 346"/>
              <a:gd name="T55" fmla="*/ 261 h 346"/>
              <a:gd name="T56" fmla="*/ 88 w 346"/>
              <a:gd name="T57" fmla="*/ 298 h 346"/>
              <a:gd name="T58" fmla="*/ 78 w 346"/>
              <a:gd name="T59" fmla="*/ 322 h 346"/>
              <a:gd name="T60" fmla="*/ 138 w 346"/>
              <a:gd name="T61" fmla="*/ 346 h 346"/>
              <a:gd name="T62" fmla="*/ 148 w 346"/>
              <a:gd name="T63" fmla="*/ 322 h 346"/>
              <a:gd name="T64" fmla="*/ 173 w 346"/>
              <a:gd name="T65" fmla="*/ 324 h 346"/>
              <a:gd name="T66" fmla="*/ 173 w 346"/>
              <a:gd name="T67" fmla="*/ 301 h 346"/>
              <a:gd name="T68" fmla="*/ 55 w 346"/>
              <a:gd name="T69" fmla="*/ 223 h 346"/>
              <a:gd name="T70" fmla="*/ 123 w 346"/>
              <a:gd name="T71" fmla="*/ 55 h 346"/>
              <a:gd name="T72" fmla="*/ 123 w 346"/>
              <a:gd name="T73" fmla="*/ 55 h 346"/>
              <a:gd name="T74" fmla="*/ 173 w 346"/>
              <a:gd name="T75" fmla="*/ 45 h 346"/>
              <a:gd name="T76" fmla="*/ 173 w 346"/>
              <a:gd name="T77" fmla="*/ 45 h 346"/>
              <a:gd name="T78" fmla="*/ 173 w 346"/>
              <a:gd name="T79" fmla="*/ 22 h 346"/>
              <a:gd name="T80" fmla="*/ 145 w 346"/>
              <a:gd name="T81" fmla="*/ 25 h 346"/>
              <a:gd name="T82" fmla="*/ 135 w 346"/>
              <a:gd name="T83" fmla="*/ 1 h 346"/>
              <a:gd name="T84" fmla="*/ 75 w 346"/>
              <a:gd name="T85" fmla="*/ 26 h 346"/>
              <a:gd name="T86" fmla="*/ 85 w 346"/>
              <a:gd name="T87" fmla="*/ 50 h 346"/>
              <a:gd name="T88" fmla="*/ 48 w 346"/>
              <a:gd name="T89" fmla="*/ 88 h 346"/>
              <a:gd name="T90" fmla="*/ 24 w 346"/>
              <a:gd name="T91" fmla="*/ 78 h 346"/>
              <a:gd name="T92" fmla="*/ 0 w 346"/>
              <a:gd name="T93" fmla="*/ 138 h 346"/>
              <a:gd name="T94" fmla="*/ 24 w 346"/>
              <a:gd name="T95" fmla="*/ 148 h 346"/>
              <a:gd name="T96" fmla="*/ 25 w 346"/>
              <a:gd name="T97" fmla="*/ 20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6" h="346">
                <a:moveTo>
                  <a:pt x="173" y="324"/>
                </a:moveTo>
                <a:cubicBezTo>
                  <a:pt x="182" y="324"/>
                  <a:pt x="192" y="323"/>
                  <a:pt x="201" y="321"/>
                </a:cubicBezTo>
                <a:cubicBezTo>
                  <a:pt x="211" y="345"/>
                  <a:pt x="211" y="345"/>
                  <a:pt x="211" y="345"/>
                </a:cubicBezTo>
                <a:cubicBezTo>
                  <a:pt x="271" y="320"/>
                  <a:pt x="271" y="320"/>
                  <a:pt x="271" y="320"/>
                </a:cubicBezTo>
                <a:cubicBezTo>
                  <a:pt x="260" y="296"/>
                  <a:pt x="260" y="296"/>
                  <a:pt x="260" y="296"/>
                </a:cubicBezTo>
                <a:cubicBezTo>
                  <a:pt x="275" y="286"/>
                  <a:pt x="287" y="273"/>
                  <a:pt x="298" y="258"/>
                </a:cubicBezTo>
                <a:cubicBezTo>
                  <a:pt x="322" y="268"/>
                  <a:pt x="322" y="268"/>
                  <a:pt x="322" y="268"/>
                </a:cubicBezTo>
                <a:cubicBezTo>
                  <a:pt x="346" y="208"/>
                  <a:pt x="346" y="208"/>
                  <a:pt x="346" y="208"/>
                </a:cubicBezTo>
                <a:cubicBezTo>
                  <a:pt x="322" y="198"/>
                  <a:pt x="322" y="198"/>
                  <a:pt x="322" y="198"/>
                </a:cubicBezTo>
                <a:cubicBezTo>
                  <a:pt x="325" y="180"/>
                  <a:pt x="324" y="163"/>
                  <a:pt x="321" y="145"/>
                </a:cubicBezTo>
                <a:cubicBezTo>
                  <a:pt x="345" y="135"/>
                  <a:pt x="345" y="135"/>
                  <a:pt x="345" y="135"/>
                </a:cubicBezTo>
                <a:cubicBezTo>
                  <a:pt x="320" y="75"/>
                  <a:pt x="320" y="75"/>
                  <a:pt x="320" y="75"/>
                </a:cubicBezTo>
                <a:cubicBezTo>
                  <a:pt x="296" y="85"/>
                  <a:pt x="296" y="85"/>
                  <a:pt x="296" y="85"/>
                </a:cubicBezTo>
                <a:cubicBezTo>
                  <a:pt x="285" y="71"/>
                  <a:pt x="273" y="58"/>
                  <a:pt x="258" y="48"/>
                </a:cubicBezTo>
                <a:cubicBezTo>
                  <a:pt x="268" y="24"/>
                  <a:pt x="268" y="24"/>
                  <a:pt x="268" y="24"/>
                </a:cubicBezTo>
                <a:cubicBezTo>
                  <a:pt x="208" y="0"/>
                  <a:pt x="208" y="0"/>
                  <a:pt x="208" y="0"/>
                </a:cubicBezTo>
                <a:cubicBezTo>
                  <a:pt x="198" y="24"/>
                  <a:pt x="198" y="24"/>
                  <a:pt x="198" y="24"/>
                </a:cubicBezTo>
                <a:cubicBezTo>
                  <a:pt x="190" y="23"/>
                  <a:pt x="181" y="22"/>
                  <a:pt x="173" y="22"/>
                </a:cubicBezTo>
                <a:cubicBezTo>
                  <a:pt x="173" y="45"/>
                  <a:pt x="173" y="45"/>
                  <a:pt x="173" y="45"/>
                </a:cubicBezTo>
                <a:cubicBezTo>
                  <a:pt x="224" y="45"/>
                  <a:pt x="271" y="75"/>
                  <a:pt x="291" y="123"/>
                </a:cubicBezTo>
                <a:cubicBezTo>
                  <a:pt x="318" y="188"/>
                  <a:pt x="288" y="263"/>
                  <a:pt x="223" y="291"/>
                </a:cubicBezTo>
                <a:cubicBezTo>
                  <a:pt x="207" y="298"/>
                  <a:pt x="190" y="301"/>
                  <a:pt x="173" y="301"/>
                </a:cubicBezTo>
                <a:cubicBezTo>
                  <a:pt x="173" y="301"/>
                  <a:pt x="173" y="301"/>
                  <a:pt x="173" y="301"/>
                </a:cubicBezTo>
                <a:lnTo>
                  <a:pt x="173" y="324"/>
                </a:lnTo>
                <a:close/>
                <a:moveTo>
                  <a:pt x="25" y="201"/>
                </a:moveTo>
                <a:cubicBezTo>
                  <a:pt x="0" y="211"/>
                  <a:pt x="0" y="211"/>
                  <a:pt x="0" y="211"/>
                </a:cubicBezTo>
                <a:cubicBezTo>
                  <a:pt x="26" y="271"/>
                  <a:pt x="26" y="271"/>
                  <a:pt x="26" y="271"/>
                </a:cubicBezTo>
                <a:cubicBezTo>
                  <a:pt x="50" y="261"/>
                  <a:pt x="50" y="261"/>
                  <a:pt x="50" y="261"/>
                </a:cubicBezTo>
                <a:cubicBezTo>
                  <a:pt x="60" y="275"/>
                  <a:pt x="73" y="288"/>
                  <a:pt x="88" y="298"/>
                </a:cubicBezTo>
                <a:cubicBezTo>
                  <a:pt x="78" y="322"/>
                  <a:pt x="78" y="322"/>
                  <a:pt x="78" y="322"/>
                </a:cubicBezTo>
                <a:cubicBezTo>
                  <a:pt x="138" y="346"/>
                  <a:pt x="138" y="346"/>
                  <a:pt x="138" y="346"/>
                </a:cubicBezTo>
                <a:cubicBezTo>
                  <a:pt x="148" y="322"/>
                  <a:pt x="148" y="322"/>
                  <a:pt x="148" y="322"/>
                </a:cubicBezTo>
                <a:cubicBezTo>
                  <a:pt x="156" y="323"/>
                  <a:pt x="164" y="324"/>
                  <a:pt x="173" y="324"/>
                </a:cubicBezTo>
                <a:cubicBezTo>
                  <a:pt x="173" y="301"/>
                  <a:pt x="173" y="301"/>
                  <a:pt x="173" y="301"/>
                </a:cubicBezTo>
                <a:cubicBezTo>
                  <a:pt x="121" y="301"/>
                  <a:pt x="75" y="271"/>
                  <a:pt x="55" y="223"/>
                </a:cubicBezTo>
                <a:cubicBezTo>
                  <a:pt x="27" y="158"/>
                  <a:pt x="58" y="83"/>
                  <a:pt x="123" y="55"/>
                </a:cubicBezTo>
                <a:cubicBezTo>
                  <a:pt x="123" y="55"/>
                  <a:pt x="123" y="55"/>
                  <a:pt x="123" y="55"/>
                </a:cubicBezTo>
                <a:cubicBezTo>
                  <a:pt x="139" y="48"/>
                  <a:pt x="155" y="45"/>
                  <a:pt x="173" y="45"/>
                </a:cubicBezTo>
                <a:cubicBezTo>
                  <a:pt x="173" y="45"/>
                  <a:pt x="173" y="45"/>
                  <a:pt x="173" y="45"/>
                </a:cubicBezTo>
                <a:cubicBezTo>
                  <a:pt x="173" y="22"/>
                  <a:pt x="173" y="22"/>
                  <a:pt x="173" y="22"/>
                </a:cubicBezTo>
                <a:cubicBezTo>
                  <a:pt x="163" y="22"/>
                  <a:pt x="154" y="23"/>
                  <a:pt x="145" y="25"/>
                </a:cubicBezTo>
                <a:cubicBezTo>
                  <a:pt x="135" y="1"/>
                  <a:pt x="135" y="1"/>
                  <a:pt x="135" y="1"/>
                </a:cubicBezTo>
                <a:cubicBezTo>
                  <a:pt x="75" y="26"/>
                  <a:pt x="75" y="26"/>
                  <a:pt x="75" y="26"/>
                </a:cubicBezTo>
                <a:cubicBezTo>
                  <a:pt x="85" y="50"/>
                  <a:pt x="85" y="50"/>
                  <a:pt x="85" y="50"/>
                </a:cubicBezTo>
                <a:cubicBezTo>
                  <a:pt x="71" y="60"/>
                  <a:pt x="58" y="73"/>
                  <a:pt x="48" y="88"/>
                </a:cubicBezTo>
                <a:cubicBezTo>
                  <a:pt x="24" y="78"/>
                  <a:pt x="24" y="78"/>
                  <a:pt x="24" y="78"/>
                </a:cubicBezTo>
                <a:cubicBezTo>
                  <a:pt x="0" y="138"/>
                  <a:pt x="0" y="138"/>
                  <a:pt x="0" y="138"/>
                </a:cubicBezTo>
                <a:cubicBezTo>
                  <a:pt x="24" y="148"/>
                  <a:pt x="24" y="148"/>
                  <a:pt x="24" y="148"/>
                </a:cubicBezTo>
                <a:cubicBezTo>
                  <a:pt x="21" y="166"/>
                  <a:pt x="21" y="183"/>
                  <a:pt x="25" y="201"/>
                </a:cubicBezTo>
                <a:close/>
              </a:path>
            </a:pathLst>
          </a:custGeom>
          <a:solidFill>
            <a:schemeClr val="accent2"/>
          </a:solidFill>
          <a:ln>
            <a:noFill/>
          </a:ln>
        </p:spPr>
        <p:txBody>
          <a:bodyPr vert="horz" wrap="square" lIns="0" tIns="0" rIns="0" bIns="0" numCol="1" anchor="t" anchorCtr="0" compatLnSpc="1">
            <a:prstTxWarp prst="textNoShape">
              <a:avLst/>
            </a:prstTxWarp>
          </a:bodyPr>
          <a:lstStyle/>
          <a:p>
            <a:pPr algn="just">
              <a:lnSpc>
                <a:spcPct val="120000"/>
              </a:lnSpc>
            </a:pPr>
            <a:endParaRPr lang="en-US" sz="800" dirty="0">
              <a:solidFill>
                <a:schemeClr val="bg1">
                  <a:lumMod val="65000"/>
                </a:schemeClr>
              </a:solidFill>
              <a:cs typeface="+mn-ea"/>
              <a:sym typeface="Arial" panose="020B0604020202020204" pitchFamily="34" charset="0"/>
            </a:endParaRPr>
          </a:p>
        </p:txBody>
      </p:sp>
      <p:sp>
        <p:nvSpPr>
          <p:cNvPr id="101" name="Freeform 52"/>
          <p:cNvSpPr>
            <a:spLocks noEditPoints="1"/>
          </p:cNvSpPr>
          <p:nvPr/>
        </p:nvSpPr>
        <p:spPr bwMode="auto">
          <a:xfrm>
            <a:off x="5041381" y="3891958"/>
            <a:ext cx="553878" cy="553909"/>
          </a:xfrm>
          <a:custGeom>
            <a:avLst/>
            <a:gdLst>
              <a:gd name="T0" fmla="*/ 173 w 346"/>
              <a:gd name="T1" fmla="*/ 324 h 346"/>
              <a:gd name="T2" fmla="*/ 201 w 346"/>
              <a:gd name="T3" fmla="*/ 321 h 346"/>
              <a:gd name="T4" fmla="*/ 211 w 346"/>
              <a:gd name="T5" fmla="*/ 345 h 346"/>
              <a:gd name="T6" fmla="*/ 271 w 346"/>
              <a:gd name="T7" fmla="*/ 320 h 346"/>
              <a:gd name="T8" fmla="*/ 260 w 346"/>
              <a:gd name="T9" fmla="*/ 296 h 346"/>
              <a:gd name="T10" fmla="*/ 298 w 346"/>
              <a:gd name="T11" fmla="*/ 258 h 346"/>
              <a:gd name="T12" fmla="*/ 322 w 346"/>
              <a:gd name="T13" fmla="*/ 268 h 346"/>
              <a:gd name="T14" fmla="*/ 346 w 346"/>
              <a:gd name="T15" fmla="*/ 208 h 346"/>
              <a:gd name="T16" fmla="*/ 322 w 346"/>
              <a:gd name="T17" fmla="*/ 198 h 346"/>
              <a:gd name="T18" fmla="*/ 321 w 346"/>
              <a:gd name="T19" fmla="*/ 145 h 346"/>
              <a:gd name="T20" fmla="*/ 345 w 346"/>
              <a:gd name="T21" fmla="*/ 135 h 346"/>
              <a:gd name="T22" fmla="*/ 320 w 346"/>
              <a:gd name="T23" fmla="*/ 75 h 346"/>
              <a:gd name="T24" fmla="*/ 296 w 346"/>
              <a:gd name="T25" fmla="*/ 85 h 346"/>
              <a:gd name="T26" fmla="*/ 258 w 346"/>
              <a:gd name="T27" fmla="*/ 48 h 346"/>
              <a:gd name="T28" fmla="*/ 268 w 346"/>
              <a:gd name="T29" fmla="*/ 24 h 346"/>
              <a:gd name="T30" fmla="*/ 208 w 346"/>
              <a:gd name="T31" fmla="*/ 0 h 346"/>
              <a:gd name="T32" fmla="*/ 198 w 346"/>
              <a:gd name="T33" fmla="*/ 24 h 346"/>
              <a:gd name="T34" fmla="*/ 173 w 346"/>
              <a:gd name="T35" fmla="*/ 22 h 346"/>
              <a:gd name="T36" fmla="*/ 173 w 346"/>
              <a:gd name="T37" fmla="*/ 45 h 346"/>
              <a:gd name="T38" fmla="*/ 291 w 346"/>
              <a:gd name="T39" fmla="*/ 123 h 346"/>
              <a:gd name="T40" fmla="*/ 223 w 346"/>
              <a:gd name="T41" fmla="*/ 291 h 346"/>
              <a:gd name="T42" fmla="*/ 173 w 346"/>
              <a:gd name="T43" fmla="*/ 301 h 346"/>
              <a:gd name="T44" fmla="*/ 173 w 346"/>
              <a:gd name="T45" fmla="*/ 301 h 346"/>
              <a:gd name="T46" fmla="*/ 173 w 346"/>
              <a:gd name="T47" fmla="*/ 324 h 346"/>
              <a:gd name="T48" fmla="*/ 25 w 346"/>
              <a:gd name="T49" fmla="*/ 201 h 346"/>
              <a:gd name="T50" fmla="*/ 0 w 346"/>
              <a:gd name="T51" fmla="*/ 211 h 346"/>
              <a:gd name="T52" fmla="*/ 26 w 346"/>
              <a:gd name="T53" fmla="*/ 271 h 346"/>
              <a:gd name="T54" fmla="*/ 50 w 346"/>
              <a:gd name="T55" fmla="*/ 261 h 346"/>
              <a:gd name="T56" fmla="*/ 88 w 346"/>
              <a:gd name="T57" fmla="*/ 298 h 346"/>
              <a:gd name="T58" fmla="*/ 78 w 346"/>
              <a:gd name="T59" fmla="*/ 322 h 346"/>
              <a:gd name="T60" fmla="*/ 138 w 346"/>
              <a:gd name="T61" fmla="*/ 346 h 346"/>
              <a:gd name="T62" fmla="*/ 148 w 346"/>
              <a:gd name="T63" fmla="*/ 322 h 346"/>
              <a:gd name="T64" fmla="*/ 173 w 346"/>
              <a:gd name="T65" fmla="*/ 324 h 346"/>
              <a:gd name="T66" fmla="*/ 173 w 346"/>
              <a:gd name="T67" fmla="*/ 301 h 346"/>
              <a:gd name="T68" fmla="*/ 55 w 346"/>
              <a:gd name="T69" fmla="*/ 223 h 346"/>
              <a:gd name="T70" fmla="*/ 123 w 346"/>
              <a:gd name="T71" fmla="*/ 55 h 346"/>
              <a:gd name="T72" fmla="*/ 123 w 346"/>
              <a:gd name="T73" fmla="*/ 55 h 346"/>
              <a:gd name="T74" fmla="*/ 173 w 346"/>
              <a:gd name="T75" fmla="*/ 45 h 346"/>
              <a:gd name="T76" fmla="*/ 173 w 346"/>
              <a:gd name="T77" fmla="*/ 45 h 346"/>
              <a:gd name="T78" fmla="*/ 173 w 346"/>
              <a:gd name="T79" fmla="*/ 22 h 346"/>
              <a:gd name="T80" fmla="*/ 145 w 346"/>
              <a:gd name="T81" fmla="*/ 25 h 346"/>
              <a:gd name="T82" fmla="*/ 135 w 346"/>
              <a:gd name="T83" fmla="*/ 1 h 346"/>
              <a:gd name="T84" fmla="*/ 75 w 346"/>
              <a:gd name="T85" fmla="*/ 26 h 346"/>
              <a:gd name="T86" fmla="*/ 85 w 346"/>
              <a:gd name="T87" fmla="*/ 50 h 346"/>
              <a:gd name="T88" fmla="*/ 48 w 346"/>
              <a:gd name="T89" fmla="*/ 88 h 346"/>
              <a:gd name="T90" fmla="*/ 24 w 346"/>
              <a:gd name="T91" fmla="*/ 78 h 346"/>
              <a:gd name="T92" fmla="*/ 0 w 346"/>
              <a:gd name="T93" fmla="*/ 138 h 346"/>
              <a:gd name="T94" fmla="*/ 24 w 346"/>
              <a:gd name="T95" fmla="*/ 148 h 346"/>
              <a:gd name="T96" fmla="*/ 25 w 346"/>
              <a:gd name="T97" fmla="*/ 20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6" h="346">
                <a:moveTo>
                  <a:pt x="173" y="324"/>
                </a:moveTo>
                <a:cubicBezTo>
                  <a:pt x="182" y="324"/>
                  <a:pt x="192" y="323"/>
                  <a:pt x="201" y="321"/>
                </a:cubicBezTo>
                <a:cubicBezTo>
                  <a:pt x="211" y="345"/>
                  <a:pt x="211" y="345"/>
                  <a:pt x="211" y="345"/>
                </a:cubicBezTo>
                <a:cubicBezTo>
                  <a:pt x="271" y="320"/>
                  <a:pt x="271" y="320"/>
                  <a:pt x="271" y="320"/>
                </a:cubicBezTo>
                <a:cubicBezTo>
                  <a:pt x="260" y="296"/>
                  <a:pt x="260" y="296"/>
                  <a:pt x="260" y="296"/>
                </a:cubicBezTo>
                <a:cubicBezTo>
                  <a:pt x="275" y="286"/>
                  <a:pt x="287" y="273"/>
                  <a:pt x="298" y="258"/>
                </a:cubicBezTo>
                <a:cubicBezTo>
                  <a:pt x="322" y="268"/>
                  <a:pt x="322" y="268"/>
                  <a:pt x="322" y="268"/>
                </a:cubicBezTo>
                <a:cubicBezTo>
                  <a:pt x="346" y="208"/>
                  <a:pt x="346" y="208"/>
                  <a:pt x="346" y="208"/>
                </a:cubicBezTo>
                <a:cubicBezTo>
                  <a:pt x="322" y="198"/>
                  <a:pt x="322" y="198"/>
                  <a:pt x="322" y="198"/>
                </a:cubicBezTo>
                <a:cubicBezTo>
                  <a:pt x="325" y="180"/>
                  <a:pt x="324" y="163"/>
                  <a:pt x="321" y="145"/>
                </a:cubicBezTo>
                <a:cubicBezTo>
                  <a:pt x="345" y="135"/>
                  <a:pt x="345" y="135"/>
                  <a:pt x="345" y="135"/>
                </a:cubicBezTo>
                <a:cubicBezTo>
                  <a:pt x="320" y="75"/>
                  <a:pt x="320" y="75"/>
                  <a:pt x="320" y="75"/>
                </a:cubicBezTo>
                <a:cubicBezTo>
                  <a:pt x="296" y="85"/>
                  <a:pt x="296" y="85"/>
                  <a:pt x="296" y="85"/>
                </a:cubicBezTo>
                <a:cubicBezTo>
                  <a:pt x="285" y="71"/>
                  <a:pt x="273" y="58"/>
                  <a:pt x="258" y="48"/>
                </a:cubicBezTo>
                <a:cubicBezTo>
                  <a:pt x="268" y="24"/>
                  <a:pt x="268" y="24"/>
                  <a:pt x="268" y="24"/>
                </a:cubicBezTo>
                <a:cubicBezTo>
                  <a:pt x="208" y="0"/>
                  <a:pt x="208" y="0"/>
                  <a:pt x="208" y="0"/>
                </a:cubicBezTo>
                <a:cubicBezTo>
                  <a:pt x="198" y="24"/>
                  <a:pt x="198" y="24"/>
                  <a:pt x="198" y="24"/>
                </a:cubicBezTo>
                <a:cubicBezTo>
                  <a:pt x="190" y="23"/>
                  <a:pt x="181" y="22"/>
                  <a:pt x="173" y="22"/>
                </a:cubicBezTo>
                <a:cubicBezTo>
                  <a:pt x="173" y="45"/>
                  <a:pt x="173" y="45"/>
                  <a:pt x="173" y="45"/>
                </a:cubicBezTo>
                <a:cubicBezTo>
                  <a:pt x="224" y="45"/>
                  <a:pt x="271" y="75"/>
                  <a:pt x="291" y="123"/>
                </a:cubicBezTo>
                <a:cubicBezTo>
                  <a:pt x="318" y="188"/>
                  <a:pt x="288" y="263"/>
                  <a:pt x="223" y="291"/>
                </a:cubicBezTo>
                <a:cubicBezTo>
                  <a:pt x="207" y="298"/>
                  <a:pt x="190" y="301"/>
                  <a:pt x="173" y="301"/>
                </a:cubicBezTo>
                <a:cubicBezTo>
                  <a:pt x="173" y="301"/>
                  <a:pt x="173" y="301"/>
                  <a:pt x="173" y="301"/>
                </a:cubicBezTo>
                <a:lnTo>
                  <a:pt x="173" y="324"/>
                </a:lnTo>
                <a:close/>
                <a:moveTo>
                  <a:pt x="25" y="201"/>
                </a:moveTo>
                <a:cubicBezTo>
                  <a:pt x="0" y="211"/>
                  <a:pt x="0" y="211"/>
                  <a:pt x="0" y="211"/>
                </a:cubicBezTo>
                <a:cubicBezTo>
                  <a:pt x="26" y="271"/>
                  <a:pt x="26" y="271"/>
                  <a:pt x="26" y="271"/>
                </a:cubicBezTo>
                <a:cubicBezTo>
                  <a:pt x="50" y="261"/>
                  <a:pt x="50" y="261"/>
                  <a:pt x="50" y="261"/>
                </a:cubicBezTo>
                <a:cubicBezTo>
                  <a:pt x="60" y="275"/>
                  <a:pt x="73" y="288"/>
                  <a:pt x="88" y="298"/>
                </a:cubicBezTo>
                <a:cubicBezTo>
                  <a:pt x="78" y="322"/>
                  <a:pt x="78" y="322"/>
                  <a:pt x="78" y="322"/>
                </a:cubicBezTo>
                <a:cubicBezTo>
                  <a:pt x="138" y="346"/>
                  <a:pt x="138" y="346"/>
                  <a:pt x="138" y="346"/>
                </a:cubicBezTo>
                <a:cubicBezTo>
                  <a:pt x="148" y="322"/>
                  <a:pt x="148" y="322"/>
                  <a:pt x="148" y="322"/>
                </a:cubicBezTo>
                <a:cubicBezTo>
                  <a:pt x="156" y="323"/>
                  <a:pt x="164" y="324"/>
                  <a:pt x="173" y="324"/>
                </a:cubicBezTo>
                <a:cubicBezTo>
                  <a:pt x="173" y="301"/>
                  <a:pt x="173" y="301"/>
                  <a:pt x="173" y="301"/>
                </a:cubicBezTo>
                <a:cubicBezTo>
                  <a:pt x="121" y="301"/>
                  <a:pt x="75" y="271"/>
                  <a:pt x="55" y="223"/>
                </a:cubicBezTo>
                <a:cubicBezTo>
                  <a:pt x="27" y="158"/>
                  <a:pt x="58" y="83"/>
                  <a:pt x="123" y="55"/>
                </a:cubicBezTo>
                <a:cubicBezTo>
                  <a:pt x="123" y="55"/>
                  <a:pt x="123" y="55"/>
                  <a:pt x="123" y="55"/>
                </a:cubicBezTo>
                <a:cubicBezTo>
                  <a:pt x="139" y="48"/>
                  <a:pt x="155" y="45"/>
                  <a:pt x="173" y="45"/>
                </a:cubicBezTo>
                <a:cubicBezTo>
                  <a:pt x="173" y="45"/>
                  <a:pt x="173" y="45"/>
                  <a:pt x="173" y="45"/>
                </a:cubicBezTo>
                <a:cubicBezTo>
                  <a:pt x="173" y="22"/>
                  <a:pt x="173" y="22"/>
                  <a:pt x="173" y="22"/>
                </a:cubicBezTo>
                <a:cubicBezTo>
                  <a:pt x="163" y="22"/>
                  <a:pt x="154" y="23"/>
                  <a:pt x="145" y="25"/>
                </a:cubicBezTo>
                <a:cubicBezTo>
                  <a:pt x="135" y="1"/>
                  <a:pt x="135" y="1"/>
                  <a:pt x="135" y="1"/>
                </a:cubicBezTo>
                <a:cubicBezTo>
                  <a:pt x="75" y="26"/>
                  <a:pt x="75" y="26"/>
                  <a:pt x="75" y="26"/>
                </a:cubicBezTo>
                <a:cubicBezTo>
                  <a:pt x="85" y="50"/>
                  <a:pt x="85" y="50"/>
                  <a:pt x="85" y="50"/>
                </a:cubicBezTo>
                <a:cubicBezTo>
                  <a:pt x="71" y="60"/>
                  <a:pt x="58" y="73"/>
                  <a:pt x="48" y="88"/>
                </a:cubicBezTo>
                <a:cubicBezTo>
                  <a:pt x="24" y="78"/>
                  <a:pt x="24" y="78"/>
                  <a:pt x="24" y="78"/>
                </a:cubicBezTo>
                <a:cubicBezTo>
                  <a:pt x="0" y="138"/>
                  <a:pt x="0" y="138"/>
                  <a:pt x="0" y="138"/>
                </a:cubicBezTo>
                <a:cubicBezTo>
                  <a:pt x="24" y="148"/>
                  <a:pt x="24" y="148"/>
                  <a:pt x="24" y="148"/>
                </a:cubicBezTo>
                <a:cubicBezTo>
                  <a:pt x="21" y="166"/>
                  <a:pt x="21" y="183"/>
                  <a:pt x="25" y="201"/>
                </a:cubicBezTo>
                <a:close/>
              </a:path>
            </a:pathLst>
          </a:custGeom>
          <a:solidFill>
            <a:schemeClr val="accent1"/>
          </a:solidFill>
          <a:ln>
            <a:noFill/>
          </a:ln>
        </p:spPr>
        <p:txBody>
          <a:bodyPr vert="horz" wrap="square" lIns="0" tIns="0" rIns="0" bIns="0" numCol="1" anchor="t" anchorCtr="0" compatLnSpc="1">
            <a:prstTxWarp prst="textNoShape">
              <a:avLst/>
            </a:prstTxWarp>
          </a:bodyPr>
          <a:lstStyle/>
          <a:p>
            <a:pPr algn="just">
              <a:lnSpc>
                <a:spcPct val="120000"/>
              </a:lnSpc>
            </a:pPr>
            <a:endParaRPr lang="en-US" sz="800" dirty="0">
              <a:solidFill>
                <a:schemeClr val="bg1">
                  <a:lumMod val="65000"/>
                </a:schemeClr>
              </a:solidFill>
              <a:cs typeface="+mn-ea"/>
              <a:sym typeface="Arial" panose="020B0604020202020204" pitchFamily="34" charset="0"/>
            </a:endParaRPr>
          </a:p>
        </p:txBody>
      </p:sp>
      <p:grpSp>
        <p:nvGrpSpPr>
          <p:cNvPr id="103" name="Group 606"/>
          <p:cNvGrpSpPr>
            <a:grpSpLocks noChangeAspect="1"/>
          </p:cNvGrpSpPr>
          <p:nvPr/>
        </p:nvGrpSpPr>
        <p:grpSpPr bwMode="auto">
          <a:xfrm>
            <a:off x="5133482" y="3984071"/>
            <a:ext cx="369676" cy="369676"/>
            <a:chOff x="6986" y="2266"/>
            <a:chExt cx="340" cy="340"/>
          </a:xfrm>
          <a:solidFill>
            <a:schemeClr val="accent1"/>
          </a:solidFill>
        </p:grpSpPr>
        <p:sp>
          <p:nvSpPr>
            <p:cNvPr id="104" name="Freeform 607"/>
            <p:cNvSpPr>
              <a:spLocks noEditPoints="1"/>
            </p:cNvSpPr>
            <p:nvPr/>
          </p:nvSpPr>
          <p:spPr bwMode="auto">
            <a:xfrm>
              <a:off x="6986" y="226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256 h 512"/>
                <a:gd name="T20" fmla="*/ 149 w 512"/>
                <a:gd name="T21" fmla="*/ 245 h 512"/>
                <a:gd name="T22" fmla="*/ 160 w 512"/>
                <a:gd name="T23" fmla="*/ 245 h 512"/>
                <a:gd name="T24" fmla="*/ 160 w 512"/>
                <a:gd name="T25" fmla="*/ 192 h 512"/>
                <a:gd name="T26" fmla="*/ 256 w 512"/>
                <a:gd name="T27" fmla="*/ 96 h 512"/>
                <a:gd name="T28" fmla="*/ 352 w 512"/>
                <a:gd name="T29" fmla="*/ 192 h 512"/>
                <a:gd name="T30" fmla="*/ 352 w 512"/>
                <a:gd name="T31" fmla="*/ 202 h 512"/>
                <a:gd name="T32" fmla="*/ 341 w 512"/>
                <a:gd name="T33" fmla="*/ 213 h 512"/>
                <a:gd name="T34" fmla="*/ 330 w 512"/>
                <a:gd name="T35" fmla="*/ 202 h 512"/>
                <a:gd name="T36" fmla="*/ 330 w 512"/>
                <a:gd name="T37" fmla="*/ 192 h 512"/>
                <a:gd name="T38" fmla="*/ 256 w 512"/>
                <a:gd name="T39" fmla="*/ 117 h 512"/>
                <a:gd name="T40" fmla="*/ 181 w 512"/>
                <a:gd name="T41" fmla="*/ 192 h 512"/>
                <a:gd name="T42" fmla="*/ 181 w 512"/>
                <a:gd name="T43" fmla="*/ 245 h 512"/>
                <a:gd name="T44" fmla="*/ 362 w 512"/>
                <a:gd name="T45" fmla="*/ 245 h 512"/>
                <a:gd name="T46" fmla="*/ 373 w 512"/>
                <a:gd name="T47" fmla="*/ 256 h 512"/>
                <a:gd name="T48" fmla="*/ 373 w 512"/>
                <a:gd name="T4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256"/>
                    <a:pt x="138" y="256"/>
                    <a:pt x="138" y="256"/>
                  </a:cubicBezTo>
                  <a:cubicBezTo>
                    <a:pt x="138" y="250"/>
                    <a:pt x="143" y="245"/>
                    <a:pt x="149" y="245"/>
                  </a:cubicBezTo>
                  <a:cubicBezTo>
                    <a:pt x="160" y="245"/>
                    <a:pt x="160" y="245"/>
                    <a:pt x="160" y="245"/>
                  </a:cubicBezTo>
                  <a:cubicBezTo>
                    <a:pt x="160" y="192"/>
                    <a:pt x="160" y="192"/>
                    <a:pt x="160" y="192"/>
                  </a:cubicBezTo>
                  <a:cubicBezTo>
                    <a:pt x="160" y="139"/>
                    <a:pt x="203" y="96"/>
                    <a:pt x="256" y="96"/>
                  </a:cubicBezTo>
                  <a:cubicBezTo>
                    <a:pt x="309" y="96"/>
                    <a:pt x="352" y="139"/>
                    <a:pt x="352" y="192"/>
                  </a:cubicBezTo>
                  <a:cubicBezTo>
                    <a:pt x="352" y="202"/>
                    <a:pt x="352" y="202"/>
                    <a:pt x="352" y="202"/>
                  </a:cubicBezTo>
                  <a:cubicBezTo>
                    <a:pt x="352" y="208"/>
                    <a:pt x="347" y="213"/>
                    <a:pt x="341" y="213"/>
                  </a:cubicBezTo>
                  <a:cubicBezTo>
                    <a:pt x="335" y="213"/>
                    <a:pt x="330" y="208"/>
                    <a:pt x="330" y="202"/>
                  </a:cubicBezTo>
                  <a:cubicBezTo>
                    <a:pt x="330" y="192"/>
                    <a:pt x="330" y="192"/>
                    <a:pt x="330" y="192"/>
                  </a:cubicBezTo>
                  <a:cubicBezTo>
                    <a:pt x="330" y="150"/>
                    <a:pt x="297" y="117"/>
                    <a:pt x="256" y="117"/>
                  </a:cubicBezTo>
                  <a:cubicBezTo>
                    <a:pt x="214" y="117"/>
                    <a:pt x="181" y="150"/>
                    <a:pt x="181" y="192"/>
                  </a:cubicBezTo>
                  <a:cubicBezTo>
                    <a:pt x="181" y="245"/>
                    <a:pt x="181" y="245"/>
                    <a:pt x="181" y="245"/>
                  </a:cubicBezTo>
                  <a:cubicBezTo>
                    <a:pt x="362" y="245"/>
                    <a:pt x="362" y="245"/>
                    <a:pt x="362" y="245"/>
                  </a:cubicBezTo>
                  <a:cubicBezTo>
                    <a:pt x="368" y="245"/>
                    <a:pt x="373" y="250"/>
                    <a:pt x="373" y="256"/>
                  </a:cubicBezTo>
                  <a:lnTo>
                    <a:pt x="373" y="405"/>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05" name="Rectangle 608"/>
            <p:cNvSpPr>
              <a:spLocks noChangeArrowheads="1"/>
            </p:cNvSpPr>
            <p:nvPr/>
          </p:nvSpPr>
          <p:spPr bwMode="auto">
            <a:xfrm>
              <a:off x="7092" y="2443"/>
              <a:ext cx="128" cy="85"/>
            </a:xfrm>
            <a:prstGeom prst="rect">
              <a:avLst/>
            </a:prstGeom>
            <a:grpFill/>
            <a:ln>
              <a:noFill/>
            </a:ln>
            <a:extLst>
              <a:ext uri="{91240B29-F687-4f45-9708-019B960494DF}">
                <a14:hiddenLine xmlns:a14="http://schemas.microsoft.com/office/drawing/2010/main" xmlns:p14="http://schemas.microsoft.com/office/powerpoint/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grpSp>
      <p:grpSp>
        <p:nvGrpSpPr>
          <p:cNvPr id="106" name="Group 238"/>
          <p:cNvGrpSpPr>
            <a:grpSpLocks noChangeAspect="1"/>
          </p:cNvGrpSpPr>
          <p:nvPr/>
        </p:nvGrpSpPr>
        <p:grpSpPr bwMode="auto">
          <a:xfrm>
            <a:off x="5135038" y="5126908"/>
            <a:ext cx="368120" cy="367041"/>
            <a:chOff x="3875" y="720"/>
            <a:chExt cx="341" cy="340"/>
          </a:xfrm>
          <a:solidFill>
            <a:schemeClr val="accent3"/>
          </a:solidFill>
        </p:grpSpPr>
        <p:sp>
          <p:nvSpPr>
            <p:cNvPr id="107"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08"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grpSp>
      <p:sp>
        <p:nvSpPr>
          <p:cNvPr id="109" name="Freeform 395"/>
          <p:cNvSpPr>
            <a:spLocks noChangeAspect="1" noEditPoints="1"/>
          </p:cNvSpPr>
          <p:nvPr/>
        </p:nvSpPr>
        <p:spPr bwMode="auto">
          <a:xfrm>
            <a:off x="8110834" y="3984071"/>
            <a:ext cx="367631" cy="367631"/>
          </a:xfrm>
          <a:custGeom>
            <a:avLst/>
            <a:gdLst>
              <a:gd name="T0" fmla="*/ 245 w 512"/>
              <a:gd name="T1" fmla="*/ 192 h 512"/>
              <a:gd name="T2" fmla="*/ 224 w 512"/>
              <a:gd name="T3" fmla="*/ 213 h 512"/>
              <a:gd name="T4" fmla="*/ 266 w 512"/>
              <a:gd name="T5" fmla="*/ 320 h 512"/>
              <a:gd name="T6" fmla="*/ 288 w 512"/>
              <a:gd name="T7" fmla="*/ 298 h 512"/>
              <a:gd name="T8" fmla="*/ 266 w 512"/>
              <a:gd name="T9" fmla="*/ 320 h 512"/>
              <a:gd name="T10" fmla="*/ 256 w 512"/>
              <a:gd name="T11" fmla="*/ 512 h 512"/>
              <a:gd name="T12" fmla="*/ 256 w 512"/>
              <a:gd name="T13" fmla="*/ 0 h 512"/>
              <a:gd name="T14" fmla="*/ 181 w 512"/>
              <a:gd name="T15" fmla="*/ 181 h 512"/>
              <a:gd name="T16" fmla="*/ 139 w 512"/>
              <a:gd name="T17" fmla="*/ 170 h 512"/>
              <a:gd name="T18" fmla="*/ 181 w 512"/>
              <a:gd name="T19" fmla="*/ 126 h 512"/>
              <a:gd name="T20" fmla="*/ 117 w 512"/>
              <a:gd name="T21" fmla="*/ 181 h 512"/>
              <a:gd name="T22" fmla="*/ 128 w 512"/>
              <a:gd name="T23" fmla="*/ 234 h 512"/>
              <a:gd name="T24" fmla="*/ 181 w 512"/>
              <a:gd name="T25" fmla="*/ 224 h 512"/>
              <a:gd name="T26" fmla="*/ 213 w 512"/>
              <a:gd name="T27" fmla="*/ 234 h 512"/>
              <a:gd name="T28" fmla="*/ 266 w 512"/>
              <a:gd name="T29" fmla="*/ 224 h 512"/>
              <a:gd name="T30" fmla="*/ 256 w 512"/>
              <a:gd name="T31" fmla="*/ 170 h 512"/>
              <a:gd name="T32" fmla="*/ 257 w 512"/>
              <a:gd name="T33" fmla="*/ 138 h 512"/>
              <a:gd name="T34" fmla="*/ 254 w 512"/>
              <a:gd name="T35" fmla="*/ 117 h 512"/>
              <a:gd name="T36" fmla="*/ 202 w 512"/>
              <a:gd name="T37" fmla="*/ 224 h 512"/>
              <a:gd name="T38" fmla="*/ 309 w 512"/>
              <a:gd name="T39" fmla="*/ 288 h 512"/>
              <a:gd name="T40" fmla="*/ 256 w 512"/>
              <a:gd name="T41" fmla="*/ 277 h 512"/>
              <a:gd name="T42" fmla="*/ 245 w 512"/>
              <a:gd name="T43" fmla="*/ 330 h 512"/>
              <a:gd name="T44" fmla="*/ 287 w 512"/>
              <a:gd name="T45" fmla="*/ 341 h 512"/>
              <a:gd name="T46" fmla="*/ 245 w 512"/>
              <a:gd name="T47" fmla="*/ 385 h 512"/>
              <a:gd name="T48" fmla="*/ 257 w 512"/>
              <a:gd name="T49" fmla="*/ 394 h 512"/>
              <a:gd name="T50" fmla="*/ 309 w 512"/>
              <a:gd name="T51" fmla="*/ 288 h 512"/>
              <a:gd name="T52" fmla="*/ 384 w 512"/>
              <a:gd name="T53" fmla="*/ 277 h 512"/>
              <a:gd name="T54" fmla="*/ 330 w 512"/>
              <a:gd name="T55" fmla="*/ 288 h 512"/>
              <a:gd name="T56" fmla="*/ 341 w 512"/>
              <a:gd name="T57" fmla="*/ 341 h 512"/>
              <a:gd name="T58" fmla="*/ 340 w 512"/>
              <a:gd name="T59" fmla="*/ 373 h 512"/>
              <a:gd name="T60" fmla="*/ 341 w 512"/>
              <a:gd name="T61" fmla="*/ 394 h 512"/>
              <a:gd name="T62" fmla="*/ 394 w 512"/>
              <a:gd name="T63" fmla="*/ 330 h 512"/>
              <a:gd name="T64" fmla="*/ 138 w 512"/>
              <a:gd name="T65" fmla="*/ 213 h 512"/>
              <a:gd name="T66" fmla="*/ 160 w 512"/>
              <a:gd name="T67" fmla="*/ 192 h 512"/>
              <a:gd name="T68" fmla="*/ 138 w 512"/>
              <a:gd name="T69" fmla="*/ 213 h 512"/>
              <a:gd name="T70" fmla="*/ 373 w 512"/>
              <a:gd name="T71" fmla="*/ 320 h 512"/>
              <a:gd name="T72" fmla="*/ 352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24" y="192"/>
                </a:moveTo>
                <a:cubicBezTo>
                  <a:pt x="245" y="192"/>
                  <a:pt x="245" y="192"/>
                  <a:pt x="245" y="192"/>
                </a:cubicBezTo>
                <a:cubicBezTo>
                  <a:pt x="245" y="213"/>
                  <a:pt x="245" y="213"/>
                  <a:pt x="245" y="213"/>
                </a:cubicBezTo>
                <a:cubicBezTo>
                  <a:pt x="224" y="213"/>
                  <a:pt x="224" y="213"/>
                  <a:pt x="224" y="213"/>
                </a:cubicBezTo>
                <a:lnTo>
                  <a:pt x="224" y="192"/>
                </a:lnTo>
                <a:close/>
                <a:moveTo>
                  <a:pt x="266" y="320"/>
                </a:moveTo>
                <a:cubicBezTo>
                  <a:pt x="288" y="320"/>
                  <a:pt x="288" y="320"/>
                  <a:pt x="288" y="320"/>
                </a:cubicBezTo>
                <a:cubicBezTo>
                  <a:pt x="288" y="298"/>
                  <a:pt x="288" y="298"/>
                  <a:pt x="288" y="298"/>
                </a:cubicBezTo>
                <a:cubicBezTo>
                  <a:pt x="266" y="298"/>
                  <a:pt x="266" y="298"/>
                  <a:pt x="266" y="298"/>
                </a:cubicBezTo>
                <a:lnTo>
                  <a:pt x="266"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1" y="181"/>
                </a:moveTo>
                <a:cubicBezTo>
                  <a:pt x="181" y="175"/>
                  <a:pt x="176" y="170"/>
                  <a:pt x="170" y="170"/>
                </a:cubicBezTo>
                <a:cubicBezTo>
                  <a:pt x="139" y="170"/>
                  <a:pt x="139" y="170"/>
                  <a:pt x="139" y="170"/>
                </a:cubicBezTo>
                <a:cubicBezTo>
                  <a:pt x="144" y="143"/>
                  <a:pt x="168" y="139"/>
                  <a:pt x="172" y="138"/>
                </a:cubicBezTo>
                <a:cubicBezTo>
                  <a:pt x="177" y="138"/>
                  <a:pt x="182" y="132"/>
                  <a:pt x="181" y="126"/>
                </a:cubicBezTo>
                <a:cubicBezTo>
                  <a:pt x="180" y="121"/>
                  <a:pt x="175" y="117"/>
                  <a:pt x="169" y="117"/>
                </a:cubicBezTo>
                <a:cubicBezTo>
                  <a:pt x="151" y="119"/>
                  <a:pt x="117" y="135"/>
                  <a:pt x="117" y="181"/>
                </a:cubicBezTo>
                <a:cubicBezTo>
                  <a:pt x="117" y="224"/>
                  <a:pt x="117" y="224"/>
                  <a:pt x="117" y="224"/>
                </a:cubicBezTo>
                <a:cubicBezTo>
                  <a:pt x="117" y="230"/>
                  <a:pt x="122" y="234"/>
                  <a:pt x="128" y="234"/>
                </a:cubicBezTo>
                <a:cubicBezTo>
                  <a:pt x="170" y="234"/>
                  <a:pt x="170" y="234"/>
                  <a:pt x="170" y="234"/>
                </a:cubicBezTo>
                <a:cubicBezTo>
                  <a:pt x="176" y="234"/>
                  <a:pt x="181" y="230"/>
                  <a:pt x="181" y="224"/>
                </a:cubicBezTo>
                <a:lnTo>
                  <a:pt x="181" y="181"/>
                </a:lnTo>
                <a:close/>
                <a:moveTo>
                  <a:pt x="213" y="234"/>
                </a:moveTo>
                <a:cubicBezTo>
                  <a:pt x="256" y="234"/>
                  <a:pt x="256" y="234"/>
                  <a:pt x="256" y="234"/>
                </a:cubicBezTo>
                <a:cubicBezTo>
                  <a:pt x="262" y="234"/>
                  <a:pt x="266" y="230"/>
                  <a:pt x="266" y="224"/>
                </a:cubicBezTo>
                <a:cubicBezTo>
                  <a:pt x="266" y="181"/>
                  <a:pt x="266" y="181"/>
                  <a:pt x="266" y="181"/>
                </a:cubicBezTo>
                <a:cubicBezTo>
                  <a:pt x="266" y="175"/>
                  <a:pt x="262" y="170"/>
                  <a:pt x="256" y="170"/>
                </a:cubicBezTo>
                <a:cubicBezTo>
                  <a:pt x="225" y="170"/>
                  <a:pt x="225" y="170"/>
                  <a:pt x="225" y="170"/>
                </a:cubicBezTo>
                <a:cubicBezTo>
                  <a:pt x="230" y="143"/>
                  <a:pt x="254" y="139"/>
                  <a:pt x="257" y="138"/>
                </a:cubicBezTo>
                <a:cubicBezTo>
                  <a:pt x="263" y="138"/>
                  <a:pt x="267" y="132"/>
                  <a:pt x="266" y="126"/>
                </a:cubicBezTo>
                <a:cubicBezTo>
                  <a:pt x="266" y="121"/>
                  <a:pt x="260" y="117"/>
                  <a:pt x="254" y="117"/>
                </a:cubicBezTo>
                <a:cubicBezTo>
                  <a:pt x="236" y="119"/>
                  <a:pt x="202" y="135"/>
                  <a:pt x="202" y="181"/>
                </a:cubicBezTo>
                <a:cubicBezTo>
                  <a:pt x="202" y="224"/>
                  <a:pt x="202" y="224"/>
                  <a:pt x="202" y="224"/>
                </a:cubicBezTo>
                <a:cubicBezTo>
                  <a:pt x="202" y="230"/>
                  <a:pt x="207" y="234"/>
                  <a:pt x="213" y="234"/>
                </a:cubicBezTo>
                <a:close/>
                <a:moveTo>
                  <a:pt x="309" y="288"/>
                </a:moveTo>
                <a:cubicBezTo>
                  <a:pt x="309" y="282"/>
                  <a:pt x="304" y="277"/>
                  <a:pt x="298" y="277"/>
                </a:cubicBezTo>
                <a:cubicBezTo>
                  <a:pt x="256" y="277"/>
                  <a:pt x="256" y="277"/>
                  <a:pt x="256" y="277"/>
                </a:cubicBezTo>
                <a:cubicBezTo>
                  <a:pt x="250" y="277"/>
                  <a:pt x="245" y="282"/>
                  <a:pt x="245" y="288"/>
                </a:cubicBezTo>
                <a:cubicBezTo>
                  <a:pt x="245" y="330"/>
                  <a:pt x="245" y="330"/>
                  <a:pt x="245" y="330"/>
                </a:cubicBezTo>
                <a:cubicBezTo>
                  <a:pt x="245" y="336"/>
                  <a:pt x="250" y="341"/>
                  <a:pt x="256" y="341"/>
                </a:cubicBezTo>
                <a:cubicBezTo>
                  <a:pt x="287" y="341"/>
                  <a:pt x="287" y="341"/>
                  <a:pt x="287" y="341"/>
                </a:cubicBezTo>
                <a:cubicBezTo>
                  <a:pt x="282" y="369"/>
                  <a:pt x="258" y="373"/>
                  <a:pt x="254" y="373"/>
                </a:cubicBezTo>
                <a:cubicBezTo>
                  <a:pt x="249" y="374"/>
                  <a:pt x="244" y="379"/>
                  <a:pt x="245" y="385"/>
                </a:cubicBezTo>
                <a:cubicBezTo>
                  <a:pt x="246" y="390"/>
                  <a:pt x="250" y="394"/>
                  <a:pt x="256" y="394"/>
                </a:cubicBezTo>
                <a:cubicBezTo>
                  <a:pt x="256" y="394"/>
                  <a:pt x="256" y="394"/>
                  <a:pt x="257" y="394"/>
                </a:cubicBezTo>
                <a:cubicBezTo>
                  <a:pt x="275" y="392"/>
                  <a:pt x="309" y="376"/>
                  <a:pt x="309" y="330"/>
                </a:cubicBezTo>
                <a:lnTo>
                  <a:pt x="309" y="288"/>
                </a:lnTo>
                <a:close/>
                <a:moveTo>
                  <a:pt x="394" y="288"/>
                </a:moveTo>
                <a:cubicBezTo>
                  <a:pt x="394" y="282"/>
                  <a:pt x="390" y="277"/>
                  <a:pt x="384" y="277"/>
                </a:cubicBezTo>
                <a:cubicBezTo>
                  <a:pt x="341" y="277"/>
                  <a:pt x="341" y="277"/>
                  <a:pt x="341" y="277"/>
                </a:cubicBezTo>
                <a:cubicBezTo>
                  <a:pt x="335" y="277"/>
                  <a:pt x="330" y="282"/>
                  <a:pt x="330" y="288"/>
                </a:cubicBezTo>
                <a:cubicBezTo>
                  <a:pt x="330" y="330"/>
                  <a:pt x="330" y="330"/>
                  <a:pt x="330" y="330"/>
                </a:cubicBezTo>
                <a:cubicBezTo>
                  <a:pt x="330" y="336"/>
                  <a:pt x="335" y="341"/>
                  <a:pt x="341" y="341"/>
                </a:cubicBezTo>
                <a:cubicBezTo>
                  <a:pt x="372" y="341"/>
                  <a:pt x="372" y="341"/>
                  <a:pt x="372" y="341"/>
                </a:cubicBezTo>
                <a:cubicBezTo>
                  <a:pt x="367" y="369"/>
                  <a:pt x="343" y="373"/>
                  <a:pt x="340" y="373"/>
                </a:cubicBezTo>
                <a:cubicBezTo>
                  <a:pt x="334" y="374"/>
                  <a:pt x="330" y="379"/>
                  <a:pt x="330" y="385"/>
                </a:cubicBezTo>
                <a:cubicBezTo>
                  <a:pt x="331" y="390"/>
                  <a:pt x="336" y="394"/>
                  <a:pt x="341" y="394"/>
                </a:cubicBezTo>
                <a:cubicBezTo>
                  <a:pt x="341" y="394"/>
                  <a:pt x="342" y="394"/>
                  <a:pt x="342" y="394"/>
                </a:cubicBezTo>
                <a:cubicBezTo>
                  <a:pt x="360" y="392"/>
                  <a:pt x="394" y="376"/>
                  <a:pt x="394" y="330"/>
                </a:cubicBezTo>
                <a:lnTo>
                  <a:pt x="394" y="288"/>
                </a:lnTo>
                <a:close/>
                <a:moveTo>
                  <a:pt x="138" y="213"/>
                </a:moveTo>
                <a:cubicBezTo>
                  <a:pt x="160" y="213"/>
                  <a:pt x="160" y="213"/>
                  <a:pt x="160" y="213"/>
                </a:cubicBezTo>
                <a:cubicBezTo>
                  <a:pt x="160" y="192"/>
                  <a:pt x="160" y="192"/>
                  <a:pt x="160" y="192"/>
                </a:cubicBezTo>
                <a:cubicBezTo>
                  <a:pt x="138" y="192"/>
                  <a:pt x="138" y="192"/>
                  <a:pt x="138" y="192"/>
                </a:cubicBezTo>
                <a:lnTo>
                  <a:pt x="138" y="213"/>
                </a:lnTo>
                <a:close/>
                <a:moveTo>
                  <a:pt x="352" y="320"/>
                </a:moveTo>
                <a:cubicBezTo>
                  <a:pt x="373" y="320"/>
                  <a:pt x="373" y="320"/>
                  <a:pt x="373" y="320"/>
                </a:cubicBezTo>
                <a:cubicBezTo>
                  <a:pt x="373" y="298"/>
                  <a:pt x="373" y="298"/>
                  <a:pt x="373" y="298"/>
                </a:cubicBezTo>
                <a:cubicBezTo>
                  <a:pt x="352" y="298"/>
                  <a:pt x="352" y="298"/>
                  <a:pt x="352" y="298"/>
                </a:cubicBezTo>
                <a:lnTo>
                  <a:pt x="352" y="320"/>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10" name="Freeform 1011"/>
          <p:cNvSpPr>
            <a:spLocks noChangeAspect="1" noEditPoints="1"/>
          </p:cNvSpPr>
          <p:nvPr/>
        </p:nvSpPr>
        <p:spPr bwMode="auto">
          <a:xfrm>
            <a:off x="8111424" y="5126908"/>
            <a:ext cx="367041" cy="367041"/>
          </a:xfrm>
          <a:custGeom>
            <a:avLst/>
            <a:gdLst>
              <a:gd name="T0" fmla="*/ 211 w 512"/>
              <a:gd name="T1" fmla="*/ 285 h 512"/>
              <a:gd name="T2" fmla="*/ 185 w 512"/>
              <a:gd name="T3" fmla="*/ 311 h 512"/>
              <a:gd name="T4" fmla="*/ 121 w 512"/>
              <a:gd name="T5" fmla="*/ 256 h 512"/>
              <a:gd name="T6" fmla="*/ 257 w 512"/>
              <a:gd name="T7" fmla="*/ 181 h 512"/>
              <a:gd name="T8" fmla="*/ 306 w 512"/>
              <a:gd name="T9" fmla="*/ 190 h 512"/>
              <a:gd name="T10" fmla="*/ 285 w 512"/>
              <a:gd name="T11" fmla="*/ 211 h 512"/>
              <a:gd name="T12" fmla="*/ 256 w 512"/>
              <a:gd name="T13" fmla="*/ 202 h 512"/>
              <a:gd name="T14" fmla="*/ 202 w 512"/>
              <a:gd name="T15" fmla="*/ 256 h 512"/>
              <a:gd name="T16" fmla="*/ 211 w 512"/>
              <a:gd name="T17" fmla="*/ 285 h 512"/>
              <a:gd name="T18" fmla="*/ 224 w 512"/>
              <a:gd name="T19" fmla="*/ 256 h 512"/>
              <a:gd name="T20" fmla="*/ 227 w 512"/>
              <a:gd name="T21" fmla="*/ 269 h 512"/>
              <a:gd name="T22" fmla="*/ 269 w 512"/>
              <a:gd name="T23" fmla="*/ 227 h 512"/>
              <a:gd name="T24" fmla="*/ 256 w 512"/>
              <a:gd name="T25" fmla="*/ 224 h 512"/>
              <a:gd name="T26" fmla="*/ 224 w 512"/>
              <a:gd name="T27" fmla="*/ 256 h 512"/>
              <a:gd name="T28" fmla="*/ 288 w 512"/>
              <a:gd name="T29" fmla="*/ 256 h 512"/>
              <a:gd name="T30" fmla="*/ 284 w 512"/>
              <a:gd name="T31" fmla="*/ 242 h 512"/>
              <a:gd name="T32" fmla="*/ 242 w 512"/>
              <a:gd name="T33" fmla="*/ 284 h 512"/>
              <a:gd name="T34" fmla="*/ 256 w 512"/>
              <a:gd name="T35" fmla="*/ 288 h 512"/>
              <a:gd name="T36" fmla="*/ 288 w 512"/>
              <a:gd name="T37" fmla="*/ 256 h 512"/>
              <a:gd name="T38" fmla="*/ 327 w 512"/>
              <a:gd name="T39" fmla="*/ 199 h 512"/>
              <a:gd name="T40" fmla="*/ 300 w 512"/>
              <a:gd name="T41" fmla="*/ 226 h 512"/>
              <a:gd name="T42" fmla="*/ 309 w 512"/>
              <a:gd name="T43" fmla="*/ 256 h 512"/>
              <a:gd name="T44" fmla="*/ 256 w 512"/>
              <a:gd name="T45" fmla="*/ 309 h 512"/>
              <a:gd name="T46" fmla="*/ 226 w 512"/>
              <a:gd name="T47" fmla="*/ 300 h 512"/>
              <a:gd name="T48" fmla="*/ 206 w 512"/>
              <a:gd name="T49" fmla="*/ 321 h 512"/>
              <a:gd name="T50" fmla="*/ 257 w 512"/>
              <a:gd name="T51" fmla="*/ 330 h 512"/>
              <a:gd name="T52" fmla="*/ 392 w 512"/>
              <a:gd name="T53" fmla="*/ 256 h 512"/>
              <a:gd name="T54" fmla="*/ 327 w 512"/>
              <a:gd name="T55" fmla="*/ 199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5 w 512"/>
              <a:gd name="T67" fmla="*/ 255 h 512"/>
              <a:gd name="T68" fmla="*/ 414 w 512"/>
              <a:gd name="T69" fmla="*/ 250 h 512"/>
              <a:gd name="T70" fmla="*/ 343 w 512"/>
              <a:gd name="T71" fmla="*/ 184 h 512"/>
              <a:gd name="T72" fmla="*/ 381 w 512"/>
              <a:gd name="T73" fmla="*/ 146 h 512"/>
              <a:gd name="T74" fmla="*/ 381 w 512"/>
              <a:gd name="T75" fmla="*/ 131 h 512"/>
              <a:gd name="T76" fmla="*/ 365 w 512"/>
              <a:gd name="T77" fmla="*/ 131 h 512"/>
              <a:gd name="T78" fmla="*/ 323 w 512"/>
              <a:gd name="T79" fmla="*/ 174 h 512"/>
              <a:gd name="T80" fmla="*/ 257 w 512"/>
              <a:gd name="T81" fmla="*/ 160 h 512"/>
              <a:gd name="T82" fmla="*/ 99 w 512"/>
              <a:gd name="T83" fmla="*/ 249 h 512"/>
              <a:gd name="T84" fmla="*/ 98 w 512"/>
              <a:gd name="T85" fmla="*/ 256 h 512"/>
              <a:gd name="T86" fmla="*/ 99 w 512"/>
              <a:gd name="T87" fmla="*/ 261 h 512"/>
              <a:gd name="T88" fmla="*/ 169 w 512"/>
              <a:gd name="T89" fmla="*/ 327 h 512"/>
              <a:gd name="T90" fmla="*/ 131 w 512"/>
              <a:gd name="T91" fmla="*/ 365 h 512"/>
              <a:gd name="T92" fmla="*/ 131 w 512"/>
              <a:gd name="T93" fmla="*/ 381 h 512"/>
              <a:gd name="T94" fmla="*/ 138 w 512"/>
              <a:gd name="T95" fmla="*/ 384 h 512"/>
              <a:gd name="T96" fmla="*/ 146 w 512"/>
              <a:gd name="T97" fmla="*/ 381 h 512"/>
              <a:gd name="T98" fmla="*/ 189 w 512"/>
              <a:gd name="T99" fmla="*/ 337 h 512"/>
              <a:gd name="T100" fmla="*/ 257 w 512"/>
              <a:gd name="T101" fmla="*/ 352 h 512"/>
              <a:gd name="T102" fmla="*/ 414 w 512"/>
              <a:gd name="T103" fmla="*/ 262 h 512"/>
              <a:gd name="T104" fmla="*/ 415 w 512"/>
              <a:gd name="T105"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11" y="285"/>
                </a:moveTo>
                <a:cubicBezTo>
                  <a:pt x="185" y="311"/>
                  <a:pt x="185" y="311"/>
                  <a:pt x="185" y="311"/>
                </a:cubicBezTo>
                <a:cubicBezTo>
                  <a:pt x="156" y="296"/>
                  <a:pt x="134" y="273"/>
                  <a:pt x="121" y="256"/>
                </a:cubicBezTo>
                <a:cubicBezTo>
                  <a:pt x="148" y="218"/>
                  <a:pt x="197" y="181"/>
                  <a:pt x="257" y="181"/>
                </a:cubicBezTo>
                <a:cubicBezTo>
                  <a:pt x="274" y="181"/>
                  <a:pt x="291" y="184"/>
                  <a:pt x="306" y="190"/>
                </a:cubicBezTo>
                <a:cubicBezTo>
                  <a:pt x="285" y="211"/>
                  <a:pt x="285" y="211"/>
                  <a:pt x="285" y="211"/>
                </a:cubicBezTo>
                <a:cubicBezTo>
                  <a:pt x="277" y="206"/>
                  <a:pt x="267" y="202"/>
                  <a:pt x="256" y="202"/>
                </a:cubicBezTo>
                <a:cubicBezTo>
                  <a:pt x="226" y="202"/>
                  <a:pt x="202" y="226"/>
                  <a:pt x="202" y="256"/>
                </a:cubicBezTo>
                <a:cubicBezTo>
                  <a:pt x="202" y="267"/>
                  <a:pt x="206" y="277"/>
                  <a:pt x="211" y="285"/>
                </a:cubicBezTo>
                <a:close/>
                <a:moveTo>
                  <a:pt x="224" y="256"/>
                </a:moveTo>
                <a:cubicBezTo>
                  <a:pt x="224" y="261"/>
                  <a:pt x="225" y="265"/>
                  <a:pt x="227" y="269"/>
                </a:cubicBezTo>
                <a:cubicBezTo>
                  <a:pt x="269" y="227"/>
                  <a:pt x="269" y="227"/>
                  <a:pt x="269" y="227"/>
                </a:cubicBezTo>
                <a:cubicBezTo>
                  <a:pt x="265" y="225"/>
                  <a:pt x="261" y="224"/>
                  <a:pt x="256" y="224"/>
                </a:cubicBezTo>
                <a:cubicBezTo>
                  <a:pt x="238" y="224"/>
                  <a:pt x="224" y="238"/>
                  <a:pt x="224" y="256"/>
                </a:cubicBezTo>
                <a:close/>
                <a:moveTo>
                  <a:pt x="288" y="256"/>
                </a:moveTo>
                <a:cubicBezTo>
                  <a:pt x="288" y="251"/>
                  <a:pt x="286" y="246"/>
                  <a:pt x="284" y="242"/>
                </a:cubicBezTo>
                <a:cubicBezTo>
                  <a:pt x="242" y="284"/>
                  <a:pt x="242" y="284"/>
                  <a:pt x="242" y="284"/>
                </a:cubicBezTo>
                <a:cubicBezTo>
                  <a:pt x="246" y="286"/>
                  <a:pt x="251" y="288"/>
                  <a:pt x="256" y="288"/>
                </a:cubicBezTo>
                <a:cubicBezTo>
                  <a:pt x="273" y="288"/>
                  <a:pt x="288" y="273"/>
                  <a:pt x="288" y="256"/>
                </a:cubicBezTo>
                <a:close/>
                <a:moveTo>
                  <a:pt x="327" y="199"/>
                </a:moveTo>
                <a:cubicBezTo>
                  <a:pt x="300" y="226"/>
                  <a:pt x="300" y="226"/>
                  <a:pt x="300" y="226"/>
                </a:cubicBezTo>
                <a:cubicBezTo>
                  <a:pt x="306" y="235"/>
                  <a:pt x="309" y="245"/>
                  <a:pt x="309" y="256"/>
                </a:cubicBezTo>
                <a:cubicBezTo>
                  <a:pt x="309" y="285"/>
                  <a:pt x="285" y="309"/>
                  <a:pt x="256" y="309"/>
                </a:cubicBezTo>
                <a:cubicBezTo>
                  <a:pt x="245" y="309"/>
                  <a:pt x="235" y="306"/>
                  <a:pt x="226" y="300"/>
                </a:cubicBezTo>
                <a:cubicBezTo>
                  <a:pt x="206" y="321"/>
                  <a:pt x="206" y="321"/>
                  <a:pt x="206" y="321"/>
                </a:cubicBezTo>
                <a:cubicBezTo>
                  <a:pt x="221" y="327"/>
                  <a:pt x="238" y="330"/>
                  <a:pt x="257" y="330"/>
                </a:cubicBezTo>
                <a:cubicBezTo>
                  <a:pt x="316" y="330"/>
                  <a:pt x="365" y="293"/>
                  <a:pt x="392" y="256"/>
                </a:cubicBezTo>
                <a:cubicBezTo>
                  <a:pt x="379" y="238"/>
                  <a:pt x="357" y="215"/>
                  <a:pt x="327" y="19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401" y="230"/>
                  <a:pt x="376" y="203"/>
                  <a:pt x="343" y="184"/>
                </a:cubicBezTo>
                <a:cubicBezTo>
                  <a:pt x="381" y="146"/>
                  <a:pt x="381" y="146"/>
                  <a:pt x="381" y="146"/>
                </a:cubicBezTo>
                <a:cubicBezTo>
                  <a:pt x="385" y="142"/>
                  <a:pt x="385" y="135"/>
                  <a:pt x="381" y="131"/>
                </a:cubicBezTo>
                <a:cubicBezTo>
                  <a:pt x="376" y="127"/>
                  <a:pt x="370" y="127"/>
                  <a:pt x="365" y="131"/>
                </a:cubicBezTo>
                <a:cubicBezTo>
                  <a:pt x="323" y="174"/>
                  <a:pt x="323" y="174"/>
                  <a:pt x="323" y="174"/>
                </a:cubicBezTo>
                <a:cubicBezTo>
                  <a:pt x="303" y="165"/>
                  <a:pt x="281" y="160"/>
                  <a:pt x="257" y="160"/>
                </a:cubicBezTo>
                <a:cubicBezTo>
                  <a:pt x="186" y="160"/>
                  <a:pt x="129" y="206"/>
                  <a:pt x="99" y="249"/>
                </a:cubicBezTo>
                <a:cubicBezTo>
                  <a:pt x="98" y="251"/>
                  <a:pt x="98" y="254"/>
                  <a:pt x="98" y="256"/>
                </a:cubicBezTo>
                <a:cubicBezTo>
                  <a:pt x="98" y="258"/>
                  <a:pt x="98" y="260"/>
                  <a:pt x="99" y="261"/>
                </a:cubicBezTo>
                <a:cubicBezTo>
                  <a:pt x="112" y="281"/>
                  <a:pt x="136" y="308"/>
                  <a:pt x="169" y="327"/>
                </a:cubicBezTo>
                <a:cubicBezTo>
                  <a:pt x="131" y="365"/>
                  <a:pt x="131" y="365"/>
                  <a:pt x="131" y="365"/>
                </a:cubicBezTo>
                <a:cubicBezTo>
                  <a:pt x="127" y="370"/>
                  <a:pt x="127" y="376"/>
                  <a:pt x="131" y="381"/>
                </a:cubicBezTo>
                <a:cubicBezTo>
                  <a:pt x="133" y="383"/>
                  <a:pt x="136" y="384"/>
                  <a:pt x="138" y="384"/>
                </a:cubicBezTo>
                <a:cubicBezTo>
                  <a:pt x="141" y="384"/>
                  <a:pt x="144" y="383"/>
                  <a:pt x="146" y="381"/>
                </a:cubicBezTo>
                <a:cubicBezTo>
                  <a:pt x="189" y="337"/>
                  <a:pt x="189" y="337"/>
                  <a:pt x="189" y="337"/>
                </a:cubicBezTo>
                <a:cubicBezTo>
                  <a:pt x="209" y="346"/>
                  <a:pt x="232" y="352"/>
                  <a:pt x="257" y="352"/>
                </a:cubicBezTo>
                <a:cubicBezTo>
                  <a:pt x="327" y="352"/>
                  <a:pt x="384" y="305"/>
                  <a:pt x="414" y="262"/>
                </a:cubicBezTo>
                <a:cubicBezTo>
                  <a:pt x="415" y="260"/>
                  <a:pt x="416" y="258"/>
                  <a:pt x="415" y="255"/>
                </a:cubicBezTo>
                <a:close/>
              </a:path>
            </a:pathLst>
          </a:custGeom>
          <a:solidFill>
            <a:srgbClr val="012169"/>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Tree>
    <p:custDataLst>
      <p:tags r:id="rId1"/>
    </p:custDataLst>
    <p:extLst>
      <p:ext uri="{BB962C8B-B14F-4D97-AF65-F5344CB8AC3E}">
        <p14:creationId xmlns:p14="http://schemas.microsoft.com/office/powerpoint/2010/main" val="4058007925"/>
      </p:ext>
    </p:extLst>
  </p:cSld>
  <p:clrMapOvr>
    <a:masterClrMapping/>
  </p:clrMapOvr>
  <p:transition spd="med">
    <p:random/>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Arrow Connector 6">
            <a:extLst>
              <a:ext uri="{FF2B5EF4-FFF2-40B4-BE49-F238E27FC236}">
                <a16:creationId xmlns:a16="http://schemas.microsoft.com/office/drawing/2014/main" id="{749F7160-94AC-4202-A723-7AFDF67457D0}"/>
              </a:ext>
            </a:extLst>
          </p:cNvPr>
          <p:cNvCxnSpPr>
            <a:cxnSpLocks/>
          </p:cNvCxnSpPr>
          <p:nvPr/>
        </p:nvCxnSpPr>
        <p:spPr>
          <a:xfrm flipV="1">
            <a:off x="6102324" y="1700213"/>
            <a:ext cx="0" cy="4393512"/>
          </a:xfrm>
          <a:prstGeom prst="straightConnector1">
            <a:avLst/>
          </a:prstGeom>
          <a:ln w="19050">
            <a:solidFill>
              <a:schemeClr val="bg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6" name="Oval 7">
            <a:extLst>
              <a:ext uri="{FF2B5EF4-FFF2-40B4-BE49-F238E27FC236}">
                <a16:creationId xmlns:a16="http://schemas.microsoft.com/office/drawing/2014/main" id="{01FF6E8A-B021-4761-8260-0222D6519453}"/>
              </a:ext>
            </a:extLst>
          </p:cNvPr>
          <p:cNvSpPr/>
          <p:nvPr/>
        </p:nvSpPr>
        <p:spPr>
          <a:xfrm>
            <a:off x="5986077" y="2229718"/>
            <a:ext cx="232495" cy="232495"/>
          </a:xfrm>
          <a:prstGeom prst="ellipse">
            <a:avLst/>
          </a:prstGeom>
          <a:solidFill>
            <a:srgbClr val="000000"/>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 name="Oval 8">
            <a:extLst>
              <a:ext uri="{FF2B5EF4-FFF2-40B4-BE49-F238E27FC236}">
                <a16:creationId xmlns:a16="http://schemas.microsoft.com/office/drawing/2014/main" id="{D67A4E83-859F-4F11-9483-C60324A60072}"/>
              </a:ext>
            </a:extLst>
          </p:cNvPr>
          <p:cNvSpPr/>
          <p:nvPr/>
        </p:nvSpPr>
        <p:spPr>
          <a:xfrm>
            <a:off x="5986077" y="2911622"/>
            <a:ext cx="232495" cy="232495"/>
          </a:xfrm>
          <a:prstGeom prst="ellipse">
            <a:avLst/>
          </a:prstGeom>
          <a:solidFill>
            <a:srgbClr val="000000"/>
          </a:solidFill>
          <a:ln>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 name="Oval 9">
            <a:extLst>
              <a:ext uri="{FF2B5EF4-FFF2-40B4-BE49-F238E27FC236}">
                <a16:creationId xmlns:a16="http://schemas.microsoft.com/office/drawing/2014/main" id="{02CBAD11-8C72-4A6D-BF7F-AF3916348B7B}"/>
              </a:ext>
            </a:extLst>
          </p:cNvPr>
          <p:cNvSpPr/>
          <p:nvPr/>
        </p:nvSpPr>
        <p:spPr>
          <a:xfrm>
            <a:off x="5986077" y="3587898"/>
            <a:ext cx="232495" cy="232495"/>
          </a:xfrm>
          <a:prstGeom prst="ellipse">
            <a:avLst/>
          </a:prstGeom>
          <a:solidFill>
            <a:srgbClr val="000000"/>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 name="Oval 10">
            <a:extLst>
              <a:ext uri="{FF2B5EF4-FFF2-40B4-BE49-F238E27FC236}">
                <a16:creationId xmlns:a16="http://schemas.microsoft.com/office/drawing/2014/main" id="{21848820-A31A-405D-B799-845CB817F617}"/>
              </a:ext>
            </a:extLst>
          </p:cNvPr>
          <p:cNvSpPr/>
          <p:nvPr/>
        </p:nvSpPr>
        <p:spPr>
          <a:xfrm>
            <a:off x="5986077" y="4287118"/>
            <a:ext cx="232495" cy="232495"/>
          </a:xfrm>
          <a:prstGeom prst="ellipse">
            <a:avLst/>
          </a:prstGeom>
          <a:solidFill>
            <a:srgbClr val="000000"/>
          </a:solidFill>
          <a:ln>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 name="Oval 11">
            <a:extLst>
              <a:ext uri="{FF2B5EF4-FFF2-40B4-BE49-F238E27FC236}">
                <a16:creationId xmlns:a16="http://schemas.microsoft.com/office/drawing/2014/main" id="{210D537B-7D26-455C-AD38-68852C6F9751}"/>
              </a:ext>
            </a:extLst>
          </p:cNvPr>
          <p:cNvSpPr/>
          <p:nvPr/>
        </p:nvSpPr>
        <p:spPr>
          <a:xfrm>
            <a:off x="5986077" y="4972918"/>
            <a:ext cx="232495" cy="232495"/>
          </a:xfrm>
          <a:prstGeom prst="ellipse">
            <a:avLst/>
          </a:prstGeom>
          <a:solidFill>
            <a:srgbClr val="000000"/>
          </a:solidFill>
          <a:ln>
            <a:solidFill>
              <a:srgbClr val="C4D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5" name="Text Box 10">
            <a:extLst>
              <a:ext uri="{FF2B5EF4-FFF2-40B4-BE49-F238E27FC236}">
                <a16:creationId xmlns:a16="http://schemas.microsoft.com/office/drawing/2014/main" id="{65637476-E4B2-47D0-A689-3A8F97A9977D}"/>
              </a:ext>
            </a:extLst>
          </p:cNvPr>
          <p:cNvSpPr txBox="1">
            <a:spLocks noChangeArrowheads="1"/>
          </p:cNvSpPr>
          <p:nvPr/>
        </p:nvSpPr>
        <p:spPr bwMode="auto">
          <a:xfrm>
            <a:off x="430346" y="2233613"/>
            <a:ext cx="2371558" cy="369332"/>
          </a:xfrm>
          <a:prstGeom prst="rect">
            <a:avLst/>
          </a:prstGeom>
          <a:noFill/>
          <a:ln w="9525">
            <a:noFill/>
            <a:miter lim="800000"/>
            <a:headEnd/>
            <a:tailEnd/>
          </a:ln>
        </p:spPr>
        <p:txBody>
          <a:bodyPr wrap="square" lIns="45720" tIns="22860" rIns="45720" bIns="22860">
            <a:spAutoFit/>
          </a:bodyPr>
          <a:lstStyle/>
          <a:p>
            <a:pPr algn="r" defTabSz="1088232"/>
            <a:r>
              <a:rPr lang="en-US" sz="1050" dirty="0" err="1">
                <a:solidFill>
                  <a:schemeClr val="bg1">
                    <a:lumMod val="65000"/>
                  </a:schemeClr>
                </a:solidFill>
                <a:latin typeface="+mj-lt"/>
                <a:ea typeface="Open Sans" pitchFamily="34" charset="0"/>
                <a:cs typeface="Open Sans" pitchFamily="34" charset="0"/>
              </a:rPr>
              <a:t>Xxxxxxxxxxxxxxxxxxxxxx</a:t>
            </a:r>
            <a:endParaRPr lang="en-US" sz="1050" dirty="0">
              <a:solidFill>
                <a:schemeClr val="bg1">
                  <a:lumMod val="65000"/>
                </a:schemeClr>
              </a:solidFill>
              <a:latin typeface="+mj-lt"/>
              <a:ea typeface="Open Sans" pitchFamily="34" charset="0"/>
              <a:cs typeface="Open Sans" pitchFamily="34" charset="0"/>
            </a:endParaRPr>
          </a:p>
          <a:p>
            <a:pPr algn="r" defTabSz="1088232"/>
            <a:r>
              <a:rPr lang="en-US" sz="1050" dirty="0" err="1">
                <a:solidFill>
                  <a:schemeClr val="bg1">
                    <a:lumMod val="65000"/>
                  </a:schemeClr>
                </a:solidFill>
                <a:latin typeface="+mj-lt"/>
                <a:ea typeface="Open Sans" pitchFamily="34" charset="0"/>
                <a:cs typeface="Open Sans" pitchFamily="34" charset="0"/>
              </a:rPr>
              <a:t>xxxxxxxxxxxxxx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46" name="Text Box 10">
            <a:extLst>
              <a:ext uri="{FF2B5EF4-FFF2-40B4-BE49-F238E27FC236}">
                <a16:creationId xmlns:a16="http://schemas.microsoft.com/office/drawing/2014/main" id="{56103565-3880-47CA-B974-162A6FE0815C}"/>
              </a:ext>
            </a:extLst>
          </p:cNvPr>
          <p:cNvSpPr txBox="1">
            <a:spLocks noChangeArrowheads="1"/>
          </p:cNvSpPr>
          <p:nvPr/>
        </p:nvSpPr>
        <p:spPr bwMode="auto">
          <a:xfrm>
            <a:off x="677662" y="1795812"/>
            <a:ext cx="1328909" cy="261610"/>
          </a:xfrm>
          <a:prstGeom prst="rect">
            <a:avLst/>
          </a:prstGeom>
          <a:noFill/>
          <a:ln w="9525">
            <a:noFill/>
            <a:miter lim="800000"/>
            <a:headEnd/>
            <a:tailEnd/>
          </a:ln>
        </p:spPr>
        <p:txBody>
          <a:bodyPr wrap="square" lIns="45720" tIns="22860" rIns="45720" bIns="22860">
            <a:spAutoFit/>
          </a:bodyPr>
          <a:lstStyle/>
          <a:p>
            <a:pPr algn="r" defTabSz="1088232"/>
            <a:r>
              <a:rPr lang="en-US" sz="1400" b="1" dirty="0" err="1">
                <a:solidFill>
                  <a:srgbClr val="046A38"/>
                </a:solidFill>
                <a:latin typeface="+mj-lt"/>
                <a:ea typeface="Open Sans" pitchFamily="34" charset="0"/>
                <a:cs typeface="Open Sans" pitchFamily="34" charset="0"/>
              </a:rPr>
              <a:t>xxxxxxx</a:t>
            </a:r>
            <a:endParaRPr lang="en-US" sz="1100" dirty="0">
              <a:solidFill>
                <a:srgbClr val="046A38"/>
              </a:solidFill>
              <a:latin typeface="+mj-lt"/>
              <a:ea typeface="Open Sans" pitchFamily="34" charset="0"/>
              <a:cs typeface="Open Sans" pitchFamily="34" charset="0"/>
            </a:endParaRPr>
          </a:p>
        </p:txBody>
      </p:sp>
      <p:sp>
        <p:nvSpPr>
          <p:cNvPr id="47" name="Text Box 10">
            <a:extLst>
              <a:ext uri="{FF2B5EF4-FFF2-40B4-BE49-F238E27FC236}">
                <a16:creationId xmlns:a16="http://schemas.microsoft.com/office/drawing/2014/main" id="{131B011B-B165-4B29-A61F-51DA8A906E4E}"/>
              </a:ext>
            </a:extLst>
          </p:cNvPr>
          <p:cNvSpPr txBox="1">
            <a:spLocks noChangeArrowheads="1"/>
          </p:cNvSpPr>
          <p:nvPr/>
        </p:nvSpPr>
        <p:spPr bwMode="auto">
          <a:xfrm>
            <a:off x="1907662" y="3357105"/>
            <a:ext cx="2371558" cy="530915"/>
          </a:xfrm>
          <a:prstGeom prst="rect">
            <a:avLst/>
          </a:prstGeom>
          <a:noFill/>
          <a:ln w="9525">
            <a:noFill/>
            <a:miter lim="800000"/>
            <a:headEnd/>
            <a:tailEnd/>
          </a:ln>
        </p:spPr>
        <p:txBody>
          <a:bodyPr wrap="square" lIns="45720" tIns="22860" rIns="45720" bIns="22860">
            <a:spAutoFit/>
          </a:bodyPr>
          <a:lstStyle/>
          <a:p>
            <a:pPr algn="r" defTabSz="1088232"/>
            <a:r>
              <a:rPr lang="en-US" sz="1050" dirty="0" err="1">
                <a:solidFill>
                  <a:schemeClr val="bg1">
                    <a:lumMod val="65000"/>
                  </a:schemeClr>
                </a:solidFill>
                <a:latin typeface="+mj-lt"/>
                <a:ea typeface="Open Sans" pitchFamily="34" charset="0"/>
                <a:cs typeface="Open Sans" pitchFamily="34" charset="0"/>
              </a:rPr>
              <a:t>Xxxxxxxxxxxx</a:t>
            </a:r>
            <a:endParaRPr lang="en-US" sz="1050" dirty="0">
              <a:solidFill>
                <a:schemeClr val="bg1">
                  <a:lumMod val="65000"/>
                </a:schemeClr>
              </a:solidFill>
              <a:latin typeface="+mj-lt"/>
              <a:ea typeface="Open Sans" pitchFamily="34" charset="0"/>
              <a:cs typeface="Open Sans" pitchFamily="34" charset="0"/>
            </a:endParaRPr>
          </a:p>
          <a:p>
            <a:pPr algn="r" defTabSz="1088232"/>
            <a:r>
              <a:rPr lang="en-US" sz="1050" dirty="0" err="1">
                <a:solidFill>
                  <a:schemeClr val="bg1">
                    <a:lumMod val="65000"/>
                  </a:schemeClr>
                </a:solidFill>
                <a:latin typeface="+mj-lt"/>
                <a:ea typeface="Open Sans" pitchFamily="34" charset="0"/>
                <a:cs typeface="Open Sans" pitchFamily="34" charset="0"/>
              </a:rPr>
              <a:t>Xxxxxxxxx</a:t>
            </a:r>
            <a:endParaRPr lang="en-US" sz="1050" dirty="0">
              <a:solidFill>
                <a:schemeClr val="bg1">
                  <a:lumMod val="65000"/>
                </a:schemeClr>
              </a:solidFill>
              <a:latin typeface="+mj-lt"/>
              <a:ea typeface="Open Sans" pitchFamily="34" charset="0"/>
              <a:cs typeface="Open Sans" pitchFamily="34" charset="0"/>
            </a:endParaRPr>
          </a:p>
          <a:p>
            <a:pPr algn="r" defTabSz="1088232"/>
            <a:r>
              <a:rPr lang="en-US" sz="1050" dirty="0" err="1">
                <a:solidFill>
                  <a:schemeClr val="bg1">
                    <a:lumMod val="65000"/>
                  </a:schemeClr>
                </a:solidFill>
                <a:latin typeface="+mj-lt"/>
                <a:ea typeface="Open Sans" pitchFamily="34" charset="0"/>
                <a:cs typeface="Open Sans" pitchFamily="34" charset="0"/>
              </a:rPr>
              <a:t>xxxxxx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48" name="Text Box 10">
            <a:extLst>
              <a:ext uri="{FF2B5EF4-FFF2-40B4-BE49-F238E27FC236}">
                <a16:creationId xmlns:a16="http://schemas.microsoft.com/office/drawing/2014/main" id="{70E6F1B3-6F09-4E09-9AA9-87B4244732AC}"/>
              </a:ext>
            </a:extLst>
          </p:cNvPr>
          <p:cNvSpPr txBox="1">
            <a:spLocks noChangeArrowheads="1"/>
          </p:cNvSpPr>
          <p:nvPr/>
        </p:nvSpPr>
        <p:spPr bwMode="auto">
          <a:xfrm>
            <a:off x="2038806" y="2919413"/>
            <a:ext cx="1682290" cy="261610"/>
          </a:xfrm>
          <a:prstGeom prst="rect">
            <a:avLst/>
          </a:prstGeom>
          <a:noFill/>
          <a:ln w="9525">
            <a:noFill/>
            <a:miter lim="800000"/>
            <a:headEnd/>
            <a:tailEnd/>
          </a:ln>
        </p:spPr>
        <p:txBody>
          <a:bodyPr wrap="square" lIns="45720" tIns="22860" rIns="45720" bIns="22860">
            <a:spAutoFit/>
          </a:bodyPr>
          <a:lstStyle/>
          <a:p>
            <a:pPr algn="r" defTabSz="1088232"/>
            <a:r>
              <a:rPr lang="en-US" sz="1400" b="1" dirty="0" err="1">
                <a:solidFill>
                  <a:srgbClr val="43B02A"/>
                </a:solidFill>
                <a:latin typeface="+mj-lt"/>
                <a:ea typeface="Open Sans" pitchFamily="34" charset="0"/>
                <a:cs typeface="Open Sans" pitchFamily="34" charset="0"/>
              </a:rPr>
              <a:t>xxxxxxx</a:t>
            </a:r>
            <a:endParaRPr lang="en-US" sz="1100" dirty="0">
              <a:solidFill>
                <a:srgbClr val="43B02A"/>
              </a:solidFill>
              <a:latin typeface="+mj-lt"/>
              <a:ea typeface="Open Sans" pitchFamily="34" charset="0"/>
              <a:cs typeface="Open Sans" pitchFamily="34" charset="0"/>
            </a:endParaRPr>
          </a:p>
        </p:txBody>
      </p:sp>
      <p:sp>
        <p:nvSpPr>
          <p:cNvPr id="49" name="Text Box 10">
            <a:extLst>
              <a:ext uri="{FF2B5EF4-FFF2-40B4-BE49-F238E27FC236}">
                <a16:creationId xmlns:a16="http://schemas.microsoft.com/office/drawing/2014/main" id="{64B43238-7621-4CD7-830A-2ED356F03D06}"/>
              </a:ext>
            </a:extLst>
          </p:cNvPr>
          <p:cNvSpPr txBox="1">
            <a:spLocks noChangeArrowheads="1"/>
          </p:cNvSpPr>
          <p:nvPr/>
        </p:nvSpPr>
        <p:spPr bwMode="auto">
          <a:xfrm>
            <a:off x="408484" y="4747904"/>
            <a:ext cx="2371558" cy="530915"/>
          </a:xfrm>
          <a:prstGeom prst="rect">
            <a:avLst/>
          </a:prstGeom>
          <a:noFill/>
          <a:ln w="9525">
            <a:noFill/>
            <a:miter lim="800000"/>
            <a:headEnd/>
            <a:tailEnd/>
          </a:ln>
        </p:spPr>
        <p:txBody>
          <a:bodyPr wrap="square" lIns="45720" tIns="22860" rIns="45720" bIns="22860">
            <a:spAutoFit/>
          </a:bodyPr>
          <a:lstStyle/>
          <a:p>
            <a:pPr algn="r" defTabSz="1088232"/>
            <a:r>
              <a:rPr lang="en-US" sz="1050" dirty="0" err="1">
                <a:solidFill>
                  <a:schemeClr val="bg1">
                    <a:lumMod val="65000"/>
                  </a:schemeClr>
                </a:solidFill>
                <a:latin typeface="+mj-lt"/>
                <a:ea typeface="Open Sans" pitchFamily="34" charset="0"/>
                <a:cs typeface="Open Sans" pitchFamily="34" charset="0"/>
              </a:rPr>
              <a:t>Xxxxxxxxxxxxxx</a:t>
            </a:r>
            <a:endParaRPr lang="en-US" sz="1050" dirty="0">
              <a:solidFill>
                <a:schemeClr val="bg1">
                  <a:lumMod val="65000"/>
                </a:schemeClr>
              </a:solidFill>
              <a:latin typeface="+mj-lt"/>
              <a:ea typeface="Open Sans" pitchFamily="34" charset="0"/>
              <a:cs typeface="Open Sans" pitchFamily="34" charset="0"/>
            </a:endParaRPr>
          </a:p>
          <a:p>
            <a:pPr algn="r" defTabSz="1088232"/>
            <a:r>
              <a:rPr lang="en-US" sz="1050" dirty="0" err="1">
                <a:solidFill>
                  <a:schemeClr val="bg1">
                    <a:lumMod val="65000"/>
                  </a:schemeClr>
                </a:solidFill>
                <a:latin typeface="+mj-lt"/>
                <a:ea typeface="Open Sans" pitchFamily="34" charset="0"/>
                <a:cs typeface="Open Sans" pitchFamily="34" charset="0"/>
              </a:rPr>
              <a:t>Xxxxxxxxxxx</a:t>
            </a:r>
            <a:endParaRPr lang="en-US" sz="1050" dirty="0">
              <a:solidFill>
                <a:schemeClr val="bg1">
                  <a:lumMod val="65000"/>
                </a:schemeClr>
              </a:solidFill>
              <a:latin typeface="+mj-lt"/>
              <a:ea typeface="Open Sans" pitchFamily="34" charset="0"/>
              <a:cs typeface="Open Sans" pitchFamily="34" charset="0"/>
            </a:endParaRPr>
          </a:p>
          <a:p>
            <a:pPr algn="r" defTabSz="1088232"/>
            <a:r>
              <a:rPr lang="en-US" sz="1050" dirty="0" err="1">
                <a:solidFill>
                  <a:schemeClr val="bg1">
                    <a:lumMod val="65000"/>
                  </a:schemeClr>
                </a:solidFill>
                <a:latin typeface="+mj-lt"/>
                <a:ea typeface="Open Sans" pitchFamily="34" charset="0"/>
                <a:cs typeface="Open Sans" pitchFamily="34" charset="0"/>
              </a:rPr>
              <a:t>xxxxxxxxxxxxxx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50" name="Text Box 10">
            <a:extLst>
              <a:ext uri="{FF2B5EF4-FFF2-40B4-BE49-F238E27FC236}">
                <a16:creationId xmlns:a16="http://schemas.microsoft.com/office/drawing/2014/main" id="{934A034F-3456-48C3-8A7C-8DF9D4F3BACF}"/>
              </a:ext>
            </a:extLst>
          </p:cNvPr>
          <p:cNvSpPr txBox="1">
            <a:spLocks noChangeArrowheads="1"/>
          </p:cNvSpPr>
          <p:nvPr/>
        </p:nvSpPr>
        <p:spPr bwMode="auto">
          <a:xfrm>
            <a:off x="874754" y="4317095"/>
            <a:ext cx="1185779" cy="261610"/>
          </a:xfrm>
          <a:prstGeom prst="rect">
            <a:avLst/>
          </a:prstGeom>
          <a:noFill/>
          <a:ln w="9525">
            <a:noFill/>
            <a:miter lim="800000"/>
            <a:headEnd/>
            <a:tailEnd/>
          </a:ln>
        </p:spPr>
        <p:txBody>
          <a:bodyPr wrap="square" lIns="45720" tIns="22860" rIns="45720" bIns="22860">
            <a:spAutoFit/>
          </a:bodyPr>
          <a:lstStyle/>
          <a:p>
            <a:pPr algn="r" defTabSz="1088232"/>
            <a:r>
              <a:rPr lang="en-US" sz="1400" b="1" dirty="0" err="1">
                <a:solidFill>
                  <a:srgbClr val="C4D600"/>
                </a:solidFill>
                <a:latin typeface="+mj-lt"/>
                <a:ea typeface="Open Sans" pitchFamily="34" charset="0"/>
                <a:cs typeface="Open Sans" pitchFamily="34" charset="0"/>
              </a:rPr>
              <a:t>xxxxx</a:t>
            </a:r>
            <a:endParaRPr lang="en-US" sz="1100" dirty="0">
              <a:solidFill>
                <a:srgbClr val="C4D600"/>
              </a:solidFill>
              <a:latin typeface="+mj-lt"/>
              <a:ea typeface="Open Sans" pitchFamily="34" charset="0"/>
              <a:cs typeface="Open Sans" pitchFamily="34" charset="0"/>
            </a:endParaRPr>
          </a:p>
        </p:txBody>
      </p:sp>
      <p:sp>
        <p:nvSpPr>
          <p:cNvPr id="51" name="Text Box 10">
            <a:extLst>
              <a:ext uri="{FF2B5EF4-FFF2-40B4-BE49-F238E27FC236}">
                <a16:creationId xmlns:a16="http://schemas.microsoft.com/office/drawing/2014/main" id="{F5D78ED6-CFD7-4ADA-8AE4-2F37DD8D5C2F}"/>
              </a:ext>
            </a:extLst>
          </p:cNvPr>
          <p:cNvSpPr txBox="1">
            <a:spLocks noChangeArrowheads="1"/>
          </p:cNvSpPr>
          <p:nvPr/>
        </p:nvSpPr>
        <p:spPr bwMode="auto">
          <a:xfrm>
            <a:off x="8151953" y="2727683"/>
            <a:ext cx="3622350" cy="530915"/>
          </a:xfrm>
          <a:prstGeom prst="rect">
            <a:avLst/>
          </a:prstGeom>
          <a:noFill/>
          <a:ln w="9525">
            <a:noFill/>
            <a:miter lim="800000"/>
            <a:headEnd/>
            <a:tailEnd/>
          </a:ln>
        </p:spPr>
        <p:txBody>
          <a:bodyPr wrap="square" lIns="45720" tIns="22860" rIns="45720" bIns="22860">
            <a:spAutoFit/>
          </a:bodyPr>
          <a:lstStyle/>
          <a:p>
            <a:pPr defTabSz="1088232"/>
            <a:r>
              <a:rPr lang="en-US" altLang="zh-CN" sz="1050" dirty="0" err="1">
                <a:solidFill>
                  <a:schemeClr val="bg1">
                    <a:lumMod val="65000"/>
                  </a:schemeClr>
                </a:solidFill>
                <a:latin typeface="+mj-lt"/>
                <a:ea typeface="Open Sans" pitchFamily="34" charset="0"/>
                <a:cs typeface="Open Sans" pitchFamily="34" charset="0"/>
              </a:rPr>
              <a:t>Xxxxxxxxxxxxx</a:t>
            </a:r>
            <a:endParaRPr lang="en-US" altLang="zh-CN" sz="1050" dirty="0">
              <a:solidFill>
                <a:schemeClr val="bg1">
                  <a:lumMod val="65000"/>
                </a:schemeClr>
              </a:solidFill>
              <a:latin typeface="+mj-lt"/>
              <a:ea typeface="Open Sans" pitchFamily="34" charset="0"/>
              <a:cs typeface="Open Sans" pitchFamily="34" charset="0"/>
            </a:endParaRPr>
          </a:p>
          <a:p>
            <a:pPr defTabSz="1088232"/>
            <a:r>
              <a:rPr lang="en-US" altLang="zh-CN" sz="1050" dirty="0" err="1">
                <a:solidFill>
                  <a:schemeClr val="bg1">
                    <a:lumMod val="65000"/>
                  </a:schemeClr>
                </a:solidFill>
                <a:latin typeface="+mj-lt"/>
                <a:ea typeface="Open Sans" pitchFamily="34" charset="0"/>
                <a:cs typeface="Open Sans" pitchFamily="34" charset="0"/>
              </a:rPr>
              <a:t>Xxxxxxxxx</a:t>
            </a:r>
            <a:endParaRPr lang="en-US" altLang="zh-CN" sz="1050" dirty="0">
              <a:solidFill>
                <a:schemeClr val="bg1">
                  <a:lumMod val="65000"/>
                </a:schemeClr>
              </a:solidFill>
              <a:latin typeface="+mj-lt"/>
              <a:ea typeface="Open Sans" pitchFamily="34" charset="0"/>
              <a:cs typeface="Open Sans" pitchFamily="34" charset="0"/>
            </a:endParaRPr>
          </a:p>
          <a:p>
            <a:pPr defTabSz="1088232"/>
            <a:r>
              <a:rPr lang="en-US" altLang="zh-CN" sz="1050" dirty="0" err="1">
                <a:solidFill>
                  <a:schemeClr val="bg1">
                    <a:lumMod val="65000"/>
                  </a:schemeClr>
                </a:solidFill>
                <a:latin typeface="+mj-lt"/>
                <a:ea typeface="Open Sans" pitchFamily="34" charset="0"/>
                <a:cs typeface="Open Sans" pitchFamily="34" charset="0"/>
              </a:rPr>
              <a:t>xxxxxx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52" name="Text Box 10">
            <a:extLst>
              <a:ext uri="{FF2B5EF4-FFF2-40B4-BE49-F238E27FC236}">
                <a16:creationId xmlns:a16="http://schemas.microsoft.com/office/drawing/2014/main" id="{D2B2CE57-E1EA-40E5-882C-6BE896F8C430}"/>
              </a:ext>
            </a:extLst>
          </p:cNvPr>
          <p:cNvSpPr txBox="1">
            <a:spLocks noChangeArrowheads="1"/>
          </p:cNvSpPr>
          <p:nvPr/>
        </p:nvSpPr>
        <p:spPr bwMode="auto">
          <a:xfrm>
            <a:off x="8740687" y="2187631"/>
            <a:ext cx="1185779" cy="261610"/>
          </a:xfrm>
          <a:prstGeom prst="rect">
            <a:avLst/>
          </a:prstGeom>
          <a:noFill/>
          <a:ln w="9525">
            <a:noFill/>
            <a:miter lim="800000"/>
            <a:headEnd/>
            <a:tailEnd/>
          </a:ln>
        </p:spPr>
        <p:txBody>
          <a:bodyPr wrap="square" lIns="45720" tIns="22860" rIns="45720" bIns="22860">
            <a:spAutoFit/>
          </a:bodyPr>
          <a:lstStyle/>
          <a:p>
            <a:pPr defTabSz="1088232"/>
            <a:r>
              <a:rPr lang="en-US" sz="1400" b="1" dirty="0" err="1">
                <a:solidFill>
                  <a:srgbClr val="009A44"/>
                </a:solidFill>
                <a:latin typeface="+mj-lt"/>
                <a:ea typeface="Open Sans" pitchFamily="34" charset="0"/>
                <a:cs typeface="Open Sans" pitchFamily="34" charset="0"/>
              </a:rPr>
              <a:t>xxxxxxx</a:t>
            </a:r>
            <a:endParaRPr lang="en-US" sz="1100" dirty="0">
              <a:solidFill>
                <a:srgbClr val="009A44"/>
              </a:solidFill>
              <a:latin typeface="+mj-lt"/>
              <a:ea typeface="Open Sans" pitchFamily="34" charset="0"/>
              <a:cs typeface="Open Sans" pitchFamily="34" charset="0"/>
            </a:endParaRPr>
          </a:p>
        </p:txBody>
      </p:sp>
      <p:sp>
        <p:nvSpPr>
          <p:cNvPr id="53" name="Text Box 10">
            <a:extLst>
              <a:ext uri="{FF2B5EF4-FFF2-40B4-BE49-F238E27FC236}">
                <a16:creationId xmlns:a16="http://schemas.microsoft.com/office/drawing/2014/main" id="{58F6DEBE-AE1A-431B-831C-628F2A7E52D9}"/>
              </a:ext>
            </a:extLst>
          </p:cNvPr>
          <p:cNvSpPr txBox="1">
            <a:spLocks noChangeArrowheads="1"/>
          </p:cNvSpPr>
          <p:nvPr/>
        </p:nvSpPr>
        <p:spPr bwMode="auto">
          <a:xfrm>
            <a:off x="8823280" y="4284316"/>
            <a:ext cx="2906101" cy="692497"/>
          </a:xfrm>
          <a:prstGeom prst="rect">
            <a:avLst/>
          </a:prstGeom>
          <a:noFill/>
          <a:ln w="9525">
            <a:noFill/>
            <a:miter lim="800000"/>
            <a:headEnd/>
            <a:tailEnd/>
          </a:ln>
        </p:spPr>
        <p:txBody>
          <a:bodyPr wrap="square" lIns="45720" tIns="22860" rIns="45720" bIns="22860">
            <a:spAutoFit/>
          </a:bodyPr>
          <a:lstStyle/>
          <a:p>
            <a:pPr defTabSz="1088232"/>
            <a:r>
              <a:rPr lang="en-US" altLang="zh-CN" sz="1050" dirty="0" err="1">
                <a:solidFill>
                  <a:schemeClr val="bg1">
                    <a:lumMod val="65000"/>
                  </a:schemeClr>
                </a:solidFill>
                <a:latin typeface="+mj-lt"/>
                <a:ea typeface="Open Sans" pitchFamily="34" charset="0"/>
                <a:cs typeface="Open Sans" pitchFamily="34" charset="0"/>
              </a:rPr>
              <a:t>Xxxxxxxxxxxxx</a:t>
            </a:r>
            <a:endParaRPr lang="en-US" altLang="zh-CN" sz="1050" dirty="0">
              <a:solidFill>
                <a:schemeClr val="bg1">
                  <a:lumMod val="65000"/>
                </a:schemeClr>
              </a:solidFill>
              <a:latin typeface="+mj-lt"/>
              <a:ea typeface="Open Sans" pitchFamily="34" charset="0"/>
              <a:cs typeface="Open Sans" pitchFamily="34" charset="0"/>
            </a:endParaRPr>
          </a:p>
          <a:p>
            <a:pPr defTabSz="1088232"/>
            <a:r>
              <a:rPr lang="en-US" altLang="zh-CN" sz="1050" dirty="0" err="1">
                <a:solidFill>
                  <a:schemeClr val="bg1">
                    <a:lumMod val="65000"/>
                  </a:schemeClr>
                </a:solidFill>
                <a:latin typeface="+mj-lt"/>
                <a:ea typeface="Open Sans" pitchFamily="34" charset="0"/>
                <a:cs typeface="Open Sans" pitchFamily="34" charset="0"/>
              </a:rPr>
              <a:t>Xxxxxxxxxxxxxxxxxxxxx</a:t>
            </a:r>
            <a:endParaRPr lang="en-US" altLang="zh-CN" sz="1050" dirty="0">
              <a:solidFill>
                <a:schemeClr val="bg1">
                  <a:lumMod val="65000"/>
                </a:schemeClr>
              </a:solidFill>
              <a:latin typeface="+mj-lt"/>
              <a:ea typeface="Open Sans" pitchFamily="34" charset="0"/>
              <a:cs typeface="Open Sans" pitchFamily="34" charset="0"/>
            </a:endParaRPr>
          </a:p>
          <a:p>
            <a:pPr defTabSz="1088232"/>
            <a:r>
              <a:rPr lang="en-US" altLang="zh-CN" sz="1050" dirty="0" err="1">
                <a:solidFill>
                  <a:schemeClr val="bg1">
                    <a:lumMod val="65000"/>
                  </a:schemeClr>
                </a:solidFill>
                <a:latin typeface="+mj-lt"/>
                <a:ea typeface="Open Sans" pitchFamily="34" charset="0"/>
                <a:cs typeface="Open Sans" pitchFamily="34" charset="0"/>
              </a:rPr>
              <a:t>Xxxxxxxx</a:t>
            </a:r>
            <a:endParaRPr lang="en-US" altLang="zh-CN" sz="1050" dirty="0">
              <a:solidFill>
                <a:schemeClr val="bg1">
                  <a:lumMod val="65000"/>
                </a:schemeClr>
              </a:solidFill>
              <a:latin typeface="+mj-lt"/>
              <a:ea typeface="Open Sans" pitchFamily="34" charset="0"/>
              <a:cs typeface="Open Sans" pitchFamily="34" charset="0"/>
            </a:endParaRPr>
          </a:p>
          <a:p>
            <a:pPr defTabSz="1088232"/>
            <a:r>
              <a:rPr lang="en-US" altLang="zh-CN" sz="1050" dirty="0" err="1">
                <a:solidFill>
                  <a:schemeClr val="bg1">
                    <a:lumMod val="65000"/>
                  </a:schemeClr>
                </a:solidFill>
                <a:latin typeface="+mj-lt"/>
                <a:ea typeface="Open Sans" pitchFamily="34" charset="0"/>
                <a:cs typeface="Open Sans" pitchFamily="34" charset="0"/>
              </a:rPr>
              <a:t>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54" name="Text Box 10">
            <a:extLst>
              <a:ext uri="{FF2B5EF4-FFF2-40B4-BE49-F238E27FC236}">
                <a16:creationId xmlns:a16="http://schemas.microsoft.com/office/drawing/2014/main" id="{A3F66272-7731-4E87-A9C2-9F0DC73BFAD3}"/>
              </a:ext>
            </a:extLst>
          </p:cNvPr>
          <p:cNvSpPr txBox="1">
            <a:spLocks noChangeArrowheads="1"/>
          </p:cNvSpPr>
          <p:nvPr/>
        </p:nvSpPr>
        <p:spPr bwMode="auto">
          <a:xfrm>
            <a:off x="9432619" y="3877003"/>
            <a:ext cx="1185779" cy="261610"/>
          </a:xfrm>
          <a:prstGeom prst="rect">
            <a:avLst/>
          </a:prstGeom>
          <a:noFill/>
          <a:ln w="9525">
            <a:noFill/>
            <a:miter lim="800000"/>
            <a:headEnd/>
            <a:tailEnd/>
          </a:ln>
        </p:spPr>
        <p:txBody>
          <a:bodyPr wrap="square" lIns="45720" tIns="22860" rIns="45720" bIns="22860">
            <a:spAutoFit/>
          </a:bodyPr>
          <a:lstStyle/>
          <a:p>
            <a:pPr defTabSz="1088232"/>
            <a:r>
              <a:rPr lang="en-US" sz="1400" b="1" dirty="0" err="1">
                <a:solidFill>
                  <a:srgbClr val="00ABAB"/>
                </a:solidFill>
                <a:latin typeface="+mj-lt"/>
                <a:ea typeface="Open Sans" pitchFamily="34" charset="0"/>
                <a:cs typeface="Open Sans" pitchFamily="34" charset="0"/>
              </a:rPr>
              <a:t>xxxxxxxx</a:t>
            </a:r>
            <a:endParaRPr lang="en-US" sz="1100" dirty="0">
              <a:solidFill>
                <a:srgbClr val="00ABAB"/>
              </a:solidFill>
              <a:latin typeface="+mj-lt"/>
              <a:ea typeface="Open Sans" pitchFamily="34" charset="0"/>
              <a:cs typeface="Open Sans" pitchFamily="34" charset="0"/>
            </a:endParaRPr>
          </a:p>
        </p:txBody>
      </p:sp>
      <p:grpSp>
        <p:nvGrpSpPr>
          <p:cNvPr id="62" name="组合 61">
            <a:extLst>
              <a:ext uri="{FF2B5EF4-FFF2-40B4-BE49-F238E27FC236}">
                <a16:creationId xmlns:a16="http://schemas.microsoft.com/office/drawing/2014/main" id="{FD4A0BAA-7CED-4216-8031-60F42B9D5CEB}"/>
              </a:ext>
            </a:extLst>
          </p:cNvPr>
          <p:cNvGrpSpPr/>
          <p:nvPr/>
        </p:nvGrpSpPr>
        <p:grpSpPr>
          <a:xfrm>
            <a:off x="6218572" y="3027870"/>
            <a:ext cx="5503528" cy="1985491"/>
            <a:chOff x="6218572" y="3027870"/>
            <a:chExt cx="3600116" cy="1985491"/>
          </a:xfrm>
        </p:grpSpPr>
        <p:cxnSp>
          <p:nvCxnSpPr>
            <p:cNvPr id="56" name="Elbow Connector 58">
              <a:extLst>
                <a:ext uri="{FF2B5EF4-FFF2-40B4-BE49-F238E27FC236}">
                  <a16:creationId xmlns:a16="http://schemas.microsoft.com/office/drawing/2014/main" id="{BC4C9147-733E-498C-9562-B3A4D1ACFF92}"/>
                </a:ext>
              </a:extLst>
            </p:cNvPr>
            <p:cNvCxnSpPr>
              <a:stCxn id="7" idx="6"/>
            </p:cNvCxnSpPr>
            <p:nvPr/>
          </p:nvCxnSpPr>
          <p:spPr>
            <a:xfrm>
              <a:off x="6218572" y="3027870"/>
              <a:ext cx="3600116" cy="283126"/>
            </a:xfrm>
            <a:prstGeom prst="bentConnector3">
              <a:avLst>
                <a:gd name="adj1" fmla="val 31215"/>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8" name="Elbow Connector 65">
              <a:extLst>
                <a:ext uri="{FF2B5EF4-FFF2-40B4-BE49-F238E27FC236}">
                  <a16:creationId xmlns:a16="http://schemas.microsoft.com/office/drawing/2014/main" id="{5DA3508A-EB36-41A8-AA4E-4A3EF34F7F05}"/>
                </a:ext>
              </a:extLst>
            </p:cNvPr>
            <p:cNvCxnSpPr>
              <a:stCxn id="9" idx="6"/>
            </p:cNvCxnSpPr>
            <p:nvPr/>
          </p:nvCxnSpPr>
          <p:spPr>
            <a:xfrm>
              <a:off x="6218572" y="4403366"/>
              <a:ext cx="3590758" cy="609995"/>
            </a:xfrm>
            <a:prstGeom prst="bentConnector3">
              <a:avLst>
                <a:gd name="adj1" fmla="val 44020"/>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60" name="组合 59">
            <a:extLst>
              <a:ext uri="{FF2B5EF4-FFF2-40B4-BE49-F238E27FC236}">
                <a16:creationId xmlns:a16="http://schemas.microsoft.com/office/drawing/2014/main" id="{AB8B3D88-ACE3-4512-AFEE-E4808FA4D5C0}"/>
              </a:ext>
            </a:extLst>
          </p:cNvPr>
          <p:cNvGrpSpPr/>
          <p:nvPr/>
        </p:nvGrpSpPr>
        <p:grpSpPr>
          <a:xfrm>
            <a:off x="469901" y="2345965"/>
            <a:ext cx="5516178" cy="3011847"/>
            <a:chOff x="2080799" y="2345965"/>
            <a:chExt cx="3905279" cy="3011847"/>
          </a:xfrm>
        </p:grpSpPr>
        <p:cxnSp>
          <p:nvCxnSpPr>
            <p:cNvPr id="55" name="Elbow Connector 2">
              <a:extLst>
                <a:ext uri="{FF2B5EF4-FFF2-40B4-BE49-F238E27FC236}">
                  <a16:creationId xmlns:a16="http://schemas.microsoft.com/office/drawing/2014/main" id="{7DCB3937-6D2B-42C1-BB53-5A7F07EFE1DB}"/>
                </a:ext>
              </a:extLst>
            </p:cNvPr>
            <p:cNvCxnSpPr>
              <a:stCxn id="6" idx="2"/>
            </p:cNvCxnSpPr>
            <p:nvPr/>
          </p:nvCxnSpPr>
          <p:spPr>
            <a:xfrm rot="10800000" flipV="1">
              <a:off x="2080799" y="2345965"/>
              <a:ext cx="3905279" cy="272533"/>
            </a:xfrm>
            <a:prstGeom prst="bentConnector3">
              <a:avLst>
                <a:gd name="adj1" fmla="val 40732"/>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7" name="Elbow Connector 61">
              <a:extLst>
                <a:ext uri="{FF2B5EF4-FFF2-40B4-BE49-F238E27FC236}">
                  <a16:creationId xmlns:a16="http://schemas.microsoft.com/office/drawing/2014/main" id="{F2B26BC5-C301-43A2-8015-55DD3250502D}"/>
                </a:ext>
              </a:extLst>
            </p:cNvPr>
            <p:cNvCxnSpPr>
              <a:stCxn id="8" idx="2"/>
            </p:cNvCxnSpPr>
            <p:nvPr/>
          </p:nvCxnSpPr>
          <p:spPr>
            <a:xfrm rot="10800000" flipV="1">
              <a:off x="3137153" y="3704145"/>
              <a:ext cx="2848925" cy="239771"/>
            </a:xfrm>
            <a:prstGeom prst="bentConnector3">
              <a:avLst>
                <a:gd name="adj1" fmla="val 17904"/>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9" name="Elbow Connector 68">
              <a:extLst>
                <a:ext uri="{FF2B5EF4-FFF2-40B4-BE49-F238E27FC236}">
                  <a16:creationId xmlns:a16="http://schemas.microsoft.com/office/drawing/2014/main" id="{A8EAACF3-CC1D-4A48-B8BA-ADC0D2230E3E}"/>
                </a:ext>
              </a:extLst>
            </p:cNvPr>
            <p:cNvCxnSpPr>
              <a:stCxn id="10" idx="2"/>
            </p:cNvCxnSpPr>
            <p:nvPr/>
          </p:nvCxnSpPr>
          <p:spPr>
            <a:xfrm rot="10800000" flipV="1">
              <a:off x="2080799" y="5089165"/>
              <a:ext cx="3905279" cy="268647"/>
            </a:xfrm>
            <a:prstGeom prst="bentConnector3">
              <a:avLst>
                <a:gd name="adj1" fmla="val 37073"/>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75" name="Freeform 19">
            <a:extLst>
              <a:ext uri="{FF2B5EF4-FFF2-40B4-BE49-F238E27FC236}">
                <a16:creationId xmlns:a16="http://schemas.microsoft.com/office/drawing/2014/main" id="{8E9684E3-2618-4F96-9B66-834C6DFAB656}"/>
              </a:ext>
            </a:extLst>
          </p:cNvPr>
          <p:cNvSpPr>
            <a:spLocks noChangeAspect="1" noEditPoints="1"/>
          </p:cNvSpPr>
          <p:nvPr/>
        </p:nvSpPr>
        <p:spPr bwMode="auto">
          <a:xfrm>
            <a:off x="8203408" y="2138153"/>
            <a:ext cx="422460" cy="422458"/>
          </a:xfrm>
          <a:custGeom>
            <a:avLst/>
            <a:gdLst>
              <a:gd name="T0" fmla="*/ 266 w 512"/>
              <a:gd name="T1" fmla="*/ 252 h 512"/>
              <a:gd name="T2" fmla="*/ 394 w 512"/>
              <a:gd name="T3" fmla="*/ 197 h 512"/>
              <a:gd name="T4" fmla="*/ 394 w 512"/>
              <a:gd name="T5" fmla="*/ 334 h 512"/>
              <a:gd name="T6" fmla="*/ 266 w 512"/>
              <a:gd name="T7" fmla="*/ 389 h 512"/>
              <a:gd name="T8" fmla="*/ 266 w 512"/>
              <a:gd name="T9" fmla="*/ 252 h 512"/>
              <a:gd name="T10" fmla="*/ 117 w 512"/>
              <a:gd name="T11" fmla="*/ 324 h 512"/>
              <a:gd name="T12" fmla="*/ 245 w 512"/>
              <a:gd name="T13" fmla="*/ 388 h 512"/>
              <a:gd name="T14" fmla="*/ 245 w 512"/>
              <a:gd name="T15" fmla="*/ 252 h 512"/>
              <a:gd name="T16" fmla="*/ 117 w 512"/>
              <a:gd name="T17" fmla="*/ 197 h 512"/>
              <a:gd name="T18" fmla="*/ 117 w 512"/>
              <a:gd name="T19" fmla="*/ 324 h 512"/>
              <a:gd name="T20" fmla="*/ 256 w 512"/>
              <a:gd name="T21" fmla="*/ 129 h 512"/>
              <a:gd name="T22" fmla="*/ 133 w 512"/>
              <a:gd name="T23" fmla="*/ 181 h 512"/>
              <a:gd name="T24" fmla="*/ 256 w 512"/>
              <a:gd name="T25" fmla="*/ 233 h 512"/>
              <a:gd name="T26" fmla="*/ 378 w 512"/>
              <a:gd name="T27" fmla="*/ 181 h 512"/>
              <a:gd name="T28" fmla="*/ 256 w 512"/>
              <a:gd name="T29" fmla="*/ 129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415 w 512"/>
              <a:gd name="T43" fmla="*/ 177 h 512"/>
              <a:gd name="T44" fmla="*/ 414 w 512"/>
              <a:gd name="T45" fmla="*/ 176 h 512"/>
              <a:gd name="T46" fmla="*/ 413 w 512"/>
              <a:gd name="T47" fmla="*/ 174 h 512"/>
              <a:gd name="T48" fmla="*/ 412 w 512"/>
              <a:gd name="T49" fmla="*/ 173 h 512"/>
              <a:gd name="T50" fmla="*/ 409 w 512"/>
              <a:gd name="T51" fmla="*/ 171 h 512"/>
              <a:gd name="T52" fmla="*/ 409 w 512"/>
              <a:gd name="T53" fmla="*/ 171 h 512"/>
              <a:gd name="T54" fmla="*/ 409 w 512"/>
              <a:gd name="T55" fmla="*/ 171 h 512"/>
              <a:gd name="T56" fmla="*/ 260 w 512"/>
              <a:gd name="T57" fmla="*/ 107 h 512"/>
              <a:gd name="T58" fmla="*/ 251 w 512"/>
              <a:gd name="T59" fmla="*/ 107 h 512"/>
              <a:gd name="T60" fmla="*/ 102 w 512"/>
              <a:gd name="T61" fmla="*/ 171 h 512"/>
              <a:gd name="T62" fmla="*/ 96 w 512"/>
              <a:gd name="T63" fmla="*/ 181 h 512"/>
              <a:gd name="T64" fmla="*/ 96 w 512"/>
              <a:gd name="T65" fmla="*/ 330 h 512"/>
              <a:gd name="T66" fmla="*/ 102 w 512"/>
              <a:gd name="T67" fmla="*/ 340 h 512"/>
              <a:gd name="T68" fmla="*/ 251 w 512"/>
              <a:gd name="T69" fmla="*/ 415 h 512"/>
              <a:gd name="T70" fmla="*/ 251 w 512"/>
              <a:gd name="T71" fmla="*/ 415 h 512"/>
              <a:gd name="T72" fmla="*/ 256 w 512"/>
              <a:gd name="T73" fmla="*/ 416 h 512"/>
              <a:gd name="T74" fmla="*/ 256 w 512"/>
              <a:gd name="T75" fmla="*/ 416 h 512"/>
              <a:gd name="T76" fmla="*/ 256 w 512"/>
              <a:gd name="T77" fmla="*/ 416 h 512"/>
              <a:gd name="T78" fmla="*/ 256 w 512"/>
              <a:gd name="T79" fmla="*/ 416 h 512"/>
              <a:gd name="T80" fmla="*/ 256 w 512"/>
              <a:gd name="T81" fmla="*/ 416 h 512"/>
              <a:gd name="T82" fmla="*/ 259 w 512"/>
              <a:gd name="T83" fmla="*/ 415 h 512"/>
              <a:gd name="T84" fmla="*/ 260 w 512"/>
              <a:gd name="T85" fmla="*/ 415 h 512"/>
              <a:gd name="T86" fmla="*/ 409 w 512"/>
              <a:gd name="T87" fmla="*/ 351 h 512"/>
              <a:gd name="T88" fmla="*/ 416 w 512"/>
              <a:gd name="T89" fmla="*/ 341 h 512"/>
              <a:gd name="T90" fmla="*/ 416 w 512"/>
              <a:gd name="T9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66" y="252"/>
                </a:moveTo>
                <a:cubicBezTo>
                  <a:pt x="394" y="197"/>
                  <a:pt x="394" y="197"/>
                  <a:pt x="394" y="197"/>
                </a:cubicBezTo>
                <a:cubicBezTo>
                  <a:pt x="394" y="334"/>
                  <a:pt x="394" y="334"/>
                  <a:pt x="394" y="334"/>
                </a:cubicBezTo>
                <a:cubicBezTo>
                  <a:pt x="266" y="389"/>
                  <a:pt x="266" y="389"/>
                  <a:pt x="266" y="389"/>
                </a:cubicBezTo>
                <a:lnTo>
                  <a:pt x="266" y="252"/>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256" y="129"/>
                </a:moveTo>
                <a:cubicBezTo>
                  <a:pt x="133" y="181"/>
                  <a:pt x="133" y="181"/>
                  <a:pt x="133" y="181"/>
                </a:cubicBezTo>
                <a:cubicBezTo>
                  <a:pt x="256" y="233"/>
                  <a:pt x="256" y="233"/>
                  <a:pt x="256" y="233"/>
                </a:cubicBezTo>
                <a:cubicBezTo>
                  <a:pt x="378" y="181"/>
                  <a:pt x="378" y="181"/>
                  <a:pt x="378" y="181"/>
                </a:cubicBezTo>
                <a:lnTo>
                  <a:pt x="256" y="12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80"/>
                  <a:pt x="415" y="178"/>
                  <a:pt x="415" y="177"/>
                </a:cubicBezTo>
                <a:cubicBezTo>
                  <a:pt x="415" y="177"/>
                  <a:pt x="415" y="177"/>
                  <a:pt x="414" y="176"/>
                </a:cubicBezTo>
                <a:cubicBezTo>
                  <a:pt x="414" y="175"/>
                  <a:pt x="414" y="175"/>
                  <a:pt x="413" y="174"/>
                </a:cubicBezTo>
                <a:cubicBezTo>
                  <a:pt x="413" y="174"/>
                  <a:pt x="412" y="173"/>
                  <a:pt x="412" y="173"/>
                </a:cubicBezTo>
                <a:cubicBezTo>
                  <a:pt x="411" y="172"/>
                  <a:pt x="410" y="172"/>
                  <a:pt x="409" y="171"/>
                </a:cubicBezTo>
                <a:cubicBezTo>
                  <a:pt x="409" y="171"/>
                  <a:pt x="409" y="171"/>
                  <a:pt x="409" y="171"/>
                </a:cubicBezTo>
                <a:cubicBezTo>
                  <a:pt x="409" y="171"/>
                  <a:pt x="409" y="171"/>
                  <a:pt x="409" y="171"/>
                </a:cubicBezTo>
                <a:cubicBezTo>
                  <a:pt x="260" y="107"/>
                  <a:pt x="260" y="107"/>
                  <a:pt x="260" y="107"/>
                </a:cubicBezTo>
                <a:cubicBezTo>
                  <a:pt x="257" y="106"/>
                  <a:pt x="254" y="106"/>
                  <a:pt x="251" y="107"/>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1" y="415"/>
                  <a:pt x="251" y="415"/>
                  <a:pt x="251" y="415"/>
                </a:cubicBezTo>
                <a:cubicBezTo>
                  <a:pt x="253" y="415"/>
                  <a:pt x="254" y="416"/>
                  <a:pt x="256" y="416"/>
                </a:cubicBezTo>
                <a:cubicBezTo>
                  <a:pt x="256" y="416"/>
                  <a:pt x="256"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76" name="Freeform 37">
            <a:extLst>
              <a:ext uri="{FF2B5EF4-FFF2-40B4-BE49-F238E27FC236}">
                <a16:creationId xmlns:a16="http://schemas.microsoft.com/office/drawing/2014/main" id="{61612E63-F5F1-4944-93E5-704CFC1EBC24}"/>
              </a:ext>
            </a:extLst>
          </p:cNvPr>
          <p:cNvSpPr>
            <a:spLocks noChangeAspect="1" noEditPoints="1"/>
          </p:cNvSpPr>
          <p:nvPr/>
        </p:nvSpPr>
        <p:spPr bwMode="auto">
          <a:xfrm>
            <a:off x="2176778" y="4250491"/>
            <a:ext cx="422344" cy="422458"/>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C4D600"/>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77" name="Freeform 274">
            <a:extLst>
              <a:ext uri="{FF2B5EF4-FFF2-40B4-BE49-F238E27FC236}">
                <a16:creationId xmlns:a16="http://schemas.microsoft.com/office/drawing/2014/main" id="{3C88F838-2191-4E09-80F2-9EB648BD4AFE}"/>
              </a:ext>
            </a:extLst>
          </p:cNvPr>
          <p:cNvSpPr>
            <a:spLocks noChangeAspect="1" noEditPoints="1"/>
          </p:cNvSpPr>
          <p:nvPr/>
        </p:nvSpPr>
        <p:spPr bwMode="auto">
          <a:xfrm>
            <a:off x="3792543" y="2848190"/>
            <a:ext cx="423506" cy="42350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266 h 512"/>
              <a:gd name="T12" fmla="*/ 281 w 512"/>
              <a:gd name="T13" fmla="*/ 266 h 512"/>
              <a:gd name="T14" fmla="*/ 359 w 512"/>
              <a:gd name="T15" fmla="*/ 344 h 512"/>
              <a:gd name="T16" fmla="*/ 359 w 512"/>
              <a:gd name="T17" fmla="*/ 359 h 512"/>
              <a:gd name="T18" fmla="*/ 352 w 512"/>
              <a:gd name="T19" fmla="*/ 362 h 512"/>
              <a:gd name="T20" fmla="*/ 344 w 512"/>
              <a:gd name="T21" fmla="*/ 359 h 512"/>
              <a:gd name="T22" fmla="*/ 266 w 512"/>
              <a:gd name="T23" fmla="*/ 281 h 512"/>
              <a:gd name="T24" fmla="*/ 266 w 512"/>
              <a:gd name="T25" fmla="*/ 394 h 512"/>
              <a:gd name="T26" fmla="*/ 256 w 512"/>
              <a:gd name="T27" fmla="*/ 405 h 512"/>
              <a:gd name="T28" fmla="*/ 245 w 512"/>
              <a:gd name="T29" fmla="*/ 394 h 512"/>
              <a:gd name="T30" fmla="*/ 245 w 512"/>
              <a:gd name="T31" fmla="*/ 281 h 512"/>
              <a:gd name="T32" fmla="*/ 167 w 512"/>
              <a:gd name="T33" fmla="*/ 359 h 512"/>
              <a:gd name="T34" fmla="*/ 160 w 512"/>
              <a:gd name="T35" fmla="*/ 362 h 512"/>
              <a:gd name="T36" fmla="*/ 152 w 512"/>
              <a:gd name="T37" fmla="*/ 359 h 512"/>
              <a:gd name="T38" fmla="*/ 152 w 512"/>
              <a:gd name="T39" fmla="*/ 344 h 512"/>
              <a:gd name="T40" fmla="*/ 230 w 512"/>
              <a:gd name="T41" fmla="*/ 266 h 512"/>
              <a:gd name="T42" fmla="*/ 117 w 512"/>
              <a:gd name="T43" fmla="*/ 266 h 512"/>
              <a:gd name="T44" fmla="*/ 106 w 512"/>
              <a:gd name="T45" fmla="*/ 256 h 512"/>
              <a:gd name="T46" fmla="*/ 117 w 512"/>
              <a:gd name="T47" fmla="*/ 245 h 512"/>
              <a:gd name="T48" fmla="*/ 230 w 512"/>
              <a:gd name="T49" fmla="*/ 245 h 512"/>
              <a:gd name="T50" fmla="*/ 152 w 512"/>
              <a:gd name="T51" fmla="*/ 167 h 512"/>
              <a:gd name="T52" fmla="*/ 152 w 512"/>
              <a:gd name="T53" fmla="*/ 152 h 512"/>
              <a:gd name="T54" fmla="*/ 167 w 512"/>
              <a:gd name="T55" fmla="*/ 152 h 512"/>
              <a:gd name="T56" fmla="*/ 245 w 512"/>
              <a:gd name="T57" fmla="*/ 230 h 512"/>
              <a:gd name="T58" fmla="*/ 245 w 512"/>
              <a:gd name="T59" fmla="*/ 117 h 512"/>
              <a:gd name="T60" fmla="*/ 256 w 512"/>
              <a:gd name="T61" fmla="*/ 106 h 512"/>
              <a:gd name="T62" fmla="*/ 266 w 512"/>
              <a:gd name="T63" fmla="*/ 117 h 512"/>
              <a:gd name="T64" fmla="*/ 266 w 512"/>
              <a:gd name="T65" fmla="*/ 230 h 512"/>
              <a:gd name="T66" fmla="*/ 344 w 512"/>
              <a:gd name="T67" fmla="*/ 152 h 512"/>
              <a:gd name="T68" fmla="*/ 359 w 512"/>
              <a:gd name="T69" fmla="*/ 152 h 512"/>
              <a:gd name="T70" fmla="*/ 359 w 512"/>
              <a:gd name="T71" fmla="*/ 167 h 512"/>
              <a:gd name="T72" fmla="*/ 281 w 512"/>
              <a:gd name="T73" fmla="*/ 245 h 512"/>
              <a:gd name="T74" fmla="*/ 394 w 512"/>
              <a:gd name="T75" fmla="*/ 245 h 512"/>
              <a:gd name="T76" fmla="*/ 405 w 512"/>
              <a:gd name="T77" fmla="*/ 256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266"/>
                </a:moveTo>
                <a:cubicBezTo>
                  <a:pt x="281" y="266"/>
                  <a:pt x="281" y="266"/>
                  <a:pt x="281" y="266"/>
                </a:cubicBezTo>
                <a:cubicBezTo>
                  <a:pt x="359" y="344"/>
                  <a:pt x="359" y="344"/>
                  <a:pt x="359" y="344"/>
                </a:cubicBezTo>
                <a:cubicBezTo>
                  <a:pt x="363" y="348"/>
                  <a:pt x="363" y="355"/>
                  <a:pt x="359" y="359"/>
                </a:cubicBezTo>
                <a:cubicBezTo>
                  <a:pt x="357" y="361"/>
                  <a:pt x="354" y="362"/>
                  <a:pt x="352" y="362"/>
                </a:cubicBezTo>
                <a:cubicBezTo>
                  <a:pt x="349" y="362"/>
                  <a:pt x="346" y="361"/>
                  <a:pt x="344" y="359"/>
                </a:cubicBezTo>
                <a:cubicBezTo>
                  <a:pt x="266" y="281"/>
                  <a:pt x="266" y="281"/>
                  <a:pt x="266" y="281"/>
                </a:cubicBezTo>
                <a:cubicBezTo>
                  <a:pt x="266" y="394"/>
                  <a:pt x="266" y="394"/>
                  <a:pt x="266" y="394"/>
                </a:cubicBezTo>
                <a:cubicBezTo>
                  <a:pt x="266" y="400"/>
                  <a:pt x="262" y="405"/>
                  <a:pt x="256" y="405"/>
                </a:cubicBezTo>
                <a:cubicBezTo>
                  <a:pt x="250" y="405"/>
                  <a:pt x="245" y="400"/>
                  <a:pt x="245" y="394"/>
                </a:cubicBezTo>
                <a:cubicBezTo>
                  <a:pt x="245" y="281"/>
                  <a:pt x="245" y="281"/>
                  <a:pt x="245" y="281"/>
                </a:cubicBezTo>
                <a:cubicBezTo>
                  <a:pt x="167" y="359"/>
                  <a:pt x="167" y="359"/>
                  <a:pt x="167" y="359"/>
                </a:cubicBezTo>
                <a:cubicBezTo>
                  <a:pt x="165" y="361"/>
                  <a:pt x="162" y="362"/>
                  <a:pt x="160" y="362"/>
                </a:cubicBezTo>
                <a:cubicBezTo>
                  <a:pt x="157" y="362"/>
                  <a:pt x="154" y="361"/>
                  <a:pt x="152" y="359"/>
                </a:cubicBezTo>
                <a:cubicBezTo>
                  <a:pt x="148" y="355"/>
                  <a:pt x="148" y="348"/>
                  <a:pt x="152" y="344"/>
                </a:cubicBezTo>
                <a:cubicBezTo>
                  <a:pt x="230" y="266"/>
                  <a:pt x="230" y="266"/>
                  <a:pt x="230" y="266"/>
                </a:cubicBezTo>
                <a:cubicBezTo>
                  <a:pt x="117" y="266"/>
                  <a:pt x="117" y="266"/>
                  <a:pt x="117" y="266"/>
                </a:cubicBezTo>
                <a:cubicBezTo>
                  <a:pt x="111" y="266"/>
                  <a:pt x="106" y="262"/>
                  <a:pt x="106" y="256"/>
                </a:cubicBezTo>
                <a:cubicBezTo>
                  <a:pt x="106" y="250"/>
                  <a:pt x="111" y="245"/>
                  <a:pt x="117" y="245"/>
                </a:cubicBezTo>
                <a:cubicBezTo>
                  <a:pt x="230" y="245"/>
                  <a:pt x="230" y="245"/>
                  <a:pt x="230" y="245"/>
                </a:cubicBezTo>
                <a:cubicBezTo>
                  <a:pt x="152" y="167"/>
                  <a:pt x="152" y="167"/>
                  <a:pt x="152" y="167"/>
                </a:cubicBezTo>
                <a:cubicBezTo>
                  <a:pt x="148" y="163"/>
                  <a:pt x="148" y="156"/>
                  <a:pt x="152" y="152"/>
                </a:cubicBezTo>
                <a:cubicBezTo>
                  <a:pt x="156" y="148"/>
                  <a:pt x="163" y="148"/>
                  <a:pt x="167" y="152"/>
                </a:cubicBezTo>
                <a:cubicBezTo>
                  <a:pt x="245" y="230"/>
                  <a:pt x="245" y="230"/>
                  <a:pt x="245" y="230"/>
                </a:cubicBezTo>
                <a:cubicBezTo>
                  <a:pt x="245" y="117"/>
                  <a:pt x="245" y="117"/>
                  <a:pt x="245" y="117"/>
                </a:cubicBezTo>
                <a:cubicBezTo>
                  <a:pt x="245" y="111"/>
                  <a:pt x="250" y="106"/>
                  <a:pt x="256" y="106"/>
                </a:cubicBezTo>
                <a:cubicBezTo>
                  <a:pt x="262" y="106"/>
                  <a:pt x="266" y="111"/>
                  <a:pt x="266" y="117"/>
                </a:cubicBezTo>
                <a:cubicBezTo>
                  <a:pt x="266" y="230"/>
                  <a:pt x="266" y="230"/>
                  <a:pt x="266" y="230"/>
                </a:cubicBezTo>
                <a:cubicBezTo>
                  <a:pt x="344" y="152"/>
                  <a:pt x="344" y="152"/>
                  <a:pt x="344" y="152"/>
                </a:cubicBezTo>
                <a:cubicBezTo>
                  <a:pt x="348" y="148"/>
                  <a:pt x="355" y="148"/>
                  <a:pt x="359" y="152"/>
                </a:cubicBezTo>
                <a:cubicBezTo>
                  <a:pt x="363" y="156"/>
                  <a:pt x="363" y="163"/>
                  <a:pt x="359" y="167"/>
                </a:cubicBezTo>
                <a:cubicBezTo>
                  <a:pt x="281" y="245"/>
                  <a:pt x="281" y="245"/>
                  <a:pt x="281" y="245"/>
                </a:cubicBezTo>
                <a:cubicBezTo>
                  <a:pt x="394" y="245"/>
                  <a:pt x="394" y="245"/>
                  <a:pt x="394" y="245"/>
                </a:cubicBezTo>
                <a:cubicBezTo>
                  <a:pt x="400" y="245"/>
                  <a:pt x="405" y="250"/>
                  <a:pt x="405" y="256"/>
                </a:cubicBezTo>
                <a:cubicBezTo>
                  <a:pt x="405" y="262"/>
                  <a:pt x="400" y="266"/>
                  <a:pt x="394" y="266"/>
                </a:cubicBez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78" name="Freeform 301">
            <a:extLst>
              <a:ext uri="{FF2B5EF4-FFF2-40B4-BE49-F238E27FC236}">
                <a16:creationId xmlns:a16="http://schemas.microsoft.com/office/drawing/2014/main" id="{936320EE-EC95-43B5-8750-27309EA4760F}"/>
              </a:ext>
            </a:extLst>
          </p:cNvPr>
          <p:cNvSpPr>
            <a:spLocks noChangeAspect="1" noEditPoints="1"/>
          </p:cNvSpPr>
          <p:nvPr/>
        </p:nvSpPr>
        <p:spPr bwMode="auto">
          <a:xfrm>
            <a:off x="2083715" y="1725664"/>
            <a:ext cx="422264" cy="422264"/>
          </a:xfrm>
          <a:custGeom>
            <a:avLst/>
            <a:gdLst>
              <a:gd name="T0" fmla="*/ 266 w 512"/>
              <a:gd name="T1" fmla="*/ 251 h 512"/>
              <a:gd name="T2" fmla="*/ 288 w 512"/>
              <a:gd name="T3" fmla="*/ 246 h 512"/>
              <a:gd name="T4" fmla="*/ 288 w 512"/>
              <a:gd name="T5" fmla="*/ 384 h 512"/>
              <a:gd name="T6" fmla="*/ 277 w 512"/>
              <a:gd name="T7" fmla="*/ 394 h 512"/>
              <a:gd name="T8" fmla="*/ 266 w 512"/>
              <a:gd name="T9" fmla="*/ 384 h 512"/>
              <a:gd name="T10" fmla="*/ 266 w 512"/>
              <a:gd name="T11" fmla="*/ 251 h 512"/>
              <a:gd name="T12" fmla="*/ 288 w 512"/>
              <a:gd name="T13" fmla="*/ 128 h 512"/>
              <a:gd name="T14" fmla="*/ 277 w 512"/>
              <a:gd name="T15" fmla="*/ 117 h 512"/>
              <a:gd name="T16" fmla="*/ 266 w 512"/>
              <a:gd name="T17" fmla="*/ 128 h 512"/>
              <a:gd name="T18" fmla="*/ 266 w 512"/>
              <a:gd name="T19" fmla="*/ 132 h 512"/>
              <a:gd name="T20" fmla="*/ 288 w 512"/>
              <a:gd name="T21" fmla="*/ 137 h 512"/>
              <a:gd name="T22" fmla="*/ 288 w 512"/>
              <a:gd name="T23" fmla="*/ 128 h 512"/>
              <a:gd name="T24" fmla="*/ 155 w 512"/>
              <a:gd name="T25" fmla="*/ 254 h 512"/>
              <a:gd name="T26" fmla="*/ 330 w 512"/>
              <a:gd name="T27" fmla="*/ 215 h 512"/>
              <a:gd name="T28" fmla="*/ 330 w 512"/>
              <a:gd name="T29" fmla="*/ 168 h 512"/>
              <a:gd name="T30" fmla="*/ 155 w 512"/>
              <a:gd name="T31" fmla="*/ 129 h 512"/>
              <a:gd name="T32" fmla="*/ 155 w 512"/>
              <a:gd name="T33" fmla="*/ 25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52 w 512"/>
              <a:gd name="T45" fmla="*/ 160 h 512"/>
              <a:gd name="T46" fmla="*/ 343 w 512"/>
              <a:gd name="T47" fmla="*/ 149 h 512"/>
              <a:gd name="T48" fmla="*/ 309 w 512"/>
              <a:gd name="T49" fmla="*/ 142 h 512"/>
              <a:gd name="T50" fmla="*/ 309 w 512"/>
              <a:gd name="T51" fmla="*/ 128 h 512"/>
              <a:gd name="T52" fmla="*/ 277 w 512"/>
              <a:gd name="T53" fmla="*/ 96 h 512"/>
              <a:gd name="T54" fmla="*/ 245 w 512"/>
              <a:gd name="T55" fmla="*/ 127 h 512"/>
              <a:gd name="T56" fmla="*/ 151 w 512"/>
              <a:gd name="T57" fmla="*/ 107 h 512"/>
              <a:gd name="T58" fmla="*/ 140 w 512"/>
              <a:gd name="T59" fmla="*/ 112 h 512"/>
              <a:gd name="T60" fmla="*/ 140 w 512"/>
              <a:gd name="T61" fmla="*/ 272 h 512"/>
              <a:gd name="T62" fmla="*/ 149 w 512"/>
              <a:gd name="T63" fmla="*/ 277 h 512"/>
              <a:gd name="T64" fmla="*/ 151 w 512"/>
              <a:gd name="T65" fmla="*/ 277 h 512"/>
              <a:gd name="T66" fmla="*/ 245 w 512"/>
              <a:gd name="T67" fmla="*/ 256 h 512"/>
              <a:gd name="T68" fmla="*/ 245 w 512"/>
              <a:gd name="T69" fmla="*/ 384 h 512"/>
              <a:gd name="T70" fmla="*/ 277 w 512"/>
              <a:gd name="T71" fmla="*/ 416 h 512"/>
              <a:gd name="T72" fmla="*/ 309 w 512"/>
              <a:gd name="T73" fmla="*/ 384 h 512"/>
              <a:gd name="T74" fmla="*/ 309 w 512"/>
              <a:gd name="T75" fmla="*/ 242 h 512"/>
              <a:gd name="T76" fmla="*/ 343 w 512"/>
              <a:gd name="T77" fmla="*/ 234 h 512"/>
              <a:gd name="T78" fmla="*/ 352 w 512"/>
              <a:gd name="T79" fmla="*/ 224 h 512"/>
              <a:gd name="T80" fmla="*/ 352 w 512"/>
              <a:gd name="T8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66" y="251"/>
                </a:moveTo>
                <a:cubicBezTo>
                  <a:pt x="288" y="246"/>
                  <a:pt x="288" y="246"/>
                  <a:pt x="288" y="246"/>
                </a:cubicBezTo>
                <a:cubicBezTo>
                  <a:pt x="288" y="384"/>
                  <a:pt x="288" y="384"/>
                  <a:pt x="288" y="384"/>
                </a:cubicBezTo>
                <a:cubicBezTo>
                  <a:pt x="288" y="390"/>
                  <a:pt x="283" y="394"/>
                  <a:pt x="277" y="394"/>
                </a:cubicBezTo>
                <a:cubicBezTo>
                  <a:pt x="271" y="394"/>
                  <a:pt x="266" y="390"/>
                  <a:pt x="266" y="384"/>
                </a:cubicBezTo>
                <a:lnTo>
                  <a:pt x="266" y="251"/>
                </a:lnTo>
                <a:close/>
                <a:moveTo>
                  <a:pt x="288" y="128"/>
                </a:moveTo>
                <a:cubicBezTo>
                  <a:pt x="288" y="122"/>
                  <a:pt x="283" y="117"/>
                  <a:pt x="277" y="117"/>
                </a:cubicBezTo>
                <a:cubicBezTo>
                  <a:pt x="271" y="117"/>
                  <a:pt x="266" y="122"/>
                  <a:pt x="266" y="128"/>
                </a:cubicBezTo>
                <a:cubicBezTo>
                  <a:pt x="266" y="132"/>
                  <a:pt x="266" y="132"/>
                  <a:pt x="266" y="132"/>
                </a:cubicBezTo>
                <a:cubicBezTo>
                  <a:pt x="288" y="137"/>
                  <a:pt x="288" y="137"/>
                  <a:pt x="288" y="137"/>
                </a:cubicBezTo>
                <a:lnTo>
                  <a:pt x="288" y="128"/>
                </a:lnTo>
                <a:close/>
                <a:moveTo>
                  <a:pt x="155" y="254"/>
                </a:moveTo>
                <a:cubicBezTo>
                  <a:pt x="330" y="215"/>
                  <a:pt x="330" y="215"/>
                  <a:pt x="330" y="215"/>
                </a:cubicBezTo>
                <a:cubicBezTo>
                  <a:pt x="330" y="168"/>
                  <a:pt x="330" y="168"/>
                  <a:pt x="330" y="168"/>
                </a:cubicBezTo>
                <a:cubicBezTo>
                  <a:pt x="155" y="129"/>
                  <a:pt x="155" y="129"/>
                  <a:pt x="155" y="129"/>
                </a:cubicBezTo>
                <a:cubicBezTo>
                  <a:pt x="147" y="148"/>
                  <a:pt x="129" y="202"/>
                  <a:pt x="155" y="25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60"/>
                </a:moveTo>
                <a:cubicBezTo>
                  <a:pt x="352" y="155"/>
                  <a:pt x="348" y="150"/>
                  <a:pt x="343" y="149"/>
                </a:cubicBezTo>
                <a:cubicBezTo>
                  <a:pt x="309" y="142"/>
                  <a:pt x="309" y="142"/>
                  <a:pt x="309" y="142"/>
                </a:cubicBezTo>
                <a:cubicBezTo>
                  <a:pt x="309" y="128"/>
                  <a:pt x="309" y="128"/>
                  <a:pt x="309" y="128"/>
                </a:cubicBezTo>
                <a:cubicBezTo>
                  <a:pt x="309" y="110"/>
                  <a:pt x="295" y="96"/>
                  <a:pt x="277" y="96"/>
                </a:cubicBezTo>
                <a:cubicBezTo>
                  <a:pt x="259" y="96"/>
                  <a:pt x="245" y="110"/>
                  <a:pt x="245" y="127"/>
                </a:cubicBezTo>
                <a:cubicBezTo>
                  <a:pt x="151" y="107"/>
                  <a:pt x="151" y="107"/>
                  <a:pt x="151" y="107"/>
                </a:cubicBezTo>
                <a:cubicBezTo>
                  <a:pt x="147" y="106"/>
                  <a:pt x="142" y="108"/>
                  <a:pt x="140" y="112"/>
                </a:cubicBezTo>
                <a:cubicBezTo>
                  <a:pt x="138" y="115"/>
                  <a:pt x="97" y="194"/>
                  <a:pt x="140" y="272"/>
                </a:cubicBezTo>
                <a:cubicBezTo>
                  <a:pt x="142" y="275"/>
                  <a:pt x="145" y="277"/>
                  <a:pt x="149" y="277"/>
                </a:cubicBezTo>
                <a:cubicBezTo>
                  <a:pt x="150" y="277"/>
                  <a:pt x="151" y="277"/>
                  <a:pt x="151" y="277"/>
                </a:cubicBezTo>
                <a:cubicBezTo>
                  <a:pt x="245" y="256"/>
                  <a:pt x="245" y="256"/>
                  <a:pt x="245" y="256"/>
                </a:cubicBezTo>
                <a:cubicBezTo>
                  <a:pt x="245" y="384"/>
                  <a:pt x="245" y="384"/>
                  <a:pt x="245" y="384"/>
                </a:cubicBezTo>
                <a:cubicBezTo>
                  <a:pt x="245" y="401"/>
                  <a:pt x="259" y="416"/>
                  <a:pt x="277" y="416"/>
                </a:cubicBezTo>
                <a:cubicBezTo>
                  <a:pt x="295" y="416"/>
                  <a:pt x="309" y="401"/>
                  <a:pt x="309" y="384"/>
                </a:cubicBezTo>
                <a:cubicBezTo>
                  <a:pt x="309" y="242"/>
                  <a:pt x="309" y="242"/>
                  <a:pt x="309" y="242"/>
                </a:cubicBezTo>
                <a:cubicBezTo>
                  <a:pt x="343" y="234"/>
                  <a:pt x="343" y="234"/>
                  <a:pt x="343" y="234"/>
                </a:cubicBezTo>
                <a:cubicBezTo>
                  <a:pt x="348" y="233"/>
                  <a:pt x="352" y="229"/>
                  <a:pt x="352" y="224"/>
                </a:cubicBezTo>
                <a:lnTo>
                  <a:pt x="352" y="160"/>
                </a:lnTo>
                <a:close/>
              </a:path>
            </a:pathLst>
          </a:custGeom>
          <a:solidFill>
            <a:schemeClr val="accent4"/>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79" name="Freeform 382">
            <a:extLst>
              <a:ext uri="{FF2B5EF4-FFF2-40B4-BE49-F238E27FC236}">
                <a16:creationId xmlns:a16="http://schemas.microsoft.com/office/drawing/2014/main" id="{DB628438-BCDD-4EBE-9909-71FAE4FBF9DD}"/>
              </a:ext>
            </a:extLst>
          </p:cNvPr>
          <p:cNvSpPr>
            <a:spLocks noChangeAspect="1" noEditPoints="1"/>
          </p:cNvSpPr>
          <p:nvPr/>
        </p:nvSpPr>
        <p:spPr bwMode="auto">
          <a:xfrm>
            <a:off x="8892865" y="3829050"/>
            <a:ext cx="423508" cy="422264"/>
          </a:xfrm>
          <a:custGeom>
            <a:avLst/>
            <a:gdLst>
              <a:gd name="T0" fmla="*/ 195 w 512"/>
              <a:gd name="T1" fmla="*/ 195 h 512"/>
              <a:gd name="T2" fmla="*/ 119 w 512"/>
              <a:gd name="T3" fmla="*/ 234 h 512"/>
              <a:gd name="T4" fmla="*/ 158 w 512"/>
              <a:gd name="T5" fmla="*/ 158 h 512"/>
              <a:gd name="T6" fmla="*/ 234 w 512"/>
              <a:gd name="T7" fmla="*/ 119 h 512"/>
              <a:gd name="T8" fmla="*/ 195 w 512"/>
              <a:gd name="T9" fmla="*/ 195 h 512"/>
              <a:gd name="T10" fmla="*/ 277 w 512"/>
              <a:gd name="T11" fmla="*/ 393 h 512"/>
              <a:gd name="T12" fmla="*/ 354 w 512"/>
              <a:gd name="T13" fmla="*/ 354 h 512"/>
              <a:gd name="T14" fmla="*/ 393 w 512"/>
              <a:gd name="T15" fmla="*/ 277 h 512"/>
              <a:gd name="T16" fmla="*/ 316 w 512"/>
              <a:gd name="T17" fmla="*/ 316 h 512"/>
              <a:gd name="T18" fmla="*/ 277 w 512"/>
              <a:gd name="T19" fmla="*/ 393 h 512"/>
              <a:gd name="T20" fmla="*/ 256 w 512"/>
              <a:gd name="T21" fmla="*/ 117 h 512"/>
              <a:gd name="T22" fmla="*/ 256 w 512"/>
              <a:gd name="T23" fmla="*/ 118 h 512"/>
              <a:gd name="T24" fmla="*/ 210 w 512"/>
              <a:gd name="T25" fmla="*/ 210 h 512"/>
              <a:gd name="T26" fmla="*/ 117 w 512"/>
              <a:gd name="T27" fmla="*/ 256 h 512"/>
              <a:gd name="T28" fmla="*/ 150 w 512"/>
              <a:gd name="T29" fmla="*/ 346 h 512"/>
              <a:gd name="T30" fmla="*/ 346 w 512"/>
              <a:gd name="T31" fmla="*/ 150 h 512"/>
              <a:gd name="T32" fmla="*/ 256 w 512"/>
              <a:gd name="T33" fmla="*/ 117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56 h 512"/>
              <a:gd name="T46" fmla="*/ 369 w 512"/>
              <a:gd name="T47" fmla="*/ 143 h 512"/>
              <a:gd name="T48" fmla="*/ 256 w 512"/>
              <a:gd name="T49" fmla="*/ 96 h 512"/>
              <a:gd name="T50" fmla="*/ 143 w 512"/>
              <a:gd name="T51" fmla="*/ 143 h 512"/>
              <a:gd name="T52" fmla="*/ 96 w 512"/>
              <a:gd name="T53" fmla="*/ 256 h 512"/>
              <a:gd name="T54" fmla="*/ 143 w 512"/>
              <a:gd name="T55" fmla="*/ 369 h 512"/>
              <a:gd name="T56" fmla="*/ 256 w 512"/>
              <a:gd name="T57" fmla="*/ 416 h 512"/>
              <a:gd name="T58" fmla="*/ 369 w 512"/>
              <a:gd name="T59" fmla="*/ 369 h 512"/>
              <a:gd name="T60" fmla="*/ 416 w 512"/>
              <a:gd name="T61" fmla="*/ 256 h 512"/>
              <a:gd name="T62" fmla="*/ 166 w 512"/>
              <a:gd name="T63" fmla="*/ 361 h 512"/>
              <a:gd name="T64" fmla="*/ 255 w 512"/>
              <a:gd name="T65" fmla="*/ 394 h 512"/>
              <a:gd name="T66" fmla="*/ 301 w 512"/>
              <a:gd name="T67" fmla="*/ 301 h 512"/>
              <a:gd name="T68" fmla="*/ 394 w 512"/>
              <a:gd name="T69" fmla="*/ 255 h 512"/>
              <a:gd name="T70" fmla="*/ 361 w 512"/>
              <a:gd name="T71" fmla="*/ 166 h 512"/>
              <a:gd name="T72" fmla="*/ 166 w 512"/>
              <a:gd name="T73"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95" y="195"/>
                </a:moveTo>
                <a:cubicBezTo>
                  <a:pt x="174" y="216"/>
                  <a:pt x="148" y="230"/>
                  <a:pt x="119" y="234"/>
                </a:cubicBezTo>
                <a:cubicBezTo>
                  <a:pt x="123" y="205"/>
                  <a:pt x="137" y="179"/>
                  <a:pt x="158" y="158"/>
                </a:cubicBezTo>
                <a:cubicBezTo>
                  <a:pt x="179" y="137"/>
                  <a:pt x="205" y="123"/>
                  <a:pt x="234" y="119"/>
                </a:cubicBezTo>
                <a:cubicBezTo>
                  <a:pt x="230" y="148"/>
                  <a:pt x="216" y="174"/>
                  <a:pt x="195" y="195"/>
                </a:cubicBezTo>
                <a:close/>
                <a:moveTo>
                  <a:pt x="277" y="393"/>
                </a:moveTo>
                <a:cubicBezTo>
                  <a:pt x="306" y="388"/>
                  <a:pt x="333" y="375"/>
                  <a:pt x="354" y="354"/>
                </a:cubicBezTo>
                <a:cubicBezTo>
                  <a:pt x="375" y="333"/>
                  <a:pt x="388" y="306"/>
                  <a:pt x="393" y="277"/>
                </a:cubicBezTo>
                <a:cubicBezTo>
                  <a:pt x="364" y="282"/>
                  <a:pt x="337" y="295"/>
                  <a:pt x="316" y="316"/>
                </a:cubicBezTo>
                <a:cubicBezTo>
                  <a:pt x="295" y="337"/>
                  <a:pt x="282" y="364"/>
                  <a:pt x="277" y="393"/>
                </a:cubicBezTo>
                <a:close/>
                <a:moveTo>
                  <a:pt x="256" y="117"/>
                </a:moveTo>
                <a:cubicBezTo>
                  <a:pt x="256" y="117"/>
                  <a:pt x="256" y="118"/>
                  <a:pt x="256" y="118"/>
                </a:cubicBezTo>
                <a:cubicBezTo>
                  <a:pt x="251" y="153"/>
                  <a:pt x="236" y="185"/>
                  <a:pt x="210" y="210"/>
                </a:cubicBezTo>
                <a:cubicBezTo>
                  <a:pt x="185" y="236"/>
                  <a:pt x="152" y="252"/>
                  <a:pt x="117" y="256"/>
                </a:cubicBezTo>
                <a:cubicBezTo>
                  <a:pt x="117" y="289"/>
                  <a:pt x="129" y="321"/>
                  <a:pt x="150" y="346"/>
                </a:cubicBezTo>
                <a:cubicBezTo>
                  <a:pt x="346" y="150"/>
                  <a:pt x="346" y="150"/>
                  <a:pt x="346" y="150"/>
                </a:cubicBezTo>
                <a:cubicBezTo>
                  <a:pt x="321" y="129"/>
                  <a:pt x="289"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13"/>
                  <a:pt x="399" y="173"/>
                  <a:pt x="369" y="143"/>
                </a:cubicBezTo>
                <a:cubicBezTo>
                  <a:pt x="339" y="112"/>
                  <a:pt x="298" y="96"/>
                  <a:pt x="256" y="96"/>
                </a:cubicBezTo>
                <a:cubicBezTo>
                  <a:pt x="213" y="96"/>
                  <a:pt x="173" y="112"/>
                  <a:pt x="143" y="143"/>
                </a:cubicBezTo>
                <a:cubicBezTo>
                  <a:pt x="112" y="173"/>
                  <a:pt x="96" y="213"/>
                  <a:pt x="96" y="256"/>
                </a:cubicBezTo>
                <a:cubicBezTo>
                  <a:pt x="96" y="298"/>
                  <a:pt x="112" y="339"/>
                  <a:pt x="143" y="369"/>
                </a:cubicBezTo>
                <a:cubicBezTo>
                  <a:pt x="173" y="399"/>
                  <a:pt x="213" y="416"/>
                  <a:pt x="256" y="416"/>
                </a:cubicBezTo>
                <a:cubicBezTo>
                  <a:pt x="298" y="416"/>
                  <a:pt x="339" y="399"/>
                  <a:pt x="369" y="369"/>
                </a:cubicBezTo>
                <a:cubicBezTo>
                  <a:pt x="399" y="339"/>
                  <a:pt x="416" y="298"/>
                  <a:pt x="416" y="256"/>
                </a:cubicBezTo>
                <a:close/>
                <a:moveTo>
                  <a:pt x="166" y="361"/>
                </a:moveTo>
                <a:cubicBezTo>
                  <a:pt x="191" y="382"/>
                  <a:pt x="222" y="394"/>
                  <a:pt x="255" y="394"/>
                </a:cubicBezTo>
                <a:cubicBezTo>
                  <a:pt x="260" y="359"/>
                  <a:pt x="276" y="326"/>
                  <a:pt x="301" y="301"/>
                </a:cubicBezTo>
                <a:cubicBezTo>
                  <a:pt x="326" y="276"/>
                  <a:pt x="359" y="260"/>
                  <a:pt x="394" y="255"/>
                </a:cubicBezTo>
                <a:cubicBezTo>
                  <a:pt x="394" y="222"/>
                  <a:pt x="382" y="191"/>
                  <a:pt x="361" y="166"/>
                </a:cubicBezTo>
                <a:lnTo>
                  <a:pt x="166" y="361"/>
                </a:lnTo>
                <a:close/>
              </a:path>
            </a:pathLst>
          </a:custGeom>
          <a:solidFill>
            <a:srgbClr val="00ABAB"/>
          </a:solidFill>
          <a:ln>
            <a:noFill/>
          </a:ln>
        </p:spPr>
        <p:txBody>
          <a:bodyPr vert="horz" wrap="square" lIns="72477" tIns="36238" rIns="72477" bIns="36238" numCol="1" anchor="t" anchorCtr="0" compatLnSpc="1">
            <a:prstTxWarp prst="textNoShape">
              <a:avLst/>
            </a:prstTxWarp>
          </a:bodyPr>
          <a:lstStyle/>
          <a:p>
            <a:endParaRPr lang="en-GB" sz="1427" dirty="0"/>
          </a:p>
        </p:txBody>
      </p:sp>
    </p:spTree>
    <p:custDataLst>
      <p:tags r:id="rId1"/>
    </p:custDataLst>
    <p:extLst>
      <p:ext uri="{BB962C8B-B14F-4D97-AF65-F5344CB8AC3E}">
        <p14:creationId xmlns:p14="http://schemas.microsoft.com/office/powerpoint/2010/main" val="1101579254"/>
      </p:ext>
    </p:extLst>
  </p:cSld>
  <p:clrMapOvr>
    <a:masterClrMapping/>
  </p:clrMapOvr>
  <p:transition>
    <p:fade/>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AE37C234-F388-41C6-B59A-C27489EEAA79}"/>
              </a:ext>
            </a:extLst>
          </p:cNvPr>
          <p:cNvSpPr>
            <a:spLocks/>
          </p:cNvSpPr>
          <p:nvPr/>
        </p:nvSpPr>
        <p:spPr bwMode="auto">
          <a:xfrm>
            <a:off x="469900" y="2036421"/>
            <a:ext cx="5630008" cy="1948352"/>
          </a:xfrm>
          <a:custGeom>
            <a:avLst/>
            <a:gdLst>
              <a:gd name="T0" fmla="*/ 0 w 2882"/>
              <a:gd name="T1" fmla="*/ 1414 h 1414"/>
              <a:gd name="T2" fmla="*/ 2882 w 2882"/>
              <a:gd name="T3" fmla="*/ 1402 h 1414"/>
              <a:gd name="T4" fmla="*/ 0 w 2882"/>
              <a:gd name="T5" fmla="*/ 0 h 1414"/>
              <a:gd name="T6" fmla="*/ 0 w 2882"/>
              <a:gd name="T7" fmla="*/ 1414 h 1414"/>
            </a:gdLst>
            <a:ahLst/>
            <a:cxnLst>
              <a:cxn ang="0">
                <a:pos x="T0" y="T1"/>
              </a:cxn>
              <a:cxn ang="0">
                <a:pos x="T2" y="T3"/>
              </a:cxn>
              <a:cxn ang="0">
                <a:pos x="T4" y="T5"/>
              </a:cxn>
              <a:cxn ang="0">
                <a:pos x="T6" y="T7"/>
              </a:cxn>
            </a:cxnLst>
            <a:rect l="0" t="0" r="r" b="b"/>
            <a:pathLst>
              <a:path w="2882" h="1414">
                <a:moveTo>
                  <a:pt x="0" y="1414"/>
                </a:moveTo>
                <a:lnTo>
                  <a:pt x="2882" y="1402"/>
                </a:lnTo>
                <a:lnTo>
                  <a:pt x="0" y="0"/>
                </a:lnTo>
                <a:lnTo>
                  <a:pt x="0" y="1414"/>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 name="Freeform 6">
            <a:extLst>
              <a:ext uri="{FF2B5EF4-FFF2-40B4-BE49-F238E27FC236}">
                <a16:creationId xmlns:a16="http://schemas.microsoft.com/office/drawing/2014/main" id="{B88F82C9-AA85-4A8A-9C84-99C459BCB1FE}"/>
              </a:ext>
            </a:extLst>
          </p:cNvPr>
          <p:cNvSpPr>
            <a:spLocks/>
          </p:cNvSpPr>
          <p:nvPr/>
        </p:nvSpPr>
        <p:spPr bwMode="auto">
          <a:xfrm>
            <a:off x="469900" y="1700213"/>
            <a:ext cx="5630008" cy="2268025"/>
          </a:xfrm>
          <a:custGeom>
            <a:avLst/>
            <a:gdLst>
              <a:gd name="T0" fmla="*/ 1789 w 2882"/>
              <a:gd name="T1" fmla="*/ 0 h 1646"/>
              <a:gd name="T2" fmla="*/ 0 w 2882"/>
              <a:gd name="T3" fmla="*/ 0 h 1646"/>
              <a:gd name="T4" fmla="*/ 0 w 2882"/>
              <a:gd name="T5" fmla="*/ 244 h 1646"/>
              <a:gd name="T6" fmla="*/ 2882 w 2882"/>
              <a:gd name="T7" fmla="*/ 1646 h 1646"/>
              <a:gd name="T8" fmla="*/ 1789 w 2882"/>
              <a:gd name="T9" fmla="*/ 0 h 1646"/>
            </a:gdLst>
            <a:ahLst/>
            <a:cxnLst>
              <a:cxn ang="0">
                <a:pos x="T0" y="T1"/>
              </a:cxn>
              <a:cxn ang="0">
                <a:pos x="T2" y="T3"/>
              </a:cxn>
              <a:cxn ang="0">
                <a:pos x="T4" y="T5"/>
              </a:cxn>
              <a:cxn ang="0">
                <a:pos x="T6" y="T7"/>
              </a:cxn>
              <a:cxn ang="0">
                <a:pos x="T8" y="T9"/>
              </a:cxn>
            </a:cxnLst>
            <a:rect l="0" t="0" r="r" b="b"/>
            <a:pathLst>
              <a:path w="2882" h="1646">
                <a:moveTo>
                  <a:pt x="1789" y="0"/>
                </a:moveTo>
                <a:lnTo>
                  <a:pt x="0" y="0"/>
                </a:lnTo>
                <a:lnTo>
                  <a:pt x="0" y="244"/>
                </a:lnTo>
                <a:lnTo>
                  <a:pt x="2882" y="1646"/>
                </a:lnTo>
                <a:lnTo>
                  <a:pt x="1789" y="0"/>
                </a:ln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Freeform 7">
            <a:extLst>
              <a:ext uri="{FF2B5EF4-FFF2-40B4-BE49-F238E27FC236}">
                <a16:creationId xmlns:a16="http://schemas.microsoft.com/office/drawing/2014/main" id="{913A1BC1-1A74-4E18-806E-76F895D48947}"/>
              </a:ext>
            </a:extLst>
          </p:cNvPr>
          <p:cNvSpPr>
            <a:spLocks/>
          </p:cNvSpPr>
          <p:nvPr/>
        </p:nvSpPr>
        <p:spPr bwMode="auto">
          <a:xfrm>
            <a:off x="3964724" y="1700213"/>
            <a:ext cx="2135184" cy="2268025"/>
          </a:xfrm>
          <a:custGeom>
            <a:avLst/>
            <a:gdLst>
              <a:gd name="T0" fmla="*/ 1090 w 1093"/>
              <a:gd name="T1" fmla="*/ 0 h 1646"/>
              <a:gd name="T2" fmla="*/ 1093 w 1093"/>
              <a:gd name="T3" fmla="*/ 1646 h 1646"/>
              <a:gd name="T4" fmla="*/ 0 w 1093"/>
              <a:gd name="T5" fmla="*/ 0 h 1646"/>
              <a:gd name="T6" fmla="*/ 1090 w 1093"/>
              <a:gd name="T7" fmla="*/ 0 h 1646"/>
            </a:gdLst>
            <a:ahLst/>
            <a:cxnLst>
              <a:cxn ang="0">
                <a:pos x="T0" y="T1"/>
              </a:cxn>
              <a:cxn ang="0">
                <a:pos x="T2" y="T3"/>
              </a:cxn>
              <a:cxn ang="0">
                <a:pos x="T4" y="T5"/>
              </a:cxn>
              <a:cxn ang="0">
                <a:pos x="T6" y="T7"/>
              </a:cxn>
            </a:cxnLst>
            <a:rect l="0" t="0" r="r" b="b"/>
            <a:pathLst>
              <a:path w="1093" h="1646">
                <a:moveTo>
                  <a:pt x="1090" y="0"/>
                </a:moveTo>
                <a:lnTo>
                  <a:pt x="1093" y="1646"/>
                </a:lnTo>
                <a:lnTo>
                  <a:pt x="0" y="0"/>
                </a:lnTo>
                <a:lnTo>
                  <a:pt x="1090" y="0"/>
                </a:lnTo>
                <a:close/>
              </a:path>
            </a:pathLst>
          </a:custGeom>
          <a:solidFill>
            <a:srgbClr val="A7A8A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8">
            <a:extLst>
              <a:ext uri="{FF2B5EF4-FFF2-40B4-BE49-F238E27FC236}">
                <a16:creationId xmlns:a16="http://schemas.microsoft.com/office/drawing/2014/main" id="{7A69AF2A-6224-48AA-8208-B510371CE507}"/>
              </a:ext>
            </a:extLst>
          </p:cNvPr>
          <p:cNvSpPr>
            <a:spLocks/>
          </p:cNvSpPr>
          <p:nvPr/>
        </p:nvSpPr>
        <p:spPr bwMode="auto">
          <a:xfrm>
            <a:off x="6086232" y="2036421"/>
            <a:ext cx="5635868" cy="1948352"/>
          </a:xfrm>
          <a:custGeom>
            <a:avLst/>
            <a:gdLst>
              <a:gd name="T0" fmla="*/ 2885 w 2885"/>
              <a:gd name="T1" fmla="*/ 1414 h 1414"/>
              <a:gd name="T2" fmla="*/ 0 w 2885"/>
              <a:gd name="T3" fmla="*/ 1402 h 1414"/>
              <a:gd name="T4" fmla="*/ 2885 w 2885"/>
              <a:gd name="T5" fmla="*/ 0 h 1414"/>
              <a:gd name="T6" fmla="*/ 2885 w 2885"/>
              <a:gd name="T7" fmla="*/ 1414 h 1414"/>
            </a:gdLst>
            <a:ahLst/>
            <a:cxnLst>
              <a:cxn ang="0">
                <a:pos x="T0" y="T1"/>
              </a:cxn>
              <a:cxn ang="0">
                <a:pos x="T2" y="T3"/>
              </a:cxn>
              <a:cxn ang="0">
                <a:pos x="T4" y="T5"/>
              </a:cxn>
              <a:cxn ang="0">
                <a:pos x="T6" y="T7"/>
              </a:cxn>
            </a:cxnLst>
            <a:rect l="0" t="0" r="r" b="b"/>
            <a:pathLst>
              <a:path w="2885" h="1414">
                <a:moveTo>
                  <a:pt x="2885" y="1414"/>
                </a:moveTo>
                <a:lnTo>
                  <a:pt x="0" y="1402"/>
                </a:lnTo>
                <a:lnTo>
                  <a:pt x="2885" y="0"/>
                </a:lnTo>
                <a:lnTo>
                  <a:pt x="2885" y="141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9">
            <a:extLst>
              <a:ext uri="{FF2B5EF4-FFF2-40B4-BE49-F238E27FC236}">
                <a16:creationId xmlns:a16="http://schemas.microsoft.com/office/drawing/2014/main" id="{D92CA323-84BB-4083-8C64-D3B1D77F3810}"/>
              </a:ext>
            </a:extLst>
          </p:cNvPr>
          <p:cNvSpPr>
            <a:spLocks/>
          </p:cNvSpPr>
          <p:nvPr/>
        </p:nvSpPr>
        <p:spPr bwMode="auto">
          <a:xfrm>
            <a:off x="6086232" y="1700213"/>
            <a:ext cx="5635868" cy="2268025"/>
          </a:xfrm>
          <a:custGeom>
            <a:avLst/>
            <a:gdLst>
              <a:gd name="T0" fmla="*/ 1097 w 2885"/>
              <a:gd name="T1" fmla="*/ 0 h 1646"/>
              <a:gd name="T2" fmla="*/ 2885 w 2885"/>
              <a:gd name="T3" fmla="*/ 0 h 1646"/>
              <a:gd name="T4" fmla="*/ 2885 w 2885"/>
              <a:gd name="T5" fmla="*/ 244 h 1646"/>
              <a:gd name="T6" fmla="*/ 0 w 2885"/>
              <a:gd name="T7" fmla="*/ 1646 h 1646"/>
              <a:gd name="T8" fmla="*/ 1097 w 2885"/>
              <a:gd name="T9" fmla="*/ 0 h 1646"/>
            </a:gdLst>
            <a:ahLst/>
            <a:cxnLst>
              <a:cxn ang="0">
                <a:pos x="T0" y="T1"/>
              </a:cxn>
              <a:cxn ang="0">
                <a:pos x="T2" y="T3"/>
              </a:cxn>
              <a:cxn ang="0">
                <a:pos x="T4" y="T5"/>
              </a:cxn>
              <a:cxn ang="0">
                <a:pos x="T6" y="T7"/>
              </a:cxn>
              <a:cxn ang="0">
                <a:pos x="T8" y="T9"/>
              </a:cxn>
            </a:cxnLst>
            <a:rect l="0" t="0" r="r" b="b"/>
            <a:pathLst>
              <a:path w="2885" h="1646">
                <a:moveTo>
                  <a:pt x="1097" y="0"/>
                </a:moveTo>
                <a:lnTo>
                  <a:pt x="2885" y="0"/>
                </a:lnTo>
                <a:lnTo>
                  <a:pt x="2885" y="244"/>
                </a:lnTo>
                <a:lnTo>
                  <a:pt x="0" y="1646"/>
                </a:lnTo>
                <a:lnTo>
                  <a:pt x="1097"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10">
            <a:extLst>
              <a:ext uri="{FF2B5EF4-FFF2-40B4-BE49-F238E27FC236}">
                <a16:creationId xmlns:a16="http://schemas.microsoft.com/office/drawing/2014/main" id="{0D117F1B-9F04-4EA8-8A87-512818F47156}"/>
              </a:ext>
            </a:extLst>
          </p:cNvPr>
          <p:cNvSpPr>
            <a:spLocks/>
          </p:cNvSpPr>
          <p:nvPr/>
        </p:nvSpPr>
        <p:spPr bwMode="auto">
          <a:xfrm>
            <a:off x="6086232" y="1700213"/>
            <a:ext cx="2142998" cy="2268025"/>
          </a:xfrm>
          <a:custGeom>
            <a:avLst/>
            <a:gdLst>
              <a:gd name="T0" fmla="*/ 4 w 1097"/>
              <a:gd name="T1" fmla="*/ 0 h 1646"/>
              <a:gd name="T2" fmla="*/ 0 w 1097"/>
              <a:gd name="T3" fmla="*/ 1646 h 1646"/>
              <a:gd name="T4" fmla="*/ 1097 w 1097"/>
              <a:gd name="T5" fmla="*/ 0 h 1646"/>
              <a:gd name="T6" fmla="*/ 4 w 1097"/>
              <a:gd name="T7" fmla="*/ 0 h 1646"/>
            </a:gdLst>
            <a:ahLst/>
            <a:cxnLst>
              <a:cxn ang="0">
                <a:pos x="T0" y="T1"/>
              </a:cxn>
              <a:cxn ang="0">
                <a:pos x="T2" y="T3"/>
              </a:cxn>
              <a:cxn ang="0">
                <a:pos x="T4" y="T5"/>
              </a:cxn>
              <a:cxn ang="0">
                <a:pos x="T6" y="T7"/>
              </a:cxn>
            </a:cxnLst>
            <a:rect l="0" t="0" r="r" b="b"/>
            <a:pathLst>
              <a:path w="1097" h="1646">
                <a:moveTo>
                  <a:pt x="4" y="0"/>
                </a:moveTo>
                <a:lnTo>
                  <a:pt x="0" y="1646"/>
                </a:lnTo>
                <a:lnTo>
                  <a:pt x="1097" y="0"/>
                </a:lnTo>
                <a:lnTo>
                  <a:pt x="4"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Freeform 11">
            <a:extLst>
              <a:ext uri="{FF2B5EF4-FFF2-40B4-BE49-F238E27FC236}">
                <a16:creationId xmlns:a16="http://schemas.microsoft.com/office/drawing/2014/main" id="{E705E899-5C57-4053-B159-5A042D5BA5C3}"/>
              </a:ext>
            </a:extLst>
          </p:cNvPr>
          <p:cNvSpPr>
            <a:spLocks/>
          </p:cNvSpPr>
          <p:nvPr/>
        </p:nvSpPr>
        <p:spPr bwMode="auto">
          <a:xfrm>
            <a:off x="469900" y="3948947"/>
            <a:ext cx="5630008" cy="1948352"/>
          </a:xfrm>
          <a:custGeom>
            <a:avLst/>
            <a:gdLst>
              <a:gd name="T0" fmla="*/ 0 w 2882"/>
              <a:gd name="T1" fmla="*/ 0 h 1414"/>
              <a:gd name="T2" fmla="*/ 2882 w 2882"/>
              <a:gd name="T3" fmla="*/ 12 h 1414"/>
              <a:gd name="T4" fmla="*/ 0 w 2882"/>
              <a:gd name="T5" fmla="*/ 1414 h 1414"/>
              <a:gd name="T6" fmla="*/ 0 w 2882"/>
              <a:gd name="T7" fmla="*/ 0 h 1414"/>
            </a:gdLst>
            <a:ahLst/>
            <a:cxnLst>
              <a:cxn ang="0">
                <a:pos x="T0" y="T1"/>
              </a:cxn>
              <a:cxn ang="0">
                <a:pos x="T2" y="T3"/>
              </a:cxn>
              <a:cxn ang="0">
                <a:pos x="T4" y="T5"/>
              </a:cxn>
              <a:cxn ang="0">
                <a:pos x="T6" y="T7"/>
              </a:cxn>
            </a:cxnLst>
            <a:rect l="0" t="0" r="r" b="b"/>
            <a:pathLst>
              <a:path w="2882" h="1414">
                <a:moveTo>
                  <a:pt x="0" y="0"/>
                </a:moveTo>
                <a:lnTo>
                  <a:pt x="2882" y="12"/>
                </a:lnTo>
                <a:lnTo>
                  <a:pt x="0" y="1414"/>
                </a:lnTo>
                <a:lnTo>
                  <a:pt x="0" y="0"/>
                </a:lnTo>
                <a:close/>
              </a:path>
            </a:pathLst>
          </a:custGeom>
          <a:solidFill>
            <a:srgbClr val="A7A8A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Freeform 12">
            <a:extLst>
              <a:ext uri="{FF2B5EF4-FFF2-40B4-BE49-F238E27FC236}">
                <a16:creationId xmlns:a16="http://schemas.microsoft.com/office/drawing/2014/main" id="{12E68202-DB88-4B65-8A93-C38D1747E092}"/>
              </a:ext>
            </a:extLst>
          </p:cNvPr>
          <p:cNvSpPr>
            <a:spLocks/>
          </p:cNvSpPr>
          <p:nvPr/>
        </p:nvSpPr>
        <p:spPr bwMode="auto">
          <a:xfrm>
            <a:off x="469900" y="3965482"/>
            <a:ext cx="5630008" cy="2268025"/>
          </a:xfrm>
          <a:custGeom>
            <a:avLst/>
            <a:gdLst>
              <a:gd name="T0" fmla="*/ 1789 w 2882"/>
              <a:gd name="T1" fmla="*/ 1646 h 1646"/>
              <a:gd name="T2" fmla="*/ 0 w 2882"/>
              <a:gd name="T3" fmla="*/ 1646 h 1646"/>
              <a:gd name="T4" fmla="*/ 0 w 2882"/>
              <a:gd name="T5" fmla="*/ 1402 h 1646"/>
              <a:gd name="T6" fmla="*/ 2882 w 2882"/>
              <a:gd name="T7" fmla="*/ 0 h 1646"/>
              <a:gd name="T8" fmla="*/ 1789 w 2882"/>
              <a:gd name="T9" fmla="*/ 1646 h 1646"/>
            </a:gdLst>
            <a:ahLst/>
            <a:cxnLst>
              <a:cxn ang="0">
                <a:pos x="T0" y="T1"/>
              </a:cxn>
              <a:cxn ang="0">
                <a:pos x="T2" y="T3"/>
              </a:cxn>
              <a:cxn ang="0">
                <a:pos x="T4" y="T5"/>
              </a:cxn>
              <a:cxn ang="0">
                <a:pos x="T6" y="T7"/>
              </a:cxn>
              <a:cxn ang="0">
                <a:pos x="T8" y="T9"/>
              </a:cxn>
            </a:cxnLst>
            <a:rect l="0" t="0" r="r" b="b"/>
            <a:pathLst>
              <a:path w="2882" h="1646">
                <a:moveTo>
                  <a:pt x="1789" y="1646"/>
                </a:moveTo>
                <a:lnTo>
                  <a:pt x="0" y="1646"/>
                </a:lnTo>
                <a:lnTo>
                  <a:pt x="0" y="1402"/>
                </a:lnTo>
                <a:lnTo>
                  <a:pt x="2882" y="0"/>
                </a:lnTo>
                <a:lnTo>
                  <a:pt x="1789" y="1646"/>
                </a:ln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Freeform 13">
            <a:extLst>
              <a:ext uri="{FF2B5EF4-FFF2-40B4-BE49-F238E27FC236}">
                <a16:creationId xmlns:a16="http://schemas.microsoft.com/office/drawing/2014/main" id="{7742191A-B0B8-4435-90AA-87342E5A7FF1}"/>
              </a:ext>
            </a:extLst>
          </p:cNvPr>
          <p:cNvSpPr>
            <a:spLocks/>
          </p:cNvSpPr>
          <p:nvPr/>
        </p:nvSpPr>
        <p:spPr bwMode="auto">
          <a:xfrm>
            <a:off x="3964724" y="3965482"/>
            <a:ext cx="2135184" cy="2268025"/>
          </a:xfrm>
          <a:custGeom>
            <a:avLst/>
            <a:gdLst>
              <a:gd name="T0" fmla="*/ 1090 w 1093"/>
              <a:gd name="T1" fmla="*/ 1646 h 1646"/>
              <a:gd name="T2" fmla="*/ 1093 w 1093"/>
              <a:gd name="T3" fmla="*/ 0 h 1646"/>
              <a:gd name="T4" fmla="*/ 0 w 1093"/>
              <a:gd name="T5" fmla="*/ 1646 h 1646"/>
              <a:gd name="T6" fmla="*/ 1090 w 1093"/>
              <a:gd name="T7" fmla="*/ 1646 h 1646"/>
            </a:gdLst>
            <a:ahLst/>
            <a:cxnLst>
              <a:cxn ang="0">
                <a:pos x="T0" y="T1"/>
              </a:cxn>
              <a:cxn ang="0">
                <a:pos x="T2" y="T3"/>
              </a:cxn>
              <a:cxn ang="0">
                <a:pos x="T4" y="T5"/>
              </a:cxn>
              <a:cxn ang="0">
                <a:pos x="T6" y="T7"/>
              </a:cxn>
            </a:cxnLst>
            <a:rect l="0" t="0" r="r" b="b"/>
            <a:pathLst>
              <a:path w="1093" h="1646">
                <a:moveTo>
                  <a:pt x="1090" y="1646"/>
                </a:moveTo>
                <a:lnTo>
                  <a:pt x="1093" y="0"/>
                </a:lnTo>
                <a:lnTo>
                  <a:pt x="0" y="1646"/>
                </a:lnTo>
                <a:lnTo>
                  <a:pt x="1090" y="1646"/>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Freeform 14">
            <a:extLst>
              <a:ext uri="{FF2B5EF4-FFF2-40B4-BE49-F238E27FC236}">
                <a16:creationId xmlns:a16="http://schemas.microsoft.com/office/drawing/2014/main" id="{F6211D39-55D1-4414-AB80-93E9B0D33030}"/>
              </a:ext>
            </a:extLst>
          </p:cNvPr>
          <p:cNvSpPr>
            <a:spLocks/>
          </p:cNvSpPr>
          <p:nvPr/>
        </p:nvSpPr>
        <p:spPr bwMode="auto">
          <a:xfrm>
            <a:off x="6086232" y="3948947"/>
            <a:ext cx="5635868" cy="1948352"/>
          </a:xfrm>
          <a:custGeom>
            <a:avLst/>
            <a:gdLst>
              <a:gd name="T0" fmla="*/ 2885 w 2885"/>
              <a:gd name="T1" fmla="*/ 0 h 1414"/>
              <a:gd name="T2" fmla="*/ 0 w 2885"/>
              <a:gd name="T3" fmla="*/ 12 h 1414"/>
              <a:gd name="T4" fmla="*/ 2885 w 2885"/>
              <a:gd name="T5" fmla="*/ 1414 h 1414"/>
              <a:gd name="T6" fmla="*/ 2885 w 2885"/>
              <a:gd name="T7" fmla="*/ 0 h 1414"/>
            </a:gdLst>
            <a:ahLst/>
            <a:cxnLst>
              <a:cxn ang="0">
                <a:pos x="T0" y="T1"/>
              </a:cxn>
              <a:cxn ang="0">
                <a:pos x="T2" y="T3"/>
              </a:cxn>
              <a:cxn ang="0">
                <a:pos x="T4" y="T5"/>
              </a:cxn>
              <a:cxn ang="0">
                <a:pos x="T6" y="T7"/>
              </a:cxn>
            </a:cxnLst>
            <a:rect l="0" t="0" r="r" b="b"/>
            <a:pathLst>
              <a:path w="2885" h="1414">
                <a:moveTo>
                  <a:pt x="2885" y="0"/>
                </a:moveTo>
                <a:lnTo>
                  <a:pt x="0" y="12"/>
                </a:lnTo>
                <a:lnTo>
                  <a:pt x="2885" y="1414"/>
                </a:lnTo>
                <a:lnTo>
                  <a:pt x="288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Freeform 15">
            <a:extLst>
              <a:ext uri="{FF2B5EF4-FFF2-40B4-BE49-F238E27FC236}">
                <a16:creationId xmlns:a16="http://schemas.microsoft.com/office/drawing/2014/main" id="{651AD20B-870F-425E-995D-6F83ED040940}"/>
              </a:ext>
            </a:extLst>
          </p:cNvPr>
          <p:cNvSpPr>
            <a:spLocks/>
          </p:cNvSpPr>
          <p:nvPr/>
        </p:nvSpPr>
        <p:spPr bwMode="auto">
          <a:xfrm>
            <a:off x="6086232" y="3965482"/>
            <a:ext cx="5635868" cy="2268025"/>
          </a:xfrm>
          <a:custGeom>
            <a:avLst/>
            <a:gdLst>
              <a:gd name="T0" fmla="*/ 1097 w 2885"/>
              <a:gd name="T1" fmla="*/ 1646 h 1646"/>
              <a:gd name="T2" fmla="*/ 2885 w 2885"/>
              <a:gd name="T3" fmla="*/ 1646 h 1646"/>
              <a:gd name="T4" fmla="*/ 2885 w 2885"/>
              <a:gd name="T5" fmla="*/ 1402 h 1646"/>
              <a:gd name="T6" fmla="*/ 0 w 2885"/>
              <a:gd name="T7" fmla="*/ 0 h 1646"/>
              <a:gd name="T8" fmla="*/ 1097 w 2885"/>
              <a:gd name="T9" fmla="*/ 1646 h 1646"/>
            </a:gdLst>
            <a:ahLst/>
            <a:cxnLst>
              <a:cxn ang="0">
                <a:pos x="T0" y="T1"/>
              </a:cxn>
              <a:cxn ang="0">
                <a:pos x="T2" y="T3"/>
              </a:cxn>
              <a:cxn ang="0">
                <a:pos x="T4" y="T5"/>
              </a:cxn>
              <a:cxn ang="0">
                <a:pos x="T6" y="T7"/>
              </a:cxn>
              <a:cxn ang="0">
                <a:pos x="T8" y="T9"/>
              </a:cxn>
            </a:cxnLst>
            <a:rect l="0" t="0" r="r" b="b"/>
            <a:pathLst>
              <a:path w="2885" h="1646">
                <a:moveTo>
                  <a:pt x="1097" y="1646"/>
                </a:moveTo>
                <a:lnTo>
                  <a:pt x="2885" y="1646"/>
                </a:lnTo>
                <a:lnTo>
                  <a:pt x="2885" y="1402"/>
                </a:lnTo>
                <a:lnTo>
                  <a:pt x="0" y="0"/>
                </a:lnTo>
                <a:lnTo>
                  <a:pt x="1097" y="164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Freeform 16">
            <a:extLst>
              <a:ext uri="{FF2B5EF4-FFF2-40B4-BE49-F238E27FC236}">
                <a16:creationId xmlns:a16="http://schemas.microsoft.com/office/drawing/2014/main" id="{B377750C-F9A0-48EE-B937-BBC1D2C5076A}"/>
              </a:ext>
            </a:extLst>
          </p:cNvPr>
          <p:cNvSpPr>
            <a:spLocks/>
          </p:cNvSpPr>
          <p:nvPr/>
        </p:nvSpPr>
        <p:spPr bwMode="auto">
          <a:xfrm>
            <a:off x="6086232" y="3965482"/>
            <a:ext cx="2142998" cy="2268025"/>
          </a:xfrm>
          <a:custGeom>
            <a:avLst/>
            <a:gdLst>
              <a:gd name="T0" fmla="*/ 4 w 1097"/>
              <a:gd name="T1" fmla="*/ 1646 h 1646"/>
              <a:gd name="T2" fmla="*/ 0 w 1097"/>
              <a:gd name="T3" fmla="*/ 0 h 1646"/>
              <a:gd name="T4" fmla="*/ 1097 w 1097"/>
              <a:gd name="T5" fmla="*/ 1646 h 1646"/>
              <a:gd name="T6" fmla="*/ 4 w 1097"/>
              <a:gd name="T7" fmla="*/ 1646 h 1646"/>
            </a:gdLst>
            <a:ahLst/>
            <a:cxnLst>
              <a:cxn ang="0">
                <a:pos x="T0" y="T1"/>
              </a:cxn>
              <a:cxn ang="0">
                <a:pos x="T2" y="T3"/>
              </a:cxn>
              <a:cxn ang="0">
                <a:pos x="T4" y="T5"/>
              </a:cxn>
              <a:cxn ang="0">
                <a:pos x="T6" y="T7"/>
              </a:cxn>
            </a:cxnLst>
            <a:rect l="0" t="0" r="r" b="b"/>
            <a:pathLst>
              <a:path w="1097" h="1646">
                <a:moveTo>
                  <a:pt x="4" y="1646"/>
                </a:moveTo>
                <a:lnTo>
                  <a:pt x="0" y="0"/>
                </a:lnTo>
                <a:lnTo>
                  <a:pt x="1097" y="1646"/>
                </a:lnTo>
                <a:lnTo>
                  <a:pt x="4" y="164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Oval 17">
            <a:extLst>
              <a:ext uri="{FF2B5EF4-FFF2-40B4-BE49-F238E27FC236}">
                <a16:creationId xmlns:a16="http://schemas.microsoft.com/office/drawing/2014/main" id="{C71C751F-3CBA-4AFB-8987-4E6903FA1D66}"/>
              </a:ext>
            </a:extLst>
          </p:cNvPr>
          <p:cNvSpPr>
            <a:spLocks noChangeArrowheads="1"/>
          </p:cNvSpPr>
          <p:nvPr/>
        </p:nvSpPr>
        <p:spPr bwMode="auto">
          <a:xfrm>
            <a:off x="4778855" y="2588611"/>
            <a:ext cx="2621548" cy="262834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Text Box 10">
            <a:extLst>
              <a:ext uri="{FF2B5EF4-FFF2-40B4-BE49-F238E27FC236}">
                <a16:creationId xmlns:a16="http://schemas.microsoft.com/office/drawing/2014/main" id="{2EB020C6-0A7F-41CA-B31D-3D3CE9735C25}"/>
              </a:ext>
            </a:extLst>
          </p:cNvPr>
          <p:cNvSpPr txBox="1">
            <a:spLocks noChangeArrowheads="1"/>
          </p:cNvSpPr>
          <p:nvPr/>
        </p:nvSpPr>
        <p:spPr bwMode="auto">
          <a:xfrm>
            <a:off x="6634615" y="5317017"/>
            <a:ext cx="1175421" cy="73866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defTabSz="1088232"/>
            <a:r>
              <a:rPr lang="en-US" altLang="zh-CN" sz="1400" dirty="0" err="1">
                <a:solidFill>
                  <a:schemeClr val="bg1"/>
                </a:solidFill>
                <a:ea typeface="Open Sans" pitchFamily="34" charset="0"/>
                <a:cs typeface="Open Sans" pitchFamily="34" charset="0"/>
              </a:rPr>
              <a:t>xxxxxx</a:t>
            </a:r>
            <a:endParaRPr lang="en-US" altLang="zh-CN" sz="1400" dirty="0">
              <a:solidFill>
                <a:schemeClr val="bg1"/>
              </a:solidFill>
              <a:ea typeface="Open Sans" pitchFamily="34" charset="0"/>
              <a:cs typeface="Open Sans" pitchFamily="34" charset="0"/>
            </a:endParaRPr>
          </a:p>
        </p:txBody>
      </p:sp>
      <p:sp>
        <p:nvSpPr>
          <p:cNvPr id="69" name="Text Box 10">
            <a:extLst>
              <a:ext uri="{FF2B5EF4-FFF2-40B4-BE49-F238E27FC236}">
                <a16:creationId xmlns:a16="http://schemas.microsoft.com/office/drawing/2014/main" id="{9D49B069-A248-431B-AEC4-36187F479CCC}"/>
              </a:ext>
            </a:extLst>
          </p:cNvPr>
          <p:cNvSpPr txBox="1">
            <a:spLocks noChangeArrowheads="1"/>
          </p:cNvSpPr>
          <p:nvPr/>
        </p:nvSpPr>
        <p:spPr bwMode="auto">
          <a:xfrm>
            <a:off x="4491719" y="5317017"/>
            <a:ext cx="1175421" cy="73866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r" defTabSz="1088232"/>
            <a:r>
              <a:rPr lang="en-US" altLang="zh-CN" sz="1400" dirty="0" err="1">
                <a:solidFill>
                  <a:schemeClr val="bg1"/>
                </a:solidFill>
                <a:ea typeface="Open Sans" pitchFamily="34" charset="0"/>
                <a:cs typeface="Open Sans" pitchFamily="34" charset="0"/>
              </a:rPr>
              <a:t>xxxxxxxxx</a:t>
            </a:r>
            <a:endParaRPr lang="en-US" altLang="zh-CN" sz="1400" dirty="0">
              <a:solidFill>
                <a:schemeClr val="bg1"/>
              </a:solidFill>
              <a:ea typeface="Open Sans" pitchFamily="34" charset="0"/>
              <a:cs typeface="Open Sans" pitchFamily="34" charset="0"/>
            </a:endParaRPr>
          </a:p>
        </p:txBody>
      </p:sp>
      <p:sp>
        <p:nvSpPr>
          <p:cNvPr id="70" name="Text Box 10">
            <a:extLst>
              <a:ext uri="{FF2B5EF4-FFF2-40B4-BE49-F238E27FC236}">
                <a16:creationId xmlns:a16="http://schemas.microsoft.com/office/drawing/2014/main" id="{10FD55B1-B6EE-44B7-803F-2062E283D05C}"/>
              </a:ext>
            </a:extLst>
          </p:cNvPr>
          <p:cNvSpPr txBox="1">
            <a:spLocks noChangeArrowheads="1"/>
          </p:cNvSpPr>
          <p:nvPr/>
        </p:nvSpPr>
        <p:spPr bwMode="auto">
          <a:xfrm>
            <a:off x="6627992" y="1832756"/>
            <a:ext cx="1175421" cy="73866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a:t>
            </a:r>
            <a:endParaRPr lang="en-US" altLang="zh-CN" sz="1100" dirty="0">
              <a:solidFill>
                <a:schemeClr val="bg1"/>
              </a:solidFill>
              <a:ea typeface="Open Sans" pitchFamily="34" charset="0"/>
              <a:cs typeface="Open Sans" pitchFamily="34" charset="0"/>
            </a:endParaRPr>
          </a:p>
          <a:p>
            <a:pPr defTabSz="1088232"/>
            <a:r>
              <a:rPr lang="en-US" altLang="zh-CN" sz="1400" dirty="0" err="1">
                <a:solidFill>
                  <a:schemeClr val="bg1"/>
                </a:solidFill>
                <a:ea typeface="Open Sans" pitchFamily="34" charset="0"/>
                <a:cs typeface="Open Sans" pitchFamily="34" charset="0"/>
              </a:rPr>
              <a:t>xxxxxx</a:t>
            </a:r>
            <a:endParaRPr lang="en-US" altLang="zh-CN" sz="1400" dirty="0">
              <a:solidFill>
                <a:schemeClr val="bg1"/>
              </a:solidFill>
              <a:ea typeface="Open Sans" pitchFamily="34" charset="0"/>
              <a:cs typeface="Open Sans" pitchFamily="34" charset="0"/>
            </a:endParaRPr>
          </a:p>
        </p:txBody>
      </p:sp>
      <p:sp>
        <p:nvSpPr>
          <p:cNvPr id="71" name="Text Box 10">
            <a:extLst>
              <a:ext uri="{FF2B5EF4-FFF2-40B4-BE49-F238E27FC236}">
                <a16:creationId xmlns:a16="http://schemas.microsoft.com/office/drawing/2014/main" id="{AB3C22DE-5A5E-4100-A8AE-D366181655E9}"/>
              </a:ext>
            </a:extLst>
          </p:cNvPr>
          <p:cNvSpPr txBox="1">
            <a:spLocks noChangeArrowheads="1"/>
          </p:cNvSpPr>
          <p:nvPr/>
        </p:nvSpPr>
        <p:spPr bwMode="auto">
          <a:xfrm>
            <a:off x="4478471" y="1832756"/>
            <a:ext cx="1175421" cy="784830"/>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r>
              <a:rPr lang="en-US" altLang="zh-CN" sz="1400" dirty="0" err="1">
                <a:solidFill>
                  <a:schemeClr val="bg1"/>
                </a:solidFill>
                <a:ea typeface="Open Sans" pitchFamily="34" charset="0"/>
                <a:cs typeface="Open Sans" pitchFamily="34" charset="0"/>
              </a:rPr>
              <a:t>xxxxxxxx</a:t>
            </a:r>
            <a:endParaRPr lang="en-US" altLang="zh-CN" sz="1400" dirty="0">
              <a:solidFill>
                <a:schemeClr val="bg1"/>
              </a:solidFill>
              <a:ea typeface="Open Sans" pitchFamily="34" charset="0"/>
              <a:cs typeface="Open Sans" pitchFamily="34" charset="0"/>
            </a:endParaRPr>
          </a:p>
        </p:txBody>
      </p:sp>
      <p:sp>
        <p:nvSpPr>
          <p:cNvPr id="67" name="Text Box 10">
            <a:extLst>
              <a:ext uri="{FF2B5EF4-FFF2-40B4-BE49-F238E27FC236}">
                <a16:creationId xmlns:a16="http://schemas.microsoft.com/office/drawing/2014/main" id="{F3DB74A6-B6FC-4039-AC82-445D141B424D}"/>
              </a:ext>
            </a:extLst>
          </p:cNvPr>
          <p:cNvSpPr txBox="1">
            <a:spLocks noChangeArrowheads="1"/>
          </p:cNvSpPr>
          <p:nvPr/>
        </p:nvSpPr>
        <p:spPr bwMode="auto">
          <a:xfrm>
            <a:off x="1855039" y="2994176"/>
            <a:ext cx="1669205" cy="73866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72" name="Text Box 10">
            <a:extLst>
              <a:ext uri="{FF2B5EF4-FFF2-40B4-BE49-F238E27FC236}">
                <a16:creationId xmlns:a16="http://schemas.microsoft.com/office/drawing/2014/main" id="{CE4CF266-20C2-4C98-91EB-D3EA601A27ED}"/>
              </a:ext>
            </a:extLst>
          </p:cNvPr>
          <p:cNvSpPr txBox="1">
            <a:spLocks noChangeArrowheads="1"/>
          </p:cNvSpPr>
          <p:nvPr/>
        </p:nvSpPr>
        <p:spPr bwMode="auto">
          <a:xfrm>
            <a:off x="1855039" y="4155596"/>
            <a:ext cx="1669205" cy="73866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73" name="Text Box 10">
            <a:extLst>
              <a:ext uri="{FF2B5EF4-FFF2-40B4-BE49-F238E27FC236}">
                <a16:creationId xmlns:a16="http://schemas.microsoft.com/office/drawing/2014/main" id="{3A3BE1D4-15C3-4944-A0CC-1428931AF443}"/>
              </a:ext>
            </a:extLst>
          </p:cNvPr>
          <p:cNvSpPr txBox="1">
            <a:spLocks noChangeArrowheads="1"/>
          </p:cNvSpPr>
          <p:nvPr/>
        </p:nvSpPr>
        <p:spPr bwMode="auto">
          <a:xfrm>
            <a:off x="1855039" y="5317017"/>
            <a:ext cx="1669205" cy="73866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63" name="Text Box 10">
            <a:extLst>
              <a:ext uri="{FF2B5EF4-FFF2-40B4-BE49-F238E27FC236}">
                <a16:creationId xmlns:a16="http://schemas.microsoft.com/office/drawing/2014/main" id="{ADDF329F-7E4D-426F-9A4A-A11B1759B3A6}"/>
              </a:ext>
            </a:extLst>
          </p:cNvPr>
          <p:cNvSpPr txBox="1">
            <a:spLocks noChangeArrowheads="1"/>
          </p:cNvSpPr>
          <p:nvPr/>
        </p:nvSpPr>
        <p:spPr bwMode="auto">
          <a:xfrm>
            <a:off x="8777512" y="4217152"/>
            <a:ext cx="1669205" cy="692497"/>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a:t>
            </a:r>
            <a:endParaRPr lang="en-US" altLang="zh-CN" sz="1100" dirty="0">
              <a:solidFill>
                <a:schemeClr val="bg1"/>
              </a:solidFill>
              <a:ea typeface="Open Sans" pitchFamily="34" charset="0"/>
              <a:cs typeface="Open Sans" pitchFamily="34" charset="0"/>
            </a:endParaRPr>
          </a:p>
        </p:txBody>
      </p:sp>
      <p:sp>
        <p:nvSpPr>
          <p:cNvPr id="64" name="Text Box 10">
            <a:extLst>
              <a:ext uri="{FF2B5EF4-FFF2-40B4-BE49-F238E27FC236}">
                <a16:creationId xmlns:a16="http://schemas.microsoft.com/office/drawing/2014/main" id="{DF8C3366-BCE2-4808-B25F-ED9A8BA46485}"/>
              </a:ext>
            </a:extLst>
          </p:cNvPr>
          <p:cNvSpPr txBox="1">
            <a:spLocks noChangeArrowheads="1"/>
          </p:cNvSpPr>
          <p:nvPr/>
        </p:nvSpPr>
        <p:spPr bwMode="auto">
          <a:xfrm>
            <a:off x="8777512" y="5363184"/>
            <a:ext cx="1669205" cy="692497"/>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a:t>
            </a:r>
            <a:endParaRPr lang="en-US" altLang="zh-CN" sz="1100" dirty="0">
              <a:solidFill>
                <a:schemeClr val="bg1"/>
              </a:solidFill>
              <a:ea typeface="Open Sans" pitchFamily="34" charset="0"/>
              <a:cs typeface="Open Sans" pitchFamily="34" charset="0"/>
            </a:endParaRPr>
          </a:p>
        </p:txBody>
      </p:sp>
      <p:sp>
        <p:nvSpPr>
          <p:cNvPr id="65" name="Text Box 10">
            <a:extLst>
              <a:ext uri="{FF2B5EF4-FFF2-40B4-BE49-F238E27FC236}">
                <a16:creationId xmlns:a16="http://schemas.microsoft.com/office/drawing/2014/main" id="{6B2AA014-232E-4AEB-8055-3B56F6DD37B7}"/>
              </a:ext>
            </a:extLst>
          </p:cNvPr>
          <p:cNvSpPr txBox="1">
            <a:spLocks noChangeArrowheads="1"/>
          </p:cNvSpPr>
          <p:nvPr/>
        </p:nvSpPr>
        <p:spPr bwMode="auto">
          <a:xfrm>
            <a:off x="8777512" y="3024954"/>
            <a:ext cx="1669205" cy="73866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66" name="Text Box 10">
            <a:extLst>
              <a:ext uri="{FF2B5EF4-FFF2-40B4-BE49-F238E27FC236}">
                <a16:creationId xmlns:a16="http://schemas.microsoft.com/office/drawing/2014/main" id="{5A22EC85-996D-4191-A64F-E57B8270B071}"/>
              </a:ext>
            </a:extLst>
          </p:cNvPr>
          <p:cNvSpPr txBox="1">
            <a:spLocks noChangeArrowheads="1"/>
          </p:cNvSpPr>
          <p:nvPr/>
        </p:nvSpPr>
        <p:spPr bwMode="auto">
          <a:xfrm>
            <a:off x="8777512" y="1832756"/>
            <a:ext cx="1669205" cy="73866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74" name="Text Box 10">
            <a:extLst>
              <a:ext uri="{FF2B5EF4-FFF2-40B4-BE49-F238E27FC236}">
                <a16:creationId xmlns:a16="http://schemas.microsoft.com/office/drawing/2014/main" id="{3F464D6A-AB64-4FFF-AD93-EE2297D1DF0C}"/>
              </a:ext>
            </a:extLst>
          </p:cNvPr>
          <p:cNvSpPr txBox="1">
            <a:spLocks noChangeArrowheads="1"/>
          </p:cNvSpPr>
          <p:nvPr/>
        </p:nvSpPr>
        <p:spPr bwMode="auto">
          <a:xfrm>
            <a:off x="1835166" y="1832756"/>
            <a:ext cx="1669205" cy="73866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75" name="Text Box 10">
            <a:extLst>
              <a:ext uri="{FF2B5EF4-FFF2-40B4-BE49-F238E27FC236}">
                <a16:creationId xmlns:a16="http://schemas.microsoft.com/office/drawing/2014/main" id="{61A8669B-9A8C-4702-ADBE-30C25AE7CC41}"/>
              </a:ext>
            </a:extLst>
          </p:cNvPr>
          <p:cNvSpPr txBox="1">
            <a:spLocks noChangeArrowheads="1"/>
          </p:cNvSpPr>
          <p:nvPr/>
        </p:nvSpPr>
        <p:spPr bwMode="auto">
          <a:xfrm>
            <a:off x="5522172" y="3919154"/>
            <a:ext cx="1175421" cy="738664"/>
          </a:xfrm>
          <a:prstGeom prst="rect">
            <a:avLst/>
          </a:prstGeom>
          <a:noFill/>
          <a:ln w="9525">
            <a:noFill/>
            <a:miter lim="800000"/>
            <a:headEnd/>
            <a:tailEnd/>
          </a:ln>
        </p:spPr>
        <p:txBody>
          <a:bodyPr wrap="square" lIns="45720" tIns="22860" rIns="45720" bIns="22860">
            <a:spAutoFit/>
          </a:bodyPr>
          <a:lstStyle/>
          <a:p>
            <a:pPr algn="ct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ct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ctr" defTabSz="1088232"/>
            <a:r>
              <a:rPr lang="en-US" altLang="zh-CN" sz="1400" dirty="0" err="1">
                <a:solidFill>
                  <a:schemeClr val="bg1"/>
                </a:solidFill>
                <a:ea typeface="Open Sans" pitchFamily="34" charset="0"/>
                <a:cs typeface="Open Sans" pitchFamily="34" charset="0"/>
              </a:rPr>
              <a:t>xxxxxxxxxx</a:t>
            </a:r>
            <a:endParaRPr lang="en-US" altLang="zh-CN" sz="1400" dirty="0">
              <a:solidFill>
                <a:schemeClr val="bg1"/>
              </a:solidFill>
              <a:ea typeface="Open Sans" pitchFamily="34" charset="0"/>
              <a:cs typeface="Open Sans" pitchFamily="34" charset="0"/>
            </a:endParaRPr>
          </a:p>
        </p:txBody>
      </p:sp>
      <p:grpSp>
        <p:nvGrpSpPr>
          <p:cNvPr id="31" name="Group 657">
            <a:extLst>
              <a:ext uri="{FF2B5EF4-FFF2-40B4-BE49-F238E27FC236}">
                <a16:creationId xmlns:a16="http://schemas.microsoft.com/office/drawing/2014/main" id="{271681F0-D7DB-40C4-B089-D7A4FFC0BF20}"/>
              </a:ext>
            </a:extLst>
          </p:cNvPr>
          <p:cNvGrpSpPr>
            <a:grpSpLocks noChangeAspect="1"/>
          </p:cNvGrpSpPr>
          <p:nvPr/>
        </p:nvGrpSpPr>
        <p:grpSpPr bwMode="auto">
          <a:xfrm>
            <a:off x="5707133" y="3133604"/>
            <a:ext cx="785550" cy="785550"/>
            <a:chOff x="5986" y="3351"/>
            <a:chExt cx="340" cy="340"/>
          </a:xfrm>
          <a:solidFill>
            <a:schemeClr val="bg1"/>
          </a:solidFill>
        </p:grpSpPr>
        <p:sp>
          <p:nvSpPr>
            <p:cNvPr id="35" name="Freeform 658">
              <a:extLst>
                <a:ext uri="{FF2B5EF4-FFF2-40B4-BE49-F238E27FC236}">
                  <a16:creationId xmlns:a16="http://schemas.microsoft.com/office/drawing/2014/main" id="{A83E9306-7DCC-43C8-8AD6-4EA3EB7C667E}"/>
                </a:ext>
              </a:extLst>
            </p:cNvPr>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6" name="Freeform 659">
              <a:extLst>
                <a:ext uri="{FF2B5EF4-FFF2-40B4-BE49-F238E27FC236}">
                  <a16:creationId xmlns:a16="http://schemas.microsoft.com/office/drawing/2014/main" id="{8661AFAE-87AD-421F-AB3E-090E210AE4B1}"/>
                </a:ext>
              </a:extLst>
            </p:cNvPr>
            <p:cNvSpPr>
              <a:spLocks noEditPoints="1"/>
            </p:cNvSpPr>
            <p:nvPr/>
          </p:nvSpPr>
          <p:spPr bwMode="auto">
            <a:xfrm>
              <a:off x="6062" y="3415"/>
              <a:ext cx="188" cy="211"/>
            </a:xfrm>
            <a:custGeom>
              <a:avLst/>
              <a:gdLst>
                <a:gd name="T0" fmla="*/ 142 w 283"/>
                <a:gd name="T1" fmla="*/ 0 h 318"/>
                <a:gd name="T2" fmla="*/ 0 w 283"/>
                <a:gd name="T3" fmla="*/ 141 h 318"/>
                <a:gd name="T4" fmla="*/ 1 w 283"/>
                <a:gd name="T5" fmla="*/ 151 h 318"/>
                <a:gd name="T6" fmla="*/ 27 w 283"/>
                <a:gd name="T7" fmla="*/ 308 h 318"/>
                <a:gd name="T8" fmla="*/ 32 w 283"/>
                <a:gd name="T9" fmla="*/ 315 h 318"/>
                <a:gd name="T10" fmla="*/ 40 w 283"/>
                <a:gd name="T11" fmla="*/ 317 h 318"/>
                <a:gd name="T12" fmla="*/ 97 w 283"/>
                <a:gd name="T13" fmla="*/ 307 h 318"/>
                <a:gd name="T14" fmla="*/ 106 w 283"/>
                <a:gd name="T15" fmla="*/ 295 h 318"/>
                <a:gd name="T16" fmla="*/ 81 w 283"/>
                <a:gd name="T17" fmla="*/ 151 h 318"/>
                <a:gd name="T18" fmla="*/ 80 w 283"/>
                <a:gd name="T19" fmla="*/ 141 h 318"/>
                <a:gd name="T20" fmla="*/ 142 w 283"/>
                <a:gd name="T21" fmla="*/ 79 h 318"/>
                <a:gd name="T22" fmla="*/ 204 w 283"/>
                <a:gd name="T23" fmla="*/ 141 h 318"/>
                <a:gd name="T24" fmla="*/ 203 w 283"/>
                <a:gd name="T25" fmla="*/ 151 h 318"/>
                <a:gd name="T26" fmla="*/ 178 w 283"/>
                <a:gd name="T27" fmla="*/ 295 h 318"/>
                <a:gd name="T28" fmla="*/ 186 w 283"/>
                <a:gd name="T29" fmla="*/ 307 h 318"/>
                <a:gd name="T30" fmla="*/ 243 w 283"/>
                <a:gd name="T31" fmla="*/ 317 h 318"/>
                <a:gd name="T32" fmla="*/ 245 w 283"/>
                <a:gd name="T33" fmla="*/ 317 h 318"/>
                <a:gd name="T34" fmla="*/ 251 w 283"/>
                <a:gd name="T35" fmla="*/ 315 h 318"/>
                <a:gd name="T36" fmla="*/ 256 w 283"/>
                <a:gd name="T37" fmla="*/ 308 h 318"/>
                <a:gd name="T38" fmla="*/ 283 w 283"/>
                <a:gd name="T39" fmla="*/ 152 h 318"/>
                <a:gd name="T40" fmla="*/ 283 w 283"/>
                <a:gd name="T41" fmla="*/ 151 h 318"/>
                <a:gd name="T42" fmla="*/ 283 w 283"/>
                <a:gd name="T43" fmla="*/ 141 h 318"/>
                <a:gd name="T44" fmla="*/ 142 w 283"/>
                <a:gd name="T45" fmla="*/ 0 h 318"/>
                <a:gd name="T46" fmla="*/ 47 w 283"/>
                <a:gd name="T47" fmla="*/ 294 h 318"/>
                <a:gd name="T48" fmla="*/ 42 w 283"/>
                <a:gd name="T49" fmla="*/ 264 h 318"/>
                <a:gd name="T50" fmla="*/ 78 w 283"/>
                <a:gd name="T51" fmla="*/ 257 h 318"/>
                <a:gd name="T52" fmla="*/ 83 w 283"/>
                <a:gd name="T53" fmla="*/ 288 h 318"/>
                <a:gd name="T54" fmla="*/ 47 w 283"/>
                <a:gd name="T55" fmla="*/ 294 h 318"/>
                <a:gd name="T56" fmla="*/ 200 w 283"/>
                <a:gd name="T57" fmla="*/ 288 h 318"/>
                <a:gd name="T58" fmla="*/ 206 w 283"/>
                <a:gd name="T59" fmla="*/ 257 h 318"/>
                <a:gd name="T60" fmla="*/ 242 w 283"/>
                <a:gd name="T61" fmla="*/ 264 h 318"/>
                <a:gd name="T62" fmla="*/ 237 w 283"/>
                <a:gd name="T63" fmla="*/ 294 h 318"/>
                <a:gd name="T64" fmla="*/ 200 w 283"/>
                <a:gd name="T65" fmla="*/ 288 h 318"/>
                <a:gd name="T66" fmla="*/ 261 w 283"/>
                <a:gd name="T67" fmla="*/ 149 h 318"/>
                <a:gd name="T68" fmla="*/ 245 w 283"/>
                <a:gd name="T69" fmla="*/ 243 h 318"/>
                <a:gd name="T70" fmla="*/ 209 w 283"/>
                <a:gd name="T71" fmla="*/ 236 h 318"/>
                <a:gd name="T72" fmla="*/ 224 w 283"/>
                <a:gd name="T73" fmla="*/ 154 h 318"/>
                <a:gd name="T74" fmla="*/ 225 w 283"/>
                <a:gd name="T75" fmla="*/ 141 h 318"/>
                <a:gd name="T76" fmla="*/ 142 w 283"/>
                <a:gd name="T77" fmla="*/ 58 h 318"/>
                <a:gd name="T78" fmla="*/ 58 w 283"/>
                <a:gd name="T79" fmla="*/ 141 h 318"/>
                <a:gd name="T80" fmla="*/ 60 w 283"/>
                <a:gd name="T81" fmla="*/ 155 h 318"/>
                <a:gd name="T82" fmla="*/ 74 w 283"/>
                <a:gd name="T83" fmla="*/ 236 h 318"/>
                <a:gd name="T84" fmla="*/ 38 w 283"/>
                <a:gd name="T85" fmla="*/ 243 h 318"/>
                <a:gd name="T86" fmla="*/ 22 w 283"/>
                <a:gd name="T87" fmla="*/ 150 h 318"/>
                <a:gd name="T88" fmla="*/ 22 w 283"/>
                <a:gd name="T89" fmla="*/ 149 h 318"/>
                <a:gd name="T90" fmla="*/ 21 w 283"/>
                <a:gd name="T91" fmla="*/ 141 h 318"/>
                <a:gd name="T92" fmla="*/ 142 w 283"/>
                <a:gd name="T93" fmla="*/ 21 h 318"/>
                <a:gd name="T94" fmla="*/ 262 w 283"/>
                <a:gd name="T95" fmla="*/ 141 h 318"/>
                <a:gd name="T96" fmla="*/ 261 w 283"/>
                <a:gd name="T97" fmla="*/ 14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3" h="318">
                  <a:moveTo>
                    <a:pt x="142" y="0"/>
                  </a:moveTo>
                  <a:cubicBezTo>
                    <a:pt x="64" y="0"/>
                    <a:pt x="0" y="63"/>
                    <a:pt x="0" y="141"/>
                  </a:cubicBezTo>
                  <a:cubicBezTo>
                    <a:pt x="0" y="144"/>
                    <a:pt x="0" y="147"/>
                    <a:pt x="1" y="151"/>
                  </a:cubicBezTo>
                  <a:cubicBezTo>
                    <a:pt x="27" y="308"/>
                    <a:pt x="27" y="308"/>
                    <a:pt x="27" y="308"/>
                  </a:cubicBezTo>
                  <a:cubicBezTo>
                    <a:pt x="28" y="311"/>
                    <a:pt x="30" y="314"/>
                    <a:pt x="32" y="315"/>
                  </a:cubicBezTo>
                  <a:cubicBezTo>
                    <a:pt x="34" y="317"/>
                    <a:pt x="37" y="318"/>
                    <a:pt x="40" y="317"/>
                  </a:cubicBezTo>
                  <a:cubicBezTo>
                    <a:pt x="97" y="307"/>
                    <a:pt x="97" y="307"/>
                    <a:pt x="97" y="307"/>
                  </a:cubicBezTo>
                  <a:cubicBezTo>
                    <a:pt x="103" y="306"/>
                    <a:pt x="107" y="300"/>
                    <a:pt x="106" y="295"/>
                  </a:cubicBezTo>
                  <a:cubicBezTo>
                    <a:pt x="81" y="151"/>
                    <a:pt x="81" y="151"/>
                    <a:pt x="81" y="151"/>
                  </a:cubicBezTo>
                  <a:cubicBezTo>
                    <a:pt x="80" y="148"/>
                    <a:pt x="80" y="144"/>
                    <a:pt x="80" y="141"/>
                  </a:cubicBezTo>
                  <a:cubicBezTo>
                    <a:pt x="80" y="105"/>
                    <a:pt x="106" y="79"/>
                    <a:pt x="142" y="79"/>
                  </a:cubicBezTo>
                  <a:cubicBezTo>
                    <a:pt x="176" y="79"/>
                    <a:pt x="204" y="107"/>
                    <a:pt x="204" y="141"/>
                  </a:cubicBezTo>
                  <a:cubicBezTo>
                    <a:pt x="204" y="144"/>
                    <a:pt x="203" y="148"/>
                    <a:pt x="203" y="151"/>
                  </a:cubicBezTo>
                  <a:cubicBezTo>
                    <a:pt x="178" y="295"/>
                    <a:pt x="178" y="295"/>
                    <a:pt x="178" y="295"/>
                  </a:cubicBezTo>
                  <a:cubicBezTo>
                    <a:pt x="177" y="300"/>
                    <a:pt x="180" y="306"/>
                    <a:pt x="186" y="307"/>
                  </a:cubicBezTo>
                  <a:cubicBezTo>
                    <a:pt x="243" y="317"/>
                    <a:pt x="243" y="317"/>
                    <a:pt x="243" y="317"/>
                  </a:cubicBezTo>
                  <a:cubicBezTo>
                    <a:pt x="244" y="317"/>
                    <a:pt x="245" y="317"/>
                    <a:pt x="245" y="317"/>
                  </a:cubicBezTo>
                  <a:cubicBezTo>
                    <a:pt x="248" y="317"/>
                    <a:pt x="250" y="317"/>
                    <a:pt x="251" y="315"/>
                  </a:cubicBezTo>
                  <a:cubicBezTo>
                    <a:pt x="254" y="314"/>
                    <a:pt x="255" y="311"/>
                    <a:pt x="256" y="308"/>
                  </a:cubicBezTo>
                  <a:cubicBezTo>
                    <a:pt x="283" y="152"/>
                    <a:pt x="283" y="152"/>
                    <a:pt x="283" y="152"/>
                  </a:cubicBezTo>
                  <a:cubicBezTo>
                    <a:pt x="283" y="151"/>
                    <a:pt x="283" y="151"/>
                    <a:pt x="283" y="151"/>
                  </a:cubicBezTo>
                  <a:cubicBezTo>
                    <a:pt x="283" y="147"/>
                    <a:pt x="283" y="144"/>
                    <a:pt x="283" y="141"/>
                  </a:cubicBezTo>
                  <a:cubicBezTo>
                    <a:pt x="283" y="63"/>
                    <a:pt x="220" y="0"/>
                    <a:pt x="142" y="0"/>
                  </a:cubicBezTo>
                  <a:close/>
                  <a:moveTo>
                    <a:pt x="47" y="294"/>
                  </a:moveTo>
                  <a:cubicBezTo>
                    <a:pt x="42" y="264"/>
                    <a:pt x="42" y="264"/>
                    <a:pt x="42" y="264"/>
                  </a:cubicBezTo>
                  <a:cubicBezTo>
                    <a:pt x="78" y="257"/>
                    <a:pt x="78" y="257"/>
                    <a:pt x="78" y="257"/>
                  </a:cubicBezTo>
                  <a:cubicBezTo>
                    <a:pt x="83" y="288"/>
                    <a:pt x="83" y="288"/>
                    <a:pt x="83" y="288"/>
                  </a:cubicBezTo>
                  <a:lnTo>
                    <a:pt x="47" y="294"/>
                  </a:lnTo>
                  <a:close/>
                  <a:moveTo>
                    <a:pt x="200" y="288"/>
                  </a:moveTo>
                  <a:cubicBezTo>
                    <a:pt x="206" y="257"/>
                    <a:pt x="206" y="257"/>
                    <a:pt x="206" y="257"/>
                  </a:cubicBezTo>
                  <a:cubicBezTo>
                    <a:pt x="242" y="264"/>
                    <a:pt x="242" y="264"/>
                    <a:pt x="242" y="264"/>
                  </a:cubicBezTo>
                  <a:cubicBezTo>
                    <a:pt x="237" y="294"/>
                    <a:pt x="237" y="294"/>
                    <a:pt x="237" y="294"/>
                  </a:cubicBezTo>
                  <a:lnTo>
                    <a:pt x="200" y="288"/>
                  </a:lnTo>
                  <a:close/>
                  <a:moveTo>
                    <a:pt x="261" y="149"/>
                  </a:moveTo>
                  <a:cubicBezTo>
                    <a:pt x="245" y="243"/>
                    <a:pt x="245" y="243"/>
                    <a:pt x="245" y="243"/>
                  </a:cubicBezTo>
                  <a:cubicBezTo>
                    <a:pt x="209" y="236"/>
                    <a:pt x="209" y="236"/>
                    <a:pt x="209" y="236"/>
                  </a:cubicBezTo>
                  <a:cubicBezTo>
                    <a:pt x="224" y="154"/>
                    <a:pt x="224" y="154"/>
                    <a:pt x="224" y="154"/>
                  </a:cubicBezTo>
                  <a:cubicBezTo>
                    <a:pt x="224" y="151"/>
                    <a:pt x="225" y="146"/>
                    <a:pt x="225" y="141"/>
                  </a:cubicBezTo>
                  <a:cubicBezTo>
                    <a:pt x="225" y="95"/>
                    <a:pt x="188" y="58"/>
                    <a:pt x="142" y="58"/>
                  </a:cubicBezTo>
                  <a:cubicBezTo>
                    <a:pt x="94" y="58"/>
                    <a:pt x="58" y="94"/>
                    <a:pt x="58" y="141"/>
                  </a:cubicBezTo>
                  <a:cubicBezTo>
                    <a:pt x="58" y="146"/>
                    <a:pt x="59" y="151"/>
                    <a:pt x="60" y="155"/>
                  </a:cubicBezTo>
                  <a:cubicBezTo>
                    <a:pt x="74" y="236"/>
                    <a:pt x="74" y="236"/>
                    <a:pt x="74" y="236"/>
                  </a:cubicBezTo>
                  <a:cubicBezTo>
                    <a:pt x="38" y="243"/>
                    <a:pt x="38" y="243"/>
                    <a:pt x="38" y="243"/>
                  </a:cubicBezTo>
                  <a:cubicBezTo>
                    <a:pt x="22" y="150"/>
                    <a:pt x="22" y="150"/>
                    <a:pt x="22" y="150"/>
                  </a:cubicBezTo>
                  <a:cubicBezTo>
                    <a:pt x="22" y="149"/>
                    <a:pt x="22" y="149"/>
                    <a:pt x="22" y="149"/>
                  </a:cubicBezTo>
                  <a:cubicBezTo>
                    <a:pt x="22" y="146"/>
                    <a:pt x="21" y="144"/>
                    <a:pt x="21" y="141"/>
                  </a:cubicBezTo>
                  <a:cubicBezTo>
                    <a:pt x="21" y="75"/>
                    <a:pt x="75" y="21"/>
                    <a:pt x="142" y="21"/>
                  </a:cubicBezTo>
                  <a:cubicBezTo>
                    <a:pt x="208" y="21"/>
                    <a:pt x="262" y="75"/>
                    <a:pt x="262" y="141"/>
                  </a:cubicBezTo>
                  <a:cubicBezTo>
                    <a:pt x="262" y="144"/>
                    <a:pt x="262" y="146"/>
                    <a:pt x="261" y="14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7" name="Freeform 660">
              <a:extLst>
                <a:ext uri="{FF2B5EF4-FFF2-40B4-BE49-F238E27FC236}">
                  <a16:creationId xmlns:a16="http://schemas.microsoft.com/office/drawing/2014/main" id="{BDA18217-A9E8-4451-89A1-DFBEF9ADD33B}"/>
                </a:ext>
              </a:extLst>
            </p:cNvPr>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custDataLst>
      <p:tags r:id="rId1"/>
    </p:custDataLst>
    <p:extLst>
      <p:ext uri="{BB962C8B-B14F-4D97-AF65-F5344CB8AC3E}">
        <p14:creationId xmlns:p14="http://schemas.microsoft.com/office/powerpoint/2010/main" val="1940414341"/>
      </p:ext>
    </p:extLst>
  </p:cSld>
  <p:clrMapOvr>
    <a:masterClrMapping/>
  </p:clrMapOvr>
  <p:transition>
    <p:fade/>
  </p:transition>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F195D24A-4C32-4952-A32C-670BC862C6D0}"/>
              </a:ext>
            </a:extLst>
          </p:cNvPr>
          <p:cNvSpPr>
            <a:spLocks/>
          </p:cNvSpPr>
          <p:nvPr/>
        </p:nvSpPr>
        <p:spPr bwMode="auto">
          <a:xfrm>
            <a:off x="4709584" y="2108223"/>
            <a:ext cx="1694432" cy="998759"/>
          </a:xfrm>
          <a:custGeom>
            <a:avLst/>
            <a:gdLst>
              <a:gd name="T0" fmla="*/ 350 w 798"/>
              <a:gd name="T1" fmla="*/ 381 h 470"/>
              <a:gd name="T2" fmla="*/ 398 w 798"/>
              <a:gd name="T3" fmla="*/ 470 h 470"/>
              <a:gd name="T4" fmla="*/ 445 w 798"/>
              <a:gd name="T5" fmla="*/ 381 h 470"/>
              <a:gd name="T6" fmla="*/ 631 w 798"/>
              <a:gd name="T7" fmla="*/ 439 h 470"/>
              <a:gd name="T8" fmla="*/ 798 w 798"/>
              <a:gd name="T9" fmla="*/ 139 h 470"/>
              <a:gd name="T10" fmla="*/ 0 w 798"/>
              <a:gd name="T11" fmla="*/ 137 h 470"/>
              <a:gd name="T12" fmla="*/ 166 w 798"/>
              <a:gd name="T13" fmla="*/ 438 h 470"/>
              <a:gd name="T14" fmla="*/ 350 w 798"/>
              <a:gd name="T15" fmla="*/ 381 h 4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8" h="470">
                <a:moveTo>
                  <a:pt x="350" y="381"/>
                </a:moveTo>
                <a:cubicBezTo>
                  <a:pt x="398" y="470"/>
                  <a:pt x="398" y="470"/>
                  <a:pt x="398" y="470"/>
                </a:cubicBezTo>
                <a:cubicBezTo>
                  <a:pt x="445" y="381"/>
                  <a:pt x="445" y="381"/>
                  <a:pt x="445" y="381"/>
                </a:cubicBezTo>
                <a:cubicBezTo>
                  <a:pt x="512" y="388"/>
                  <a:pt x="575" y="408"/>
                  <a:pt x="631" y="439"/>
                </a:cubicBezTo>
                <a:cubicBezTo>
                  <a:pt x="798" y="139"/>
                  <a:pt x="798" y="139"/>
                  <a:pt x="798" y="139"/>
                </a:cubicBezTo>
                <a:cubicBezTo>
                  <a:pt x="550" y="1"/>
                  <a:pt x="249" y="0"/>
                  <a:pt x="0" y="137"/>
                </a:cubicBezTo>
                <a:cubicBezTo>
                  <a:pt x="166" y="438"/>
                  <a:pt x="166" y="438"/>
                  <a:pt x="166" y="438"/>
                </a:cubicBezTo>
                <a:cubicBezTo>
                  <a:pt x="222" y="407"/>
                  <a:pt x="284" y="387"/>
                  <a:pt x="350" y="3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 name="Freeform 6">
            <a:extLst>
              <a:ext uri="{FF2B5EF4-FFF2-40B4-BE49-F238E27FC236}">
                <a16:creationId xmlns:a16="http://schemas.microsoft.com/office/drawing/2014/main" id="{B8DE132F-3AB6-495F-916A-55ECBA38CAAF}"/>
              </a:ext>
            </a:extLst>
          </p:cNvPr>
          <p:cNvSpPr>
            <a:spLocks/>
          </p:cNvSpPr>
          <p:nvPr/>
        </p:nvSpPr>
        <p:spPr bwMode="auto">
          <a:xfrm>
            <a:off x="4691277" y="4760731"/>
            <a:ext cx="1694432" cy="994691"/>
          </a:xfrm>
          <a:custGeom>
            <a:avLst/>
            <a:gdLst>
              <a:gd name="T0" fmla="*/ 359 w 798"/>
              <a:gd name="T1" fmla="*/ 87 h 468"/>
              <a:gd name="T2" fmla="*/ 406 w 798"/>
              <a:gd name="T3" fmla="*/ 0 h 468"/>
              <a:gd name="T4" fmla="*/ 451 w 798"/>
              <a:gd name="T5" fmla="*/ 87 h 468"/>
              <a:gd name="T6" fmla="*/ 634 w 798"/>
              <a:gd name="T7" fmla="*/ 31 h 468"/>
              <a:gd name="T8" fmla="*/ 798 w 798"/>
              <a:gd name="T9" fmla="*/ 333 h 468"/>
              <a:gd name="T10" fmla="*/ 0 w 798"/>
              <a:gd name="T11" fmla="*/ 325 h 468"/>
              <a:gd name="T12" fmla="*/ 169 w 798"/>
              <a:gd name="T13" fmla="*/ 26 h 468"/>
              <a:gd name="T14" fmla="*/ 359 w 798"/>
              <a:gd name="T15" fmla="*/ 87 h 4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8" h="468">
                <a:moveTo>
                  <a:pt x="359" y="87"/>
                </a:moveTo>
                <a:cubicBezTo>
                  <a:pt x="406" y="0"/>
                  <a:pt x="406" y="0"/>
                  <a:pt x="406" y="0"/>
                </a:cubicBezTo>
                <a:cubicBezTo>
                  <a:pt x="451" y="87"/>
                  <a:pt x="451" y="87"/>
                  <a:pt x="451" y="87"/>
                </a:cubicBezTo>
                <a:cubicBezTo>
                  <a:pt x="517" y="80"/>
                  <a:pt x="579" y="61"/>
                  <a:pt x="634" y="31"/>
                </a:cubicBezTo>
                <a:cubicBezTo>
                  <a:pt x="798" y="333"/>
                  <a:pt x="798" y="333"/>
                  <a:pt x="798" y="333"/>
                </a:cubicBezTo>
                <a:cubicBezTo>
                  <a:pt x="548" y="468"/>
                  <a:pt x="246" y="465"/>
                  <a:pt x="0" y="325"/>
                </a:cubicBezTo>
                <a:cubicBezTo>
                  <a:pt x="169" y="26"/>
                  <a:pt x="169" y="26"/>
                  <a:pt x="169" y="26"/>
                </a:cubicBezTo>
                <a:cubicBezTo>
                  <a:pt x="226" y="59"/>
                  <a:pt x="291" y="80"/>
                  <a:pt x="359" y="87"/>
                </a:cubicBezTo>
                <a:close/>
              </a:path>
            </a:pathLst>
          </a:custGeom>
          <a:solidFill>
            <a:srgbClr val="005587"/>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Freeform 7">
            <a:extLst>
              <a:ext uri="{FF2B5EF4-FFF2-40B4-BE49-F238E27FC236}">
                <a16:creationId xmlns:a16="http://schemas.microsoft.com/office/drawing/2014/main" id="{3F82040F-BFB0-4D16-9F43-DB32A70DA656}"/>
              </a:ext>
            </a:extLst>
          </p:cNvPr>
          <p:cNvSpPr>
            <a:spLocks/>
          </p:cNvSpPr>
          <p:nvPr/>
        </p:nvSpPr>
        <p:spPr bwMode="auto">
          <a:xfrm>
            <a:off x="3804396" y="3940977"/>
            <a:ext cx="1216411" cy="1480848"/>
          </a:xfrm>
          <a:custGeom>
            <a:avLst/>
            <a:gdLst>
              <a:gd name="T0" fmla="*/ 389 w 573"/>
              <a:gd name="T1" fmla="*/ 198 h 697"/>
              <a:gd name="T2" fmla="*/ 487 w 573"/>
              <a:gd name="T3" fmla="*/ 194 h 697"/>
              <a:gd name="T4" fmla="*/ 436 w 573"/>
              <a:gd name="T5" fmla="*/ 277 h 697"/>
              <a:gd name="T6" fmla="*/ 573 w 573"/>
              <a:gd name="T7" fmla="*/ 404 h 697"/>
              <a:gd name="T8" fmla="*/ 394 w 573"/>
              <a:gd name="T9" fmla="*/ 697 h 697"/>
              <a:gd name="T10" fmla="*/ 0 w 573"/>
              <a:gd name="T11" fmla="*/ 3 h 697"/>
              <a:gd name="T12" fmla="*/ 344 w 573"/>
              <a:gd name="T13" fmla="*/ 0 h 697"/>
              <a:gd name="T14" fmla="*/ 389 w 573"/>
              <a:gd name="T15" fmla="*/ 198 h 6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3" h="697">
                <a:moveTo>
                  <a:pt x="389" y="198"/>
                </a:moveTo>
                <a:cubicBezTo>
                  <a:pt x="487" y="194"/>
                  <a:pt x="487" y="194"/>
                  <a:pt x="487" y="194"/>
                </a:cubicBezTo>
                <a:cubicBezTo>
                  <a:pt x="436" y="277"/>
                  <a:pt x="436" y="277"/>
                  <a:pt x="436" y="277"/>
                </a:cubicBezTo>
                <a:cubicBezTo>
                  <a:pt x="473" y="328"/>
                  <a:pt x="520" y="371"/>
                  <a:pt x="573" y="404"/>
                </a:cubicBezTo>
                <a:cubicBezTo>
                  <a:pt x="394" y="697"/>
                  <a:pt x="394" y="697"/>
                  <a:pt x="394" y="697"/>
                </a:cubicBezTo>
                <a:cubicBezTo>
                  <a:pt x="152" y="549"/>
                  <a:pt x="3" y="287"/>
                  <a:pt x="0" y="3"/>
                </a:cubicBezTo>
                <a:cubicBezTo>
                  <a:pt x="344" y="0"/>
                  <a:pt x="344" y="0"/>
                  <a:pt x="344" y="0"/>
                </a:cubicBezTo>
                <a:cubicBezTo>
                  <a:pt x="345" y="71"/>
                  <a:pt x="361" y="138"/>
                  <a:pt x="389" y="198"/>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8">
            <a:extLst>
              <a:ext uri="{FF2B5EF4-FFF2-40B4-BE49-F238E27FC236}">
                <a16:creationId xmlns:a16="http://schemas.microsoft.com/office/drawing/2014/main" id="{0ACE8D69-000B-4B2F-BE59-C6B83ABE3FC7}"/>
              </a:ext>
            </a:extLst>
          </p:cNvPr>
          <p:cNvSpPr>
            <a:spLocks/>
          </p:cNvSpPr>
          <p:nvPr/>
        </p:nvSpPr>
        <p:spPr bwMode="auto">
          <a:xfrm>
            <a:off x="3806429" y="2429616"/>
            <a:ext cx="1224547" cy="1480848"/>
          </a:xfrm>
          <a:custGeom>
            <a:avLst/>
            <a:gdLst>
              <a:gd name="T0" fmla="*/ 422 w 577"/>
              <a:gd name="T1" fmla="*/ 443 h 697"/>
              <a:gd name="T2" fmla="*/ 477 w 577"/>
              <a:gd name="T3" fmla="*/ 524 h 697"/>
              <a:gd name="T4" fmla="*/ 379 w 577"/>
              <a:gd name="T5" fmla="*/ 524 h 697"/>
              <a:gd name="T6" fmla="*/ 343 w 577"/>
              <a:gd name="T7" fmla="*/ 697 h 697"/>
              <a:gd name="T8" fmla="*/ 0 w 577"/>
              <a:gd name="T9" fmla="*/ 689 h 697"/>
              <a:gd name="T10" fmla="*/ 402 w 577"/>
              <a:gd name="T11" fmla="*/ 0 h 697"/>
              <a:gd name="T12" fmla="*/ 577 w 577"/>
              <a:gd name="T13" fmla="*/ 295 h 697"/>
              <a:gd name="T14" fmla="*/ 422 w 577"/>
              <a:gd name="T15" fmla="*/ 443 h 6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7" h="697">
                <a:moveTo>
                  <a:pt x="422" y="443"/>
                </a:moveTo>
                <a:cubicBezTo>
                  <a:pt x="477" y="524"/>
                  <a:pt x="477" y="524"/>
                  <a:pt x="477" y="524"/>
                </a:cubicBezTo>
                <a:cubicBezTo>
                  <a:pt x="379" y="524"/>
                  <a:pt x="379" y="524"/>
                  <a:pt x="379" y="524"/>
                </a:cubicBezTo>
                <a:cubicBezTo>
                  <a:pt x="357" y="578"/>
                  <a:pt x="344" y="636"/>
                  <a:pt x="343" y="697"/>
                </a:cubicBezTo>
                <a:cubicBezTo>
                  <a:pt x="0" y="689"/>
                  <a:pt x="0" y="689"/>
                  <a:pt x="0" y="689"/>
                </a:cubicBezTo>
                <a:cubicBezTo>
                  <a:pt x="6" y="406"/>
                  <a:pt x="158" y="145"/>
                  <a:pt x="402" y="0"/>
                </a:cubicBezTo>
                <a:cubicBezTo>
                  <a:pt x="577" y="295"/>
                  <a:pt x="577" y="295"/>
                  <a:pt x="577" y="295"/>
                </a:cubicBezTo>
                <a:cubicBezTo>
                  <a:pt x="515" y="332"/>
                  <a:pt x="462" y="383"/>
                  <a:pt x="422" y="443"/>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9">
            <a:extLst>
              <a:ext uri="{FF2B5EF4-FFF2-40B4-BE49-F238E27FC236}">
                <a16:creationId xmlns:a16="http://schemas.microsoft.com/office/drawing/2014/main" id="{0FFEA0C6-50F5-4ADC-913E-B5B6B41480D5}"/>
              </a:ext>
            </a:extLst>
          </p:cNvPr>
          <p:cNvSpPr>
            <a:spLocks/>
          </p:cNvSpPr>
          <p:nvPr/>
        </p:nvSpPr>
        <p:spPr bwMode="auto">
          <a:xfrm>
            <a:off x="6074487" y="3953182"/>
            <a:ext cx="1224547" cy="1480848"/>
          </a:xfrm>
          <a:custGeom>
            <a:avLst/>
            <a:gdLst>
              <a:gd name="T0" fmla="*/ 155 w 577"/>
              <a:gd name="T1" fmla="*/ 253 h 697"/>
              <a:gd name="T2" fmla="*/ 100 w 577"/>
              <a:gd name="T3" fmla="*/ 172 h 697"/>
              <a:gd name="T4" fmla="*/ 198 w 577"/>
              <a:gd name="T5" fmla="*/ 172 h 697"/>
              <a:gd name="T6" fmla="*/ 234 w 577"/>
              <a:gd name="T7" fmla="*/ 0 h 697"/>
              <a:gd name="T8" fmla="*/ 577 w 577"/>
              <a:gd name="T9" fmla="*/ 7 h 697"/>
              <a:gd name="T10" fmla="*/ 175 w 577"/>
              <a:gd name="T11" fmla="*/ 697 h 697"/>
              <a:gd name="T12" fmla="*/ 0 w 577"/>
              <a:gd name="T13" fmla="*/ 401 h 697"/>
              <a:gd name="T14" fmla="*/ 155 w 577"/>
              <a:gd name="T15" fmla="*/ 253 h 6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7" h="697">
                <a:moveTo>
                  <a:pt x="155" y="253"/>
                </a:moveTo>
                <a:cubicBezTo>
                  <a:pt x="100" y="172"/>
                  <a:pt x="100" y="172"/>
                  <a:pt x="100" y="172"/>
                </a:cubicBezTo>
                <a:cubicBezTo>
                  <a:pt x="198" y="172"/>
                  <a:pt x="198" y="172"/>
                  <a:pt x="198" y="172"/>
                </a:cubicBezTo>
                <a:cubicBezTo>
                  <a:pt x="220" y="119"/>
                  <a:pt x="233" y="61"/>
                  <a:pt x="234" y="0"/>
                </a:cubicBezTo>
                <a:cubicBezTo>
                  <a:pt x="577" y="7"/>
                  <a:pt x="577" y="7"/>
                  <a:pt x="577" y="7"/>
                </a:cubicBezTo>
                <a:cubicBezTo>
                  <a:pt x="571" y="291"/>
                  <a:pt x="419" y="551"/>
                  <a:pt x="175" y="697"/>
                </a:cubicBezTo>
                <a:cubicBezTo>
                  <a:pt x="0" y="401"/>
                  <a:pt x="0" y="401"/>
                  <a:pt x="0" y="401"/>
                </a:cubicBezTo>
                <a:cubicBezTo>
                  <a:pt x="62" y="364"/>
                  <a:pt x="115" y="314"/>
                  <a:pt x="155" y="25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10">
            <a:extLst>
              <a:ext uri="{FF2B5EF4-FFF2-40B4-BE49-F238E27FC236}">
                <a16:creationId xmlns:a16="http://schemas.microsoft.com/office/drawing/2014/main" id="{7B5CDFB9-281E-40BF-9F77-E7E3C5CC0474}"/>
              </a:ext>
            </a:extLst>
          </p:cNvPr>
          <p:cNvSpPr>
            <a:spLocks/>
          </p:cNvSpPr>
          <p:nvPr/>
        </p:nvSpPr>
        <p:spPr bwMode="auto">
          <a:xfrm>
            <a:off x="6080589" y="2437753"/>
            <a:ext cx="1218445" cy="1480848"/>
          </a:xfrm>
          <a:custGeom>
            <a:avLst/>
            <a:gdLst>
              <a:gd name="T0" fmla="*/ 0 w 574"/>
              <a:gd name="T1" fmla="*/ 293 h 697"/>
              <a:gd name="T2" fmla="*/ 178 w 574"/>
              <a:gd name="T3" fmla="*/ 0 h 697"/>
              <a:gd name="T4" fmla="*/ 574 w 574"/>
              <a:gd name="T5" fmla="*/ 692 h 697"/>
              <a:gd name="T6" fmla="*/ 231 w 574"/>
              <a:gd name="T7" fmla="*/ 697 h 697"/>
              <a:gd name="T8" fmla="*/ 190 w 574"/>
              <a:gd name="T9" fmla="*/ 508 h 697"/>
              <a:gd name="T10" fmla="*/ 91 w 574"/>
              <a:gd name="T11" fmla="*/ 511 h 697"/>
              <a:gd name="T12" fmla="*/ 144 w 574"/>
              <a:gd name="T13" fmla="*/ 428 h 697"/>
              <a:gd name="T14" fmla="*/ 0 w 574"/>
              <a:gd name="T15" fmla="*/ 293 h 6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4" h="697">
                <a:moveTo>
                  <a:pt x="0" y="293"/>
                </a:moveTo>
                <a:cubicBezTo>
                  <a:pt x="178" y="0"/>
                  <a:pt x="178" y="0"/>
                  <a:pt x="178" y="0"/>
                </a:cubicBezTo>
                <a:cubicBezTo>
                  <a:pt x="421" y="147"/>
                  <a:pt x="571" y="409"/>
                  <a:pt x="574" y="692"/>
                </a:cubicBezTo>
                <a:cubicBezTo>
                  <a:pt x="231" y="697"/>
                  <a:pt x="231" y="697"/>
                  <a:pt x="231" y="697"/>
                </a:cubicBezTo>
                <a:cubicBezTo>
                  <a:pt x="230" y="630"/>
                  <a:pt x="215" y="566"/>
                  <a:pt x="190" y="508"/>
                </a:cubicBezTo>
                <a:cubicBezTo>
                  <a:pt x="91" y="511"/>
                  <a:pt x="91" y="511"/>
                  <a:pt x="91" y="511"/>
                </a:cubicBezTo>
                <a:cubicBezTo>
                  <a:pt x="144" y="428"/>
                  <a:pt x="144" y="428"/>
                  <a:pt x="144" y="428"/>
                </a:cubicBezTo>
                <a:cubicBezTo>
                  <a:pt x="106" y="374"/>
                  <a:pt x="57" y="328"/>
                  <a:pt x="0" y="29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5" name="Group 16">
            <a:extLst>
              <a:ext uri="{FF2B5EF4-FFF2-40B4-BE49-F238E27FC236}">
                <a16:creationId xmlns:a16="http://schemas.microsoft.com/office/drawing/2014/main" id="{71BB64B5-B594-49F3-9B48-A7D708795B0A}"/>
              </a:ext>
            </a:extLst>
          </p:cNvPr>
          <p:cNvGrpSpPr/>
          <p:nvPr/>
        </p:nvGrpSpPr>
        <p:grpSpPr>
          <a:xfrm>
            <a:off x="5302556" y="3507160"/>
            <a:ext cx="538487" cy="457309"/>
            <a:chOff x="2950272" y="1314466"/>
            <a:chExt cx="496661" cy="421788"/>
          </a:xfrm>
          <a:solidFill>
            <a:srgbClr val="00ABAB"/>
          </a:solidFill>
        </p:grpSpPr>
        <p:sp>
          <p:nvSpPr>
            <p:cNvPr id="16" name="Freeform 12">
              <a:extLst>
                <a:ext uri="{FF2B5EF4-FFF2-40B4-BE49-F238E27FC236}">
                  <a16:creationId xmlns:a16="http://schemas.microsoft.com/office/drawing/2014/main" id="{18E02DCC-212F-4217-982E-AEC48A8007DF}"/>
                </a:ext>
              </a:extLst>
            </p:cNvPr>
            <p:cNvSpPr>
              <a:spLocks/>
            </p:cNvSpPr>
            <p:nvPr/>
          </p:nvSpPr>
          <p:spPr bwMode="auto">
            <a:xfrm>
              <a:off x="3107507" y="1559052"/>
              <a:ext cx="89848" cy="89848"/>
            </a:xfrm>
            <a:custGeom>
              <a:avLst/>
              <a:gdLst>
                <a:gd name="T0" fmla="*/ 36 w 36"/>
                <a:gd name="T1" fmla="*/ 20 h 36"/>
                <a:gd name="T2" fmla="*/ 16 w 36"/>
                <a:gd name="T3" fmla="*/ 0 h 36"/>
                <a:gd name="T4" fmla="*/ 16 w 36"/>
                <a:gd name="T5" fmla="*/ 0 h 36"/>
                <a:gd name="T6" fmla="*/ 0 w 36"/>
                <a:gd name="T7" fmla="*/ 36 h 36"/>
                <a:gd name="T8" fmla="*/ 36 w 36"/>
                <a:gd name="T9" fmla="*/ 20 h 36"/>
              </a:gdLst>
              <a:ahLst/>
              <a:cxnLst>
                <a:cxn ang="0">
                  <a:pos x="T0" y="T1"/>
                </a:cxn>
                <a:cxn ang="0">
                  <a:pos x="T2" y="T3"/>
                </a:cxn>
                <a:cxn ang="0">
                  <a:pos x="T4" y="T5"/>
                </a:cxn>
                <a:cxn ang="0">
                  <a:pos x="T6" y="T7"/>
                </a:cxn>
                <a:cxn ang="0">
                  <a:pos x="T8" y="T9"/>
                </a:cxn>
              </a:cxnLst>
              <a:rect l="0" t="0" r="r" b="b"/>
              <a:pathLst>
                <a:path w="36" h="36">
                  <a:moveTo>
                    <a:pt x="36" y="20"/>
                  </a:moveTo>
                  <a:lnTo>
                    <a:pt x="16" y="0"/>
                  </a:lnTo>
                  <a:lnTo>
                    <a:pt x="16" y="0"/>
                  </a:lnTo>
                  <a:lnTo>
                    <a:pt x="0" y="36"/>
                  </a:lnTo>
                  <a:lnTo>
                    <a:pt x="3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Rectangle 13">
              <a:extLst>
                <a:ext uri="{FF2B5EF4-FFF2-40B4-BE49-F238E27FC236}">
                  <a16:creationId xmlns:a16="http://schemas.microsoft.com/office/drawing/2014/main" id="{9A3382A4-217F-4F36-90D7-88CB262FB112}"/>
                </a:ext>
              </a:extLst>
            </p:cNvPr>
            <p:cNvSpPr>
              <a:spLocks noChangeArrowheads="1"/>
            </p:cNvSpPr>
            <p:nvPr/>
          </p:nvSpPr>
          <p:spPr bwMode="auto">
            <a:xfrm>
              <a:off x="3197355" y="1608968"/>
              <a:ext cx="2497" cy="24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 name="Freeform 14">
              <a:extLst>
                <a:ext uri="{FF2B5EF4-FFF2-40B4-BE49-F238E27FC236}">
                  <a16:creationId xmlns:a16="http://schemas.microsoft.com/office/drawing/2014/main" id="{D6B5C60B-879C-4E7A-934D-3785A39A0456}"/>
                </a:ext>
              </a:extLst>
            </p:cNvPr>
            <p:cNvSpPr>
              <a:spLocks/>
            </p:cNvSpPr>
            <p:nvPr/>
          </p:nvSpPr>
          <p:spPr bwMode="auto">
            <a:xfrm>
              <a:off x="3159917" y="1344415"/>
              <a:ext cx="227117" cy="222125"/>
            </a:xfrm>
            <a:custGeom>
              <a:avLst/>
              <a:gdLst>
                <a:gd name="T0" fmla="*/ 81 w 91"/>
                <a:gd name="T1" fmla="*/ 0 h 89"/>
                <a:gd name="T2" fmla="*/ 0 w 91"/>
                <a:gd name="T3" fmla="*/ 81 h 89"/>
                <a:gd name="T4" fmla="*/ 8 w 91"/>
                <a:gd name="T5" fmla="*/ 89 h 89"/>
                <a:gd name="T6" fmla="*/ 91 w 91"/>
                <a:gd name="T7" fmla="*/ 8 h 89"/>
                <a:gd name="T8" fmla="*/ 81 w 91"/>
                <a:gd name="T9" fmla="*/ 0 h 89"/>
              </a:gdLst>
              <a:ahLst/>
              <a:cxnLst>
                <a:cxn ang="0">
                  <a:pos x="T0" y="T1"/>
                </a:cxn>
                <a:cxn ang="0">
                  <a:pos x="T2" y="T3"/>
                </a:cxn>
                <a:cxn ang="0">
                  <a:pos x="T4" y="T5"/>
                </a:cxn>
                <a:cxn ang="0">
                  <a:pos x="T6" y="T7"/>
                </a:cxn>
                <a:cxn ang="0">
                  <a:pos x="T8" y="T9"/>
                </a:cxn>
              </a:cxnLst>
              <a:rect l="0" t="0" r="r" b="b"/>
              <a:pathLst>
                <a:path w="91" h="89">
                  <a:moveTo>
                    <a:pt x="81" y="0"/>
                  </a:moveTo>
                  <a:lnTo>
                    <a:pt x="0" y="81"/>
                  </a:lnTo>
                  <a:lnTo>
                    <a:pt x="8" y="89"/>
                  </a:lnTo>
                  <a:lnTo>
                    <a:pt x="91" y="8"/>
                  </a:lnTo>
                  <a:lnTo>
                    <a:pt x="8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Freeform 15">
              <a:extLst>
                <a:ext uri="{FF2B5EF4-FFF2-40B4-BE49-F238E27FC236}">
                  <a16:creationId xmlns:a16="http://schemas.microsoft.com/office/drawing/2014/main" id="{D3873361-E7F4-4B84-AAD2-325BFA8155B8}"/>
                </a:ext>
              </a:extLst>
            </p:cNvPr>
            <p:cNvSpPr>
              <a:spLocks/>
            </p:cNvSpPr>
            <p:nvPr/>
          </p:nvSpPr>
          <p:spPr bwMode="auto">
            <a:xfrm>
              <a:off x="3189867" y="1374365"/>
              <a:ext cx="227117" cy="224620"/>
            </a:xfrm>
            <a:custGeom>
              <a:avLst/>
              <a:gdLst>
                <a:gd name="T0" fmla="*/ 0 w 91"/>
                <a:gd name="T1" fmla="*/ 82 h 90"/>
                <a:gd name="T2" fmla="*/ 8 w 91"/>
                <a:gd name="T3" fmla="*/ 90 h 90"/>
                <a:gd name="T4" fmla="*/ 91 w 91"/>
                <a:gd name="T5" fmla="*/ 8 h 90"/>
                <a:gd name="T6" fmla="*/ 83 w 91"/>
                <a:gd name="T7" fmla="*/ 0 h 90"/>
                <a:gd name="T8" fmla="*/ 0 w 91"/>
                <a:gd name="T9" fmla="*/ 82 h 90"/>
              </a:gdLst>
              <a:ahLst/>
              <a:cxnLst>
                <a:cxn ang="0">
                  <a:pos x="T0" y="T1"/>
                </a:cxn>
                <a:cxn ang="0">
                  <a:pos x="T2" y="T3"/>
                </a:cxn>
                <a:cxn ang="0">
                  <a:pos x="T4" y="T5"/>
                </a:cxn>
                <a:cxn ang="0">
                  <a:pos x="T6" y="T7"/>
                </a:cxn>
                <a:cxn ang="0">
                  <a:pos x="T8" y="T9"/>
                </a:cxn>
              </a:cxnLst>
              <a:rect l="0" t="0" r="r" b="b"/>
              <a:pathLst>
                <a:path w="91" h="90">
                  <a:moveTo>
                    <a:pt x="0" y="82"/>
                  </a:moveTo>
                  <a:lnTo>
                    <a:pt x="8" y="90"/>
                  </a:lnTo>
                  <a:lnTo>
                    <a:pt x="91" y="8"/>
                  </a:lnTo>
                  <a:lnTo>
                    <a:pt x="83" y="0"/>
                  </a:lnTo>
                  <a:lnTo>
                    <a:pt x="0"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Freeform 16">
              <a:extLst>
                <a:ext uri="{FF2B5EF4-FFF2-40B4-BE49-F238E27FC236}">
                  <a16:creationId xmlns:a16="http://schemas.microsoft.com/office/drawing/2014/main" id="{CF770321-4893-484F-83B2-6F774CAADD0B}"/>
                </a:ext>
              </a:extLst>
            </p:cNvPr>
            <p:cNvSpPr>
              <a:spLocks/>
            </p:cNvSpPr>
            <p:nvPr/>
          </p:nvSpPr>
          <p:spPr bwMode="auto">
            <a:xfrm>
              <a:off x="3377051" y="1314466"/>
              <a:ext cx="69882" cy="64890"/>
            </a:xfrm>
            <a:custGeom>
              <a:avLst/>
              <a:gdLst>
                <a:gd name="T0" fmla="*/ 14 w 21"/>
                <a:gd name="T1" fmla="*/ 6 h 20"/>
                <a:gd name="T2" fmla="*/ 0 w 21"/>
                <a:gd name="T3" fmla="*/ 6 h 20"/>
                <a:gd name="T4" fmla="*/ 15 w 21"/>
                <a:gd name="T5" fmla="*/ 20 h 20"/>
                <a:gd name="T6" fmla="*/ 14 w 21"/>
                <a:gd name="T7" fmla="*/ 6 h 20"/>
              </a:gdLst>
              <a:ahLst/>
              <a:cxnLst>
                <a:cxn ang="0">
                  <a:pos x="T0" y="T1"/>
                </a:cxn>
                <a:cxn ang="0">
                  <a:pos x="T2" y="T3"/>
                </a:cxn>
                <a:cxn ang="0">
                  <a:pos x="T4" y="T5"/>
                </a:cxn>
                <a:cxn ang="0">
                  <a:pos x="T6" y="T7"/>
                </a:cxn>
              </a:cxnLst>
              <a:rect l="0" t="0" r="r" b="b"/>
              <a:pathLst>
                <a:path w="21" h="20">
                  <a:moveTo>
                    <a:pt x="14" y="6"/>
                  </a:moveTo>
                  <a:cubicBezTo>
                    <a:pt x="8" y="0"/>
                    <a:pt x="0" y="6"/>
                    <a:pt x="0" y="6"/>
                  </a:cubicBezTo>
                  <a:cubicBezTo>
                    <a:pt x="15" y="20"/>
                    <a:pt x="15" y="20"/>
                    <a:pt x="15" y="20"/>
                  </a:cubicBezTo>
                  <a:cubicBezTo>
                    <a:pt x="15" y="20"/>
                    <a:pt x="21" y="13"/>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Freeform 17">
              <a:extLst>
                <a:ext uri="{FF2B5EF4-FFF2-40B4-BE49-F238E27FC236}">
                  <a16:creationId xmlns:a16="http://schemas.microsoft.com/office/drawing/2014/main" id="{0D6FB25F-88C0-45DC-B450-6BFA205F6966}"/>
                </a:ext>
              </a:extLst>
            </p:cNvPr>
            <p:cNvSpPr>
              <a:spLocks/>
            </p:cNvSpPr>
            <p:nvPr/>
          </p:nvSpPr>
          <p:spPr bwMode="auto">
            <a:xfrm>
              <a:off x="2950272" y="1324449"/>
              <a:ext cx="416796" cy="411805"/>
            </a:xfrm>
            <a:custGeom>
              <a:avLst/>
              <a:gdLst>
                <a:gd name="T0" fmla="*/ 147 w 167"/>
                <a:gd name="T1" fmla="*/ 145 h 165"/>
                <a:gd name="T2" fmla="*/ 20 w 167"/>
                <a:gd name="T3" fmla="*/ 145 h 165"/>
                <a:gd name="T4" fmla="*/ 20 w 167"/>
                <a:gd name="T5" fmla="*/ 20 h 165"/>
                <a:gd name="T6" fmla="*/ 139 w 167"/>
                <a:gd name="T7" fmla="*/ 20 h 165"/>
                <a:gd name="T8" fmla="*/ 160 w 167"/>
                <a:gd name="T9" fmla="*/ 0 h 165"/>
                <a:gd name="T10" fmla="*/ 0 w 167"/>
                <a:gd name="T11" fmla="*/ 0 h 165"/>
                <a:gd name="T12" fmla="*/ 0 w 167"/>
                <a:gd name="T13" fmla="*/ 165 h 165"/>
                <a:gd name="T14" fmla="*/ 167 w 167"/>
                <a:gd name="T15" fmla="*/ 165 h 165"/>
                <a:gd name="T16" fmla="*/ 167 w 167"/>
                <a:gd name="T17" fmla="*/ 61 h 165"/>
                <a:gd name="T18" fmla="*/ 147 w 167"/>
                <a:gd name="T19" fmla="*/ 81 h 165"/>
                <a:gd name="T20" fmla="*/ 147 w 167"/>
                <a:gd name="T21" fmla="*/ 14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5">
                  <a:moveTo>
                    <a:pt x="147" y="145"/>
                  </a:moveTo>
                  <a:lnTo>
                    <a:pt x="20" y="145"/>
                  </a:lnTo>
                  <a:lnTo>
                    <a:pt x="20" y="20"/>
                  </a:lnTo>
                  <a:lnTo>
                    <a:pt x="139" y="20"/>
                  </a:lnTo>
                  <a:lnTo>
                    <a:pt x="160" y="0"/>
                  </a:lnTo>
                  <a:lnTo>
                    <a:pt x="0" y="0"/>
                  </a:lnTo>
                  <a:lnTo>
                    <a:pt x="0" y="165"/>
                  </a:lnTo>
                  <a:lnTo>
                    <a:pt x="167" y="165"/>
                  </a:lnTo>
                  <a:lnTo>
                    <a:pt x="167" y="61"/>
                  </a:lnTo>
                  <a:lnTo>
                    <a:pt x="147" y="81"/>
                  </a:lnTo>
                  <a:lnTo>
                    <a:pt x="147"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6" name="Text Box 10">
            <a:extLst>
              <a:ext uri="{FF2B5EF4-FFF2-40B4-BE49-F238E27FC236}">
                <a16:creationId xmlns:a16="http://schemas.microsoft.com/office/drawing/2014/main" id="{D6BFF847-2EBA-4028-A7CE-7DC840D1367F}"/>
              </a:ext>
            </a:extLst>
          </p:cNvPr>
          <p:cNvSpPr txBox="1">
            <a:spLocks noChangeArrowheads="1"/>
          </p:cNvSpPr>
          <p:nvPr/>
        </p:nvSpPr>
        <p:spPr bwMode="auto">
          <a:xfrm>
            <a:off x="4803233" y="4067366"/>
            <a:ext cx="1507133"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rgbClr val="62B5E5"/>
                </a:solidFill>
                <a:latin typeface="+mj-lt"/>
                <a:ea typeface="Open Sans" pitchFamily="34" charset="0"/>
                <a:cs typeface="Open Sans" pitchFamily="34" charset="0"/>
              </a:rPr>
              <a:t>xxxxxxxxxxxx</a:t>
            </a:r>
            <a:endParaRPr lang="en-US" sz="800" b="1" dirty="0">
              <a:solidFill>
                <a:srgbClr val="62B5E5"/>
              </a:solidFill>
              <a:latin typeface="+mj-lt"/>
              <a:ea typeface="Open Sans" pitchFamily="34" charset="0"/>
              <a:cs typeface="Open Sans" pitchFamily="34" charset="0"/>
            </a:endParaRPr>
          </a:p>
        </p:txBody>
      </p:sp>
      <p:sp>
        <p:nvSpPr>
          <p:cNvPr id="37" name="Text Box 10">
            <a:extLst>
              <a:ext uri="{FF2B5EF4-FFF2-40B4-BE49-F238E27FC236}">
                <a16:creationId xmlns:a16="http://schemas.microsoft.com/office/drawing/2014/main" id="{4E526C64-64B1-43D5-A9DC-2417F7875821}"/>
              </a:ext>
            </a:extLst>
          </p:cNvPr>
          <p:cNvSpPr txBox="1">
            <a:spLocks noChangeArrowheads="1"/>
          </p:cNvSpPr>
          <p:nvPr/>
        </p:nvSpPr>
        <p:spPr bwMode="auto">
          <a:xfrm>
            <a:off x="6897207" y="4753938"/>
            <a:ext cx="753567" cy="207749"/>
          </a:xfrm>
          <a:prstGeom prst="rect">
            <a:avLst/>
          </a:prstGeom>
          <a:noFill/>
          <a:ln w="9525">
            <a:noFill/>
            <a:miter lim="800000"/>
            <a:headEnd/>
            <a:tailEnd/>
          </a:ln>
        </p:spPr>
        <p:txBody>
          <a:bodyPr wrap="square" lIns="45720" tIns="22860" rIns="45720" bIns="22860">
            <a:spAutoFit/>
          </a:bodyPr>
          <a:lstStyle/>
          <a:p>
            <a:pPr algn="r" defTabSz="1088232"/>
            <a:r>
              <a:rPr lang="en-US" altLang="zh-CN" sz="1050" b="1" dirty="0" err="1">
                <a:solidFill>
                  <a:schemeClr val="bg1"/>
                </a:solidFill>
                <a:ea typeface="Open Sans" pitchFamily="34" charset="0"/>
                <a:cs typeface="Open Sans" pitchFamily="34" charset="0"/>
              </a:rPr>
              <a:t>xxxxxxx</a:t>
            </a:r>
            <a:endParaRPr lang="en-US" altLang="zh-CN" sz="800" b="1" dirty="0">
              <a:solidFill>
                <a:schemeClr val="bg1"/>
              </a:solidFill>
              <a:ea typeface="Open Sans" pitchFamily="34" charset="0"/>
              <a:cs typeface="Open Sans" pitchFamily="34" charset="0"/>
            </a:endParaRPr>
          </a:p>
        </p:txBody>
      </p:sp>
      <p:sp>
        <p:nvSpPr>
          <p:cNvPr id="38" name="Text Box 10">
            <a:extLst>
              <a:ext uri="{FF2B5EF4-FFF2-40B4-BE49-F238E27FC236}">
                <a16:creationId xmlns:a16="http://schemas.microsoft.com/office/drawing/2014/main" id="{A04D46D8-283C-47C0-9977-A71644884FDB}"/>
              </a:ext>
            </a:extLst>
          </p:cNvPr>
          <p:cNvSpPr txBox="1">
            <a:spLocks noChangeArrowheads="1"/>
          </p:cNvSpPr>
          <p:nvPr/>
        </p:nvSpPr>
        <p:spPr bwMode="auto">
          <a:xfrm>
            <a:off x="4824764" y="1794967"/>
            <a:ext cx="1507133"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chemeClr val="bg1"/>
                </a:solidFill>
                <a:ea typeface="Open Sans" pitchFamily="34" charset="0"/>
                <a:cs typeface="Open Sans" pitchFamily="34" charset="0"/>
              </a:rPr>
              <a:t>xxxxxxx</a:t>
            </a:r>
            <a:endParaRPr lang="en-US" altLang="zh-CN" sz="800" b="1" dirty="0">
              <a:solidFill>
                <a:schemeClr val="bg1"/>
              </a:solidFill>
              <a:ea typeface="Open Sans" pitchFamily="34" charset="0"/>
              <a:cs typeface="Open Sans" pitchFamily="34" charset="0"/>
            </a:endParaRPr>
          </a:p>
        </p:txBody>
      </p:sp>
      <p:sp>
        <p:nvSpPr>
          <p:cNvPr id="39" name="Text Box 10">
            <a:extLst>
              <a:ext uri="{FF2B5EF4-FFF2-40B4-BE49-F238E27FC236}">
                <a16:creationId xmlns:a16="http://schemas.microsoft.com/office/drawing/2014/main" id="{14DABDF3-625C-413E-A21D-ADC5472669D6}"/>
              </a:ext>
            </a:extLst>
          </p:cNvPr>
          <p:cNvSpPr txBox="1">
            <a:spLocks noChangeArrowheads="1"/>
          </p:cNvSpPr>
          <p:nvPr/>
        </p:nvSpPr>
        <p:spPr bwMode="auto">
          <a:xfrm>
            <a:off x="7023079" y="2868919"/>
            <a:ext cx="753567" cy="207749"/>
          </a:xfrm>
          <a:prstGeom prst="rect">
            <a:avLst/>
          </a:prstGeom>
          <a:noFill/>
          <a:ln w="9525">
            <a:noFill/>
            <a:miter lim="800000"/>
            <a:headEnd/>
            <a:tailEnd/>
          </a:ln>
        </p:spPr>
        <p:txBody>
          <a:bodyPr wrap="square" lIns="45720" tIns="22860" rIns="45720" bIns="22860">
            <a:spAutoFit/>
          </a:bodyPr>
          <a:lstStyle/>
          <a:p>
            <a:pPr algn="r" defTabSz="1088232"/>
            <a:r>
              <a:rPr lang="en-US" altLang="zh-CN" sz="1050" b="1" dirty="0" err="1">
                <a:solidFill>
                  <a:schemeClr val="bg1"/>
                </a:solidFill>
                <a:ea typeface="Open Sans" pitchFamily="34" charset="0"/>
                <a:cs typeface="Open Sans" pitchFamily="34" charset="0"/>
              </a:rPr>
              <a:t>xxxxxxx</a:t>
            </a:r>
            <a:endParaRPr lang="en-US" altLang="zh-CN" sz="800" b="1" dirty="0">
              <a:solidFill>
                <a:schemeClr val="bg1"/>
              </a:solidFill>
              <a:ea typeface="Open Sans" pitchFamily="34" charset="0"/>
              <a:cs typeface="Open Sans" pitchFamily="34" charset="0"/>
            </a:endParaRPr>
          </a:p>
        </p:txBody>
      </p:sp>
      <p:sp>
        <p:nvSpPr>
          <p:cNvPr id="40" name="Text Box 10">
            <a:extLst>
              <a:ext uri="{FF2B5EF4-FFF2-40B4-BE49-F238E27FC236}">
                <a16:creationId xmlns:a16="http://schemas.microsoft.com/office/drawing/2014/main" id="{4F36F65D-30A9-4B4C-A883-0D5079BA2235}"/>
              </a:ext>
            </a:extLst>
          </p:cNvPr>
          <p:cNvSpPr txBox="1">
            <a:spLocks noChangeArrowheads="1"/>
          </p:cNvSpPr>
          <p:nvPr/>
        </p:nvSpPr>
        <p:spPr bwMode="auto">
          <a:xfrm>
            <a:off x="4746198" y="5824856"/>
            <a:ext cx="1507133"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chemeClr val="bg1"/>
                </a:solidFill>
                <a:ea typeface="Open Sans" pitchFamily="34" charset="0"/>
                <a:cs typeface="Open Sans" pitchFamily="34" charset="0"/>
              </a:rPr>
              <a:t>xxxxxxx</a:t>
            </a:r>
            <a:endParaRPr lang="en-US" altLang="zh-CN" sz="800" b="1" dirty="0">
              <a:solidFill>
                <a:schemeClr val="bg1"/>
              </a:solidFill>
              <a:ea typeface="Open Sans" pitchFamily="34" charset="0"/>
              <a:cs typeface="Open Sans" pitchFamily="34" charset="0"/>
            </a:endParaRPr>
          </a:p>
        </p:txBody>
      </p:sp>
      <p:sp>
        <p:nvSpPr>
          <p:cNvPr id="41" name="Text Box 10">
            <a:extLst>
              <a:ext uri="{FF2B5EF4-FFF2-40B4-BE49-F238E27FC236}">
                <a16:creationId xmlns:a16="http://schemas.microsoft.com/office/drawing/2014/main" id="{55C8AC30-6AE8-4797-BFE2-B37AD26A65E5}"/>
              </a:ext>
            </a:extLst>
          </p:cNvPr>
          <p:cNvSpPr txBox="1">
            <a:spLocks noChangeArrowheads="1"/>
          </p:cNvSpPr>
          <p:nvPr/>
        </p:nvSpPr>
        <p:spPr bwMode="auto">
          <a:xfrm>
            <a:off x="2730374" y="2838345"/>
            <a:ext cx="1116580" cy="207749"/>
          </a:xfrm>
          <a:prstGeom prst="rect">
            <a:avLst/>
          </a:prstGeom>
          <a:noFill/>
          <a:ln w="9525">
            <a:noFill/>
            <a:miter lim="800000"/>
            <a:headEnd/>
            <a:tailEnd/>
          </a:ln>
        </p:spPr>
        <p:txBody>
          <a:bodyPr wrap="square" lIns="45720" tIns="22860" rIns="45720" bIns="22860">
            <a:spAutoFit/>
          </a:bodyPr>
          <a:lstStyle/>
          <a:p>
            <a:pPr algn="r" defTabSz="1088232"/>
            <a:r>
              <a:rPr lang="en-US" altLang="zh-CN" sz="1050" b="1" dirty="0" err="1">
                <a:solidFill>
                  <a:schemeClr val="bg1"/>
                </a:solidFill>
                <a:latin typeface="+mj-lt"/>
                <a:ea typeface="Open Sans" pitchFamily="34" charset="0"/>
                <a:cs typeface="Open Sans" pitchFamily="34" charset="0"/>
              </a:rPr>
              <a:t>xxxxxxx</a:t>
            </a:r>
            <a:endParaRPr lang="en-US" sz="800" b="1" dirty="0">
              <a:solidFill>
                <a:schemeClr val="bg1"/>
              </a:solidFill>
              <a:latin typeface="+mj-lt"/>
              <a:ea typeface="Open Sans" pitchFamily="34" charset="0"/>
              <a:cs typeface="Open Sans" pitchFamily="34" charset="0"/>
            </a:endParaRPr>
          </a:p>
        </p:txBody>
      </p:sp>
      <p:sp>
        <p:nvSpPr>
          <p:cNvPr id="42" name="Text Box 10">
            <a:extLst>
              <a:ext uri="{FF2B5EF4-FFF2-40B4-BE49-F238E27FC236}">
                <a16:creationId xmlns:a16="http://schemas.microsoft.com/office/drawing/2014/main" id="{06670160-65AC-4F7F-B9AA-02962D031863}"/>
              </a:ext>
            </a:extLst>
          </p:cNvPr>
          <p:cNvSpPr txBox="1">
            <a:spLocks noChangeArrowheads="1"/>
          </p:cNvSpPr>
          <p:nvPr/>
        </p:nvSpPr>
        <p:spPr bwMode="auto">
          <a:xfrm>
            <a:off x="2730374" y="4653196"/>
            <a:ext cx="1116580" cy="207749"/>
          </a:xfrm>
          <a:prstGeom prst="rect">
            <a:avLst/>
          </a:prstGeom>
          <a:noFill/>
          <a:ln w="9525">
            <a:noFill/>
            <a:miter lim="800000"/>
            <a:headEnd/>
            <a:tailEnd/>
          </a:ln>
        </p:spPr>
        <p:txBody>
          <a:bodyPr wrap="square" lIns="45720" tIns="22860" rIns="45720" bIns="22860">
            <a:spAutoFit/>
          </a:bodyPr>
          <a:lstStyle/>
          <a:p>
            <a:pPr algn="r" defTabSz="1088232"/>
            <a:r>
              <a:rPr lang="en-US" altLang="zh-CN" sz="1050" b="1" dirty="0" err="1">
                <a:solidFill>
                  <a:schemeClr val="bg1"/>
                </a:solidFill>
                <a:ea typeface="Open Sans" pitchFamily="34" charset="0"/>
                <a:cs typeface="Open Sans" pitchFamily="34" charset="0"/>
              </a:rPr>
              <a:t>xxxxxxx</a:t>
            </a:r>
            <a:endParaRPr lang="en-US" altLang="zh-CN" sz="800" b="1" dirty="0">
              <a:solidFill>
                <a:schemeClr val="bg1"/>
              </a:solidFill>
              <a:ea typeface="Open Sans" pitchFamily="34" charset="0"/>
              <a:cs typeface="Open Sans" pitchFamily="34" charset="0"/>
            </a:endParaRPr>
          </a:p>
        </p:txBody>
      </p:sp>
      <p:sp>
        <p:nvSpPr>
          <p:cNvPr id="43" name="Text Box 10">
            <a:extLst>
              <a:ext uri="{FF2B5EF4-FFF2-40B4-BE49-F238E27FC236}">
                <a16:creationId xmlns:a16="http://schemas.microsoft.com/office/drawing/2014/main" id="{D5FC7A8A-BC02-4E70-855E-6F9E5713F802}"/>
              </a:ext>
            </a:extLst>
          </p:cNvPr>
          <p:cNvSpPr txBox="1">
            <a:spLocks noChangeArrowheads="1"/>
          </p:cNvSpPr>
          <p:nvPr/>
        </p:nvSpPr>
        <p:spPr bwMode="auto">
          <a:xfrm>
            <a:off x="8386001" y="2570814"/>
            <a:ext cx="3336099" cy="100027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accent1"/>
                </a:solidFill>
                <a:ea typeface="Open Sans" pitchFamily="34" charset="0"/>
                <a:cs typeface="Open Sans" pitchFamily="34" charset="0"/>
              </a:rPr>
              <a:t>xxxxxxx</a:t>
            </a:r>
            <a:endParaRPr lang="en-US" altLang="zh-CN" sz="1100" b="1" dirty="0">
              <a:solidFill>
                <a:schemeClr val="accent1"/>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xxxxxxxxXxxx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a:t>
            </a:r>
            <a:endParaRPr lang="en-US" altLang="zh-CN" sz="1400" dirty="0">
              <a:solidFill>
                <a:schemeClr val="bg1">
                  <a:lumMod val="65000"/>
                </a:schemeClr>
              </a:solidFill>
              <a:ea typeface="Open Sans" pitchFamily="34" charset="0"/>
              <a:cs typeface="Open Sans" pitchFamily="34" charset="0"/>
            </a:endParaRPr>
          </a:p>
        </p:txBody>
      </p:sp>
      <p:sp>
        <p:nvSpPr>
          <p:cNvPr id="44" name="Text Box 10">
            <a:extLst>
              <a:ext uri="{FF2B5EF4-FFF2-40B4-BE49-F238E27FC236}">
                <a16:creationId xmlns:a16="http://schemas.microsoft.com/office/drawing/2014/main" id="{E0C58576-1F88-4161-B8B9-DBDAB804296D}"/>
              </a:ext>
            </a:extLst>
          </p:cNvPr>
          <p:cNvSpPr txBox="1">
            <a:spLocks noChangeArrowheads="1"/>
          </p:cNvSpPr>
          <p:nvPr/>
        </p:nvSpPr>
        <p:spPr bwMode="auto">
          <a:xfrm>
            <a:off x="8386001" y="1502052"/>
            <a:ext cx="3379908" cy="877163"/>
          </a:xfrm>
          <a:prstGeom prst="rect">
            <a:avLst/>
          </a:prstGeom>
          <a:noFill/>
          <a:ln w="9525">
            <a:noFill/>
            <a:miter lim="800000"/>
            <a:headEnd/>
            <a:tailEnd/>
          </a:ln>
        </p:spPr>
        <p:txBody>
          <a:bodyPr wrap="square" lIns="45720" tIns="22860" rIns="45720" bIns="22860">
            <a:spAutoFit/>
          </a:bodyPr>
          <a:lstStyle/>
          <a:p>
            <a:pPr defTabSz="1088232"/>
            <a:r>
              <a:rPr lang="en-US" sz="5400" b="1" dirty="0">
                <a:solidFill>
                  <a:schemeClr val="accent1"/>
                </a:solidFill>
                <a:latin typeface="+mj-lt"/>
                <a:ea typeface="Open Sans" pitchFamily="34" charset="0"/>
                <a:cs typeface="Open Sans" pitchFamily="34" charset="0"/>
              </a:rPr>
              <a:t>12%</a:t>
            </a:r>
            <a:endParaRPr lang="en-US" sz="4000" dirty="0">
              <a:solidFill>
                <a:schemeClr val="accent1"/>
              </a:solidFill>
              <a:latin typeface="+mj-lt"/>
              <a:ea typeface="Open Sans" pitchFamily="34" charset="0"/>
              <a:cs typeface="Open Sans" pitchFamily="34" charset="0"/>
            </a:endParaRPr>
          </a:p>
        </p:txBody>
      </p:sp>
      <p:sp>
        <p:nvSpPr>
          <p:cNvPr id="45" name="Text Box 10">
            <a:extLst>
              <a:ext uri="{FF2B5EF4-FFF2-40B4-BE49-F238E27FC236}">
                <a16:creationId xmlns:a16="http://schemas.microsoft.com/office/drawing/2014/main" id="{ED4DED30-696C-4D6E-A8A9-0920104AAC78}"/>
              </a:ext>
            </a:extLst>
          </p:cNvPr>
          <p:cNvSpPr txBox="1">
            <a:spLocks noChangeArrowheads="1"/>
          </p:cNvSpPr>
          <p:nvPr/>
        </p:nvSpPr>
        <p:spPr bwMode="auto">
          <a:xfrm>
            <a:off x="8386001" y="4764182"/>
            <a:ext cx="3336099" cy="1431161"/>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accent6"/>
                </a:solidFill>
                <a:ea typeface="Open Sans" pitchFamily="34" charset="0"/>
                <a:cs typeface="Open Sans" pitchFamily="34" charset="0"/>
              </a:rPr>
              <a:t>xxxxxxx</a:t>
            </a:r>
            <a:endParaRPr lang="en-US" altLang="zh-CN" sz="1100" b="1" dirty="0">
              <a:solidFill>
                <a:schemeClr val="accent6"/>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xxxxxxxxxxxxxxxxxxxxx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a:t>
            </a:r>
            <a:endParaRPr lang="en-US" altLang="zh-CN" sz="1400" dirty="0">
              <a:solidFill>
                <a:schemeClr val="bg1">
                  <a:lumMod val="65000"/>
                </a:schemeClr>
              </a:solidFill>
              <a:ea typeface="Open Sans" pitchFamily="34" charset="0"/>
              <a:cs typeface="Open Sans" pitchFamily="34" charset="0"/>
            </a:endParaRPr>
          </a:p>
        </p:txBody>
      </p:sp>
      <p:sp>
        <p:nvSpPr>
          <p:cNvPr id="46" name="Text Box 10">
            <a:extLst>
              <a:ext uri="{FF2B5EF4-FFF2-40B4-BE49-F238E27FC236}">
                <a16:creationId xmlns:a16="http://schemas.microsoft.com/office/drawing/2014/main" id="{1F097532-B8E5-4A67-A281-068412EE45FE}"/>
              </a:ext>
            </a:extLst>
          </p:cNvPr>
          <p:cNvSpPr txBox="1">
            <a:spLocks noChangeArrowheads="1"/>
          </p:cNvSpPr>
          <p:nvPr/>
        </p:nvSpPr>
        <p:spPr bwMode="auto">
          <a:xfrm>
            <a:off x="8386001" y="3700020"/>
            <a:ext cx="3379908" cy="877163"/>
          </a:xfrm>
          <a:prstGeom prst="rect">
            <a:avLst/>
          </a:prstGeom>
          <a:noFill/>
          <a:ln w="9525">
            <a:noFill/>
            <a:miter lim="800000"/>
            <a:headEnd/>
            <a:tailEnd/>
          </a:ln>
        </p:spPr>
        <p:txBody>
          <a:bodyPr wrap="square" lIns="45720" tIns="22860" rIns="45720" bIns="22860">
            <a:spAutoFit/>
          </a:bodyPr>
          <a:lstStyle/>
          <a:p>
            <a:pPr defTabSz="1088232"/>
            <a:r>
              <a:rPr lang="en-US" sz="5400" b="1" dirty="0">
                <a:solidFill>
                  <a:schemeClr val="accent6"/>
                </a:solidFill>
                <a:latin typeface="+mj-lt"/>
                <a:ea typeface="Open Sans" pitchFamily="34" charset="0"/>
                <a:cs typeface="Open Sans" pitchFamily="34" charset="0"/>
              </a:rPr>
              <a:t>15%</a:t>
            </a:r>
            <a:endParaRPr lang="en-US" sz="4000" dirty="0">
              <a:solidFill>
                <a:schemeClr val="accent6"/>
              </a:solidFill>
              <a:latin typeface="+mj-lt"/>
              <a:ea typeface="Open Sans" pitchFamily="34" charset="0"/>
              <a:cs typeface="Open Sans" pitchFamily="34" charset="0"/>
            </a:endParaRPr>
          </a:p>
        </p:txBody>
      </p:sp>
      <p:sp>
        <p:nvSpPr>
          <p:cNvPr id="47" name="Text Box 10">
            <a:extLst>
              <a:ext uri="{FF2B5EF4-FFF2-40B4-BE49-F238E27FC236}">
                <a16:creationId xmlns:a16="http://schemas.microsoft.com/office/drawing/2014/main" id="{4B455D55-4E63-4772-AAE9-D860331F2324}"/>
              </a:ext>
            </a:extLst>
          </p:cNvPr>
          <p:cNvSpPr txBox="1">
            <a:spLocks noChangeArrowheads="1"/>
          </p:cNvSpPr>
          <p:nvPr/>
        </p:nvSpPr>
        <p:spPr bwMode="auto">
          <a:xfrm>
            <a:off x="435781" y="1644444"/>
            <a:ext cx="2260473" cy="164660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xx</a:t>
            </a:r>
            <a:endParaRPr lang="en-US" altLang="zh-CN" sz="1100" b="1" dirty="0">
              <a:solidFill>
                <a:schemeClr val="bg1"/>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a:t>
            </a:r>
            <a:endParaRPr lang="en-US" altLang="zh-CN" sz="1400" dirty="0">
              <a:solidFill>
                <a:schemeClr val="bg1">
                  <a:lumMod val="65000"/>
                </a:schemeClr>
              </a:solidFill>
              <a:ea typeface="Open Sans" pitchFamily="34" charset="0"/>
              <a:cs typeface="Open Sans" pitchFamily="34" charset="0"/>
            </a:endParaRPr>
          </a:p>
        </p:txBody>
      </p:sp>
      <p:sp>
        <p:nvSpPr>
          <p:cNvPr id="48" name="Right Brace 53">
            <a:extLst>
              <a:ext uri="{FF2B5EF4-FFF2-40B4-BE49-F238E27FC236}">
                <a16:creationId xmlns:a16="http://schemas.microsoft.com/office/drawing/2014/main" id="{5AAC8968-2591-4A51-A397-1E4A2747C54C}"/>
              </a:ext>
            </a:extLst>
          </p:cNvPr>
          <p:cNvSpPr/>
          <p:nvPr/>
        </p:nvSpPr>
        <p:spPr>
          <a:xfrm>
            <a:off x="8093086" y="1697329"/>
            <a:ext cx="195277" cy="4589001"/>
          </a:xfrm>
          <a:prstGeom prst="rightBrac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49" name="Rounded Rectangle 54">
            <a:extLst>
              <a:ext uri="{FF2B5EF4-FFF2-40B4-BE49-F238E27FC236}">
                <a16:creationId xmlns:a16="http://schemas.microsoft.com/office/drawing/2014/main" id="{8C9D3A7E-20D0-4362-A9F2-49C04C4A3EA4}"/>
              </a:ext>
            </a:extLst>
          </p:cNvPr>
          <p:cNvSpPr/>
          <p:nvPr/>
        </p:nvSpPr>
        <p:spPr>
          <a:xfrm>
            <a:off x="469900" y="3802259"/>
            <a:ext cx="2167644" cy="2386433"/>
          </a:xfrm>
          <a:prstGeom prst="roundRect">
            <a:avLst>
              <a:gd name="adj" fmla="val 5186"/>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0" name="Text Box 10">
            <a:extLst>
              <a:ext uri="{FF2B5EF4-FFF2-40B4-BE49-F238E27FC236}">
                <a16:creationId xmlns:a16="http://schemas.microsoft.com/office/drawing/2014/main" id="{280C1451-D0C1-4AEF-B289-2F6D9FDB864A}"/>
              </a:ext>
            </a:extLst>
          </p:cNvPr>
          <p:cNvSpPr txBox="1">
            <a:spLocks noChangeArrowheads="1"/>
          </p:cNvSpPr>
          <p:nvPr/>
        </p:nvSpPr>
        <p:spPr bwMode="auto">
          <a:xfrm>
            <a:off x="609850" y="3845372"/>
            <a:ext cx="1917852" cy="2077492"/>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200" b="1" dirty="0" err="1">
                <a:solidFill>
                  <a:schemeClr val="bg1">
                    <a:lumMod val="75000"/>
                  </a:schemeClr>
                </a:solidFill>
                <a:latin typeface="+mj-lt"/>
                <a:ea typeface="Open Sans" pitchFamily="34" charset="0"/>
                <a:cs typeface="Open Sans" pitchFamily="34" charset="0"/>
              </a:rPr>
              <a:t>Xxxxxxxx</a:t>
            </a:r>
            <a:endParaRPr lang="en-US" altLang="zh-CN" sz="1200" b="1" dirty="0">
              <a:solidFill>
                <a:schemeClr val="bg1">
                  <a:lumMod val="75000"/>
                </a:schemeClr>
              </a:solidFill>
              <a:latin typeface="+mj-lt"/>
              <a:ea typeface="Open Sans" pitchFamily="34" charset="0"/>
              <a:cs typeface="Open Sans" pitchFamily="34" charset="0"/>
            </a:endParaRPr>
          </a:p>
          <a:p>
            <a:pPr defTabSz="1088232"/>
            <a:endParaRPr lang="en-US" sz="1200" b="1" dirty="0">
              <a:solidFill>
                <a:srgbClr val="45C1A4"/>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a:t>
            </a:r>
            <a:endParaRPr lang="en-US" sz="1050" dirty="0">
              <a:solidFill>
                <a:srgbClr val="FFFFFF"/>
              </a:solidFill>
              <a:latin typeface="+mj-lt"/>
              <a:ea typeface="Open Sans" pitchFamily="34" charset="0"/>
              <a:cs typeface="Open Sans" pitchFamily="34" charset="0"/>
            </a:endParaRPr>
          </a:p>
        </p:txBody>
      </p:sp>
      <p:grpSp>
        <p:nvGrpSpPr>
          <p:cNvPr id="51" name="Group 920">
            <a:extLst>
              <a:ext uri="{FF2B5EF4-FFF2-40B4-BE49-F238E27FC236}">
                <a16:creationId xmlns:a16="http://schemas.microsoft.com/office/drawing/2014/main" id="{508E2AE3-8622-43F1-AD40-313876E85E8A}"/>
              </a:ext>
            </a:extLst>
          </p:cNvPr>
          <p:cNvGrpSpPr>
            <a:grpSpLocks noChangeAspect="1"/>
          </p:cNvGrpSpPr>
          <p:nvPr/>
        </p:nvGrpSpPr>
        <p:grpSpPr bwMode="auto">
          <a:xfrm>
            <a:off x="4074365" y="4317477"/>
            <a:ext cx="566641" cy="566641"/>
            <a:chOff x="5645" y="4510"/>
            <a:chExt cx="340" cy="340"/>
          </a:xfrm>
          <a:solidFill>
            <a:schemeClr val="bg1"/>
          </a:solidFill>
        </p:grpSpPr>
        <p:sp>
          <p:nvSpPr>
            <p:cNvPr id="52" name="Freeform 921">
              <a:extLst>
                <a:ext uri="{FF2B5EF4-FFF2-40B4-BE49-F238E27FC236}">
                  <a16:creationId xmlns:a16="http://schemas.microsoft.com/office/drawing/2014/main" id="{0E6C3917-5B46-4218-BB80-C95267A2ACEE}"/>
                </a:ext>
              </a:extLst>
            </p:cNvPr>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53" name="Freeform 922">
              <a:extLst>
                <a:ext uri="{FF2B5EF4-FFF2-40B4-BE49-F238E27FC236}">
                  <a16:creationId xmlns:a16="http://schemas.microsoft.com/office/drawing/2014/main" id="{ABEA6195-421A-41C9-A64F-A9C02680FDF4}"/>
                </a:ext>
              </a:extLst>
            </p:cNvPr>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54" name="Group 929">
            <a:extLst>
              <a:ext uri="{FF2B5EF4-FFF2-40B4-BE49-F238E27FC236}">
                <a16:creationId xmlns:a16="http://schemas.microsoft.com/office/drawing/2014/main" id="{1F555602-CC49-4C17-BF3A-8D38D51F2560}"/>
              </a:ext>
            </a:extLst>
          </p:cNvPr>
          <p:cNvGrpSpPr>
            <a:grpSpLocks noChangeAspect="1"/>
          </p:cNvGrpSpPr>
          <p:nvPr/>
        </p:nvGrpSpPr>
        <p:grpSpPr bwMode="auto">
          <a:xfrm>
            <a:off x="5261594" y="5034944"/>
            <a:ext cx="566641" cy="566641"/>
            <a:chOff x="5834" y="4699"/>
            <a:chExt cx="340" cy="340"/>
          </a:xfrm>
          <a:solidFill>
            <a:schemeClr val="bg1"/>
          </a:solidFill>
        </p:grpSpPr>
        <p:sp>
          <p:nvSpPr>
            <p:cNvPr id="55" name="Freeform 345">
              <a:extLst>
                <a:ext uri="{FF2B5EF4-FFF2-40B4-BE49-F238E27FC236}">
                  <a16:creationId xmlns:a16="http://schemas.microsoft.com/office/drawing/2014/main" id="{23D9A708-6820-420D-8084-0229C76D519C}"/>
                </a:ext>
              </a:extLst>
            </p:cNvPr>
            <p:cNvSpPr>
              <a:spLocks noEditPoints="1"/>
            </p:cNvSpPr>
            <p:nvPr/>
          </p:nvSpPr>
          <p:spPr bwMode="auto">
            <a:xfrm>
              <a:off x="5953" y="4761"/>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56" name="Freeform 346">
              <a:extLst>
                <a:ext uri="{FF2B5EF4-FFF2-40B4-BE49-F238E27FC236}">
                  <a16:creationId xmlns:a16="http://schemas.microsoft.com/office/drawing/2014/main" id="{B21BD9C0-5E17-41ED-854F-2713F16F8B18}"/>
                </a:ext>
              </a:extLst>
            </p:cNvPr>
            <p:cNvSpPr>
              <a:spLocks noEditPoints="1"/>
            </p:cNvSpPr>
            <p:nvPr/>
          </p:nvSpPr>
          <p:spPr bwMode="auto">
            <a:xfrm>
              <a:off x="5834" y="46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57" name="Group 938">
            <a:extLst>
              <a:ext uri="{FF2B5EF4-FFF2-40B4-BE49-F238E27FC236}">
                <a16:creationId xmlns:a16="http://schemas.microsoft.com/office/drawing/2014/main" id="{3A58900F-E7B0-4B68-8E01-B4BB63AED602}"/>
              </a:ext>
            </a:extLst>
          </p:cNvPr>
          <p:cNvGrpSpPr>
            <a:grpSpLocks noChangeAspect="1"/>
          </p:cNvGrpSpPr>
          <p:nvPr/>
        </p:nvGrpSpPr>
        <p:grpSpPr bwMode="auto">
          <a:xfrm>
            <a:off x="6477665" y="2949796"/>
            <a:ext cx="566641" cy="566641"/>
            <a:chOff x="942" y="3861"/>
            <a:chExt cx="340" cy="340"/>
          </a:xfrm>
          <a:solidFill>
            <a:schemeClr val="bg1"/>
          </a:solidFill>
        </p:grpSpPr>
        <p:sp>
          <p:nvSpPr>
            <p:cNvPr id="58" name="Freeform 939">
              <a:extLst>
                <a:ext uri="{FF2B5EF4-FFF2-40B4-BE49-F238E27FC236}">
                  <a16:creationId xmlns:a16="http://schemas.microsoft.com/office/drawing/2014/main" id="{13DFD802-C0E0-4DA4-B99B-3A32D4F18FF3}"/>
                </a:ext>
              </a:extLst>
            </p:cNvPr>
            <p:cNvSpPr>
              <a:spLocks noEditPoints="1"/>
            </p:cNvSpPr>
            <p:nvPr/>
          </p:nvSpPr>
          <p:spPr bwMode="auto">
            <a:xfrm>
              <a:off x="1062" y="3925"/>
              <a:ext cx="99" cy="212"/>
            </a:xfrm>
            <a:custGeom>
              <a:avLst/>
              <a:gdLst>
                <a:gd name="T0" fmla="*/ 139 w 149"/>
                <a:gd name="T1" fmla="*/ 256 h 320"/>
                <a:gd name="T2" fmla="*/ 126 w 149"/>
                <a:gd name="T3" fmla="*/ 256 h 320"/>
                <a:gd name="T4" fmla="*/ 107 w 149"/>
                <a:gd name="T5" fmla="*/ 160 h 320"/>
                <a:gd name="T6" fmla="*/ 128 w 149"/>
                <a:gd name="T7" fmla="*/ 77 h 320"/>
                <a:gd name="T8" fmla="*/ 126 w 149"/>
                <a:gd name="T9" fmla="*/ 68 h 320"/>
                <a:gd name="T10" fmla="*/ 117 w 149"/>
                <a:gd name="T11" fmla="*/ 64 h 320"/>
                <a:gd name="T12" fmla="*/ 85 w 149"/>
                <a:gd name="T13" fmla="*/ 64 h 320"/>
                <a:gd name="T14" fmla="*/ 85 w 149"/>
                <a:gd name="T15" fmla="*/ 42 h 320"/>
                <a:gd name="T16" fmla="*/ 96 w 149"/>
                <a:gd name="T17" fmla="*/ 42 h 320"/>
                <a:gd name="T18" fmla="*/ 107 w 149"/>
                <a:gd name="T19" fmla="*/ 32 h 320"/>
                <a:gd name="T20" fmla="*/ 96 w 149"/>
                <a:gd name="T21" fmla="*/ 21 h 320"/>
                <a:gd name="T22" fmla="*/ 85 w 149"/>
                <a:gd name="T23" fmla="*/ 21 h 320"/>
                <a:gd name="T24" fmla="*/ 85 w 149"/>
                <a:gd name="T25" fmla="*/ 10 h 320"/>
                <a:gd name="T26" fmla="*/ 75 w 149"/>
                <a:gd name="T27" fmla="*/ 0 h 320"/>
                <a:gd name="T28" fmla="*/ 64 w 149"/>
                <a:gd name="T29" fmla="*/ 10 h 320"/>
                <a:gd name="T30" fmla="*/ 64 w 149"/>
                <a:gd name="T31" fmla="*/ 21 h 320"/>
                <a:gd name="T32" fmla="*/ 53 w 149"/>
                <a:gd name="T33" fmla="*/ 21 h 320"/>
                <a:gd name="T34" fmla="*/ 43 w 149"/>
                <a:gd name="T35" fmla="*/ 32 h 320"/>
                <a:gd name="T36" fmla="*/ 53 w 149"/>
                <a:gd name="T37" fmla="*/ 42 h 320"/>
                <a:gd name="T38" fmla="*/ 64 w 149"/>
                <a:gd name="T39" fmla="*/ 42 h 320"/>
                <a:gd name="T40" fmla="*/ 64 w 149"/>
                <a:gd name="T41" fmla="*/ 64 h 320"/>
                <a:gd name="T42" fmla="*/ 32 w 149"/>
                <a:gd name="T43" fmla="*/ 64 h 320"/>
                <a:gd name="T44" fmla="*/ 24 w 149"/>
                <a:gd name="T45" fmla="*/ 68 h 320"/>
                <a:gd name="T46" fmla="*/ 22 w 149"/>
                <a:gd name="T47" fmla="*/ 77 h 320"/>
                <a:gd name="T48" fmla="*/ 42 w 149"/>
                <a:gd name="T49" fmla="*/ 160 h 320"/>
                <a:gd name="T50" fmla="*/ 23 w 149"/>
                <a:gd name="T51" fmla="*/ 256 h 320"/>
                <a:gd name="T52" fmla="*/ 11 w 149"/>
                <a:gd name="T53" fmla="*/ 256 h 320"/>
                <a:gd name="T54" fmla="*/ 0 w 149"/>
                <a:gd name="T55" fmla="*/ 266 h 320"/>
                <a:gd name="T56" fmla="*/ 0 w 149"/>
                <a:gd name="T57" fmla="*/ 309 h 320"/>
                <a:gd name="T58" fmla="*/ 11 w 149"/>
                <a:gd name="T59" fmla="*/ 320 h 320"/>
                <a:gd name="T60" fmla="*/ 139 w 149"/>
                <a:gd name="T61" fmla="*/ 320 h 320"/>
                <a:gd name="T62" fmla="*/ 149 w 149"/>
                <a:gd name="T63" fmla="*/ 309 h 320"/>
                <a:gd name="T64" fmla="*/ 149 w 149"/>
                <a:gd name="T65" fmla="*/ 266 h 320"/>
                <a:gd name="T66" fmla="*/ 139 w 149"/>
                <a:gd name="T67" fmla="*/ 256 h 320"/>
                <a:gd name="T68" fmla="*/ 104 w 149"/>
                <a:gd name="T69" fmla="*/ 85 h 320"/>
                <a:gd name="T70" fmla="*/ 88 w 149"/>
                <a:gd name="T71" fmla="*/ 149 h 320"/>
                <a:gd name="T72" fmla="*/ 62 w 149"/>
                <a:gd name="T73" fmla="*/ 149 h 320"/>
                <a:gd name="T74" fmla="*/ 46 w 149"/>
                <a:gd name="T75" fmla="*/ 85 h 320"/>
                <a:gd name="T76" fmla="*/ 104 w 149"/>
                <a:gd name="T77" fmla="*/ 85 h 320"/>
                <a:gd name="T78" fmla="*/ 62 w 149"/>
                <a:gd name="T79" fmla="*/ 170 h 320"/>
                <a:gd name="T80" fmla="*/ 87 w 149"/>
                <a:gd name="T81" fmla="*/ 170 h 320"/>
                <a:gd name="T82" fmla="*/ 104 w 149"/>
                <a:gd name="T83" fmla="*/ 256 h 320"/>
                <a:gd name="T84" fmla="*/ 45 w 149"/>
                <a:gd name="T85" fmla="*/ 256 h 320"/>
                <a:gd name="T86" fmla="*/ 62 w 149"/>
                <a:gd name="T87" fmla="*/ 170 h 320"/>
                <a:gd name="T88" fmla="*/ 128 w 149"/>
                <a:gd name="T89" fmla="*/ 298 h 320"/>
                <a:gd name="T90" fmla="*/ 21 w 149"/>
                <a:gd name="T91" fmla="*/ 298 h 320"/>
                <a:gd name="T92" fmla="*/ 21 w 149"/>
                <a:gd name="T93" fmla="*/ 277 h 320"/>
                <a:gd name="T94" fmla="*/ 128 w 149"/>
                <a:gd name="T95" fmla="*/ 277 h 320"/>
                <a:gd name="T96" fmla="*/ 128 w 149"/>
                <a:gd name="T9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320">
                  <a:moveTo>
                    <a:pt x="139" y="256"/>
                  </a:moveTo>
                  <a:cubicBezTo>
                    <a:pt x="126" y="256"/>
                    <a:pt x="126" y="256"/>
                    <a:pt x="126" y="256"/>
                  </a:cubicBezTo>
                  <a:cubicBezTo>
                    <a:pt x="107" y="160"/>
                    <a:pt x="107" y="160"/>
                    <a:pt x="107" y="160"/>
                  </a:cubicBezTo>
                  <a:cubicBezTo>
                    <a:pt x="128" y="77"/>
                    <a:pt x="128" y="77"/>
                    <a:pt x="128" y="77"/>
                  </a:cubicBezTo>
                  <a:cubicBezTo>
                    <a:pt x="128" y="74"/>
                    <a:pt x="128" y="70"/>
                    <a:pt x="126" y="68"/>
                  </a:cubicBezTo>
                  <a:cubicBezTo>
                    <a:pt x="124" y="65"/>
                    <a:pt x="121" y="64"/>
                    <a:pt x="117" y="64"/>
                  </a:cubicBezTo>
                  <a:cubicBezTo>
                    <a:pt x="85" y="64"/>
                    <a:pt x="85" y="64"/>
                    <a:pt x="85" y="64"/>
                  </a:cubicBezTo>
                  <a:cubicBezTo>
                    <a:pt x="85" y="42"/>
                    <a:pt x="85" y="42"/>
                    <a:pt x="85" y="42"/>
                  </a:cubicBezTo>
                  <a:cubicBezTo>
                    <a:pt x="96" y="42"/>
                    <a:pt x="96" y="42"/>
                    <a:pt x="96" y="42"/>
                  </a:cubicBezTo>
                  <a:cubicBezTo>
                    <a:pt x="102" y="42"/>
                    <a:pt x="107" y="38"/>
                    <a:pt x="107" y="32"/>
                  </a:cubicBezTo>
                  <a:cubicBezTo>
                    <a:pt x="107" y="26"/>
                    <a:pt x="102" y="21"/>
                    <a:pt x="96"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53" y="21"/>
                    <a:pt x="53" y="21"/>
                    <a:pt x="53" y="21"/>
                  </a:cubicBezTo>
                  <a:cubicBezTo>
                    <a:pt x="47" y="21"/>
                    <a:pt x="43" y="26"/>
                    <a:pt x="43" y="32"/>
                  </a:cubicBezTo>
                  <a:cubicBezTo>
                    <a:pt x="43" y="38"/>
                    <a:pt x="47" y="42"/>
                    <a:pt x="53" y="42"/>
                  </a:cubicBezTo>
                  <a:cubicBezTo>
                    <a:pt x="64" y="42"/>
                    <a:pt x="64" y="42"/>
                    <a:pt x="64" y="42"/>
                  </a:cubicBezTo>
                  <a:cubicBezTo>
                    <a:pt x="64" y="64"/>
                    <a:pt x="64" y="64"/>
                    <a:pt x="64" y="64"/>
                  </a:cubicBezTo>
                  <a:cubicBezTo>
                    <a:pt x="32" y="64"/>
                    <a:pt x="32" y="64"/>
                    <a:pt x="32" y="64"/>
                  </a:cubicBezTo>
                  <a:cubicBezTo>
                    <a:pt x="29" y="64"/>
                    <a:pt x="26" y="65"/>
                    <a:pt x="24" y="68"/>
                  </a:cubicBezTo>
                  <a:cubicBezTo>
                    <a:pt x="22" y="70"/>
                    <a:pt x="21" y="74"/>
                    <a:pt x="22" y="77"/>
                  </a:cubicBezTo>
                  <a:cubicBezTo>
                    <a:pt x="42" y="160"/>
                    <a:pt x="42" y="160"/>
                    <a:pt x="42" y="160"/>
                  </a:cubicBezTo>
                  <a:cubicBezTo>
                    <a:pt x="23" y="256"/>
                    <a:pt x="23" y="256"/>
                    <a:pt x="2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104" y="85"/>
                  </a:moveTo>
                  <a:cubicBezTo>
                    <a:pt x="88" y="149"/>
                    <a:pt x="88" y="149"/>
                    <a:pt x="88" y="149"/>
                  </a:cubicBezTo>
                  <a:cubicBezTo>
                    <a:pt x="62" y="149"/>
                    <a:pt x="62" y="149"/>
                    <a:pt x="62" y="149"/>
                  </a:cubicBezTo>
                  <a:cubicBezTo>
                    <a:pt x="46" y="85"/>
                    <a:pt x="46" y="85"/>
                    <a:pt x="46" y="85"/>
                  </a:cubicBezTo>
                  <a:lnTo>
                    <a:pt x="104" y="85"/>
                  </a:lnTo>
                  <a:close/>
                  <a:moveTo>
                    <a:pt x="62" y="170"/>
                  </a:moveTo>
                  <a:cubicBezTo>
                    <a:pt x="87" y="170"/>
                    <a:pt x="87" y="170"/>
                    <a:pt x="87" y="170"/>
                  </a:cubicBezTo>
                  <a:cubicBezTo>
                    <a:pt x="104" y="256"/>
                    <a:pt x="104" y="256"/>
                    <a:pt x="104" y="256"/>
                  </a:cubicBezTo>
                  <a:cubicBezTo>
                    <a:pt x="45" y="256"/>
                    <a:pt x="45" y="256"/>
                    <a:pt x="45" y="256"/>
                  </a:cubicBezTo>
                  <a:lnTo>
                    <a:pt x="62" y="170"/>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59" name="Freeform 940">
              <a:extLst>
                <a:ext uri="{FF2B5EF4-FFF2-40B4-BE49-F238E27FC236}">
                  <a16:creationId xmlns:a16="http://schemas.microsoft.com/office/drawing/2014/main" id="{708989C4-17CF-4ABF-9ABB-F038E51E9FA9}"/>
                </a:ext>
              </a:extLst>
            </p:cNvPr>
            <p:cNvSpPr>
              <a:spLocks noEditPoints="1"/>
            </p:cNvSpPr>
            <p:nvPr/>
          </p:nvSpPr>
          <p:spPr bwMode="auto">
            <a:xfrm>
              <a:off x="942" y="38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0" name="Group 947">
            <a:extLst>
              <a:ext uri="{FF2B5EF4-FFF2-40B4-BE49-F238E27FC236}">
                <a16:creationId xmlns:a16="http://schemas.microsoft.com/office/drawing/2014/main" id="{112AB94C-0B68-4F44-90D0-D7E20BC26065}"/>
              </a:ext>
            </a:extLst>
          </p:cNvPr>
          <p:cNvGrpSpPr>
            <a:grpSpLocks noChangeAspect="1"/>
          </p:cNvGrpSpPr>
          <p:nvPr/>
        </p:nvGrpSpPr>
        <p:grpSpPr bwMode="auto">
          <a:xfrm>
            <a:off x="4086500" y="2940519"/>
            <a:ext cx="566641" cy="566641"/>
            <a:chOff x="1851" y="3960"/>
            <a:chExt cx="340" cy="340"/>
          </a:xfrm>
          <a:solidFill>
            <a:schemeClr val="bg1"/>
          </a:solidFill>
        </p:grpSpPr>
        <p:sp>
          <p:nvSpPr>
            <p:cNvPr id="61" name="Freeform 948">
              <a:extLst>
                <a:ext uri="{FF2B5EF4-FFF2-40B4-BE49-F238E27FC236}">
                  <a16:creationId xmlns:a16="http://schemas.microsoft.com/office/drawing/2014/main" id="{F6435FAC-D912-41BD-BCBE-8DB04E8A16A4}"/>
                </a:ext>
              </a:extLst>
            </p:cNvPr>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2" name="Freeform 949">
              <a:extLst>
                <a:ext uri="{FF2B5EF4-FFF2-40B4-BE49-F238E27FC236}">
                  <a16:creationId xmlns:a16="http://schemas.microsoft.com/office/drawing/2014/main" id="{E368CF2E-D763-4451-AC52-6FFC059547A6}"/>
                </a:ext>
              </a:extLst>
            </p:cNvPr>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3" name="Group 956">
            <a:extLst>
              <a:ext uri="{FF2B5EF4-FFF2-40B4-BE49-F238E27FC236}">
                <a16:creationId xmlns:a16="http://schemas.microsoft.com/office/drawing/2014/main" id="{648FDA0E-A44F-4C33-BDFE-D306073D5250}"/>
              </a:ext>
            </a:extLst>
          </p:cNvPr>
          <p:cNvGrpSpPr>
            <a:grpSpLocks noChangeAspect="1"/>
          </p:cNvGrpSpPr>
          <p:nvPr/>
        </p:nvGrpSpPr>
        <p:grpSpPr bwMode="auto">
          <a:xfrm>
            <a:off x="6497892" y="4294304"/>
            <a:ext cx="566641" cy="566641"/>
            <a:chOff x="2474" y="4027"/>
            <a:chExt cx="340" cy="340"/>
          </a:xfrm>
          <a:solidFill>
            <a:schemeClr val="bg1"/>
          </a:solidFill>
        </p:grpSpPr>
        <p:sp>
          <p:nvSpPr>
            <p:cNvPr id="64" name="Freeform 957">
              <a:extLst>
                <a:ext uri="{FF2B5EF4-FFF2-40B4-BE49-F238E27FC236}">
                  <a16:creationId xmlns:a16="http://schemas.microsoft.com/office/drawing/2014/main" id="{4B8ADCDB-AF2D-4482-87D7-4E39EC21CE6E}"/>
                </a:ext>
              </a:extLst>
            </p:cNvPr>
            <p:cNvSpPr>
              <a:spLocks noEditPoints="1"/>
            </p:cNvSpPr>
            <p:nvPr/>
          </p:nvSpPr>
          <p:spPr bwMode="auto">
            <a:xfrm>
              <a:off x="2594" y="4105"/>
              <a:ext cx="99" cy="170"/>
            </a:xfrm>
            <a:custGeom>
              <a:avLst/>
              <a:gdLst>
                <a:gd name="T0" fmla="*/ 139 w 149"/>
                <a:gd name="T1" fmla="*/ 192 h 256"/>
                <a:gd name="T2" fmla="*/ 133 w 149"/>
                <a:gd name="T3" fmla="*/ 192 h 256"/>
                <a:gd name="T4" fmla="*/ 107 w 149"/>
                <a:gd name="T5" fmla="*/ 96 h 256"/>
                <a:gd name="T6" fmla="*/ 117 w 149"/>
                <a:gd name="T7" fmla="*/ 96 h 256"/>
                <a:gd name="T8" fmla="*/ 128 w 149"/>
                <a:gd name="T9" fmla="*/ 85 h 256"/>
                <a:gd name="T10" fmla="*/ 117 w 149"/>
                <a:gd name="T11" fmla="*/ 75 h 256"/>
                <a:gd name="T12" fmla="*/ 103 w 149"/>
                <a:gd name="T13" fmla="*/ 75 h 256"/>
                <a:gd name="T14" fmla="*/ 117 w 149"/>
                <a:gd name="T15" fmla="*/ 43 h 256"/>
                <a:gd name="T16" fmla="*/ 75 w 149"/>
                <a:gd name="T17" fmla="*/ 0 h 256"/>
                <a:gd name="T18" fmla="*/ 32 w 149"/>
                <a:gd name="T19" fmla="*/ 43 h 256"/>
                <a:gd name="T20" fmla="*/ 47 w 149"/>
                <a:gd name="T21" fmla="*/ 75 h 256"/>
                <a:gd name="T22" fmla="*/ 32 w 149"/>
                <a:gd name="T23" fmla="*/ 75 h 256"/>
                <a:gd name="T24" fmla="*/ 21 w 149"/>
                <a:gd name="T25" fmla="*/ 85 h 256"/>
                <a:gd name="T26" fmla="*/ 32 w 149"/>
                <a:gd name="T27" fmla="*/ 96 h 256"/>
                <a:gd name="T28" fmla="*/ 42 w 149"/>
                <a:gd name="T29" fmla="*/ 96 h 256"/>
                <a:gd name="T30" fmla="*/ 16 w 149"/>
                <a:gd name="T31" fmla="*/ 192 h 256"/>
                <a:gd name="T32" fmla="*/ 11 w 149"/>
                <a:gd name="T33" fmla="*/ 192 h 256"/>
                <a:gd name="T34" fmla="*/ 0 w 149"/>
                <a:gd name="T35" fmla="*/ 203 h 256"/>
                <a:gd name="T36" fmla="*/ 0 w 149"/>
                <a:gd name="T37" fmla="*/ 245 h 256"/>
                <a:gd name="T38" fmla="*/ 11 w 149"/>
                <a:gd name="T39" fmla="*/ 256 h 256"/>
                <a:gd name="T40" fmla="*/ 139 w 149"/>
                <a:gd name="T41" fmla="*/ 256 h 256"/>
                <a:gd name="T42" fmla="*/ 149 w 149"/>
                <a:gd name="T43" fmla="*/ 245 h 256"/>
                <a:gd name="T44" fmla="*/ 149 w 149"/>
                <a:gd name="T45" fmla="*/ 203 h 256"/>
                <a:gd name="T46" fmla="*/ 139 w 149"/>
                <a:gd name="T47" fmla="*/ 192 h 256"/>
                <a:gd name="T48" fmla="*/ 75 w 149"/>
                <a:gd name="T49" fmla="*/ 21 h 256"/>
                <a:gd name="T50" fmla="*/ 96 w 149"/>
                <a:gd name="T51" fmla="*/ 43 h 256"/>
                <a:gd name="T52" fmla="*/ 75 w 149"/>
                <a:gd name="T53" fmla="*/ 64 h 256"/>
                <a:gd name="T54" fmla="*/ 53 w 149"/>
                <a:gd name="T55" fmla="*/ 43 h 256"/>
                <a:gd name="T56" fmla="*/ 75 w 149"/>
                <a:gd name="T57" fmla="*/ 21 h 256"/>
                <a:gd name="T58" fmla="*/ 64 w 149"/>
                <a:gd name="T59" fmla="*/ 96 h 256"/>
                <a:gd name="T60" fmla="*/ 86 w 149"/>
                <a:gd name="T61" fmla="*/ 96 h 256"/>
                <a:gd name="T62" fmla="*/ 108 w 149"/>
                <a:gd name="T63" fmla="*/ 192 h 256"/>
                <a:gd name="T64" fmla="*/ 41 w 149"/>
                <a:gd name="T65" fmla="*/ 192 h 256"/>
                <a:gd name="T66" fmla="*/ 64 w 149"/>
                <a:gd name="T67" fmla="*/ 96 h 256"/>
                <a:gd name="T68" fmla="*/ 128 w 149"/>
                <a:gd name="T69" fmla="*/ 235 h 256"/>
                <a:gd name="T70" fmla="*/ 21 w 149"/>
                <a:gd name="T71" fmla="*/ 235 h 256"/>
                <a:gd name="T72" fmla="*/ 21 w 149"/>
                <a:gd name="T73" fmla="*/ 213 h 256"/>
                <a:gd name="T74" fmla="*/ 128 w 149"/>
                <a:gd name="T75" fmla="*/ 213 h 256"/>
                <a:gd name="T76" fmla="*/ 128 w 149"/>
                <a:gd name="T7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56">
                  <a:moveTo>
                    <a:pt x="139" y="192"/>
                  </a:moveTo>
                  <a:cubicBezTo>
                    <a:pt x="133" y="192"/>
                    <a:pt x="133" y="192"/>
                    <a:pt x="133" y="192"/>
                  </a:cubicBezTo>
                  <a:cubicBezTo>
                    <a:pt x="126" y="183"/>
                    <a:pt x="109" y="153"/>
                    <a:pt x="107" y="96"/>
                  </a:cubicBezTo>
                  <a:cubicBezTo>
                    <a:pt x="117" y="96"/>
                    <a:pt x="117" y="96"/>
                    <a:pt x="117" y="96"/>
                  </a:cubicBezTo>
                  <a:cubicBezTo>
                    <a:pt x="123" y="96"/>
                    <a:pt x="128" y="91"/>
                    <a:pt x="128" y="85"/>
                  </a:cubicBezTo>
                  <a:cubicBezTo>
                    <a:pt x="128" y="79"/>
                    <a:pt x="123" y="75"/>
                    <a:pt x="117" y="75"/>
                  </a:cubicBezTo>
                  <a:cubicBezTo>
                    <a:pt x="103" y="75"/>
                    <a:pt x="103" y="75"/>
                    <a:pt x="103" y="75"/>
                  </a:cubicBezTo>
                  <a:cubicBezTo>
                    <a:pt x="112" y="67"/>
                    <a:pt x="117" y="55"/>
                    <a:pt x="117" y="43"/>
                  </a:cubicBezTo>
                  <a:cubicBezTo>
                    <a:pt x="117" y="19"/>
                    <a:pt x="98" y="0"/>
                    <a:pt x="75" y="0"/>
                  </a:cubicBezTo>
                  <a:cubicBezTo>
                    <a:pt x="51" y="0"/>
                    <a:pt x="32" y="19"/>
                    <a:pt x="32" y="43"/>
                  </a:cubicBezTo>
                  <a:cubicBezTo>
                    <a:pt x="32" y="55"/>
                    <a:pt x="38" y="67"/>
                    <a:pt x="47" y="75"/>
                  </a:cubicBezTo>
                  <a:cubicBezTo>
                    <a:pt x="32" y="75"/>
                    <a:pt x="32" y="75"/>
                    <a:pt x="32" y="75"/>
                  </a:cubicBezTo>
                  <a:cubicBezTo>
                    <a:pt x="26" y="75"/>
                    <a:pt x="21" y="79"/>
                    <a:pt x="21" y="85"/>
                  </a:cubicBezTo>
                  <a:cubicBezTo>
                    <a:pt x="21" y="91"/>
                    <a:pt x="26" y="96"/>
                    <a:pt x="32" y="96"/>
                  </a:cubicBezTo>
                  <a:cubicBezTo>
                    <a:pt x="42" y="96"/>
                    <a:pt x="42" y="96"/>
                    <a:pt x="42" y="96"/>
                  </a:cubicBezTo>
                  <a:cubicBezTo>
                    <a:pt x="40" y="153"/>
                    <a:pt x="23" y="183"/>
                    <a:pt x="16" y="192"/>
                  </a:cubicBezTo>
                  <a:cubicBezTo>
                    <a:pt x="11" y="192"/>
                    <a:pt x="11" y="192"/>
                    <a:pt x="11" y="192"/>
                  </a:cubicBezTo>
                  <a:cubicBezTo>
                    <a:pt x="5" y="192"/>
                    <a:pt x="0" y="197"/>
                    <a:pt x="0" y="203"/>
                  </a:cubicBezTo>
                  <a:cubicBezTo>
                    <a:pt x="0" y="245"/>
                    <a:pt x="0" y="245"/>
                    <a:pt x="0" y="245"/>
                  </a:cubicBezTo>
                  <a:cubicBezTo>
                    <a:pt x="0" y="251"/>
                    <a:pt x="5" y="256"/>
                    <a:pt x="11" y="256"/>
                  </a:cubicBezTo>
                  <a:cubicBezTo>
                    <a:pt x="139" y="256"/>
                    <a:pt x="139" y="256"/>
                    <a:pt x="139" y="256"/>
                  </a:cubicBezTo>
                  <a:cubicBezTo>
                    <a:pt x="145" y="256"/>
                    <a:pt x="149" y="251"/>
                    <a:pt x="149" y="245"/>
                  </a:cubicBezTo>
                  <a:cubicBezTo>
                    <a:pt x="149" y="203"/>
                    <a:pt x="149" y="203"/>
                    <a:pt x="149" y="203"/>
                  </a:cubicBezTo>
                  <a:cubicBezTo>
                    <a:pt x="149" y="197"/>
                    <a:pt x="145" y="192"/>
                    <a:pt x="139" y="192"/>
                  </a:cubicBezTo>
                  <a:close/>
                  <a:moveTo>
                    <a:pt x="75" y="21"/>
                  </a:moveTo>
                  <a:cubicBezTo>
                    <a:pt x="86" y="21"/>
                    <a:pt x="96" y="31"/>
                    <a:pt x="96" y="43"/>
                  </a:cubicBezTo>
                  <a:cubicBezTo>
                    <a:pt x="96" y="54"/>
                    <a:pt x="86" y="64"/>
                    <a:pt x="75" y="64"/>
                  </a:cubicBezTo>
                  <a:cubicBezTo>
                    <a:pt x="63" y="64"/>
                    <a:pt x="53" y="54"/>
                    <a:pt x="53" y="43"/>
                  </a:cubicBezTo>
                  <a:cubicBezTo>
                    <a:pt x="53" y="31"/>
                    <a:pt x="63" y="21"/>
                    <a:pt x="75" y="21"/>
                  </a:cubicBezTo>
                  <a:close/>
                  <a:moveTo>
                    <a:pt x="64" y="96"/>
                  </a:moveTo>
                  <a:cubicBezTo>
                    <a:pt x="86" y="96"/>
                    <a:pt x="86" y="96"/>
                    <a:pt x="86" y="96"/>
                  </a:cubicBezTo>
                  <a:cubicBezTo>
                    <a:pt x="87" y="143"/>
                    <a:pt x="99" y="174"/>
                    <a:pt x="108" y="192"/>
                  </a:cubicBezTo>
                  <a:cubicBezTo>
                    <a:pt x="41" y="192"/>
                    <a:pt x="41" y="192"/>
                    <a:pt x="41" y="192"/>
                  </a:cubicBezTo>
                  <a:cubicBezTo>
                    <a:pt x="51" y="174"/>
                    <a:pt x="62" y="143"/>
                    <a:pt x="64" y="96"/>
                  </a:cubicBezTo>
                  <a:close/>
                  <a:moveTo>
                    <a:pt x="128" y="235"/>
                  </a:moveTo>
                  <a:cubicBezTo>
                    <a:pt x="21" y="235"/>
                    <a:pt x="21" y="235"/>
                    <a:pt x="21" y="235"/>
                  </a:cubicBezTo>
                  <a:cubicBezTo>
                    <a:pt x="21" y="213"/>
                    <a:pt x="21" y="213"/>
                    <a:pt x="21" y="213"/>
                  </a:cubicBezTo>
                  <a:cubicBezTo>
                    <a:pt x="128" y="213"/>
                    <a:pt x="128" y="213"/>
                    <a:pt x="128" y="213"/>
                  </a:cubicBezTo>
                  <a:lnTo>
                    <a:pt x="128" y="23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5" name="Freeform 958">
              <a:extLst>
                <a:ext uri="{FF2B5EF4-FFF2-40B4-BE49-F238E27FC236}">
                  <a16:creationId xmlns:a16="http://schemas.microsoft.com/office/drawing/2014/main" id="{39B56394-89B6-4F9D-85B6-8F5683C8E7DA}"/>
                </a:ext>
              </a:extLst>
            </p:cNvPr>
            <p:cNvSpPr>
              <a:spLocks noEditPoints="1"/>
            </p:cNvSpPr>
            <p:nvPr/>
          </p:nvSpPr>
          <p:spPr bwMode="auto">
            <a:xfrm>
              <a:off x="2474" y="4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6" name="Group 965">
            <a:extLst>
              <a:ext uri="{FF2B5EF4-FFF2-40B4-BE49-F238E27FC236}">
                <a16:creationId xmlns:a16="http://schemas.microsoft.com/office/drawing/2014/main" id="{BA8DDF36-D9E3-4DEC-8786-BEB06D086CCC}"/>
              </a:ext>
            </a:extLst>
          </p:cNvPr>
          <p:cNvGrpSpPr>
            <a:grpSpLocks noChangeAspect="1"/>
          </p:cNvGrpSpPr>
          <p:nvPr/>
        </p:nvGrpSpPr>
        <p:grpSpPr bwMode="auto">
          <a:xfrm>
            <a:off x="5257807" y="2254163"/>
            <a:ext cx="566641" cy="568307"/>
            <a:chOff x="3319" y="4077"/>
            <a:chExt cx="340" cy="341"/>
          </a:xfrm>
          <a:solidFill>
            <a:schemeClr val="bg1"/>
          </a:solidFill>
        </p:grpSpPr>
        <p:sp>
          <p:nvSpPr>
            <p:cNvPr id="67" name="Freeform 966">
              <a:extLst>
                <a:ext uri="{FF2B5EF4-FFF2-40B4-BE49-F238E27FC236}">
                  <a16:creationId xmlns:a16="http://schemas.microsoft.com/office/drawing/2014/main" id="{F80E342C-08EF-4998-AEE8-D34FA54EAF0F}"/>
                </a:ext>
              </a:extLst>
            </p:cNvPr>
            <p:cNvSpPr>
              <a:spLocks noEditPoints="1"/>
            </p:cNvSpPr>
            <p:nvPr/>
          </p:nvSpPr>
          <p:spPr bwMode="auto">
            <a:xfrm>
              <a:off x="3439" y="4141"/>
              <a:ext cx="99" cy="206"/>
            </a:xfrm>
            <a:custGeom>
              <a:avLst/>
              <a:gdLst>
                <a:gd name="T0" fmla="*/ 139 w 149"/>
                <a:gd name="T1" fmla="*/ 245 h 309"/>
                <a:gd name="T2" fmla="*/ 125 w 149"/>
                <a:gd name="T3" fmla="*/ 245 h 309"/>
                <a:gd name="T4" fmla="*/ 113 w 149"/>
                <a:gd name="T5" fmla="*/ 117 h 309"/>
                <a:gd name="T6" fmla="*/ 128 w 149"/>
                <a:gd name="T7" fmla="*/ 117 h 309"/>
                <a:gd name="T8" fmla="*/ 139 w 149"/>
                <a:gd name="T9" fmla="*/ 106 h 309"/>
                <a:gd name="T10" fmla="*/ 128 w 149"/>
                <a:gd name="T11" fmla="*/ 96 h 309"/>
                <a:gd name="T12" fmla="*/ 118 w 149"/>
                <a:gd name="T13" fmla="*/ 96 h 309"/>
                <a:gd name="T14" fmla="*/ 127 w 149"/>
                <a:gd name="T15" fmla="*/ 68 h 309"/>
                <a:gd name="T16" fmla="*/ 126 w 149"/>
                <a:gd name="T17" fmla="*/ 58 h 309"/>
                <a:gd name="T18" fmla="*/ 117 w 149"/>
                <a:gd name="T19" fmla="*/ 53 h 309"/>
                <a:gd name="T20" fmla="*/ 98 w 149"/>
                <a:gd name="T21" fmla="*/ 53 h 309"/>
                <a:gd name="T22" fmla="*/ 107 w 149"/>
                <a:gd name="T23" fmla="*/ 32 h 309"/>
                <a:gd name="T24" fmla="*/ 75 w 149"/>
                <a:gd name="T25" fmla="*/ 0 h 309"/>
                <a:gd name="T26" fmla="*/ 43 w 149"/>
                <a:gd name="T27" fmla="*/ 32 h 309"/>
                <a:gd name="T28" fmla="*/ 51 w 149"/>
                <a:gd name="T29" fmla="*/ 53 h 309"/>
                <a:gd name="T30" fmla="*/ 32 w 149"/>
                <a:gd name="T31" fmla="*/ 53 h 309"/>
                <a:gd name="T32" fmla="*/ 23 w 149"/>
                <a:gd name="T33" fmla="*/ 58 h 309"/>
                <a:gd name="T34" fmla="*/ 22 w 149"/>
                <a:gd name="T35" fmla="*/ 68 h 309"/>
                <a:gd name="T36" fmla="*/ 31 w 149"/>
                <a:gd name="T37" fmla="*/ 96 h 309"/>
                <a:gd name="T38" fmla="*/ 21 w 149"/>
                <a:gd name="T39" fmla="*/ 96 h 309"/>
                <a:gd name="T40" fmla="*/ 11 w 149"/>
                <a:gd name="T41" fmla="*/ 106 h 309"/>
                <a:gd name="T42" fmla="*/ 21 w 149"/>
                <a:gd name="T43" fmla="*/ 117 h 309"/>
                <a:gd name="T44" fmla="*/ 36 w 149"/>
                <a:gd name="T45" fmla="*/ 117 h 309"/>
                <a:gd name="T46" fmla="*/ 25 w 149"/>
                <a:gd name="T47" fmla="*/ 245 h 309"/>
                <a:gd name="T48" fmla="*/ 11 w 149"/>
                <a:gd name="T49" fmla="*/ 245 h 309"/>
                <a:gd name="T50" fmla="*/ 0 w 149"/>
                <a:gd name="T51" fmla="*/ 256 h 309"/>
                <a:gd name="T52" fmla="*/ 0 w 149"/>
                <a:gd name="T53" fmla="*/ 298 h 309"/>
                <a:gd name="T54" fmla="*/ 11 w 149"/>
                <a:gd name="T55" fmla="*/ 309 h 309"/>
                <a:gd name="T56" fmla="*/ 139 w 149"/>
                <a:gd name="T57" fmla="*/ 309 h 309"/>
                <a:gd name="T58" fmla="*/ 149 w 149"/>
                <a:gd name="T59" fmla="*/ 298 h 309"/>
                <a:gd name="T60" fmla="*/ 149 w 149"/>
                <a:gd name="T61" fmla="*/ 256 h 309"/>
                <a:gd name="T62" fmla="*/ 139 w 149"/>
                <a:gd name="T63" fmla="*/ 245 h 309"/>
                <a:gd name="T64" fmla="*/ 75 w 149"/>
                <a:gd name="T65" fmla="*/ 21 h 309"/>
                <a:gd name="T66" fmla="*/ 85 w 149"/>
                <a:gd name="T67" fmla="*/ 32 h 309"/>
                <a:gd name="T68" fmla="*/ 75 w 149"/>
                <a:gd name="T69" fmla="*/ 42 h 309"/>
                <a:gd name="T70" fmla="*/ 64 w 149"/>
                <a:gd name="T71" fmla="*/ 32 h 309"/>
                <a:gd name="T72" fmla="*/ 75 w 149"/>
                <a:gd name="T73" fmla="*/ 21 h 309"/>
                <a:gd name="T74" fmla="*/ 47 w 149"/>
                <a:gd name="T75" fmla="*/ 74 h 309"/>
                <a:gd name="T76" fmla="*/ 102 w 149"/>
                <a:gd name="T77" fmla="*/ 74 h 309"/>
                <a:gd name="T78" fmla="*/ 95 w 149"/>
                <a:gd name="T79" fmla="*/ 96 h 309"/>
                <a:gd name="T80" fmla="*/ 53 w 149"/>
                <a:gd name="T81" fmla="*/ 96 h 309"/>
                <a:gd name="T82" fmla="*/ 47 w 149"/>
                <a:gd name="T83" fmla="*/ 74 h 309"/>
                <a:gd name="T84" fmla="*/ 57 w 149"/>
                <a:gd name="T85" fmla="*/ 117 h 309"/>
                <a:gd name="T86" fmla="*/ 91 w 149"/>
                <a:gd name="T87" fmla="*/ 117 h 309"/>
                <a:gd name="T88" fmla="*/ 102 w 149"/>
                <a:gd name="T89" fmla="*/ 245 h 309"/>
                <a:gd name="T90" fmla="*/ 48 w 149"/>
                <a:gd name="T91" fmla="*/ 245 h 309"/>
                <a:gd name="T92" fmla="*/ 57 w 149"/>
                <a:gd name="T93" fmla="*/ 117 h 309"/>
                <a:gd name="T94" fmla="*/ 128 w 149"/>
                <a:gd name="T95" fmla="*/ 288 h 309"/>
                <a:gd name="T96" fmla="*/ 21 w 149"/>
                <a:gd name="T97" fmla="*/ 288 h 309"/>
                <a:gd name="T98" fmla="*/ 21 w 149"/>
                <a:gd name="T99" fmla="*/ 266 h 309"/>
                <a:gd name="T100" fmla="*/ 128 w 149"/>
                <a:gd name="T101" fmla="*/ 266 h 309"/>
                <a:gd name="T102" fmla="*/ 128 w 149"/>
                <a:gd name="T103"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309">
                  <a:moveTo>
                    <a:pt x="139" y="245"/>
                  </a:moveTo>
                  <a:cubicBezTo>
                    <a:pt x="125" y="245"/>
                    <a:pt x="125" y="245"/>
                    <a:pt x="125" y="245"/>
                  </a:cubicBezTo>
                  <a:cubicBezTo>
                    <a:pt x="106" y="195"/>
                    <a:pt x="107" y="149"/>
                    <a:pt x="113" y="117"/>
                  </a:cubicBezTo>
                  <a:cubicBezTo>
                    <a:pt x="128" y="117"/>
                    <a:pt x="128" y="117"/>
                    <a:pt x="128" y="117"/>
                  </a:cubicBezTo>
                  <a:cubicBezTo>
                    <a:pt x="134" y="117"/>
                    <a:pt x="139" y="112"/>
                    <a:pt x="139" y="106"/>
                  </a:cubicBezTo>
                  <a:cubicBezTo>
                    <a:pt x="139" y="100"/>
                    <a:pt x="134" y="96"/>
                    <a:pt x="128" y="96"/>
                  </a:cubicBezTo>
                  <a:cubicBezTo>
                    <a:pt x="118" y="96"/>
                    <a:pt x="118" y="96"/>
                    <a:pt x="118" y="96"/>
                  </a:cubicBezTo>
                  <a:cubicBezTo>
                    <a:pt x="122" y="79"/>
                    <a:pt x="127" y="69"/>
                    <a:pt x="127" y="68"/>
                  </a:cubicBezTo>
                  <a:cubicBezTo>
                    <a:pt x="129" y="65"/>
                    <a:pt x="128" y="61"/>
                    <a:pt x="126" y="58"/>
                  </a:cubicBezTo>
                  <a:cubicBezTo>
                    <a:pt x="124" y="55"/>
                    <a:pt x="121" y="53"/>
                    <a:pt x="117" y="53"/>
                  </a:cubicBezTo>
                  <a:cubicBezTo>
                    <a:pt x="98" y="53"/>
                    <a:pt x="98" y="53"/>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2" y="53"/>
                    <a:pt x="32" y="53"/>
                    <a:pt x="32" y="53"/>
                  </a:cubicBezTo>
                  <a:cubicBezTo>
                    <a:pt x="28" y="53"/>
                    <a:pt x="25" y="55"/>
                    <a:pt x="23" y="58"/>
                  </a:cubicBezTo>
                  <a:cubicBezTo>
                    <a:pt x="21" y="61"/>
                    <a:pt x="21" y="64"/>
                    <a:pt x="22" y="68"/>
                  </a:cubicBezTo>
                  <a:cubicBezTo>
                    <a:pt x="22" y="68"/>
                    <a:pt x="26" y="79"/>
                    <a:pt x="31" y="96"/>
                  </a:cubicBezTo>
                  <a:cubicBezTo>
                    <a:pt x="21" y="96"/>
                    <a:pt x="21" y="96"/>
                    <a:pt x="21" y="96"/>
                  </a:cubicBezTo>
                  <a:cubicBezTo>
                    <a:pt x="15" y="96"/>
                    <a:pt x="11" y="100"/>
                    <a:pt x="11" y="106"/>
                  </a:cubicBezTo>
                  <a:cubicBezTo>
                    <a:pt x="11" y="112"/>
                    <a:pt x="15" y="117"/>
                    <a:pt x="21" y="117"/>
                  </a:cubicBezTo>
                  <a:cubicBezTo>
                    <a:pt x="36" y="117"/>
                    <a:pt x="36" y="117"/>
                    <a:pt x="36" y="117"/>
                  </a:cubicBezTo>
                  <a:cubicBezTo>
                    <a:pt x="42" y="153"/>
                    <a:pt x="45" y="202"/>
                    <a:pt x="25" y="245"/>
                  </a:cubicBezTo>
                  <a:cubicBezTo>
                    <a:pt x="11" y="245"/>
                    <a:pt x="11" y="245"/>
                    <a:pt x="11" y="245"/>
                  </a:cubicBezTo>
                  <a:cubicBezTo>
                    <a:pt x="5" y="245"/>
                    <a:pt x="0" y="250"/>
                    <a:pt x="0" y="256"/>
                  </a:cubicBezTo>
                  <a:cubicBezTo>
                    <a:pt x="0" y="298"/>
                    <a:pt x="0" y="298"/>
                    <a:pt x="0" y="298"/>
                  </a:cubicBezTo>
                  <a:cubicBezTo>
                    <a:pt x="0" y="304"/>
                    <a:pt x="5" y="309"/>
                    <a:pt x="11" y="309"/>
                  </a:cubicBezTo>
                  <a:cubicBezTo>
                    <a:pt x="139" y="309"/>
                    <a:pt x="139" y="309"/>
                    <a:pt x="139" y="309"/>
                  </a:cubicBezTo>
                  <a:cubicBezTo>
                    <a:pt x="145" y="309"/>
                    <a:pt x="149" y="304"/>
                    <a:pt x="149" y="298"/>
                  </a:cubicBezTo>
                  <a:cubicBezTo>
                    <a:pt x="149" y="256"/>
                    <a:pt x="149" y="256"/>
                    <a:pt x="149" y="256"/>
                  </a:cubicBezTo>
                  <a:cubicBezTo>
                    <a:pt x="149" y="250"/>
                    <a:pt x="145" y="245"/>
                    <a:pt x="139" y="245"/>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47" y="74"/>
                  </a:moveTo>
                  <a:cubicBezTo>
                    <a:pt x="102" y="74"/>
                    <a:pt x="102" y="74"/>
                    <a:pt x="102" y="74"/>
                  </a:cubicBezTo>
                  <a:cubicBezTo>
                    <a:pt x="100" y="80"/>
                    <a:pt x="97" y="87"/>
                    <a:pt x="95" y="96"/>
                  </a:cubicBezTo>
                  <a:cubicBezTo>
                    <a:pt x="53" y="96"/>
                    <a:pt x="53" y="96"/>
                    <a:pt x="53" y="96"/>
                  </a:cubicBezTo>
                  <a:cubicBezTo>
                    <a:pt x="51" y="87"/>
                    <a:pt x="49" y="80"/>
                    <a:pt x="47" y="74"/>
                  </a:cubicBezTo>
                  <a:close/>
                  <a:moveTo>
                    <a:pt x="57" y="117"/>
                  </a:moveTo>
                  <a:cubicBezTo>
                    <a:pt x="91" y="117"/>
                    <a:pt x="91" y="117"/>
                    <a:pt x="91" y="117"/>
                  </a:cubicBezTo>
                  <a:cubicBezTo>
                    <a:pt x="86" y="150"/>
                    <a:pt x="85" y="195"/>
                    <a:pt x="102" y="245"/>
                  </a:cubicBezTo>
                  <a:cubicBezTo>
                    <a:pt x="48" y="245"/>
                    <a:pt x="48" y="245"/>
                    <a:pt x="48" y="245"/>
                  </a:cubicBezTo>
                  <a:cubicBezTo>
                    <a:pt x="66" y="201"/>
                    <a:pt x="64" y="153"/>
                    <a:pt x="57" y="117"/>
                  </a:cubicBezTo>
                  <a:close/>
                  <a:moveTo>
                    <a:pt x="128" y="288"/>
                  </a:moveTo>
                  <a:cubicBezTo>
                    <a:pt x="21" y="288"/>
                    <a:pt x="21" y="288"/>
                    <a:pt x="21" y="288"/>
                  </a:cubicBezTo>
                  <a:cubicBezTo>
                    <a:pt x="21" y="266"/>
                    <a:pt x="21" y="266"/>
                    <a:pt x="21" y="266"/>
                  </a:cubicBezTo>
                  <a:cubicBezTo>
                    <a:pt x="128" y="266"/>
                    <a:pt x="128" y="266"/>
                    <a:pt x="128" y="266"/>
                  </a:cubicBezTo>
                  <a:lnTo>
                    <a:pt x="128" y="28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8" name="Freeform 967">
              <a:extLst>
                <a:ext uri="{FF2B5EF4-FFF2-40B4-BE49-F238E27FC236}">
                  <a16:creationId xmlns:a16="http://schemas.microsoft.com/office/drawing/2014/main" id="{09E23818-5DED-4926-AD54-EA109A6324EC}"/>
                </a:ext>
              </a:extLst>
            </p:cNvPr>
            <p:cNvSpPr>
              <a:spLocks noEditPoints="1"/>
            </p:cNvSpPr>
            <p:nvPr/>
          </p:nvSpPr>
          <p:spPr bwMode="auto">
            <a:xfrm>
              <a:off x="3319" y="40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custDataLst>
      <p:tags r:id="rId1"/>
    </p:custDataLst>
    <p:extLst>
      <p:ext uri="{BB962C8B-B14F-4D97-AF65-F5344CB8AC3E}">
        <p14:creationId xmlns:p14="http://schemas.microsoft.com/office/powerpoint/2010/main" val="2606026357"/>
      </p:ext>
    </p:extLst>
  </p:cSld>
  <p:clrMapOvr>
    <a:masterClrMapping/>
  </p:clrMapOvr>
  <p:transition>
    <p:fade/>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BF0D36-C072-BB4B-90D8-3B6D7E19DA2D}"/>
              </a:ext>
            </a:extLst>
          </p:cNvPr>
          <p:cNvSpPr/>
          <p:nvPr/>
        </p:nvSpPr>
        <p:spPr bwMode="gray">
          <a:xfrm>
            <a:off x="599440" y="1674323"/>
            <a:ext cx="5392314" cy="214583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Rectangle 27">
            <a:extLst>
              <a:ext uri="{FF2B5EF4-FFF2-40B4-BE49-F238E27FC236}">
                <a16:creationId xmlns:a16="http://schemas.microsoft.com/office/drawing/2014/main" id="{74D190D4-742F-954C-9417-3B28400640A9}"/>
              </a:ext>
            </a:extLst>
          </p:cNvPr>
          <p:cNvSpPr/>
          <p:nvPr/>
        </p:nvSpPr>
        <p:spPr bwMode="gray">
          <a:xfrm>
            <a:off x="6096000" y="1674323"/>
            <a:ext cx="5392314" cy="2145837"/>
          </a:xfrm>
          <a:prstGeom prst="rect">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Text Box 10">
            <a:extLst>
              <a:ext uri="{FF2B5EF4-FFF2-40B4-BE49-F238E27FC236}">
                <a16:creationId xmlns:a16="http://schemas.microsoft.com/office/drawing/2014/main" id="{37F760E4-741B-416C-9810-BC397D68DACB}"/>
              </a:ext>
            </a:extLst>
          </p:cNvPr>
          <p:cNvSpPr txBox="1">
            <a:spLocks noChangeArrowheads="1"/>
          </p:cNvSpPr>
          <p:nvPr/>
        </p:nvSpPr>
        <p:spPr bwMode="auto">
          <a:xfrm>
            <a:off x="887691" y="1927319"/>
            <a:ext cx="4117871" cy="1231106"/>
          </a:xfrm>
          <a:prstGeom prst="rect">
            <a:avLst/>
          </a:prstGeom>
          <a:noFill/>
          <a:ln w="9525">
            <a:noFill/>
            <a:miter lim="800000"/>
            <a:headEnd/>
            <a:tailEnd/>
          </a:ln>
        </p:spPr>
        <p:txBody>
          <a:bodyPr wrap="square" lIns="45720" tIns="22860" rIns="45720" bIns="22860">
            <a:spAutoFit/>
          </a:bodyPr>
          <a:lstStyle/>
          <a:p>
            <a:pPr defTabSz="1088232"/>
            <a:r>
              <a:rPr lang="en-US" sz="1400" b="1" dirty="0" err="1">
                <a:latin typeface="+mj-lt"/>
                <a:ea typeface="Open Sans" pitchFamily="34" charset="0"/>
                <a:cs typeface="Open Sans" pitchFamily="34" charset="0"/>
              </a:rPr>
              <a:t>Xxxxxxxxxxxxx</a:t>
            </a:r>
            <a:endParaRPr lang="en-US" sz="1400" b="1" dirty="0">
              <a:latin typeface="+mj-lt"/>
              <a:ea typeface="Open Sans" pitchFamily="34" charset="0"/>
              <a:cs typeface="Open Sans" pitchFamily="34" charset="0"/>
            </a:endParaRPr>
          </a:p>
          <a:p>
            <a:pPr defTabSz="1088232"/>
            <a:endParaRPr lang="en-US" sz="1050" dirty="0">
              <a:latin typeface="+mj-lt"/>
              <a:ea typeface="Open Sans" pitchFamily="34" charset="0"/>
              <a:cs typeface="Open Sans" pitchFamily="34" charset="0"/>
            </a:endParaRPr>
          </a:p>
          <a:p>
            <a:pPr defTabSz="1088232"/>
            <a:r>
              <a:rPr lang="en-US" sz="1050" dirty="0" err="1">
                <a:latin typeface="+mj-lt"/>
                <a:ea typeface="Open Sans" pitchFamily="34" charset="0"/>
                <a:cs typeface="Open Sans" pitchFamily="34" charset="0"/>
              </a:rPr>
              <a:t>Xxxxxxxxxxxxxxxxxxxxxxxxxxxxxxxxxxx</a:t>
            </a:r>
            <a:endParaRPr lang="en-US" sz="1050" dirty="0">
              <a:latin typeface="+mj-lt"/>
              <a:ea typeface="Open Sans" pitchFamily="34" charset="0"/>
              <a:cs typeface="Open Sans" pitchFamily="34" charset="0"/>
            </a:endParaRPr>
          </a:p>
          <a:p>
            <a:pPr defTabSz="1088232"/>
            <a:r>
              <a:rPr lang="en-US" sz="1050" dirty="0" err="1">
                <a:latin typeface="+mj-lt"/>
                <a:ea typeface="Open Sans" pitchFamily="34" charset="0"/>
                <a:cs typeface="Open Sans" pitchFamily="34" charset="0"/>
              </a:rPr>
              <a:t>Xxxxxxxxxxxxxxxxxxxxxxxxxxxx</a:t>
            </a:r>
            <a:endParaRPr lang="en-US" sz="1050" dirty="0">
              <a:latin typeface="+mj-lt"/>
              <a:ea typeface="Open Sans" pitchFamily="34" charset="0"/>
              <a:cs typeface="Open Sans" pitchFamily="34" charset="0"/>
            </a:endParaRPr>
          </a:p>
          <a:p>
            <a:pPr defTabSz="1088232"/>
            <a:r>
              <a:rPr lang="en-US" sz="1050" dirty="0" err="1">
                <a:latin typeface="+mj-lt"/>
                <a:ea typeface="Open Sans" pitchFamily="34" charset="0"/>
                <a:cs typeface="Open Sans" pitchFamily="34" charset="0"/>
              </a:rPr>
              <a:t>Xxxxxxxxxxxxxxxxxxxxx</a:t>
            </a:r>
            <a:endParaRPr lang="en-US" sz="1050" dirty="0">
              <a:latin typeface="+mj-lt"/>
              <a:ea typeface="Open Sans" pitchFamily="34" charset="0"/>
              <a:cs typeface="Open Sans" pitchFamily="34" charset="0"/>
            </a:endParaRPr>
          </a:p>
          <a:p>
            <a:pPr defTabSz="1088232"/>
            <a:r>
              <a:rPr lang="en-US" sz="1050" dirty="0">
                <a:latin typeface="+mj-lt"/>
                <a:ea typeface="Open Sans" pitchFamily="34" charset="0"/>
                <a:cs typeface="Open Sans" pitchFamily="34" charset="0"/>
              </a:rPr>
              <a:t>Xxxxxxxxxxxxxxxxxxxxxxxxxxxxxxxxxxxxxxxxxxxxxxxxxxxxxxxxxxxxxxxxxxx</a:t>
            </a:r>
          </a:p>
          <a:p>
            <a:pPr defTabSz="1088232"/>
            <a:r>
              <a:rPr lang="en-US" sz="1050" dirty="0" err="1">
                <a:latin typeface="+mj-lt"/>
                <a:ea typeface="Open Sans" pitchFamily="34" charset="0"/>
                <a:cs typeface="Open Sans" pitchFamily="34" charset="0"/>
              </a:rPr>
              <a:t>xxxxxxxxxxxxxxxxxxxxx</a:t>
            </a:r>
            <a:endParaRPr lang="en-US" sz="1050" dirty="0">
              <a:latin typeface="+mj-lt"/>
              <a:ea typeface="Open Sans" pitchFamily="34" charset="0"/>
              <a:cs typeface="Open Sans" pitchFamily="34" charset="0"/>
            </a:endParaRPr>
          </a:p>
        </p:txBody>
      </p:sp>
      <p:sp>
        <p:nvSpPr>
          <p:cNvPr id="7" name="Oval 4">
            <a:extLst>
              <a:ext uri="{FF2B5EF4-FFF2-40B4-BE49-F238E27FC236}">
                <a16:creationId xmlns:a16="http://schemas.microsoft.com/office/drawing/2014/main" id="{502E3DB2-3CFF-4A03-BAF3-C975C1ACF0B5}"/>
              </a:ext>
            </a:extLst>
          </p:cNvPr>
          <p:cNvSpPr/>
          <p:nvPr/>
        </p:nvSpPr>
        <p:spPr>
          <a:xfrm>
            <a:off x="1566773" y="3942376"/>
            <a:ext cx="834852" cy="834117"/>
          </a:xfrm>
          <a:prstGeom prst="ellipse">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9" name="Oval 12">
            <a:extLst>
              <a:ext uri="{FF2B5EF4-FFF2-40B4-BE49-F238E27FC236}">
                <a16:creationId xmlns:a16="http://schemas.microsoft.com/office/drawing/2014/main" id="{9581ED53-6B9C-4E07-A109-83E8F77B2585}"/>
              </a:ext>
            </a:extLst>
          </p:cNvPr>
          <p:cNvSpPr/>
          <p:nvPr/>
        </p:nvSpPr>
        <p:spPr>
          <a:xfrm>
            <a:off x="4076436" y="3942376"/>
            <a:ext cx="834852" cy="834117"/>
          </a:xfrm>
          <a:prstGeom prst="ellipse">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0" name="Text Box 10">
            <a:extLst>
              <a:ext uri="{FF2B5EF4-FFF2-40B4-BE49-F238E27FC236}">
                <a16:creationId xmlns:a16="http://schemas.microsoft.com/office/drawing/2014/main" id="{9D14EB02-A4A2-4798-9BF0-B8FFC7C955EB}"/>
              </a:ext>
            </a:extLst>
          </p:cNvPr>
          <p:cNvSpPr txBox="1">
            <a:spLocks noChangeArrowheads="1"/>
          </p:cNvSpPr>
          <p:nvPr/>
        </p:nvSpPr>
        <p:spPr bwMode="auto">
          <a:xfrm>
            <a:off x="3428150" y="4869450"/>
            <a:ext cx="2131424"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1"/>
                </a:solidFill>
                <a:ea typeface="Open Sans" pitchFamily="34" charset="0"/>
                <a:cs typeface="Open Sans" pitchFamily="34" charset="0"/>
              </a:rPr>
              <a:t>Xxxxxxxx</a:t>
            </a:r>
            <a:endParaRPr lang="en-US" altLang="zh-CN" sz="1600" b="1" dirty="0">
              <a:solidFill>
                <a:schemeClr val="accent1"/>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p:txBody>
      </p:sp>
      <p:sp>
        <p:nvSpPr>
          <p:cNvPr id="13" name="Oval 16">
            <a:extLst>
              <a:ext uri="{FF2B5EF4-FFF2-40B4-BE49-F238E27FC236}">
                <a16:creationId xmlns:a16="http://schemas.microsoft.com/office/drawing/2014/main" id="{D276287F-E580-4568-8A56-7146DFAF4C84}"/>
              </a:ext>
            </a:extLst>
          </p:cNvPr>
          <p:cNvSpPr/>
          <p:nvPr/>
        </p:nvSpPr>
        <p:spPr>
          <a:xfrm>
            <a:off x="9674840" y="3942376"/>
            <a:ext cx="834852" cy="834117"/>
          </a:xfrm>
          <a:prstGeom prst="ellipse">
            <a:avLst/>
          </a:prstGeom>
          <a:solidFill>
            <a:schemeClr val="accent6"/>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1" name="Oval 14">
            <a:extLst>
              <a:ext uri="{FF2B5EF4-FFF2-40B4-BE49-F238E27FC236}">
                <a16:creationId xmlns:a16="http://schemas.microsoft.com/office/drawing/2014/main" id="{6D3FA48A-8216-4411-B218-19688C1BDF27}"/>
              </a:ext>
            </a:extLst>
          </p:cNvPr>
          <p:cNvSpPr/>
          <p:nvPr/>
        </p:nvSpPr>
        <p:spPr>
          <a:xfrm>
            <a:off x="7287855" y="3942376"/>
            <a:ext cx="834852" cy="834117"/>
          </a:xfrm>
          <a:prstGeom prst="ellipse">
            <a:avLst/>
          </a:prstGeom>
          <a:solidFill>
            <a:schemeClr val="accent6"/>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59" name="Text Box 10">
            <a:extLst>
              <a:ext uri="{FF2B5EF4-FFF2-40B4-BE49-F238E27FC236}">
                <a16:creationId xmlns:a16="http://schemas.microsoft.com/office/drawing/2014/main" id="{DBD08111-3899-4853-A574-D6A185969E5E}"/>
              </a:ext>
            </a:extLst>
          </p:cNvPr>
          <p:cNvSpPr txBox="1">
            <a:spLocks noChangeArrowheads="1"/>
          </p:cNvSpPr>
          <p:nvPr/>
        </p:nvSpPr>
        <p:spPr bwMode="auto">
          <a:xfrm>
            <a:off x="887691" y="4869450"/>
            <a:ext cx="2131424"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1"/>
                </a:solidFill>
                <a:ea typeface="Open Sans" pitchFamily="34" charset="0"/>
                <a:cs typeface="Open Sans" pitchFamily="34" charset="0"/>
              </a:rPr>
              <a:t>Xxxxxxxx</a:t>
            </a:r>
            <a:endParaRPr lang="en-US" altLang="zh-CN" sz="1600" b="1" dirty="0">
              <a:solidFill>
                <a:schemeClr val="accent1"/>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p:txBody>
      </p:sp>
      <p:sp>
        <p:nvSpPr>
          <p:cNvPr id="60" name="Text Box 10">
            <a:extLst>
              <a:ext uri="{FF2B5EF4-FFF2-40B4-BE49-F238E27FC236}">
                <a16:creationId xmlns:a16="http://schemas.microsoft.com/office/drawing/2014/main" id="{93132330-1F14-4F09-9B9C-5D58D417ADD9}"/>
              </a:ext>
            </a:extLst>
          </p:cNvPr>
          <p:cNvSpPr txBox="1">
            <a:spLocks noChangeArrowheads="1"/>
          </p:cNvSpPr>
          <p:nvPr/>
        </p:nvSpPr>
        <p:spPr bwMode="auto">
          <a:xfrm>
            <a:off x="6636895" y="4869450"/>
            <a:ext cx="2131424"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6"/>
                </a:solidFill>
                <a:ea typeface="Open Sans" pitchFamily="34" charset="0"/>
                <a:cs typeface="Open Sans" pitchFamily="34" charset="0"/>
              </a:rPr>
              <a:t>Xxxxxxxx</a:t>
            </a:r>
            <a:endParaRPr lang="en-US" altLang="zh-CN" sz="1600" b="1" dirty="0">
              <a:solidFill>
                <a:schemeClr val="accent6"/>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p:txBody>
      </p:sp>
      <p:sp>
        <p:nvSpPr>
          <p:cNvPr id="61" name="Text Box 10">
            <a:extLst>
              <a:ext uri="{FF2B5EF4-FFF2-40B4-BE49-F238E27FC236}">
                <a16:creationId xmlns:a16="http://schemas.microsoft.com/office/drawing/2014/main" id="{5F1EC1E5-DED7-494A-9EA8-7D1F6A49E5D9}"/>
              </a:ext>
            </a:extLst>
          </p:cNvPr>
          <p:cNvSpPr txBox="1">
            <a:spLocks noChangeArrowheads="1"/>
          </p:cNvSpPr>
          <p:nvPr/>
        </p:nvSpPr>
        <p:spPr bwMode="auto">
          <a:xfrm>
            <a:off x="9001290" y="4869450"/>
            <a:ext cx="2131424"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6"/>
                </a:solidFill>
                <a:ea typeface="Open Sans" pitchFamily="34" charset="0"/>
                <a:cs typeface="Open Sans" pitchFamily="34" charset="0"/>
              </a:rPr>
              <a:t>Xxxxxxxx</a:t>
            </a:r>
            <a:endParaRPr lang="en-US" altLang="zh-CN" sz="1600" b="1" dirty="0">
              <a:solidFill>
                <a:schemeClr val="accent6"/>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p:txBody>
      </p:sp>
      <p:grpSp>
        <p:nvGrpSpPr>
          <p:cNvPr id="62" name="Group 772">
            <a:extLst>
              <a:ext uri="{FF2B5EF4-FFF2-40B4-BE49-F238E27FC236}">
                <a16:creationId xmlns:a16="http://schemas.microsoft.com/office/drawing/2014/main" id="{A61CD8CB-CC01-41D7-903A-C16E175062EE}"/>
              </a:ext>
            </a:extLst>
          </p:cNvPr>
          <p:cNvGrpSpPr>
            <a:grpSpLocks noChangeAspect="1"/>
          </p:cNvGrpSpPr>
          <p:nvPr/>
        </p:nvGrpSpPr>
        <p:grpSpPr bwMode="auto">
          <a:xfrm>
            <a:off x="1649086" y="4024321"/>
            <a:ext cx="670227" cy="670227"/>
            <a:chOff x="3547" y="3177"/>
            <a:chExt cx="340" cy="340"/>
          </a:xfrm>
          <a:solidFill>
            <a:schemeClr val="bg1"/>
          </a:solidFill>
        </p:grpSpPr>
        <p:sp>
          <p:nvSpPr>
            <p:cNvPr id="63" name="Freeform 773">
              <a:extLst>
                <a:ext uri="{FF2B5EF4-FFF2-40B4-BE49-F238E27FC236}">
                  <a16:creationId xmlns:a16="http://schemas.microsoft.com/office/drawing/2014/main" id="{1C17AEE6-A28C-4F24-8514-29BE7B21551C}"/>
                </a:ext>
              </a:extLst>
            </p:cNvPr>
            <p:cNvSpPr>
              <a:spLocks noEditPoints="1"/>
            </p:cNvSpPr>
            <p:nvPr/>
          </p:nvSpPr>
          <p:spPr bwMode="auto">
            <a:xfrm>
              <a:off x="3547"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4" name="Freeform 774">
              <a:extLst>
                <a:ext uri="{FF2B5EF4-FFF2-40B4-BE49-F238E27FC236}">
                  <a16:creationId xmlns:a16="http://schemas.microsoft.com/office/drawing/2014/main" id="{1A8F7E96-7C92-47E5-B0FB-209D008278C6}"/>
                </a:ext>
              </a:extLst>
            </p:cNvPr>
            <p:cNvSpPr>
              <a:spLocks noEditPoints="1"/>
            </p:cNvSpPr>
            <p:nvPr/>
          </p:nvSpPr>
          <p:spPr bwMode="auto">
            <a:xfrm>
              <a:off x="3625" y="324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85 w 277"/>
                <a:gd name="T73" fmla="*/ 170 h 298"/>
                <a:gd name="T74" fmla="*/ 75 w 277"/>
                <a:gd name="T75" fmla="*/ 160 h 298"/>
                <a:gd name="T76" fmla="*/ 85 w 277"/>
                <a:gd name="T77" fmla="*/ 149 h 298"/>
                <a:gd name="T78" fmla="*/ 192 w 277"/>
                <a:gd name="T79" fmla="*/ 149 h 298"/>
                <a:gd name="T80" fmla="*/ 203 w 277"/>
                <a:gd name="T8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85" y="170"/>
                    <a:pt x="85" y="170"/>
                    <a:pt x="85" y="170"/>
                  </a:cubicBezTo>
                  <a:cubicBezTo>
                    <a:pt x="79" y="170"/>
                    <a:pt x="75" y="166"/>
                    <a:pt x="75" y="160"/>
                  </a:cubicBezTo>
                  <a:cubicBezTo>
                    <a:pt x="75" y="154"/>
                    <a:pt x="79" y="149"/>
                    <a:pt x="85" y="149"/>
                  </a:cubicBezTo>
                  <a:cubicBezTo>
                    <a:pt x="192" y="149"/>
                    <a:pt x="192" y="149"/>
                    <a:pt x="192" y="149"/>
                  </a:cubicBezTo>
                  <a:cubicBezTo>
                    <a:pt x="198" y="149"/>
                    <a:pt x="203" y="154"/>
                    <a:pt x="203" y="16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5" name="Group 781">
            <a:extLst>
              <a:ext uri="{FF2B5EF4-FFF2-40B4-BE49-F238E27FC236}">
                <a16:creationId xmlns:a16="http://schemas.microsoft.com/office/drawing/2014/main" id="{2F4ED1F4-D0B5-4E0B-BD2C-480A00160B14}"/>
              </a:ext>
            </a:extLst>
          </p:cNvPr>
          <p:cNvGrpSpPr>
            <a:grpSpLocks noChangeAspect="1"/>
          </p:cNvGrpSpPr>
          <p:nvPr/>
        </p:nvGrpSpPr>
        <p:grpSpPr bwMode="auto">
          <a:xfrm>
            <a:off x="4158748" y="4024321"/>
            <a:ext cx="670227" cy="670227"/>
            <a:chOff x="3805" y="3387"/>
            <a:chExt cx="340" cy="340"/>
          </a:xfrm>
          <a:solidFill>
            <a:schemeClr val="bg1"/>
          </a:solidFill>
        </p:grpSpPr>
        <p:sp>
          <p:nvSpPr>
            <p:cNvPr id="66" name="Freeform 782">
              <a:extLst>
                <a:ext uri="{FF2B5EF4-FFF2-40B4-BE49-F238E27FC236}">
                  <a16:creationId xmlns:a16="http://schemas.microsoft.com/office/drawing/2014/main" id="{7D05A0D6-4F91-4462-83AF-7CA2481EE404}"/>
                </a:ext>
              </a:extLst>
            </p:cNvPr>
            <p:cNvSpPr>
              <a:spLocks noEditPoints="1"/>
            </p:cNvSpPr>
            <p:nvPr/>
          </p:nvSpPr>
          <p:spPr bwMode="auto">
            <a:xfrm>
              <a:off x="3805" y="33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7" name="Freeform 783">
              <a:extLst>
                <a:ext uri="{FF2B5EF4-FFF2-40B4-BE49-F238E27FC236}">
                  <a16:creationId xmlns:a16="http://schemas.microsoft.com/office/drawing/2014/main" id="{AB385991-7E90-46C8-9D70-151A1B14EB8D}"/>
                </a:ext>
              </a:extLst>
            </p:cNvPr>
            <p:cNvSpPr>
              <a:spLocks noEditPoints="1"/>
            </p:cNvSpPr>
            <p:nvPr/>
          </p:nvSpPr>
          <p:spPr bwMode="auto">
            <a:xfrm>
              <a:off x="3883" y="345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184 w 277"/>
                <a:gd name="T69" fmla="*/ 130 h 298"/>
                <a:gd name="T70" fmla="*/ 154 w 277"/>
                <a:gd name="T71" fmla="*/ 160 h 298"/>
                <a:gd name="T72" fmla="*/ 184 w 277"/>
                <a:gd name="T73" fmla="*/ 190 h 298"/>
                <a:gd name="T74" fmla="*/ 184 w 277"/>
                <a:gd name="T75" fmla="*/ 205 h 298"/>
                <a:gd name="T76" fmla="*/ 176 w 277"/>
                <a:gd name="T77" fmla="*/ 208 h 298"/>
                <a:gd name="T78" fmla="*/ 169 w 277"/>
                <a:gd name="T79" fmla="*/ 205 h 298"/>
                <a:gd name="T80" fmla="*/ 139 w 277"/>
                <a:gd name="T81" fmla="*/ 175 h 298"/>
                <a:gd name="T82" fmla="*/ 108 w 277"/>
                <a:gd name="T83" fmla="*/ 205 h 298"/>
                <a:gd name="T84" fmla="*/ 101 w 277"/>
                <a:gd name="T85" fmla="*/ 208 h 298"/>
                <a:gd name="T86" fmla="*/ 93 w 277"/>
                <a:gd name="T87" fmla="*/ 205 h 298"/>
                <a:gd name="T88" fmla="*/ 93 w 277"/>
                <a:gd name="T89" fmla="*/ 190 h 298"/>
                <a:gd name="T90" fmla="*/ 124 w 277"/>
                <a:gd name="T91" fmla="*/ 160 h 298"/>
                <a:gd name="T92" fmla="*/ 93 w 277"/>
                <a:gd name="T93" fmla="*/ 130 h 298"/>
                <a:gd name="T94" fmla="*/ 93 w 277"/>
                <a:gd name="T95" fmla="*/ 114 h 298"/>
                <a:gd name="T96" fmla="*/ 108 w 277"/>
                <a:gd name="T97" fmla="*/ 114 h 298"/>
                <a:gd name="T98" fmla="*/ 139 w 277"/>
                <a:gd name="T99" fmla="*/ 145 h 298"/>
                <a:gd name="T100" fmla="*/ 169 w 277"/>
                <a:gd name="T101" fmla="*/ 114 h 298"/>
                <a:gd name="T102" fmla="*/ 184 w 277"/>
                <a:gd name="T103" fmla="*/ 114 h 298"/>
                <a:gd name="T104" fmla="*/ 184 w 277"/>
                <a:gd name="T105" fmla="*/ 13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184" y="130"/>
                  </a:moveTo>
                  <a:cubicBezTo>
                    <a:pt x="154" y="160"/>
                    <a:pt x="154" y="160"/>
                    <a:pt x="154" y="160"/>
                  </a:cubicBezTo>
                  <a:cubicBezTo>
                    <a:pt x="184" y="190"/>
                    <a:pt x="184" y="190"/>
                    <a:pt x="184" y="190"/>
                  </a:cubicBezTo>
                  <a:cubicBezTo>
                    <a:pt x="188" y="194"/>
                    <a:pt x="188" y="201"/>
                    <a:pt x="184" y="205"/>
                  </a:cubicBezTo>
                  <a:cubicBezTo>
                    <a:pt x="182" y="207"/>
                    <a:pt x="179" y="208"/>
                    <a:pt x="176" y="208"/>
                  </a:cubicBezTo>
                  <a:cubicBezTo>
                    <a:pt x="174" y="208"/>
                    <a:pt x="171" y="207"/>
                    <a:pt x="169" y="205"/>
                  </a:cubicBezTo>
                  <a:cubicBezTo>
                    <a:pt x="139" y="175"/>
                    <a:pt x="139" y="175"/>
                    <a:pt x="139" y="175"/>
                  </a:cubicBezTo>
                  <a:cubicBezTo>
                    <a:pt x="108" y="205"/>
                    <a:pt x="108" y="205"/>
                    <a:pt x="108" y="205"/>
                  </a:cubicBezTo>
                  <a:cubicBezTo>
                    <a:pt x="106" y="207"/>
                    <a:pt x="104" y="208"/>
                    <a:pt x="101" y="208"/>
                  </a:cubicBezTo>
                  <a:cubicBezTo>
                    <a:pt x="98" y="208"/>
                    <a:pt x="95" y="207"/>
                    <a:pt x="93" y="205"/>
                  </a:cubicBezTo>
                  <a:cubicBezTo>
                    <a:pt x="89" y="201"/>
                    <a:pt x="89" y="194"/>
                    <a:pt x="93" y="190"/>
                  </a:cubicBezTo>
                  <a:cubicBezTo>
                    <a:pt x="124" y="160"/>
                    <a:pt x="124" y="160"/>
                    <a:pt x="124" y="160"/>
                  </a:cubicBezTo>
                  <a:cubicBezTo>
                    <a:pt x="93" y="130"/>
                    <a:pt x="93" y="130"/>
                    <a:pt x="93" y="130"/>
                  </a:cubicBezTo>
                  <a:cubicBezTo>
                    <a:pt x="89" y="125"/>
                    <a:pt x="89" y="119"/>
                    <a:pt x="93" y="114"/>
                  </a:cubicBezTo>
                  <a:cubicBezTo>
                    <a:pt x="98" y="110"/>
                    <a:pt x="104" y="110"/>
                    <a:pt x="108" y="114"/>
                  </a:cubicBezTo>
                  <a:cubicBezTo>
                    <a:pt x="139" y="145"/>
                    <a:pt x="139" y="145"/>
                    <a:pt x="139" y="145"/>
                  </a:cubicBezTo>
                  <a:cubicBezTo>
                    <a:pt x="169" y="114"/>
                    <a:pt x="169" y="114"/>
                    <a:pt x="169" y="114"/>
                  </a:cubicBezTo>
                  <a:cubicBezTo>
                    <a:pt x="173" y="110"/>
                    <a:pt x="180" y="110"/>
                    <a:pt x="184" y="114"/>
                  </a:cubicBezTo>
                  <a:cubicBezTo>
                    <a:pt x="188" y="119"/>
                    <a:pt x="188" y="125"/>
                    <a:pt x="184" y="13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8" name="Group 790">
            <a:extLst>
              <a:ext uri="{FF2B5EF4-FFF2-40B4-BE49-F238E27FC236}">
                <a16:creationId xmlns:a16="http://schemas.microsoft.com/office/drawing/2014/main" id="{A5640E37-FA07-4B29-B865-610EA6350235}"/>
              </a:ext>
            </a:extLst>
          </p:cNvPr>
          <p:cNvGrpSpPr>
            <a:grpSpLocks noChangeAspect="1"/>
          </p:cNvGrpSpPr>
          <p:nvPr/>
        </p:nvGrpSpPr>
        <p:grpSpPr bwMode="auto">
          <a:xfrm>
            <a:off x="7370168" y="4024321"/>
            <a:ext cx="670227" cy="670227"/>
            <a:chOff x="3489" y="3105"/>
            <a:chExt cx="340" cy="340"/>
          </a:xfrm>
          <a:solidFill>
            <a:schemeClr val="bg1"/>
          </a:solidFill>
        </p:grpSpPr>
        <p:sp>
          <p:nvSpPr>
            <p:cNvPr id="69" name="Freeform 321">
              <a:extLst>
                <a:ext uri="{FF2B5EF4-FFF2-40B4-BE49-F238E27FC236}">
                  <a16:creationId xmlns:a16="http://schemas.microsoft.com/office/drawing/2014/main" id="{690A1D19-C64C-4BF1-BF86-F6F3466FDD87}"/>
                </a:ext>
              </a:extLst>
            </p:cNvPr>
            <p:cNvSpPr>
              <a:spLocks noEditPoints="1"/>
            </p:cNvSpPr>
            <p:nvPr/>
          </p:nvSpPr>
          <p:spPr bwMode="auto">
            <a:xfrm>
              <a:off x="3489" y="310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0" name="Freeform 322">
              <a:extLst>
                <a:ext uri="{FF2B5EF4-FFF2-40B4-BE49-F238E27FC236}">
                  <a16:creationId xmlns:a16="http://schemas.microsoft.com/office/drawing/2014/main" id="{307BE79D-BBAE-4934-A358-EEE2C7887B85}"/>
                </a:ext>
              </a:extLst>
            </p:cNvPr>
            <p:cNvSpPr>
              <a:spLocks noEditPoints="1"/>
            </p:cNvSpPr>
            <p:nvPr/>
          </p:nvSpPr>
          <p:spPr bwMode="auto">
            <a:xfrm>
              <a:off x="3567" y="3169"/>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149 w 277"/>
                <a:gd name="T73" fmla="*/ 170 h 298"/>
                <a:gd name="T74" fmla="*/ 149 w 277"/>
                <a:gd name="T75" fmla="*/ 213 h 298"/>
                <a:gd name="T76" fmla="*/ 139 w 277"/>
                <a:gd name="T77" fmla="*/ 224 h 298"/>
                <a:gd name="T78" fmla="*/ 128 w 277"/>
                <a:gd name="T79" fmla="*/ 213 h 298"/>
                <a:gd name="T80" fmla="*/ 128 w 277"/>
                <a:gd name="T81" fmla="*/ 170 h 298"/>
                <a:gd name="T82" fmla="*/ 85 w 277"/>
                <a:gd name="T83" fmla="*/ 170 h 298"/>
                <a:gd name="T84" fmla="*/ 75 w 277"/>
                <a:gd name="T85" fmla="*/ 160 h 298"/>
                <a:gd name="T86" fmla="*/ 85 w 277"/>
                <a:gd name="T87" fmla="*/ 149 h 298"/>
                <a:gd name="T88" fmla="*/ 128 w 277"/>
                <a:gd name="T89" fmla="*/ 149 h 298"/>
                <a:gd name="T90" fmla="*/ 128 w 277"/>
                <a:gd name="T91" fmla="*/ 106 h 298"/>
                <a:gd name="T92" fmla="*/ 139 w 277"/>
                <a:gd name="T93" fmla="*/ 96 h 298"/>
                <a:gd name="T94" fmla="*/ 149 w 277"/>
                <a:gd name="T95" fmla="*/ 106 h 298"/>
                <a:gd name="T96" fmla="*/ 149 w 277"/>
                <a:gd name="T97" fmla="*/ 149 h 298"/>
                <a:gd name="T98" fmla="*/ 192 w 277"/>
                <a:gd name="T99" fmla="*/ 149 h 298"/>
                <a:gd name="T100" fmla="*/ 203 w 277"/>
                <a:gd name="T10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149" y="170"/>
                    <a:pt x="149" y="170"/>
                    <a:pt x="149" y="170"/>
                  </a:cubicBezTo>
                  <a:cubicBezTo>
                    <a:pt x="149" y="213"/>
                    <a:pt x="149" y="213"/>
                    <a:pt x="149" y="213"/>
                  </a:cubicBezTo>
                  <a:cubicBezTo>
                    <a:pt x="149" y="219"/>
                    <a:pt x="145" y="224"/>
                    <a:pt x="139" y="224"/>
                  </a:cubicBezTo>
                  <a:cubicBezTo>
                    <a:pt x="133" y="224"/>
                    <a:pt x="128" y="219"/>
                    <a:pt x="128" y="213"/>
                  </a:cubicBezTo>
                  <a:cubicBezTo>
                    <a:pt x="128" y="170"/>
                    <a:pt x="128" y="170"/>
                    <a:pt x="128" y="170"/>
                  </a:cubicBezTo>
                  <a:cubicBezTo>
                    <a:pt x="85" y="170"/>
                    <a:pt x="85" y="170"/>
                    <a:pt x="85" y="170"/>
                  </a:cubicBezTo>
                  <a:cubicBezTo>
                    <a:pt x="79" y="170"/>
                    <a:pt x="75" y="166"/>
                    <a:pt x="75" y="160"/>
                  </a:cubicBezTo>
                  <a:cubicBezTo>
                    <a:pt x="75" y="154"/>
                    <a:pt x="79" y="149"/>
                    <a:pt x="85" y="149"/>
                  </a:cubicBezTo>
                  <a:cubicBezTo>
                    <a:pt x="128" y="149"/>
                    <a:pt x="128" y="149"/>
                    <a:pt x="128" y="149"/>
                  </a:cubicBezTo>
                  <a:cubicBezTo>
                    <a:pt x="128" y="106"/>
                    <a:pt x="128" y="106"/>
                    <a:pt x="128" y="106"/>
                  </a:cubicBezTo>
                  <a:cubicBezTo>
                    <a:pt x="128" y="100"/>
                    <a:pt x="133" y="96"/>
                    <a:pt x="139" y="96"/>
                  </a:cubicBezTo>
                  <a:cubicBezTo>
                    <a:pt x="145" y="96"/>
                    <a:pt x="149" y="100"/>
                    <a:pt x="149" y="106"/>
                  </a:cubicBezTo>
                  <a:cubicBezTo>
                    <a:pt x="149" y="149"/>
                    <a:pt x="149" y="149"/>
                    <a:pt x="149" y="149"/>
                  </a:cubicBezTo>
                  <a:cubicBezTo>
                    <a:pt x="192" y="149"/>
                    <a:pt x="192" y="149"/>
                    <a:pt x="192" y="149"/>
                  </a:cubicBezTo>
                  <a:cubicBezTo>
                    <a:pt x="198" y="149"/>
                    <a:pt x="203" y="154"/>
                    <a:pt x="203" y="16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71" name="Group 799">
            <a:extLst>
              <a:ext uri="{FF2B5EF4-FFF2-40B4-BE49-F238E27FC236}">
                <a16:creationId xmlns:a16="http://schemas.microsoft.com/office/drawing/2014/main" id="{33E6976A-77AA-4D7B-83B7-D063944A9C4D}"/>
              </a:ext>
            </a:extLst>
          </p:cNvPr>
          <p:cNvGrpSpPr>
            <a:grpSpLocks noChangeAspect="1"/>
          </p:cNvGrpSpPr>
          <p:nvPr/>
        </p:nvGrpSpPr>
        <p:grpSpPr bwMode="auto">
          <a:xfrm>
            <a:off x="9757152" y="4024321"/>
            <a:ext cx="670227" cy="670227"/>
            <a:chOff x="5187" y="3469"/>
            <a:chExt cx="340" cy="340"/>
          </a:xfrm>
          <a:solidFill>
            <a:schemeClr val="bg1"/>
          </a:solidFill>
        </p:grpSpPr>
        <p:sp>
          <p:nvSpPr>
            <p:cNvPr id="72" name="Freeform 800">
              <a:extLst>
                <a:ext uri="{FF2B5EF4-FFF2-40B4-BE49-F238E27FC236}">
                  <a16:creationId xmlns:a16="http://schemas.microsoft.com/office/drawing/2014/main" id="{25110A9E-3438-4D5A-BD15-28B11652A268}"/>
                </a:ext>
              </a:extLst>
            </p:cNvPr>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3" name="Freeform 801">
              <a:extLst>
                <a:ext uri="{FF2B5EF4-FFF2-40B4-BE49-F238E27FC236}">
                  <a16:creationId xmlns:a16="http://schemas.microsoft.com/office/drawing/2014/main" id="{C15B2EF3-BF1D-4974-AC48-E73A28951128}"/>
                </a:ext>
              </a:extLst>
            </p:cNvPr>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29" name="Text Box 10">
            <a:extLst>
              <a:ext uri="{FF2B5EF4-FFF2-40B4-BE49-F238E27FC236}">
                <a16:creationId xmlns:a16="http://schemas.microsoft.com/office/drawing/2014/main" id="{26FAD16E-D8C9-CC44-AA9C-A43DF1A60F15}"/>
              </a:ext>
            </a:extLst>
          </p:cNvPr>
          <p:cNvSpPr txBox="1">
            <a:spLocks noChangeArrowheads="1"/>
          </p:cNvSpPr>
          <p:nvPr/>
        </p:nvSpPr>
        <p:spPr bwMode="auto">
          <a:xfrm>
            <a:off x="6333451" y="1927319"/>
            <a:ext cx="4117871" cy="1231106"/>
          </a:xfrm>
          <a:prstGeom prst="rect">
            <a:avLst/>
          </a:prstGeom>
          <a:noFill/>
          <a:ln w="9525">
            <a:noFill/>
            <a:miter lim="800000"/>
            <a:headEnd/>
            <a:tailEnd/>
          </a:ln>
        </p:spPr>
        <p:txBody>
          <a:bodyPr wrap="square" lIns="45720" tIns="22860" rIns="45720" bIns="22860">
            <a:spAutoFit/>
          </a:bodyPr>
          <a:lstStyle/>
          <a:p>
            <a:pPr defTabSz="1088232"/>
            <a:r>
              <a:rPr lang="en-US" sz="1400" b="1" dirty="0" err="1">
                <a:solidFill>
                  <a:schemeClr val="bg1"/>
                </a:solidFill>
                <a:latin typeface="+mj-lt"/>
                <a:ea typeface="Open Sans" pitchFamily="34" charset="0"/>
                <a:cs typeface="Open Sans" pitchFamily="34" charset="0"/>
              </a:rPr>
              <a:t>Xxxxxxxxxxxxx</a:t>
            </a:r>
            <a:endParaRPr lang="en-US" sz="1400" b="1" dirty="0">
              <a:solidFill>
                <a:schemeClr val="bg1"/>
              </a:solidFill>
              <a:latin typeface="+mj-lt"/>
              <a:ea typeface="Open Sans" pitchFamily="34" charset="0"/>
              <a:cs typeface="Open Sans" pitchFamily="34" charset="0"/>
            </a:endParaRPr>
          </a:p>
          <a:p>
            <a:pPr defTabSz="1088232"/>
            <a:endParaRPr lang="en-US" sz="1050" dirty="0">
              <a:solidFill>
                <a:schemeClr val="bg1"/>
              </a:solidFill>
              <a:latin typeface="+mj-lt"/>
              <a:ea typeface="Open Sans" pitchFamily="34" charset="0"/>
              <a:cs typeface="Open Sans" pitchFamily="34" charset="0"/>
            </a:endParaRPr>
          </a:p>
          <a:p>
            <a:pPr defTabSz="1088232"/>
            <a:r>
              <a:rPr lang="en-US" sz="1050" dirty="0" err="1">
                <a:solidFill>
                  <a:schemeClr val="bg1"/>
                </a:solidFill>
                <a:latin typeface="+mj-lt"/>
                <a:ea typeface="Open Sans" pitchFamily="34" charset="0"/>
                <a:cs typeface="Open Sans" pitchFamily="34" charset="0"/>
              </a:rPr>
              <a:t>Xxxxxxxxxxxxxxxxxxxxxxxxxxxxxxxxxxx</a:t>
            </a:r>
            <a:endParaRPr lang="en-US" sz="1050" dirty="0">
              <a:solidFill>
                <a:schemeClr val="bg1"/>
              </a:solidFill>
              <a:latin typeface="+mj-lt"/>
              <a:ea typeface="Open Sans" pitchFamily="34" charset="0"/>
              <a:cs typeface="Open Sans" pitchFamily="34" charset="0"/>
            </a:endParaRPr>
          </a:p>
          <a:p>
            <a:pPr defTabSz="1088232"/>
            <a:r>
              <a:rPr lang="en-US" sz="1050" dirty="0" err="1">
                <a:solidFill>
                  <a:schemeClr val="bg1"/>
                </a:solidFill>
                <a:latin typeface="+mj-lt"/>
                <a:ea typeface="Open Sans" pitchFamily="34" charset="0"/>
                <a:cs typeface="Open Sans" pitchFamily="34" charset="0"/>
              </a:rPr>
              <a:t>Xxxxxxxxxxxxxxxxxxxxxxxxxxxx</a:t>
            </a:r>
            <a:endParaRPr lang="en-US" sz="1050" dirty="0">
              <a:solidFill>
                <a:schemeClr val="bg1"/>
              </a:solidFill>
              <a:latin typeface="+mj-lt"/>
              <a:ea typeface="Open Sans" pitchFamily="34" charset="0"/>
              <a:cs typeface="Open Sans" pitchFamily="34" charset="0"/>
            </a:endParaRPr>
          </a:p>
          <a:p>
            <a:pPr defTabSz="1088232"/>
            <a:r>
              <a:rPr lang="en-US" sz="1050" dirty="0" err="1">
                <a:solidFill>
                  <a:schemeClr val="bg1"/>
                </a:solidFill>
                <a:latin typeface="+mj-lt"/>
                <a:ea typeface="Open Sans" pitchFamily="34" charset="0"/>
                <a:cs typeface="Open Sans" pitchFamily="34" charset="0"/>
              </a:rPr>
              <a:t>Xxxxxxxxxxxxxxxxxxxxx</a:t>
            </a:r>
            <a:endParaRPr lang="en-US" sz="1050" dirty="0">
              <a:solidFill>
                <a:schemeClr val="bg1"/>
              </a:solidFill>
              <a:latin typeface="+mj-lt"/>
              <a:ea typeface="Open Sans" pitchFamily="34" charset="0"/>
              <a:cs typeface="Open Sans" pitchFamily="34" charset="0"/>
            </a:endParaRPr>
          </a:p>
          <a:p>
            <a:pPr defTabSz="1088232"/>
            <a:r>
              <a:rPr lang="en-US" sz="1050" dirty="0">
                <a:solidFill>
                  <a:schemeClr val="bg1"/>
                </a:solidFill>
                <a:latin typeface="+mj-lt"/>
                <a:ea typeface="Open Sans" pitchFamily="34" charset="0"/>
                <a:cs typeface="Open Sans" pitchFamily="34" charset="0"/>
              </a:rPr>
              <a:t>Xxxxxxxxxxxxxxxxxxxxxxxxxxxxxxxxxxxxxxxxxxxxxxxxxxxxxxxxxxxxxxxxxxx</a:t>
            </a:r>
          </a:p>
          <a:p>
            <a:pPr defTabSz="1088232"/>
            <a:r>
              <a:rPr lang="en-US" sz="1050" dirty="0" err="1">
                <a:solidFill>
                  <a:schemeClr val="bg1"/>
                </a:solidFill>
                <a:latin typeface="+mj-lt"/>
                <a:ea typeface="Open Sans" pitchFamily="34" charset="0"/>
                <a:cs typeface="Open Sans" pitchFamily="34" charset="0"/>
              </a:rPr>
              <a:t>xxxxxxxxxxxxxxxxxxxxx</a:t>
            </a:r>
            <a:endParaRPr lang="en-US" sz="1050" dirty="0">
              <a:solidFill>
                <a:schemeClr val="bg1"/>
              </a:solidFill>
              <a:latin typeface="+mj-lt"/>
              <a:ea typeface="Open Sans" pitchFamily="34" charset="0"/>
              <a:cs typeface="Open Sans" pitchFamily="34" charset="0"/>
            </a:endParaRPr>
          </a:p>
        </p:txBody>
      </p:sp>
    </p:spTree>
    <p:custDataLst>
      <p:tags r:id="rId1"/>
    </p:custDataLst>
    <p:extLst>
      <p:ext uri="{BB962C8B-B14F-4D97-AF65-F5344CB8AC3E}">
        <p14:creationId xmlns:p14="http://schemas.microsoft.com/office/powerpoint/2010/main" val="3682445213"/>
      </p:ext>
    </p:extLst>
  </p:cSld>
  <p:clrMapOvr>
    <a:masterClrMapping/>
  </p:clrMapOvr>
  <p:transition>
    <p:fade/>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D8AB40FA-77A0-4D97-A9EF-6FF961957527}"/>
              </a:ext>
            </a:extLst>
          </p:cNvPr>
          <p:cNvGrpSpPr/>
          <p:nvPr/>
        </p:nvGrpSpPr>
        <p:grpSpPr>
          <a:xfrm>
            <a:off x="2269226" y="1159085"/>
            <a:ext cx="9435048" cy="4785473"/>
            <a:chOff x="3631734" y="499110"/>
            <a:chExt cx="4886122" cy="4785473"/>
          </a:xfrm>
        </p:grpSpPr>
        <p:sp>
          <p:nvSpPr>
            <p:cNvPr id="5" name="Rectangle 5">
              <a:extLst>
                <a:ext uri="{FF2B5EF4-FFF2-40B4-BE49-F238E27FC236}">
                  <a16:creationId xmlns:a16="http://schemas.microsoft.com/office/drawing/2014/main" id="{9F5C09CD-4628-4D0B-A330-CCCDD8B2983E}"/>
                </a:ext>
              </a:extLst>
            </p:cNvPr>
            <p:cNvSpPr/>
            <p:nvPr/>
          </p:nvSpPr>
          <p:spPr>
            <a:xfrm>
              <a:off x="3645664" y="499110"/>
              <a:ext cx="2731532" cy="414499"/>
            </a:xfrm>
            <a:prstGeom prst="snip2Diag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a:t>
              </a:r>
              <a:endParaRPr lang="en-US" sz="1200" dirty="0">
                <a:solidFill>
                  <a:schemeClr val="tx2"/>
                </a:solidFill>
                <a:latin typeface="+mj-lt"/>
                <a:ea typeface="Open Sans Light" pitchFamily="34" charset="0"/>
                <a:cs typeface="Open Sans Light" pitchFamily="34" charset="0"/>
              </a:endParaRPr>
            </a:p>
          </p:txBody>
        </p:sp>
        <p:sp>
          <p:nvSpPr>
            <p:cNvPr id="6" name="Rectangle 6">
              <a:extLst>
                <a:ext uri="{FF2B5EF4-FFF2-40B4-BE49-F238E27FC236}">
                  <a16:creationId xmlns:a16="http://schemas.microsoft.com/office/drawing/2014/main" id="{A53CC0B0-A89A-443C-AB82-D7FC3B447020}"/>
                </a:ext>
              </a:extLst>
            </p:cNvPr>
            <p:cNvSpPr/>
            <p:nvPr/>
          </p:nvSpPr>
          <p:spPr>
            <a:xfrm>
              <a:off x="3645664" y="1021071"/>
              <a:ext cx="4039713" cy="414499"/>
            </a:xfrm>
            <a:prstGeom prst="snip2Diag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xxxxxxxxx</a:t>
              </a:r>
              <a:endParaRPr lang="en-US" altLang="zh-CN" sz="1200" dirty="0">
                <a:solidFill>
                  <a:schemeClr val="tx2"/>
                </a:solidFill>
                <a:latin typeface="+mj-lt"/>
                <a:ea typeface="Open Sans Light" pitchFamily="34" charset="0"/>
                <a:cs typeface="Open Sans Light" pitchFamily="34" charset="0"/>
              </a:endParaRPr>
            </a:p>
          </p:txBody>
        </p:sp>
        <p:sp>
          <p:nvSpPr>
            <p:cNvPr id="7" name="Rectangle 8">
              <a:extLst>
                <a:ext uri="{FF2B5EF4-FFF2-40B4-BE49-F238E27FC236}">
                  <a16:creationId xmlns:a16="http://schemas.microsoft.com/office/drawing/2014/main" id="{57F5DE50-9B5E-4595-A436-F63E2CB4F32A}"/>
                </a:ext>
              </a:extLst>
            </p:cNvPr>
            <p:cNvSpPr/>
            <p:nvPr/>
          </p:nvSpPr>
          <p:spPr>
            <a:xfrm>
              <a:off x="3645664" y="1575418"/>
              <a:ext cx="3809373" cy="414499"/>
            </a:xfrm>
            <a:prstGeom prst="snip2Diag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xxxxxxxxxxxxxxxxxxx</a:t>
              </a:r>
              <a:endParaRPr lang="en-US" altLang="zh-CN" sz="1200" dirty="0">
                <a:solidFill>
                  <a:schemeClr val="tx2"/>
                </a:solidFill>
                <a:latin typeface="+mj-lt"/>
                <a:ea typeface="Open Sans Light" pitchFamily="34" charset="0"/>
                <a:cs typeface="Open Sans Light" pitchFamily="34" charset="0"/>
              </a:endParaRPr>
            </a:p>
          </p:txBody>
        </p:sp>
        <p:sp>
          <p:nvSpPr>
            <p:cNvPr id="8" name="Rectangle 9">
              <a:extLst>
                <a:ext uri="{FF2B5EF4-FFF2-40B4-BE49-F238E27FC236}">
                  <a16:creationId xmlns:a16="http://schemas.microsoft.com/office/drawing/2014/main" id="{9DA1EBA4-84BD-477D-BAAF-7D09C5799EBD}"/>
                </a:ext>
              </a:extLst>
            </p:cNvPr>
            <p:cNvSpPr/>
            <p:nvPr/>
          </p:nvSpPr>
          <p:spPr>
            <a:xfrm>
              <a:off x="3645664" y="2121561"/>
              <a:ext cx="3567766" cy="414499"/>
            </a:xfrm>
            <a:prstGeom prst="snip2Diag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xxxx</a:t>
              </a:r>
              <a:endParaRPr lang="en-US" altLang="zh-CN" sz="1200" dirty="0">
                <a:solidFill>
                  <a:schemeClr val="tx2"/>
                </a:solidFill>
                <a:latin typeface="+mj-lt"/>
                <a:ea typeface="Open Sans Light" pitchFamily="34" charset="0"/>
                <a:cs typeface="Open Sans Light" pitchFamily="34" charset="0"/>
              </a:endParaRPr>
            </a:p>
          </p:txBody>
        </p:sp>
        <p:sp>
          <p:nvSpPr>
            <p:cNvPr id="9" name="Rectangle 10">
              <a:extLst>
                <a:ext uri="{FF2B5EF4-FFF2-40B4-BE49-F238E27FC236}">
                  <a16:creationId xmlns:a16="http://schemas.microsoft.com/office/drawing/2014/main" id="{9A7E44BA-A3E2-422C-83D3-1E9F28CAC8C1}"/>
                </a:ext>
              </a:extLst>
            </p:cNvPr>
            <p:cNvSpPr/>
            <p:nvPr/>
          </p:nvSpPr>
          <p:spPr>
            <a:xfrm>
              <a:off x="3645664" y="2653617"/>
              <a:ext cx="3805618" cy="414499"/>
            </a:xfrm>
            <a:prstGeom prst="snip2Diag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xxxxxxxxxxx</a:t>
              </a:r>
              <a:endParaRPr lang="en-US" altLang="zh-CN" sz="1200" dirty="0">
                <a:solidFill>
                  <a:schemeClr val="tx2"/>
                </a:solidFill>
                <a:latin typeface="+mj-lt"/>
                <a:ea typeface="Open Sans Light" pitchFamily="34" charset="0"/>
                <a:cs typeface="Open Sans Light" pitchFamily="34" charset="0"/>
              </a:endParaRPr>
            </a:p>
          </p:txBody>
        </p:sp>
        <p:sp>
          <p:nvSpPr>
            <p:cNvPr id="10" name="Rectangle 11">
              <a:extLst>
                <a:ext uri="{FF2B5EF4-FFF2-40B4-BE49-F238E27FC236}">
                  <a16:creationId xmlns:a16="http://schemas.microsoft.com/office/drawing/2014/main" id="{FE1B8F52-3CBB-40A6-9164-77580DF56ACC}"/>
                </a:ext>
              </a:extLst>
            </p:cNvPr>
            <p:cNvSpPr/>
            <p:nvPr/>
          </p:nvSpPr>
          <p:spPr>
            <a:xfrm>
              <a:off x="3645664" y="3179781"/>
              <a:ext cx="4872192" cy="414499"/>
            </a:xfrm>
            <a:prstGeom prst="snip2Diag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xxxxxxxxxxxxxxxxxxxxxxxxxxxxxxxxx</a:t>
              </a:r>
              <a:endParaRPr lang="en-US" altLang="zh-CN" sz="1200" dirty="0">
                <a:solidFill>
                  <a:schemeClr val="tx2"/>
                </a:solidFill>
                <a:latin typeface="+mj-lt"/>
                <a:ea typeface="Open Sans Light" pitchFamily="34" charset="0"/>
                <a:cs typeface="Open Sans Light" pitchFamily="34" charset="0"/>
              </a:endParaRPr>
            </a:p>
          </p:txBody>
        </p:sp>
        <p:sp>
          <p:nvSpPr>
            <p:cNvPr id="11" name="Text Box 10">
              <a:extLst>
                <a:ext uri="{FF2B5EF4-FFF2-40B4-BE49-F238E27FC236}">
                  <a16:creationId xmlns:a16="http://schemas.microsoft.com/office/drawing/2014/main" id="{38E8BA50-44FF-43DE-B1C9-5EBA23F565B8}"/>
                </a:ext>
              </a:extLst>
            </p:cNvPr>
            <p:cNvSpPr txBox="1">
              <a:spLocks noChangeArrowheads="1"/>
            </p:cNvSpPr>
            <p:nvPr/>
          </p:nvSpPr>
          <p:spPr bwMode="auto">
            <a:xfrm>
              <a:off x="3631734" y="3761089"/>
              <a:ext cx="2438400" cy="1523494"/>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200" b="1" dirty="0">
                  <a:solidFill>
                    <a:schemeClr val="accent1"/>
                  </a:solidFill>
                  <a:latin typeface="+mj-lt"/>
                  <a:ea typeface="Open Sans" pitchFamily="34" charset="0"/>
                  <a:cs typeface="Open Sans" pitchFamily="34" charset="0"/>
                </a:rPr>
                <a:t>XXXXXXXX</a:t>
              </a:r>
            </a:p>
            <a:p>
              <a:pPr defTabSz="1088232"/>
              <a:r>
                <a:rPr lang="en-US" altLang="zh-CN" sz="1200" dirty="0" err="1">
                  <a:solidFill>
                    <a:srgbClr val="FFFFFF"/>
                  </a:solidFill>
                  <a:latin typeface="+mj-lt"/>
                  <a:ea typeface="Open Sans" pitchFamily="34" charset="0"/>
                  <a:cs typeface="Open Sans" pitchFamily="34" charset="0"/>
                </a:rPr>
                <a:t>Xxxxxxxxxxxxxxxxxx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xxxxxxxxxxxxx</a:t>
              </a:r>
              <a:endParaRPr lang="en-US" altLang="zh-CN" sz="1200" dirty="0">
                <a:solidFill>
                  <a:srgbClr val="FFFFFF"/>
                </a:solidFill>
                <a:latin typeface="+mj-lt"/>
                <a:ea typeface="Open Sans" pitchFamily="34" charset="0"/>
                <a:cs typeface="Open Sans" pitchFamily="34" charset="0"/>
              </a:endParaRPr>
            </a:p>
            <a:p>
              <a:pPr defTabSz="1088232"/>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a:t>
              </a:r>
              <a:endParaRPr lang="en-US" altLang="zh-CN" sz="1200" dirty="0">
                <a:solidFill>
                  <a:srgbClr val="FFFFFF"/>
                </a:solidFill>
                <a:latin typeface="+mj-lt"/>
                <a:ea typeface="Open Sans" pitchFamily="34" charset="0"/>
                <a:cs typeface="Open Sans" pitchFamily="34" charset="0"/>
              </a:endParaRPr>
            </a:p>
          </p:txBody>
        </p:sp>
      </p:grpSp>
      <p:grpSp>
        <p:nvGrpSpPr>
          <p:cNvPr id="17" name="组合 16">
            <a:extLst>
              <a:ext uri="{FF2B5EF4-FFF2-40B4-BE49-F238E27FC236}">
                <a16:creationId xmlns:a16="http://schemas.microsoft.com/office/drawing/2014/main" id="{28EA67BF-3052-496D-98A2-53A558D4EC88}"/>
              </a:ext>
            </a:extLst>
          </p:cNvPr>
          <p:cNvGrpSpPr/>
          <p:nvPr/>
        </p:nvGrpSpPr>
        <p:grpSpPr>
          <a:xfrm>
            <a:off x="475397" y="1707725"/>
            <a:ext cx="1519452" cy="1519452"/>
            <a:chOff x="742114" y="3046352"/>
            <a:chExt cx="1519452" cy="1519452"/>
          </a:xfrm>
        </p:grpSpPr>
        <p:sp>
          <p:nvSpPr>
            <p:cNvPr id="13" name="椭圆 12">
              <a:extLst>
                <a:ext uri="{FF2B5EF4-FFF2-40B4-BE49-F238E27FC236}">
                  <a16:creationId xmlns:a16="http://schemas.microsoft.com/office/drawing/2014/main" id="{F1780B11-AC15-4F1C-8115-0D8CA3BDAD4D}"/>
                </a:ext>
              </a:extLst>
            </p:cNvPr>
            <p:cNvSpPr/>
            <p:nvPr/>
          </p:nvSpPr>
          <p:spPr bwMode="gray">
            <a:xfrm>
              <a:off x="742114" y="3046352"/>
              <a:ext cx="1519452" cy="151945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latin typeface="+mj-lt"/>
              </a:endParaRPr>
            </a:p>
          </p:txBody>
        </p:sp>
        <p:grpSp>
          <p:nvGrpSpPr>
            <p:cNvPr id="14" name="Group 112">
              <a:extLst>
                <a:ext uri="{FF2B5EF4-FFF2-40B4-BE49-F238E27FC236}">
                  <a16:creationId xmlns:a16="http://schemas.microsoft.com/office/drawing/2014/main" id="{A50EF238-B12D-4B58-A2EA-1E18A20A1983}"/>
                </a:ext>
              </a:extLst>
            </p:cNvPr>
            <p:cNvGrpSpPr>
              <a:grpSpLocks noChangeAspect="1"/>
            </p:cNvGrpSpPr>
            <p:nvPr/>
          </p:nvGrpSpPr>
          <p:grpSpPr bwMode="auto">
            <a:xfrm>
              <a:off x="878221" y="3182459"/>
              <a:ext cx="1247238" cy="1247238"/>
              <a:chOff x="1157" y="393"/>
              <a:chExt cx="340" cy="340"/>
            </a:xfrm>
            <a:solidFill>
              <a:srgbClr val="FFFFFF"/>
            </a:solidFill>
          </p:grpSpPr>
          <p:sp>
            <p:nvSpPr>
              <p:cNvPr id="15" name="Freeform 113">
                <a:extLst>
                  <a:ext uri="{FF2B5EF4-FFF2-40B4-BE49-F238E27FC236}">
                    <a16:creationId xmlns:a16="http://schemas.microsoft.com/office/drawing/2014/main" id="{774B1793-01A6-4D75-9FA7-026E23B96959}"/>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FFFFFF"/>
                  </a:solidFill>
                  <a:latin typeface="+mj-lt"/>
                  <a:ea typeface="华文细黑" panose="02010600040101010101" pitchFamily="2" charset="-122"/>
                </a:endParaRPr>
              </a:p>
            </p:txBody>
          </p:sp>
          <p:sp>
            <p:nvSpPr>
              <p:cNvPr id="16" name="Freeform 114">
                <a:extLst>
                  <a:ext uri="{FF2B5EF4-FFF2-40B4-BE49-F238E27FC236}">
                    <a16:creationId xmlns:a16="http://schemas.microsoft.com/office/drawing/2014/main" id="{A2A85438-52D6-4744-98C1-1D14D89C225C}"/>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FFFFFF"/>
                  </a:solidFill>
                  <a:latin typeface="+mj-lt"/>
                  <a:ea typeface="华文细黑" panose="02010600040101010101" pitchFamily="2" charset="-122"/>
                </a:endParaRPr>
              </a:p>
            </p:txBody>
          </p:sp>
        </p:grpSp>
      </p:grpSp>
    </p:spTree>
    <p:custDataLst>
      <p:tags r:id="rId1"/>
    </p:custDataLst>
    <p:extLst>
      <p:ext uri="{BB962C8B-B14F-4D97-AF65-F5344CB8AC3E}">
        <p14:creationId xmlns:p14="http://schemas.microsoft.com/office/powerpoint/2010/main" val="2138778279"/>
      </p:ext>
    </p:extLst>
  </p:cSld>
  <p:clrMapOvr>
    <a:masterClrMapping/>
  </p:clrMapOvr>
  <p:transition>
    <p:fade/>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8">
            <a:extLst>
              <a:ext uri="{FF2B5EF4-FFF2-40B4-BE49-F238E27FC236}">
                <a16:creationId xmlns:a16="http://schemas.microsoft.com/office/drawing/2014/main" id="{0A419A44-B40A-4FE5-ABA2-0BE15E520EA8}"/>
              </a:ext>
            </a:extLst>
          </p:cNvPr>
          <p:cNvGrpSpPr/>
          <p:nvPr/>
        </p:nvGrpSpPr>
        <p:grpSpPr>
          <a:xfrm>
            <a:off x="5520815" y="4169395"/>
            <a:ext cx="1640834" cy="2103589"/>
            <a:chOff x="3125788" y="580243"/>
            <a:chExt cx="2949575" cy="3781427"/>
          </a:xfrm>
          <a:solidFill>
            <a:schemeClr val="bg1">
              <a:lumMod val="75000"/>
            </a:schemeClr>
          </a:solidFill>
        </p:grpSpPr>
        <p:sp>
          <p:nvSpPr>
            <p:cNvPr id="6" name="Freeform 5">
              <a:extLst>
                <a:ext uri="{FF2B5EF4-FFF2-40B4-BE49-F238E27FC236}">
                  <a16:creationId xmlns:a16="http://schemas.microsoft.com/office/drawing/2014/main" id="{4D0E9CF3-F87F-4378-B4CC-5553422B2808}"/>
                </a:ext>
              </a:extLst>
            </p:cNvPr>
            <p:cNvSpPr>
              <a:spLocks/>
            </p:cNvSpPr>
            <p:nvPr/>
          </p:nvSpPr>
          <p:spPr bwMode="auto">
            <a:xfrm>
              <a:off x="3125788" y="2401108"/>
              <a:ext cx="2949575" cy="1960562"/>
            </a:xfrm>
            <a:custGeom>
              <a:avLst/>
              <a:gdLst>
                <a:gd name="T0" fmla="*/ 567 w 783"/>
                <a:gd name="T1" fmla="*/ 47 h 521"/>
                <a:gd name="T2" fmla="*/ 500 w 783"/>
                <a:gd name="T3" fmla="*/ 0 h 521"/>
                <a:gd name="T4" fmla="*/ 267 w 783"/>
                <a:gd name="T5" fmla="*/ 1 h 521"/>
                <a:gd name="T6" fmla="*/ 122 w 783"/>
                <a:gd name="T7" fmla="*/ 77 h 521"/>
                <a:gd name="T8" fmla="*/ 65 w 783"/>
                <a:gd name="T9" fmla="*/ 115 h 521"/>
                <a:gd name="T10" fmla="*/ 0 w 783"/>
                <a:gd name="T11" fmla="*/ 396 h 521"/>
                <a:gd name="T12" fmla="*/ 20 w 783"/>
                <a:gd name="T13" fmla="*/ 445 h 521"/>
                <a:gd name="T14" fmla="*/ 367 w 783"/>
                <a:gd name="T15" fmla="*/ 516 h 521"/>
                <a:gd name="T16" fmla="*/ 743 w 783"/>
                <a:gd name="T17" fmla="*/ 454 h 521"/>
                <a:gd name="T18" fmla="*/ 767 w 783"/>
                <a:gd name="T19" fmla="*/ 428 h 521"/>
                <a:gd name="T20" fmla="*/ 714 w 783"/>
                <a:gd name="T21" fmla="*/ 133 h 521"/>
                <a:gd name="T22" fmla="*/ 567 w 783"/>
                <a:gd name="T23" fmla="*/ 47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3" h="521">
                  <a:moveTo>
                    <a:pt x="567" y="47"/>
                  </a:moveTo>
                  <a:cubicBezTo>
                    <a:pt x="500" y="24"/>
                    <a:pt x="500" y="0"/>
                    <a:pt x="500" y="0"/>
                  </a:cubicBezTo>
                  <a:cubicBezTo>
                    <a:pt x="367" y="260"/>
                    <a:pt x="267" y="1"/>
                    <a:pt x="267" y="1"/>
                  </a:cubicBezTo>
                  <a:cubicBezTo>
                    <a:pt x="258" y="36"/>
                    <a:pt x="122" y="77"/>
                    <a:pt x="122" y="77"/>
                  </a:cubicBezTo>
                  <a:cubicBezTo>
                    <a:pt x="82" y="92"/>
                    <a:pt x="65" y="115"/>
                    <a:pt x="65" y="115"/>
                  </a:cubicBezTo>
                  <a:cubicBezTo>
                    <a:pt x="7" y="202"/>
                    <a:pt x="0" y="396"/>
                    <a:pt x="0" y="396"/>
                  </a:cubicBezTo>
                  <a:cubicBezTo>
                    <a:pt x="1" y="441"/>
                    <a:pt x="20" y="445"/>
                    <a:pt x="20" y="445"/>
                  </a:cubicBezTo>
                  <a:cubicBezTo>
                    <a:pt x="155" y="505"/>
                    <a:pt x="367" y="516"/>
                    <a:pt x="367" y="516"/>
                  </a:cubicBezTo>
                  <a:cubicBezTo>
                    <a:pt x="585" y="521"/>
                    <a:pt x="743" y="454"/>
                    <a:pt x="743" y="454"/>
                  </a:cubicBezTo>
                  <a:cubicBezTo>
                    <a:pt x="766" y="440"/>
                    <a:pt x="767" y="428"/>
                    <a:pt x="767" y="428"/>
                  </a:cubicBezTo>
                  <a:cubicBezTo>
                    <a:pt x="783" y="289"/>
                    <a:pt x="714" y="133"/>
                    <a:pt x="714" y="133"/>
                  </a:cubicBezTo>
                  <a:cubicBezTo>
                    <a:pt x="693" y="87"/>
                    <a:pt x="567" y="47"/>
                    <a:pt x="56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 name="Freeform 6">
              <a:extLst>
                <a:ext uri="{FF2B5EF4-FFF2-40B4-BE49-F238E27FC236}">
                  <a16:creationId xmlns:a16="http://schemas.microsoft.com/office/drawing/2014/main" id="{1BCEC795-EDAF-4823-85BA-6B922E5D1183}"/>
                </a:ext>
              </a:extLst>
            </p:cNvPr>
            <p:cNvSpPr>
              <a:spLocks noEditPoints="1"/>
            </p:cNvSpPr>
            <p:nvPr/>
          </p:nvSpPr>
          <p:spPr bwMode="auto">
            <a:xfrm>
              <a:off x="3890963" y="580243"/>
              <a:ext cx="1419225" cy="1944688"/>
            </a:xfrm>
            <a:custGeom>
              <a:avLst/>
              <a:gdLst>
                <a:gd name="T0" fmla="*/ 31 w 377"/>
                <a:gd name="T1" fmla="*/ 346 h 517"/>
                <a:gd name="T2" fmla="*/ 178 w 377"/>
                <a:gd name="T3" fmla="*/ 517 h 517"/>
                <a:gd name="T4" fmla="*/ 336 w 377"/>
                <a:gd name="T5" fmla="*/ 346 h 517"/>
                <a:gd name="T6" fmla="*/ 350 w 377"/>
                <a:gd name="T7" fmla="*/ 319 h 517"/>
                <a:gd name="T8" fmla="*/ 345 w 377"/>
                <a:gd name="T9" fmla="*/ 268 h 517"/>
                <a:gd name="T10" fmla="*/ 329 w 377"/>
                <a:gd name="T11" fmla="*/ 106 h 517"/>
                <a:gd name="T12" fmla="*/ 253 w 377"/>
                <a:gd name="T13" fmla="*/ 60 h 517"/>
                <a:gd name="T14" fmla="*/ 246 w 377"/>
                <a:gd name="T15" fmla="*/ 55 h 517"/>
                <a:gd name="T16" fmla="*/ 249 w 377"/>
                <a:gd name="T17" fmla="*/ 59 h 517"/>
                <a:gd name="T18" fmla="*/ 240 w 377"/>
                <a:gd name="T19" fmla="*/ 56 h 517"/>
                <a:gd name="T20" fmla="*/ 230 w 377"/>
                <a:gd name="T21" fmla="*/ 47 h 517"/>
                <a:gd name="T22" fmla="*/ 237 w 377"/>
                <a:gd name="T23" fmla="*/ 56 h 517"/>
                <a:gd name="T24" fmla="*/ 233 w 377"/>
                <a:gd name="T25" fmla="*/ 55 h 517"/>
                <a:gd name="T26" fmla="*/ 224 w 377"/>
                <a:gd name="T27" fmla="*/ 43 h 517"/>
                <a:gd name="T28" fmla="*/ 227 w 377"/>
                <a:gd name="T29" fmla="*/ 51 h 517"/>
                <a:gd name="T30" fmla="*/ 197 w 377"/>
                <a:gd name="T31" fmla="*/ 8 h 517"/>
                <a:gd name="T32" fmla="*/ 177 w 377"/>
                <a:gd name="T33" fmla="*/ 24 h 517"/>
                <a:gd name="T34" fmla="*/ 193 w 377"/>
                <a:gd name="T35" fmla="*/ 0 h 517"/>
                <a:gd name="T36" fmla="*/ 177 w 377"/>
                <a:gd name="T37" fmla="*/ 14 h 517"/>
                <a:gd name="T38" fmla="*/ 153 w 377"/>
                <a:gd name="T39" fmla="*/ 43 h 517"/>
                <a:gd name="T40" fmla="*/ 149 w 377"/>
                <a:gd name="T41" fmla="*/ 41 h 517"/>
                <a:gd name="T42" fmla="*/ 158 w 377"/>
                <a:gd name="T43" fmla="*/ 26 h 517"/>
                <a:gd name="T44" fmla="*/ 147 w 377"/>
                <a:gd name="T45" fmla="*/ 40 h 517"/>
                <a:gd name="T46" fmla="*/ 138 w 377"/>
                <a:gd name="T47" fmla="*/ 35 h 517"/>
                <a:gd name="T48" fmla="*/ 149 w 377"/>
                <a:gd name="T49" fmla="*/ 21 h 517"/>
                <a:gd name="T50" fmla="*/ 139 w 377"/>
                <a:gd name="T51" fmla="*/ 30 h 517"/>
                <a:gd name="T52" fmla="*/ 123 w 377"/>
                <a:gd name="T53" fmla="*/ 37 h 517"/>
                <a:gd name="T54" fmla="*/ 21 w 377"/>
                <a:gd name="T55" fmla="*/ 143 h 517"/>
                <a:gd name="T56" fmla="*/ 25 w 377"/>
                <a:gd name="T57" fmla="*/ 269 h 517"/>
                <a:gd name="T58" fmla="*/ 17 w 377"/>
                <a:gd name="T59" fmla="*/ 319 h 517"/>
                <a:gd name="T60" fmla="*/ 31 w 377"/>
                <a:gd name="T61" fmla="*/ 346 h 517"/>
                <a:gd name="T62" fmla="*/ 175 w 377"/>
                <a:gd name="T63" fmla="*/ 17 h 517"/>
                <a:gd name="T64" fmla="*/ 166 w 377"/>
                <a:gd name="T65" fmla="*/ 37 h 517"/>
                <a:gd name="T66" fmla="*/ 163 w 377"/>
                <a:gd name="T67" fmla="*/ 36 h 517"/>
                <a:gd name="T68" fmla="*/ 175 w 377"/>
                <a:gd name="T69" fmla="*/ 1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517">
                  <a:moveTo>
                    <a:pt x="31" y="346"/>
                  </a:moveTo>
                  <a:cubicBezTo>
                    <a:pt x="41" y="430"/>
                    <a:pt x="113" y="517"/>
                    <a:pt x="178" y="517"/>
                  </a:cubicBezTo>
                  <a:cubicBezTo>
                    <a:pt x="254" y="517"/>
                    <a:pt x="325" y="425"/>
                    <a:pt x="336" y="346"/>
                  </a:cubicBezTo>
                  <a:cubicBezTo>
                    <a:pt x="340" y="343"/>
                    <a:pt x="347" y="336"/>
                    <a:pt x="350" y="319"/>
                  </a:cubicBezTo>
                  <a:cubicBezTo>
                    <a:pt x="350" y="319"/>
                    <a:pt x="366" y="262"/>
                    <a:pt x="345" y="268"/>
                  </a:cubicBezTo>
                  <a:cubicBezTo>
                    <a:pt x="352" y="246"/>
                    <a:pt x="377" y="160"/>
                    <a:pt x="329" y="106"/>
                  </a:cubicBezTo>
                  <a:cubicBezTo>
                    <a:pt x="329" y="106"/>
                    <a:pt x="307" y="76"/>
                    <a:pt x="253" y="60"/>
                  </a:cubicBezTo>
                  <a:cubicBezTo>
                    <a:pt x="251" y="58"/>
                    <a:pt x="249" y="56"/>
                    <a:pt x="246" y="55"/>
                  </a:cubicBezTo>
                  <a:cubicBezTo>
                    <a:pt x="246" y="55"/>
                    <a:pt x="248" y="56"/>
                    <a:pt x="249" y="59"/>
                  </a:cubicBezTo>
                  <a:cubicBezTo>
                    <a:pt x="246" y="58"/>
                    <a:pt x="243" y="57"/>
                    <a:pt x="240" y="56"/>
                  </a:cubicBezTo>
                  <a:cubicBezTo>
                    <a:pt x="237" y="53"/>
                    <a:pt x="234" y="50"/>
                    <a:pt x="230" y="47"/>
                  </a:cubicBezTo>
                  <a:cubicBezTo>
                    <a:pt x="230" y="47"/>
                    <a:pt x="233" y="50"/>
                    <a:pt x="237" y="56"/>
                  </a:cubicBezTo>
                  <a:cubicBezTo>
                    <a:pt x="236" y="55"/>
                    <a:pt x="234" y="55"/>
                    <a:pt x="233" y="55"/>
                  </a:cubicBezTo>
                  <a:cubicBezTo>
                    <a:pt x="230" y="51"/>
                    <a:pt x="227" y="47"/>
                    <a:pt x="224" y="43"/>
                  </a:cubicBezTo>
                  <a:cubicBezTo>
                    <a:pt x="224" y="43"/>
                    <a:pt x="225" y="46"/>
                    <a:pt x="227" y="51"/>
                  </a:cubicBezTo>
                  <a:cubicBezTo>
                    <a:pt x="217" y="44"/>
                    <a:pt x="197" y="27"/>
                    <a:pt x="197" y="8"/>
                  </a:cubicBezTo>
                  <a:cubicBezTo>
                    <a:pt x="197" y="8"/>
                    <a:pt x="185" y="13"/>
                    <a:pt x="177" y="24"/>
                  </a:cubicBezTo>
                  <a:cubicBezTo>
                    <a:pt x="180" y="15"/>
                    <a:pt x="185" y="7"/>
                    <a:pt x="193" y="0"/>
                  </a:cubicBezTo>
                  <a:cubicBezTo>
                    <a:pt x="193" y="0"/>
                    <a:pt x="185" y="5"/>
                    <a:pt x="177" y="14"/>
                  </a:cubicBezTo>
                  <a:cubicBezTo>
                    <a:pt x="171" y="17"/>
                    <a:pt x="158" y="26"/>
                    <a:pt x="153" y="43"/>
                  </a:cubicBezTo>
                  <a:cubicBezTo>
                    <a:pt x="149" y="41"/>
                    <a:pt x="149" y="41"/>
                    <a:pt x="149" y="41"/>
                  </a:cubicBezTo>
                  <a:cubicBezTo>
                    <a:pt x="151" y="36"/>
                    <a:pt x="154" y="31"/>
                    <a:pt x="158" y="26"/>
                  </a:cubicBezTo>
                  <a:cubicBezTo>
                    <a:pt x="158" y="26"/>
                    <a:pt x="152" y="31"/>
                    <a:pt x="147" y="40"/>
                  </a:cubicBezTo>
                  <a:cubicBezTo>
                    <a:pt x="138" y="35"/>
                    <a:pt x="138" y="35"/>
                    <a:pt x="138" y="35"/>
                  </a:cubicBezTo>
                  <a:cubicBezTo>
                    <a:pt x="141" y="31"/>
                    <a:pt x="144" y="26"/>
                    <a:pt x="149" y="21"/>
                  </a:cubicBezTo>
                  <a:cubicBezTo>
                    <a:pt x="149" y="21"/>
                    <a:pt x="144" y="24"/>
                    <a:pt x="139" y="30"/>
                  </a:cubicBezTo>
                  <a:cubicBezTo>
                    <a:pt x="141" y="25"/>
                    <a:pt x="140" y="18"/>
                    <a:pt x="123" y="37"/>
                  </a:cubicBezTo>
                  <a:cubicBezTo>
                    <a:pt x="123" y="37"/>
                    <a:pt x="44" y="72"/>
                    <a:pt x="21" y="143"/>
                  </a:cubicBezTo>
                  <a:cubicBezTo>
                    <a:pt x="21" y="143"/>
                    <a:pt x="7" y="175"/>
                    <a:pt x="25" y="269"/>
                  </a:cubicBezTo>
                  <a:cubicBezTo>
                    <a:pt x="0" y="257"/>
                    <a:pt x="17" y="319"/>
                    <a:pt x="17" y="319"/>
                  </a:cubicBezTo>
                  <a:cubicBezTo>
                    <a:pt x="20" y="336"/>
                    <a:pt x="27" y="343"/>
                    <a:pt x="31" y="346"/>
                  </a:cubicBezTo>
                  <a:close/>
                  <a:moveTo>
                    <a:pt x="175" y="17"/>
                  </a:moveTo>
                  <a:cubicBezTo>
                    <a:pt x="171" y="22"/>
                    <a:pt x="167" y="29"/>
                    <a:pt x="166" y="37"/>
                  </a:cubicBezTo>
                  <a:cubicBezTo>
                    <a:pt x="163" y="36"/>
                    <a:pt x="163" y="36"/>
                    <a:pt x="163" y="36"/>
                  </a:cubicBezTo>
                  <a:cubicBezTo>
                    <a:pt x="165" y="29"/>
                    <a:pt x="169" y="23"/>
                    <a:pt x="17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8" name="Freeform 10">
            <a:extLst>
              <a:ext uri="{FF2B5EF4-FFF2-40B4-BE49-F238E27FC236}">
                <a16:creationId xmlns:a16="http://schemas.microsoft.com/office/drawing/2014/main" id="{A6385440-A901-4AA6-905C-819DEC48D571}"/>
              </a:ext>
            </a:extLst>
          </p:cNvPr>
          <p:cNvSpPr>
            <a:spLocks noEditPoints="1"/>
          </p:cNvSpPr>
          <p:nvPr/>
        </p:nvSpPr>
        <p:spPr bwMode="auto">
          <a:xfrm>
            <a:off x="3551664" y="3145675"/>
            <a:ext cx="1989178" cy="1993402"/>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10">
            <a:extLst>
              <a:ext uri="{FF2B5EF4-FFF2-40B4-BE49-F238E27FC236}">
                <a16:creationId xmlns:a16="http://schemas.microsoft.com/office/drawing/2014/main" id="{0AF5ABA6-2D4F-4CDB-8CC3-F55CDDD2BF5D}"/>
              </a:ext>
            </a:extLst>
          </p:cNvPr>
          <p:cNvSpPr>
            <a:spLocks noEditPoints="1"/>
          </p:cNvSpPr>
          <p:nvPr/>
        </p:nvSpPr>
        <p:spPr bwMode="auto">
          <a:xfrm>
            <a:off x="5338420" y="2145661"/>
            <a:ext cx="1531495" cy="1534747"/>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10">
            <a:extLst>
              <a:ext uri="{FF2B5EF4-FFF2-40B4-BE49-F238E27FC236}">
                <a16:creationId xmlns:a16="http://schemas.microsoft.com/office/drawing/2014/main" id="{903632AA-EA3C-410F-A4ED-71054DC10507}"/>
              </a:ext>
            </a:extLst>
          </p:cNvPr>
          <p:cNvSpPr>
            <a:spLocks noEditPoints="1"/>
          </p:cNvSpPr>
          <p:nvPr/>
        </p:nvSpPr>
        <p:spPr bwMode="auto">
          <a:xfrm>
            <a:off x="6979254" y="2411231"/>
            <a:ext cx="1071289" cy="1073564"/>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cxnSp>
        <p:nvCxnSpPr>
          <p:cNvPr id="11" name="Straight Arrow Connector 25">
            <a:extLst>
              <a:ext uri="{FF2B5EF4-FFF2-40B4-BE49-F238E27FC236}">
                <a16:creationId xmlns:a16="http://schemas.microsoft.com/office/drawing/2014/main" id="{5161090B-E106-4DE8-895E-AFBCCBFC6A9C}"/>
              </a:ext>
            </a:extLst>
          </p:cNvPr>
          <p:cNvCxnSpPr/>
          <p:nvPr/>
        </p:nvCxnSpPr>
        <p:spPr>
          <a:xfrm>
            <a:off x="7086572" y="2006371"/>
            <a:ext cx="2027188" cy="0"/>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2" name="Text Box 10">
            <a:extLst>
              <a:ext uri="{FF2B5EF4-FFF2-40B4-BE49-F238E27FC236}">
                <a16:creationId xmlns:a16="http://schemas.microsoft.com/office/drawing/2014/main" id="{CC18EBDA-8F69-43FE-9C0D-234DC2CF8700}"/>
              </a:ext>
            </a:extLst>
          </p:cNvPr>
          <p:cNvSpPr txBox="1">
            <a:spLocks noChangeArrowheads="1"/>
          </p:cNvSpPr>
          <p:nvPr/>
        </p:nvSpPr>
        <p:spPr bwMode="auto">
          <a:xfrm>
            <a:off x="9519197" y="1610324"/>
            <a:ext cx="2202903" cy="784830"/>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200" b="1" dirty="0" err="1">
                <a:solidFill>
                  <a:schemeClr val="bg1">
                    <a:lumMod val="65000"/>
                  </a:schemeClr>
                </a:solidFill>
                <a:latin typeface="+mj-lt"/>
                <a:ea typeface="Open Sans" pitchFamily="34" charset="0"/>
                <a:cs typeface="Open Sans" pitchFamily="34" charset="0"/>
              </a:rPr>
              <a:t>Xxxxxxx</a:t>
            </a:r>
            <a:endParaRPr lang="en-US" altLang="zh-CN" sz="1200" b="1" dirty="0">
              <a:solidFill>
                <a:schemeClr val="bg1">
                  <a:lumMod val="65000"/>
                </a:schemeClr>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a:t>
            </a:r>
            <a:endParaRPr lang="en-US" sz="1050" dirty="0">
              <a:solidFill>
                <a:srgbClr val="FFFFFF"/>
              </a:solidFill>
              <a:latin typeface="+mj-lt"/>
              <a:ea typeface="Open Sans" pitchFamily="34" charset="0"/>
              <a:cs typeface="Open Sans" pitchFamily="34" charset="0"/>
            </a:endParaRPr>
          </a:p>
        </p:txBody>
      </p:sp>
      <p:sp>
        <p:nvSpPr>
          <p:cNvPr id="13" name="Oval 27">
            <a:extLst>
              <a:ext uri="{FF2B5EF4-FFF2-40B4-BE49-F238E27FC236}">
                <a16:creationId xmlns:a16="http://schemas.microsoft.com/office/drawing/2014/main" id="{96282F03-2244-4EF5-BB56-4771F5542DB7}"/>
              </a:ext>
            </a:extLst>
          </p:cNvPr>
          <p:cNvSpPr/>
          <p:nvPr/>
        </p:nvSpPr>
        <p:spPr>
          <a:xfrm>
            <a:off x="9113760" y="1833248"/>
            <a:ext cx="344269" cy="346245"/>
          </a:xfrm>
          <a:prstGeom prst="ellipse">
            <a:avLst/>
          </a:prstGeom>
          <a:solidFill>
            <a:srgbClr val="BBBCBC"/>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4" name="Text Box 10">
            <a:extLst>
              <a:ext uri="{FF2B5EF4-FFF2-40B4-BE49-F238E27FC236}">
                <a16:creationId xmlns:a16="http://schemas.microsoft.com/office/drawing/2014/main" id="{C617AF71-DF65-40B7-9D20-8E51675FF055}"/>
              </a:ext>
            </a:extLst>
          </p:cNvPr>
          <p:cNvSpPr txBox="1">
            <a:spLocks noChangeArrowheads="1"/>
          </p:cNvSpPr>
          <p:nvPr/>
        </p:nvSpPr>
        <p:spPr bwMode="auto">
          <a:xfrm>
            <a:off x="9519197" y="5037717"/>
            <a:ext cx="2202903" cy="784830"/>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200" b="1" dirty="0" err="1">
                <a:solidFill>
                  <a:schemeClr val="accent6"/>
                </a:solidFill>
                <a:ea typeface="Open Sans" pitchFamily="34" charset="0"/>
                <a:cs typeface="Open Sans" pitchFamily="34" charset="0"/>
              </a:rPr>
              <a:t>Xxxxxxx</a:t>
            </a:r>
            <a:endParaRPr lang="en-US" altLang="zh-CN" sz="1200" b="1" dirty="0">
              <a:solidFill>
                <a:schemeClr val="accent6"/>
              </a:solidFill>
              <a:ea typeface="Open Sans" pitchFamily="34" charset="0"/>
              <a:cs typeface="Open Sans" pitchFamily="34" charset="0"/>
            </a:endParaRPr>
          </a:p>
          <a:p>
            <a:pPr defTabSz="1088232"/>
            <a:r>
              <a:rPr lang="en-US" altLang="zh-CN" sz="1200" dirty="0" err="1">
                <a:solidFill>
                  <a:srgbClr val="FFFFFF"/>
                </a:solidFill>
                <a:ea typeface="Open Sans" pitchFamily="34" charset="0"/>
                <a:cs typeface="Open Sans" pitchFamily="34" charset="0"/>
              </a:rPr>
              <a:t>Xxxxxxxxxx</a:t>
            </a:r>
            <a:endParaRPr lang="en-US" altLang="zh-CN" sz="1200" dirty="0">
              <a:solidFill>
                <a:srgbClr val="FFFFFF"/>
              </a:solidFill>
              <a:ea typeface="Open Sans" pitchFamily="34" charset="0"/>
              <a:cs typeface="Open Sans" pitchFamily="34" charset="0"/>
            </a:endParaRPr>
          </a:p>
          <a:p>
            <a:pPr defTabSz="1088232"/>
            <a:r>
              <a:rPr lang="en-US" altLang="zh-CN" sz="1200" dirty="0" err="1">
                <a:solidFill>
                  <a:srgbClr val="FFFFFF"/>
                </a:solidFill>
                <a:ea typeface="Open Sans" pitchFamily="34" charset="0"/>
                <a:cs typeface="Open Sans" pitchFamily="34" charset="0"/>
              </a:rPr>
              <a:t>xxxxxxxxxxxx</a:t>
            </a:r>
            <a:endParaRPr lang="en-US" altLang="zh-CN" sz="1050" dirty="0">
              <a:solidFill>
                <a:srgbClr val="FFFFFF"/>
              </a:solidFill>
              <a:ea typeface="Open Sans" pitchFamily="34" charset="0"/>
              <a:cs typeface="Open Sans" pitchFamily="34" charset="0"/>
            </a:endParaRPr>
          </a:p>
        </p:txBody>
      </p:sp>
      <p:sp>
        <p:nvSpPr>
          <p:cNvPr id="15" name="Oval 34">
            <a:extLst>
              <a:ext uri="{FF2B5EF4-FFF2-40B4-BE49-F238E27FC236}">
                <a16:creationId xmlns:a16="http://schemas.microsoft.com/office/drawing/2014/main" id="{D71B1C27-EB13-4CB0-9CCC-F930F62B4BD1}"/>
              </a:ext>
            </a:extLst>
          </p:cNvPr>
          <p:cNvSpPr/>
          <p:nvPr/>
        </p:nvSpPr>
        <p:spPr>
          <a:xfrm>
            <a:off x="9113760" y="5260641"/>
            <a:ext cx="344269" cy="346245"/>
          </a:xfrm>
          <a:prstGeom prst="ellipse">
            <a:avLst/>
          </a:prstGeom>
          <a:solidFill>
            <a:schemeClr val="accent6"/>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6" name="Text Box 10">
            <a:extLst>
              <a:ext uri="{FF2B5EF4-FFF2-40B4-BE49-F238E27FC236}">
                <a16:creationId xmlns:a16="http://schemas.microsoft.com/office/drawing/2014/main" id="{EFCA6ED6-0335-4594-8263-30B3A66F7854}"/>
              </a:ext>
            </a:extLst>
          </p:cNvPr>
          <p:cNvSpPr txBox="1">
            <a:spLocks noChangeArrowheads="1"/>
          </p:cNvSpPr>
          <p:nvPr/>
        </p:nvSpPr>
        <p:spPr bwMode="auto">
          <a:xfrm>
            <a:off x="9519197" y="3314607"/>
            <a:ext cx="2202903" cy="969496"/>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200" b="1" dirty="0" err="1">
                <a:solidFill>
                  <a:schemeClr val="accent2"/>
                </a:solidFill>
                <a:ea typeface="Open Sans" pitchFamily="34" charset="0"/>
                <a:cs typeface="Open Sans" pitchFamily="34" charset="0"/>
              </a:rPr>
              <a:t>Xxxxxxx</a:t>
            </a:r>
            <a:endParaRPr lang="en-US" altLang="zh-CN" sz="1200" b="1" dirty="0">
              <a:solidFill>
                <a:schemeClr val="accent2"/>
              </a:solidFill>
              <a:ea typeface="Open Sans" pitchFamily="34" charset="0"/>
              <a:cs typeface="Open Sans" pitchFamily="34" charset="0"/>
            </a:endParaRPr>
          </a:p>
          <a:p>
            <a:pPr defTabSz="1088232"/>
            <a:r>
              <a:rPr lang="en-US" altLang="zh-CN" sz="1200" dirty="0" err="1">
                <a:solidFill>
                  <a:srgbClr val="FFFFFF"/>
                </a:solidFill>
                <a:ea typeface="Open Sans" pitchFamily="34" charset="0"/>
                <a:cs typeface="Open Sans" pitchFamily="34" charset="0"/>
              </a:rPr>
              <a:t>Xxxxxxxxxx</a:t>
            </a:r>
            <a:endParaRPr lang="en-US" altLang="zh-CN" sz="1200" dirty="0">
              <a:solidFill>
                <a:srgbClr val="FFFFFF"/>
              </a:solidFill>
              <a:ea typeface="Open Sans" pitchFamily="34" charset="0"/>
              <a:cs typeface="Open Sans" pitchFamily="34" charset="0"/>
            </a:endParaRPr>
          </a:p>
          <a:p>
            <a:pPr defTabSz="1088232"/>
            <a:r>
              <a:rPr lang="en-US" altLang="zh-CN" sz="1200" dirty="0" err="1">
                <a:solidFill>
                  <a:srgbClr val="FFFFFF"/>
                </a:solidFill>
                <a:ea typeface="Open Sans" pitchFamily="34" charset="0"/>
                <a:cs typeface="Open Sans" pitchFamily="34" charset="0"/>
              </a:rPr>
              <a:t>Xxxxxxxxxxxxxxxxxxxxxxx</a:t>
            </a:r>
            <a:endParaRPr lang="en-US" altLang="zh-CN" sz="1200" dirty="0">
              <a:solidFill>
                <a:srgbClr val="FFFFFF"/>
              </a:solidFill>
              <a:ea typeface="Open Sans" pitchFamily="34" charset="0"/>
              <a:cs typeface="Open Sans" pitchFamily="34" charset="0"/>
            </a:endParaRPr>
          </a:p>
          <a:p>
            <a:pPr defTabSz="1088232"/>
            <a:r>
              <a:rPr lang="en-US" altLang="zh-CN" sz="1200" dirty="0" err="1">
                <a:solidFill>
                  <a:srgbClr val="FFFFFF"/>
                </a:solidFill>
                <a:ea typeface="Open Sans" pitchFamily="34" charset="0"/>
                <a:cs typeface="Open Sans" pitchFamily="34" charset="0"/>
              </a:rPr>
              <a:t>xxxxxxxxxxxxxxx</a:t>
            </a:r>
            <a:endParaRPr lang="en-US" altLang="zh-CN" sz="1050" dirty="0">
              <a:solidFill>
                <a:srgbClr val="FFFFFF"/>
              </a:solidFill>
              <a:ea typeface="Open Sans" pitchFamily="34" charset="0"/>
              <a:cs typeface="Open Sans" pitchFamily="34" charset="0"/>
            </a:endParaRPr>
          </a:p>
        </p:txBody>
      </p:sp>
      <p:sp>
        <p:nvSpPr>
          <p:cNvPr id="17" name="Oval 36">
            <a:extLst>
              <a:ext uri="{FF2B5EF4-FFF2-40B4-BE49-F238E27FC236}">
                <a16:creationId xmlns:a16="http://schemas.microsoft.com/office/drawing/2014/main" id="{10E286AB-E854-4E09-8DB3-59D9DF4C2AD8}"/>
              </a:ext>
            </a:extLst>
          </p:cNvPr>
          <p:cNvSpPr/>
          <p:nvPr/>
        </p:nvSpPr>
        <p:spPr>
          <a:xfrm>
            <a:off x="9113760" y="3537531"/>
            <a:ext cx="344269" cy="346245"/>
          </a:xfrm>
          <a:prstGeom prst="ellipse">
            <a:avLst/>
          </a:prstGeom>
          <a:solidFill>
            <a:srgbClr val="009A44"/>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cxnSp>
        <p:nvCxnSpPr>
          <p:cNvPr id="18" name="Straight Arrow Connector 38">
            <a:extLst>
              <a:ext uri="{FF2B5EF4-FFF2-40B4-BE49-F238E27FC236}">
                <a16:creationId xmlns:a16="http://schemas.microsoft.com/office/drawing/2014/main" id="{5D4716C7-98BA-43C5-8C80-A46393C13D95}"/>
              </a:ext>
            </a:extLst>
          </p:cNvPr>
          <p:cNvCxnSpPr/>
          <p:nvPr/>
        </p:nvCxnSpPr>
        <p:spPr>
          <a:xfrm>
            <a:off x="8708322" y="2892340"/>
            <a:ext cx="476212" cy="663074"/>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9" name="Straight Connector 41">
            <a:extLst>
              <a:ext uri="{FF2B5EF4-FFF2-40B4-BE49-F238E27FC236}">
                <a16:creationId xmlns:a16="http://schemas.microsoft.com/office/drawing/2014/main" id="{7870BD5E-3C3E-49F6-8331-1EADD092D364}"/>
              </a:ext>
            </a:extLst>
          </p:cNvPr>
          <p:cNvCxnSpPr>
            <a:endCxn id="10" idx="0"/>
          </p:cNvCxnSpPr>
          <p:nvPr/>
        </p:nvCxnSpPr>
        <p:spPr>
          <a:xfrm flipH="1" flipV="1">
            <a:off x="8006233" y="2910586"/>
            <a:ext cx="702089" cy="2449"/>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Arrow Connector 42">
            <a:extLst>
              <a:ext uri="{FF2B5EF4-FFF2-40B4-BE49-F238E27FC236}">
                <a16:creationId xmlns:a16="http://schemas.microsoft.com/office/drawing/2014/main" id="{6521CC6E-1F00-429A-9222-3CCAC65C392D}"/>
              </a:ext>
            </a:extLst>
          </p:cNvPr>
          <p:cNvCxnSpPr/>
          <p:nvPr/>
        </p:nvCxnSpPr>
        <p:spPr>
          <a:xfrm>
            <a:off x="8607762" y="5433764"/>
            <a:ext cx="507598" cy="0"/>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21" name="Straight Connector 45">
            <a:extLst>
              <a:ext uri="{FF2B5EF4-FFF2-40B4-BE49-F238E27FC236}">
                <a16:creationId xmlns:a16="http://schemas.microsoft.com/office/drawing/2014/main" id="{E09858AA-2030-4999-BAF7-6EFFE1413FDD}"/>
              </a:ext>
            </a:extLst>
          </p:cNvPr>
          <p:cNvCxnSpPr/>
          <p:nvPr/>
        </p:nvCxnSpPr>
        <p:spPr>
          <a:xfrm flipH="1" flipV="1">
            <a:off x="8073807" y="4760270"/>
            <a:ext cx="533955" cy="673493"/>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Text Box 10">
            <a:extLst>
              <a:ext uri="{FF2B5EF4-FFF2-40B4-BE49-F238E27FC236}">
                <a16:creationId xmlns:a16="http://schemas.microsoft.com/office/drawing/2014/main" id="{DECF8C50-5EAE-4B45-B758-BF811974A4F2}"/>
              </a:ext>
            </a:extLst>
          </p:cNvPr>
          <p:cNvSpPr txBox="1">
            <a:spLocks noChangeArrowheads="1"/>
          </p:cNvSpPr>
          <p:nvPr/>
        </p:nvSpPr>
        <p:spPr bwMode="auto">
          <a:xfrm>
            <a:off x="396853" y="1610324"/>
            <a:ext cx="2202903" cy="969496"/>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altLang="zh-CN" sz="1200" b="1" dirty="0" err="1">
                <a:solidFill>
                  <a:schemeClr val="accent2"/>
                </a:solidFill>
                <a:ea typeface="Open Sans" pitchFamily="34" charset="0"/>
                <a:cs typeface="Open Sans" pitchFamily="34" charset="0"/>
              </a:rPr>
              <a:t>Xxxxxxx</a:t>
            </a:r>
            <a:endParaRPr lang="en-US" altLang="zh-CN" sz="1200" b="1" dirty="0">
              <a:solidFill>
                <a:schemeClr val="accent2"/>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a:t>
            </a:r>
            <a:endParaRPr lang="en-US" altLang="zh-CN" sz="1200" dirty="0">
              <a:solidFill>
                <a:srgbClr val="FFFFFF"/>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xxxxxxxxx</a:t>
            </a:r>
            <a:endParaRPr lang="en-US" altLang="zh-CN" sz="1200" dirty="0">
              <a:solidFill>
                <a:srgbClr val="FFFFFF"/>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xxxxx</a:t>
            </a:r>
            <a:endParaRPr lang="en-US" altLang="zh-CN" sz="1050" dirty="0">
              <a:solidFill>
                <a:srgbClr val="FFFFFF"/>
              </a:solidFill>
              <a:ea typeface="Open Sans" pitchFamily="34" charset="0"/>
              <a:cs typeface="Open Sans" pitchFamily="34" charset="0"/>
            </a:endParaRPr>
          </a:p>
        </p:txBody>
      </p:sp>
      <p:sp>
        <p:nvSpPr>
          <p:cNvPr id="23" name="Oval 48">
            <a:extLst>
              <a:ext uri="{FF2B5EF4-FFF2-40B4-BE49-F238E27FC236}">
                <a16:creationId xmlns:a16="http://schemas.microsoft.com/office/drawing/2014/main" id="{D1868414-BE54-478A-A8AD-A1E83ECC7595}"/>
              </a:ext>
            </a:extLst>
          </p:cNvPr>
          <p:cNvSpPr/>
          <p:nvPr/>
        </p:nvSpPr>
        <p:spPr>
          <a:xfrm>
            <a:off x="2646539" y="1833248"/>
            <a:ext cx="344269" cy="346245"/>
          </a:xfrm>
          <a:prstGeom prst="ellipse">
            <a:avLst/>
          </a:prstGeom>
          <a:solidFill>
            <a:srgbClr val="046A38"/>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24" name="Text Box 10">
            <a:extLst>
              <a:ext uri="{FF2B5EF4-FFF2-40B4-BE49-F238E27FC236}">
                <a16:creationId xmlns:a16="http://schemas.microsoft.com/office/drawing/2014/main" id="{CD8D239A-FA91-4DD7-88B9-ABC20C297C44}"/>
              </a:ext>
            </a:extLst>
          </p:cNvPr>
          <p:cNvSpPr txBox="1">
            <a:spLocks noChangeArrowheads="1"/>
          </p:cNvSpPr>
          <p:nvPr/>
        </p:nvSpPr>
        <p:spPr bwMode="auto">
          <a:xfrm>
            <a:off x="396853" y="5037717"/>
            <a:ext cx="2202903" cy="784830"/>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altLang="zh-CN" sz="1200" b="1" dirty="0" err="1">
                <a:solidFill>
                  <a:schemeClr val="accent6"/>
                </a:solidFill>
                <a:ea typeface="Open Sans" pitchFamily="34" charset="0"/>
                <a:cs typeface="Open Sans" pitchFamily="34" charset="0"/>
              </a:rPr>
              <a:t>Xxxxxxx</a:t>
            </a:r>
            <a:endParaRPr lang="en-US" altLang="zh-CN" sz="1200" b="1" dirty="0">
              <a:solidFill>
                <a:schemeClr val="accent6"/>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xxx</a:t>
            </a:r>
            <a:endParaRPr lang="en-US" altLang="zh-CN" sz="1200" dirty="0">
              <a:solidFill>
                <a:srgbClr val="FFFFFF"/>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xxxxxxxxxxxxx</a:t>
            </a:r>
            <a:endParaRPr lang="en-US" altLang="zh-CN" sz="1050" dirty="0">
              <a:solidFill>
                <a:srgbClr val="FFFFFF"/>
              </a:solidFill>
              <a:ea typeface="Open Sans" pitchFamily="34" charset="0"/>
              <a:cs typeface="Open Sans" pitchFamily="34" charset="0"/>
            </a:endParaRPr>
          </a:p>
        </p:txBody>
      </p:sp>
      <p:sp>
        <p:nvSpPr>
          <p:cNvPr id="25" name="Oval 50">
            <a:extLst>
              <a:ext uri="{FF2B5EF4-FFF2-40B4-BE49-F238E27FC236}">
                <a16:creationId xmlns:a16="http://schemas.microsoft.com/office/drawing/2014/main" id="{9DD26B34-274D-4C15-AA53-CAC46E338A2F}"/>
              </a:ext>
            </a:extLst>
          </p:cNvPr>
          <p:cNvSpPr/>
          <p:nvPr/>
        </p:nvSpPr>
        <p:spPr>
          <a:xfrm>
            <a:off x="2646539" y="5260641"/>
            <a:ext cx="344269" cy="346245"/>
          </a:xfrm>
          <a:prstGeom prst="ellipse">
            <a:avLst/>
          </a:prstGeom>
          <a:solidFill>
            <a:schemeClr val="accent6"/>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26" name="Text Box 10">
            <a:extLst>
              <a:ext uri="{FF2B5EF4-FFF2-40B4-BE49-F238E27FC236}">
                <a16:creationId xmlns:a16="http://schemas.microsoft.com/office/drawing/2014/main" id="{496F99E9-2000-4E36-A398-C4D658124DC8}"/>
              </a:ext>
            </a:extLst>
          </p:cNvPr>
          <p:cNvSpPr txBox="1">
            <a:spLocks noChangeArrowheads="1"/>
          </p:cNvSpPr>
          <p:nvPr/>
        </p:nvSpPr>
        <p:spPr bwMode="auto">
          <a:xfrm>
            <a:off x="396853" y="3314607"/>
            <a:ext cx="2202903" cy="784830"/>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altLang="zh-CN" sz="1200" b="1" dirty="0" err="1">
                <a:solidFill>
                  <a:srgbClr val="86BC25"/>
                </a:solidFill>
                <a:ea typeface="Open Sans" pitchFamily="34" charset="0"/>
                <a:cs typeface="Open Sans" pitchFamily="34" charset="0"/>
              </a:rPr>
              <a:t>Xxxxxxx</a:t>
            </a:r>
            <a:endParaRPr lang="en-US" altLang="zh-CN" sz="1200" b="1" dirty="0">
              <a:solidFill>
                <a:srgbClr val="86BC25"/>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a:t>
            </a:r>
            <a:endParaRPr lang="en-US" altLang="zh-CN" sz="1200" dirty="0">
              <a:solidFill>
                <a:srgbClr val="FFFFFF"/>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xxxxxxxxx</a:t>
            </a:r>
            <a:endParaRPr lang="en-US" altLang="zh-CN" sz="1050" dirty="0">
              <a:solidFill>
                <a:srgbClr val="FFFFFF"/>
              </a:solidFill>
              <a:ea typeface="Open Sans" pitchFamily="34" charset="0"/>
              <a:cs typeface="Open Sans" pitchFamily="34" charset="0"/>
            </a:endParaRPr>
          </a:p>
        </p:txBody>
      </p:sp>
      <p:sp>
        <p:nvSpPr>
          <p:cNvPr id="27" name="Oval 52">
            <a:extLst>
              <a:ext uri="{FF2B5EF4-FFF2-40B4-BE49-F238E27FC236}">
                <a16:creationId xmlns:a16="http://schemas.microsoft.com/office/drawing/2014/main" id="{BD1DC074-6627-4C65-81AA-344A4576D222}"/>
              </a:ext>
            </a:extLst>
          </p:cNvPr>
          <p:cNvSpPr/>
          <p:nvPr/>
        </p:nvSpPr>
        <p:spPr>
          <a:xfrm>
            <a:off x="2646539" y="3537531"/>
            <a:ext cx="344269" cy="346245"/>
          </a:xfrm>
          <a:prstGeom prst="ellipse">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cxnSp>
        <p:nvCxnSpPr>
          <p:cNvPr id="28" name="Straight Arrow Connector 57">
            <a:extLst>
              <a:ext uri="{FF2B5EF4-FFF2-40B4-BE49-F238E27FC236}">
                <a16:creationId xmlns:a16="http://schemas.microsoft.com/office/drawing/2014/main" id="{1CB2AFC3-41C6-4259-ABA8-D53E461C55B5}"/>
              </a:ext>
            </a:extLst>
          </p:cNvPr>
          <p:cNvCxnSpPr>
            <a:endCxn id="25" idx="6"/>
          </p:cNvCxnSpPr>
          <p:nvPr/>
        </p:nvCxnSpPr>
        <p:spPr>
          <a:xfrm flipH="1">
            <a:off x="2990809" y="5433764"/>
            <a:ext cx="1082331" cy="0"/>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29" name="Straight Connector 60">
            <a:extLst>
              <a:ext uri="{FF2B5EF4-FFF2-40B4-BE49-F238E27FC236}">
                <a16:creationId xmlns:a16="http://schemas.microsoft.com/office/drawing/2014/main" id="{F902CB7F-0249-4173-9556-1FC4F1937F37}"/>
              </a:ext>
            </a:extLst>
          </p:cNvPr>
          <p:cNvCxnSpPr>
            <a:stCxn id="8" idx="42"/>
          </p:cNvCxnSpPr>
          <p:nvPr/>
        </p:nvCxnSpPr>
        <p:spPr>
          <a:xfrm flipH="1">
            <a:off x="4073141" y="5033006"/>
            <a:ext cx="255545" cy="400759"/>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Arrow Connector 62">
            <a:extLst>
              <a:ext uri="{FF2B5EF4-FFF2-40B4-BE49-F238E27FC236}">
                <a16:creationId xmlns:a16="http://schemas.microsoft.com/office/drawing/2014/main" id="{1F677AA3-EF16-468F-94F3-44FD32678674}"/>
              </a:ext>
            </a:extLst>
          </p:cNvPr>
          <p:cNvCxnSpPr>
            <a:endCxn id="27" idx="7"/>
          </p:cNvCxnSpPr>
          <p:nvPr/>
        </p:nvCxnSpPr>
        <p:spPr>
          <a:xfrm flipH="1">
            <a:off x="2940391" y="3010527"/>
            <a:ext cx="348030" cy="577710"/>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31" name="Straight Connector 64">
            <a:extLst>
              <a:ext uri="{FF2B5EF4-FFF2-40B4-BE49-F238E27FC236}">
                <a16:creationId xmlns:a16="http://schemas.microsoft.com/office/drawing/2014/main" id="{4B1DC935-53A3-4181-B647-48862D624E40}"/>
              </a:ext>
            </a:extLst>
          </p:cNvPr>
          <p:cNvCxnSpPr/>
          <p:nvPr/>
        </p:nvCxnSpPr>
        <p:spPr>
          <a:xfrm flipH="1">
            <a:off x="3288421" y="3010527"/>
            <a:ext cx="2075042" cy="0"/>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Arrow Connector 70">
            <a:extLst>
              <a:ext uri="{FF2B5EF4-FFF2-40B4-BE49-F238E27FC236}">
                <a16:creationId xmlns:a16="http://schemas.microsoft.com/office/drawing/2014/main" id="{6567B88F-FF03-47E6-9051-49A73962DEBD}"/>
              </a:ext>
            </a:extLst>
          </p:cNvPr>
          <p:cNvCxnSpPr/>
          <p:nvPr/>
        </p:nvCxnSpPr>
        <p:spPr>
          <a:xfrm flipH="1">
            <a:off x="2940391" y="2006371"/>
            <a:ext cx="1004041" cy="0"/>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33" name="Straight Connector 72">
            <a:extLst>
              <a:ext uri="{FF2B5EF4-FFF2-40B4-BE49-F238E27FC236}">
                <a16:creationId xmlns:a16="http://schemas.microsoft.com/office/drawing/2014/main" id="{BE12F3AC-76BA-4464-A6FC-0A24E48DB2F6}"/>
              </a:ext>
            </a:extLst>
          </p:cNvPr>
          <p:cNvCxnSpPr>
            <a:endCxn id="44" idx="25"/>
          </p:cNvCxnSpPr>
          <p:nvPr/>
        </p:nvCxnSpPr>
        <p:spPr>
          <a:xfrm>
            <a:off x="3944431" y="2006371"/>
            <a:ext cx="517498" cy="269840"/>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3" name="Freeform 11">
            <a:extLst>
              <a:ext uri="{FF2B5EF4-FFF2-40B4-BE49-F238E27FC236}">
                <a16:creationId xmlns:a16="http://schemas.microsoft.com/office/drawing/2014/main" id="{D0031BCE-D8BF-459C-8B07-643DE6842F82}"/>
              </a:ext>
            </a:extLst>
          </p:cNvPr>
          <p:cNvSpPr>
            <a:spLocks/>
          </p:cNvSpPr>
          <p:nvPr/>
        </p:nvSpPr>
        <p:spPr bwMode="auto">
          <a:xfrm>
            <a:off x="7291403" y="3484795"/>
            <a:ext cx="1518278" cy="1534747"/>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11">
            <a:extLst>
              <a:ext uri="{FF2B5EF4-FFF2-40B4-BE49-F238E27FC236}">
                <a16:creationId xmlns:a16="http://schemas.microsoft.com/office/drawing/2014/main" id="{F0B5289B-B395-4CDA-9BB9-9C26D23143C1}"/>
              </a:ext>
            </a:extLst>
          </p:cNvPr>
          <p:cNvSpPr>
            <a:spLocks/>
          </p:cNvSpPr>
          <p:nvPr/>
        </p:nvSpPr>
        <p:spPr bwMode="auto">
          <a:xfrm>
            <a:off x="4326938" y="1869887"/>
            <a:ext cx="1011482" cy="1022453"/>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54" name="Group 492">
            <a:extLst>
              <a:ext uri="{FF2B5EF4-FFF2-40B4-BE49-F238E27FC236}">
                <a16:creationId xmlns:a16="http://schemas.microsoft.com/office/drawing/2014/main" id="{958D8617-78B1-44F9-9D87-D8A520473A8E}"/>
              </a:ext>
            </a:extLst>
          </p:cNvPr>
          <p:cNvGrpSpPr>
            <a:grpSpLocks noChangeAspect="1"/>
          </p:cNvGrpSpPr>
          <p:nvPr/>
        </p:nvGrpSpPr>
        <p:grpSpPr bwMode="auto">
          <a:xfrm>
            <a:off x="3958258" y="3538538"/>
            <a:ext cx="1175990" cy="1175990"/>
            <a:chOff x="4513" y="3037"/>
            <a:chExt cx="340" cy="340"/>
          </a:xfrm>
          <a:solidFill>
            <a:schemeClr val="accent6"/>
          </a:solidFill>
        </p:grpSpPr>
        <p:sp>
          <p:nvSpPr>
            <p:cNvPr id="55" name="Freeform 493">
              <a:extLst>
                <a:ext uri="{FF2B5EF4-FFF2-40B4-BE49-F238E27FC236}">
                  <a16:creationId xmlns:a16="http://schemas.microsoft.com/office/drawing/2014/main" id="{9BD70FD8-2A1D-4F14-A6F3-10AAED7B4352}"/>
                </a:ext>
              </a:extLst>
            </p:cNvPr>
            <p:cNvSpPr>
              <a:spLocks noEditPoints="1"/>
            </p:cNvSpPr>
            <p:nvPr/>
          </p:nvSpPr>
          <p:spPr bwMode="auto">
            <a:xfrm>
              <a:off x="4513" y="30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56" name="Freeform 494">
              <a:extLst>
                <a:ext uri="{FF2B5EF4-FFF2-40B4-BE49-F238E27FC236}">
                  <a16:creationId xmlns:a16="http://schemas.microsoft.com/office/drawing/2014/main" id="{5156F5C1-5C83-436F-8B5E-37DEDA506CC5}"/>
                </a:ext>
              </a:extLst>
            </p:cNvPr>
            <p:cNvSpPr>
              <a:spLocks noEditPoints="1"/>
            </p:cNvSpPr>
            <p:nvPr/>
          </p:nvSpPr>
          <p:spPr bwMode="auto">
            <a:xfrm>
              <a:off x="4604" y="3101"/>
              <a:ext cx="157" cy="212"/>
            </a:xfrm>
            <a:custGeom>
              <a:avLst/>
              <a:gdLst>
                <a:gd name="T0" fmla="*/ 235 w 236"/>
                <a:gd name="T1" fmla="*/ 252 h 320"/>
                <a:gd name="T2" fmla="*/ 215 w 236"/>
                <a:gd name="T3" fmla="*/ 138 h 320"/>
                <a:gd name="T4" fmla="*/ 147 w 236"/>
                <a:gd name="T5" fmla="*/ 46 h 320"/>
                <a:gd name="T6" fmla="*/ 151 w 236"/>
                <a:gd name="T7" fmla="*/ 32 h 320"/>
                <a:gd name="T8" fmla="*/ 119 w 236"/>
                <a:gd name="T9" fmla="*/ 0 h 320"/>
                <a:gd name="T10" fmla="*/ 87 w 236"/>
                <a:gd name="T11" fmla="*/ 32 h 320"/>
                <a:gd name="T12" fmla="*/ 90 w 236"/>
                <a:gd name="T13" fmla="*/ 46 h 320"/>
                <a:gd name="T14" fmla="*/ 23 w 236"/>
                <a:gd name="T15" fmla="*/ 138 h 320"/>
                <a:gd name="T16" fmla="*/ 2 w 236"/>
                <a:gd name="T17" fmla="*/ 252 h 320"/>
                <a:gd name="T18" fmla="*/ 7 w 236"/>
                <a:gd name="T19" fmla="*/ 265 h 320"/>
                <a:gd name="T20" fmla="*/ 77 w 236"/>
                <a:gd name="T21" fmla="*/ 283 h 320"/>
                <a:gd name="T22" fmla="*/ 119 w 236"/>
                <a:gd name="T23" fmla="*/ 320 h 320"/>
                <a:gd name="T24" fmla="*/ 161 w 236"/>
                <a:gd name="T25" fmla="*/ 281 h 320"/>
                <a:gd name="T26" fmla="*/ 229 w 236"/>
                <a:gd name="T27" fmla="*/ 266 h 320"/>
                <a:gd name="T28" fmla="*/ 235 w 236"/>
                <a:gd name="T29" fmla="*/ 261 h 320"/>
                <a:gd name="T30" fmla="*/ 235 w 236"/>
                <a:gd name="T31" fmla="*/ 252 h 320"/>
                <a:gd name="T32" fmla="*/ 108 w 236"/>
                <a:gd name="T33" fmla="*/ 32 h 320"/>
                <a:gd name="T34" fmla="*/ 119 w 236"/>
                <a:gd name="T35" fmla="*/ 21 h 320"/>
                <a:gd name="T36" fmla="*/ 129 w 236"/>
                <a:gd name="T37" fmla="*/ 32 h 320"/>
                <a:gd name="T38" fmla="*/ 119 w 236"/>
                <a:gd name="T39" fmla="*/ 42 h 320"/>
                <a:gd name="T40" fmla="*/ 108 w 236"/>
                <a:gd name="T41" fmla="*/ 32 h 320"/>
                <a:gd name="T42" fmla="*/ 119 w 236"/>
                <a:gd name="T43" fmla="*/ 298 h 320"/>
                <a:gd name="T44" fmla="*/ 99 w 236"/>
                <a:gd name="T45" fmla="*/ 284 h 320"/>
                <a:gd name="T46" fmla="*/ 112 w 236"/>
                <a:gd name="T47" fmla="*/ 285 h 320"/>
                <a:gd name="T48" fmla="*/ 139 w 236"/>
                <a:gd name="T49" fmla="*/ 283 h 320"/>
                <a:gd name="T50" fmla="*/ 119 w 236"/>
                <a:gd name="T51" fmla="*/ 298 h 320"/>
                <a:gd name="T52" fmla="*/ 25 w 236"/>
                <a:gd name="T53" fmla="*/ 249 h 320"/>
                <a:gd name="T54" fmla="*/ 44 w 236"/>
                <a:gd name="T55" fmla="*/ 138 h 320"/>
                <a:gd name="T56" fmla="*/ 119 w 236"/>
                <a:gd name="T57" fmla="*/ 64 h 320"/>
                <a:gd name="T58" fmla="*/ 193 w 236"/>
                <a:gd name="T59" fmla="*/ 138 h 320"/>
                <a:gd name="T60" fmla="*/ 212 w 236"/>
                <a:gd name="T61" fmla="*/ 249 h 320"/>
                <a:gd name="T62" fmla="*/ 25 w 236"/>
                <a:gd name="T63" fmla="*/ 2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6" h="320">
                  <a:moveTo>
                    <a:pt x="235" y="252"/>
                  </a:moveTo>
                  <a:cubicBezTo>
                    <a:pt x="235" y="252"/>
                    <a:pt x="215" y="190"/>
                    <a:pt x="215" y="138"/>
                  </a:cubicBezTo>
                  <a:cubicBezTo>
                    <a:pt x="215" y="93"/>
                    <a:pt x="187" y="57"/>
                    <a:pt x="147" y="46"/>
                  </a:cubicBezTo>
                  <a:cubicBezTo>
                    <a:pt x="149" y="42"/>
                    <a:pt x="151" y="37"/>
                    <a:pt x="151" y="32"/>
                  </a:cubicBezTo>
                  <a:cubicBezTo>
                    <a:pt x="151" y="14"/>
                    <a:pt x="136" y="0"/>
                    <a:pt x="119" y="0"/>
                  </a:cubicBezTo>
                  <a:cubicBezTo>
                    <a:pt x="101" y="0"/>
                    <a:pt x="87" y="14"/>
                    <a:pt x="87" y="32"/>
                  </a:cubicBezTo>
                  <a:cubicBezTo>
                    <a:pt x="87" y="37"/>
                    <a:pt x="88" y="42"/>
                    <a:pt x="90" y="46"/>
                  </a:cubicBezTo>
                  <a:cubicBezTo>
                    <a:pt x="50" y="57"/>
                    <a:pt x="23" y="93"/>
                    <a:pt x="23" y="138"/>
                  </a:cubicBezTo>
                  <a:cubicBezTo>
                    <a:pt x="23" y="190"/>
                    <a:pt x="2" y="252"/>
                    <a:pt x="2" y="252"/>
                  </a:cubicBezTo>
                  <a:cubicBezTo>
                    <a:pt x="0" y="257"/>
                    <a:pt x="2" y="263"/>
                    <a:pt x="7" y="265"/>
                  </a:cubicBezTo>
                  <a:cubicBezTo>
                    <a:pt x="9" y="266"/>
                    <a:pt x="34" y="278"/>
                    <a:pt x="77" y="283"/>
                  </a:cubicBezTo>
                  <a:cubicBezTo>
                    <a:pt x="79" y="303"/>
                    <a:pt x="97" y="320"/>
                    <a:pt x="119" y="320"/>
                  </a:cubicBezTo>
                  <a:cubicBezTo>
                    <a:pt x="141" y="320"/>
                    <a:pt x="159" y="303"/>
                    <a:pt x="161" y="281"/>
                  </a:cubicBezTo>
                  <a:cubicBezTo>
                    <a:pt x="182" y="278"/>
                    <a:pt x="204" y="273"/>
                    <a:pt x="229" y="266"/>
                  </a:cubicBezTo>
                  <a:cubicBezTo>
                    <a:pt x="231" y="265"/>
                    <a:pt x="234" y="263"/>
                    <a:pt x="235" y="261"/>
                  </a:cubicBezTo>
                  <a:cubicBezTo>
                    <a:pt x="236" y="258"/>
                    <a:pt x="236" y="255"/>
                    <a:pt x="235" y="252"/>
                  </a:cubicBezTo>
                  <a:close/>
                  <a:moveTo>
                    <a:pt x="108" y="32"/>
                  </a:moveTo>
                  <a:cubicBezTo>
                    <a:pt x="108" y="26"/>
                    <a:pt x="113" y="21"/>
                    <a:pt x="119" y="21"/>
                  </a:cubicBezTo>
                  <a:cubicBezTo>
                    <a:pt x="125" y="21"/>
                    <a:pt x="129" y="26"/>
                    <a:pt x="129" y="32"/>
                  </a:cubicBezTo>
                  <a:cubicBezTo>
                    <a:pt x="129" y="38"/>
                    <a:pt x="125" y="42"/>
                    <a:pt x="119" y="42"/>
                  </a:cubicBezTo>
                  <a:cubicBezTo>
                    <a:pt x="113" y="42"/>
                    <a:pt x="108" y="38"/>
                    <a:pt x="108" y="32"/>
                  </a:cubicBezTo>
                  <a:close/>
                  <a:moveTo>
                    <a:pt x="119" y="298"/>
                  </a:moveTo>
                  <a:cubicBezTo>
                    <a:pt x="109" y="298"/>
                    <a:pt x="102" y="292"/>
                    <a:pt x="99" y="284"/>
                  </a:cubicBezTo>
                  <a:cubicBezTo>
                    <a:pt x="103" y="284"/>
                    <a:pt x="107" y="285"/>
                    <a:pt x="112" y="285"/>
                  </a:cubicBezTo>
                  <a:cubicBezTo>
                    <a:pt x="120" y="285"/>
                    <a:pt x="129" y="284"/>
                    <a:pt x="139" y="283"/>
                  </a:cubicBezTo>
                  <a:cubicBezTo>
                    <a:pt x="136" y="292"/>
                    <a:pt x="128" y="298"/>
                    <a:pt x="119" y="298"/>
                  </a:cubicBezTo>
                  <a:close/>
                  <a:moveTo>
                    <a:pt x="25" y="249"/>
                  </a:moveTo>
                  <a:cubicBezTo>
                    <a:pt x="31" y="229"/>
                    <a:pt x="44" y="182"/>
                    <a:pt x="44" y="138"/>
                  </a:cubicBezTo>
                  <a:cubicBezTo>
                    <a:pt x="44" y="94"/>
                    <a:pt x="75" y="64"/>
                    <a:pt x="119" y="64"/>
                  </a:cubicBezTo>
                  <a:cubicBezTo>
                    <a:pt x="163" y="64"/>
                    <a:pt x="193" y="94"/>
                    <a:pt x="193" y="138"/>
                  </a:cubicBezTo>
                  <a:cubicBezTo>
                    <a:pt x="193" y="181"/>
                    <a:pt x="206" y="228"/>
                    <a:pt x="212" y="249"/>
                  </a:cubicBezTo>
                  <a:cubicBezTo>
                    <a:pt x="116" y="276"/>
                    <a:pt x="48" y="258"/>
                    <a:pt x="25" y="24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57" name="Freeform 602">
            <a:extLst>
              <a:ext uri="{FF2B5EF4-FFF2-40B4-BE49-F238E27FC236}">
                <a16:creationId xmlns:a16="http://schemas.microsoft.com/office/drawing/2014/main" id="{4A406998-AB9D-4184-B701-753E07EF63D6}"/>
              </a:ext>
            </a:extLst>
          </p:cNvPr>
          <p:cNvSpPr>
            <a:spLocks noChangeAspect="1" noEditPoints="1"/>
          </p:cNvSpPr>
          <p:nvPr/>
        </p:nvSpPr>
        <p:spPr bwMode="auto">
          <a:xfrm>
            <a:off x="6674550" y="1790700"/>
            <a:ext cx="434148" cy="43414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405 h 512"/>
              <a:gd name="T22" fmla="*/ 356 w 512"/>
              <a:gd name="T23" fmla="*/ 403 h 512"/>
              <a:gd name="T24" fmla="*/ 256 w 512"/>
              <a:gd name="T25" fmla="*/ 323 h 512"/>
              <a:gd name="T26" fmla="*/ 156 w 512"/>
              <a:gd name="T27" fmla="*/ 403 h 512"/>
              <a:gd name="T28" fmla="*/ 144 w 512"/>
              <a:gd name="T29" fmla="*/ 404 h 512"/>
              <a:gd name="T30" fmla="*/ 138 w 512"/>
              <a:gd name="T31" fmla="*/ 394 h 512"/>
              <a:gd name="T32" fmla="*/ 138 w 512"/>
              <a:gd name="T33" fmla="*/ 117 h 512"/>
              <a:gd name="T34" fmla="*/ 149 w 512"/>
              <a:gd name="T35" fmla="*/ 106 h 512"/>
              <a:gd name="T36" fmla="*/ 362 w 512"/>
              <a:gd name="T37" fmla="*/ 106 h 512"/>
              <a:gd name="T38" fmla="*/ 373 w 512"/>
              <a:gd name="T39" fmla="*/ 117 h 512"/>
              <a:gd name="T40" fmla="*/ 373 w 512"/>
              <a:gd name="T41" fmla="*/ 394 h 512"/>
              <a:gd name="T42" fmla="*/ 367 w 512"/>
              <a:gd name="T43" fmla="*/ 404 h 512"/>
              <a:gd name="T44" fmla="*/ 362 w 512"/>
              <a:gd name="T45" fmla="*/ 405 h 512"/>
              <a:gd name="T46" fmla="*/ 256 w 512"/>
              <a:gd name="T47" fmla="*/ 298 h 512"/>
              <a:gd name="T48" fmla="*/ 262 w 512"/>
              <a:gd name="T49" fmla="*/ 301 h 512"/>
              <a:gd name="T50" fmla="*/ 352 w 512"/>
              <a:gd name="T51" fmla="*/ 372 h 512"/>
              <a:gd name="T52" fmla="*/ 352 w 512"/>
              <a:gd name="T53" fmla="*/ 128 h 512"/>
              <a:gd name="T54" fmla="*/ 160 w 512"/>
              <a:gd name="T55" fmla="*/ 128 h 512"/>
              <a:gd name="T56" fmla="*/ 160 w 512"/>
              <a:gd name="T57" fmla="*/ 372 h 512"/>
              <a:gd name="T58" fmla="*/ 249 w 512"/>
              <a:gd name="T59" fmla="*/ 301 h 512"/>
              <a:gd name="T60" fmla="*/ 256 w 512"/>
              <a:gd name="T6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405"/>
                </a:moveTo>
                <a:cubicBezTo>
                  <a:pt x="360" y="405"/>
                  <a:pt x="358" y="404"/>
                  <a:pt x="356" y="403"/>
                </a:cubicBezTo>
                <a:cubicBezTo>
                  <a:pt x="256" y="323"/>
                  <a:pt x="256" y="323"/>
                  <a:pt x="256" y="323"/>
                </a:cubicBezTo>
                <a:cubicBezTo>
                  <a:pt x="156" y="403"/>
                  <a:pt x="156" y="403"/>
                  <a:pt x="156" y="403"/>
                </a:cubicBezTo>
                <a:cubicBezTo>
                  <a:pt x="152" y="405"/>
                  <a:pt x="148" y="406"/>
                  <a:pt x="144" y="404"/>
                </a:cubicBezTo>
                <a:cubicBezTo>
                  <a:pt x="141" y="402"/>
                  <a:pt x="138" y="398"/>
                  <a:pt x="138" y="394"/>
                </a:cubicBezTo>
                <a:cubicBezTo>
                  <a:pt x="138" y="117"/>
                  <a:pt x="138" y="117"/>
                  <a:pt x="138" y="117"/>
                </a:cubicBezTo>
                <a:cubicBezTo>
                  <a:pt x="138" y="111"/>
                  <a:pt x="143" y="106"/>
                  <a:pt x="149" y="106"/>
                </a:cubicBezTo>
                <a:cubicBezTo>
                  <a:pt x="362" y="106"/>
                  <a:pt x="362" y="106"/>
                  <a:pt x="362" y="106"/>
                </a:cubicBezTo>
                <a:cubicBezTo>
                  <a:pt x="368" y="106"/>
                  <a:pt x="373" y="111"/>
                  <a:pt x="373" y="117"/>
                </a:cubicBezTo>
                <a:cubicBezTo>
                  <a:pt x="373" y="394"/>
                  <a:pt x="373" y="394"/>
                  <a:pt x="373" y="394"/>
                </a:cubicBezTo>
                <a:cubicBezTo>
                  <a:pt x="373" y="398"/>
                  <a:pt x="371" y="402"/>
                  <a:pt x="367" y="404"/>
                </a:cubicBezTo>
                <a:cubicBezTo>
                  <a:pt x="365" y="405"/>
                  <a:pt x="364" y="405"/>
                  <a:pt x="362" y="405"/>
                </a:cubicBezTo>
                <a:close/>
                <a:moveTo>
                  <a:pt x="256" y="298"/>
                </a:moveTo>
                <a:cubicBezTo>
                  <a:pt x="258" y="298"/>
                  <a:pt x="260" y="299"/>
                  <a:pt x="262" y="301"/>
                </a:cubicBezTo>
                <a:cubicBezTo>
                  <a:pt x="352" y="372"/>
                  <a:pt x="352" y="372"/>
                  <a:pt x="352" y="372"/>
                </a:cubicBezTo>
                <a:cubicBezTo>
                  <a:pt x="352" y="128"/>
                  <a:pt x="352" y="128"/>
                  <a:pt x="352" y="128"/>
                </a:cubicBezTo>
                <a:cubicBezTo>
                  <a:pt x="160" y="128"/>
                  <a:pt x="160" y="128"/>
                  <a:pt x="160" y="128"/>
                </a:cubicBezTo>
                <a:cubicBezTo>
                  <a:pt x="160" y="372"/>
                  <a:pt x="160" y="372"/>
                  <a:pt x="160" y="372"/>
                </a:cubicBezTo>
                <a:cubicBezTo>
                  <a:pt x="249" y="301"/>
                  <a:pt x="249" y="301"/>
                  <a:pt x="249" y="301"/>
                </a:cubicBezTo>
                <a:cubicBezTo>
                  <a:pt x="251" y="299"/>
                  <a:pt x="253" y="298"/>
                  <a:pt x="256" y="298"/>
                </a:cubicBez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grpSp>
        <p:nvGrpSpPr>
          <p:cNvPr id="58" name="Group 609">
            <a:extLst>
              <a:ext uri="{FF2B5EF4-FFF2-40B4-BE49-F238E27FC236}">
                <a16:creationId xmlns:a16="http://schemas.microsoft.com/office/drawing/2014/main" id="{D1811B8B-0213-4C37-8865-32E17067ECCD}"/>
              </a:ext>
            </a:extLst>
          </p:cNvPr>
          <p:cNvGrpSpPr>
            <a:grpSpLocks noChangeAspect="1"/>
          </p:cNvGrpSpPr>
          <p:nvPr/>
        </p:nvGrpSpPr>
        <p:grpSpPr bwMode="auto">
          <a:xfrm>
            <a:off x="7217783" y="2643188"/>
            <a:ext cx="579786" cy="579786"/>
            <a:chOff x="3724" y="2689"/>
            <a:chExt cx="340" cy="340"/>
          </a:xfrm>
          <a:solidFill>
            <a:srgbClr val="43B02A"/>
          </a:solidFill>
        </p:grpSpPr>
        <p:sp>
          <p:nvSpPr>
            <p:cNvPr id="59" name="Freeform 289">
              <a:extLst>
                <a:ext uri="{FF2B5EF4-FFF2-40B4-BE49-F238E27FC236}">
                  <a16:creationId xmlns:a16="http://schemas.microsoft.com/office/drawing/2014/main" id="{3802D05F-12C6-4116-B013-4A3A4DAB6686}"/>
                </a:ext>
              </a:extLst>
            </p:cNvPr>
            <p:cNvSpPr>
              <a:spLocks noEditPoints="1"/>
            </p:cNvSpPr>
            <p:nvPr/>
          </p:nvSpPr>
          <p:spPr bwMode="auto">
            <a:xfrm>
              <a:off x="3816" y="2753"/>
              <a:ext cx="156" cy="212"/>
            </a:xfrm>
            <a:custGeom>
              <a:avLst/>
              <a:gdLst>
                <a:gd name="T0" fmla="*/ 224 w 235"/>
                <a:gd name="T1" fmla="*/ 0 h 320"/>
                <a:gd name="T2" fmla="*/ 11 w 235"/>
                <a:gd name="T3" fmla="*/ 0 h 320"/>
                <a:gd name="T4" fmla="*/ 0 w 235"/>
                <a:gd name="T5" fmla="*/ 10 h 320"/>
                <a:gd name="T6" fmla="*/ 0 w 235"/>
                <a:gd name="T7" fmla="*/ 309 h 320"/>
                <a:gd name="T8" fmla="*/ 11 w 235"/>
                <a:gd name="T9" fmla="*/ 320 h 320"/>
                <a:gd name="T10" fmla="*/ 224 w 235"/>
                <a:gd name="T11" fmla="*/ 320 h 320"/>
                <a:gd name="T12" fmla="*/ 235 w 235"/>
                <a:gd name="T13" fmla="*/ 309 h 320"/>
                <a:gd name="T14" fmla="*/ 235 w 235"/>
                <a:gd name="T15" fmla="*/ 10 h 320"/>
                <a:gd name="T16" fmla="*/ 224 w 235"/>
                <a:gd name="T17" fmla="*/ 0 h 320"/>
                <a:gd name="T18" fmla="*/ 128 w 235"/>
                <a:gd name="T19" fmla="*/ 21 h 320"/>
                <a:gd name="T20" fmla="*/ 171 w 235"/>
                <a:gd name="T21" fmla="*/ 21 h 320"/>
                <a:gd name="T22" fmla="*/ 171 w 235"/>
                <a:gd name="T23" fmla="*/ 166 h 320"/>
                <a:gd name="T24" fmla="*/ 157 w 235"/>
                <a:gd name="T25" fmla="*/ 152 h 320"/>
                <a:gd name="T26" fmla="*/ 142 w 235"/>
                <a:gd name="T27" fmla="*/ 152 h 320"/>
                <a:gd name="T28" fmla="*/ 128 w 235"/>
                <a:gd name="T29" fmla="*/ 166 h 320"/>
                <a:gd name="T30" fmla="*/ 128 w 235"/>
                <a:gd name="T31" fmla="*/ 21 h 320"/>
                <a:gd name="T32" fmla="*/ 214 w 235"/>
                <a:gd name="T33" fmla="*/ 298 h 320"/>
                <a:gd name="T34" fmla="*/ 22 w 235"/>
                <a:gd name="T35" fmla="*/ 298 h 320"/>
                <a:gd name="T36" fmla="*/ 22 w 235"/>
                <a:gd name="T37" fmla="*/ 21 h 320"/>
                <a:gd name="T38" fmla="*/ 107 w 235"/>
                <a:gd name="T39" fmla="*/ 21 h 320"/>
                <a:gd name="T40" fmla="*/ 107 w 235"/>
                <a:gd name="T41" fmla="*/ 192 h 320"/>
                <a:gd name="T42" fmla="*/ 114 w 235"/>
                <a:gd name="T43" fmla="*/ 202 h 320"/>
                <a:gd name="T44" fmla="*/ 125 w 235"/>
                <a:gd name="T45" fmla="*/ 199 h 320"/>
                <a:gd name="T46" fmla="*/ 150 w 235"/>
                <a:gd name="T47" fmla="*/ 175 h 320"/>
                <a:gd name="T48" fmla="*/ 174 w 235"/>
                <a:gd name="T49" fmla="*/ 199 h 320"/>
                <a:gd name="T50" fmla="*/ 182 w 235"/>
                <a:gd name="T51" fmla="*/ 202 h 320"/>
                <a:gd name="T52" fmla="*/ 186 w 235"/>
                <a:gd name="T53" fmla="*/ 202 h 320"/>
                <a:gd name="T54" fmla="*/ 192 w 235"/>
                <a:gd name="T55" fmla="*/ 192 h 320"/>
                <a:gd name="T56" fmla="*/ 192 w 235"/>
                <a:gd name="T57" fmla="*/ 21 h 320"/>
                <a:gd name="T58" fmla="*/ 214 w 235"/>
                <a:gd name="T59" fmla="*/ 21 h 320"/>
                <a:gd name="T60" fmla="*/ 214 w 235"/>
                <a:gd name="T6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128" y="21"/>
                  </a:moveTo>
                  <a:cubicBezTo>
                    <a:pt x="171" y="21"/>
                    <a:pt x="171" y="21"/>
                    <a:pt x="171" y="21"/>
                  </a:cubicBezTo>
                  <a:cubicBezTo>
                    <a:pt x="171" y="166"/>
                    <a:pt x="171" y="166"/>
                    <a:pt x="171" y="166"/>
                  </a:cubicBezTo>
                  <a:cubicBezTo>
                    <a:pt x="157" y="152"/>
                    <a:pt x="157" y="152"/>
                    <a:pt x="157" y="152"/>
                  </a:cubicBezTo>
                  <a:cubicBezTo>
                    <a:pt x="153" y="148"/>
                    <a:pt x="146" y="148"/>
                    <a:pt x="142" y="152"/>
                  </a:cubicBezTo>
                  <a:cubicBezTo>
                    <a:pt x="128" y="166"/>
                    <a:pt x="128" y="166"/>
                    <a:pt x="128" y="166"/>
                  </a:cubicBezTo>
                  <a:lnTo>
                    <a:pt x="128" y="21"/>
                  </a:lnTo>
                  <a:close/>
                  <a:moveTo>
                    <a:pt x="214" y="298"/>
                  </a:moveTo>
                  <a:cubicBezTo>
                    <a:pt x="22" y="298"/>
                    <a:pt x="22" y="298"/>
                    <a:pt x="22" y="298"/>
                  </a:cubicBezTo>
                  <a:cubicBezTo>
                    <a:pt x="22" y="21"/>
                    <a:pt x="22" y="21"/>
                    <a:pt x="22" y="21"/>
                  </a:cubicBezTo>
                  <a:cubicBezTo>
                    <a:pt x="107" y="21"/>
                    <a:pt x="107" y="21"/>
                    <a:pt x="107" y="21"/>
                  </a:cubicBezTo>
                  <a:cubicBezTo>
                    <a:pt x="107" y="192"/>
                    <a:pt x="107" y="192"/>
                    <a:pt x="107" y="192"/>
                  </a:cubicBezTo>
                  <a:cubicBezTo>
                    <a:pt x="107" y="196"/>
                    <a:pt x="110" y="200"/>
                    <a:pt x="114" y="202"/>
                  </a:cubicBezTo>
                  <a:cubicBezTo>
                    <a:pt x="118" y="203"/>
                    <a:pt x="122" y="202"/>
                    <a:pt x="125" y="199"/>
                  </a:cubicBezTo>
                  <a:cubicBezTo>
                    <a:pt x="150" y="175"/>
                    <a:pt x="150" y="175"/>
                    <a:pt x="150" y="175"/>
                  </a:cubicBezTo>
                  <a:cubicBezTo>
                    <a:pt x="174" y="199"/>
                    <a:pt x="174" y="199"/>
                    <a:pt x="174" y="199"/>
                  </a:cubicBezTo>
                  <a:cubicBezTo>
                    <a:pt x="176" y="201"/>
                    <a:pt x="179" y="202"/>
                    <a:pt x="182" y="202"/>
                  </a:cubicBezTo>
                  <a:cubicBezTo>
                    <a:pt x="183" y="202"/>
                    <a:pt x="184" y="202"/>
                    <a:pt x="186" y="202"/>
                  </a:cubicBezTo>
                  <a:cubicBezTo>
                    <a:pt x="190" y="200"/>
                    <a:pt x="192" y="196"/>
                    <a:pt x="192" y="192"/>
                  </a:cubicBezTo>
                  <a:cubicBezTo>
                    <a:pt x="192" y="21"/>
                    <a:pt x="192" y="21"/>
                    <a:pt x="192" y="21"/>
                  </a:cubicBezTo>
                  <a:cubicBezTo>
                    <a:pt x="214" y="21"/>
                    <a:pt x="214" y="21"/>
                    <a:pt x="214" y="21"/>
                  </a:cubicBezTo>
                  <a:lnTo>
                    <a:pt x="214" y="29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0" name="Freeform 290">
              <a:extLst>
                <a:ext uri="{FF2B5EF4-FFF2-40B4-BE49-F238E27FC236}">
                  <a16:creationId xmlns:a16="http://schemas.microsoft.com/office/drawing/2014/main" id="{0DD319A6-8D38-470B-AFB8-63741CDC9E00}"/>
                </a:ext>
              </a:extLst>
            </p:cNvPr>
            <p:cNvSpPr>
              <a:spLocks noEditPoints="1"/>
            </p:cNvSpPr>
            <p:nvPr/>
          </p:nvSpPr>
          <p:spPr bwMode="auto">
            <a:xfrm>
              <a:off x="3724" y="26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1" name="Group 726">
            <a:extLst>
              <a:ext uri="{FF2B5EF4-FFF2-40B4-BE49-F238E27FC236}">
                <a16:creationId xmlns:a16="http://schemas.microsoft.com/office/drawing/2014/main" id="{5EE0A62C-9F60-473D-8FAA-2F55012F9763}"/>
              </a:ext>
            </a:extLst>
          </p:cNvPr>
          <p:cNvGrpSpPr>
            <a:grpSpLocks noChangeAspect="1"/>
          </p:cNvGrpSpPr>
          <p:nvPr/>
        </p:nvGrpSpPr>
        <p:grpSpPr bwMode="auto">
          <a:xfrm>
            <a:off x="5723146" y="2524134"/>
            <a:ext cx="772904" cy="772904"/>
            <a:chOff x="5022" y="3403"/>
            <a:chExt cx="340" cy="340"/>
          </a:xfrm>
          <a:solidFill>
            <a:schemeClr val="accent1"/>
          </a:solidFill>
        </p:grpSpPr>
        <p:sp>
          <p:nvSpPr>
            <p:cNvPr id="62" name="Freeform 727">
              <a:extLst>
                <a:ext uri="{FF2B5EF4-FFF2-40B4-BE49-F238E27FC236}">
                  <a16:creationId xmlns:a16="http://schemas.microsoft.com/office/drawing/2014/main" id="{549885C2-0EBE-4A97-979A-139A9D846216}"/>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3" name="Freeform 728">
              <a:extLst>
                <a:ext uri="{FF2B5EF4-FFF2-40B4-BE49-F238E27FC236}">
                  <a16:creationId xmlns:a16="http://schemas.microsoft.com/office/drawing/2014/main" id="{583471FE-56C6-4A66-9E1C-D9DA98084EFE}"/>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4" name="Group 776">
            <a:extLst>
              <a:ext uri="{FF2B5EF4-FFF2-40B4-BE49-F238E27FC236}">
                <a16:creationId xmlns:a16="http://schemas.microsoft.com/office/drawing/2014/main" id="{8765FB3A-6F0F-4946-B765-D95C88C08062}"/>
              </a:ext>
            </a:extLst>
          </p:cNvPr>
          <p:cNvGrpSpPr>
            <a:grpSpLocks noChangeAspect="1"/>
          </p:cNvGrpSpPr>
          <p:nvPr/>
        </p:nvGrpSpPr>
        <p:grpSpPr bwMode="auto">
          <a:xfrm>
            <a:off x="7676220" y="3850521"/>
            <a:ext cx="748644" cy="748640"/>
            <a:chOff x="6852" y="3483"/>
            <a:chExt cx="340" cy="340"/>
          </a:xfrm>
          <a:solidFill>
            <a:schemeClr val="bg1"/>
          </a:solidFill>
        </p:grpSpPr>
        <p:sp>
          <p:nvSpPr>
            <p:cNvPr id="65" name="Freeform 777">
              <a:extLst>
                <a:ext uri="{FF2B5EF4-FFF2-40B4-BE49-F238E27FC236}">
                  <a16:creationId xmlns:a16="http://schemas.microsoft.com/office/drawing/2014/main" id="{612DD4F0-DF81-474F-8666-684DB0A8C5EB}"/>
                </a:ext>
              </a:extLst>
            </p:cNvPr>
            <p:cNvSpPr>
              <a:spLocks noEditPoints="1"/>
            </p:cNvSpPr>
            <p:nvPr/>
          </p:nvSpPr>
          <p:spPr bwMode="auto">
            <a:xfrm>
              <a:off x="6852" y="34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6" name="Freeform 778">
              <a:extLst>
                <a:ext uri="{FF2B5EF4-FFF2-40B4-BE49-F238E27FC236}">
                  <a16:creationId xmlns:a16="http://schemas.microsoft.com/office/drawing/2014/main" id="{C1D87380-B3CB-4A2C-8CD8-695D3664FDBD}"/>
                </a:ext>
              </a:extLst>
            </p:cNvPr>
            <p:cNvSpPr>
              <a:spLocks noEditPoints="1"/>
            </p:cNvSpPr>
            <p:nvPr/>
          </p:nvSpPr>
          <p:spPr bwMode="auto">
            <a:xfrm>
              <a:off x="6915" y="3575"/>
              <a:ext cx="214" cy="184"/>
            </a:xfrm>
            <a:custGeom>
              <a:avLst/>
              <a:gdLst>
                <a:gd name="T0" fmla="*/ 139 w 322"/>
                <a:gd name="T1" fmla="*/ 278 h 278"/>
                <a:gd name="T2" fmla="*/ 135 w 322"/>
                <a:gd name="T3" fmla="*/ 277 h 278"/>
                <a:gd name="T4" fmla="*/ 129 w 322"/>
                <a:gd name="T5" fmla="*/ 267 h 278"/>
                <a:gd name="T6" fmla="*/ 129 w 322"/>
                <a:gd name="T7" fmla="*/ 123 h 278"/>
                <a:gd name="T8" fmla="*/ 5 w 322"/>
                <a:gd name="T9" fmla="*/ 19 h 278"/>
                <a:gd name="T10" fmla="*/ 1 w 322"/>
                <a:gd name="T11" fmla="*/ 7 h 278"/>
                <a:gd name="T12" fmla="*/ 11 w 322"/>
                <a:gd name="T13" fmla="*/ 0 h 278"/>
                <a:gd name="T14" fmla="*/ 310 w 322"/>
                <a:gd name="T15" fmla="*/ 0 h 278"/>
                <a:gd name="T16" fmla="*/ 320 w 322"/>
                <a:gd name="T17" fmla="*/ 7 h 278"/>
                <a:gd name="T18" fmla="*/ 317 w 322"/>
                <a:gd name="T19" fmla="*/ 19 h 278"/>
                <a:gd name="T20" fmla="*/ 193 w 322"/>
                <a:gd name="T21" fmla="*/ 123 h 278"/>
                <a:gd name="T22" fmla="*/ 193 w 322"/>
                <a:gd name="T23" fmla="*/ 235 h 278"/>
                <a:gd name="T24" fmla="*/ 188 w 322"/>
                <a:gd name="T25" fmla="*/ 244 h 278"/>
                <a:gd name="T26" fmla="*/ 146 w 322"/>
                <a:gd name="T27" fmla="*/ 276 h 278"/>
                <a:gd name="T28" fmla="*/ 139 w 322"/>
                <a:gd name="T29" fmla="*/ 278 h 278"/>
                <a:gd name="T30" fmla="*/ 41 w 322"/>
                <a:gd name="T31" fmla="*/ 22 h 278"/>
                <a:gd name="T32" fmla="*/ 146 w 322"/>
                <a:gd name="T33" fmla="*/ 109 h 278"/>
                <a:gd name="T34" fmla="*/ 150 w 322"/>
                <a:gd name="T35" fmla="*/ 118 h 278"/>
                <a:gd name="T36" fmla="*/ 150 w 322"/>
                <a:gd name="T37" fmla="*/ 246 h 278"/>
                <a:gd name="T38" fmla="*/ 171 w 322"/>
                <a:gd name="T39" fmla="*/ 230 h 278"/>
                <a:gd name="T40" fmla="*/ 171 w 322"/>
                <a:gd name="T41" fmla="*/ 118 h 278"/>
                <a:gd name="T42" fmla="*/ 175 w 322"/>
                <a:gd name="T43" fmla="*/ 109 h 278"/>
                <a:gd name="T44" fmla="*/ 281 w 322"/>
                <a:gd name="T45" fmla="*/ 22 h 278"/>
                <a:gd name="T46" fmla="*/ 41 w 322"/>
                <a:gd name="T47" fmla="*/ 2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2" h="278">
                  <a:moveTo>
                    <a:pt x="139" y="278"/>
                  </a:moveTo>
                  <a:cubicBezTo>
                    <a:pt x="138" y="278"/>
                    <a:pt x="136" y="277"/>
                    <a:pt x="135" y="277"/>
                  </a:cubicBezTo>
                  <a:cubicBezTo>
                    <a:pt x="131" y="275"/>
                    <a:pt x="129" y="271"/>
                    <a:pt x="129" y="267"/>
                  </a:cubicBezTo>
                  <a:cubicBezTo>
                    <a:pt x="129" y="123"/>
                    <a:pt x="129" y="123"/>
                    <a:pt x="129" y="123"/>
                  </a:cubicBezTo>
                  <a:cubicBezTo>
                    <a:pt x="5" y="19"/>
                    <a:pt x="5" y="19"/>
                    <a:pt x="5" y="19"/>
                  </a:cubicBezTo>
                  <a:cubicBezTo>
                    <a:pt x="1" y="16"/>
                    <a:pt x="0" y="12"/>
                    <a:pt x="1" y="7"/>
                  </a:cubicBezTo>
                  <a:cubicBezTo>
                    <a:pt x="3" y="3"/>
                    <a:pt x="7" y="0"/>
                    <a:pt x="11" y="0"/>
                  </a:cubicBezTo>
                  <a:cubicBezTo>
                    <a:pt x="310" y="0"/>
                    <a:pt x="310" y="0"/>
                    <a:pt x="310" y="0"/>
                  </a:cubicBezTo>
                  <a:cubicBezTo>
                    <a:pt x="314" y="0"/>
                    <a:pt x="319" y="3"/>
                    <a:pt x="320" y="7"/>
                  </a:cubicBezTo>
                  <a:cubicBezTo>
                    <a:pt x="322" y="12"/>
                    <a:pt x="320" y="16"/>
                    <a:pt x="317" y="19"/>
                  </a:cubicBezTo>
                  <a:cubicBezTo>
                    <a:pt x="193" y="123"/>
                    <a:pt x="193" y="123"/>
                    <a:pt x="193" y="123"/>
                  </a:cubicBezTo>
                  <a:cubicBezTo>
                    <a:pt x="193" y="235"/>
                    <a:pt x="193" y="235"/>
                    <a:pt x="193" y="235"/>
                  </a:cubicBezTo>
                  <a:cubicBezTo>
                    <a:pt x="193" y="238"/>
                    <a:pt x="191" y="242"/>
                    <a:pt x="188" y="244"/>
                  </a:cubicBezTo>
                  <a:cubicBezTo>
                    <a:pt x="146" y="276"/>
                    <a:pt x="146" y="276"/>
                    <a:pt x="146" y="276"/>
                  </a:cubicBezTo>
                  <a:cubicBezTo>
                    <a:pt x="144" y="277"/>
                    <a:pt x="142" y="278"/>
                    <a:pt x="139" y="278"/>
                  </a:cubicBezTo>
                  <a:close/>
                  <a:moveTo>
                    <a:pt x="41" y="22"/>
                  </a:moveTo>
                  <a:cubicBezTo>
                    <a:pt x="146" y="109"/>
                    <a:pt x="146" y="109"/>
                    <a:pt x="146" y="109"/>
                  </a:cubicBezTo>
                  <a:cubicBezTo>
                    <a:pt x="149" y="112"/>
                    <a:pt x="150" y="115"/>
                    <a:pt x="150" y="118"/>
                  </a:cubicBezTo>
                  <a:cubicBezTo>
                    <a:pt x="150" y="246"/>
                    <a:pt x="150" y="246"/>
                    <a:pt x="150" y="246"/>
                  </a:cubicBezTo>
                  <a:cubicBezTo>
                    <a:pt x="171" y="230"/>
                    <a:pt x="171" y="230"/>
                    <a:pt x="171" y="230"/>
                  </a:cubicBezTo>
                  <a:cubicBezTo>
                    <a:pt x="171" y="118"/>
                    <a:pt x="171" y="118"/>
                    <a:pt x="171" y="118"/>
                  </a:cubicBezTo>
                  <a:cubicBezTo>
                    <a:pt x="171" y="115"/>
                    <a:pt x="173" y="112"/>
                    <a:pt x="175" y="109"/>
                  </a:cubicBezTo>
                  <a:cubicBezTo>
                    <a:pt x="281" y="22"/>
                    <a:pt x="281" y="22"/>
                    <a:pt x="281" y="22"/>
                  </a:cubicBezTo>
                  <a:lnTo>
                    <a:pt x="41" y="22"/>
                  </a:lnTo>
                  <a:close/>
                </a:path>
              </a:pathLst>
            </a:custGeom>
            <a:solidFill>
              <a:schemeClr val="tx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7" name="Group 627">
            <a:extLst>
              <a:ext uri="{FF2B5EF4-FFF2-40B4-BE49-F238E27FC236}">
                <a16:creationId xmlns:a16="http://schemas.microsoft.com/office/drawing/2014/main" id="{40287ECC-63AC-40E6-8806-6405964B3EF6}"/>
              </a:ext>
            </a:extLst>
          </p:cNvPr>
          <p:cNvGrpSpPr>
            <a:grpSpLocks noChangeAspect="1"/>
          </p:cNvGrpSpPr>
          <p:nvPr/>
        </p:nvGrpSpPr>
        <p:grpSpPr bwMode="auto">
          <a:xfrm>
            <a:off x="4550433" y="2090061"/>
            <a:ext cx="564492" cy="562834"/>
            <a:chOff x="4183" y="2415"/>
            <a:chExt cx="341" cy="340"/>
          </a:xfrm>
          <a:solidFill>
            <a:schemeClr val="tx1"/>
          </a:solidFill>
        </p:grpSpPr>
        <p:sp>
          <p:nvSpPr>
            <p:cNvPr id="68" name="Freeform 628">
              <a:extLst>
                <a:ext uri="{FF2B5EF4-FFF2-40B4-BE49-F238E27FC236}">
                  <a16:creationId xmlns:a16="http://schemas.microsoft.com/office/drawing/2014/main" id="{98D1E0ED-F1C8-47BB-B642-7DA4DB3FEDB6}"/>
                </a:ext>
              </a:extLst>
            </p:cNvPr>
            <p:cNvSpPr>
              <a:spLocks noEditPoints="1"/>
            </p:cNvSpPr>
            <p:nvPr/>
          </p:nvSpPr>
          <p:spPr bwMode="auto">
            <a:xfrm>
              <a:off x="4183" y="241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9" name="Freeform 629">
              <a:extLst>
                <a:ext uri="{FF2B5EF4-FFF2-40B4-BE49-F238E27FC236}">
                  <a16:creationId xmlns:a16="http://schemas.microsoft.com/office/drawing/2014/main" id="{DB37E7DA-E677-4D10-935B-6B0154564451}"/>
                </a:ext>
              </a:extLst>
            </p:cNvPr>
            <p:cNvSpPr>
              <a:spLocks noEditPoints="1"/>
            </p:cNvSpPr>
            <p:nvPr/>
          </p:nvSpPr>
          <p:spPr bwMode="auto">
            <a:xfrm>
              <a:off x="4301" y="2479"/>
              <a:ext cx="102" cy="212"/>
            </a:xfrm>
            <a:custGeom>
              <a:avLst/>
              <a:gdLst>
                <a:gd name="T0" fmla="*/ 153 w 154"/>
                <a:gd name="T1" fmla="*/ 74 h 320"/>
                <a:gd name="T2" fmla="*/ 79 w 154"/>
                <a:gd name="T3" fmla="*/ 0 h 320"/>
                <a:gd name="T4" fmla="*/ 4 w 154"/>
                <a:gd name="T5" fmla="*/ 74 h 320"/>
                <a:gd name="T6" fmla="*/ 49 w 154"/>
                <a:gd name="T7" fmla="*/ 273 h 320"/>
                <a:gd name="T8" fmla="*/ 68 w 154"/>
                <a:gd name="T9" fmla="*/ 286 h 320"/>
                <a:gd name="T10" fmla="*/ 68 w 154"/>
                <a:gd name="T11" fmla="*/ 309 h 320"/>
                <a:gd name="T12" fmla="*/ 79 w 154"/>
                <a:gd name="T13" fmla="*/ 320 h 320"/>
                <a:gd name="T14" fmla="*/ 89 w 154"/>
                <a:gd name="T15" fmla="*/ 309 h 320"/>
                <a:gd name="T16" fmla="*/ 89 w 154"/>
                <a:gd name="T17" fmla="*/ 286 h 320"/>
                <a:gd name="T18" fmla="*/ 108 w 154"/>
                <a:gd name="T19" fmla="*/ 273 h 320"/>
                <a:gd name="T20" fmla="*/ 153 w 154"/>
                <a:gd name="T21" fmla="*/ 74 h 320"/>
                <a:gd name="T22" fmla="*/ 66 w 154"/>
                <a:gd name="T23" fmla="*/ 260 h 320"/>
                <a:gd name="T24" fmla="*/ 65 w 154"/>
                <a:gd name="T25" fmla="*/ 259 h 320"/>
                <a:gd name="T26" fmla="*/ 43 w 154"/>
                <a:gd name="T27" fmla="*/ 221 h 320"/>
                <a:gd name="T28" fmla="*/ 44 w 154"/>
                <a:gd name="T29" fmla="*/ 220 h 320"/>
                <a:gd name="T30" fmla="*/ 49 w 154"/>
                <a:gd name="T31" fmla="*/ 214 h 320"/>
                <a:gd name="T32" fmla="*/ 48 w 154"/>
                <a:gd name="T33" fmla="*/ 199 h 320"/>
                <a:gd name="T34" fmla="*/ 36 w 154"/>
                <a:gd name="T35" fmla="*/ 198 h 320"/>
                <a:gd name="T36" fmla="*/ 30 w 154"/>
                <a:gd name="T37" fmla="*/ 159 h 320"/>
                <a:gd name="T38" fmla="*/ 33 w 154"/>
                <a:gd name="T39" fmla="*/ 157 h 320"/>
                <a:gd name="T40" fmla="*/ 54 w 154"/>
                <a:gd name="T41" fmla="*/ 135 h 320"/>
                <a:gd name="T42" fmla="*/ 54 w 154"/>
                <a:gd name="T43" fmla="*/ 120 h 320"/>
                <a:gd name="T44" fmla="*/ 39 w 154"/>
                <a:gd name="T45" fmla="*/ 120 h 320"/>
                <a:gd name="T46" fmla="*/ 27 w 154"/>
                <a:gd name="T47" fmla="*/ 132 h 320"/>
                <a:gd name="T48" fmla="*/ 25 w 154"/>
                <a:gd name="T49" fmla="*/ 99 h 320"/>
                <a:gd name="T50" fmla="*/ 28 w 154"/>
                <a:gd name="T51" fmla="*/ 98 h 320"/>
                <a:gd name="T52" fmla="*/ 54 w 154"/>
                <a:gd name="T53" fmla="*/ 71 h 320"/>
                <a:gd name="T54" fmla="*/ 54 w 154"/>
                <a:gd name="T55" fmla="*/ 56 h 320"/>
                <a:gd name="T56" fmla="*/ 39 w 154"/>
                <a:gd name="T57" fmla="*/ 56 h 320"/>
                <a:gd name="T58" fmla="*/ 26 w 154"/>
                <a:gd name="T59" fmla="*/ 69 h 320"/>
                <a:gd name="T60" fmla="*/ 68 w 154"/>
                <a:gd name="T61" fmla="*/ 22 h 320"/>
                <a:gd name="T62" fmla="*/ 68 w 154"/>
                <a:gd name="T63" fmla="*/ 262 h 320"/>
                <a:gd name="T64" fmla="*/ 66 w 154"/>
                <a:gd name="T65" fmla="*/ 260 h 320"/>
                <a:gd name="T66" fmla="*/ 92 w 154"/>
                <a:gd name="T67" fmla="*/ 259 h 320"/>
                <a:gd name="T68" fmla="*/ 89 w 154"/>
                <a:gd name="T69" fmla="*/ 262 h 320"/>
                <a:gd name="T70" fmla="*/ 89 w 154"/>
                <a:gd name="T71" fmla="*/ 22 h 320"/>
                <a:gd name="T72" fmla="*/ 132 w 154"/>
                <a:gd name="T73" fmla="*/ 74 h 320"/>
                <a:gd name="T74" fmla="*/ 132 w 154"/>
                <a:gd name="T75" fmla="*/ 91 h 320"/>
                <a:gd name="T76" fmla="*/ 118 w 154"/>
                <a:gd name="T77" fmla="*/ 77 h 320"/>
                <a:gd name="T78" fmla="*/ 103 w 154"/>
                <a:gd name="T79" fmla="*/ 77 h 320"/>
                <a:gd name="T80" fmla="*/ 103 w 154"/>
                <a:gd name="T81" fmla="*/ 93 h 320"/>
                <a:gd name="T82" fmla="*/ 124 w 154"/>
                <a:gd name="T83" fmla="*/ 114 h 320"/>
                <a:gd name="T84" fmla="*/ 130 w 154"/>
                <a:gd name="T85" fmla="*/ 117 h 320"/>
                <a:gd name="T86" fmla="*/ 126 w 154"/>
                <a:gd name="T87" fmla="*/ 160 h 320"/>
                <a:gd name="T88" fmla="*/ 118 w 154"/>
                <a:gd name="T89" fmla="*/ 152 h 320"/>
                <a:gd name="T90" fmla="*/ 103 w 154"/>
                <a:gd name="T91" fmla="*/ 152 h 320"/>
                <a:gd name="T92" fmla="*/ 103 w 154"/>
                <a:gd name="T93" fmla="*/ 167 h 320"/>
                <a:gd name="T94" fmla="*/ 122 w 154"/>
                <a:gd name="T95" fmla="*/ 186 h 320"/>
                <a:gd name="T96" fmla="*/ 92 w 154"/>
                <a:gd name="T97" fmla="*/ 25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 h="320">
                  <a:moveTo>
                    <a:pt x="153" y="74"/>
                  </a:moveTo>
                  <a:cubicBezTo>
                    <a:pt x="153" y="33"/>
                    <a:pt x="120" y="0"/>
                    <a:pt x="79" y="0"/>
                  </a:cubicBezTo>
                  <a:cubicBezTo>
                    <a:pt x="37" y="0"/>
                    <a:pt x="4" y="33"/>
                    <a:pt x="4" y="74"/>
                  </a:cubicBezTo>
                  <a:cubicBezTo>
                    <a:pt x="4" y="80"/>
                    <a:pt x="0" y="222"/>
                    <a:pt x="49" y="273"/>
                  </a:cubicBezTo>
                  <a:cubicBezTo>
                    <a:pt x="51" y="275"/>
                    <a:pt x="58" y="283"/>
                    <a:pt x="68" y="286"/>
                  </a:cubicBezTo>
                  <a:cubicBezTo>
                    <a:pt x="68" y="309"/>
                    <a:pt x="68" y="309"/>
                    <a:pt x="68" y="309"/>
                  </a:cubicBezTo>
                  <a:cubicBezTo>
                    <a:pt x="68" y="315"/>
                    <a:pt x="73" y="320"/>
                    <a:pt x="79" y="320"/>
                  </a:cubicBezTo>
                  <a:cubicBezTo>
                    <a:pt x="85" y="320"/>
                    <a:pt x="89" y="315"/>
                    <a:pt x="89" y="309"/>
                  </a:cubicBezTo>
                  <a:cubicBezTo>
                    <a:pt x="89" y="286"/>
                    <a:pt x="89" y="286"/>
                    <a:pt x="89" y="286"/>
                  </a:cubicBezTo>
                  <a:cubicBezTo>
                    <a:pt x="95" y="284"/>
                    <a:pt x="102" y="280"/>
                    <a:pt x="108" y="273"/>
                  </a:cubicBezTo>
                  <a:cubicBezTo>
                    <a:pt x="154" y="220"/>
                    <a:pt x="153" y="80"/>
                    <a:pt x="153" y="74"/>
                  </a:cubicBezTo>
                  <a:close/>
                  <a:moveTo>
                    <a:pt x="66" y="260"/>
                  </a:moveTo>
                  <a:cubicBezTo>
                    <a:pt x="66" y="259"/>
                    <a:pt x="65" y="259"/>
                    <a:pt x="65" y="259"/>
                  </a:cubicBezTo>
                  <a:cubicBezTo>
                    <a:pt x="56" y="250"/>
                    <a:pt x="49" y="236"/>
                    <a:pt x="43" y="221"/>
                  </a:cubicBezTo>
                  <a:cubicBezTo>
                    <a:pt x="43" y="220"/>
                    <a:pt x="44" y="220"/>
                    <a:pt x="44" y="220"/>
                  </a:cubicBezTo>
                  <a:cubicBezTo>
                    <a:pt x="49" y="214"/>
                    <a:pt x="49" y="214"/>
                    <a:pt x="49" y="214"/>
                  </a:cubicBezTo>
                  <a:cubicBezTo>
                    <a:pt x="53" y="210"/>
                    <a:pt x="52" y="203"/>
                    <a:pt x="48" y="199"/>
                  </a:cubicBezTo>
                  <a:cubicBezTo>
                    <a:pt x="45" y="196"/>
                    <a:pt x="40" y="196"/>
                    <a:pt x="36" y="198"/>
                  </a:cubicBezTo>
                  <a:cubicBezTo>
                    <a:pt x="33" y="185"/>
                    <a:pt x="31" y="172"/>
                    <a:pt x="30" y="159"/>
                  </a:cubicBezTo>
                  <a:cubicBezTo>
                    <a:pt x="31" y="158"/>
                    <a:pt x="32" y="158"/>
                    <a:pt x="33" y="157"/>
                  </a:cubicBezTo>
                  <a:cubicBezTo>
                    <a:pt x="54" y="135"/>
                    <a:pt x="54" y="135"/>
                    <a:pt x="54" y="135"/>
                  </a:cubicBezTo>
                  <a:cubicBezTo>
                    <a:pt x="58" y="131"/>
                    <a:pt x="58" y="124"/>
                    <a:pt x="54" y="120"/>
                  </a:cubicBezTo>
                  <a:cubicBezTo>
                    <a:pt x="50" y="116"/>
                    <a:pt x="43" y="116"/>
                    <a:pt x="39" y="120"/>
                  </a:cubicBezTo>
                  <a:cubicBezTo>
                    <a:pt x="27" y="132"/>
                    <a:pt x="27" y="132"/>
                    <a:pt x="27" y="132"/>
                  </a:cubicBezTo>
                  <a:cubicBezTo>
                    <a:pt x="26" y="120"/>
                    <a:pt x="26" y="109"/>
                    <a:pt x="25" y="99"/>
                  </a:cubicBezTo>
                  <a:cubicBezTo>
                    <a:pt x="26" y="99"/>
                    <a:pt x="27" y="99"/>
                    <a:pt x="28" y="98"/>
                  </a:cubicBezTo>
                  <a:cubicBezTo>
                    <a:pt x="54" y="71"/>
                    <a:pt x="54" y="71"/>
                    <a:pt x="54" y="71"/>
                  </a:cubicBezTo>
                  <a:cubicBezTo>
                    <a:pt x="58" y="67"/>
                    <a:pt x="58" y="60"/>
                    <a:pt x="54" y="56"/>
                  </a:cubicBezTo>
                  <a:cubicBezTo>
                    <a:pt x="50" y="52"/>
                    <a:pt x="43" y="52"/>
                    <a:pt x="39" y="56"/>
                  </a:cubicBezTo>
                  <a:cubicBezTo>
                    <a:pt x="26" y="69"/>
                    <a:pt x="26" y="69"/>
                    <a:pt x="26" y="69"/>
                  </a:cubicBezTo>
                  <a:cubicBezTo>
                    <a:pt x="28" y="46"/>
                    <a:pt x="45" y="27"/>
                    <a:pt x="68" y="22"/>
                  </a:cubicBezTo>
                  <a:cubicBezTo>
                    <a:pt x="68" y="262"/>
                    <a:pt x="68" y="262"/>
                    <a:pt x="68" y="262"/>
                  </a:cubicBezTo>
                  <a:cubicBezTo>
                    <a:pt x="67" y="261"/>
                    <a:pt x="66" y="260"/>
                    <a:pt x="66" y="260"/>
                  </a:cubicBezTo>
                  <a:close/>
                  <a:moveTo>
                    <a:pt x="92" y="259"/>
                  </a:moveTo>
                  <a:cubicBezTo>
                    <a:pt x="91" y="260"/>
                    <a:pt x="90" y="261"/>
                    <a:pt x="89" y="262"/>
                  </a:cubicBezTo>
                  <a:cubicBezTo>
                    <a:pt x="89" y="22"/>
                    <a:pt x="89" y="22"/>
                    <a:pt x="89" y="22"/>
                  </a:cubicBezTo>
                  <a:cubicBezTo>
                    <a:pt x="114" y="27"/>
                    <a:pt x="132" y="49"/>
                    <a:pt x="132" y="74"/>
                  </a:cubicBezTo>
                  <a:cubicBezTo>
                    <a:pt x="132" y="75"/>
                    <a:pt x="132" y="81"/>
                    <a:pt x="132" y="91"/>
                  </a:cubicBezTo>
                  <a:cubicBezTo>
                    <a:pt x="118" y="77"/>
                    <a:pt x="118" y="77"/>
                    <a:pt x="118" y="77"/>
                  </a:cubicBezTo>
                  <a:cubicBezTo>
                    <a:pt x="114" y="73"/>
                    <a:pt x="107" y="73"/>
                    <a:pt x="103" y="77"/>
                  </a:cubicBezTo>
                  <a:cubicBezTo>
                    <a:pt x="99" y="82"/>
                    <a:pt x="99" y="88"/>
                    <a:pt x="103" y="93"/>
                  </a:cubicBezTo>
                  <a:cubicBezTo>
                    <a:pt x="124" y="114"/>
                    <a:pt x="124" y="114"/>
                    <a:pt x="124" y="114"/>
                  </a:cubicBezTo>
                  <a:cubicBezTo>
                    <a:pt x="126" y="116"/>
                    <a:pt x="128" y="116"/>
                    <a:pt x="130" y="117"/>
                  </a:cubicBezTo>
                  <a:cubicBezTo>
                    <a:pt x="130" y="130"/>
                    <a:pt x="128" y="145"/>
                    <a:pt x="126" y="160"/>
                  </a:cubicBezTo>
                  <a:cubicBezTo>
                    <a:pt x="118" y="152"/>
                    <a:pt x="118" y="152"/>
                    <a:pt x="118" y="152"/>
                  </a:cubicBezTo>
                  <a:cubicBezTo>
                    <a:pt x="114" y="148"/>
                    <a:pt x="107" y="148"/>
                    <a:pt x="103" y="152"/>
                  </a:cubicBezTo>
                  <a:cubicBezTo>
                    <a:pt x="99" y="156"/>
                    <a:pt x="99" y="163"/>
                    <a:pt x="103" y="167"/>
                  </a:cubicBezTo>
                  <a:cubicBezTo>
                    <a:pt x="122" y="186"/>
                    <a:pt x="122" y="186"/>
                    <a:pt x="122" y="186"/>
                  </a:cubicBezTo>
                  <a:cubicBezTo>
                    <a:pt x="116" y="215"/>
                    <a:pt x="106" y="243"/>
                    <a:pt x="92" y="25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custDataLst>
      <p:tags r:id="rId1"/>
    </p:custDataLst>
    <p:extLst>
      <p:ext uri="{BB962C8B-B14F-4D97-AF65-F5344CB8AC3E}">
        <p14:creationId xmlns:p14="http://schemas.microsoft.com/office/powerpoint/2010/main" val="3242331687"/>
      </p:ext>
    </p:extLst>
  </p:cSld>
  <p:clrMapOvr>
    <a:masterClrMapping/>
  </p:clrMapOvr>
  <p:transition>
    <p:fade/>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us 32"/>
          <p:cNvSpPr/>
          <p:nvPr/>
        </p:nvSpPr>
        <p:spPr>
          <a:xfrm>
            <a:off x="2611298" y="2687050"/>
            <a:ext cx="828789" cy="796054"/>
          </a:xfrm>
          <a:prstGeom prst="mathPlus">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48527"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FFFFFF"/>
              </a:solidFill>
              <a:effectLst/>
              <a:uLnTx/>
              <a:uFillTx/>
              <a:latin typeface="等线 Light" panose="02010600030101010101" pitchFamily="2" charset="-122"/>
              <a:ea typeface="等线 Light" panose="02010600030101010101" pitchFamily="2" charset="-122"/>
              <a:cs typeface="Segoe UI" panose="020B0502040204020203" pitchFamily="34" charset="0"/>
            </a:endParaRPr>
          </a:p>
        </p:txBody>
      </p:sp>
      <p:sp>
        <p:nvSpPr>
          <p:cNvPr id="3" name="Plus 33"/>
          <p:cNvSpPr/>
          <p:nvPr/>
        </p:nvSpPr>
        <p:spPr>
          <a:xfrm>
            <a:off x="5665268" y="2696520"/>
            <a:ext cx="828789" cy="796054"/>
          </a:xfrm>
          <a:prstGeom prst="mathPlus">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48527"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FFFFFF"/>
              </a:solidFill>
              <a:effectLst/>
              <a:uLnTx/>
              <a:uFillTx/>
              <a:latin typeface="等线 Light" panose="02010600030101010101" pitchFamily="2" charset="-122"/>
              <a:ea typeface="等线 Light" panose="02010600030101010101" pitchFamily="2" charset="-122"/>
              <a:cs typeface="Segoe UI" panose="020B0502040204020203" pitchFamily="34" charset="0"/>
            </a:endParaRPr>
          </a:p>
        </p:txBody>
      </p:sp>
      <p:sp>
        <p:nvSpPr>
          <p:cNvPr id="4" name="Equal 34"/>
          <p:cNvSpPr/>
          <p:nvPr/>
        </p:nvSpPr>
        <p:spPr>
          <a:xfrm>
            <a:off x="8940957" y="2726154"/>
            <a:ext cx="877731" cy="766420"/>
          </a:xfrm>
          <a:prstGeom prst="mathEqual">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48527"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等线 Light" panose="02010600030101010101" pitchFamily="2" charset="-122"/>
              <a:ea typeface="等线 Light" panose="02010600030101010101" pitchFamily="2" charset="-122"/>
              <a:cs typeface="Segoe UI" panose="020B0502040204020203" pitchFamily="34" charset="0"/>
            </a:endParaRPr>
          </a:p>
        </p:txBody>
      </p:sp>
      <p:sp>
        <p:nvSpPr>
          <p:cNvPr id="10" name="Rectangle 179"/>
          <p:cNvSpPr/>
          <p:nvPr/>
        </p:nvSpPr>
        <p:spPr>
          <a:xfrm>
            <a:off x="4122814" y="3831996"/>
            <a:ext cx="1033937" cy="215444"/>
          </a:xfrm>
          <a:prstGeom prst="rect">
            <a:avLst/>
          </a:prstGeom>
        </p:spPr>
        <p:txBody>
          <a:bodyPr wrap="none" lIns="0" tIns="0" rIns="0" bIns="0">
            <a:spAutoFit/>
          </a:bodyPr>
          <a:lstStyle/>
          <a:p>
            <a:pPr algn="ctr">
              <a:spcBef>
                <a:spcPts val="200"/>
              </a:spcBef>
              <a:buSzPct val="100000"/>
            </a:pPr>
            <a:r>
              <a:rPr lang="en-US" altLang="zh-CN" sz="1400" dirty="0">
                <a:latin typeface="+mn-ea"/>
              </a:rPr>
              <a:t>Lorem ipsum</a:t>
            </a:r>
            <a:endParaRPr lang="en-GB" sz="1400" dirty="0">
              <a:latin typeface="+mn-ea"/>
            </a:endParaRPr>
          </a:p>
        </p:txBody>
      </p:sp>
      <p:sp>
        <p:nvSpPr>
          <p:cNvPr id="11" name="Freeform 237"/>
          <p:cNvSpPr/>
          <p:nvPr/>
        </p:nvSpPr>
        <p:spPr bwMode="gray">
          <a:xfrm flipV="1">
            <a:off x="5386022" y="3909849"/>
            <a:ext cx="190684" cy="54116"/>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accent6"/>
            </a:solidFill>
            <a:miter lim="800000"/>
            <a:headEnd/>
            <a:tailEnd type="oval"/>
          </a:ln>
        </p:spPr>
        <p:txBody>
          <a:bodyPr rtlCol="0" anchor="ctr"/>
          <a:lstStyle/>
          <a:p>
            <a:pPr algn="ctr"/>
            <a:endParaRPr lang="en-GB" dirty="0"/>
          </a:p>
        </p:txBody>
      </p:sp>
      <p:sp>
        <p:nvSpPr>
          <p:cNvPr id="12" name="Freeform 238"/>
          <p:cNvSpPr/>
          <p:nvPr/>
        </p:nvSpPr>
        <p:spPr bwMode="gray">
          <a:xfrm flipV="1">
            <a:off x="3687930" y="3901500"/>
            <a:ext cx="192747" cy="54116"/>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accent6"/>
            </a:solidFill>
            <a:miter lim="800000"/>
            <a:headEnd type="oval"/>
            <a:tailEnd type="none"/>
          </a:ln>
        </p:spPr>
        <p:txBody>
          <a:bodyPr rtlCol="0" anchor="ctr"/>
          <a:lstStyle/>
          <a:p>
            <a:pPr algn="ctr"/>
            <a:endParaRPr lang="en-GB" dirty="0"/>
          </a:p>
        </p:txBody>
      </p:sp>
      <p:grpSp>
        <p:nvGrpSpPr>
          <p:cNvPr id="13" name="Group 294"/>
          <p:cNvGrpSpPr>
            <a:grpSpLocks noChangeAspect="1"/>
          </p:cNvGrpSpPr>
          <p:nvPr/>
        </p:nvGrpSpPr>
        <p:grpSpPr bwMode="auto">
          <a:xfrm>
            <a:off x="4120224" y="2509123"/>
            <a:ext cx="1031432" cy="1031432"/>
            <a:chOff x="799" y="1118"/>
            <a:chExt cx="340" cy="340"/>
          </a:xfrm>
          <a:solidFill>
            <a:schemeClr val="accent6"/>
          </a:solidFill>
        </p:grpSpPr>
        <p:sp>
          <p:nvSpPr>
            <p:cNvPr id="14" name="Freeform 295"/>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5" name="Rectangle 296"/>
            <p:cNvSpPr>
              <a:spLocks noChangeArrowheads="1"/>
            </p:cNvSpPr>
            <p:nvPr/>
          </p:nvSpPr>
          <p:spPr bwMode="auto">
            <a:xfrm>
              <a:off x="877" y="1224"/>
              <a:ext cx="184" cy="113"/>
            </a:xfrm>
            <a:prstGeom prst="rect">
              <a:avLst/>
            </a:prstGeom>
            <a:grpFill/>
            <a:ln>
              <a:noFill/>
            </a:ln>
            <a:extLst>
              <a:ext uri="{91240B29-F687-4f45-9708-019B960494DF}">
                <a14:hiddenLine xmlns:a14="http://schemas.microsoft.com/office/drawing/2010/main" xmlns:p14="http://schemas.microsoft.com/office/powerpoint/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
        <p:nvSpPr>
          <p:cNvPr id="21" name="Rectangle 179"/>
          <p:cNvSpPr/>
          <p:nvPr/>
        </p:nvSpPr>
        <p:spPr>
          <a:xfrm>
            <a:off x="1152786" y="3831996"/>
            <a:ext cx="506549" cy="215444"/>
          </a:xfrm>
          <a:prstGeom prst="rect">
            <a:avLst/>
          </a:prstGeom>
        </p:spPr>
        <p:txBody>
          <a:bodyPr wrap="none" lIns="0" tIns="0" rIns="0" bIns="0">
            <a:spAutoFit/>
          </a:bodyPr>
          <a:lstStyle/>
          <a:p>
            <a:pPr algn="ctr">
              <a:spcBef>
                <a:spcPts val="200"/>
              </a:spcBef>
              <a:buSzPct val="100000"/>
            </a:pPr>
            <a:r>
              <a:rPr lang="en-US" altLang="zh-CN" sz="1400" dirty="0">
                <a:latin typeface="+mn-ea"/>
              </a:rPr>
              <a:t>Lorem</a:t>
            </a:r>
            <a:endParaRPr lang="en-GB" sz="1400" dirty="0">
              <a:latin typeface="+mn-ea"/>
            </a:endParaRPr>
          </a:p>
        </p:txBody>
      </p:sp>
      <p:sp>
        <p:nvSpPr>
          <p:cNvPr id="22" name="Freeform 237"/>
          <p:cNvSpPr/>
          <p:nvPr/>
        </p:nvSpPr>
        <p:spPr bwMode="gray">
          <a:xfrm flipV="1">
            <a:off x="1832305" y="3913818"/>
            <a:ext cx="448562" cy="45719"/>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rgbClr val="86BC25"/>
            </a:solidFill>
            <a:miter lim="800000"/>
            <a:headEnd/>
            <a:tailEnd type="oval"/>
          </a:ln>
        </p:spPr>
        <p:txBody>
          <a:bodyPr rtlCol="0" anchor="ctr"/>
          <a:lstStyle/>
          <a:p>
            <a:pPr algn="ctr"/>
            <a:endParaRPr lang="en-GB" dirty="0"/>
          </a:p>
        </p:txBody>
      </p:sp>
      <p:sp>
        <p:nvSpPr>
          <p:cNvPr id="23" name="Freeform 238"/>
          <p:cNvSpPr/>
          <p:nvPr/>
        </p:nvSpPr>
        <p:spPr bwMode="gray">
          <a:xfrm>
            <a:off x="519518" y="3947219"/>
            <a:ext cx="456896" cy="45719"/>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rgbClr val="86BC25"/>
            </a:solidFill>
            <a:miter lim="800000"/>
            <a:headEnd type="oval"/>
            <a:tailEnd type="none"/>
          </a:ln>
        </p:spPr>
        <p:txBody>
          <a:bodyPr rtlCol="0" anchor="ctr"/>
          <a:lstStyle/>
          <a:p>
            <a:pPr algn="ctr"/>
            <a:endParaRPr lang="en-GB" dirty="0"/>
          </a:p>
        </p:txBody>
      </p:sp>
      <p:sp>
        <p:nvSpPr>
          <p:cNvPr id="24" name="Freeform 831"/>
          <p:cNvSpPr>
            <a:spLocks noChangeAspect="1" noEditPoints="1"/>
          </p:cNvSpPr>
          <p:nvPr/>
        </p:nvSpPr>
        <p:spPr bwMode="auto">
          <a:xfrm>
            <a:off x="900370" y="2509123"/>
            <a:ext cx="1029777" cy="1029777"/>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nvGrpSpPr>
          <p:cNvPr id="25" name="组合 24"/>
          <p:cNvGrpSpPr/>
          <p:nvPr/>
        </p:nvGrpSpPr>
        <p:grpSpPr>
          <a:xfrm>
            <a:off x="9878126" y="2509123"/>
            <a:ext cx="1826658" cy="1538317"/>
            <a:chOff x="9878126" y="2779877"/>
            <a:chExt cx="1826658" cy="1538317"/>
          </a:xfrm>
        </p:grpSpPr>
        <p:sp>
          <p:nvSpPr>
            <p:cNvPr id="26" name="Rectangle 179"/>
            <p:cNvSpPr/>
            <p:nvPr/>
          </p:nvSpPr>
          <p:spPr>
            <a:xfrm>
              <a:off x="10539384" y="4102750"/>
              <a:ext cx="506549" cy="215444"/>
            </a:xfrm>
            <a:prstGeom prst="rect">
              <a:avLst/>
            </a:prstGeom>
          </p:spPr>
          <p:txBody>
            <a:bodyPr wrap="none" lIns="0" tIns="0" rIns="0" bIns="0">
              <a:spAutoFit/>
            </a:bodyPr>
            <a:lstStyle/>
            <a:p>
              <a:pPr algn="ctr">
                <a:spcBef>
                  <a:spcPts val="200"/>
                </a:spcBef>
                <a:buSzPct val="100000"/>
              </a:pPr>
              <a:r>
                <a:rPr lang="en-US" altLang="zh-CN" sz="1400" dirty="0">
                  <a:latin typeface="+mn-ea"/>
                </a:rPr>
                <a:t>Lorem</a:t>
              </a:r>
              <a:endParaRPr lang="en-GB" sz="1400" dirty="0">
                <a:latin typeface="+mn-ea"/>
              </a:endParaRPr>
            </a:p>
          </p:txBody>
        </p:sp>
        <p:sp>
          <p:nvSpPr>
            <p:cNvPr id="27" name="Freeform 237"/>
            <p:cNvSpPr/>
            <p:nvPr/>
          </p:nvSpPr>
          <p:spPr bwMode="gray">
            <a:xfrm>
              <a:off x="11331267" y="4214266"/>
              <a:ext cx="373517" cy="74480"/>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tx1"/>
              </a:solidFill>
              <a:miter lim="800000"/>
              <a:headEnd/>
              <a:tailEnd type="oval"/>
            </a:ln>
          </p:spPr>
          <p:txBody>
            <a:bodyPr rtlCol="0" anchor="ctr"/>
            <a:lstStyle/>
            <a:p>
              <a:pPr algn="ctr"/>
              <a:endParaRPr lang="en-GB" dirty="0"/>
            </a:p>
          </p:txBody>
        </p:sp>
        <p:sp>
          <p:nvSpPr>
            <p:cNvPr id="28" name="Freeform 238"/>
            <p:cNvSpPr/>
            <p:nvPr/>
          </p:nvSpPr>
          <p:spPr bwMode="gray">
            <a:xfrm>
              <a:off x="9878126" y="4219418"/>
              <a:ext cx="340866" cy="65150"/>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tx1"/>
              </a:solidFill>
              <a:miter lim="800000"/>
              <a:headEnd type="oval"/>
              <a:tailEnd type="none"/>
            </a:ln>
          </p:spPr>
          <p:txBody>
            <a:bodyPr rtlCol="0" anchor="ctr"/>
            <a:lstStyle/>
            <a:p>
              <a:pPr algn="ctr"/>
              <a:endParaRPr lang="en-GB" dirty="0"/>
            </a:p>
          </p:txBody>
        </p:sp>
        <p:sp>
          <p:nvSpPr>
            <p:cNvPr id="29" name="Freeform 109"/>
            <p:cNvSpPr>
              <a:spLocks noChangeAspect="1" noEditPoints="1"/>
            </p:cNvSpPr>
            <p:nvPr/>
          </p:nvSpPr>
          <p:spPr bwMode="auto">
            <a:xfrm>
              <a:off x="10218992" y="2779877"/>
              <a:ext cx="1035332" cy="1035332"/>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sp>
        <p:nvSpPr>
          <p:cNvPr id="35" name="Rectangle 179"/>
          <p:cNvSpPr/>
          <p:nvPr/>
        </p:nvSpPr>
        <p:spPr>
          <a:xfrm>
            <a:off x="7410154" y="3831996"/>
            <a:ext cx="506549" cy="215444"/>
          </a:xfrm>
          <a:prstGeom prst="rect">
            <a:avLst/>
          </a:prstGeom>
        </p:spPr>
        <p:txBody>
          <a:bodyPr wrap="none" lIns="0" tIns="0" rIns="0" bIns="0">
            <a:spAutoFit/>
          </a:bodyPr>
          <a:lstStyle/>
          <a:p>
            <a:pPr algn="ctr">
              <a:spcBef>
                <a:spcPts val="200"/>
              </a:spcBef>
              <a:buSzPct val="100000"/>
            </a:pPr>
            <a:r>
              <a:rPr lang="en-US" altLang="zh-CN" sz="1400" dirty="0">
                <a:latin typeface="+mn-ea"/>
              </a:rPr>
              <a:t>Lorem</a:t>
            </a:r>
            <a:endParaRPr lang="en-GB" sz="1400" dirty="0">
              <a:latin typeface="+mn-ea"/>
            </a:endParaRPr>
          </a:p>
        </p:txBody>
      </p:sp>
      <p:sp>
        <p:nvSpPr>
          <p:cNvPr id="36" name="Freeform 237"/>
          <p:cNvSpPr/>
          <p:nvPr/>
        </p:nvSpPr>
        <p:spPr bwMode="gray">
          <a:xfrm flipV="1">
            <a:off x="8093074" y="3905467"/>
            <a:ext cx="445161" cy="45719"/>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tx2"/>
            </a:solidFill>
            <a:miter lim="800000"/>
            <a:headEnd/>
            <a:tailEnd type="oval"/>
          </a:ln>
        </p:spPr>
        <p:txBody>
          <a:bodyPr rtlCol="0" anchor="ctr"/>
          <a:lstStyle/>
          <a:p>
            <a:pPr algn="ctr"/>
            <a:endParaRPr lang="en-GB" dirty="0"/>
          </a:p>
        </p:txBody>
      </p:sp>
      <p:sp>
        <p:nvSpPr>
          <p:cNvPr id="37" name="Freeform 238"/>
          <p:cNvSpPr/>
          <p:nvPr/>
        </p:nvSpPr>
        <p:spPr bwMode="gray">
          <a:xfrm>
            <a:off x="6776887" y="3943045"/>
            <a:ext cx="467332" cy="45719"/>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tx2"/>
            </a:solidFill>
            <a:miter lim="800000"/>
            <a:headEnd type="oval"/>
            <a:tailEnd type="none"/>
          </a:ln>
        </p:spPr>
        <p:txBody>
          <a:bodyPr rtlCol="0" anchor="ctr"/>
          <a:lstStyle/>
          <a:p>
            <a:pPr algn="ctr"/>
            <a:endParaRPr lang="en-GB" dirty="0"/>
          </a:p>
        </p:txBody>
      </p:sp>
      <p:sp>
        <p:nvSpPr>
          <p:cNvPr id="38" name="Freeform 624"/>
          <p:cNvSpPr>
            <a:spLocks noChangeAspect="1" noEditPoints="1"/>
          </p:cNvSpPr>
          <p:nvPr/>
        </p:nvSpPr>
        <p:spPr bwMode="auto">
          <a:xfrm>
            <a:off x="7169116" y="2509123"/>
            <a:ext cx="1032417" cy="1032417"/>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9" name="Rounded Rectangle 101"/>
          <p:cNvSpPr/>
          <p:nvPr/>
        </p:nvSpPr>
        <p:spPr bwMode="gray">
          <a:xfrm>
            <a:off x="2900335" y="1301623"/>
            <a:ext cx="6040622" cy="502895"/>
          </a:xfrm>
          <a:prstGeom prst="roundRect">
            <a:avLst>
              <a:gd name="adj" fmla="val 50000"/>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CN" sz="2000" b="1" dirty="0">
                <a:solidFill>
                  <a:schemeClr val="bg1"/>
                </a:solidFill>
              </a:rPr>
              <a:t>Lorem ipsum</a:t>
            </a:r>
            <a:endParaRPr lang="en-US" sz="2000" b="1" dirty="0">
              <a:solidFill>
                <a:schemeClr val="bg1"/>
              </a:solidFill>
            </a:endParaRPr>
          </a:p>
        </p:txBody>
      </p:sp>
      <p:cxnSp>
        <p:nvCxnSpPr>
          <p:cNvPr id="40" name="Straight Connector 102"/>
          <p:cNvCxnSpPr/>
          <p:nvPr/>
        </p:nvCxnSpPr>
        <p:spPr>
          <a:xfrm>
            <a:off x="9005886" y="1572377"/>
            <a:ext cx="2051029" cy="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103"/>
          <p:cNvCxnSpPr/>
          <p:nvPr/>
        </p:nvCxnSpPr>
        <p:spPr>
          <a:xfrm flipH="1">
            <a:off x="775648" y="1572377"/>
            <a:ext cx="2059759" cy="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96327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circle(in)">
                                      <p:cBhvr>
                                        <p:cTn id="7" dur="13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B35315BF-9EB0-7F4A-8B04-A721FA0B2A05}"/>
              </a:ext>
            </a:extLst>
          </p:cNvPr>
          <p:cNvSpPr/>
          <p:nvPr/>
        </p:nvSpPr>
        <p:spPr bwMode="gray">
          <a:xfrm>
            <a:off x="1962860" y="1700214"/>
            <a:ext cx="3396253" cy="404263"/>
          </a:xfrm>
          <a:prstGeom prst="rect">
            <a:avLst/>
          </a:prstGeom>
          <a:solidFill>
            <a:srgbClr val="43B02A"/>
          </a:solidFill>
          <a:ln w="19050" algn="ctr">
            <a:noFill/>
            <a:miter lim="800000"/>
            <a:headEnd/>
            <a:tailEnd/>
          </a:ln>
        </p:spPr>
        <p:txBody>
          <a:bodyPr wrap="none" lIns="88900" tIns="88900" rIns="88900" bIns="88900" rtlCol="0" anchor="ctr"/>
          <a:lstStyle/>
          <a:p>
            <a:pPr algn="ctr"/>
            <a:r>
              <a:rPr lang="en-US" sz="1600" b="1" dirty="0">
                <a:solidFill>
                  <a:schemeClr val="bg1"/>
                </a:solidFill>
              </a:rPr>
              <a:t>Lorem ipsum dolor</a:t>
            </a:r>
          </a:p>
        </p:txBody>
      </p:sp>
      <p:sp>
        <p:nvSpPr>
          <p:cNvPr id="68" name="Rectangle 67">
            <a:extLst>
              <a:ext uri="{FF2B5EF4-FFF2-40B4-BE49-F238E27FC236}">
                <a16:creationId xmlns:a16="http://schemas.microsoft.com/office/drawing/2014/main" id="{C05761CC-E9C2-B64B-9371-27792F10CEC7}"/>
              </a:ext>
            </a:extLst>
          </p:cNvPr>
          <p:cNvSpPr/>
          <p:nvPr/>
        </p:nvSpPr>
        <p:spPr bwMode="gray">
          <a:xfrm>
            <a:off x="1962860" y="2106353"/>
            <a:ext cx="3396253" cy="1278851"/>
          </a:xfrm>
          <a:prstGeom prst="rect">
            <a:avLst/>
          </a:prstGeom>
          <a:solidFill>
            <a:schemeClr val="tx1"/>
          </a:solidFill>
          <a:ln w="19050" algn="ctr">
            <a:noFill/>
            <a:miter lim="800000"/>
            <a:headEnd/>
            <a:tailEnd/>
          </a:ln>
        </p:spPr>
        <p:txBody>
          <a:bodyPr wrap="none" lIns="88900" tIns="88900" rIns="88900" bIns="88900" rtlCol="0" anchor="ctr"/>
          <a:lstStyle/>
          <a:p>
            <a:pPr algn="r">
              <a:buFont typeface="Wingdings 2" pitchFamily="18" charset="2"/>
              <a:buNone/>
            </a:pPr>
            <a:r>
              <a:rPr lang="en-US" sz="5400" b="1" dirty="0">
                <a:solidFill>
                  <a:srgbClr val="86BC25"/>
                </a:solidFill>
              </a:rPr>
              <a:t>$20k+</a:t>
            </a:r>
          </a:p>
        </p:txBody>
      </p:sp>
      <p:grpSp>
        <p:nvGrpSpPr>
          <p:cNvPr id="69" name="Group 367">
            <a:extLst>
              <a:ext uri="{FF2B5EF4-FFF2-40B4-BE49-F238E27FC236}">
                <a16:creationId xmlns:a16="http://schemas.microsoft.com/office/drawing/2014/main" id="{481269A3-7B56-F64A-B181-6FF441E50D88}"/>
              </a:ext>
            </a:extLst>
          </p:cNvPr>
          <p:cNvGrpSpPr>
            <a:grpSpLocks noChangeAspect="1"/>
          </p:cNvGrpSpPr>
          <p:nvPr/>
        </p:nvGrpSpPr>
        <p:grpSpPr bwMode="auto">
          <a:xfrm>
            <a:off x="2078364" y="2409092"/>
            <a:ext cx="671398" cy="673372"/>
            <a:chOff x="4383" y="2091"/>
            <a:chExt cx="340" cy="341"/>
          </a:xfrm>
          <a:solidFill>
            <a:srgbClr val="86BC25"/>
          </a:solidFill>
        </p:grpSpPr>
        <p:sp>
          <p:nvSpPr>
            <p:cNvPr id="70" name="Freeform 262">
              <a:extLst>
                <a:ext uri="{FF2B5EF4-FFF2-40B4-BE49-F238E27FC236}">
                  <a16:creationId xmlns:a16="http://schemas.microsoft.com/office/drawing/2014/main" id="{DD757B91-E55D-F846-A113-DABEFE9CD6E8}"/>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263">
              <a:extLst>
                <a:ext uri="{FF2B5EF4-FFF2-40B4-BE49-F238E27FC236}">
                  <a16:creationId xmlns:a16="http://schemas.microsoft.com/office/drawing/2014/main" id="{DCA1E3B0-599B-2B40-A4FA-8BA904A07665}"/>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 name="Rectangle 72">
            <a:extLst>
              <a:ext uri="{FF2B5EF4-FFF2-40B4-BE49-F238E27FC236}">
                <a16:creationId xmlns:a16="http://schemas.microsoft.com/office/drawing/2014/main" id="{54A31A2C-6F4D-A548-9529-7D2615131E63}"/>
              </a:ext>
            </a:extLst>
          </p:cNvPr>
          <p:cNvSpPr/>
          <p:nvPr/>
        </p:nvSpPr>
        <p:spPr bwMode="gray">
          <a:xfrm>
            <a:off x="6692222" y="1700214"/>
            <a:ext cx="3396253" cy="404263"/>
          </a:xfrm>
          <a:prstGeom prst="rect">
            <a:avLst/>
          </a:prstGeom>
          <a:solidFill>
            <a:srgbClr val="43B02A"/>
          </a:solidFill>
          <a:ln w="19050" algn="ctr">
            <a:noFill/>
            <a:miter lim="800000"/>
            <a:headEnd/>
            <a:tailEnd/>
          </a:ln>
        </p:spPr>
        <p:txBody>
          <a:bodyPr wrap="none" lIns="88900" tIns="88900" rIns="88900" bIns="88900" rtlCol="0" anchor="ctr"/>
          <a:lstStyle/>
          <a:p>
            <a:pPr algn="ctr">
              <a:buFont typeface="Wingdings 2" pitchFamily="18" charset="2"/>
              <a:buNone/>
            </a:pPr>
            <a:r>
              <a:rPr lang="en-US" sz="1600" b="1" dirty="0">
                <a:solidFill>
                  <a:schemeClr val="bg1"/>
                </a:solidFill>
              </a:rPr>
              <a:t>Lorem ipsum dolor</a:t>
            </a:r>
          </a:p>
        </p:txBody>
      </p:sp>
      <p:sp>
        <p:nvSpPr>
          <p:cNvPr id="93" name="Rectangle 92">
            <a:extLst>
              <a:ext uri="{FF2B5EF4-FFF2-40B4-BE49-F238E27FC236}">
                <a16:creationId xmlns:a16="http://schemas.microsoft.com/office/drawing/2014/main" id="{EC2EE353-63D0-C64E-B3A0-D498248BD231}"/>
              </a:ext>
            </a:extLst>
          </p:cNvPr>
          <p:cNvSpPr/>
          <p:nvPr/>
        </p:nvSpPr>
        <p:spPr bwMode="gray">
          <a:xfrm>
            <a:off x="6692222" y="2106353"/>
            <a:ext cx="3396253" cy="1278851"/>
          </a:xfrm>
          <a:prstGeom prst="rect">
            <a:avLst/>
          </a:prstGeom>
          <a:solidFill>
            <a:schemeClr val="tx1"/>
          </a:solidFill>
          <a:ln w="19050" algn="ctr">
            <a:noFill/>
            <a:miter lim="800000"/>
            <a:headEnd/>
            <a:tailEnd/>
          </a:ln>
        </p:spPr>
        <p:txBody>
          <a:bodyPr wrap="none" lIns="88900" tIns="88900" rIns="88900" bIns="88900" rtlCol="0" anchor="ctr"/>
          <a:lstStyle/>
          <a:p>
            <a:pPr algn="r">
              <a:buFont typeface="Wingdings 2" pitchFamily="18" charset="2"/>
              <a:buNone/>
            </a:pPr>
            <a:r>
              <a:rPr lang="en-US" sz="5400" b="1" dirty="0">
                <a:solidFill>
                  <a:srgbClr val="D0D0CE"/>
                </a:solidFill>
              </a:rPr>
              <a:t>$5m</a:t>
            </a:r>
          </a:p>
        </p:txBody>
      </p:sp>
      <p:grpSp>
        <p:nvGrpSpPr>
          <p:cNvPr id="94" name="Group 587">
            <a:extLst>
              <a:ext uri="{FF2B5EF4-FFF2-40B4-BE49-F238E27FC236}">
                <a16:creationId xmlns:a16="http://schemas.microsoft.com/office/drawing/2014/main" id="{009C3A95-DBF6-4544-8FE7-7276D510C8E1}"/>
              </a:ext>
            </a:extLst>
          </p:cNvPr>
          <p:cNvGrpSpPr>
            <a:grpSpLocks noChangeAspect="1"/>
          </p:cNvGrpSpPr>
          <p:nvPr/>
        </p:nvGrpSpPr>
        <p:grpSpPr bwMode="auto">
          <a:xfrm>
            <a:off x="6805753" y="2409092"/>
            <a:ext cx="673372" cy="673372"/>
            <a:chOff x="2878" y="2417"/>
            <a:chExt cx="340" cy="340"/>
          </a:xfrm>
          <a:solidFill>
            <a:srgbClr val="D0D0CE"/>
          </a:solidFill>
        </p:grpSpPr>
        <p:sp>
          <p:nvSpPr>
            <p:cNvPr id="95" name="Freeform 588">
              <a:extLst>
                <a:ext uri="{FF2B5EF4-FFF2-40B4-BE49-F238E27FC236}">
                  <a16:creationId xmlns:a16="http://schemas.microsoft.com/office/drawing/2014/main" id="{5CA4BE4C-95AC-B04A-86F5-3FA83637B177}"/>
                </a:ext>
              </a:extLst>
            </p:cNvPr>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 name="Freeform 589">
              <a:extLst>
                <a:ext uri="{FF2B5EF4-FFF2-40B4-BE49-F238E27FC236}">
                  <a16:creationId xmlns:a16="http://schemas.microsoft.com/office/drawing/2014/main" id="{688623C9-1CF9-B94F-B8A4-3364B67256D1}"/>
                </a:ext>
              </a:extLst>
            </p:cNvPr>
            <p:cNvSpPr>
              <a:spLocks/>
            </p:cNvSpPr>
            <p:nvPr/>
          </p:nvSpPr>
          <p:spPr bwMode="auto">
            <a:xfrm flipH="1">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 name="Freeform 590">
              <a:extLst>
                <a:ext uri="{FF2B5EF4-FFF2-40B4-BE49-F238E27FC236}">
                  <a16:creationId xmlns:a16="http://schemas.microsoft.com/office/drawing/2014/main" id="{EA4B9D1C-A9B4-8B48-A4E9-2DDB12F3A653}"/>
                </a:ext>
              </a:extLst>
            </p:cNvPr>
            <p:cNvSpPr>
              <a:spLocks noEditPoints="1"/>
            </p:cNvSpPr>
            <p:nvPr/>
          </p:nvSpPr>
          <p:spPr bwMode="auto">
            <a:xfrm>
              <a:off x="2878" y="241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8" name="TextBox 97">
            <a:extLst>
              <a:ext uri="{FF2B5EF4-FFF2-40B4-BE49-F238E27FC236}">
                <a16:creationId xmlns:a16="http://schemas.microsoft.com/office/drawing/2014/main" id="{32698BDD-7002-1B43-B996-36B0F4C777AF}"/>
              </a:ext>
            </a:extLst>
          </p:cNvPr>
          <p:cNvSpPr txBox="1"/>
          <p:nvPr/>
        </p:nvSpPr>
        <p:spPr>
          <a:xfrm>
            <a:off x="8834461" y="2201318"/>
            <a:ext cx="1102867" cy="169277"/>
          </a:xfrm>
          <a:prstGeom prst="rect">
            <a:avLst/>
          </a:prstGeom>
          <a:noFill/>
        </p:spPr>
        <p:txBody>
          <a:bodyPr vert="horz" wrap="none" lIns="0" tIns="0" rIns="0" bIns="0" rtlCol="0" anchor="ctr">
            <a:spAutoFit/>
          </a:bodyPr>
          <a:lstStyle/>
          <a:p>
            <a:pPr algn="r">
              <a:buSzPct val="100000"/>
            </a:pPr>
            <a:r>
              <a:rPr lang="en-US" sz="1100" b="1" dirty="0">
                <a:solidFill>
                  <a:schemeClr val="bg1"/>
                </a:solidFill>
              </a:rPr>
              <a:t>Lorem ipsum dolor</a:t>
            </a:r>
          </a:p>
        </p:txBody>
      </p:sp>
      <p:sp>
        <p:nvSpPr>
          <p:cNvPr id="99" name="TextBox 98">
            <a:extLst>
              <a:ext uri="{FF2B5EF4-FFF2-40B4-BE49-F238E27FC236}">
                <a16:creationId xmlns:a16="http://schemas.microsoft.com/office/drawing/2014/main" id="{32698BDD-7002-1B43-B996-36B0F4C777AF}"/>
              </a:ext>
            </a:extLst>
          </p:cNvPr>
          <p:cNvSpPr txBox="1"/>
          <p:nvPr/>
        </p:nvSpPr>
        <p:spPr>
          <a:xfrm>
            <a:off x="4137604" y="2201318"/>
            <a:ext cx="1102867" cy="169277"/>
          </a:xfrm>
          <a:prstGeom prst="rect">
            <a:avLst/>
          </a:prstGeom>
          <a:noFill/>
        </p:spPr>
        <p:txBody>
          <a:bodyPr vert="horz" wrap="none" lIns="0" tIns="0" rIns="0" bIns="0" rtlCol="0" anchor="ctr">
            <a:spAutoFit/>
          </a:bodyPr>
          <a:lstStyle/>
          <a:p>
            <a:pPr algn="r">
              <a:buSzPct val="100000"/>
            </a:pPr>
            <a:r>
              <a:rPr lang="en-US" sz="1100" b="1" dirty="0">
                <a:solidFill>
                  <a:schemeClr val="bg1"/>
                </a:solidFill>
              </a:rPr>
              <a:t>Lorem ipsum dolor</a:t>
            </a:r>
          </a:p>
        </p:txBody>
      </p:sp>
    </p:spTree>
    <p:custDataLst>
      <p:tags r:id="rId1"/>
    </p:custDataLst>
    <p:extLst>
      <p:ext uri="{BB962C8B-B14F-4D97-AF65-F5344CB8AC3E}">
        <p14:creationId xmlns:p14="http://schemas.microsoft.com/office/powerpoint/2010/main" val="103013058"/>
      </p:ext>
    </p:extLst>
  </p:cSld>
  <p:clrMapOvr>
    <a:masterClrMapping/>
  </p:clrMapOvr>
  <p:transition>
    <p:fade/>
  </p:transition>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4"/>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sp>
        <p:nvSpPr>
          <p:cNvPr id="88" name="Rectangle 5"/>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grpSp>
        <p:nvGrpSpPr>
          <p:cNvPr id="47" name="组合 46"/>
          <p:cNvGrpSpPr/>
          <p:nvPr/>
        </p:nvGrpSpPr>
        <p:grpSpPr>
          <a:xfrm>
            <a:off x="4101236" y="1144914"/>
            <a:ext cx="3809813" cy="3798158"/>
            <a:chOff x="4516997" y="1343034"/>
            <a:chExt cx="3882190" cy="3798158"/>
          </a:xfrm>
        </p:grpSpPr>
        <p:grpSp>
          <p:nvGrpSpPr>
            <p:cNvPr id="48" name="组合 47"/>
            <p:cNvGrpSpPr/>
            <p:nvPr/>
          </p:nvGrpSpPr>
          <p:grpSpPr>
            <a:xfrm>
              <a:off x="4516997" y="1343034"/>
              <a:ext cx="3882190" cy="3798158"/>
              <a:chOff x="4516997" y="1343034"/>
              <a:chExt cx="3882190" cy="3798158"/>
            </a:xfrm>
          </p:grpSpPr>
          <p:sp>
            <p:nvSpPr>
              <p:cNvPr id="52" name="等腰三角形 51"/>
              <p:cNvSpPr/>
              <p:nvPr/>
            </p:nvSpPr>
            <p:spPr bwMode="gray">
              <a:xfrm>
                <a:off x="4516997" y="1343034"/>
                <a:ext cx="3882190" cy="3798158"/>
              </a:xfrm>
              <a:prstGeom prst="triangle">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等腰三角形 52"/>
              <p:cNvSpPr>
                <a:spLocks noChangeAspect="1"/>
              </p:cNvSpPr>
              <p:nvPr/>
            </p:nvSpPr>
            <p:spPr bwMode="gray">
              <a:xfrm>
                <a:off x="5190453" y="1343034"/>
                <a:ext cx="2535277" cy="2480400"/>
              </a:xfrm>
              <a:prstGeom prst="triangle">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等腰三角形 53"/>
              <p:cNvSpPr>
                <a:spLocks noChangeAspect="1"/>
              </p:cNvSpPr>
              <p:nvPr/>
            </p:nvSpPr>
            <p:spPr bwMode="gray">
              <a:xfrm>
                <a:off x="5648569" y="1343034"/>
                <a:ext cx="1619045" cy="1584000"/>
              </a:xfrm>
              <a:prstGeom prst="triangle">
                <a:avLst/>
              </a:prstGeom>
              <a:solidFill>
                <a:srgbClr val="A7A8A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49" name="圆角矩形 48"/>
            <p:cNvSpPr/>
            <p:nvPr/>
          </p:nvSpPr>
          <p:spPr bwMode="gray">
            <a:xfrm>
              <a:off x="5215449" y="2275054"/>
              <a:ext cx="2485286" cy="401778"/>
            </a:xfrm>
            <a:prstGeom prst="roundRect">
              <a:avLst/>
            </a:prstGeom>
            <a:noFill/>
            <a:ln w="28575" algn="ctr">
              <a:noFill/>
              <a:miter lim="800000"/>
              <a:headEnd/>
              <a:tailEnd/>
            </a:ln>
          </p:spPr>
          <p:txBody>
            <a:bodyPr wrap="square" lIns="88900" tIns="88900" rIns="88900" bIns="88900" rtlCol="0" anchor="ctr"/>
            <a:lstStyle/>
            <a:p>
              <a:pPr lvl="0" algn="ctr">
                <a:defRPr/>
              </a:pPr>
              <a:r>
                <a:rPr lang="en-US" sz="1400" b="1" kern="0" dirty="0">
                  <a:solidFill>
                    <a:srgbClr val="FFFFFF"/>
                  </a:solidFill>
                  <a:ea typeface="Verdana" panose="020B0604030504040204" pitchFamily="34" charset="0"/>
                  <a:cs typeface="Verdana" panose="020B0604030504040204" pitchFamily="34" charset="0"/>
                </a:rPr>
                <a:t>Lorem </a:t>
              </a:r>
              <a:r>
                <a:rPr lang="en-US" sz="1400" b="1" kern="0" dirty="0" err="1">
                  <a:solidFill>
                    <a:srgbClr val="FFFFFF"/>
                  </a:solidFill>
                  <a:ea typeface="Verdana" panose="020B0604030504040204" pitchFamily="34" charset="0"/>
                  <a:cs typeface="Verdana" panose="020B0604030504040204" pitchFamily="34" charset="0"/>
                </a:rPr>
                <a:t>ipsu</a:t>
              </a:r>
              <a:endParaRPr lang="en-US" sz="1400" b="1" kern="0" dirty="0">
                <a:solidFill>
                  <a:srgbClr val="FFFFFF"/>
                </a:solidFill>
                <a:ea typeface="Verdana" panose="020B0604030504040204" pitchFamily="34" charset="0"/>
                <a:cs typeface="Verdana" panose="020B0604030504040204" pitchFamily="34" charset="0"/>
              </a:endParaRPr>
            </a:p>
          </p:txBody>
        </p:sp>
        <p:sp>
          <p:nvSpPr>
            <p:cNvPr id="50" name="圆角矩形 49"/>
            <p:cNvSpPr/>
            <p:nvPr/>
          </p:nvSpPr>
          <p:spPr bwMode="gray">
            <a:xfrm>
              <a:off x="5215449" y="3163672"/>
              <a:ext cx="2485286" cy="401778"/>
            </a:xfrm>
            <a:prstGeom prst="roundRect">
              <a:avLst/>
            </a:prstGeom>
            <a:noFill/>
            <a:ln w="28575" algn="ctr">
              <a:noFill/>
              <a:miter lim="800000"/>
              <a:headEnd/>
              <a:tailEnd/>
            </a:ln>
          </p:spPr>
          <p:txBody>
            <a:bodyPr wrap="square" lIns="88900" tIns="88900" rIns="88900" bIns="88900" rtlCol="0" anchor="ctr"/>
            <a:lstStyle/>
            <a:p>
              <a:pPr lvl="0" algn="ctr" defTabSz="517739">
                <a:lnSpc>
                  <a:spcPct val="90000"/>
                </a:lnSpc>
                <a:spcBef>
                  <a:spcPct val="0"/>
                </a:spcBef>
                <a:spcAft>
                  <a:spcPct val="35000"/>
                </a:spcAft>
                <a:defRPr/>
              </a:pPr>
              <a:r>
                <a:rPr lang="en-US" sz="1400" b="1" kern="0" dirty="0">
                  <a:solidFill>
                    <a:srgbClr val="FFFFFF"/>
                  </a:solidFill>
                  <a:ea typeface="Verdana" panose="020B0604030504040204" pitchFamily="34" charset="0"/>
                  <a:cs typeface="Verdana" panose="020B0604030504040204" pitchFamily="34" charset="0"/>
                </a:rPr>
                <a:t>Lorem </a:t>
              </a:r>
              <a:r>
                <a:rPr lang="en-US" sz="1400" b="1" kern="0" dirty="0" err="1">
                  <a:solidFill>
                    <a:srgbClr val="FFFFFF"/>
                  </a:solidFill>
                  <a:ea typeface="Verdana" panose="020B0604030504040204" pitchFamily="34" charset="0"/>
                  <a:cs typeface="Verdana" panose="020B0604030504040204" pitchFamily="34" charset="0"/>
                </a:rPr>
                <a:t>ipsu</a:t>
              </a:r>
              <a:endParaRPr lang="en-US" sz="1400" b="1" kern="0" dirty="0">
                <a:solidFill>
                  <a:srgbClr val="FFFFFF"/>
                </a:solidFill>
                <a:ea typeface="Verdana" panose="020B0604030504040204" pitchFamily="34" charset="0"/>
                <a:cs typeface="Verdana" panose="020B0604030504040204" pitchFamily="34" charset="0"/>
              </a:endParaRPr>
            </a:p>
          </p:txBody>
        </p:sp>
        <p:sp>
          <p:nvSpPr>
            <p:cNvPr id="51" name="圆角矩形 50"/>
            <p:cNvSpPr/>
            <p:nvPr/>
          </p:nvSpPr>
          <p:spPr bwMode="gray">
            <a:xfrm>
              <a:off x="5215449" y="4259351"/>
              <a:ext cx="2485286" cy="401778"/>
            </a:xfrm>
            <a:prstGeom prst="roundRect">
              <a:avLst/>
            </a:prstGeom>
            <a:noFill/>
            <a:ln w="28575" algn="ctr">
              <a:noFill/>
              <a:miter lim="800000"/>
              <a:headEnd/>
              <a:tailEnd/>
            </a:ln>
          </p:spPr>
          <p:txBody>
            <a:bodyPr wrap="square" lIns="88900" tIns="88900" rIns="88900" bIns="88900" rtlCol="0" anchor="ctr"/>
            <a:lstStyle/>
            <a:p>
              <a:pPr lvl="0" algn="ctr">
                <a:defRPr/>
              </a:pPr>
              <a:r>
                <a:rPr lang="en-US" sz="1400" b="1" kern="0" dirty="0">
                  <a:solidFill>
                    <a:srgbClr val="FFFFFF"/>
                  </a:solidFill>
                  <a:ea typeface="Verdana" panose="020B0604030504040204" pitchFamily="34" charset="0"/>
                  <a:cs typeface="Verdana" panose="020B0604030504040204" pitchFamily="34" charset="0"/>
                </a:rPr>
                <a:t>Lorem </a:t>
              </a:r>
              <a:r>
                <a:rPr lang="en-US" sz="1400" b="1" kern="0" dirty="0" err="1">
                  <a:solidFill>
                    <a:srgbClr val="FFFFFF"/>
                  </a:solidFill>
                  <a:ea typeface="Verdana" panose="020B0604030504040204" pitchFamily="34" charset="0"/>
                  <a:cs typeface="Verdana" panose="020B0604030504040204" pitchFamily="34" charset="0"/>
                </a:rPr>
                <a:t>ipsu</a:t>
              </a:r>
              <a:endParaRPr lang="en-US" sz="1400" b="1" kern="0" dirty="0">
                <a:solidFill>
                  <a:srgbClr val="FFFFFF"/>
                </a:solidFill>
                <a:ea typeface="Verdana" panose="020B0604030504040204" pitchFamily="34" charset="0"/>
                <a:cs typeface="Verdana" panose="020B0604030504040204" pitchFamily="34" charset="0"/>
              </a:endParaRPr>
            </a:p>
          </p:txBody>
        </p:sp>
      </p:grpSp>
      <p:grpSp>
        <p:nvGrpSpPr>
          <p:cNvPr id="256" name="组合 255"/>
          <p:cNvGrpSpPr/>
          <p:nvPr/>
        </p:nvGrpSpPr>
        <p:grpSpPr>
          <a:xfrm>
            <a:off x="7933760" y="1163579"/>
            <a:ext cx="3777626" cy="1906854"/>
            <a:chOff x="7933760" y="1430279"/>
            <a:chExt cx="3777626" cy="1906854"/>
          </a:xfrm>
        </p:grpSpPr>
        <p:sp>
          <p:nvSpPr>
            <p:cNvPr id="65" name="Rounded Rectangle 247"/>
            <p:cNvSpPr/>
            <p:nvPr/>
          </p:nvSpPr>
          <p:spPr bwMode="gray">
            <a:xfrm>
              <a:off x="7933760" y="1430279"/>
              <a:ext cx="3776593" cy="129600"/>
            </a:xfrm>
            <a:prstGeom prst="roundRect">
              <a:avLst>
                <a:gd name="adj" fmla="val 18343"/>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7" name="Rounded Rectangle 249"/>
            <p:cNvSpPr/>
            <p:nvPr/>
          </p:nvSpPr>
          <p:spPr bwMode="gray">
            <a:xfrm>
              <a:off x="7933941" y="1621748"/>
              <a:ext cx="3777445" cy="1715385"/>
            </a:xfrm>
            <a:prstGeom prst="roundRect">
              <a:avLst>
                <a:gd name="adj" fmla="val 3660"/>
              </a:avLst>
            </a:prstGeom>
            <a:noFill/>
            <a:ln w="28575" algn="ctr">
              <a:solidFill>
                <a:srgbClr val="86BC25"/>
              </a:solidFill>
              <a:miter lim="800000"/>
              <a:headEnd/>
              <a:tailEnd/>
            </a:ln>
          </p:spPr>
          <p:txBody>
            <a:bodyPr wrap="square" lIns="88900" tIns="144000" rIns="88900" bIns="90000" rtlCol="0" anchor="t" anchorCtr="0">
              <a:spAutoFit/>
            </a:bodyPr>
            <a:lstStyle/>
            <a:p>
              <a:pPr marL="180000" indent="-180000">
                <a:spcAft>
                  <a:spcPts val="1200"/>
                </a:spcAft>
                <a:buFont typeface="Arial" panose="020B060402020202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r>
                <a:rPr lang="en-US" sz="1400" dirty="0">
                  <a:solidFill>
                    <a:srgbClr val="FFFFFF"/>
                  </a:solidFill>
                </a:rPr>
                <a:t>:</a:t>
              </a: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p:txBody>
        </p:sp>
        <p:grpSp>
          <p:nvGrpSpPr>
            <p:cNvPr id="22" name="组合 21"/>
            <p:cNvGrpSpPr/>
            <p:nvPr/>
          </p:nvGrpSpPr>
          <p:grpSpPr>
            <a:xfrm>
              <a:off x="8247532" y="1463916"/>
              <a:ext cx="3171215" cy="265593"/>
              <a:chOff x="8247532" y="1463916"/>
              <a:chExt cx="3171215" cy="265593"/>
            </a:xfrm>
          </p:grpSpPr>
          <p:grpSp>
            <p:nvGrpSpPr>
              <p:cNvPr id="114" name="组合 113"/>
              <p:cNvGrpSpPr/>
              <p:nvPr/>
            </p:nvGrpSpPr>
            <p:grpSpPr>
              <a:xfrm>
                <a:off x="8247532" y="1463916"/>
                <a:ext cx="93859" cy="265593"/>
                <a:chOff x="7219305" y="3201743"/>
                <a:chExt cx="113352" cy="320752"/>
              </a:xfrm>
            </p:grpSpPr>
            <p:sp>
              <p:nvSpPr>
                <p:cNvPr id="123"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4"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5"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15" name="组合 114"/>
              <p:cNvGrpSpPr/>
              <p:nvPr/>
            </p:nvGrpSpPr>
            <p:grpSpPr>
              <a:xfrm>
                <a:off x="9016871" y="1463916"/>
                <a:ext cx="93859" cy="265593"/>
                <a:chOff x="7219305" y="3201743"/>
                <a:chExt cx="113352" cy="320752"/>
              </a:xfrm>
            </p:grpSpPr>
            <p:sp>
              <p:nvSpPr>
                <p:cNvPr id="120"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1"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2"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16" name="组合 115"/>
              <p:cNvGrpSpPr/>
              <p:nvPr/>
            </p:nvGrpSpPr>
            <p:grpSpPr>
              <a:xfrm>
                <a:off x="9786210" y="1463916"/>
                <a:ext cx="93859" cy="265593"/>
                <a:chOff x="7219305" y="3201743"/>
                <a:chExt cx="113352" cy="320752"/>
              </a:xfrm>
            </p:grpSpPr>
            <p:sp>
              <p:nvSpPr>
                <p:cNvPr id="117"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18"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19"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26" name="组合 125"/>
              <p:cNvGrpSpPr/>
              <p:nvPr/>
            </p:nvGrpSpPr>
            <p:grpSpPr>
              <a:xfrm>
                <a:off x="10555549" y="1463916"/>
                <a:ext cx="93859" cy="265593"/>
                <a:chOff x="7219305" y="3201743"/>
                <a:chExt cx="113352" cy="320752"/>
              </a:xfrm>
            </p:grpSpPr>
            <p:sp>
              <p:nvSpPr>
                <p:cNvPr id="127"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8"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9"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30" name="组合 129"/>
              <p:cNvGrpSpPr/>
              <p:nvPr/>
            </p:nvGrpSpPr>
            <p:grpSpPr>
              <a:xfrm>
                <a:off x="11324888" y="1463916"/>
                <a:ext cx="93859" cy="265593"/>
                <a:chOff x="7219305" y="3201743"/>
                <a:chExt cx="113352" cy="320752"/>
              </a:xfrm>
            </p:grpSpPr>
            <p:sp>
              <p:nvSpPr>
                <p:cNvPr id="131"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32"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33"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grpSp>
      <p:cxnSp>
        <p:nvCxnSpPr>
          <p:cNvPr id="31" name="肘形连接符 30"/>
          <p:cNvCxnSpPr/>
          <p:nvPr/>
        </p:nvCxnSpPr>
        <p:spPr>
          <a:xfrm rot="5400000">
            <a:off x="7057500" y="4014497"/>
            <a:ext cx="2088000" cy="180000"/>
          </a:xfrm>
          <a:prstGeom prst="bentConnector3">
            <a:avLst>
              <a:gd name="adj1" fmla="val 100059"/>
            </a:avLst>
          </a:prstGeom>
          <a:ln w="28575">
            <a:solidFill>
              <a:srgbClr val="86BC25"/>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65" name="组合 264"/>
          <p:cNvGrpSpPr/>
          <p:nvPr/>
        </p:nvGrpSpPr>
        <p:grpSpPr>
          <a:xfrm>
            <a:off x="8442960" y="4038038"/>
            <a:ext cx="3275999" cy="1905672"/>
            <a:chOff x="8442960" y="4377699"/>
            <a:chExt cx="3275999" cy="1732015"/>
          </a:xfrm>
        </p:grpSpPr>
        <p:sp>
          <p:nvSpPr>
            <p:cNvPr id="170" name="Rounded Rectangle 247"/>
            <p:cNvSpPr/>
            <p:nvPr/>
          </p:nvSpPr>
          <p:spPr bwMode="gray">
            <a:xfrm>
              <a:off x="8442960" y="4377699"/>
              <a:ext cx="3275999" cy="117790"/>
            </a:xfrm>
            <a:prstGeom prst="roundRect">
              <a:avLst>
                <a:gd name="adj" fmla="val 18343"/>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8" name="Rounded Rectangle 249"/>
            <p:cNvSpPr/>
            <p:nvPr/>
          </p:nvSpPr>
          <p:spPr bwMode="gray">
            <a:xfrm>
              <a:off x="8442960" y="4550646"/>
              <a:ext cx="3274181" cy="1559068"/>
            </a:xfrm>
            <a:prstGeom prst="roundRect">
              <a:avLst>
                <a:gd name="adj" fmla="val 3660"/>
              </a:avLst>
            </a:prstGeom>
            <a:noFill/>
            <a:ln w="28575" algn="ctr">
              <a:solidFill>
                <a:srgbClr val="00A3E0"/>
              </a:solidFill>
              <a:miter lim="800000"/>
              <a:headEnd/>
              <a:tailEnd/>
            </a:ln>
          </p:spPr>
          <p:txBody>
            <a:bodyPr wrap="square" lIns="88900" tIns="144000" rIns="88900" bIns="90000" rtlCol="0" anchor="t" anchorCtr="0">
              <a:spAutoFit/>
            </a:bodyPr>
            <a:lstStyle/>
            <a:p>
              <a:pPr marL="180000" indent="-180000">
                <a:spcAft>
                  <a:spcPts val="1200"/>
                </a:spcAft>
                <a:buFont typeface="Arial" panose="020B060402020202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r>
                <a:rPr lang="en-US" sz="1400" dirty="0">
                  <a:solidFill>
                    <a:srgbClr val="FFFFFF"/>
                  </a:solidFill>
                </a:rPr>
                <a:t>:</a:t>
              </a: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p:txBody>
        </p:sp>
        <p:grpSp>
          <p:nvGrpSpPr>
            <p:cNvPr id="151" name="组合 150"/>
            <p:cNvGrpSpPr/>
            <p:nvPr/>
          </p:nvGrpSpPr>
          <p:grpSpPr>
            <a:xfrm>
              <a:off x="9022626" y="4392813"/>
              <a:ext cx="93859" cy="265593"/>
              <a:chOff x="7219305" y="3201743"/>
              <a:chExt cx="113352" cy="320752"/>
            </a:xfrm>
          </p:grpSpPr>
          <p:sp>
            <p:nvSpPr>
              <p:cNvPr id="164"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65"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66"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52" name="组合 151"/>
            <p:cNvGrpSpPr/>
            <p:nvPr/>
          </p:nvGrpSpPr>
          <p:grpSpPr>
            <a:xfrm>
              <a:off x="9791965" y="4392813"/>
              <a:ext cx="93859" cy="265593"/>
              <a:chOff x="7219305" y="3201743"/>
              <a:chExt cx="113352" cy="320752"/>
            </a:xfrm>
          </p:grpSpPr>
          <p:sp>
            <p:nvSpPr>
              <p:cNvPr id="161"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62"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63"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53" name="组合 152"/>
            <p:cNvGrpSpPr/>
            <p:nvPr/>
          </p:nvGrpSpPr>
          <p:grpSpPr>
            <a:xfrm>
              <a:off x="10561304" y="4392813"/>
              <a:ext cx="93859" cy="265593"/>
              <a:chOff x="7219305" y="3201743"/>
              <a:chExt cx="113352" cy="320752"/>
            </a:xfrm>
          </p:grpSpPr>
          <p:sp>
            <p:nvSpPr>
              <p:cNvPr id="158"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59"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60"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54" name="组合 153"/>
            <p:cNvGrpSpPr/>
            <p:nvPr/>
          </p:nvGrpSpPr>
          <p:grpSpPr>
            <a:xfrm>
              <a:off x="11330643" y="4392813"/>
              <a:ext cx="93859" cy="265593"/>
              <a:chOff x="7219305" y="3201743"/>
              <a:chExt cx="113352" cy="320752"/>
            </a:xfrm>
          </p:grpSpPr>
          <p:sp>
            <p:nvSpPr>
              <p:cNvPr id="155"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56"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57"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cxnSp>
        <p:nvCxnSpPr>
          <p:cNvPr id="267" name="直接连接符 266"/>
          <p:cNvCxnSpPr/>
          <p:nvPr/>
        </p:nvCxnSpPr>
        <p:spPr>
          <a:xfrm flipV="1">
            <a:off x="8010109" y="5783580"/>
            <a:ext cx="432000" cy="1603"/>
          </a:xfrm>
          <a:prstGeom prst="line">
            <a:avLst/>
          </a:prstGeom>
          <a:ln w="28575">
            <a:solidFill>
              <a:srgbClr val="00A3E0"/>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03" name="组合 202"/>
          <p:cNvGrpSpPr/>
          <p:nvPr/>
        </p:nvGrpSpPr>
        <p:grpSpPr>
          <a:xfrm>
            <a:off x="480373" y="2287650"/>
            <a:ext cx="3275999" cy="2777616"/>
            <a:chOff x="8442960" y="4366857"/>
            <a:chExt cx="3275999" cy="2777616"/>
          </a:xfrm>
        </p:grpSpPr>
        <p:sp>
          <p:nvSpPr>
            <p:cNvPr id="222" name="Rounded Rectangle 247"/>
            <p:cNvSpPr/>
            <p:nvPr/>
          </p:nvSpPr>
          <p:spPr bwMode="gray">
            <a:xfrm>
              <a:off x="8442960" y="4366857"/>
              <a:ext cx="3275999" cy="129600"/>
            </a:xfrm>
            <a:prstGeom prst="roundRect">
              <a:avLst>
                <a:gd name="adj" fmla="val 18343"/>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5" name="Rounded Rectangle 249"/>
            <p:cNvSpPr/>
            <p:nvPr/>
          </p:nvSpPr>
          <p:spPr bwMode="gray">
            <a:xfrm>
              <a:off x="8442960" y="4550645"/>
              <a:ext cx="3274181" cy="2593828"/>
            </a:xfrm>
            <a:prstGeom prst="roundRect">
              <a:avLst>
                <a:gd name="adj" fmla="val 3660"/>
              </a:avLst>
            </a:prstGeom>
            <a:noFill/>
            <a:ln w="28575" algn="ctr">
              <a:solidFill>
                <a:srgbClr val="00ABAB"/>
              </a:solidFill>
              <a:miter lim="800000"/>
              <a:headEnd/>
              <a:tailEnd/>
            </a:ln>
          </p:spPr>
          <p:txBody>
            <a:bodyPr wrap="square" lIns="88900" tIns="144000" rIns="88900" bIns="90000" rtlCol="0" anchor="t" anchorCtr="0">
              <a:spAutoFit/>
            </a:bodyPr>
            <a:lstStyle/>
            <a:p>
              <a:pPr marL="180000" indent="-180000">
                <a:spcAft>
                  <a:spcPts val="1200"/>
                </a:spcAft>
                <a:buFont typeface="Arial" panose="020B060402020202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r>
                <a:rPr lang="en-US" sz="1400" dirty="0">
                  <a:solidFill>
                    <a:srgbClr val="FFFFFF"/>
                  </a:solidFill>
                </a:rPr>
                <a:t>:</a:t>
              </a: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p:txBody>
        </p:sp>
        <p:grpSp>
          <p:nvGrpSpPr>
            <p:cNvPr id="206" name="组合 205"/>
            <p:cNvGrpSpPr/>
            <p:nvPr/>
          </p:nvGrpSpPr>
          <p:grpSpPr>
            <a:xfrm>
              <a:off x="9022626" y="4392813"/>
              <a:ext cx="93859" cy="265593"/>
              <a:chOff x="7219305" y="3201743"/>
              <a:chExt cx="113352" cy="320752"/>
            </a:xfrm>
          </p:grpSpPr>
          <p:sp>
            <p:nvSpPr>
              <p:cNvPr id="219"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20"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21"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207" name="组合 206"/>
            <p:cNvGrpSpPr/>
            <p:nvPr/>
          </p:nvGrpSpPr>
          <p:grpSpPr>
            <a:xfrm>
              <a:off x="9791965" y="4392813"/>
              <a:ext cx="93859" cy="265593"/>
              <a:chOff x="7219305" y="3201743"/>
              <a:chExt cx="113352" cy="320752"/>
            </a:xfrm>
          </p:grpSpPr>
          <p:sp>
            <p:nvSpPr>
              <p:cNvPr id="216"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7"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8"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208" name="组合 207"/>
            <p:cNvGrpSpPr/>
            <p:nvPr/>
          </p:nvGrpSpPr>
          <p:grpSpPr>
            <a:xfrm>
              <a:off x="10561304" y="4392813"/>
              <a:ext cx="93859" cy="265593"/>
              <a:chOff x="7219305" y="3201743"/>
              <a:chExt cx="113352" cy="320752"/>
            </a:xfrm>
          </p:grpSpPr>
          <p:sp>
            <p:nvSpPr>
              <p:cNvPr id="213"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4"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5"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209" name="组合 208"/>
            <p:cNvGrpSpPr/>
            <p:nvPr/>
          </p:nvGrpSpPr>
          <p:grpSpPr>
            <a:xfrm>
              <a:off x="11330643" y="4392813"/>
              <a:ext cx="93859" cy="265593"/>
              <a:chOff x="7219305" y="3201743"/>
              <a:chExt cx="113352" cy="320752"/>
            </a:xfrm>
          </p:grpSpPr>
          <p:sp>
            <p:nvSpPr>
              <p:cNvPr id="210"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1"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2"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cxnSp>
        <p:nvCxnSpPr>
          <p:cNvPr id="226" name="直接连接符 225"/>
          <p:cNvCxnSpPr/>
          <p:nvPr/>
        </p:nvCxnSpPr>
        <p:spPr>
          <a:xfrm flipV="1">
            <a:off x="3764810" y="5493681"/>
            <a:ext cx="216000" cy="1603"/>
          </a:xfrm>
          <a:prstGeom prst="line">
            <a:avLst/>
          </a:prstGeom>
          <a:ln w="28575">
            <a:solidFill>
              <a:srgbClr val="00ABAB"/>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90" name="组合 89"/>
          <p:cNvGrpSpPr/>
          <p:nvPr/>
        </p:nvGrpSpPr>
        <p:grpSpPr>
          <a:xfrm>
            <a:off x="4101236" y="5012775"/>
            <a:ext cx="3812400" cy="937175"/>
            <a:chOff x="5904523" y="3287403"/>
            <a:chExt cx="2210400" cy="724412"/>
          </a:xfrm>
        </p:grpSpPr>
        <p:sp>
          <p:nvSpPr>
            <p:cNvPr id="91" name="圆角矩形 90"/>
            <p:cNvSpPr/>
            <p:nvPr/>
          </p:nvSpPr>
          <p:spPr bwMode="gray">
            <a:xfrm>
              <a:off x="5904523" y="3287403"/>
              <a:ext cx="2210400" cy="241394"/>
            </a:xfrm>
            <a:prstGeom prst="roundRect">
              <a:avLst>
                <a:gd name="adj" fmla="val 0"/>
              </a:avLst>
            </a:prstGeom>
            <a:solidFill>
              <a:srgbClr val="86BC25"/>
            </a:solidFill>
            <a:ln w="28575" algn="ctr">
              <a:noFill/>
              <a:miter lim="800000"/>
              <a:headEnd/>
              <a:tailEnd/>
            </a:ln>
          </p:spPr>
          <p:txBody>
            <a:bodyPr wrap="square" lIns="88900" tIns="88900" rIns="88900" bIns="88900" rtlCol="0" anchor="ctr"/>
            <a:lstStyle/>
            <a:p>
              <a:pPr lvl="0" algn="ctr">
                <a:defRPr/>
              </a:pPr>
              <a:r>
                <a:rPr lang="en-US" sz="1400" b="1" kern="0" dirty="0">
                  <a:solidFill>
                    <a:srgbClr val="FFFFFF"/>
                  </a:solidFill>
                  <a:ea typeface="Verdana" panose="020B0604030504040204" pitchFamily="34" charset="0"/>
                  <a:cs typeface="Verdana" panose="020B0604030504040204" pitchFamily="34" charset="0"/>
                </a:rPr>
                <a:t>Lorem </a:t>
              </a:r>
              <a:r>
                <a:rPr lang="en-US" sz="1400" b="1" kern="0" dirty="0" err="1">
                  <a:solidFill>
                    <a:srgbClr val="FFFFFF"/>
                  </a:solidFill>
                  <a:ea typeface="Verdana" panose="020B0604030504040204" pitchFamily="34" charset="0"/>
                  <a:cs typeface="Verdana" panose="020B0604030504040204" pitchFamily="34" charset="0"/>
                </a:rPr>
                <a:t>ipsu</a:t>
              </a:r>
              <a:endParaRPr lang="en-US" sz="1400" b="1" kern="0" dirty="0">
                <a:solidFill>
                  <a:srgbClr val="FFFFFF"/>
                </a:solidFill>
                <a:ea typeface="Verdana" panose="020B0604030504040204" pitchFamily="34" charset="0"/>
                <a:cs typeface="Verdana" panose="020B0604030504040204" pitchFamily="34" charset="0"/>
              </a:endParaRPr>
            </a:p>
          </p:txBody>
        </p:sp>
        <p:sp>
          <p:nvSpPr>
            <p:cNvPr id="92" name="圆角矩形 91"/>
            <p:cNvSpPr/>
            <p:nvPr/>
          </p:nvSpPr>
          <p:spPr bwMode="gray">
            <a:xfrm>
              <a:off x="5904523" y="3528855"/>
              <a:ext cx="2210400" cy="241394"/>
            </a:xfrm>
            <a:prstGeom prst="roundRect">
              <a:avLst>
                <a:gd name="adj" fmla="val 0"/>
              </a:avLst>
            </a:prstGeom>
            <a:solidFill>
              <a:srgbClr val="00ABAB"/>
            </a:solidFill>
            <a:ln w="28575"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rgbClr val="FFFFFF"/>
                  </a:solidFill>
                </a:rPr>
                <a:t>Lorem </a:t>
              </a:r>
              <a:r>
                <a:rPr lang="en-US" sz="1400" b="1" dirty="0" err="1">
                  <a:solidFill>
                    <a:srgbClr val="FFFFFF"/>
                  </a:solidFill>
                </a:rPr>
                <a:t>ipsu</a:t>
              </a:r>
              <a:endParaRPr lang="en-US" sz="1400" b="1" dirty="0">
                <a:solidFill>
                  <a:srgbClr val="FFFFFF"/>
                </a:solidFill>
              </a:endParaRPr>
            </a:p>
          </p:txBody>
        </p:sp>
        <p:sp>
          <p:nvSpPr>
            <p:cNvPr id="93" name="圆角矩形 92"/>
            <p:cNvSpPr/>
            <p:nvPr/>
          </p:nvSpPr>
          <p:spPr bwMode="gray">
            <a:xfrm>
              <a:off x="5904523" y="3770421"/>
              <a:ext cx="2210400" cy="241394"/>
            </a:xfrm>
            <a:prstGeom prst="roundRect">
              <a:avLst>
                <a:gd name="adj" fmla="val 0"/>
              </a:avLst>
            </a:prstGeom>
            <a:solidFill>
              <a:srgbClr val="00A3E0"/>
            </a:solidFill>
            <a:ln w="28575" algn="ctr">
              <a:noFill/>
              <a:miter lim="800000"/>
              <a:headEnd/>
              <a:tailEnd/>
            </a:ln>
          </p:spPr>
          <p:txBody>
            <a:bodyPr wrap="square" lIns="88900" tIns="88900" rIns="88900" bIns="88900" rtlCol="0" anchor="ctr"/>
            <a:lstStyle/>
            <a:p>
              <a:pPr lvl="0" algn="ctr">
                <a:defRPr/>
              </a:pPr>
              <a:r>
                <a:rPr lang="en-US" sz="1400" b="1" kern="0" dirty="0">
                  <a:solidFill>
                    <a:srgbClr val="FFFFFF"/>
                  </a:solidFill>
                  <a:ea typeface="Verdana" panose="020B0604030504040204" pitchFamily="34" charset="0"/>
                  <a:cs typeface="Verdana" panose="020B0604030504040204" pitchFamily="34" charset="0"/>
                </a:rPr>
                <a:t>Lorem </a:t>
              </a:r>
              <a:r>
                <a:rPr lang="en-US" sz="1400" b="1" kern="0" dirty="0" err="1">
                  <a:solidFill>
                    <a:srgbClr val="FFFFFF"/>
                  </a:solidFill>
                  <a:ea typeface="Verdana" panose="020B0604030504040204" pitchFamily="34" charset="0"/>
                  <a:cs typeface="Verdana" panose="020B0604030504040204" pitchFamily="34" charset="0"/>
                </a:rPr>
                <a:t>ipsu</a:t>
              </a:r>
              <a:endParaRPr lang="en-US" sz="1400" b="1" kern="0" dirty="0">
                <a:solidFill>
                  <a:srgbClr val="FFFFFF"/>
                </a:solidFill>
                <a:ea typeface="Verdana" panose="020B0604030504040204" pitchFamily="34" charset="0"/>
                <a:cs typeface="Verdana" panose="020B0604030504040204" pitchFamily="34" charset="0"/>
              </a:endParaRPr>
            </a:p>
          </p:txBody>
        </p:sp>
      </p:grpSp>
    </p:spTree>
    <p:custDataLst>
      <p:tags r:id="rId1"/>
    </p:custDataLst>
    <p:extLst>
      <p:ext uri="{BB962C8B-B14F-4D97-AF65-F5344CB8AC3E}">
        <p14:creationId xmlns:p14="http://schemas.microsoft.com/office/powerpoint/2010/main" val="385546370"/>
      </p:ext>
    </p:extLst>
  </p:cSld>
  <p:clrMapOvr>
    <a:masterClrMapping/>
  </p:clrMapOvr>
  <p:transition>
    <p:fade/>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Trapezoid 114"/>
          <p:cNvSpPr/>
          <p:nvPr/>
        </p:nvSpPr>
        <p:spPr bwMode="gray">
          <a:xfrm>
            <a:off x="3060322" y="6051452"/>
            <a:ext cx="6246078" cy="323850"/>
          </a:xfrm>
          <a:prstGeom prst="trapezoid">
            <a:avLst>
              <a:gd name="adj" fmla="val 96663"/>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44" name="Trapezoid 43"/>
          <p:cNvSpPr/>
          <p:nvPr/>
        </p:nvSpPr>
        <p:spPr bwMode="gray">
          <a:xfrm>
            <a:off x="3060322" y="5165886"/>
            <a:ext cx="6246078" cy="904617"/>
          </a:xfrm>
          <a:prstGeom prst="trapezoid">
            <a:avLst>
              <a:gd name="adj" fmla="val 183003"/>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31" name="Rectangle 30"/>
          <p:cNvSpPr/>
          <p:nvPr/>
        </p:nvSpPr>
        <p:spPr bwMode="gray">
          <a:xfrm>
            <a:off x="2228851" y="6057901"/>
            <a:ext cx="2260600" cy="31750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b="1" dirty="0">
                <a:solidFill>
                  <a:schemeClr val="bg1"/>
                </a:solidFill>
              </a:rPr>
              <a:t>Lorem </a:t>
            </a:r>
            <a:r>
              <a:rPr lang="en-GB" sz="1200" b="1" dirty="0" err="1">
                <a:solidFill>
                  <a:schemeClr val="bg1"/>
                </a:solidFill>
              </a:rPr>
              <a:t>ipsu</a:t>
            </a:r>
            <a:endParaRPr lang="en-GB" sz="1200" b="1" dirty="0">
              <a:solidFill>
                <a:schemeClr val="bg1"/>
              </a:solidFill>
            </a:endParaRPr>
          </a:p>
        </p:txBody>
      </p:sp>
      <p:sp>
        <p:nvSpPr>
          <p:cNvPr id="113" name="Rectangle 112"/>
          <p:cNvSpPr/>
          <p:nvPr/>
        </p:nvSpPr>
        <p:spPr bwMode="gray">
          <a:xfrm>
            <a:off x="7729882" y="6057901"/>
            <a:ext cx="2260600" cy="3175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b="1" dirty="0">
                <a:solidFill>
                  <a:schemeClr val="bg1"/>
                </a:solidFill>
              </a:rPr>
              <a:t>Lorem </a:t>
            </a:r>
            <a:r>
              <a:rPr lang="en-GB" sz="1200" b="1" dirty="0" err="1">
                <a:solidFill>
                  <a:schemeClr val="bg1"/>
                </a:solidFill>
              </a:rPr>
              <a:t>ipsu</a:t>
            </a:r>
            <a:endParaRPr lang="en-GB" sz="1200" b="1" dirty="0">
              <a:solidFill>
                <a:schemeClr val="bg1"/>
              </a:solidFill>
            </a:endParaRPr>
          </a:p>
        </p:txBody>
      </p:sp>
      <p:sp>
        <p:nvSpPr>
          <p:cNvPr id="114" name="Rectangle 113"/>
          <p:cNvSpPr/>
          <p:nvPr/>
        </p:nvSpPr>
        <p:spPr bwMode="gray">
          <a:xfrm>
            <a:off x="4780868" y="6057901"/>
            <a:ext cx="2616200" cy="317500"/>
          </a:xfrm>
          <a:prstGeom prst="rect">
            <a:avLst/>
          </a:prstGeom>
          <a:solidFill>
            <a:schemeClr val="accent6">
              <a:lumMod val="75000"/>
            </a:schemeClr>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b="1" dirty="0">
                <a:solidFill>
                  <a:schemeClr val="bg1"/>
                </a:solidFill>
              </a:rPr>
              <a:t>Lorem </a:t>
            </a:r>
            <a:r>
              <a:rPr lang="en-GB" sz="1200" b="1" dirty="0" err="1">
                <a:solidFill>
                  <a:schemeClr val="bg1"/>
                </a:solidFill>
              </a:rPr>
              <a:t>ipsu</a:t>
            </a:r>
            <a:endParaRPr lang="en-GB" sz="1200" b="1" dirty="0">
              <a:solidFill>
                <a:schemeClr val="bg1"/>
              </a:solidFill>
            </a:endParaRPr>
          </a:p>
        </p:txBody>
      </p:sp>
      <p:sp>
        <p:nvSpPr>
          <p:cNvPr id="112" name="Rectangle 5"/>
          <p:cNvSpPr/>
          <p:nvPr/>
        </p:nvSpPr>
        <p:spPr bwMode="gray">
          <a:xfrm flipH="1">
            <a:off x="6901240" y="5167496"/>
            <a:ext cx="3106531" cy="903007"/>
          </a:xfrm>
          <a:custGeom>
            <a:avLst/>
            <a:gdLst>
              <a:gd name="connsiteX0" fmla="*/ 0 w 1099982"/>
              <a:gd name="connsiteY0" fmla="*/ 0 h 956683"/>
              <a:gd name="connsiteX1" fmla="*/ 1099982 w 1099982"/>
              <a:gd name="connsiteY1" fmla="*/ 0 h 956683"/>
              <a:gd name="connsiteX2" fmla="*/ 1099982 w 1099982"/>
              <a:gd name="connsiteY2" fmla="*/ 956683 h 956683"/>
              <a:gd name="connsiteX3" fmla="*/ 0 w 1099982"/>
              <a:gd name="connsiteY3" fmla="*/ 956683 h 956683"/>
              <a:gd name="connsiteX4" fmla="*/ 0 w 1099982"/>
              <a:gd name="connsiteY4" fmla="*/ 0 h 956683"/>
              <a:gd name="connsiteX0" fmla="*/ 2217420 w 3317402"/>
              <a:gd name="connsiteY0" fmla="*/ 0 h 964303"/>
              <a:gd name="connsiteX1" fmla="*/ 3317402 w 3317402"/>
              <a:gd name="connsiteY1" fmla="*/ 0 h 964303"/>
              <a:gd name="connsiteX2" fmla="*/ 3317402 w 3317402"/>
              <a:gd name="connsiteY2" fmla="*/ 956683 h 964303"/>
              <a:gd name="connsiteX3" fmla="*/ 0 w 3317402"/>
              <a:gd name="connsiteY3" fmla="*/ 964303 h 964303"/>
              <a:gd name="connsiteX4" fmla="*/ 2217420 w 3317402"/>
              <a:gd name="connsiteY4" fmla="*/ 0 h 964303"/>
              <a:gd name="connsiteX0" fmla="*/ 2217420 w 3317402"/>
              <a:gd name="connsiteY0" fmla="*/ 0 h 964303"/>
              <a:gd name="connsiteX1" fmla="*/ 3317402 w 3317402"/>
              <a:gd name="connsiteY1" fmla="*/ 0 h 964303"/>
              <a:gd name="connsiteX2" fmla="*/ 2433482 w 3317402"/>
              <a:gd name="connsiteY2" fmla="*/ 949063 h 964303"/>
              <a:gd name="connsiteX3" fmla="*/ 0 w 3317402"/>
              <a:gd name="connsiteY3" fmla="*/ 964303 h 964303"/>
              <a:gd name="connsiteX4" fmla="*/ 2217420 w 3317402"/>
              <a:gd name="connsiteY4" fmla="*/ 0 h 964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7402" h="964303">
                <a:moveTo>
                  <a:pt x="2217420" y="0"/>
                </a:moveTo>
                <a:lnTo>
                  <a:pt x="3317402" y="0"/>
                </a:lnTo>
                <a:lnTo>
                  <a:pt x="2433482" y="949063"/>
                </a:lnTo>
                <a:lnTo>
                  <a:pt x="0" y="964303"/>
                </a:lnTo>
                <a:lnTo>
                  <a:pt x="2217420" y="0"/>
                </a:lnTo>
                <a:close/>
              </a:path>
            </a:pathLst>
          </a:cu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23" name="Trapezoid 22"/>
          <p:cNvSpPr/>
          <p:nvPr/>
        </p:nvSpPr>
        <p:spPr bwMode="gray">
          <a:xfrm>
            <a:off x="4775731" y="5165886"/>
            <a:ext cx="2641218" cy="904617"/>
          </a:xfrm>
          <a:prstGeom prst="trapezoid">
            <a:avLst>
              <a:gd name="adj" fmla="val 88702"/>
            </a:avLst>
          </a:prstGeom>
          <a:solidFill>
            <a:schemeClr val="accent6">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2" name="Pentagon 1"/>
          <p:cNvSpPr/>
          <p:nvPr/>
        </p:nvSpPr>
        <p:spPr bwMode="gray">
          <a:xfrm rot="16200000">
            <a:off x="3941532" y="3783217"/>
            <a:ext cx="1738495" cy="1030061"/>
          </a:xfrm>
          <a:prstGeom prst="homePlate">
            <a:avLst>
              <a:gd name="adj" fmla="val 28547"/>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2400" dirty="0">
                <a:solidFill>
                  <a:schemeClr val="bg1"/>
                </a:solidFill>
              </a:rPr>
              <a:t>Lorem </a:t>
            </a:r>
            <a:r>
              <a:rPr lang="en-US" sz="2400" dirty="0" err="1">
                <a:solidFill>
                  <a:schemeClr val="bg1"/>
                </a:solidFill>
              </a:rPr>
              <a:t>ipsu</a:t>
            </a:r>
            <a:endParaRPr lang="en-GB" sz="1600" dirty="0">
              <a:solidFill>
                <a:schemeClr val="bg1"/>
              </a:solidFill>
            </a:endParaRPr>
          </a:p>
        </p:txBody>
      </p:sp>
      <p:sp>
        <p:nvSpPr>
          <p:cNvPr id="85" name="Pentagon 84"/>
          <p:cNvSpPr/>
          <p:nvPr/>
        </p:nvSpPr>
        <p:spPr bwMode="gray">
          <a:xfrm rot="16200000">
            <a:off x="4834662" y="3390787"/>
            <a:ext cx="2523355" cy="1030061"/>
          </a:xfrm>
          <a:prstGeom prst="homePlate">
            <a:avLst>
              <a:gd name="adj" fmla="val 25588"/>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2800" dirty="0">
                <a:solidFill>
                  <a:schemeClr val="bg1"/>
                </a:solidFill>
              </a:rPr>
              <a:t>Lorem </a:t>
            </a:r>
            <a:r>
              <a:rPr lang="en-US" sz="2800" dirty="0" err="1">
                <a:solidFill>
                  <a:schemeClr val="bg1"/>
                </a:solidFill>
              </a:rPr>
              <a:t>ipsu</a:t>
            </a:r>
            <a:endParaRPr lang="en-GB" sz="1600" dirty="0">
              <a:solidFill>
                <a:schemeClr val="bg1"/>
              </a:solidFill>
            </a:endParaRPr>
          </a:p>
        </p:txBody>
      </p:sp>
      <p:sp>
        <p:nvSpPr>
          <p:cNvPr id="86" name="Pentagon 85"/>
          <p:cNvSpPr/>
          <p:nvPr/>
        </p:nvSpPr>
        <p:spPr bwMode="gray">
          <a:xfrm rot="16200000">
            <a:off x="5780941" y="3016455"/>
            <a:ext cx="3272021" cy="1030061"/>
          </a:xfrm>
          <a:prstGeom prst="homePlate">
            <a:avLst>
              <a:gd name="adj" fmla="val 30026"/>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3200" dirty="0">
                <a:solidFill>
                  <a:schemeClr val="bg1"/>
                </a:solidFill>
              </a:rPr>
              <a:t>Lorem </a:t>
            </a:r>
            <a:r>
              <a:rPr lang="en-US" sz="3200" dirty="0" err="1">
                <a:solidFill>
                  <a:schemeClr val="bg1"/>
                </a:solidFill>
              </a:rPr>
              <a:t>ipsu</a:t>
            </a:r>
            <a:endParaRPr lang="en-GB" sz="1600" dirty="0">
              <a:solidFill>
                <a:schemeClr val="bg1"/>
              </a:solidFill>
            </a:endParaRPr>
          </a:p>
        </p:txBody>
      </p:sp>
      <p:sp>
        <p:nvSpPr>
          <p:cNvPr id="6" name="Rectangle 5"/>
          <p:cNvSpPr/>
          <p:nvPr/>
        </p:nvSpPr>
        <p:spPr bwMode="gray">
          <a:xfrm>
            <a:off x="2219278" y="5167496"/>
            <a:ext cx="3106531" cy="903007"/>
          </a:xfrm>
          <a:custGeom>
            <a:avLst/>
            <a:gdLst>
              <a:gd name="connsiteX0" fmla="*/ 0 w 1099982"/>
              <a:gd name="connsiteY0" fmla="*/ 0 h 956683"/>
              <a:gd name="connsiteX1" fmla="*/ 1099982 w 1099982"/>
              <a:gd name="connsiteY1" fmla="*/ 0 h 956683"/>
              <a:gd name="connsiteX2" fmla="*/ 1099982 w 1099982"/>
              <a:gd name="connsiteY2" fmla="*/ 956683 h 956683"/>
              <a:gd name="connsiteX3" fmla="*/ 0 w 1099982"/>
              <a:gd name="connsiteY3" fmla="*/ 956683 h 956683"/>
              <a:gd name="connsiteX4" fmla="*/ 0 w 1099982"/>
              <a:gd name="connsiteY4" fmla="*/ 0 h 956683"/>
              <a:gd name="connsiteX0" fmla="*/ 2217420 w 3317402"/>
              <a:gd name="connsiteY0" fmla="*/ 0 h 964303"/>
              <a:gd name="connsiteX1" fmla="*/ 3317402 w 3317402"/>
              <a:gd name="connsiteY1" fmla="*/ 0 h 964303"/>
              <a:gd name="connsiteX2" fmla="*/ 3317402 w 3317402"/>
              <a:gd name="connsiteY2" fmla="*/ 956683 h 964303"/>
              <a:gd name="connsiteX3" fmla="*/ 0 w 3317402"/>
              <a:gd name="connsiteY3" fmla="*/ 964303 h 964303"/>
              <a:gd name="connsiteX4" fmla="*/ 2217420 w 3317402"/>
              <a:gd name="connsiteY4" fmla="*/ 0 h 964303"/>
              <a:gd name="connsiteX0" fmla="*/ 2217420 w 3317402"/>
              <a:gd name="connsiteY0" fmla="*/ 0 h 964303"/>
              <a:gd name="connsiteX1" fmla="*/ 3317402 w 3317402"/>
              <a:gd name="connsiteY1" fmla="*/ 0 h 964303"/>
              <a:gd name="connsiteX2" fmla="*/ 2433482 w 3317402"/>
              <a:gd name="connsiteY2" fmla="*/ 949063 h 964303"/>
              <a:gd name="connsiteX3" fmla="*/ 0 w 3317402"/>
              <a:gd name="connsiteY3" fmla="*/ 964303 h 964303"/>
              <a:gd name="connsiteX4" fmla="*/ 2217420 w 3317402"/>
              <a:gd name="connsiteY4" fmla="*/ 0 h 964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7402" h="964303">
                <a:moveTo>
                  <a:pt x="2217420" y="0"/>
                </a:moveTo>
                <a:lnTo>
                  <a:pt x="3317402" y="0"/>
                </a:lnTo>
                <a:lnTo>
                  <a:pt x="2433482" y="949063"/>
                </a:lnTo>
                <a:lnTo>
                  <a:pt x="0" y="964303"/>
                </a:lnTo>
                <a:lnTo>
                  <a:pt x="2217420" y="0"/>
                </a:lnTo>
                <a:close/>
              </a:path>
            </a:pathLst>
          </a:cu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51" name="TextBox 50"/>
          <p:cNvSpPr txBox="1"/>
          <p:nvPr/>
        </p:nvSpPr>
        <p:spPr>
          <a:xfrm>
            <a:off x="5013535" y="2753380"/>
            <a:ext cx="399148" cy="276999"/>
          </a:xfrm>
          <a:prstGeom prst="rect">
            <a:avLst/>
          </a:prstGeom>
          <a:noFill/>
        </p:spPr>
        <p:txBody>
          <a:bodyPr wrap="none" lIns="0" tIns="0" rIns="0" bIns="0" rtlCol="0">
            <a:spAutoFit/>
          </a:bodyPr>
          <a:lstStyle/>
          <a:p>
            <a:pPr algn="ctr">
              <a:spcAft>
                <a:spcPts val="1000"/>
              </a:spcAft>
              <a:buSzPct val="100000"/>
            </a:pPr>
            <a:r>
              <a:rPr lang="en-US"/>
              <a:t>23%</a:t>
            </a:r>
            <a:endParaRPr lang="en-GB" err="1"/>
          </a:p>
        </p:txBody>
      </p:sp>
      <p:sp>
        <p:nvSpPr>
          <p:cNvPr id="116" name="TextBox 115"/>
          <p:cNvSpPr txBox="1"/>
          <p:nvPr/>
        </p:nvSpPr>
        <p:spPr>
          <a:xfrm>
            <a:off x="6411795" y="1955565"/>
            <a:ext cx="399148" cy="276999"/>
          </a:xfrm>
          <a:prstGeom prst="rect">
            <a:avLst/>
          </a:prstGeom>
          <a:noFill/>
        </p:spPr>
        <p:txBody>
          <a:bodyPr wrap="none" lIns="0" tIns="0" rIns="0" bIns="0" rtlCol="0">
            <a:spAutoFit/>
          </a:bodyPr>
          <a:lstStyle/>
          <a:p>
            <a:pPr algn="ctr">
              <a:spcAft>
                <a:spcPts val="1000"/>
              </a:spcAft>
              <a:buSzPct val="100000"/>
            </a:pPr>
            <a:r>
              <a:rPr lang="en-US"/>
              <a:t>36%</a:t>
            </a:r>
            <a:endParaRPr lang="en-GB" err="1"/>
          </a:p>
        </p:txBody>
      </p:sp>
      <p:sp>
        <p:nvSpPr>
          <p:cNvPr id="65" name="Striped Right Arrow 64"/>
          <p:cNvSpPr/>
          <p:nvPr/>
        </p:nvSpPr>
        <p:spPr bwMode="gray">
          <a:xfrm rot="19800000">
            <a:off x="5437927" y="2317919"/>
            <a:ext cx="918496" cy="239844"/>
          </a:xfrm>
          <a:prstGeom prst="stripedRightArrow">
            <a:avLst>
              <a:gd name="adj1" fmla="val 69494"/>
              <a:gd name="adj2" fmla="val 68219"/>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69" name="Straight Connector 68"/>
          <p:cNvCxnSpPr/>
          <p:nvPr/>
        </p:nvCxnSpPr>
        <p:spPr>
          <a:xfrm>
            <a:off x="2278380" y="4937760"/>
            <a:ext cx="5913120" cy="0"/>
          </a:xfrm>
          <a:prstGeom prst="line">
            <a:avLst/>
          </a:prstGeom>
          <a:ln>
            <a:solidFill>
              <a:srgbClr val="63666A"/>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26" name="Chevron 125"/>
          <p:cNvSpPr/>
          <p:nvPr/>
        </p:nvSpPr>
        <p:spPr bwMode="gray">
          <a:xfrm>
            <a:off x="3760298" y="4870509"/>
            <a:ext cx="162752" cy="134505"/>
          </a:xfrm>
          <a:prstGeom prst="chevron">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27" name="TextBox 126"/>
          <p:cNvSpPr txBox="1"/>
          <p:nvPr/>
        </p:nvSpPr>
        <p:spPr>
          <a:xfrm>
            <a:off x="2418826" y="4843428"/>
            <a:ext cx="1405353" cy="186205"/>
          </a:xfrm>
          <a:prstGeom prst="rect">
            <a:avLst/>
          </a:prstGeom>
          <a:solidFill>
            <a:schemeClr val="bg1"/>
          </a:solidFill>
        </p:spPr>
        <p:txBody>
          <a:bodyPr wrap="none" lIns="0" tIns="0" rIns="0" bIns="0" rtlCol="0">
            <a:noAutofit/>
          </a:bodyPr>
          <a:lstStyle/>
          <a:p>
            <a:pPr algn="ctr">
              <a:spcAft>
                <a:spcPts val="1000"/>
              </a:spcAft>
              <a:buSzPct val="100000"/>
            </a:pPr>
            <a:r>
              <a:rPr lang="en-US" sz="1000" dirty="0"/>
              <a:t>Lorem </a:t>
            </a:r>
            <a:r>
              <a:rPr lang="en-US" sz="1000" dirty="0" err="1"/>
              <a:t>ipsu</a:t>
            </a:r>
            <a:endParaRPr lang="en-GB" sz="1000" dirty="0"/>
          </a:p>
        </p:txBody>
      </p:sp>
      <p:sp>
        <p:nvSpPr>
          <p:cNvPr id="27" name="Striped Right Arrow 26"/>
          <p:cNvSpPr/>
          <p:nvPr/>
        </p:nvSpPr>
        <p:spPr bwMode="gray">
          <a:xfrm rot="19800000">
            <a:off x="4112218" y="3188347"/>
            <a:ext cx="918496" cy="239844"/>
          </a:xfrm>
          <a:prstGeom prst="stripedRightArrow">
            <a:avLst>
              <a:gd name="adj1" fmla="val 69494"/>
              <a:gd name="adj2" fmla="val 68219"/>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Tree>
    <p:custDataLst>
      <p:tags r:id="rId1"/>
    </p:custDataLst>
    <p:extLst>
      <p:ext uri="{BB962C8B-B14F-4D97-AF65-F5344CB8AC3E}">
        <p14:creationId xmlns:p14="http://schemas.microsoft.com/office/powerpoint/2010/main" val="456390848"/>
      </p:ext>
    </p:extLst>
  </p:cSld>
  <p:clrMapOvr>
    <a:masterClrMapping/>
  </p:clrMapOvr>
  <p:transition>
    <p:fade/>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bwMode="gray">
          <a:xfrm>
            <a:off x="4752115" y="3568180"/>
            <a:ext cx="1501633" cy="1501633"/>
          </a:xfrm>
          <a:prstGeom prst="ellipse">
            <a:avLst/>
          </a:prstGeom>
          <a:noFill/>
          <a:ln w="19050" algn="ctr">
            <a:solidFill>
              <a:srgbClr val="53565A"/>
            </a:solidFill>
            <a:prstDash val="dash"/>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5" name="Oval 4"/>
          <p:cNvSpPr/>
          <p:nvPr/>
        </p:nvSpPr>
        <p:spPr bwMode="gray">
          <a:xfrm>
            <a:off x="4820371" y="3636436"/>
            <a:ext cx="1365121" cy="1365121"/>
          </a:xfrm>
          <a:prstGeom prst="ellipse">
            <a:avLst/>
          </a:prstGeom>
          <a:solidFill>
            <a:schemeClr val="tx1"/>
          </a:solidFill>
          <a:ln w="19050" algn="ctr">
            <a:noFill/>
            <a:miter lim="800000"/>
            <a:headEnd/>
            <a:tailEnd/>
          </a:ln>
        </p:spPr>
        <p:txBody>
          <a:bodyPr wrap="none" lIns="88900" tIns="88900" rIns="88900" bIns="88900" rtlCol="0" anchor="ctr"/>
          <a:lstStyle/>
          <a:p>
            <a:pPr algn="ctr">
              <a:lnSpc>
                <a:spcPct val="106000"/>
              </a:lnSpc>
            </a:pPr>
            <a:r>
              <a:rPr lang="en-US" sz="4000">
                <a:solidFill>
                  <a:schemeClr val="bg1"/>
                </a:solidFill>
              </a:rPr>
              <a:t>210</a:t>
            </a:r>
            <a:endParaRPr lang="en-GB" sz="4000">
              <a:solidFill>
                <a:schemeClr val="bg1"/>
              </a:solidFill>
            </a:endParaRPr>
          </a:p>
        </p:txBody>
      </p:sp>
      <p:grpSp>
        <p:nvGrpSpPr>
          <p:cNvPr id="6" name="Group 5"/>
          <p:cNvGrpSpPr/>
          <p:nvPr/>
        </p:nvGrpSpPr>
        <p:grpSpPr>
          <a:xfrm>
            <a:off x="3424096" y="3665864"/>
            <a:ext cx="5342593" cy="2671385"/>
            <a:chOff x="2410619" y="3649107"/>
            <a:chExt cx="3649063" cy="1824592"/>
          </a:xfrm>
        </p:grpSpPr>
        <p:sp>
          <p:nvSpPr>
            <p:cNvPr id="7" name="Freeform 6"/>
            <p:cNvSpPr/>
            <p:nvPr/>
          </p:nvSpPr>
          <p:spPr bwMode="gray">
            <a:xfrm>
              <a:off x="4226718" y="3888581"/>
              <a:ext cx="573881" cy="826293"/>
            </a:xfrm>
            <a:custGeom>
              <a:avLst/>
              <a:gdLst>
                <a:gd name="connsiteX0" fmla="*/ 0 w 571500"/>
                <a:gd name="connsiteY0" fmla="*/ 0 h 823912"/>
                <a:gd name="connsiteX1" fmla="*/ 4763 w 571500"/>
                <a:gd name="connsiteY1" fmla="*/ 233362 h 823912"/>
                <a:gd name="connsiteX2" fmla="*/ 571500 w 571500"/>
                <a:gd name="connsiteY2" fmla="*/ 823912 h 823912"/>
                <a:gd name="connsiteX3" fmla="*/ 566738 w 571500"/>
                <a:gd name="connsiteY3" fmla="*/ 581025 h 823912"/>
                <a:gd name="connsiteX4" fmla="*/ 0 w 571500"/>
                <a:gd name="connsiteY4" fmla="*/ 0 h 823912"/>
                <a:gd name="connsiteX0" fmla="*/ 457 w 571957"/>
                <a:gd name="connsiteY0" fmla="*/ 0 h 823912"/>
                <a:gd name="connsiteX1" fmla="*/ 458 w 571957"/>
                <a:gd name="connsiteY1" fmla="*/ 230981 h 823912"/>
                <a:gd name="connsiteX2" fmla="*/ 571957 w 571957"/>
                <a:gd name="connsiteY2" fmla="*/ 823912 h 823912"/>
                <a:gd name="connsiteX3" fmla="*/ 567195 w 571957"/>
                <a:gd name="connsiteY3" fmla="*/ 581025 h 823912"/>
                <a:gd name="connsiteX4" fmla="*/ 457 w 571957"/>
                <a:gd name="connsiteY4" fmla="*/ 0 h 823912"/>
                <a:gd name="connsiteX0" fmla="*/ 0 w 573881"/>
                <a:gd name="connsiteY0" fmla="*/ 0 h 826293"/>
                <a:gd name="connsiteX1" fmla="*/ 2382 w 573881"/>
                <a:gd name="connsiteY1" fmla="*/ 233362 h 826293"/>
                <a:gd name="connsiteX2" fmla="*/ 573881 w 573881"/>
                <a:gd name="connsiteY2" fmla="*/ 826293 h 826293"/>
                <a:gd name="connsiteX3" fmla="*/ 569119 w 573881"/>
                <a:gd name="connsiteY3" fmla="*/ 583406 h 826293"/>
                <a:gd name="connsiteX4" fmla="*/ 0 w 573881"/>
                <a:gd name="connsiteY4" fmla="*/ 0 h 826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3881" h="826293">
                  <a:moveTo>
                    <a:pt x="0" y="0"/>
                  </a:moveTo>
                  <a:cubicBezTo>
                    <a:pt x="1588" y="77787"/>
                    <a:pt x="794" y="155575"/>
                    <a:pt x="2382" y="233362"/>
                  </a:cubicBezTo>
                  <a:lnTo>
                    <a:pt x="573881" y="826293"/>
                  </a:lnTo>
                  <a:cubicBezTo>
                    <a:pt x="572294" y="745331"/>
                    <a:pt x="570706" y="664368"/>
                    <a:pt x="569119" y="583406"/>
                  </a:cubicBezTo>
                  <a:lnTo>
                    <a:pt x="0" y="0"/>
                  </a:lnTo>
                  <a:close/>
                </a:path>
              </a:pathLst>
            </a:cu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8" name="Freeform 7"/>
            <p:cNvSpPr/>
            <p:nvPr/>
          </p:nvSpPr>
          <p:spPr bwMode="gray">
            <a:xfrm>
              <a:off x="4225979" y="3653076"/>
              <a:ext cx="1495425" cy="611981"/>
            </a:xfrm>
            <a:custGeom>
              <a:avLst/>
              <a:gdLst>
                <a:gd name="connsiteX0" fmla="*/ 3175 w 1495425"/>
                <a:gd name="connsiteY0" fmla="*/ 0 h 619125"/>
                <a:gd name="connsiteX1" fmla="*/ 1495425 w 1495425"/>
                <a:gd name="connsiteY1" fmla="*/ 371475 h 619125"/>
                <a:gd name="connsiteX2" fmla="*/ 1495425 w 1495425"/>
                <a:gd name="connsiteY2" fmla="*/ 619125 h 619125"/>
                <a:gd name="connsiteX3" fmla="*/ 0 w 1495425"/>
                <a:gd name="connsiteY3" fmla="*/ 241300 h 619125"/>
                <a:gd name="connsiteX4" fmla="*/ 3175 w 1495425"/>
                <a:gd name="connsiteY4" fmla="*/ 0 h 619125"/>
                <a:gd name="connsiteX0" fmla="*/ 794 w 1495425"/>
                <a:gd name="connsiteY0" fmla="*/ 0 h 611981"/>
                <a:gd name="connsiteX1" fmla="*/ 1495425 w 1495425"/>
                <a:gd name="connsiteY1" fmla="*/ 364331 h 611981"/>
                <a:gd name="connsiteX2" fmla="*/ 1495425 w 1495425"/>
                <a:gd name="connsiteY2" fmla="*/ 611981 h 611981"/>
                <a:gd name="connsiteX3" fmla="*/ 0 w 1495425"/>
                <a:gd name="connsiteY3" fmla="*/ 234156 h 611981"/>
                <a:gd name="connsiteX4" fmla="*/ 794 w 1495425"/>
                <a:gd name="connsiteY4" fmla="*/ 0 h 611981"/>
                <a:gd name="connsiteX0" fmla="*/ 794 w 1495425"/>
                <a:gd name="connsiteY0" fmla="*/ 0 h 611981"/>
                <a:gd name="connsiteX1" fmla="*/ 1495425 w 1495425"/>
                <a:gd name="connsiteY1" fmla="*/ 364331 h 611981"/>
                <a:gd name="connsiteX2" fmla="*/ 1495425 w 1495425"/>
                <a:gd name="connsiteY2" fmla="*/ 611981 h 611981"/>
                <a:gd name="connsiteX3" fmla="*/ 0 w 1495425"/>
                <a:gd name="connsiteY3" fmla="*/ 238918 h 611981"/>
                <a:gd name="connsiteX4" fmla="*/ 794 w 1495425"/>
                <a:gd name="connsiteY4" fmla="*/ 0 h 611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5425" h="611981">
                  <a:moveTo>
                    <a:pt x="794" y="0"/>
                  </a:moveTo>
                  <a:lnTo>
                    <a:pt x="1495425" y="364331"/>
                  </a:lnTo>
                  <a:lnTo>
                    <a:pt x="1495425" y="611981"/>
                  </a:lnTo>
                  <a:lnTo>
                    <a:pt x="0" y="238918"/>
                  </a:lnTo>
                  <a:cubicBezTo>
                    <a:pt x="1058" y="158485"/>
                    <a:pt x="-264" y="80433"/>
                    <a:pt x="794" y="0"/>
                  </a:cubicBezTo>
                  <a:close/>
                </a:path>
              </a:pathLst>
            </a:cu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9" name="Freeform 8"/>
            <p:cNvSpPr/>
            <p:nvPr/>
          </p:nvSpPr>
          <p:spPr bwMode="gray">
            <a:xfrm>
              <a:off x="2410619" y="4610100"/>
              <a:ext cx="345281" cy="609600"/>
            </a:xfrm>
            <a:custGeom>
              <a:avLst/>
              <a:gdLst>
                <a:gd name="connsiteX0" fmla="*/ 9525 w 352425"/>
                <a:gd name="connsiteY0" fmla="*/ 0 h 609600"/>
                <a:gd name="connsiteX1" fmla="*/ 0 w 352425"/>
                <a:gd name="connsiteY1" fmla="*/ 276225 h 609600"/>
                <a:gd name="connsiteX2" fmla="*/ 352425 w 352425"/>
                <a:gd name="connsiteY2" fmla="*/ 609600 h 609600"/>
                <a:gd name="connsiteX3" fmla="*/ 352425 w 352425"/>
                <a:gd name="connsiteY3" fmla="*/ 368300 h 609600"/>
                <a:gd name="connsiteX0" fmla="*/ 9525 w 352425"/>
                <a:gd name="connsiteY0" fmla="*/ 0 h 609600"/>
                <a:gd name="connsiteX1" fmla="*/ 0 w 352425"/>
                <a:gd name="connsiteY1" fmla="*/ 276225 h 609600"/>
                <a:gd name="connsiteX2" fmla="*/ 146050 w 352425"/>
                <a:gd name="connsiteY2" fmla="*/ 412750 h 609600"/>
                <a:gd name="connsiteX3" fmla="*/ 352425 w 352425"/>
                <a:gd name="connsiteY3" fmla="*/ 609600 h 609600"/>
                <a:gd name="connsiteX4" fmla="*/ 352425 w 352425"/>
                <a:gd name="connsiteY4" fmla="*/ 368300 h 609600"/>
                <a:gd name="connsiteX0" fmla="*/ 9525 w 352425"/>
                <a:gd name="connsiteY0" fmla="*/ 0 h 609600"/>
                <a:gd name="connsiteX1" fmla="*/ 0 w 352425"/>
                <a:gd name="connsiteY1" fmla="*/ 276225 h 609600"/>
                <a:gd name="connsiteX2" fmla="*/ 114300 w 352425"/>
                <a:gd name="connsiteY2" fmla="*/ 463550 h 609600"/>
                <a:gd name="connsiteX3" fmla="*/ 352425 w 352425"/>
                <a:gd name="connsiteY3" fmla="*/ 609600 h 609600"/>
                <a:gd name="connsiteX4" fmla="*/ 352425 w 352425"/>
                <a:gd name="connsiteY4" fmla="*/ 368300 h 609600"/>
                <a:gd name="connsiteX0" fmla="*/ 9525 w 352425"/>
                <a:gd name="connsiteY0" fmla="*/ 0 h 611197"/>
                <a:gd name="connsiteX1" fmla="*/ 0 w 352425"/>
                <a:gd name="connsiteY1" fmla="*/ 276225 h 611197"/>
                <a:gd name="connsiteX2" fmla="*/ 114300 w 352425"/>
                <a:gd name="connsiteY2" fmla="*/ 463550 h 611197"/>
                <a:gd name="connsiteX3" fmla="*/ 352425 w 352425"/>
                <a:gd name="connsiteY3" fmla="*/ 609600 h 611197"/>
                <a:gd name="connsiteX4" fmla="*/ 352425 w 352425"/>
                <a:gd name="connsiteY4" fmla="*/ 368300 h 611197"/>
                <a:gd name="connsiteX0" fmla="*/ 9525 w 352425"/>
                <a:gd name="connsiteY0" fmla="*/ 0 h 609600"/>
                <a:gd name="connsiteX1" fmla="*/ 0 w 352425"/>
                <a:gd name="connsiteY1" fmla="*/ 276225 h 609600"/>
                <a:gd name="connsiteX2" fmla="*/ 114300 w 352425"/>
                <a:gd name="connsiteY2" fmla="*/ 463550 h 609600"/>
                <a:gd name="connsiteX3" fmla="*/ 352425 w 352425"/>
                <a:gd name="connsiteY3" fmla="*/ 609600 h 609600"/>
                <a:gd name="connsiteX4" fmla="*/ 352425 w 352425"/>
                <a:gd name="connsiteY4" fmla="*/ 368300 h 609600"/>
                <a:gd name="connsiteX0" fmla="*/ 2381 w 345281"/>
                <a:gd name="connsiteY0" fmla="*/ 0 h 609600"/>
                <a:gd name="connsiteX1" fmla="*/ 0 w 345281"/>
                <a:gd name="connsiteY1" fmla="*/ 278606 h 609600"/>
                <a:gd name="connsiteX2" fmla="*/ 107156 w 345281"/>
                <a:gd name="connsiteY2" fmla="*/ 463550 h 609600"/>
                <a:gd name="connsiteX3" fmla="*/ 345281 w 345281"/>
                <a:gd name="connsiteY3" fmla="*/ 609600 h 609600"/>
                <a:gd name="connsiteX4" fmla="*/ 345281 w 345281"/>
                <a:gd name="connsiteY4" fmla="*/ 36830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81" h="609600">
                  <a:moveTo>
                    <a:pt x="2381" y="0"/>
                  </a:moveTo>
                  <a:cubicBezTo>
                    <a:pt x="1587" y="92869"/>
                    <a:pt x="794" y="185737"/>
                    <a:pt x="0" y="278606"/>
                  </a:cubicBezTo>
                  <a:cubicBezTo>
                    <a:pt x="17462" y="355864"/>
                    <a:pt x="49609" y="408384"/>
                    <a:pt x="107156" y="463550"/>
                  </a:cubicBezTo>
                  <a:cubicBezTo>
                    <a:pt x="164703" y="518716"/>
                    <a:pt x="284163" y="584993"/>
                    <a:pt x="345281" y="609600"/>
                  </a:cubicBezTo>
                  <a:lnTo>
                    <a:pt x="345281" y="368300"/>
                  </a:lnTo>
                </a:path>
              </a:pathLst>
            </a:custGeom>
            <a:solidFill>
              <a:srgbClr val="C4D600"/>
            </a:solidFill>
            <a:ln w="31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10" name="Freeform 9"/>
            <p:cNvSpPr/>
            <p:nvPr/>
          </p:nvSpPr>
          <p:spPr bwMode="gray">
            <a:xfrm>
              <a:off x="2413000" y="4556125"/>
              <a:ext cx="1066800" cy="422275"/>
            </a:xfrm>
            <a:custGeom>
              <a:avLst/>
              <a:gdLst>
                <a:gd name="connsiteX0" fmla="*/ 806450 w 806450"/>
                <a:gd name="connsiteY0" fmla="*/ 0 h 365125"/>
                <a:gd name="connsiteX1" fmla="*/ 0 w 806450"/>
                <a:gd name="connsiteY1" fmla="*/ 0 h 365125"/>
                <a:gd name="connsiteX2" fmla="*/ 346075 w 806450"/>
                <a:gd name="connsiteY2" fmla="*/ 365125 h 365125"/>
                <a:gd name="connsiteX3" fmla="*/ 806450 w 806450"/>
                <a:gd name="connsiteY3" fmla="*/ 0 h 365125"/>
                <a:gd name="connsiteX0" fmla="*/ 806450 w 806450"/>
                <a:gd name="connsiteY0" fmla="*/ 0 h 365125"/>
                <a:gd name="connsiteX1" fmla="*/ 0 w 806450"/>
                <a:gd name="connsiteY1" fmla="*/ 0 h 365125"/>
                <a:gd name="connsiteX2" fmla="*/ 168275 w 806450"/>
                <a:gd name="connsiteY2" fmla="*/ 174625 h 365125"/>
                <a:gd name="connsiteX3" fmla="*/ 346075 w 806450"/>
                <a:gd name="connsiteY3" fmla="*/ 365125 h 365125"/>
                <a:gd name="connsiteX4" fmla="*/ 806450 w 806450"/>
                <a:gd name="connsiteY4" fmla="*/ 0 h 365125"/>
                <a:gd name="connsiteX0" fmla="*/ 835373 w 835373"/>
                <a:gd name="connsiteY0" fmla="*/ 0 h 368652"/>
                <a:gd name="connsiteX1" fmla="*/ 28923 w 835373"/>
                <a:gd name="connsiteY1" fmla="*/ 0 h 368652"/>
                <a:gd name="connsiteX2" fmla="*/ 197198 w 835373"/>
                <a:gd name="connsiteY2" fmla="*/ 174625 h 368652"/>
                <a:gd name="connsiteX3" fmla="*/ 374998 w 835373"/>
                <a:gd name="connsiteY3" fmla="*/ 365125 h 368652"/>
                <a:gd name="connsiteX4" fmla="*/ 835373 w 835373"/>
                <a:gd name="connsiteY4" fmla="*/ 0 h 368652"/>
                <a:gd name="connsiteX0" fmla="*/ 843557 w 843557"/>
                <a:gd name="connsiteY0" fmla="*/ 0 h 369582"/>
                <a:gd name="connsiteX1" fmla="*/ 37107 w 843557"/>
                <a:gd name="connsiteY1" fmla="*/ 0 h 369582"/>
                <a:gd name="connsiteX2" fmla="*/ 138707 w 843557"/>
                <a:gd name="connsiteY2" fmla="*/ 212725 h 369582"/>
                <a:gd name="connsiteX3" fmla="*/ 383182 w 843557"/>
                <a:gd name="connsiteY3" fmla="*/ 365125 h 369582"/>
                <a:gd name="connsiteX4" fmla="*/ 843557 w 843557"/>
                <a:gd name="connsiteY4" fmla="*/ 0 h 369582"/>
                <a:gd name="connsiteX0" fmla="*/ 843557 w 843557"/>
                <a:gd name="connsiteY0" fmla="*/ 0 h 365125"/>
                <a:gd name="connsiteX1" fmla="*/ 37107 w 843557"/>
                <a:gd name="connsiteY1" fmla="*/ 0 h 365125"/>
                <a:gd name="connsiteX2" fmla="*/ 138707 w 843557"/>
                <a:gd name="connsiteY2" fmla="*/ 212725 h 365125"/>
                <a:gd name="connsiteX3" fmla="*/ 383182 w 843557"/>
                <a:gd name="connsiteY3" fmla="*/ 365125 h 365125"/>
                <a:gd name="connsiteX4" fmla="*/ 843557 w 843557"/>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1066800 w 1066800"/>
                <a:gd name="connsiteY0" fmla="*/ 0 h 422275"/>
                <a:gd name="connsiteX1" fmla="*/ 0 w 1066800"/>
                <a:gd name="connsiteY1" fmla="*/ 57150 h 422275"/>
                <a:gd name="connsiteX2" fmla="*/ 101600 w 1066800"/>
                <a:gd name="connsiteY2" fmla="*/ 269875 h 422275"/>
                <a:gd name="connsiteX3" fmla="*/ 346075 w 1066800"/>
                <a:gd name="connsiteY3" fmla="*/ 422275 h 422275"/>
                <a:gd name="connsiteX4" fmla="*/ 1066800 w 1066800"/>
                <a:gd name="connsiteY4" fmla="*/ 0 h 42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0" h="422275">
                  <a:moveTo>
                    <a:pt x="1066800" y="0"/>
                  </a:moveTo>
                  <a:lnTo>
                    <a:pt x="0" y="57150"/>
                  </a:lnTo>
                  <a:cubicBezTo>
                    <a:pt x="23813" y="191029"/>
                    <a:pt x="68527" y="228864"/>
                    <a:pt x="101600" y="269875"/>
                  </a:cubicBezTo>
                  <a:cubicBezTo>
                    <a:pt x="134673" y="310886"/>
                    <a:pt x="239713" y="375973"/>
                    <a:pt x="346075" y="422275"/>
                  </a:cubicBezTo>
                  <a:lnTo>
                    <a:pt x="1066800" y="0"/>
                  </a:lnTo>
                  <a:close/>
                </a:path>
              </a:pathLst>
            </a:custGeom>
            <a:solidFill>
              <a:srgbClr val="E3E48D"/>
            </a:solidFill>
            <a:ln w="3175" cap="sq" algn="ctr">
              <a:solidFill>
                <a:schemeClr val="accent1"/>
              </a:solidFill>
              <a:round/>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1" name="Freeform 10"/>
            <p:cNvSpPr/>
            <p:nvPr/>
          </p:nvSpPr>
          <p:spPr bwMode="gray">
            <a:xfrm>
              <a:off x="4793392" y="4255032"/>
              <a:ext cx="918433" cy="1193800"/>
            </a:xfrm>
            <a:custGeom>
              <a:avLst/>
              <a:gdLst>
                <a:gd name="connsiteX0" fmla="*/ 904875 w 911225"/>
                <a:gd name="connsiteY0" fmla="*/ 0 h 1193800"/>
                <a:gd name="connsiteX1" fmla="*/ 911225 w 911225"/>
                <a:gd name="connsiteY1" fmla="*/ 965200 h 1193800"/>
                <a:gd name="connsiteX2" fmla="*/ 0 w 911225"/>
                <a:gd name="connsiteY2" fmla="*/ 1193800 h 1193800"/>
                <a:gd name="connsiteX0" fmla="*/ 904875 w 911225"/>
                <a:gd name="connsiteY0" fmla="*/ 0 h 1193800"/>
                <a:gd name="connsiteX1" fmla="*/ 911225 w 911225"/>
                <a:gd name="connsiteY1" fmla="*/ 965200 h 1193800"/>
                <a:gd name="connsiteX2" fmla="*/ 549275 w 911225"/>
                <a:gd name="connsiteY2" fmla="*/ 1054100 h 1193800"/>
                <a:gd name="connsiteX3" fmla="*/ 0 w 911225"/>
                <a:gd name="connsiteY3" fmla="*/ 1193800 h 1193800"/>
                <a:gd name="connsiteX0" fmla="*/ 904875 w 911225"/>
                <a:gd name="connsiteY0" fmla="*/ 0 h 1193800"/>
                <a:gd name="connsiteX1" fmla="*/ 911225 w 911225"/>
                <a:gd name="connsiteY1" fmla="*/ 965200 h 1193800"/>
                <a:gd name="connsiteX2" fmla="*/ 558800 w 911225"/>
                <a:gd name="connsiteY2" fmla="*/ 1089025 h 1193800"/>
                <a:gd name="connsiteX3" fmla="*/ 0 w 911225"/>
                <a:gd name="connsiteY3" fmla="*/ 1193800 h 1193800"/>
                <a:gd name="connsiteX0" fmla="*/ 904875 w 911225"/>
                <a:gd name="connsiteY0" fmla="*/ 0 h 1193800"/>
                <a:gd name="connsiteX1" fmla="*/ 911225 w 911225"/>
                <a:gd name="connsiteY1" fmla="*/ 965200 h 1193800"/>
                <a:gd name="connsiteX2" fmla="*/ 558800 w 911225"/>
                <a:gd name="connsiteY2" fmla="*/ 1089025 h 1193800"/>
                <a:gd name="connsiteX3" fmla="*/ 0 w 911225"/>
                <a:gd name="connsiteY3" fmla="*/ 1193800 h 1193800"/>
                <a:gd name="connsiteX0" fmla="*/ 904875 w 911225"/>
                <a:gd name="connsiteY0" fmla="*/ 0 h 1193800"/>
                <a:gd name="connsiteX1" fmla="*/ 911225 w 911225"/>
                <a:gd name="connsiteY1" fmla="*/ 965200 h 1193800"/>
                <a:gd name="connsiteX2" fmla="*/ 558800 w 911225"/>
                <a:gd name="connsiteY2" fmla="*/ 1089025 h 1193800"/>
                <a:gd name="connsiteX3" fmla="*/ 0 w 911225"/>
                <a:gd name="connsiteY3" fmla="*/ 1193800 h 1193800"/>
                <a:gd name="connsiteX0" fmla="*/ 904875 w 911225"/>
                <a:gd name="connsiteY0" fmla="*/ 0 h 1193800"/>
                <a:gd name="connsiteX1" fmla="*/ 911225 w 911225"/>
                <a:gd name="connsiteY1" fmla="*/ 965200 h 1193800"/>
                <a:gd name="connsiteX2" fmla="*/ 558800 w 911225"/>
                <a:gd name="connsiteY2" fmla="*/ 1089025 h 1193800"/>
                <a:gd name="connsiteX3" fmla="*/ 0 w 911225"/>
                <a:gd name="connsiteY3" fmla="*/ 1193800 h 1193800"/>
                <a:gd name="connsiteX0" fmla="*/ 945367 w 951717"/>
                <a:gd name="connsiteY0" fmla="*/ 0 h 1201561"/>
                <a:gd name="connsiteX1" fmla="*/ 951717 w 951717"/>
                <a:gd name="connsiteY1" fmla="*/ 965200 h 1201561"/>
                <a:gd name="connsiteX2" fmla="*/ 599292 w 951717"/>
                <a:gd name="connsiteY2" fmla="*/ 1089025 h 1201561"/>
                <a:gd name="connsiteX3" fmla="*/ 40492 w 951717"/>
                <a:gd name="connsiteY3" fmla="*/ 1193800 h 1201561"/>
                <a:gd name="connsiteX4" fmla="*/ 43667 w 951717"/>
                <a:gd name="connsiteY4" fmla="*/ 1193800 h 1201561"/>
                <a:gd name="connsiteX0" fmla="*/ 947024 w 953374"/>
                <a:gd name="connsiteY0" fmla="*/ 0 h 1194033"/>
                <a:gd name="connsiteX1" fmla="*/ 953374 w 953374"/>
                <a:gd name="connsiteY1" fmla="*/ 965200 h 1194033"/>
                <a:gd name="connsiteX2" fmla="*/ 600949 w 953374"/>
                <a:gd name="connsiteY2" fmla="*/ 1089025 h 1194033"/>
                <a:gd name="connsiteX3" fmla="*/ 42149 w 953374"/>
                <a:gd name="connsiteY3" fmla="*/ 1193800 h 1194033"/>
                <a:gd name="connsiteX4" fmla="*/ 38974 w 953374"/>
                <a:gd name="connsiteY4" fmla="*/ 241300 h 1194033"/>
                <a:gd name="connsiteX0" fmla="*/ 908524 w 914874"/>
                <a:gd name="connsiteY0" fmla="*/ 0 h 1193800"/>
                <a:gd name="connsiteX1" fmla="*/ 914874 w 914874"/>
                <a:gd name="connsiteY1" fmla="*/ 965200 h 1193800"/>
                <a:gd name="connsiteX2" fmla="*/ 562449 w 914874"/>
                <a:gd name="connsiteY2" fmla="*/ 1089025 h 1193800"/>
                <a:gd name="connsiteX3" fmla="*/ 3649 w 914874"/>
                <a:gd name="connsiteY3" fmla="*/ 1193800 h 1193800"/>
                <a:gd name="connsiteX4" fmla="*/ 474 w 914874"/>
                <a:gd name="connsiteY4" fmla="*/ 241300 h 1193800"/>
                <a:gd name="connsiteX0" fmla="*/ 908524 w 914874"/>
                <a:gd name="connsiteY0" fmla="*/ 0 h 1193800"/>
                <a:gd name="connsiteX1" fmla="*/ 914874 w 914874"/>
                <a:gd name="connsiteY1" fmla="*/ 965200 h 1193800"/>
                <a:gd name="connsiteX2" fmla="*/ 562449 w 914874"/>
                <a:gd name="connsiteY2" fmla="*/ 1089025 h 1193800"/>
                <a:gd name="connsiteX3" fmla="*/ 3649 w 914874"/>
                <a:gd name="connsiteY3" fmla="*/ 1193800 h 1193800"/>
                <a:gd name="connsiteX4" fmla="*/ 474 w 914874"/>
                <a:gd name="connsiteY4" fmla="*/ 217487 h 1193800"/>
                <a:gd name="connsiteX0" fmla="*/ 918049 w 918433"/>
                <a:gd name="connsiteY0" fmla="*/ 0 h 1193800"/>
                <a:gd name="connsiteX1" fmla="*/ 914874 w 918433"/>
                <a:gd name="connsiteY1" fmla="*/ 965200 h 1193800"/>
                <a:gd name="connsiteX2" fmla="*/ 562449 w 918433"/>
                <a:gd name="connsiteY2" fmla="*/ 1089025 h 1193800"/>
                <a:gd name="connsiteX3" fmla="*/ 3649 w 918433"/>
                <a:gd name="connsiteY3" fmla="*/ 1193800 h 1193800"/>
                <a:gd name="connsiteX4" fmla="*/ 474 w 918433"/>
                <a:gd name="connsiteY4" fmla="*/ 217487 h 1193800"/>
                <a:gd name="connsiteX0" fmla="*/ 918049 w 918433"/>
                <a:gd name="connsiteY0" fmla="*/ 0 h 1193800"/>
                <a:gd name="connsiteX1" fmla="*/ 914874 w 918433"/>
                <a:gd name="connsiteY1" fmla="*/ 965200 h 1193800"/>
                <a:gd name="connsiteX2" fmla="*/ 562449 w 918433"/>
                <a:gd name="connsiteY2" fmla="*/ 1089025 h 1193800"/>
                <a:gd name="connsiteX3" fmla="*/ 3649 w 918433"/>
                <a:gd name="connsiteY3" fmla="*/ 1193800 h 1193800"/>
                <a:gd name="connsiteX4" fmla="*/ 474 w 918433"/>
                <a:gd name="connsiteY4" fmla="*/ 217487 h 1193800"/>
                <a:gd name="connsiteX0" fmla="*/ 918049 w 918433"/>
                <a:gd name="connsiteY0" fmla="*/ 0 h 1193800"/>
                <a:gd name="connsiteX1" fmla="*/ 914874 w 918433"/>
                <a:gd name="connsiteY1" fmla="*/ 965200 h 1193800"/>
                <a:gd name="connsiteX2" fmla="*/ 562449 w 918433"/>
                <a:gd name="connsiteY2" fmla="*/ 1089025 h 1193800"/>
                <a:gd name="connsiteX3" fmla="*/ 3649 w 918433"/>
                <a:gd name="connsiteY3" fmla="*/ 1193800 h 1193800"/>
                <a:gd name="connsiteX4" fmla="*/ 474 w 918433"/>
                <a:gd name="connsiteY4" fmla="*/ 217487 h 1193800"/>
                <a:gd name="connsiteX0" fmla="*/ 918049 w 918433"/>
                <a:gd name="connsiteY0" fmla="*/ 0 h 1193800"/>
                <a:gd name="connsiteX1" fmla="*/ 914874 w 918433"/>
                <a:gd name="connsiteY1" fmla="*/ 965200 h 1193800"/>
                <a:gd name="connsiteX2" fmla="*/ 562449 w 918433"/>
                <a:gd name="connsiteY2" fmla="*/ 1089025 h 1193800"/>
                <a:gd name="connsiteX3" fmla="*/ 3649 w 918433"/>
                <a:gd name="connsiteY3" fmla="*/ 1193800 h 1193800"/>
                <a:gd name="connsiteX4" fmla="*/ 474 w 918433"/>
                <a:gd name="connsiteY4" fmla="*/ 217487 h 119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33" h="1193800">
                  <a:moveTo>
                    <a:pt x="918049" y="0"/>
                  </a:moveTo>
                  <a:cubicBezTo>
                    <a:pt x="920166" y="321733"/>
                    <a:pt x="912757" y="643467"/>
                    <a:pt x="914874" y="965200"/>
                  </a:cubicBezTo>
                  <a:cubicBezTo>
                    <a:pt x="816449" y="1009650"/>
                    <a:pt x="692624" y="1050925"/>
                    <a:pt x="562449" y="1089025"/>
                  </a:cubicBezTo>
                  <a:cubicBezTo>
                    <a:pt x="432274" y="1127125"/>
                    <a:pt x="199441" y="1168400"/>
                    <a:pt x="3649" y="1193800"/>
                  </a:cubicBezTo>
                  <a:cubicBezTo>
                    <a:pt x="-848" y="1085057"/>
                    <a:pt x="-187" y="217487"/>
                    <a:pt x="474" y="217487"/>
                  </a:cubicBezTo>
                </a:path>
              </a:pathLst>
            </a:custGeom>
            <a:solidFill>
              <a:srgbClr val="43B02A"/>
            </a:solidFill>
            <a:ln w="3175" algn="ctr">
              <a:solidFill>
                <a:srgbClr val="012169"/>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12" name="Freeform 11"/>
            <p:cNvSpPr/>
            <p:nvPr/>
          </p:nvSpPr>
          <p:spPr bwMode="gray">
            <a:xfrm>
              <a:off x="5705475" y="3651250"/>
              <a:ext cx="354207" cy="1568450"/>
            </a:xfrm>
            <a:custGeom>
              <a:avLst/>
              <a:gdLst>
                <a:gd name="connsiteX0" fmla="*/ 355600 w 355600"/>
                <a:gd name="connsiteY0" fmla="*/ 0 h 1577975"/>
                <a:gd name="connsiteX1" fmla="*/ 346075 w 355600"/>
                <a:gd name="connsiteY1" fmla="*/ 1254125 h 1577975"/>
                <a:gd name="connsiteX2" fmla="*/ 0 w 355600"/>
                <a:gd name="connsiteY2" fmla="*/ 1577975 h 1577975"/>
                <a:gd name="connsiteX0" fmla="*/ 355600 w 355600"/>
                <a:gd name="connsiteY0" fmla="*/ 0 h 1577975"/>
                <a:gd name="connsiteX1" fmla="*/ 346075 w 355600"/>
                <a:gd name="connsiteY1" fmla="*/ 1254125 h 1577975"/>
                <a:gd name="connsiteX2" fmla="*/ 193675 w 355600"/>
                <a:gd name="connsiteY2" fmla="*/ 1393825 h 1577975"/>
                <a:gd name="connsiteX3" fmla="*/ 0 w 355600"/>
                <a:gd name="connsiteY3" fmla="*/ 1577975 h 1577975"/>
                <a:gd name="connsiteX0" fmla="*/ 355600 w 355600"/>
                <a:gd name="connsiteY0" fmla="*/ 0 h 1577975"/>
                <a:gd name="connsiteX1" fmla="*/ 346075 w 355600"/>
                <a:gd name="connsiteY1" fmla="*/ 1254125 h 1577975"/>
                <a:gd name="connsiteX2" fmla="*/ 215900 w 355600"/>
                <a:gd name="connsiteY2" fmla="*/ 1450975 h 1577975"/>
                <a:gd name="connsiteX3" fmla="*/ 0 w 355600"/>
                <a:gd name="connsiteY3" fmla="*/ 1577975 h 1577975"/>
                <a:gd name="connsiteX0" fmla="*/ 355600 w 355600"/>
                <a:gd name="connsiteY0" fmla="*/ 0 h 1577975"/>
                <a:gd name="connsiteX1" fmla="*/ 346075 w 355600"/>
                <a:gd name="connsiteY1" fmla="*/ 1254125 h 1577975"/>
                <a:gd name="connsiteX2" fmla="*/ 215900 w 355600"/>
                <a:gd name="connsiteY2" fmla="*/ 1450975 h 1577975"/>
                <a:gd name="connsiteX3" fmla="*/ 0 w 355600"/>
                <a:gd name="connsiteY3" fmla="*/ 1577975 h 1577975"/>
                <a:gd name="connsiteX0" fmla="*/ 355600 w 355600"/>
                <a:gd name="connsiteY0" fmla="*/ 0 h 1577975"/>
                <a:gd name="connsiteX1" fmla="*/ 346075 w 355600"/>
                <a:gd name="connsiteY1" fmla="*/ 1254125 h 1577975"/>
                <a:gd name="connsiteX2" fmla="*/ 215900 w 355600"/>
                <a:gd name="connsiteY2" fmla="*/ 1450975 h 1577975"/>
                <a:gd name="connsiteX3" fmla="*/ 0 w 355600"/>
                <a:gd name="connsiteY3" fmla="*/ 1577975 h 1577975"/>
                <a:gd name="connsiteX0" fmla="*/ 355600 w 355600"/>
                <a:gd name="connsiteY0" fmla="*/ 0 h 1577975"/>
                <a:gd name="connsiteX1" fmla="*/ 346075 w 355600"/>
                <a:gd name="connsiteY1" fmla="*/ 1254125 h 1577975"/>
                <a:gd name="connsiteX2" fmla="*/ 215900 w 355600"/>
                <a:gd name="connsiteY2" fmla="*/ 1450975 h 1577975"/>
                <a:gd name="connsiteX3" fmla="*/ 0 w 355600"/>
                <a:gd name="connsiteY3" fmla="*/ 1577975 h 1577975"/>
                <a:gd name="connsiteX0" fmla="*/ 355600 w 355600"/>
                <a:gd name="connsiteY0" fmla="*/ 0 h 1577975"/>
                <a:gd name="connsiteX1" fmla="*/ 346075 w 355600"/>
                <a:gd name="connsiteY1" fmla="*/ 1254125 h 1577975"/>
                <a:gd name="connsiteX2" fmla="*/ 215900 w 355600"/>
                <a:gd name="connsiteY2" fmla="*/ 1450975 h 1577975"/>
                <a:gd name="connsiteX3" fmla="*/ 0 w 355600"/>
                <a:gd name="connsiteY3" fmla="*/ 1577975 h 1577975"/>
                <a:gd name="connsiteX0" fmla="*/ 342900 w 346075"/>
                <a:gd name="connsiteY0" fmla="*/ 0 h 1549400"/>
                <a:gd name="connsiteX1" fmla="*/ 346075 w 346075"/>
                <a:gd name="connsiteY1" fmla="*/ 1225550 h 1549400"/>
                <a:gd name="connsiteX2" fmla="*/ 215900 w 346075"/>
                <a:gd name="connsiteY2" fmla="*/ 1422400 h 1549400"/>
                <a:gd name="connsiteX3" fmla="*/ 0 w 346075"/>
                <a:gd name="connsiteY3" fmla="*/ 1549400 h 1549400"/>
                <a:gd name="connsiteX0" fmla="*/ 342900 w 346075"/>
                <a:gd name="connsiteY0" fmla="*/ 0 h 1568450"/>
                <a:gd name="connsiteX1" fmla="*/ 346075 w 346075"/>
                <a:gd name="connsiteY1" fmla="*/ 1244600 h 1568450"/>
                <a:gd name="connsiteX2" fmla="*/ 215900 w 346075"/>
                <a:gd name="connsiteY2" fmla="*/ 1441450 h 1568450"/>
                <a:gd name="connsiteX3" fmla="*/ 0 w 346075"/>
                <a:gd name="connsiteY3" fmla="*/ 1568450 h 1568450"/>
                <a:gd name="connsiteX0" fmla="*/ 342900 w 352425"/>
                <a:gd name="connsiteY0" fmla="*/ 0 h 1568450"/>
                <a:gd name="connsiteX1" fmla="*/ 352425 w 352425"/>
                <a:gd name="connsiteY1" fmla="*/ 1225550 h 1568450"/>
                <a:gd name="connsiteX2" fmla="*/ 215900 w 352425"/>
                <a:gd name="connsiteY2" fmla="*/ 1441450 h 1568450"/>
                <a:gd name="connsiteX3" fmla="*/ 0 w 352425"/>
                <a:gd name="connsiteY3" fmla="*/ 1568450 h 1568450"/>
                <a:gd name="connsiteX0" fmla="*/ 342900 w 346075"/>
                <a:gd name="connsiteY0" fmla="*/ 0 h 1568450"/>
                <a:gd name="connsiteX1" fmla="*/ 346075 w 346075"/>
                <a:gd name="connsiteY1" fmla="*/ 1231900 h 1568450"/>
                <a:gd name="connsiteX2" fmla="*/ 215900 w 346075"/>
                <a:gd name="connsiteY2" fmla="*/ 1441450 h 1568450"/>
                <a:gd name="connsiteX3" fmla="*/ 0 w 346075"/>
                <a:gd name="connsiteY3" fmla="*/ 1568450 h 1568450"/>
                <a:gd name="connsiteX0" fmla="*/ 342900 w 346075"/>
                <a:gd name="connsiteY0" fmla="*/ 0 h 1568450"/>
                <a:gd name="connsiteX1" fmla="*/ 346075 w 346075"/>
                <a:gd name="connsiteY1" fmla="*/ 1243807 h 1568450"/>
                <a:gd name="connsiteX2" fmla="*/ 215900 w 346075"/>
                <a:gd name="connsiteY2" fmla="*/ 1441450 h 1568450"/>
                <a:gd name="connsiteX3" fmla="*/ 0 w 346075"/>
                <a:gd name="connsiteY3" fmla="*/ 1568450 h 1568450"/>
                <a:gd name="connsiteX0" fmla="*/ 358224 w 361399"/>
                <a:gd name="connsiteY0" fmla="*/ 0 h 1577413"/>
                <a:gd name="connsiteX1" fmla="*/ 361399 w 361399"/>
                <a:gd name="connsiteY1" fmla="*/ 1243807 h 1577413"/>
                <a:gd name="connsiteX2" fmla="*/ 231224 w 361399"/>
                <a:gd name="connsiteY2" fmla="*/ 1441450 h 1577413"/>
                <a:gd name="connsiteX3" fmla="*/ 15324 w 361399"/>
                <a:gd name="connsiteY3" fmla="*/ 1568450 h 1577413"/>
                <a:gd name="connsiteX4" fmla="*/ 17706 w 361399"/>
                <a:gd name="connsiteY4" fmla="*/ 1566862 h 1577413"/>
                <a:gd name="connsiteX0" fmla="*/ 360179 w 363354"/>
                <a:gd name="connsiteY0" fmla="*/ 0 h 1568713"/>
                <a:gd name="connsiteX1" fmla="*/ 363354 w 363354"/>
                <a:gd name="connsiteY1" fmla="*/ 1243807 h 1568713"/>
                <a:gd name="connsiteX2" fmla="*/ 233179 w 363354"/>
                <a:gd name="connsiteY2" fmla="*/ 1441450 h 1568713"/>
                <a:gd name="connsiteX3" fmla="*/ 17279 w 363354"/>
                <a:gd name="connsiteY3" fmla="*/ 1568450 h 1568713"/>
                <a:gd name="connsiteX4" fmla="*/ 12517 w 363354"/>
                <a:gd name="connsiteY4" fmla="*/ 357187 h 1568713"/>
                <a:gd name="connsiteX0" fmla="*/ 347717 w 350892"/>
                <a:gd name="connsiteY0" fmla="*/ 0 h 1568450"/>
                <a:gd name="connsiteX1" fmla="*/ 350892 w 350892"/>
                <a:gd name="connsiteY1" fmla="*/ 1243807 h 1568450"/>
                <a:gd name="connsiteX2" fmla="*/ 220717 w 350892"/>
                <a:gd name="connsiteY2" fmla="*/ 1441450 h 1568450"/>
                <a:gd name="connsiteX3" fmla="*/ 4817 w 350892"/>
                <a:gd name="connsiteY3" fmla="*/ 1568450 h 1568450"/>
                <a:gd name="connsiteX4" fmla="*/ 55 w 350892"/>
                <a:gd name="connsiteY4" fmla="*/ 357187 h 1568450"/>
                <a:gd name="connsiteX0" fmla="*/ 347717 w 350892"/>
                <a:gd name="connsiteY0" fmla="*/ 0 h 1568450"/>
                <a:gd name="connsiteX1" fmla="*/ 350892 w 350892"/>
                <a:gd name="connsiteY1" fmla="*/ 1243807 h 1568450"/>
                <a:gd name="connsiteX2" fmla="*/ 220717 w 350892"/>
                <a:gd name="connsiteY2" fmla="*/ 1441450 h 1568450"/>
                <a:gd name="connsiteX3" fmla="*/ 4817 w 350892"/>
                <a:gd name="connsiteY3" fmla="*/ 1568450 h 1568450"/>
                <a:gd name="connsiteX4" fmla="*/ 55 w 350892"/>
                <a:gd name="connsiteY4" fmla="*/ 357187 h 1568450"/>
                <a:gd name="connsiteX0" fmla="*/ 347717 w 350892"/>
                <a:gd name="connsiteY0" fmla="*/ 0 h 1568450"/>
                <a:gd name="connsiteX1" fmla="*/ 350892 w 350892"/>
                <a:gd name="connsiteY1" fmla="*/ 1243807 h 1568450"/>
                <a:gd name="connsiteX2" fmla="*/ 220717 w 350892"/>
                <a:gd name="connsiteY2" fmla="*/ 1441450 h 1568450"/>
                <a:gd name="connsiteX3" fmla="*/ 4817 w 350892"/>
                <a:gd name="connsiteY3" fmla="*/ 1568450 h 1568450"/>
                <a:gd name="connsiteX4" fmla="*/ 55 w 350892"/>
                <a:gd name="connsiteY4" fmla="*/ 357187 h 1568450"/>
                <a:gd name="connsiteX0" fmla="*/ 354067 w 354207"/>
                <a:gd name="connsiteY0" fmla="*/ 0 h 1568450"/>
                <a:gd name="connsiteX1" fmla="*/ 350892 w 354207"/>
                <a:gd name="connsiteY1" fmla="*/ 1243807 h 1568450"/>
                <a:gd name="connsiteX2" fmla="*/ 220717 w 354207"/>
                <a:gd name="connsiteY2" fmla="*/ 1441450 h 1568450"/>
                <a:gd name="connsiteX3" fmla="*/ 4817 w 354207"/>
                <a:gd name="connsiteY3" fmla="*/ 1568450 h 1568450"/>
                <a:gd name="connsiteX4" fmla="*/ 55 w 354207"/>
                <a:gd name="connsiteY4" fmla="*/ 357187 h 156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207" h="1568450">
                  <a:moveTo>
                    <a:pt x="354067" y="0"/>
                  </a:moveTo>
                  <a:cubicBezTo>
                    <a:pt x="355125" y="408517"/>
                    <a:pt x="349834" y="835290"/>
                    <a:pt x="350892" y="1243807"/>
                  </a:cubicBezTo>
                  <a:cubicBezTo>
                    <a:pt x="324434" y="1314186"/>
                    <a:pt x="278396" y="1387343"/>
                    <a:pt x="220717" y="1441450"/>
                  </a:cubicBezTo>
                  <a:cubicBezTo>
                    <a:pt x="163038" y="1495557"/>
                    <a:pt x="57733" y="1551517"/>
                    <a:pt x="4817" y="1568450"/>
                  </a:cubicBezTo>
                  <a:cubicBezTo>
                    <a:pt x="2569" y="1446477"/>
                    <a:pt x="-441" y="357518"/>
                    <a:pt x="55" y="357187"/>
                  </a:cubicBezTo>
                </a:path>
              </a:pathLst>
            </a:custGeom>
            <a:solidFill>
              <a:srgbClr val="A7A8AA"/>
            </a:solidFill>
            <a:ln w="3175" algn="ctr">
              <a:solidFill>
                <a:srgbClr val="63666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13" name="Freeform 12"/>
            <p:cNvSpPr/>
            <p:nvPr/>
          </p:nvSpPr>
          <p:spPr bwMode="gray">
            <a:xfrm>
              <a:off x="2752725" y="4730749"/>
              <a:ext cx="911225" cy="714375"/>
            </a:xfrm>
            <a:custGeom>
              <a:avLst/>
              <a:gdLst>
                <a:gd name="connsiteX0" fmla="*/ 0 w 911225"/>
                <a:gd name="connsiteY0" fmla="*/ 0 h 714375"/>
                <a:gd name="connsiteX1" fmla="*/ 6350 w 911225"/>
                <a:gd name="connsiteY1" fmla="*/ 495300 h 714375"/>
                <a:gd name="connsiteX2" fmla="*/ 908050 w 911225"/>
                <a:gd name="connsiteY2" fmla="*/ 714375 h 714375"/>
                <a:gd name="connsiteX3" fmla="*/ 911225 w 911225"/>
                <a:gd name="connsiteY3" fmla="*/ 219075 h 714375"/>
                <a:gd name="connsiteX0" fmla="*/ 0 w 911225"/>
                <a:gd name="connsiteY0" fmla="*/ 0 h 714375"/>
                <a:gd name="connsiteX1" fmla="*/ 6350 w 911225"/>
                <a:gd name="connsiteY1" fmla="*/ 495300 h 714375"/>
                <a:gd name="connsiteX2" fmla="*/ 403225 w 911225"/>
                <a:gd name="connsiteY2" fmla="*/ 590550 h 714375"/>
                <a:gd name="connsiteX3" fmla="*/ 908050 w 911225"/>
                <a:gd name="connsiteY3" fmla="*/ 714375 h 714375"/>
                <a:gd name="connsiteX4" fmla="*/ 911225 w 911225"/>
                <a:gd name="connsiteY4" fmla="*/ 219075 h 714375"/>
                <a:gd name="connsiteX0" fmla="*/ 0 w 911225"/>
                <a:gd name="connsiteY0" fmla="*/ 0 h 714375"/>
                <a:gd name="connsiteX1" fmla="*/ 6350 w 911225"/>
                <a:gd name="connsiteY1" fmla="*/ 495300 h 714375"/>
                <a:gd name="connsiteX2" fmla="*/ 396875 w 911225"/>
                <a:gd name="connsiteY2" fmla="*/ 628650 h 714375"/>
                <a:gd name="connsiteX3" fmla="*/ 908050 w 911225"/>
                <a:gd name="connsiteY3" fmla="*/ 714375 h 714375"/>
                <a:gd name="connsiteX4" fmla="*/ 911225 w 911225"/>
                <a:gd name="connsiteY4" fmla="*/ 219075 h 714375"/>
                <a:gd name="connsiteX0" fmla="*/ 0 w 911225"/>
                <a:gd name="connsiteY0" fmla="*/ 0 h 736217"/>
                <a:gd name="connsiteX1" fmla="*/ 6350 w 911225"/>
                <a:gd name="connsiteY1" fmla="*/ 495300 h 736217"/>
                <a:gd name="connsiteX2" fmla="*/ 396875 w 911225"/>
                <a:gd name="connsiteY2" fmla="*/ 628650 h 736217"/>
                <a:gd name="connsiteX3" fmla="*/ 908050 w 911225"/>
                <a:gd name="connsiteY3" fmla="*/ 714375 h 736217"/>
                <a:gd name="connsiteX4" fmla="*/ 911225 w 911225"/>
                <a:gd name="connsiteY4" fmla="*/ 219075 h 736217"/>
                <a:gd name="connsiteX0" fmla="*/ 0 w 911225"/>
                <a:gd name="connsiteY0" fmla="*/ 0 h 735300"/>
                <a:gd name="connsiteX1" fmla="*/ 6350 w 911225"/>
                <a:gd name="connsiteY1" fmla="*/ 495300 h 735300"/>
                <a:gd name="connsiteX2" fmla="*/ 396875 w 911225"/>
                <a:gd name="connsiteY2" fmla="*/ 628650 h 735300"/>
                <a:gd name="connsiteX3" fmla="*/ 908050 w 911225"/>
                <a:gd name="connsiteY3" fmla="*/ 714375 h 735300"/>
                <a:gd name="connsiteX4" fmla="*/ 911225 w 911225"/>
                <a:gd name="connsiteY4" fmla="*/ 219075 h 735300"/>
                <a:gd name="connsiteX0" fmla="*/ 0 w 911225"/>
                <a:gd name="connsiteY0" fmla="*/ 0 h 714375"/>
                <a:gd name="connsiteX1" fmla="*/ 6350 w 911225"/>
                <a:gd name="connsiteY1" fmla="*/ 495300 h 714375"/>
                <a:gd name="connsiteX2" fmla="*/ 396875 w 911225"/>
                <a:gd name="connsiteY2" fmla="*/ 628650 h 714375"/>
                <a:gd name="connsiteX3" fmla="*/ 908050 w 911225"/>
                <a:gd name="connsiteY3" fmla="*/ 714375 h 714375"/>
                <a:gd name="connsiteX4" fmla="*/ 911225 w 911225"/>
                <a:gd name="connsiteY4" fmla="*/ 219075 h 714375"/>
                <a:gd name="connsiteX0" fmla="*/ 0 w 911225"/>
                <a:gd name="connsiteY0" fmla="*/ 0 h 714375"/>
                <a:gd name="connsiteX1" fmla="*/ 6350 w 911225"/>
                <a:gd name="connsiteY1" fmla="*/ 495300 h 714375"/>
                <a:gd name="connsiteX2" fmla="*/ 396875 w 911225"/>
                <a:gd name="connsiteY2" fmla="*/ 628650 h 714375"/>
                <a:gd name="connsiteX3" fmla="*/ 908050 w 911225"/>
                <a:gd name="connsiteY3" fmla="*/ 714375 h 714375"/>
                <a:gd name="connsiteX4" fmla="*/ 911225 w 911225"/>
                <a:gd name="connsiteY4" fmla="*/ 219075 h 714375"/>
                <a:gd name="connsiteX0" fmla="*/ 0 w 911225"/>
                <a:gd name="connsiteY0" fmla="*/ 0 h 714375"/>
                <a:gd name="connsiteX1" fmla="*/ 6350 w 911225"/>
                <a:gd name="connsiteY1" fmla="*/ 495300 h 714375"/>
                <a:gd name="connsiteX2" fmla="*/ 396875 w 911225"/>
                <a:gd name="connsiteY2" fmla="*/ 628650 h 714375"/>
                <a:gd name="connsiteX3" fmla="*/ 908050 w 911225"/>
                <a:gd name="connsiteY3" fmla="*/ 714375 h 714375"/>
                <a:gd name="connsiteX4" fmla="*/ 911225 w 911225"/>
                <a:gd name="connsiteY4" fmla="*/ 219075 h 714375"/>
                <a:gd name="connsiteX0" fmla="*/ 0 w 911225"/>
                <a:gd name="connsiteY0" fmla="*/ 0 h 714375"/>
                <a:gd name="connsiteX1" fmla="*/ 6350 w 911225"/>
                <a:gd name="connsiteY1" fmla="*/ 495300 h 714375"/>
                <a:gd name="connsiteX2" fmla="*/ 396875 w 911225"/>
                <a:gd name="connsiteY2" fmla="*/ 628650 h 714375"/>
                <a:gd name="connsiteX3" fmla="*/ 908050 w 911225"/>
                <a:gd name="connsiteY3" fmla="*/ 714375 h 714375"/>
                <a:gd name="connsiteX4" fmla="*/ 911225 w 911225"/>
                <a:gd name="connsiteY4" fmla="*/ 219075 h 714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225" h="714375">
                  <a:moveTo>
                    <a:pt x="0" y="0"/>
                  </a:moveTo>
                  <a:cubicBezTo>
                    <a:pt x="2117" y="165100"/>
                    <a:pt x="4233" y="330200"/>
                    <a:pt x="6350" y="495300"/>
                  </a:cubicBezTo>
                  <a:cubicBezTo>
                    <a:pt x="133350" y="549275"/>
                    <a:pt x="341842" y="617538"/>
                    <a:pt x="396875" y="628650"/>
                  </a:cubicBezTo>
                  <a:cubicBezTo>
                    <a:pt x="451908" y="639762"/>
                    <a:pt x="790575" y="703263"/>
                    <a:pt x="908050" y="714375"/>
                  </a:cubicBezTo>
                  <a:cubicBezTo>
                    <a:pt x="909108" y="549275"/>
                    <a:pt x="910167" y="384175"/>
                    <a:pt x="911225" y="219075"/>
                  </a:cubicBezTo>
                </a:path>
              </a:pathLst>
            </a:custGeom>
            <a:solidFill>
              <a:srgbClr val="86BC25"/>
            </a:solidFill>
            <a:ln w="3175"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14" name="Freeform 13"/>
            <p:cNvSpPr/>
            <p:nvPr/>
          </p:nvSpPr>
          <p:spPr bwMode="gray">
            <a:xfrm>
              <a:off x="2755900" y="4441825"/>
              <a:ext cx="1187450" cy="511175"/>
            </a:xfrm>
            <a:custGeom>
              <a:avLst/>
              <a:gdLst>
                <a:gd name="connsiteX0" fmla="*/ 1216025 w 1216025"/>
                <a:gd name="connsiteY0" fmla="*/ 0 h 552450"/>
                <a:gd name="connsiteX1" fmla="*/ 0 w 1216025"/>
                <a:gd name="connsiteY1" fmla="*/ 333375 h 552450"/>
                <a:gd name="connsiteX2" fmla="*/ 911225 w 1216025"/>
                <a:gd name="connsiteY2" fmla="*/ 552450 h 552450"/>
                <a:gd name="connsiteX3" fmla="*/ 1216025 w 1216025"/>
                <a:gd name="connsiteY3" fmla="*/ 0 h 552450"/>
                <a:gd name="connsiteX0" fmla="*/ 1216025 w 1216025"/>
                <a:gd name="connsiteY0" fmla="*/ 0 h 552450"/>
                <a:gd name="connsiteX1" fmla="*/ 0 w 1216025"/>
                <a:gd name="connsiteY1" fmla="*/ 333375 h 552450"/>
                <a:gd name="connsiteX2" fmla="*/ 454025 w 1216025"/>
                <a:gd name="connsiteY2" fmla="*/ 438150 h 552450"/>
                <a:gd name="connsiteX3" fmla="*/ 911225 w 1216025"/>
                <a:gd name="connsiteY3" fmla="*/ 552450 h 552450"/>
                <a:gd name="connsiteX4" fmla="*/ 1216025 w 1216025"/>
                <a:gd name="connsiteY4" fmla="*/ 0 h 552450"/>
                <a:gd name="connsiteX0" fmla="*/ 1216025 w 1216025"/>
                <a:gd name="connsiteY0" fmla="*/ 0 h 552450"/>
                <a:gd name="connsiteX1" fmla="*/ 0 w 1216025"/>
                <a:gd name="connsiteY1" fmla="*/ 333375 h 552450"/>
                <a:gd name="connsiteX2" fmla="*/ 434975 w 1216025"/>
                <a:gd name="connsiteY2" fmla="*/ 479425 h 552450"/>
                <a:gd name="connsiteX3" fmla="*/ 911225 w 1216025"/>
                <a:gd name="connsiteY3" fmla="*/ 552450 h 552450"/>
                <a:gd name="connsiteX4" fmla="*/ 1216025 w 1216025"/>
                <a:gd name="connsiteY4" fmla="*/ 0 h 552450"/>
                <a:gd name="connsiteX0" fmla="*/ 1241018 w 1241018"/>
                <a:gd name="connsiteY0" fmla="*/ 0 h 579889"/>
                <a:gd name="connsiteX1" fmla="*/ 24993 w 1241018"/>
                <a:gd name="connsiteY1" fmla="*/ 333375 h 579889"/>
                <a:gd name="connsiteX2" fmla="*/ 459968 w 1241018"/>
                <a:gd name="connsiteY2" fmla="*/ 479425 h 579889"/>
                <a:gd name="connsiteX3" fmla="*/ 936218 w 1241018"/>
                <a:gd name="connsiteY3" fmla="*/ 552450 h 579889"/>
                <a:gd name="connsiteX4" fmla="*/ 1241018 w 1241018"/>
                <a:gd name="connsiteY4" fmla="*/ 0 h 579889"/>
                <a:gd name="connsiteX0" fmla="*/ 1241018 w 1241018"/>
                <a:gd name="connsiteY0" fmla="*/ 0 h 552450"/>
                <a:gd name="connsiteX1" fmla="*/ 24993 w 1241018"/>
                <a:gd name="connsiteY1" fmla="*/ 333375 h 552450"/>
                <a:gd name="connsiteX2" fmla="*/ 459968 w 1241018"/>
                <a:gd name="connsiteY2" fmla="*/ 479425 h 552450"/>
                <a:gd name="connsiteX3" fmla="*/ 936218 w 1241018"/>
                <a:gd name="connsiteY3" fmla="*/ 552450 h 552450"/>
                <a:gd name="connsiteX4" fmla="*/ 1241018 w 1241018"/>
                <a:gd name="connsiteY4" fmla="*/ 0 h 552450"/>
                <a:gd name="connsiteX0" fmla="*/ 1216025 w 1216025"/>
                <a:gd name="connsiteY0" fmla="*/ 0 h 552450"/>
                <a:gd name="connsiteX1" fmla="*/ 0 w 1216025"/>
                <a:gd name="connsiteY1" fmla="*/ 333375 h 552450"/>
                <a:gd name="connsiteX2" fmla="*/ 434975 w 1216025"/>
                <a:gd name="connsiteY2" fmla="*/ 479425 h 552450"/>
                <a:gd name="connsiteX3" fmla="*/ 911225 w 1216025"/>
                <a:gd name="connsiteY3" fmla="*/ 552450 h 552450"/>
                <a:gd name="connsiteX4" fmla="*/ 1216025 w 1216025"/>
                <a:gd name="connsiteY4" fmla="*/ 0 h 552450"/>
                <a:gd name="connsiteX0" fmla="*/ 1216025 w 1216025"/>
                <a:gd name="connsiteY0" fmla="*/ 0 h 552450"/>
                <a:gd name="connsiteX1" fmla="*/ 0 w 1216025"/>
                <a:gd name="connsiteY1" fmla="*/ 333375 h 552450"/>
                <a:gd name="connsiteX2" fmla="*/ 434975 w 1216025"/>
                <a:gd name="connsiteY2" fmla="*/ 479425 h 552450"/>
                <a:gd name="connsiteX3" fmla="*/ 911225 w 1216025"/>
                <a:gd name="connsiteY3" fmla="*/ 552450 h 552450"/>
                <a:gd name="connsiteX4" fmla="*/ 1216025 w 1216025"/>
                <a:gd name="connsiteY4" fmla="*/ 0 h 552450"/>
                <a:gd name="connsiteX0" fmla="*/ 1216025 w 1216025"/>
                <a:gd name="connsiteY0" fmla="*/ 0 h 552450"/>
                <a:gd name="connsiteX1" fmla="*/ 0 w 1216025"/>
                <a:gd name="connsiteY1" fmla="*/ 333375 h 552450"/>
                <a:gd name="connsiteX2" fmla="*/ 434975 w 1216025"/>
                <a:gd name="connsiteY2" fmla="*/ 479425 h 552450"/>
                <a:gd name="connsiteX3" fmla="*/ 911225 w 1216025"/>
                <a:gd name="connsiteY3" fmla="*/ 552450 h 552450"/>
                <a:gd name="connsiteX4" fmla="*/ 1216025 w 1216025"/>
                <a:gd name="connsiteY4" fmla="*/ 0 h 552450"/>
                <a:gd name="connsiteX0" fmla="*/ 1187450 w 1187450"/>
                <a:gd name="connsiteY0" fmla="*/ 0 h 511175"/>
                <a:gd name="connsiteX1" fmla="*/ 0 w 1187450"/>
                <a:gd name="connsiteY1" fmla="*/ 292100 h 511175"/>
                <a:gd name="connsiteX2" fmla="*/ 434975 w 1187450"/>
                <a:gd name="connsiteY2" fmla="*/ 438150 h 511175"/>
                <a:gd name="connsiteX3" fmla="*/ 911225 w 1187450"/>
                <a:gd name="connsiteY3" fmla="*/ 511175 h 511175"/>
                <a:gd name="connsiteX4" fmla="*/ 1187450 w 1187450"/>
                <a:gd name="connsiteY4" fmla="*/ 0 h 51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7450" h="511175">
                  <a:moveTo>
                    <a:pt x="1187450" y="0"/>
                  </a:moveTo>
                  <a:lnTo>
                    <a:pt x="0" y="292100"/>
                  </a:lnTo>
                  <a:cubicBezTo>
                    <a:pt x="161925" y="362479"/>
                    <a:pt x="419629" y="436563"/>
                    <a:pt x="434975" y="438150"/>
                  </a:cubicBezTo>
                  <a:cubicBezTo>
                    <a:pt x="450321" y="439737"/>
                    <a:pt x="739775" y="502179"/>
                    <a:pt x="911225" y="511175"/>
                  </a:cubicBezTo>
                  <a:lnTo>
                    <a:pt x="1187450" y="0"/>
                  </a:lnTo>
                  <a:close/>
                </a:path>
              </a:pathLst>
            </a:custGeom>
            <a:solidFill>
              <a:srgbClr val="C4D600"/>
            </a:solidFill>
            <a:ln w="3175" cap="sq" algn="ctr">
              <a:solidFill>
                <a:srgbClr val="00A3E0"/>
              </a:solidFill>
              <a:round/>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 name="Freeform 14"/>
            <p:cNvSpPr/>
            <p:nvPr/>
          </p:nvSpPr>
          <p:spPr bwMode="gray">
            <a:xfrm>
              <a:off x="3663950" y="4697641"/>
              <a:ext cx="1130300" cy="776058"/>
            </a:xfrm>
            <a:custGeom>
              <a:avLst/>
              <a:gdLst>
                <a:gd name="connsiteX0" fmla="*/ 0 w 1130300"/>
                <a:gd name="connsiteY0" fmla="*/ 0 h 742950"/>
                <a:gd name="connsiteX1" fmla="*/ 3175 w 1130300"/>
                <a:gd name="connsiteY1" fmla="*/ 739775 h 742950"/>
                <a:gd name="connsiteX2" fmla="*/ 1130300 w 1130300"/>
                <a:gd name="connsiteY2" fmla="*/ 742950 h 742950"/>
                <a:gd name="connsiteX3" fmla="*/ 1123950 w 1130300"/>
                <a:gd name="connsiteY3" fmla="*/ 15875 h 742950"/>
                <a:gd name="connsiteX0" fmla="*/ 0 w 1130300"/>
                <a:gd name="connsiteY0" fmla="*/ 0 h 742950"/>
                <a:gd name="connsiteX1" fmla="*/ 3175 w 1130300"/>
                <a:gd name="connsiteY1" fmla="*/ 739775 h 742950"/>
                <a:gd name="connsiteX2" fmla="*/ 546100 w 1130300"/>
                <a:gd name="connsiteY2" fmla="*/ 742950 h 742950"/>
                <a:gd name="connsiteX3" fmla="*/ 1130300 w 1130300"/>
                <a:gd name="connsiteY3" fmla="*/ 742950 h 742950"/>
                <a:gd name="connsiteX4" fmla="*/ 1123950 w 1130300"/>
                <a:gd name="connsiteY4" fmla="*/ 15875 h 742950"/>
                <a:gd name="connsiteX0" fmla="*/ 0 w 1130300"/>
                <a:gd name="connsiteY0" fmla="*/ 0 h 768350"/>
                <a:gd name="connsiteX1" fmla="*/ 3175 w 1130300"/>
                <a:gd name="connsiteY1" fmla="*/ 739775 h 768350"/>
                <a:gd name="connsiteX2" fmla="*/ 542925 w 1130300"/>
                <a:gd name="connsiteY2" fmla="*/ 768350 h 768350"/>
                <a:gd name="connsiteX3" fmla="*/ 1130300 w 1130300"/>
                <a:gd name="connsiteY3" fmla="*/ 742950 h 768350"/>
                <a:gd name="connsiteX4" fmla="*/ 1123950 w 1130300"/>
                <a:gd name="connsiteY4" fmla="*/ 15875 h 768350"/>
                <a:gd name="connsiteX0" fmla="*/ 0 w 1130300"/>
                <a:gd name="connsiteY0" fmla="*/ 0 h 808812"/>
                <a:gd name="connsiteX1" fmla="*/ 3175 w 1130300"/>
                <a:gd name="connsiteY1" fmla="*/ 739775 h 808812"/>
                <a:gd name="connsiteX2" fmla="*/ 542925 w 1130300"/>
                <a:gd name="connsiteY2" fmla="*/ 768350 h 808812"/>
                <a:gd name="connsiteX3" fmla="*/ 1130300 w 1130300"/>
                <a:gd name="connsiteY3" fmla="*/ 742950 h 808812"/>
                <a:gd name="connsiteX4" fmla="*/ 1123950 w 1130300"/>
                <a:gd name="connsiteY4" fmla="*/ 15875 h 808812"/>
                <a:gd name="connsiteX0" fmla="*/ 0 w 1130300"/>
                <a:gd name="connsiteY0" fmla="*/ 0 h 771043"/>
                <a:gd name="connsiteX1" fmla="*/ 3175 w 1130300"/>
                <a:gd name="connsiteY1" fmla="*/ 739775 h 771043"/>
                <a:gd name="connsiteX2" fmla="*/ 542925 w 1130300"/>
                <a:gd name="connsiteY2" fmla="*/ 768350 h 771043"/>
                <a:gd name="connsiteX3" fmla="*/ 1130300 w 1130300"/>
                <a:gd name="connsiteY3" fmla="*/ 742950 h 771043"/>
                <a:gd name="connsiteX4" fmla="*/ 1123950 w 1130300"/>
                <a:gd name="connsiteY4" fmla="*/ 15875 h 771043"/>
                <a:gd name="connsiteX0" fmla="*/ 0 w 1130300"/>
                <a:gd name="connsiteY0" fmla="*/ 0 h 771043"/>
                <a:gd name="connsiteX1" fmla="*/ 3175 w 1130300"/>
                <a:gd name="connsiteY1" fmla="*/ 739775 h 771043"/>
                <a:gd name="connsiteX2" fmla="*/ 542925 w 1130300"/>
                <a:gd name="connsiteY2" fmla="*/ 768350 h 771043"/>
                <a:gd name="connsiteX3" fmla="*/ 1130300 w 1130300"/>
                <a:gd name="connsiteY3" fmla="*/ 742950 h 771043"/>
                <a:gd name="connsiteX4" fmla="*/ 1123950 w 1130300"/>
                <a:gd name="connsiteY4" fmla="*/ 15875 h 771043"/>
                <a:gd name="connsiteX0" fmla="*/ 0 w 1130300"/>
                <a:gd name="connsiteY0" fmla="*/ 0 h 768350"/>
                <a:gd name="connsiteX1" fmla="*/ 3175 w 1130300"/>
                <a:gd name="connsiteY1" fmla="*/ 739775 h 768350"/>
                <a:gd name="connsiteX2" fmla="*/ 542925 w 1130300"/>
                <a:gd name="connsiteY2" fmla="*/ 768350 h 768350"/>
                <a:gd name="connsiteX3" fmla="*/ 1130300 w 1130300"/>
                <a:gd name="connsiteY3" fmla="*/ 742950 h 768350"/>
                <a:gd name="connsiteX4" fmla="*/ 1123950 w 1130300"/>
                <a:gd name="connsiteY4" fmla="*/ 15875 h 768350"/>
                <a:gd name="connsiteX0" fmla="*/ 0 w 1130300"/>
                <a:gd name="connsiteY0" fmla="*/ 0 h 768350"/>
                <a:gd name="connsiteX1" fmla="*/ 3175 w 1130300"/>
                <a:gd name="connsiteY1" fmla="*/ 739775 h 768350"/>
                <a:gd name="connsiteX2" fmla="*/ 542925 w 1130300"/>
                <a:gd name="connsiteY2" fmla="*/ 768350 h 768350"/>
                <a:gd name="connsiteX3" fmla="*/ 1130300 w 1130300"/>
                <a:gd name="connsiteY3" fmla="*/ 742950 h 768350"/>
                <a:gd name="connsiteX4" fmla="*/ 1123950 w 1130300"/>
                <a:gd name="connsiteY4" fmla="*/ 15875 h 768350"/>
                <a:gd name="connsiteX0" fmla="*/ 0 w 1130300"/>
                <a:gd name="connsiteY0" fmla="*/ 3175 h 771525"/>
                <a:gd name="connsiteX1" fmla="*/ 3175 w 1130300"/>
                <a:gd name="connsiteY1" fmla="*/ 742950 h 771525"/>
                <a:gd name="connsiteX2" fmla="*/ 542925 w 1130300"/>
                <a:gd name="connsiteY2" fmla="*/ 771525 h 771525"/>
                <a:gd name="connsiteX3" fmla="*/ 1130300 w 1130300"/>
                <a:gd name="connsiteY3" fmla="*/ 746125 h 771525"/>
                <a:gd name="connsiteX4" fmla="*/ 1123950 w 1130300"/>
                <a:gd name="connsiteY4" fmla="*/ 0 h 771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00" h="771525">
                  <a:moveTo>
                    <a:pt x="0" y="3175"/>
                  </a:moveTo>
                  <a:cubicBezTo>
                    <a:pt x="1058" y="249767"/>
                    <a:pt x="2117" y="496358"/>
                    <a:pt x="3175" y="742950"/>
                  </a:cubicBezTo>
                  <a:cubicBezTo>
                    <a:pt x="183092" y="762000"/>
                    <a:pt x="363008" y="762000"/>
                    <a:pt x="542925" y="771525"/>
                  </a:cubicBezTo>
                  <a:cubicBezTo>
                    <a:pt x="624417" y="771525"/>
                    <a:pt x="950913" y="763588"/>
                    <a:pt x="1130300" y="746125"/>
                  </a:cubicBezTo>
                  <a:cubicBezTo>
                    <a:pt x="1128183" y="503767"/>
                    <a:pt x="1126067" y="242358"/>
                    <a:pt x="1123950" y="0"/>
                  </a:cubicBezTo>
                </a:path>
              </a:pathLst>
            </a:custGeom>
            <a:solidFill>
              <a:srgbClr val="9DD4CF"/>
            </a:solidFill>
            <a:ln w="3175" algn="ctr">
              <a:solidFill>
                <a:srgbClr val="009A44"/>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16" name="Freeform 15"/>
            <p:cNvSpPr/>
            <p:nvPr/>
          </p:nvSpPr>
          <p:spPr bwMode="gray">
            <a:xfrm>
              <a:off x="3667125" y="4117975"/>
              <a:ext cx="1123950" cy="616006"/>
            </a:xfrm>
            <a:custGeom>
              <a:avLst/>
              <a:gdLst>
                <a:gd name="connsiteX0" fmla="*/ 558800 w 1117600"/>
                <a:gd name="connsiteY0" fmla="*/ 0 h 593725"/>
                <a:gd name="connsiteX1" fmla="*/ 0 w 1117600"/>
                <a:gd name="connsiteY1" fmla="*/ 581025 h 593725"/>
                <a:gd name="connsiteX2" fmla="*/ 1117600 w 1117600"/>
                <a:gd name="connsiteY2" fmla="*/ 593725 h 593725"/>
                <a:gd name="connsiteX3" fmla="*/ 558800 w 1117600"/>
                <a:gd name="connsiteY3" fmla="*/ 0 h 593725"/>
                <a:gd name="connsiteX0" fmla="*/ 558800 w 1123950"/>
                <a:gd name="connsiteY0" fmla="*/ 0 h 584200"/>
                <a:gd name="connsiteX1" fmla="*/ 0 w 1123950"/>
                <a:gd name="connsiteY1" fmla="*/ 581025 h 584200"/>
                <a:gd name="connsiteX2" fmla="*/ 1123950 w 1123950"/>
                <a:gd name="connsiteY2" fmla="*/ 584200 h 584200"/>
                <a:gd name="connsiteX3" fmla="*/ 558800 w 1123950"/>
                <a:gd name="connsiteY3" fmla="*/ 0 h 584200"/>
                <a:gd name="connsiteX0" fmla="*/ 558800 w 1123950"/>
                <a:gd name="connsiteY0" fmla="*/ 0 h 584200"/>
                <a:gd name="connsiteX1" fmla="*/ 0 w 1123950"/>
                <a:gd name="connsiteY1" fmla="*/ 581025 h 584200"/>
                <a:gd name="connsiteX2" fmla="*/ 539750 w 1123950"/>
                <a:gd name="connsiteY2" fmla="*/ 581025 h 584200"/>
                <a:gd name="connsiteX3" fmla="*/ 1123950 w 1123950"/>
                <a:gd name="connsiteY3" fmla="*/ 584200 h 584200"/>
                <a:gd name="connsiteX4" fmla="*/ 558800 w 1123950"/>
                <a:gd name="connsiteY4" fmla="*/ 0 h 584200"/>
                <a:gd name="connsiteX0" fmla="*/ 558800 w 1123950"/>
                <a:gd name="connsiteY0" fmla="*/ 0 h 615950"/>
                <a:gd name="connsiteX1" fmla="*/ 0 w 1123950"/>
                <a:gd name="connsiteY1" fmla="*/ 581025 h 615950"/>
                <a:gd name="connsiteX2" fmla="*/ 542925 w 1123950"/>
                <a:gd name="connsiteY2" fmla="*/ 615950 h 615950"/>
                <a:gd name="connsiteX3" fmla="*/ 1123950 w 1123950"/>
                <a:gd name="connsiteY3" fmla="*/ 584200 h 615950"/>
                <a:gd name="connsiteX4" fmla="*/ 558800 w 1123950"/>
                <a:gd name="connsiteY4" fmla="*/ 0 h 615950"/>
                <a:gd name="connsiteX0" fmla="*/ 558814 w 1123964"/>
                <a:gd name="connsiteY0" fmla="*/ 0 h 639973"/>
                <a:gd name="connsiteX1" fmla="*/ 14 w 1123964"/>
                <a:gd name="connsiteY1" fmla="*/ 581025 h 639973"/>
                <a:gd name="connsiteX2" fmla="*/ 542939 w 1123964"/>
                <a:gd name="connsiteY2" fmla="*/ 615950 h 639973"/>
                <a:gd name="connsiteX3" fmla="*/ 1123964 w 1123964"/>
                <a:gd name="connsiteY3" fmla="*/ 584200 h 639973"/>
                <a:gd name="connsiteX4" fmla="*/ 558814 w 1123964"/>
                <a:gd name="connsiteY4" fmla="*/ 0 h 639973"/>
                <a:gd name="connsiteX0" fmla="*/ 558800 w 1123950"/>
                <a:gd name="connsiteY0" fmla="*/ 0 h 639973"/>
                <a:gd name="connsiteX1" fmla="*/ 0 w 1123950"/>
                <a:gd name="connsiteY1" fmla="*/ 581025 h 639973"/>
                <a:gd name="connsiteX2" fmla="*/ 542925 w 1123950"/>
                <a:gd name="connsiteY2" fmla="*/ 615950 h 639973"/>
                <a:gd name="connsiteX3" fmla="*/ 1123950 w 1123950"/>
                <a:gd name="connsiteY3" fmla="*/ 584200 h 639973"/>
                <a:gd name="connsiteX4" fmla="*/ 558800 w 1123950"/>
                <a:gd name="connsiteY4" fmla="*/ 0 h 639973"/>
                <a:gd name="connsiteX0" fmla="*/ 558800 w 1123950"/>
                <a:gd name="connsiteY0" fmla="*/ 0 h 616006"/>
                <a:gd name="connsiteX1" fmla="*/ 0 w 1123950"/>
                <a:gd name="connsiteY1" fmla="*/ 581025 h 616006"/>
                <a:gd name="connsiteX2" fmla="*/ 542925 w 1123950"/>
                <a:gd name="connsiteY2" fmla="*/ 615950 h 616006"/>
                <a:gd name="connsiteX3" fmla="*/ 1123950 w 1123950"/>
                <a:gd name="connsiteY3" fmla="*/ 584200 h 616006"/>
                <a:gd name="connsiteX4" fmla="*/ 558800 w 1123950"/>
                <a:gd name="connsiteY4" fmla="*/ 0 h 616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50" h="616006">
                  <a:moveTo>
                    <a:pt x="558800" y="0"/>
                  </a:moveTo>
                  <a:lnTo>
                    <a:pt x="0" y="581025"/>
                  </a:lnTo>
                  <a:cubicBezTo>
                    <a:pt x="149754" y="594783"/>
                    <a:pt x="355600" y="615421"/>
                    <a:pt x="542925" y="615950"/>
                  </a:cubicBezTo>
                  <a:cubicBezTo>
                    <a:pt x="730250" y="616479"/>
                    <a:pt x="889529" y="613833"/>
                    <a:pt x="1123950" y="584200"/>
                  </a:cubicBezTo>
                  <a:lnTo>
                    <a:pt x="558800" y="0"/>
                  </a:lnTo>
                  <a:close/>
                </a:path>
              </a:pathLst>
            </a:custGeom>
            <a:solidFill>
              <a:srgbClr val="DDEFE8"/>
            </a:solidFill>
            <a:ln w="3175" cap="sq" algn="ctr">
              <a:solidFill>
                <a:srgbClr val="009A44"/>
              </a:solidFill>
              <a:round/>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7" name="Freeform 16"/>
            <p:cNvSpPr/>
            <p:nvPr/>
          </p:nvSpPr>
          <p:spPr bwMode="gray">
            <a:xfrm>
              <a:off x="4225979" y="3649107"/>
              <a:ext cx="1833563" cy="365284"/>
            </a:xfrm>
            <a:custGeom>
              <a:avLst/>
              <a:gdLst>
                <a:gd name="connsiteX0" fmla="*/ 0 w 1828800"/>
                <a:gd name="connsiteY0" fmla="*/ 0 h 373380"/>
                <a:gd name="connsiteX1" fmla="*/ 1828800 w 1828800"/>
                <a:gd name="connsiteY1" fmla="*/ 15240 h 373380"/>
                <a:gd name="connsiteX2" fmla="*/ 1478280 w 1828800"/>
                <a:gd name="connsiteY2" fmla="*/ 373380 h 373380"/>
                <a:gd name="connsiteX3" fmla="*/ 0 w 1828800"/>
                <a:gd name="connsiteY3" fmla="*/ 0 h 373380"/>
                <a:gd name="connsiteX0" fmla="*/ 0 w 1838325"/>
                <a:gd name="connsiteY0" fmla="*/ 3810 h 377190"/>
                <a:gd name="connsiteX1" fmla="*/ 1838325 w 1838325"/>
                <a:gd name="connsiteY1" fmla="*/ 0 h 377190"/>
                <a:gd name="connsiteX2" fmla="*/ 1478280 w 1838325"/>
                <a:gd name="connsiteY2" fmla="*/ 377190 h 377190"/>
                <a:gd name="connsiteX3" fmla="*/ 0 w 1838325"/>
                <a:gd name="connsiteY3" fmla="*/ 3810 h 377190"/>
                <a:gd name="connsiteX0" fmla="*/ 0 w 1833563"/>
                <a:gd name="connsiteY0" fmla="*/ 3810 h 377190"/>
                <a:gd name="connsiteX1" fmla="*/ 1833563 w 1833563"/>
                <a:gd name="connsiteY1" fmla="*/ 0 h 377190"/>
                <a:gd name="connsiteX2" fmla="*/ 1473518 w 1833563"/>
                <a:gd name="connsiteY2" fmla="*/ 377190 h 377190"/>
                <a:gd name="connsiteX3" fmla="*/ 0 w 1833563"/>
                <a:gd name="connsiteY3" fmla="*/ 3810 h 377190"/>
                <a:gd name="connsiteX0" fmla="*/ 0 w 1833563"/>
                <a:gd name="connsiteY0" fmla="*/ 3810 h 377190"/>
                <a:gd name="connsiteX1" fmla="*/ 1833563 w 1833563"/>
                <a:gd name="connsiteY1" fmla="*/ 0 h 377190"/>
                <a:gd name="connsiteX2" fmla="*/ 1473518 w 1833563"/>
                <a:gd name="connsiteY2" fmla="*/ 377190 h 377190"/>
                <a:gd name="connsiteX3" fmla="*/ 0 w 1833563"/>
                <a:gd name="connsiteY3" fmla="*/ 3810 h 377190"/>
                <a:gd name="connsiteX0" fmla="*/ 0 w 1833563"/>
                <a:gd name="connsiteY0" fmla="*/ 3810 h 377190"/>
                <a:gd name="connsiteX1" fmla="*/ 1833563 w 1833563"/>
                <a:gd name="connsiteY1" fmla="*/ 0 h 377190"/>
                <a:gd name="connsiteX2" fmla="*/ 1640206 w 1833563"/>
                <a:gd name="connsiteY2" fmla="*/ 184785 h 377190"/>
                <a:gd name="connsiteX3" fmla="*/ 1473518 w 1833563"/>
                <a:gd name="connsiteY3" fmla="*/ 377190 h 377190"/>
                <a:gd name="connsiteX4" fmla="*/ 0 w 1833563"/>
                <a:gd name="connsiteY4" fmla="*/ 3810 h 377190"/>
                <a:gd name="connsiteX0" fmla="*/ 0 w 1927127"/>
                <a:gd name="connsiteY0" fmla="*/ 3810 h 380942"/>
                <a:gd name="connsiteX1" fmla="*/ 1833563 w 1927127"/>
                <a:gd name="connsiteY1" fmla="*/ 0 h 380942"/>
                <a:gd name="connsiteX2" fmla="*/ 1640206 w 1927127"/>
                <a:gd name="connsiteY2" fmla="*/ 184785 h 380942"/>
                <a:gd name="connsiteX3" fmla="*/ 1473518 w 1927127"/>
                <a:gd name="connsiteY3" fmla="*/ 377190 h 380942"/>
                <a:gd name="connsiteX4" fmla="*/ 0 w 1927127"/>
                <a:gd name="connsiteY4" fmla="*/ 3810 h 380942"/>
                <a:gd name="connsiteX0" fmla="*/ 0 w 1927127"/>
                <a:gd name="connsiteY0" fmla="*/ 3810 h 380942"/>
                <a:gd name="connsiteX1" fmla="*/ 1833563 w 1927127"/>
                <a:gd name="connsiteY1" fmla="*/ 0 h 380942"/>
                <a:gd name="connsiteX2" fmla="*/ 1640206 w 1927127"/>
                <a:gd name="connsiteY2" fmla="*/ 184785 h 380942"/>
                <a:gd name="connsiteX3" fmla="*/ 1473518 w 1927127"/>
                <a:gd name="connsiteY3" fmla="*/ 377190 h 380942"/>
                <a:gd name="connsiteX4" fmla="*/ 0 w 1927127"/>
                <a:gd name="connsiteY4" fmla="*/ 3810 h 380942"/>
                <a:gd name="connsiteX0" fmla="*/ 0 w 1927127"/>
                <a:gd name="connsiteY0" fmla="*/ 3810 h 377190"/>
                <a:gd name="connsiteX1" fmla="*/ 1833563 w 1927127"/>
                <a:gd name="connsiteY1" fmla="*/ 0 h 377190"/>
                <a:gd name="connsiteX2" fmla="*/ 1640206 w 1927127"/>
                <a:gd name="connsiteY2" fmla="*/ 184785 h 377190"/>
                <a:gd name="connsiteX3" fmla="*/ 1473518 w 1927127"/>
                <a:gd name="connsiteY3" fmla="*/ 377190 h 377190"/>
                <a:gd name="connsiteX4" fmla="*/ 0 w 1927127"/>
                <a:gd name="connsiteY4" fmla="*/ 3810 h 377190"/>
                <a:gd name="connsiteX0" fmla="*/ 0 w 1833563"/>
                <a:gd name="connsiteY0" fmla="*/ 3810 h 377190"/>
                <a:gd name="connsiteX1" fmla="*/ 1833563 w 1833563"/>
                <a:gd name="connsiteY1" fmla="*/ 0 h 377190"/>
                <a:gd name="connsiteX2" fmla="*/ 1640206 w 1833563"/>
                <a:gd name="connsiteY2" fmla="*/ 184785 h 377190"/>
                <a:gd name="connsiteX3" fmla="*/ 1473518 w 1833563"/>
                <a:gd name="connsiteY3" fmla="*/ 377190 h 377190"/>
                <a:gd name="connsiteX4" fmla="*/ 0 w 1833563"/>
                <a:gd name="connsiteY4" fmla="*/ 3810 h 377190"/>
                <a:gd name="connsiteX0" fmla="*/ 0 w 1833563"/>
                <a:gd name="connsiteY0" fmla="*/ 3810 h 377190"/>
                <a:gd name="connsiteX1" fmla="*/ 1833563 w 1833563"/>
                <a:gd name="connsiteY1" fmla="*/ 0 h 377190"/>
                <a:gd name="connsiteX2" fmla="*/ 1694975 w 1833563"/>
                <a:gd name="connsiteY2" fmla="*/ 225267 h 377190"/>
                <a:gd name="connsiteX3" fmla="*/ 1473518 w 1833563"/>
                <a:gd name="connsiteY3" fmla="*/ 377190 h 377190"/>
                <a:gd name="connsiteX4" fmla="*/ 0 w 1833563"/>
                <a:gd name="connsiteY4" fmla="*/ 3810 h 377190"/>
                <a:gd name="connsiteX0" fmla="*/ 0 w 1833563"/>
                <a:gd name="connsiteY0" fmla="*/ 3810 h 377190"/>
                <a:gd name="connsiteX1" fmla="*/ 1833563 w 1833563"/>
                <a:gd name="connsiteY1" fmla="*/ 0 h 377190"/>
                <a:gd name="connsiteX2" fmla="*/ 1694975 w 1833563"/>
                <a:gd name="connsiteY2" fmla="*/ 225267 h 377190"/>
                <a:gd name="connsiteX3" fmla="*/ 1473518 w 1833563"/>
                <a:gd name="connsiteY3" fmla="*/ 377190 h 377190"/>
                <a:gd name="connsiteX4" fmla="*/ 0 w 1833563"/>
                <a:gd name="connsiteY4" fmla="*/ 3810 h 377190"/>
                <a:gd name="connsiteX0" fmla="*/ 0 w 1833563"/>
                <a:gd name="connsiteY0" fmla="*/ 3810 h 377190"/>
                <a:gd name="connsiteX1" fmla="*/ 1833563 w 1833563"/>
                <a:gd name="connsiteY1" fmla="*/ 0 h 377190"/>
                <a:gd name="connsiteX2" fmla="*/ 1694975 w 1833563"/>
                <a:gd name="connsiteY2" fmla="*/ 225267 h 377190"/>
                <a:gd name="connsiteX3" fmla="*/ 1473518 w 1833563"/>
                <a:gd name="connsiteY3" fmla="*/ 377190 h 377190"/>
                <a:gd name="connsiteX4" fmla="*/ 0 w 1833563"/>
                <a:gd name="connsiteY4" fmla="*/ 3810 h 377190"/>
                <a:gd name="connsiteX0" fmla="*/ 0 w 1833563"/>
                <a:gd name="connsiteY0" fmla="*/ 3810 h 377190"/>
                <a:gd name="connsiteX1" fmla="*/ 1833563 w 1833563"/>
                <a:gd name="connsiteY1" fmla="*/ 0 h 377190"/>
                <a:gd name="connsiteX2" fmla="*/ 1694975 w 1833563"/>
                <a:gd name="connsiteY2" fmla="*/ 225267 h 377190"/>
                <a:gd name="connsiteX3" fmla="*/ 1473518 w 1833563"/>
                <a:gd name="connsiteY3" fmla="*/ 377190 h 377190"/>
                <a:gd name="connsiteX4" fmla="*/ 0 w 1833563"/>
                <a:gd name="connsiteY4" fmla="*/ 3810 h 377190"/>
                <a:gd name="connsiteX0" fmla="*/ 0 w 1833563"/>
                <a:gd name="connsiteY0" fmla="*/ 3810 h 377190"/>
                <a:gd name="connsiteX1" fmla="*/ 1833563 w 1833563"/>
                <a:gd name="connsiteY1" fmla="*/ 0 h 377190"/>
                <a:gd name="connsiteX2" fmla="*/ 1714025 w 1833563"/>
                <a:gd name="connsiteY2" fmla="*/ 208598 h 377190"/>
                <a:gd name="connsiteX3" fmla="*/ 1473518 w 1833563"/>
                <a:gd name="connsiteY3" fmla="*/ 377190 h 377190"/>
                <a:gd name="connsiteX4" fmla="*/ 0 w 1833563"/>
                <a:gd name="connsiteY4" fmla="*/ 3810 h 377190"/>
                <a:gd name="connsiteX0" fmla="*/ 0 w 1833563"/>
                <a:gd name="connsiteY0" fmla="*/ 3810 h 365284"/>
                <a:gd name="connsiteX1" fmla="*/ 1833563 w 1833563"/>
                <a:gd name="connsiteY1" fmla="*/ 0 h 365284"/>
                <a:gd name="connsiteX2" fmla="*/ 1714025 w 1833563"/>
                <a:gd name="connsiteY2" fmla="*/ 208598 h 365284"/>
                <a:gd name="connsiteX3" fmla="*/ 1473518 w 1833563"/>
                <a:gd name="connsiteY3" fmla="*/ 365284 h 365284"/>
                <a:gd name="connsiteX4" fmla="*/ 0 w 1833563"/>
                <a:gd name="connsiteY4" fmla="*/ 3810 h 365284"/>
                <a:gd name="connsiteX0" fmla="*/ 0 w 1833563"/>
                <a:gd name="connsiteY0" fmla="*/ 3810 h 365284"/>
                <a:gd name="connsiteX1" fmla="*/ 1833563 w 1833563"/>
                <a:gd name="connsiteY1" fmla="*/ 0 h 365284"/>
                <a:gd name="connsiteX2" fmla="*/ 1714025 w 1833563"/>
                <a:gd name="connsiteY2" fmla="*/ 208598 h 365284"/>
                <a:gd name="connsiteX3" fmla="*/ 1473518 w 1833563"/>
                <a:gd name="connsiteY3" fmla="*/ 365284 h 365284"/>
                <a:gd name="connsiteX4" fmla="*/ 0 w 1833563"/>
                <a:gd name="connsiteY4" fmla="*/ 3810 h 365284"/>
                <a:gd name="connsiteX0" fmla="*/ 0 w 1833563"/>
                <a:gd name="connsiteY0" fmla="*/ 3810 h 365284"/>
                <a:gd name="connsiteX1" fmla="*/ 1833563 w 1833563"/>
                <a:gd name="connsiteY1" fmla="*/ 0 h 365284"/>
                <a:gd name="connsiteX2" fmla="*/ 1714025 w 1833563"/>
                <a:gd name="connsiteY2" fmla="*/ 208598 h 365284"/>
                <a:gd name="connsiteX3" fmla="*/ 1473518 w 1833563"/>
                <a:gd name="connsiteY3" fmla="*/ 365284 h 365284"/>
                <a:gd name="connsiteX4" fmla="*/ 0 w 1833563"/>
                <a:gd name="connsiteY4" fmla="*/ 3810 h 365284"/>
                <a:gd name="connsiteX0" fmla="*/ 0 w 1833563"/>
                <a:gd name="connsiteY0" fmla="*/ 3810 h 365284"/>
                <a:gd name="connsiteX1" fmla="*/ 1833563 w 1833563"/>
                <a:gd name="connsiteY1" fmla="*/ 0 h 365284"/>
                <a:gd name="connsiteX2" fmla="*/ 1714025 w 1833563"/>
                <a:gd name="connsiteY2" fmla="*/ 208598 h 365284"/>
                <a:gd name="connsiteX3" fmla="*/ 1473518 w 1833563"/>
                <a:gd name="connsiteY3" fmla="*/ 365284 h 365284"/>
                <a:gd name="connsiteX4" fmla="*/ 0 w 1833563"/>
                <a:gd name="connsiteY4" fmla="*/ 3810 h 365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63" h="365284">
                  <a:moveTo>
                    <a:pt x="0" y="3810"/>
                  </a:moveTo>
                  <a:lnTo>
                    <a:pt x="1833563" y="0"/>
                  </a:lnTo>
                  <a:cubicBezTo>
                    <a:pt x="1811656" y="101600"/>
                    <a:pt x="1733551" y="190580"/>
                    <a:pt x="1714025" y="208598"/>
                  </a:cubicBezTo>
                  <a:cubicBezTo>
                    <a:pt x="1694499" y="226616"/>
                    <a:pt x="1596868" y="304958"/>
                    <a:pt x="1473518" y="365284"/>
                  </a:cubicBezTo>
                  <a:lnTo>
                    <a:pt x="0" y="3810"/>
                  </a:lnTo>
                  <a:close/>
                </a:path>
              </a:pathLst>
            </a:custGeom>
            <a:solidFill>
              <a:schemeClr val="bg1">
                <a:lumMod val="95000"/>
              </a:schemeClr>
            </a:solidFill>
            <a:ln w="3175" cap="sq" algn="ctr">
              <a:solidFill>
                <a:srgbClr val="63666A"/>
              </a:solidFill>
              <a:round/>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8" name="Freeform 17"/>
            <p:cNvSpPr/>
            <p:nvPr/>
          </p:nvSpPr>
          <p:spPr bwMode="gray">
            <a:xfrm>
              <a:off x="4226652" y="3888843"/>
              <a:ext cx="1487487" cy="587375"/>
            </a:xfrm>
            <a:custGeom>
              <a:avLst/>
              <a:gdLst>
                <a:gd name="connsiteX0" fmla="*/ 0 w 1482725"/>
                <a:gd name="connsiteY0" fmla="*/ 0 h 587375"/>
                <a:gd name="connsiteX1" fmla="*/ 1482725 w 1482725"/>
                <a:gd name="connsiteY1" fmla="*/ 365125 h 587375"/>
                <a:gd name="connsiteX2" fmla="*/ 558800 w 1482725"/>
                <a:gd name="connsiteY2" fmla="*/ 587375 h 587375"/>
                <a:gd name="connsiteX3" fmla="*/ 0 w 1482725"/>
                <a:gd name="connsiteY3" fmla="*/ 0 h 587375"/>
                <a:gd name="connsiteX0" fmla="*/ 0 w 1482725"/>
                <a:gd name="connsiteY0" fmla="*/ 0 h 587375"/>
                <a:gd name="connsiteX1" fmla="*/ 1482725 w 1482725"/>
                <a:gd name="connsiteY1" fmla="*/ 365125 h 587375"/>
                <a:gd name="connsiteX2" fmla="*/ 1057275 w 1482725"/>
                <a:gd name="connsiteY2" fmla="*/ 466725 h 587375"/>
                <a:gd name="connsiteX3" fmla="*/ 558800 w 1482725"/>
                <a:gd name="connsiteY3" fmla="*/ 587375 h 587375"/>
                <a:gd name="connsiteX4" fmla="*/ 0 w 1482725"/>
                <a:gd name="connsiteY4" fmla="*/ 0 h 587375"/>
                <a:gd name="connsiteX0" fmla="*/ 0 w 1523150"/>
                <a:gd name="connsiteY0" fmla="*/ 0 h 608303"/>
                <a:gd name="connsiteX1" fmla="*/ 1482725 w 1523150"/>
                <a:gd name="connsiteY1" fmla="*/ 365125 h 608303"/>
                <a:gd name="connsiteX2" fmla="*/ 1057275 w 1523150"/>
                <a:gd name="connsiteY2" fmla="*/ 466725 h 608303"/>
                <a:gd name="connsiteX3" fmla="*/ 558800 w 1523150"/>
                <a:gd name="connsiteY3" fmla="*/ 587375 h 608303"/>
                <a:gd name="connsiteX4" fmla="*/ 0 w 1523150"/>
                <a:gd name="connsiteY4" fmla="*/ 0 h 608303"/>
                <a:gd name="connsiteX0" fmla="*/ 0 w 1523150"/>
                <a:gd name="connsiteY0" fmla="*/ 0 h 587375"/>
                <a:gd name="connsiteX1" fmla="*/ 1482725 w 1523150"/>
                <a:gd name="connsiteY1" fmla="*/ 365125 h 587375"/>
                <a:gd name="connsiteX2" fmla="*/ 1057275 w 1523150"/>
                <a:gd name="connsiteY2" fmla="*/ 466725 h 587375"/>
                <a:gd name="connsiteX3" fmla="*/ 558800 w 1523150"/>
                <a:gd name="connsiteY3" fmla="*/ 587375 h 587375"/>
                <a:gd name="connsiteX4" fmla="*/ 0 w 1523150"/>
                <a:gd name="connsiteY4" fmla="*/ 0 h 587375"/>
                <a:gd name="connsiteX0" fmla="*/ 0 w 1482725"/>
                <a:gd name="connsiteY0" fmla="*/ 0 h 587375"/>
                <a:gd name="connsiteX1" fmla="*/ 1482725 w 1482725"/>
                <a:gd name="connsiteY1" fmla="*/ 365125 h 587375"/>
                <a:gd name="connsiteX2" fmla="*/ 1057275 w 1482725"/>
                <a:gd name="connsiteY2" fmla="*/ 466725 h 587375"/>
                <a:gd name="connsiteX3" fmla="*/ 558800 w 1482725"/>
                <a:gd name="connsiteY3" fmla="*/ 587375 h 587375"/>
                <a:gd name="connsiteX4" fmla="*/ 0 w 1482725"/>
                <a:gd name="connsiteY4" fmla="*/ 0 h 587375"/>
                <a:gd name="connsiteX0" fmla="*/ 0 w 1482725"/>
                <a:gd name="connsiteY0" fmla="*/ 0 h 587375"/>
                <a:gd name="connsiteX1" fmla="*/ 1482725 w 1482725"/>
                <a:gd name="connsiteY1" fmla="*/ 365125 h 587375"/>
                <a:gd name="connsiteX2" fmla="*/ 1073150 w 1482725"/>
                <a:gd name="connsiteY2" fmla="*/ 495300 h 587375"/>
                <a:gd name="connsiteX3" fmla="*/ 558800 w 1482725"/>
                <a:gd name="connsiteY3" fmla="*/ 587375 h 587375"/>
                <a:gd name="connsiteX4" fmla="*/ 0 w 1482725"/>
                <a:gd name="connsiteY4" fmla="*/ 0 h 587375"/>
                <a:gd name="connsiteX0" fmla="*/ 0 w 1482725"/>
                <a:gd name="connsiteY0" fmla="*/ 0 h 587375"/>
                <a:gd name="connsiteX1" fmla="*/ 1482725 w 1482725"/>
                <a:gd name="connsiteY1" fmla="*/ 365125 h 587375"/>
                <a:gd name="connsiteX2" fmla="*/ 1073150 w 1482725"/>
                <a:gd name="connsiteY2" fmla="*/ 495300 h 587375"/>
                <a:gd name="connsiteX3" fmla="*/ 558800 w 1482725"/>
                <a:gd name="connsiteY3" fmla="*/ 587375 h 587375"/>
                <a:gd name="connsiteX4" fmla="*/ 0 w 1482725"/>
                <a:gd name="connsiteY4" fmla="*/ 0 h 587375"/>
                <a:gd name="connsiteX0" fmla="*/ 0 w 1487487"/>
                <a:gd name="connsiteY0" fmla="*/ 0 h 587375"/>
                <a:gd name="connsiteX1" fmla="*/ 1487487 w 1487487"/>
                <a:gd name="connsiteY1" fmla="*/ 365125 h 587375"/>
                <a:gd name="connsiteX2" fmla="*/ 1077912 w 1487487"/>
                <a:gd name="connsiteY2" fmla="*/ 495300 h 587375"/>
                <a:gd name="connsiteX3" fmla="*/ 563562 w 1487487"/>
                <a:gd name="connsiteY3" fmla="*/ 587375 h 587375"/>
                <a:gd name="connsiteX4" fmla="*/ 0 w 1487487"/>
                <a:gd name="connsiteY4" fmla="*/ 0 h 58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487" h="587375">
                  <a:moveTo>
                    <a:pt x="0" y="0"/>
                  </a:moveTo>
                  <a:lnTo>
                    <a:pt x="1487487" y="365125"/>
                  </a:lnTo>
                  <a:cubicBezTo>
                    <a:pt x="1269999" y="442912"/>
                    <a:pt x="1108074" y="486833"/>
                    <a:pt x="1077912" y="495300"/>
                  </a:cubicBezTo>
                  <a:cubicBezTo>
                    <a:pt x="1047750" y="503767"/>
                    <a:pt x="761999" y="560387"/>
                    <a:pt x="563562" y="587375"/>
                  </a:cubicBezTo>
                  <a:lnTo>
                    <a:pt x="0" y="0"/>
                  </a:lnTo>
                  <a:close/>
                </a:path>
              </a:pathLst>
            </a:custGeom>
            <a:solidFill>
              <a:srgbClr val="86BC25"/>
            </a:solidFill>
            <a:ln w="3175" cap="sq" algn="ctr">
              <a:solidFill>
                <a:srgbClr val="012169"/>
              </a:solidFill>
              <a:round/>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cxnSp>
        <p:nvCxnSpPr>
          <p:cNvPr id="19" name="Straight Connector 18"/>
          <p:cNvCxnSpPr>
            <a:stCxn id="36" idx="7"/>
            <a:endCxn id="27" idx="0"/>
          </p:cNvCxnSpPr>
          <p:nvPr/>
        </p:nvCxnSpPr>
        <p:spPr>
          <a:xfrm>
            <a:off x="3773215" y="3030953"/>
            <a:ext cx="1" cy="2174348"/>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30" idx="2"/>
            <a:endCxn id="25" idx="0"/>
          </p:cNvCxnSpPr>
          <p:nvPr/>
        </p:nvCxnSpPr>
        <p:spPr>
          <a:xfrm>
            <a:off x="6057690" y="3008682"/>
            <a:ext cx="1" cy="1965174"/>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41" idx="2"/>
            <a:endCxn id="24" idx="0"/>
          </p:cNvCxnSpPr>
          <p:nvPr/>
        </p:nvCxnSpPr>
        <p:spPr>
          <a:xfrm>
            <a:off x="7247570" y="3008683"/>
            <a:ext cx="1" cy="1513767"/>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43" idx="7"/>
            <a:endCxn id="23" idx="0"/>
          </p:cNvCxnSpPr>
          <p:nvPr/>
        </p:nvCxnSpPr>
        <p:spPr>
          <a:xfrm>
            <a:off x="8406856" y="3030161"/>
            <a:ext cx="0" cy="739359"/>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gray">
          <a:xfrm>
            <a:off x="8360069" y="3769520"/>
            <a:ext cx="93575" cy="93575"/>
          </a:xfrm>
          <a:prstGeom prst="ellipse">
            <a:avLst/>
          </a:prstGeom>
          <a:solidFill>
            <a:schemeClr val="accent6"/>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4" name="Oval 23"/>
          <p:cNvSpPr/>
          <p:nvPr/>
        </p:nvSpPr>
        <p:spPr bwMode="gray">
          <a:xfrm>
            <a:off x="7200783" y="4522450"/>
            <a:ext cx="93575" cy="93575"/>
          </a:xfrm>
          <a:prstGeom prst="ellipse">
            <a:avLst/>
          </a:prstGeom>
          <a:solidFill>
            <a:srgbClr val="012169"/>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5" name="Oval 24"/>
          <p:cNvSpPr/>
          <p:nvPr/>
        </p:nvSpPr>
        <p:spPr bwMode="gray">
          <a:xfrm>
            <a:off x="6010903" y="4973857"/>
            <a:ext cx="93575" cy="93575"/>
          </a:xfrm>
          <a:prstGeom prst="ellipse">
            <a:avLst/>
          </a:prstGeom>
          <a:solidFill>
            <a:srgbClr val="009A44"/>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6" name="Oval 25"/>
          <p:cNvSpPr/>
          <p:nvPr/>
        </p:nvSpPr>
        <p:spPr bwMode="gray">
          <a:xfrm>
            <a:off x="4883084" y="5276942"/>
            <a:ext cx="93575" cy="93575"/>
          </a:xfrm>
          <a:prstGeom prst="ellipse">
            <a:avLst/>
          </a:prstGeom>
          <a:solidFill>
            <a:srgbClr val="00A3E0"/>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7" name="Oval 26"/>
          <p:cNvSpPr/>
          <p:nvPr/>
        </p:nvSpPr>
        <p:spPr bwMode="gray">
          <a:xfrm>
            <a:off x="3726428" y="5205302"/>
            <a:ext cx="93575" cy="93575"/>
          </a:xfrm>
          <a:prstGeom prst="ellipse">
            <a:avLst/>
          </a:prstGeom>
          <a:solidFill>
            <a:schemeClr val="accent1"/>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28" name="Group 243"/>
          <p:cNvGrpSpPr>
            <a:grpSpLocks noChangeAspect="1"/>
          </p:cNvGrpSpPr>
          <p:nvPr/>
        </p:nvGrpSpPr>
        <p:grpSpPr bwMode="auto">
          <a:xfrm>
            <a:off x="5835629" y="2583645"/>
            <a:ext cx="444120" cy="444120"/>
            <a:chOff x="4256" y="720"/>
            <a:chExt cx="340" cy="340"/>
          </a:xfrm>
          <a:solidFill>
            <a:srgbClr val="009A44"/>
          </a:solidFill>
        </p:grpSpPr>
        <p:sp>
          <p:nvSpPr>
            <p:cNvPr id="29" name="Freeform 244"/>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45"/>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Group 675"/>
          <p:cNvGrpSpPr>
            <a:grpSpLocks noChangeAspect="1"/>
          </p:cNvGrpSpPr>
          <p:nvPr/>
        </p:nvGrpSpPr>
        <p:grpSpPr bwMode="auto">
          <a:xfrm>
            <a:off x="4706614" y="2574124"/>
            <a:ext cx="446515" cy="446515"/>
            <a:chOff x="6583" y="2681"/>
            <a:chExt cx="340" cy="340"/>
          </a:xfrm>
          <a:solidFill>
            <a:srgbClr val="00A3E0"/>
          </a:solidFill>
        </p:grpSpPr>
        <p:sp>
          <p:nvSpPr>
            <p:cNvPr id="32"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 name="Group 749"/>
          <p:cNvGrpSpPr>
            <a:grpSpLocks noChangeAspect="1"/>
          </p:cNvGrpSpPr>
          <p:nvPr/>
        </p:nvGrpSpPr>
        <p:grpSpPr bwMode="auto">
          <a:xfrm>
            <a:off x="3549560" y="2583645"/>
            <a:ext cx="447308" cy="447308"/>
            <a:chOff x="3520" y="2686"/>
            <a:chExt cx="340" cy="340"/>
          </a:xfrm>
          <a:solidFill>
            <a:schemeClr val="accent1"/>
          </a:solidFill>
        </p:grpSpPr>
        <p:sp>
          <p:nvSpPr>
            <p:cNvPr id="36"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9" name="Group 480"/>
          <p:cNvGrpSpPr>
            <a:grpSpLocks noChangeAspect="1"/>
          </p:cNvGrpSpPr>
          <p:nvPr/>
        </p:nvGrpSpPr>
        <p:grpSpPr bwMode="auto">
          <a:xfrm>
            <a:off x="7025509" y="2583645"/>
            <a:ext cx="444120" cy="444120"/>
            <a:chOff x="1027" y="2077"/>
            <a:chExt cx="340" cy="340"/>
          </a:xfrm>
          <a:solidFill>
            <a:srgbClr val="012169"/>
          </a:solidFill>
        </p:grpSpPr>
        <p:sp>
          <p:nvSpPr>
            <p:cNvPr id="40" name="Freeform 481"/>
            <p:cNvSpPr>
              <a:spLocks noEditPoints="1"/>
            </p:cNvSpPr>
            <p:nvPr/>
          </p:nvSpPr>
          <p:spPr bwMode="auto">
            <a:xfrm>
              <a:off x="1147" y="2141"/>
              <a:ext cx="99" cy="212"/>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482"/>
            <p:cNvSpPr>
              <a:spLocks noEditPoints="1"/>
            </p:cNvSpPr>
            <p:nvPr/>
          </p:nvSpPr>
          <p:spPr bwMode="auto">
            <a:xfrm>
              <a:off x="1027" y="20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2" name="Group 100"/>
          <p:cNvGrpSpPr>
            <a:grpSpLocks noChangeAspect="1"/>
          </p:cNvGrpSpPr>
          <p:nvPr/>
        </p:nvGrpSpPr>
        <p:grpSpPr bwMode="auto">
          <a:xfrm>
            <a:off x="8183599" y="2583646"/>
            <a:ext cx="446515" cy="446515"/>
            <a:chOff x="374" y="351"/>
            <a:chExt cx="340" cy="340"/>
          </a:xfrm>
          <a:solidFill>
            <a:srgbClr val="63666A"/>
          </a:solidFill>
        </p:grpSpPr>
        <p:sp>
          <p:nvSpPr>
            <p:cNvPr id="43" name="Freeform 101"/>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102"/>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103"/>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04"/>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05"/>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8" name="Rectangle 47"/>
          <p:cNvSpPr/>
          <p:nvPr/>
        </p:nvSpPr>
        <p:spPr>
          <a:xfrm>
            <a:off x="8788266" y="2550135"/>
            <a:ext cx="1579674" cy="553998"/>
          </a:xfrm>
          <a:prstGeom prst="rect">
            <a:avLst/>
          </a:prstGeom>
        </p:spPr>
        <p:txBody>
          <a:bodyPr wrap="square">
            <a:spAutoFit/>
          </a:bodyPr>
          <a:lstStyle/>
          <a:p>
            <a:r>
              <a:rPr lang="en-US" sz="1000" dirty="0"/>
              <a:t>Lorem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a:t>
            </a:r>
            <a:endParaRPr lang="en-US" sz="1000" dirty="0"/>
          </a:p>
        </p:txBody>
      </p:sp>
      <p:sp>
        <p:nvSpPr>
          <p:cNvPr id="49" name="Rectangle 48"/>
          <p:cNvSpPr/>
          <p:nvPr/>
        </p:nvSpPr>
        <p:spPr bwMode="gray">
          <a:xfrm>
            <a:off x="3191766" y="1816026"/>
            <a:ext cx="1162897" cy="45719"/>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0" name="Rectangle 49"/>
          <p:cNvSpPr/>
          <p:nvPr/>
        </p:nvSpPr>
        <p:spPr bwMode="gray">
          <a:xfrm>
            <a:off x="4401282" y="1817240"/>
            <a:ext cx="1057179" cy="45719"/>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1" name="Rectangle 50"/>
          <p:cNvSpPr/>
          <p:nvPr/>
        </p:nvSpPr>
        <p:spPr bwMode="gray">
          <a:xfrm>
            <a:off x="5471039" y="1815959"/>
            <a:ext cx="1162897" cy="45719"/>
          </a:xfrm>
          <a:prstGeom prst="rect">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2" name="Rectangle 51"/>
          <p:cNvSpPr/>
          <p:nvPr/>
        </p:nvSpPr>
        <p:spPr bwMode="gray">
          <a:xfrm>
            <a:off x="6656224" y="1816394"/>
            <a:ext cx="1162897" cy="45719"/>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3" name="Rectangle 52"/>
          <p:cNvSpPr/>
          <p:nvPr/>
        </p:nvSpPr>
        <p:spPr bwMode="gray">
          <a:xfrm>
            <a:off x="7843793" y="1815673"/>
            <a:ext cx="1162897" cy="45719"/>
          </a:xfrm>
          <a:prstGeom prst="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4" name="Rectangle 53"/>
          <p:cNvSpPr/>
          <p:nvPr/>
        </p:nvSpPr>
        <p:spPr bwMode="gray">
          <a:xfrm>
            <a:off x="8146725" y="1277127"/>
            <a:ext cx="520263" cy="520263"/>
          </a:xfrm>
          <a:prstGeom prst="rect">
            <a:avLst/>
          </a:prstGeom>
          <a:no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2400">
                <a:solidFill>
                  <a:srgbClr val="53565A"/>
                </a:solidFill>
              </a:rPr>
              <a:t>65</a:t>
            </a:r>
            <a:endParaRPr lang="en-GB" sz="2400">
              <a:solidFill>
                <a:srgbClr val="53565A"/>
              </a:solidFill>
            </a:endParaRPr>
          </a:p>
        </p:txBody>
      </p:sp>
      <p:sp>
        <p:nvSpPr>
          <p:cNvPr id="55" name="Rectangle 54"/>
          <p:cNvSpPr/>
          <p:nvPr/>
        </p:nvSpPr>
        <p:spPr bwMode="gray">
          <a:xfrm>
            <a:off x="6987439" y="1277127"/>
            <a:ext cx="520263" cy="520263"/>
          </a:xfrm>
          <a:prstGeom prst="rect">
            <a:avLst/>
          </a:prstGeom>
          <a:no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2400">
                <a:solidFill>
                  <a:srgbClr val="012169"/>
                </a:solidFill>
              </a:rPr>
              <a:t>57</a:t>
            </a:r>
            <a:endParaRPr lang="en-GB" sz="2400">
              <a:solidFill>
                <a:srgbClr val="012169"/>
              </a:solidFill>
            </a:endParaRPr>
          </a:p>
        </p:txBody>
      </p:sp>
      <p:sp>
        <p:nvSpPr>
          <p:cNvPr id="56" name="Rectangle 55"/>
          <p:cNvSpPr/>
          <p:nvPr/>
        </p:nvSpPr>
        <p:spPr bwMode="gray">
          <a:xfrm>
            <a:off x="5835262" y="1277127"/>
            <a:ext cx="520263" cy="520263"/>
          </a:xfrm>
          <a:prstGeom prst="rect">
            <a:avLst/>
          </a:prstGeom>
          <a:no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2400">
                <a:solidFill>
                  <a:srgbClr val="009A44"/>
                </a:solidFill>
              </a:rPr>
              <a:t>50</a:t>
            </a:r>
            <a:endParaRPr lang="en-GB" sz="2400">
              <a:solidFill>
                <a:srgbClr val="009A44"/>
              </a:solidFill>
            </a:endParaRPr>
          </a:p>
        </p:txBody>
      </p:sp>
      <p:sp>
        <p:nvSpPr>
          <p:cNvPr id="57" name="Rectangle 56"/>
          <p:cNvSpPr/>
          <p:nvPr/>
        </p:nvSpPr>
        <p:spPr bwMode="gray">
          <a:xfrm>
            <a:off x="4647936" y="1277127"/>
            <a:ext cx="520263" cy="520263"/>
          </a:xfrm>
          <a:prstGeom prst="rect">
            <a:avLst/>
          </a:prstGeom>
          <a:no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2400">
                <a:solidFill>
                  <a:srgbClr val="00B0F0"/>
                </a:solidFill>
              </a:rPr>
              <a:t>17</a:t>
            </a:r>
            <a:endParaRPr lang="en-GB" sz="2400">
              <a:solidFill>
                <a:srgbClr val="00B0F0"/>
              </a:solidFill>
            </a:endParaRPr>
          </a:p>
        </p:txBody>
      </p:sp>
      <p:sp>
        <p:nvSpPr>
          <p:cNvPr id="58" name="Rectangle 57"/>
          <p:cNvSpPr/>
          <p:nvPr/>
        </p:nvSpPr>
        <p:spPr bwMode="gray">
          <a:xfrm>
            <a:off x="3513084" y="1277127"/>
            <a:ext cx="520263" cy="520263"/>
          </a:xfrm>
          <a:prstGeom prst="rect">
            <a:avLst/>
          </a:prstGeom>
          <a:no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2400">
                <a:solidFill>
                  <a:schemeClr val="accent1"/>
                </a:solidFill>
              </a:rPr>
              <a:t>12</a:t>
            </a:r>
            <a:endParaRPr lang="en-GB" sz="2400">
              <a:solidFill>
                <a:schemeClr val="accent1"/>
              </a:solidFill>
            </a:endParaRPr>
          </a:p>
        </p:txBody>
      </p:sp>
      <p:cxnSp>
        <p:nvCxnSpPr>
          <p:cNvPr id="59" name="Straight Connector 58"/>
          <p:cNvCxnSpPr>
            <a:stCxn id="32" idx="2"/>
            <a:endCxn id="26" idx="0"/>
          </p:cNvCxnSpPr>
          <p:nvPr/>
        </p:nvCxnSpPr>
        <p:spPr>
          <a:xfrm>
            <a:off x="4929871" y="3001453"/>
            <a:ext cx="0" cy="2275489"/>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60" name="Rounded Rectangle 59"/>
          <p:cNvSpPr/>
          <p:nvPr/>
        </p:nvSpPr>
        <p:spPr>
          <a:xfrm>
            <a:off x="6714009" y="1991313"/>
            <a:ext cx="1065815" cy="457200"/>
          </a:xfrm>
          <a:prstGeom prst="roundRect">
            <a:avLst>
              <a:gd name="adj" fmla="val 7987"/>
            </a:avLst>
          </a:prstGeom>
          <a:solidFill>
            <a:schemeClr val="bg1">
              <a:lumMod val="95000"/>
            </a:schemeClr>
          </a:solidFill>
          <a:ln w="6350">
            <a:solidFill>
              <a:srgbClr val="A7A8AA"/>
            </a:solidFill>
          </a:ln>
        </p:spPr>
        <p:txBody>
          <a:bodyPr wrap="square" lIns="0" rIns="0" anchor="ctr">
            <a:noAutofit/>
          </a:bodyPr>
          <a:lstStyle/>
          <a:p>
            <a:pPr algn="ctr"/>
            <a:r>
              <a:rPr lang="en-GB" sz="1100" b="1" dirty="0"/>
              <a:t>Lorem </a:t>
            </a:r>
            <a:r>
              <a:rPr lang="en-GB" sz="1100" b="1" dirty="0" err="1"/>
              <a:t>ipsu</a:t>
            </a:r>
            <a:endParaRPr lang="en-GB" sz="1100" b="1" dirty="0"/>
          </a:p>
        </p:txBody>
      </p:sp>
      <p:sp>
        <p:nvSpPr>
          <p:cNvPr id="61" name="Rounded Rectangle 60"/>
          <p:cNvSpPr/>
          <p:nvPr/>
        </p:nvSpPr>
        <p:spPr>
          <a:xfrm>
            <a:off x="7922395" y="1991313"/>
            <a:ext cx="968923" cy="457200"/>
          </a:xfrm>
          <a:prstGeom prst="roundRect">
            <a:avLst>
              <a:gd name="adj" fmla="val 8334"/>
            </a:avLst>
          </a:prstGeom>
          <a:solidFill>
            <a:schemeClr val="bg1">
              <a:lumMod val="95000"/>
            </a:schemeClr>
          </a:solidFill>
          <a:ln w="6350">
            <a:solidFill>
              <a:srgbClr val="A7A8AA"/>
            </a:solidFill>
          </a:ln>
        </p:spPr>
        <p:txBody>
          <a:bodyPr wrap="square" lIns="45720" rIns="45720" anchor="ctr">
            <a:noAutofit/>
          </a:bodyPr>
          <a:lstStyle/>
          <a:p>
            <a:pPr algn="ctr"/>
            <a:r>
              <a:rPr lang="en-GB" sz="1100" b="1" dirty="0"/>
              <a:t>Lorem </a:t>
            </a:r>
            <a:r>
              <a:rPr lang="en-GB" sz="1100" b="1" dirty="0" err="1"/>
              <a:t>ipsu</a:t>
            </a:r>
            <a:endParaRPr lang="en-GB" sz="1100" b="1" dirty="0"/>
          </a:p>
        </p:txBody>
      </p:sp>
      <p:sp>
        <p:nvSpPr>
          <p:cNvPr id="62" name="Rounded Rectangle 61"/>
          <p:cNvSpPr/>
          <p:nvPr/>
        </p:nvSpPr>
        <p:spPr>
          <a:xfrm>
            <a:off x="4615846" y="1991313"/>
            <a:ext cx="628051" cy="457200"/>
          </a:xfrm>
          <a:prstGeom prst="roundRect">
            <a:avLst>
              <a:gd name="adj" fmla="val 9376"/>
            </a:avLst>
          </a:prstGeom>
          <a:solidFill>
            <a:schemeClr val="bg1">
              <a:lumMod val="95000"/>
            </a:schemeClr>
          </a:solidFill>
          <a:ln w="6350">
            <a:solidFill>
              <a:srgbClr val="A7A8AA"/>
            </a:solidFill>
          </a:ln>
        </p:spPr>
        <p:txBody>
          <a:bodyPr wrap="square" lIns="45720" rIns="45720" anchor="ctr">
            <a:noAutofit/>
          </a:bodyPr>
          <a:lstStyle/>
          <a:p>
            <a:pPr algn="ctr"/>
            <a:r>
              <a:rPr lang="en-GB" sz="1100" b="1" dirty="0"/>
              <a:t>Lorem </a:t>
            </a:r>
            <a:r>
              <a:rPr lang="en-GB" sz="1100" b="1" dirty="0" err="1"/>
              <a:t>ipsu</a:t>
            </a:r>
            <a:endParaRPr lang="en-GB" sz="1100" b="1" dirty="0"/>
          </a:p>
        </p:txBody>
      </p:sp>
      <p:sp>
        <p:nvSpPr>
          <p:cNvPr id="63" name="Rounded Rectangle 62"/>
          <p:cNvSpPr/>
          <p:nvPr/>
        </p:nvSpPr>
        <p:spPr>
          <a:xfrm>
            <a:off x="3309616" y="1991313"/>
            <a:ext cx="927194" cy="457200"/>
          </a:xfrm>
          <a:prstGeom prst="roundRect">
            <a:avLst>
              <a:gd name="adj" fmla="val 9376"/>
            </a:avLst>
          </a:prstGeom>
          <a:solidFill>
            <a:schemeClr val="bg1">
              <a:lumMod val="95000"/>
            </a:schemeClr>
          </a:solidFill>
          <a:ln w="6350">
            <a:solidFill>
              <a:srgbClr val="A7A8AA"/>
            </a:solidFill>
          </a:ln>
        </p:spPr>
        <p:txBody>
          <a:bodyPr wrap="square" lIns="45720" rIns="45720" anchor="ctr">
            <a:noAutofit/>
          </a:bodyPr>
          <a:lstStyle/>
          <a:p>
            <a:pPr algn="ctr"/>
            <a:r>
              <a:rPr lang="en-GB" sz="1100" b="1" dirty="0"/>
              <a:t>Lorem </a:t>
            </a:r>
            <a:r>
              <a:rPr lang="en-GB" sz="1100" b="1" dirty="0" err="1"/>
              <a:t>ipsu</a:t>
            </a:r>
            <a:endParaRPr lang="en-GB" sz="1100" b="1" dirty="0"/>
          </a:p>
        </p:txBody>
      </p:sp>
      <p:sp>
        <p:nvSpPr>
          <p:cNvPr id="64" name="Rounded Rectangle 63"/>
          <p:cNvSpPr/>
          <p:nvPr/>
        </p:nvSpPr>
        <p:spPr>
          <a:xfrm>
            <a:off x="5471491" y="1991313"/>
            <a:ext cx="1172396" cy="457200"/>
          </a:xfrm>
          <a:prstGeom prst="roundRect">
            <a:avLst>
              <a:gd name="adj" fmla="val 6250"/>
            </a:avLst>
          </a:prstGeom>
          <a:solidFill>
            <a:schemeClr val="bg1">
              <a:lumMod val="95000"/>
            </a:schemeClr>
          </a:solidFill>
          <a:ln w="6350">
            <a:solidFill>
              <a:srgbClr val="A7A8AA"/>
            </a:solidFill>
          </a:ln>
        </p:spPr>
        <p:txBody>
          <a:bodyPr wrap="square" lIns="0" rIns="0" anchor="ctr">
            <a:noAutofit/>
          </a:bodyPr>
          <a:lstStyle/>
          <a:p>
            <a:pPr algn="ctr"/>
            <a:r>
              <a:rPr lang="en-GB" sz="1100" b="1" dirty="0"/>
              <a:t>Lorem </a:t>
            </a:r>
            <a:r>
              <a:rPr lang="en-GB" sz="1100" b="1" dirty="0" err="1"/>
              <a:t>ipsu</a:t>
            </a:r>
            <a:endParaRPr lang="en-GB" sz="1100" b="1" dirty="0"/>
          </a:p>
        </p:txBody>
      </p:sp>
    </p:spTree>
    <p:custDataLst>
      <p:tags r:id="rId1"/>
    </p:custDataLst>
    <p:extLst>
      <p:ext uri="{BB962C8B-B14F-4D97-AF65-F5344CB8AC3E}">
        <p14:creationId xmlns:p14="http://schemas.microsoft.com/office/powerpoint/2010/main" val="3616963593"/>
      </p:ext>
    </p:extLst>
  </p:cSld>
  <p:clrMapOvr>
    <a:masterClrMapping/>
  </p:clrMapOvr>
  <p:transition>
    <p:fade/>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0" name="Group 189">
            <a:extLst>
              <a:ext uri="{FF2B5EF4-FFF2-40B4-BE49-F238E27FC236}">
                <a16:creationId xmlns:a16="http://schemas.microsoft.com/office/drawing/2014/main" id="{E8679DBD-D0F9-D64C-94D7-C8732B53F576}"/>
              </a:ext>
            </a:extLst>
          </p:cNvPr>
          <p:cNvGrpSpPr/>
          <p:nvPr/>
        </p:nvGrpSpPr>
        <p:grpSpPr>
          <a:xfrm>
            <a:off x="3524251" y="546100"/>
            <a:ext cx="5370512" cy="5432426"/>
            <a:chOff x="2000251" y="546100"/>
            <a:chExt cx="5370512" cy="5432426"/>
          </a:xfrm>
        </p:grpSpPr>
        <p:sp>
          <p:nvSpPr>
            <p:cNvPr id="191" name="Freeform 6">
              <a:extLst>
                <a:ext uri="{FF2B5EF4-FFF2-40B4-BE49-F238E27FC236}">
                  <a16:creationId xmlns:a16="http://schemas.microsoft.com/office/drawing/2014/main" id="{6359BCCA-DD66-DD49-ADA6-96D4F6A762D7}"/>
                </a:ext>
              </a:extLst>
            </p:cNvPr>
            <p:cNvSpPr>
              <a:spLocks noEditPoints="1"/>
            </p:cNvSpPr>
            <p:nvPr/>
          </p:nvSpPr>
          <p:spPr bwMode="auto">
            <a:xfrm>
              <a:off x="2000251" y="3470275"/>
              <a:ext cx="554038" cy="365125"/>
            </a:xfrm>
            <a:custGeom>
              <a:avLst/>
              <a:gdLst>
                <a:gd name="T0" fmla="*/ 158 w 349"/>
                <a:gd name="T1" fmla="*/ 99 h 230"/>
                <a:gd name="T2" fmla="*/ 177 w 349"/>
                <a:gd name="T3" fmla="*/ 119 h 230"/>
                <a:gd name="T4" fmla="*/ 157 w 349"/>
                <a:gd name="T5" fmla="*/ 114 h 230"/>
                <a:gd name="T6" fmla="*/ 151 w 349"/>
                <a:gd name="T7" fmla="*/ 113 h 230"/>
                <a:gd name="T8" fmla="*/ 148 w 349"/>
                <a:gd name="T9" fmla="*/ 114 h 230"/>
                <a:gd name="T10" fmla="*/ 142 w 349"/>
                <a:gd name="T11" fmla="*/ 118 h 230"/>
                <a:gd name="T12" fmla="*/ 142 w 349"/>
                <a:gd name="T13" fmla="*/ 123 h 230"/>
                <a:gd name="T14" fmla="*/ 146 w 349"/>
                <a:gd name="T15" fmla="*/ 128 h 230"/>
                <a:gd name="T16" fmla="*/ 168 w 349"/>
                <a:gd name="T17" fmla="*/ 136 h 230"/>
                <a:gd name="T18" fmla="*/ 183 w 349"/>
                <a:gd name="T19" fmla="*/ 146 h 230"/>
                <a:gd name="T20" fmla="*/ 184 w 349"/>
                <a:gd name="T21" fmla="*/ 157 h 230"/>
                <a:gd name="T22" fmla="*/ 181 w 349"/>
                <a:gd name="T23" fmla="*/ 169 h 230"/>
                <a:gd name="T24" fmla="*/ 158 w 349"/>
                <a:gd name="T25" fmla="*/ 179 h 230"/>
                <a:gd name="T26" fmla="*/ 148 w 349"/>
                <a:gd name="T27" fmla="*/ 179 h 230"/>
                <a:gd name="T28" fmla="*/ 122 w 349"/>
                <a:gd name="T29" fmla="*/ 159 h 230"/>
                <a:gd name="T30" fmla="*/ 136 w 349"/>
                <a:gd name="T31" fmla="*/ 162 h 230"/>
                <a:gd name="T32" fmla="*/ 148 w 349"/>
                <a:gd name="T33" fmla="*/ 165 h 230"/>
                <a:gd name="T34" fmla="*/ 164 w 349"/>
                <a:gd name="T35" fmla="*/ 162 h 230"/>
                <a:gd name="T36" fmla="*/ 166 w 349"/>
                <a:gd name="T37" fmla="*/ 157 h 230"/>
                <a:gd name="T38" fmla="*/ 163 w 349"/>
                <a:gd name="T39" fmla="*/ 153 h 230"/>
                <a:gd name="T40" fmla="*/ 158 w 349"/>
                <a:gd name="T41" fmla="*/ 149 h 230"/>
                <a:gd name="T42" fmla="*/ 134 w 349"/>
                <a:gd name="T43" fmla="*/ 140 h 230"/>
                <a:gd name="T44" fmla="*/ 123 w 349"/>
                <a:gd name="T45" fmla="*/ 129 h 230"/>
                <a:gd name="T46" fmla="*/ 122 w 349"/>
                <a:gd name="T47" fmla="*/ 116 h 230"/>
                <a:gd name="T48" fmla="*/ 130 w 349"/>
                <a:gd name="T49" fmla="*/ 106 h 230"/>
                <a:gd name="T50" fmla="*/ 148 w 349"/>
                <a:gd name="T51" fmla="*/ 89 h 230"/>
                <a:gd name="T52" fmla="*/ 271 w 349"/>
                <a:gd name="T53" fmla="*/ 204 h 230"/>
                <a:gd name="T54" fmla="*/ 78 w 349"/>
                <a:gd name="T55" fmla="*/ 25 h 230"/>
                <a:gd name="T56" fmla="*/ 288 w 349"/>
                <a:gd name="T57" fmla="*/ 51 h 230"/>
                <a:gd name="T58" fmla="*/ 296 w 349"/>
                <a:gd name="T59" fmla="*/ 59 h 230"/>
                <a:gd name="T60" fmla="*/ 323 w 349"/>
                <a:gd name="T61" fmla="*/ 154 h 230"/>
                <a:gd name="T62" fmla="*/ 64 w 349"/>
                <a:gd name="T63" fmla="*/ 0 h 230"/>
                <a:gd name="T64" fmla="*/ 342 w 349"/>
                <a:gd name="T65" fmla="*/ 2 h 230"/>
                <a:gd name="T66" fmla="*/ 349 w 349"/>
                <a:gd name="T67" fmla="*/ 12 h 230"/>
                <a:gd name="T68" fmla="*/ 346 w 349"/>
                <a:gd name="T69" fmla="*/ 173 h 230"/>
                <a:gd name="T70" fmla="*/ 335 w 349"/>
                <a:gd name="T71" fmla="*/ 179 h 230"/>
                <a:gd name="T72" fmla="*/ 296 w 349"/>
                <a:gd name="T73" fmla="*/ 222 h 230"/>
                <a:gd name="T74" fmla="*/ 288 w 349"/>
                <a:gd name="T75" fmla="*/ 230 h 230"/>
                <a:gd name="T76" fmla="*/ 9 w 349"/>
                <a:gd name="T77" fmla="*/ 230 h 230"/>
                <a:gd name="T78" fmla="*/ 1 w 349"/>
                <a:gd name="T79" fmla="*/ 222 h 230"/>
                <a:gd name="T80" fmla="*/ 1 w 349"/>
                <a:gd name="T81" fmla="*/ 59 h 230"/>
                <a:gd name="T82" fmla="*/ 9 w 349"/>
                <a:gd name="T83" fmla="*/ 51 h 230"/>
                <a:gd name="T84" fmla="*/ 52 w 349"/>
                <a:gd name="T85" fmla="*/ 12 h 230"/>
                <a:gd name="T86" fmla="*/ 57 w 349"/>
                <a:gd name="T87" fmla="*/ 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9" h="230">
                  <a:moveTo>
                    <a:pt x="148" y="89"/>
                  </a:moveTo>
                  <a:lnTo>
                    <a:pt x="158" y="89"/>
                  </a:lnTo>
                  <a:lnTo>
                    <a:pt x="158" y="99"/>
                  </a:lnTo>
                  <a:lnTo>
                    <a:pt x="171" y="101"/>
                  </a:lnTo>
                  <a:lnTo>
                    <a:pt x="183" y="105"/>
                  </a:lnTo>
                  <a:lnTo>
                    <a:pt x="177" y="119"/>
                  </a:lnTo>
                  <a:lnTo>
                    <a:pt x="168" y="115"/>
                  </a:lnTo>
                  <a:lnTo>
                    <a:pt x="158" y="114"/>
                  </a:lnTo>
                  <a:lnTo>
                    <a:pt x="157" y="114"/>
                  </a:lnTo>
                  <a:lnTo>
                    <a:pt x="156" y="113"/>
                  </a:lnTo>
                  <a:lnTo>
                    <a:pt x="154" y="113"/>
                  </a:lnTo>
                  <a:lnTo>
                    <a:pt x="151" y="113"/>
                  </a:lnTo>
                  <a:lnTo>
                    <a:pt x="150" y="113"/>
                  </a:lnTo>
                  <a:lnTo>
                    <a:pt x="149" y="114"/>
                  </a:lnTo>
                  <a:lnTo>
                    <a:pt x="148" y="114"/>
                  </a:lnTo>
                  <a:lnTo>
                    <a:pt x="145" y="114"/>
                  </a:lnTo>
                  <a:lnTo>
                    <a:pt x="143" y="116"/>
                  </a:lnTo>
                  <a:lnTo>
                    <a:pt x="142" y="118"/>
                  </a:lnTo>
                  <a:lnTo>
                    <a:pt x="142" y="120"/>
                  </a:lnTo>
                  <a:lnTo>
                    <a:pt x="142" y="122"/>
                  </a:lnTo>
                  <a:lnTo>
                    <a:pt x="142" y="123"/>
                  </a:lnTo>
                  <a:lnTo>
                    <a:pt x="143" y="124"/>
                  </a:lnTo>
                  <a:lnTo>
                    <a:pt x="144" y="127"/>
                  </a:lnTo>
                  <a:lnTo>
                    <a:pt x="146" y="128"/>
                  </a:lnTo>
                  <a:lnTo>
                    <a:pt x="148" y="129"/>
                  </a:lnTo>
                  <a:lnTo>
                    <a:pt x="158" y="133"/>
                  </a:lnTo>
                  <a:lnTo>
                    <a:pt x="168" y="136"/>
                  </a:lnTo>
                  <a:lnTo>
                    <a:pt x="174" y="139"/>
                  </a:lnTo>
                  <a:lnTo>
                    <a:pt x="178" y="143"/>
                  </a:lnTo>
                  <a:lnTo>
                    <a:pt x="183" y="146"/>
                  </a:lnTo>
                  <a:lnTo>
                    <a:pt x="184" y="150"/>
                  </a:lnTo>
                  <a:lnTo>
                    <a:pt x="184" y="153"/>
                  </a:lnTo>
                  <a:lnTo>
                    <a:pt x="184" y="157"/>
                  </a:lnTo>
                  <a:lnTo>
                    <a:pt x="184" y="161"/>
                  </a:lnTo>
                  <a:lnTo>
                    <a:pt x="183" y="165"/>
                  </a:lnTo>
                  <a:lnTo>
                    <a:pt x="181" y="169"/>
                  </a:lnTo>
                  <a:lnTo>
                    <a:pt x="177" y="172"/>
                  </a:lnTo>
                  <a:lnTo>
                    <a:pt x="169" y="177"/>
                  </a:lnTo>
                  <a:lnTo>
                    <a:pt x="158" y="179"/>
                  </a:lnTo>
                  <a:lnTo>
                    <a:pt x="158" y="192"/>
                  </a:lnTo>
                  <a:lnTo>
                    <a:pt x="148" y="192"/>
                  </a:lnTo>
                  <a:lnTo>
                    <a:pt x="148" y="179"/>
                  </a:lnTo>
                  <a:lnTo>
                    <a:pt x="135" y="178"/>
                  </a:lnTo>
                  <a:lnTo>
                    <a:pt x="122" y="174"/>
                  </a:lnTo>
                  <a:lnTo>
                    <a:pt x="122" y="159"/>
                  </a:lnTo>
                  <a:lnTo>
                    <a:pt x="127" y="160"/>
                  </a:lnTo>
                  <a:lnTo>
                    <a:pt x="131" y="161"/>
                  </a:lnTo>
                  <a:lnTo>
                    <a:pt x="136" y="162"/>
                  </a:lnTo>
                  <a:lnTo>
                    <a:pt x="140" y="164"/>
                  </a:lnTo>
                  <a:lnTo>
                    <a:pt x="145" y="165"/>
                  </a:lnTo>
                  <a:lnTo>
                    <a:pt x="148" y="165"/>
                  </a:lnTo>
                  <a:lnTo>
                    <a:pt x="158" y="165"/>
                  </a:lnTo>
                  <a:lnTo>
                    <a:pt x="161" y="164"/>
                  </a:lnTo>
                  <a:lnTo>
                    <a:pt x="164" y="162"/>
                  </a:lnTo>
                  <a:lnTo>
                    <a:pt x="165" y="160"/>
                  </a:lnTo>
                  <a:lnTo>
                    <a:pt x="166" y="158"/>
                  </a:lnTo>
                  <a:lnTo>
                    <a:pt x="166" y="157"/>
                  </a:lnTo>
                  <a:lnTo>
                    <a:pt x="165" y="155"/>
                  </a:lnTo>
                  <a:lnTo>
                    <a:pt x="165" y="154"/>
                  </a:lnTo>
                  <a:lnTo>
                    <a:pt x="163" y="153"/>
                  </a:lnTo>
                  <a:lnTo>
                    <a:pt x="162" y="151"/>
                  </a:lnTo>
                  <a:lnTo>
                    <a:pt x="160" y="150"/>
                  </a:lnTo>
                  <a:lnTo>
                    <a:pt x="158" y="149"/>
                  </a:lnTo>
                  <a:lnTo>
                    <a:pt x="148" y="146"/>
                  </a:lnTo>
                  <a:lnTo>
                    <a:pt x="145" y="144"/>
                  </a:lnTo>
                  <a:lnTo>
                    <a:pt x="134" y="140"/>
                  </a:lnTo>
                  <a:lnTo>
                    <a:pt x="128" y="135"/>
                  </a:lnTo>
                  <a:lnTo>
                    <a:pt x="126" y="132"/>
                  </a:lnTo>
                  <a:lnTo>
                    <a:pt x="123" y="129"/>
                  </a:lnTo>
                  <a:lnTo>
                    <a:pt x="122" y="124"/>
                  </a:lnTo>
                  <a:lnTo>
                    <a:pt x="122" y="120"/>
                  </a:lnTo>
                  <a:lnTo>
                    <a:pt x="122" y="116"/>
                  </a:lnTo>
                  <a:lnTo>
                    <a:pt x="124" y="112"/>
                  </a:lnTo>
                  <a:lnTo>
                    <a:pt x="127" y="109"/>
                  </a:lnTo>
                  <a:lnTo>
                    <a:pt x="130" y="106"/>
                  </a:lnTo>
                  <a:lnTo>
                    <a:pt x="138" y="102"/>
                  </a:lnTo>
                  <a:lnTo>
                    <a:pt x="148" y="99"/>
                  </a:lnTo>
                  <a:lnTo>
                    <a:pt x="148" y="89"/>
                  </a:lnTo>
                  <a:close/>
                  <a:moveTo>
                    <a:pt x="26" y="77"/>
                  </a:moveTo>
                  <a:lnTo>
                    <a:pt x="26" y="204"/>
                  </a:lnTo>
                  <a:lnTo>
                    <a:pt x="271" y="204"/>
                  </a:lnTo>
                  <a:lnTo>
                    <a:pt x="271" y="77"/>
                  </a:lnTo>
                  <a:lnTo>
                    <a:pt x="26" y="77"/>
                  </a:lnTo>
                  <a:close/>
                  <a:moveTo>
                    <a:pt x="78" y="25"/>
                  </a:moveTo>
                  <a:lnTo>
                    <a:pt x="78" y="51"/>
                  </a:lnTo>
                  <a:lnTo>
                    <a:pt x="284" y="51"/>
                  </a:lnTo>
                  <a:lnTo>
                    <a:pt x="288" y="51"/>
                  </a:lnTo>
                  <a:lnTo>
                    <a:pt x="292" y="53"/>
                  </a:lnTo>
                  <a:lnTo>
                    <a:pt x="294" y="56"/>
                  </a:lnTo>
                  <a:lnTo>
                    <a:pt x="296" y="59"/>
                  </a:lnTo>
                  <a:lnTo>
                    <a:pt x="296" y="63"/>
                  </a:lnTo>
                  <a:lnTo>
                    <a:pt x="296" y="154"/>
                  </a:lnTo>
                  <a:lnTo>
                    <a:pt x="323" y="154"/>
                  </a:lnTo>
                  <a:lnTo>
                    <a:pt x="323" y="25"/>
                  </a:lnTo>
                  <a:lnTo>
                    <a:pt x="78" y="25"/>
                  </a:lnTo>
                  <a:close/>
                  <a:moveTo>
                    <a:pt x="64" y="0"/>
                  </a:moveTo>
                  <a:lnTo>
                    <a:pt x="335" y="0"/>
                  </a:lnTo>
                  <a:lnTo>
                    <a:pt x="339" y="1"/>
                  </a:lnTo>
                  <a:lnTo>
                    <a:pt x="342" y="2"/>
                  </a:lnTo>
                  <a:lnTo>
                    <a:pt x="346" y="5"/>
                  </a:lnTo>
                  <a:lnTo>
                    <a:pt x="348" y="8"/>
                  </a:lnTo>
                  <a:lnTo>
                    <a:pt x="349" y="12"/>
                  </a:lnTo>
                  <a:lnTo>
                    <a:pt x="349" y="166"/>
                  </a:lnTo>
                  <a:lnTo>
                    <a:pt x="348" y="170"/>
                  </a:lnTo>
                  <a:lnTo>
                    <a:pt x="346" y="173"/>
                  </a:lnTo>
                  <a:lnTo>
                    <a:pt x="342" y="176"/>
                  </a:lnTo>
                  <a:lnTo>
                    <a:pt x="339" y="178"/>
                  </a:lnTo>
                  <a:lnTo>
                    <a:pt x="335" y="179"/>
                  </a:lnTo>
                  <a:lnTo>
                    <a:pt x="296" y="179"/>
                  </a:lnTo>
                  <a:lnTo>
                    <a:pt x="296" y="218"/>
                  </a:lnTo>
                  <a:lnTo>
                    <a:pt x="296" y="222"/>
                  </a:lnTo>
                  <a:lnTo>
                    <a:pt x="294" y="225"/>
                  </a:lnTo>
                  <a:lnTo>
                    <a:pt x="292" y="228"/>
                  </a:lnTo>
                  <a:lnTo>
                    <a:pt x="288" y="230"/>
                  </a:lnTo>
                  <a:lnTo>
                    <a:pt x="284" y="230"/>
                  </a:lnTo>
                  <a:lnTo>
                    <a:pt x="13" y="230"/>
                  </a:lnTo>
                  <a:lnTo>
                    <a:pt x="9" y="230"/>
                  </a:lnTo>
                  <a:lnTo>
                    <a:pt x="6" y="228"/>
                  </a:lnTo>
                  <a:lnTo>
                    <a:pt x="3" y="225"/>
                  </a:lnTo>
                  <a:lnTo>
                    <a:pt x="1" y="222"/>
                  </a:lnTo>
                  <a:lnTo>
                    <a:pt x="0" y="218"/>
                  </a:lnTo>
                  <a:lnTo>
                    <a:pt x="0" y="63"/>
                  </a:lnTo>
                  <a:lnTo>
                    <a:pt x="1" y="59"/>
                  </a:lnTo>
                  <a:lnTo>
                    <a:pt x="3" y="56"/>
                  </a:lnTo>
                  <a:lnTo>
                    <a:pt x="6" y="53"/>
                  </a:lnTo>
                  <a:lnTo>
                    <a:pt x="9" y="51"/>
                  </a:lnTo>
                  <a:lnTo>
                    <a:pt x="13" y="51"/>
                  </a:lnTo>
                  <a:lnTo>
                    <a:pt x="52" y="51"/>
                  </a:lnTo>
                  <a:lnTo>
                    <a:pt x="52" y="12"/>
                  </a:lnTo>
                  <a:lnTo>
                    <a:pt x="53" y="8"/>
                  </a:lnTo>
                  <a:lnTo>
                    <a:pt x="54" y="5"/>
                  </a:lnTo>
                  <a:lnTo>
                    <a:pt x="57" y="2"/>
                  </a:lnTo>
                  <a:lnTo>
                    <a:pt x="60" y="1"/>
                  </a:lnTo>
                  <a:lnTo>
                    <a:pt x="6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7">
              <a:extLst>
                <a:ext uri="{FF2B5EF4-FFF2-40B4-BE49-F238E27FC236}">
                  <a16:creationId xmlns:a16="http://schemas.microsoft.com/office/drawing/2014/main" id="{C0145AF4-CA8A-D04C-B84E-935C40DB4EA2}"/>
                </a:ext>
              </a:extLst>
            </p:cNvPr>
            <p:cNvSpPr>
              <a:spLocks noEditPoints="1"/>
            </p:cNvSpPr>
            <p:nvPr/>
          </p:nvSpPr>
          <p:spPr bwMode="auto">
            <a:xfrm>
              <a:off x="6288088" y="4437063"/>
              <a:ext cx="617538" cy="561975"/>
            </a:xfrm>
            <a:custGeom>
              <a:avLst/>
              <a:gdLst>
                <a:gd name="T0" fmla="*/ 165 w 389"/>
                <a:gd name="T1" fmla="*/ 75 h 354"/>
                <a:gd name="T2" fmla="*/ 167 w 389"/>
                <a:gd name="T3" fmla="*/ 88 h 354"/>
                <a:gd name="T4" fmla="*/ 158 w 389"/>
                <a:gd name="T5" fmla="*/ 98 h 354"/>
                <a:gd name="T6" fmla="*/ 97 w 389"/>
                <a:gd name="T7" fmla="*/ 130 h 354"/>
                <a:gd name="T8" fmla="*/ 86 w 389"/>
                <a:gd name="T9" fmla="*/ 131 h 354"/>
                <a:gd name="T10" fmla="*/ 79 w 389"/>
                <a:gd name="T11" fmla="*/ 115 h 354"/>
                <a:gd name="T12" fmla="*/ 152 w 389"/>
                <a:gd name="T13" fmla="*/ 72 h 354"/>
                <a:gd name="T14" fmla="*/ 274 w 389"/>
                <a:gd name="T15" fmla="*/ 41 h 354"/>
                <a:gd name="T16" fmla="*/ 254 w 389"/>
                <a:gd name="T17" fmla="*/ 65 h 354"/>
                <a:gd name="T18" fmla="*/ 242 w 389"/>
                <a:gd name="T19" fmla="*/ 66 h 354"/>
                <a:gd name="T20" fmla="*/ 139 w 389"/>
                <a:gd name="T21" fmla="*/ 56 h 354"/>
                <a:gd name="T22" fmla="*/ 50 w 389"/>
                <a:gd name="T23" fmla="*/ 117 h 354"/>
                <a:gd name="T24" fmla="*/ 27 w 389"/>
                <a:gd name="T25" fmla="*/ 220 h 354"/>
                <a:gd name="T26" fmla="*/ 62 w 389"/>
                <a:gd name="T27" fmla="*/ 270 h 354"/>
                <a:gd name="T28" fmla="*/ 99 w 389"/>
                <a:gd name="T29" fmla="*/ 312 h 354"/>
                <a:gd name="T30" fmla="*/ 143 w 389"/>
                <a:gd name="T31" fmla="*/ 311 h 354"/>
                <a:gd name="T32" fmla="*/ 156 w 389"/>
                <a:gd name="T33" fmla="*/ 302 h 354"/>
                <a:gd name="T34" fmla="*/ 218 w 389"/>
                <a:gd name="T35" fmla="*/ 308 h 354"/>
                <a:gd name="T36" fmla="*/ 260 w 389"/>
                <a:gd name="T37" fmla="*/ 328 h 354"/>
                <a:gd name="T38" fmla="*/ 263 w 389"/>
                <a:gd name="T39" fmla="*/ 306 h 354"/>
                <a:gd name="T40" fmla="*/ 310 w 389"/>
                <a:gd name="T41" fmla="*/ 209 h 354"/>
                <a:gd name="T42" fmla="*/ 318 w 389"/>
                <a:gd name="T43" fmla="*/ 199 h 354"/>
                <a:gd name="T44" fmla="*/ 362 w 389"/>
                <a:gd name="T45" fmla="*/ 146 h 354"/>
                <a:gd name="T46" fmla="*/ 341 w 389"/>
                <a:gd name="T47" fmla="*/ 140 h 354"/>
                <a:gd name="T48" fmla="*/ 328 w 389"/>
                <a:gd name="T49" fmla="*/ 119 h 354"/>
                <a:gd name="T50" fmla="*/ 292 w 389"/>
                <a:gd name="T51" fmla="*/ 78 h 354"/>
                <a:gd name="T52" fmla="*/ 287 w 389"/>
                <a:gd name="T53" fmla="*/ 64 h 354"/>
                <a:gd name="T54" fmla="*/ 317 w 389"/>
                <a:gd name="T55" fmla="*/ 2 h 354"/>
                <a:gd name="T56" fmla="*/ 324 w 389"/>
                <a:gd name="T57" fmla="*/ 11 h 354"/>
                <a:gd name="T58" fmla="*/ 328 w 389"/>
                <a:gd name="T59" fmla="*/ 75 h 354"/>
                <a:gd name="T60" fmla="*/ 377 w 389"/>
                <a:gd name="T61" fmla="*/ 119 h 354"/>
                <a:gd name="T62" fmla="*/ 389 w 389"/>
                <a:gd name="T63" fmla="*/ 128 h 354"/>
                <a:gd name="T64" fmla="*/ 387 w 389"/>
                <a:gd name="T65" fmla="*/ 218 h 354"/>
                <a:gd name="T66" fmla="*/ 334 w 389"/>
                <a:gd name="T67" fmla="*/ 225 h 354"/>
                <a:gd name="T68" fmla="*/ 296 w 389"/>
                <a:gd name="T69" fmla="*/ 306 h 354"/>
                <a:gd name="T70" fmla="*/ 282 w 389"/>
                <a:gd name="T71" fmla="*/ 350 h 354"/>
                <a:gd name="T72" fmla="*/ 207 w 389"/>
                <a:gd name="T73" fmla="*/ 354 h 354"/>
                <a:gd name="T74" fmla="*/ 195 w 389"/>
                <a:gd name="T75" fmla="*/ 346 h 354"/>
                <a:gd name="T76" fmla="*/ 168 w 389"/>
                <a:gd name="T77" fmla="*/ 342 h 354"/>
                <a:gd name="T78" fmla="*/ 160 w 389"/>
                <a:gd name="T79" fmla="*/ 354 h 354"/>
                <a:gd name="T80" fmla="*/ 82 w 389"/>
                <a:gd name="T81" fmla="*/ 352 h 354"/>
                <a:gd name="T82" fmla="*/ 76 w 389"/>
                <a:gd name="T83" fmla="*/ 327 h 354"/>
                <a:gd name="T84" fmla="*/ 52 w 389"/>
                <a:gd name="T85" fmla="*/ 295 h 354"/>
                <a:gd name="T86" fmla="*/ 32 w 389"/>
                <a:gd name="T87" fmla="*/ 289 h 354"/>
                <a:gd name="T88" fmla="*/ 22 w 389"/>
                <a:gd name="T89" fmla="*/ 283 h 354"/>
                <a:gd name="T90" fmla="*/ 2 w 389"/>
                <a:gd name="T91" fmla="*/ 166 h 354"/>
                <a:gd name="T92" fmla="*/ 59 w 389"/>
                <a:gd name="T93" fmla="*/ 68 h 354"/>
                <a:gd name="T94" fmla="*/ 168 w 389"/>
                <a:gd name="T95" fmla="*/ 27 h 354"/>
                <a:gd name="T96" fmla="*/ 252 w 389"/>
                <a:gd name="T97" fmla="*/ 25 h 354"/>
                <a:gd name="T98" fmla="*/ 300 w 389"/>
                <a:gd name="T99" fmla="*/ 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9" h="354">
                  <a:moveTo>
                    <a:pt x="156" y="72"/>
                  </a:moveTo>
                  <a:lnTo>
                    <a:pt x="159" y="72"/>
                  </a:lnTo>
                  <a:lnTo>
                    <a:pt x="162" y="73"/>
                  </a:lnTo>
                  <a:lnTo>
                    <a:pt x="165" y="75"/>
                  </a:lnTo>
                  <a:lnTo>
                    <a:pt x="167" y="78"/>
                  </a:lnTo>
                  <a:lnTo>
                    <a:pt x="168" y="81"/>
                  </a:lnTo>
                  <a:lnTo>
                    <a:pt x="168" y="84"/>
                  </a:lnTo>
                  <a:lnTo>
                    <a:pt x="167" y="88"/>
                  </a:lnTo>
                  <a:lnTo>
                    <a:pt x="166" y="91"/>
                  </a:lnTo>
                  <a:lnTo>
                    <a:pt x="164" y="94"/>
                  </a:lnTo>
                  <a:lnTo>
                    <a:pt x="161" y="96"/>
                  </a:lnTo>
                  <a:lnTo>
                    <a:pt x="158" y="98"/>
                  </a:lnTo>
                  <a:lnTo>
                    <a:pt x="137" y="104"/>
                  </a:lnTo>
                  <a:lnTo>
                    <a:pt x="117" y="115"/>
                  </a:lnTo>
                  <a:lnTo>
                    <a:pt x="100" y="128"/>
                  </a:lnTo>
                  <a:lnTo>
                    <a:pt x="97" y="130"/>
                  </a:lnTo>
                  <a:lnTo>
                    <a:pt x="95" y="132"/>
                  </a:lnTo>
                  <a:lnTo>
                    <a:pt x="91" y="132"/>
                  </a:lnTo>
                  <a:lnTo>
                    <a:pt x="88" y="132"/>
                  </a:lnTo>
                  <a:lnTo>
                    <a:pt x="86" y="131"/>
                  </a:lnTo>
                  <a:lnTo>
                    <a:pt x="83" y="129"/>
                  </a:lnTo>
                  <a:lnTo>
                    <a:pt x="81" y="127"/>
                  </a:lnTo>
                  <a:lnTo>
                    <a:pt x="78" y="121"/>
                  </a:lnTo>
                  <a:lnTo>
                    <a:pt x="79" y="115"/>
                  </a:lnTo>
                  <a:lnTo>
                    <a:pt x="82" y="108"/>
                  </a:lnTo>
                  <a:lnTo>
                    <a:pt x="104" y="93"/>
                  </a:lnTo>
                  <a:lnTo>
                    <a:pt x="127" y="80"/>
                  </a:lnTo>
                  <a:lnTo>
                    <a:pt x="152" y="72"/>
                  </a:lnTo>
                  <a:lnTo>
                    <a:pt x="156" y="72"/>
                  </a:lnTo>
                  <a:close/>
                  <a:moveTo>
                    <a:pt x="294" y="31"/>
                  </a:moveTo>
                  <a:lnTo>
                    <a:pt x="283" y="35"/>
                  </a:lnTo>
                  <a:lnTo>
                    <a:pt x="274" y="41"/>
                  </a:lnTo>
                  <a:lnTo>
                    <a:pt x="265" y="49"/>
                  </a:lnTo>
                  <a:lnTo>
                    <a:pt x="257" y="59"/>
                  </a:lnTo>
                  <a:lnTo>
                    <a:pt x="256" y="63"/>
                  </a:lnTo>
                  <a:lnTo>
                    <a:pt x="254" y="65"/>
                  </a:lnTo>
                  <a:lnTo>
                    <a:pt x="251" y="66"/>
                  </a:lnTo>
                  <a:lnTo>
                    <a:pt x="248" y="67"/>
                  </a:lnTo>
                  <a:lnTo>
                    <a:pt x="245" y="67"/>
                  </a:lnTo>
                  <a:lnTo>
                    <a:pt x="242" y="66"/>
                  </a:lnTo>
                  <a:lnTo>
                    <a:pt x="219" y="58"/>
                  </a:lnTo>
                  <a:lnTo>
                    <a:pt x="194" y="54"/>
                  </a:lnTo>
                  <a:lnTo>
                    <a:pt x="168" y="53"/>
                  </a:lnTo>
                  <a:lnTo>
                    <a:pt x="139" y="56"/>
                  </a:lnTo>
                  <a:lnTo>
                    <a:pt x="112" y="65"/>
                  </a:lnTo>
                  <a:lnTo>
                    <a:pt x="88" y="78"/>
                  </a:lnTo>
                  <a:lnTo>
                    <a:pt x="68" y="96"/>
                  </a:lnTo>
                  <a:lnTo>
                    <a:pt x="50" y="117"/>
                  </a:lnTo>
                  <a:lnTo>
                    <a:pt x="36" y="141"/>
                  </a:lnTo>
                  <a:lnTo>
                    <a:pt x="28" y="168"/>
                  </a:lnTo>
                  <a:lnTo>
                    <a:pt x="25" y="198"/>
                  </a:lnTo>
                  <a:lnTo>
                    <a:pt x="27" y="220"/>
                  </a:lnTo>
                  <a:lnTo>
                    <a:pt x="32" y="243"/>
                  </a:lnTo>
                  <a:lnTo>
                    <a:pt x="42" y="264"/>
                  </a:lnTo>
                  <a:lnTo>
                    <a:pt x="52" y="266"/>
                  </a:lnTo>
                  <a:lnTo>
                    <a:pt x="62" y="270"/>
                  </a:lnTo>
                  <a:lnTo>
                    <a:pt x="73" y="276"/>
                  </a:lnTo>
                  <a:lnTo>
                    <a:pt x="83" y="286"/>
                  </a:lnTo>
                  <a:lnTo>
                    <a:pt x="91" y="297"/>
                  </a:lnTo>
                  <a:lnTo>
                    <a:pt x="99" y="312"/>
                  </a:lnTo>
                  <a:lnTo>
                    <a:pt x="102" y="328"/>
                  </a:lnTo>
                  <a:lnTo>
                    <a:pt x="142" y="328"/>
                  </a:lnTo>
                  <a:lnTo>
                    <a:pt x="142" y="315"/>
                  </a:lnTo>
                  <a:lnTo>
                    <a:pt x="143" y="311"/>
                  </a:lnTo>
                  <a:lnTo>
                    <a:pt x="145" y="308"/>
                  </a:lnTo>
                  <a:lnTo>
                    <a:pt x="147" y="306"/>
                  </a:lnTo>
                  <a:lnTo>
                    <a:pt x="152" y="303"/>
                  </a:lnTo>
                  <a:lnTo>
                    <a:pt x="156" y="302"/>
                  </a:lnTo>
                  <a:lnTo>
                    <a:pt x="207" y="302"/>
                  </a:lnTo>
                  <a:lnTo>
                    <a:pt x="211" y="303"/>
                  </a:lnTo>
                  <a:lnTo>
                    <a:pt x="215" y="306"/>
                  </a:lnTo>
                  <a:lnTo>
                    <a:pt x="218" y="308"/>
                  </a:lnTo>
                  <a:lnTo>
                    <a:pt x="219" y="311"/>
                  </a:lnTo>
                  <a:lnTo>
                    <a:pt x="220" y="315"/>
                  </a:lnTo>
                  <a:lnTo>
                    <a:pt x="220" y="328"/>
                  </a:lnTo>
                  <a:lnTo>
                    <a:pt x="260" y="328"/>
                  </a:lnTo>
                  <a:lnTo>
                    <a:pt x="260" y="314"/>
                  </a:lnTo>
                  <a:lnTo>
                    <a:pt x="260" y="311"/>
                  </a:lnTo>
                  <a:lnTo>
                    <a:pt x="261" y="308"/>
                  </a:lnTo>
                  <a:lnTo>
                    <a:pt x="263" y="306"/>
                  </a:lnTo>
                  <a:lnTo>
                    <a:pt x="281" y="283"/>
                  </a:lnTo>
                  <a:lnTo>
                    <a:pt x="296" y="259"/>
                  </a:lnTo>
                  <a:lnTo>
                    <a:pt x="306" y="235"/>
                  </a:lnTo>
                  <a:lnTo>
                    <a:pt x="310" y="209"/>
                  </a:lnTo>
                  <a:lnTo>
                    <a:pt x="311" y="206"/>
                  </a:lnTo>
                  <a:lnTo>
                    <a:pt x="312" y="204"/>
                  </a:lnTo>
                  <a:lnTo>
                    <a:pt x="315" y="201"/>
                  </a:lnTo>
                  <a:lnTo>
                    <a:pt x="318" y="199"/>
                  </a:lnTo>
                  <a:lnTo>
                    <a:pt x="321" y="198"/>
                  </a:lnTo>
                  <a:lnTo>
                    <a:pt x="324" y="198"/>
                  </a:lnTo>
                  <a:lnTo>
                    <a:pt x="362" y="198"/>
                  </a:lnTo>
                  <a:lnTo>
                    <a:pt x="362" y="146"/>
                  </a:lnTo>
                  <a:lnTo>
                    <a:pt x="351" y="146"/>
                  </a:lnTo>
                  <a:lnTo>
                    <a:pt x="347" y="145"/>
                  </a:lnTo>
                  <a:lnTo>
                    <a:pt x="344" y="144"/>
                  </a:lnTo>
                  <a:lnTo>
                    <a:pt x="341" y="140"/>
                  </a:lnTo>
                  <a:lnTo>
                    <a:pt x="338" y="138"/>
                  </a:lnTo>
                  <a:lnTo>
                    <a:pt x="337" y="135"/>
                  </a:lnTo>
                  <a:lnTo>
                    <a:pt x="333" y="128"/>
                  </a:lnTo>
                  <a:lnTo>
                    <a:pt x="328" y="119"/>
                  </a:lnTo>
                  <a:lnTo>
                    <a:pt x="321" y="108"/>
                  </a:lnTo>
                  <a:lnTo>
                    <a:pt x="312" y="97"/>
                  </a:lnTo>
                  <a:lnTo>
                    <a:pt x="303" y="86"/>
                  </a:lnTo>
                  <a:lnTo>
                    <a:pt x="292" y="78"/>
                  </a:lnTo>
                  <a:lnTo>
                    <a:pt x="289" y="75"/>
                  </a:lnTo>
                  <a:lnTo>
                    <a:pt x="287" y="72"/>
                  </a:lnTo>
                  <a:lnTo>
                    <a:pt x="286" y="68"/>
                  </a:lnTo>
                  <a:lnTo>
                    <a:pt x="287" y="64"/>
                  </a:lnTo>
                  <a:lnTo>
                    <a:pt x="294" y="31"/>
                  </a:lnTo>
                  <a:close/>
                  <a:moveTo>
                    <a:pt x="310" y="0"/>
                  </a:moveTo>
                  <a:lnTo>
                    <a:pt x="314" y="1"/>
                  </a:lnTo>
                  <a:lnTo>
                    <a:pt x="317" y="2"/>
                  </a:lnTo>
                  <a:lnTo>
                    <a:pt x="320" y="3"/>
                  </a:lnTo>
                  <a:lnTo>
                    <a:pt x="322" y="5"/>
                  </a:lnTo>
                  <a:lnTo>
                    <a:pt x="323" y="9"/>
                  </a:lnTo>
                  <a:lnTo>
                    <a:pt x="324" y="11"/>
                  </a:lnTo>
                  <a:lnTo>
                    <a:pt x="324" y="14"/>
                  </a:lnTo>
                  <a:lnTo>
                    <a:pt x="324" y="18"/>
                  </a:lnTo>
                  <a:lnTo>
                    <a:pt x="312" y="61"/>
                  </a:lnTo>
                  <a:lnTo>
                    <a:pt x="328" y="75"/>
                  </a:lnTo>
                  <a:lnTo>
                    <a:pt x="341" y="91"/>
                  </a:lnTo>
                  <a:lnTo>
                    <a:pt x="351" y="106"/>
                  </a:lnTo>
                  <a:lnTo>
                    <a:pt x="358" y="119"/>
                  </a:lnTo>
                  <a:lnTo>
                    <a:pt x="377" y="119"/>
                  </a:lnTo>
                  <a:lnTo>
                    <a:pt x="381" y="120"/>
                  </a:lnTo>
                  <a:lnTo>
                    <a:pt x="384" y="121"/>
                  </a:lnTo>
                  <a:lnTo>
                    <a:pt x="387" y="124"/>
                  </a:lnTo>
                  <a:lnTo>
                    <a:pt x="389" y="128"/>
                  </a:lnTo>
                  <a:lnTo>
                    <a:pt x="389" y="132"/>
                  </a:lnTo>
                  <a:lnTo>
                    <a:pt x="389" y="211"/>
                  </a:lnTo>
                  <a:lnTo>
                    <a:pt x="389" y="215"/>
                  </a:lnTo>
                  <a:lnTo>
                    <a:pt x="387" y="218"/>
                  </a:lnTo>
                  <a:lnTo>
                    <a:pt x="384" y="221"/>
                  </a:lnTo>
                  <a:lnTo>
                    <a:pt x="381" y="224"/>
                  </a:lnTo>
                  <a:lnTo>
                    <a:pt x="377" y="225"/>
                  </a:lnTo>
                  <a:lnTo>
                    <a:pt x="334" y="225"/>
                  </a:lnTo>
                  <a:lnTo>
                    <a:pt x="328" y="248"/>
                  </a:lnTo>
                  <a:lnTo>
                    <a:pt x="320" y="271"/>
                  </a:lnTo>
                  <a:lnTo>
                    <a:pt x="308" y="290"/>
                  </a:lnTo>
                  <a:lnTo>
                    <a:pt x="296" y="306"/>
                  </a:lnTo>
                  <a:lnTo>
                    <a:pt x="284" y="319"/>
                  </a:lnTo>
                  <a:lnTo>
                    <a:pt x="284" y="342"/>
                  </a:lnTo>
                  <a:lnTo>
                    <a:pt x="284" y="346"/>
                  </a:lnTo>
                  <a:lnTo>
                    <a:pt x="282" y="350"/>
                  </a:lnTo>
                  <a:lnTo>
                    <a:pt x="280" y="352"/>
                  </a:lnTo>
                  <a:lnTo>
                    <a:pt x="276" y="354"/>
                  </a:lnTo>
                  <a:lnTo>
                    <a:pt x="273" y="354"/>
                  </a:lnTo>
                  <a:lnTo>
                    <a:pt x="207" y="354"/>
                  </a:lnTo>
                  <a:lnTo>
                    <a:pt x="202" y="354"/>
                  </a:lnTo>
                  <a:lnTo>
                    <a:pt x="199" y="352"/>
                  </a:lnTo>
                  <a:lnTo>
                    <a:pt x="197" y="350"/>
                  </a:lnTo>
                  <a:lnTo>
                    <a:pt x="195" y="346"/>
                  </a:lnTo>
                  <a:lnTo>
                    <a:pt x="194" y="342"/>
                  </a:lnTo>
                  <a:lnTo>
                    <a:pt x="194" y="328"/>
                  </a:lnTo>
                  <a:lnTo>
                    <a:pt x="168" y="328"/>
                  </a:lnTo>
                  <a:lnTo>
                    <a:pt x="168" y="342"/>
                  </a:lnTo>
                  <a:lnTo>
                    <a:pt x="167" y="346"/>
                  </a:lnTo>
                  <a:lnTo>
                    <a:pt x="165" y="350"/>
                  </a:lnTo>
                  <a:lnTo>
                    <a:pt x="163" y="352"/>
                  </a:lnTo>
                  <a:lnTo>
                    <a:pt x="160" y="354"/>
                  </a:lnTo>
                  <a:lnTo>
                    <a:pt x="156" y="354"/>
                  </a:lnTo>
                  <a:lnTo>
                    <a:pt x="89" y="354"/>
                  </a:lnTo>
                  <a:lnTo>
                    <a:pt x="86" y="354"/>
                  </a:lnTo>
                  <a:lnTo>
                    <a:pt x="82" y="352"/>
                  </a:lnTo>
                  <a:lnTo>
                    <a:pt x="80" y="350"/>
                  </a:lnTo>
                  <a:lnTo>
                    <a:pt x="78" y="346"/>
                  </a:lnTo>
                  <a:lnTo>
                    <a:pt x="78" y="342"/>
                  </a:lnTo>
                  <a:lnTo>
                    <a:pt x="76" y="327"/>
                  </a:lnTo>
                  <a:lnTo>
                    <a:pt x="72" y="315"/>
                  </a:lnTo>
                  <a:lnTo>
                    <a:pt x="67" y="307"/>
                  </a:lnTo>
                  <a:lnTo>
                    <a:pt x="59" y="299"/>
                  </a:lnTo>
                  <a:lnTo>
                    <a:pt x="52" y="295"/>
                  </a:lnTo>
                  <a:lnTo>
                    <a:pt x="46" y="292"/>
                  </a:lnTo>
                  <a:lnTo>
                    <a:pt x="40" y="290"/>
                  </a:lnTo>
                  <a:lnTo>
                    <a:pt x="34" y="289"/>
                  </a:lnTo>
                  <a:lnTo>
                    <a:pt x="32" y="289"/>
                  </a:lnTo>
                  <a:lnTo>
                    <a:pt x="29" y="289"/>
                  </a:lnTo>
                  <a:lnTo>
                    <a:pt x="26" y="288"/>
                  </a:lnTo>
                  <a:lnTo>
                    <a:pt x="24" y="286"/>
                  </a:lnTo>
                  <a:lnTo>
                    <a:pt x="22" y="283"/>
                  </a:lnTo>
                  <a:lnTo>
                    <a:pt x="9" y="257"/>
                  </a:lnTo>
                  <a:lnTo>
                    <a:pt x="2" y="228"/>
                  </a:lnTo>
                  <a:lnTo>
                    <a:pt x="0" y="198"/>
                  </a:lnTo>
                  <a:lnTo>
                    <a:pt x="2" y="166"/>
                  </a:lnTo>
                  <a:lnTo>
                    <a:pt x="11" y="138"/>
                  </a:lnTo>
                  <a:lnTo>
                    <a:pt x="23" y="111"/>
                  </a:lnTo>
                  <a:lnTo>
                    <a:pt x="40" y="88"/>
                  </a:lnTo>
                  <a:lnTo>
                    <a:pt x="59" y="68"/>
                  </a:lnTo>
                  <a:lnTo>
                    <a:pt x="83" y="51"/>
                  </a:lnTo>
                  <a:lnTo>
                    <a:pt x="109" y="39"/>
                  </a:lnTo>
                  <a:lnTo>
                    <a:pt x="137" y="30"/>
                  </a:lnTo>
                  <a:lnTo>
                    <a:pt x="168" y="27"/>
                  </a:lnTo>
                  <a:lnTo>
                    <a:pt x="193" y="28"/>
                  </a:lnTo>
                  <a:lnTo>
                    <a:pt x="218" y="31"/>
                  </a:lnTo>
                  <a:lnTo>
                    <a:pt x="241" y="38"/>
                  </a:lnTo>
                  <a:lnTo>
                    <a:pt x="252" y="25"/>
                  </a:lnTo>
                  <a:lnTo>
                    <a:pt x="265" y="16"/>
                  </a:lnTo>
                  <a:lnTo>
                    <a:pt x="277" y="9"/>
                  </a:lnTo>
                  <a:lnTo>
                    <a:pt x="290" y="4"/>
                  </a:lnTo>
                  <a:lnTo>
                    <a:pt x="300" y="2"/>
                  </a:lnTo>
                  <a:lnTo>
                    <a:pt x="307" y="0"/>
                  </a:lnTo>
                  <a:lnTo>
                    <a:pt x="31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8">
              <a:extLst>
                <a:ext uri="{FF2B5EF4-FFF2-40B4-BE49-F238E27FC236}">
                  <a16:creationId xmlns:a16="http://schemas.microsoft.com/office/drawing/2014/main" id="{EF4F1E60-DF3D-6A45-B85D-AB658FA91330}"/>
                </a:ext>
              </a:extLst>
            </p:cNvPr>
            <p:cNvSpPr>
              <a:spLocks noEditPoints="1"/>
            </p:cNvSpPr>
            <p:nvPr/>
          </p:nvSpPr>
          <p:spPr bwMode="auto">
            <a:xfrm>
              <a:off x="2892426" y="4046538"/>
              <a:ext cx="650875" cy="555625"/>
            </a:xfrm>
            <a:custGeom>
              <a:avLst/>
              <a:gdLst>
                <a:gd name="T0" fmla="*/ 101 w 410"/>
                <a:gd name="T1" fmla="*/ 58 h 350"/>
                <a:gd name="T2" fmla="*/ 109 w 410"/>
                <a:gd name="T3" fmla="*/ 68 h 350"/>
                <a:gd name="T4" fmla="*/ 107 w 410"/>
                <a:gd name="T5" fmla="*/ 81 h 350"/>
                <a:gd name="T6" fmla="*/ 97 w 410"/>
                <a:gd name="T7" fmla="*/ 87 h 350"/>
                <a:gd name="T8" fmla="*/ 105 w 410"/>
                <a:gd name="T9" fmla="*/ 236 h 350"/>
                <a:gd name="T10" fmla="*/ 110 w 410"/>
                <a:gd name="T11" fmla="*/ 248 h 350"/>
                <a:gd name="T12" fmla="*/ 105 w 410"/>
                <a:gd name="T13" fmla="*/ 260 h 350"/>
                <a:gd name="T14" fmla="*/ 97 w 410"/>
                <a:gd name="T15" fmla="*/ 293 h 350"/>
                <a:gd name="T16" fmla="*/ 97 w 410"/>
                <a:gd name="T17" fmla="*/ 30 h 350"/>
                <a:gd name="T18" fmla="*/ 70 w 410"/>
                <a:gd name="T19" fmla="*/ 293 h 350"/>
                <a:gd name="T20" fmla="*/ 62 w 410"/>
                <a:gd name="T21" fmla="*/ 260 h 350"/>
                <a:gd name="T22" fmla="*/ 55 w 410"/>
                <a:gd name="T23" fmla="*/ 248 h 350"/>
                <a:gd name="T24" fmla="*/ 62 w 410"/>
                <a:gd name="T25" fmla="*/ 236 h 350"/>
                <a:gd name="T26" fmla="*/ 70 w 410"/>
                <a:gd name="T27" fmla="*/ 87 h 350"/>
                <a:gd name="T28" fmla="*/ 59 w 410"/>
                <a:gd name="T29" fmla="*/ 81 h 350"/>
                <a:gd name="T30" fmla="*/ 56 w 410"/>
                <a:gd name="T31" fmla="*/ 68 h 350"/>
                <a:gd name="T32" fmla="*/ 65 w 410"/>
                <a:gd name="T33" fmla="*/ 58 h 350"/>
                <a:gd name="T34" fmla="*/ 28 w 410"/>
                <a:gd name="T35" fmla="*/ 30 h 350"/>
                <a:gd name="T36" fmla="*/ 402 w 410"/>
                <a:gd name="T37" fmla="*/ 1 h 350"/>
                <a:gd name="T38" fmla="*/ 410 w 410"/>
                <a:gd name="T39" fmla="*/ 10 h 350"/>
                <a:gd name="T40" fmla="*/ 410 w 410"/>
                <a:gd name="T41" fmla="*/ 311 h 350"/>
                <a:gd name="T42" fmla="*/ 405 w 410"/>
                <a:gd name="T43" fmla="*/ 320 h 350"/>
                <a:gd name="T44" fmla="*/ 343 w 410"/>
                <a:gd name="T45" fmla="*/ 322 h 350"/>
                <a:gd name="T46" fmla="*/ 354 w 410"/>
                <a:gd name="T47" fmla="*/ 328 h 350"/>
                <a:gd name="T48" fmla="*/ 356 w 410"/>
                <a:gd name="T49" fmla="*/ 341 h 350"/>
                <a:gd name="T50" fmla="*/ 350 w 410"/>
                <a:gd name="T51" fmla="*/ 349 h 350"/>
                <a:gd name="T52" fmla="*/ 288 w 410"/>
                <a:gd name="T53" fmla="*/ 350 h 350"/>
                <a:gd name="T54" fmla="*/ 277 w 410"/>
                <a:gd name="T55" fmla="*/ 345 h 350"/>
                <a:gd name="T56" fmla="*/ 275 w 410"/>
                <a:gd name="T57" fmla="*/ 332 h 350"/>
                <a:gd name="T58" fmla="*/ 281 w 410"/>
                <a:gd name="T59" fmla="*/ 324 h 350"/>
                <a:gd name="T60" fmla="*/ 124 w 410"/>
                <a:gd name="T61" fmla="*/ 322 h 350"/>
                <a:gd name="T62" fmla="*/ 134 w 410"/>
                <a:gd name="T63" fmla="*/ 328 h 350"/>
                <a:gd name="T64" fmla="*/ 137 w 410"/>
                <a:gd name="T65" fmla="*/ 341 h 350"/>
                <a:gd name="T66" fmla="*/ 130 w 410"/>
                <a:gd name="T67" fmla="*/ 349 h 350"/>
                <a:gd name="T68" fmla="*/ 70 w 410"/>
                <a:gd name="T69" fmla="*/ 350 h 350"/>
                <a:gd name="T70" fmla="*/ 60 w 410"/>
                <a:gd name="T71" fmla="*/ 347 h 350"/>
                <a:gd name="T72" fmla="*/ 55 w 410"/>
                <a:gd name="T73" fmla="*/ 337 h 350"/>
                <a:gd name="T74" fmla="*/ 62 w 410"/>
                <a:gd name="T75" fmla="*/ 324 h 350"/>
                <a:gd name="T76" fmla="*/ 14 w 410"/>
                <a:gd name="T77" fmla="*/ 322 h 350"/>
                <a:gd name="T78" fmla="*/ 2 w 410"/>
                <a:gd name="T79" fmla="*/ 316 h 350"/>
                <a:gd name="T80" fmla="*/ 0 w 410"/>
                <a:gd name="T81" fmla="*/ 14 h 350"/>
                <a:gd name="T82" fmla="*/ 5 w 410"/>
                <a:gd name="T83" fmla="*/ 4 h 350"/>
                <a:gd name="T84" fmla="*/ 14 w 410"/>
                <a:gd name="T85"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0" h="350">
                  <a:moveTo>
                    <a:pt x="97" y="30"/>
                  </a:moveTo>
                  <a:lnTo>
                    <a:pt x="97" y="57"/>
                  </a:lnTo>
                  <a:lnTo>
                    <a:pt x="101" y="58"/>
                  </a:lnTo>
                  <a:lnTo>
                    <a:pt x="105" y="60"/>
                  </a:lnTo>
                  <a:lnTo>
                    <a:pt x="107" y="64"/>
                  </a:lnTo>
                  <a:lnTo>
                    <a:pt x="109" y="68"/>
                  </a:lnTo>
                  <a:lnTo>
                    <a:pt x="110" y="73"/>
                  </a:lnTo>
                  <a:lnTo>
                    <a:pt x="109" y="78"/>
                  </a:lnTo>
                  <a:lnTo>
                    <a:pt x="107" y="81"/>
                  </a:lnTo>
                  <a:lnTo>
                    <a:pt x="105" y="85"/>
                  </a:lnTo>
                  <a:lnTo>
                    <a:pt x="101" y="87"/>
                  </a:lnTo>
                  <a:lnTo>
                    <a:pt x="97" y="87"/>
                  </a:lnTo>
                  <a:lnTo>
                    <a:pt x="97" y="233"/>
                  </a:lnTo>
                  <a:lnTo>
                    <a:pt x="101" y="234"/>
                  </a:lnTo>
                  <a:lnTo>
                    <a:pt x="105" y="236"/>
                  </a:lnTo>
                  <a:lnTo>
                    <a:pt x="107" y="239"/>
                  </a:lnTo>
                  <a:lnTo>
                    <a:pt x="109" y="243"/>
                  </a:lnTo>
                  <a:lnTo>
                    <a:pt x="110" y="248"/>
                  </a:lnTo>
                  <a:lnTo>
                    <a:pt x="109" y="253"/>
                  </a:lnTo>
                  <a:lnTo>
                    <a:pt x="107" y="257"/>
                  </a:lnTo>
                  <a:lnTo>
                    <a:pt x="105" y="260"/>
                  </a:lnTo>
                  <a:lnTo>
                    <a:pt x="101" y="262"/>
                  </a:lnTo>
                  <a:lnTo>
                    <a:pt x="97" y="263"/>
                  </a:lnTo>
                  <a:lnTo>
                    <a:pt x="97" y="293"/>
                  </a:lnTo>
                  <a:lnTo>
                    <a:pt x="383" y="293"/>
                  </a:lnTo>
                  <a:lnTo>
                    <a:pt x="383" y="30"/>
                  </a:lnTo>
                  <a:lnTo>
                    <a:pt x="97" y="30"/>
                  </a:lnTo>
                  <a:close/>
                  <a:moveTo>
                    <a:pt x="28" y="30"/>
                  </a:moveTo>
                  <a:lnTo>
                    <a:pt x="28" y="293"/>
                  </a:lnTo>
                  <a:lnTo>
                    <a:pt x="70" y="293"/>
                  </a:lnTo>
                  <a:lnTo>
                    <a:pt x="70" y="263"/>
                  </a:lnTo>
                  <a:lnTo>
                    <a:pt x="65" y="262"/>
                  </a:lnTo>
                  <a:lnTo>
                    <a:pt x="62" y="260"/>
                  </a:lnTo>
                  <a:lnTo>
                    <a:pt x="59" y="257"/>
                  </a:lnTo>
                  <a:lnTo>
                    <a:pt x="56" y="253"/>
                  </a:lnTo>
                  <a:lnTo>
                    <a:pt x="55" y="248"/>
                  </a:lnTo>
                  <a:lnTo>
                    <a:pt x="56" y="243"/>
                  </a:lnTo>
                  <a:lnTo>
                    <a:pt x="59" y="239"/>
                  </a:lnTo>
                  <a:lnTo>
                    <a:pt x="62" y="236"/>
                  </a:lnTo>
                  <a:lnTo>
                    <a:pt x="65" y="234"/>
                  </a:lnTo>
                  <a:lnTo>
                    <a:pt x="70" y="233"/>
                  </a:lnTo>
                  <a:lnTo>
                    <a:pt x="70" y="87"/>
                  </a:lnTo>
                  <a:lnTo>
                    <a:pt x="65" y="87"/>
                  </a:lnTo>
                  <a:lnTo>
                    <a:pt x="62" y="85"/>
                  </a:lnTo>
                  <a:lnTo>
                    <a:pt x="59" y="81"/>
                  </a:lnTo>
                  <a:lnTo>
                    <a:pt x="56" y="78"/>
                  </a:lnTo>
                  <a:lnTo>
                    <a:pt x="55" y="73"/>
                  </a:lnTo>
                  <a:lnTo>
                    <a:pt x="56" y="68"/>
                  </a:lnTo>
                  <a:lnTo>
                    <a:pt x="59" y="64"/>
                  </a:lnTo>
                  <a:lnTo>
                    <a:pt x="62" y="60"/>
                  </a:lnTo>
                  <a:lnTo>
                    <a:pt x="65" y="58"/>
                  </a:lnTo>
                  <a:lnTo>
                    <a:pt x="70" y="57"/>
                  </a:lnTo>
                  <a:lnTo>
                    <a:pt x="70" y="30"/>
                  </a:lnTo>
                  <a:lnTo>
                    <a:pt x="28" y="30"/>
                  </a:lnTo>
                  <a:close/>
                  <a:moveTo>
                    <a:pt x="14" y="0"/>
                  </a:moveTo>
                  <a:lnTo>
                    <a:pt x="398" y="0"/>
                  </a:lnTo>
                  <a:lnTo>
                    <a:pt x="402" y="1"/>
                  </a:lnTo>
                  <a:lnTo>
                    <a:pt x="406" y="2"/>
                  </a:lnTo>
                  <a:lnTo>
                    <a:pt x="408" y="5"/>
                  </a:lnTo>
                  <a:lnTo>
                    <a:pt x="410" y="10"/>
                  </a:lnTo>
                  <a:lnTo>
                    <a:pt x="410" y="14"/>
                  </a:lnTo>
                  <a:lnTo>
                    <a:pt x="410" y="307"/>
                  </a:lnTo>
                  <a:lnTo>
                    <a:pt x="410" y="311"/>
                  </a:lnTo>
                  <a:lnTo>
                    <a:pt x="409" y="314"/>
                  </a:lnTo>
                  <a:lnTo>
                    <a:pt x="407" y="317"/>
                  </a:lnTo>
                  <a:lnTo>
                    <a:pt x="405" y="320"/>
                  </a:lnTo>
                  <a:lnTo>
                    <a:pt x="401" y="321"/>
                  </a:lnTo>
                  <a:lnTo>
                    <a:pt x="398" y="322"/>
                  </a:lnTo>
                  <a:lnTo>
                    <a:pt x="343" y="322"/>
                  </a:lnTo>
                  <a:lnTo>
                    <a:pt x="347" y="322"/>
                  </a:lnTo>
                  <a:lnTo>
                    <a:pt x="351" y="324"/>
                  </a:lnTo>
                  <a:lnTo>
                    <a:pt x="354" y="328"/>
                  </a:lnTo>
                  <a:lnTo>
                    <a:pt x="356" y="331"/>
                  </a:lnTo>
                  <a:lnTo>
                    <a:pt x="356" y="337"/>
                  </a:lnTo>
                  <a:lnTo>
                    <a:pt x="356" y="341"/>
                  </a:lnTo>
                  <a:lnTo>
                    <a:pt x="355" y="344"/>
                  </a:lnTo>
                  <a:lnTo>
                    <a:pt x="352" y="347"/>
                  </a:lnTo>
                  <a:lnTo>
                    <a:pt x="350" y="349"/>
                  </a:lnTo>
                  <a:lnTo>
                    <a:pt x="346" y="350"/>
                  </a:lnTo>
                  <a:lnTo>
                    <a:pt x="343" y="350"/>
                  </a:lnTo>
                  <a:lnTo>
                    <a:pt x="288" y="350"/>
                  </a:lnTo>
                  <a:lnTo>
                    <a:pt x="284" y="350"/>
                  </a:lnTo>
                  <a:lnTo>
                    <a:pt x="280" y="348"/>
                  </a:lnTo>
                  <a:lnTo>
                    <a:pt x="277" y="345"/>
                  </a:lnTo>
                  <a:lnTo>
                    <a:pt x="275" y="341"/>
                  </a:lnTo>
                  <a:lnTo>
                    <a:pt x="274" y="337"/>
                  </a:lnTo>
                  <a:lnTo>
                    <a:pt x="275" y="332"/>
                  </a:lnTo>
                  <a:lnTo>
                    <a:pt x="276" y="329"/>
                  </a:lnTo>
                  <a:lnTo>
                    <a:pt x="279" y="326"/>
                  </a:lnTo>
                  <a:lnTo>
                    <a:pt x="281" y="324"/>
                  </a:lnTo>
                  <a:lnTo>
                    <a:pt x="284" y="322"/>
                  </a:lnTo>
                  <a:lnTo>
                    <a:pt x="288" y="322"/>
                  </a:lnTo>
                  <a:lnTo>
                    <a:pt x="124" y="322"/>
                  </a:lnTo>
                  <a:lnTo>
                    <a:pt x="128" y="322"/>
                  </a:lnTo>
                  <a:lnTo>
                    <a:pt x="132" y="324"/>
                  </a:lnTo>
                  <a:lnTo>
                    <a:pt x="134" y="328"/>
                  </a:lnTo>
                  <a:lnTo>
                    <a:pt x="136" y="331"/>
                  </a:lnTo>
                  <a:lnTo>
                    <a:pt x="137" y="337"/>
                  </a:lnTo>
                  <a:lnTo>
                    <a:pt x="137" y="341"/>
                  </a:lnTo>
                  <a:lnTo>
                    <a:pt x="135" y="344"/>
                  </a:lnTo>
                  <a:lnTo>
                    <a:pt x="133" y="347"/>
                  </a:lnTo>
                  <a:lnTo>
                    <a:pt x="130" y="349"/>
                  </a:lnTo>
                  <a:lnTo>
                    <a:pt x="127" y="350"/>
                  </a:lnTo>
                  <a:lnTo>
                    <a:pt x="124" y="350"/>
                  </a:lnTo>
                  <a:lnTo>
                    <a:pt x="70" y="350"/>
                  </a:lnTo>
                  <a:lnTo>
                    <a:pt x="66" y="350"/>
                  </a:lnTo>
                  <a:lnTo>
                    <a:pt x="63" y="349"/>
                  </a:lnTo>
                  <a:lnTo>
                    <a:pt x="60" y="347"/>
                  </a:lnTo>
                  <a:lnTo>
                    <a:pt x="57" y="344"/>
                  </a:lnTo>
                  <a:lnTo>
                    <a:pt x="55" y="341"/>
                  </a:lnTo>
                  <a:lnTo>
                    <a:pt x="55" y="337"/>
                  </a:lnTo>
                  <a:lnTo>
                    <a:pt x="56" y="331"/>
                  </a:lnTo>
                  <a:lnTo>
                    <a:pt x="59" y="328"/>
                  </a:lnTo>
                  <a:lnTo>
                    <a:pt x="62" y="324"/>
                  </a:lnTo>
                  <a:lnTo>
                    <a:pt x="65" y="322"/>
                  </a:lnTo>
                  <a:lnTo>
                    <a:pt x="70" y="322"/>
                  </a:lnTo>
                  <a:lnTo>
                    <a:pt x="14" y="322"/>
                  </a:lnTo>
                  <a:lnTo>
                    <a:pt x="10" y="321"/>
                  </a:lnTo>
                  <a:lnTo>
                    <a:pt x="6" y="319"/>
                  </a:lnTo>
                  <a:lnTo>
                    <a:pt x="2" y="316"/>
                  </a:lnTo>
                  <a:lnTo>
                    <a:pt x="0" y="312"/>
                  </a:lnTo>
                  <a:lnTo>
                    <a:pt x="0" y="307"/>
                  </a:lnTo>
                  <a:lnTo>
                    <a:pt x="0" y="14"/>
                  </a:lnTo>
                  <a:lnTo>
                    <a:pt x="0" y="11"/>
                  </a:lnTo>
                  <a:lnTo>
                    <a:pt x="2" y="6"/>
                  </a:lnTo>
                  <a:lnTo>
                    <a:pt x="5" y="4"/>
                  </a:lnTo>
                  <a:lnTo>
                    <a:pt x="7" y="2"/>
                  </a:lnTo>
                  <a:lnTo>
                    <a:pt x="11" y="1"/>
                  </a:lnTo>
                  <a:lnTo>
                    <a:pt x="1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9">
              <a:extLst>
                <a:ext uri="{FF2B5EF4-FFF2-40B4-BE49-F238E27FC236}">
                  <a16:creationId xmlns:a16="http://schemas.microsoft.com/office/drawing/2014/main" id="{B9DD5152-6310-2745-B3C0-5377A095CB48}"/>
                </a:ext>
              </a:extLst>
            </p:cNvPr>
            <p:cNvSpPr>
              <a:spLocks noEditPoints="1"/>
            </p:cNvSpPr>
            <p:nvPr/>
          </p:nvSpPr>
          <p:spPr bwMode="auto">
            <a:xfrm>
              <a:off x="3236913" y="4184650"/>
              <a:ext cx="220663" cy="230188"/>
            </a:xfrm>
            <a:custGeom>
              <a:avLst/>
              <a:gdLst>
                <a:gd name="T0" fmla="*/ 70 w 139"/>
                <a:gd name="T1" fmla="*/ 28 h 145"/>
                <a:gd name="T2" fmla="*/ 56 w 139"/>
                <a:gd name="T3" fmla="*/ 31 h 145"/>
                <a:gd name="T4" fmla="*/ 45 w 139"/>
                <a:gd name="T5" fmla="*/ 37 h 145"/>
                <a:gd name="T6" fmla="*/ 37 w 139"/>
                <a:gd name="T7" fmla="*/ 46 h 145"/>
                <a:gd name="T8" fmla="*/ 30 w 139"/>
                <a:gd name="T9" fmla="*/ 59 h 145"/>
                <a:gd name="T10" fmla="*/ 28 w 139"/>
                <a:gd name="T11" fmla="*/ 72 h 145"/>
                <a:gd name="T12" fmla="*/ 30 w 139"/>
                <a:gd name="T13" fmla="*/ 87 h 145"/>
                <a:gd name="T14" fmla="*/ 37 w 139"/>
                <a:gd name="T15" fmla="*/ 98 h 145"/>
                <a:gd name="T16" fmla="*/ 45 w 139"/>
                <a:gd name="T17" fmla="*/ 107 h 145"/>
                <a:gd name="T18" fmla="*/ 56 w 139"/>
                <a:gd name="T19" fmla="*/ 114 h 145"/>
                <a:gd name="T20" fmla="*/ 70 w 139"/>
                <a:gd name="T21" fmla="*/ 116 h 145"/>
                <a:gd name="T22" fmla="*/ 82 w 139"/>
                <a:gd name="T23" fmla="*/ 114 h 145"/>
                <a:gd name="T24" fmla="*/ 94 w 139"/>
                <a:gd name="T25" fmla="*/ 107 h 145"/>
                <a:gd name="T26" fmla="*/ 103 w 139"/>
                <a:gd name="T27" fmla="*/ 98 h 145"/>
                <a:gd name="T28" fmla="*/ 109 w 139"/>
                <a:gd name="T29" fmla="*/ 87 h 145"/>
                <a:gd name="T30" fmla="*/ 111 w 139"/>
                <a:gd name="T31" fmla="*/ 72 h 145"/>
                <a:gd name="T32" fmla="*/ 109 w 139"/>
                <a:gd name="T33" fmla="*/ 59 h 145"/>
                <a:gd name="T34" fmla="*/ 103 w 139"/>
                <a:gd name="T35" fmla="*/ 46 h 145"/>
                <a:gd name="T36" fmla="*/ 94 w 139"/>
                <a:gd name="T37" fmla="*/ 37 h 145"/>
                <a:gd name="T38" fmla="*/ 82 w 139"/>
                <a:gd name="T39" fmla="*/ 31 h 145"/>
                <a:gd name="T40" fmla="*/ 70 w 139"/>
                <a:gd name="T41" fmla="*/ 28 h 145"/>
                <a:gd name="T42" fmla="*/ 70 w 139"/>
                <a:gd name="T43" fmla="*/ 0 h 145"/>
                <a:gd name="T44" fmla="*/ 88 w 139"/>
                <a:gd name="T45" fmla="*/ 3 h 145"/>
                <a:gd name="T46" fmla="*/ 105 w 139"/>
                <a:gd name="T47" fmla="*/ 10 h 145"/>
                <a:gd name="T48" fmla="*/ 119 w 139"/>
                <a:gd name="T49" fmla="*/ 21 h 145"/>
                <a:gd name="T50" fmla="*/ 130 w 139"/>
                <a:gd name="T51" fmla="*/ 36 h 145"/>
                <a:gd name="T52" fmla="*/ 137 w 139"/>
                <a:gd name="T53" fmla="*/ 53 h 145"/>
                <a:gd name="T54" fmla="*/ 139 w 139"/>
                <a:gd name="T55" fmla="*/ 72 h 145"/>
                <a:gd name="T56" fmla="*/ 137 w 139"/>
                <a:gd name="T57" fmla="*/ 92 h 145"/>
                <a:gd name="T58" fmla="*/ 130 w 139"/>
                <a:gd name="T59" fmla="*/ 108 h 145"/>
                <a:gd name="T60" fmla="*/ 119 w 139"/>
                <a:gd name="T61" fmla="*/ 123 h 145"/>
                <a:gd name="T62" fmla="*/ 105 w 139"/>
                <a:gd name="T63" fmla="*/ 134 h 145"/>
                <a:gd name="T64" fmla="*/ 88 w 139"/>
                <a:gd name="T65" fmla="*/ 143 h 145"/>
                <a:gd name="T66" fmla="*/ 70 w 139"/>
                <a:gd name="T67" fmla="*/ 145 h 145"/>
                <a:gd name="T68" fmla="*/ 51 w 139"/>
                <a:gd name="T69" fmla="*/ 143 h 145"/>
                <a:gd name="T70" fmla="*/ 35 w 139"/>
                <a:gd name="T71" fmla="*/ 134 h 145"/>
                <a:gd name="T72" fmla="*/ 21 w 139"/>
                <a:gd name="T73" fmla="*/ 123 h 145"/>
                <a:gd name="T74" fmla="*/ 10 w 139"/>
                <a:gd name="T75" fmla="*/ 108 h 145"/>
                <a:gd name="T76" fmla="*/ 3 w 139"/>
                <a:gd name="T77" fmla="*/ 92 h 145"/>
                <a:gd name="T78" fmla="*/ 0 w 139"/>
                <a:gd name="T79" fmla="*/ 72 h 145"/>
                <a:gd name="T80" fmla="*/ 3 w 139"/>
                <a:gd name="T81" fmla="*/ 53 h 145"/>
                <a:gd name="T82" fmla="*/ 10 w 139"/>
                <a:gd name="T83" fmla="*/ 36 h 145"/>
                <a:gd name="T84" fmla="*/ 21 w 139"/>
                <a:gd name="T85" fmla="*/ 21 h 145"/>
                <a:gd name="T86" fmla="*/ 35 w 139"/>
                <a:gd name="T87" fmla="*/ 10 h 145"/>
                <a:gd name="T88" fmla="*/ 51 w 139"/>
                <a:gd name="T89" fmla="*/ 3 h 145"/>
                <a:gd name="T90" fmla="*/ 70 w 139"/>
                <a:gd name="T9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9" h="145">
                  <a:moveTo>
                    <a:pt x="70" y="28"/>
                  </a:moveTo>
                  <a:lnTo>
                    <a:pt x="56" y="31"/>
                  </a:lnTo>
                  <a:lnTo>
                    <a:pt x="45" y="37"/>
                  </a:lnTo>
                  <a:lnTo>
                    <a:pt x="37" y="46"/>
                  </a:lnTo>
                  <a:lnTo>
                    <a:pt x="30" y="59"/>
                  </a:lnTo>
                  <a:lnTo>
                    <a:pt x="28" y="72"/>
                  </a:lnTo>
                  <a:lnTo>
                    <a:pt x="30" y="87"/>
                  </a:lnTo>
                  <a:lnTo>
                    <a:pt x="37" y="98"/>
                  </a:lnTo>
                  <a:lnTo>
                    <a:pt x="45" y="107"/>
                  </a:lnTo>
                  <a:lnTo>
                    <a:pt x="56" y="114"/>
                  </a:lnTo>
                  <a:lnTo>
                    <a:pt x="70" y="116"/>
                  </a:lnTo>
                  <a:lnTo>
                    <a:pt x="82" y="114"/>
                  </a:lnTo>
                  <a:lnTo>
                    <a:pt x="94" y="107"/>
                  </a:lnTo>
                  <a:lnTo>
                    <a:pt x="103" y="98"/>
                  </a:lnTo>
                  <a:lnTo>
                    <a:pt x="109" y="87"/>
                  </a:lnTo>
                  <a:lnTo>
                    <a:pt x="111" y="72"/>
                  </a:lnTo>
                  <a:lnTo>
                    <a:pt x="109" y="59"/>
                  </a:lnTo>
                  <a:lnTo>
                    <a:pt x="103" y="46"/>
                  </a:lnTo>
                  <a:lnTo>
                    <a:pt x="94" y="37"/>
                  </a:lnTo>
                  <a:lnTo>
                    <a:pt x="82" y="31"/>
                  </a:lnTo>
                  <a:lnTo>
                    <a:pt x="70" y="28"/>
                  </a:lnTo>
                  <a:close/>
                  <a:moveTo>
                    <a:pt x="70" y="0"/>
                  </a:moveTo>
                  <a:lnTo>
                    <a:pt x="88" y="3"/>
                  </a:lnTo>
                  <a:lnTo>
                    <a:pt x="105" y="10"/>
                  </a:lnTo>
                  <a:lnTo>
                    <a:pt x="119" y="21"/>
                  </a:lnTo>
                  <a:lnTo>
                    <a:pt x="130" y="36"/>
                  </a:lnTo>
                  <a:lnTo>
                    <a:pt x="137" y="53"/>
                  </a:lnTo>
                  <a:lnTo>
                    <a:pt x="139" y="72"/>
                  </a:lnTo>
                  <a:lnTo>
                    <a:pt x="137" y="92"/>
                  </a:lnTo>
                  <a:lnTo>
                    <a:pt x="130" y="108"/>
                  </a:lnTo>
                  <a:lnTo>
                    <a:pt x="119" y="123"/>
                  </a:lnTo>
                  <a:lnTo>
                    <a:pt x="105" y="134"/>
                  </a:lnTo>
                  <a:lnTo>
                    <a:pt x="88" y="143"/>
                  </a:lnTo>
                  <a:lnTo>
                    <a:pt x="70" y="145"/>
                  </a:lnTo>
                  <a:lnTo>
                    <a:pt x="51" y="143"/>
                  </a:lnTo>
                  <a:lnTo>
                    <a:pt x="35" y="134"/>
                  </a:lnTo>
                  <a:lnTo>
                    <a:pt x="21" y="123"/>
                  </a:lnTo>
                  <a:lnTo>
                    <a:pt x="10" y="108"/>
                  </a:lnTo>
                  <a:lnTo>
                    <a:pt x="3" y="92"/>
                  </a:lnTo>
                  <a:lnTo>
                    <a:pt x="0" y="72"/>
                  </a:lnTo>
                  <a:lnTo>
                    <a:pt x="3" y="53"/>
                  </a:lnTo>
                  <a:lnTo>
                    <a:pt x="10" y="36"/>
                  </a:lnTo>
                  <a:lnTo>
                    <a:pt x="21" y="21"/>
                  </a:lnTo>
                  <a:lnTo>
                    <a:pt x="35" y="10"/>
                  </a:lnTo>
                  <a:lnTo>
                    <a:pt x="51" y="3"/>
                  </a:lnTo>
                  <a:lnTo>
                    <a:pt x="7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10">
              <a:extLst>
                <a:ext uri="{FF2B5EF4-FFF2-40B4-BE49-F238E27FC236}">
                  <a16:creationId xmlns:a16="http://schemas.microsoft.com/office/drawing/2014/main" id="{EC9BF76D-FF81-0F45-A73D-3658ABBD0DBC}"/>
                </a:ext>
              </a:extLst>
            </p:cNvPr>
            <p:cNvSpPr>
              <a:spLocks/>
            </p:cNvSpPr>
            <p:nvPr/>
          </p:nvSpPr>
          <p:spPr bwMode="auto">
            <a:xfrm>
              <a:off x="3327401" y="4276725"/>
              <a:ext cx="44450" cy="46038"/>
            </a:xfrm>
            <a:custGeom>
              <a:avLst/>
              <a:gdLst>
                <a:gd name="T0" fmla="*/ 14 w 28"/>
                <a:gd name="T1" fmla="*/ 0 h 29"/>
                <a:gd name="T2" fmla="*/ 15 w 28"/>
                <a:gd name="T3" fmla="*/ 0 h 29"/>
                <a:gd name="T4" fmla="*/ 18 w 28"/>
                <a:gd name="T5" fmla="*/ 1 h 29"/>
                <a:gd name="T6" fmla="*/ 21 w 28"/>
                <a:gd name="T7" fmla="*/ 2 h 29"/>
                <a:gd name="T8" fmla="*/ 24 w 28"/>
                <a:gd name="T9" fmla="*/ 4 h 29"/>
                <a:gd name="T10" fmla="*/ 26 w 28"/>
                <a:gd name="T11" fmla="*/ 7 h 29"/>
                <a:gd name="T12" fmla="*/ 27 w 28"/>
                <a:gd name="T13" fmla="*/ 10 h 29"/>
                <a:gd name="T14" fmla="*/ 28 w 28"/>
                <a:gd name="T15" fmla="*/ 14 h 29"/>
                <a:gd name="T16" fmla="*/ 27 w 28"/>
                <a:gd name="T17" fmla="*/ 18 h 29"/>
                <a:gd name="T18" fmla="*/ 25 w 28"/>
                <a:gd name="T19" fmla="*/ 22 h 29"/>
                <a:gd name="T20" fmla="*/ 22 w 28"/>
                <a:gd name="T21" fmla="*/ 26 h 29"/>
                <a:gd name="T22" fmla="*/ 19 w 28"/>
                <a:gd name="T23" fmla="*/ 29 h 29"/>
                <a:gd name="T24" fmla="*/ 15 w 28"/>
                <a:gd name="T25" fmla="*/ 29 h 29"/>
                <a:gd name="T26" fmla="*/ 11 w 28"/>
                <a:gd name="T27" fmla="*/ 29 h 29"/>
                <a:gd name="T28" fmla="*/ 7 w 28"/>
                <a:gd name="T29" fmla="*/ 26 h 29"/>
                <a:gd name="T30" fmla="*/ 3 w 28"/>
                <a:gd name="T31" fmla="*/ 22 h 29"/>
                <a:gd name="T32" fmla="*/ 1 w 28"/>
                <a:gd name="T33" fmla="*/ 18 h 29"/>
                <a:gd name="T34" fmla="*/ 0 w 28"/>
                <a:gd name="T35" fmla="*/ 14 h 29"/>
                <a:gd name="T36" fmla="*/ 1 w 28"/>
                <a:gd name="T37" fmla="*/ 10 h 29"/>
                <a:gd name="T38" fmla="*/ 2 w 28"/>
                <a:gd name="T39" fmla="*/ 7 h 29"/>
                <a:gd name="T40" fmla="*/ 5 w 28"/>
                <a:gd name="T41" fmla="*/ 4 h 29"/>
                <a:gd name="T42" fmla="*/ 8 w 28"/>
                <a:gd name="T43" fmla="*/ 2 h 29"/>
                <a:gd name="T44" fmla="*/ 11 w 28"/>
                <a:gd name="T45" fmla="*/ 1 h 29"/>
                <a:gd name="T46" fmla="*/ 14 w 28"/>
                <a:gd name="T4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29">
                  <a:moveTo>
                    <a:pt x="14" y="0"/>
                  </a:moveTo>
                  <a:lnTo>
                    <a:pt x="15" y="0"/>
                  </a:lnTo>
                  <a:lnTo>
                    <a:pt x="18" y="1"/>
                  </a:lnTo>
                  <a:lnTo>
                    <a:pt x="21" y="2"/>
                  </a:lnTo>
                  <a:lnTo>
                    <a:pt x="24" y="4"/>
                  </a:lnTo>
                  <a:lnTo>
                    <a:pt x="26" y="7"/>
                  </a:lnTo>
                  <a:lnTo>
                    <a:pt x="27" y="10"/>
                  </a:lnTo>
                  <a:lnTo>
                    <a:pt x="28" y="14"/>
                  </a:lnTo>
                  <a:lnTo>
                    <a:pt x="27" y="18"/>
                  </a:lnTo>
                  <a:lnTo>
                    <a:pt x="25" y="22"/>
                  </a:lnTo>
                  <a:lnTo>
                    <a:pt x="22" y="26"/>
                  </a:lnTo>
                  <a:lnTo>
                    <a:pt x="19" y="29"/>
                  </a:lnTo>
                  <a:lnTo>
                    <a:pt x="15" y="29"/>
                  </a:lnTo>
                  <a:lnTo>
                    <a:pt x="11" y="29"/>
                  </a:lnTo>
                  <a:lnTo>
                    <a:pt x="7" y="26"/>
                  </a:lnTo>
                  <a:lnTo>
                    <a:pt x="3" y="22"/>
                  </a:lnTo>
                  <a:lnTo>
                    <a:pt x="1" y="18"/>
                  </a:lnTo>
                  <a:lnTo>
                    <a:pt x="0" y="14"/>
                  </a:lnTo>
                  <a:lnTo>
                    <a:pt x="1" y="10"/>
                  </a:lnTo>
                  <a:lnTo>
                    <a:pt x="2" y="7"/>
                  </a:lnTo>
                  <a:lnTo>
                    <a:pt x="5" y="4"/>
                  </a:lnTo>
                  <a:lnTo>
                    <a:pt x="8" y="2"/>
                  </a:lnTo>
                  <a:lnTo>
                    <a:pt x="11" y="1"/>
                  </a:lnTo>
                  <a:lnTo>
                    <a:pt x="1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11">
              <a:extLst>
                <a:ext uri="{FF2B5EF4-FFF2-40B4-BE49-F238E27FC236}">
                  <a16:creationId xmlns:a16="http://schemas.microsoft.com/office/drawing/2014/main" id="{C97FE802-805C-544C-897A-D3DE76B8FC36}"/>
                </a:ext>
              </a:extLst>
            </p:cNvPr>
            <p:cNvSpPr>
              <a:spLocks noEditPoints="1"/>
            </p:cNvSpPr>
            <p:nvPr/>
          </p:nvSpPr>
          <p:spPr bwMode="auto">
            <a:xfrm>
              <a:off x="5480051" y="3232150"/>
              <a:ext cx="1155700" cy="985838"/>
            </a:xfrm>
            <a:custGeom>
              <a:avLst/>
              <a:gdLst>
                <a:gd name="T0" fmla="*/ 171 w 728"/>
                <a:gd name="T1" fmla="*/ 102 h 621"/>
                <a:gd name="T2" fmla="*/ 188 w 728"/>
                <a:gd name="T3" fmla="*/ 110 h 621"/>
                <a:gd name="T4" fmla="*/ 196 w 728"/>
                <a:gd name="T5" fmla="*/ 129 h 621"/>
                <a:gd name="T6" fmla="*/ 188 w 728"/>
                <a:gd name="T7" fmla="*/ 148 h 621"/>
                <a:gd name="T8" fmla="*/ 171 w 728"/>
                <a:gd name="T9" fmla="*/ 156 h 621"/>
                <a:gd name="T10" fmla="*/ 180 w 728"/>
                <a:gd name="T11" fmla="*/ 415 h 621"/>
                <a:gd name="T12" fmla="*/ 194 w 728"/>
                <a:gd name="T13" fmla="*/ 429 h 621"/>
                <a:gd name="T14" fmla="*/ 194 w 728"/>
                <a:gd name="T15" fmla="*/ 450 h 621"/>
                <a:gd name="T16" fmla="*/ 180 w 728"/>
                <a:gd name="T17" fmla="*/ 464 h 621"/>
                <a:gd name="T18" fmla="*/ 171 w 728"/>
                <a:gd name="T19" fmla="*/ 519 h 621"/>
                <a:gd name="T20" fmla="*/ 680 w 728"/>
                <a:gd name="T21" fmla="*/ 54 h 621"/>
                <a:gd name="T22" fmla="*/ 49 w 728"/>
                <a:gd name="T23" fmla="*/ 54 h 621"/>
                <a:gd name="T24" fmla="*/ 123 w 728"/>
                <a:gd name="T25" fmla="*/ 519 h 621"/>
                <a:gd name="T26" fmla="*/ 113 w 728"/>
                <a:gd name="T27" fmla="*/ 464 h 621"/>
                <a:gd name="T28" fmla="*/ 99 w 728"/>
                <a:gd name="T29" fmla="*/ 450 h 621"/>
                <a:gd name="T30" fmla="*/ 99 w 728"/>
                <a:gd name="T31" fmla="*/ 429 h 621"/>
                <a:gd name="T32" fmla="*/ 113 w 728"/>
                <a:gd name="T33" fmla="*/ 415 h 621"/>
                <a:gd name="T34" fmla="*/ 123 w 728"/>
                <a:gd name="T35" fmla="*/ 156 h 621"/>
                <a:gd name="T36" fmla="*/ 104 w 728"/>
                <a:gd name="T37" fmla="*/ 148 h 621"/>
                <a:gd name="T38" fmla="*/ 97 w 728"/>
                <a:gd name="T39" fmla="*/ 129 h 621"/>
                <a:gd name="T40" fmla="*/ 104 w 728"/>
                <a:gd name="T41" fmla="*/ 110 h 621"/>
                <a:gd name="T42" fmla="*/ 123 w 728"/>
                <a:gd name="T43" fmla="*/ 102 h 621"/>
                <a:gd name="T44" fmla="*/ 49 w 728"/>
                <a:gd name="T45" fmla="*/ 54 h 621"/>
                <a:gd name="T46" fmla="*/ 705 w 728"/>
                <a:gd name="T47" fmla="*/ 0 h 621"/>
                <a:gd name="T48" fmla="*/ 722 w 728"/>
                <a:gd name="T49" fmla="*/ 8 h 621"/>
                <a:gd name="T50" fmla="*/ 728 w 728"/>
                <a:gd name="T51" fmla="*/ 25 h 621"/>
                <a:gd name="T52" fmla="*/ 726 w 728"/>
                <a:gd name="T53" fmla="*/ 554 h 621"/>
                <a:gd name="T54" fmla="*/ 715 w 728"/>
                <a:gd name="T55" fmla="*/ 568 h 621"/>
                <a:gd name="T56" fmla="*/ 608 w 728"/>
                <a:gd name="T57" fmla="*/ 570 h 621"/>
                <a:gd name="T58" fmla="*/ 625 w 728"/>
                <a:gd name="T59" fmla="*/ 579 h 621"/>
                <a:gd name="T60" fmla="*/ 633 w 728"/>
                <a:gd name="T61" fmla="*/ 597 h 621"/>
                <a:gd name="T62" fmla="*/ 625 w 728"/>
                <a:gd name="T63" fmla="*/ 615 h 621"/>
                <a:gd name="T64" fmla="*/ 608 w 728"/>
                <a:gd name="T65" fmla="*/ 621 h 621"/>
                <a:gd name="T66" fmla="*/ 500 w 728"/>
                <a:gd name="T67" fmla="*/ 619 h 621"/>
                <a:gd name="T68" fmla="*/ 488 w 728"/>
                <a:gd name="T69" fmla="*/ 607 h 621"/>
                <a:gd name="T70" fmla="*/ 488 w 728"/>
                <a:gd name="T71" fmla="*/ 587 h 621"/>
                <a:gd name="T72" fmla="*/ 500 w 728"/>
                <a:gd name="T73" fmla="*/ 572 h 621"/>
                <a:gd name="T74" fmla="*/ 219 w 728"/>
                <a:gd name="T75" fmla="*/ 570 h 621"/>
                <a:gd name="T76" fmla="*/ 236 w 728"/>
                <a:gd name="T77" fmla="*/ 579 h 621"/>
                <a:gd name="T78" fmla="*/ 243 w 728"/>
                <a:gd name="T79" fmla="*/ 597 h 621"/>
                <a:gd name="T80" fmla="*/ 236 w 728"/>
                <a:gd name="T81" fmla="*/ 615 h 621"/>
                <a:gd name="T82" fmla="*/ 219 w 728"/>
                <a:gd name="T83" fmla="*/ 621 h 621"/>
                <a:gd name="T84" fmla="*/ 113 w 728"/>
                <a:gd name="T85" fmla="*/ 619 h 621"/>
                <a:gd name="T86" fmla="*/ 99 w 728"/>
                <a:gd name="T87" fmla="*/ 607 h 621"/>
                <a:gd name="T88" fmla="*/ 99 w 728"/>
                <a:gd name="T89" fmla="*/ 587 h 621"/>
                <a:gd name="T90" fmla="*/ 113 w 728"/>
                <a:gd name="T91" fmla="*/ 572 h 621"/>
                <a:gd name="T92" fmla="*/ 25 w 728"/>
                <a:gd name="T93" fmla="*/ 570 h 621"/>
                <a:gd name="T94" fmla="*/ 7 w 728"/>
                <a:gd name="T95" fmla="*/ 563 h 621"/>
                <a:gd name="T96" fmla="*/ 0 w 728"/>
                <a:gd name="T97" fmla="*/ 543 h 621"/>
                <a:gd name="T98" fmla="*/ 2 w 728"/>
                <a:gd name="T99" fmla="*/ 15 h 621"/>
                <a:gd name="T100" fmla="*/ 15 w 728"/>
                <a:gd name="T101" fmla="*/ 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8" h="621">
                  <a:moveTo>
                    <a:pt x="171" y="54"/>
                  </a:moveTo>
                  <a:lnTo>
                    <a:pt x="171" y="102"/>
                  </a:lnTo>
                  <a:lnTo>
                    <a:pt x="180" y="104"/>
                  </a:lnTo>
                  <a:lnTo>
                    <a:pt x="188" y="110"/>
                  </a:lnTo>
                  <a:lnTo>
                    <a:pt x="194" y="119"/>
                  </a:lnTo>
                  <a:lnTo>
                    <a:pt x="196" y="129"/>
                  </a:lnTo>
                  <a:lnTo>
                    <a:pt x="194" y="140"/>
                  </a:lnTo>
                  <a:lnTo>
                    <a:pt x="188" y="148"/>
                  </a:lnTo>
                  <a:lnTo>
                    <a:pt x="180" y="154"/>
                  </a:lnTo>
                  <a:lnTo>
                    <a:pt x="171" y="156"/>
                  </a:lnTo>
                  <a:lnTo>
                    <a:pt x="171" y="413"/>
                  </a:lnTo>
                  <a:lnTo>
                    <a:pt x="180" y="415"/>
                  </a:lnTo>
                  <a:lnTo>
                    <a:pt x="188" y="421"/>
                  </a:lnTo>
                  <a:lnTo>
                    <a:pt x="194" y="429"/>
                  </a:lnTo>
                  <a:lnTo>
                    <a:pt x="196" y="440"/>
                  </a:lnTo>
                  <a:lnTo>
                    <a:pt x="194" y="450"/>
                  </a:lnTo>
                  <a:lnTo>
                    <a:pt x="188" y="458"/>
                  </a:lnTo>
                  <a:lnTo>
                    <a:pt x="180" y="464"/>
                  </a:lnTo>
                  <a:lnTo>
                    <a:pt x="171" y="467"/>
                  </a:lnTo>
                  <a:lnTo>
                    <a:pt x="171" y="519"/>
                  </a:lnTo>
                  <a:lnTo>
                    <a:pt x="680" y="519"/>
                  </a:lnTo>
                  <a:lnTo>
                    <a:pt x="680" y="54"/>
                  </a:lnTo>
                  <a:lnTo>
                    <a:pt x="171" y="54"/>
                  </a:lnTo>
                  <a:close/>
                  <a:moveTo>
                    <a:pt x="49" y="54"/>
                  </a:moveTo>
                  <a:lnTo>
                    <a:pt x="49" y="519"/>
                  </a:lnTo>
                  <a:lnTo>
                    <a:pt x="123" y="519"/>
                  </a:lnTo>
                  <a:lnTo>
                    <a:pt x="123" y="467"/>
                  </a:lnTo>
                  <a:lnTo>
                    <a:pt x="113" y="464"/>
                  </a:lnTo>
                  <a:lnTo>
                    <a:pt x="104" y="458"/>
                  </a:lnTo>
                  <a:lnTo>
                    <a:pt x="99" y="450"/>
                  </a:lnTo>
                  <a:lnTo>
                    <a:pt x="97" y="440"/>
                  </a:lnTo>
                  <a:lnTo>
                    <a:pt x="99" y="429"/>
                  </a:lnTo>
                  <a:lnTo>
                    <a:pt x="104" y="421"/>
                  </a:lnTo>
                  <a:lnTo>
                    <a:pt x="113" y="415"/>
                  </a:lnTo>
                  <a:lnTo>
                    <a:pt x="123" y="413"/>
                  </a:lnTo>
                  <a:lnTo>
                    <a:pt x="123" y="156"/>
                  </a:lnTo>
                  <a:lnTo>
                    <a:pt x="113" y="154"/>
                  </a:lnTo>
                  <a:lnTo>
                    <a:pt x="104" y="148"/>
                  </a:lnTo>
                  <a:lnTo>
                    <a:pt x="99" y="140"/>
                  </a:lnTo>
                  <a:lnTo>
                    <a:pt x="97" y="129"/>
                  </a:lnTo>
                  <a:lnTo>
                    <a:pt x="99" y="119"/>
                  </a:lnTo>
                  <a:lnTo>
                    <a:pt x="104" y="110"/>
                  </a:lnTo>
                  <a:lnTo>
                    <a:pt x="113" y="104"/>
                  </a:lnTo>
                  <a:lnTo>
                    <a:pt x="123" y="102"/>
                  </a:lnTo>
                  <a:lnTo>
                    <a:pt x="123" y="54"/>
                  </a:lnTo>
                  <a:lnTo>
                    <a:pt x="49" y="54"/>
                  </a:lnTo>
                  <a:close/>
                  <a:moveTo>
                    <a:pt x="25" y="0"/>
                  </a:moveTo>
                  <a:lnTo>
                    <a:pt x="705" y="0"/>
                  </a:lnTo>
                  <a:lnTo>
                    <a:pt x="715" y="2"/>
                  </a:lnTo>
                  <a:lnTo>
                    <a:pt x="722" y="8"/>
                  </a:lnTo>
                  <a:lnTo>
                    <a:pt x="726" y="15"/>
                  </a:lnTo>
                  <a:lnTo>
                    <a:pt x="728" y="25"/>
                  </a:lnTo>
                  <a:lnTo>
                    <a:pt x="728" y="543"/>
                  </a:lnTo>
                  <a:lnTo>
                    <a:pt x="726" y="554"/>
                  </a:lnTo>
                  <a:lnTo>
                    <a:pt x="722" y="563"/>
                  </a:lnTo>
                  <a:lnTo>
                    <a:pt x="715" y="568"/>
                  </a:lnTo>
                  <a:lnTo>
                    <a:pt x="705" y="570"/>
                  </a:lnTo>
                  <a:lnTo>
                    <a:pt x="608" y="570"/>
                  </a:lnTo>
                  <a:lnTo>
                    <a:pt x="617" y="572"/>
                  </a:lnTo>
                  <a:lnTo>
                    <a:pt x="625" y="579"/>
                  </a:lnTo>
                  <a:lnTo>
                    <a:pt x="631" y="587"/>
                  </a:lnTo>
                  <a:lnTo>
                    <a:pt x="633" y="597"/>
                  </a:lnTo>
                  <a:lnTo>
                    <a:pt x="631" y="607"/>
                  </a:lnTo>
                  <a:lnTo>
                    <a:pt x="625" y="615"/>
                  </a:lnTo>
                  <a:lnTo>
                    <a:pt x="617" y="619"/>
                  </a:lnTo>
                  <a:lnTo>
                    <a:pt x="608" y="621"/>
                  </a:lnTo>
                  <a:lnTo>
                    <a:pt x="509" y="621"/>
                  </a:lnTo>
                  <a:lnTo>
                    <a:pt x="500" y="619"/>
                  </a:lnTo>
                  <a:lnTo>
                    <a:pt x="493" y="615"/>
                  </a:lnTo>
                  <a:lnTo>
                    <a:pt x="488" y="607"/>
                  </a:lnTo>
                  <a:lnTo>
                    <a:pt x="487" y="597"/>
                  </a:lnTo>
                  <a:lnTo>
                    <a:pt x="488" y="587"/>
                  </a:lnTo>
                  <a:lnTo>
                    <a:pt x="493" y="579"/>
                  </a:lnTo>
                  <a:lnTo>
                    <a:pt x="500" y="572"/>
                  </a:lnTo>
                  <a:lnTo>
                    <a:pt x="509" y="570"/>
                  </a:lnTo>
                  <a:lnTo>
                    <a:pt x="219" y="570"/>
                  </a:lnTo>
                  <a:lnTo>
                    <a:pt x="228" y="572"/>
                  </a:lnTo>
                  <a:lnTo>
                    <a:pt x="236" y="579"/>
                  </a:lnTo>
                  <a:lnTo>
                    <a:pt x="241" y="587"/>
                  </a:lnTo>
                  <a:lnTo>
                    <a:pt x="243" y="597"/>
                  </a:lnTo>
                  <a:lnTo>
                    <a:pt x="241" y="607"/>
                  </a:lnTo>
                  <a:lnTo>
                    <a:pt x="236" y="615"/>
                  </a:lnTo>
                  <a:lnTo>
                    <a:pt x="228" y="619"/>
                  </a:lnTo>
                  <a:lnTo>
                    <a:pt x="219" y="621"/>
                  </a:lnTo>
                  <a:lnTo>
                    <a:pt x="123" y="621"/>
                  </a:lnTo>
                  <a:lnTo>
                    <a:pt x="113" y="619"/>
                  </a:lnTo>
                  <a:lnTo>
                    <a:pt x="104" y="615"/>
                  </a:lnTo>
                  <a:lnTo>
                    <a:pt x="99" y="607"/>
                  </a:lnTo>
                  <a:lnTo>
                    <a:pt x="97" y="597"/>
                  </a:lnTo>
                  <a:lnTo>
                    <a:pt x="99" y="587"/>
                  </a:lnTo>
                  <a:lnTo>
                    <a:pt x="104" y="579"/>
                  </a:lnTo>
                  <a:lnTo>
                    <a:pt x="113" y="572"/>
                  </a:lnTo>
                  <a:lnTo>
                    <a:pt x="123" y="570"/>
                  </a:lnTo>
                  <a:lnTo>
                    <a:pt x="25" y="570"/>
                  </a:lnTo>
                  <a:lnTo>
                    <a:pt x="15" y="568"/>
                  </a:lnTo>
                  <a:lnTo>
                    <a:pt x="7" y="563"/>
                  </a:lnTo>
                  <a:lnTo>
                    <a:pt x="2" y="554"/>
                  </a:lnTo>
                  <a:lnTo>
                    <a:pt x="0" y="543"/>
                  </a:lnTo>
                  <a:lnTo>
                    <a:pt x="0" y="25"/>
                  </a:lnTo>
                  <a:lnTo>
                    <a:pt x="2" y="15"/>
                  </a:lnTo>
                  <a:lnTo>
                    <a:pt x="7" y="8"/>
                  </a:lnTo>
                  <a:lnTo>
                    <a:pt x="15" y="2"/>
                  </a:lnTo>
                  <a:lnTo>
                    <a:pt x="2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12">
              <a:extLst>
                <a:ext uri="{FF2B5EF4-FFF2-40B4-BE49-F238E27FC236}">
                  <a16:creationId xmlns:a16="http://schemas.microsoft.com/office/drawing/2014/main" id="{D83208CC-7343-FD48-9B3F-A63B0DE7761E}"/>
                </a:ext>
              </a:extLst>
            </p:cNvPr>
            <p:cNvSpPr>
              <a:spLocks noEditPoints="1"/>
            </p:cNvSpPr>
            <p:nvPr/>
          </p:nvSpPr>
          <p:spPr bwMode="auto">
            <a:xfrm>
              <a:off x="6092826" y="3476625"/>
              <a:ext cx="390525" cy="409575"/>
            </a:xfrm>
            <a:custGeom>
              <a:avLst/>
              <a:gdLst>
                <a:gd name="T0" fmla="*/ 121 w 246"/>
                <a:gd name="T1" fmla="*/ 51 h 258"/>
                <a:gd name="T2" fmla="*/ 102 w 246"/>
                <a:gd name="T3" fmla="*/ 54 h 258"/>
                <a:gd name="T4" fmla="*/ 85 w 246"/>
                <a:gd name="T5" fmla="*/ 61 h 258"/>
                <a:gd name="T6" fmla="*/ 70 w 246"/>
                <a:gd name="T7" fmla="*/ 74 h 258"/>
                <a:gd name="T8" fmla="*/ 58 w 246"/>
                <a:gd name="T9" fmla="*/ 89 h 258"/>
                <a:gd name="T10" fmla="*/ 51 w 246"/>
                <a:gd name="T11" fmla="*/ 108 h 258"/>
                <a:gd name="T12" fmla="*/ 47 w 246"/>
                <a:gd name="T13" fmla="*/ 129 h 258"/>
                <a:gd name="T14" fmla="*/ 51 w 246"/>
                <a:gd name="T15" fmla="*/ 150 h 258"/>
                <a:gd name="T16" fmla="*/ 58 w 246"/>
                <a:gd name="T17" fmla="*/ 168 h 258"/>
                <a:gd name="T18" fmla="*/ 70 w 246"/>
                <a:gd name="T19" fmla="*/ 184 h 258"/>
                <a:gd name="T20" fmla="*/ 85 w 246"/>
                <a:gd name="T21" fmla="*/ 196 h 258"/>
                <a:gd name="T22" fmla="*/ 102 w 246"/>
                <a:gd name="T23" fmla="*/ 204 h 258"/>
                <a:gd name="T24" fmla="*/ 121 w 246"/>
                <a:gd name="T25" fmla="*/ 207 h 258"/>
                <a:gd name="T26" fmla="*/ 141 w 246"/>
                <a:gd name="T27" fmla="*/ 204 h 258"/>
                <a:gd name="T28" fmla="*/ 158 w 246"/>
                <a:gd name="T29" fmla="*/ 196 h 258"/>
                <a:gd name="T30" fmla="*/ 174 w 246"/>
                <a:gd name="T31" fmla="*/ 184 h 258"/>
                <a:gd name="T32" fmla="*/ 185 w 246"/>
                <a:gd name="T33" fmla="*/ 168 h 258"/>
                <a:gd name="T34" fmla="*/ 193 w 246"/>
                <a:gd name="T35" fmla="*/ 150 h 258"/>
                <a:gd name="T36" fmla="*/ 195 w 246"/>
                <a:gd name="T37" fmla="*/ 129 h 258"/>
                <a:gd name="T38" fmla="*/ 193 w 246"/>
                <a:gd name="T39" fmla="*/ 108 h 258"/>
                <a:gd name="T40" fmla="*/ 185 w 246"/>
                <a:gd name="T41" fmla="*/ 89 h 258"/>
                <a:gd name="T42" fmla="*/ 174 w 246"/>
                <a:gd name="T43" fmla="*/ 74 h 258"/>
                <a:gd name="T44" fmla="*/ 158 w 246"/>
                <a:gd name="T45" fmla="*/ 61 h 258"/>
                <a:gd name="T46" fmla="*/ 141 w 246"/>
                <a:gd name="T47" fmla="*/ 54 h 258"/>
                <a:gd name="T48" fmla="*/ 121 w 246"/>
                <a:gd name="T49" fmla="*/ 51 h 258"/>
                <a:gd name="T50" fmla="*/ 121 w 246"/>
                <a:gd name="T51" fmla="*/ 0 h 258"/>
                <a:gd name="T52" fmla="*/ 147 w 246"/>
                <a:gd name="T53" fmla="*/ 3 h 258"/>
                <a:gd name="T54" fmla="*/ 170 w 246"/>
                <a:gd name="T55" fmla="*/ 10 h 258"/>
                <a:gd name="T56" fmla="*/ 191 w 246"/>
                <a:gd name="T57" fmla="*/ 23 h 258"/>
                <a:gd name="T58" fmla="*/ 209 w 246"/>
                <a:gd name="T59" fmla="*/ 38 h 258"/>
                <a:gd name="T60" fmla="*/ 225 w 246"/>
                <a:gd name="T61" fmla="*/ 57 h 258"/>
                <a:gd name="T62" fmla="*/ 236 w 246"/>
                <a:gd name="T63" fmla="*/ 79 h 258"/>
                <a:gd name="T64" fmla="*/ 244 w 246"/>
                <a:gd name="T65" fmla="*/ 103 h 258"/>
                <a:gd name="T66" fmla="*/ 246 w 246"/>
                <a:gd name="T67" fmla="*/ 129 h 258"/>
                <a:gd name="T68" fmla="*/ 244 w 246"/>
                <a:gd name="T69" fmla="*/ 155 h 258"/>
                <a:gd name="T70" fmla="*/ 236 w 246"/>
                <a:gd name="T71" fmla="*/ 179 h 258"/>
                <a:gd name="T72" fmla="*/ 225 w 246"/>
                <a:gd name="T73" fmla="*/ 200 h 258"/>
                <a:gd name="T74" fmla="*/ 209 w 246"/>
                <a:gd name="T75" fmla="*/ 219 h 258"/>
                <a:gd name="T76" fmla="*/ 191 w 246"/>
                <a:gd name="T77" fmla="*/ 235 h 258"/>
                <a:gd name="T78" fmla="*/ 170 w 246"/>
                <a:gd name="T79" fmla="*/ 247 h 258"/>
                <a:gd name="T80" fmla="*/ 147 w 246"/>
                <a:gd name="T81" fmla="*/ 254 h 258"/>
                <a:gd name="T82" fmla="*/ 121 w 246"/>
                <a:gd name="T83" fmla="*/ 258 h 258"/>
                <a:gd name="T84" fmla="*/ 97 w 246"/>
                <a:gd name="T85" fmla="*/ 254 h 258"/>
                <a:gd name="T86" fmla="*/ 74 w 246"/>
                <a:gd name="T87" fmla="*/ 247 h 258"/>
                <a:gd name="T88" fmla="*/ 54 w 246"/>
                <a:gd name="T89" fmla="*/ 235 h 258"/>
                <a:gd name="T90" fmla="*/ 35 w 246"/>
                <a:gd name="T91" fmla="*/ 219 h 258"/>
                <a:gd name="T92" fmla="*/ 20 w 246"/>
                <a:gd name="T93" fmla="*/ 200 h 258"/>
                <a:gd name="T94" fmla="*/ 9 w 246"/>
                <a:gd name="T95" fmla="*/ 179 h 258"/>
                <a:gd name="T96" fmla="*/ 2 w 246"/>
                <a:gd name="T97" fmla="*/ 155 h 258"/>
                <a:gd name="T98" fmla="*/ 0 w 246"/>
                <a:gd name="T99" fmla="*/ 129 h 258"/>
                <a:gd name="T100" fmla="*/ 2 w 246"/>
                <a:gd name="T101" fmla="*/ 103 h 258"/>
                <a:gd name="T102" fmla="*/ 9 w 246"/>
                <a:gd name="T103" fmla="*/ 79 h 258"/>
                <a:gd name="T104" fmla="*/ 20 w 246"/>
                <a:gd name="T105" fmla="*/ 57 h 258"/>
                <a:gd name="T106" fmla="*/ 35 w 246"/>
                <a:gd name="T107" fmla="*/ 38 h 258"/>
                <a:gd name="T108" fmla="*/ 54 w 246"/>
                <a:gd name="T109" fmla="*/ 23 h 258"/>
                <a:gd name="T110" fmla="*/ 74 w 246"/>
                <a:gd name="T111" fmla="*/ 10 h 258"/>
                <a:gd name="T112" fmla="*/ 97 w 246"/>
                <a:gd name="T113" fmla="*/ 3 h 258"/>
                <a:gd name="T114" fmla="*/ 121 w 246"/>
                <a:gd name="T11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6" h="258">
                  <a:moveTo>
                    <a:pt x="121" y="51"/>
                  </a:moveTo>
                  <a:lnTo>
                    <a:pt x="102" y="54"/>
                  </a:lnTo>
                  <a:lnTo>
                    <a:pt x="85" y="61"/>
                  </a:lnTo>
                  <a:lnTo>
                    <a:pt x="70" y="74"/>
                  </a:lnTo>
                  <a:lnTo>
                    <a:pt x="58" y="89"/>
                  </a:lnTo>
                  <a:lnTo>
                    <a:pt x="51" y="108"/>
                  </a:lnTo>
                  <a:lnTo>
                    <a:pt x="47" y="129"/>
                  </a:lnTo>
                  <a:lnTo>
                    <a:pt x="51" y="150"/>
                  </a:lnTo>
                  <a:lnTo>
                    <a:pt x="58" y="168"/>
                  </a:lnTo>
                  <a:lnTo>
                    <a:pt x="70" y="184"/>
                  </a:lnTo>
                  <a:lnTo>
                    <a:pt x="85" y="196"/>
                  </a:lnTo>
                  <a:lnTo>
                    <a:pt x="102" y="204"/>
                  </a:lnTo>
                  <a:lnTo>
                    <a:pt x="121" y="207"/>
                  </a:lnTo>
                  <a:lnTo>
                    <a:pt x="141" y="204"/>
                  </a:lnTo>
                  <a:lnTo>
                    <a:pt x="158" y="196"/>
                  </a:lnTo>
                  <a:lnTo>
                    <a:pt x="174" y="184"/>
                  </a:lnTo>
                  <a:lnTo>
                    <a:pt x="185" y="168"/>
                  </a:lnTo>
                  <a:lnTo>
                    <a:pt x="193" y="150"/>
                  </a:lnTo>
                  <a:lnTo>
                    <a:pt x="195" y="129"/>
                  </a:lnTo>
                  <a:lnTo>
                    <a:pt x="193" y="108"/>
                  </a:lnTo>
                  <a:lnTo>
                    <a:pt x="185" y="89"/>
                  </a:lnTo>
                  <a:lnTo>
                    <a:pt x="174" y="74"/>
                  </a:lnTo>
                  <a:lnTo>
                    <a:pt x="158" y="61"/>
                  </a:lnTo>
                  <a:lnTo>
                    <a:pt x="141" y="54"/>
                  </a:lnTo>
                  <a:lnTo>
                    <a:pt x="121" y="51"/>
                  </a:lnTo>
                  <a:close/>
                  <a:moveTo>
                    <a:pt x="121" y="0"/>
                  </a:moveTo>
                  <a:lnTo>
                    <a:pt x="147" y="3"/>
                  </a:lnTo>
                  <a:lnTo>
                    <a:pt x="170" y="10"/>
                  </a:lnTo>
                  <a:lnTo>
                    <a:pt x="191" y="23"/>
                  </a:lnTo>
                  <a:lnTo>
                    <a:pt x="209" y="38"/>
                  </a:lnTo>
                  <a:lnTo>
                    <a:pt x="225" y="57"/>
                  </a:lnTo>
                  <a:lnTo>
                    <a:pt x="236" y="79"/>
                  </a:lnTo>
                  <a:lnTo>
                    <a:pt x="244" y="103"/>
                  </a:lnTo>
                  <a:lnTo>
                    <a:pt x="246" y="129"/>
                  </a:lnTo>
                  <a:lnTo>
                    <a:pt x="244" y="155"/>
                  </a:lnTo>
                  <a:lnTo>
                    <a:pt x="236" y="179"/>
                  </a:lnTo>
                  <a:lnTo>
                    <a:pt x="225" y="200"/>
                  </a:lnTo>
                  <a:lnTo>
                    <a:pt x="209" y="219"/>
                  </a:lnTo>
                  <a:lnTo>
                    <a:pt x="191" y="235"/>
                  </a:lnTo>
                  <a:lnTo>
                    <a:pt x="170" y="247"/>
                  </a:lnTo>
                  <a:lnTo>
                    <a:pt x="147" y="254"/>
                  </a:lnTo>
                  <a:lnTo>
                    <a:pt x="121" y="258"/>
                  </a:lnTo>
                  <a:lnTo>
                    <a:pt x="97" y="254"/>
                  </a:lnTo>
                  <a:lnTo>
                    <a:pt x="74" y="247"/>
                  </a:lnTo>
                  <a:lnTo>
                    <a:pt x="54" y="235"/>
                  </a:lnTo>
                  <a:lnTo>
                    <a:pt x="35" y="219"/>
                  </a:lnTo>
                  <a:lnTo>
                    <a:pt x="20" y="200"/>
                  </a:lnTo>
                  <a:lnTo>
                    <a:pt x="9" y="179"/>
                  </a:lnTo>
                  <a:lnTo>
                    <a:pt x="2" y="155"/>
                  </a:lnTo>
                  <a:lnTo>
                    <a:pt x="0" y="129"/>
                  </a:lnTo>
                  <a:lnTo>
                    <a:pt x="2" y="103"/>
                  </a:lnTo>
                  <a:lnTo>
                    <a:pt x="9" y="79"/>
                  </a:lnTo>
                  <a:lnTo>
                    <a:pt x="20" y="57"/>
                  </a:lnTo>
                  <a:lnTo>
                    <a:pt x="35" y="38"/>
                  </a:lnTo>
                  <a:lnTo>
                    <a:pt x="54" y="23"/>
                  </a:lnTo>
                  <a:lnTo>
                    <a:pt x="74" y="10"/>
                  </a:lnTo>
                  <a:lnTo>
                    <a:pt x="97" y="3"/>
                  </a:lnTo>
                  <a:lnTo>
                    <a:pt x="12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13">
              <a:extLst>
                <a:ext uri="{FF2B5EF4-FFF2-40B4-BE49-F238E27FC236}">
                  <a16:creationId xmlns:a16="http://schemas.microsoft.com/office/drawing/2014/main" id="{510EC225-D59D-C442-988A-76121196A0E3}"/>
                </a:ext>
              </a:extLst>
            </p:cNvPr>
            <p:cNvSpPr>
              <a:spLocks/>
            </p:cNvSpPr>
            <p:nvPr/>
          </p:nvSpPr>
          <p:spPr bwMode="auto">
            <a:xfrm>
              <a:off x="6253163" y="3640138"/>
              <a:ext cx="76200" cy="82550"/>
            </a:xfrm>
            <a:custGeom>
              <a:avLst/>
              <a:gdLst>
                <a:gd name="T0" fmla="*/ 23 w 48"/>
                <a:gd name="T1" fmla="*/ 0 h 52"/>
                <a:gd name="T2" fmla="*/ 25 w 48"/>
                <a:gd name="T3" fmla="*/ 0 h 52"/>
                <a:gd name="T4" fmla="*/ 34 w 48"/>
                <a:gd name="T5" fmla="*/ 2 h 52"/>
                <a:gd name="T6" fmla="*/ 41 w 48"/>
                <a:gd name="T7" fmla="*/ 7 h 52"/>
                <a:gd name="T8" fmla="*/ 46 w 48"/>
                <a:gd name="T9" fmla="*/ 14 h 52"/>
                <a:gd name="T10" fmla="*/ 48 w 48"/>
                <a:gd name="T11" fmla="*/ 25 h 52"/>
                <a:gd name="T12" fmla="*/ 46 w 48"/>
                <a:gd name="T13" fmla="*/ 35 h 52"/>
                <a:gd name="T14" fmla="*/ 41 w 48"/>
                <a:gd name="T15" fmla="*/ 43 h 52"/>
                <a:gd name="T16" fmla="*/ 34 w 48"/>
                <a:gd name="T17" fmla="*/ 50 h 52"/>
                <a:gd name="T18" fmla="*/ 25 w 48"/>
                <a:gd name="T19" fmla="*/ 52 h 52"/>
                <a:gd name="T20" fmla="*/ 16 w 48"/>
                <a:gd name="T21" fmla="*/ 50 h 52"/>
                <a:gd name="T22" fmla="*/ 8 w 48"/>
                <a:gd name="T23" fmla="*/ 43 h 52"/>
                <a:gd name="T24" fmla="*/ 1 w 48"/>
                <a:gd name="T25" fmla="*/ 35 h 52"/>
                <a:gd name="T26" fmla="*/ 0 w 48"/>
                <a:gd name="T27" fmla="*/ 25 h 52"/>
                <a:gd name="T28" fmla="*/ 1 w 48"/>
                <a:gd name="T29" fmla="*/ 14 h 52"/>
                <a:gd name="T30" fmla="*/ 7 w 48"/>
                <a:gd name="T31" fmla="*/ 7 h 52"/>
                <a:gd name="T32" fmla="*/ 15 w 48"/>
                <a:gd name="T33" fmla="*/ 2 h 52"/>
                <a:gd name="T34" fmla="*/ 23 w 48"/>
                <a:gd name="T3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2">
                  <a:moveTo>
                    <a:pt x="23" y="0"/>
                  </a:moveTo>
                  <a:lnTo>
                    <a:pt x="25" y="0"/>
                  </a:lnTo>
                  <a:lnTo>
                    <a:pt x="34" y="2"/>
                  </a:lnTo>
                  <a:lnTo>
                    <a:pt x="41" y="7"/>
                  </a:lnTo>
                  <a:lnTo>
                    <a:pt x="46" y="14"/>
                  </a:lnTo>
                  <a:lnTo>
                    <a:pt x="48" y="25"/>
                  </a:lnTo>
                  <a:lnTo>
                    <a:pt x="46" y="35"/>
                  </a:lnTo>
                  <a:lnTo>
                    <a:pt x="41" y="43"/>
                  </a:lnTo>
                  <a:lnTo>
                    <a:pt x="34" y="50"/>
                  </a:lnTo>
                  <a:lnTo>
                    <a:pt x="25" y="52"/>
                  </a:lnTo>
                  <a:lnTo>
                    <a:pt x="16" y="50"/>
                  </a:lnTo>
                  <a:lnTo>
                    <a:pt x="8" y="43"/>
                  </a:lnTo>
                  <a:lnTo>
                    <a:pt x="1" y="35"/>
                  </a:lnTo>
                  <a:lnTo>
                    <a:pt x="0" y="25"/>
                  </a:lnTo>
                  <a:lnTo>
                    <a:pt x="1" y="14"/>
                  </a:lnTo>
                  <a:lnTo>
                    <a:pt x="7" y="7"/>
                  </a:lnTo>
                  <a:lnTo>
                    <a:pt x="15" y="2"/>
                  </a:lnTo>
                  <a:lnTo>
                    <a:pt x="2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14">
              <a:extLst>
                <a:ext uri="{FF2B5EF4-FFF2-40B4-BE49-F238E27FC236}">
                  <a16:creationId xmlns:a16="http://schemas.microsoft.com/office/drawing/2014/main" id="{7FC235A1-287A-7E4B-8BB3-1BE1536DE1EF}"/>
                </a:ext>
              </a:extLst>
            </p:cNvPr>
            <p:cNvSpPr>
              <a:spLocks noEditPoints="1"/>
            </p:cNvSpPr>
            <p:nvPr/>
          </p:nvSpPr>
          <p:spPr bwMode="auto">
            <a:xfrm>
              <a:off x="5229226" y="2081213"/>
              <a:ext cx="498475" cy="330200"/>
            </a:xfrm>
            <a:custGeom>
              <a:avLst/>
              <a:gdLst>
                <a:gd name="T0" fmla="*/ 142 w 314"/>
                <a:gd name="T1" fmla="*/ 89 h 208"/>
                <a:gd name="T2" fmla="*/ 161 w 314"/>
                <a:gd name="T3" fmla="*/ 108 h 208"/>
                <a:gd name="T4" fmla="*/ 142 w 314"/>
                <a:gd name="T5" fmla="*/ 102 h 208"/>
                <a:gd name="T6" fmla="*/ 137 w 314"/>
                <a:gd name="T7" fmla="*/ 102 h 208"/>
                <a:gd name="T8" fmla="*/ 132 w 314"/>
                <a:gd name="T9" fmla="*/ 104 h 208"/>
                <a:gd name="T10" fmla="*/ 128 w 314"/>
                <a:gd name="T11" fmla="*/ 109 h 208"/>
                <a:gd name="T12" fmla="*/ 131 w 314"/>
                <a:gd name="T13" fmla="*/ 114 h 208"/>
                <a:gd name="T14" fmla="*/ 147 w 314"/>
                <a:gd name="T15" fmla="*/ 121 h 208"/>
                <a:gd name="T16" fmla="*/ 158 w 314"/>
                <a:gd name="T17" fmla="*/ 126 h 208"/>
                <a:gd name="T18" fmla="*/ 166 w 314"/>
                <a:gd name="T19" fmla="*/ 136 h 208"/>
                <a:gd name="T20" fmla="*/ 166 w 314"/>
                <a:gd name="T21" fmla="*/ 145 h 208"/>
                <a:gd name="T22" fmla="*/ 161 w 314"/>
                <a:gd name="T23" fmla="*/ 155 h 208"/>
                <a:gd name="T24" fmla="*/ 142 w 314"/>
                <a:gd name="T25" fmla="*/ 174 h 208"/>
                <a:gd name="T26" fmla="*/ 122 w 314"/>
                <a:gd name="T27" fmla="*/ 161 h 208"/>
                <a:gd name="T28" fmla="*/ 116 w 314"/>
                <a:gd name="T29" fmla="*/ 145 h 208"/>
                <a:gd name="T30" fmla="*/ 131 w 314"/>
                <a:gd name="T31" fmla="*/ 148 h 208"/>
                <a:gd name="T32" fmla="*/ 145 w 314"/>
                <a:gd name="T33" fmla="*/ 147 h 208"/>
                <a:gd name="T34" fmla="*/ 149 w 314"/>
                <a:gd name="T35" fmla="*/ 142 h 208"/>
                <a:gd name="T36" fmla="*/ 147 w 314"/>
                <a:gd name="T37" fmla="*/ 138 h 208"/>
                <a:gd name="T38" fmla="*/ 142 w 314"/>
                <a:gd name="T39" fmla="*/ 135 h 208"/>
                <a:gd name="T40" fmla="*/ 125 w 314"/>
                <a:gd name="T41" fmla="*/ 128 h 208"/>
                <a:gd name="T42" fmla="*/ 115 w 314"/>
                <a:gd name="T43" fmla="*/ 121 h 208"/>
                <a:gd name="T44" fmla="*/ 111 w 314"/>
                <a:gd name="T45" fmla="*/ 112 h 208"/>
                <a:gd name="T46" fmla="*/ 112 w 314"/>
                <a:gd name="T47" fmla="*/ 101 h 208"/>
                <a:gd name="T48" fmla="*/ 124 w 314"/>
                <a:gd name="T49" fmla="*/ 91 h 208"/>
                <a:gd name="T50" fmla="*/ 23 w 314"/>
                <a:gd name="T51" fmla="*/ 69 h 208"/>
                <a:gd name="T52" fmla="*/ 245 w 314"/>
                <a:gd name="T53" fmla="*/ 69 h 208"/>
                <a:gd name="T54" fmla="*/ 69 w 314"/>
                <a:gd name="T55" fmla="*/ 45 h 208"/>
                <a:gd name="T56" fmla="*/ 263 w 314"/>
                <a:gd name="T57" fmla="*/ 47 h 208"/>
                <a:gd name="T58" fmla="*/ 268 w 314"/>
                <a:gd name="T59" fmla="*/ 57 h 208"/>
                <a:gd name="T60" fmla="*/ 291 w 314"/>
                <a:gd name="T61" fmla="*/ 23 h 208"/>
                <a:gd name="T62" fmla="*/ 303 w 314"/>
                <a:gd name="T63" fmla="*/ 0 h 208"/>
                <a:gd name="T64" fmla="*/ 312 w 314"/>
                <a:gd name="T65" fmla="*/ 4 h 208"/>
                <a:gd name="T66" fmla="*/ 314 w 314"/>
                <a:gd name="T67" fmla="*/ 150 h 208"/>
                <a:gd name="T68" fmla="*/ 309 w 314"/>
                <a:gd name="T69" fmla="*/ 160 h 208"/>
                <a:gd name="T70" fmla="*/ 268 w 314"/>
                <a:gd name="T71" fmla="*/ 162 h 208"/>
                <a:gd name="T72" fmla="*/ 266 w 314"/>
                <a:gd name="T73" fmla="*/ 203 h 208"/>
                <a:gd name="T74" fmla="*/ 256 w 314"/>
                <a:gd name="T75" fmla="*/ 208 h 208"/>
                <a:gd name="T76" fmla="*/ 5 w 314"/>
                <a:gd name="T77" fmla="*/ 206 h 208"/>
                <a:gd name="T78" fmla="*/ 0 w 314"/>
                <a:gd name="T79" fmla="*/ 196 h 208"/>
                <a:gd name="T80" fmla="*/ 2 w 314"/>
                <a:gd name="T81" fmla="*/ 51 h 208"/>
                <a:gd name="T82" fmla="*/ 12 w 314"/>
                <a:gd name="T83" fmla="*/ 45 h 208"/>
                <a:gd name="T84" fmla="*/ 48 w 314"/>
                <a:gd name="T85" fmla="*/ 7 h 208"/>
                <a:gd name="T86" fmla="*/ 54 w 314"/>
                <a:gd name="T87" fmla="*/ 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4" h="208">
                  <a:moveTo>
                    <a:pt x="135" y="81"/>
                  </a:moveTo>
                  <a:lnTo>
                    <a:pt x="142" y="81"/>
                  </a:lnTo>
                  <a:lnTo>
                    <a:pt x="142" y="89"/>
                  </a:lnTo>
                  <a:lnTo>
                    <a:pt x="155" y="90"/>
                  </a:lnTo>
                  <a:lnTo>
                    <a:pt x="165" y="94"/>
                  </a:lnTo>
                  <a:lnTo>
                    <a:pt x="161" y="108"/>
                  </a:lnTo>
                  <a:lnTo>
                    <a:pt x="151" y="104"/>
                  </a:lnTo>
                  <a:lnTo>
                    <a:pt x="142" y="102"/>
                  </a:lnTo>
                  <a:lnTo>
                    <a:pt x="142" y="102"/>
                  </a:lnTo>
                  <a:lnTo>
                    <a:pt x="141" y="102"/>
                  </a:lnTo>
                  <a:lnTo>
                    <a:pt x="139" y="102"/>
                  </a:lnTo>
                  <a:lnTo>
                    <a:pt x="137" y="102"/>
                  </a:lnTo>
                  <a:lnTo>
                    <a:pt x="135" y="102"/>
                  </a:lnTo>
                  <a:lnTo>
                    <a:pt x="135" y="102"/>
                  </a:lnTo>
                  <a:lnTo>
                    <a:pt x="132" y="104"/>
                  </a:lnTo>
                  <a:lnTo>
                    <a:pt x="130" y="105"/>
                  </a:lnTo>
                  <a:lnTo>
                    <a:pt x="129" y="107"/>
                  </a:lnTo>
                  <a:lnTo>
                    <a:pt x="128" y="109"/>
                  </a:lnTo>
                  <a:lnTo>
                    <a:pt x="128" y="111"/>
                  </a:lnTo>
                  <a:lnTo>
                    <a:pt x="129" y="113"/>
                  </a:lnTo>
                  <a:lnTo>
                    <a:pt x="131" y="114"/>
                  </a:lnTo>
                  <a:lnTo>
                    <a:pt x="135" y="116"/>
                  </a:lnTo>
                  <a:lnTo>
                    <a:pt x="142" y="119"/>
                  </a:lnTo>
                  <a:lnTo>
                    <a:pt x="147" y="121"/>
                  </a:lnTo>
                  <a:lnTo>
                    <a:pt x="151" y="122"/>
                  </a:lnTo>
                  <a:lnTo>
                    <a:pt x="155" y="124"/>
                  </a:lnTo>
                  <a:lnTo>
                    <a:pt x="158" y="126"/>
                  </a:lnTo>
                  <a:lnTo>
                    <a:pt x="162" y="129"/>
                  </a:lnTo>
                  <a:lnTo>
                    <a:pt x="165" y="133"/>
                  </a:lnTo>
                  <a:lnTo>
                    <a:pt x="166" y="136"/>
                  </a:lnTo>
                  <a:lnTo>
                    <a:pt x="166" y="138"/>
                  </a:lnTo>
                  <a:lnTo>
                    <a:pt x="166" y="141"/>
                  </a:lnTo>
                  <a:lnTo>
                    <a:pt x="166" y="145"/>
                  </a:lnTo>
                  <a:lnTo>
                    <a:pt x="165" y="149"/>
                  </a:lnTo>
                  <a:lnTo>
                    <a:pt x="163" y="152"/>
                  </a:lnTo>
                  <a:lnTo>
                    <a:pt x="161" y="155"/>
                  </a:lnTo>
                  <a:lnTo>
                    <a:pt x="152" y="160"/>
                  </a:lnTo>
                  <a:lnTo>
                    <a:pt x="142" y="162"/>
                  </a:lnTo>
                  <a:lnTo>
                    <a:pt x="142" y="174"/>
                  </a:lnTo>
                  <a:lnTo>
                    <a:pt x="135" y="174"/>
                  </a:lnTo>
                  <a:lnTo>
                    <a:pt x="135" y="162"/>
                  </a:lnTo>
                  <a:lnTo>
                    <a:pt x="122" y="161"/>
                  </a:lnTo>
                  <a:lnTo>
                    <a:pt x="110" y="158"/>
                  </a:lnTo>
                  <a:lnTo>
                    <a:pt x="110" y="143"/>
                  </a:lnTo>
                  <a:lnTo>
                    <a:pt x="116" y="145"/>
                  </a:lnTo>
                  <a:lnTo>
                    <a:pt x="122" y="146"/>
                  </a:lnTo>
                  <a:lnTo>
                    <a:pt x="126" y="148"/>
                  </a:lnTo>
                  <a:lnTo>
                    <a:pt x="131" y="148"/>
                  </a:lnTo>
                  <a:lnTo>
                    <a:pt x="135" y="148"/>
                  </a:lnTo>
                  <a:lnTo>
                    <a:pt x="142" y="148"/>
                  </a:lnTo>
                  <a:lnTo>
                    <a:pt x="145" y="147"/>
                  </a:lnTo>
                  <a:lnTo>
                    <a:pt x="148" y="146"/>
                  </a:lnTo>
                  <a:lnTo>
                    <a:pt x="149" y="144"/>
                  </a:lnTo>
                  <a:lnTo>
                    <a:pt x="149" y="142"/>
                  </a:lnTo>
                  <a:lnTo>
                    <a:pt x="149" y="141"/>
                  </a:lnTo>
                  <a:lnTo>
                    <a:pt x="149" y="139"/>
                  </a:lnTo>
                  <a:lnTo>
                    <a:pt x="147" y="138"/>
                  </a:lnTo>
                  <a:lnTo>
                    <a:pt x="146" y="137"/>
                  </a:lnTo>
                  <a:lnTo>
                    <a:pt x="144" y="136"/>
                  </a:lnTo>
                  <a:lnTo>
                    <a:pt x="142" y="135"/>
                  </a:lnTo>
                  <a:lnTo>
                    <a:pt x="135" y="133"/>
                  </a:lnTo>
                  <a:lnTo>
                    <a:pt x="131" y="131"/>
                  </a:lnTo>
                  <a:lnTo>
                    <a:pt x="125" y="128"/>
                  </a:lnTo>
                  <a:lnTo>
                    <a:pt x="121" y="126"/>
                  </a:lnTo>
                  <a:lnTo>
                    <a:pt x="117" y="124"/>
                  </a:lnTo>
                  <a:lnTo>
                    <a:pt x="115" y="121"/>
                  </a:lnTo>
                  <a:lnTo>
                    <a:pt x="113" y="119"/>
                  </a:lnTo>
                  <a:lnTo>
                    <a:pt x="112" y="116"/>
                  </a:lnTo>
                  <a:lnTo>
                    <a:pt x="111" y="112"/>
                  </a:lnTo>
                  <a:lnTo>
                    <a:pt x="110" y="109"/>
                  </a:lnTo>
                  <a:lnTo>
                    <a:pt x="111" y="105"/>
                  </a:lnTo>
                  <a:lnTo>
                    <a:pt x="112" y="101"/>
                  </a:lnTo>
                  <a:lnTo>
                    <a:pt x="114" y="98"/>
                  </a:lnTo>
                  <a:lnTo>
                    <a:pt x="117" y="95"/>
                  </a:lnTo>
                  <a:lnTo>
                    <a:pt x="124" y="91"/>
                  </a:lnTo>
                  <a:lnTo>
                    <a:pt x="135" y="89"/>
                  </a:lnTo>
                  <a:lnTo>
                    <a:pt x="135" y="81"/>
                  </a:lnTo>
                  <a:close/>
                  <a:moveTo>
                    <a:pt x="23" y="69"/>
                  </a:moveTo>
                  <a:lnTo>
                    <a:pt x="23" y="184"/>
                  </a:lnTo>
                  <a:lnTo>
                    <a:pt x="245" y="184"/>
                  </a:lnTo>
                  <a:lnTo>
                    <a:pt x="245" y="69"/>
                  </a:lnTo>
                  <a:lnTo>
                    <a:pt x="23" y="69"/>
                  </a:lnTo>
                  <a:close/>
                  <a:moveTo>
                    <a:pt x="69" y="23"/>
                  </a:moveTo>
                  <a:lnTo>
                    <a:pt x="69" y="45"/>
                  </a:lnTo>
                  <a:lnTo>
                    <a:pt x="256" y="45"/>
                  </a:lnTo>
                  <a:lnTo>
                    <a:pt x="260" y="46"/>
                  </a:lnTo>
                  <a:lnTo>
                    <a:pt x="263" y="47"/>
                  </a:lnTo>
                  <a:lnTo>
                    <a:pt x="266" y="51"/>
                  </a:lnTo>
                  <a:lnTo>
                    <a:pt x="267" y="54"/>
                  </a:lnTo>
                  <a:lnTo>
                    <a:pt x="268" y="57"/>
                  </a:lnTo>
                  <a:lnTo>
                    <a:pt x="268" y="139"/>
                  </a:lnTo>
                  <a:lnTo>
                    <a:pt x="291" y="139"/>
                  </a:lnTo>
                  <a:lnTo>
                    <a:pt x="291" y="23"/>
                  </a:lnTo>
                  <a:lnTo>
                    <a:pt x="69" y="23"/>
                  </a:lnTo>
                  <a:close/>
                  <a:moveTo>
                    <a:pt x="58" y="0"/>
                  </a:moveTo>
                  <a:lnTo>
                    <a:pt x="303" y="0"/>
                  </a:lnTo>
                  <a:lnTo>
                    <a:pt x="306" y="1"/>
                  </a:lnTo>
                  <a:lnTo>
                    <a:pt x="309" y="2"/>
                  </a:lnTo>
                  <a:lnTo>
                    <a:pt x="312" y="4"/>
                  </a:lnTo>
                  <a:lnTo>
                    <a:pt x="314" y="7"/>
                  </a:lnTo>
                  <a:lnTo>
                    <a:pt x="314" y="11"/>
                  </a:lnTo>
                  <a:lnTo>
                    <a:pt x="314" y="150"/>
                  </a:lnTo>
                  <a:lnTo>
                    <a:pt x="314" y="153"/>
                  </a:lnTo>
                  <a:lnTo>
                    <a:pt x="312" y="156"/>
                  </a:lnTo>
                  <a:lnTo>
                    <a:pt x="309" y="160"/>
                  </a:lnTo>
                  <a:lnTo>
                    <a:pt x="306" y="161"/>
                  </a:lnTo>
                  <a:lnTo>
                    <a:pt x="303" y="162"/>
                  </a:lnTo>
                  <a:lnTo>
                    <a:pt x="268" y="162"/>
                  </a:lnTo>
                  <a:lnTo>
                    <a:pt x="268" y="196"/>
                  </a:lnTo>
                  <a:lnTo>
                    <a:pt x="267" y="200"/>
                  </a:lnTo>
                  <a:lnTo>
                    <a:pt x="266" y="203"/>
                  </a:lnTo>
                  <a:lnTo>
                    <a:pt x="263" y="206"/>
                  </a:lnTo>
                  <a:lnTo>
                    <a:pt x="260" y="207"/>
                  </a:lnTo>
                  <a:lnTo>
                    <a:pt x="256" y="208"/>
                  </a:lnTo>
                  <a:lnTo>
                    <a:pt x="12" y="208"/>
                  </a:lnTo>
                  <a:lnTo>
                    <a:pt x="8" y="207"/>
                  </a:lnTo>
                  <a:lnTo>
                    <a:pt x="5" y="206"/>
                  </a:lnTo>
                  <a:lnTo>
                    <a:pt x="2" y="203"/>
                  </a:lnTo>
                  <a:lnTo>
                    <a:pt x="1" y="200"/>
                  </a:lnTo>
                  <a:lnTo>
                    <a:pt x="0" y="196"/>
                  </a:lnTo>
                  <a:lnTo>
                    <a:pt x="0" y="57"/>
                  </a:lnTo>
                  <a:lnTo>
                    <a:pt x="1" y="54"/>
                  </a:lnTo>
                  <a:lnTo>
                    <a:pt x="2" y="51"/>
                  </a:lnTo>
                  <a:lnTo>
                    <a:pt x="5" y="47"/>
                  </a:lnTo>
                  <a:lnTo>
                    <a:pt x="8" y="46"/>
                  </a:lnTo>
                  <a:lnTo>
                    <a:pt x="12" y="45"/>
                  </a:lnTo>
                  <a:lnTo>
                    <a:pt x="47" y="45"/>
                  </a:lnTo>
                  <a:lnTo>
                    <a:pt x="47" y="11"/>
                  </a:lnTo>
                  <a:lnTo>
                    <a:pt x="48" y="7"/>
                  </a:lnTo>
                  <a:lnTo>
                    <a:pt x="49" y="4"/>
                  </a:lnTo>
                  <a:lnTo>
                    <a:pt x="51" y="2"/>
                  </a:lnTo>
                  <a:lnTo>
                    <a:pt x="54" y="1"/>
                  </a:lnTo>
                  <a:lnTo>
                    <a:pt x="5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15">
              <a:extLst>
                <a:ext uri="{FF2B5EF4-FFF2-40B4-BE49-F238E27FC236}">
                  <a16:creationId xmlns:a16="http://schemas.microsoft.com/office/drawing/2014/main" id="{1736AC39-687B-AC42-B0A1-41D485A6408E}"/>
                </a:ext>
              </a:extLst>
            </p:cNvPr>
            <p:cNvSpPr>
              <a:spLocks noEditPoints="1"/>
            </p:cNvSpPr>
            <p:nvPr/>
          </p:nvSpPr>
          <p:spPr bwMode="auto">
            <a:xfrm>
              <a:off x="5480051" y="4329113"/>
              <a:ext cx="558800" cy="369888"/>
            </a:xfrm>
            <a:custGeom>
              <a:avLst/>
              <a:gdLst>
                <a:gd name="T0" fmla="*/ 158 w 352"/>
                <a:gd name="T1" fmla="*/ 99 h 233"/>
                <a:gd name="T2" fmla="*/ 179 w 352"/>
                <a:gd name="T3" fmla="*/ 120 h 233"/>
                <a:gd name="T4" fmla="*/ 158 w 352"/>
                <a:gd name="T5" fmla="*/ 115 h 233"/>
                <a:gd name="T6" fmla="*/ 153 w 352"/>
                <a:gd name="T7" fmla="*/ 114 h 233"/>
                <a:gd name="T8" fmla="*/ 150 w 352"/>
                <a:gd name="T9" fmla="*/ 115 h 233"/>
                <a:gd name="T10" fmla="*/ 143 w 352"/>
                <a:gd name="T11" fmla="*/ 119 h 233"/>
                <a:gd name="T12" fmla="*/ 143 w 352"/>
                <a:gd name="T13" fmla="*/ 125 h 233"/>
                <a:gd name="T14" fmla="*/ 148 w 352"/>
                <a:gd name="T15" fmla="*/ 129 h 233"/>
                <a:gd name="T16" fmla="*/ 170 w 352"/>
                <a:gd name="T17" fmla="*/ 138 h 233"/>
                <a:gd name="T18" fmla="*/ 184 w 352"/>
                <a:gd name="T19" fmla="*/ 148 h 233"/>
                <a:gd name="T20" fmla="*/ 185 w 352"/>
                <a:gd name="T21" fmla="*/ 158 h 233"/>
                <a:gd name="T22" fmla="*/ 182 w 352"/>
                <a:gd name="T23" fmla="*/ 171 h 233"/>
                <a:gd name="T24" fmla="*/ 158 w 352"/>
                <a:gd name="T25" fmla="*/ 181 h 233"/>
                <a:gd name="T26" fmla="*/ 150 w 352"/>
                <a:gd name="T27" fmla="*/ 181 h 233"/>
                <a:gd name="T28" fmla="*/ 123 w 352"/>
                <a:gd name="T29" fmla="*/ 161 h 233"/>
                <a:gd name="T30" fmla="*/ 137 w 352"/>
                <a:gd name="T31" fmla="*/ 164 h 233"/>
                <a:gd name="T32" fmla="*/ 150 w 352"/>
                <a:gd name="T33" fmla="*/ 167 h 233"/>
                <a:gd name="T34" fmla="*/ 165 w 352"/>
                <a:gd name="T35" fmla="*/ 164 h 233"/>
                <a:gd name="T36" fmla="*/ 167 w 352"/>
                <a:gd name="T37" fmla="*/ 159 h 233"/>
                <a:gd name="T38" fmla="*/ 165 w 352"/>
                <a:gd name="T39" fmla="*/ 154 h 233"/>
                <a:gd name="T40" fmla="*/ 158 w 352"/>
                <a:gd name="T41" fmla="*/ 150 h 233"/>
                <a:gd name="T42" fmla="*/ 136 w 352"/>
                <a:gd name="T43" fmla="*/ 141 h 233"/>
                <a:gd name="T44" fmla="*/ 124 w 352"/>
                <a:gd name="T45" fmla="*/ 130 h 233"/>
                <a:gd name="T46" fmla="*/ 123 w 352"/>
                <a:gd name="T47" fmla="*/ 117 h 233"/>
                <a:gd name="T48" fmla="*/ 130 w 352"/>
                <a:gd name="T49" fmla="*/ 107 h 233"/>
                <a:gd name="T50" fmla="*/ 150 w 352"/>
                <a:gd name="T51" fmla="*/ 90 h 233"/>
                <a:gd name="T52" fmla="*/ 274 w 352"/>
                <a:gd name="T53" fmla="*/ 207 h 233"/>
                <a:gd name="T54" fmla="*/ 77 w 352"/>
                <a:gd name="T55" fmla="*/ 25 h 233"/>
                <a:gd name="T56" fmla="*/ 291 w 352"/>
                <a:gd name="T57" fmla="*/ 52 h 233"/>
                <a:gd name="T58" fmla="*/ 298 w 352"/>
                <a:gd name="T59" fmla="*/ 60 h 233"/>
                <a:gd name="T60" fmla="*/ 327 w 352"/>
                <a:gd name="T61" fmla="*/ 156 h 233"/>
                <a:gd name="T62" fmla="*/ 64 w 352"/>
                <a:gd name="T63" fmla="*/ 0 h 233"/>
                <a:gd name="T64" fmla="*/ 346 w 352"/>
                <a:gd name="T65" fmla="*/ 2 h 233"/>
                <a:gd name="T66" fmla="*/ 352 w 352"/>
                <a:gd name="T67" fmla="*/ 12 h 233"/>
                <a:gd name="T68" fmla="*/ 349 w 352"/>
                <a:gd name="T69" fmla="*/ 175 h 233"/>
                <a:gd name="T70" fmla="*/ 339 w 352"/>
                <a:gd name="T71" fmla="*/ 181 h 233"/>
                <a:gd name="T72" fmla="*/ 298 w 352"/>
                <a:gd name="T73" fmla="*/ 224 h 233"/>
                <a:gd name="T74" fmla="*/ 291 w 352"/>
                <a:gd name="T75" fmla="*/ 233 h 233"/>
                <a:gd name="T76" fmla="*/ 8 w 352"/>
                <a:gd name="T77" fmla="*/ 233 h 233"/>
                <a:gd name="T78" fmla="*/ 0 w 352"/>
                <a:gd name="T79" fmla="*/ 224 h 233"/>
                <a:gd name="T80" fmla="*/ 0 w 352"/>
                <a:gd name="T81" fmla="*/ 60 h 233"/>
                <a:gd name="T82" fmla="*/ 8 w 352"/>
                <a:gd name="T83" fmla="*/ 52 h 233"/>
                <a:gd name="T84" fmla="*/ 52 w 352"/>
                <a:gd name="T85" fmla="*/ 12 h 233"/>
                <a:gd name="T86" fmla="*/ 57 w 352"/>
                <a:gd name="T87" fmla="*/ 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233">
                  <a:moveTo>
                    <a:pt x="150" y="90"/>
                  </a:moveTo>
                  <a:lnTo>
                    <a:pt x="158" y="90"/>
                  </a:lnTo>
                  <a:lnTo>
                    <a:pt x="158" y="99"/>
                  </a:lnTo>
                  <a:lnTo>
                    <a:pt x="172" y="102"/>
                  </a:lnTo>
                  <a:lnTo>
                    <a:pt x="184" y="106"/>
                  </a:lnTo>
                  <a:lnTo>
                    <a:pt x="179" y="120"/>
                  </a:lnTo>
                  <a:lnTo>
                    <a:pt x="169" y="116"/>
                  </a:lnTo>
                  <a:lnTo>
                    <a:pt x="158" y="115"/>
                  </a:lnTo>
                  <a:lnTo>
                    <a:pt x="158" y="115"/>
                  </a:lnTo>
                  <a:lnTo>
                    <a:pt x="157" y="115"/>
                  </a:lnTo>
                  <a:lnTo>
                    <a:pt x="155" y="114"/>
                  </a:lnTo>
                  <a:lnTo>
                    <a:pt x="153" y="114"/>
                  </a:lnTo>
                  <a:lnTo>
                    <a:pt x="151" y="115"/>
                  </a:lnTo>
                  <a:lnTo>
                    <a:pt x="150" y="115"/>
                  </a:lnTo>
                  <a:lnTo>
                    <a:pt x="150" y="115"/>
                  </a:lnTo>
                  <a:lnTo>
                    <a:pt x="147" y="116"/>
                  </a:lnTo>
                  <a:lnTo>
                    <a:pt x="144" y="117"/>
                  </a:lnTo>
                  <a:lnTo>
                    <a:pt x="143" y="119"/>
                  </a:lnTo>
                  <a:lnTo>
                    <a:pt x="143" y="121"/>
                  </a:lnTo>
                  <a:lnTo>
                    <a:pt x="143" y="123"/>
                  </a:lnTo>
                  <a:lnTo>
                    <a:pt x="143" y="125"/>
                  </a:lnTo>
                  <a:lnTo>
                    <a:pt x="144" y="126"/>
                  </a:lnTo>
                  <a:lnTo>
                    <a:pt x="145" y="127"/>
                  </a:lnTo>
                  <a:lnTo>
                    <a:pt x="148" y="129"/>
                  </a:lnTo>
                  <a:lnTo>
                    <a:pt x="150" y="131"/>
                  </a:lnTo>
                  <a:lnTo>
                    <a:pt x="158" y="134"/>
                  </a:lnTo>
                  <a:lnTo>
                    <a:pt x="170" y="138"/>
                  </a:lnTo>
                  <a:lnTo>
                    <a:pt x="176" y="141"/>
                  </a:lnTo>
                  <a:lnTo>
                    <a:pt x="180" y="145"/>
                  </a:lnTo>
                  <a:lnTo>
                    <a:pt x="184" y="148"/>
                  </a:lnTo>
                  <a:lnTo>
                    <a:pt x="185" y="151"/>
                  </a:lnTo>
                  <a:lnTo>
                    <a:pt x="185" y="154"/>
                  </a:lnTo>
                  <a:lnTo>
                    <a:pt x="185" y="158"/>
                  </a:lnTo>
                  <a:lnTo>
                    <a:pt x="185" y="163"/>
                  </a:lnTo>
                  <a:lnTo>
                    <a:pt x="184" y="167"/>
                  </a:lnTo>
                  <a:lnTo>
                    <a:pt x="182" y="171"/>
                  </a:lnTo>
                  <a:lnTo>
                    <a:pt x="179" y="174"/>
                  </a:lnTo>
                  <a:lnTo>
                    <a:pt x="170" y="179"/>
                  </a:lnTo>
                  <a:lnTo>
                    <a:pt x="158" y="181"/>
                  </a:lnTo>
                  <a:lnTo>
                    <a:pt x="158" y="195"/>
                  </a:lnTo>
                  <a:lnTo>
                    <a:pt x="150" y="195"/>
                  </a:lnTo>
                  <a:lnTo>
                    <a:pt x="150" y="181"/>
                  </a:lnTo>
                  <a:lnTo>
                    <a:pt x="136" y="180"/>
                  </a:lnTo>
                  <a:lnTo>
                    <a:pt x="123" y="176"/>
                  </a:lnTo>
                  <a:lnTo>
                    <a:pt x="123" y="161"/>
                  </a:lnTo>
                  <a:lnTo>
                    <a:pt x="127" y="162"/>
                  </a:lnTo>
                  <a:lnTo>
                    <a:pt x="131" y="163"/>
                  </a:lnTo>
                  <a:lnTo>
                    <a:pt x="137" y="164"/>
                  </a:lnTo>
                  <a:lnTo>
                    <a:pt x="142" y="166"/>
                  </a:lnTo>
                  <a:lnTo>
                    <a:pt x="146" y="167"/>
                  </a:lnTo>
                  <a:lnTo>
                    <a:pt x="150" y="167"/>
                  </a:lnTo>
                  <a:lnTo>
                    <a:pt x="158" y="167"/>
                  </a:lnTo>
                  <a:lnTo>
                    <a:pt x="163" y="166"/>
                  </a:lnTo>
                  <a:lnTo>
                    <a:pt x="165" y="164"/>
                  </a:lnTo>
                  <a:lnTo>
                    <a:pt x="167" y="162"/>
                  </a:lnTo>
                  <a:lnTo>
                    <a:pt x="167" y="160"/>
                  </a:lnTo>
                  <a:lnTo>
                    <a:pt x="167" y="159"/>
                  </a:lnTo>
                  <a:lnTo>
                    <a:pt x="167" y="157"/>
                  </a:lnTo>
                  <a:lnTo>
                    <a:pt x="166" y="156"/>
                  </a:lnTo>
                  <a:lnTo>
                    <a:pt x="165" y="154"/>
                  </a:lnTo>
                  <a:lnTo>
                    <a:pt x="164" y="153"/>
                  </a:lnTo>
                  <a:lnTo>
                    <a:pt x="162" y="152"/>
                  </a:lnTo>
                  <a:lnTo>
                    <a:pt x="158" y="150"/>
                  </a:lnTo>
                  <a:lnTo>
                    <a:pt x="150" y="148"/>
                  </a:lnTo>
                  <a:lnTo>
                    <a:pt x="146" y="146"/>
                  </a:lnTo>
                  <a:lnTo>
                    <a:pt x="136" y="141"/>
                  </a:lnTo>
                  <a:lnTo>
                    <a:pt x="128" y="136"/>
                  </a:lnTo>
                  <a:lnTo>
                    <a:pt x="126" y="133"/>
                  </a:lnTo>
                  <a:lnTo>
                    <a:pt x="124" y="130"/>
                  </a:lnTo>
                  <a:lnTo>
                    <a:pt x="123" y="125"/>
                  </a:lnTo>
                  <a:lnTo>
                    <a:pt x="123" y="121"/>
                  </a:lnTo>
                  <a:lnTo>
                    <a:pt x="123" y="117"/>
                  </a:lnTo>
                  <a:lnTo>
                    <a:pt x="125" y="113"/>
                  </a:lnTo>
                  <a:lnTo>
                    <a:pt x="127" y="110"/>
                  </a:lnTo>
                  <a:lnTo>
                    <a:pt x="130" y="107"/>
                  </a:lnTo>
                  <a:lnTo>
                    <a:pt x="139" y="103"/>
                  </a:lnTo>
                  <a:lnTo>
                    <a:pt x="150" y="99"/>
                  </a:lnTo>
                  <a:lnTo>
                    <a:pt x="150" y="90"/>
                  </a:lnTo>
                  <a:close/>
                  <a:moveTo>
                    <a:pt x="25" y="78"/>
                  </a:moveTo>
                  <a:lnTo>
                    <a:pt x="25" y="207"/>
                  </a:lnTo>
                  <a:lnTo>
                    <a:pt x="274" y="207"/>
                  </a:lnTo>
                  <a:lnTo>
                    <a:pt x="274" y="78"/>
                  </a:lnTo>
                  <a:lnTo>
                    <a:pt x="25" y="78"/>
                  </a:lnTo>
                  <a:close/>
                  <a:moveTo>
                    <a:pt x="77" y="25"/>
                  </a:moveTo>
                  <a:lnTo>
                    <a:pt x="77" y="51"/>
                  </a:lnTo>
                  <a:lnTo>
                    <a:pt x="287" y="51"/>
                  </a:lnTo>
                  <a:lnTo>
                    <a:pt x="291" y="52"/>
                  </a:lnTo>
                  <a:lnTo>
                    <a:pt x="294" y="54"/>
                  </a:lnTo>
                  <a:lnTo>
                    <a:pt x="297" y="56"/>
                  </a:lnTo>
                  <a:lnTo>
                    <a:pt x="298" y="60"/>
                  </a:lnTo>
                  <a:lnTo>
                    <a:pt x="300" y="64"/>
                  </a:lnTo>
                  <a:lnTo>
                    <a:pt x="300" y="156"/>
                  </a:lnTo>
                  <a:lnTo>
                    <a:pt x="327" y="156"/>
                  </a:lnTo>
                  <a:lnTo>
                    <a:pt x="327" y="25"/>
                  </a:lnTo>
                  <a:lnTo>
                    <a:pt x="77" y="25"/>
                  </a:lnTo>
                  <a:close/>
                  <a:moveTo>
                    <a:pt x="64" y="0"/>
                  </a:moveTo>
                  <a:lnTo>
                    <a:pt x="339" y="0"/>
                  </a:lnTo>
                  <a:lnTo>
                    <a:pt x="343" y="0"/>
                  </a:lnTo>
                  <a:lnTo>
                    <a:pt x="346" y="2"/>
                  </a:lnTo>
                  <a:lnTo>
                    <a:pt x="349" y="4"/>
                  </a:lnTo>
                  <a:lnTo>
                    <a:pt x="351" y="8"/>
                  </a:lnTo>
                  <a:lnTo>
                    <a:pt x="352" y="12"/>
                  </a:lnTo>
                  <a:lnTo>
                    <a:pt x="352" y="168"/>
                  </a:lnTo>
                  <a:lnTo>
                    <a:pt x="351" y="172"/>
                  </a:lnTo>
                  <a:lnTo>
                    <a:pt x="349" y="175"/>
                  </a:lnTo>
                  <a:lnTo>
                    <a:pt x="346" y="178"/>
                  </a:lnTo>
                  <a:lnTo>
                    <a:pt x="343" y="180"/>
                  </a:lnTo>
                  <a:lnTo>
                    <a:pt x="339" y="181"/>
                  </a:lnTo>
                  <a:lnTo>
                    <a:pt x="300" y="181"/>
                  </a:lnTo>
                  <a:lnTo>
                    <a:pt x="300" y="220"/>
                  </a:lnTo>
                  <a:lnTo>
                    <a:pt x="298" y="224"/>
                  </a:lnTo>
                  <a:lnTo>
                    <a:pt x="297" y="228"/>
                  </a:lnTo>
                  <a:lnTo>
                    <a:pt x="294" y="231"/>
                  </a:lnTo>
                  <a:lnTo>
                    <a:pt x="291" y="233"/>
                  </a:lnTo>
                  <a:lnTo>
                    <a:pt x="287" y="233"/>
                  </a:lnTo>
                  <a:lnTo>
                    <a:pt x="13" y="233"/>
                  </a:lnTo>
                  <a:lnTo>
                    <a:pt x="8" y="233"/>
                  </a:lnTo>
                  <a:lnTo>
                    <a:pt x="5" y="231"/>
                  </a:lnTo>
                  <a:lnTo>
                    <a:pt x="2" y="228"/>
                  </a:lnTo>
                  <a:lnTo>
                    <a:pt x="0" y="224"/>
                  </a:lnTo>
                  <a:lnTo>
                    <a:pt x="0" y="220"/>
                  </a:lnTo>
                  <a:lnTo>
                    <a:pt x="0" y="64"/>
                  </a:lnTo>
                  <a:lnTo>
                    <a:pt x="0" y="60"/>
                  </a:lnTo>
                  <a:lnTo>
                    <a:pt x="2" y="56"/>
                  </a:lnTo>
                  <a:lnTo>
                    <a:pt x="5" y="54"/>
                  </a:lnTo>
                  <a:lnTo>
                    <a:pt x="8" y="52"/>
                  </a:lnTo>
                  <a:lnTo>
                    <a:pt x="13" y="51"/>
                  </a:lnTo>
                  <a:lnTo>
                    <a:pt x="52" y="51"/>
                  </a:lnTo>
                  <a:lnTo>
                    <a:pt x="52" y="12"/>
                  </a:lnTo>
                  <a:lnTo>
                    <a:pt x="53" y="8"/>
                  </a:lnTo>
                  <a:lnTo>
                    <a:pt x="55" y="4"/>
                  </a:lnTo>
                  <a:lnTo>
                    <a:pt x="57" y="2"/>
                  </a:lnTo>
                  <a:lnTo>
                    <a:pt x="60" y="0"/>
                  </a:lnTo>
                  <a:lnTo>
                    <a:pt x="6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16">
              <a:extLst>
                <a:ext uri="{FF2B5EF4-FFF2-40B4-BE49-F238E27FC236}">
                  <a16:creationId xmlns:a16="http://schemas.microsoft.com/office/drawing/2014/main" id="{88763DA8-8B80-1E4E-9069-D1B6B9D7284F}"/>
                </a:ext>
              </a:extLst>
            </p:cNvPr>
            <p:cNvSpPr>
              <a:spLocks noEditPoints="1"/>
            </p:cNvSpPr>
            <p:nvPr/>
          </p:nvSpPr>
          <p:spPr bwMode="auto">
            <a:xfrm>
              <a:off x="4892676" y="4926013"/>
              <a:ext cx="379413" cy="250825"/>
            </a:xfrm>
            <a:custGeom>
              <a:avLst/>
              <a:gdLst>
                <a:gd name="T0" fmla="*/ 108 w 239"/>
                <a:gd name="T1" fmla="*/ 67 h 158"/>
                <a:gd name="T2" fmla="*/ 122 w 239"/>
                <a:gd name="T3" fmla="*/ 82 h 158"/>
                <a:gd name="T4" fmla="*/ 108 w 239"/>
                <a:gd name="T5" fmla="*/ 79 h 158"/>
                <a:gd name="T6" fmla="*/ 105 w 239"/>
                <a:gd name="T7" fmla="*/ 77 h 158"/>
                <a:gd name="T8" fmla="*/ 102 w 239"/>
                <a:gd name="T9" fmla="*/ 79 h 158"/>
                <a:gd name="T10" fmla="*/ 98 w 239"/>
                <a:gd name="T11" fmla="*/ 81 h 158"/>
                <a:gd name="T12" fmla="*/ 98 w 239"/>
                <a:gd name="T13" fmla="*/ 86 h 158"/>
                <a:gd name="T14" fmla="*/ 108 w 239"/>
                <a:gd name="T15" fmla="*/ 91 h 158"/>
                <a:gd name="T16" fmla="*/ 120 w 239"/>
                <a:gd name="T17" fmla="*/ 95 h 158"/>
                <a:gd name="T18" fmla="*/ 126 w 239"/>
                <a:gd name="T19" fmla="*/ 102 h 158"/>
                <a:gd name="T20" fmla="*/ 126 w 239"/>
                <a:gd name="T21" fmla="*/ 111 h 158"/>
                <a:gd name="T22" fmla="*/ 122 w 239"/>
                <a:gd name="T23" fmla="*/ 118 h 158"/>
                <a:gd name="T24" fmla="*/ 112 w 239"/>
                <a:gd name="T25" fmla="*/ 122 h 158"/>
                <a:gd name="T26" fmla="*/ 102 w 239"/>
                <a:gd name="T27" fmla="*/ 131 h 158"/>
                <a:gd name="T28" fmla="*/ 83 w 239"/>
                <a:gd name="T29" fmla="*/ 120 h 158"/>
                <a:gd name="T30" fmla="*/ 93 w 239"/>
                <a:gd name="T31" fmla="*/ 112 h 158"/>
                <a:gd name="T32" fmla="*/ 102 w 239"/>
                <a:gd name="T33" fmla="*/ 113 h 158"/>
                <a:gd name="T34" fmla="*/ 112 w 239"/>
                <a:gd name="T35" fmla="*/ 111 h 158"/>
                <a:gd name="T36" fmla="*/ 113 w 239"/>
                <a:gd name="T37" fmla="*/ 107 h 158"/>
                <a:gd name="T38" fmla="*/ 111 w 239"/>
                <a:gd name="T39" fmla="*/ 103 h 158"/>
                <a:gd name="T40" fmla="*/ 102 w 239"/>
                <a:gd name="T41" fmla="*/ 100 h 158"/>
                <a:gd name="T42" fmla="*/ 90 w 239"/>
                <a:gd name="T43" fmla="*/ 95 h 158"/>
                <a:gd name="T44" fmla="*/ 84 w 239"/>
                <a:gd name="T45" fmla="*/ 86 h 158"/>
                <a:gd name="T46" fmla="*/ 86 w 239"/>
                <a:gd name="T47" fmla="*/ 75 h 158"/>
                <a:gd name="T48" fmla="*/ 97 w 239"/>
                <a:gd name="T49" fmla="*/ 68 h 158"/>
                <a:gd name="T50" fmla="*/ 17 w 239"/>
                <a:gd name="T51" fmla="*/ 53 h 158"/>
                <a:gd name="T52" fmla="*/ 186 w 239"/>
                <a:gd name="T53" fmla="*/ 53 h 158"/>
                <a:gd name="T54" fmla="*/ 53 w 239"/>
                <a:gd name="T55" fmla="*/ 35 h 158"/>
                <a:gd name="T56" fmla="*/ 200 w 239"/>
                <a:gd name="T57" fmla="*/ 36 h 158"/>
                <a:gd name="T58" fmla="*/ 204 w 239"/>
                <a:gd name="T59" fmla="*/ 43 h 158"/>
                <a:gd name="T60" fmla="*/ 221 w 239"/>
                <a:gd name="T61" fmla="*/ 17 h 158"/>
                <a:gd name="T62" fmla="*/ 230 w 239"/>
                <a:gd name="T63" fmla="*/ 0 h 158"/>
                <a:gd name="T64" fmla="*/ 237 w 239"/>
                <a:gd name="T65" fmla="*/ 3 h 158"/>
                <a:gd name="T66" fmla="*/ 239 w 239"/>
                <a:gd name="T67" fmla="*/ 114 h 158"/>
                <a:gd name="T68" fmla="*/ 234 w 239"/>
                <a:gd name="T69" fmla="*/ 122 h 158"/>
                <a:gd name="T70" fmla="*/ 204 w 239"/>
                <a:gd name="T71" fmla="*/ 149 h 158"/>
                <a:gd name="T72" fmla="*/ 200 w 239"/>
                <a:gd name="T73" fmla="*/ 156 h 158"/>
                <a:gd name="T74" fmla="*/ 8 w 239"/>
                <a:gd name="T75" fmla="*/ 158 h 158"/>
                <a:gd name="T76" fmla="*/ 0 w 239"/>
                <a:gd name="T77" fmla="*/ 153 h 158"/>
                <a:gd name="T78" fmla="*/ 0 w 239"/>
                <a:gd name="T79" fmla="*/ 40 h 158"/>
                <a:gd name="T80" fmla="*/ 8 w 239"/>
                <a:gd name="T81" fmla="*/ 35 h 158"/>
                <a:gd name="T82" fmla="*/ 37 w 239"/>
                <a:gd name="T83" fmla="*/ 5 h 158"/>
                <a:gd name="T84" fmla="*/ 44 w 239"/>
                <a:gd name="T8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9" h="158">
                  <a:moveTo>
                    <a:pt x="102" y="61"/>
                  </a:moveTo>
                  <a:lnTo>
                    <a:pt x="108" y="61"/>
                  </a:lnTo>
                  <a:lnTo>
                    <a:pt x="108" y="67"/>
                  </a:lnTo>
                  <a:lnTo>
                    <a:pt x="117" y="68"/>
                  </a:lnTo>
                  <a:lnTo>
                    <a:pt x="126" y="71"/>
                  </a:lnTo>
                  <a:lnTo>
                    <a:pt x="122" y="82"/>
                  </a:lnTo>
                  <a:lnTo>
                    <a:pt x="117" y="80"/>
                  </a:lnTo>
                  <a:lnTo>
                    <a:pt x="112" y="79"/>
                  </a:lnTo>
                  <a:lnTo>
                    <a:pt x="108" y="79"/>
                  </a:lnTo>
                  <a:lnTo>
                    <a:pt x="107" y="77"/>
                  </a:lnTo>
                  <a:lnTo>
                    <a:pt x="107" y="77"/>
                  </a:lnTo>
                  <a:lnTo>
                    <a:pt x="105" y="77"/>
                  </a:lnTo>
                  <a:lnTo>
                    <a:pt x="104" y="77"/>
                  </a:lnTo>
                  <a:lnTo>
                    <a:pt x="103" y="77"/>
                  </a:lnTo>
                  <a:lnTo>
                    <a:pt x="102" y="79"/>
                  </a:lnTo>
                  <a:lnTo>
                    <a:pt x="100" y="79"/>
                  </a:lnTo>
                  <a:lnTo>
                    <a:pt x="99" y="80"/>
                  </a:lnTo>
                  <a:lnTo>
                    <a:pt x="98" y="81"/>
                  </a:lnTo>
                  <a:lnTo>
                    <a:pt x="97" y="83"/>
                  </a:lnTo>
                  <a:lnTo>
                    <a:pt x="97" y="85"/>
                  </a:lnTo>
                  <a:lnTo>
                    <a:pt x="98" y="86"/>
                  </a:lnTo>
                  <a:lnTo>
                    <a:pt x="100" y="87"/>
                  </a:lnTo>
                  <a:lnTo>
                    <a:pt x="102" y="88"/>
                  </a:lnTo>
                  <a:lnTo>
                    <a:pt x="108" y="91"/>
                  </a:lnTo>
                  <a:lnTo>
                    <a:pt x="113" y="92"/>
                  </a:lnTo>
                  <a:lnTo>
                    <a:pt x="117" y="94"/>
                  </a:lnTo>
                  <a:lnTo>
                    <a:pt x="120" y="95"/>
                  </a:lnTo>
                  <a:lnTo>
                    <a:pt x="123" y="98"/>
                  </a:lnTo>
                  <a:lnTo>
                    <a:pt x="126" y="100"/>
                  </a:lnTo>
                  <a:lnTo>
                    <a:pt x="126" y="102"/>
                  </a:lnTo>
                  <a:lnTo>
                    <a:pt x="126" y="104"/>
                  </a:lnTo>
                  <a:lnTo>
                    <a:pt x="126" y="108"/>
                  </a:lnTo>
                  <a:lnTo>
                    <a:pt x="126" y="111"/>
                  </a:lnTo>
                  <a:lnTo>
                    <a:pt x="126" y="114"/>
                  </a:lnTo>
                  <a:lnTo>
                    <a:pt x="124" y="116"/>
                  </a:lnTo>
                  <a:lnTo>
                    <a:pt x="122" y="118"/>
                  </a:lnTo>
                  <a:lnTo>
                    <a:pt x="120" y="120"/>
                  </a:lnTo>
                  <a:lnTo>
                    <a:pt x="115" y="121"/>
                  </a:lnTo>
                  <a:lnTo>
                    <a:pt x="112" y="122"/>
                  </a:lnTo>
                  <a:lnTo>
                    <a:pt x="108" y="123"/>
                  </a:lnTo>
                  <a:lnTo>
                    <a:pt x="108" y="131"/>
                  </a:lnTo>
                  <a:lnTo>
                    <a:pt x="102" y="131"/>
                  </a:lnTo>
                  <a:lnTo>
                    <a:pt x="102" y="123"/>
                  </a:lnTo>
                  <a:lnTo>
                    <a:pt x="93" y="122"/>
                  </a:lnTo>
                  <a:lnTo>
                    <a:pt x="83" y="120"/>
                  </a:lnTo>
                  <a:lnTo>
                    <a:pt x="83" y="109"/>
                  </a:lnTo>
                  <a:lnTo>
                    <a:pt x="88" y="110"/>
                  </a:lnTo>
                  <a:lnTo>
                    <a:pt x="93" y="112"/>
                  </a:lnTo>
                  <a:lnTo>
                    <a:pt x="96" y="113"/>
                  </a:lnTo>
                  <a:lnTo>
                    <a:pt x="99" y="113"/>
                  </a:lnTo>
                  <a:lnTo>
                    <a:pt x="102" y="113"/>
                  </a:lnTo>
                  <a:lnTo>
                    <a:pt x="108" y="113"/>
                  </a:lnTo>
                  <a:lnTo>
                    <a:pt x="110" y="112"/>
                  </a:lnTo>
                  <a:lnTo>
                    <a:pt x="112" y="111"/>
                  </a:lnTo>
                  <a:lnTo>
                    <a:pt x="113" y="110"/>
                  </a:lnTo>
                  <a:lnTo>
                    <a:pt x="113" y="108"/>
                  </a:lnTo>
                  <a:lnTo>
                    <a:pt x="113" y="107"/>
                  </a:lnTo>
                  <a:lnTo>
                    <a:pt x="113" y="105"/>
                  </a:lnTo>
                  <a:lnTo>
                    <a:pt x="112" y="104"/>
                  </a:lnTo>
                  <a:lnTo>
                    <a:pt x="111" y="103"/>
                  </a:lnTo>
                  <a:lnTo>
                    <a:pt x="110" y="103"/>
                  </a:lnTo>
                  <a:lnTo>
                    <a:pt x="108" y="102"/>
                  </a:lnTo>
                  <a:lnTo>
                    <a:pt x="102" y="100"/>
                  </a:lnTo>
                  <a:lnTo>
                    <a:pt x="100" y="99"/>
                  </a:lnTo>
                  <a:lnTo>
                    <a:pt x="95" y="97"/>
                  </a:lnTo>
                  <a:lnTo>
                    <a:pt x="90" y="95"/>
                  </a:lnTo>
                  <a:lnTo>
                    <a:pt x="87" y="92"/>
                  </a:lnTo>
                  <a:lnTo>
                    <a:pt x="85" y="90"/>
                  </a:lnTo>
                  <a:lnTo>
                    <a:pt x="84" y="86"/>
                  </a:lnTo>
                  <a:lnTo>
                    <a:pt x="83" y="83"/>
                  </a:lnTo>
                  <a:lnTo>
                    <a:pt x="84" y="79"/>
                  </a:lnTo>
                  <a:lnTo>
                    <a:pt x="86" y="75"/>
                  </a:lnTo>
                  <a:lnTo>
                    <a:pt x="88" y="72"/>
                  </a:lnTo>
                  <a:lnTo>
                    <a:pt x="93" y="70"/>
                  </a:lnTo>
                  <a:lnTo>
                    <a:pt x="97" y="68"/>
                  </a:lnTo>
                  <a:lnTo>
                    <a:pt x="102" y="67"/>
                  </a:lnTo>
                  <a:lnTo>
                    <a:pt x="102" y="61"/>
                  </a:lnTo>
                  <a:close/>
                  <a:moveTo>
                    <a:pt x="17" y="53"/>
                  </a:moveTo>
                  <a:lnTo>
                    <a:pt x="17" y="140"/>
                  </a:lnTo>
                  <a:lnTo>
                    <a:pt x="186" y="140"/>
                  </a:lnTo>
                  <a:lnTo>
                    <a:pt x="186" y="53"/>
                  </a:lnTo>
                  <a:lnTo>
                    <a:pt x="17" y="53"/>
                  </a:lnTo>
                  <a:close/>
                  <a:moveTo>
                    <a:pt x="53" y="17"/>
                  </a:moveTo>
                  <a:lnTo>
                    <a:pt x="53" y="35"/>
                  </a:lnTo>
                  <a:lnTo>
                    <a:pt x="195" y="35"/>
                  </a:lnTo>
                  <a:lnTo>
                    <a:pt x="197" y="35"/>
                  </a:lnTo>
                  <a:lnTo>
                    <a:pt x="200" y="36"/>
                  </a:lnTo>
                  <a:lnTo>
                    <a:pt x="202" y="38"/>
                  </a:lnTo>
                  <a:lnTo>
                    <a:pt x="203" y="40"/>
                  </a:lnTo>
                  <a:lnTo>
                    <a:pt x="204" y="43"/>
                  </a:lnTo>
                  <a:lnTo>
                    <a:pt x="204" y="105"/>
                  </a:lnTo>
                  <a:lnTo>
                    <a:pt x="221" y="105"/>
                  </a:lnTo>
                  <a:lnTo>
                    <a:pt x="221" y="17"/>
                  </a:lnTo>
                  <a:lnTo>
                    <a:pt x="53" y="17"/>
                  </a:lnTo>
                  <a:close/>
                  <a:moveTo>
                    <a:pt x="44" y="0"/>
                  </a:moveTo>
                  <a:lnTo>
                    <a:pt x="230" y="0"/>
                  </a:lnTo>
                  <a:lnTo>
                    <a:pt x="233" y="0"/>
                  </a:lnTo>
                  <a:lnTo>
                    <a:pt x="236" y="2"/>
                  </a:lnTo>
                  <a:lnTo>
                    <a:pt x="237" y="3"/>
                  </a:lnTo>
                  <a:lnTo>
                    <a:pt x="239" y="5"/>
                  </a:lnTo>
                  <a:lnTo>
                    <a:pt x="239" y="8"/>
                  </a:lnTo>
                  <a:lnTo>
                    <a:pt x="239" y="114"/>
                  </a:lnTo>
                  <a:lnTo>
                    <a:pt x="238" y="117"/>
                  </a:lnTo>
                  <a:lnTo>
                    <a:pt x="237" y="120"/>
                  </a:lnTo>
                  <a:lnTo>
                    <a:pt x="234" y="122"/>
                  </a:lnTo>
                  <a:lnTo>
                    <a:pt x="230" y="123"/>
                  </a:lnTo>
                  <a:lnTo>
                    <a:pt x="204" y="123"/>
                  </a:lnTo>
                  <a:lnTo>
                    <a:pt x="204" y="149"/>
                  </a:lnTo>
                  <a:lnTo>
                    <a:pt x="203" y="152"/>
                  </a:lnTo>
                  <a:lnTo>
                    <a:pt x="202" y="154"/>
                  </a:lnTo>
                  <a:lnTo>
                    <a:pt x="200" y="156"/>
                  </a:lnTo>
                  <a:lnTo>
                    <a:pt x="197" y="157"/>
                  </a:lnTo>
                  <a:lnTo>
                    <a:pt x="195" y="158"/>
                  </a:lnTo>
                  <a:lnTo>
                    <a:pt x="8" y="158"/>
                  </a:lnTo>
                  <a:lnTo>
                    <a:pt x="5" y="157"/>
                  </a:lnTo>
                  <a:lnTo>
                    <a:pt x="2" y="155"/>
                  </a:lnTo>
                  <a:lnTo>
                    <a:pt x="0" y="153"/>
                  </a:lnTo>
                  <a:lnTo>
                    <a:pt x="0" y="149"/>
                  </a:lnTo>
                  <a:lnTo>
                    <a:pt x="0" y="43"/>
                  </a:lnTo>
                  <a:lnTo>
                    <a:pt x="0" y="40"/>
                  </a:lnTo>
                  <a:lnTo>
                    <a:pt x="2" y="37"/>
                  </a:lnTo>
                  <a:lnTo>
                    <a:pt x="5" y="35"/>
                  </a:lnTo>
                  <a:lnTo>
                    <a:pt x="8" y="35"/>
                  </a:lnTo>
                  <a:lnTo>
                    <a:pt x="35" y="35"/>
                  </a:lnTo>
                  <a:lnTo>
                    <a:pt x="35" y="8"/>
                  </a:lnTo>
                  <a:lnTo>
                    <a:pt x="37" y="5"/>
                  </a:lnTo>
                  <a:lnTo>
                    <a:pt x="38" y="2"/>
                  </a:lnTo>
                  <a:lnTo>
                    <a:pt x="41" y="1"/>
                  </a:lnTo>
                  <a:lnTo>
                    <a:pt x="4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17">
              <a:extLst>
                <a:ext uri="{FF2B5EF4-FFF2-40B4-BE49-F238E27FC236}">
                  <a16:creationId xmlns:a16="http://schemas.microsoft.com/office/drawing/2014/main" id="{61E297F8-4768-0545-BDDA-80BC3E937854}"/>
                </a:ext>
              </a:extLst>
            </p:cNvPr>
            <p:cNvSpPr>
              <a:spLocks noEditPoints="1"/>
            </p:cNvSpPr>
            <p:nvPr/>
          </p:nvSpPr>
          <p:spPr bwMode="auto">
            <a:xfrm>
              <a:off x="3598863" y="2582863"/>
              <a:ext cx="508000" cy="625475"/>
            </a:xfrm>
            <a:custGeom>
              <a:avLst/>
              <a:gdLst>
                <a:gd name="T0" fmla="*/ 204 w 320"/>
                <a:gd name="T1" fmla="*/ 327 h 394"/>
                <a:gd name="T2" fmla="*/ 180 w 320"/>
                <a:gd name="T3" fmla="*/ 339 h 394"/>
                <a:gd name="T4" fmla="*/ 181 w 320"/>
                <a:gd name="T5" fmla="*/ 317 h 394"/>
                <a:gd name="T6" fmla="*/ 144 w 320"/>
                <a:gd name="T7" fmla="*/ 321 h 394"/>
                <a:gd name="T8" fmla="*/ 130 w 320"/>
                <a:gd name="T9" fmla="*/ 341 h 394"/>
                <a:gd name="T10" fmla="*/ 118 w 320"/>
                <a:gd name="T11" fmla="*/ 323 h 394"/>
                <a:gd name="T12" fmla="*/ 82 w 320"/>
                <a:gd name="T13" fmla="*/ 317 h 394"/>
                <a:gd name="T14" fmla="*/ 80 w 320"/>
                <a:gd name="T15" fmla="*/ 339 h 394"/>
                <a:gd name="T16" fmla="*/ 59 w 320"/>
                <a:gd name="T17" fmla="*/ 327 h 394"/>
                <a:gd name="T18" fmla="*/ 248 w 320"/>
                <a:gd name="T19" fmla="*/ 262 h 394"/>
                <a:gd name="T20" fmla="*/ 261 w 320"/>
                <a:gd name="T21" fmla="*/ 327 h 394"/>
                <a:gd name="T22" fmla="*/ 243 w 320"/>
                <a:gd name="T23" fmla="*/ 341 h 394"/>
                <a:gd name="T24" fmla="*/ 235 w 320"/>
                <a:gd name="T25" fmla="*/ 268 h 394"/>
                <a:gd name="T26" fmla="*/ 201 w 320"/>
                <a:gd name="T27" fmla="*/ 268 h 394"/>
                <a:gd name="T28" fmla="*/ 194 w 320"/>
                <a:gd name="T29" fmla="*/ 288 h 394"/>
                <a:gd name="T30" fmla="*/ 174 w 320"/>
                <a:gd name="T31" fmla="*/ 275 h 394"/>
                <a:gd name="T32" fmla="*/ 135 w 320"/>
                <a:gd name="T33" fmla="*/ 263 h 394"/>
                <a:gd name="T34" fmla="*/ 141 w 320"/>
                <a:gd name="T35" fmla="*/ 285 h 394"/>
                <a:gd name="T36" fmla="*/ 118 w 320"/>
                <a:gd name="T37" fmla="*/ 280 h 394"/>
                <a:gd name="T38" fmla="*/ 130 w 320"/>
                <a:gd name="T39" fmla="*/ 262 h 394"/>
                <a:gd name="T40" fmla="*/ 87 w 320"/>
                <a:gd name="T41" fmla="*/ 275 h 394"/>
                <a:gd name="T42" fmla="*/ 66 w 320"/>
                <a:gd name="T43" fmla="*/ 287 h 394"/>
                <a:gd name="T44" fmla="*/ 65 w 320"/>
                <a:gd name="T45" fmla="*/ 265 h 394"/>
                <a:gd name="T46" fmla="*/ 260 w 320"/>
                <a:gd name="T47" fmla="*/ 216 h 394"/>
                <a:gd name="T48" fmla="*/ 252 w 320"/>
                <a:gd name="T49" fmla="*/ 236 h 394"/>
                <a:gd name="T50" fmla="*/ 233 w 320"/>
                <a:gd name="T51" fmla="*/ 218 h 394"/>
                <a:gd name="T52" fmla="*/ 198 w 320"/>
                <a:gd name="T53" fmla="*/ 212 h 394"/>
                <a:gd name="T54" fmla="*/ 194 w 320"/>
                <a:gd name="T55" fmla="*/ 236 h 394"/>
                <a:gd name="T56" fmla="*/ 175 w 320"/>
                <a:gd name="T57" fmla="*/ 218 h 394"/>
                <a:gd name="T58" fmla="*/ 140 w 320"/>
                <a:gd name="T59" fmla="*/ 212 h 394"/>
                <a:gd name="T60" fmla="*/ 135 w 320"/>
                <a:gd name="T61" fmla="*/ 236 h 394"/>
                <a:gd name="T62" fmla="*/ 117 w 320"/>
                <a:gd name="T63" fmla="*/ 224 h 394"/>
                <a:gd name="T64" fmla="*/ 73 w 320"/>
                <a:gd name="T65" fmla="*/ 210 h 394"/>
                <a:gd name="T66" fmla="*/ 87 w 320"/>
                <a:gd name="T67" fmla="*/ 227 h 394"/>
                <a:gd name="T68" fmla="*/ 65 w 320"/>
                <a:gd name="T69" fmla="*/ 234 h 394"/>
                <a:gd name="T70" fmla="*/ 69 w 320"/>
                <a:gd name="T71" fmla="*/ 210 h 394"/>
                <a:gd name="T72" fmla="*/ 261 w 320"/>
                <a:gd name="T73" fmla="*/ 171 h 394"/>
                <a:gd name="T74" fmla="*/ 243 w 320"/>
                <a:gd name="T75" fmla="*/ 183 h 394"/>
                <a:gd name="T76" fmla="*/ 237 w 320"/>
                <a:gd name="T77" fmla="*/ 161 h 394"/>
                <a:gd name="T78" fmla="*/ 200 w 320"/>
                <a:gd name="T79" fmla="*/ 161 h 394"/>
                <a:gd name="T80" fmla="*/ 194 w 320"/>
                <a:gd name="T81" fmla="*/ 183 h 394"/>
                <a:gd name="T82" fmla="*/ 175 w 320"/>
                <a:gd name="T83" fmla="*/ 166 h 394"/>
                <a:gd name="T84" fmla="*/ 134 w 320"/>
                <a:gd name="T85" fmla="*/ 158 h 394"/>
                <a:gd name="T86" fmla="*/ 143 w 320"/>
                <a:gd name="T87" fmla="*/ 178 h 394"/>
                <a:gd name="T88" fmla="*/ 119 w 320"/>
                <a:gd name="T89" fmla="*/ 177 h 394"/>
                <a:gd name="T90" fmla="*/ 130 w 320"/>
                <a:gd name="T91" fmla="*/ 158 h 394"/>
                <a:gd name="T92" fmla="*/ 87 w 320"/>
                <a:gd name="T93" fmla="*/ 174 h 394"/>
                <a:gd name="T94" fmla="*/ 65 w 320"/>
                <a:gd name="T95" fmla="*/ 181 h 394"/>
                <a:gd name="T96" fmla="*/ 66 w 320"/>
                <a:gd name="T97" fmla="*/ 159 h 394"/>
                <a:gd name="T98" fmla="*/ 87 w 320"/>
                <a:gd name="T99" fmla="*/ 79 h 394"/>
                <a:gd name="T100" fmla="*/ 261 w 320"/>
                <a:gd name="T101" fmla="*/ 63 h 394"/>
                <a:gd name="T102" fmla="*/ 248 w 320"/>
                <a:gd name="T103" fmla="*/ 131 h 394"/>
                <a:gd name="T104" fmla="*/ 59 w 320"/>
                <a:gd name="T105" fmla="*/ 119 h 394"/>
                <a:gd name="T106" fmla="*/ 30 w 320"/>
                <a:gd name="T107" fmla="*/ 26 h 394"/>
                <a:gd name="T108" fmla="*/ 309 w 320"/>
                <a:gd name="T109" fmla="*/ 1 h 394"/>
                <a:gd name="T110" fmla="*/ 319 w 320"/>
                <a:gd name="T111" fmla="*/ 384 h 394"/>
                <a:gd name="T112" fmla="*/ 6 w 320"/>
                <a:gd name="T113" fmla="*/ 392 h 394"/>
                <a:gd name="T114" fmla="*/ 5 w 320"/>
                <a:gd name="T115" fmla="*/ 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94">
                  <a:moveTo>
                    <a:pt x="189" y="315"/>
                  </a:moveTo>
                  <a:lnTo>
                    <a:pt x="194" y="316"/>
                  </a:lnTo>
                  <a:lnTo>
                    <a:pt x="197" y="317"/>
                  </a:lnTo>
                  <a:lnTo>
                    <a:pt x="200" y="319"/>
                  </a:lnTo>
                  <a:lnTo>
                    <a:pt x="202" y="321"/>
                  </a:lnTo>
                  <a:lnTo>
                    <a:pt x="204" y="324"/>
                  </a:lnTo>
                  <a:lnTo>
                    <a:pt x="204" y="327"/>
                  </a:lnTo>
                  <a:lnTo>
                    <a:pt x="203" y="332"/>
                  </a:lnTo>
                  <a:lnTo>
                    <a:pt x="201" y="336"/>
                  </a:lnTo>
                  <a:lnTo>
                    <a:pt x="198" y="339"/>
                  </a:lnTo>
                  <a:lnTo>
                    <a:pt x="194" y="341"/>
                  </a:lnTo>
                  <a:lnTo>
                    <a:pt x="189" y="341"/>
                  </a:lnTo>
                  <a:lnTo>
                    <a:pt x="184" y="341"/>
                  </a:lnTo>
                  <a:lnTo>
                    <a:pt x="180" y="339"/>
                  </a:lnTo>
                  <a:lnTo>
                    <a:pt x="177" y="336"/>
                  </a:lnTo>
                  <a:lnTo>
                    <a:pt x="175" y="332"/>
                  </a:lnTo>
                  <a:lnTo>
                    <a:pt x="174" y="327"/>
                  </a:lnTo>
                  <a:lnTo>
                    <a:pt x="175" y="324"/>
                  </a:lnTo>
                  <a:lnTo>
                    <a:pt x="176" y="321"/>
                  </a:lnTo>
                  <a:lnTo>
                    <a:pt x="179" y="319"/>
                  </a:lnTo>
                  <a:lnTo>
                    <a:pt x="181" y="317"/>
                  </a:lnTo>
                  <a:lnTo>
                    <a:pt x="185" y="316"/>
                  </a:lnTo>
                  <a:lnTo>
                    <a:pt x="189" y="315"/>
                  </a:lnTo>
                  <a:close/>
                  <a:moveTo>
                    <a:pt x="130" y="315"/>
                  </a:moveTo>
                  <a:lnTo>
                    <a:pt x="134" y="316"/>
                  </a:lnTo>
                  <a:lnTo>
                    <a:pt x="139" y="317"/>
                  </a:lnTo>
                  <a:lnTo>
                    <a:pt x="141" y="319"/>
                  </a:lnTo>
                  <a:lnTo>
                    <a:pt x="144" y="321"/>
                  </a:lnTo>
                  <a:lnTo>
                    <a:pt x="145" y="324"/>
                  </a:lnTo>
                  <a:lnTo>
                    <a:pt x="146" y="327"/>
                  </a:lnTo>
                  <a:lnTo>
                    <a:pt x="145" y="332"/>
                  </a:lnTo>
                  <a:lnTo>
                    <a:pt x="143" y="336"/>
                  </a:lnTo>
                  <a:lnTo>
                    <a:pt x="140" y="339"/>
                  </a:lnTo>
                  <a:lnTo>
                    <a:pt x="135" y="341"/>
                  </a:lnTo>
                  <a:lnTo>
                    <a:pt x="130" y="341"/>
                  </a:lnTo>
                  <a:lnTo>
                    <a:pt x="127" y="341"/>
                  </a:lnTo>
                  <a:lnTo>
                    <a:pt x="123" y="339"/>
                  </a:lnTo>
                  <a:lnTo>
                    <a:pt x="121" y="337"/>
                  </a:lnTo>
                  <a:lnTo>
                    <a:pt x="119" y="335"/>
                  </a:lnTo>
                  <a:lnTo>
                    <a:pt x="118" y="332"/>
                  </a:lnTo>
                  <a:lnTo>
                    <a:pt x="117" y="327"/>
                  </a:lnTo>
                  <a:lnTo>
                    <a:pt x="118" y="323"/>
                  </a:lnTo>
                  <a:lnTo>
                    <a:pt x="120" y="320"/>
                  </a:lnTo>
                  <a:lnTo>
                    <a:pt x="122" y="317"/>
                  </a:lnTo>
                  <a:lnTo>
                    <a:pt x="126" y="316"/>
                  </a:lnTo>
                  <a:lnTo>
                    <a:pt x="130" y="315"/>
                  </a:lnTo>
                  <a:close/>
                  <a:moveTo>
                    <a:pt x="73" y="315"/>
                  </a:moveTo>
                  <a:lnTo>
                    <a:pt x="78" y="316"/>
                  </a:lnTo>
                  <a:lnTo>
                    <a:pt x="82" y="317"/>
                  </a:lnTo>
                  <a:lnTo>
                    <a:pt x="85" y="320"/>
                  </a:lnTo>
                  <a:lnTo>
                    <a:pt x="87" y="323"/>
                  </a:lnTo>
                  <a:lnTo>
                    <a:pt x="87" y="327"/>
                  </a:lnTo>
                  <a:lnTo>
                    <a:pt x="87" y="332"/>
                  </a:lnTo>
                  <a:lnTo>
                    <a:pt x="86" y="335"/>
                  </a:lnTo>
                  <a:lnTo>
                    <a:pt x="84" y="337"/>
                  </a:lnTo>
                  <a:lnTo>
                    <a:pt x="80" y="339"/>
                  </a:lnTo>
                  <a:lnTo>
                    <a:pt x="77" y="341"/>
                  </a:lnTo>
                  <a:lnTo>
                    <a:pt x="73" y="341"/>
                  </a:lnTo>
                  <a:lnTo>
                    <a:pt x="69" y="341"/>
                  </a:lnTo>
                  <a:lnTo>
                    <a:pt x="65" y="339"/>
                  </a:lnTo>
                  <a:lnTo>
                    <a:pt x="62" y="336"/>
                  </a:lnTo>
                  <a:lnTo>
                    <a:pt x="59" y="332"/>
                  </a:lnTo>
                  <a:lnTo>
                    <a:pt x="59" y="327"/>
                  </a:lnTo>
                  <a:lnTo>
                    <a:pt x="59" y="324"/>
                  </a:lnTo>
                  <a:lnTo>
                    <a:pt x="61" y="321"/>
                  </a:lnTo>
                  <a:lnTo>
                    <a:pt x="63" y="319"/>
                  </a:lnTo>
                  <a:lnTo>
                    <a:pt x="66" y="317"/>
                  </a:lnTo>
                  <a:lnTo>
                    <a:pt x="69" y="316"/>
                  </a:lnTo>
                  <a:lnTo>
                    <a:pt x="73" y="315"/>
                  </a:lnTo>
                  <a:close/>
                  <a:moveTo>
                    <a:pt x="248" y="262"/>
                  </a:moveTo>
                  <a:lnTo>
                    <a:pt x="252" y="263"/>
                  </a:lnTo>
                  <a:lnTo>
                    <a:pt x="255" y="264"/>
                  </a:lnTo>
                  <a:lnTo>
                    <a:pt x="258" y="266"/>
                  </a:lnTo>
                  <a:lnTo>
                    <a:pt x="260" y="269"/>
                  </a:lnTo>
                  <a:lnTo>
                    <a:pt x="261" y="272"/>
                  </a:lnTo>
                  <a:lnTo>
                    <a:pt x="261" y="275"/>
                  </a:lnTo>
                  <a:lnTo>
                    <a:pt x="261" y="327"/>
                  </a:lnTo>
                  <a:lnTo>
                    <a:pt x="261" y="332"/>
                  </a:lnTo>
                  <a:lnTo>
                    <a:pt x="260" y="335"/>
                  </a:lnTo>
                  <a:lnTo>
                    <a:pt x="258" y="337"/>
                  </a:lnTo>
                  <a:lnTo>
                    <a:pt x="255" y="339"/>
                  </a:lnTo>
                  <a:lnTo>
                    <a:pt x="252" y="341"/>
                  </a:lnTo>
                  <a:lnTo>
                    <a:pt x="248" y="341"/>
                  </a:lnTo>
                  <a:lnTo>
                    <a:pt x="243" y="341"/>
                  </a:lnTo>
                  <a:lnTo>
                    <a:pt x="239" y="339"/>
                  </a:lnTo>
                  <a:lnTo>
                    <a:pt x="235" y="336"/>
                  </a:lnTo>
                  <a:lnTo>
                    <a:pt x="233" y="332"/>
                  </a:lnTo>
                  <a:lnTo>
                    <a:pt x="233" y="327"/>
                  </a:lnTo>
                  <a:lnTo>
                    <a:pt x="233" y="275"/>
                  </a:lnTo>
                  <a:lnTo>
                    <a:pt x="233" y="271"/>
                  </a:lnTo>
                  <a:lnTo>
                    <a:pt x="235" y="268"/>
                  </a:lnTo>
                  <a:lnTo>
                    <a:pt x="239" y="265"/>
                  </a:lnTo>
                  <a:lnTo>
                    <a:pt x="243" y="263"/>
                  </a:lnTo>
                  <a:lnTo>
                    <a:pt x="248" y="262"/>
                  </a:lnTo>
                  <a:close/>
                  <a:moveTo>
                    <a:pt x="189" y="262"/>
                  </a:moveTo>
                  <a:lnTo>
                    <a:pt x="194" y="263"/>
                  </a:lnTo>
                  <a:lnTo>
                    <a:pt x="198" y="265"/>
                  </a:lnTo>
                  <a:lnTo>
                    <a:pt x="201" y="268"/>
                  </a:lnTo>
                  <a:lnTo>
                    <a:pt x="203" y="271"/>
                  </a:lnTo>
                  <a:lnTo>
                    <a:pt x="204" y="275"/>
                  </a:lnTo>
                  <a:lnTo>
                    <a:pt x="204" y="280"/>
                  </a:lnTo>
                  <a:lnTo>
                    <a:pt x="202" y="283"/>
                  </a:lnTo>
                  <a:lnTo>
                    <a:pt x="200" y="285"/>
                  </a:lnTo>
                  <a:lnTo>
                    <a:pt x="197" y="287"/>
                  </a:lnTo>
                  <a:lnTo>
                    <a:pt x="194" y="288"/>
                  </a:lnTo>
                  <a:lnTo>
                    <a:pt x="189" y="288"/>
                  </a:lnTo>
                  <a:lnTo>
                    <a:pt x="185" y="288"/>
                  </a:lnTo>
                  <a:lnTo>
                    <a:pt x="181" y="287"/>
                  </a:lnTo>
                  <a:lnTo>
                    <a:pt x="179" y="285"/>
                  </a:lnTo>
                  <a:lnTo>
                    <a:pt x="176" y="283"/>
                  </a:lnTo>
                  <a:lnTo>
                    <a:pt x="175" y="280"/>
                  </a:lnTo>
                  <a:lnTo>
                    <a:pt x="174" y="275"/>
                  </a:lnTo>
                  <a:lnTo>
                    <a:pt x="175" y="271"/>
                  </a:lnTo>
                  <a:lnTo>
                    <a:pt x="177" y="268"/>
                  </a:lnTo>
                  <a:lnTo>
                    <a:pt x="180" y="265"/>
                  </a:lnTo>
                  <a:lnTo>
                    <a:pt x="184" y="263"/>
                  </a:lnTo>
                  <a:lnTo>
                    <a:pt x="189" y="262"/>
                  </a:lnTo>
                  <a:close/>
                  <a:moveTo>
                    <a:pt x="130" y="262"/>
                  </a:moveTo>
                  <a:lnTo>
                    <a:pt x="135" y="263"/>
                  </a:lnTo>
                  <a:lnTo>
                    <a:pt x="140" y="265"/>
                  </a:lnTo>
                  <a:lnTo>
                    <a:pt x="143" y="268"/>
                  </a:lnTo>
                  <a:lnTo>
                    <a:pt x="145" y="271"/>
                  </a:lnTo>
                  <a:lnTo>
                    <a:pt x="146" y="275"/>
                  </a:lnTo>
                  <a:lnTo>
                    <a:pt x="145" y="280"/>
                  </a:lnTo>
                  <a:lnTo>
                    <a:pt x="144" y="283"/>
                  </a:lnTo>
                  <a:lnTo>
                    <a:pt x="141" y="285"/>
                  </a:lnTo>
                  <a:lnTo>
                    <a:pt x="139" y="287"/>
                  </a:lnTo>
                  <a:lnTo>
                    <a:pt x="134" y="288"/>
                  </a:lnTo>
                  <a:lnTo>
                    <a:pt x="130" y="288"/>
                  </a:lnTo>
                  <a:lnTo>
                    <a:pt x="126" y="288"/>
                  </a:lnTo>
                  <a:lnTo>
                    <a:pt x="122" y="286"/>
                  </a:lnTo>
                  <a:lnTo>
                    <a:pt x="120" y="284"/>
                  </a:lnTo>
                  <a:lnTo>
                    <a:pt x="118" y="280"/>
                  </a:lnTo>
                  <a:lnTo>
                    <a:pt x="117" y="275"/>
                  </a:lnTo>
                  <a:lnTo>
                    <a:pt x="118" y="272"/>
                  </a:lnTo>
                  <a:lnTo>
                    <a:pt x="119" y="269"/>
                  </a:lnTo>
                  <a:lnTo>
                    <a:pt x="121" y="266"/>
                  </a:lnTo>
                  <a:lnTo>
                    <a:pt x="123" y="264"/>
                  </a:lnTo>
                  <a:lnTo>
                    <a:pt x="127" y="263"/>
                  </a:lnTo>
                  <a:lnTo>
                    <a:pt x="130" y="262"/>
                  </a:lnTo>
                  <a:close/>
                  <a:moveTo>
                    <a:pt x="73" y="262"/>
                  </a:moveTo>
                  <a:lnTo>
                    <a:pt x="77" y="263"/>
                  </a:lnTo>
                  <a:lnTo>
                    <a:pt x="80" y="264"/>
                  </a:lnTo>
                  <a:lnTo>
                    <a:pt x="84" y="266"/>
                  </a:lnTo>
                  <a:lnTo>
                    <a:pt x="86" y="269"/>
                  </a:lnTo>
                  <a:lnTo>
                    <a:pt x="87" y="272"/>
                  </a:lnTo>
                  <a:lnTo>
                    <a:pt x="87" y="275"/>
                  </a:lnTo>
                  <a:lnTo>
                    <a:pt x="87" y="280"/>
                  </a:lnTo>
                  <a:lnTo>
                    <a:pt x="85" y="284"/>
                  </a:lnTo>
                  <a:lnTo>
                    <a:pt x="82" y="286"/>
                  </a:lnTo>
                  <a:lnTo>
                    <a:pt x="78" y="288"/>
                  </a:lnTo>
                  <a:lnTo>
                    <a:pt x="73" y="288"/>
                  </a:lnTo>
                  <a:lnTo>
                    <a:pt x="69" y="288"/>
                  </a:lnTo>
                  <a:lnTo>
                    <a:pt x="66" y="287"/>
                  </a:lnTo>
                  <a:lnTo>
                    <a:pt x="63" y="285"/>
                  </a:lnTo>
                  <a:lnTo>
                    <a:pt x="61" y="283"/>
                  </a:lnTo>
                  <a:lnTo>
                    <a:pt x="59" y="280"/>
                  </a:lnTo>
                  <a:lnTo>
                    <a:pt x="59" y="275"/>
                  </a:lnTo>
                  <a:lnTo>
                    <a:pt x="59" y="271"/>
                  </a:lnTo>
                  <a:lnTo>
                    <a:pt x="62" y="268"/>
                  </a:lnTo>
                  <a:lnTo>
                    <a:pt x="65" y="265"/>
                  </a:lnTo>
                  <a:lnTo>
                    <a:pt x="69" y="263"/>
                  </a:lnTo>
                  <a:lnTo>
                    <a:pt x="73" y="262"/>
                  </a:lnTo>
                  <a:close/>
                  <a:moveTo>
                    <a:pt x="248" y="210"/>
                  </a:moveTo>
                  <a:lnTo>
                    <a:pt x="252" y="210"/>
                  </a:lnTo>
                  <a:lnTo>
                    <a:pt x="255" y="211"/>
                  </a:lnTo>
                  <a:lnTo>
                    <a:pt x="258" y="213"/>
                  </a:lnTo>
                  <a:lnTo>
                    <a:pt x="260" y="216"/>
                  </a:lnTo>
                  <a:lnTo>
                    <a:pt x="261" y="219"/>
                  </a:lnTo>
                  <a:lnTo>
                    <a:pt x="261" y="224"/>
                  </a:lnTo>
                  <a:lnTo>
                    <a:pt x="261" y="227"/>
                  </a:lnTo>
                  <a:lnTo>
                    <a:pt x="260" y="230"/>
                  </a:lnTo>
                  <a:lnTo>
                    <a:pt x="258" y="233"/>
                  </a:lnTo>
                  <a:lnTo>
                    <a:pt x="255" y="235"/>
                  </a:lnTo>
                  <a:lnTo>
                    <a:pt x="252" y="236"/>
                  </a:lnTo>
                  <a:lnTo>
                    <a:pt x="248" y="237"/>
                  </a:lnTo>
                  <a:lnTo>
                    <a:pt x="243" y="236"/>
                  </a:lnTo>
                  <a:lnTo>
                    <a:pt x="239" y="234"/>
                  </a:lnTo>
                  <a:lnTo>
                    <a:pt x="235" y="231"/>
                  </a:lnTo>
                  <a:lnTo>
                    <a:pt x="233" y="228"/>
                  </a:lnTo>
                  <a:lnTo>
                    <a:pt x="233" y="224"/>
                  </a:lnTo>
                  <a:lnTo>
                    <a:pt x="233" y="218"/>
                  </a:lnTo>
                  <a:lnTo>
                    <a:pt x="235" y="215"/>
                  </a:lnTo>
                  <a:lnTo>
                    <a:pt x="239" y="212"/>
                  </a:lnTo>
                  <a:lnTo>
                    <a:pt x="243" y="210"/>
                  </a:lnTo>
                  <a:lnTo>
                    <a:pt x="248" y="210"/>
                  </a:lnTo>
                  <a:close/>
                  <a:moveTo>
                    <a:pt x="189" y="210"/>
                  </a:moveTo>
                  <a:lnTo>
                    <a:pt x="194" y="210"/>
                  </a:lnTo>
                  <a:lnTo>
                    <a:pt x="198" y="212"/>
                  </a:lnTo>
                  <a:lnTo>
                    <a:pt x="201" y="215"/>
                  </a:lnTo>
                  <a:lnTo>
                    <a:pt x="203" y="218"/>
                  </a:lnTo>
                  <a:lnTo>
                    <a:pt x="204" y="224"/>
                  </a:lnTo>
                  <a:lnTo>
                    <a:pt x="203" y="228"/>
                  </a:lnTo>
                  <a:lnTo>
                    <a:pt x="201" y="231"/>
                  </a:lnTo>
                  <a:lnTo>
                    <a:pt x="198" y="234"/>
                  </a:lnTo>
                  <a:lnTo>
                    <a:pt x="194" y="236"/>
                  </a:lnTo>
                  <a:lnTo>
                    <a:pt x="189" y="237"/>
                  </a:lnTo>
                  <a:lnTo>
                    <a:pt x="184" y="236"/>
                  </a:lnTo>
                  <a:lnTo>
                    <a:pt x="180" y="234"/>
                  </a:lnTo>
                  <a:lnTo>
                    <a:pt x="177" y="231"/>
                  </a:lnTo>
                  <a:lnTo>
                    <a:pt x="175" y="228"/>
                  </a:lnTo>
                  <a:lnTo>
                    <a:pt x="174" y="224"/>
                  </a:lnTo>
                  <a:lnTo>
                    <a:pt x="175" y="218"/>
                  </a:lnTo>
                  <a:lnTo>
                    <a:pt x="177" y="215"/>
                  </a:lnTo>
                  <a:lnTo>
                    <a:pt x="180" y="212"/>
                  </a:lnTo>
                  <a:lnTo>
                    <a:pt x="184" y="210"/>
                  </a:lnTo>
                  <a:lnTo>
                    <a:pt x="189" y="210"/>
                  </a:lnTo>
                  <a:close/>
                  <a:moveTo>
                    <a:pt x="130" y="210"/>
                  </a:moveTo>
                  <a:lnTo>
                    <a:pt x="135" y="210"/>
                  </a:lnTo>
                  <a:lnTo>
                    <a:pt x="140" y="212"/>
                  </a:lnTo>
                  <a:lnTo>
                    <a:pt x="143" y="215"/>
                  </a:lnTo>
                  <a:lnTo>
                    <a:pt x="145" y="218"/>
                  </a:lnTo>
                  <a:lnTo>
                    <a:pt x="146" y="224"/>
                  </a:lnTo>
                  <a:lnTo>
                    <a:pt x="145" y="228"/>
                  </a:lnTo>
                  <a:lnTo>
                    <a:pt x="143" y="231"/>
                  </a:lnTo>
                  <a:lnTo>
                    <a:pt x="140" y="234"/>
                  </a:lnTo>
                  <a:lnTo>
                    <a:pt x="135" y="236"/>
                  </a:lnTo>
                  <a:lnTo>
                    <a:pt x="130" y="237"/>
                  </a:lnTo>
                  <a:lnTo>
                    <a:pt x="127" y="236"/>
                  </a:lnTo>
                  <a:lnTo>
                    <a:pt x="123" y="235"/>
                  </a:lnTo>
                  <a:lnTo>
                    <a:pt x="121" y="233"/>
                  </a:lnTo>
                  <a:lnTo>
                    <a:pt x="119" y="230"/>
                  </a:lnTo>
                  <a:lnTo>
                    <a:pt x="118" y="227"/>
                  </a:lnTo>
                  <a:lnTo>
                    <a:pt x="117" y="224"/>
                  </a:lnTo>
                  <a:lnTo>
                    <a:pt x="118" y="219"/>
                  </a:lnTo>
                  <a:lnTo>
                    <a:pt x="119" y="216"/>
                  </a:lnTo>
                  <a:lnTo>
                    <a:pt x="121" y="213"/>
                  </a:lnTo>
                  <a:lnTo>
                    <a:pt x="123" y="211"/>
                  </a:lnTo>
                  <a:lnTo>
                    <a:pt x="127" y="210"/>
                  </a:lnTo>
                  <a:lnTo>
                    <a:pt x="130" y="210"/>
                  </a:lnTo>
                  <a:close/>
                  <a:moveTo>
                    <a:pt x="73" y="210"/>
                  </a:moveTo>
                  <a:lnTo>
                    <a:pt x="77" y="210"/>
                  </a:lnTo>
                  <a:lnTo>
                    <a:pt x="80" y="211"/>
                  </a:lnTo>
                  <a:lnTo>
                    <a:pt x="84" y="213"/>
                  </a:lnTo>
                  <a:lnTo>
                    <a:pt x="86" y="216"/>
                  </a:lnTo>
                  <a:lnTo>
                    <a:pt x="87" y="219"/>
                  </a:lnTo>
                  <a:lnTo>
                    <a:pt x="87" y="224"/>
                  </a:lnTo>
                  <a:lnTo>
                    <a:pt x="87" y="227"/>
                  </a:lnTo>
                  <a:lnTo>
                    <a:pt x="86" y="230"/>
                  </a:lnTo>
                  <a:lnTo>
                    <a:pt x="84" y="233"/>
                  </a:lnTo>
                  <a:lnTo>
                    <a:pt x="80" y="235"/>
                  </a:lnTo>
                  <a:lnTo>
                    <a:pt x="77" y="236"/>
                  </a:lnTo>
                  <a:lnTo>
                    <a:pt x="73" y="237"/>
                  </a:lnTo>
                  <a:lnTo>
                    <a:pt x="69" y="236"/>
                  </a:lnTo>
                  <a:lnTo>
                    <a:pt x="65" y="234"/>
                  </a:lnTo>
                  <a:lnTo>
                    <a:pt x="62" y="231"/>
                  </a:lnTo>
                  <a:lnTo>
                    <a:pt x="59" y="228"/>
                  </a:lnTo>
                  <a:lnTo>
                    <a:pt x="59" y="224"/>
                  </a:lnTo>
                  <a:lnTo>
                    <a:pt x="59" y="218"/>
                  </a:lnTo>
                  <a:lnTo>
                    <a:pt x="62" y="215"/>
                  </a:lnTo>
                  <a:lnTo>
                    <a:pt x="65" y="212"/>
                  </a:lnTo>
                  <a:lnTo>
                    <a:pt x="69" y="210"/>
                  </a:lnTo>
                  <a:lnTo>
                    <a:pt x="73" y="210"/>
                  </a:lnTo>
                  <a:close/>
                  <a:moveTo>
                    <a:pt x="248" y="158"/>
                  </a:moveTo>
                  <a:lnTo>
                    <a:pt x="253" y="158"/>
                  </a:lnTo>
                  <a:lnTo>
                    <a:pt x="256" y="160"/>
                  </a:lnTo>
                  <a:lnTo>
                    <a:pt x="259" y="162"/>
                  </a:lnTo>
                  <a:lnTo>
                    <a:pt x="261" y="166"/>
                  </a:lnTo>
                  <a:lnTo>
                    <a:pt x="261" y="171"/>
                  </a:lnTo>
                  <a:lnTo>
                    <a:pt x="261" y="174"/>
                  </a:lnTo>
                  <a:lnTo>
                    <a:pt x="260" y="177"/>
                  </a:lnTo>
                  <a:lnTo>
                    <a:pt x="258" y="180"/>
                  </a:lnTo>
                  <a:lnTo>
                    <a:pt x="255" y="182"/>
                  </a:lnTo>
                  <a:lnTo>
                    <a:pt x="252" y="183"/>
                  </a:lnTo>
                  <a:lnTo>
                    <a:pt x="248" y="184"/>
                  </a:lnTo>
                  <a:lnTo>
                    <a:pt x="243" y="183"/>
                  </a:lnTo>
                  <a:lnTo>
                    <a:pt x="239" y="181"/>
                  </a:lnTo>
                  <a:lnTo>
                    <a:pt x="235" y="178"/>
                  </a:lnTo>
                  <a:lnTo>
                    <a:pt x="233" y="175"/>
                  </a:lnTo>
                  <a:lnTo>
                    <a:pt x="233" y="171"/>
                  </a:lnTo>
                  <a:lnTo>
                    <a:pt x="233" y="166"/>
                  </a:lnTo>
                  <a:lnTo>
                    <a:pt x="235" y="163"/>
                  </a:lnTo>
                  <a:lnTo>
                    <a:pt x="237" y="161"/>
                  </a:lnTo>
                  <a:lnTo>
                    <a:pt x="240" y="159"/>
                  </a:lnTo>
                  <a:lnTo>
                    <a:pt x="243" y="158"/>
                  </a:lnTo>
                  <a:lnTo>
                    <a:pt x="248" y="158"/>
                  </a:lnTo>
                  <a:close/>
                  <a:moveTo>
                    <a:pt x="189" y="158"/>
                  </a:moveTo>
                  <a:lnTo>
                    <a:pt x="194" y="158"/>
                  </a:lnTo>
                  <a:lnTo>
                    <a:pt x="197" y="159"/>
                  </a:lnTo>
                  <a:lnTo>
                    <a:pt x="200" y="161"/>
                  </a:lnTo>
                  <a:lnTo>
                    <a:pt x="202" y="163"/>
                  </a:lnTo>
                  <a:lnTo>
                    <a:pt x="204" y="166"/>
                  </a:lnTo>
                  <a:lnTo>
                    <a:pt x="204" y="171"/>
                  </a:lnTo>
                  <a:lnTo>
                    <a:pt x="203" y="175"/>
                  </a:lnTo>
                  <a:lnTo>
                    <a:pt x="201" y="178"/>
                  </a:lnTo>
                  <a:lnTo>
                    <a:pt x="198" y="181"/>
                  </a:lnTo>
                  <a:lnTo>
                    <a:pt x="194" y="183"/>
                  </a:lnTo>
                  <a:lnTo>
                    <a:pt x="189" y="184"/>
                  </a:lnTo>
                  <a:lnTo>
                    <a:pt x="184" y="183"/>
                  </a:lnTo>
                  <a:lnTo>
                    <a:pt x="180" y="181"/>
                  </a:lnTo>
                  <a:lnTo>
                    <a:pt x="177" y="178"/>
                  </a:lnTo>
                  <a:lnTo>
                    <a:pt x="175" y="175"/>
                  </a:lnTo>
                  <a:lnTo>
                    <a:pt x="174" y="171"/>
                  </a:lnTo>
                  <a:lnTo>
                    <a:pt x="175" y="166"/>
                  </a:lnTo>
                  <a:lnTo>
                    <a:pt x="176" y="163"/>
                  </a:lnTo>
                  <a:lnTo>
                    <a:pt x="179" y="161"/>
                  </a:lnTo>
                  <a:lnTo>
                    <a:pt x="181" y="159"/>
                  </a:lnTo>
                  <a:lnTo>
                    <a:pt x="185" y="158"/>
                  </a:lnTo>
                  <a:lnTo>
                    <a:pt x="189" y="158"/>
                  </a:lnTo>
                  <a:close/>
                  <a:moveTo>
                    <a:pt x="130" y="158"/>
                  </a:moveTo>
                  <a:lnTo>
                    <a:pt x="134" y="158"/>
                  </a:lnTo>
                  <a:lnTo>
                    <a:pt x="139" y="159"/>
                  </a:lnTo>
                  <a:lnTo>
                    <a:pt x="141" y="161"/>
                  </a:lnTo>
                  <a:lnTo>
                    <a:pt x="144" y="163"/>
                  </a:lnTo>
                  <a:lnTo>
                    <a:pt x="145" y="166"/>
                  </a:lnTo>
                  <a:lnTo>
                    <a:pt x="146" y="171"/>
                  </a:lnTo>
                  <a:lnTo>
                    <a:pt x="145" y="175"/>
                  </a:lnTo>
                  <a:lnTo>
                    <a:pt x="143" y="178"/>
                  </a:lnTo>
                  <a:lnTo>
                    <a:pt x="140" y="181"/>
                  </a:lnTo>
                  <a:lnTo>
                    <a:pt x="135" y="183"/>
                  </a:lnTo>
                  <a:lnTo>
                    <a:pt x="130" y="184"/>
                  </a:lnTo>
                  <a:lnTo>
                    <a:pt x="127" y="183"/>
                  </a:lnTo>
                  <a:lnTo>
                    <a:pt x="123" y="182"/>
                  </a:lnTo>
                  <a:lnTo>
                    <a:pt x="121" y="180"/>
                  </a:lnTo>
                  <a:lnTo>
                    <a:pt x="119" y="177"/>
                  </a:lnTo>
                  <a:lnTo>
                    <a:pt x="118" y="174"/>
                  </a:lnTo>
                  <a:lnTo>
                    <a:pt x="117" y="171"/>
                  </a:lnTo>
                  <a:lnTo>
                    <a:pt x="118" y="166"/>
                  </a:lnTo>
                  <a:lnTo>
                    <a:pt x="120" y="162"/>
                  </a:lnTo>
                  <a:lnTo>
                    <a:pt x="122" y="160"/>
                  </a:lnTo>
                  <a:lnTo>
                    <a:pt x="126" y="158"/>
                  </a:lnTo>
                  <a:lnTo>
                    <a:pt x="130" y="158"/>
                  </a:lnTo>
                  <a:close/>
                  <a:moveTo>
                    <a:pt x="73" y="158"/>
                  </a:moveTo>
                  <a:lnTo>
                    <a:pt x="78" y="158"/>
                  </a:lnTo>
                  <a:lnTo>
                    <a:pt x="82" y="160"/>
                  </a:lnTo>
                  <a:lnTo>
                    <a:pt x="85" y="162"/>
                  </a:lnTo>
                  <a:lnTo>
                    <a:pt x="87" y="166"/>
                  </a:lnTo>
                  <a:lnTo>
                    <a:pt x="87" y="171"/>
                  </a:lnTo>
                  <a:lnTo>
                    <a:pt x="87" y="174"/>
                  </a:lnTo>
                  <a:lnTo>
                    <a:pt x="86" y="177"/>
                  </a:lnTo>
                  <a:lnTo>
                    <a:pt x="84" y="180"/>
                  </a:lnTo>
                  <a:lnTo>
                    <a:pt x="80" y="182"/>
                  </a:lnTo>
                  <a:lnTo>
                    <a:pt x="77" y="183"/>
                  </a:lnTo>
                  <a:lnTo>
                    <a:pt x="73" y="184"/>
                  </a:lnTo>
                  <a:lnTo>
                    <a:pt x="69" y="183"/>
                  </a:lnTo>
                  <a:lnTo>
                    <a:pt x="65" y="181"/>
                  </a:lnTo>
                  <a:lnTo>
                    <a:pt x="62" y="178"/>
                  </a:lnTo>
                  <a:lnTo>
                    <a:pt x="59" y="175"/>
                  </a:lnTo>
                  <a:lnTo>
                    <a:pt x="59" y="171"/>
                  </a:lnTo>
                  <a:lnTo>
                    <a:pt x="59" y="166"/>
                  </a:lnTo>
                  <a:lnTo>
                    <a:pt x="61" y="163"/>
                  </a:lnTo>
                  <a:lnTo>
                    <a:pt x="63" y="161"/>
                  </a:lnTo>
                  <a:lnTo>
                    <a:pt x="66" y="159"/>
                  </a:lnTo>
                  <a:lnTo>
                    <a:pt x="69" y="158"/>
                  </a:lnTo>
                  <a:lnTo>
                    <a:pt x="73" y="158"/>
                  </a:lnTo>
                  <a:close/>
                  <a:moveTo>
                    <a:pt x="87" y="79"/>
                  </a:moveTo>
                  <a:lnTo>
                    <a:pt x="87" y="105"/>
                  </a:lnTo>
                  <a:lnTo>
                    <a:pt x="233" y="105"/>
                  </a:lnTo>
                  <a:lnTo>
                    <a:pt x="233" y="79"/>
                  </a:lnTo>
                  <a:lnTo>
                    <a:pt x="87" y="79"/>
                  </a:lnTo>
                  <a:close/>
                  <a:moveTo>
                    <a:pt x="73" y="52"/>
                  </a:moveTo>
                  <a:lnTo>
                    <a:pt x="248" y="52"/>
                  </a:lnTo>
                  <a:lnTo>
                    <a:pt x="252" y="52"/>
                  </a:lnTo>
                  <a:lnTo>
                    <a:pt x="255" y="54"/>
                  </a:lnTo>
                  <a:lnTo>
                    <a:pt x="258" y="56"/>
                  </a:lnTo>
                  <a:lnTo>
                    <a:pt x="260" y="58"/>
                  </a:lnTo>
                  <a:lnTo>
                    <a:pt x="261" y="63"/>
                  </a:lnTo>
                  <a:lnTo>
                    <a:pt x="261" y="66"/>
                  </a:lnTo>
                  <a:lnTo>
                    <a:pt x="261" y="119"/>
                  </a:lnTo>
                  <a:lnTo>
                    <a:pt x="261" y="123"/>
                  </a:lnTo>
                  <a:lnTo>
                    <a:pt x="259" y="126"/>
                  </a:lnTo>
                  <a:lnTo>
                    <a:pt x="256" y="129"/>
                  </a:lnTo>
                  <a:lnTo>
                    <a:pt x="253" y="130"/>
                  </a:lnTo>
                  <a:lnTo>
                    <a:pt x="248" y="131"/>
                  </a:lnTo>
                  <a:lnTo>
                    <a:pt x="73" y="131"/>
                  </a:lnTo>
                  <a:lnTo>
                    <a:pt x="69" y="130"/>
                  </a:lnTo>
                  <a:lnTo>
                    <a:pt x="66" y="129"/>
                  </a:lnTo>
                  <a:lnTo>
                    <a:pt x="63" y="128"/>
                  </a:lnTo>
                  <a:lnTo>
                    <a:pt x="61" y="125"/>
                  </a:lnTo>
                  <a:lnTo>
                    <a:pt x="59" y="122"/>
                  </a:lnTo>
                  <a:lnTo>
                    <a:pt x="59" y="119"/>
                  </a:lnTo>
                  <a:lnTo>
                    <a:pt x="59" y="66"/>
                  </a:lnTo>
                  <a:lnTo>
                    <a:pt x="59" y="62"/>
                  </a:lnTo>
                  <a:lnTo>
                    <a:pt x="62" y="57"/>
                  </a:lnTo>
                  <a:lnTo>
                    <a:pt x="65" y="55"/>
                  </a:lnTo>
                  <a:lnTo>
                    <a:pt x="69" y="53"/>
                  </a:lnTo>
                  <a:lnTo>
                    <a:pt x="73" y="52"/>
                  </a:lnTo>
                  <a:close/>
                  <a:moveTo>
                    <a:pt x="30" y="26"/>
                  </a:moveTo>
                  <a:lnTo>
                    <a:pt x="30" y="367"/>
                  </a:lnTo>
                  <a:lnTo>
                    <a:pt x="291" y="367"/>
                  </a:lnTo>
                  <a:lnTo>
                    <a:pt x="291" y="26"/>
                  </a:lnTo>
                  <a:lnTo>
                    <a:pt x="30" y="26"/>
                  </a:lnTo>
                  <a:close/>
                  <a:moveTo>
                    <a:pt x="15" y="0"/>
                  </a:moveTo>
                  <a:lnTo>
                    <a:pt x="305" y="0"/>
                  </a:lnTo>
                  <a:lnTo>
                    <a:pt x="309" y="1"/>
                  </a:lnTo>
                  <a:lnTo>
                    <a:pt x="312" y="2"/>
                  </a:lnTo>
                  <a:lnTo>
                    <a:pt x="315" y="4"/>
                  </a:lnTo>
                  <a:lnTo>
                    <a:pt x="318" y="7"/>
                  </a:lnTo>
                  <a:lnTo>
                    <a:pt x="319" y="10"/>
                  </a:lnTo>
                  <a:lnTo>
                    <a:pt x="320" y="13"/>
                  </a:lnTo>
                  <a:lnTo>
                    <a:pt x="320" y="380"/>
                  </a:lnTo>
                  <a:lnTo>
                    <a:pt x="319" y="384"/>
                  </a:lnTo>
                  <a:lnTo>
                    <a:pt x="317" y="389"/>
                  </a:lnTo>
                  <a:lnTo>
                    <a:pt x="314" y="392"/>
                  </a:lnTo>
                  <a:lnTo>
                    <a:pt x="310" y="393"/>
                  </a:lnTo>
                  <a:lnTo>
                    <a:pt x="305" y="394"/>
                  </a:lnTo>
                  <a:lnTo>
                    <a:pt x="15" y="394"/>
                  </a:lnTo>
                  <a:lnTo>
                    <a:pt x="10" y="393"/>
                  </a:lnTo>
                  <a:lnTo>
                    <a:pt x="6" y="392"/>
                  </a:lnTo>
                  <a:lnTo>
                    <a:pt x="3" y="389"/>
                  </a:lnTo>
                  <a:lnTo>
                    <a:pt x="1" y="384"/>
                  </a:lnTo>
                  <a:lnTo>
                    <a:pt x="0" y="380"/>
                  </a:lnTo>
                  <a:lnTo>
                    <a:pt x="0" y="13"/>
                  </a:lnTo>
                  <a:lnTo>
                    <a:pt x="1" y="10"/>
                  </a:lnTo>
                  <a:lnTo>
                    <a:pt x="2" y="7"/>
                  </a:lnTo>
                  <a:lnTo>
                    <a:pt x="5" y="4"/>
                  </a:lnTo>
                  <a:lnTo>
                    <a:pt x="8" y="2"/>
                  </a:lnTo>
                  <a:lnTo>
                    <a:pt x="11" y="1"/>
                  </a:lnTo>
                  <a:lnTo>
                    <a:pt x="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18">
              <a:extLst>
                <a:ext uri="{FF2B5EF4-FFF2-40B4-BE49-F238E27FC236}">
                  <a16:creationId xmlns:a16="http://schemas.microsoft.com/office/drawing/2014/main" id="{94D79758-AF21-5347-865F-7D55254F3FCB}"/>
                </a:ext>
              </a:extLst>
            </p:cNvPr>
            <p:cNvSpPr>
              <a:spLocks noEditPoints="1"/>
            </p:cNvSpPr>
            <p:nvPr/>
          </p:nvSpPr>
          <p:spPr bwMode="auto">
            <a:xfrm>
              <a:off x="6286501" y="2814638"/>
              <a:ext cx="292100" cy="344488"/>
            </a:xfrm>
            <a:custGeom>
              <a:avLst/>
              <a:gdLst>
                <a:gd name="T0" fmla="*/ 117 w 184"/>
                <a:gd name="T1" fmla="*/ 180 h 217"/>
                <a:gd name="T2" fmla="*/ 105 w 184"/>
                <a:gd name="T3" fmla="*/ 187 h 217"/>
                <a:gd name="T4" fmla="*/ 103 w 184"/>
                <a:gd name="T5" fmla="*/ 175 h 217"/>
                <a:gd name="T6" fmla="*/ 81 w 184"/>
                <a:gd name="T7" fmla="*/ 175 h 217"/>
                <a:gd name="T8" fmla="*/ 79 w 184"/>
                <a:gd name="T9" fmla="*/ 187 h 217"/>
                <a:gd name="T10" fmla="*/ 68 w 184"/>
                <a:gd name="T11" fmla="*/ 180 h 217"/>
                <a:gd name="T12" fmla="*/ 43 w 184"/>
                <a:gd name="T13" fmla="*/ 173 h 217"/>
                <a:gd name="T14" fmla="*/ 50 w 184"/>
                <a:gd name="T15" fmla="*/ 182 h 217"/>
                <a:gd name="T16" fmla="*/ 36 w 184"/>
                <a:gd name="T17" fmla="*/ 186 h 217"/>
                <a:gd name="T18" fmla="*/ 40 w 184"/>
                <a:gd name="T19" fmla="*/ 174 h 217"/>
                <a:gd name="T20" fmla="*/ 150 w 184"/>
                <a:gd name="T21" fmla="*/ 148 h 217"/>
                <a:gd name="T22" fmla="*/ 145 w 184"/>
                <a:gd name="T23" fmla="*/ 187 h 217"/>
                <a:gd name="T24" fmla="*/ 134 w 184"/>
                <a:gd name="T25" fmla="*/ 180 h 217"/>
                <a:gd name="T26" fmla="*/ 142 w 184"/>
                <a:gd name="T27" fmla="*/ 144 h 217"/>
                <a:gd name="T28" fmla="*/ 117 w 184"/>
                <a:gd name="T29" fmla="*/ 151 h 217"/>
                <a:gd name="T30" fmla="*/ 105 w 184"/>
                <a:gd name="T31" fmla="*/ 157 h 217"/>
                <a:gd name="T32" fmla="*/ 103 w 184"/>
                <a:gd name="T33" fmla="*/ 146 h 217"/>
                <a:gd name="T34" fmla="*/ 81 w 184"/>
                <a:gd name="T35" fmla="*/ 146 h 217"/>
                <a:gd name="T36" fmla="*/ 79 w 184"/>
                <a:gd name="T37" fmla="*/ 157 h 217"/>
                <a:gd name="T38" fmla="*/ 68 w 184"/>
                <a:gd name="T39" fmla="*/ 151 h 217"/>
                <a:gd name="T40" fmla="*/ 43 w 184"/>
                <a:gd name="T41" fmla="*/ 144 h 217"/>
                <a:gd name="T42" fmla="*/ 50 w 184"/>
                <a:gd name="T43" fmla="*/ 154 h 217"/>
                <a:gd name="T44" fmla="*/ 36 w 184"/>
                <a:gd name="T45" fmla="*/ 156 h 217"/>
                <a:gd name="T46" fmla="*/ 40 w 184"/>
                <a:gd name="T47" fmla="*/ 145 h 217"/>
                <a:gd name="T48" fmla="*/ 150 w 184"/>
                <a:gd name="T49" fmla="*/ 119 h 217"/>
                <a:gd name="T50" fmla="*/ 142 w 184"/>
                <a:gd name="T51" fmla="*/ 129 h 217"/>
                <a:gd name="T52" fmla="*/ 134 w 184"/>
                <a:gd name="T53" fmla="*/ 119 h 217"/>
                <a:gd name="T54" fmla="*/ 112 w 184"/>
                <a:gd name="T55" fmla="*/ 116 h 217"/>
                <a:gd name="T56" fmla="*/ 115 w 184"/>
                <a:gd name="T57" fmla="*/ 127 h 217"/>
                <a:gd name="T58" fmla="*/ 101 w 184"/>
                <a:gd name="T59" fmla="*/ 125 h 217"/>
                <a:gd name="T60" fmla="*/ 109 w 184"/>
                <a:gd name="T61" fmla="*/ 115 h 217"/>
                <a:gd name="T62" fmla="*/ 84 w 184"/>
                <a:gd name="T63" fmla="*/ 122 h 217"/>
                <a:gd name="T64" fmla="*/ 72 w 184"/>
                <a:gd name="T65" fmla="*/ 129 h 217"/>
                <a:gd name="T66" fmla="*/ 70 w 184"/>
                <a:gd name="T67" fmla="*/ 117 h 217"/>
                <a:gd name="T68" fmla="*/ 48 w 184"/>
                <a:gd name="T69" fmla="*/ 117 h 217"/>
                <a:gd name="T70" fmla="*/ 46 w 184"/>
                <a:gd name="T71" fmla="*/ 129 h 217"/>
                <a:gd name="T72" fmla="*/ 34 w 184"/>
                <a:gd name="T73" fmla="*/ 122 h 217"/>
                <a:gd name="T74" fmla="*/ 142 w 184"/>
                <a:gd name="T75" fmla="*/ 87 h 217"/>
                <a:gd name="T76" fmla="*/ 150 w 184"/>
                <a:gd name="T77" fmla="*/ 96 h 217"/>
                <a:gd name="T78" fmla="*/ 136 w 184"/>
                <a:gd name="T79" fmla="*/ 98 h 217"/>
                <a:gd name="T80" fmla="*/ 139 w 184"/>
                <a:gd name="T81" fmla="*/ 87 h 217"/>
                <a:gd name="T82" fmla="*/ 116 w 184"/>
                <a:gd name="T83" fmla="*/ 91 h 217"/>
                <a:gd name="T84" fmla="*/ 109 w 184"/>
                <a:gd name="T85" fmla="*/ 100 h 217"/>
                <a:gd name="T86" fmla="*/ 101 w 184"/>
                <a:gd name="T87" fmla="*/ 91 h 217"/>
                <a:gd name="T88" fmla="*/ 79 w 184"/>
                <a:gd name="T89" fmla="*/ 87 h 217"/>
                <a:gd name="T90" fmla="*/ 81 w 184"/>
                <a:gd name="T91" fmla="*/ 98 h 217"/>
                <a:gd name="T92" fmla="*/ 68 w 184"/>
                <a:gd name="T93" fmla="*/ 96 h 217"/>
                <a:gd name="T94" fmla="*/ 75 w 184"/>
                <a:gd name="T95" fmla="*/ 87 h 217"/>
                <a:gd name="T96" fmla="*/ 50 w 184"/>
                <a:gd name="T97" fmla="*/ 93 h 217"/>
                <a:gd name="T98" fmla="*/ 40 w 184"/>
                <a:gd name="T99" fmla="*/ 100 h 217"/>
                <a:gd name="T100" fmla="*/ 36 w 184"/>
                <a:gd name="T101" fmla="*/ 88 h 217"/>
                <a:gd name="T102" fmla="*/ 134 w 184"/>
                <a:gd name="T103" fmla="*/ 58 h 217"/>
                <a:gd name="T104" fmla="*/ 145 w 184"/>
                <a:gd name="T105" fmla="*/ 29 h 217"/>
                <a:gd name="T106" fmla="*/ 150 w 184"/>
                <a:gd name="T107" fmla="*/ 68 h 217"/>
                <a:gd name="T108" fmla="*/ 40 w 184"/>
                <a:gd name="T109" fmla="*/ 71 h 217"/>
                <a:gd name="T110" fmla="*/ 34 w 184"/>
                <a:gd name="T111" fmla="*/ 33 h 217"/>
                <a:gd name="T112" fmla="*/ 18 w 184"/>
                <a:gd name="T113" fmla="*/ 201 h 217"/>
                <a:gd name="T114" fmla="*/ 175 w 184"/>
                <a:gd name="T115" fmla="*/ 0 h 217"/>
                <a:gd name="T116" fmla="*/ 184 w 184"/>
                <a:gd name="T117" fmla="*/ 209 h 217"/>
                <a:gd name="T118" fmla="*/ 8 w 184"/>
                <a:gd name="T119" fmla="*/ 217 h 217"/>
                <a:gd name="T120" fmla="*/ 0 w 184"/>
                <a:gd name="T1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4" h="217">
                  <a:moveTo>
                    <a:pt x="109" y="173"/>
                  </a:moveTo>
                  <a:lnTo>
                    <a:pt x="112" y="174"/>
                  </a:lnTo>
                  <a:lnTo>
                    <a:pt x="115" y="175"/>
                  </a:lnTo>
                  <a:lnTo>
                    <a:pt x="116" y="177"/>
                  </a:lnTo>
                  <a:lnTo>
                    <a:pt x="117" y="180"/>
                  </a:lnTo>
                  <a:lnTo>
                    <a:pt x="116" y="182"/>
                  </a:lnTo>
                  <a:lnTo>
                    <a:pt x="115" y="186"/>
                  </a:lnTo>
                  <a:lnTo>
                    <a:pt x="112" y="187"/>
                  </a:lnTo>
                  <a:lnTo>
                    <a:pt x="109" y="188"/>
                  </a:lnTo>
                  <a:lnTo>
                    <a:pt x="105" y="187"/>
                  </a:lnTo>
                  <a:lnTo>
                    <a:pt x="103" y="186"/>
                  </a:lnTo>
                  <a:lnTo>
                    <a:pt x="101" y="182"/>
                  </a:lnTo>
                  <a:lnTo>
                    <a:pt x="100" y="180"/>
                  </a:lnTo>
                  <a:lnTo>
                    <a:pt x="101" y="177"/>
                  </a:lnTo>
                  <a:lnTo>
                    <a:pt x="103" y="175"/>
                  </a:lnTo>
                  <a:lnTo>
                    <a:pt x="105" y="174"/>
                  </a:lnTo>
                  <a:lnTo>
                    <a:pt x="109" y="173"/>
                  </a:lnTo>
                  <a:close/>
                  <a:moveTo>
                    <a:pt x="75" y="173"/>
                  </a:moveTo>
                  <a:lnTo>
                    <a:pt x="79" y="174"/>
                  </a:lnTo>
                  <a:lnTo>
                    <a:pt x="81" y="175"/>
                  </a:lnTo>
                  <a:lnTo>
                    <a:pt x="83" y="177"/>
                  </a:lnTo>
                  <a:lnTo>
                    <a:pt x="84" y="180"/>
                  </a:lnTo>
                  <a:lnTo>
                    <a:pt x="83" y="182"/>
                  </a:lnTo>
                  <a:lnTo>
                    <a:pt x="81" y="186"/>
                  </a:lnTo>
                  <a:lnTo>
                    <a:pt x="79" y="187"/>
                  </a:lnTo>
                  <a:lnTo>
                    <a:pt x="75" y="188"/>
                  </a:lnTo>
                  <a:lnTo>
                    <a:pt x="72" y="187"/>
                  </a:lnTo>
                  <a:lnTo>
                    <a:pt x="70" y="186"/>
                  </a:lnTo>
                  <a:lnTo>
                    <a:pt x="68" y="182"/>
                  </a:lnTo>
                  <a:lnTo>
                    <a:pt x="68" y="180"/>
                  </a:lnTo>
                  <a:lnTo>
                    <a:pt x="68" y="177"/>
                  </a:lnTo>
                  <a:lnTo>
                    <a:pt x="70" y="175"/>
                  </a:lnTo>
                  <a:lnTo>
                    <a:pt x="72" y="174"/>
                  </a:lnTo>
                  <a:lnTo>
                    <a:pt x="75" y="173"/>
                  </a:lnTo>
                  <a:close/>
                  <a:moveTo>
                    <a:pt x="43" y="173"/>
                  </a:moveTo>
                  <a:lnTo>
                    <a:pt x="46" y="174"/>
                  </a:lnTo>
                  <a:lnTo>
                    <a:pt x="48" y="175"/>
                  </a:lnTo>
                  <a:lnTo>
                    <a:pt x="50" y="177"/>
                  </a:lnTo>
                  <a:lnTo>
                    <a:pt x="50" y="180"/>
                  </a:lnTo>
                  <a:lnTo>
                    <a:pt x="50" y="182"/>
                  </a:lnTo>
                  <a:lnTo>
                    <a:pt x="48" y="186"/>
                  </a:lnTo>
                  <a:lnTo>
                    <a:pt x="46" y="187"/>
                  </a:lnTo>
                  <a:lnTo>
                    <a:pt x="43" y="188"/>
                  </a:lnTo>
                  <a:lnTo>
                    <a:pt x="40" y="187"/>
                  </a:lnTo>
                  <a:lnTo>
                    <a:pt x="36" y="186"/>
                  </a:lnTo>
                  <a:lnTo>
                    <a:pt x="34" y="182"/>
                  </a:lnTo>
                  <a:lnTo>
                    <a:pt x="34" y="180"/>
                  </a:lnTo>
                  <a:lnTo>
                    <a:pt x="34" y="177"/>
                  </a:lnTo>
                  <a:lnTo>
                    <a:pt x="36" y="175"/>
                  </a:lnTo>
                  <a:lnTo>
                    <a:pt x="40" y="174"/>
                  </a:lnTo>
                  <a:lnTo>
                    <a:pt x="43" y="173"/>
                  </a:lnTo>
                  <a:close/>
                  <a:moveTo>
                    <a:pt x="142" y="144"/>
                  </a:moveTo>
                  <a:lnTo>
                    <a:pt x="145" y="145"/>
                  </a:lnTo>
                  <a:lnTo>
                    <a:pt x="147" y="146"/>
                  </a:lnTo>
                  <a:lnTo>
                    <a:pt x="150" y="148"/>
                  </a:lnTo>
                  <a:lnTo>
                    <a:pt x="151" y="151"/>
                  </a:lnTo>
                  <a:lnTo>
                    <a:pt x="151" y="180"/>
                  </a:lnTo>
                  <a:lnTo>
                    <a:pt x="150" y="182"/>
                  </a:lnTo>
                  <a:lnTo>
                    <a:pt x="147" y="186"/>
                  </a:lnTo>
                  <a:lnTo>
                    <a:pt x="145" y="187"/>
                  </a:lnTo>
                  <a:lnTo>
                    <a:pt x="142" y="188"/>
                  </a:lnTo>
                  <a:lnTo>
                    <a:pt x="139" y="187"/>
                  </a:lnTo>
                  <a:lnTo>
                    <a:pt x="136" y="186"/>
                  </a:lnTo>
                  <a:lnTo>
                    <a:pt x="134" y="182"/>
                  </a:lnTo>
                  <a:lnTo>
                    <a:pt x="134" y="180"/>
                  </a:lnTo>
                  <a:lnTo>
                    <a:pt x="134" y="151"/>
                  </a:lnTo>
                  <a:lnTo>
                    <a:pt x="134" y="148"/>
                  </a:lnTo>
                  <a:lnTo>
                    <a:pt x="136" y="146"/>
                  </a:lnTo>
                  <a:lnTo>
                    <a:pt x="139" y="145"/>
                  </a:lnTo>
                  <a:lnTo>
                    <a:pt x="142" y="144"/>
                  </a:lnTo>
                  <a:close/>
                  <a:moveTo>
                    <a:pt x="109" y="144"/>
                  </a:moveTo>
                  <a:lnTo>
                    <a:pt x="112" y="145"/>
                  </a:lnTo>
                  <a:lnTo>
                    <a:pt x="115" y="146"/>
                  </a:lnTo>
                  <a:lnTo>
                    <a:pt x="116" y="148"/>
                  </a:lnTo>
                  <a:lnTo>
                    <a:pt x="117" y="151"/>
                  </a:lnTo>
                  <a:lnTo>
                    <a:pt x="116" y="154"/>
                  </a:lnTo>
                  <a:lnTo>
                    <a:pt x="115" y="156"/>
                  </a:lnTo>
                  <a:lnTo>
                    <a:pt x="112" y="157"/>
                  </a:lnTo>
                  <a:lnTo>
                    <a:pt x="109" y="159"/>
                  </a:lnTo>
                  <a:lnTo>
                    <a:pt x="105" y="157"/>
                  </a:lnTo>
                  <a:lnTo>
                    <a:pt x="103" y="156"/>
                  </a:lnTo>
                  <a:lnTo>
                    <a:pt x="101" y="154"/>
                  </a:lnTo>
                  <a:lnTo>
                    <a:pt x="100" y="151"/>
                  </a:lnTo>
                  <a:lnTo>
                    <a:pt x="101" y="148"/>
                  </a:lnTo>
                  <a:lnTo>
                    <a:pt x="103" y="146"/>
                  </a:lnTo>
                  <a:lnTo>
                    <a:pt x="105" y="145"/>
                  </a:lnTo>
                  <a:lnTo>
                    <a:pt x="109" y="144"/>
                  </a:lnTo>
                  <a:close/>
                  <a:moveTo>
                    <a:pt x="75" y="144"/>
                  </a:moveTo>
                  <a:lnTo>
                    <a:pt x="79" y="145"/>
                  </a:lnTo>
                  <a:lnTo>
                    <a:pt x="81" y="146"/>
                  </a:lnTo>
                  <a:lnTo>
                    <a:pt x="83" y="148"/>
                  </a:lnTo>
                  <a:lnTo>
                    <a:pt x="84" y="151"/>
                  </a:lnTo>
                  <a:lnTo>
                    <a:pt x="83" y="154"/>
                  </a:lnTo>
                  <a:lnTo>
                    <a:pt x="81" y="156"/>
                  </a:lnTo>
                  <a:lnTo>
                    <a:pt x="79" y="157"/>
                  </a:lnTo>
                  <a:lnTo>
                    <a:pt x="75" y="159"/>
                  </a:lnTo>
                  <a:lnTo>
                    <a:pt x="72" y="157"/>
                  </a:lnTo>
                  <a:lnTo>
                    <a:pt x="70" y="156"/>
                  </a:lnTo>
                  <a:lnTo>
                    <a:pt x="68" y="154"/>
                  </a:lnTo>
                  <a:lnTo>
                    <a:pt x="68" y="151"/>
                  </a:lnTo>
                  <a:lnTo>
                    <a:pt x="68" y="148"/>
                  </a:lnTo>
                  <a:lnTo>
                    <a:pt x="70" y="146"/>
                  </a:lnTo>
                  <a:lnTo>
                    <a:pt x="72" y="145"/>
                  </a:lnTo>
                  <a:lnTo>
                    <a:pt x="75" y="144"/>
                  </a:lnTo>
                  <a:close/>
                  <a:moveTo>
                    <a:pt x="43" y="144"/>
                  </a:moveTo>
                  <a:lnTo>
                    <a:pt x="46" y="145"/>
                  </a:lnTo>
                  <a:lnTo>
                    <a:pt x="48" y="146"/>
                  </a:lnTo>
                  <a:lnTo>
                    <a:pt x="50" y="148"/>
                  </a:lnTo>
                  <a:lnTo>
                    <a:pt x="50" y="151"/>
                  </a:lnTo>
                  <a:lnTo>
                    <a:pt x="50" y="154"/>
                  </a:lnTo>
                  <a:lnTo>
                    <a:pt x="48" y="156"/>
                  </a:lnTo>
                  <a:lnTo>
                    <a:pt x="46" y="157"/>
                  </a:lnTo>
                  <a:lnTo>
                    <a:pt x="43" y="159"/>
                  </a:lnTo>
                  <a:lnTo>
                    <a:pt x="40" y="157"/>
                  </a:lnTo>
                  <a:lnTo>
                    <a:pt x="36" y="156"/>
                  </a:lnTo>
                  <a:lnTo>
                    <a:pt x="34" y="154"/>
                  </a:lnTo>
                  <a:lnTo>
                    <a:pt x="34" y="151"/>
                  </a:lnTo>
                  <a:lnTo>
                    <a:pt x="34" y="148"/>
                  </a:lnTo>
                  <a:lnTo>
                    <a:pt x="36" y="146"/>
                  </a:lnTo>
                  <a:lnTo>
                    <a:pt x="40" y="145"/>
                  </a:lnTo>
                  <a:lnTo>
                    <a:pt x="43" y="144"/>
                  </a:lnTo>
                  <a:close/>
                  <a:moveTo>
                    <a:pt x="142" y="115"/>
                  </a:moveTo>
                  <a:lnTo>
                    <a:pt x="145" y="116"/>
                  </a:lnTo>
                  <a:lnTo>
                    <a:pt x="147" y="117"/>
                  </a:lnTo>
                  <a:lnTo>
                    <a:pt x="150" y="119"/>
                  </a:lnTo>
                  <a:lnTo>
                    <a:pt x="151" y="122"/>
                  </a:lnTo>
                  <a:lnTo>
                    <a:pt x="150" y="125"/>
                  </a:lnTo>
                  <a:lnTo>
                    <a:pt x="147" y="127"/>
                  </a:lnTo>
                  <a:lnTo>
                    <a:pt x="145" y="129"/>
                  </a:lnTo>
                  <a:lnTo>
                    <a:pt x="142" y="129"/>
                  </a:lnTo>
                  <a:lnTo>
                    <a:pt x="139" y="129"/>
                  </a:lnTo>
                  <a:lnTo>
                    <a:pt x="136" y="127"/>
                  </a:lnTo>
                  <a:lnTo>
                    <a:pt x="134" y="125"/>
                  </a:lnTo>
                  <a:lnTo>
                    <a:pt x="134" y="122"/>
                  </a:lnTo>
                  <a:lnTo>
                    <a:pt x="134" y="119"/>
                  </a:lnTo>
                  <a:lnTo>
                    <a:pt x="136" y="117"/>
                  </a:lnTo>
                  <a:lnTo>
                    <a:pt x="139" y="116"/>
                  </a:lnTo>
                  <a:lnTo>
                    <a:pt x="142" y="115"/>
                  </a:lnTo>
                  <a:close/>
                  <a:moveTo>
                    <a:pt x="109" y="115"/>
                  </a:moveTo>
                  <a:lnTo>
                    <a:pt x="112" y="116"/>
                  </a:lnTo>
                  <a:lnTo>
                    <a:pt x="115" y="117"/>
                  </a:lnTo>
                  <a:lnTo>
                    <a:pt x="116" y="119"/>
                  </a:lnTo>
                  <a:lnTo>
                    <a:pt x="117" y="122"/>
                  </a:lnTo>
                  <a:lnTo>
                    <a:pt x="116" y="125"/>
                  </a:lnTo>
                  <a:lnTo>
                    <a:pt x="115" y="127"/>
                  </a:lnTo>
                  <a:lnTo>
                    <a:pt x="112" y="129"/>
                  </a:lnTo>
                  <a:lnTo>
                    <a:pt x="109" y="129"/>
                  </a:lnTo>
                  <a:lnTo>
                    <a:pt x="105" y="129"/>
                  </a:lnTo>
                  <a:lnTo>
                    <a:pt x="103" y="127"/>
                  </a:lnTo>
                  <a:lnTo>
                    <a:pt x="101" y="125"/>
                  </a:lnTo>
                  <a:lnTo>
                    <a:pt x="100" y="122"/>
                  </a:lnTo>
                  <a:lnTo>
                    <a:pt x="101" y="119"/>
                  </a:lnTo>
                  <a:lnTo>
                    <a:pt x="103" y="117"/>
                  </a:lnTo>
                  <a:lnTo>
                    <a:pt x="105" y="116"/>
                  </a:lnTo>
                  <a:lnTo>
                    <a:pt x="109" y="115"/>
                  </a:lnTo>
                  <a:close/>
                  <a:moveTo>
                    <a:pt x="75" y="115"/>
                  </a:moveTo>
                  <a:lnTo>
                    <a:pt x="79" y="116"/>
                  </a:lnTo>
                  <a:lnTo>
                    <a:pt x="81" y="117"/>
                  </a:lnTo>
                  <a:lnTo>
                    <a:pt x="83" y="119"/>
                  </a:lnTo>
                  <a:lnTo>
                    <a:pt x="84" y="122"/>
                  </a:lnTo>
                  <a:lnTo>
                    <a:pt x="83" y="125"/>
                  </a:lnTo>
                  <a:lnTo>
                    <a:pt x="81" y="127"/>
                  </a:lnTo>
                  <a:lnTo>
                    <a:pt x="79" y="129"/>
                  </a:lnTo>
                  <a:lnTo>
                    <a:pt x="75" y="129"/>
                  </a:lnTo>
                  <a:lnTo>
                    <a:pt x="72" y="129"/>
                  </a:lnTo>
                  <a:lnTo>
                    <a:pt x="70" y="127"/>
                  </a:lnTo>
                  <a:lnTo>
                    <a:pt x="68" y="125"/>
                  </a:lnTo>
                  <a:lnTo>
                    <a:pt x="68" y="122"/>
                  </a:lnTo>
                  <a:lnTo>
                    <a:pt x="68" y="119"/>
                  </a:lnTo>
                  <a:lnTo>
                    <a:pt x="70" y="117"/>
                  </a:lnTo>
                  <a:lnTo>
                    <a:pt x="72" y="116"/>
                  </a:lnTo>
                  <a:lnTo>
                    <a:pt x="75" y="115"/>
                  </a:lnTo>
                  <a:close/>
                  <a:moveTo>
                    <a:pt x="43" y="115"/>
                  </a:moveTo>
                  <a:lnTo>
                    <a:pt x="46" y="116"/>
                  </a:lnTo>
                  <a:lnTo>
                    <a:pt x="48" y="117"/>
                  </a:lnTo>
                  <a:lnTo>
                    <a:pt x="50" y="119"/>
                  </a:lnTo>
                  <a:lnTo>
                    <a:pt x="50" y="122"/>
                  </a:lnTo>
                  <a:lnTo>
                    <a:pt x="50" y="125"/>
                  </a:lnTo>
                  <a:lnTo>
                    <a:pt x="48" y="127"/>
                  </a:lnTo>
                  <a:lnTo>
                    <a:pt x="46" y="129"/>
                  </a:lnTo>
                  <a:lnTo>
                    <a:pt x="43" y="129"/>
                  </a:lnTo>
                  <a:lnTo>
                    <a:pt x="40" y="129"/>
                  </a:lnTo>
                  <a:lnTo>
                    <a:pt x="36" y="127"/>
                  </a:lnTo>
                  <a:lnTo>
                    <a:pt x="34" y="125"/>
                  </a:lnTo>
                  <a:lnTo>
                    <a:pt x="34" y="122"/>
                  </a:lnTo>
                  <a:lnTo>
                    <a:pt x="34" y="119"/>
                  </a:lnTo>
                  <a:lnTo>
                    <a:pt x="36" y="117"/>
                  </a:lnTo>
                  <a:lnTo>
                    <a:pt x="40" y="116"/>
                  </a:lnTo>
                  <a:lnTo>
                    <a:pt x="43" y="115"/>
                  </a:lnTo>
                  <a:close/>
                  <a:moveTo>
                    <a:pt x="142" y="87"/>
                  </a:moveTo>
                  <a:lnTo>
                    <a:pt x="145" y="87"/>
                  </a:lnTo>
                  <a:lnTo>
                    <a:pt x="147" y="88"/>
                  </a:lnTo>
                  <a:lnTo>
                    <a:pt x="150" y="91"/>
                  </a:lnTo>
                  <a:lnTo>
                    <a:pt x="151" y="93"/>
                  </a:lnTo>
                  <a:lnTo>
                    <a:pt x="150" y="96"/>
                  </a:lnTo>
                  <a:lnTo>
                    <a:pt x="147" y="98"/>
                  </a:lnTo>
                  <a:lnTo>
                    <a:pt x="145" y="100"/>
                  </a:lnTo>
                  <a:lnTo>
                    <a:pt x="142" y="100"/>
                  </a:lnTo>
                  <a:lnTo>
                    <a:pt x="139" y="100"/>
                  </a:lnTo>
                  <a:lnTo>
                    <a:pt x="136" y="98"/>
                  </a:lnTo>
                  <a:lnTo>
                    <a:pt x="134" y="96"/>
                  </a:lnTo>
                  <a:lnTo>
                    <a:pt x="134" y="93"/>
                  </a:lnTo>
                  <a:lnTo>
                    <a:pt x="134" y="91"/>
                  </a:lnTo>
                  <a:lnTo>
                    <a:pt x="136" y="88"/>
                  </a:lnTo>
                  <a:lnTo>
                    <a:pt x="139" y="87"/>
                  </a:lnTo>
                  <a:lnTo>
                    <a:pt x="142" y="87"/>
                  </a:lnTo>
                  <a:close/>
                  <a:moveTo>
                    <a:pt x="109" y="87"/>
                  </a:moveTo>
                  <a:lnTo>
                    <a:pt x="112" y="87"/>
                  </a:lnTo>
                  <a:lnTo>
                    <a:pt x="115" y="88"/>
                  </a:lnTo>
                  <a:lnTo>
                    <a:pt x="116" y="91"/>
                  </a:lnTo>
                  <a:lnTo>
                    <a:pt x="117" y="93"/>
                  </a:lnTo>
                  <a:lnTo>
                    <a:pt x="116" y="96"/>
                  </a:lnTo>
                  <a:lnTo>
                    <a:pt x="115" y="98"/>
                  </a:lnTo>
                  <a:lnTo>
                    <a:pt x="112" y="100"/>
                  </a:lnTo>
                  <a:lnTo>
                    <a:pt x="109" y="100"/>
                  </a:lnTo>
                  <a:lnTo>
                    <a:pt x="105" y="100"/>
                  </a:lnTo>
                  <a:lnTo>
                    <a:pt x="103" y="98"/>
                  </a:lnTo>
                  <a:lnTo>
                    <a:pt x="101" y="96"/>
                  </a:lnTo>
                  <a:lnTo>
                    <a:pt x="100" y="93"/>
                  </a:lnTo>
                  <a:lnTo>
                    <a:pt x="101" y="91"/>
                  </a:lnTo>
                  <a:lnTo>
                    <a:pt x="103" y="88"/>
                  </a:lnTo>
                  <a:lnTo>
                    <a:pt x="105" y="87"/>
                  </a:lnTo>
                  <a:lnTo>
                    <a:pt x="109" y="87"/>
                  </a:lnTo>
                  <a:close/>
                  <a:moveTo>
                    <a:pt x="75" y="87"/>
                  </a:moveTo>
                  <a:lnTo>
                    <a:pt x="79" y="87"/>
                  </a:lnTo>
                  <a:lnTo>
                    <a:pt x="81" y="88"/>
                  </a:lnTo>
                  <a:lnTo>
                    <a:pt x="83" y="91"/>
                  </a:lnTo>
                  <a:lnTo>
                    <a:pt x="84" y="93"/>
                  </a:lnTo>
                  <a:lnTo>
                    <a:pt x="83" y="96"/>
                  </a:lnTo>
                  <a:lnTo>
                    <a:pt x="81" y="98"/>
                  </a:lnTo>
                  <a:lnTo>
                    <a:pt x="79" y="100"/>
                  </a:lnTo>
                  <a:lnTo>
                    <a:pt x="75" y="100"/>
                  </a:lnTo>
                  <a:lnTo>
                    <a:pt x="72" y="100"/>
                  </a:lnTo>
                  <a:lnTo>
                    <a:pt x="70" y="98"/>
                  </a:lnTo>
                  <a:lnTo>
                    <a:pt x="68" y="96"/>
                  </a:lnTo>
                  <a:lnTo>
                    <a:pt x="68" y="93"/>
                  </a:lnTo>
                  <a:lnTo>
                    <a:pt x="68" y="91"/>
                  </a:lnTo>
                  <a:lnTo>
                    <a:pt x="70" y="88"/>
                  </a:lnTo>
                  <a:lnTo>
                    <a:pt x="72" y="87"/>
                  </a:lnTo>
                  <a:lnTo>
                    <a:pt x="75" y="87"/>
                  </a:lnTo>
                  <a:close/>
                  <a:moveTo>
                    <a:pt x="43" y="87"/>
                  </a:moveTo>
                  <a:lnTo>
                    <a:pt x="46" y="87"/>
                  </a:lnTo>
                  <a:lnTo>
                    <a:pt x="48" y="88"/>
                  </a:lnTo>
                  <a:lnTo>
                    <a:pt x="50" y="91"/>
                  </a:lnTo>
                  <a:lnTo>
                    <a:pt x="50" y="93"/>
                  </a:lnTo>
                  <a:lnTo>
                    <a:pt x="50" y="96"/>
                  </a:lnTo>
                  <a:lnTo>
                    <a:pt x="48" y="98"/>
                  </a:lnTo>
                  <a:lnTo>
                    <a:pt x="46" y="100"/>
                  </a:lnTo>
                  <a:lnTo>
                    <a:pt x="43" y="100"/>
                  </a:lnTo>
                  <a:lnTo>
                    <a:pt x="40" y="100"/>
                  </a:lnTo>
                  <a:lnTo>
                    <a:pt x="36" y="98"/>
                  </a:lnTo>
                  <a:lnTo>
                    <a:pt x="34" y="96"/>
                  </a:lnTo>
                  <a:lnTo>
                    <a:pt x="34" y="93"/>
                  </a:lnTo>
                  <a:lnTo>
                    <a:pt x="34" y="91"/>
                  </a:lnTo>
                  <a:lnTo>
                    <a:pt x="36" y="88"/>
                  </a:lnTo>
                  <a:lnTo>
                    <a:pt x="40" y="87"/>
                  </a:lnTo>
                  <a:lnTo>
                    <a:pt x="43" y="87"/>
                  </a:lnTo>
                  <a:close/>
                  <a:moveTo>
                    <a:pt x="50" y="43"/>
                  </a:moveTo>
                  <a:lnTo>
                    <a:pt x="50" y="58"/>
                  </a:lnTo>
                  <a:lnTo>
                    <a:pt x="134" y="58"/>
                  </a:lnTo>
                  <a:lnTo>
                    <a:pt x="134" y="43"/>
                  </a:lnTo>
                  <a:lnTo>
                    <a:pt x="50" y="43"/>
                  </a:lnTo>
                  <a:close/>
                  <a:moveTo>
                    <a:pt x="43" y="29"/>
                  </a:moveTo>
                  <a:lnTo>
                    <a:pt x="142" y="29"/>
                  </a:lnTo>
                  <a:lnTo>
                    <a:pt x="145" y="29"/>
                  </a:lnTo>
                  <a:lnTo>
                    <a:pt x="147" y="31"/>
                  </a:lnTo>
                  <a:lnTo>
                    <a:pt x="150" y="33"/>
                  </a:lnTo>
                  <a:lnTo>
                    <a:pt x="151" y="36"/>
                  </a:lnTo>
                  <a:lnTo>
                    <a:pt x="151" y="65"/>
                  </a:lnTo>
                  <a:lnTo>
                    <a:pt x="150" y="68"/>
                  </a:lnTo>
                  <a:lnTo>
                    <a:pt x="147" y="70"/>
                  </a:lnTo>
                  <a:lnTo>
                    <a:pt x="145" y="71"/>
                  </a:lnTo>
                  <a:lnTo>
                    <a:pt x="142" y="71"/>
                  </a:lnTo>
                  <a:lnTo>
                    <a:pt x="43" y="71"/>
                  </a:lnTo>
                  <a:lnTo>
                    <a:pt x="40" y="71"/>
                  </a:lnTo>
                  <a:lnTo>
                    <a:pt x="36" y="70"/>
                  </a:lnTo>
                  <a:lnTo>
                    <a:pt x="34" y="68"/>
                  </a:lnTo>
                  <a:lnTo>
                    <a:pt x="34" y="65"/>
                  </a:lnTo>
                  <a:lnTo>
                    <a:pt x="34" y="36"/>
                  </a:lnTo>
                  <a:lnTo>
                    <a:pt x="34" y="33"/>
                  </a:lnTo>
                  <a:lnTo>
                    <a:pt x="36" y="31"/>
                  </a:lnTo>
                  <a:lnTo>
                    <a:pt x="40" y="29"/>
                  </a:lnTo>
                  <a:lnTo>
                    <a:pt x="43" y="29"/>
                  </a:lnTo>
                  <a:close/>
                  <a:moveTo>
                    <a:pt x="18" y="14"/>
                  </a:moveTo>
                  <a:lnTo>
                    <a:pt x="18" y="201"/>
                  </a:lnTo>
                  <a:lnTo>
                    <a:pt x="167" y="201"/>
                  </a:lnTo>
                  <a:lnTo>
                    <a:pt x="167" y="14"/>
                  </a:lnTo>
                  <a:lnTo>
                    <a:pt x="18" y="14"/>
                  </a:lnTo>
                  <a:close/>
                  <a:moveTo>
                    <a:pt x="8" y="0"/>
                  </a:moveTo>
                  <a:lnTo>
                    <a:pt x="175" y="0"/>
                  </a:lnTo>
                  <a:lnTo>
                    <a:pt x="179" y="1"/>
                  </a:lnTo>
                  <a:lnTo>
                    <a:pt x="181" y="2"/>
                  </a:lnTo>
                  <a:lnTo>
                    <a:pt x="183" y="4"/>
                  </a:lnTo>
                  <a:lnTo>
                    <a:pt x="184" y="7"/>
                  </a:lnTo>
                  <a:lnTo>
                    <a:pt x="184" y="209"/>
                  </a:lnTo>
                  <a:lnTo>
                    <a:pt x="183" y="211"/>
                  </a:lnTo>
                  <a:lnTo>
                    <a:pt x="181" y="215"/>
                  </a:lnTo>
                  <a:lnTo>
                    <a:pt x="179" y="216"/>
                  </a:lnTo>
                  <a:lnTo>
                    <a:pt x="175" y="217"/>
                  </a:lnTo>
                  <a:lnTo>
                    <a:pt x="8" y="217"/>
                  </a:lnTo>
                  <a:lnTo>
                    <a:pt x="5" y="216"/>
                  </a:lnTo>
                  <a:lnTo>
                    <a:pt x="3" y="215"/>
                  </a:lnTo>
                  <a:lnTo>
                    <a:pt x="1" y="211"/>
                  </a:lnTo>
                  <a:lnTo>
                    <a:pt x="0" y="209"/>
                  </a:lnTo>
                  <a:lnTo>
                    <a:pt x="0" y="7"/>
                  </a:lnTo>
                  <a:lnTo>
                    <a:pt x="1" y="4"/>
                  </a:lnTo>
                  <a:lnTo>
                    <a:pt x="3" y="2"/>
                  </a:lnTo>
                  <a:lnTo>
                    <a:pt x="5" y="1"/>
                  </a:lnTo>
                  <a:lnTo>
                    <a:pt x="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19">
              <a:extLst>
                <a:ext uri="{FF2B5EF4-FFF2-40B4-BE49-F238E27FC236}">
                  <a16:creationId xmlns:a16="http://schemas.microsoft.com/office/drawing/2014/main" id="{A53FF9D9-ED70-9942-9872-D7D7FBD6DF9B}"/>
                </a:ext>
              </a:extLst>
            </p:cNvPr>
            <p:cNvSpPr>
              <a:spLocks noEditPoints="1"/>
            </p:cNvSpPr>
            <p:nvPr/>
          </p:nvSpPr>
          <p:spPr bwMode="auto">
            <a:xfrm>
              <a:off x="3373438" y="1687513"/>
              <a:ext cx="254000" cy="311150"/>
            </a:xfrm>
            <a:custGeom>
              <a:avLst/>
              <a:gdLst>
                <a:gd name="T0" fmla="*/ 102 w 160"/>
                <a:gd name="T1" fmla="*/ 163 h 196"/>
                <a:gd name="T2" fmla="*/ 92 w 160"/>
                <a:gd name="T3" fmla="*/ 169 h 196"/>
                <a:gd name="T4" fmla="*/ 90 w 160"/>
                <a:gd name="T5" fmla="*/ 158 h 196"/>
                <a:gd name="T6" fmla="*/ 71 w 160"/>
                <a:gd name="T7" fmla="*/ 158 h 196"/>
                <a:gd name="T8" fmla="*/ 68 w 160"/>
                <a:gd name="T9" fmla="*/ 169 h 196"/>
                <a:gd name="T10" fmla="*/ 59 w 160"/>
                <a:gd name="T11" fmla="*/ 163 h 196"/>
                <a:gd name="T12" fmla="*/ 37 w 160"/>
                <a:gd name="T13" fmla="*/ 156 h 196"/>
                <a:gd name="T14" fmla="*/ 43 w 160"/>
                <a:gd name="T15" fmla="*/ 166 h 196"/>
                <a:gd name="T16" fmla="*/ 32 w 160"/>
                <a:gd name="T17" fmla="*/ 168 h 196"/>
                <a:gd name="T18" fmla="*/ 34 w 160"/>
                <a:gd name="T19" fmla="*/ 157 h 196"/>
                <a:gd name="T20" fmla="*/ 130 w 160"/>
                <a:gd name="T21" fmla="*/ 135 h 196"/>
                <a:gd name="T22" fmla="*/ 127 w 160"/>
                <a:gd name="T23" fmla="*/ 169 h 196"/>
                <a:gd name="T24" fmla="*/ 117 w 160"/>
                <a:gd name="T25" fmla="*/ 163 h 196"/>
                <a:gd name="T26" fmla="*/ 124 w 160"/>
                <a:gd name="T27" fmla="*/ 130 h 196"/>
                <a:gd name="T28" fmla="*/ 102 w 160"/>
                <a:gd name="T29" fmla="*/ 138 h 196"/>
                <a:gd name="T30" fmla="*/ 92 w 160"/>
                <a:gd name="T31" fmla="*/ 143 h 196"/>
                <a:gd name="T32" fmla="*/ 90 w 160"/>
                <a:gd name="T33" fmla="*/ 132 h 196"/>
                <a:gd name="T34" fmla="*/ 71 w 160"/>
                <a:gd name="T35" fmla="*/ 132 h 196"/>
                <a:gd name="T36" fmla="*/ 68 w 160"/>
                <a:gd name="T37" fmla="*/ 143 h 196"/>
                <a:gd name="T38" fmla="*/ 59 w 160"/>
                <a:gd name="T39" fmla="*/ 138 h 196"/>
                <a:gd name="T40" fmla="*/ 37 w 160"/>
                <a:gd name="T41" fmla="*/ 130 h 196"/>
                <a:gd name="T42" fmla="*/ 43 w 160"/>
                <a:gd name="T43" fmla="*/ 140 h 196"/>
                <a:gd name="T44" fmla="*/ 32 w 160"/>
                <a:gd name="T45" fmla="*/ 142 h 196"/>
                <a:gd name="T46" fmla="*/ 34 w 160"/>
                <a:gd name="T47" fmla="*/ 131 h 196"/>
                <a:gd name="T48" fmla="*/ 130 w 160"/>
                <a:gd name="T49" fmla="*/ 109 h 196"/>
                <a:gd name="T50" fmla="*/ 124 w 160"/>
                <a:gd name="T51" fmla="*/ 118 h 196"/>
                <a:gd name="T52" fmla="*/ 117 w 160"/>
                <a:gd name="T53" fmla="*/ 109 h 196"/>
                <a:gd name="T54" fmla="*/ 98 w 160"/>
                <a:gd name="T55" fmla="*/ 104 h 196"/>
                <a:gd name="T56" fmla="*/ 100 w 160"/>
                <a:gd name="T57" fmla="*/ 116 h 196"/>
                <a:gd name="T58" fmla="*/ 88 w 160"/>
                <a:gd name="T59" fmla="*/ 114 h 196"/>
                <a:gd name="T60" fmla="*/ 95 w 160"/>
                <a:gd name="T61" fmla="*/ 104 h 196"/>
                <a:gd name="T62" fmla="*/ 73 w 160"/>
                <a:gd name="T63" fmla="*/ 111 h 196"/>
                <a:gd name="T64" fmla="*/ 63 w 160"/>
                <a:gd name="T65" fmla="*/ 117 h 196"/>
                <a:gd name="T66" fmla="*/ 61 w 160"/>
                <a:gd name="T67" fmla="*/ 107 h 196"/>
                <a:gd name="T68" fmla="*/ 42 w 160"/>
                <a:gd name="T69" fmla="*/ 107 h 196"/>
                <a:gd name="T70" fmla="*/ 40 w 160"/>
                <a:gd name="T71" fmla="*/ 117 h 196"/>
                <a:gd name="T72" fmla="*/ 29 w 160"/>
                <a:gd name="T73" fmla="*/ 111 h 196"/>
                <a:gd name="T74" fmla="*/ 124 w 160"/>
                <a:gd name="T75" fmla="*/ 78 h 196"/>
                <a:gd name="T76" fmla="*/ 130 w 160"/>
                <a:gd name="T77" fmla="*/ 87 h 196"/>
                <a:gd name="T78" fmla="*/ 119 w 160"/>
                <a:gd name="T79" fmla="*/ 89 h 196"/>
                <a:gd name="T80" fmla="*/ 121 w 160"/>
                <a:gd name="T81" fmla="*/ 78 h 196"/>
                <a:gd name="T82" fmla="*/ 101 w 160"/>
                <a:gd name="T83" fmla="*/ 82 h 196"/>
                <a:gd name="T84" fmla="*/ 95 w 160"/>
                <a:gd name="T85" fmla="*/ 91 h 196"/>
                <a:gd name="T86" fmla="*/ 88 w 160"/>
                <a:gd name="T87" fmla="*/ 82 h 196"/>
                <a:gd name="T88" fmla="*/ 68 w 160"/>
                <a:gd name="T89" fmla="*/ 78 h 196"/>
                <a:gd name="T90" fmla="*/ 71 w 160"/>
                <a:gd name="T91" fmla="*/ 89 h 196"/>
                <a:gd name="T92" fmla="*/ 60 w 160"/>
                <a:gd name="T93" fmla="*/ 87 h 196"/>
                <a:gd name="T94" fmla="*/ 66 w 160"/>
                <a:gd name="T95" fmla="*/ 78 h 196"/>
                <a:gd name="T96" fmla="*/ 44 w 160"/>
                <a:gd name="T97" fmla="*/ 85 h 196"/>
                <a:gd name="T98" fmla="*/ 34 w 160"/>
                <a:gd name="T99" fmla="*/ 91 h 196"/>
                <a:gd name="T100" fmla="*/ 32 w 160"/>
                <a:gd name="T101" fmla="*/ 81 h 196"/>
                <a:gd name="T102" fmla="*/ 117 w 160"/>
                <a:gd name="T103" fmla="*/ 53 h 196"/>
                <a:gd name="T104" fmla="*/ 127 w 160"/>
                <a:gd name="T105" fmla="*/ 27 h 196"/>
                <a:gd name="T106" fmla="*/ 130 w 160"/>
                <a:gd name="T107" fmla="*/ 62 h 196"/>
                <a:gd name="T108" fmla="*/ 34 w 160"/>
                <a:gd name="T109" fmla="*/ 65 h 196"/>
                <a:gd name="T110" fmla="*/ 31 w 160"/>
                <a:gd name="T111" fmla="*/ 30 h 196"/>
                <a:gd name="T112" fmla="*/ 15 w 160"/>
                <a:gd name="T113" fmla="*/ 182 h 196"/>
                <a:gd name="T114" fmla="*/ 152 w 160"/>
                <a:gd name="T115" fmla="*/ 0 h 196"/>
                <a:gd name="T116" fmla="*/ 160 w 160"/>
                <a:gd name="T117" fmla="*/ 190 h 196"/>
                <a:gd name="T118" fmla="*/ 8 w 160"/>
                <a:gd name="T119" fmla="*/ 196 h 196"/>
                <a:gd name="T120" fmla="*/ 0 w 160"/>
                <a:gd name="T121" fmla="*/ 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96">
                  <a:moveTo>
                    <a:pt x="95" y="156"/>
                  </a:moveTo>
                  <a:lnTo>
                    <a:pt x="98" y="157"/>
                  </a:lnTo>
                  <a:lnTo>
                    <a:pt x="100" y="158"/>
                  </a:lnTo>
                  <a:lnTo>
                    <a:pt x="101" y="160"/>
                  </a:lnTo>
                  <a:lnTo>
                    <a:pt x="102" y="163"/>
                  </a:lnTo>
                  <a:lnTo>
                    <a:pt x="101" y="166"/>
                  </a:lnTo>
                  <a:lnTo>
                    <a:pt x="100" y="168"/>
                  </a:lnTo>
                  <a:lnTo>
                    <a:pt x="98" y="169"/>
                  </a:lnTo>
                  <a:lnTo>
                    <a:pt x="95" y="170"/>
                  </a:lnTo>
                  <a:lnTo>
                    <a:pt x="92" y="169"/>
                  </a:lnTo>
                  <a:lnTo>
                    <a:pt x="90" y="168"/>
                  </a:lnTo>
                  <a:lnTo>
                    <a:pt x="88" y="166"/>
                  </a:lnTo>
                  <a:lnTo>
                    <a:pt x="88" y="163"/>
                  </a:lnTo>
                  <a:lnTo>
                    <a:pt x="88" y="160"/>
                  </a:lnTo>
                  <a:lnTo>
                    <a:pt x="90" y="158"/>
                  </a:lnTo>
                  <a:lnTo>
                    <a:pt x="92" y="157"/>
                  </a:lnTo>
                  <a:lnTo>
                    <a:pt x="95" y="156"/>
                  </a:lnTo>
                  <a:close/>
                  <a:moveTo>
                    <a:pt x="66" y="156"/>
                  </a:moveTo>
                  <a:lnTo>
                    <a:pt x="68" y="157"/>
                  </a:lnTo>
                  <a:lnTo>
                    <a:pt x="71" y="158"/>
                  </a:lnTo>
                  <a:lnTo>
                    <a:pt x="72" y="160"/>
                  </a:lnTo>
                  <a:lnTo>
                    <a:pt x="73" y="163"/>
                  </a:lnTo>
                  <a:lnTo>
                    <a:pt x="72" y="166"/>
                  </a:lnTo>
                  <a:lnTo>
                    <a:pt x="71" y="168"/>
                  </a:lnTo>
                  <a:lnTo>
                    <a:pt x="68" y="169"/>
                  </a:lnTo>
                  <a:lnTo>
                    <a:pt x="66" y="170"/>
                  </a:lnTo>
                  <a:lnTo>
                    <a:pt x="63" y="169"/>
                  </a:lnTo>
                  <a:lnTo>
                    <a:pt x="61" y="168"/>
                  </a:lnTo>
                  <a:lnTo>
                    <a:pt x="60" y="166"/>
                  </a:lnTo>
                  <a:lnTo>
                    <a:pt x="59" y="163"/>
                  </a:lnTo>
                  <a:lnTo>
                    <a:pt x="60" y="160"/>
                  </a:lnTo>
                  <a:lnTo>
                    <a:pt x="61" y="158"/>
                  </a:lnTo>
                  <a:lnTo>
                    <a:pt x="63" y="157"/>
                  </a:lnTo>
                  <a:lnTo>
                    <a:pt x="66" y="156"/>
                  </a:lnTo>
                  <a:close/>
                  <a:moveTo>
                    <a:pt x="37" y="156"/>
                  </a:moveTo>
                  <a:lnTo>
                    <a:pt x="40" y="157"/>
                  </a:lnTo>
                  <a:lnTo>
                    <a:pt x="42" y="158"/>
                  </a:lnTo>
                  <a:lnTo>
                    <a:pt x="43" y="160"/>
                  </a:lnTo>
                  <a:lnTo>
                    <a:pt x="44" y="163"/>
                  </a:lnTo>
                  <a:lnTo>
                    <a:pt x="43" y="166"/>
                  </a:lnTo>
                  <a:lnTo>
                    <a:pt x="42" y="168"/>
                  </a:lnTo>
                  <a:lnTo>
                    <a:pt x="40" y="169"/>
                  </a:lnTo>
                  <a:lnTo>
                    <a:pt x="37" y="170"/>
                  </a:lnTo>
                  <a:lnTo>
                    <a:pt x="34" y="169"/>
                  </a:lnTo>
                  <a:lnTo>
                    <a:pt x="32" y="168"/>
                  </a:lnTo>
                  <a:lnTo>
                    <a:pt x="31" y="166"/>
                  </a:lnTo>
                  <a:lnTo>
                    <a:pt x="29" y="163"/>
                  </a:lnTo>
                  <a:lnTo>
                    <a:pt x="31" y="160"/>
                  </a:lnTo>
                  <a:lnTo>
                    <a:pt x="32" y="158"/>
                  </a:lnTo>
                  <a:lnTo>
                    <a:pt x="34" y="157"/>
                  </a:lnTo>
                  <a:lnTo>
                    <a:pt x="37" y="156"/>
                  </a:lnTo>
                  <a:close/>
                  <a:moveTo>
                    <a:pt x="124" y="130"/>
                  </a:moveTo>
                  <a:lnTo>
                    <a:pt x="127" y="131"/>
                  </a:lnTo>
                  <a:lnTo>
                    <a:pt x="129" y="132"/>
                  </a:lnTo>
                  <a:lnTo>
                    <a:pt x="130" y="135"/>
                  </a:lnTo>
                  <a:lnTo>
                    <a:pt x="130" y="138"/>
                  </a:lnTo>
                  <a:lnTo>
                    <a:pt x="130" y="163"/>
                  </a:lnTo>
                  <a:lnTo>
                    <a:pt x="130" y="166"/>
                  </a:lnTo>
                  <a:lnTo>
                    <a:pt x="129" y="168"/>
                  </a:lnTo>
                  <a:lnTo>
                    <a:pt x="127" y="169"/>
                  </a:lnTo>
                  <a:lnTo>
                    <a:pt x="124" y="170"/>
                  </a:lnTo>
                  <a:lnTo>
                    <a:pt x="121" y="169"/>
                  </a:lnTo>
                  <a:lnTo>
                    <a:pt x="119" y="168"/>
                  </a:lnTo>
                  <a:lnTo>
                    <a:pt x="117" y="166"/>
                  </a:lnTo>
                  <a:lnTo>
                    <a:pt x="117" y="163"/>
                  </a:lnTo>
                  <a:lnTo>
                    <a:pt x="117" y="138"/>
                  </a:lnTo>
                  <a:lnTo>
                    <a:pt x="117" y="135"/>
                  </a:lnTo>
                  <a:lnTo>
                    <a:pt x="119" y="132"/>
                  </a:lnTo>
                  <a:lnTo>
                    <a:pt x="121" y="131"/>
                  </a:lnTo>
                  <a:lnTo>
                    <a:pt x="124" y="130"/>
                  </a:lnTo>
                  <a:close/>
                  <a:moveTo>
                    <a:pt x="95" y="130"/>
                  </a:moveTo>
                  <a:lnTo>
                    <a:pt x="98" y="131"/>
                  </a:lnTo>
                  <a:lnTo>
                    <a:pt x="100" y="132"/>
                  </a:lnTo>
                  <a:lnTo>
                    <a:pt x="101" y="135"/>
                  </a:lnTo>
                  <a:lnTo>
                    <a:pt x="102" y="138"/>
                  </a:lnTo>
                  <a:lnTo>
                    <a:pt x="101" y="140"/>
                  </a:lnTo>
                  <a:lnTo>
                    <a:pt x="100" y="142"/>
                  </a:lnTo>
                  <a:lnTo>
                    <a:pt x="98" y="143"/>
                  </a:lnTo>
                  <a:lnTo>
                    <a:pt x="95" y="143"/>
                  </a:lnTo>
                  <a:lnTo>
                    <a:pt x="92" y="143"/>
                  </a:lnTo>
                  <a:lnTo>
                    <a:pt x="90" y="142"/>
                  </a:lnTo>
                  <a:lnTo>
                    <a:pt x="88" y="140"/>
                  </a:lnTo>
                  <a:lnTo>
                    <a:pt x="88" y="138"/>
                  </a:lnTo>
                  <a:lnTo>
                    <a:pt x="88" y="135"/>
                  </a:lnTo>
                  <a:lnTo>
                    <a:pt x="90" y="132"/>
                  </a:lnTo>
                  <a:lnTo>
                    <a:pt x="92" y="131"/>
                  </a:lnTo>
                  <a:lnTo>
                    <a:pt x="95" y="130"/>
                  </a:lnTo>
                  <a:close/>
                  <a:moveTo>
                    <a:pt x="66" y="130"/>
                  </a:moveTo>
                  <a:lnTo>
                    <a:pt x="68" y="131"/>
                  </a:lnTo>
                  <a:lnTo>
                    <a:pt x="71" y="132"/>
                  </a:lnTo>
                  <a:lnTo>
                    <a:pt x="72" y="135"/>
                  </a:lnTo>
                  <a:lnTo>
                    <a:pt x="73" y="138"/>
                  </a:lnTo>
                  <a:lnTo>
                    <a:pt x="72" y="140"/>
                  </a:lnTo>
                  <a:lnTo>
                    <a:pt x="71" y="142"/>
                  </a:lnTo>
                  <a:lnTo>
                    <a:pt x="68" y="143"/>
                  </a:lnTo>
                  <a:lnTo>
                    <a:pt x="66" y="143"/>
                  </a:lnTo>
                  <a:lnTo>
                    <a:pt x="63" y="143"/>
                  </a:lnTo>
                  <a:lnTo>
                    <a:pt x="61" y="142"/>
                  </a:lnTo>
                  <a:lnTo>
                    <a:pt x="60" y="140"/>
                  </a:lnTo>
                  <a:lnTo>
                    <a:pt x="59" y="138"/>
                  </a:lnTo>
                  <a:lnTo>
                    <a:pt x="60" y="135"/>
                  </a:lnTo>
                  <a:lnTo>
                    <a:pt x="61" y="132"/>
                  </a:lnTo>
                  <a:lnTo>
                    <a:pt x="63" y="131"/>
                  </a:lnTo>
                  <a:lnTo>
                    <a:pt x="66" y="130"/>
                  </a:lnTo>
                  <a:close/>
                  <a:moveTo>
                    <a:pt x="37" y="130"/>
                  </a:moveTo>
                  <a:lnTo>
                    <a:pt x="40" y="131"/>
                  </a:lnTo>
                  <a:lnTo>
                    <a:pt x="42" y="132"/>
                  </a:lnTo>
                  <a:lnTo>
                    <a:pt x="43" y="135"/>
                  </a:lnTo>
                  <a:lnTo>
                    <a:pt x="44" y="138"/>
                  </a:lnTo>
                  <a:lnTo>
                    <a:pt x="43" y="140"/>
                  </a:lnTo>
                  <a:lnTo>
                    <a:pt x="42" y="142"/>
                  </a:lnTo>
                  <a:lnTo>
                    <a:pt x="40" y="143"/>
                  </a:lnTo>
                  <a:lnTo>
                    <a:pt x="37" y="143"/>
                  </a:lnTo>
                  <a:lnTo>
                    <a:pt x="34" y="143"/>
                  </a:lnTo>
                  <a:lnTo>
                    <a:pt x="32" y="142"/>
                  </a:lnTo>
                  <a:lnTo>
                    <a:pt x="31" y="140"/>
                  </a:lnTo>
                  <a:lnTo>
                    <a:pt x="29" y="138"/>
                  </a:lnTo>
                  <a:lnTo>
                    <a:pt x="31" y="135"/>
                  </a:lnTo>
                  <a:lnTo>
                    <a:pt x="32" y="132"/>
                  </a:lnTo>
                  <a:lnTo>
                    <a:pt x="34" y="131"/>
                  </a:lnTo>
                  <a:lnTo>
                    <a:pt x="37" y="130"/>
                  </a:lnTo>
                  <a:close/>
                  <a:moveTo>
                    <a:pt x="124" y="104"/>
                  </a:moveTo>
                  <a:lnTo>
                    <a:pt x="127" y="104"/>
                  </a:lnTo>
                  <a:lnTo>
                    <a:pt x="129" y="107"/>
                  </a:lnTo>
                  <a:lnTo>
                    <a:pt x="130" y="109"/>
                  </a:lnTo>
                  <a:lnTo>
                    <a:pt x="130" y="111"/>
                  </a:lnTo>
                  <a:lnTo>
                    <a:pt x="130" y="114"/>
                  </a:lnTo>
                  <a:lnTo>
                    <a:pt x="129" y="116"/>
                  </a:lnTo>
                  <a:lnTo>
                    <a:pt x="127" y="117"/>
                  </a:lnTo>
                  <a:lnTo>
                    <a:pt x="124" y="118"/>
                  </a:lnTo>
                  <a:lnTo>
                    <a:pt x="121" y="117"/>
                  </a:lnTo>
                  <a:lnTo>
                    <a:pt x="119" y="116"/>
                  </a:lnTo>
                  <a:lnTo>
                    <a:pt x="117" y="114"/>
                  </a:lnTo>
                  <a:lnTo>
                    <a:pt x="117" y="111"/>
                  </a:lnTo>
                  <a:lnTo>
                    <a:pt x="117" y="109"/>
                  </a:lnTo>
                  <a:lnTo>
                    <a:pt x="119" y="107"/>
                  </a:lnTo>
                  <a:lnTo>
                    <a:pt x="121" y="104"/>
                  </a:lnTo>
                  <a:lnTo>
                    <a:pt x="124" y="104"/>
                  </a:lnTo>
                  <a:close/>
                  <a:moveTo>
                    <a:pt x="95" y="104"/>
                  </a:moveTo>
                  <a:lnTo>
                    <a:pt x="98" y="104"/>
                  </a:lnTo>
                  <a:lnTo>
                    <a:pt x="100" y="107"/>
                  </a:lnTo>
                  <a:lnTo>
                    <a:pt x="101" y="109"/>
                  </a:lnTo>
                  <a:lnTo>
                    <a:pt x="102" y="111"/>
                  </a:lnTo>
                  <a:lnTo>
                    <a:pt x="101" y="114"/>
                  </a:lnTo>
                  <a:lnTo>
                    <a:pt x="100" y="116"/>
                  </a:lnTo>
                  <a:lnTo>
                    <a:pt x="98" y="117"/>
                  </a:lnTo>
                  <a:lnTo>
                    <a:pt x="95" y="118"/>
                  </a:lnTo>
                  <a:lnTo>
                    <a:pt x="92" y="117"/>
                  </a:lnTo>
                  <a:lnTo>
                    <a:pt x="90" y="116"/>
                  </a:lnTo>
                  <a:lnTo>
                    <a:pt x="88" y="114"/>
                  </a:lnTo>
                  <a:lnTo>
                    <a:pt x="88" y="111"/>
                  </a:lnTo>
                  <a:lnTo>
                    <a:pt x="88" y="109"/>
                  </a:lnTo>
                  <a:lnTo>
                    <a:pt x="90" y="107"/>
                  </a:lnTo>
                  <a:lnTo>
                    <a:pt x="92" y="104"/>
                  </a:lnTo>
                  <a:lnTo>
                    <a:pt x="95" y="104"/>
                  </a:lnTo>
                  <a:close/>
                  <a:moveTo>
                    <a:pt x="66" y="104"/>
                  </a:moveTo>
                  <a:lnTo>
                    <a:pt x="68" y="104"/>
                  </a:lnTo>
                  <a:lnTo>
                    <a:pt x="71" y="107"/>
                  </a:lnTo>
                  <a:lnTo>
                    <a:pt x="72" y="109"/>
                  </a:lnTo>
                  <a:lnTo>
                    <a:pt x="73" y="111"/>
                  </a:lnTo>
                  <a:lnTo>
                    <a:pt x="72" y="114"/>
                  </a:lnTo>
                  <a:lnTo>
                    <a:pt x="71" y="116"/>
                  </a:lnTo>
                  <a:lnTo>
                    <a:pt x="68" y="117"/>
                  </a:lnTo>
                  <a:lnTo>
                    <a:pt x="66" y="118"/>
                  </a:lnTo>
                  <a:lnTo>
                    <a:pt x="63" y="117"/>
                  </a:lnTo>
                  <a:lnTo>
                    <a:pt x="61" y="116"/>
                  </a:lnTo>
                  <a:lnTo>
                    <a:pt x="60" y="114"/>
                  </a:lnTo>
                  <a:lnTo>
                    <a:pt x="59" y="111"/>
                  </a:lnTo>
                  <a:lnTo>
                    <a:pt x="60" y="109"/>
                  </a:lnTo>
                  <a:lnTo>
                    <a:pt x="61" y="107"/>
                  </a:lnTo>
                  <a:lnTo>
                    <a:pt x="63" y="104"/>
                  </a:lnTo>
                  <a:lnTo>
                    <a:pt x="66" y="104"/>
                  </a:lnTo>
                  <a:close/>
                  <a:moveTo>
                    <a:pt x="37" y="104"/>
                  </a:moveTo>
                  <a:lnTo>
                    <a:pt x="40" y="104"/>
                  </a:lnTo>
                  <a:lnTo>
                    <a:pt x="42" y="107"/>
                  </a:lnTo>
                  <a:lnTo>
                    <a:pt x="43" y="109"/>
                  </a:lnTo>
                  <a:lnTo>
                    <a:pt x="44" y="111"/>
                  </a:lnTo>
                  <a:lnTo>
                    <a:pt x="43" y="114"/>
                  </a:lnTo>
                  <a:lnTo>
                    <a:pt x="42" y="116"/>
                  </a:lnTo>
                  <a:lnTo>
                    <a:pt x="40" y="117"/>
                  </a:lnTo>
                  <a:lnTo>
                    <a:pt x="37" y="118"/>
                  </a:lnTo>
                  <a:lnTo>
                    <a:pt x="34" y="117"/>
                  </a:lnTo>
                  <a:lnTo>
                    <a:pt x="32" y="116"/>
                  </a:lnTo>
                  <a:lnTo>
                    <a:pt x="31" y="114"/>
                  </a:lnTo>
                  <a:lnTo>
                    <a:pt x="29" y="111"/>
                  </a:lnTo>
                  <a:lnTo>
                    <a:pt x="31" y="109"/>
                  </a:lnTo>
                  <a:lnTo>
                    <a:pt x="32" y="107"/>
                  </a:lnTo>
                  <a:lnTo>
                    <a:pt x="34" y="104"/>
                  </a:lnTo>
                  <a:lnTo>
                    <a:pt x="37" y="104"/>
                  </a:lnTo>
                  <a:close/>
                  <a:moveTo>
                    <a:pt x="124" y="78"/>
                  </a:moveTo>
                  <a:lnTo>
                    <a:pt x="127" y="78"/>
                  </a:lnTo>
                  <a:lnTo>
                    <a:pt x="129" y="81"/>
                  </a:lnTo>
                  <a:lnTo>
                    <a:pt x="130" y="82"/>
                  </a:lnTo>
                  <a:lnTo>
                    <a:pt x="130" y="85"/>
                  </a:lnTo>
                  <a:lnTo>
                    <a:pt x="130" y="87"/>
                  </a:lnTo>
                  <a:lnTo>
                    <a:pt x="129" y="89"/>
                  </a:lnTo>
                  <a:lnTo>
                    <a:pt x="127" y="91"/>
                  </a:lnTo>
                  <a:lnTo>
                    <a:pt x="124" y="91"/>
                  </a:lnTo>
                  <a:lnTo>
                    <a:pt x="121" y="91"/>
                  </a:lnTo>
                  <a:lnTo>
                    <a:pt x="119" y="89"/>
                  </a:lnTo>
                  <a:lnTo>
                    <a:pt x="117" y="87"/>
                  </a:lnTo>
                  <a:lnTo>
                    <a:pt x="117" y="85"/>
                  </a:lnTo>
                  <a:lnTo>
                    <a:pt x="117" y="82"/>
                  </a:lnTo>
                  <a:lnTo>
                    <a:pt x="119" y="81"/>
                  </a:lnTo>
                  <a:lnTo>
                    <a:pt x="121" y="78"/>
                  </a:lnTo>
                  <a:lnTo>
                    <a:pt x="124" y="78"/>
                  </a:lnTo>
                  <a:close/>
                  <a:moveTo>
                    <a:pt x="95" y="78"/>
                  </a:moveTo>
                  <a:lnTo>
                    <a:pt x="98" y="78"/>
                  </a:lnTo>
                  <a:lnTo>
                    <a:pt x="100" y="81"/>
                  </a:lnTo>
                  <a:lnTo>
                    <a:pt x="101" y="82"/>
                  </a:lnTo>
                  <a:lnTo>
                    <a:pt x="102" y="85"/>
                  </a:lnTo>
                  <a:lnTo>
                    <a:pt x="101" y="87"/>
                  </a:lnTo>
                  <a:lnTo>
                    <a:pt x="100" y="89"/>
                  </a:lnTo>
                  <a:lnTo>
                    <a:pt x="98" y="91"/>
                  </a:lnTo>
                  <a:lnTo>
                    <a:pt x="95" y="91"/>
                  </a:lnTo>
                  <a:lnTo>
                    <a:pt x="92" y="91"/>
                  </a:lnTo>
                  <a:lnTo>
                    <a:pt x="90" y="89"/>
                  </a:lnTo>
                  <a:lnTo>
                    <a:pt x="88" y="87"/>
                  </a:lnTo>
                  <a:lnTo>
                    <a:pt x="88" y="85"/>
                  </a:lnTo>
                  <a:lnTo>
                    <a:pt x="88" y="82"/>
                  </a:lnTo>
                  <a:lnTo>
                    <a:pt x="90" y="81"/>
                  </a:lnTo>
                  <a:lnTo>
                    <a:pt x="92" y="78"/>
                  </a:lnTo>
                  <a:lnTo>
                    <a:pt x="95" y="78"/>
                  </a:lnTo>
                  <a:close/>
                  <a:moveTo>
                    <a:pt x="66" y="78"/>
                  </a:moveTo>
                  <a:lnTo>
                    <a:pt x="68" y="78"/>
                  </a:lnTo>
                  <a:lnTo>
                    <a:pt x="71" y="81"/>
                  </a:lnTo>
                  <a:lnTo>
                    <a:pt x="72" y="82"/>
                  </a:lnTo>
                  <a:lnTo>
                    <a:pt x="73" y="85"/>
                  </a:lnTo>
                  <a:lnTo>
                    <a:pt x="72" y="87"/>
                  </a:lnTo>
                  <a:lnTo>
                    <a:pt x="71" y="89"/>
                  </a:lnTo>
                  <a:lnTo>
                    <a:pt x="68" y="91"/>
                  </a:lnTo>
                  <a:lnTo>
                    <a:pt x="66" y="91"/>
                  </a:lnTo>
                  <a:lnTo>
                    <a:pt x="63" y="91"/>
                  </a:lnTo>
                  <a:lnTo>
                    <a:pt x="61" y="89"/>
                  </a:lnTo>
                  <a:lnTo>
                    <a:pt x="60" y="87"/>
                  </a:lnTo>
                  <a:lnTo>
                    <a:pt x="59" y="85"/>
                  </a:lnTo>
                  <a:lnTo>
                    <a:pt x="60" y="82"/>
                  </a:lnTo>
                  <a:lnTo>
                    <a:pt x="61" y="81"/>
                  </a:lnTo>
                  <a:lnTo>
                    <a:pt x="63" y="78"/>
                  </a:lnTo>
                  <a:lnTo>
                    <a:pt x="66" y="78"/>
                  </a:lnTo>
                  <a:close/>
                  <a:moveTo>
                    <a:pt x="37" y="78"/>
                  </a:moveTo>
                  <a:lnTo>
                    <a:pt x="40" y="78"/>
                  </a:lnTo>
                  <a:lnTo>
                    <a:pt x="42" y="81"/>
                  </a:lnTo>
                  <a:lnTo>
                    <a:pt x="43" y="82"/>
                  </a:lnTo>
                  <a:lnTo>
                    <a:pt x="44" y="85"/>
                  </a:lnTo>
                  <a:lnTo>
                    <a:pt x="43" y="87"/>
                  </a:lnTo>
                  <a:lnTo>
                    <a:pt x="42" y="89"/>
                  </a:lnTo>
                  <a:lnTo>
                    <a:pt x="40" y="91"/>
                  </a:lnTo>
                  <a:lnTo>
                    <a:pt x="37" y="91"/>
                  </a:lnTo>
                  <a:lnTo>
                    <a:pt x="34" y="91"/>
                  </a:lnTo>
                  <a:lnTo>
                    <a:pt x="32" y="89"/>
                  </a:lnTo>
                  <a:lnTo>
                    <a:pt x="31" y="87"/>
                  </a:lnTo>
                  <a:lnTo>
                    <a:pt x="29" y="85"/>
                  </a:lnTo>
                  <a:lnTo>
                    <a:pt x="31" y="82"/>
                  </a:lnTo>
                  <a:lnTo>
                    <a:pt x="32" y="81"/>
                  </a:lnTo>
                  <a:lnTo>
                    <a:pt x="34" y="78"/>
                  </a:lnTo>
                  <a:lnTo>
                    <a:pt x="37" y="78"/>
                  </a:lnTo>
                  <a:close/>
                  <a:moveTo>
                    <a:pt x="44" y="39"/>
                  </a:moveTo>
                  <a:lnTo>
                    <a:pt x="44" y="53"/>
                  </a:lnTo>
                  <a:lnTo>
                    <a:pt x="117" y="53"/>
                  </a:lnTo>
                  <a:lnTo>
                    <a:pt x="117" y="39"/>
                  </a:lnTo>
                  <a:lnTo>
                    <a:pt x="44" y="39"/>
                  </a:lnTo>
                  <a:close/>
                  <a:moveTo>
                    <a:pt x="37" y="26"/>
                  </a:moveTo>
                  <a:lnTo>
                    <a:pt x="124" y="26"/>
                  </a:lnTo>
                  <a:lnTo>
                    <a:pt x="127" y="27"/>
                  </a:lnTo>
                  <a:lnTo>
                    <a:pt x="129" y="28"/>
                  </a:lnTo>
                  <a:lnTo>
                    <a:pt x="130" y="30"/>
                  </a:lnTo>
                  <a:lnTo>
                    <a:pt x="130" y="33"/>
                  </a:lnTo>
                  <a:lnTo>
                    <a:pt x="130" y="59"/>
                  </a:lnTo>
                  <a:lnTo>
                    <a:pt x="130" y="62"/>
                  </a:lnTo>
                  <a:lnTo>
                    <a:pt x="129" y="63"/>
                  </a:lnTo>
                  <a:lnTo>
                    <a:pt x="127" y="65"/>
                  </a:lnTo>
                  <a:lnTo>
                    <a:pt x="124" y="65"/>
                  </a:lnTo>
                  <a:lnTo>
                    <a:pt x="37" y="65"/>
                  </a:lnTo>
                  <a:lnTo>
                    <a:pt x="34" y="65"/>
                  </a:lnTo>
                  <a:lnTo>
                    <a:pt x="32" y="63"/>
                  </a:lnTo>
                  <a:lnTo>
                    <a:pt x="31" y="62"/>
                  </a:lnTo>
                  <a:lnTo>
                    <a:pt x="29" y="59"/>
                  </a:lnTo>
                  <a:lnTo>
                    <a:pt x="29" y="33"/>
                  </a:lnTo>
                  <a:lnTo>
                    <a:pt x="31" y="30"/>
                  </a:lnTo>
                  <a:lnTo>
                    <a:pt x="32" y="28"/>
                  </a:lnTo>
                  <a:lnTo>
                    <a:pt x="34" y="27"/>
                  </a:lnTo>
                  <a:lnTo>
                    <a:pt x="37" y="26"/>
                  </a:lnTo>
                  <a:close/>
                  <a:moveTo>
                    <a:pt x="15" y="13"/>
                  </a:moveTo>
                  <a:lnTo>
                    <a:pt x="15" y="182"/>
                  </a:lnTo>
                  <a:lnTo>
                    <a:pt x="146" y="182"/>
                  </a:lnTo>
                  <a:lnTo>
                    <a:pt x="146" y="13"/>
                  </a:lnTo>
                  <a:lnTo>
                    <a:pt x="15" y="13"/>
                  </a:lnTo>
                  <a:close/>
                  <a:moveTo>
                    <a:pt x="8" y="0"/>
                  </a:moveTo>
                  <a:lnTo>
                    <a:pt x="152" y="0"/>
                  </a:lnTo>
                  <a:lnTo>
                    <a:pt x="155" y="1"/>
                  </a:lnTo>
                  <a:lnTo>
                    <a:pt x="157" y="2"/>
                  </a:lnTo>
                  <a:lnTo>
                    <a:pt x="159" y="4"/>
                  </a:lnTo>
                  <a:lnTo>
                    <a:pt x="160" y="6"/>
                  </a:lnTo>
                  <a:lnTo>
                    <a:pt x="160" y="190"/>
                  </a:lnTo>
                  <a:lnTo>
                    <a:pt x="159" y="192"/>
                  </a:lnTo>
                  <a:lnTo>
                    <a:pt x="157" y="194"/>
                  </a:lnTo>
                  <a:lnTo>
                    <a:pt x="155" y="196"/>
                  </a:lnTo>
                  <a:lnTo>
                    <a:pt x="152" y="196"/>
                  </a:lnTo>
                  <a:lnTo>
                    <a:pt x="8" y="196"/>
                  </a:lnTo>
                  <a:lnTo>
                    <a:pt x="5" y="196"/>
                  </a:lnTo>
                  <a:lnTo>
                    <a:pt x="2" y="194"/>
                  </a:lnTo>
                  <a:lnTo>
                    <a:pt x="0" y="192"/>
                  </a:lnTo>
                  <a:lnTo>
                    <a:pt x="0" y="190"/>
                  </a:lnTo>
                  <a:lnTo>
                    <a:pt x="0" y="6"/>
                  </a:lnTo>
                  <a:lnTo>
                    <a:pt x="0" y="4"/>
                  </a:lnTo>
                  <a:lnTo>
                    <a:pt x="2" y="2"/>
                  </a:lnTo>
                  <a:lnTo>
                    <a:pt x="5" y="1"/>
                  </a:lnTo>
                  <a:lnTo>
                    <a:pt x="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20">
              <a:extLst>
                <a:ext uri="{FF2B5EF4-FFF2-40B4-BE49-F238E27FC236}">
                  <a16:creationId xmlns:a16="http://schemas.microsoft.com/office/drawing/2014/main" id="{F3635CC3-F705-AE44-A1E5-D295BB2A168E}"/>
                </a:ext>
              </a:extLst>
            </p:cNvPr>
            <p:cNvSpPr>
              <a:spLocks noEditPoints="1"/>
            </p:cNvSpPr>
            <p:nvPr/>
          </p:nvSpPr>
          <p:spPr bwMode="auto">
            <a:xfrm>
              <a:off x="5283201" y="1344613"/>
              <a:ext cx="473075" cy="627063"/>
            </a:xfrm>
            <a:custGeom>
              <a:avLst/>
              <a:gdLst>
                <a:gd name="T0" fmla="*/ 177 w 298"/>
                <a:gd name="T1" fmla="*/ 181 h 395"/>
                <a:gd name="T2" fmla="*/ 150 w 298"/>
                <a:gd name="T3" fmla="*/ 202 h 395"/>
                <a:gd name="T4" fmla="*/ 141 w 298"/>
                <a:gd name="T5" fmla="*/ 203 h 395"/>
                <a:gd name="T6" fmla="*/ 131 w 298"/>
                <a:gd name="T7" fmla="*/ 208 h 395"/>
                <a:gd name="T8" fmla="*/ 131 w 298"/>
                <a:gd name="T9" fmla="*/ 219 h 395"/>
                <a:gd name="T10" fmla="*/ 139 w 298"/>
                <a:gd name="T11" fmla="*/ 225 h 395"/>
                <a:gd name="T12" fmla="*/ 183 w 298"/>
                <a:gd name="T13" fmla="*/ 245 h 395"/>
                <a:gd name="T14" fmla="*/ 196 w 298"/>
                <a:gd name="T15" fmla="*/ 263 h 395"/>
                <a:gd name="T16" fmla="*/ 192 w 298"/>
                <a:gd name="T17" fmla="*/ 289 h 395"/>
                <a:gd name="T18" fmla="*/ 156 w 298"/>
                <a:gd name="T19" fmla="*/ 328 h 395"/>
                <a:gd name="T20" fmla="*/ 100 w 298"/>
                <a:gd name="T21" fmla="*/ 300 h 395"/>
                <a:gd name="T22" fmla="*/ 132 w 298"/>
                <a:gd name="T23" fmla="*/ 283 h 395"/>
                <a:gd name="T24" fmla="*/ 154 w 298"/>
                <a:gd name="T25" fmla="*/ 285 h 395"/>
                <a:gd name="T26" fmla="*/ 164 w 298"/>
                <a:gd name="T27" fmla="*/ 281 h 395"/>
                <a:gd name="T28" fmla="*/ 168 w 298"/>
                <a:gd name="T29" fmla="*/ 270 h 395"/>
                <a:gd name="T30" fmla="*/ 161 w 298"/>
                <a:gd name="T31" fmla="*/ 263 h 395"/>
                <a:gd name="T32" fmla="*/ 135 w 298"/>
                <a:gd name="T33" fmla="*/ 252 h 395"/>
                <a:gd name="T34" fmla="*/ 100 w 298"/>
                <a:gd name="T35" fmla="*/ 213 h 395"/>
                <a:gd name="T36" fmla="*/ 125 w 298"/>
                <a:gd name="T37" fmla="*/ 182 h 395"/>
                <a:gd name="T38" fmla="*/ 96 w 298"/>
                <a:gd name="T39" fmla="*/ 122 h 395"/>
                <a:gd name="T40" fmla="*/ 44 w 298"/>
                <a:gd name="T41" fmla="*/ 220 h 395"/>
                <a:gd name="T42" fmla="*/ 48 w 298"/>
                <a:gd name="T43" fmla="*/ 283 h 395"/>
                <a:gd name="T44" fmla="*/ 54 w 298"/>
                <a:gd name="T45" fmla="*/ 298 h 395"/>
                <a:gd name="T46" fmla="*/ 45 w 298"/>
                <a:gd name="T47" fmla="*/ 341 h 395"/>
                <a:gd name="T48" fmla="*/ 259 w 298"/>
                <a:gd name="T49" fmla="*/ 356 h 395"/>
                <a:gd name="T50" fmla="*/ 243 w 298"/>
                <a:gd name="T51" fmla="*/ 301 h 395"/>
                <a:gd name="T52" fmla="*/ 246 w 298"/>
                <a:gd name="T53" fmla="*/ 291 h 395"/>
                <a:gd name="T54" fmla="*/ 255 w 298"/>
                <a:gd name="T55" fmla="*/ 240 h 395"/>
                <a:gd name="T56" fmla="*/ 223 w 298"/>
                <a:gd name="T57" fmla="*/ 149 h 395"/>
                <a:gd name="T58" fmla="*/ 206 w 298"/>
                <a:gd name="T59" fmla="*/ 27 h 395"/>
                <a:gd name="T60" fmla="*/ 155 w 298"/>
                <a:gd name="T61" fmla="*/ 39 h 395"/>
                <a:gd name="T62" fmla="*/ 125 w 298"/>
                <a:gd name="T63" fmla="*/ 32 h 395"/>
                <a:gd name="T64" fmla="*/ 87 w 298"/>
                <a:gd name="T65" fmla="*/ 28 h 395"/>
                <a:gd name="T66" fmla="*/ 206 w 298"/>
                <a:gd name="T67" fmla="*/ 27 h 395"/>
                <a:gd name="T68" fmla="*/ 150 w 298"/>
                <a:gd name="T69" fmla="*/ 13 h 395"/>
                <a:gd name="T70" fmla="*/ 225 w 298"/>
                <a:gd name="T71" fmla="*/ 4 h 395"/>
                <a:gd name="T72" fmla="*/ 243 w 298"/>
                <a:gd name="T73" fmla="*/ 25 h 395"/>
                <a:gd name="T74" fmla="*/ 240 w 298"/>
                <a:gd name="T75" fmla="*/ 37 h 395"/>
                <a:gd name="T76" fmla="*/ 263 w 298"/>
                <a:gd name="T77" fmla="*/ 162 h 395"/>
                <a:gd name="T78" fmla="*/ 281 w 298"/>
                <a:gd name="T79" fmla="*/ 253 h 395"/>
                <a:gd name="T80" fmla="*/ 271 w 298"/>
                <a:gd name="T81" fmla="*/ 303 h 395"/>
                <a:gd name="T82" fmla="*/ 291 w 298"/>
                <a:gd name="T83" fmla="*/ 362 h 395"/>
                <a:gd name="T84" fmla="*/ 297 w 298"/>
                <a:gd name="T85" fmla="*/ 386 h 395"/>
                <a:gd name="T86" fmla="*/ 288 w 298"/>
                <a:gd name="T87" fmla="*/ 395 h 395"/>
                <a:gd name="T88" fmla="*/ 6 w 298"/>
                <a:gd name="T89" fmla="*/ 393 h 395"/>
                <a:gd name="T90" fmla="*/ 0 w 298"/>
                <a:gd name="T91" fmla="*/ 383 h 395"/>
                <a:gd name="T92" fmla="*/ 14 w 298"/>
                <a:gd name="T93" fmla="*/ 346 h 395"/>
                <a:gd name="T94" fmla="*/ 24 w 298"/>
                <a:gd name="T95" fmla="*/ 296 h 395"/>
                <a:gd name="T96" fmla="*/ 17 w 298"/>
                <a:gd name="T97" fmla="*/ 233 h 395"/>
                <a:gd name="T98" fmla="*/ 51 w 298"/>
                <a:gd name="T99" fmla="*/ 136 h 395"/>
                <a:gd name="T100" fmla="*/ 55 w 298"/>
                <a:gd name="T101" fmla="*/ 34 h 395"/>
                <a:gd name="T102" fmla="*/ 55 w 298"/>
                <a:gd name="T103" fmla="*/ 20 h 395"/>
                <a:gd name="T104" fmla="*/ 86 w 298"/>
                <a:gd name="T105"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8" h="395">
                  <a:moveTo>
                    <a:pt x="141" y="164"/>
                  </a:moveTo>
                  <a:lnTo>
                    <a:pt x="156" y="164"/>
                  </a:lnTo>
                  <a:lnTo>
                    <a:pt x="156" y="178"/>
                  </a:lnTo>
                  <a:lnTo>
                    <a:pt x="177" y="181"/>
                  </a:lnTo>
                  <a:lnTo>
                    <a:pt x="195" y="187"/>
                  </a:lnTo>
                  <a:lnTo>
                    <a:pt x="186" y="209"/>
                  </a:lnTo>
                  <a:lnTo>
                    <a:pt x="156" y="202"/>
                  </a:lnTo>
                  <a:lnTo>
                    <a:pt x="150" y="202"/>
                  </a:lnTo>
                  <a:lnTo>
                    <a:pt x="146" y="202"/>
                  </a:lnTo>
                  <a:lnTo>
                    <a:pt x="144" y="203"/>
                  </a:lnTo>
                  <a:lnTo>
                    <a:pt x="142" y="203"/>
                  </a:lnTo>
                  <a:lnTo>
                    <a:pt x="141" y="203"/>
                  </a:lnTo>
                  <a:lnTo>
                    <a:pt x="138" y="204"/>
                  </a:lnTo>
                  <a:lnTo>
                    <a:pt x="135" y="205"/>
                  </a:lnTo>
                  <a:lnTo>
                    <a:pt x="132" y="206"/>
                  </a:lnTo>
                  <a:lnTo>
                    <a:pt x="131" y="208"/>
                  </a:lnTo>
                  <a:lnTo>
                    <a:pt x="130" y="210"/>
                  </a:lnTo>
                  <a:lnTo>
                    <a:pt x="129" y="213"/>
                  </a:lnTo>
                  <a:lnTo>
                    <a:pt x="130" y="216"/>
                  </a:lnTo>
                  <a:lnTo>
                    <a:pt x="131" y="219"/>
                  </a:lnTo>
                  <a:lnTo>
                    <a:pt x="133" y="220"/>
                  </a:lnTo>
                  <a:lnTo>
                    <a:pt x="134" y="222"/>
                  </a:lnTo>
                  <a:lnTo>
                    <a:pt x="136" y="223"/>
                  </a:lnTo>
                  <a:lnTo>
                    <a:pt x="139" y="225"/>
                  </a:lnTo>
                  <a:lnTo>
                    <a:pt x="141" y="227"/>
                  </a:lnTo>
                  <a:lnTo>
                    <a:pt x="156" y="231"/>
                  </a:lnTo>
                  <a:lnTo>
                    <a:pt x="172" y="238"/>
                  </a:lnTo>
                  <a:lnTo>
                    <a:pt x="183" y="245"/>
                  </a:lnTo>
                  <a:lnTo>
                    <a:pt x="189" y="250"/>
                  </a:lnTo>
                  <a:lnTo>
                    <a:pt x="194" y="256"/>
                  </a:lnTo>
                  <a:lnTo>
                    <a:pt x="195" y="259"/>
                  </a:lnTo>
                  <a:lnTo>
                    <a:pt x="196" y="263"/>
                  </a:lnTo>
                  <a:lnTo>
                    <a:pt x="197" y="266"/>
                  </a:lnTo>
                  <a:lnTo>
                    <a:pt x="197" y="272"/>
                  </a:lnTo>
                  <a:lnTo>
                    <a:pt x="196" y="281"/>
                  </a:lnTo>
                  <a:lnTo>
                    <a:pt x="192" y="289"/>
                  </a:lnTo>
                  <a:lnTo>
                    <a:pt x="186" y="296"/>
                  </a:lnTo>
                  <a:lnTo>
                    <a:pt x="172" y="303"/>
                  </a:lnTo>
                  <a:lnTo>
                    <a:pt x="156" y="307"/>
                  </a:lnTo>
                  <a:lnTo>
                    <a:pt x="156" y="328"/>
                  </a:lnTo>
                  <a:lnTo>
                    <a:pt x="141" y="328"/>
                  </a:lnTo>
                  <a:lnTo>
                    <a:pt x="141" y="308"/>
                  </a:lnTo>
                  <a:lnTo>
                    <a:pt x="119" y="305"/>
                  </a:lnTo>
                  <a:lnTo>
                    <a:pt x="100" y="300"/>
                  </a:lnTo>
                  <a:lnTo>
                    <a:pt x="100" y="274"/>
                  </a:lnTo>
                  <a:lnTo>
                    <a:pt x="109" y="278"/>
                  </a:lnTo>
                  <a:lnTo>
                    <a:pt x="121" y="281"/>
                  </a:lnTo>
                  <a:lnTo>
                    <a:pt x="132" y="283"/>
                  </a:lnTo>
                  <a:lnTo>
                    <a:pt x="141" y="285"/>
                  </a:lnTo>
                  <a:lnTo>
                    <a:pt x="150" y="285"/>
                  </a:lnTo>
                  <a:lnTo>
                    <a:pt x="152" y="285"/>
                  </a:lnTo>
                  <a:lnTo>
                    <a:pt x="154" y="285"/>
                  </a:lnTo>
                  <a:lnTo>
                    <a:pt x="155" y="284"/>
                  </a:lnTo>
                  <a:lnTo>
                    <a:pt x="156" y="284"/>
                  </a:lnTo>
                  <a:lnTo>
                    <a:pt x="160" y="283"/>
                  </a:lnTo>
                  <a:lnTo>
                    <a:pt x="164" y="281"/>
                  </a:lnTo>
                  <a:lnTo>
                    <a:pt x="166" y="279"/>
                  </a:lnTo>
                  <a:lnTo>
                    <a:pt x="168" y="276"/>
                  </a:lnTo>
                  <a:lnTo>
                    <a:pt x="168" y="273"/>
                  </a:lnTo>
                  <a:lnTo>
                    <a:pt x="168" y="270"/>
                  </a:lnTo>
                  <a:lnTo>
                    <a:pt x="167" y="267"/>
                  </a:lnTo>
                  <a:lnTo>
                    <a:pt x="164" y="266"/>
                  </a:lnTo>
                  <a:lnTo>
                    <a:pt x="163" y="264"/>
                  </a:lnTo>
                  <a:lnTo>
                    <a:pt x="161" y="263"/>
                  </a:lnTo>
                  <a:lnTo>
                    <a:pt x="159" y="261"/>
                  </a:lnTo>
                  <a:lnTo>
                    <a:pt x="156" y="260"/>
                  </a:lnTo>
                  <a:lnTo>
                    <a:pt x="141" y="255"/>
                  </a:lnTo>
                  <a:lnTo>
                    <a:pt x="135" y="252"/>
                  </a:lnTo>
                  <a:lnTo>
                    <a:pt x="118" y="245"/>
                  </a:lnTo>
                  <a:lnTo>
                    <a:pt x="107" y="235"/>
                  </a:lnTo>
                  <a:lnTo>
                    <a:pt x="102" y="226"/>
                  </a:lnTo>
                  <a:lnTo>
                    <a:pt x="100" y="213"/>
                  </a:lnTo>
                  <a:lnTo>
                    <a:pt x="101" y="204"/>
                  </a:lnTo>
                  <a:lnTo>
                    <a:pt x="105" y="196"/>
                  </a:lnTo>
                  <a:lnTo>
                    <a:pt x="111" y="190"/>
                  </a:lnTo>
                  <a:lnTo>
                    <a:pt x="125" y="182"/>
                  </a:lnTo>
                  <a:lnTo>
                    <a:pt x="141" y="179"/>
                  </a:lnTo>
                  <a:lnTo>
                    <a:pt x="141" y="164"/>
                  </a:lnTo>
                  <a:close/>
                  <a:moveTo>
                    <a:pt x="124" y="96"/>
                  </a:moveTo>
                  <a:lnTo>
                    <a:pt x="96" y="122"/>
                  </a:lnTo>
                  <a:lnTo>
                    <a:pt x="74" y="149"/>
                  </a:lnTo>
                  <a:lnTo>
                    <a:pt x="59" y="174"/>
                  </a:lnTo>
                  <a:lnTo>
                    <a:pt x="50" y="198"/>
                  </a:lnTo>
                  <a:lnTo>
                    <a:pt x="44" y="220"/>
                  </a:lnTo>
                  <a:lnTo>
                    <a:pt x="43" y="240"/>
                  </a:lnTo>
                  <a:lnTo>
                    <a:pt x="43" y="258"/>
                  </a:lnTo>
                  <a:lnTo>
                    <a:pt x="46" y="273"/>
                  </a:lnTo>
                  <a:lnTo>
                    <a:pt x="48" y="283"/>
                  </a:lnTo>
                  <a:lnTo>
                    <a:pt x="51" y="291"/>
                  </a:lnTo>
                  <a:lnTo>
                    <a:pt x="52" y="294"/>
                  </a:lnTo>
                  <a:lnTo>
                    <a:pt x="53" y="296"/>
                  </a:lnTo>
                  <a:lnTo>
                    <a:pt x="54" y="298"/>
                  </a:lnTo>
                  <a:lnTo>
                    <a:pt x="54" y="301"/>
                  </a:lnTo>
                  <a:lnTo>
                    <a:pt x="53" y="312"/>
                  </a:lnTo>
                  <a:lnTo>
                    <a:pt x="49" y="327"/>
                  </a:lnTo>
                  <a:lnTo>
                    <a:pt x="45" y="341"/>
                  </a:lnTo>
                  <a:lnTo>
                    <a:pt x="40" y="356"/>
                  </a:lnTo>
                  <a:lnTo>
                    <a:pt x="33" y="368"/>
                  </a:lnTo>
                  <a:lnTo>
                    <a:pt x="264" y="368"/>
                  </a:lnTo>
                  <a:lnTo>
                    <a:pt x="259" y="356"/>
                  </a:lnTo>
                  <a:lnTo>
                    <a:pt x="252" y="341"/>
                  </a:lnTo>
                  <a:lnTo>
                    <a:pt x="248" y="327"/>
                  </a:lnTo>
                  <a:lnTo>
                    <a:pt x="245" y="312"/>
                  </a:lnTo>
                  <a:lnTo>
                    <a:pt x="243" y="301"/>
                  </a:lnTo>
                  <a:lnTo>
                    <a:pt x="244" y="298"/>
                  </a:lnTo>
                  <a:lnTo>
                    <a:pt x="244" y="296"/>
                  </a:lnTo>
                  <a:lnTo>
                    <a:pt x="245" y="294"/>
                  </a:lnTo>
                  <a:lnTo>
                    <a:pt x="246" y="291"/>
                  </a:lnTo>
                  <a:lnTo>
                    <a:pt x="249" y="283"/>
                  </a:lnTo>
                  <a:lnTo>
                    <a:pt x="252" y="273"/>
                  </a:lnTo>
                  <a:lnTo>
                    <a:pt x="254" y="258"/>
                  </a:lnTo>
                  <a:lnTo>
                    <a:pt x="255" y="240"/>
                  </a:lnTo>
                  <a:lnTo>
                    <a:pt x="253" y="220"/>
                  </a:lnTo>
                  <a:lnTo>
                    <a:pt x="248" y="198"/>
                  </a:lnTo>
                  <a:lnTo>
                    <a:pt x="238" y="174"/>
                  </a:lnTo>
                  <a:lnTo>
                    <a:pt x="223" y="149"/>
                  </a:lnTo>
                  <a:lnTo>
                    <a:pt x="201" y="122"/>
                  </a:lnTo>
                  <a:lnTo>
                    <a:pt x="173" y="96"/>
                  </a:lnTo>
                  <a:lnTo>
                    <a:pt x="124" y="96"/>
                  </a:lnTo>
                  <a:close/>
                  <a:moveTo>
                    <a:pt x="206" y="27"/>
                  </a:moveTo>
                  <a:lnTo>
                    <a:pt x="197" y="27"/>
                  </a:lnTo>
                  <a:lnTo>
                    <a:pt x="186" y="29"/>
                  </a:lnTo>
                  <a:lnTo>
                    <a:pt x="171" y="33"/>
                  </a:lnTo>
                  <a:lnTo>
                    <a:pt x="155" y="39"/>
                  </a:lnTo>
                  <a:lnTo>
                    <a:pt x="151" y="40"/>
                  </a:lnTo>
                  <a:lnTo>
                    <a:pt x="146" y="40"/>
                  </a:lnTo>
                  <a:lnTo>
                    <a:pt x="143" y="39"/>
                  </a:lnTo>
                  <a:lnTo>
                    <a:pt x="125" y="32"/>
                  </a:lnTo>
                  <a:lnTo>
                    <a:pt x="111" y="28"/>
                  </a:lnTo>
                  <a:lnTo>
                    <a:pt x="100" y="27"/>
                  </a:lnTo>
                  <a:lnTo>
                    <a:pt x="92" y="27"/>
                  </a:lnTo>
                  <a:lnTo>
                    <a:pt x="87" y="28"/>
                  </a:lnTo>
                  <a:lnTo>
                    <a:pt x="125" y="68"/>
                  </a:lnTo>
                  <a:lnTo>
                    <a:pt x="173" y="68"/>
                  </a:lnTo>
                  <a:lnTo>
                    <a:pt x="212" y="27"/>
                  </a:lnTo>
                  <a:lnTo>
                    <a:pt x="206" y="27"/>
                  </a:lnTo>
                  <a:close/>
                  <a:moveTo>
                    <a:pt x="86" y="0"/>
                  </a:moveTo>
                  <a:lnTo>
                    <a:pt x="104" y="0"/>
                  </a:lnTo>
                  <a:lnTo>
                    <a:pt x="126" y="4"/>
                  </a:lnTo>
                  <a:lnTo>
                    <a:pt x="150" y="13"/>
                  </a:lnTo>
                  <a:lnTo>
                    <a:pt x="172" y="4"/>
                  </a:lnTo>
                  <a:lnTo>
                    <a:pt x="193" y="0"/>
                  </a:lnTo>
                  <a:lnTo>
                    <a:pt x="211" y="0"/>
                  </a:lnTo>
                  <a:lnTo>
                    <a:pt x="225" y="4"/>
                  </a:lnTo>
                  <a:lnTo>
                    <a:pt x="235" y="9"/>
                  </a:lnTo>
                  <a:lnTo>
                    <a:pt x="240" y="15"/>
                  </a:lnTo>
                  <a:lnTo>
                    <a:pt x="243" y="20"/>
                  </a:lnTo>
                  <a:lnTo>
                    <a:pt x="243" y="25"/>
                  </a:lnTo>
                  <a:lnTo>
                    <a:pt x="244" y="28"/>
                  </a:lnTo>
                  <a:lnTo>
                    <a:pt x="243" y="31"/>
                  </a:lnTo>
                  <a:lnTo>
                    <a:pt x="242" y="34"/>
                  </a:lnTo>
                  <a:lnTo>
                    <a:pt x="240" y="37"/>
                  </a:lnTo>
                  <a:lnTo>
                    <a:pt x="199" y="81"/>
                  </a:lnTo>
                  <a:lnTo>
                    <a:pt x="226" y="108"/>
                  </a:lnTo>
                  <a:lnTo>
                    <a:pt x="247" y="136"/>
                  </a:lnTo>
                  <a:lnTo>
                    <a:pt x="263" y="162"/>
                  </a:lnTo>
                  <a:lnTo>
                    <a:pt x="273" y="187"/>
                  </a:lnTo>
                  <a:lnTo>
                    <a:pt x="279" y="210"/>
                  </a:lnTo>
                  <a:lnTo>
                    <a:pt x="281" y="233"/>
                  </a:lnTo>
                  <a:lnTo>
                    <a:pt x="281" y="253"/>
                  </a:lnTo>
                  <a:lnTo>
                    <a:pt x="280" y="270"/>
                  </a:lnTo>
                  <a:lnTo>
                    <a:pt x="277" y="284"/>
                  </a:lnTo>
                  <a:lnTo>
                    <a:pt x="274" y="296"/>
                  </a:lnTo>
                  <a:lnTo>
                    <a:pt x="271" y="303"/>
                  </a:lnTo>
                  <a:lnTo>
                    <a:pt x="274" y="315"/>
                  </a:lnTo>
                  <a:lnTo>
                    <a:pt x="278" y="330"/>
                  </a:lnTo>
                  <a:lnTo>
                    <a:pt x="284" y="346"/>
                  </a:lnTo>
                  <a:lnTo>
                    <a:pt x="291" y="362"/>
                  </a:lnTo>
                  <a:lnTo>
                    <a:pt x="297" y="376"/>
                  </a:lnTo>
                  <a:lnTo>
                    <a:pt x="298" y="380"/>
                  </a:lnTo>
                  <a:lnTo>
                    <a:pt x="298" y="383"/>
                  </a:lnTo>
                  <a:lnTo>
                    <a:pt x="297" y="386"/>
                  </a:lnTo>
                  <a:lnTo>
                    <a:pt x="296" y="389"/>
                  </a:lnTo>
                  <a:lnTo>
                    <a:pt x="294" y="392"/>
                  </a:lnTo>
                  <a:lnTo>
                    <a:pt x="291" y="393"/>
                  </a:lnTo>
                  <a:lnTo>
                    <a:pt x="288" y="395"/>
                  </a:lnTo>
                  <a:lnTo>
                    <a:pt x="284" y="395"/>
                  </a:lnTo>
                  <a:lnTo>
                    <a:pt x="14" y="395"/>
                  </a:lnTo>
                  <a:lnTo>
                    <a:pt x="9" y="395"/>
                  </a:lnTo>
                  <a:lnTo>
                    <a:pt x="6" y="393"/>
                  </a:lnTo>
                  <a:lnTo>
                    <a:pt x="4" y="392"/>
                  </a:lnTo>
                  <a:lnTo>
                    <a:pt x="1" y="389"/>
                  </a:lnTo>
                  <a:lnTo>
                    <a:pt x="0" y="386"/>
                  </a:lnTo>
                  <a:lnTo>
                    <a:pt x="0" y="383"/>
                  </a:lnTo>
                  <a:lnTo>
                    <a:pt x="0" y="380"/>
                  </a:lnTo>
                  <a:lnTo>
                    <a:pt x="0" y="376"/>
                  </a:lnTo>
                  <a:lnTo>
                    <a:pt x="7" y="362"/>
                  </a:lnTo>
                  <a:lnTo>
                    <a:pt x="14" y="346"/>
                  </a:lnTo>
                  <a:lnTo>
                    <a:pt x="20" y="330"/>
                  </a:lnTo>
                  <a:lnTo>
                    <a:pt x="24" y="315"/>
                  </a:lnTo>
                  <a:lnTo>
                    <a:pt x="27" y="303"/>
                  </a:lnTo>
                  <a:lnTo>
                    <a:pt x="24" y="296"/>
                  </a:lnTo>
                  <a:lnTo>
                    <a:pt x="21" y="284"/>
                  </a:lnTo>
                  <a:lnTo>
                    <a:pt x="18" y="270"/>
                  </a:lnTo>
                  <a:lnTo>
                    <a:pt x="17" y="253"/>
                  </a:lnTo>
                  <a:lnTo>
                    <a:pt x="17" y="233"/>
                  </a:lnTo>
                  <a:lnTo>
                    <a:pt x="20" y="210"/>
                  </a:lnTo>
                  <a:lnTo>
                    <a:pt x="26" y="187"/>
                  </a:lnTo>
                  <a:lnTo>
                    <a:pt x="36" y="162"/>
                  </a:lnTo>
                  <a:lnTo>
                    <a:pt x="51" y="136"/>
                  </a:lnTo>
                  <a:lnTo>
                    <a:pt x="73" y="108"/>
                  </a:lnTo>
                  <a:lnTo>
                    <a:pt x="100" y="81"/>
                  </a:lnTo>
                  <a:lnTo>
                    <a:pt x="58" y="37"/>
                  </a:lnTo>
                  <a:lnTo>
                    <a:pt x="55" y="34"/>
                  </a:lnTo>
                  <a:lnTo>
                    <a:pt x="54" y="31"/>
                  </a:lnTo>
                  <a:lnTo>
                    <a:pt x="53" y="28"/>
                  </a:lnTo>
                  <a:lnTo>
                    <a:pt x="54" y="25"/>
                  </a:lnTo>
                  <a:lnTo>
                    <a:pt x="55" y="20"/>
                  </a:lnTo>
                  <a:lnTo>
                    <a:pt x="58" y="15"/>
                  </a:lnTo>
                  <a:lnTo>
                    <a:pt x="63" y="9"/>
                  </a:lnTo>
                  <a:lnTo>
                    <a:pt x="72" y="4"/>
                  </a:lnTo>
                  <a:lnTo>
                    <a:pt x="8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21">
              <a:extLst>
                <a:ext uri="{FF2B5EF4-FFF2-40B4-BE49-F238E27FC236}">
                  <a16:creationId xmlns:a16="http://schemas.microsoft.com/office/drawing/2014/main" id="{B73C8B8A-C7A0-7C41-BBE4-501EC2B30E4D}"/>
                </a:ext>
              </a:extLst>
            </p:cNvPr>
            <p:cNvSpPr>
              <a:spLocks noEditPoints="1"/>
            </p:cNvSpPr>
            <p:nvPr/>
          </p:nvSpPr>
          <p:spPr bwMode="auto">
            <a:xfrm>
              <a:off x="3259138" y="3379788"/>
              <a:ext cx="669925" cy="574675"/>
            </a:xfrm>
            <a:custGeom>
              <a:avLst/>
              <a:gdLst>
                <a:gd name="T0" fmla="*/ 26 w 422"/>
                <a:gd name="T1" fmla="*/ 306 h 362"/>
                <a:gd name="T2" fmla="*/ 30 w 422"/>
                <a:gd name="T3" fmla="*/ 347 h 362"/>
                <a:gd name="T4" fmla="*/ 23 w 422"/>
                <a:gd name="T5" fmla="*/ 360 h 362"/>
                <a:gd name="T6" fmla="*/ 7 w 422"/>
                <a:gd name="T7" fmla="*/ 360 h 362"/>
                <a:gd name="T8" fmla="*/ 0 w 422"/>
                <a:gd name="T9" fmla="*/ 347 h 362"/>
                <a:gd name="T10" fmla="*/ 4 w 422"/>
                <a:gd name="T11" fmla="*/ 306 h 362"/>
                <a:gd name="T12" fmla="*/ 76 w 422"/>
                <a:gd name="T13" fmla="*/ 272 h 362"/>
                <a:gd name="T14" fmla="*/ 89 w 422"/>
                <a:gd name="T15" fmla="*/ 279 h 362"/>
                <a:gd name="T16" fmla="*/ 90 w 422"/>
                <a:gd name="T17" fmla="*/ 351 h 362"/>
                <a:gd name="T18" fmla="*/ 80 w 422"/>
                <a:gd name="T19" fmla="*/ 362 h 362"/>
                <a:gd name="T20" fmla="*/ 63 w 422"/>
                <a:gd name="T21" fmla="*/ 356 h 362"/>
                <a:gd name="T22" fmla="*/ 61 w 422"/>
                <a:gd name="T23" fmla="*/ 282 h 362"/>
                <a:gd name="T24" fmla="*/ 76 w 422"/>
                <a:gd name="T25" fmla="*/ 272 h 362"/>
                <a:gd name="T26" fmla="*/ 147 w 422"/>
                <a:gd name="T27" fmla="*/ 231 h 362"/>
                <a:gd name="T28" fmla="*/ 150 w 422"/>
                <a:gd name="T29" fmla="*/ 347 h 362"/>
                <a:gd name="T30" fmla="*/ 144 w 422"/>
                <a:gd name="T31" fmla="*/ 360 h 362"/>
                <a:gd name="T32" fmla="*/ 128 w 422"/>
                <a:gd name="T33" fmla="*/ 360 h 362"/>
                <a:gd name="T34" fmla="*/ 121 w 422"/>
                <a:gd name="T35" fmla="*/ 347 h 362"/>
                <a:gd name="T36" fmla="*/ 127 w 422"/>
                <a:gd name="T37" fmla="*/ 229 h 362"/>
                <a:gd name="T38" fmla="*/ 261 w 422"/>
                <a:gd name="T39" fmla="*/ 212 h 362"/>
                <a:gd name="T40" fmla="*/ 272 w 422"/>
                <a:gd name="T41" fmla="*/ 222 h 362"/>
                <a:gd name="T42" fmla="*/ 271 w 422"/>
                <a:gd name="T43" fmla="*/ 355 h 362"/>
                <a:gd name="T44" fmla="*/ 257 w 422"/>
                <a:gd name="T45" fmla="*/ 362 h 362"/>
                <a:gd name="T46" fmla="*/ 242 w 422"/>
                <a:gd name="T47" fmla="*/ 352 h 362"/>
                <a:gd name="T48" fmla="*/ 245 w 422"/>
                <a:gd name="T49" fmla="*/ 217 h 362"/>
                <a:gd name="T50" fmla="*/ 196 w 422"/>
                <a:gd name="T51" fmla="*/ 211 h 362"/>
                <a:gd name="T52" fmla="*/ 209 w 422"/>
                <a:gd name="T53" fmla="*/ 219 h 362"/>
                <a:gd name="T54" fmla="*/ 211 w 422"/>
                <a:gd name="T55" fmla="*/ 351 h 362"/>
                <a:gd name="T56" fmla="*/ 200 w 422"/>
                <a:gd name="T57" fmla="*/ 362 h 362"/>
                <a:gd name="T58" fmla="*/ 186 w 422"/>
                <a:gd name="T59" fmla="*/ 358 h 362"/>
                <a:gd name="T60" fmla="*/ 181 w 422"/>
                <a:gd name="T61" fmla="*/ 226 h 362"/>
                <a:gd name="T62" fmla="*/ 189 w 422"/>
                <a:gd name="T63" fmla="*/ 213 h 362"/>
                <a:gd name="T64" fmla="*/ 321 w 422"/>
                <a:gd name="T65" fmla="*/ 166 h 362"/>
                <a:gd name="T66" fmla="*/ 332 w 422"/>
                <a:gd name="T67" fmla="*/ 177 h 362"/>
                <a:gd name="T68" fmla="*/ 330 w 422"/>
                <a:gd name="T69" fmla="*/ 355 h 362"/>
                <a:gd name="T70" fmla="*/ 318 w 422"/>
                <a:gd name="T71" fmla="*/ 362 h 362"/>
                <a:gd name="T72" fmla="*/ 304 w 422"/>
                <a:gd name="T73" fmla="*/ 355 h 362"/>
                <a:gd name="T74" fmla="*/ 303 w 422"/>
                <a:gd name="T75" fmla="*/ 177 h 362"/>
                <a:gd name="T76" fmla="*/ 314 w 422"/>
                <a:gd name="T77" fmla="*/ 166 h 362"/>
                <a:gd name="T78" fmla="*/ 385 w 422"/>
                <a:gd name="T79" fmla="*/ 122 h 362"/>
                <a:gd name="T80" fmla="*/ 393 w 422"/>
                <a:gd name="T81" fmla="*/ 136 h 362"/>
                <a:gd name="T82" fmla="*/ 388 w 422"/>
                <a:gd name="T83" fmla="*/ 358 h 362"/>
                <a:gd name="T84" fmla="*/ 373 w 422"/>
                <a:gd name="T85" fmla="*/ 362 h 362"/>
                <a:gd name="T86" fmla="*/ 363 w 422"/>
                <a:gd name="T87" fmla="*/ 351 h 362"/>
                <a:gd name="T88" fmla="*/ 365 w 422"/>
                <a:gd name="T89" fmla="*/ 127 h 362"/>
                <a:gd name="T90" fmla="*/ 378 w 422"/>
                <a:gd name="T91" fmla="*/ 120 h 362"/>
                <a:gd name="T92" fmla="*/ 412 w 422"/>
                <a:gd name="T93" fmla="*/ 0 h 362"/>
                <a:gd name="T94" fmla="*/ 422 w 422"/>
                <a:gd name="T95" fmla="*/ 10 h 362"/>
                <a:gd name="T96" fmla="*/ 419 w 422"/>
                <a:gd name="T97" fmla="*/ 86 h 362"/>
                <a:gd name="T98" fmla="*/ 403 w 422"/>
                <a:gd name="T99" fmla="*/ 89 h 362"/>
                <a:gd name="T100" fmla="*/ 393 w 422"/>
                <a:gd name="T101" fmla="*/ 75 h 362"/>
                <a:gd name="T102" fmla="*/ 261 w 422"/>
                <a:gd name="T103" fmla="*/ 180 h 362"/>
                <a:gd name="T104" fmla="*/ 22 w 422"/>
                <a:gd name="T105" fmla="*/ 270 h 362"/>
                <a:gd name="T106" fmla="*/ 8 w 422"/>
                <a:gd name="T107" fmla="*/ 271 h 362"/>
                <a:gd name="T108" fmla="*/ 1 w 422"/>
                <a:gd name="T109" fmla="*/ 250 h 362"/>
                <a:gd name="T110" fmla="*/ 133 w 422"/>
                <a:gd name="T111" fmla="*/ 151 h 362"/>
                <a:gd name="T112" fmla="*/ 347 w 422"/>
                <a:gd name="T113" fmla="*/ 30 h 362"/>
                <a:gd name="T114" fmla="*/ 334 w 422"/>
                <a:gd name="T115" fmla="*/ 23 h 362"/>
                <a:gd name="T116" fmla="*/ 334 w 422"/>
                <a:gd name="T117" fmla="*/ 7 h 362"/>
                <a:gd name="T118" fmla="*/ 347 w 422"/>
                <a:gd name="T119"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2" h="362">
                  <a:moveTo>
                    <a:pt x="14" y="301"/>
                  </a:moveTo>
                  <a:lnTo>
                    <a:pt x="18" y="302"/>
                  </a:lnTo>
                  <a:lnTo>
                    <a:pt x="23" y="303"/>
                  </a:lnTo>
                  <a:lnTo>
                    <a:pt x="26" y="306"/>
                  </a:lnTo>
                  <a:lnTo>
                    <a:pt x="28" y="309"/>
                  </a:lnTo>
                  <a:lnTo>
                    <a:pt x="30" y="312"/>
                  </a:lnTo>
                  <a:lnTo>
                    <a:pt x="30" y="316"/>
                  </a:lnTo>
                  <a:lnTo>
                    <a:pt x="30" y="347"/>
                  </a:lnTo>
                  <a:lnTo>
                    <a:pt x="30" y="351"/>
                  </a:lnTo>
                  <a:lnTo>
                    <a:pt x="28" y="355"/>
                  </a:lnTo>
                  <a:lnTo>
                    <a:pt x="26" y="358"/>
                  </a:lnTo>
                  <a:lnTo>
                    <a:pt x="23" y="360"/>
                  </a:lnTo>
                  <a:lnTo>
                    <a:pt x="18" y="362"/>
                  </a:lnTo>
                  <a:lnTo>
                    <a:pt x="14" y="362"/>
                  </a:lnTo>
                  <a:lnTo>
                    <a:pt x="10" y="362"/>
                  </a:lnTo>
                  <a:lnTo>
                    <a:pt x="7" y="360"/>
                  </a:lnTo>
                  <a:lnTo>
                    <a:pt x="4" y="358"/>
                  </a:lnTo>
                  <a:lnTo>
                    <a:pt x="2" y="355"/>
                  </a:lnTo>
                  <a:lnTo>
                    <a:pt x="1" y="351"/>
                  </a:lnTo>
                  <a:lnTo>
                    <a:pt x="0" y="347"/>
                  </a:lnTo>
                  <a:lnTo>
                    <a:pt x="0" y="316"/>
                  </a:lnTo>
                  <a:lnTo>
                    <a:pt x="1" y="312"/>
                  </a:lnTo>
                  <a:lnTo>
                    <a:pt x="2" y="309"/>
                  </a:lnTo>
                  <a:lnTo>
                    <a:pt x="4" y="306"/>
                  </a:lnTo>
                  <a:lnTo>
                    <a:pt x="7" y="303"/>
                  </a:lnTo>
                  <a:lnTo>
                    <a:pt x="10" y="302"/>
                  </a:lnTo>
                  <a:lnTo>
                    <a:pt x="14" y="301"/>
                  </a:lnTo>
                  <a:close/>
                  <a:moveTo>
                    <a:pt x="76" y="272"/>
                  </a:moveTo>
                  <a:lnTo>
                    <a:pt x="80" y="272"/>
                  </a:lnTo>
                  <a:lnTo>
                    <a:pt x="83" y="274"/>
                  </a:lnTo>
                  <a:lnTo>
                    <a:pt x="86" y="276"/>
                  </a:lnTo>
                  <a:lnTo>
                    <a:pt x="89" y="279"/>
                  </a:lnTo>
                  <a:lnTo>
                    <a:pt x="90" y="283"/>
                  </a:lnTo>
                  <a:lnTo>
                    <a:pt x="91" y="287"/>
                  </a:lnTo>
                  <a:lnTo>
                    <a:pt x="91" y="347"/>
                  </a:lnTo>
                  <a:lnTo>
                    <a:pt x="90" y="351"/>
                  </a:lnTo>
                  <a:lnTo>
                    <a:pt x="89" y="355"/>
                  </a:lnTo>
                  <a:lnTo>
                    <a:pt x="86" y="358"/>
                  </a:lnTo>
                  <a:lnTo>
                    <a:pt x="83" y="360"/>
                  </a:lnTo>
                  <a:lnTo>
                    <a:pt x="80" y="362"/>
                  </a:lnTo>
                  <a:lnTo>
                    <a:pt x="76" y="362"/>
                  </a:lnTo>
                  <a:lnTo>
                    <a:pt x="70" y="361"/>
                  </a:lnTo>
                  <a:lnTo>
                    <a:pt x="66" y="359"/>
                  </a:lnTo>
                  <a:lnTo>
                    <a:pt x="63" y="356"/>
                  </a:lnTo>
                  <a:lnTo>
                    <a:pt x="61" y="352"/>
                  </a:lnTo>
                  <a:lnTo>
                    <a:pt x="60" y="347"/>
                  </a:lnTo>
                  <a:lnTo>
                    <a:pt x="60" y="287"/>
                  </a:lnTo>
                  <a:lnTo>
                    <a:pt x="61" y="282"/>
                  </a:lnTo>
                  <a:lnTo>
                    <a:pt x="63" y="278"/>
                  </a:lnTo>
                  <a:lnTo>
                    <a:pt x="66" y="275"/>
                  </a:lnTo>
                  <a:lnTo>
                    <a:pt x="70" y="273"/>
                  </a:lnTo>
                  <a:lnTo>
                    <a:pt x="76" y="272"/>
                  </a:lnTo>
                  <a:close/>
                  <a:moveTo>
                    <a:pt x="137" y="226"/>
                  </a:moveTo>
                  <a:lnTo>
                    <a:pt x="141" y="227"/>
                  </a:lnTo>
                  <a:lnTo>
                    <a:pt x="144" y="228"/>
                  </a:lnTo>
                  <a:lnTo>
                    <a:pt x="147" y="231"/>
                  </a:lnTo>
                  <a:lnTo>
                    <a:pt x="149" y="234"/>
                  </a:lnTo>
                  <a:lnTo>
                    <a:pt x="150" y="238"/>
                  </a:lnTo>
                  <a:lnTo>
                    <a:pt x="150" y="242"/>
                  </a:lnTo>
                  <a:lnTo>
                    <a:pt x="150" y="347"/>
                  </a:lnTo>
                  <a:lnTo>
                    <a:pt x="150" y="351"/>
                  </a:lnTo>
                  <a:lnTo>
                    <a:pt x="149" y="355"/>
                  </a:lnTo>
                  <a:lnTo>
                    <a:pt x="147" y="358"/>
                  </a:lnTo>
                  <a:lnTo>
                    <a:pt x="144" y="360"/>
                  </a:lnTo>
                  <a:lnTo>
                    <a:pt x="141" y="362"/>
                  </a:lnTo>
                  <a:lnTo>
                    <a:pt x="137" y="362"/>
                  </a:lnTo>
                  <a:lnTo>
                    <a:pt x="133" y="362"/>
                  </a:lnTo>
                  <a:lnTo>
                    <a:pt x="128" y="360"/>
                  </a:lnTo>
                  <a:lnTo>
                    <a:pt x="125" y="358"/>
                  </a:lnTo>
                  <a:lnTo>
                    <a:pt x="123" y="355"/>
                  </a:lnTo>
                  <a:lnTo>
                    <a:pt x="121" y="351"/>
                  </a:lnTo>
                  <a:lnTo>
                    <a:pt x="121" y="347"/>
                  </a:lnTo>
                  <a:lnTo>
                    <a:pt x="121" y="242"/>
                  </a:lnTo>
                  <a:lnTo>
                    <a:pt x="121" y="236"/>
                  </a:lnTo>
                  <a:lnTo>
                    <a:pt x="124" y="232"/>
                  </a:lnTo>
                  <a:lnTo>
                    <a:pt x="127" y="229"/>
                  </a:lnTo>
                  <a:lnTo>
                    <a:pt x="132" y="227"/>
                  </a:lnTo>
                  <a:lnTo>
                    <a:pt x="137" y="226"/>
                  </a:lnTo>
                  <a:close/>
                  <a:moveTo>
                    <a:pt x="257" y="211"/>
                  </a:moveTo>
                  <a:lnTo>
                    <a:pt x="261" y="212"/>
                  </a:lnTo>
                  <a:lnTo>
                    <a:pt x="264" y="213"/>
                  </a:lnTo>
                  <a:lnTo>
                    <a:pt x="268" y="216"/>
                  </a:lnTo>
                  <a:lnTo>
                    <a:pt x="271" y="219"/>
                  </a:lnTo>
                  <a:lnTo>
                    <a:pt x="272" y="222"/>
                  </a:lnTo>
                  <a:lnTo>
                    <a:pt x="273" y="226"/>
                  </a:lnTo>
                  <a:lnTo>
                    <a:pt x="273" y="347"/>
                  </a:lnTo>
                  <a:lnTo>
                    <a:pt x="272" y="351"/>
                  </a:lnTo>
                  <a:lnTo>
                    <a:pt x="271" y="355"/>
                  </a:lnTo>
                  <a:lnTo>
                    <a:pt x="268" y="358"/>
                  </a:lnTo>
                  <a:lnTo>
                    <a:pt x="264" y="360"/>
                  </a:lnTo>
                  <a:lnTo>
                    <a:pt x="261" y="362"/>
                  </a:lnTo>
                  <a:lnTo>
                    <a:pt x="257" y="362"/>
                  </a:lnTo>
                  <a:lnTo>
                    <a:pt x="252" y="361"/>
                  </a:lnTo>
                  <a:lnTo>
                    <a:pt x="248" y="359"/>
                  </a:lnTo>
                  <a:lnTo>
                    <a:pt x="245" y="356"/>
                  </a:lnTo>
                  <a:lnTo>
                    <a:pt x="242" y="352"/>
                  </a:lnTo>
                  <a:lnTo>
                    <a:pt x="242" y="347"/>
                  </a:lnTo>
                  <a:lnTo>
                    <a:pt x="242" y="226"/>
                  </a:lnTo>
                  <a:lnTo>
                    <a:pt x="242" y="221"/>
                  </a:lnTo>
                  <a:lnTo>
                    <a:pt x="245" y="217"/>
                  </a:lnTo>
                  <a:lnTo>
                    <a:pt x="248" y="214"/>
                  </a:lnTo>
                  <a:lnTo>
                    <a:pt x="252" y="212"/>
                  </a:lnTo>
                  <a:lnTo>
                    <a:pt x="257" y="211"/>
                  </a:lnTo>
                  <a:close/>
                  <a:moveTo>
                    <a:pt x="196" y="211"/>
                  </a:moveTo>
                  <a:lnTo>
                    <a:pt x="200" y="212"/>
                  </a:lnTo>
                  <a:lnTo>
                    <a:pt x="203" y="213"/>
                  </a:lnTo>
                  <a:lnTo>
                    <a:pt x="207" y="216"/>
                  </a:lnTo>
                  <a:lnTo>
                    <a:pt x="209" y="219"/>
                  </a:lnTo>
                  <a:lnTo>
                    <a:pt x="211" y="222"/>
                  </a:lnTo>
                  <a:lnTo>
                    <a:pt x="211" y="226"/>
                  </a:lnTo>
                  <a:lnTo>
                    <a:pt x="211" y="347"/>
                  </a:lnTo>
                  <a:lnTo>
                    <a:pt x="211" y="351"/>
                  </a:lnTo>
                  <a:lnTo>
                    <a:pt x="209" y="355"/>
                  </a:lnTo>
                  <a:lnTo>
                    <a:pt x="207" y="358"/>
                  </a:lnTo>
                  <a:lnTo>
                    <a:pt x="203" y="360"/>
                  </a:lnTo>
                  <a:lnTo>
                    <a:pt x="200" y="362"/>
                  </a:lnTo>
                  <a:lnTo>
                    <a:pt x="196" y="362"/>
                  </a:lnTo>
                  <a:lnTo>
                    <a:pt x="192" y="362"/>
                  </a:lnTo>
                  <a:lnTo>
                    <a:pt x="189" y="360"/>
                  </a:lnTo>
                  <a:lnTo>
                    <a:pt x="186" y="358"/>
                  </a:lnTo>
                  <a:lnTo>
                    <a:pt x="183" y="355"/>
                  </a:lnTo>
                  <a:lnTo>
                    <a:pt x="182" y="351"/>
                  </a:lnTo>
                  <a:lnTo>
                    <a:pt x="181" y="347"/>
                  </a:lnTo>
                  <a:lnTo>
                    <a:pt x="181" y="226"/>
                  </a:lnTo>
                  <a:lnTo>
                    <a:pt x="182" y="222"/>
                  </a:lnTo>
                  <a:lnTo>
                    <a:pt x="183" y="219"/>
                  </a:lnTo>
                  <a:lnTo>
                    <a:pt x="186" y="216"/>
                  </a:lnTo>
                  <a:lnTo>
                    <a:pt x="189" y="213"/>
                  </a:lnTo>
                  <a:lnTo>
                    <a:pt x="192" y="212"/>
                  </a:lnTo>
                  <a:lnTo>
                    <a:pt x="196" y="211"/>
                  </a:lnTo>
                  <a:close/>
                  <a:moveTo>
                    <a:pt x="318" y="166"/>
                  </a:moveTo>
                  <a:lnTo>
                    <a:pt x="321" y="166"/>
                  </a:lnTo>
                  <a:lnTo>
                    <a:pt x="326" y="168"/>
                  </a:lnTo>
                  <a:lnTo>
                    <a:pt x="328" y="170"/>
                  </a:lnTo>
                  <a:lnTo>
                    <a:pt x="330" y="173"/>
                  </a:lnTo>
                  <a:lnTo>
                    <a:pt x="332" y="177"/>
                  </a:lnTo>
                  <a:lnTo>
                    <a:pt x="332" y="180"/>
                  </a:lnTo>
                  <a:lnTo>
                    <a:pt x="332" y="347"/>
                  </a:lnTo>
                  <a:lnTo>
                    <a:pt x="332" y="351"/>
                  </a:lnTo>
                  <a:lnTo>
                    <a:pt x="330" y="355"/>
                  </a:lnTo>
                  <a:lnTo>
                    <a:pt x="328" y="358"/>
                  </a:lnTo>
                  <a:lnTo>
                    <a:pt x="326" y="360"/>
                  </a:lnTo>
                  <a:lnTo>
                    <a:pt x="321" y="362"/>
                  </a:lnTo>
                  <a:lnTo>
                    <a:pt x="318" y="362"/>
                  </a:lnTo>
                  <a:lnTo>
                    <a:pt x="314" y="362"/>
                  </a:lnTo>
                  <a:lnTo>
                    <a:pt x="310" y="360"/>
                  </a:lnTo>
                  <a:lnTo>
                    <a:pt x="307" y="358"/>
                  </a:lnTo>
                  <a:lnTo>
                    <a:pt x="304" y="355"/>
                  </a:lnTo>
                  <a:lnTo>
                    <a:pt x="303" y="351"/>
                  </a:lnTo>
                  <a:lnTo>
                    <a:pt x="302" y="347"/>
                  </a:lnTo>
                  <a:lnTo>
                    <a:pt x="302" y="180"/>
                  </a:lnTo>
                  <a:lnTo>
                    <a:pt x="303" y="177"/>
                  </a:lnTo>
                  <a:lnTo>
                    <a:pt x="304" y="173"/>
                  </a:lnTo>
                  <a:lnTo>
                    <a:pt x="307" y="170"/>
                  </a:lnTo>
                  <a:lnTo>
                    <a:pt x="310" y="168"/>
                  </a:lnTo>
                  <a:lnTo>
                    <a:pt x="314" y="166"/>
                  </a:lnTo>
                  <a:lnTo>
                    <a:pt x="318" y="166"/>
                  </a:lnTo>
                  <a:close/>
                  <a:moveTo>
                    <a:pt x="378" y="120"/>
                  </a:moveTo>
                  <a:lnTo>
                    <a:pt x="382" y="120"/>
                  </a:lnTo>
                  <a:lnTo>
                    <a:pt x="385" y="122"/>
                  </a:lnTo>
                  <a:lnTo>
                    <a:pt x="388" y="124"/>
                  </a:lnTo>
                  <a:lnTo>
                    <a:pt x="391" y="127"/>
                  </a:lnTo>
                  <a:lnTo>
                    <a:pt x="392" y="132"/>
                  </a:lnTo>
                  <a:lnTo>
                    <a:pt x="393" y="136"/>
                  </a:lnTo>
                  <a:lnTo>
                    <a:pt x="393" y="347"/>
                  </a:lnTo>
                  <a:lnTo>
                    <a:pt x="392" y="351"/>
                  </a:lnTo>
                  <a:lnTo>
                    <a:pt x="391" y="355"/>
                  </a:lnTo>
                  <a:lnTo>
                    <a:pt x="388" y="358"/>
                  </a:lnTo>
                  <a:lnTo>
                    <a:pt x="385" y="360"/>
                  </a:lnTo>
                  <a:lnTo>
                    <a:pt x="382" y="362"/>
                  </a:lnTo>
                  <a:lnTo>
                    <a:pt x="378" y="362"/>
                  </a:lnTo>
                  <a:lnTo>
                    <a:pt x="373" y="362"/>
                  </a:lnTo>
                  <a:lnTo>
                    <a:pt x="370" y="360"/>
                  </a:lnTo>
                  <a:lnTo>
                    <a:pt x="367" y="358"/>
                  </a:lnTo>
                  <a:lnTo>
                    <a:pt x="365" y="355"/>
                  </a:lnTo>
                  <a:lnTo>
                    <a:pt x="363" y="351"/>
                  </a:lnTo>
                  <a:lnTo>
                    <a:pt x="363" y="347"/>
                  </a:lnTo>
                  <a:lnTo>
                    <a:pt x="363" y="136"/>
                  </a:lnTo>
                  <a:lnTo>
                    <a:pt x="363" y="132"/>
                  </a:lnTo>
                  <a:lnTo>
                    <a:pt x="365" y="127"/>
                  </a:lnTo>
                  <a:lnTo>
                    <a:pt x="367" y="124"/>
                  </a:lnTo>
                  <a:lnTo>
                    <a:pt x="370" y="122"/>
                  </a:lnTo>
                  <a:lnTo>
                    <a:pt x="373" y="120"/>
                  </a:lnTo>
                  <a:lnTo>
                    <a:pt x="378" y="120"/>
                  </a:lnTo>
                  <a:close/>
                  <a:moveTo>
                    <a:pt x="347" y="0"/>
                  </a:moveTo>
                  <a:lnTo>
                    <a:pt x="409" y="0"/>
                  </a:lnTo>
                  <a:lnTo>
                    <a:pt x="410" y="0"/>
                  </a:lnTo>
                  <a:lnTo>
                    <a:pt x="412" y="0"/>
                  </a:lnTo>
                  <a:lnTo>
                    <a:pt x="414" y="1"/>
                  </a:lnTo>
                  <a:lnTo>
                    <a:pt x="417" y="3"/>
                  </a:lnTo>
                  <a:lnTo>
                    <a:pt x="420" y="6"/>
                  </a:lnTo>
                  <a:lnTo>
                    <a:pt x="422" y="10"/>
                  </a:lnTo>
                  <a:lnTo>
                    <a:pt x="422" y="75"/>
                  </a:lnTo>
                  <a:lnTo>
                    <a:pt x="422" y="79"/>
                  </a:lnTo>
                  <a:lnTo>
                    <a:pt x="421" y="83"/>
                  </a:lnTo>
                  <a:lnTo>
                    <a:pt x="419" y="86"/>
                  </a:lnTo>
                  <a:lnTo>
                    <a:pt x="416" y="88"/>
                  </a:lnTo>
                  <a:lnTo>
                    <a:pt x="413" y="90"/>
                  </a:lnTo>
                  <a:lnTo>
                    <a:pt x="409" y="90"/>
                  </a:lnTo>
                  <a:lnTo>
                    <a:pt x="403" y="89"/>
                  </a:lnTo>
                  <a:lnTo>
                    <a:pt x="399" y="87"/>
                  </a:lnTo>
                  <a:lnTo>
                    <a:pt x="396" y="84"/>
                  </a:lnTo>
                  <a:lnTo>
                    <a:pt x="394" y="80"/>
                  </a:lnTo>
                  <a:lnTo>
                    <a:pt x="393" y="75"/>
                  </a:lnTo>
                  <a:lnTo>
                    <a:pt x="393" y="51"/>
                  </a:lnTo>
                  <a:lnTo>
                    <a:pt x="269" y="176"/>
                  </a:lnTo>
                  <a:lnTo>
                    <a:pt x="265" y="179"/>
                  </a:lnTo>
                  <a:lnTo>
                    <a:pt x="261" y="180"/>
                  </a:lnTo>
                  <a:lnTo>
                    <a:pt x="257" y="180"/>
                  </a:lnTo>
                  <a:lnTo>
                    <a:pt x="141" y="180"/>
                  </a:lnTo>
                  <a:lnTo>
                    <a:pt x="25" y="269"/>
                  </a:lnTo>
                  <a:lnTo>
                    <a:pt x="22" y="270"/>
                  </a:lnTo>
                  <a:lnTo>
                    <a:pt x="18" y="271"/>
                  </a:lnTo>
                  <a:lnTo>
                    <a:pt x="14" y="272"/>
                  </a:lnTo>
                  <a:lnTo>
                    <a:pt x="11" y="271"/>
                  </a:lnTo>
                  <a:lnTo>
                    <a:pt x="8" y="271"/>
                  </a:lnTo>
                  <a:lnTo>
                    <a:pt x="6" y="269"/>
                  </a:lnTo>
                  <a:lnTo>
                    <a:pt x="3" y="266"/>
                  </a:lnTo>
                  <a:lnTo>
                    <a:pt x="0" y="258"/>
                  </a:lnTo>
                  <a:lnTo>
                    <a:pt x="1" y="250"/>
                  </a:lnTo>
                  <a:lnTo>
                    <a:pt x="6" y="245"/>
                  </a:lnTo>
                  <a:lnTo>
                    <a:pt x="126" y="154"/>
                  </a:lnTo>
                  <a:lnTo>
                    <a:pt x="129" y="152"/>
                  </a:lnTo>
                  <a:lnTo>
                    <a:pt x="133" y="151"/>
                  </a:lnTo>
                  <a:lnTo>
                    <a:pt x="137" y="151"/>
                  </a:lnTo>
                  <a:lnTo>
                    <a:pt x="251" y="151"/>
                  </a:lnTo>
                  <a:lnTo>
                    <a:pt x="371" y="30"/>
                  </a:lnTo>
                  <a:lnTo>
                    <a:pt x="347" y="30"/>
                  </a:lnTo>
                  <a:lnTo>
                    <a:pt x="343" y="29"/>
                  </a:lnTo>
                  <a:lnTo>
                    <a:pt x="340" y="28"/>
                  </a:lnTo>
                  <a:lnTo>
                    <a:pt x="336" y="26"/>
                  </a:lnTo>
                  <a:lnTo>
                    <a:pt x="334" y="23"/>
                  </a:lnTo>
                  <a:lnTo>
                    <a:pt x="333" y="20"/>
                  </a:lnTo>
                  <a:lnTo>
                    <a:pt x="332" y="15"/>
                  </a:lnTo>
                  <a:lnTo>
                    <a:pt x="333" y="11"/>
                  </a:lnTo>
                  <a:lnTo>
                    <a:pt x="334" y="7"/>
                  </a:lnTo>
                  <a:lnTo>
                    <a:pt x="336" y="4"/>
                  </a:lnTo>
                  <a:lnTo>
                    <a:pt x="340" y="2"/>
                  </a:lnTo>
                  <a:lnTo>
                    <a:pt x="343" y="0"/>
                  </a:lnTo>
                  <a:lnTo>
                    <a:pt x="34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22">
              <a:extLst>
                <a:ext uri="{FF2B5EF4-FFF2-40B4-BE49-F238E27FC236}">
                  <a16:creationId xmlns:a16="http://schemas.microsoft.com/office/drawing/2014/main" id="{3E4159EF-FBE7-3747-A123-13705290D22C}"/>
                </a:ext>
              </a:extLst>
            </p:cNvPr>
            <p:cNvSpPr>
              <a:spLocks noEditPoints="1"/>
            </p:cNvSpPr>
            <p:nvPr/>
          </p:nvSpPr>
          <p:spPr bwMode="auto">
            <a:xfrm>
              <a:off x="2743201" y="3538538"/>
              <a:ext cx="376238" cy="382588"/>
            </a:xfrm>
            <a:custGeom>
              <a:avLst/>
              <a:gdLst>
                <a:gd name="T0" fmla="*/ 153 w 237"/>
                <a:gd name="T1" fmla="*/ 205 h 241"/>
                <a:gd name="T2" fmla="*/ 166 w 237"/>
                <a:gd name="T3" fmla="*/ 212 h 241"/>
                <a:gd name="T4" fmla="*/ 199 w 237"/>
                <a:gd name="T5" fmla="*/ 184 h 241"/>
                <a:gd name="T6" fmla="*/ 94 w 237"/>
                <a:gd name="T7" fmla="*/ 184 h 241"/>
                <a:gd name="T8" fmla="*/ 106 w 237"/>
                <a:gd name="T9" fmla="*/ 214 h 241"/>
                <a:gd name="T10" fmla="*/ 118 w 237"/>
                <a:gd name="T11" fmla="*/ 225 h 241"/>
                <a:gd name="T12" fmla="*/ 131 w 237"/>
                <a:gd name="T13" fmla="*/ 214 h 241"/>
                <a:gd name="T14" fmla="*/ 142 w 237"/>
                <a:gd name="T15" fmla="*/ 184 h 241"/>
                <a:gd name="T16" fmla="*/ 38 w 237"/>
                <a:gd name="T17" fmla="*/ 184 h 241"/>
                <a:gd name="T18" fmla="*/ 72 w 237"/>
                <a:gd name="T19" fmla="*/ 212 h 241"/>
                <a:gd name="T20" fmla="*/ 84 w 237"/>
                <a:gd name="T21" fmla="*/ 205 h 241"/>
                <a:gd name="T22" fmla="*/ 38 w 237"/>
                <a:gd name="T23" fmla="*/ 184 h 241"/>
                <a:gd name="T24" fmla="*/ 164 w 237"/>
                <a:gd name="T25" fmla="*/ 149 h 241"/>
                <a:gd name="T26" fmla="*/ 210 w 237"/>
                <a:gd name="T27" fmla="*/ 169 h 241"/>
                <a:gd name="T28" fmla="*/ 220 w 237"/>
                <a:gd name="T29" fmla="*/ 128 h 241"/>
                <a:gd name="T30" fmla="*/ 87 w 237"/>
                <a:gd name="T31" fmla="*/ 128 h 241"/>
                <a:gd name="T32" fmla="*/ 90 w 237"/>
                <a:gd name="T33" fmla="*/ 169 h 241"/>
                <a:gd name="T34" fmla="*/ 148 w 237"/>
                <a:gd name="T35" fmla="*/ 150 h 241"/>
                <a:gd name="T36" fmla="*/ 87 w 237"/>
                <a:gd name="T37" fmla="*/ 128 h 241"/>
                <a:gd name="T38" fmla="*/ 20 w 237"/>
                <a:gd name="T39" fmla="*/ 149 h 241"/>
                <a:gd name="T40" fmla="*/ 75 w 237"/>
                <a:gd name="T41" fmla="*/ 169 h 241"/>
                <a:gd name="T42" fmla="*/ 72 w 237"/>
                <a:gd name="T43" fmla="*/ 128 h 241"/>
                <a:gd name="T44" fmla="*/ 162 w 237"/>
                <a:gd name="T45" fmla="*/ 72 h 241"/>
                <a:gd name="T46" fmla="*/ 165 w 237"/>
                <a:gd name="T47" fmla="*/ 113 h 241"/>
                <a:gd name="T48" fmla="*/ 217 w 237"/>
                <a:gd name="T49" fmla="*/ 92 h 241"/>
                <a:gd name="T50" fmla="*/ 162 w 237"/>
                <a:gd name="T51" fmla="*/ 72 h 241"/>
                <a:gd name="T52" fmla="*/ 88 w 237"/>
                <a:gd name="T53" fmla="*/ 91 h 241"/>
                <a:gd name="T54" fmla="*/ 149 w 237"/>
                <a:gd name="T55" fmla="*/ 113 h 241"/>
                <a:gd name="T56" fmla="*/ 146 w 237"/>
                <a:gd name="T57" fmla="*/ 72 h 241"/>
                <a:gd name="T58" fmla="*/ 28 w 237"/>
                <a:gd name="T59" fmla="*/ 72 h 241"/>
                <a:gd name="T60" fmla="*/ 17 w 237"/>
                <a:gd name="T61" fmla="*/ 113 h 241"/>
                <a:gd name="T62" fmla="*/ 73 w 237"/>
                <a:gd name="T63" fmla="*/ 92 h 241"/>
                <a:gd name="T64" fmla="*/ 28 w 237"/>
                <a:gd name="T65" fmla="*/ 72 h 241"/>
                <a:gd name="T66" fmla="*/ 153 w 237"/>
                <a:gd name="T67" fmla="*/ 36 h 241"/>
                <a:gd name="T68" fmla="*/ 199 w 237"/>
                <a:gd name="T69" fmla="*/ 56 h 241"/>
                <a:gd name="T70" fmla="*/ 166 w 237"/>
                <a:gd name="T71" fmla="*/ 27 h 241"/>
                <a:gd name="T72" fmla="*/ 92 w 237"/>
                <a:gd name="T73" fmla="*/ 19 h 241"/>
                <a:gd name="T74" fmla="*/ 53 w 237"/>
                <a:gd name="T75" fmla="*/ 40 h 241"/>
                <a:gd name="T76" fmla="*/ 78 w 237"/>
                <a:gd name="T77" fmla="*/ 56 h 241"/>
                <a:gd name="T78" fmla="*/ 92 w 237"/>
                <a:gd name="T79" fmla="*/ 19 h 241"/>
                <a:gd name="T80" fmla="*/ 112 w 237"/>
                <a:gd name="T81" fmla="*/ 18 h 241"/>
                <a:gd name="T82" fmla="*/ 100 w 237"/>
                <a:gd name="T83" fmla="*/ 39 h 241"/>
                <a:gd name="T84" fmla="*/ 142 w 237"/>
                <a:gd name="T85" fmla="*/ 56 h 241"/>
                <a:gd name="T86" fmla="*/ 131 w 237"/>
                <a:gd name="T87" fmla="*/ 26 h 241"/>
                <a:gd name="T88" fmla="*/ 118 w 237"/>
                <a:gd name="T89" fmla="*/ 16 h 241"/>
                <a:gd name="T90" fmla="*/ 145 w 237"/>
                <a:gd name="T91" fmla="*/ 4 h 241"/>
                <a:gd name="T92" fmla="*/ 192 w 237"/>
                <a:gd name="T93" fmla="*/ 26 h 241"/>
                <a:gd name="T94" fmla="*/ 225 w 237"/>
                <a:gd name="T95" fmla="*/ 67 h 241"/>
                <a:gd name="T96" fmla="*/ 237 w 237"/>
                <a:gd name="T97" fmla="*/ 121 h 241"/>
                <a:gd name="T98" fmla="*/ 225 w 237"/>
                <a:gd name="T99" fmla="*/ 174 h 241"/>
                <a:gd name="T100" fmla="*/ 192 w 237"/>
                <a:gd name="T101" fmla="*/ 214 h 241"/>
                <a:gd name="T102" fmla="*/ 145 w 237"/>
                <a:gd name="T103" fmla="*/ 238 h 241"/>
                <a:gd name="T104" fmla="*/ 91 w 237"/>
                <a:gd name="T105" fmla="*/ 238 h 241"/>
                <a:gd name="T106" fmla="*/ 45 w 237"/>
                <a:gd name="T107" fmla="*/ 214 h 241"/>
                <a:gd name="T108" fmla="*/ 12 w 237"/>
                <a:gd name="T109" fmla="*/ 174 h 241"/>
                <a:gd name="T110" fmla="*/ 0 w 237"/>
                <a:gd name="T111" fmla="*/ 121 h 241"/>
                <a:gd name="T112" fmla="*/ 12 w 237"/>
                <a:gd name="T113" fmla="*/ 67 h 241"/>
                <a:gd name="T114" fmla="*/ 45 w 237"/>
                <a:gd name="T115" fmla="*/ 26 h 241"/>
                <a:gd name="T116" fmla="*/ 91 w 237"/>
                <a:gd name="T117" fmla="*/ 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7" h="241">
                  <a:moveTo>
                    <a:pt x="159" y="184"/>
                  </a:moveTo>
                  <a:lnTo>
                    <a:pt x="153" y="205"/>
                  </a:lnTo>
                  <a:lnTo>
                    <a:pt x="145" y="221"/>
                  </a:lnTo>
                  <a:lnTo>
                    <a:pt x="166" y="212"/>
                  </a:lnTo>
                  <a:lnTo>
                    <a:pt x="184" y="200"/>
                  </a:lnTo>
                  <a:lnTo>
                    <a:pt x="199" y="184"/>
                  </a:lnTo>
                  <a:lnTo>
                    <a:pt x="159" y="184"/>
                  </a:lnTo>
                  <a:close/>
                  <a:moveTo>
                    <a:pt x="94" y="184"/>
                  </a:moveTo>
                  <a:lnTo>
                    <a:pt x="100" y="202"/>
                  </a:lnTo>
                  <a:lnTo>
                    <a:pt x="106" y="214"/>
                  </a:lnTo>
                  <a:lnTo>
                    <a:pt x="112" y="222"/>
                  </a:lnTo>
                  <a:lnTo>
                    <a:pt x="118" y="225"/>
                  </a:lnTo>
                  <a:lnTo>
                    <a:pt x="124" y="222"/>
                  </a:lnTo>
                  <a:lnTo>
                    <a:pt x="131" y="214"/>
                  </a:lnTo>
                  <a:lnTo>
                    <a:pt x="137" y="202"/>
                  </a:lnTo>
                  <a:lnTo>
                    <a:pt x="142" y="184"/>
                  </a:lnTo>
                  <a:lnTo>
                    <a:pt x="94" y="184"/>
                  </a:lnTo>
                  <a:close/>
                  <a:moveTo>
                    <a:pt x="38" y="184"/>
                  </a:moveTo>
                  <a:lnTo>
                    <a:pt x="53" y="200"/>
                  </a:lnTo>
                  <a:lnTo>
                    <a:pt x="72" y="212"/>
                  </a:lnTo>
                  <a:lnTo>
                    <a:pt x="92" y="221"/>
                  </a:lnTo>
                  <a:lnTo>
                    <a:pt x="84" y="205"/>
                  </a:lnTo>
                  <a:lnTo>
                    <a:pt x="78" y="184"/>
                  </a:lnTo>
                  <a:lnTo>
                    <a:pt x="38" y="184"/>
                  </a:lnTo>
                  <a:close/>
                  <a:moveTo>
                    <a:pt x="165" y="128"/>
                  </a:moveTo>
                  <a:lnTo>
                    <a:pt x="164" y="149"/>
                  </a:lnTo>
                  <a:lnTo>
                    <a:pt x="162" y="169"/>
                  </a:lnTo>
                  <a:lnTo>
                    <a:pt x="210" y="169"/>
                  </a:lnTo>
                  <a:lnTo>
                    <a:pt x="217" y="149"/>
                  </a:lnTo>
                  <a:lnTo>
                    <a:pt x="220" y="128"/>
                  </a:lnTo>
                  <a:lnTo>
                    <a:pt x="165" y="128"/>
                  </a:lnTo>
                  <a:close/>
                  <a:moveTo>
                    <a:pt x="87" y="128"/>
                  </a:moveTo>
                  <a:lnTo>
                    <a:pt x="88" y="150"/>
                  </a:lnTo>
                  <a:lnTo>
                    <a:pt x="90" y="169"/>
                  </a:lnTo>
                  <a:lnTo>
                    <a:pt x="146" y="169"/>
                  </a:lnTo>
                  <a:lnTo>
                    <a:pt x="148" y="150"/>
                  </a:lnTo>
                  <a:lnTo>
                    <a:pt x="149" y="128"/>
                  </a:lnTo>
                  <a:lnTo>
                    <a:pt x="87" y="128"/>
                  </a:lnTo>
                  <a:close/>
                  <a:moveTo>
                    <a:pt x="17" y="128"/>
                  </a:moveTo>
                  <a:lnTo>
                    <a:pt x="20" y="149"/>
                  </a:lnTo>
                  <a:lnTo>
                    <a:pt x="28" y="169"/>
                  </a:lnTo>
                  <a:lnTo>
                    <a:pt x="75" y="169"/>
                  </a:lnTo>
                  <a:lnTo>
                    <a:pt x="73" y="149"/>
                  </a:lnTo>
                  <a:lnTo>
                    <a:pt x="72" y="128"/>
                  </a:lnTo>
                  <a:lnTo>
                    <a:pt x="17" y="128"/>
                  </a:lnTo>
                  <a:close/>
                  <a:moveTo>
                    <a:pt x="162" y="72"/>
                  </a:moveTo>
                  <a:lnTo>
                    <a:pt x="164" y="92"/>
                  </a:lnTo>
                  <a:lnTo>
                    <a:pt x="165" y="113"/>
                  </a:lnTo>
                  <a:lnTo>
                    <a:pt x="220" y="113"/>
                  </a:lnTo>
                  <a:lnTo>
                    <a:pt x="217" y="92"/>
                  </a:lnTo>
                  <a:lnTo>
                    <a:pt x="210" y="72"/>
                  </a:lnTo>
                  <a:lnTo>
                    <a:pt x="162" y="72"/>
                  </a:lnTo>
                  <a:close/>
                  <a:moveTo>
                    <a:pt x="90" y="72"/>
                  </a:moveTo>
                  <a:lnTo>
                    <a:pt x="88" y="91"/>
                  </a:lnTo>
                  <a:lnTo>
                    <a:pt x="87" y="113"/>
                  </a:lnTo>
                  <a:lnTo>
                    <a:pt x="149" y="113"/>
                  </a:lnTo>
                  <a:lnTo>
                    <a:pt x="148" y="91"/>
                  </a:lnTo>
                  <a:lnTo>
                    <a:pt x="146" y="72"/>
                  </a:lnTo>
                  <a:lnTo>
                    <a:pt x="90" y="72"/>
                  </a:lnTo>
                  <a:close/>
                  <a:moveTo>
                    <a:pt x="28" y="72"/>
                  </a:moveTo>
                  <a:lnTo>
                    <a:pt x="20" y="92"/>
                  </a:lnTo>
                  <a:lnTo>
                    <a:pt x="17" y="113"/>
                  </a:lnTo>
                  <a:lnTo>
                    <a:pt x="72" y="113"/>
                  </a:lnTo>
                  <a:lnTo>
                    <a:pt x="73" y="92"/>
                  </a:lnTo>
                  <a:lnTo>
                    <a:pt x="75" y="72"/>
                  </a:lnTo>
                  <a:lnTo>
                    <a:pt x="28" y="72"/>
                  </a:lnTo>
                  <a:close/>
                  <a:moveTo>
                    <a:pt x="145" y="19"/>
                  </a:moveTo>
                  <a:lnTo>
                    <a:pt x="153" y="36"/>
                  </a:lnTo>
                  <a:lnTo>
                    <a:pt x="159" y="56"/>
                  </a:lnTo>
                  <a:lnTo>
                    <a:pt x="199" y="56"/>
                  </a:lnTo>
                  <a:lnTo>
                    <a:pt x="184" y="40"/>
                  </a:lnTo>
                  <a:lnTo>
                    <a:pt x="166" y="27"/>
                  </a:lnTo>
                  <a:lnTo>
                    <a:pt x="145" y="19"/>
                  </a:lnTo>
                  <a:close/>
                  <a:moveTo>
                    <a:pt x="92" y="19"/>
                  </a:moveTo>
                  <a:lnTo>
                    <a:pt x="72" y="27"/>
                  </a:lnTo>
                  <a:lnTo>
                    <a:pt x="53" y="40"/>
                  </a:lnTo>
                  <a:lnTo>
                    <a:pt x="38" y="56"/>
                  </a:lnTo>
                  <a:lnTo>
                    <a:pt x="78" y="56"/>
                  </a:lnTo>
                  <a:lnTo>
                    <a:pt x="84" y="36"/>
                  </a:lnTo>
                  <a:lnTo>
                    <a:pt x="92" y="19"/>
                  </a:lnTo>
                  <a:close/>
                  <a:moveTo>
                    <a:pt x="118" y="16"/>
                  </a:moveTo>
                  <a:lnTo>
                    <a:pt x="112" y="18"/>
                  </a:lnTo>
                  <a:lnTo>
                    <a:pt x="106" y="26"/>
                  </a:lnTo>
                  <a:lnTo>
                    <a:pt x="100" y="39"/>
                  </a:lnTo>
                  <a:lnTo>
                    <a:pt x="94" y="56"/>
                  </a:lnTo>
                  <a:lnTo>
                    <a:pt x="142" y="56"/>
                  </a:lnTo>
                  <a:lnTo>
                    <a:pt x="137" y="39"/>
                  </a:lnTo>
                  <a:lnTo>
                    <a:pt x="131" y="26"/>
                  </a:lnTo>
                  <a:lnTo>
                    <a:pt x="124" y="18"/>
                  </a:lnTo>
                  <a:lnTo>
                    <a:pt x="118" y="16"/>
                  </a:lnTo>
                  <a:close/>
                  <a:moveTo>
                    <a:pt x="118" y="0"/>
                  </a:moveTo>
                  <a:lnTo>
                    <a:pt x="145" y="4"/>
                  </a:lnTo>
                  <a:lnTo>
                    <a:pt x="170" y="12"/>
                  </a:lnTo>
                  <a:lnTo>
                    <a:pt x="192" y="26"/>
                  </a:lnTo>
                  <a:lnTo>
                    <a:pt x="211" y="45"/>
                  </a:lnTo>
                  <a:lnTo>
                    <a:pt x="225" y="67"/>
                  </a:lnTo>
                  <a:lnTo>
                    <a:pt x="233" y="93"/>
                  </a:lnTo>
                  <a:lnTo>
                    <a:pt x="237" y="121"/>
                  </a:lnTo>
                  <a:lnTo>
                    <a:pt x="233" y="148"/>
                  </a:lnTo>
                  <a:lnTo>
                    <a:pt x="225" y="174"/>
                  </a:lnTo>
                  <a:lnTo>
                    <a:pt x="211" y="196"/>
                  </a:lnTo>
                  <a:lnTo>
                    <a:pt x="192" y="214"/>
                  </a:lnTo>
                  <a:lnTo>
                    <a:pt x="170" y="229"/>
                  </a:lnTo>
                  <a:lnTo>
                    <a:pt x="145" y="238"/>
                  </a:lnTo>
                  <a:lnTo>
                    <a:pt x="118" y="241"/>
                  </a:lnTo>
                  <a:lnTo>
                    <a:pt x="91" y="238"/>
                  </a:lnTo>
                  <a:lnTo>
                    <a:pt x="66" y="229"/>
                  </a:lnTo>
                  <a:lnTo>
                    <a:pt x="45" y="214"/>
                  </a:lnTo>
                  <a:lnTo>
                    <a:pt x="26" y="196"/>
                  </a:lnTo>
                  <a:lnTo>
                    <a:pt x="12" y="174"/>
                  </a:lnTo>
                  <a:lnTo>
                    <a:pt x="3" y="148"/>
                  </a:lnTo>
                  <a:lnTo>
                    <a:pt x="0" y="121"/>
                  </a:lnTo>
                  <a:lnTo>
                    <a:pt x="3" y="93"/>
                  </a:lnTo>
                  <a:lnTo>
                    <a:pt x="12" y="67"/>
                  </a:lnTo>
                  <a:lnTo>
                    <a:pt x="26" y="45"/>
                  </a:lnTo>
                  <a:lnTo>
                    <a:pt x="45" y="26"/>
                  </a:lnTo>
                  <a:lnTo>
                    <a:pt x="66" y="12"/>
                  </a:lnTo>
                  <a:lnTo>
                    <a:pt x="91" y="4"/>
                  </a:lnTo>
                  <a:lnTo>
                    <a:pt x="1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23">
              <a:extLst>
                <a:ext uri="{FF2B5EF4-FFF2-40B4-BE49-F238E27FC236}">
                  <a16:creationId xmlns:a16="http://schemas.microsoft.com/office/drawing/2014/main" id="{1A55860F-F0D2-874B-AB31-57966C98B93D}"/>
                </a:ext>
              </a:extLst>
            </p:cNvPr>
            <p:cNvSpPr>
              <a:spLocks noEditPoints="1"/>
            </p:cNvSpPr>
            <p:nvPr/>
          </p:nvSpPr>
          <p:spPr bwMode="auto">
            <a:xfrm>
              <a:off x="3094038" y="2074863"/>
              <a:ext cx="500063" cy="446088"/>
            </a:xfrm>
            <a:custGeom>
              <a:avLst/>
              <a:gdLst>
                <a:gd name="T0" fmla="*/ 225 w 315"/>
                <a:gd name="T1" fmla="*/ 187 h 281"/>
                <a:gd name="T2" fmla="*/ 262 w 315"/>
                <a:gd name="T3" fmla="*/ 81 h 281"/>
                <a:gd name="T4" fmla="*/ 25 w 315"/>
                <a:gd name="T5" fmla="*/ 187 h 281"/>
                <a:gd name="T6" fmla="*/ 62 w 315"/>
                <a:gd name="T7" fmla="*/ 81 h 281"/>
                <a:gd name="T8" fmla="*/ 161 w 315"/>
                <a:gd name="T9" fmla="*/ 1 h 281"/>
                <a:gd name="T10" fmla="*/ 166 w 315"/>
                <a:gd name="T11" fmla="*/ 4 h 281"/>
                <a:gd name="T12" fmla="*/ 168 w 315"/>
                <a:gd name="T13" fmla="*/ 9 h 281"/>
                <a:gd name="T14" fmla="*/ 264 w 315"/>
                <a:gd name="T15" fmla="*/ 37 h 281"/>
                <a:gd name="T16" fmla="*/ 267 w 315"/>
                <a:gd name="T17" fmla="*/ 38 h 281"/>
                <a:gd name="T18" fmla="*/ 268 w 315"/>
                <a:gd name="T19" fmla="*/ 38 h 281"/>
                <a:gd name="T20" fmla="*/ 269 w 315"/>
                <a:gd name="T21" fmla="*/ 39 h 281"/>
                <a:gd name="T22" fmla="*/ 270 w 315"/>
                <a:gd name="T23" fmla="*/ 40 h 281"/>
                <a:gd name="T24" fmla="*/ 271 w 315"/>
                <a:gd name="T25" fmla="*/ 40 h 281"/>
                <a:gd name="T26" fmla="*/ 272 w 315"/>
                <a:gd name="T27" fmla="*/ 41 h 281"/>
                <a:gd name="T28" fmla="*/ 273 w 315"/>
                <a:gd name="T29" fmla="*/ 44 h 281"/>
                <a:gd name="T30" fmla="*/ 314 w 315"/>
                <a:gd name="T31" fmla="*/ 194 h 281"/>
                <a:gd name="T32" fmla="*/ 314 w 315"/>
                <a:gd name="T33" fmla="*/ 200 h 281"/>
                <a:gd name="T34" fmla="*/ 310 w 315"/>
                <a:gd name="T35" fmla="*/ 204 h 281"/>
                <a:gd name="T36" fmla="*/ 305 w 315"/>
                <a:gd name="T37" fmla="*/ 205 h 281"/>
                <a:gd name="T38" fmla="*/ 208 w 315"/>
                <a:gd name="T39" fmla="*/ 205 h 281"/>
                <a:gd name="T40" fmla="*/ 203 w 315"/>
                <a:gd name="T41" fmla="*/ 204 h 281"/>
                <a:gd name="T42" fmla="*/ 200 w 315"/>
                <a:gd name="T43" fmla="*/ 199 h 281"/>
                <a:gd name="T44" fmla="*/ 200 w 315"/>
                <a:gd name="T45" fmla="*/ 194 h 281"/>
                <a:gd name="T46" fmla="*/ 168 w 315"/>
                <a:gd name="T47" fmla="*/ 56 h 281"/>
                <a:gd name="T48" fmla="*/ 221 w 315"/>
                <a:gd name="T49" fmla="*/ 262 h 281"/>
                <a:gd name="T50" fmla="*/ 227 w 315"/>
                <a:gd name="T51" fmla="*/ 263 h 281"/>
                <a:gd name="T52" fmla="*/ 230 w 315"/>
                <a:gd name="T53" fmla="*/ 268 h 281"/>
                <a:gd name="T54" fmla="*/ 230 w 315"/>
                <a:gd name="T55" fmla="*/ 275 h 281"/>
                <a:gd name="T56" fmla="*/ 227 w 315"/>
                <a:gd name="T57" fmla="*/ 280 h 281"/>
                <a:gd name="T58" fmla="*/ 221 w 315"/>
                <a:gd name="T59" fmla="*/ 281 h 281"/>
                <a:gd name="T60" fmla="*/ 91 w 315"/>
                <a:gd name="T61" fmla="*/ 281 h 281"/>
                <a:gd name="T62" fmla="*/ 86 w 315"/>
                <a:gd name="T63" fmla="*/ 277 h 281"/>
                <a:gd name="T64" fmla="*/ 84 w 315"/>
                <a:gd name="T65" fmla="*/ 272 h 281"/>
                <a:gd name="T66" fmla="*/ 86 w 315"/>
                <a:gd name="T67" fmla="*/ 266 h 281"/>
                <a:gd name="T68" fmla="*/ 91 w 315"/>
                <a:gd name="T69" fmla="*/ 262 h 281"/>
                <a:gd name="T70" fmla="*/ 147 w 315"/>
                <a:gd name="T71" fmla="*/ 262 h 281"/>
                <a:gd name="T72" fmla="*/ 76 w 315"/>
                <a:gd name="T73" fmla="*/ 56 h 281"/>
                <a:gd name="T74" fmla="*/ 115 w 315"/>
                <a:gd name="T75" fmla="*/ 196 h 281"/>
                <a:gd name="T76" fmla="*/ 115 w 315"/>
                <a:gd name="T77" fmla="*/ 200 h 281"/>
                <a:gd name="T78" fmla="*/ 111 w 315"/>
                <a:gd name="T79" fmla="*/ 204 h 281"/>
                <a:gd name="T80" fmla="*/ 105 w 315"/>
                <a:gd name="T81" fmla="*/ 205 h 281"/>
                <a:gd name="T82" fmla="*/ 7 w 315"/>
                <a:gd name="T83" fmla="*/ 205 h 281"/>
                <a:gd name="T84" fmla="*/ 2 w 315"/>
                <a:gd name="T85" fmla="*/ 202 h 281"/>
                <a:gd name="T86" fmla="*/ 0 w 315"/>
                <a:gd name="T87" fmla="*/ 197 h 281"/>
                <a:gd name="T88" fmla="*/ 53 w 315"/>
                <a:gd name="T89" fmla="*/ 44 h 281"/>
                <a:gd name="T90" fmla="*/ 53 w 315"/>
                <a:gd name="T91" fmla="*/ 43 h 281"/>
                <a:gd name="T92" fmla="*/ 53 w 315"/>
                <a:gd name="T93" fmla="*/ 42 h 281"/>
                <a:gd name="T94" fmla="*/ 55 w 315"/>
                <a:gd name="T95" fmla="*/ 40 h 281"/>
                <a:gd name="T96" fmla="*/ 56 w 315"/>
                <a:gd name="T97" fmla="*/ 39 h 281"/>
                <a:gd name="T98" fmla="*/ 57 w 315"/>
                <a:gd name="T99" fmla="*/ 39 h 281"/>
                <a:gd name="T100" fmla="*/ 58 w 315"/>
                <a:gd name="T101" fmla="*/ 38 h 281"/>
                <a:gd name="T102" fmla="*/ 59 w 315"/>
                <a:gd name="T103" fmla="*/ 38 h 281"/>
                <a:gd name="T104" fmla="*/ 62 w 315"/>
                <a:gd name="T105" fmla="*/ 37 h 281"/>
                <a:gd name="T106" fmla="*/ 147 w 315"/>
                <a:gd name="T107" fmla="*/ 9 h 281"/>
                <a:gd name="T108" fmla="*/ 149 w 315"/>
                <a:gd name="T109" fmla="*/ 4 h 281"/>
                <a:gd name="T110" fmla="*/ 155 w 315"/>
                <a:gd name="T111" fmla="*/ 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81">
                  <a:moveTo>
                    <a:pt x="262" y="81"/>
                  </a:moveTo>
                  <a:lnTo>
                    <a:pt x="225" y="187"/>
                  </a:lnTo>
                  <a:lnTo>
                    <a:pt x="292" y="187"/>
                  </a:lnTo>
                  <a:lnTo>
                    <a:pt x="262" y="81"/>
                  </a:lnTo>
                  <a:close/>
                  <a:moveTo>
                    <a:pt x="62" y="81"/>
                  </a:moveTo>
                  <a:lnTo>
                    <a:pt x="25" y="187"/>
                  </a:lnTo>
                  <a:lnTo>
                    <a:pt x="92" y="187"/>
                  </a:lnTo>
                  <a:lnTo>
                    <a:pt x="62" y="81"/>
                  </a:lnTo>
                  <a:close/>
                  <a:moveTo>
                    <a:pt x="158" y="0"/>
                  </a:moveTo>
                  <a:lnTo>
                    <a:pt x="161" y="1"/>
                  </a:lnTo>
                  <a:lnTo>
                    <a:pt x="164" y="2"/>
                  </a:lnTo>
                  <a:lnTo>
                    <a:pt x="166" y="4"/>
                  </a:lnTo>
                  <a:lnTo>
                    <a:pt x="167" y="6"/>
                  </a:lnTo>
                  <a:lnTo>
                    <a:pt x="168" y="9"/>
                  </a:lnTo>
                  <a:lnTo>
                    <a:pt x="168" y="37"/>
                  </a:lnTo>
                  <a:lnTo>
                    <a:pt x="264" y="37"/>
                  </a:lnTo>
                  <a:lnTo>
                    <a:pt x="265" y="37"/>
                  </a:lnTo>
                  <a:lnTo>
                    <a:pt x="267" y="38"/>
                  </a:lnTo>
                  <a:lnTo>
                    <a:pt x="268" y="38"/>
                  </a:lnTo>
                  <a:lnTo>
                    <a:pt x="268" y="38"/>
                  </a:lnTo>
                  <a:lnTo>
                    <a:pt x="269" y="39"/>
                  </a:lnTo>
                  <a:lnTo>
                    <a:pt x="269" y="39"/>
                  </a:lnTo>
                  <a:lnTo>
                    <a:pt x="270" y="39"/>
                  </a:lnTo>
                  <a:lnTo>
                    <a:pt x="270" y="40"/>
                  </a:lnTo>
                  <a:lnTo>
                    <a:pt x="270" y="40"/>
                  </a:lnTo>
                  <a:lnTo>
                    <a:pt x="271" y="40"/>
                  </a:lnTo>
                  <a:lnTo>
                    <a:pt x="271" y="41"/>
                  </a:lnTo>
                  <a:lnTo>
                    <a:pt x="272" y="41"/>
                  </a:lnTo>
                  <a:lnTo>
                    <a:pt x="273" y="42"/>
                  </a:lnTo>
                  <a:lnTo>
                    <a:pt x="273" y="44"/>
                  </a:lnTo>
                  <a:lnTo>
                    <a:pt x="273" y="44"/>
                  </a:lnTo>
                  <a:lnTo>
                    <a:pt x="314" y="194"/>
                  </a:lnTo>
                  <a:lnTo>
                    <a:pt x="315" y="197"/>
                  </a:lnTo>
                  <a:lnTo>
                    <a:pt x="314" y="200"/>
                  </a:lnTo>
                  <a:lnTo>
                    <a:pt x="312" y="202"/>
                  </a:lnTo>
                  <a:lnTo>
                    <a:pt x="310" y="204"/>
                  </a:lnTo>
                  <a:lnTo>
                    <a:pt x="308" y="205"/>
                  </a:lnTo>
                  <a:lnTo>
                    <a:pt x="305" y="205"/>
                  </a:lnTo>
                  <a:lnTo>
                    <a:pt x="211" y="205"/>
                  </a:lnTo>
                  <a:lnTo>
                    <a:pt x="208" y="205"/>
                  </a:lnTo>
                  <a:lnTo>
                    <a:pt x="205" y="205"/>
                  </a:lnTo>
                  <a:lnTo>
                    <a:pt x="203" y="204"/>
                  </a:lnTo>
                  <a:lnTo>
                    <a:pt x="201" y="202"/>
                  </a:lnTo>
                  <a:lnTo>
                    <a:pt x="200" y="199"/>
                  </a:lnTo>
                  <a:lnTo>
                    <a:pt x="200" y="197"/>
                  </a:lnTo>
                  <a:lnTo>
                    <a:pt x="200" y="194"/>
                  </a:lnTo>
                  <a:lnTo>
                    <a:pt x="249" y="56"/>
                  </a:lnTo>
                  <a:lnTo>
                    <a:pt x="168" y="56"/>
                  </a:lnTo>
                  <a:lnTo>
                    <a:pt x="168" y="262"/>
                  </a:lnTo>
                  <a:lnTo>
                    <a:pt x="221" y="262"/>
                  </a:lnTo>
                  <a:lnTo>
                    <a:pt x="224" y="262"/>
                  </a:lnTo>
                  <a:lnTo>
                    <a:pt x="227" y="263"/>
                  </a:lnTo>
                  <a:lnTo>
                    <a:pt x="229" y="266"/>
                  </a:lnTo>
                  <a:lnTo>
                    <a:pt x="230" y="268"/>
                  </a:lnTo>
                  <a:lnTo>
                    <a:pt x="231" y="272"/>
                  </a:lnTo>
                  <a:lnTo>
                    <a:pt x="230" y="275"/>
                  </a:lnTo>
                  <a:lnTo>
                    <a:pt x="229" y="277"/>
                  </a:lnTo>
                  <a:lnTo>
                    <a:pt x="227" y="280"/>
                  </a:lnTo>
                  <a:lnTo>
                    <a:pt x="224" y="281"/>
                  </a:lnTo>
                  <a:lnTo>
                    <a:pt x="221" y="281"/>
                  </a:lnTo>
                  <a:lnTo>
                    <a:pt x="94" y="281"/>
                  </a:lnTo>
                  <a:lnTo>
                    <a:pt x="91" y="281"/>
                  </a:lnTo>
                  <a:lnTo>
                    <a:pt x="88" y="280"/>
                  </a:lnTo>
                  <a:lnTo>
                    <a:pt x="86" y="277"/>
                  </a:lnTo>
                  <a:lnTo>
                    <a:pt x="84" y="275"/>
                  </a:lnTo>
                  <a:lnTo>
                    <a:pt x="84" y="272"/>
                  </a:lnTo>
                  <a:lnTo>
                    <a:pt x="84" y="268"/>
                  </a:lnTo>
                  <a:lnTo>
                    <a:pt x="86" y="266"/>
                  </a:lnTo>
                  <a:lnTo>
                    <a:pt x="88" y="263"/>
                  </a:lnTo>
                  <a:lnTo>
                    <a:pt x="91" y="262"/>
                  </a:lnTo>
                  <a:lnTo>
                    <a:pt x="94" y="262"/>
                  </a:lnTo>
                  <a:lnTo>
                    <a:pt x="147" y="262"/>
                  </a:lnTo>
                  <a:lnTo>
                    <a:pt x="147" y="56"/>
                  </a:lnTo>
                  <a:lnTo>
                    <a:pt x="76" y="56"/>
                  </a:lnTo>
                  <a:lnTo>
                    <a:pt x="115" y="194"/>
                  </a:lnTo>
                  <a:lnTo>
                    <a:pt x="115" y="196"/>
                  </a:lnTo>
                  <a:lnTo>
                    <a:pt x="115" y="199"/>
                  </a:lnTo>
                  <a:lnTo>
                    <a:pt x="115" y="200"/>
                  </a:lnTo>
                  <a:lnTo>
                    <a:pt x="113" y="202"/>
                  </a:lnTo>
                  <a:lnTo>
                    <a:pt x="111" y="204"/>
                  </a:lnTo>
                  <a:lnTo>
                    <a:pt x="108" y="205"/>
                  </a:lnTo>
                  <a:lnTo>
                    <a:pt x="105" y="205"/>
                  </a:lnTo>
                  <a:lnTo>
                    <a:pt x="10" y="205"/>
                  </a:lnTo>
                  <a:lnTo>
                    <a:pt x="7" y="205"/>
                  </a:lnTo>
                  <a:lnTo>
                    <a:pt x="4" y="204"/>
                  </a:lnTo>
                  <a:lnTo>
                    <a:pt x="2" y="202"/>
                  </a:lnTo>
                  <a:lnTo>
                    <a:pt x="1" y="199"/>
                  </a:lnTo>
                  <a:lnTo>
                    <a:pt x="0" y="197"/>
                  </a:lnTo>
                  <a:lnTo>
                    <a:pt x="0" y="194"/>
                  </a:lnTo>
                  <a:lnTo>
                    <a:pt x="53" y="44"/>
                  </a:lnTo>
                  <a:lnTo>
                    <a:pt x="53" y="43"/>
                  </a:lnTo>
                  <a:lnTo>
                    <a:pt x="53" y="43"/>
                  </a:lnTo>
                  <a:lnTo>
                    <a:pt x="53" y="43"/>
                  </a:lnTo>
                  <a:lnTo>
                    <a:pt x="53" y="42"/>
                  </a:lnTo>
                  <a:lnTo>
                    <a:pt x="55" y="40"/>
                  </a:lnTo>
                  <a:lnTo>
                    <a:pt x="55" y="40"/>
                  </a:lnTo>
                  <a:lnTo>
                    <a:pt x="56" y="40"/>
                  </a:lnTo>
                  <a:lnTo>
                    <a:pt x="56" y="39"/>
                  </a:lnTo>
                  <a:lnTo>
                    <a:pt x="57" y="39"/>
                  </a:lnTo>
                  <a:lnTo>
                    <a:pt x="57" y="39"/>
                  </a:lnTo>
                  <a:lnTo>
                    <a:pt x="58" y="38"/>
                  </a:lnTo>
                  <a:lnTo>
                    <a:pt x="58" y="38"/>
                  </a:lnTo>
                  <a:lnTo>
                    <a:pt x="59" y="38"/>
                  </a:lnTo>
                  <a:lnTo>
                    <a:pt x="59" y="38"/>
                  </a:lnTo>
                  <a:lnTo>
                    <a:pt x="61" y="37"/>
                  </a:lnTo>
                  <a:lnTo>
                    <a:pt x="62" y="37"/>
                  </a:lnTo>
                  <a:lnTo>
                    <a:pt x="147" y="37"/>
                  </a:lnTo>
                  <a:lnTo>
                    <a:pt x="147" y="9"/>
                  </a:lnTo>
                  <a:lnTo>
                    <a:pt x="147" y="6"/>
                  </a:lnTo>
                  <a:lnTo>
                    <a:pt x="149" y="4"/>
                  </a:lnTo>
                  <a:lnTo>
                    <a:pt x="152" y="2"/>
                  </a:lnTo>
                  <a:lnTo>
                    <a:pt x="155" y="1"/>
                  </a:lnTo>
                  <a:lnTo>
                    <a:pt x="15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24">
              <a:extLst>
                <a:ext uri="{FF2B5EF4-FFF2-40B4-BE49-F238E27FC236}">
                  <a16:creationId xmlns:a16="http://schemas.microsoft.com/office/drawing/2014/main" id="{57D362D4-389F-B042-A8EE-3608428A0835}"/>
                </a:ext>
              </a:extLst>
            </p:cNvPr>
            <p:cNvSpPr>
              <a:spLocks noEditPoints="1"/>
            </p:cNvSpPr>
            <p:nvPr/>
          </p:nvSpPr>
          <p:spPr bwMode="auto">
            <a:xfrm>
              <a:off x="5259388" y="2471738"/>
              <a:ext cx="787400" cy="663575"/>
            </a:xfrm>
            <a:custGeom>
              <a:avLst/>
              <a:gdLst>
                <a:gd name="T0" fmla="*/ 50 w 496"/>
                <a:gd name="T1" fmla="*/ 389 h 418"/>
                <a:gd name="T2" fmla="*/ 427 w 496"/>
                <a:gd name="T3" fmla="*/ 360 h 418"/>
                <a:gd name="T4" fmla="*/ 57 w 496"/>
                <a:gd name="T5" fmla="*/ 329 h 418"/>
                <a:gd name="T6" fmla="*/ 448 w 496"/>
                <a:gd name="T7" fmla="*/ 331 h 418"/>
                <a:gd name="T8" fmla="*/ 492 w 496"/>
                <a:gd name="T9" fmla="*/ 397 h 418"/>
                <a:gd name="T10" fmla="*/ 496 w 496"/>
                <a:gd name="T11" fmla="*/ 405 h 418"/>
                <a:gd name="T12" fmla="*/ 492 w 496"/>
                <a:gd name="T13" fmla="*/ 412 h 418"/>
                <a:gd name="T14" fmla="*/ 485 w 496"/>
                <a:gd name="T15" fmla="*/ 416 h 418"/>
                <a:gd name="T16" fmla="*/ 477 w 496"/>
                <a:gd name="T17" fmla="*/ 418 h 418"/>
                <a:gd name="T18" fmla="*/ 14 w 496"/>
                <a:gd name="T19" fmla="*/ 418 h 418"/>
                <a:gd name="T20" fmla="*/ 7 w 496"/>
                <a:gd name="T21" fmla="*/ 414 h 418"/>
                <a:gd name="T22" fmla="*/ 2 w 496"/>
                <a:gd name="T23" fmla="*/ 409 h 418"/>
                <a:gd name="T24" fmla="*/ 0 w 496"/>
                <a:gd name="T25" fmla="*/ 403 h 418"/>
                <a:gd name="T26" fmla="*/ 2 w 496"/>
                <a:gd name="T27" fmla="*/ 397 h 418"/>
                <a:gd name="T28" fmla="*/ 47 w 496"/>
                <a:gd name="T29" fmla="*/ 331 h 418"/>
                <a:gd name="T30" fmla="*/ 420 w 496"/>
                <a:gd name="T31" fmla="*/ 149 h 418"/>
                <a:gd name="T32" fmla="*/ 435 w 496"/>
                <a:gd name="T33" fmla="*/ 157 h 418"/>
                <a:gd name="T34" fmla="*/ 437 w 496"/>
                <a:gd name="T35" fmla="*/ 284 h 418"/>
                <a:gd name="T36" fmla="*/ 429 w 496"/>
                <a:gd name="T37" fmla="*/ 297 h 418"/>
                <a:gd name="T38" fmla="*/ 409 w 496"/>
                <a:gd name="T39" fmla="*/ 297 h 418"/>
                <a:gd name="T40" fmla="*/ 400 w 496"/>
                <a:gd name="T41" fmla="*/ 284 h 418"/>
                <a:gd name="T42" fmla="*/ 402 w 496"/>
                <a:gd name="T43" fmla="*/ 157 h 418"/>
                <a:gd name="T44" fmla="*/ 420 w 496"/>
                <a:gd name="T45" fmla="*/ 149 h 418"/>
                <a:gd name="T46" fmla="*/ 315 w 496"/>
                <a:gd name="T47" fmla="*/ 151 h 418"/>
                <a:gd name="T48" fmla="*/ 323 w 496"/>
                <a:gd name="T49" fmla="*/ 165 h 418"/>
                <a:gd name="T50" fmla="*/ 321 w 496"/>
                <a:gd name="T51" fmla="*/ 291 h 418"/>
                <a:gd name="T52" fmla="*/ 306 w 496"/>
                <a:gd name="T53" fmla="*/ 299 h 418"/>
                <a:gd name="T54" fmla="*/ 288 w 496"/>
                <a:gd name="T55" fmla="*/ 291 h 418"/>
                <a:gd name="T56" fmla="*/ 286 w 496"/>
                <a:gd name="T57" fmla="*/ 165 h 418"/>
                <a:gd name="T58" fmla="*/ 295 w 496"/>
                <a:gd name="T59" fmla="*/ 151 h 418"/>
                <a:gd name="T60" fmla="*/ 191 w 496"/>
                <a:gd name="T61" fmla="*/ 149 h 418"/>
                <a:gd name="T62" fmla="*/ 207 w 496"/>
                <a:gd name="T63" fmla="*/ 157 h 418"/>
                <a:gd name="T64" fmla="*/ 209 w 496"/>
                <a:gd name="T65" fmla="*/ 284 h 418"/>
                <a:gd name="T66" fmla="*/ 201 w 496"/>
                <a:gd name="T67" fmla="*/ 297 h 418"/>
                <a:gd name="T68" fmla="*/ 181 w 496"/>
                <a:gd name="T69" fmla="*/ 297 h 418"/>
                <a:gd name="T70" fmla="*/ 172 w 496"/>
                <a:gd name="T71" fmla="*/ 284 h 418"/>
                <a:gd name="T72" fmla="*/ 174 w 496"/>
                <a:gd name="T73" fmla="*/ 157 h 418"/>
                <a:gd name="T74" fmla="*/ 191 w 496"/>
                <a:gd name="T75" fmla="*/ 149 h 418"/>
                <a:gd name="T76" fmla="*/ 87 w 496"/>
                <a:gd name="T77" fmla="*/ 151 h 418"/>
                <a:gd name="T78" fmla="*/ 95 w 496"/>
                <a:gd name="T79" fmla="*/ 165 h 418"/>
                <a:gd name="T80" fmla="*/ 93 w 496"/>
                <a:gd name="T81" fmla="*/ 291 h 418"/>
                <a:gd name="T82" fmla="*/ 76 w 496"/>
                <a:gd name="T83" fmla="*/ 299 h 418"/>
                <a:gd name="T84" fmla="*/ 60 w 496"/>
                <a:gd name="T85" fmla="*/ 291 h 418"/>
                <a:gd name="T86" fmla="*/ 57 w 496"/>
                <a:gd name="T87" fmla="*/ 165 h 418"/>
                <a:gd name="T88" fmla="*/ 67 w 496"/>
                <a:gd name="T89" fmla="*/ 151 h 418"/>
                <a:gd name="T90" fmla="*/ 249 w 496"/>
                <a:gd name="T91" fmla="*/ 31 h 418"/>
                <a:gd name="T92" fmla="*/ 382 w 496"/>
                <a:gd name="T93" fmla="*/ 90 h 418"/>
                <a:gd name="T94" fmla="*/ 248 w 496"/>
                <a:gd name="T95" fmla="*/ 0 h 418"/>
                <a:gd name="T96" fmla="*/ 466 w 496"/>
                <a:gd name="T97" fmla="*/ 91 h 418"/>
                <a:gd name="T98" fmla="*/ 476 w 496"/>
                <a:gd name="T99" fmla="*/ 101 h 418"/>
                <a:gd name="T100" fmla="*/ 472 w 496"/>
                <a:gd name="T101" fmla="*/ 114 h 418"/>
                <a:gd name="T102" fmla="*/ 457 w 496"/>
                <a:gd name="T103" fmla="*/ 119 h 418"/>
                <a:gd name="T104" fmla="*/ 30 w 496"/>
                <a:gd name="T105" fmla="*/ 118 h 418"/>
                <a:gd name="T106" fmla="*/ 19 w 496"/>
                <a:gd name="T107" fmla="*/ 109 h 418"/>
                <a:gd name="T108" fmla="*/ 22 w 496"/>
                <a:gd name="T109" fmla="*/ 95 h 418"/>
                <a:gd name="T110" fmla="*/ 239 w 496"/>
                <a:gd name="T111" fmla="*/ 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18">
                  <a:moveTo>
                    <a:pt x="70" y="360"/>
                  </a:moveTo>
                  <a:lnTo>
                    <a:pt x="50" y="389"/>
                  </a:lnTo>
                  <a:lnTo>
                    <a:pt x="445" y="389"/>
                  </a:lnTo>
                  <a:lnTo>
                    <a:pt x="427" y="360"/>
                  </a:lnTo>
                  <a:lnTo>
                    <a:pt x="70" y="360"/>
                  </a:lnTo>
                  <a:close/>
                  <a:moveTo>
                    <a:pt x="57" y="329"/>
                  </a:moveTo>
                  <a:lnTo>
                    <a:pt x="437" y="329"/>
                  </a:lnTo>
                  <a:lnTo>
                    <a:pt x="448" y="331"/>
                  </a:lnTo>
                  <a:lnTo>
                    <a:pt x="455" y="337"/>
                  </a:lnTo>
                  <a:lnTo>
                    <a:pt x="492" y="397"/>
                  </a:lnTo>
                  <a:lnTo>
                    <a:pt x="495" y="400"/>
                  </a:lnTo>
                  <a:lnTo>
                    <a:pt x="496" y="405"/>
                  </a:lnTo>
                  <a:lnTo>
                    <a:pt x="495" y="408"/>
                  </a:lnTo>
                  <a:lnTo>
                    <a:pt x="492" y="412"/>
                  </a:lnTo>
                  <a:lnTo>
                    <a:pt x="489" y="414"/>
                  </a:lnTo>
                  <a:lnTo>
                    <a:pt x="485" y="416"/>
                  </a:lnTo>
                  <a:lnTo>
                    <a:pt x="481" y="418"/>
                  </a:lnTo>
                  <a:lnTo>
                    <a:pt x="477" y="418"/>
                  </a:lnTo>
                  <a:lnTo>
                    <a:pt x="19" y="418"/>
                  </a:lnTo>
                  <a:lnTo>
                    <a:pt x="14" y="418"/>
                  </a:lnTo>
                  <a:lnTo>
                    <a:pt x="10" y="416"/>
                  </a:lnTo>
                  <a:lnTo>
                    <a:pt x="7" y="414"/>
                  </a:lnTo>
                  <a:lnTo>
                    <a:pt x="4" y="412"/>
                  </a:lnTo>
                  <a:lnTo>
                    <a:pt x="2" y="409"/>
                  </a:lnTo>
                  <a:lnTo>
                    <a:pt x="1" y="406"/>
                  </a:lnTo>
                  <a:lnTo>
                    <a:pt x="0" y="403"/>
                  </a:lnTo>
                  <a:lnTo>
                    <a:pt x="1" y="400"/>
                  </a:lnTo>
                  <a:lnTo>
                    <a:pt x="2" y="397"/>
                  </a:lnTo>
                  <a:lnTo>
                    <a:pt x="39" y="337"/>
                  </a:lnTo>
                  <a:lnTo>
                    <a:pt x="47" y="331"/>
                  </a:lnTo>
                  <a:lnTo>
                    <a:pt x="57" y="329"/>
                  </a:lnTo>
                  <a:close/>
                  <a:moveTo>
                    <a:pt x="420" y="149"/>
                  </a:moveTo>
                  <a:lnTo>
                    <a:pt x="429" y="151"/>
                  </a:lnTo>
                  <a:lnTo>
                    <a:pt x="435" y="157"/>
                  </a:lnTo>
                  <a:lnTo>
                    <a:pt x="437" y="165"/>
                  </a:lnTo>
                  <a:lnTo>
                    <a:pt x="437" y="284"/>
                  </a:lnTo>
                  <a:lnTo>
                    <a:pt x="435" y="291"/>
                  </a:lnTo>
                  <a:lnTo>
                    <a:pt x="429" y="297"/>
                  </a:lnTo>
                  <a:lnTo>
                    <a:pt x="420" y="299"/>
                  </a:lnTo>
                  <a:lnTo>
                    <a:pt x="409" y="297"/>
                  </a:lnTo>
                  <a:lnTo>
                    <a:pt x="402" y="291"/>
                  </a:lnTo>
                  <a:lnTo>
                    <a:pt x="400" y="284"/>
                  </a:lnTo>
                  <a:lnTo>
                    <a:pt x="400" y="165"/>
                  </a:lnTo>
                  <a:lnTo>
                    <a:pt x="402" y="157"/>
                  </a:lnTo>
                  <a:lnTo>
                    <a:pt x="409" y="151"/>
                  </a:lnTo>
                  <a:lnTo>
                    <a:pt x="420" y="149"/>
                  </a:lnTo>
                  <a:close/>
                  <a:moveTo>
                    <a:pt x="306" y="149"/>
                  </a:moveTo>
                  <a:lnTo>
                    <a:pt x="315" y="151"/>
                  </a:lnTo>
                  <a:lnTo>
                    <a:pt x="321" y="157"/>
                  </a:lnTo>
                  <a:lnTo>
                    <a:pt x="323" y="165"/>
                  </a:lnTo>
                  <a:lnTo>
                    <a:pt x="323" y="284"/>
                  </a:lnTo>
                  <a:lnTo>
                    <a:pt x="321" y="291"/>
                  </a:lnTo>
                  <a:lnTo>
                    <a:pt x="315" y="297"/>
                  </a:lnTo>
                  <a:lnTo>
                    <a:pt x="306" y="299"/>
                  </a:lnTo>
                  <a:lnTo>
                    <a:pt x="295" y="297"/>
                  </a:lnTo>
                  <a:lnTo>
                    <a:pt x="288" y="291"/>
                  </a:lnTo>
                  <a:lnTo>
                    <a:pt x="286" y="284"/>
                  </a:lnTo>
                  <a:lnTo>
                    <a:pt x="286" y="165"/>
                  </a:lnTo>
                  <a:lnTo>
                    <a:pt x="288" y="157"/>
                  </a:lnTo>
                  <a:lnTo>
                    <a:pt x="295" y="151"/>
                  </a:lnTo>
                  <a:lnTo>
                    <a:pt x="306" y="149"/>
                  </a:lnTo>
                  <a:close/>
                  <a:moveTo>
                    <a:pt x="191" y="149"/>
                  </a:moveTo>
                  <a:lnTo>
                    <a:pt x="201" y="151"/>
                  </a:lnTo>
                  <a:lnTo>
                    <a:pt x="207" y="157"/>
                  </a:lnTo>
                  <a:lnTo>
                    <a:pt x="209" y="165"/>
                  </a:lnTo>
                  <a:lnTo>
                    <a:pt x="209" y="284"/>
                  </a:lnTo>
                  <a:lnTo>
                    <a:pt x="207" y="291"/>
                  </a:lnTo>
                  <a:lnTo>
                    <a:pt x="201" y="297"/>
                  </a:lnTo>
                  <a:lnTo>
                    <a:pt x="191" y="299"/>
                  </a:lnTo>
                  <a:lnTo>
                    <a:pt x="181" y="297"/>
                  </a:lnTo>
                  <a:lnTo>
                    <a:pt x="174" y="291"/>
                  </a:lnTo>
                  <a:lnTo>
                    <a:pt x="172" y="284"/>
                  </a:lnTo>
                  <a:lnTo>
                    <a:pt x="172" y="165"/>
                  </a:lnTo>
                  <a:lnTo>
                    <a:pt x="174" y="157"/>
                  </a:lnTo>
                  <a:lnTo>
                    <a:pt x="181" y="151"/>
                  </a:lnTo>
                  <a:lnTo>
                    <a:pt x="191" y="149"/>
                  </a:lnTo>
                  <a:close/>
                  <a:moveTo>
                    <a:pt x="76" y="149"/>
                  </a:moveTo>
                  <a:lnTo>
                    <a:pt x="87" y="151"/>
                  </a:lnTo>
                  <a:lnTo>
                    <a:pt x="93" y="157"/>
                  </a:lnTo>
                  <a:lnTo>
                    <a:pt x="95" y="165"/>
                  </a:lnTo>
                  <a:lnTo>
                    <a:pt x="95" y="284"/>
                  </a:lnTo>
                  <a:lnTo>
                    <a:pt x="93" y="291"/>
                  </a:lnTo>
                  <a:lnTo>
                    <a:pt x="87" y="297"/>
                  </a:lnTo>
                  <a:lnTo>
                    <a:pt x="76" y="299"/>
                  </a:lnTo>
                  <a:lnTo>
                    <a:pt x="67" y="297"/>
                  </a:lnTo>
                  <a:lnTo>
                    <a:pt x="60" y="291"/>
                  </a:lnTo>
                  <a:lnTo>
                    <a:pt x="57" y="284"/>
                  </a:lnTo>
                  <a:lnTo>
                    <a:pt x="57" y="165"/>
                  </a:lnTo>
                  <a:lnTo>
                    <a:pt x="60" y="157"/>
                  </a:lnTo>
                  <a:lnTo>
                    <a:pt x="67" y="151"/>
                  </a:lnTo>
                  <a:lnTo>
                    <a:pt x="76" y="149"/>
                  </a:lnTo>
                  <a:close/>
                  <a:moveTo>
                    <a:pt x="249" y="31"/>
                  </a:moveTo>
                  <a:lnTo>
                    <a:pt x="113" y="90"/>
                  </a:lnTo>
                  <a:lnTo>
                    <a:pt x="382" y="90"/>
                  </a:lnTo>
                  <a:lnTo>
                    <a:pt x="249" y="31"/>
                  </a:lnTo>
                  <a:close/>
                  <a:moveTo>
                    <a:pt x="248" y="0"/>
                  </a:moveTo>
                  <a:lnTo>
                    <a:pt x="257" y="2"/>
                  </a:lnTo>
                  <a:lnTo>
                    <a:pt x="466" y="91"/>
                  </a:lnTo>
                  <a:lnTo>
                    <a:pt x="472" y="95"/>
                  </a:lnTo>
                  <a:lnTo>
                    <a:pt x="476" y="101"/>
                  </a:lnTo>
                  <a:lnTo>
                    <a:pt x="475" y="109"/>
                  </a:lnTo>
                  <a:lnTo>
                    <a:pt x="472" y="114"/>
                  </a:lnTo>
                  <a:lnTo>
                    <a:pt x="466" y="118"/>
                  </a:lnTo>
                  <a:lnTo>
                    <a:pt x="457" y="119"/>
                  </a:lnTo>
                  <a:lnTo>
                    <a:pt x="38" y="119"/>
                  </a:lnTo>
                  <a:lnTo>
                    <a:pt x="30" y="118"/>
                  </a:lnTo>
                  <a:lnTo>
                    <a:pt x="23" y="114"/>
                  </a:lnTo>
                  <a:lnTo>
                    <a:pt x="19" y="109"/>
                  </a:lnTo>
                  <a:lnTo>
                    <a:pt x="19" y="101"/>
                  </a:lnTo>
                  <a:lnTo>
                    <a:pt x="22" y="95"/>
                  </a:lnTo>
                  <a:lnTo>
                    <a:pt x="29" y="91"/>
                  </a:lnTo>
                  <a:lnTo>
                    <a:pt x="239" y="2"/>
                  </a:lnTo>
                  <a:lnTo>
                    <a:pt x="24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25">
              <a:extLst>
                <a:ext uri="{FF2B5EF4-FFF2-40B4-BE49-F238E27FC236}">
                  <a16:creationId xmlns:a16="http://schemas.microsoft.com/office/drawing/2014/main" id="{85692AB3-FB33-7142-AA1F-B3AB4BDF1FD1}"/>
                </a:ext>
              </a:extLst>
            </p:cNvPr>
            <p:cNvSpPr>
              <a:spLocks noEditPoints="1"/>
            </p:cNvSpPr>
            <p:nvPr/>
          </p:nvSpPr>
          <p:spPr bwMode="auto">
            <a:xfrm>
              <a:off x="6783388" y="2846388"/>
              <a:ext cx="587375" cy="530225"/>
            </a:xfrm>
            <a:custGeom>
              <a:avLst/>
              <a:gdLst>
                <a:gd name="T0" fmla="*/ 284 w 370"/>
                <a:gd name="T1" fmla="*/ 78 h 334"/>
                <a:gd name="T2" fmla="*/ 284 w 370"/>
                <a:gd name="T3" fmla="*/ 309 h 334"/>
                <a:gd name="T4" fmla="*/ 345 w 370"/>
                <a:gd name="T5" fmla="*/ 309 h 334"/>
                <a:gd name="T6" fmla="*/ 345 w 370"/>
                <a:gd name="T7" fmla="*/ 78 h 334"/>
                <a:gd name="T8" fmla="*/ 284 w 370"/>
                <a:gd name="T9" fmla="*/ 78 h 334"/>
                <a:gd name="T10" fmla="*/ 98 w 370"/>
                <a:gd name="T11" fmla="*/ 78 h 334"/>
                <a:gd name="T12" fmla="*/ 98 w 370"/>
                <a:gd name="T13" fmla="*/ 309 h 334"/>
                <a:gd name="T14" fmla="*/ 259 w 370"/>
                <a:gd name="T15" fmla="*/ 309 h 334"/>
                <a:gd name="T16" fmla="*/ 259 w 370"/>
                <a:gd name="T17" fmla="*/ 78 h 334"/>
                <a:gd name="T18" fmla="*/ 98 w 370"/>
                <a:gd name="T19" fmla="*/ 78 h 334"/>
                <a:gd name="T20" fmla="*/ 24 w 370"/>
                <a:gd name="T21" fmla="*/ 78 h 334"/>
                <a:gd name="T22" fmla="*/ 24 w 370"/>
                <a:gd name="T23" fmla="*/ 309 h 334"/>
                <a:gd name="T24" fmla="*/ 74 w 370"/>
                <a:gd name="T25" fmla="*/ 309 h 334"/>
                <a:gd name="T26" fmla="*/ 74 w 370"/>
                <a:gd name="T27" fmla="*/ 78 h 334"/>
                <a:gd name="T28" fmla="*/ 24 w 370"/>
                <a:gd name="T29" fmla="*/ 78 h 334"/>
                <a:gd name="T30" fmla="*/ 148 w 370"/>
                <a:gd name="T31" fmla="*/ 26 h 334"/>
                <a:gd name="T32" fmla="*/ 148 w 370"/>
                <a:gd name="T33" fmla="*/ 51 h 334"/>
                <a:gd name="T34" fmla="*/ 223 w 370"/>
                <a:gd name="T35" fmla="*/ 51 h 334"/>
                <a:gd name="T36" fmla="*/ 223 w 370"/>
                <a:gd name="T37" fmla="*/ 26 h 334"/>
                <a:gd name="T38" fmla="*/ 148 w 370"/>
                <a:gd name="T39" fmla="*/ 26 h 334"/>
                <a:gd name="T40" fmla="*/ 135 w 370"/>
                <a:gd name="T41" fmla="*/ 0 h 334"/>
                <a:gd name="T42" fmla="*/ 234 w 370"/>
                <a:gd name="T43" fmla="*/ 0 h 334"/>
                <a:gd name="T44" fmla="*/ 238 w 370"/>
                <a:gd name="T45" fmla="*/ 1 h 334"/>
                <a:gd name="T46" fmla="*/ 241 w 370"/>
                <a:gd name="T47" fmla="*/ 4 h 334"/>
                <a:gd name="T48" fmla="*/ 244 w 370"/>
                <a:gd name="T49" fmla="*/ 6 h 334"/>
                <a:gd name="T50" fmla="*/ 245 w 370"/>
                <a:gd name="T51" fmla="*/ 9 h 334"/>
                <a:gd name="T52" fmla="*/ 246 w 370"/>
                <a:gd name="T53" fmla="*/ 13 h 334"/>
                <a:gd name="T54" fmla="*/ 246 w 370"/>
                <a:gd name="T55" fmla="*/ 51 h 334"/>
                <a:gd name="T56" fmla="*/ 357 w 370"/>
                <a:gd name="T57" fmla="*/ 51 h 334"/>
                <a:gd name="T58" fmla="*/ 362 w 370"/>
                <a:gd name="T59" fmla="*/ 52 h 334"/>
                <a:gd name="T60" fmla="*/ 365 w 370"/>
                <a:gd name="T61" fmla="*/ 54 h 334"/>
                <a:gd name="T62" fmla="*/ 368 w 370"/>
                <a:gd name="T63" fmla="*/ 57 h 334"/>
                <a:gd name="T64" fmla="*/ 370 w 370"/>
                <a:gd name="T65" fmla="*/ 61 h 334"/>
                <a:gd name="T66" fmla="*/ 370 w 370"/>
                <a:gd name="T67" fmla="*/ 65 h 334"/>
                <a:gd name="T68" fmla="*/ 370 w 370"/>
                <a:gd name="T69" fmla="*/ 321 h 334"/>
                <a:gd name="T70" fmla="*/ 370 w 370"/>
                <a:gd name="T71" fmla="*/ 325 h 334"/>
                <a:gd name="T72" fmla="*/ 368 w 370"/>
                <a:gd name="T73" fmla="*/ 329 h 334"/>
                <a:gd name="T74" fmla="*/ 365 w 370"/>
                <a:gd name="T75" fmla="*/ 332 h 334"/>
                <a:gd name="T76" fmla="*/ 362 w 370"/>
                <a:gd name="T77" fmla="*/ 334 h 334"/>
                <a:gd name="T78" fmla="*/ 357 w 370"/>
                <a:gd name="T79" fmla="*/ 334 h 334"/>
                <a:gd name="T80" fmla="*/ 12 w 370"/>
                <a:gd name="T81" fmla="*/ 334 h 334"/>
                <a:gd name="T82" fmla="*/ 8 w 370"/>
                <a:gd name="T83" fmla="*/ 334 h 334"/>
                <a:gd name="T84" fmla="*/ 5 w 370"/>
                <a:gd name="T85" fmla="*/ 332 h 334"/>
                <a:gd name="T86" fmla="*/ 3 w 370"/>
                <a:gd name="T87" fmla="*/ 329 h 334"/>
                <a:gd name="T88" fmla="*/ 0 w 370"/>
                <a:gd name="T89" fmla="*/ 325 h 334"/>
                <a:gd name="T90" fmla="*/ 0 w 370"/>
                <a:gd name="T91" fmla="*/ 321 h 334"/>
                <a:gd name="T92" fmla="*/ 0 w 370"/>
                <a:gd name="T93" fmla="*/ 65 h 334"/>
                <a:gd name="T94" fmla="*/ 0 w 370"/>
                <a:gd name="T95" fmla="*/ 61 h 334"/>
                <a:gd name="T96" fmla="*/ 3 w 370"/>
                <a:gd name="T97" fmla="*/ 57 h 334"/>
                <a:gd name="T98" fmla="*/ 5 w 370"/>
                <a:gd name="T99" fmla="*/ 54 h 334"/>
                <a:gd name="T100" fmla="*/ 8 w 370"/>
                <a:gd name="T101" fmla="*/ 52 h 334"/>
                <a:gd name="T102" fmla="*/ 12 w 370"/>
                <a:gd name="T103" fmla="*/ 51 h 334"/>
                <a:gd name="T104" fmla="*/ 123 w 370"/>
                <a:gd name="T105" fmla="*/ 51 h 334"/>
                <a:gd name="T106" fmla="*/ 123 w 370"/>
                <a:gd name="T107" fmla="*/ 13 h 334"/>
                <a:gd name="T108" fmla="*/ 123 w 370"/>
                <a:gd name="T109" fmla="*/ 9 h 334"/>
                <a:gd name="T110" fmla="*/ 125 w 370"/>
                <a:gd name="T111" fmla="*/ 6 h 334"/>
                <a:gd name="T112" fmla="*/ 128 w 370"/>
                <a:gd name="T113" fmla="*/ 4 h 334"/>
                <a:gd name="T114" fmla="*/ 131 w 370"/>
                <a:gd name="T115" fmla="*/ 1 h 334"/>
                <a:gd name="T116" fmla="*/ 135 w 370"/>
                <a:gd name="T117"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0" h="334">
                  <a:moveTo>
                    <a:pt x="284" y="78"/>
                  </a:moveTo>
                  <a:lnTo>
                    <a:pt x="284" y="309"/>
                  </a:lnTo>
                  <a:lnTo>
                    <a:pt x="345" y="309"/>
                  </a:lnTo>
                  <a:lnTo>
                    <a:pt x="345" y="78"/>
                  </a:lnTo>
                  <a:lnTo>
                    <a:pt x="284" y="78"/>
                  </a:lnTo>
                  <a:close/>
                  <a:moveTo>
                    <a:pt x="98" y="78"/>
                  </a:moveTo>
                  <a:lnTo>
                    <a:pt x="98" y="309"/>
                  </a:lnTo>
                  <a:lnTo>
                    <a:pt x="259" y="309"/>
                  </a:lnTo>
                  <a:lnTo>
                    <a:pt x="259" y="78"/>
                  </a:lnTo>
                  <a:lnTo>
                    <a:pt x="98" y="78"/>
                  </a:lnTo>
                  <a:close/>
                  <a:moveTo>
                    <a:pt x="24" y="78"/>
                  </a:moveTo>
                  <a:lnTo>
                    <a:pt x="24" y="309"/>
                  </a:lnTo>
                  <a:lnTo>
                    <a:pt x="74" y="309"/>
                  </a:lnTo>
                  <a:lnTo>
                    <a:pt x="74" y="78"/>
                  </a:lnTo>
                  <a:lnTo>
                    <a:pt x="24" y="78"/>
                  </a:lnTo>
                  <a:close/>
                  <a:moveTo>
                    <a:pt x="148" y="26"/>
                  </a:moveTo>
                  <a:lnTo>
                    <a:pt x="148" y="51"/>
                  </a:lnTo>
                  <a:lnTo>
                    <a:pt x="223" y="51"/>
                  </a:lnTo>
                  <a:lnTo>
                    <a:pt x="223" y="26"/>
                  </a:lnTo>
                  <a:lnTo>
                    <a:pt x="148" y="26"/>
                  </a:lnTo>
                  <a:close/>
                  <a:moveTo>
                    <a:pt x="135" y="0"/>
                  </a:moveTo>
                  <a:lnTo>
                    <a:pt x="234" y="0"/>
                  </a:lnTo>
                  <a:lnTo>
                    <a:pt x="238" y="1"/>
                  </a:lnTo>
                  <a:lnTo>
                    <a:pt x="241" y="4"/>
                  </a:lnTo>
                  <a:lnTo>
                    <a:pt x="244" y="6"/>
                  </a:lnTo>
                  <a:lnTo>
                    <a:pt x="245" y="9"/>
                  </a:lnTo>
                  <a:lnTo>
                    <a:pt x="246" y="13"/>
                  </a:lnTo>
                  <a:lnTo>
                    <a:pt x="246" y="51"/>
                  </a:lnTo>
                  <a:lnTo>
                    <a:pt x="357" y="51"/>
                  </a:lnTo>
                  <a:lnTo>
                    <a:pt x="362" y="52"/>
                  </a:lnTo>
                  <a:lnTo>
                    <a:pt x="365" y="54"/>
                  </a:lnTo>
                  <a:lnTo>
                    <a:pt x="368" y="57"/>
                  </a:lnTo>
                  <a:lnTo>
                    <a:pt x="370" y="61"/>
                  </a:lnTo>
                  <a:lnTo>
                    <a:pt x="370" y="65"/>
                  </a:lnTo>
                  <a:lnTo>
                    <a:pt x="370" y="321"/>
                  </a:lnTo>
                  <a:lnTo>
                    <a:pt x="370" y="325"/>
                  </a:lnTo>
                  <a:lnTo>
                    <a:pt x="368" y="329"/>
                  </a:lnTo>
                  <a:lnTo>
                    <a:pt x="365" y="332"/>
                  </a:lnTo>
                  <a:lnTo>
                    <a:pt x="362" y="334"/>
                  </a:lnTo>
                  <a:lnTo>
                    <a:pt x="357" y="334"/>
                  </a:lnTo>
                  <a:lnTo>
                    <a:pt x="12" y="334"/>
                  </a:lnTo>
                  <a:lnTo>
                    <a:pt x="8" y="334"/>
                  </a:lnTo>
                  <a:lnTo>
                    <a:pt x="5" y="332"/>
                  </a:lnTo>
                  <a:lnTo>
                    <a:pt x="3" y="329"/>
                  </a:lnTo>
                  <a:lnTo>
                    <a:pt x="0" y="325"/>
                  </a:lnTo>
                  <a:lnTo>
                    <a:pt x="0" y="321"/>
                  </a:lnTo>
                  <a:lnTo>
                    <a:pt x="0" y="65"/>
                  </a:lnTo>
                  <a:lnTo>
                    <a:pt x="0" y="61"/>
                  </a:lnTo>
                  <a:lnTo>
                    <a:pt x="3" y="57"/>
                  </a:lnTo>
                  <a:lnTo>
                    <a:pt x="5" y="54"/>
                  </a:lnTo>
                  <a:lnTo>
                    <a:pt x="8" y="52"/>
                  </a:lnTo>
                  <a:lnTo>
                    <a:pt x="12" y="51"/>
                  </a:lnTo>
                  <a:lnTo>
                    <a:pt x="123" y="51"/>
                  </a:lnTo>
                  <a:lnTo>
                    <a:pt x="123" y="13"/>
                  </a:lnTo>
                  <a:lnTo>
                    <a:pt x="123" y="9"/>
                  </a:lnTo>
                  <a:lnTo>
                    <a:pt x="125" y="6"/>
                  </a:lnTo>
                  <a:lnTo>
                    <a:pt x="128" y="4"/>
                  </a:lnTo>
                  <a:lnTo>
                    <a:pt x="131" y="1"/>
                  </a:lnTo>
                  <a:lnTo>
                    <a:pt x="13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26">
              <a:extLst>
                <a:ext uri="{FF2B5EF4-FFF2-40B4-BE49-F238E27FC236}">
                  <a16:creationId xmlns:a16="http://schemas.microsoft.com/office/drawing/2014/main" id="{386019DA-6E1B-D644-A00A-80F737B1940A}"/>
                </a:ext>
              </a:extLst>
            </p:cNvPr>
            <p:cNvSpPr>
              <a:spLocks noEditPoints="1"/>
            </p:cNvSpPr>
            <p:nvPr/>
          </p:nvSpPr>
          <p:spPr bwMode="auto">
            <a:xfrm>
              <a:off x="3713163" y="1471613"/>
              <a:ext cx="674688" cy="638175"/>
            </a:xfrm>
            <a:custGeom>
              <a:avLst/>
              <a:gdLst>
                <a:gd name="T0" fmla="*/ 325 w 425"/>
                <a:gd name="T1" fmla="*/ 372 h 402"/>
                <a:gd name="T2" fmla="*/ 396 w 425"/>
                <a:gd name="T3" fmla="*/ 92 h 402"/>
                <a:gd name="T4" fmla="*/ 112 w 425"/>
                <a:gd name="T5" fmla="*/ 92 h 402"/>
                <a:gd name="T6" fmla="*/ 297 w 425"/>
                <a:gd name="T7" fmla="*/ 372 h 402"/>
                <a:gd name="T8" fmla="*/ 112 w 425"/>
                <a:gd name="T9" fmla="*/ 92 h 402"/>
                <a:gd name="T10" fmla="*/ 28 w 425"/>
                <a:gd name="T11" fmla="*/ 372 h 402"/>
                <a:gd name="T12" fmla="*/ 85 w 425"/>
                <a:gd name="T13" fmla="*/ 92 h 402"/>
                <a:gd name="T14" fmla="*/ 169 w 425"/>
                <a:gd name="T15" fmla="*/ 30 h 402"/>
                <a:gd name="T16" fmla="*/ 254 w 425"/>
                <a:gd name="T17" fmla="*/ 60 h 402"/>
                <a:gd name="T18" fmla="*/ 169 w 425"/>
                <a:gd name="T19" fmla="*/ 30 h 402"/>
                <a:gd name="T20" fmla="*/ 268 w 425"/>
                <a:gd name="T21" fmla="*/ 0 h 402"/>
                <a:gd name="T22" fmla="*/ 275 w 425"/>
                <a:gd name="T23" fmla="*/ 1 h 402"/>
                <a:gd name="T24" fmla="*/ 280 w 425"/>
                <a:gd name="T25" fmla="*/ 6 h 402"/>
                <a:gd name="T26" fmla="*/ 282 w 425"/>
                <a:gd name="T27" fmla="*/ 14 h 402"/>
                <a:gd name="T28" fmla="*/ 410 w 425"/>
                <a:gd name="T29" fmla="*/ 60 h 402"/>
                <a:gd name="T30" fmla="*/ 417 w 425"/>
                <a:gd name="T31" fmla="*/ 63 h 402"/>
                <a:gd name="T32" fmla="*/ 423 w 425"/>
                <a:gd name="T33" fmla="*/ 68 h 402"/>
                <a:gd name="T34" fmla="*/ 425 w 425"/>
                <a:gd name="T35" fmla="*/ 76 h 402"/>
                <a:gd name="T36" fmla="*/ 424 w 425"/>
                <a:gd name="T37" fmla="*/ 392 h 402"/>
                <a:gd name="T38" fmla="*/ 418 w 425"/>
                <a:gd name="T39" fmla="*/ 399 h 402"/>
                <a:gd name="T40" fmla="*/ 410 w 425"/>
                <a:gd name="T41" fmla="*/ 402 h 402"/>
                <a:gd name="T42" fmla="*/ 10 w 425"/>
                <a:gd name="T43" fmla="*/ 402 h 402"/>
                <a:gd name="T44" fmla="*/ 3 w 425"/>
                <a:gd name="T45" fmla="*/ 398 h 402"/>
                <a:gd name="T46" fmla="*/ 0 w 425"/>
                <a:gd name="T47" fmla="*/ 391 h 402"/>
                <a:gd name="T48" fmla="*/ 0 w 425"/>
                <a:gd name="T49" fmla="*/ 76 h 402"/>
                <a:gd name="T50" fmla="*/ 1 w 425"/>
                <a:gd name="T51" fmla="*/ 68 h 402"/>
                <a:gd name="T52" fmla="*/ 6 w 425"/>
                <a:gd name="T53" fmla="*/ 63 h 402"/>
                <a:gd name="T54" fmla="*/ 13 w 425"/>
                <a:gd name="T55" fmla="*/ 60 h 402"/>
                <a:gd name="T56" fmla="*/ 140 w 425"/>
                <a:gd name="T57" fmla="*/ 14 h 402"/>
                <a:gd name="T58" fmla="*/ 142 w 425"/>
                <a:gd name="T59" fmla="*/ 6 h 402"/>
                <a:gd name="T60" fmla="*/ 148 w 425"/>
                <a:gd name="T61" fmla="*/ 1 h 402"/>
                <a:gd name="T62" fmla="*/ 155 w 425"/>
                <a:gd name="T63"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5" h="402">
                  <a:moveTo>
                    <a:pt x="325" y="92"/>
                  </a:moveTo>
                  <a:lnTo>
                    <a:pt x="325" y="372"/>
                  </a:lnTo>
                  <a:lnTo>
                    <a:pt x="396" y="372"/>
                  </a:lnTo>
                  <a:lnTo>
                    <a:pt x="396" y="92"/>
                  </a:lnTo>
                  <a:lnTo>
                    <a:pt x="325" y="92"/>
                  </a:lnTo>
                  <a:close/>
                  <a:moveTo>
                    <a:pt x="112" y="92"/>
                  </a:moveTo>
                  <a:lnTo>
                    <a:pt x="112" y="372"/>
                  </a:lnTo>
                  <a:lnTo>
                    <a:pt x="297" y="372"/>
                  </a:lnTo>
                  <a:lnTo>
                    <a:pt x="297" y="92"/>
                  </a:lnTo>
                  <a:lnTo>
                    <a:pt x="112" y="92"/>
                  </a:lnTo>
                  <a:close/>
                  <a:moveTo>
                    <a:pt x="28" y="92"/>
                  </a:moveTo>
                  <a:lnTo>
                    <a:pt x="28" y="372"/>
                  </a:lnTo>
                  <a:lnTo>
                    <a:pt x="85" y="372"/>
                  </a:lnTo>
                  <a:lnTo>
                    <a:pt x="85" y="92"/>
                  </a:lnTo>
                  <a:lnTo>
                    <a:pt x="28" y="92"/>
                  </a:lnTo>
                  <a:close/>
                  <a:moveTo>
                    <a:pt x="169" y="30"/>
                  </a:moveTo>
                  <a:lnTo>
                    <a:pt x="169" y="60"/>
                  </a:lnTo>
                  <a:lnTo>
                    <a:pt x="254" y="60"/>
                  </a:lnTo>
                  <a:lnTo>
                    <a:pt x="254" y="30"/>
                  </a:lnTo>
                  <a:lnTo>
                    <a:pt x="169" y="30"/>
                  </a:lnTo>
                  <a:close/>
                  <a:moveTo>
                    <a:pt x="155" y="0"/>
                  </a:moveTo>
                  <a:lnTo>
                    <a:pt x="268" y="0"/>
                  </a:lnTo>
                  <a:lnTo>
                    <a:pt x="272" y="0"/>
                  </a:lnTo>
                  <a:lnTo>
                    <a:pt x="275" y="1"/>
                  </a:lnTo>
                  <a:lnTo>
                    <a:pt x="278" y="4"/>
                  </a:lnTo>
                  <a:lnTo>
                    <a:pt x="280" y="6"/>
                  </a:lnTo>
                  <a:lnTo>
                    <a:pt x="282" y="10"/>
                  </a:lnTo>
                  <a:lnTo>
                    <a:pt x="282" y="14"/>
                  </a:lnTo>
                  <a:lnTo>
                    <a:pt x="282" y="60"/>
                  </a:lnTo>
                  <a:lnTo>
                    <a:pt x="410" y="60"/>
                  </a:lnTo>
                  <a:lnTo>
                    <a:pt x="414" y="61"/>
                  </a:lnTo>
                  <a:lnTo>
                    <a:pt x="417" y="63"/>
                  </a:lnTo>
                  <a:lnTo>
                    <a:pt x="420" y="65"/>
                  </a:lnTo>
                  <a:lnTo>
                    <a:pt x="423" y="68"/>
                  </a:lnTo>
                  <a:lnTo>
                    <a:pt x="425" y="72"/>
                  </a:lnTo>
                  <a:lnTo>
                    <a:pt x="425" y="76"/>
                  </a:lnTo>
                  <a:lnTo>
                    <a:pt x="425" y="387"/>
                  </a:lnTo>
                  <a:lnTo>
                    <a:pt x="424" y="392"/>
                  </a:lnTo>
                  <a:lnTo>
                    <a:pt x="422" y="396"/>
                  </a:lnTo>
                  <a:lnTo>
                    <a:pt x="418" y="399"/>
                  </a:lnTo>
                  <a:lnTo>
                    <a:pt x="415" y="401"/>
                  </a:lnTo>
                  <a:lnTo>
                    <a:pt x="410" y="402"/>
                  </a:lnTo>
                  <a:lnTo>
                    <a:pt x="13" y="402"/>
                  </a:lnTo>
                  <a:lnTo>
                    <a:pt x="10" y="402"/>
                  </a:lnTo>
                  <a:lnTo>
                    <a:pt x="6" y="400"/>
                  </a:lnTo>
                  <a:lnTo>
                    <a:pt x="3" y="398"/>
                  </a:lnTo>
                  <a:lnTo>
                    <a:pt x="1" y="395"/>
                  </a:lnTo>
                  <a:lnTo>
                    <a:pt x="0" y="391"/>
                  </a:lnTo>
                  <a:lnTo>
                    <a:pt x="0" y="387"/>
                  </a:lnTo>
                  <a:lnTo>
                    <a:pt x="0" y="76"/>
                  </a:lnTo>
                  <a:lnTo>
                    <a:pt x="0" y="72"/>
                  </a:lnTo>
                  <a:lnTo>
                    <a:pt x="1" y="68"/>
                  </a:lnTo>
                  <a:lnTo>
                    <a:pt x="3" y="65"/>
                  </a:lnTo>
                  <a:lnTo>
                    <a:pt x="6" y="63"/>
                  </a:lnTo>
                  <a:lnTo>
                    <a:pt x="10" y="61"/>
                  </a:lnTo>
                  <a:lnTo>
                    <a:pt x="13" y="60"/>
                  </a:lnTo>
                  <a:lnTo>
                    <a:pt x="140" y="60"/>
                  </a:lnTo>
                  <a:lnTo>
                    <a:pt x="140" y="14"/>
                  </a:lnTo>
                  <a:lnTo>
                    <a:pt x="141" y="10"/>
                  </a:lnTo>
                  <a:lnTo>
                    <a:pt x="142" y="6"/>
                  </a:lnTo>
                  <a:lnTo>
                    <a:pt x="144" y="4"/>
                  </a:lnTo>
                  <a:lnTo>
                    <a:pt x="148" y="1"/>
                  </a:lnTo>
                  <a:lnTo>
                    <a:pt x="152" y="0"/>
                  </a:lnTo>
                  <a:lnTo>
                    <a:pt x="15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27">
              <a:extLst>
                <a:ext uri="{FF2B5EF4-FFF2-40B4-BE49-F238E27FC236}">
                  <a16:creationId xmlns:a16="http://schemas.microsoft.com/office/drawing/2014/main" id="{9E3FD69E-FEBA-F14D-A70A-98C868F43E97}"/>
                </a:ext>
              </a:extLst>
            </p:cNvPr>
            <p:cNvSpPr>
              <a:spLocks noEditPoints="1"/>
            </p:cNvSpPr>
            <p:nvPr/>
          </p:nvSpPr>
          <p:spPr bwMode="auto">
            <a:xfrm>
              <a:off x="4533901" y="1771650"/>
              <a:ext cx="288925" cy="287338"/>
            </a:xfrm>
            <a:custGeom>
              <a:avLst/>
              <a:gdLst>
                <a:gd name="T0" fmla="*/ 148 w 182"/>
                <a:gd name="T1" fmla="*/ 132 h 181"/>
                <a:gd name="T2" fmla="*/ 157 w 182"/>
                <a:gd name="T3" fmla="*/ 134 h 181"/>
                <a:gd name="T4" fmla="*/ 163 w 182"/>
                <a:gd name="T5" fmla="*/ 140 h 181"/>
                <a:gd name="T6" fmla="*/ 165 w 182"/>
                <a:gd name="T7" fmla="*/ 148 h 181"/>
                <a:gd name="T8" fmla="*/ 163 w 182"/>
                <a:gd name="T9" fmla="*/ 156 h 181"/>
                <a:gd name="T10" fmla="*/ 157 w 182"/>
                <a:gd name="T11" fmla="*/ 163 h 181"/>
                <a:gd name="T12" fmla="*/ 148 w 182"/>
                <a:gd name="T13" fmla="*/ 166 h 181"/>
                <a:gd name="T14" fmla="*/ 140 w 182"/>
                <a:gd name="T15" fmla="*/ 163 h 181"/>
                <a:gd name="T16" fmla="*/ 134 w 182"/>
                <a:gd name="T17" fmla="*/ 156 h 181"/>
                <a:gd name="T18" fmla="*/ 132 w 182"/>
                <a:gd name="T19" fmla="*/ 148 h 181"/>
                <a:gd name="T20" fmla="*/ 133 w 182"/>
                <a:gd name="T21" fmla="*/ 144 h 181"/>
                <a:gd name="T22" fmla="*/ 134 w 182"/>
                <a:gd name="T23" fmla="*/ 140 h 181"/>
                <a:gd name="T24" fmla="*/ 137 w 182"/>
                <a:gd name="T25" fmla="*/ 137 h 181"/>
                <a:gd name="T26" fmla="*/ 140 w 182"/>
                <a:gd name="T27" fmla="*/ 134 h 181"/>
                <a:gd name="T28" fmla="*/ 144 w 182"/>
                <a:gd name="T29" fmla="*/ 132 h 181"/>
                <a:gd name="T30" fmla="*/ 148 w 182"/>
                <a:gd name="T31" fmla="*/ 132 h 181"/>
                <a:gd name="T32" fmla="*/ 33 w 182"/>
                <a:gd name="T33" fmla="*/ 16 h 181"/>
                <a:gd name="T34" fmla="*/ 37 w 182"/>
                <a:gd name="T35" fmla="*/ 17 h 181"/>
                <a:gd name="T36" fmla="*/ 41 w 182"/>
                <a:gd name="T37" fmla="*/ 18 h 181"/>
                <a:gd name="T38" fmla="*/ 45 w 182"/>
                <a:gd name="T39" fmla="*/ 20 h 181"/>
                <a:gd name="T40" fmla="*/ 48 w 182"/>
                <a:gd name="T41" fmla="*/ 24 h 181"/>
                <a:gd name="T42" fmla="*/ 49 w 182"/>
                <a:gd name="T43" fmla="*/ 28 h 181"/>
                <a:gd name="T44" fmla="*/ 50 w 182"/>
                <a:gd name="T45" fmla="*/ 33 h 181"/>
                <a:gd name="T46" fmla="*/ 49 w 182"/>
                <a:gd name="T47" fmla="*/ 37 h 181"/>
                <a:gd name="T48" fmla="*/ 48 w 182"/>
                <a:gd name="T49" fmla="*/ 41 h 181"/>
                <a:gd name="T50" fmla="*/ 45 w 182"/>
                <a:gd name="T51" fmla="*/ 44 h 181"/>
                <a:gd name="T52" fmla="*/ 41 w 182"/>
                <a:gd name="T53" fmla="*/ 46 h 181"/>
                <a:gd name="T54" fmla="*/ 37 w 182"/>
                <a:gd name="T55" fmla="*/ 48 h 181"/>
                <a:gd name="T56" fmla="*/ 33 w 182"/>
                <a:gd name="T57" fmla="*/ 48 h 181"/>
                <a:gd name="T58" fmla="*/ 29 w 182"/>
                <a:gd name="T59" fmla="*/ 48 h 181"/>
                <a:gd name="T60" fmla="*/ 25 w 182"/>
                <a:gd name="T61" fmla="*/ 46 h 181"/>
                <a:gd name="T62" fmla="*/ 22 w 182"/>
                <a:gd name="T63" fmla="*/ 44 h 181"/>
                <a:gd name="T64" fmla="*/ 19 w 182"/>
                <a:gd name="T65" fmla="*/ 41 h 181"/>
                <a:gd name="T66" fmla="*/ 18 w 182"/>
                <a:gd name="T67" fmla="*/ 37 h 181"/>
                <a:gd name="T68" fmla="*/ 17 w 182"/>
                <a:gd name="T69" fmla="*/ 33 h 181"/>
                <a:gd name="T70" fmla="*/ 18 w 182"/>
                <a:gd name="T71" fmla="*/ 28 h 181"/>
                <a:gd name="T72" fmla="*/ 19 w 182"/>
                <a:gd name="T73" fmla="*/ 24 h 181"/>
                <a:gd name="T74" fmla="*/ 22 w 182"/>
                <a:gd name="T75" fmla="*/ 20 h 181"/>
                <a:gd name="T76" fmla="*/ 25 w 182"/>
                <a:gd name="T77" fmla="*/ 18 h 181"/>
                <a:gd name="T78" fmla="*/ 29 w 182"/>
                <a:gd name="T79" fmla="*/ 17 h 181"/>
                <a:gd name="T80" fmla="*/ 33 w 182"/>
                <a:gd name="T81" fmla="*/ 16 h 181"/>
                <a:gd name="T82" fmla="*/ 172 w 182"/>
                <a:gd name="T83" fmla="*/ 0 h 181"/>
                <a:gd name="T84" fmla="*/ 174 w 182"/>
                <a:gd name="T85" fmla="*/ 0 h 181"/>
                <a:gd name="T86" fmla="*/ 177 w 182"/>
                <a:gd name="T87" fmla="*/ 0 h 181"/>
                <a:gd name="T88" fmla="*/ 179 w 182"/>
                <a:gd name="T89" fmla="*/ 2 h 181"/>
                <a:gd name="T90" fmla="*/ 181 w 182"/>
                <a:gd name="T91" fmla="*/ 5 h 181"/>
                <a:gd name="T92" fmla="*/ 182 w 182"/>
                <a:gd name="T93" fmla="*/ 8 h 181"/>
                <a:gd name="T94" fmla="*/ 181 w 182"/>
                <a:gd name="T95" fmla="*/ 11 h 181"/>
                <a:gd name="T96" fmla="*/ 179 w 182"/>
                <a:gd name="T97" fmla="*/ 14 h 181"/>
                <a:gd name="T98" fmla="*/ 15 w 182"/>
                <a:gd name="T99" fmla="*/ 179 h 181"/>
                <a:gd name="T100" fmla="*/ 12 w 182"/>
                <a:gd name="T101" fmla="*/ 180 h 181"/>
                <a:gd name="T102" fmla="*/ 10 w 182"/>
                <a:gd name="T103" fmla="*/ 181 h 181"/>
                <a:gd name="T104" fmla="*/ 8 w 182"/>
                <a:gd name="T105" fmla="*/ 181 h 181"/>
                <a:gd name="T106" fmla="*/ 6 w 182"/>
                <a:gd name="T107" fmla="*/ 181 h 181"/>
                <a:gd name="T108" fmla="*/ 4 w 182"/>
                <a:gd name="T109" fmla="*/ 180 h 181"/>
                <a:gd name="T110" fmla="*/ 2 w 182"/>
                <a:gd name="T111" fmla="*/ 179 h 181"/>
                <a:gd name="T112" fmla="*/ 0 w 182"/>
                <a:gd name="T113" fmla="*/ 176 h 181"/>
                <a:gd name="T114" fmla="*/ 0 w 182"/>
                <a:gd name="T115" fmla="*/ 173 h 181"/>
                <a:gd name="T116" fmla="*/ 0 w 182"/>
                <a:gd name="T117" fmla="*/ 170 h 181"/>
                <a:gd name="T118" fmla="*/ 2 w 182"/>
                <a:gd name="T119" fmla="*/ 168 h 181"/>
                <a:gd name="T120" fmla="*/ 167 w 182"/>
                <a:gd name="T121" fmla="*/ 2 h 181"/>
                <a:gd name="T122" fmla="*/ 170 w 182"/>
                <a:gd name="T123" fmla="*/ 0 h 181"/>
                <a:gd name="T124" fmla="*/ 172 w 182"/>
                <a:gd name="T12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181">
                  <a:moveTo>
                    <a:pt x="148" y="132"/>
                  </a:moveTo>
                  <a:lnTo>
                    <a:pt x="157" y="134"/>
                  </a:lnTo>
                  <a:lnTo>
                    <a:pt x="163" y="140"/>
                  </a:lnTo>
                  <a:lnTo>
                    <a:pt x="165" y="148"/>
                  </a:lnTo>
                  <a:lnTo>
                    <a:pt x="163" y="156"/>
                  </a:lnTo>
                  <a:lnTo>
                    <a:pt x="157" y="163"/>
                  </a:lnTo>
                  <a:lnTo>
                    <a:pt x="148" y="166"/>
                  </a:lnTo>
                  <a:lnTo>
                    <a:pt x="140" y="163"/>
                  </a:lnTo>
                  <a:lnTo>
                    <a:pt x="134" y="156"/>
                  </a:lnTo>
                  <a:lnTo>
                    <a:pt x="132" y="148"/>
                  </a:lnTo>
                  <a:lnTo>
                    <a:pt x="133" y="144"/>
                  </a:lnTo>
                  <a:lnTo>
                    <a:pt x="134" y="140"/>
                  </a:lnTo>
                  <a:lnTo>
                    <a:pt x="137" y="137"/>
                  </a:lnTo>
                  <a:lnTo>
                    <a:pt x="140" y="134"/>
                  </a:lnTo>
                  <a:lnTo>
                    <a:pt x="144" y="132"/>
                  </a:lnTo>
                  <a:lnTo>
                    <a:pt x="148" y="132"/>
                  </a:lnTo>
                  <a:close/>
                  <a:moveTo>
                    <a:pt x="33" y="16"/>
                  </a:moveTo>
                  <a:lnTo>
                    <a:pt x="37" y="17"/>
                  </a:lnTo>
                  <a:lnTo>
                    <a:pt x="41" y="18"/>
                  </a:lnTo>
                  <a:lnTo>
                    <a:pt x="45" y="20"/>
                  </a:lnTo>
                  <a:lnTo>
                    <a:pt x="48" y="24"/>
                  </a:lnTo>
                  <a:lnTo>
                    <a:pt x="49" y="28"/>
                  </a:lnTo>
                  <a:lnTo>
                    <a:pt x="50" y="33"/>
                  </a:lnTo>
                  <a:lnTo>
                    <a:pt x="49" y="37"/>
                  </a:lnTo>
                  <a:lnTo>
                    <a:pt x="48" y="41"/>
                  </a:lnTo>
                  <a:lnTo>
                    <a:pt x="45" y="44"/>
                  </a:lnTo>
                  <a:lnTo>
                    <a:pt x="41" y="46"/>
                  </a:lnTo>
                  <a:lnTo>
                    <a:pt x="37" y="48"/>
                  </a:lnTo>
                  <a:lnTo>
                    <a:pt x="33" y="48"/>
                  </a:lnTo>
                  <a:lnTo>
                    <a:pt x="29" y="48"/>
                  </a:lnTo>
                  <a:lnTo>
                    <a:pt x="25" y="46"/>
                  </a:lnTo>
                  <a:lnTo>
                    <a:pt x="22" y="44"/>
                  </a:lnTo>
                  <a:lnTo>
                    <a:pt x="19" y="41"/>
                  </a:lnTo>
                  <a:lnTo>
                    <a:pt x="18" y="37"/>
                  </a:lnTo>
                  <a:lnTo>
                    <a:pt x="17" y="33"/>
                  </a:lnTo>
                  <a:lnTo>
                    <a:pt x="18" y="28"/>
                  </a:lnTo>
                  <a:lnTo>
                    <a:pt x="19" y="24"/>
                  </a:lnTo>
                  <a:lnTo>
                    <a:pt x="22" y="20"/>
                  </a:lnTo>
                  <a:lnTo>
                    <a:pt x="25" y="18"/>
                  </a:lnTo>
                  <a:lnTo>
                    <a:pt x="29" y="17"/>
                  </a:lnTo>
                  <a:lnTo>
                    <a:pt x="33" y="16"/>
                  </a:lnTo>
                  <a:close/>
                  <a:moveTo>
                    <a:pt x="172" y="0"/>
                  </a:moveTo>
                  <a:lnTo>
                    <a:pt x="174" y="0"/>
                  </a:lnTo>
                  <a:lnTo>
                    <a:pt x="177" y="0"/>
                  </a:lnTo>
                  <a:lnTo>
                    <a:pt x="179" y="2"/>
                  </a:lnTo>
                  <a:lnTo>
                    <a:pt x="181" y="5"/>
                  </a:lnTo>
                  <a:lnTo>
                    <a:pt x="182" y="8"/>
                  </a:lnTo>
                  <a:lnTo>
                    <a:pt x="181" y="11"/>
                  </a:lnTo>
                  <a:lnTo>
                    <a:pt x="179" y="14"/>
                  </a:lnTo>
                  <a:lnTo>
                    <a:pt x="15" y="179"/>
                  </a:lnTo>
                  <a:lnTo>
                    <a:pt x="12" y="180"/>
                  </a:lnTo>
                  <a:lnTo>
                    <a:pt x="10" y="181"/>
                  </a:lnTo>
                  <a:lnTo>
                    <a:pt x="8" y="181"/>
                  </a:lnTo>
                  <a:lnTo>
                    <a:pt x="6" y="181"/>
                  </a:lnTo>
                  <a:lnTo>
                    <a:pt x="4" y="180"/>
                  </a:lnTo>
                  <a:lnTo>
                    <a:pt x="2" y="179"/>
                  </a:lnTo>
                  <a:lnTo>
                    <a:pt x="0" y="176"/>
                  </a:lnTo>
                  <a:lnTo>
                    <a:pt x="0" y="173"/>
                  </a:lnTo>
                  <a:lnTo>
                    <a:pt x="0" y="170"/>
                  </a:lnTo>
                  <a:lnTo>
                    <a:pt x="2" y="168"/>
                  </a:lnTo>
                  <a:lnTo>
                    <a:pt x="167" y="2"/>
                  </a:lnTo>
                  <a:lnTo>
                    <a:pt x="170" y="0"/>
                  </a:lnTo>
                  <a:lnTo>
                    <a:pt x="17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8">
              <a:extLst>
                <a:ext uri="{FF2B5EF4-FFF2-40B4-BE49-F238E27FC236}">
                  <a16:creationId xmlns:a16="http://schemas.microsoft.com/office/drawing/2014/main" id="{74CF1E17-2B42-1A46-83BC-BD4AC752D218}"/>
                </a:ext>
              </a:extLst>
            </p:cNvPr>
            <p:cNvSpPr>
              <a:spLocks noEditPoints="1"/>
            </p:cNvSpPr>
            <p:nvPr/>
          </p:nvSpPr>
          <p:spPr bwMode="auto">
            <a:xfrm>
              <a:off x="3000376" y="2593975"/>
              <a:ext cx="266700" cy="268288"/>
            </a:xfrm>
            <a:custGeom>
              <a:avLst/>
              <a:gdLst>
                <a:gd name="T0" fmla="*/ 141 w 168"/>
                <a:gd name="T1" fmla="*/ 124 h 169"/>
                <a:gd name="T2" fmla="*/ 148 w 168"/>
                <a:gd name="T3" fmla="*/ 127 h 169"/>
                <a:gd name="T4" fmla="*/ 152 w 168"/>
                <a:gd name="T5" fmla="*/ 135 h 169"/>
                <a:gd name="T6" fmla="*/ 152 w 168"/>
                <a:gd name="T7" fmla="*/ 143 h 169"/>
                <a:gd name="T8" fmla="*/ 148 w 168"/>
                <a:gd name="T9" fmla="*/ 149 h 169"/>
                <a:gd name="T10" fmla="*/ 141 w 168"/>
                <a:gd name="T11" fmla="*/ 153 h 169"/>
                <a:gd name="T12" fmla="*/ 133 w 168"/>
                <a:gd name="T13" fmla="*/ 153 h 169"/>
                <a:gd name="T14" fmla="*/ 125 w 168"/>
                <a:gd name="T15" fmla="*/ 147 h 169"/>
                <a:gd name="T16" fmla="*/ 122 w 168"/>
                <a:gd name="T17" fmla="*/ 139 h 169"/>
                <a:gd name="T18" fmla="*/ 125 w 168"/>
                <a:gd name="T19" fmla="*/ 129 h 169"/>
                <a:gd name="T20" fmla="*/ 133 w 168"/>
                <a:gd name="T21" fmla="*/ 124 h 169"/>
                <a:gd name="T22" fmla="*/ 31 w 168"/>
                <a:gd name="T23" fmla="*/ 16 h 169"/>
                <a:gd name="T24" fmla="*/ 38 w 168"/>
                <a:gd name="T25" fmla="*/ 18 h 169"/>
                <a:gd name="T26" fmla="*/ 43 w 168"/>
                <a:gd name="T27" fmla="*/ 23 h 169"/>
                <a:gd name="T28" fmla="*/ 46 w 168"/>
                <a:gd name="T29" fmla="*/ 31 h 169"/>
                <a:gd name="T30" fmla="*/ 42 w 168"/>
                <a:gd name="T31" fmla="*/ 40 h 169"/>
                <a:gd name="T32" fmla="*/ 35 w 168"/>
                <a:gd name="T33" fmla="*/ 45 h 169"/>
                <a:gd name="T34" fmla="*/ 27 w 168"/>
                <a:gd name="T35" fmla="*/ 45 h 169"/>
                <a:gd name="T36" fmla="*/ 20 w 168"/>
                <a:gd name="T37" fmla="*/ 42 h 169"/>
                <a:gd name="T38" fmla="*/ 15 w 168"/>
                <a:gd name="T39" fmla="*/ 35 h 169"/>
                <a:gd name="T40" fmla="*/ 15 w 168"/>
                <a:gd name="T41" fmla="*/ 27 h 169"/>
                <a:gd name="T42" fmla="*/ 20 w 168"/>
                <a:gd name="T43" fmla="*/ 20 h 169"/>
                <a:gd name="T44" fmla="*/ 27 w 168"/>
                <a:gd name="T45" fmla="*/ 16 h 169"/>
                <a:gd name="T46" fmla="*/ 161 w 168"/>
                <a:gd name="T47" fmla="*/ 0 h 169"/>
                <a:gd name="T48" fmla="*/ 166 w 168"/>
                <a:gd name="T49" fmla="*/ 2 h 169"/>
                <a:gd name="T50" fmla="*/ 168 w 168"/>
                <a:gd name="T51" fmla="*/ 8 h 169"/>
                <a:gd name="T52" fmla="*/ 166 w 168"/>
                <a:gd name="T53" fmla="*/ 14 h 169"/>
                <a:gd name="T54" fmla="*/ 11 w 168"/>
                <a:gd name="T55" fmla="*/ 168 h 169"/>
                <a:gd name="T56" fmla="*/ 7 w 168"/>
                <a:gd name="T57" fmla="*/ 169 h 169"/>
                <a:gd name="T58" fmla="*/ 4 w 168"/>
                <a:gd name="T59" fmla="*/ 168 h 169"/>
                <a:gd name="T60" fmla="*/ 0 w 168"/>
                <a:gd name="T61" fmla="*/ 165 h 169"/>
                <a:gd name="T62" fmla="*/ 0 w 168"/>
                <a:gd name="T63" fmla="*/ 158 h 169"/>
                <a:gd name="T64" fmla="*/ 156 w 168"/>
                <a:gd name="T65" fmla="*/ 2 h 169"/>
                <a:gd name="T66" fmla="*/ 161 w 168"/>
                <a:gd name="T67"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8" h="169">
                  <a:moveTo>
                    <a:pt x="137" y="123"/>
                  </a:moveTo>
                  <a:lnTo>
                    <a:pt x="141" y="124"/>
                  </a:lnTo>
                  <a:lnTo>
                    <a:pt x="145" y="125"/>
                  </a:lnTo>
                  <a:lnTo>
                    <a:pt x="148" y="127"/>
                  </a:lnTo>
                  <a:lnTo>
                    <a:pt x="150" y="130"/>
                  </a:lnTo>
                  <a:lnTo>
                    <a:pt x="152" y="135"/>
                  </a:lnTo>
                  <a:lnTo>
                    <a:pt x="153" y="139"/>
                  </a:lnTo>
                  <a:lnTo>
                    <a:pt x="152" y="143"/>
                  </a:lnTo>
                  <a:lnTo>
                    <a:pt x="150" y="146"/>
                  </a:lnTo>
                  <a:lnTo>
                    <a:pt x="148" y="149"/>
                  </a:lnTo>
                  <a:lnTo>
                    <a:pt x="145" y="152"/>
                  </a:lnTo>
                  <a:lnTo>
                    <a:pt x="141" y="153"/>
                  </a:lnTo>
                  <a:lnTo>
                    <a:pt x="137" y="154"/>
                  </a:lnTo>
                  <a:lnTo>
                    <a:pt x="133" y="153"/>
                  </a:lnTo>
                  <a:lnTo>
                    <a:pt x="129" y="151"/>
                  </a:lnTo>
                  <a:lnTo>
                    <a:pt x="125" y="147"/>
                  </a:lnTo>
                  <a:lnTo>
                    <a:pt x="123" y="143"/>
                  </a:lnTo>
                  <a:lnTo>
                    <a:pt x="122" y="139"/>
                  </a:lnTo>
                  <a:lnTo>
                    <a:pt x="123" y="134"/>
                  </a:lnTo>
                  <a:lnTo>
                    <a:pt x="125" y="129"/>
                  </a:lnTo>
                  <a:lnTo>
                    <a:pt x="129" y="126"/>
                  </a:lnTo>
                  <a:lnTo>
                    <a:pt x="133" y="124"/>
                  </a:lnTo>
                  <a:lnTo>
                    <a:pt x="137" y="123"/>
                  </a:lnTo>
                  <a:close/>
                  <a:moveTo>
                    <a:pt x="31" y="16"/>
                  </a:moveTo>
                  <a:lnTo>
                    <a:pt x="34" y="16"/>
                  </a:lnTo>
                  <a:lnTo>
                    <a:pt x="38" y="18"/>
                  </a:lnTo>
                  <a:lnTo>
                    <a:pt x="41" y="20"/>
                  </a:lnTo>
                  <a:lnTo>
                    <a:pt x="43" y="23"/>
                  </a:lnTo>
                  <a:lnTo>
                    <a:pt x="46" y="27"/>
                  </a:lnTo>
                  <a:lnTo>
                    <a:pt x="46" y="31"/>
                  </a:lnTo>
                  <a:lnTo>
                    <a:pt x="44" y="36"/>
                  </a:lnTo>
                  <a:lnTo>
                    <a:pt x="42" y="40"/>
                  </a:lnTo>
                  <a:lnTo>
                    <a:pt x="39" y="43"/>
                  </a:lnTo>
                  <a:lnTo>
                    <a:pt x="35" y="45"/>
                  </a:lnTo>
                  <a:lnTo>
                    <a:pt x="31" y="46"/>
                  </a:lnTo>
                  <a:lnTo>
                    <a:pt x="27" y="45"/>
                  </a:lnTo>
                  <a:lnTo>
                    <a:pt x="23" y="44"/>
                  </a:lnTo>
                  <a:lnTo>
                    <a:pt x="20" y="42"/>
                  </a:lnTo>
                  <a:lnTo>
                    <a:pt x="17" y="39"/>
                  </a:lnTo>
                  <a:lnTo>
                    <a:pt x="15" y="35"/>
                  </a:lnTo>
                  <a:lnTo>
                    <a:pt x="15" y="31"/>
                  </a:lnTo>
                  <a:lnTo>
                    <a:pt x="15" y="27"/>
                  </a:lnTo>
                  <a:lnTo>
                    <a:pt x="17" y="23"/>
                  </a:lnTo>
                  <a:lnTo>
                    <a:pt x="20" y="20"/>
                  </a:lnTo>
                  <a:lnTo>
                    <a:pt x="23" y="18"/>
                  </a:lnTo>
                  <a:lnTo>
                    <a:pt x="27" y="16"/>
                  </a:lnTo>
                  <a:lnTo>
                    <a:pt x="31" y="16"/>
                  </a:lnTo>
                  <a:close/>
                  <a:moveTo>
                    <a:pt x="161" y="0"/>
                  </a:moveTo>
                  <a:lnTo>
                    <a:pt x="164" y="1"/>
                  </a:lnTo>
                  <a:lnTo>
                    <a:pt x="166" y="2"/>
                  </a:lnTo>
                  <a:lnTo>
                    <a:pt x="168" y="5"/>
                  </a:lnTo>
                  <a:lnTo>
                    <a:pt x="168" y="8"/>
                  </a:lnTo>
                  <a:lnTo>
                    <a:pt x="168" y="11"/>
                  </a:lnTo>
                  <a:lnTo>
                    <a:pt x="166" y="14"/>
                  </a:lnTo>
                  <a:lnTo>
                    <a:pt x="13" y="167"/>
                  </a:lnTo>
                  <a:lnTo>
                    <a:pt x="11" y="168"/>
                  </a:lnTo>
                  <a:lnTo>
                    <a:pt x="9" y="169"/>
                  </a:lnTo>
                  <a:lnTo>
                    <a:pt x="7" y="169"/>
                  </a:lnTo>
                  <a:lnTo>
                    <a:pt x="6" y="169"/>
                  </a:lnTo>
                  <a:lnTo>
                    <a:pt x="4" y="168"/>
                  </a:lnTo>
                  <a:lnTo>
                    <a:pt x="2" y="167"/>
                  </a:lnTo>
                  <a:lnTo>
                    <a:pt x="0" y="165"/>
                  </a:lnTo>
                  <a:lnTo>
                    <a:pt x="0" y="162"/>
                  </a:lnTo>
                  <a:lnTo>
                    <a:pt x="0" y="158"/>
                  </a:lnTo>
                  <a:lnTo>
                    <a:pt x="2" y="156"/>
                  </a:lnTo>
                  <a:lnTo>
                    <a:pt x="156" y="2"/>
                  </a:lnTo>
                  <a:lnTo>
                    <a:pt x="158" y="1"/>
                  </a:lnTo>
                  <a:lnTo>
                    <a:pt x="16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29">
              <a:extLst>
                <a:ext uri="{FF2B5EF4-FFF2-40B4-BE49-F238E27FC236}">
                  <a16:creationId xmlns:a16="http://schemas.microsoft.com/office/drawing/2014/main" id="{7FD1CB25-052E-1B4E-8679-69F88C59F2D6}"/>
                </a:ext>
              </a:extLst>
            </p:cNvPr>
            <p:cNvSpPr>
              <a:spLocks noEditPoints="1"/>
            </p:cNvSpPr>
            <p:nvPr/>
          </p:nvSpPr>
          <p:spPr bwMode="auto">
            <a:xfrm>
              <a:off x="4310063" y="4848225"/>
              <a:ext cx="320675" cy="322263"/>
            </a:xfrm>
            <a:custGeom>
              <a:avLst/>
              <a:gdLst>
                <a:gd name="T0" fmla="*/ 165 w 202"/>
                <a:gd name="T1" fmla="*/ 148 h 203"/>
                <a:gd name="T2" fmla="*/ 174 w 202"/>
                <a:gd name="T3" fmla="*/ 150 h 203"/>
                <a:gd name="T4" fmla="*/ 181 w 202"/>
                <a:gd name="T5" fmla="*/ 158 h 203"/>
                <a:gd name="T6" fmla="*/ 185 w 202"/>
                <a:gd name="T7" fmla="*/ 166 h 203"/>
                <a:gd name="T8" fmla="*/ 181 w 202"/>
                <a:gd name="T9" fmla="*/ 176 h 203"/>
                <a:gd name="T10" fmla="*/ 174 w 202"/>
                <a:gd name="T11" fmla="*/ 183 h 203"/>
                <a:gd name="T12" fmla="*/ 165 w 202"/>
                <a:gd name="T13" fmla="*/ 186 h 203"/>
                <a:gd name="T14" fmla="*/ 157 w 202"/>
                <a:gd name="T15" fmla="*/ 183 h 203"/>
                <a:gd name="T16" fmla="*/ 149 w 202"/>
                <a:gd name="T17" fmla="*/ 176 h 203"/>
                <a:gd name="T18" fmla="*/ 147 w 202"/>
                <a:gd name="T19" fmla="*/ 166 h 203"/>
                <a:gd name="T20" fmla="*/ 149 w 202"/>
                <a:gd name="T21" fmla="*/ 158 h 203"/>
                <a:gd name="T22" fmla="*/ 157 w 202"/>
                <a:gd name="T23" fmla="*/ 150 h 203"/>
                <a:gd name="T24" fmla="*/ 165 w 202"/>
                <a:gd name="T25" fmla="*/ 148 h 203"/>
                <a:gd name="T26" fmla="*/ 36 w 202"/>
                <a:gd name="T27" fmla="*/ 18 h 203"/>
                <a:gd name="T28" fmla="*/ 46 w 202"/>
                <a:gd name="T29" fmla="*/ 21 h 203"/>
                <a:gd name="T30" fmla="*/ 52 w 202"/>
                <a:gd name="T31" fmla="*/ 28 h 203"/>
                <a:gd name="T32" fmla="*/ 55 w 202"/>
                <a:gd name="T33" fmla="*/ 37 h 203"/>
                <a:gd name="T34" fmla="*/ 52 w 202"/>
                <a:gd name="T35" fmla="*/ 47 h 203"/>
                <a:gd name="T36" fmla="*/ 46 w 202"/>
                <a:gd name="T37" fmla="*/ 53 h 203"/>
                <a:gd name="T38" fmla="*/ 36 w 202"/>
                <a:gd name="T39" fmla="*/ 55 h 203"/>
                <a:gd name="T40" fmla="*/ 27 w 202"/>
                <a:gd name="T41" fmla="*/ 53 h 203"/>
                <a:gd name="T42" fmla="*/ 21 w 202"/>
                <a:gd name="T43" fmla="*/ 47 h 203"/>
                <a:gd name="T44" fmla="*/ 19 w 202"/>
                <a:gd name="T45" fmla="*/ 37 h 203"/>
                <a:gd name="T46" fmla="*/ 21 w 202"/>
                <a:gd name="T47" fmla="*/ 28 h 203"/>
                <a:gd name="T48" fmla="*/ 27 w 202"/>
                <a:gd name="T49" fmla="*/ 21 h 203"/>
                <a:gd name="T50" fmla="*/ 36 w 202"/>
                <a:gd name="T51" fmla="*/ 18 h 203"/>
                <a:gd name="T52" fmla="*/ 195 w 202"/>
                <a:gd name="T53" fmla="*/ 0 h 203"/>
                <a:gd name="T54" fmla="*/ 197 w 202"/>
                <a:gd name="T55" fmla="*/ 1 h 203"/>
                <a:gd name="T56" fmla="*/ 200 w 202"/>
                <a:gd name="T57" fmla="*/ 2 h 203"/>
                <a:gd name="T58" fmla="*/ 201 w 202"/>
                <a:gd name="T59" fmla="*/ 6 h 203"/>
                <a:gd name="T60" fmla="*/ 202 w 202"/>
                <a:gd name="T61" fmla="*/ 9 h 203"/>
                <a:gd name="T62" fmla="*/ 201 w 202"/>
                <a:gd name="T63" fmla="*/ 12 h 203"/>
                <a:gd name="T64" fmla="*/ 200 w 202"/>
                <a:gd name="T65" fmla="*/ 16 h 203"/>
                <a:gd name="T66" fmla="*/ 15 w 202"/>
                <a:gd name="T67" fmla="*/ 201 h 203"/>
                <a:gd name="T68" fmla="*/ 13 w 202"/>
                <a:gd name="T69" fmla="*/ 202 h 203"/>
                <a:gd name="T70" fmla="*/ 11 w 202"/>
                <a:gd name="T71" fmla="*/ 203 h 203"/>
                <a:gd name="T72" fmla="*/ 9 w 202"/>
                <a:gd name="T73" fmla="*/ 203 h 203"/>
                <a:gd name="T74" fmla="*/ 6 w 202"/>
                <a:gd name="T75" fmla="*/ 203 h 203"/>
                <a:gd name="T76" fmla="*/ 4 w 202"/>
                <a:gd name="T77" fmla="*/ 202 h 203"/>
                <a:gd name="T78" fmla="*/ 2 w 202"/>
                <a:gd name="T79" fmla="*/ 201 h 203"/>
                <a:gd name="T80" fmla="*/ 0 w 202"/>
                <a:gd name="T81" fmla="*/ 199 h 203"/>
                <a:gd name="T82" fmla="*/ 0 w 202"/>
                <a:gd name="T83" fmla="*/ 196 h 203"/>
                <a:gd name="T84" fmla="*/ 0 w 202"/>
                <a:gd name="T85" fmla="*/ 193 h 203"/>
                <a:gd name="T86" fmla="*/ 0 w 202"/>
                <a:gd name="T87" fmla="*/ 190 h 203"/>
                <a:gd name="T88" fmla="*/ 2 w 202"/>
                <a:gd name="T89" fmla="*/ 188 h 203"/>
                <a:gd name="T90" fmla="*/ 187 w 202"/>
                <a:gd name="T91" fmla="*/ 2 h 203"/>
                <a:gd name="T92" fmla="*/ 189 w 202"/>
                <a:gd name="T93" fmla="*/ 1 h 203"/>
                <a:gd name="T94" fmla="*/ 192 w 202"/>
                <a:gd name="T95" fmla="*/ 0 h 203"/>
                <a:gd name="T96" fmla="*/ 195 w 202"/>
                <a:gd name="T97"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203">
                  <a:moveTo>
                    <a:pt x="165" y="148"/>
                  </a:moveTo>
                  <a:lnTo>
                    <a:pt x="174" y="150"/>
                  </a:lnTo>
                  <a:lnTo>
                    <a:pt x="181" y="158"/>
                  </a:lnTo>
                  <a:lnTo>
                    <a:pt x="185" y="166"/>
                  </a:lnTo>
                  <a:lnTo>
                    <a:pt x="181" y="176"/>
                  </a:lnTo>
                  <a:lnTo>
                    <a:pt x="174" y="183"/>
                  </a:lnTo>
                  <a:lnTo>
                    <a:pt x="165" y="186"/>
                  </a:lnTo>
                  <a:lnTo>
                    <a:pt x="157" y="183"/>
                  </a:lnTo>
                  <a:lnTo>
                    <a:pt x="149" y="176"/>
                  </a:lnTo>
                  <a:lnTo>
                    <a:pt x="147" y="166"/>
                  </a:lnTo>
                  <a:lnTo>
                    <a:pt x="149" y="158"/>
                  </a:lnTo>
                  <a:lnTo>
                    <a:pt x="157" y="150"/>
                  </a:lnTo>
                  <a:lnTo>
                    <a:pt x="165" y="148"/>
                  </a:lnTo>
                  <a:close/>
                  <a:moveTo>
                    <a:pt x="36" y="18"/>
                  </a:moveTo>
                  <a:lnTo>
                    <a:pt x="46" y="21"/>
                  </a:lnTo>
                  <a:lnTo>
                    <a:pt x="52" y="28"/>
                  </a:lnTo>
                  <a:lnTo>
                    <a:pt x="55" y="37"/>
                  </a:lnTo>
                  <a:lnTo>
                    <a:pt x="52" y="47"/>
                  </a:lnTo>
                  <a:lnTo>
                    <a:pt x="46" y="53"/>
                  </a:lnTo>
                  <a:lnTo>
                    <a:pt x="36" y="55"/>
                  </a:lnTo>
                  <a:lnTo>
                    <a:pt x="27" y="53"/>
                  </a:lnTo>
                  <a:lnTo>
                    <a:pt x="21" y="47"/>
                  </a:lnTo>
                  <a:lnTo>
                    <a:pt x="19" y="37"/>
                  </a:lnTo>
                  <a:lnTo>
                    <a:pt x="21" y="28"/>
                  </a:lnTo>
                  <a:lnTo>
                    <a:pt x="27" y="21"/>
                  </a:lnTo>
                  <a:lnTo>
                    <a:pt x="36" y="18"/>
                  </a:lnTo>
                  <a:close/>
                  <a:moveTo>
                    <a:pt x="195" y="0"/>
                  </a:moveTo>
                  <a:lnTo>
                    <a:pt x="197" y="1"/>
                  </a:lnTo>
                  <a:lnTo>
                    <a:pt x="200" y="2"/>
                  </a:lnTo>
                  <a:lnTo>
                    <a:pt x="201" y="6"/>
                  </a:lnTo>
                  <a:lnTo>
                    <a:pt x="202" y="9"/>
                  </a:lnTo>
                  <a:lnTo>
                    <a:pt x="201" y="12"/>
                  </a:lnTo>
                  <a:lnTo>
                    <a:pt x="200" y="16"/>
                  </a:lnTo>
                  <a:lnTo>
                    <a:pt x="15" y="201"/>
                  </a:lnTo>
                  <a:lnTo>
                    <a:pt x="13" y="202"/>
                  </a:lnTo>
                  <a:lnTo>
                    <a:pt x="11" y="203"/>
                  </a:lnTo>
                  <a:lnTo>
                    <a:pt x="9" y="203"/>
                  </a:lnTo>
                  <a:lnTo>
                    <a:pt x="6" y="203"/>
                  </a:lnTo>
                  <a:lnTo>
                    <a:pt x="4" y="202"/>
                  </a:lnTo>
                  <a:lnTo>
                    <a:pt x="2" y="201"/>
                  </a:lnTo>
                  <a:lnTo>
                    <a:pt x="0" y="199"/>
                  </a:lnTo>
                  <a:lnTo>
                    <a:pt x="0" y="196"/>
                  </a:lnTo>
                  <a:lnTo>
                    <a:pt x="0" y="193"/>
                  </a:lnTo>
                  <a:lnTo>
                    <a:pt x="0" y="190"/>
                  </a:lnTo>
                  <a:lnTo>
                    <a:pt x="2" y="188"/>
                  </a:lnTo>
                  <a:lnTo>
                    <a:pt x="187" y="2"/>
                  </a:lnTo>
                  <a:lnTo>
                    <a:pt x="189" y="1"/>
                  </a:lnTo>
                  <a:lnTo>
                    <a:pt x="192" y="0"/>
                  </a:lnTo>
                  <a:lnTo>
                    <a:pt x="19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30">
              <a:extLst>
                <a:ext uri="{FF2B5EF4-FFF2-40B4-BE49-F238E27FC236}">
                  <a16:creationId xmlns:a16="http://schemas.microsoft.com/office/drawing/2014/main" id="{EFC35D5F-A2C8-3543-8107-959D20E9D0F2}"/>
                </a:ext>
              </a:extLst>
            </p:cNvPr>
            <p:cNvSpPr>
              <a:spLocks noEditPoints="1"/>
            </p:cNvSpPr>
            <p:nvPr/>
          </p:nvSpPr>
          <p:spPr bwMode="auto">
            <a:xfrm>
              <a:off x="3951288" y="4189413"/>
              <a:ext cx="663575" cy="511175"/>
            </a:xfrm>
            <a:custGeom>
              <a:avLst/>
              <a:gdLst>
                <a:gd name="T0" fmla="*/ 274 w 418"/>
                <a:gd name="T1" fmla="*/ 289 h 322"/>
                <a:gd name="T2" fmla="*/ 278 w 418"/>
                <a:gd name="T3" fmla="*/ 299 h 322"/>
                <a:gd name="T4" fmla="*/ 336 w 418"/>
                <a:gd name="T5" fmla="*/ 297 h 322"/>
                <a:gd name="T6" fmla="*/ 336 w 418"/>
                <a:gd name="T7" fmla="*/ 286 h 322"/>
                <a:gd name="T8" fmla="*/ 181 w 418"/>
                <a:gd name="T9" fmla="*/ 284 h 322"/>
                <a:gd name="T10" fmla="*/ 173 w 418"/>
                <a:gd name="T11" fmla="*/ 291 h 322"/>
                <a:gd name="T12" fmla="*/ 181 w 418"/>
                <a:gd name="T13" fmla="*/ 300 h 322"/>
                <a:gd name="T14" fmla="*/ 239 w 418"/>
                <a:gd name="T15" fmla="*/ 294 h 322"/>
                <a:gd name="T16" fmla="*/ 234 w 418"/>
                <a:gd name="T17" fmla="*/ 285 h 322"/>
                <a:gd name="T18" fmla="*/ 80 w 418"/>
                <a:gd name="T19" fmla="*/ 285 h 322"/>
                <a:gd name="T20" fmla="*/ 74 w 418"/>
                <a:gd name="T21" fmla="*/ 294 h 322"/>
                <a:gd name="T22" fmla="*/ 132 w 418"/>
                <a:gd name="T23" fmla="*/ 300 h 322"/>
                <a:gd name="T24" fmla="*/ 141 w 418"/>
                <a:gd name="T25" fmla="*/ 291 h 322"/>
                <a:gd name="T26" fmla="*/ 132 w 418"/>
                <a:gd name="T27" fmla="*/ 284 h 322"/>
                <a:gd name="T28" fmla="*/ 377 w 418"/>
                <a:gd name="T29" fmla="*/ 223 h 322"/>
                <a:gd name="T30" fmla="*/ 373 w 418"/>
                <a:gd name="T31" fmla="*/ 253 h 322"/>
                <a:gd name="T32" fmla="*/ 364 w 418"/>
                <a:gd name="T33" fmla="*/ 274 h 322"/>
                <a:gd name="T34" fmla="*/ 372 w 418"/>
                <a:gd name="T35" fmla="*/ 279 h 322"/>
                <a:gd name="T36" fmla="*/ 385 w 418"/>
                <a:gd name="T37" fmla="*/ 266 h 322"/>
                <a:gd name="T38" fmla="*/ 391 w 418"/>
                <a:gd name="T39" fmla="*/ 249 h 322"/>
                <a:gd name="T40" fmla="*/ 386 w 418"/>
                <a:gd name="T41" fmla="*/ 222 h 322"/>
                <a:gd name="T42" fmla="*/ 366 w 418"/>
                <a:gd name="T43" fmla="*/ 45 h 322"/>
                <a:gd name="T44" fmla="*/ 370 w 418"/>
                <a:gd name="T45" fmla="*/ 61 h 322"/>
                <a:gd name="T46" fmla="*/ 375 w 418"/>
                <a:gd name="T47" fmla="*/ 96 h 322"/>
                <a:gd name="T48" fmla="*/ 386 w 418"/>
                <a:gd name="T49" fmla="*/ 99 h 322"/>
                <a:gd name="T50" fmla="*/ 391 w 418"/>
                <a:gd name="T51" fmla="*/ 71 h 322"/>
                <a:gd name="T52" fmla="*/ 385 w 418"/>
                <a:gd name="T53" fmla="*/ 54 h 322"/>
                <a:gd name="T54" fmla="*/ 371 w 418"/>
                <a:gd name="T55" fmla="*/ 42 h 322"/>
                <a:gd name="T56" fmla="*/ 274 w 418"/>
                <a:gd name="T57" fmla="*/ 28 h 322"/>
                <a:gd name="T58" fmla="*/ 278 w 418"/>
                <a:gd name="T59" fmla="*/ 37 h 322"/>
                <a:gd name="T60" fmla="*/ 337 w 418"/>
                <a:gd name="T61" fmla="*/ 36 h 322"/>
                <a:gd name="T62" fmla="*/ 337 w 418"/>
                <a:gd name="T63" fmla="*/ 24 h 322"/>
                <a:gd name="T64" fmla="*/ 182 w 418"/>
                <a:gd name="T65" fmla="*/ 22 h 322"/>
                <a:gd name="T66" fmla="*/ 174 w 418"/>
                <a:gd name="T67" fmla="*/ 31 h 322"/>
                <a:gd name="T68" fmla="*/ 182 w 418"/>
                <a:gd name="T69" fmla="*/ 38 h 322"/>
                <a:gd name="T70" fmla="*/ 239 w 418"/>
                <a:gd name="T71" fmla="*/ 33 h 322"/>
                <a:gd name="T72" fmla="*/ 234 w 418"/>
                <a:gd name="T73" fmla="*/ 23 h 322"/>
                <a:gd name="T74" fmla="*/ 80 w 418"/>
                <a:gd name="T75" fmla="*/ 23 h 322"/>
                <a:gd name="T76" fmla="*/ 75 w 418"/>
                <a:gd name="T77" fmla="*/ 33 h 322"/>
                <a:gd name="T78" fmla="*/ 132 w 418"/>
                <a:gd name="T79" fmla="*/ 38 h 322"/>
                <a:gd name="T80" fmla="*/ 141 w 418"/>
                <a:gd name="T81" fmla="*/ 31 h 322"/>
                <a:gd name="T82" fmla="*/ 132 w 418"/>
                <a:gd name="T83" fmla="*/ 22 h 322"/>
                <a:gd name="T84" fmla="*/ 377 w 418"/>
                <a:gd name="T85" fmla="*/ 3 h 322"/>
                <a:gd name="T86" fmla="*/ 418 w 418"/>
                <a:gd name="T87" fmla="*/ 54 h 322"/>
                <a:gd name="T88" fmla="*/ 308 w 418"/>
                <a:gd name="T89" fmla="*/ 120 h 322"/>
                <a:gd name="T90" fmla="*/ 301 w 418"/>
                <a:gd name="T91" fmla="*/ 192 h 322"/>
                <a:gd name="T92" fmla="*/ 418 w 418"/>
                <a:gd name="T93" fmla="*/ 211 h 322"/>
                <a:gd name="T94" fmla="*/ 393 w 418"/>
                <a:gd name="T95" fmla="*/ 312 h 322"/>
                <a:gd name="T96" fmla="*/ 0 w 418"/>
                <a:gd name="T97" fmla="*/ 291 h 322"/>
                <a:gd name="T98" fmla="*/ 8 w 418"/>
                <a:gd name="T99" fmla="*/ 300 h 322"/>
                <a:gd name="T100" fmla="*/ 40 w 418"/>
                <a:gd name="T101" fmla="*/ 294 h 322"/>
                <a:gd name="T102" fmla="*/ 36 w 418"/>
                <a:gd name="T103" fmla="*/ 285 h 322"/>
                <a:gd name="T104" fmla="*/ 3 w 418"/>
                <a:gd name="T105" fmla="*/ 286 h 322"/>
                <a:gd name="T106" fmla="*/ 1 w 418"/>
                <a:gd name="T107" fmla="*/ 33 h 322"/>
                <a:gd name="T108" fmla="*/ 33 w 418"/>
                <a:gd name="T109" fmla="*/ 38 h 322"/>
                <a:gd name="T110" fmla="*/ 41 w 418"/>
                <a:gd name="T111" fmla="*/ 31 h 322"/>
                <a:gd name="T112" fmla="*/ 33 w 418"/>
                <a:gd name="T113" fmla="*/ 22 h 322"/>
                <a:gd name="T114" fmla="*/ 1 w 418"/>
                <a:gd name="T115" fmla="*/ 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8" h="322">
                  <a:moveTo>
                    <a:pt x="281" y="284"/>
                  </a:moveTo>
                  <a:lnTo>
                    <a:pt x="278" y="285"/>
                  </a:lnTo>
                  <a:lnTo>
                    <a:pt x="275" y="286"/>
                  </a:lnTo>
                  <a:lnTo>
                    <a:pt x="274" y="289"/>
                  </a:lnTo>
                  <a:lnTo>
                    <a:pt x="273" y="291"/>
                  </a:lnTo>
                  <a:lnTo>
                    <a:pt x="274" y="294"/>
                  </a:lnTo>
                  <a:lnTo>
                    <a:pt x="275" y="297"/>
                  </a:lnTo>
                  <a:lnTo>
                    <a:pt x="278" y="299"/>
                  </a:lnTo>
                  <a:lnTo>
                    <a:pt x="281" y="300"/>
                  </a:lnTo>
                  <a:lnTo>
                    <a:pt x="331" y="300"/>
                  </a:lnTo>
                  <a:lnTo>
                    <a:pt x="334" y="299"/>
                  </a:lnTo>
                  <a:lnTo>
                    <a:pt x="336" y="297"/>
                  </a:lnTo>
                  <a:lnTo>
                    <a:pt x="338" y="294"/>
                  </a:lnTo>
                  <a:lnTo>
                    <a:pt x="339" y="291"/>
                  </a:lnTo>
                  <a:lnTo>
                    <a:pt x="338" y="289"/>
                  </a:lnTo>
                  <a:lnTo>
                    <a:pt x="336" y="286"/>
                  </a:lnTo>
                  <a:lnTo>
                    <a:pt x="334" y="285"/>
                  </a:lnTo>
                  <a:lnTo>
                    <a:pt x="331" y="284"/>
                  </a:lnTo>
                  <a:lnTo>
                    <a:pt x="281" y="284"/>
                  </a:lnTo>
                  <a:close/>
                  <a:moveTo>
                    <a:pt x="181" y="284"/>
                  </a:moveTo>
                  <a:lnTo>
                    <a:pt x="178" y="285"/>
                  </a:lnTo>
                  <a:lnTo>
                    <a:pt x="176" y="286"/>
                  </a:lnTo>
                  <a:lnTo>
                    <a:pt x="174" y="289"/>
                  </a:lnTo>
                  <a:lnTo>
                    <a:pt x="173" y="291"/>
                  </a:lnTo>
                  <a:lnTo>
                    <a:pt x="174" y="294"/>
                  </a:lnTo>
                  <a:lnTo>
                    <a:pt x="176" y="297"/>
                  </a:lnTo>
                  <a:lnTo>
                    <a:pt x="178" y="299"/>
                  </a:lnTo>
                  <a:lnTo>
                    <a:pt x="181" y="300"/>
                  </a:lnTo>
                  <a:lnTo>
                    <a:pt x="231" y="300"/>
                  </a:lnTo>
                  <a:lnTo>
                    <a:pt x="234" y="299"/>
                  </a:lnTo>
                  <a:lnTo>
                    <a:pt x="237" y="297"/>
                  </a:lnTo>
                  <a:lnTo>
                    <a:pt x="239" y="294"/>
                  </a:lnTo>
                  <a:lnTo>
                    <a:pt x="239" y="291"/>
                  </a:lnTo>
                  <a:lnTo>
                    <a:pt x="239" y="289"/>
                  </a:lnTo>
                  <a:lnTo>
                    <a:pt x="237" y="286"/>
                  </a:lnTo>
                  <a:lnTo>
                    <a:pt x="234" y="285"/>
                  </a:lnTo>
                  <a:lnTo>
                    <a:pt x="231" y="284"/>
                  </a:lnTo>
                  <a:lnTo>
                    <a:pt x="181" y="284"/>
                  </a:lnTo>
                  <a:close/>
                  <a:moveTo>
                    <a:pt x="83" y="284"/>
                  </a:moveTo>
                  <a:lnTo>
                    <a:pt x="80" y="285"/>
                  </a:lnTo>
                  <a:lnTo>
                    <a:pt x="76" y="286"/>
                  </a:lnTo>
                  <a:lnTo>
                    <a:pt x="74" y="289"/>
                  </a:lnTo>
                  <a:lnTo>
                    <a:pt x="74" y="291"/>
                  </a:lnTo>
                  <a:lnTo>
                    <a:pt x="74" y="294"/>
                  </a:lnTo>
                  <a:lnTo>
                    <a:pt x="76" y="297"/>
                  </a:lnTo>
                  <a:lnTo>
                    <a:pt x="80" y="299"/>
                  </a:lnTo>
                  <a:lnTo>
                    <a:pt x="83" y="300"/>
                  </a:lnTo>
                  <a:lnTo>
                    <a:pt x="132" y="300"/>
                  </a:lnTo>
                  <a:lnTo>
                    <a:pt x="136" y="299"/>
                  </a:lnTo>
                  <a:lnTo>
                    <a:pt x="138" y="297"/>
                  </a:lnTo>
                  <a:lnTo>
                    <a:pt x="140" y="294"/>
                  </a:lnTo>
                  <a:lnTo>
                    <a:pt x="141" y="291"/>
                  </a:lnTo>
                  <a:lnTo>
                    <a:pt x="140" y="289"/>
                  </a:lnTo>
                  <a:lnTo>
                    <a:pt x="138" y="286"/>
                  </a:lnTo>
                  <a:lnTo>
                    <a:pt x="136" y="285"/>
                  </a:lnTo>
                  <a:lnTo>
                    <a:pt x="132" y="284"/>
                  </a:lnTo>
                  <a:lnTo>
                    <a:pt x="83" y="284"/>
                  </a:lnTo>
                  <a:close/>
                  <a:moveTo>
                    <a:pt x="383" y="221"/>
                  </a:moveTo>
                  <a:lnTo>
                    <a:pt x="379" y="222"/>
                  </a:lnTo>
                  <a:lnTo>
                    <a:pt x="377" y="223"/>
                  </a:lnTo>
                  <a:lnTo>
                    <a:pt x="375" y="226"/>
                  </a:lnTo>
                  <a:lnTo>
                    <a:pt x="374" y="229"/>
                  </a:lnTo>
                  <a:lnTo>
                    <a:pt x="374" y="249"/>
                  </a:lnTo>
                  <a:lnTo>
                    <a:pt x="373" y="253"/>
                  </a:lnTo>
                  <a:lnTo>
                    <a:pt x="370" y="259"/>
                  </a:lnTo>
                  <a:lnTo>
                    <a:pt x="365" y="267"/>
                  </a:lnTo>
                  <a:lnTo>
                    <a:pt x="364" y="271"/>
                  </a:lnTo>
                  <a:lnTo>
                    <a:pt x="364" y="274"/>
                  </a:lnTo>
                  <a:lnTo>
                    <a:pt x="365" y="276"/>
                  </a:lnTo>
                  <a:lnTo>
                    <a:pt x="368" y="278"/>
                  </a:lnTo>
                  <a:lnTo>
                    <a:pt x="370" y="279"/>
                  </a:lnTo>
                  <a:lnTo>
                    <a:pt x="372" y="279"/>
                  </a:lnTo>
                  <a:lnTo>
                    <a:pt x="375" y="279"/>
                  </a:lnTo>
                  <a:lnTo>
                    <a:pt x="377" y="278"/>
                  </a:lnTo>
                  <a:lnTo>
                    <a:pt x="379" y="276"/>
                  </a:lnTo>
                  <a:lnTo>
                    <a:pt x="385" y="266"/>
                  </a:lnTo>
                  <a:lnTo>
                    <a:pt x="389" y="259"/>
                  </a:lnTo>
                  <a:lnTo>
                    <a:pt x="390" y="253"/>
                  </a:lnTo>
                  <a:lnTo>
                    <a:pt x="391" y="251"/>
                  </a:lnTo>
                  <a:lnTo>
                    <a:pt x="391" y="249"/>
                  </a:lnTo>
                  <a:lnTo>
                    <a:pt x="391" y="229"/>
                  </a:lnTo>
                  <a:lnTo>
                    <a:pt x="391" y="226"/>
                  </a:lnTo>
                  <a:lnTo>
                    <a:pt x="389" y="223"/>
                  </a:lnTo>
                  <a:lnTo>
                    <a:pt x="386" y="222"/>
                  </a:lnTo>
                  <a:lnTo>
                    <a:pt x="383" y="221"/>
                  </a:lnTo>
                  <a:close/>
                  <a:moveTo>
                    <a:pt x="371" y="42"/>
                  </a:moveTo>
                  <a:lnTo>
                    <a:pt x="368" y="43"/>
                  </a:lnTo>
                  <a:lnTo>
                    <a:pt x="366" y="45"/>
                  </a:lnTo>
                  <a:lnTo>
                    <a:pt x="365" y="48"/>
                  </a:lnTo>
                  <a:lnTo>
                    <a:pt x="365" y="50"/>
                  </a:lnTo>
                  <a:lnTo>
                    <a:pt x="366" y="54"/>
                  </a:lnTo>
                  <a:lnTo>
                    <a:pt x="370" y="61"/>
                  </a:lnTo>
                  <a:lnTo>
                    <a:pt x="373" y="68"/>
                  </a:lnTo>
                  <a:lnTo>
                    <a:pt x="374" y="72"/>
                  </a:lnTo>
                  <a:lnTo>
                    <a:pt x="374" y="93"/>
                  </a:lnTo>
                  <a:lnTo>
                    <a:pt x="375" y="96"/>
                  </a:lnTo>
                  <a:lnTo>
                    <a:pt x="377" y="98"/>
                  </a:lnTo>
                  <a:lnTo>
                    <a:pt x="379" y="99"/>
                  </a:lnTo>
                  <a:lnTo>
                    <a:pt x="383" y="100"/>
                  </a:lnTo>
                  <a:lnTo>
                    <a:pt x="386" y="99"/>
                  </a:lnTo>
                  <a:lnTo>
                    <a:pt x="389" y="98"/>
                  </a:lnTo>
                  <a:lnTo>
                    <a:pt x="391" y="96"/>
                  </a:lnTo>
                  <a:lnTo>
                    <a:pt x="391" y="93"/>
                  </a:lnTo>
                  <a:lnTo>
                    <a:pt x="391" y="71"/>
                  </a:lnTo>
                  <a:lnTo>
                    <a:pt x="391" y="69"/>
                  </a:lnTo>
                  <a:lnTo>
                    <a:pt x="390" y="67"/>
                  </a:lnTo>
                  <a:lnTo>
                    <a:pt x="389" y="62"/>
                  </a:lnTo>
                  <a:lnTo>
                    <a:pt x="385" y="54"/>
                  </a:lnTo>
                  <a:lnTo>
                    <a:pt x="379" y="45"/>
                  </a:lnTo>
                  <a:lnTo>
                    <a:pt x="377" y="43"/>
                  </a:lnTo>
                  <a:lnTo>
                    <a:pt x="374" y="42"/>
                  </a:lnTo>
                  <a:lnTo>
                    <a:pt x="371" y="42"/>
                  </a:lnTo>
                  <a:close/>
                  <a:moveTo>
                    <a:pt x="281" y="22"/>
                  </a:moveTo>
                  <a:lnTo>
                    <a:pt x="278" y="23"/>
                  </a:lnTo>
                  <a:lnTo>
                    <a:pt x="276" y="24"/>
                  </a:lnTo>
                  <a:lnTo>
                    <a:pt x="274" y="28"/>
                  </a:lnTo>
                  <a:lnTo>
                    <a:pt x="273" y="31"/>
                  </a:lnTo>
                  <a:lnTo>
                    <a:pt x="274" y="33"/>
                  </a:lnTo>
                  <a:lnTo>
                    <a:pt x="276" y="36"/>
                  </a:lnTo>
                  <a:lnTo>
                    <a:pt x="278" y="37"/>
                  </a:lnTo>
                  <a:lnTo>
                    <a:pt x="281" y="38"/>
                  </a:lnTo>
                  <a:lnTo>
                    <a:pt x="331" y="38"/>
                  </a:lnTo>
                  <a:lnTo>
                    <a:pt x="334" y="37"/>
                  </a:lnTo>
                  <a:lnTo>
                    <a:pt x="337" y="36"/>
                  </a:lnTo>
                  <a:lnTo>
                    <a:pt x="338" y="33"/>
                  </a:lnTo>
                  <a:lnTo>
                    <a:pt x="339" y="31"/>
                  </a:lnTo>
                  <a:lnTo>
                    <a:pt x="338" y="28"/>
                  </a:lnTo>
                  <a:lnTo>
                    <a:pt x="337" y="24"/>
                  </a:lnTo>
                  <a:lnTo>
                    <a:pt x="334" y="23"/>
                  </a:lnTo>
                  <a:lnTo>
                    <a:pt x="331" y="22"/>
                  </a:lnTo>
                  <a:lnTo>
                    <a:pt x="281" y="22"/>
                  </a:lnTo>
                  <a:close/>
                  <a:moveTo>
                    <a:pt x="182" y="22"/>
                  </a:moveTo>
                  <a:lnTo>
                    <a:pt x="178" y="23"/>
                  </a:lnTo>
                  <a:lnTo>
                    <a:pt x="176" y="24"/>
                  </a:lnTo>
                  <a:lnTo>
                    <a:pt x="174" y="28"/>
                  </a:lnTo>
                  <a:lnTo>
                    <a:pt x="174" y="31"/>
                  </a:lnTo>
                  <a:lnTo>
                    <a:pt x="174" y="33"/>
                  </a:lnTo>
                  <a:lnTo>
                    <a:pt x="176" y="36"/>
                  </a:lnTo>
                  <a:lnTo>
                    <a:pt x="178" y="37"/>
                  </a:lnTo>
                  <a:lnTo>
                    <a:pt x="182" y="38"/>
                  </a:lnTo>
                  <a:lnTo>
                    <a:pt x="231" y="38"/>
                  </a:lnTo>
                  <a:lnTo>
                    <a:pt x="234" y="37"/>
                  </a:lnTo>
                  <a:lnTo>
                    <a:pt x="237" y="36"/>
                  </a:lnTo>
                  <a:lnTo>
                    <a:pt x="239" y="33"/>
                  </a:lnTo>
                  <a:lnTo>
                    <a:pt x="239" y="31"/>
                  </a:lnTo>
                  <a:lnTo>
                    <a:pt x="239" y="28"/>
                  </a:lnTo>
                  <a:lnTo>
                    <a:pt x="237" y="24"/>
                  </a:lnTo>
                  <a:lnTo>
                    <a:pt x="234" y="23"/>
                  </a:lnTo>
                  <a:lnTo>
                    <a:pt x="231" y="22"/>
                  </a:lnTo>
                  <a:lnTo>
                    <a:pt x="182" y="22"/>
                  </a:lnTo>
                  <a:close/>
                  <a:moveTo>
                    <a:pt x="83" y="22"/>
                  </a:moveTo>
                  <a:lnTo>
                    <a:pt x="80" y="23"/>
                  </a:lnTo>
                  <a:lnTo>
                    <a:pt x="76" y="24"/>
                  </a:lnTo>
                  <a:lnTo>
                    <a:pt x="75" y="28"/>
                  </a:lnTo>
                  <a:lnTo>
                    <a:pt x="74" y="31"/>
                  </a:lnTo>
                  <a:lnTo>
                    <a:pt x="75" y="33"/>
                  </a:lnTo>
                  <a:lnTo>
                    <a:pt x="76" y="36"/>
                  </a:lnTo>
                  <a:lnTo>
                    <a:pt x="80" y="37"/>
                  </a:lnTo>
                  <a:lnTo>
                    <a:pt x="83" y="38"/>
                  </a:lnTo>
                  <a:lnTo>
                    <a:pt x="132" y="38"/>
                  </a:lnTo>
                  <a:lnTo>
                    <a:pt x="136" y="37"/>
                  </a:lnTo>
                  <a:lnTo>
                    <a:pt x="138" y="36"/>
                  </a:lnTo>
                  <a:lnTo>
                    <a:pt x="140" y="33"/>
                  </a:lnTo>
                  <a:lnTo>
                    <a:pt x="141" y="31"/>
                  </a:lnTo>
                  <a:lnTo>
                    <a:pt x="140" y="28"/>
                  </a:lnTo>
                  <a:lnTo>
                    <a:pt x="138" y="24"/>
                  </a:lnTo>
                  <a:lnTo>
                    <a:pt x="136" y="23"/>
                  </a:lnTo>
                  <a:lnTo>
                    <a:pt x="132" y="22"/>
                  </a:lnTo>
                  <a:lnTo>
                    <a:pt x="83" y="22"/>
                  </a:lnTo>
                  <a:close/>
                  <a:moveTo>
                    <a:pt x="0" y="0"/>
                  </a:moveTo>
                  <a:lnTo>
                    <a:pt x="359" y="0"/>
                  </a:lnTo>
                  <a:lnTo>
                    <a:pt x="377" y="3"/>
                  </a:lnTo>
                  <a:lnTo>
                    <a:pt x="393" y="10"/>
                  </a:lnTo>
                  <a:lnTo>
                    <a:pt x="406" y="21"/>
                  </a:lnTo>
                  <a:lnTo>
                    <a:pt x="415" y="36"/>
                  </a:lnTo>
                  <a:lnTo>
                    <a:pt x="418" y="54"/>
                  </a:lnTo>
                  <a:lnTo>
                    <a:pt x="418" y="111"/>
                  </a:lnTo>
                  <a:lnTo>
                    <a:pt x="333" y="111"/>
                  </a:lnTo>
                  <a:lnTo>
                    <a:pt x="319" y="114"/>
                  </a:lnTo>
                  <a:lnTo>
                    <a:pt x="308" y="120"/>
                  </a:lnTo>
                  <a:lnTo>
                    <a:pt x="301" y="130"/>
                  </a:lnTo>
                  <a:lnTo>
                    <a:pt x="297" y="143"/>
                  </a:lnTo>
                  <a:lnTo>
                    <a:pt x="297" y="179"/>
                  </a:lnTo>
                  <a:lnTo>
                    <a:pt x="301" y="192"/>
                  </a:lnTo>
                  <a:lnTo>
                    <a:pt x="308" y="202"/>
                  </a:lnTo>
                  <a:lnTo>
                    <a:pt x="319" y="208"/>
                  </a:lnTo>
                  <a:lnTo>
                    <a:pt x="333" y="211"/>
                  </a:lnTo>
                  <a:lnTo>
                    <a:pt x="418" y="211"/>
                  </a:lnTo>
                  <a:lnTo>
                    <a:pt x="418" y="268"/>
                  </a:lnTo>
                  <a:lnTo>
                    <a:pt x="415" y="286"/>
                  </a:lnTo>
                  <a:lnTo>
                    <a:pt x="406" y="301"/>
                  </a:lnTo>
                  <a:lnTo>
                    <a:pt x="393" y="312"/>
                  </a:lnTo>
                  <a:lnTo>
                    <a:pt x="377" y="319"/>
                  </a:lnTo>
                  <a:lnTo>
                    <a:pt x="359" y="322"/>
                  </a:lnTo>
                  <a:lnTo>
                    <a:pt x="0" y="322"/>
                  </a:lnTo>
                  <a:lnTo>
                    <a:pt x="0" y="291"/>
                  </a:lnTo>
                  <a:lnTo>
                    <a:pt x="1" y="294"/>
                  </a:lnTo>
                  <a:lnTo>
                    <a:pt x="3" y="297"/>
                  </a:lnTo>
                  <a:lnTo>
                    <a:pt x="5" y="299"/>
                  </a:lnTo>
                  <a:lnTo>
                    <a:pt x="8" y="300"/>
                  </a:lnTo>
                  <a:lnTo>
                    <a:pt x="33" y="300"/>
                  </a:lnTo>
                  <a:lnTo>
                    <a:pt x="36" y="299"/>
                  </a:lnTo>
                  <a:lnTo>
                    <a:pt x="39" y="297"/>
                  </a:lnTo>
                  <a:lnTo>
                    <a:pt x="40" y="294"/>
                  </a:lnTo>
                  <a:lnTo>
                    <a:pt x="41" y="291"/>
                  </a:lnTo>
                  <a:lnTo>
                    <a:pt x="40" y="289"/>
                  </a:lnTo>
                  <a:lnTo>
                    <a:pt x="39" y="286"/>
                  </a:lnTo>
                  <a:lnTo>
                    <a:pt x="36" y="285"/>
                  </a:lnTo>
                  <a:lnTo>
                    <a:pt x="33" y="284"/>
                  </a:lnTo>
                  <a:lnTo>
                    <a:pt x="8" y="284"/>
                  </a:lnTo>
                  <a:lnTo>
                    <a:pt x="5" y="285"/>
                  </a:lnTo>
                  <a:lnTo>
                    <a:pt x="3" y="286"/>
                  </a:lnTo>
                  <a:lnTo>
                    <a:pt x="1" y="289"/>
                  </a:lnTo>
                  <a:lnTo>
                    <a:pt x="0" y="291"/>
                  </a:lnTo>
                  <a:lnTo>
                    <a:pt x="0" y="31"/>
                  </a:lnTo>
                  <a:lnTo>
                    <a:pt x="1" y="33"/>
                  </a:lnTo>
                  <a:lnTo>
                    <a:pt x="3" y="36"/>
                  </a:lnTo>
                  <a:lnTo>
                    <a:pt x="5" y="37"/>
                  </a:lnTo>
                  <a:lnTo>
                    <a:pt x="8" y="38"/>
                  </a:lnTo>
                  <a:lnTo>
                    <a:pt x="33" y="38"/>
                  </a:lnTo>
                  <a:lnTo>
                    <a:pt x="36" y="37"/>
                  </a:lnTo>
                  <a:lnTo>
                    <a:pt x="39" y="36"/>
                  </a:lnTo>
                  <a:lnTo>
                    <a:pt x="40" y="33"/>
                  </a:lnTo>
                  <a:lnTo>
                    <a:pt x="41" y="31"/>
                  </a:lnTo>
                  <a:lnTo>
                    <a:pt x="40" y="28"/>
                  </a:lnTo>
                  <a:lnTo>
                    <a:pt x="39" y="24"/>
                  </a:lnTo>
                  <a:lnTo>
                    <a:pt x="36" y="23"/>
                  </a:lnTo>
                  <a:lnTo>
                    <a:pt x="33" y="22"/>
                  </a:lnTo>
                  <a:lnTo>
                    <a:pt x="8" y="22"/>
                  </a:lnTo>
                  <a:lnTo>
                    <a:pt x="5" y="23"/>
                  </a:lnTo>
                  <a:lnTo>
                    <a:pt x="3" y="24"/>
                  </a:lnTo>
                  <a:lnTo>
                    <a:pt x="1" y="28"/>
                  </a:lnTo>
                  <a:lnTo>
                    <a:pt x="0" y="31"/>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31">
              <a:extLst>
                <a:ext uri="{FF2B5EF4-FFF2-40B4-BE49-F238E27FC236}">
                  <a16:creationId xmlns:a16="http://schemas.microsoft.com/office/drawing/2014/main" id="{971ED9C8-06BE-1042-843F-2671B5C03006}"/>
                </a:ext>
              </a:extLst>
            </p:cNvPr>
            <p:cNvSpPr>
              <a:spLocks noEditPoints="1"/>
            </p:cNvSpPr>
            <p:nvPr/>
          </p:nvSpPr>
          <p:spPr bwMode="auto">
            <a:xfrm>
              <a:off x="4449763" y="4389438"/>
              <a:ext cx="165100" cy="111125"/>
            </a:xfrm>
            <a:custGeom>
              <a:avLst/>
              <a:gdLst>
                <a:gd name="T0" fmla="*/ 41 w 104"/>
                <a:gd name="T1" fmla="*/ 18 h 70"/>
                <a:gd name="T2" fmla="*/ 31 w 104"/>
                <a:gd name="T3" fmla="*/ 20 h 70"/>
                <a:gd name="T4" fmla="*/ 24 w 104"/>
                <a:gd name="T5" fmla="*/ 26 h 70"/>
                <a:gd name="T6" fmla="*/ 22 w 104"/>
                <a:gd name="T7" fmla="*/ 35 h 70"/>
                <a:gd name="T8" fmla="*/ 24 w 104"/>
                <a:gd name="T9" fmla="*/ 44 h 70"/>
                <a:gd name="T10" fmla="*/ 31 w 104"/>
                <a:gd name="T11" fmla="*/ 50 h 70"/>
                <a:gd name="T12" fmla="*/ 41 w 104"/>
                <a:gd name="T13" fmla="*/ 52 h 70"/>
                <a:gd name="T14" fmla="*/ 50 w 104"/>
                <a:gd name="T15" fmla="*/ 50 h 70"/>
                <a:gd name="T16" fmla="*/ 57 w 104"/>
                <a:gd name="T17" fmla="*/ 44 h 70"/>
                <a:gd name="T18" fmla="*/ 59 w 104"/>
                <a:gd name="T19" fmla="*/ 35 h 70"/>
                <a:gd name="T20" fmla="*/ 57 w 104"/>
                <a:gd name="T21" fmla="*/ 26 h 70"/>
                <a:gd name="T22" fmla="*/ 50 w 104"/>
                <a:gd name="T23" fmla="*/ 20 h 70"/>
                <a:gd name="T24" fmla="*/ 41 w 104"/>
                <a:gd name="T25" fmla="*/ 18 h 70"/>
                <a:gd name="T26" fmla="*/ 19 w 104"/>
                <a:gd name="T27" fmla="*/ 0 h 70"/>
                <a:gd name="T28" fmla="*/ 104 w 104"/>
                <a:gd name="T29" fmla="*/ 0 h 70"/>
                <a:gd name="T30" fmla="*/ 104 w 104"/>
                <a:gd name="T31" fmla="*/ 70 h 70"/>
                <a:gd name="T32" fmla="*/ 19 w 104"/>
                <a:gd name="T33" fmla="*/ 70 h 70"/>
                <a:gd name="T34" fmla="*/ 9 w 104"/>
                <a:gd name="T35" fmla="*/ 68 h 70"/>
                <a:gd name="T36" fmla="*/ 3 w 104"/>
                <a:gd name="T37" fmla="*/ 61 h 70"/>
                <a:gd name="T38" fmla="*/ 0 w 104"/>
                <a:gd name="T39" fmla="*/ 53 h 70"/>
                <a:gd name="T40" fmla="*/ 0 w 104"/>
                <a:gd name="T41" fmla="*/ 17 h 70"/>
                <a:gd name="T42" fmla="*/ 3 w 104"/>
                <a:gd name="T43" fmla="*/ 8 h 70"/>
                <a:gd name="T44" fmla="*/ 9 w 104"/>
                <a:gd name="T45" fmla="*/ 2 h 70"/>
                <a:gd name="T46" fmla="*/ 19 w 104"/>
                <a:gd name="T4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4" h="70">
                  <a:moveTo>
                    <a:pt x="41" y="18"/>
                  </a:moveTo>
                  <a:lnTo>
                    <a:pt x="31" y="20"/>
                  </a:lnTo>
                  <a:lnTo>
                    <a:pt x="24" y="26"/>
                  </a:lnTo>
                  <a:lnTo>
                    <a:pt x="22" y="35"/>
                  </a:lnTo>
                  <a:lnTo>
                    <a:pt x="24" y="44"/>
                  </a:lnTo>
                  <a:lnTo>
                    <a:pt x="31" y="50"/>
                  </a:lnTo>
                  <a:lnTo>
                    <a:pt x="41" y="52"/>
                  </a:lnTo>
                  <a:lnTo>
                    <a:pt x="50" y="50"/>
                  </a:lnTo>
                  <a:lnTo>
                    <a:pt x="57" y="44"/>
                  </a:lnTo>
                  <a:lnTo>
                    <a:pt x="59" y="35"/>
                  </a:lnTo>
                  <a:lnTo>
                    <a:pt x="57" y="26"/>
                  </a:lnTo>
                  <a:lnTo>
                    <a:pt x="50" y="20"/>
                  </a:lnTo>
                  <a:lnTo>
                    <a:pt x="41" y="18"/>
                  </a:lnTo>
                  <a:close/>
                  <a:moveTo>
                    <a:pt x="19" y="0"/>
                  </a:moveTo>
                  <a:lnTo>
                    <a:pt x="104" y="0"/>
                  </a:lnTo>
                  <a:lnTo>
                    <a:pt x="104" y="70"/>
                  </a:lnTo>
                  <a:lnTo>
                    <a:pt x="19" y="70"/>
                  </a:lnTo>
                  <a:lnTo>
                    <a:pt x="9" y="68"/>
                  </a:lnTo>
                  <a:lnTo>
                    <a:pt x="3" y="61"/>
                  </a:lnTo>
                  <a:lnTo>
                    <a:pt x="0" y="53"/>
                  </a:lnTo>
                  <a:lnTo>
                    <a:pt x="0" y="17"/>
                  </a:lnTo>
                  <a:lnTo>
                    <a:pt x="3" y="8"/>
                  </a:lnTo>
                  <a:lnTo>
                    <a:pt x="9" y="2"/>
                  </a:lnTo>
                  <a:lnTo>
                    <a:pt x="1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32">
              <a:extLst>
                <a:ext uri="{FF2B5EF4-FFF2-40B4-BE49-F238E27FC236}">
                  <a16:creationId xmlns:a16="http://schemas.microsoft.com/office/drawing/2014/main" id="{EA647F01-515B-1C44-844D-C9EFBDE79416}"/>
                </a:ext>
              </a:extLst>
            </p:cNvPr>
            <p:cNvSpPr>
              <a:spLocks noEditPoints="1"/>
            </p:cNvSpPr>
            <p:nvPr/>
          </p:nvSpPr>
          <p:spPr bwMode="auto">
            <a:xfrm>
              <a:off x="6765926" y="3482975"/>
              <a:ext cx="547688" cy="428625"/>
            </a:xfrm>
            <a:custGeom>
              <a:avLst/>
              <a:gdLst>
                <a:gd name="T0" fmla="*/ 225 w 345"/>
                <a:gd name="T1" fmla="*/ 242 h 270"/>
                <a:gd name="T2" fmla="*/ 229 w 345"/>
                <a:gd name="T3" fmla="*/ 250 h 270"/>
                <a:gd name="T4" fmla="*/ 278 w 345"/>
                <a:gd name="T5" fmla="*/ 248 h 270"/>
                <a:gd name="T6" fmla="*/ 278 w 345"/>
                <a:gd name="T7" fmla="*/ 240 h 270"/>
                <a:gd name="T8" fmla="*/ 150 w 345"/>
                <a:gd name="T9" fmla="*/ 238 h 270"/>
                <a:gd name="T10" fmla="*/ 143 w 345"/>
                <a:gd name="T11" fmla="*/ 244 h 270"/>
                <a:gd name="T12" fmla="*/ 150 w 345"/>
                <a:gd name="T13" fmla="*/ 250 h 270"/>
                <a:gd name="T14" fmla="*/ 197 w 345"/>
                <a:gd name="T15" fmla="*/ 246 h 270"/>
                <a:gd name="T16" fmla="*/ 194 w 345"/>
                <a:gd name="T17" fmla="*/ 239 h 270"/>
                <a:gd name="T18" fmla="*/ 65 w 345"/>
                <a:gd name="T19" fmla="*/ 239 h 270"/>
                <a:gd name="T20" fmla="*/ 61 w 345"/>
                <a:gd name="T21" fmla="*/ 246 h 270"/>
                <a:gd name="T22" fmla="*/ 109 w 345"/>
                <a:gd name="T23" fmla="*/ 250 h 270"/>
                <a:gd name="T24" fmla="*/ 115 w 345"/>
                <a:gd name="T25" fmla="*/ 244 h 270"/>
                <a:gd name="T26" fmla="*/ 109 w 345"/>
                <a:gd name="T27" fmla="*/ 238 h 270"/>
                <a:gd name="T28" fmla="*/ 311 w 345"/>
                <a:gd name="T29" fmla="*/ 187 h 270"/>
                <a:gd name="T30" fmla="*/ 309 w 345"/>
                <a:gd name="T31" fmla="*/ 210 h 270"/>
                <a:gd name="T32" fmla="*/ 302 w 345"/>
                <a:gd name="T33" fmla="*/ 224 h 270"/>
                <a:gd name="T34" fmla="*/ 304 w 345"/>
                <a:gd name="T35" fmla="*/ 233 h 270"/>
                <a:gd name="T36" fmla="*/ 311 w 345"/>
                <a:gd name="T37" fmla="*/ 233 h 270"/>
                <a:gd name="T38" fmla="*/ 323 w 345"/>
                <a:gd name="T39" fmla="*/ 210 h 270"/>
                <a:gd name="T40" fmla="*/ 321 w 345"/>
                <a:gd name="T41" fmla="*/ 187 h 270"/>
                <a:gd name="T42" fmla="*/ 304 w 345"/>
                <a:gd name="T43" fmla="*/ 37 h 270"/>
                <a:gd name="T44" fmla="*/ 302 w 345"/>
                <a:gd name="T45" fmla="*/ 45 h 270"/>
                <a:gd name="T46" fmla="*/ 309 w 345"/>
                <a:gd name="T47" fmla="*/ 58 h 270"/>
                <a:gd name="T48" fmla="*/ 311 w 345"/>
                <a:gd name="T49" fmla="*/ 82 h 270"/>
                <a:gd name="T50" fmla="*/ 321 w 345"/>
                <a:gd name="T51" fmla="*/ 82 h 270"/>
                <a:gd name="T52" fmla="*/ 323 w 345"/>
                <a:gd name="T53" fmla="*/ 58 h 270"/>
                <a:gd name="T54" fmla="*/ 311 w 345"/>
                <a:gd name="T55" fmla="*/ 37 h 270"/>
                <a:gd name="T56" fmla="*/ 229 w 345"/>
                <a:gd name="T57" fmla="*/ 20 h 270"/>
                <a:gd name="T58" fmla="*/ 226 w 345"/>
                <a:gd name="T59" fmla="*/ 28 h 270"/>
                <a:gd name="T60" fmla="*/ 273 w 345"/>
                <a:gd name="T61" fmla="*/ 32 h 270"/>
                <a:gd name="T62" fmla="*/ 280 w 345"/>
                <a:gd name="T63" fmla="*/ 25 h 270"/>
                <a:gd name="T64" fmla="*/ 273 w 345"/>
                <a:gd name="T65" fmla="*/ 19 h 270"/>
                <a:gd name="T66" fmla="*/ 145 w 345"/>
                <a:gd name="T67" fmla="*/ 21 h 270"/>
                <a:gd name="T68" fmla="*/ 145 w 345"/>
                <a:gd name="T69" fmla="*/ 30 h 270"/>
                <a:gd name="T70" fmla="*/ 194 w 345"/>
                <a:gd name="T71" fmla="*/ 31 h 270"/>
                <a:gd name="T72" fmla="*/ 197 w 345"/>
                <a:gd name="T73" fmla="*/ 23 h 270"/>
                <a:gd name="T74" fmla="*/ 151 w 345"/>
                <a:gd name="T75" fmla="*/ 19 h 270"/>
                <a:gd name="T76" fmla="*/ 61 w 345"/>
                <a:gd name="T77" fmla="*/ 23 h 270"/>
                <a:gd name="T78" fmla="*/ 65 w 345"/>
                <a:gd name="T79" fmla="*/ 31 h 270"/>
                <a:gd name="T80" fmla="*/ 114 w 345"/>
                <a:gd name="T81" fmla="*/ 30 h 270"/>
                <a:gd name="T82" fmla="*/ 114 w 345"/>
                <a:gd name="T83" fmla="*/ 21 h 270"/>
                <a:gd name="T84" fmla="*/ 0 w 345"/>
                <a:gd name="T85" fmla="*/ 0 h 270"/>
                <a:gd name="T86" fmla="*/ 335 w 345"/>
                <a:gd name="T87" fmla="*/ 18 h 270"/>
                <a:gd name="T88" fmla="*/ 275 w 345"/>
                <a:gd name="T89" fmla="*/ 93 h 270"/>
                <a:gd name="T90" fmla="*/ 246 w 345"/>
                <a:gd name="T91" fmla="*/ 120 h 270"/>
                <a:gd name="T92" fmla="*/ 264 w 345"/>
                <a:gd name="T93" fmla="*/ 175 h 270"/>
                <a:gd name="T94" fmla="*/ 343 w 345"/>
                <a:gd name="T95" fmla="*/ 239 h 270"/>
                <a:gd name="T96" fmla="*/ 297 w 345"/>
                <a:gd name="T97" fmla="*/ 270 h 270"/>
                <a:gd name="T98" fmla="*/ 1 w 345"/>
                <a:gd name="T99" fmla="*/ 248 h 270"/>
                <a:gd name="T100" fmla="*/ 29 w 345"/>
                <a:gd name="T101" fmla="*/ 250 h 270"/>
                <a:gd name="T102" fmla="*/ 33 w 345"/>
                <a:gd name="T103" fmla="*/ 242 h 270"/>
                <a:gd name="T104" fmla="*/ 6 w 345"/>
                <a:gd name="T105" fmla="*/ 238 h 270"/>
                <a:gd name="T106" fmla="*/ 0 w 345"/>
                <a:gd name="T107" fmla="*/ 244 h 270"/>
                <a:gd name="T108" fmla="*/ 4 w 345"/>
                <a:gd name="T109" fmla="*/ 31 h 270"/>
                <a:gd name="T110" fmla="*/ 32 w 345"/>
                <a:gd name="T111" fmla="*/ 30 h 270"/>
                <a:gd name="T112" fmla="*/ 32 w 345"/>
                <a:gd name="T113" fmla="*/ 21 h 270"/>
                <a:gd name="T114" fmla="*/ 4 w 345"/>
                <a:gd name="T115" fmla="*/ 20 h 270"/>
                <a:gd name="T116" fmla="*/ 0 w 345"/>
                <a:gd name="T117"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5" h="270">
                  <a:moveTo>
                    <a:pt x="233" y="238"/>
                  </a:moveTo>
                  <a:lnTo>
                    <a:pt x="229" y="239"/>
                  </a:lnTo>
                  <a:lnTo>
                    <a:pt x="227" y="240"/>
                  </a:lnTo>
                  <a:lnTo>
                    <a:pt x="225" y="242"/>
                  </a:lnTo>
                  <a:lnTo>
                    <a:pt x="225" y="244"/>
                  </a:lnTo>
                  <a:lnTo>
                    <a:pt x="225" y="246"/>
                  </a:lnTo>
                  <a:lnTo>
                    <a:pt x="227" y="248"/>
                  </a:lnTo>
                  <a:lnTo>
                    <a:pt x="229" y="250"/>
                  </a:lnTo>
                  <a:lnTo>
                    <a:pt x="233" y="250"/>
                  </a:lnTo>
                  <a:lnTo>
                    <a:pt x="273" y="250"/>
                  </a:lnTo>
                  <a:lnTo>
                    <a:pt x="276" y="250"/>
                  </a:lnTo>
                  <a:lnTo>
                    <a:pt x="278" y="248"/>
                  </a:lnTo>
                  <a:lnTo>
                    <a:pt x="279" y="246"/>
                  </a:lnTo>
                  <a:lnTo>
                    <a:pt x="280" y="244"/>
                  </a:lnTo>
                  <a:lnTo>
                    <a:pt x="279" y="242"/>
                  </a:lnTo>
                  <a:lnTo>
                    <a:pt x="278" y="240"/>
                  </a:lnTo>
                  <a:lnTo>
                    <a:pt x="276" y="239"/>
                  </a:lnTo>
                  <a:lnTo>
                    <a:pt x="273" y="238"/>
                  </a:lnTo>
                  <a:lnTo>
                    <a:pt x="233" y="238"/>
                  </a:lnTo>
                  <a:close/>
                  <a:moveTo>
                    <a:pt x="150" y="238"/>
                  </a:moveTo>
                  <a:lnTo>
                    <a:pt x="147" y="239"/>
                  </a:lnTo>
                  <a:lnTo>
                    <a:pt x="145" y="240"/>
                  </a:lnTo>
                  <a:lnTo>
                    <a:pt x="143" y="242"/>
                  </a:lnTo>
                  <a:lnTo>
                    <a:pt x="143" y="244"/>
                  </a:lnTo>
                  <a:lnTo>
                    <a:pt x="143" y="246"/>
                  </a:lnTo>
                  <a:lnTo>
                    <a:pt x="145" y="248"/>
                  </a:lnTo>
                  <a:lnTo>
                    <a:pt x="147" y="250"/>
                  </a:lnTo>
                  <a:lnTo>
                    <a:pt x="150" y="250"/>
                  </a:lnTo>
                  <a:lnTo>
                    <a:pt x="191" y="250"/>
                  </a:lnTo>
                  <a:lnTo>
                    <a:pt x="194" y="250"/>
                  </a:lnTo>
                  <a:lnTo>
                    <a:pt x="196" y="248"/>
                  </a:lnTo>
                  <a:lnTo>
                    <a:pt x="197" y="246"/>
                  </a:lnTo>
                  <a:lnTo>
                    <a:pt x="198" y="244"/>
                  </a:lnTo>
                  <a:lnTo>
                    <a:pt x="197" y="242"/>
                  </a:lnTo>
                  <a:lnTo>
                    <a:pt x="196" y="240"/>
                  </a:lnTo>
                  <a:lnTo>
                    <a:pt x="194" y="239"/>
                  </a:lnTo>
                  <a:lnTo>
                    <a:pt x="191" y="238"/>
                  </a:lnTo>
                  <a:lnTo>
                    <a:pt x="150" y="238"/>
                  </a:lnTo>
                  <a:close/>
                  <a:moveTo>
                    <a:pt x="68" y="238"/>
                  </a:moveTo>
                  <a:lnTo>
                    <a:pt x="65" y="239"/>
                  </a:lnTo>
                  <a:lnTo>
                    <a:pt x="63" y="240"/>
                  </a:lnTo>
                  <a:lnTo>
                    <a:pt x="61" y="242"/>
                  </a:lnTo>
                  <a:lnTo>
                    <a:pt x="61" y="244"/>
                  </a:lnTo>
                  <a:lnTo>
                    <a:pt x="61" y="246"/>
                  </a:lnTo>
                  <a:lnTo>
                    <a:pt x="63" y="248"/>
                  </a:lnTo>
                  <a:lnTo>
                    <a:pt x="65" y="250"/>
                  </a:lnTo>
                  <a:lnTo>
                    <a:pt x="68" y="250"/>
                  </a:lnTo>
                  <a:lnTo>
                    <a:pt x="109" y="250"/>
                  </a:lnTo>
                  <a:lnTo>
                    <a:pt x="111" y="250"/>
                  </a:lnTo>
                  <a:lnTo>
                    <a:pt x="114" y="248"/>
                  </a:lnTo>
                  <a:lnTo>
                    <a:pt x="115" y="246"/>
                  </a:lnTo>
                  <a:lnTo>
                    <a:pt x="115" y="244"/>
                  </a:lnTo>
                  <a:lnTo>
                    <a:pt x="115" y="242"/>
                  </a:lnTo>
                  <a:lnTo>
                    <a:pt x="114" y="240"/>
                  </a:lnTo>
                  <a:lnTo>
                    <a:pt x="111" y="239"/>
                  </a:lnTo>
                  <a:lnTo>
                    <a:pt x="109" y="238"/>
                  </a:lnTo>
                  <a:lnTo>
                    <a:pt x="68" y="238"/>
                  </a:lnTo>
                  <a:close/>
                  <a:moveTo>
                    <a:pt x="317" y="185"/>
                  </a:moveTo>
                  <a:lnTo>
                    <a:pt x="313" y="186"/>
                  </a:lnTo>
                  <a:lnTo>
                    <a:pt x="311" y="187"/>
                  </a:lnTo>
                  <a:lnTo>
                    <a:pt x="310" y="189"/>
                  </a:lnTo>
                  <a:lnTo>
                    <a:pt x="309" y="191"/>
                  </a:lnTo>
                  <a:lnTo>
                    <a:pt x="309" y="208"/>
                  </a:lnTo>
                  <a:lnTo>
                    <a:pt x="309" y="210"/>
                  </a:lnTo>
                  <a:lnTo>
                    <a:pt x="308" y="212"/>
                  </a:lnTo>
                  <a:lnTo>
                    <a:pt x="306" y="216"/>
                  </a:lnTo>
                  <a:lnTo>
                    <a:pt x="304" y="220"/>
                  </a:lnTo>
                  <a:lnTo>
                    <a:pt x="302" y="224"/>
                  </a:lnTo>
                  <a:lnTo>
                    <a:pt x="301" y="227"/>
                  </a:lnTo>
                  <a:lnTo>
                    <a:pt x="301" y="229"/>
                  </a:lnTo>
                  <a:lnTo>
                    <a:pt x="302" y="231"/>
                  </a:lnTo>
                  <a:lnTo>
                    <a:pt x="304" y="233"/>
                  </a:lnTo>
                  <a:lnTo>
                    <a:pt x="306" y="234"/>
                  </a:lnTo>
                  <a:lnTo>
                    <a:pt x="307" y="234"/>
                  </a:lnTo>
                  <a:lnTo>
                    <a:pt x="310" y="234"/>
                  </a:lnTo>
                  <a:lnTo>
                    <a:pt x="311" y="233"/>
                  </a:lnTo>
                  <a:lnTo>
                    <a:pt x="313" y="231"/>
                  </a:lnTo>
                  <a:lnTo>
                    <a:pt x="319" y="221"/>
                  </a:lnTo>
                  <a:lnTo>
                    <a:pt x="322" y="213"/>
                  </a:lnTo>
                  <a:lnTo>
                    <a:pt x="323" y="210"/>
                  </a:lnTo>
                  <a:lnTo>
                    <a:pt x="323" y="209"/>
                  </a:lnTo>
                  <a:lnTo>
                    <a:pt x="323" y="191"/>
                  </a:lnTo>
                  <a:lnTo>
                    <a:pt x="323" y="189"/>
                  </a:lnTo>
                  <a:lnTo>
                    <a:pt x="321" y="187"/>
                  </a:lnTo>
                  <a:lnTo>
                    <a:pt x="319" y="186"/>
                  </a:lnTo>
                  <a:lnTo>
                    <a:pt x="317" y="185"/>
                  </a:lnTo>
                  <a:close/>
                  <a:moveTo>
                    <a:pt x="307" y="35"/>
                  </a:moveTo>
                  <a:lnTo>
                    <a:pt x="304" y="37"/>
                  </a:lnTo>
                  <a:lnTo>
                    <a:pt x="302" y="39"/>
                  </a:lnTo>
                  <a:lnTo>
                    <a:pt x="301" y="41"/>
                  </a:lnTo>
                  <a:lnTo>
                    <a:pt x="301" y="43"/>
                  </a:lnTo>
                  <a:lnTo>
                    <a:pt x="302" y="45"/>
                  </a:lnTo>
                  <a:lnTo>
                    <a:pt x="305" y="49"/>
                  </a:lnTo>
                  <a:lnTo>
                    <a:pt x="307" y="53"/>
                  </a:lnTo>
                  <a:lnTo>
                    <a:pt x="308" y="56"/>
                  </a:lnTo>
                  <a:lnTo>
                    <a:pt x="309" y="58"/>
                  </a:lnTo>
                  <a:lnTo>
                    <a:pt x="309" y="60"/>
                  </a:lnTo>
                  <a:lnTo>
                    <a:pt x="309" y="78"/>
                  </a:lnTo>
                  <a:lnTo>
                    <a:pt x="310" y="80"/>
                  </a:lnTo>
                  <a:lnTo>
                    <a:pt x="311" y="82"/>
                  </a:lnTo>
                  <a:lnTo>
                    <a:pt x="313" y="83"/>
                  </a:lnTo>
                  <a:lnTo>
                    <a:pt x="317" y="84"/>
                  </a:lnTo>
                  <a:lnTo>
                    <a:pt x="319" y="83"/>
                  </a:lnTo>
                  <a:lnTo>
                    <a:pt x="321" y="82"/>
                  </a:lnTo>
                  <a:lnTo>
                    <a:pt x="323" y="80"/>
                  </a:lnTo>
                  <a:lnTo>
                    <a:pt x="323" y="78"/>
                  </a:lnTo>
                  <a:lnTo>
                    <a:pt x="323" y="59"/>
                  </a:lnTo>
                  <a:lnTo>
                    <a:pt x="323" y="58"/>
                  </a:lnTo>
                  <a:lnTo>
                    <a:pt x="322" y="55"/>
                  </a:lnTo>
                  <a:lnTo>
                    <a:pt x="320" y="48"/>
                  </a:lnTo>
                  <a:lnTo>
                    <a:pt x="313" y="39"/>
                  </a:lnTo>
                  <a:lnTo>
                    <a:pt x="311" y="37"/>
                  </a:lnTo>
                  <a:lnTo>
                    <a:pt x="309" y="35"/>
                  </a:lnTo>
                  <a:lnTo>
                    <a:pt x="307" y="35"/>
                  </a:lnTo>
                  <a:close/>
                  <a:moveTo>
                    <a:pt x="233" y="19"/>
                  </a:moveTo>
                  <a:lnTo>
                    <a:pt x="229" y="20"/>
                  </a:lnTo>
                  <a:lnTo>
                    <a:pt x="227" y="21"/>
                  </a:lnTo>
                  <a:lnTo>
                    <a:pt x="226" y="23"/>
                  </a:lnTo>
                  <a:lnTo>
                    <a:pt x="225" y="25"/>
                  </a:lnTo>
                  <a:lnTo>
                    <a:pt x="226" y="28"/>
                  </a:lnTo>
                  <a:lnTo>
                    <a:pt x="227" y="30"/>
                  </a:lnTo>
                  <a:lnTo>
                    <a:pt x="229" y="31"/>
                  </a:lnTo>
                  <a:lnTo>
                    <a:pt x="233" y="32"/>
                  </a:lnTo>
                  <a:lnTo>
                    <a:pt x="273" y="32"/>
                  </a:lnTo>
                  <a:lnTo>
                    <a:pt x="276" y="31"/>
                  </a:lnTo>
                  <a:lnTo>
                    <a:pt x="278" y="30"/>
                  </a:lnTo>
                  <a:lnTo>
                    <a:pt x="279" y="28"/>
                  </a:lnTo>
                  <a:lnTo>
                    <a:pt x="280" y="25"/>
                  </a:lnTo>
                  <a:lnTo>
                    <a:pt x="279" y="23"/>
                  </a:lnTo>
                  <a:lnTo>
                    <a:pt x="278" y="21"/>
                  </a:lnTo>
                  <a:lnTo>
                    <a:pt x="276" y="20"/>
                  </a:lnTo>
                  <a:lnTo>
                    <a:pt x="273" y="19"/>
                  </a:lnTo>
                  <a:lnTo>
                    <a:pt x="233" y="19"/>
                  </a:lnTo>
                  <a:close/>
                  <a:moveTo>
                    <a:pt x="151" y="19"/>
                  </a:moveTo>
                  <a:lnTo>
                    <a:pt x="147" y="20"/>
                  </a:lnTo>
                  <a:lnTo>
                    <a:pt x="145" y="21"/>
                  </a:lnTo>
                  <a:lnTo>
                    <a:pt x="143" y="23"/>
                  </a:lnTo>
                  <a:lnTo>
                    <a:pt x="143" y="25"/>
                  </a:lnTo>
                  <a:lnTo>
                    <a:pt x="143" y="28"/>
                  </a:lnTo>
                  <a:lnTo>
                    <a:pt x="145" y="30"/>
                  </a:lnTo>
                  <a:lnTo>
                    <a:pt x="147" y="31"/>
                  </a:lnTo>
                  <a:lnTo>
                    <a:pt x="151" y="32"/>
                  </a:lnTo>
                  <a:lnTo>
                    <a:pt x="191" y="32"/>
                  </a:lnTo>
                  <a:lnTo>
                    <a:pt x="194" y="31"/>
                  </a:lnTo>
                  <a:lnTo>
                    <a:pt x="196" y="30"/>
                  </a:lnTo>
                  <a:lnTo>
                    <a:pt x="197" y="28"/>
                  </a:lnTo>
                  <a:lnTo>
                    <a:pt x="198" y="25"/>
                  </a:lnTo>
                  <a:lnTo>
                    <a:pt x="197" y="23"/>
                  </a:lnTo>
                  <a:lnTo>
                    <a:pt x="196" y="21"/>
                  </a:lnTo>
                  <a:lnTo>
                    <a:pt x="194" y="20"/>
                  </a:lnTo>
                  <a:lnTo>
                    <a:pt x="191" y="19"/>
                  </a:lnTo>
                  <a:lnTo>
                    <a:pt x="151" y="19"/>
                  </a:lnTo>
                  <a:close/>
                  <a:moveTo>
                    <a:pt x="68" y="19"/>
                  </a:moveTo>
                  <a:lnTo>
                    <a:pt x="65" y="20"/>
                  </a:lnTo>
                  <a:lnTo>
                    <a:pt x="63" y="21"/>
                  </a:lnTo>
                  <a:lnTo>
                    <a:pt x="61" y="23"/>
                  </a:lnTo>
                  <a:lnTo>
                    <a:pt x="61" y="25"/>
                  </a:lnTo>
                  <a:lnTo>
                    <a:pt x="61" y="28"/>
                  </a:lnTo>
                  <a:lnTo>
                    <a:pt x="63" y="30"/>
                  </a:lnTo>
                  <a:lnTo>
                    <a:pt x="65" y="31"/>
                  </a:lnTo>
                  <a:lnTo>
                    <a:pt x="68" y="32"/>
                  </a:lnTo>
                  <a:lnTo>
                    <a:pt x="109" y="32"/>
                  </a:lnTo>
                  <a:lnTo>
                    <a:pt x="112" y="31"/>
                  </a:lnTo>
                  <a:lnTo>
                    <a:pt x="114" y="30"/>
                  </a:lnTo>
                  <a:lnTo>
                    <a:pt x="115" y="28"/>
                  </a:lnTo>
                  <a:lnTo>
                    <a:pt x="116" y="25"/>
                  </a:lnTo>
                  <a:lnTo>
                    <a:pt x="115" y="23"/>
                  </a:lnTo>
                  <a:lnTo>
                    <a:pt x="114" y="21"/>
                  </a:lnTo>
                  <a:lnTo>
                    <a:pt x="112" y="20"/>
                  </a:lnTo>
                  <a:lnTo>
                    <a:pt x="109" y="19"/>
                  </a:lnTo>
                  <a:lnTo>
                    <a:pt x="68" y="19"/>
                  </a:lnTo>
                  <a:close/>
                  <a:moveTo>
                    <a:pt x="0" y="0"/>
                  </a:moveTo>
                  <a:lnTo>
                    <a:pt x="297" y="0"/>
                  </a:lnTo>
                  <a:lnTo>
                    <a:pt x="311" y="2"/>
                  </a:lnTo>
                  <a:lnTo>
                    <a:pt x="325" y="8"/>
                  </a:lnTo>
                  <a:lnTo>
                    <a:pt x="335" y="18"/>
                  </a:lnTo>
                  <a:lnTo>
                    <a:pt x="343" y="30"/>
                  </a:lnTo>
                  <a:lnTo>
                    <a:pt x="345" y="45"/>
                  </a:lnTo>
                  <a:lnTo>
                    <a:pt x="345" y="93"/>
                  </a:lnTo>
                  <a:lnTo>
                    <a:pt x="275" y="93"/>
                  </a:lnTo>
                  <a:lnTo>
                    <a:pt x="264" y="95"/>
                  </a:lnTo>
                  <a:lnTo>
                    <a:pt x="254" y="101"/>
                  </a:lnTo>
                  <a:lnTo>
                    <a:pt x="248" y="109"/>
                  </a:lnTo>
                  <a:lnTo>
                    <a:pt x="246" y="120"/>
                  </a:lnTo>
                  <a:lnTo>
                    <a:pt x="246" y="151"/>
                  </a:lnTo>
                  <a:lnTo>
                    <a:pt x="248" y="161"/>
                  </a:lnTo>
                  <a:lnTo>
                    <a:pt x="254" y="169"/>
                  </a:lnTo>
                  <a:lnTo>
                    <a:pt x="264" y="175"/>
                  </a:lnTo>
                  <a:lnTo>
                    <a:pt x="275" y="177"/>
                  </a:lnTo>
                  <a:lnTo>
                    <a:pt x="345" y="177"/>
                  </a:lnTo>
                  <a:lnTo>
                    <a:pt x="345" y="225"/>
                  </a:lnTo>
                  <a:lnTo>
                    <a:pt x="343" y="239"/>
                  </a:lnTo>
                  <a:lnTo>
                    <a:pt x="335" y="251"/>
                  </a:lnTo>
                  <a:lnTo>
                    <a:pt x="325" y="261"/>
                  </a:lnTo>
                  <a:lnTo>
                    <a:pt x="311" y="268"/>
                  </a:lnTo>
                  <a:lnTo>
                    <a:pt x="297" y="270"/>
                  </a:lnTo>
                  <a:lnTo>
                    <a:pt x="0" y="270"/>
                  </a:lnTo>
                  <a:lnTo>
                    <a:pt x="0" y="244"/>
                  </a:lnTo>
                  <a:lnTo>
                    <a:pt x="0" y="246"/>
                  </a:lnTo>
                  <a:lnTo>
                    <a:pt x="1" y="248"/>
                  </a:lnTo>
                  <a:lnTo>
                    <a:pt x="4" y="250"/>
                  </a:lnTo>
                  <a:lnTo>
                    <a:pt x="6" y="250"/>
                  </a:lnTo>
                  <a:lnTo>
                    <a:pt x="27" y="250"/>
                  </a:lnTo>
                  <a:lnTo>
                    <a:pt x="29" y="250"/>
                  </a:lnTo>
                  <a:lnTo>
                    <a:pt x="32" y="248"/>
                  </a:lnTo>
                  <a:lnTo>
                    <a:pt x="33" y="246"/>
                  </a:lnTo>
                  <a:lnTo>
                    <a:pt x="33" y="244"/>
                  </a:lnTo>
                  <a:lnTo>
                    <a:pt x="33" y="242"/>
                  </a:lnTo>
                  <a:lnTo>
                    <a:pt x="32" y="240"/>
                  </a:lnTo>
                  <a:lnTo>
                    <a:pt x="29" y="239"/>
                  </a:lnTo>
                  <a:lnTo>
                    <a:pt x="27" y="238"/>
                  </a:lnTo>
                  <a:lnTo>
                    <a:pt x="6" y="238"/>
                  </a:lnTo>
                  <a:lnTo>
                    <a:pt x="4" y="239"/>
                  </a:lnTo>
                  <a:lnTo>
                    <a:pt x="1" y="240"/>
                  </a:lnTo>
                  <a:lnTo>
                    <a:pt x="0" y="242"/>
                  </a:lnTo>
                  <a:lnTo>
                    <a:pt x="0" y="244"/>
                  </a:lnTo>
                  <a:lnTo>
                    <a:pt x="0" y="25"/>
                  </a:lnTo>
                  <a:lnTo>
                    <a:pt x="0" y="28"/>
                  </a:lnTo>
                  <a:lnTo>
                    <a:pt x="1" y="30"/>
                  </a:lnTo>
                  <a:lnTo>
                    <a:pt x="4" y="31"/>
                  </a:lnTo>
                  <a:lnTo>
                    <a:pt x="6" y="32"/>
                  </a:lnTo>
                  <a:lnTo>
                    <a:pt x="27" y="32"/>
                  </a:lnTo>
                  <a:lnTo>
                    <a:pt x="29" y="31"/>
                  </a:lnTo>
                  <a:lnTo>
                    <a:pt x="32" y="30"/>
                  </a:lnTo>
                  <a:lnTo>
                    <a:pt x="33" y="28"/>
                  </a:lnTo>
                  <a:lnTo>
                    <a:pt x="33" y="25"/>
                  </a:lnTo>
                  <a:lnTo>
                    <a:pt x="33" y="23"/>
                  </a:lnTo>
                  <a:lnTo>
                    <a:pt x="32" y="21"/>
                  </a:lnTo>
                  <a:lnTo>
                    <a:pt x="29" y="20"/>
                  </a:lnTo>
                  <a:lnTo>
                    <a:pt x="27" y="19"/>
                  </a:lnTo>
                  <a:lnTo>
                    <a:pt x="6" y="19"/>
                  </a:lnTo>
                  <a:lnTo>
                    <a:pt x="4" y="20"/>
                  </a:lnTo>
                  <a:lnTo>
                    <a:pt x="1" y="21"/>
                  </a:lnTo>
                  <a:lnTo>
                    <a:pt x="0" y="23"/>
                  </a:lnTo>
                  <a:lnTo>
                    <a:pt x="0" y="25"/>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33">
              <a:extLst>
                <a:ext uri="{FF2B5EF4-FFF2-40B4-BE49-F238E27FC236}">
                  <a16:creationId xmlns:a16="http://schemas.microsoft.com/office/drawing/2014/main" id="{5BE77D3E-611F-9E42-8BD6-2A4FDA8FF588}"/>
                </a:ext>
              </a:extLst>
            </p:cNvPr>
            <p:cNvSpPr>
              <a:spLocks noEditPoints="1"/>
            </p:cNvSpPr>
            <p:nvPr/>
          </p:nvSpPr>
          <p:spPr bwMode="auto">
            <a:xfrm>
              <a:off x="7178676" y="3649663"/>
              <a:ext cx="134938" cy="93663"/>
            </a:xfrm>
            <a:custGeom>
              <a:avLst/>
              <a:gdLst>
                <a:gd name="T0" fmla="*/ 33 w 85"/>
                <a:gd name="T1" fmla="*/ 16 h 59"/>
                <a:gd name="T2" fmla="*/ 29 w 85"/>
                <a:gd name="T3" fmla="*/ 17 h 59"/>
                <a:gd name="T4" fmla="*/ 23 w 85"/>
                <a:gd name="T5" fmla="*/ 18 h 59"/>
                <a:gd name="T6" fmla="*/ 20 w 85"/>
                <a:gd name="T7" fmla="*/ 22 h 59"/>
                <a:gd name="T8" fmla="*/ 18 w 85"/>
                <a:gd name="T9" fmla="*/ 25 h 59"/>
                <a:gd name="T10" fmla="*/ 17 w 85"/>
                <a:gd name="T11" fmla="*/ 30 h 59"/>
                <a:gd name="T12" fmla="*/ 18 w 85"/>
                <a:gd name="T13" fmla="*/ 34 h 59"/>
                <a:gd name="T14" fmla="*/ 20 w 85"/>
                <a:gd name="T15" fmla="*/ 38 h 59"/>
                <a:gd name="T16" fmla="*/ 23 w 85"/>
                <a:gd name="T17" fmla="*/ 42 h 59"/>
                <a:gd name="T18" fmla="*/ 29 w 85"/>
                <a:gd name="T19" fmla="*/ 44 h 59"/>
                <a:gd name="T20" fmla="*/ 33 w 85"/>
                <a:gd name="T21" fmla="*/ 45 h 59"/>
                <a:gd name="T22" fmla="*/ 38 w 85"/>
                <a:gd name="T23" fmla="*/ 44 h 59"/>
                <a:gd name="T24" fmla="*/ 42 w 85"/>
                <a:gd name="T25" fmla="*/ 42 h 59"/>
                <a:gd name="T26" fmla="*/ 46 w 85"/>
                <a:gd name="T27" fmla="*/ 38 h 59"/>
                <a:gd name="T28" fmla="*/ 48 w 85"/>
                <a:gd name="T29" fmla="*/ 34 h 59"/>
                <a:gd name="T30" fmla="*/ 49 w 85"/>
                <a:gd name="T31" fmla="*/ 30 h 59"/>
                <a:gd name="T32" fmla="*/ 48 w 85"/>
                <a:gd name="T33" fmla="*/ 25 h 59"/>
                <a:gd name="T34" fmla="*/ 46 w 85"/>
                <a:gd name="T35" fmla="*/ 22 h 59"/>
                <a:gd name="T36" fmla="*/ 42 w 85"/>
                <a:gd name="T37" fmla="*/ 18 h 59"/>
                <a:gd name="T38" fmla="*/ 38 w 85"/>
                <a:gd name="T39" fmla="*/ 17 h 59"/>
                <a:gd name="T40" fmla="*/ 33 w 85"/>
                <a:gd name="T41" fmla="*/ 16 h 59"/>
                <a:gd name="T42" fmla="*/ 15 w 85"/>
                <a:gd name="T43" fmla="*/ 0 h 59"/>
                <a:gd name="T44" fmla="*/ 85 w 85"/>
                <a:gd name="T45" fmla="*/ 0 h 59"/>
                <a:gd name="T46" fmla="*/ 85 w 85"/>
                <a:gd name="T47" fmla="*/ 59 h 59"/>
                <a:gd name="T48" fmla="*/ 15 w 85"/>
                <a:gd name="T49" fmla="*/ 59 h 59"/>
                <a:gd name="T50" fmla="*/ 10 w 85"/>
                <a:gd name="T51" fmla="*/ 58 h 59"/>
                <a:gd name="T52" fmla="*/ 6 w 85"/>
                <a:gd name="T53" fmla="*/ 56 h 59"/>
                <a:gd name="T54" fmla="*/ 3 w 85"/>
                <a:gd name="T55" fmla="*/ 54 h 59"/>
                <a:gd name="T56" fmla="*/ 1 w 85"/>
                <a:gd name="T57" fmla="*/ 50 h 59"/>
                <a:gd name="T58" fmla="*/ 0 w 85"/>
                <a:gd name="T59" fmla="*/ 46 h 59"/>
                <a:gd name="T60" fmla="*/ 0 w 85"/>
                <a:gd name="T61" fmla="*/ 15 h 59"/>
                <a:gd name="T62" fmla="*/ 1 w 85"/>
                <a:gd name="T63" fmla="*/ 10 h 59"/>
                <a:gd name="T64" fmla="*/ 3 w 85"/>
                <a:gd name="T65" fmla="*/ 6 h 59"/>
                <a:gd name="T66" fmla="*/ 6 w 85"/>
                <a:gd name="T67" fmla="*/ 3 h 59"/>
                <a:gd name="T68" fmla="*/ 10 w 85"/>
                <a:gd name="T69" fmla="*/ 1 h 59"/>
                <a:gd name="T70" fmla="*/ 15 w 85"/>
                <a:gd name="T7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59">
                  <a:moveTo>
                    <a:pt x="33" y="16"/>
                  </a:moveTo>
                  <a:lnTo>
                    <a:pt x="29" y="17"/>
                  </a:lnTo>
                  <a:lnTo>
                    <a:pt x="23" y="18"/>
                  </a:lnTo>
                  <a:lnTo>
                    <a:pt x="20" y="22"/>
                  </a:lnTo>
                  <a:lnTo>
                    <a:pt x="18" y="25"/>
                  </a:lnTo>
                  <a:lnTo>
                    <a:pt x="17" y="30"/>
                  </a:lnTo>
                  <a:lnTo>
                    <a:pt x="18" y="34"/>
                  </a:lnTo>
                  <a:lnTo>
                    <a:pt x="20" y="38"/>
                  </a:lnTo>
                  <a:lnTo>
                    <a:pt x="23" y="42"/>
                  </a:lnTo>
                  <a:lnTo>
                    <a:pt x="29" y="44"/>
                  </a:lnTo>
                  <a:lnTo>
                    <a:pt x="33" y="45"/>
                  </a:lnTo>
                  <a:lnTo>
                    <a:pt x="38" y="44"/>
                  </a:lnTo>
                  <a:lnTo>
                    <a:pt x="42" y="42"/>
                  </a:lnTo>
                  <a:lnTo>
                    <a:pt x="46" y="38"/>
                  </a:lnTo>
                  <a:lnTo>
                    <a:pt x="48" y="34"/>
                  </a:lnTo>
                  <a:lnTo>
                    <a:pt x="49" y="30"/>
                  </a:lnTo>
                  <a:lnTo>
                    <a:pt x="48" y="25"/>
                  </a:lnTo>
                  <a:lnTo>
                    <a:pt x="46" y="22"/>
                  </a:lnTo>
                  <a:lnTo>
                    <a:pt x="42" y="18"/>
                  </a:lnTo>
                  <a:lnTo>
                    <a:pt x="38" y="17"/>
                  </a:lnTo>
                  <a:lnTo>
                    <a:pt x="33" y="16"/>
                  </a:lnTo>
                  <a:close/>
                  <a:moveTo>
                    <a:pt x="15" y="0"/>
                  </a:moveTo>
                  <a:lnTo>
                    <a:pt x="85" y="0"/>
                  </a:lnTo>
                  <a:lnTo>
                    <a:pt x="85" y="59"/>
                  </a:lnTo>
                  <a:lnTo>
                    <a:pt x="15" y="59"/>
                  </a:lnTo>
                  <a:lnTo>
                    <a:pt x="10" y="58"/>
                  </a:lnTo>
                  <a:lnTo>
                    <a:pt x="6" y="56"/>
                  </a:lnTo>
                  <a:lnTo>
                    <a:pt x="3" y="54"/>
                  </a:lnTo>
                  <a:lnTo>
                    <a:pt x="1" y="50"/>
                  </a:lnTo>
                  <a:lnTo>
                    <a:pt x="0" y="46"/>
                  </a:lnTo>
                  <a:lnTo>
                    <a:pt x="0" y="15"/>
                  </a:lnTo>
                  <a:lnTo>
                    <a:pt x="1" y="10"/>
                  </a:lnTo>
                  <a:lnTo>
                    <a:pt x="3" y="6"/>
                  </a:lnTo>
                  <a:lnTo>
                    <a:pt x="6" y="3"/>
                  </a:lnTo>
                  <a:lnTo>
                    <a:pt x="10" y="1"/>
                  </a:lnTo>
                  <a:lnTo>
                    <a:pt x="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34">
              <a:extLst>
                <a:ext uri="{FF2B5EF4-FFF2-40B4-BE49-F238E27FC236}">
                  <a16:creationId xmlns:a16="http://schemas.microsoft.com/office/drawing/2014/main" id="{77860913-CFF7-9242-99AF-BD26B4F8E262}"/>
                </a:ext>
              </a:extLst>
            </p:cNvPr>
            <p:cNvSpPr>
              <a:spLocks noEditPoints="1"/>
            </p:cNvSpPr>
            <p:nvPr/>
          </p:nvSpPr>
          <p:spPr bwMode="auto">
            <a:xfrm>
              <a:off x="5616576" y="4837113"/>
              <a:ext cx="823913" cy="676275"/>
            </a:xfrm>
            <a:custGeom>
              <a:avLst/>
              <a:gdLst>
                <a:gd name="T0" fmla="*/ 370 w 519"/>
                <a:gd name="T1" fmla="*/ 283 h 426"/>
                <a:gd name="T2" fmla="*/ 430 w 519"/>
                <a:gd name="T3" fmla="*/ 122 h 426"/>
                <a:gd name="T4" fmla="*/ 41 w 519"/>
                <a:gd name="T5" fmla="*/ 283 h 426"/>
                <a:gd name="T6" fmla="*/ 102 w 519"/>
                <a:gd name="T7" fmla="*/ 122 h 426"/>
                <a:gd name="T8" fmla="*/ 264 w 519"/>
                <a:gd name="T9" fmla="*/ 0 h 426"/>
                <a:gd name="T10" fmla="*/ 272 w 519"/>
                <a:gd name="T11" fmla="*/ 3 h 426"/>
                <a:gd name="T12" fmla="*/ 276 w 519"/>
                <a:gd name="T13" fmla="*/ 9 h 426"/>
                <a:gd name="T14" fmla="*/ 276 w 519"/>
                <a:gd name="T15" fmla="*/ 56 h 426"/>
                <a:gd name="T16" fmla="*/ 436 w 519"/>
                <a:gd name="T17" fmla="*/ 56 h 426"/>
                <a:gd name="T18" fmla="*/ 439 w 519"/>
                <a:gd name="T19" fmla="*/ 57 h 426"/>
                <a:gd name="T20" fmla="*/ 440 w 519"/>
                <a:gd name="T21" fmla="*/ 57 h 426"/>
                <a:gd name="T22" fmla="*/ 442 w 519"/>
                <a:gd name="T23" fmla="*/ 58 h 426"/>
                <a:gd name="T24" fmla="*/ 443 w 519"/>
                <a:gd name="T25" fmla="*/ 59 h 426"/>
                <a:gd name="T26" fmla="*/ 445 w 519"/>
                <a:gd name="T27" fmla="*/ 60 h 426"/>
                <a:gd name="T28" fmla="*/ 445 w 519"/>
                <a:gd name="T29" fmla="*/ 61 h 426"/>
                <a:gd name="T30" fmla="*/ 447 w 519"/>
                <a:gd name="T31" fmla="*/ 62 h 426"/>
                <a:gd name="T32" fmla="*/ 448 w 519"/>
                <a:gd name="T33" fmla="*/ 63 h 426"/>
                <a:gd name="T34" fmla="*/ 450 w 519"/>
                <a:gd name="T35" fmla="*/ 66 h 426"/>
                <a:gd name="T36" fmla="*/ 519 w 519"/>
                <a:gd name="T37" fmla="*/ 297 h 426"/>
                <a:gd name="T38" fmla="*/ 517 w 519"/>
                <a:gd name="T39" fmla="*/ 304 h 426"/>
                <a:gd name="T40" fmla="*/ 512 w 519"/>
                <a:gd name="T41" fmla="*/ 309 h 426"/>
                <a:gd name="T42" fmla="*/ 505 w 519"/>
                <a:gd name="T43" fmla="*/ 311 h 426"/>
                <a:gd name="T44" fmla="*/ 346 w 519"/>
                <a:gd name="T45" fmla="*/ 311 h 426"/>
                <a:gd name="T46" fmla="*/ 340 w 519"/>
                <a:gd name="T47" fmla="*/ 311 h 426"/>
                <a:gd name="T48" fmla="*/ 334 w 519"/>
                <a:gd name="T49" fmla="*/ 308 h 426"/>
                <a:gd name="T50" fmla="*/ 330 w 519"/>
                <a:gd name="T51" fmla="*/ 303 h 426"/>
                <a:gd name="T52" fmla="*/ 329 w 519"/>
                <a:gd name="T53" fmla="*/ 296 h 426"/>
                <a:gd name="T54" fmla="*/ 410 w 519"/>
                <a:gd name="T55" fmla="*/ 85 h 426"/>
                <a:gd name="T56" fmla="*/ 276 w 519"/>
                <a:gd name="T57" fmla="*/ 397 h 426"/>
                <a:gd name="T58" fmla="*/ 368 w 519"/>
                <a:gd name="T59" fmla="*/ 397 h 426"/>
                <a:gd name="T60" fmla="*/ 375 w 519"/>
                <a:gd name="T61" fmla="*/ 401 h 426"/>
                <a:gd name="T62" fmla="*/ 380 w 519"/>
                <a:gd name="T63" fmla="*/ 408 h 426"/>
                <a:gd name="T64" fmla="*/ 380 w 519"/>
                <a:gd name="T65" fmla="*/ 416 h 426"/>
                <a:gd name="T66" fmla="*/ 375 w 519"/>
                <a:gd name="T67" fmla="*/ 422 h 426"/>
                <a:gd name="T68" fmla="*/ 368 w 519"/>
                <a:gd name="T69" fmla="*/ 426 h 426"/>
                <a:gd name="T70" fmla="*/ 156 w 519"/>
                <a:gd name="T71" fmla="*/ 426 h 426"/>
                <a:gd name="T72" fmla="*/ 141 w 519"/>
                <a:gd name="T73" fmla="*/ 419 h 426"/>
                <a:gd name="T74" fmla="*/ 141 w 519"/>
                <a:gd name="T75" fmla="*/ 404 h 426"/>
                <a:gd name="T76" fmla="*/ 156 w 519"/>
                <a:gd name="T77" fmla="*/ 397 h 426"/>
                <a:gd name="T78" fmla="*/ 243 w 519"/>
                <a:gd name="T79" fmla="*/ 85 h 426"/>
                <a:gd name="T80" fmla="*/ 191 w 519"/>
                <a:gd name="T81" fmla="*/ 294 h 426"/>
                <a:gd name="T82" fmla="*/ 190 w 519"/>
                <a:gd name="T83" fmla="*/ 300 h 426"/>
                <a:gd name="T84" fmla="*/ 189 w 519"/>
                <a:gd name="T85" fmla="*/ 304 h 426"/>
                <a:gd name="T86" fmla="*/ 184 w 519"/>
                <a:gd name="T87" fmla="*/ 309 h 426"/>
                <a:gd name="T88" fmla="*/ 177 w 519"/>
                <a:gd name="T89" fmla="*/ 311 h 426"/>
                <a:gd name="T90" fmla="*/ 16 w 519"/>
                <a:gd name="T91" fmla="*/ 311 h 426"/>
                <a:gd name="T92" fmla="*/ 9 w 519"/>
                <a:gd name="T93" fmla="*/ 310 h 426"/>
                <a:gd name="T94" fmla="*/ 4 w 519"/>
                <a:gd name="T95" fmla="*/ 306 h 426"/>
                <a:gd name="T96" fmla="*/ 0 w 519"/>
                <a:gd name="T97" fmla="*/ 300 h 426"/>
                <a:gd name="T98" fmla="*/ 1 w 519"/>
                <a:gd name="T99" fmla="*/ 293 h 426"/>
                <a:gd name="T100" fmla="*/ 87 w 519"/>
                <a:gd name="T101" fmla="*/ 66 h 426"/>
                <a:gd name="T102" fmla="*/ 88 w 519"/>
                <a:gd name="T103" fmla="*/ 65 h 426"/>
                <a:gd name="T104" fmla="*/ 91 w 519"/>
                <a:gd name="T105" fmla="*/ 61 h 426"/>
                <a:gd name="T106" fmla="*/ 92 w 519"/>
                <a:gd name="T107" fmla="*/ 60 h 426"/>
                <a:gd name="T108" fmla="*/ 93 w 519"/>
                <a:gd name="T109" fmla="*/ 59 h 426"/>
                <a:gd name="T110" fmla="*/ 95 w 519"/>
                <a:gd name="T111" fmla="*/ 58 h 426"/>
                <a:gd name="T112" fmla="*/ 96 w 519"/>
                <a:gd name="T113" fmla="*/ 57 h 426"/>
                <a:gd name="T114" fmla="*/ 97 w 519"/>
                <a:gd name="T115" fmla="*/ 57 h 426"/>
                <a:gd name="T116" fmla="*/ 101 w 519"/>
                <a:gd name="T117" fmla="*/ 57 h 426"/>
                <a:gd name="T118" fmla="*/ 243 w 519"/>
                <a:gd name="T119" fmla="*/ 56 h 426"/>
                <a:gd name="T120" fmla="*/ 245 w 519"/>
                <a:gd name="T121" fmla="*/ 6 h 426"/>
                <a:gd name="T122" fmla="*/ 260 w 519"/>
                <a:gd name="T123" fmla="*/ 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9" h="426">
                  <a:moveTo>
                    <a:pt x="430" y="122"/>
                  </a:moveTo>
                  <a:lnTo>
                    <a:pt x="370" y="283"/>
                  </a:lnTo>
                  <a:lnTo>
                    <a:pt x="479" y="283"/>
                  </a:lnTo>
                  <a:lnTo>
                    <a:pt x="430" y="122"/>
                  </a:lnTo>
                  <a:close/>
                  <a:moveTo>
                    <a:pt x="102" y="122"/>
                  </a:moveTo>
                  <a:lnTo>
                    <a:pt x="41" y="283"/>
                  </a:lnTo>
                  <a:lnTo>
                    <a:pt x="151" y="283"/>
                  </a:lnTo>
                  <a:lnTo>
                    <a:pt x="102" y="122"/>
                  </a:lnTo>
                  <a:close/>
                  <a:moveTo>
                    <a:pt x="260" y="0"/>
                  </a:moveTo>
                  <a:lnTo>
                    <a:pt x="264" y="0"/>
                  </a:lnTo>
                  <a:lnTo>
                    <a:pt x="269" y="1"/>
                  </a:lnTo>
                  <a:lnTo>
                    <a:pt x="272" y="3"/>
                  </a:lnTo>
                  <a:lnTo>
                    <a:pt x="274" y="6"/>
                  </a:lnTo>
                  <a:lnTo>
                    <a:pt x="276" y="9"/>
                  </a:lnTo>
                  <a:lnTo>
                    <a:pt x="276" y="13"/>
                  </a:lnTo>
                  <a:lnTo>
                    <a:pt x="276" y="56"/>
                  </a:lnTo>
                  <a:lnTo>
                    <a:pt x="434" y="56"/>
                  </a:lnTo>
                  <a:lnTo>
                    <a:pt x="436" y="56"/>
                  </a:lnTo>
                  <a:lnTo>
                    <a:pt x="437" y="57"/>
                  </a:lnTo>
                  <a:lnTo>
                    <a:pt x="439" y="57"/>
                  </a:lnTo>
                  <a:lnTo>
                    <a:pt x="440" y="57"/>
                  </a:lnTo>
                  <a:lnTo>
                    <a:pt x="440" y="57"/>
                  </a:lnTo>
                  <a:lnTo>
                    <a:pt x="440" y="58"/>
                  </a:lnTo>
                  <a:lnTo>
                    <a:pt x="442" y="58"/>
                  </a:lnTo>
                  <a:lnTo>
                    <a:pt x="443" y="59"/>
                  </a:lnTo>
                  <a:lnTo>
                    <a:pt x="443" y="59"/>
                  </a:lnTo>
                  <a:lnTo>
                    <a:pt x="444" y="60"/>
                  </a:lnTo>
                  <a:lnTo>
                    <a:pt x="445" y="60"/>
                  </a:lnTo>
                  <a:lnTo>
                    <a:pt x="445" y="60"/>
                  </a:lnTo>
                  <a:lnTo>
                    <a:pt x="445" y="61"/>
                  </a:lnTo>
                  <a:lnTo>
                    <a:pt x="446" y="62"/>
                  </a:lnTo>
                  <a:lnTo>
                    <a:pt x="447" y="62"/>
                  </a:lnTo>
                  <a:lnTo>
                    <a:pt x="447" y="63"/>
                  </a:lnTo>
                  <a:lnTo>
                    <a:pt x="448" y="63"/>
                  </a:lnTo>
                  <a:lnTo>
                    <a:pt x="448" y="66"/>
                  </a:lnTo>
                  <a:lnTo>
                    <a:pt x="450" y="66"/>
                  </a:lnTo>
                  <a:lnTo>
                    <a:pt x="518" y="294"/>
                  </a:lnTo>
                  <a:lnTo>
                    <a:pt x="519" y="297"/>
                  </a:lnTo>
                  <a:lnTo>
                    <a:pt x="519" y="301"/>
                  </a:lnTo>
                  <a:lnTo>
                    <a:pt x="517" y="304"/>
                  </a:lnTo>
                  <a:lnTo>
                    <a:pt x="514" y="306"/>
                  </a:lnTo>
                  <a:lnTo>
                    <a:pt x="512" y="309"/>
                  </a:lnTo>
                  <a:lnTo>
                    <a:pt x="509" y="310"/>
                  </a:lnTo>
                  <a:lnTo>
                    <a:pt x="505" y="311"/>
                  </a:lnTo>
                  <a:lnTo>
                    <a:pt x="502" y="311"/>
                  </a:lnTo>
                  <a:lnTo>
                    <a:pt x="346" y="311"/>
                  </a:lnTo>
                  <a:lnTo>
                    <a:pt x="343" y="311"/>
                  </a:lnTo>
                  <a:lnTo>
                    <a:pt x="340" y="311"/>
                  </a:lnTo>
                  <a:lnTo>
                    <a:pt x="337" y="310"/>
                  </a:lnTo>
                  <a:lnTo>
                    <a:pt x="334" y="308"/>
                  </a:lnTo>
                  <a:lnTo>
                    <a:pt x="332" y="306"/>
                  </a:lnTo>
                  <a:lnTo>
                    <a:pt x="330" y="303"/>
                  </a:lnTo>
                  <a:lnTo>
                    <a:pt x="329" y="300"/>
                  </a:lnTo>
                  <a:lnTo>
                    <a:pt x="329" y="296"/>
                  </a:lnTo>
                  <a:lnTo>
                    <a:pt x="330" y="293"/>
                  </a:lnTo>
                  <a:lnTo>
                    <a:pt x="410" y="85"/>
                  </a:lnTo>
                  <a:lnTo>
                    <a:pt x="276" y="85"/>
                  </a:lnTo>
                  <a:lnTo>
                    <a:pt x="276" y="397"/>
                  </a:lnTo>
                  <a:lnTo>
                    <a:pt x="364" y="397"/>
                  </a:lnTo>
                  <a:lnTo>
                    <a:pt x="368" y="397"/>
                  </a:lnTo>
                  <a:lnTo>
                    <a:pt x="372" y="399"/>
                  </a:lnTo>
                  <a:lnTo>
                    <a:pt x="375" y="401"/>
                  </a:lnTo>
                  <a:lnTo>
                    <a:pt x="379" y="404"/>
                  </a:lnTo>
                  <a:lnTo>
                    <a:pt x="380" y="408"/>
                  </a:lnTo>
                  <a:lnTo>
                    <a:pt x="381" y="412"/>
                  </a:lnTo>
                  <a:lnTo>
                    <a:pt x="380" y="416"/>
                  </a:lnTo>
                  <a:lnTo>
                    <a:pt x="379" y="419"/>
                  </a:lnTo>
                  <a:lnTo>
                    <a:pt x="375" y="422"/>
                  </a:lnTo>
                  <a:lnTo>
                    <a:pt x="372" y="424"/>
                  </a:lnTo>
                  <a:lnTo>
                    <a:pt x="368" y="426"/>
                  </a:lnTo>
                  <a:lnTo>
                    <a:pt x="364" y="426"/>
                  </a:lnTo>
                  <a:lnTo>
                    <a:pt x="156" y="426"/>
                  </a:lnTo>
                  <a:lnTo>
                    <a:pt x="147" y="424"/>
                  </a:lnTo>
                  <a:lnTo>
                    <a:pt x="141" y="419"/>
                  </a:lnTo>
                  <a:lnTo>
                    <a:pt x="138" y="412"/>
                  </a:lnTo>
                  <a:lnTo>
                    <a:pt x="141" y="404"/>
                  </a:lnTo>
                  <a:lnTo>
                    <a:pt x="147" y="399"/>
                  </a:lnTo>
                  <a:lnTo>
                    <a:pt x="156" y="397"/>
                  </a:lnTo>
                  <a:lnTo>
                    <a:pt x="243" y="397"/>
                  </a:lnTo>
                  <a:lnTo>
                    <a:pt x="243" y="85"/>
                  </a:lnTo>
                  <a:lnTo>
                    <a:pt x="125" y="85"/>
                  </a:lnTo>
                  <a:lnTo>
                    <a:pt x="191" y="294"/>
                  </a:lnTo>
                  <a:lnTo>
                    <a:pt x="191" y="296"/>
                  </a:lnTo>
                  <a:lnTo>
                    <a:pt x="190" y="300"/>
                  </a:lnTo>
                  <a:lnTo>
                    <a:pt x="190" y="302"/>
                  </a:lnTo>
                  <a:lnTo>
                    <a:pt x="189" y="304"/>
                  </a:lnTo>
                  <a:lnTo>
                    <a:pt x="187" y="306"/>
                  </a:lnTo>
                  <a:lnTo>
                    <a:pt x="184" y="309"/>
                  </a:lnTo>
                  <a:lnTo>
                    <a:pt x="181" y="310"/>
                  </a:lnTo>
                  <a:lnTo>
                    <a:pt x="177" y="311"/>
                  </a:lnTo>
                  <a:lnTo>
                    <a:pt x="172" y="311"/>
                  </a:lnTo>
                  <a:lnTo>
                    <a:pt x="16" y="311"/>
                  </a:lnTo>
                  <a:lnTo>
                    <a:pt x="13" y="311"/>
                  </a:lnTo>
                  <a:lnTo>
                    <a:pt x="9" y="310"/>
                  </a:lnTo>
                  <a:lnTo>
                    <a:pt x="6" y="309"/>
                  </a:lnTo>
                  <a:lnTo>
                    <a:pt x="4" y="306"/>
                  </a:lnTo>
                  <a:lnTo>
                    <a:pt x="2" y="303"/>
                  </a:lnTo>
                  <a:lnTo>
                    <a:pt x="0" y="300"/>
                  </a:lnTo>
                  <a:lnTo>
                    <a:pt x="0" y="296"/>
                  </a:lnTo>
                  <a:lnTo>
                    <a:pt x="1" y="293"/>
                  </a:lnTo>
                  <a:lnTo>
                    <a:pt x="86" y="66"/>
                  </a:lnTo>
                  <a:lnTo>
                    <a:pt x="87" y="66"/>
                  </a:lnTo>
                  <a:lnTo>
                    <a:pt x="88" y="65"/>
                  </a:lnTo>
                  <a:lnTo>
                    <a:pt x="88" y="65"/>
                  </a:lnTo>
                  <a:lnTo>
                    <a:pt x="88" y="63"/>
                  </a:lnTo>
                  <a:lnTo>
                    <a:pt x="91" y="61"/>
                  </a:lnTo>
                  <a:lnTo>
                    <a:pt x="91" y="60"/>
                  </a:lnTo>
                  <a:lnTo>
                    <a:pt x="92" y="60"/>
                  </a:lnTo>
                  <a:lnTo>
                    <a:pt x="93" y="60"/>
                  </a:lnTo>
                  <a:lnTo>
                    <a:pt x="93" y="59"/>
                  </a:lnTo>
                  <a:lnTo>
                    <a:pt x="94" y="59"/>
                  </a:lnTo>
                  <a:lnTo>
                    <a:pt x="95" y="58"/>
                  </a:lnTo>
                  <a:lnTo>
                    <a:pt x="96" y="58"/>
                  </a:lnTo>
                  <a:lnTo>
                    <a:pt x="96" y="57"/>
                  </a:lnTo>
                  <a:lnTo>
                    <a:pt x="97" y="57"/>
                  </a:lnTo>
                  <a:lnTo>
                    <a:pt x="97" y="57"/>
                  </a:lnTo>
                  <a:lnTo>
                    <a:pt x="99" y="57"/>
                  </a:lnTo>
                  <a:lnTo>
                    <a:pt x="101" y="57"/>
                  </a:lnTo>
                  <a:lnTo>
                    <a:pt x="102" y="56"/>
                  </a:lnTo>
                  <a:lnTo>
                    <a:pt x="243" y="56"/>
                  </a:lnTo>
                  <a:lnTo>
                    <a:pt x="243" y="13"/>
                  </a:lnTo>
                  <a:lnTo>
                    <a:pt x="245" y="6"/>
                  </a:lnTo>
                  <a:lnTo>
                    <a:pt x="251" y="1"/>
                  </a:lnTo>
                  <a:lnTo>
                    <a:pt x="26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35">
              <a:extLst>
                <a:ext uri="{FF2B5EF4-FFF2-40B4-BE49-F238E27FC236}">
                  <a16:creationId xmlns:a16="http://schemas.microsoft.com/office/drawing/2014/main" id="{5AEBDF7A-8B38-844A-9433-1152851D32D6}"/>
                </a:ext>
              </a:extLst>
            </p:cNvPr>
            <p:cNvSpPr>
              <a:spLocks noEditPoints="1"/>
            </p:cNvSpPr>
            <p:nvPr/>
          </p:nvSpPr>
          <p:spPr bwMode="auto">
            <a:xfrm>
              <a:off x="2533651" y="2297113"/>
              <a:ext cx="425450" cy="328613"/>
            </a:xfrm>
            <a:custGeom>
              <a:avLst/>
              <a:gdLst>
                <a:gd name="T0" fmla="*/ 175 w 268"/>
                <a:gd name="T1" fmla="*/ 188 h 207"/>
                <a:gd name="T2" fmla="*/ 212 w 268"/>
                <a:gd name="T3" fmla="*/ 192 h 207"/>
                <a:gd name="T4" fmla="*/ 217 w 268"/>
                <a:gd name="T5" fmla="*/ 184 h 207"/>
                <a:gd name="T6" fmla="*/ 116 w 268"/>
                <a:gd name="T7" fmla="*/ 182 h 207"/>
                <a:gd name="T8" fmla="*/ 112 w 268"/>
                <a:gd name="T9" fmla="*/ 190 h 207"/>
                <a:gd name="T10" fmla="*/ 151 w 268"/>
                <a:gd name="T11" fmla="*/ 192 h 207"/>
                <a:gd name="T12" fmla="*/ 151 w 268"/>
                <a:gd name="T13" fmla="*/ 183 h 207"/>
                <a:gd name="T14" fmla="*/ 50 w 268"/>
                <a:gd name="T15" fmla="*/ 183 h 207"/>
                <a:gd name="T16" fmla="*/ 50 w 268"/>
                <a:gd name="T17" fmla="*/ 192 h 207"/>
                <a:gd name="T18" fmla="*/ 89 w 268"/>
                <a:gd name="T19" fmla="*/ 190 h 207"/>
                <a:gd name="T20" fmla="*/ 84 w 268"/>
                <a:gd name="T21" fmla="*/ 182 h 207"/>
                <a:gd name="T22" fmla="*/ 241 w 268"/>
                <a:gd name="T23" fmla="*/ 144 h 207"/>
                <a:gd name="T24" fmla="*/ 239 w 268"/>
                <a:gd name="T25" fmla="*/ 164 h 207"/>
                <a:gd name="T26" fmla="*/ 234 w 268"/>
                <a:gd name="T27" fmla="*/ 175 h 207"/>
                <a:gd name="T28" fmla="*/ 239 w 268"/>
                <a:gd name="T29" fmla="*/ 179 h 207"/>
                <a:gd name="T30" fmla="*/ 248 w 268"/>
                <a:gd name="T31" fmla="*/ 169 h 207"/>
                <a:gd name="T32" fmla="*/ 251 w 268"/>
                <a:gd name="T33" fmla="*/ 161 h 207"/>
                <a:gd name="T34" fmla="*/ 248 w 268"/>
                <a:gd name="T35" fmla="*/ 143 h 207"/>
                <a:gd name="T36" fmla="*/ 235 w 268"/>
                <a:gd name="T37" fmla="*/ 29 h 207"/>
                <a:gd name="T38" fmla="*/ 237 w 268"/>
                <a:gd name="T39" fmla="*/ 38 h 207"/>
                <a:gd name="T40" fmla="*/ 241 w 268"/>
                <a:gd name="T41" fmla="*/ 60 h 207"/>
                <a:gd name="T42" fmla="*/ 248 w 268"/>
                <a:gd name="T43" fmla="*/ 64 h 207"/>
                <a:gd name="T44" fmla="*/ 251 w 268"/>
                <a:gd name="T45" fmla="*/ 44 h 207"/>
                <a:gd name="T46" fmla="*/ 248 w 268"/>
                <a:gd name="T47" fmla="*/ 36 h 207"/>
                <a:gd name="T48" fmla="*/ 240 w 268"/>
                <a:gd name="T49" fmla="*/ 27 h 207"/>
                <a:gd name="T50" fmla="*/ 176 w 268"/>
                <a:gd name="T51" fmla="*/ 17 h 207"/>
                <a:gd name="T52" fmla="*/ 181 w 268"/>
                <a:gd name="T53" fmla="*/ 25 h 207"/>
                <a:gd name="T54" fmla="*/ 217 w 268"/>
                <a:gd name="T55" fmla="*/ 19 h 207"/>
                <a:gd name="T56" fmla="*/ 181 w 268"/>
                <a:gd name="T57" fmla="*/ 14 h 207"/>
                <a:gd name="T58" fmla="*/ 111 w 268"/>
                <a:gd name="T59" fmla="*/ 19 h 207"/>
                <a:gd name="T60" fmla="*/ 149 w 268"/>
                <a:gd name="T61" fmla="*/ 25 h 207"/>
                <a:gd name="T62" fmla="*/ 153 w 268"/>
                <a:gd name="T63" fmla="*/ 17 h 207"/>
                <a:gd name="T64" fmla="*/ 53 w 268"/>
                <a:gd name="T65" fmla="*/ 14 h 207"/>
                <a:gd name="T66" fmla="*/ 48 w 268"/>
                <a:gd name="T67" fmla="*/ 22 h 207"/>
                <a:gd name="T68" fmla="*/ 87 w 268"/>
                <a:gd name="T69" fmla="*/ 24 h 207"/>
                <a:gd name="T70" fmla="*/ 87 w 268"/>
                <a:gd name="T71" fmla="*/ 15 h 207"/>
                <a:gd name="T72" fmla="*/ 231 w 268"/>
                <a:gd name="T73" fmla="*/ 0 h 207"/>
                <a:gd name="T74" fmla="*/ 268 w 268"/>
                <a:gd name="T75" fmla="*/ 34 h 207"/>
                <a:gd name="T76" fmla="*/ 194 w 268"/>
                <a:gd name="T77" fmla="*/ 81 h 207"/>
                <a:gd name="T78" fmla="*/ 203 w 268"/>
                <a:gd name="T79" fmla="*/ 133 h 207"/>
                <a:gd name="T80" fmla="*/ 265 w 268"/>
                <a:gd name="T81" fmla="*/ 186 h 207"/>
                <a:gd name="T82" fmla="*/ 0 w 268"/>
                <a:gd name="T83" fmla="*/ 207 h 207"/>
                <a:gd name="T84" fmla="*/ 5 w 268"/>
                <a:gd name="T85" fmla="*/ 192 h 207"/>
                <a:gd name="T86" fmla="*/ 26 w 268"/>
                <a:gd name="T87" fmla="*/ 188 h 207"/>
                <a:gd name="T88" fmla="*/ 5 w 268"/>
                <a:gd name="T89" fmla="*/ 182 h 207"/>
                <a:gd name="T90" fmla="*/ 0 w 268"/>
                <a:gd name="T91" fmla="*/ 19 h 207"/>
                <a:gd name="T92" fmla="*/ 21 w 268"/>
                <a:gd name="T93" fmla="*/ 25 h 207"/>
                <a:gd name="T94" fmla="*/ 26 w 268"/>
                <a:gd name="T95" fmla="*/ 17 h 207"/>
                <a:gd name="T96" fmla="*/ 2 w 268"/>
                <a:gd name="T97" fmla="*/ 1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8" h="207">
                  <a:moveTo>
                    <a:pt x="181" y="182"/>
                  </a:moveTo>
                  <a:lnTo>
                    <a:pt x="178" y="183"/>
                  </a:lnTo>
                  <a:lnTo>
                    <a:pt x="176" y="184"/>
                  </a:lnTo>
                  <a:lnTo>
                    <a:pt x="175" y="188"/>
                  </a:lnTo>
                  <a:lnTo>
                    <a:pt x="176" y="190"/>
                  </a:lnTo>
                  <a:lnTo>
                    <a:pt x="178" y="192"/>
                  </a:lnTo>
                  <a:lnTo>
                    <a:pt x="181" y="192"/>
                  </a:lnTo>
                  <a:lnTo>
                    <a:pt x="212" y="192"/>
                  </a:lnTo>
                  <a:lnTo>
                    <a:pt x="215" y="192"/>
                  </a:lnTo>
                  <a:lnTo>
                    <a:pt x="217" y="190"/>
                  </a:lnTo>
                  <a:lnTo>
                    <a:pt x="217" y="188"/>
                  </a:lnTo>
                  <a:lnTo>
                    <a:pt x="217" y="184"/>
                  </a:lnTo>
                  <a:lnTo>
                    <a:pt x="215" y="183"/>
                  </a:lnTo>
                  <a:lnTo>
                    <a:pt x="212" y="182"/>
                  </a:lnTo>
                  <a:lnTo>
                    <a:pt x="181" y="182"/>
                  </a:lnTo>
                  <a:close/>
                  <a:moveTo>
                    <a:pt x="116" y="182"/>
                  </a:moveTo>
                  <a:lnTo>
                    <a:pt x="114" y="183"/>
                  </a:lnTo>
                  <a:lnTo>
                    <a:pt x="112" y="184"/>
                  </a:lnTo>
                  <a:lnTo>
                    <a:pt x="111" y="188"/>
                  </a:lnTo>
                  <a:lnTo>
                    <a:pt x="112" y="190"/>
                  </a:lnTo>
                  <a:lnTo>
                    <a:pt x="114" y="192"/>
                  </a:lnTo>
                  <a:lnTo>
                    <a:pt x="116" y="192"/>
                  </a:lnTo>
                  <a:lnTo>
                    <a:pt x="149" y="192"/>
                  </a:lnTo>
                  <a:lnTo>
                    <a:pt x="151" y="192"/>
                  </a:lnTo>
                  <a:lnTo>
                    <a:pt x="153" y="190"/>
                  </a:lnTo>
                  <a:lnTo>
                    <a:pt x="154" y="188"/>
                  </a:lnTo>
                  <a:lnTo>
                    <a:pt x="153" y="184"/>
                  </a:lnTo>
                  <a:lnTo>
                    <a:pt x="151" y="183"/>
                  </a:lnTo>
                  <a:lnTo>
                    <a:pt x="149" y="182"/>
                  </a:lnTo>
                  <a:lnTo>
                    <a:pt x="116" y="182"/>
                  </a:lnTo>
                  <a:close/>
                  <a:moveTo>
                    <a:pt x="53" y="182"/>
                  </a:moveTo>
                  <a:lnTo>
                    <a:pt x="50" y="183"/>
                  </a:lnTo>
                  <a:lnTo>
                    <a:pt x="48" y="184"/>
                  </a:lnTo>
                  <a:lnTo>
                    <a:pt x="48" y="188"/>
                  </a:lnTo>
                  <a:lnTo>
                    <a:pt x="48" y="190"/>
                  </a:lnTo>
                  <a:lnTo>
                    <a:pt x="50" y="192"/>
                  </a:lnTo>
                  <a:lnTo>
                    <a:pt x="53" y="192"/>
                  </a:lnTo>
                  <a:lnTo>
                    <a:pt x="84" y="192"/>
                  </a:lnTo>
                  <a:lnTo>
                    <a:pt x="87" y="192"/>
                  </a:lnTo>
                  <a:lnTo>
                    <a:pt x="89" y="190"/>
                  </a:lnTo>
                  <a:lnTo>
                    <a:pt x="90" y="188"/>
                  </a:lnTo>
                  <a:lnTo>
                    <a:pt x="89" y="184"/>
                  </a:lnTo>
                  <a:lnTo>
                    <a:pt x="87" y="183"/>
                  </a:lnTo>
                  <a:lnTo>
                    <a:pt x="84" y="182"/>
                  </a:lnTo>
                  <a:lnTo>
                    <a:pt x="53" y="182"/>
                  </a:lnTo>
                  <a:close/>
                  <a:moveTo>
                    <a:pt x="246" y="142"/>
                  </a:moveTo>
                  <a:lnTo>
                    <a:pt x="243" y="143"/>
                  </a:lnTo>
                  <a:lnTo>
                    <a:pt x="241" y="144"/>
                  </a:lnTo>
                  <a:lnTo>
                    <a:pt x="241" y="147"/>
                  </a:lnTo>
                  <a:lnTo>
                    <a:pt x="241" y="160"/>
                  </a:lnTo>
                  <a:lnTo>
                    <a:pt x="240" y="162"/>
                  </a:lnTo>
                  <a:lnTo>
                    <a:pt x="239" y="164"/>
                  </a:lnTo>
                  <a:lnTo>
                    <a:pt x="237" y="168"/>
                  </a:lnTo>
                  <a:lnTo>
                    <a:pt x="235" y="172"/>
                  </a:lnTo>
                  <a:lnTo>
                    <a:pt x="234" y="173"/>
                  </a:lnTo>
                  <a:lnTo>
                    <a:pt x="234" y="175"/>
                  </a:lnTo>
                  <a:lnTo>
                    <a:pt x="235" y="177"/>
                  </a:lnTo>
                  <a:lnTo>
                    <a:pt x="236" y="178"/>
                  </a:lnTo>
                  <a:lnTo>
                    <a:pt x="238" y="179"/>
                  </a:lnTo>
                  <a:lnTo>
                    <a:pt x="239" y="179"/>
                  </a:lnTo>
                  <a:lnTo>
                    <a:pt x="242" y="178"/>
                  </a:lnTo>
                  <a:lnTo>
                    <a:pt x="243" y="177"/>
                  </a:lnTo>
                  <a:lnTo>
                    <a:pt x="246" y="173"/>
                  </a:lnTo>
                  <a:lnTo>
                    <a:pt x="248" y="169"/>
                  </a:lnTo>
                  <a:lnTo>
                    <a:pt x="249" y="166"/>
                  </a:lnTo>
                  <a:lnTo>
                    <a:pt x="250" y="164"/>
                  </a:lnTo>
                  <a:lnTo>
                    <a:pt x="250" y="162"/>
                  </a:lnTo>
                  <a:lnTo>
                    <a:pt x="251" y="161"/>
                  </a:lnTo>
                  <a:lnTo>
                    <a:pt x="251" y="160"/>
                  </a:lnTo>
                  <a:lnTo>
                    <a:pt x="251" y="147"/>
                  </a:lnTo>
                  <a:lnTo>
                    <a:pt x="250" y="144"/>
                  </a:lnTo>
                  <a:lnTo>
                    <a:pt x="248" y="143"/>
                  </a:lnTo>
                  <a:lnTo>
                    <a:pt x="246" y="142"/>
                  </a:lnTo>
                  <a:close/>
                  <a:moveTo>
                    <a:pt x="238" y="27"/>
                  </a:moveTo>
                  <a:lnTo>
                    <a:pt x="237" y="28"/>
                  </a:lnTo>
                  <a:lnTo>
                    <a:pt x="235" y="29"/>
                  </a:lnTo>
                  <a:lnTo>
                    <a:pt x="234" y="31"/>
                  </a:lnTo>
                  <a:lnTo>
                    <a:pt x="234" y="33"/>
                  </a:lnTo>
                  <a:lnTo>
                    <a:pt x="235" y="34"/>
                  </a:lnTo>
                  <a:lnTo>
                    <a:pt x="237" y="38"/>
                  </a:lnTo>
                  <a:lnTo>
                    <a:pt x="239" y="41"/>
                  </a:lnTo>
                  <a:lnTo>
                    <a:pt x="240" y="44"/>
                  </a:lnTo>
                  <a:lnTo>
                    <a:pt x="241" y="46"/>
                  </a:lnTo>
                  <a:lnTo>
                    <a:pt x="241" y="60"/>
                  </a:lnTo>
                  <a:lnTo>
                    <a:pt x="241" y="62"/>
                  </a:lnTo>
                  <a:lnTo>
                    <a:pt x="243" y="64"/>
                  </a:lnTo>
                  <a:lnTo>
                    <a:pt x="246" y="64"/>
                  </a:lnTo>
                  <a:lnTo>
                    <a:pt x="248" y="64"/>
                  </a:lnTo>
                  <a:lnTo>
                    <a:pt x="250" y="62"/>
                  </a:lnTo>
                  <a:lnTo>
                    <a:pt x="251" y="60"/>
                  </a:lnTo>
                  <a:lnTo>
                    <a:pt x="251" y="45"/>
                  </a:lnTo>
                  <a:lnTo>
                    <a:pt x="251" y="44"/>
                  </a:lnTo>
                  <a:lnTo>
                    <a:pt x="250" y="44"/>
                  </a:lnTo>
                  <a:lnTo>
                    <a:pt x="250" y="42"/>
                  </a:lnTo>
                  <a:lnTo>
                    <a:pt x="249" y="39"/>
                  </a:lnTo>
                  <a:lnTo>
                    <a:pt x="248" y="36"/>
                  </a:lnTo>
                  <a:lnTo>
                    <a:pt x="246" y="33"/>
                  </a:lnTo>
                  <a:lnTo>
                    <a:pt x="244" y="29"/>
                  </a:lnTo>
                  <a:lnTo>
                    <a:pt x="242" y="28"/>
                  </a:lnTo>
                  <a:lnTo>
                    <a:pt x="240" y="27"/>
                  </a:lnTo>
                  <a:lnTo>
                    <a:pt x="238" y="27"/>
                  </a:lnTo>
                  <a:close/>
                  <a:moveTo>
                    <a:pt x="181" y="14"/>
                  </a:moveTo>
                  <a:lnTo>
                    <a:pt x="178" y="15"/>
                  </a:lnTo>
                  <a:lnTo>
                    <a:pt x="176" y="17"/>
                  </a:lnTo>
                  <a:lnTo>
                    <a:pt x="176" y="19"/>
                  </a:lnTo>
                  <a:lnTo>
                    <a:pt x="176" y="22"/>
                  </a:lnTo>
                  <a:lnTo>
                    <a:pt x="178" y="24"/>
                  </a:lnTo>
                  <a:lnTo>
                    <a:pt x="181" y="25"/>
                  </a:lnTo>
                  <a:lnTo>
                    <a:pt x="212" y="25"/>
                  </a:lnTo>
                  <a:lnTo>
                    <a:pt x="215" y="24"/>
                  </a:lnTo>
                  <a:lnTo>
                    <a:pt x="217" y="22"/>
                  </a:lnTo>
                  <a:lnTo>
                    <a:pt x="217" y="19"/>
                  </a:lnTo>
                  <a:lnTo>
                    <a:pt x="217" y="17"/>
                  </a:lnTo>
                  <a:lnTo>
                    <a:pt x="215" y="15"/>
                  </a:lnTo>
                  <a:lnTo>
                    <a:pt x="212" y="14"/>
                  </a:lnTo>
                  <a:lnTo>
                    <a:pt x="181" y="14"/>
                  </a:lnTo>
                  <a:close/>
                  <a:moveTo>
                    <a:pt x="116" y="14"/>
                  </a:moveTo>
                  <a:lnTo>
                    <a:pt x="114" y="15"/>
                  </a:lnTo>
                  <a:lnTo>
                    <a:pt x="112" y="17"/>
                  </a:lnTo>
                  <a:lnTo>
                    <a:pt x="111" y="19"/>
                  </a:lnTo>
                  <a:lnTo>
                    <a:pt x="112" y="22"/>
                  </a:lnTo>
                  <a:lnTo>
                    <a:pt x="114" y="24"/>
                  </a:lnTo>
                  <a:lnTo>
                    <a:pt x="116" y="25"/>
                  </a:lnTo>
                  <a:lnTo>
                    <a:pt x="149" y="25"/>
                  </a:lnTo>
                  <a:lnTo>
                    <a:pt x="152" y="24"/>
                  </a:lnTo>
                  <a:lnTo>
                    <a:pt x="153" y="22"/>
                  </a:lnTo>
                  <a:lnTo>
                    <a:pt x="154" y="19"/>
                  </a:lnTo>
                  <a:lnTo>
                    <a:pt x="153" y="17"/>
                  </a:lnTo>
                  <a:lnTo>
                    <a:pt x="152" y="15"/>
                  </a:lnTo>
                  <a:lnTo>
                    <a:pt x="149" y="14"/>
                  </a:lnTo>
                  <a:lnTo>
                    <a:pt x="116" y="14"/>
                  </a:lnTo>
                  <a:close/>
                  <a:moveTo>
                    <a:pt x="53" y="14"/>
                  </a:moveTo>
                  <a:lnTo>
                    <a:pt x="50" y="15"/>
                  </a:lnTo>
                  <a:lnTo>
                    <a:pt x="48" y="17"/>
                  </a:lnTo>
                  <a:lnTo>
                    <a:pt x="48" y="19"/>
                  </a:lnTo>
                  <a:lnTo>
                    <a:pt x="48" y="22"/>
                  </a:lnTo>
                  <a:lnTo>
                    <a:pt x="50" y="24"/>
                  </a:lnTo>
                  <a:lnTo>
                    <a:pt x="53" y="25"/>
                  </a:lnTo>
                  <a:lnTo>
                    <a:pt x="85" y="25"/>
                  </a:lnTo>
                  <a:lnTo>
                    <a:pt x="87" y="24"/>
                  </a:lnTo>
                  <a:lnTo>
                    <a:pt x="89" y="22"/>
                  </a:lnTo>
                  <a:lnTo>
                    <a:pt x="90" y="19"/>
                  </a:lnTo>
                  <a:lnTo>
                    <a:pt x="89" y="17"/>
                  </a:lnTo>
                  <a:lnTo>
                    <a:pt x="87" y="15"/>
                  </a:lnTo>
                  <a:lnTo>
                    <a:pt x="85" y="14"/>
                  </a:lnTo>
                  <a:lnTo>
                    <a:pt x="53" y="14"/>
                  </a:lnTo>
                  <a:close/>
                  <a:moveTo>
                    <a:pt x="0" y="0"/>
                  </a:moveTo>
                  <a:lnTo>
                    <a:pt x="231" y="0"/>
                  </a:lnTo>
                  <a:lnTo>
                    <a:pt x="245" y="3"/>
                  </a:lnTo>
                  <a:lnTo>
                    <a:pt x="256" y="10"/>
                  </a:lnTo>
                  <a:lnTo>
                    <a:pt x="265" y="20"/>
                  </a:lnTo>
                  <a:lnTo>
                    <a:pt x="268" y="34"/>
                  </a:lnTo>
                  <a:lnTo>
                    <a:pt x="268" y="71"/>
                  </a:lnTo>
                  <a:lnTo>
                    <a:pt x="214" y="71"/>
                  </a:lnTo>
                  <a:lnTo>
                    <a:pt x="203" y="73"/>
                  </a:lnTo>
                  <a:lnTo>
                    <a:pt x="194" y="81"/>
                  </a:lnTo>
                  <a:lnTo>
                    <a:pt x="191" y="91"/>
                  </a:lnTo>
                  <a:lnTo>
                    <a:pt x="191" y="115"/>
                  </a:lnTo>
                  <a:lnTo>
                    <a:pt x="194" y="125"/>
                  </a:lnTo>
                  <a:lnTo>
                    <a:pt x="203" y="133"/>
                  </a:lnTo>
                  <a:lnTo>
                    <a:pt x="214" y="136"/>
                  </a:lnTo>
                  <a:lnTo>
                    <a:pt x="268" y="136"/>
                  </a:lnTo>
                  <a:lnTo>
                    <a:pt x="268" y="173"/>
                  </a:lnTo>
                  <a:lnTo>
                    <a:pt x="265" y="186"/>
                  </a:lnTo>
                  <a:lnTo>
                    <a:pt x="256" y="197"/>
                  </a:lnTo>
                  <a:lnTo>
                    <a:pt x="245" y="204"/>
                  </a:lnTo>
                  <a:lnTo>
                    <a:pt x="231" y="207"/>
                  </a:lnTo>
                  <a:lnTo>
                    <a:pt x="0" y="207"/>
                  </a:lnTo>
                  <a:lnTo>
                    <a:pt x="0" y="188"/>
                  </a:lnTo>
                  <a:lnTo>
                    <a:pt x="0" y="190"/>
                  </a:lnTo>
                  <a:lnTo>
                    <a:pt x="2" y="192"/>
                  </a:lnTo>
                  <a:lnTo>
                    <a:pt x="5" y="192"/>
                  </a:lnTo>
                  <a:lnTo>
                    <a:pt x="21" y="192"/>
                  </a:lnTo>
                  <a:lnTo>
                    <a:pt x="24" y="192"/>
                  </a:lnTo>
                  <a:lnTo>
                    <a:pt x="26" y="190"/>
                  </a:lnTo>
                  <a:lnTo>
                    <a:pt x="26" y="188"/>
                  </a:lnTo>
                  <a:lnTo>
                    <a:pt x="26" y="184"/>
                  </a:lnTo>
                  <a:lnTo>
                    <a:pt x="24" y="183"/>
                  </a:lnTo>
                  <a:lnTo>
                    <a:pt x="21" y="182"/>
                  </a:lnTo>
                  <a:lnTo>
                    <a:pt x="5" y="182"/>
                  </a:lnTo>
                  <a:lnTo>
                    <a:pt x="2" y="183"/>
                  </a:lnTo>
                  <a:lnTo>
                    <a:pt x="0" y="184"/>
                  </a:lnTo>
                  <a:lnTo>
                    <a:pt x="0" y="188"/>
                  </a:lnTo>
                  <a:lnTo>
                    <a:pt x="0" y="19"/>
                  </a:lnTo>
                  <a:lnTo>
                    <a:pt x="0" y="22"/>
                  </a:lnTo>
                  <a:lnTo>
                    <a:pt x="2" y="24"/>
                  </a:lnTo>
                  <a:lnTo>
                    <a:pt x="5" y="25"/>
                  </a:lnTo>
                  <a:lnTo>
                    <a:pt x="21" y="25"/>
                  </a:lnTo>
                  <a:lnTo>
                    <a:pt x="24" y="24"/>
                  </a:lnTo>
                  <a:lnTo>
                    <a:pt x="26" y="22"/>
                  </a:lnTo>
                  <a:lnTo>
                    <a:pt x="26" y="19"/>
                  </a:lnTo>
                  <a:lnTo>
                    <a:pt x="26" y="17"/>
                  </a:lnTo>
                  <a:lnTo>
                    <a:pt x="24" y="15"/>
                  </a:lnTo>
                  <a:lnTo>
                    <a:pt x="21" y="14"/>
                  </a:lnTo>
                  <a:lnTo>
                    <a:pt x="5" y="14"/>
                  </a:lnTo>
                  <a:lnTo>
                    <a:pt x="2" y="15"/>
                  </a:lnTo>
                  <a:lnTo>
                    <a:pt x="0" y="17"/>
                  </a:lnTo>
                  <a:lnTo>
                    <a:pt x="0" y="19"/>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36">
              <a:extLst>
                <a:ext uri="{FF2B5EF4-FFF2-40B4-BE49-F238E27FC236}">
                  <a16:creationId xmlns:a16="http://schemas.microsoft.com/office/drawing/2014/main" id="{4559DB21-DB32-8443-9E94-E6198BDA8522}"/>
                </a:ext>
              </a:extLst>
            </p:cNvPr>
            <p:cNvSpPr>
              <a:spLocks noEditPoints="1"/>
            </p:cNvSpPr>
            <p:nvPr/>
          </p:nvSpPr>
          <p:spPr bwMode="auto">
            <a:xfrm>
              <a:off x="2854326" y="2425700"/>
              <a:ext cx="104775" cy="71438"/>
            </a:xfrm>
            <a:custGeom>
              <a:avLst/>
              <a:gdLst>
                <a:gd name="T0" fmla="*/ 25 w 66"/>
                <a:gd name="T1" fmla="*/ 11 h 45"/>
                <a:gd name="T2" fmla="*/ 21 w 66"/>
                <a:gd name="T3" fmla="*/ 12 h 45"/>
                <a:gd name="T4" fmla="*/ 18 w 66"/>
                <a:gd name="T5" fmla="*/ 13 h 45"/>
                <a:gd name="T6" fmla="*/ 16 w 66"/>
                <a:gd name="T7" fmla="*/ 15 h 45"/>
                <a:gd name="T8" fmla="*/ 14 w 66"/>
                <a:gd name="T9" fmla="*/ 18 h 45"/>
                <a:gd name="T10" fmla="*/ 13 w 66"/>
                <a:gd name="T11" fmla="*/ 23 h 45"/>
                <a:gd name="T12" fmla="*/ 14 w 66"/>
                <a:gd name="T13" fmla="*/ 26 h 45"/>
                <a:gd name="T14" fmla="*/ 16 w 66"/>
                <a:gd name="T15" fmla="*/ 29 h 45"/>
                <a:gd name="T16" fmla="*/ 18 w 66"/>
                <a:gd name="T17" fmla="*/ 31 h 45"/>
                <a:gd name="T18" fmla="*/ 21 w 66"/>
                <a:gd name="T19" fmla="*/ 33 h 45"/>
                <a:gd name="T20" fmla="*/ 25 w 66"/>
                <a:gd name="T21" fmla="*/ 34 h 45"/>
                <a:gd name="T22" fmla="*/ 30 w 66"/>
                <a:gd name="T23" fmla="*/ 33 h 45"/>
                <a:gd name="T24" fmla="*/ 33 w 66"/>
                <a:gd name="T25" fmla="*/ 31 h 45"/>
                <a:gd name="T26" fmla="*/ 36 w 66"/>
                <a:gd name="T27" fmla="*/ 29 h 45"/>
                <a:gd name="T28" fmla="*/ 37 w 66"/>
                <a:gd name="T29" fmla="*/ 26 h 45"/>
                <a:gd name="T30" fmla="*/ 38 w 66"/>
                <a:gd name="T31" fmla="*/ 23 h 45"/>
                <a:gd name="T32" fmla="*/ 37 w 66"/>
                <a:gd name="T33" fmla="*/ 18 h 45"/>
                <a:gd name="T34" fmla="*/ 36 w 66"/>
                <a:gd name="T35" fmla="*/ 15 h 45"/>
                <a:gd name="T36" fmla="*/ 33 w 66"/>
                <a:gd name="T37" fmla="*/ 13 h 45"/>
                <a:gd name="T38" fmla="*/ 30 w 66"/>
                <a:gd name="T39" fmla="*/ 12 h 45"/>
                <a:gd name="T40" fmla="*/ 25 w 66"/>
                <a:gd name="T41" fmla="*/ 11 h 45"/>
                <a:gd name="T42" fmla="*/ 12 w 66"/>
                <a:gd name="T43" fmla="*/ 0 h 45"/>
                <a:gd name="T44" fmla="*/ 66 w 66"/>
                <a:gd name="T45" fmla="*/ 0 h 45"/>
                <a:gd name="T46" fmla="*/ 66 w 66"/>
                <a:gd name="T47" fmla="*/ 45 h 45"/>
                <a:gd name="T48" fmla="*/ 12 w 66"/>
                <a:gd name="T49" fmla="*/ 45 h 45"/>
                <a:gd name="T50" fmla="*/ 8 w 66"/>
                <a:gd name="T51" fmla="*/ 44 h 45"/>
                <a:gd name="T52" fmla="*/ 5 w 66"/>
                <a:gd name="T53" fmla="*/ 43 h 45"/>
                <a:gd name="T54" fmla="*/ 2 w 66"/>
                <a:gd name="T55" fmla="*/ 40 h 45"/>
                <a:gd name="T56" fmla="*/ 1 w 66"/>
                <a:gd name="T57" fmla="*/ 37 h 45"/>
                <a:gd name="T58" fmla="*/ 0 w 66"/>
                <a:gd name="T59" fmla="*/ 34 h 45"/>
                <a:gd name="T60" fmla="*/ 0 w 66"/>
                <a:gd name="T61" fmla="*/ 10 h 45"/>
                <a:gd name="T62" fmla="*/ 1 w 66"/>
                <a:gd name="T63" fmla="*/ 7 h 45"/>
                <a:gd name="T64" fmla="*/ 2 w 66"/>
                <a:gd name="T65" fmla="*/ 4 h 45"/>
                <a:gd name="T66" fmla="*/ 5 w 66"/>
                <a:gd name="T67" fmla="*/ 2 h 45"/>
                <a:gd name="T68" fmla="*/ 8 w 66"/>
                <a:gd name="T69" fmla="*/ 1 h 45"/>
                <a:gd name="T70" fmla="*/ 12 w 66"/>
                <a:gd name="T7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 h="45">
                  <a:moveTo>
                    <a:pt x="25" y="11"/>
                  </a:moveTo>
                  <a:lnTo>
                    <a:pt x="21" y="12"/>
                  </a:lnTo>
                  <a:lnTo>
                    <a:pt x="18" y="13"/>
                  </a:lnTo>
                  <a:lnTo>
                    <a:pt x="16" y="15"/>
                  </a:lnTo>
                  <a:lnTo>
                    <a:pt x="14" y="18"/>
                  </a:lnTo>
                  <a:lnTo>
                    <a:pt x="13" y="23"/>
                  </a:lnTo>
                  <a:lnTo>
                    <a:pt x="14" y="26"/>
                  </a:lnTo>
                  <a:lnTo>
                    <a:pt x="16" y="29"/>
                  </a:lnTo>
                  <a:lnTo>
                    <a:pt x="18" y="31"/>
                  </a:lnTo>
                  <a:lnTo>
                    <a:pt x="21" y="33"/>
                  </a:lnTo>
                  <a:lnTo>
                    <a:pt x="25" y="34"/>
                  </a:lnTo>
                  <a:lnTo>
                    <a:pt x="30" y="33"/>
                  </a:lnTo>
                  <a:lnTo>
                    <a:pt x="33" y="31"/>
                  </a:lnTo>
                  <a:lnTo>
                    <a:pt x="36" y="29"/>
                  </a:lnTo>
                  <a:lnTo>
                    <a:pt x="37" y="26"/>
                  </a:lnTo>
                  <a:lnTo>
                    <a:pt x="38" y="23"/>
                  </a:lnTo>
                  <a:lnTo>
                    <a:pt x="37" y="18"/>
                  </a:lnTo>
                  <a:lnTo>
                    <a:pt x="36" y="15"/>
                  </a:lnTo>
                  <a:lnTo>
                    <a:pt x="33" y="13"/>
                  </a:lnTo>
                  <a:lnTo>
                    <a:pt x="30" y="12"/>
                  </a:lnTo>
                  <a:lnTo>
                    <a:pt x="25" y="11"/>
                  </a:lnTo>
                  <a:close/>
                  <a:moveTo>
                    <a:pt x="12" y="0"/>
                  </a:moveTo>
                  <a:lnTo>
                    <a:pt x="66" y="0"/>
                  </a:lnTo>
                  <a:lnTo>
                    <a:pt x="66" y="45"/>
                  </a:lnTo>
                  <a:lnTo>
                    <a:pt x="12" y="45"/>
                  </a:lnTo>
                  <a:lnTo>
                    <a:pt x="8" y="44"/>
                  </a:lnTo>
                  <a:lnTo>
                    <a:pt x="5" y="43"/>
                  </a:lnTo>
                  <a:lnTo>
                    <a:pt x="2" y="40"/>
                  </a:lnTo>
                  <a:lnTo>
                    <a:pt x="1" y="37"/>
                  </a:lnTo>
                  <a:lnTo>
                    <a:pt x="0" y="34"/>
                  </a:lnTo>
                  <a:lnTo>
                    <a:pt x="0" y="10"/>
                  </a:lnTo>
                  <a:lnTo>
                    <a:pt x="1" y="7"/>
                  </a:lnTo>
                  <a:lnTo>
                    <a:pt x="2" y="4"/>
                  </a:lnTo>
                  <a:lnTo>
                    <a:pt x="5" y="2"/>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37">
              <a:extLst>
                <a:ext uri="{FF2B5EF4-FFF2-40B4-BE49-F238E27FC236}">
                  <a16:creationId xmlns:a16="http://schemas.microsoft.com/office/drawing/2014/main" id="{B3489416-E422-154B-AC6D-4C5613A91650}"/>
                </a:ext>
              </a:extLst>
            </p:cNvPr>
            <p:cNvSpPr>
              <a:spLocks noEditPoints="1"/>
            </p:cNvSpPr>
            <p:nvPr/>
          </p:nvSpPr>
          <p:spPr bwMode="auto">
            <a:xfrm>
              <a:off x="2989263" y="2949575"/>
              <a:ext cx="512763" cy="517525"/>
            </a:xfrm>
            <a:custGeom>
              <a:avLst/>
              <a:gdLst>
                <a:gd name="T0" fmla="*/ 103 w 323"/>
                <a:gd name="T1" fmla="*/ 231 h 326"/>
                <a:gd name="T2" fmla="*/ 146 w 323"/>
                <a:gd name="T3" fmla="*/ 231 h 326"/>
                <a:gd name="T4" fmla="*/ 171 w 323"/>
                <a:gd name="T5" fmla="*/ 227 h 326"/>
                <a:gd name="T6" fmla="*/ 214 w 323"/>
                <a:gd name="T7" fmla="*/ 239 h 326"/>
                <a:gd name="T8" fmla="*/ 237 w 323"/>
                <a:gd name="T9" fmla="*/ 226 h 326"/>
                <a:gd name="T10" fmla="*/ 259 w 323"/>
                <a:gd name="T11" fmla="*/ 241 h 326"/>
                <a:gd name="T12" fmla="*/ 254 w 323"/>
                <a:gd name="T13" fmla="*/ 269 h 326"/>
                <a:gd name="T14" fmla="*/ 228 w 323"/>
                <a:gd name="T15" fmla="*/ 275 h 326"/>
                <a:gd name="T16" fmla="*/ 183 w 323"/>
                <a:gd name="T17" fmla="*/ 264 h 326"/>
                <a:gd name="T18" fmla="*/ 163 w 323"/>
                <a:gd name="T19" fmla="*/ 276 h 326"/>
                <a:gd name="T20" fmla="*/ 140 w 323"/>
                <a:gd name="T21" fmla="*/ 264 h 326"/>
                <a:gd name="T22" fmla="*/ 96 w 323"/>
                <a:gd name="T23" fmla="*/ 275 h 326"/>
                <a:gd name="T24" fmla="*/ 69 w 323"/>
                <a:gd name="T25" fmla="*/ 269 h 326"/>
                <a:gd name="T26" fmla="*/ 64 w 323"/>
                <a:gd name="T27" fmla="*/ 241 h 326"/>
                <a:gd name="T28" fmla="*/ 88 w 323"/>
                <a:gd name="T29" fmla="*/ 226 h 326"/>
                <a:gd name="T30" fmla="*/ 103 w 323"/>
                <a:gd name="T31" fmla="*/ 144 h 326"/>
                <a:gd name="T32" fmla="*/ 171 w 323"/>
                <a:gd name="T33" fmla="*/ 144 h 326"/>
                <a:gd name="T34" fmla="*/ 196 w 323"/>
                <a:gd name="T35" fmla="*/ 139 h 326"/>
                <a:gd name="T36" fmla="*/ 214 w 323"/>
                <a:gd name="T37" fmla="*/ 150 h 326"/>
                <a:gd name="T38" fmla="*/ 237 w 323"/>
                <a:gd name="T39" fmla="*/ 138 h 326"/>
                <a:gd name="T40" fmla="*/ 259 w 323"/>
                <a:gd name="T41" fmla="*/ 153 h 326"/>
                <a:gd name="T42" fmla="*/ 254 w 323"/>
                <a:gd name="T43" fmla="*/ 180 h 326"/>
                <a:gd name="T44" fmla="*/ 228 w 323"/>
                <a:gd name="T45" fmla="*/ 187 h 326"/>
                <a:gd name="T46" fmla="*/ 207 w 323"/>
                <a:gd name="T47" fmla="*/ 175 h 326"/>
                <a:gd name="T48" fmla="*/ 186 w 323"/>
                <a:gd name="T49" fmla="*/ 188 h 326"/>
                <a:gd name="T50" fmla="*/ 166 w 323"/>
                <a:gd name="T51" fmla="*/ 175 h 326"/>
                <a:gd name="T52" fmla="*/ 96 w 323"/>
                <a:gd name="T53" fmla="*/ 187 h 326"/>
                <a:gd name="T54" fmla="*/ 69 w 323"/>
                <a:gd name="T55" fmla="*/ 180 h 326"/>
                <a:gd name="T56" fmla="*/ 64 w 323"/>
                <a:gd name="T57" fmla="*/ 153 h 326"/>
                <a:gd name="T58" fmla="*/ 88 w 323"/>
                <a:gd name="T59" fmla="*/ 138 h 326"/>
                <a:gd name="T60" fmla="*/ 103 w 323"/>
                <a:gd name="T61" fmla="*/ 56 h 326"/>
                <a:gd name="T62" fmla="*/ 121 w 323"/>
                <a:gd name="T63" fmla="*/ 56 h 326"/>
                <a:gd name="T64" fmla="*/ 146 w 323"/>
                <a:gd name="T65" fmla="*/ 52 h 326"/>
                <a:gd name="T66" fmla="*/ 214 w 323"/>
                <a:gd name="T67" fmla="*/ 62 h 326"/>
                <a:gd name="T68" fmla="*/ 237 w 323"/>
                <a:gd name="T69" fmla="*/ 51 h 326"/>
                <a:gd name="T70" fmla="*/ 259 w 323"/>
                <a:gd name="T71" fmla="*/ 65 h 326"/>
                <a:gd name="T72" fmla="*/ 254 w 323"/>
                <a:gd name="T73" fmla="*/ 93 h 326"/>
                <a:gd name="T74" fmla="*/ 228 w 323"/>
                <a:gd name="T75" fmla="*/ 98 h 326"/>
                <a:gd name="T76" fmla="*/ 158 w 323"/>
                <a:gd name="T77" fmla="*/ 88 h 326"/>
                <a:gd name="T78" fmla="*/ 137 w 323"/>
                <a:gd name="T79" fmla="*/ 99 h 326"/>
                <a:gd name="T80" fmla="*/ 116 w 323"/>
                <a:gd name="T81" fmla="*/ 88 h 326"/>
                <a:gd name="T82" fmla="*/ 96 w 323"/>
                <a:gd name="T83" fmla="*/ 98 h 326"/>
                <a:gd name="T84" fmla="*/ 69 w 323"/>
                <a:gd name="T85" fmla="*/ 93 h 326"/>
                <a:gd name="T86" fmla="*/ 64 w 323"/>
                <a:gd name="T87" fmla="*/ 65 h 326"/>
                <a:gd name="T88" fmla="*/ 88 w 323"/>
                <a:gd name="T89" fmla="*/ 51 h 326"/>
                <a:gd name="T90" fmla="*/ 32 w 323"/>
                <a:gd name="T91" fmla="*/ 3 h 326"/>
                <a:gd name="T92" fmla="*/ 37 w 323"/>
                <a:gd name="T93" fmla="*/ 13 h 326"/>
                <a:gd name="T94" fmla="*/ 286 w 323"/>
                <a:gd name="T95" fmla="*/ 13 h 326"/>
                <a:gd name="T96" fmla="*/ 291 w 323"/>
                <a:gd name="T97" fmla="*/ 3 h 326"/>
                <a:gd name="T98" fmla="*/ 303 w 323"/>
                <a:gd name="T99" fmla="*/ 1 h 326"/>
                <a:gd name="T100" fmla="*/ 311 w 323"/>
                <a:gd name="T101" fmla="*/ 9 h 326"/>
                <a:gd name="T102" fmla="*/ 315 w 323"/>
                <a:gd name="T103" fmla="*/ 302 h 326"/>
                <a:gd name="T104" fmla="*/ 322 w 323"/>
                <a:gd name="T105" fmla="*/ 310 h 326"/>
                <a:gd name="T106" fmla="*/ 321 w 323"/>
                <a:gd name="T107" fmla="*/ 322 h 326"/>
                <a:gd name="T108" fmla="*/ 312 w 323"/>
                <a:gd name="T109" fmla="*/ 326 h 326"/>
                <a:gd name="T110" fmla="*/ 6 w 323"/>
                <a:gd name="T111" fmla="*/ 324 h 326"/>
                <a:gd name="T112" fmla="*/ 0 w 323"/>
                <a:gd name="T113" fmla="*/ 314 h 326"/>
                <a:gd name="T114" fmla="*/ 6 w 323"/>
                <a:gd name="T115" fmla="*/ 304 h 326"/>
                <a:gd name="T116" fmla="*/ 13 w 323"/>
                <a:gd name="T117" fmla="*/ 13 h 326"/>
                <a:gd name="T118" fmla="*/ 17 w 323"/>
                <a:gd name="T119" fmla="*/ 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3" h="326">
                  <a:moveTo>
                    <a:pt x="88" y="226"/>
                  </a:moveTo>
                  <a:lnTo>
                    <a:pt x="96" y="227"/>
                  </a:lnTo>
                  <a:lnTo>
                    <a:pt x="103" y="231"/>
                  </a:lnTo>
                  <a:lnTo>
                    <a:pt x="109" y="239"/>
                  </a:lnTo>
                  <a:lnTo>
                    <a:pt x="140" y="239"/>
                  </a:lnTo>
                  <a:lnTo>
                    <a:pt x="146" y="231"/>
                  </a:lnTo>
                  <a:lnTo>
                    <a:pt x="153" y="227"/>
                  </a:lnTo>
                  <a:lnTo>
                    <a:pt x="163" y="226"/>
                  </a:lnTo>
                  <a:lnTo>
                    <a:pt x="171" y="227"/>
                  </a:lnTo>
                  <a:lnTo>
                    <a:pt x="178" y="231"/>
                  </a:lnTo>
                  <a:lnTo>
                    <a:pt x="183" y="239"/>
                  </a:lnTo>
                  <a:lnTo>
                    <a:pt x="214" y="239"/>
                  </a:lnTo>
                  <a:lnTo>
                    <a:pt x="221" y="231"/>
                  </a:lnTo>
                  <a:lnTo>
                    <a:pt x="228" y="227"/>
                  </a:lnTo>
                  <a:lnTo>
                    <a:pt x="237" y="226"/>
                  </a:lnTo>
                  <a:lnTo>
                    <a:pt x="247" y="228"/>
                  </a:lnTo>
                  <a:lnTo>
                    <a:pt x="254" y="233"/>
                  </a:lnTo>
                  <a:lnTo>
                    <a:pt x="259" y="241"/>
                  </a:lnTo>
                  <a:lnTo>
                    <a:pt x="261" y="251"/>
                  </a:lnTo>
                  <a:lnTo>
                    <a:pt x="259" y="260"/>
                  </a:lnTo>
                  <a:lnTo>
                    <a:pt x="254" y="269"/>
                  </a:lnTo>
                  <a:lnTo>
                    <a:pt x="247" y="274"/>
                  </a:lnTo>
                  <a:lnTo>
                    <a:pt x="237" y="276"/>
                  </a:lnTo>
                  <a:lnTo>
                    <a:pt x="228" y="275"/>
                  </a:lnTo>
                  <a:lnTo>
                    <a:pt x="221" y="270"/>
                  </a:lnTo>
                  <a:lnTo>
                    <a:pt x="214" y="264"/>
                  </a:lnTo>
                  <a:lnTo>
                    <a:pt x="183" y="264"/>
                  </a:lnTo>
                  <a:lnTo>
                    <a:pt x="178" y="270"/>
                  </a:lnTo>
                  <a:lnTo>
                    <a:pt x="171" y="275"/>
                  </a:lnTo>
                  <a:lnTo>
                    <a:pt x="163" y="276"/>
                  </a:lnTo>
                  <a:lnTo>
                    <a:pt x="153" y="275"/>
                  </a:lnTo>
                  <a:lnTo>
                    <a:pt x="146" y="270"/>
                  </a:lnTo>
                  <a:lnTo>
                    <a:pt x="140" y="264"/>
                  </a:lnTo>
                  <a:lnTo>
                    <a:pt x="109" y="264"/>
                  </a:lnTo>
                  <a:lnTo>
                    <a:pt x="103" y="270"/>
                  </a:lnTo>
                  <a:lnTo>
                    <a:pt x="96" y="275"/>
                  </a:lnTo>
                  <a:lnTo>
                    <a:pt x="88" y="276"/>
                  </a:lnTo>
                  <a:lnTo>
                    <a:pt x="77" y="274"/>
                  </a:lnTo>
                  <a:lnTo>
                    <a:pt x="69" y="269"/>
                  </a:lnTo>
                  <a:lnTo>
                    <a:pt x="64" y="260"/>
                  </a:lnTo>
                  <a:lnTo>
                    <a:pt x="62" y="251"/>
                  </a:lnTo>
                  <a:lnTo>
                    <a:pt x="64" y="241"/>
                  </a:lnTo>
                  <a:lnTo>
                    <a:pt x="69" y="233"/>
                  </a:lnTo>
                  <a:lnTo>
                    <a:pt x="77" y="228"/>
                  </a:lnTo>
                  <a:lnTo>
                    <a:pt x="88" y="226"/>
                  </a:lnTo>
                  <a:close/>
                  <a:moveTo>
                    <a:pt x="88" y="138"/>
                  </a:moveTo>
                  <a:lnTo>
                    <a:pt x="96" y="139"/>
                  </a:lnTo>
                  <a:lnTo>
                    <a:pt x="103" y="144"/>
                  </a:lnTo>
                  <a:lnTo>
                    <a:pt x="109" y="150"/>
                  </a:lnTo>
                  <a:lnTo>
                    <a:pt x="166" y="150"/>
                  </a:lnTo>
                  <a:lnTo>
                    <a:pt x="171" y="144"/>
                  </a:lnTo>
                  <a:lnTo>
                    <a:pt x="178" y="139"/>
                  </a:lnTo>
                  <a:lnTo>
                    <a:pt x="186" y="138"/>
                  </a:lnTo>
                  <a:lnTo>
                    <a:pt x="196" y="139"/>
                  </a:lnTo>
                  <a:lnTo>
                    <a:pt x="203" y="144"/>
                  </a:lnTo>
                  <a:lnTo>
                    <a:pt x="207" y="150"/>
                  </a:lnTo>
                  <a:lnTo>
                    <a:pt x="214" y="150"/>
                  </a:lnTo>
                  <a:lnTo>
                    <a:pt x="221" y="144"/>
                  </a:lnTo>
                  <a:lnTo>
                    <a:pt x="228" y="139"/>
                  </a:lnTo>
                  <a:lnTo>
                    <a:pt x="237" y="138"/>
                  </a:lnTo>
                  <a:lnTo>
                    <a:pt x="247" y="140"/>
                  </a:lnTo>
                  <a:lnTo>
                    <a:pt x="254" y="145"/>
                  </a:lnTo>
                  <a:lnTo>
                    <a:pt x="259" y="153"/>
                  </a:lnTo>
                  <a:lnTo>
                    <a:pt x="261" y="164"/>
                  </a:lnTo>
                  <a:lnTo>
                    <a:pt x="259" y="173"/>
                  </a:lnTo>
                  <a:lnTo>
                    <a:pt x="254" y="180"/>
                  </a:lnTo>
                  <a:lnTo>
                    <a:pt x="247" y="186"/>
                  </a:lnTo>
                  <a:lnTo>
                    <a:pt x="237" y="188"/>
                  </a:lnTo>
                  <a:lnTo>
                    <a:pt x="228" y="187"/>
                  </a:lnTo>
                  <a:lnTo>
                    <a:pt x="221" y="183"/>
                  </a:lnTo>
                  <a:lnTo>
                    <a:pt x="214" y="175"/>
                  </a:lnTo>
                  <a:lnTo>
                    <a:pt x="207" y="175"/>
                  </a:lnTo>
                  <a:lnTo>
                    <a:pt x="203" y="183"/>
                  </a:lnTo>
                  <a:lnTo>
                    <a:pt x="196" y="187"/>
                  </a:lnTo>
                  <a:lnTo>
                    <a:pt x="186" y="188"/>
                  </a:lnTo>
                  <a:lnTo>
                    <a:pt x="178" y="187"/>
                  </a:lnTo>
                  <a:lnTo>
                    <a:pt x="171" y="183"/>
                  </a:lnTo>
                  <a:lnTo>
                    <a:pt x="166" y="175"/>
                  </a:lnTo>
                  <a:lnTo>
                    <a:pt x="109" y="175"/>
                  </a:lnTo>
                  <a:lnTo>
                    <a:pt x="103" y="183"/>
                  </a:lnTo>
                  <a:lnTo>
                    <a:pt x="96" y="187"/>
                  </a:lnTo>
                  <a:lnTo>
                    <a:pt x="88" y="188"/>
                  </a:lnTo>
                  <a:lnTo>
                    <a:pt x="77" y="186"/>
                  </a:lnTo>
                  <a:lnTo>
                    <a:pt x="69" y="180"/>
                  </a:lnTo>
                  <a:lnTo>
                    <a:pt x="64" y="173"/>
                  </a:lnTo>
                  <a:lnTo>
                    <a:pt x="62" y="164"/>
                  </a:lnTo>
                  <a:lnTo>
                    <a:pt x="64" y="153"/>
                  </a:lnTo>
                  <a:lnTo>
                    <a:pt x="69" y="145"/>
                  </a:lnTo>
                  <a:lnTo>
                    <a:pt x="77" y="140"/>
                  </a:lnTo>
                  <a:lnTo>
                    <a:pt x="88" y="138"/>
                  </a:lnTo>
                  <a:close/>
                  <a:moveTo>
                    <a:pt x="88" y="51"/>
                  </a:moveTo>
                  <a:lnTo>
                    <a:pt x="96" y="52"/>
                  </a:lnTo>
                  <a:lnTo>
                    <a:pt x="103" y="56"/>
                  </a:lnTo>
                  <a:lnTo>
                    <a:pt x="109" y="62"/>
                  </a:lnTo>
                  <a:lnTo>
                    <a:pt x="116" y="62"/>
                  </a:lnTo>
                  <a:lnTo>
                    <a:pt x="121" y="56"/>
                  </a:lnTo>
                  <a:lnTo>
                    <a:pt x="128" y="52"/>
                  </a:lnTo>
                  <a:lnTo>
                    <a:pt x="137" y="51"/>
                  </a:lnTo>
                  <a:lnTo>
                    <a:pt x="146" y="52"/>
                  </a:lnTo>
                  <a:lnTo>
                    <a:pt x="153" y="56"/>
                  </a:lnTo>
                  <a:lnTo>
                    <a:pt x="158" y="62"/>
                  </a:lnTo>
                  <a:lnTo>
                    <a:pt x="214" y="62"/>
                  </a:lnTo>
                  <a:lnTo>
                    <a:pt x="221" y="56"/>
                  </a:lnTo>
                  <a:lnTo>
                    <a:pt x="228" y="52"/>
                  </a:lnTo>
                  <a:lnTo>
                    <a:pt x="237" y="51"/>
                  </a:lnTo>
                  <a:lnTo>
                    <a:pt x="247" y="53"/>
                  </a:lnTo>
                  <a:lnTo>
                    <a:pt x="254" y="58"/>
                  </a:lnTo>
                  <a:lnTo>
                    <a:pt x="259" y="65"/>
                  </a:lnTo>
                  <a:lnTo>
                    <a:pt x="261" y="76"/>
                  </a:lnTo>
                  <a:lnTo>
                    <a:pt x="259" y="85"/>
                  </a:lnTo>
                  <a:lnTo>
                    <a:pt x="254" y="93"/>
                  </a:lnTo>
                  <a:lnTo>
                    <a:pt x="247" y="98"/>
                  </a:lnTo>
                  <a:lnTo>
                    <a:pt x="237" y="99"/>
                  </a:lnTo>
                  <a:lnTo>
                    <a:pt x="228" y="98"/>
                  </a:lnTo>
                  <a:lnTo>
                    <a:pt x="221" y="94"/>
                  </a:lnTo>
                  <a:lnTo>
                    <a:pt x="214" y="88"/>
                  </a:lnTo>
                  <a:lnTo>
                    <a:pt x="158" y="88"/>
                  </a:lnTo>
                  <a:lnTo>
                    <a:pt x="153" y="94"/>
                  </a:lnTo>
                  <a:lnTo>
                    <a:pt x="146" y="98"/>
                  </a:lnTo>
                  <a:lnTo>
                    <a:pt x="137" y="99"/>
                  </a:lnTo>
                  <a:lnTo>
                    <a:pt x="128" y="98"/>
                  </a:lnTo>
                  <a:lnTo>
                    <a:pt x="121" y="94"/>
                  </a:lnTo>
                  <a:lnTo>
                    <a:pt x="116" y="88"/>
                  </a:lnTo>
                  <a:lnTo>
                    <a:pt x="109" y="88"/>
                  </a:lnTo>
                  <a:lnTo>
                    <a:pt x="103" y="94"/>
                  </a:lnTo>
                  <a:lnTo>
                    <a:pt x="96" y="98"/>
                  </a:lnTo>
                  <a:lnTo>
                    <a:pt x="88" y="99"/>
                  </a:lnTo>
                  <a:lnTo>
                    <a:pt x="77" y="98"/>
                  </a:lnTo>
                  <a:lnTo>
                    <a:pt x="69" y="93"/>
                  </a:lnTo>
                  <a:lnTo>
                    <a:pt x="64" y="85"/>
                  </a:lnTo>
                  <a:lnTo>
                    <a:pt x="62" y="76"/>
                  </a:lnTo>
                  <a:lnTo>
                    <a:pt x="64" y="65"/>
                  </a:lnTo>
                  <a:lnTo>
                    <a:pt x="69" y="58"/>
                  </a:lnTo>
                  <a:lnTo>
                    <a:pt x="77" y="53"/>
                  </a:lnTo>
                  <a:lnTo>
                    <a:pt x="88" y="51"/>
                  </a:lnTo>
                  <a:close/>
                  <a:moveTo>
                    <a:pt x="24" y="0"/>
                  </a:moveTo>
                  <a:lnTo>
                    <a:pt x="29" y="1"/>
                  </a:lnTo>
                  <a:lnTo>
                    <a:pt x="32" y="3"/>
                  </a:lnTo>
                  <a:lnTo>
                    <a:pt x="35" y="5"/>
                  </a:lnTo>
                  <a:lnTo>
                    <a:pt x="37" y="9"/>
                  </a:lnTo>
                  <a:lnTo>
                    <a:pt x="37" y="13"/>
                  </a:lnTo>
                  <a:lnTo>
                    <a:pt x="37" y="301"/>
                  </a:lnTo>
                  <a:lnTo>
                    <a:pt x="286" y="301"/>
                  </a:lnTo>
                  <a:lnTo>
                    <a:pt x="286" y="13"/>
                  </a:lnTo>
                  <a:lnTo>
                    <a:pt x="287" y="9"/>
                  </a:lnTo>
                  <a:lnTo>
                    <a:pt x="288" y="5"/>
                  </a:lnTo>
                  <a:lnTo>
                    <a:pt x="291" y="3"/>
                  </a:lnTo>
                  <a:lnTo>
                    <a:pt x="294" y="1"/>
                  </a:lnTo>
                  <a:lnTo>
                    <a:pt x="298" y="0"/>
                  </a:lnTo>
                  <a:lnTo>
                    <a:pt x="303" y="1"/>
                  </a:lnTo>
                  <a:lnTo>
                    <a:pt x="307" y="3"/>
                  </a:lnTo>
                  <a:lnTo>
                    <a:pt x="309" y="5"/>
                  </a:lnTo>
                  <a:lnTo>
                    <a:pt x="311" y="9"/>
                  </a:lnTo>
                  <a:lnTo>
                    <a:pt x="312" y="13"/>
                  </a:lnTo>
                  <a:lnTo>
                    <a:pt x="312" y="301"/>
                  </a:lnTo>
                  <a:lnTo>
                    <a:pt x="315" y="302"/>
                  </a:lnTo>
                  <a:lnTo>
                    <a:pt x="318" y="304"/>
                  </a:lnTo>
                  <a:lnTo>
                    <a:pt x="321" y="306"/>
                  </a:lnTo>
                  <a:lnTo>
                    <a:pt x="322" y="310"/>
                  </a:lnTo>
                  <a:lnTo>
                    <a:pt x="323" y="314"/>
                  </a:lnTo>
                  <a:lnTo>
                    <a:pt x="322" y="318"/>
                  </a:lnTo>
                  <a:lnTo>
                    <a:pt x="321" y="322"/>
                  </a:lnTo>
                  <a:lnTo>
                    <a:pt x="318" y="324"/>
                  </a:lnTo>
                  <a:lnTo>
                    <a:pt x="315" y="325"/>
                  </a:lnTo>
                  <a:lnTo>
                    <a:pt x="312" y="326"/>
                  </a:lnTo>
                  <a:lnTo>
                    <a:pt x="13" y="326"/>
                  </a:lnTo>
                  <a:lnTo>
                    <a:pt x="9" y="325"/>
                  </a:lnTo>
                  <a:lnTo>
                    <a:pt x="6" y="324"/>
                  </a:lnTo>
                  <a:lnTo>
                    <a:pt x="3" y="322"/>
                  </a:lnTo>
                  <a:lnTo>
                    <a:pt x="1" y="318"/>
                  </a:lnTo>
                  <a:lnTo>
                    <a:pt x="0" y="314"/>
                  </a:lnTo>
                  <a:lnTo>
                    <a:pt x="1" y="310"/>
                  </a:lnTo>
                  <a:lnTo>
                    <a:pt x="3" y="306"/>
                  </a:lnTo>
                  <a:lnTo>
                    <a:pt x="6" y="304"/>
                  </a:lnTo>
                  <a:lnTo>
                    <a:pt x="9" y="302"/>
                  </a:lnTo>
                  <a:lnTo>
                    <a:pt x="13" y="301"/>
                  </a:lnTo>
                  <a:lnTo>
                    <a:pt x="13" y="13"/>
                  </a:lnTo>
                  <a:lnTo>
                    <a:pt x="13" y="9"/>
                  </a:lnTo>
                  <a:lnTo>
                    <a:pt x="15" y="5"/>
                  </a:lnTo>
                  <a:lnTo>
                    <a:pt x="17" y="3"/>
                  </a:lnTo>
                  <a:lnTo>
                    <a:pt x="20" y="1"/>
                  </a:lnTo>
                  <a:lnTo>
                    <a:pt x="2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38">
              <a:extLst>
                <a:ext uri="{FF2B5EF4-FFF2-40B4-BE49-F238E27FC236}">
                  <a16:creationId xmlns:a16="http://schemas.microsoft.com/office/drawing/2014/main" id="{EBF29ABD-EC16-CA4A-A19D-CACD1429A8D1}"/>
                </a:ext>
              </a:extLst>
            </p:cNvPr>
            <p:cNvSpPr>
              <a:spLocks noEditPoints="1"/>
            </p:cNvSpPr>
            <p:nvPr/>
          </p:nvSpPr>
          <p:spPr bwMode="auto">
            <a:xfrm>
              <a:off x="5094288" y="693738"/>
              <a:ext cx="465138" cy="487363"/>
            </a:xfrm>
            <a:custGeom>
              <a:avLst/>
              <a:gdLst>
                <a:gd name="T0" fmla="*/ 94 w 293"/>
                <a:gd name="T1" fmla="*/ 218 h 307"/>
                <a:gd name="T2" fmla="*/ 133 w 293"/>
                <a:gd name="T3" fmla="*/ 218 h 307"/>
                <a:gd name="T4" fmla="*/ 155 w 293"/>
                <a:gd name="T5" fmla="*/ 213 h 307"/>
                <a:gd name="T6" fmla="*/ 195 w 293"/>
                <a:gd name="T7" fmla="*/ 225 h 307"/>
                <a:gd name="T8" fmla="*/ 216 w 293"/>
                <a:gd name="T9" fmla="*/ 212 h 307"/>
                <a:gd name="T10" fmla="*/ 237 w 293"/>
                <a:gd name="T11" fmla="*/ 235 h 307"/>
                <a:gd name="T12" fmla="*/ 224 w 293"/>
                <a:gd name="T13" fmla="*/ 258 h 307"/>
                <a:gd name="T14" fmla="*/ 200 w 293"/>
                <a:gd name="T15" fmla="*/ 254 h 307"/>
                <a:gd name="T16" fmla="*/ 162 w 293"/>
                <a:gd name="T17" fmla="*/ 254 h 307"/>
                <a:gd name="T18" fmla="*/ 140 w 293"/>
                <a:gd name="T19" fmla="*/ 258 h 307"/>
                <a:gd name="T20" fmla="*/ 98 w 293"/>
                <a:gd name="T21" fmla="*/ 248 h 307"/>
                <a:gd name="T22" fmla="*/ 80 w 293"/>
                <a:gd name="T23" fmla="*/ 260 h 307"/>
                <a:gd name="T24" fmla="*/ 58 w 293"/>
                <a:gd name="T25" fmla="*/ 245 h 307"/>
                <a:gd name="T26" fmla="*/ 63 w 293"/>
                <a:gd name="T27" fmla="*/ 220 h 307"/>
                <a:gd name="T28" fmla="*/ 80 w 293"/>
                <a:gd name="T29" fmla="*/ 129 h 307"/>
                <a:gd name="T30" fmla="*/ 98 w 293"/>
                <a:gd name="T31" fmla="*/ 141 h 307"/>
                <a:gd name="T32" fmla="*/ 162 w 293"/>
                <a:gd name="T33" fmla="*/ 130 h 307"/>
                <a:gd name="T34" fmla="*/ 185 w 293"/>
                <a:gd name="T35" fmla="*/ 136 h 307"/>
                <a:gd name="T36" fmla="*/ 200 w 293"/>
                <a:gd name="T37" fmla="*/ 136 h 307"/>
                <a:gd name="T38" fmla="*/ 224 w 293"/>
                <a:gd name="T39" fmla="*/ 131 h 307"/>
                <a:gd name="T40" fmla="*/ 237 w 293"/>
                <a:gd name="T41" fmla="*/ 153 h 307"/>
                <a:gd name="T42" fmla="*/ 216 w 293"/>
                <a:gd name="T43" fmla="*/ 177 h 307"/>
                <a:gd name="T44" fmla="*/ 195 w 293"/>
                <a:gd name="T45" fmla="*/ 165 h 307"/>
                <a:gd name="T46" fmla="*/ 177 w 293"/>
                <a:gd name="T47" fmla="*/ 175 h 307"/>
                <a:gd name="T48" fmla="*/ 155 w 293"/>
                <a:gd name="T49" fmla="*/ 171 h 307"/>
                <a:gd name="T50" fmla="*/ 94 w 293"/>
                <a:gd name="T51" fmla="*/ 171 h 307"/>
                <a:gd name="T52" fmla="*/ 70 w 293"/>
                <a:gd name="T53" fmla="*/ 175 h 307"/>
                <a:gd name="T54" fmla="*/ 56 w 293"/>
                <a:gd name="T55" fmla="*/ 153 h 307"/>
                <a:gd name="T56" fmla="*/ 70 w 293"/>
                <a:gd name="T57" fmla="*/ 131 h 307"/>
                <a:gd name="T58" fmla="*/ 87 w 293"/>
                <a:gd name="T59" fmla="*/ 48 h 307"/>
                <a:gd name="T60" fmla="*/ 106 w 293"/>
                <a:gd name="T61" fmla="*/ 59 h 307"/>
                <a:gd name="T62" fmla="*/ 124 w 293"/>
                <a:gd name="T63" fmla="*/ 47 h 307"/>
                <a:gd name="T64" fmla="*/ 144 w 293"/>
                <a:gd name="T65" fmla="*/ 59 h 307"/>
                <a:gd name="T66" fmla="*/ 207 w 293"/>
                <a:gd name="T67" fmla="*/ 48 h 307"/>
                <a:gd name="T68" fmla="*/ 231 w 293"/>
                <a:gd name="T69" fmla="*/ 54 h 307"/>
                <a:gd name="T70" fmla="*/ 235 w 293"/>
                <a:gd name="T71" fmla="*/ 79 h 307"/>
                <a:gd name="T72" fmla="*/ 216 w 293"/>
                <a:gd name="T73" fmla="*/ 94 h 307"/>
                <a:gd name="T74" fmla="*/ 144 w 293"/>
                <a:gd name="T75" fmla="*/ 83 h 307"/>
                <a:gd name="T76" fmla="*/ 116 w 293"/>
                <a:gd name="T77" fmla="*/ 92 h 307"/>
                <a:gd name="T78" fmla="*/ 98 w 293"/>
                <a:gd name="T79" fmla="*/ 83 h 307"/>
                <a:gd name="T80" fmla="*/ 80 w 293"/>
                <a:gd name="T81" fmla="*/ 94 h 307"/>
                <a:gd name="T82" fmla="*/ 58 w 293"/>
                <a:gd name="T83" fmla="*/ 79 h 307"/>
                <a:gd name="T84" fmla="*/ 63 w 293"/>
                <a:gd name="T85" fmla="*/ 54 h 307"/>
                <a:gd name="T86" fmla="*/ 23 w 293"/>
                <a:gd name="T87" fmla="*/ 0 h 307"/>
                <a:gd name="T88" fmla="*/ 32 w 293"/>
                <a:gd name="T89" fmla="*/ 5 h 307"/>
                <a:gd name="T90" fmla="*/ 34 w 293"/>
                <a:gd name="T91" fmla="*/ 283 h 307"/>
                <a:gd name="T92" fmla="*/ 260 w 293"/>
                <a:gd name="T93" fmla="*/ 8 h 307"/>
                <a:gd name="T94" fmla="*/ 268 w 293"/>
                <a:gd name="T95" fmla="*/ 1 h 307"/>
                <a:gd name="T96" fmla="*/ 278 w 293"/>
                <a:gd name="T97" fmla="*/ 2 h 307"/>
                <a:gd name="T98" fmla="*/ 283 w 293"/>
                <a:gd name="T99" fmla="*/ 12 h 307"/>
                <a:gd name="T100" fmla="*/ 289 w 293"/>
                <a:gd name="T101" fmla="*/ 285 h 307"/>
                <a:gd name="T102" fmla="*/ 293 w 293"/>
                <a:gd name="T103" fmla="*/ 295 h 307"/>
                <a:gd name="T104" fmla="*/ 289 w 293"/>
                <a:gd name="T105" fmla="*/ 305 h 307"/>
                <a:gd name="T106" fmla="*/ 12 w 293"/>
                <a:gd name="T107" fmla="*/ 307 h 307"/>
                <a:gd name="T108" fmla="*/ 3 w 293"/>
                <a:gd name="T109" fmla="*/ 302 h 307"/>
                <a:gd name="T110" fmla="*/ 1 w 293"/>
                <a:gd name="T111" fmla="*/ 291 h 307"/>
                <a:gd name="T112" fmla="*/ 8 w 293"/>
                <a:gd name="T113" fmla="*/ 284 h 307"/>
                <a:gd name="T114" fmla="*/ 12 w 293"/>
                <a:gd name="T115" fmla="*/ 8 h 307"/>
                <a:gd name="T116" fmla="*/ 18 w 293"/>
                <a:gd name="T117" fmla="*/ 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307">
                  <a:moveTo>
                    <a:pt x="80" y="212"/>
                  </a:moveTo>
                  <a:lnTo>
                    <a:pt x="87" y="213"/>
                  </a:lnTo>
                  <a:lnTo>
                    <a:pt x="94" y="218"/>
                  </a:lnTo>
                  <a:lnTo>
                    <a:pt x="98" y="225"/>
                  </a:lnTo>
                  <a:lnTo>
                    <a:pt x="127" y="225"/>
                  </a:lnTo>
                  <a:lnTo>
                    <a:pt x="133" y="218"/>
                  </a:lnTo>
                  <a:lnTo>
                    <a:pt x="140" y="213"/>
                  </a:lnTo>
                  <a:lnTo>
                    <a:pt x="147" y="212"/>
                  </a:lnTo>
                  <a:lnTo>
                    <a:pt x="155" y="213"/>
                  </a:lnTo>
                  <a:lnTo>
                    <a:pt x="162" y="218"/>
                  </a:lnTo>
                  <a:lnTo>
                    <a:pt x="167" y="225"/>
                  </a:lnTo>
                  <a:lnTo>
                    <a:pt x="195" y="225"/>
                  </a:lnTo>
                  <a:lnTo>
                    <a:pt x="200" y="218"/>
                  </a:lnTo>
                  <a:lnTo>
                    <a:pt x="207" y="213"/>
                  </a:lnTo>
                  <a:lnTo>
                    <a:pt x="216" y="212"/>
                  </a:lnTo>
                  <a:lnTo>
                    <a:pt x="226" y="215"/>
                  </a:lnTo>
                  <a:lnTo>
                    <a:pt x="234" y="224"/>
                  </a:lnTo>
                  <a:lnTo>
                    <a:pt x="237" y="235"/>
                  </a:lnTo>
                  <a:lnTo>
                    <a:pt x="235" y="245"/>
                  </a:lnTo>
                  <a:lnTo>
                    <a:pt x="231" y="253"/>
                  </a:lnTo>
                  <a:lnTo>
                    <a:pt x="224" y="258"/>
                  </a:lnTo>
                  <a:lnTo>
                    <a:pt x="216" y="260"/>
                  </a:lnTo>
                  <a:lnTo>
                    <a:pt x="207" y="258"/>
                  </a:lnTo>
                  <a:lnTo>
                    <a:pt x="200" y="254"/>
                  </a:lnTo>
                  <a:lnTo>
                    <a:pt x="195" y="248"/>
                  </a:lnTo>
                  <a:lnTo>
                    <a:pt x="167" y="248"/>
                  </a:lnTo>
                  <a:lnTo>
                    <a:pt x="162" y="254"/>
                  </a:lnTo>
                  <a:lnTo>
                    <a:pt x="155" y="258"/>
                  </a:lnTo>
                  <a:lnTo>
                    <a:pt x="147" y="260"/>
                  </a:lnTo>
                  <a:lnTo>
                    <a:pt x="140" y="258"/>
                  </a:lnTo>
                  <a:lnTo>
                    <a:pt x="133" y="254"/>
                  </a:lnTo>
                  <a:lnTo>
                    <a:pt x="127" y="248"/>
                  </a:lnTo>
                  <a:lnTo>
                    <a:pt x="98" y="248"/>
                  </a:lnTo>
                  <a:lnTo>
                    <a:pt x="94" y="254"/>
                  </a:lnTo>
                  <a:lnTo>
                    <a:pt x="87" y="258"/>
                  </a:lnTo>
                  <a:lnTo>
                    <a:pt x="80" y="260"/>
                  </a:lnTo>
                  <a:lnTo>
                    <a:pt x="70" y="258"/>
                  </a:lnTo>
                  <a:lnTo>
                    <a:pt x="63" y="253"/>
                  </a:lnTo>
                  <a:lnTo>
                    <a:pt x="58" y="245"/>
                  </a:lnTo>
                  <a:lnTo>
                    <a:pt x="56" y="235"/>
                  </a:lnTo>
                  <a:lnTo>
                    <a:pt x="58" y="227"/>
                  </a:lnTo>
                  <a:lnTo>
                    <a:pt x="63" y="220"/>
                  </a:lnTo>
                  <a:lnTo>
                    <a:pt x="70" y="214"/>
                  </a:lnTo>
                  <a:lnTo>
                    <a:pt x="80" y="212"/>
                  </a:lnTo>
                  <a:close/>
                  <a:moveTo>
                    <a:pt x="80" y="129"/>
                  </a:moveTo>
                  <a:lnTo>
                    <a:pt x="87" y="130"/>
                  </a:lnTo>
                  <a:lnTo>
                    <a:pt x="94" y="136"/>
                  </a:lnTo>
                  <a:lnTo>
                    <a:pt x="98" y="141"/>
                  </a:lnTo>
                  <a:lnTo>
                    <a:pt x="150" y="141"/>
                  </a:lnTo>
                  <a:lnTo>
                    <a:pt x="155" y="136"/>
                  </a:lnTo>
                  <a:lnTo>
                    <a:pt x="162" y="130"/>
                  </a:lnTo>
                  <a:lnTo>
                    <a:pt x="170" y="129"/>
                  </a:lnTo>
                  <a:lnTo>
                    <a:pt x="177" y="130"/>
                  </a:lnTo>
                  <a:lnTo>
                    <a:pt x="185" y="136"/>
                  </a:lnTo>
                  <a:lnTo>
                    <a:pt x="189" y="141"/>
                  </a:lnTo>
                  <a:lnTo>
                    <a:pt x="195" y="141"/>
                  </a:lnTo>
                  <a:lnTo>
                    <a:pt x="200" y="136"/>
                  </a:lnTo>
                  <a:lnTo>
                    <a:pt x="207" y="130"/>
                  </a:lnTo>
                  <a:lnTo>
                    <a:pt x="216" y="129"/>
                  </a:lnTo>
                  <a:lnTo>
                    <a:pt x="224" y="131"/>
                  </a:lnTo>
                  <a:lnTo>
                    <a:pt x="231" y="137"/>
                  </a:lnTo>
                  <a:lnTo>
                    <a:pt x="235" y="144"/>
                  </a:lnTo>
                  <a:lnTo>
                    <a:pt x="237" y="153"/>
                  </a:lnTo>
                  <a:lnTo>
                    <a:pt x="234" y="165"/>
                  </a:lnTo>
                  <a:lnTo>
                    <a:pt x="226" y="173"/>
                  </a:lnTo>
                  <a:lnTo>
                    <a:pt x="216" y="177"/>
                  </a:lnTo>
                  <a:lnTo>
                    <a:pt x="207" y="175"/>
                  </a:lnTo>
                  <a:lnTo>
                    <a:pt x="200" y="171"/>
                  </a:lnTo>
                  <a:lnTo>
                    <a:pt x="195" y="165"/>
                  </a:lnTo>
                  <a:lnTo>
                    <a:pt x="189" y="165"/>
                  </a:lnTo>
                  <a:lnTo>
                    <a:pt x="185" y="171"/>
                  </a:lnTo>
                  <a:lnTo>
                    <a:pt x="177" y="175"/>
                  </a:lnTo>
                  <a:lnTo>
                    <a:pt x="170" y="177"/>
                  </a:lnTo>
                  <a:lnTo>
                    <a:pt x="162" y="175"/>
                  </a:lnTo>
                  <a:lnTo>
                    <a:pt x="155" y="171"/>
                  </a:lnTo>
                  <a:lnTo>
                    <a:pt x="150" y="165"/>
                  </a:lnTo>
                  <a:lnTo>
                    <a:pt x="98" y="165"/>
                  </a:lnTo>
                  <a:lnTo>
                    <a:pt x="94" y="171"/>
                  </a:lnTo>
                  <a:lnTo>
                    <a:pt x="87" y="175"/>
                  </a:lnTo>
                  <a:lnTo>
                    <a:pt x="80" y="177"/>
                  </a:lnTo>
                  <a:lnTo>
                    <a:pt x="70" y="175"/>
                  </a:lnTo>
                  <a:lnTo>
                    <a:pt x="63" y="170"/>
                  </a:lnTo>
                  <a:lnTo>
                    <a:pt x="58" y="163"/>
                  </a:lnTo>
                  <a:lnTo>
                    <a:pt x="56" y="153"/>
                  </a:lnTo>
                  <a:lnTo>
                    <a:pt x="58" y="144"/>
                  </a:lnTo>
                  <a:lnTo>
                    <a:pt x="63" y="137"/>
                  </a:lnTo>
                  <a:lnTo>
                    <a:pt x="70" y="131"/>
                  </a:lnTo>
                  <a:lnTo>
                    <a:pt x="80" y="129"/>
                  </a:lnTo>
                  <a:close/>
                  <a:moveTo>
                    <a:pt x="80" y="47"/>
                  </a:moveTo>
                  <a:lnTo>
                    <a:pt x="87" y="48"/>
                  </a:lnTo>
                  <a:lnTo>
                    <a:pt x="94" y="52"/>
                  </a:lnTo>
                  <a:lnTo>
                    <a:pt x="98" y="59"/>
                  </a:lnTo>
                  <a:lnTo>
                    <a:pt x="106" y="59"/>
                  </a:lnTo>
                  <a:lnTo>
                    <a:pt x="110" y="52"/>
                  </a:lnTo>
                  <a:lnTo>
                    <a:pt x="116" y="48"/>
                  </a:lnTo>
                  <a:lnTo>
                    <a:pt x="124" y="47"/>
                  </a:lnTo>
                  <a:lnTo>
                    <a:pt x="133" y="48"/>
                  </a:lnTo>
                  <a:lnTo>
                    <a:pt x="139" y="52"/>
                  </a:lnTo>
                  <a:lnTo>
                    <a:pt x="144" y="59"/>
                  </a:lnTo>
                  <a:lnTo>
                    <a:pt x="195" y="59"/>
                  </a:lnTo>
                  <a:lnTo>
                    <a:pt x="200" y="52"/>
                  </a:lnTo>
                  <a:lnTo>
                    <a:pt x="207" y="48"/>
                  </a:lnTo>
                  <a:lnTo>
                    <a:pt x="216" y="47"/>
                  </a:lnTo>
                  <a:lnTo>
                    <a:pt x="224" y="49"/>
                  </a:lnTo>
                  <a:lnTo>
                    <a:pt x="231" y="54"/>
                  </a:lnTo>
                  <a:lnTo>
                    <a:pt x="235" y="61"/>
                  </a:lnTo>
                  <a:lnTo>
                    <a:pt x="237" y="70"/>
                  </a:lnTo>
                  <a:lnTo>
                    <a:pt x="235" y="79"/>
                  </a:lnTo>
                  <a:lnTo>
                    <a:pt x="231" y="87"/>
                  </a:lnTo>
                  <a:lnTo>
                    <a:pt x="224" y="92"/>
                  </a:lnTo>
                  <a:lnTo>
                    <a:pt x="216" y="94"/>
                  </a:lnTo>
                  <a:lnTo>
                    <a:pt x="203" y="91"/>
                  </a:lnTo>
                  <a:lnTo>
                    <a:pt x="195" y="83"/>
                  </a:lnTo>
                  <a:lnTo>
                    <a:pt x="144" y="83"/>
                  </a:lnTo>
                  <a:lnTo>
                    <a:pt x="136" y="91"/>
                  </a:lnTo>
                  <a:lnTo>
                    <a:pt x="124" y="94"/>
                  </a:lnTo>
                  <a:lnTo>
                    <a:pt x="116" y="92"/>
                  </a:lnTo>
                  <a:lnTo>
                    <a:pt x="110" y="89"/>
                  </a:lnTo>
                  <a:lnTo>
                    <a:pt x="106" y="83"/>
                  </a:lnTo>
                  <a:lnTo>
                    <a:pt x="98" y="83"/>
                  </a:lnTo>
                  <a:lnTo>
                    <a:pt x="94" y="89"/>
                  </a:lnTo>
                  <a:lnTo>
                    <a:pt x="87" y="92"/>
                  </a:lnTo>
                  <a:lnTo>
                    <a:pt x="80" y="94"/>
                  </a:lnTo>
                  <a:lnTo>
                    <a:pt x="70" y="92"/>
                  </a:lnTo>
                  <a:lnTo>
                    <a:pt x="63" y="87"/>
                  </a:lnTo>
                  <a:lnTo>
                    <a:pt x="58" y="79"/>
                  </a:lnTo>
                  <a:lnTo>
                    <a:pt x="56" y="70"/>
                  </a:lnTo>
                  <a:lnTo>
                    <a:pt x="58" y="61"/>
                  </a:lnTo>
                  <a:lnTo>
                    <a:pt x="63" y="54"/>
                  </a:lnTo>
                  <a:lnTo>
                    <a:pt x="70" y="49"/>
                  </a:lnTo>
                  <a:lnTo>
                    <a:pt x="80" y="47"/>
                  </a:lnTo>
                  <a:close/>
                  <a:moveTo>
                    <a:pt x="23" y="0"/>
                  </a:moveTo>
                  <a:lnTo>
                    <a:pt x="26" y="1"/>
                  </a:lnTo>
                  <a:lnTo>
                    <a:pt x="29" y="2"/>
                  </a:lnTo>
                  <a:lnTo>
                    <a:pt x="32" y="5"/>
                  </a:lnTo>
                  <a:lnTo>
                    <a:pt x="33" y="8"/>
                  </a:lnTo>
                  <a:lnTo>
                    <a:pt x="34" y="12"/>
                  </a:lnTo>
                  <a:lnTo>
                    <a:pt x="34" y="283"/>
                  </a:lnTo>
                  <a:lnTo>
                    <a:pt x="260" y="283"/>
                  </a:lnTo>
                  <a:lnTo>
                    <a:pt x="260" y="12"/>
                  </a:lnTo>
                  <a:lnTo>
                    <a:pt x="260" y="8"/>
                  </a:lnTo>
                  <a:lnTo>
                    <a:pt x="262" y="5"/>
                  </a:lnTo>
                  <a:lnTo>
                    <a:pt x="264" y="2"/>
                  </a:lnTo>
                  <a:lnTo>
                    <a:pt x="268" y="1"/>
                  </a:lnTo>
                  <a:lnTo>
                    <a:pt x="272" y="0"/>
                  </a:lnTo>
                  <a:lnTo>
                    <a:pt x="275" y="1"/>
                  </a:lnTo>
                  <a:lnTo>
                    <a:pt x="278" y="2"/>
                  </a:lnTo>
                  <a:lnTo>
                    <a:pt x="281" y="5"/>
                  </a:lnTo>
                  <a:lnTo>
                    <a:pt x="282" y="8"/>
                  </a:lnTo>
                  <a:lnTo>
                    <a:pt x="283" y="12"/>
                  </a:lnTo>
                  <a:lnTo>
                    <a:pt x="283" y="283"/>
                  </a:lnTo>
                  <a:lnTo>
                    <a:pt x="286" y="284"/>
                  </a:lnTo>
                  <a:lnTo>
                    <a:pt x="289" y="285"/>
                  </a:lnTo>
                  <a:lnTo>
                    <a:pt x="291" y="288"/>
                  </a:lnTo>
                  <a:lnTo>
                    <a:pt x="293" y="291"/>
                  </a:lnTo>
                  <a:lnTo>
                    <a:pt x="293" y="295"/>
                  </a:lnTo>
                  <a:lnTo>
                    <a:pt x="293" y="299"/>
                  </a:lnTo>
                  <a:lnTo>
                    <a:pt x="291" y="302"/>
                  </a:lnTo>
                  <a:lnTo>
                    <a:pt x="289" y="305"/>
                  </a:lnTo>
                  <a:lnTo>
                    <a:pt x="286" y="306"/>
                  </a:lnTo>
                  <a:lnTo>
                    <a:pt x="283" y="307"/>
                  </a:lnTo>
                  <a:lnTo>
                    <a:pt x="12" y="307"/>
                  </a:lnTo>
                  <a:lnTo>
                    <a:pt x="8" y="306"/>
                  </a:lnTo>
                  <a:lnTo>
                    <a:pt x="5" y="305"/>
                  </a:lnTo>
                  <a:lnTo>
                    <a:pt x="3" y="302"/>
                  </a:lnTo>
                  <a:lnTo>
                    <a:pt x="1" y="299"/>
                  </a:lnTo>
                  <a:lnTo>
                    <a:pt x="0" y="295"/>
                  </a:lnTo>
                  <a:lnTo>
                    <a:pt x="1" y="291"/>
                  </a:lnTo>
                  <a:lnTo>
                    <a:pt x="3" y="288"/>
                  </a:lnTo>
                  <a:lnTo>
                    <a:pt x="5" y="285"/>
                  </a:lnTo>
                  <a:lnTo>
                    <a:pt x="8" y="284"/>
                  </a:lnTo>
                  <a:lnTo>
                    <a:pt x="12" y="283"/>
                  </a:lnTo>
                  <a:lnTo>
                    <a:pt x="12" y="12"/>
                  </a:lnTo>
                  <a:lnTo>
                    <a:pt x="12" y="8"/>
                  </a:lnTo>
                  <a:lnTo>
                    <a:pt x="13" y="5"/>
                  </a:lnTo>
                  <a:lnTo>
                    <a:pt x="16" y="2"/>
                  </a:lnTo>
                  <a:lnTo>
                    <a:pt x="18" y="1"/>
                  </a:lnTo>
                  <a:lnTo>
                    <a:pt x="2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39">
              <a:extLst>
                <a:ext uri="{FF2B5EF4-FFF2-40B4-BE49-F238E27FC236}">
                  <a16:creationId xmlns:a16="http://schemas.microsoft.com/office/drawing/2014/main" id="{A4BB3D4A-556F-9F48-91F6-75DD1BF08E50}"/>
                </a:ext>
              </a:extLst>
            </p:cNvPr>
            <p:cNvSpPr>
              <a:spLocks noEditPoints="1"/>
            </p:cNvSpPr>
            <p:nvPr/>
          </p:nvSpPr>
          <p:spPr bwMode="auto">
            <a:xfrm>
              <a:off x="4997451" y="5235575"/>
              <a:ext cx="596900" cy="661988"/>
            </a:xfrm>
            <a:custGeom>
              <a:avLst/>
              <a:gdLst>
                <a:gd name="T0" fmla="*/ 237 w 376"/>
                <a:gd name="T1" fmla="*/ 300 h 417"/>
                <a:gd name="T2" fmla="*/ 168 w 376"/>
                <a:gd name="T3" fmla="*/ 277 h 417"/>
                <a:gd name="T4" fmla="*/ 187 w 376"/>
                <a:gd name="T5" fmla="*/ 315 h 417"/>
                <a:gd name="T6" fmla="*/ 206 w 376"/>
                <a:gd name="T7" fmla="*/ 277 h 417"/>
                <a:gd name="T8" fmla="*/ 138 w 376"/>
                <a:gd name="T9" fmla="*/ 300 h 417"/>
                <a:gd name="T10" fmla="*/ 115 w 376"/>
                <a:gd name="T11" fmla="*/ 277 h 417"/>
                <a:gd name="T12" fmla="*/ 236 w 376"/>
                <a:gd name="T13" fmla="*/ 252 h 417"/>
                <a:gd name="T14" fmla="*/ 274 w 376"/>
                <a:gd name="T15" fmla="*/ 214 h 417"/>
                <a:gd name="T16" fmla="*/ 162 w 376"/>
                <a:gd name="T17" fmla="*/ 214 h 417"/>
                <a:gd name="T18" fmla="*/ 211 w 376"/>
                <a:gd name="T19" fmla="*/ 252 h 417"/>
                <a:gd name="T20" fmla="*/ 162 w 376"/>
                <a:gd name="T21" fmla="*/ 201 h 417"/>
                <a:gd name="T22" fmla="*/ 100 w 376"/>
                <a:gd name="T23" fmla="*/ 240 h 417"/>
                <a:gd name="T24" fmla="*/ 138 w 376"/>
                <a:gd name="T25" fmla="*/ 215 h 417"/>
                <a:gd name="T26" fmla="*/ 229 w 376"/>
                <a:gd name="T27" fmla="*/ 161 h 417"/>
                <a:gd name="T28" fmla="*/ 237 w 376"/>
                <a:gd name="T29" fmla="*/ 154 h 417"/>
                <a:gd name="T30" fmla="*/ 125 w 376"/>
                <a:gd name="T31" fmla="*/ 164 h 417"/>
                <a:gd name="T32" fmla="*/ 151 w 376"/>
                <a:gd name="T33" fmla="*/ 147 h 417"/>
                <a:gd name="T34" fmla="*/ 173 w 376"/>
                <a:gd name="T35" fmla="*/ 160 h 417"/>
                <a:gd name="T36" fmla="*/ 197 w 376"/>
                <a:gd name="T37" fmla="*/ 148 h 417"/>
                <a:gd name="T38" fmla="*/ 213 w 376"/>
                <a:gd name="T39" fmla="*/ 116 h 417"/>
                <a:gd name="T40" fmla="*/ 289 w 376"/>
                <a:gd name="T41" fmla="*/ 177 h 417"/>
                <a:gd name="T42" fmla="*/ 289 w 376"/>
                <a:gd name="T43" fmla="*/ 278 h 417"/>
                <a:gd name="T44" fmla="*/ 213 w 376"/>
                <a:gd name="T45" fmla="*/ 338 h 417"/>
                <a:gd name="T46" fmla="*/ 117 w 376"/>
                <a:gd name="T47" fmla="*/ 316 h 417"/>
                <a:gd name="T48" fmla="*/ 74 w 376"/>
                <a:gd name="T49" fmla="*/ 227 h 417"/>
                <a:gd name="T50" fmla="*/ 117 w 376"/>
                <a:gd name="T51" fmla="*/ 139 h 417"/>
                <a:gd name="T52" fmla="*/ 183 w 376"/>
                <a:gd name="T53" fmla="*/ 0 h 417"/>
                <a:gd name="T54" fmla="*/ 199 w 376"/>
                <a:gd name="T55" fmla="*/ 15 h 417"/>
                <a:gd name="T56" fmla="*/ 222 w 376"/>
                <a:gd name="T57" fmla="*/ 40 h 417"/>
                <a:gd name="T58" fmla="*/ 332 w 376"/>
                <a:gd name="T59" fmla="*/ 105 h 417"/>
                <a:gd name="T60" fmla="*/ 376 w 376"/>
                <a:gd name="T61" fmla="*/ 227 h 417"/>
                <a:gd name="T62" fmla="*/ 332 w 376"/>
                <a:gd name="T63" fmla="*/ 350 h 417"/>
                <a:gd name="T64" fmla="*/ 222 w 376"/>
                <a:gd name="T65" fmla="*/ 414 h 417"/>
                <a:gd name="T66" fmla="*/ 96 w 376"/>
                <a:gd name="T67" fmla="*/ 393 h 417"/>
                <a:gd name="T68" fmla="*/ 14 w 376"/>
                <a:gd name="T69" fmla="*/ 303 h 417"/>
                <a:gd name="T70" fmla="*/ 2 w 376"/>
                <a:gd name="T71" fmla="*/ 233 h 417"/>
                <a:gd name="T72" fmla="*/ 15 w 376"/>
                <a:gd name="T73" fmla="*/ 227 h 417"/>
                <a:gd name="T74" fmla="*/ 24 w 376"/>
                <a:gd name="T75" fmla="*/ 240 h 417"/>
                <a:gd name="T76" fmla="*/ 75 w 376"/>
                <a:gd name="T77" fmla="*/ 348 h 417"/>
                <a:gd name="T78" fmla="*/ 187 w 376"/>
                <a:gd name="T79" fmla="*/ 391 h 417"/>
                <a:gd name="T80" fmla="*/ 292 w 376"/>
                <a:gd name="T81" fmla="*/ 353 h 417"/>
                <a:gd name="T82" fmla="*/ 347 w 376"/>
                <a:gd name="T83" fmla="*/ 257 h 417"/>
                <a:gd name="T84" fmla="*/ 327 w 376"/>
                <a:gd name="T85" fmla="*/ 144 h 417"/>
                <a:gd name="T86" fmla="*/ 244 w 376"/>
                <a:gd name="T87" fmla="*/ 72 h 417"/>
                <a:gd name="T88" fmla="*/ 196 w 376"/>
                <a:gd name="T89" fmla="*/ 79 h 417"/>
                <a:gd name="T90" fmla="*/ 194 w 376"/>
                <a:gd name="T91" fmla="*/ 98 h 417"/>
                <a:gd name="T92" fmla="*/ 181 w 376"/>
                <a:gd name="T93" fmla="*/ 98 h 417"/>
                <a:gd name="T94" fmla="*/ 138 w 376"/>
                <a:gd name="T95" fmla="*/ 46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6" h="417">
                  <a:moveTo>
                    <a:pt x="232" y="277"/>
                  </a:moveTo>
                  <a:lnTo>
                    <a:pt x="229" y="294"/>
                  </a:lnTo>
                  <a:lnTo>
                    <a:pt x="224" y="308"/>
                  </a:lnTo>
                  <a:lnTo>
                    <a:pt x="237" y="300"/>
                  </a:lnTo>
                  <a:lnTo>
                    <a:pt x="250" y="289"/>
                  </a:lnTo>
                  <a:lnTo>
                    <a:pt x="259" y="277"/>
                  </a:lnTo>
                  <a:lnTo>
                    <a:pt x="232" y="277"/>
                  </a:lnTo>
                  <a:close/>
                  <a:moveTo>
                    <a:pt x="168" y="277"/>
                  </a:moveTo>
                  <a:lnTo>
                    <a:pt x="173" y="294"/>
                  </a:lnTo>
                  <a:lnTo>
                    <a:pt x="178" y="306"/>
                  </a:lnTo>
                  <a:lnTo>
                    <a:pt x="183" y="313"/>
                  </a:lnTo>
                  <a:lnTo>
                    <a:pt x="187" y="315"/>
                  </a:lnTo>
                  <a:lnTo>
                    <a:pt x="192" y="313"/>
                  </a:lnTo>
                  <a:lnTo>
                    <a:pt x="197" y="306"/>
                  </a:lnTo>
                  <a:lnTo>
                    <a:pt x="202" y="294"/>
                  </a:lnTo>
                  <a:lnTo>
                    <a:pt x="206" y="277"/>
                  </a:lnTo>
                  <a:lnTo>
                    <a:pt x="168" y="277"/>
                  </a:lnTo>
                  <a:close/>
                  <a:moveTo>
                    <a:pt x="115" y="277"/>
                  </a:moveTo>
                  <a:lnTo>
                    <a:pt x="125" y="289"/>
                  </a:lnTo>
                  <a:lnTo>
                    <a:pt x="138" y="300"/>
                  </a:lnTo>
                  <a:lnTo>
                    <a:pt x="151" y="308"/>
                  </a:lnTo>
                  <a:lnTo>
                    <a:pt x="146" y="294"/>
                  </a:lnTo>
                  <a:lnTo>
                    <a:pt x="142" y="277"/>
                  </a:lnTo>
                  <a:lnTo>
                    <a:pt x="115" y="277"/>
                  </a:lnTo>
                  <a:close/>
                  <a:moveTo>
                    <a:pt x="236" y="201"/>
                  </a:moveTo>
                  <a:lnTo>
                    <a:pt x="237" y="215"/>
                  </a:lnTo>
                  <a:lnTo>
                    <a:pt x="237" y="227"/>
                  </a:lnTo>
                  <a:lnTo>
                    <a:pt x="236" y="252"/>
                  </a:lnTo>
                  <a:lnTo>
                    <a:pt x="271" y="252"/>
                  </a:lnTo>
                  <a:lnTo>
                    <a:pt x="274" y="240"/>
                  </a:lnTo>
                  <a:lnTo>
                    <a:pt x="275" y="227"/>
                  </a:lnTo>
                  <a:lnTo>
                    <a:pt x="274" y="214"/>
                  </a:lnTo>
                  <a:lnTo>
                    <a:pt x="271" y="201"/>
                  </a:lnTo>
                  <a:lnTo>
                    <a:pt x="236" y="201"/>
                  </a:lnTo>
                  <a:close/>
                  <a:moveTo>
                    <a:pt x="162" y="201"/>
                  </a:moveTo>
                  <a:lnTo>
                    <a:pt x="162" y="214"/>
                  </a:lnTo>
                  <a:lnTo>
                    <a:pt x="161" y="227"/>
                  </a:lnTo>
                  <a:lnTo>
                    <a:pt x="162" y="240"/>
                  </a:lnTo>
                  <a:lnTo>
                    <a:pt x="162" y="252"/>
                  </a:lnTo>
                  <a:lnTo>
                    <a:pt x="211" y="252"/>
                  </a:lnTo>
                  <a:lnTo>
                    <a:pt x="212" y="227"/>
                  </a:lnTo>
                  <a:lnTo>
                    <a:pt x="212" y="214"/>
                  </a:lnTo>
                  <a:lnTo>
                    <a:pt x="211" y="201"/>
                  </a:lnTo>
                  <a:lnTo>
                    <a:pt x="162" y="201"/>
                  </a:lnTo>
                  <a:close/>
                  <a:moveTo>
                    <a:pt x="103" y="201"/>
                  </a:moveTo>
                  <a:lnTo>
                    <a:pt x="100" y="214"/>
                  </a:lnTo>
                  <a:lnTo>
                    <a:pt x="99" y="227"/>
                  </a:lnTo>
                  <a:lnTo>
                    <a:pt x="100" y="240"/>
                  </a:lnTo>
                  <a:lnTo>
                    <a:pt x="103" y="252"/>
                  </a:lnTo>
                  <a:lnTo>
                    <a:pt x="139" y="252"/>
                  </a:lnTo>
                  <a:lnTo>
                    <a:pt x="137" y="227"/>
                  </a:lnTo>
                  <a:lnTo>
                    <a:pt x="138" y="215"/>
                  </a:lnTo>
                  <a:lnTo>
                    <a:pt x="139" y="201"/>
                  </a:lnTo>
                  <a:lnTo>
                    <a:pt x="103" y="201"/>
                  </a:lnTo>
                  <a:close/>
                  <a:moveTo>
                    <a:pt x="224" y="147"/>
                  </a:moveTo>
                  <a:lnTo>
                    <a:pt x="229" y="161"/>
                  </a:lnTo>
                  <a:lnTo>
                    <a:pt x="232" y="176"/>
                  </a:lnTo>
                  <a:lnTo>
                    <a:pt x="259" y="176"/>
                  </a:lnTo>
                  <a:lnTo>
                    <a:pt x="250" y="164"/>
                  </a:lnTo>
                  <a:lnTo>
                    <a:pt x="237" y="154"/>
                  </a:lnTo>
                  <a:lnTo>
                    <a:pt x="224" y="147"/>
                  </a:lnTo>
                  <a:close/>
                  <a:moveTo>
                    <a:pt x="151" y="147"/>
                  </a:moveTo>
                  <a:lnTo>
                    <a:pt x="138" y="154"/>
                  </a:lnTo>
                  <a:lnTo>
                    <a:pt x="125" y="164"/>
                  </a:lnTo>
                  <a:lnTo>
                    <a:pt x="115" y="176"/>
                  </a:lnTo>
                  <a:lnTo>
                    <a:pt x="142" y="176"/>
                  </a:lnTo>
                  <a:lnTo>
                    <a:pt x="146" y="161"/>
                  </a:lnTo>
                  <a:lnTo>
                    <a:pt x="151" y="147"/>
                  </a:lnTo>
                  <a:close/>
                  <a:moveTo>
                    <a:pt x="187" y="138"/>
                  </a:moveTo>
                  <a:lnTo>
                    <a:pt x="183" y="141"/>
                  </a:lnTo>
                  <a:lnTo>
                    <a:pt x="178" y="148"/>
                  </a:lnTo>
                  <a:lnTo>
                    <a:pt x="173" y="160"/>
                  </a:lnTo>
                  <a:lnTo>
                    <a:pt x="168" y="176"/>
                  </a:lnTo>
                  <a:lnTo>
                    <a:pt x="206" y="176"/>
                  </a:lnTo>
                  <a:lnTo>
                    <a:pt x="202" y="160"/>
                  </a:lnTo>
                  <a:lnTo>
                    <a:pt x="197" y="148"/>
                  </a:lnTo>
                  <a:lnTo>
                    <a:pt x="192" y="141"/>
                  </a:lnTo>
                  <a:lnTo>
                    <a:pt x="187" y="138"/>
                  </a:lnTo>
                  <a:close/>
                  <a:moveTo>
                    <a:pt x="187" y="113"/>
                  </a:moveTo>
                  <a:lnTo>
                    <a:pt x="213" y="116"/>
                  </a:lnTo>
                  <a:lnTo>
                    <a:pt x="237" y="125"/>
                  </a:lnTo>
                  <a:lnTo>
                    <a:pt x="258" y="139"/>
                  </a:lnTo>
                  <a:lnTo>
                    <a:pt x="276" y="157"/>
                  </a:lnTo>
                  <a:lnTo>
                    <a:pt x="289" y="177"/>
                  </a:lnTo>
                  <a:lnTo>
                    <a:pt x="297" y="201"/>
                  </a:lnTo>
                  <a:lnTo>
                    <a:pt x="301" y="227"/>
                  </a:lnTo>
                  <a:lnTo>
                    <a:pt x="297" y="254"/>
                  </a:lnTo>
                  <a:lnTo>
                    <a:pt x="289" y="278"/>
                  </a:lnTo>
                  <a:lnTo>
                    <a:pt x="276" y="299"/>
                  </a:lnTo>
                  <a:lnTo>
                    <a:pt x="258" y="316"/>
                  </a:lnTo>
                  <a:lnTo>
                    <a:pt x="237" y="330"/>
                  </a:lnTo>
                  <a:lnTo>
                    <a:pt x="213" y="338"/>
                  </a:lnTo>
                  <a:lnTo>
                    <a:pt x="187" y="341"/>
                  </a:lnTo>
                  <a:lnTo>
                    <a:pt x="161" y="338"/>
                  </a:lnTo>
                  <a:lnTo>
                    <a:pt x="138" y="330"/>
                  </a:lnTo>
                  <a:lnTo>
                    <a:pt x="117" y="316"/>
                  </a:lnTo>
                  <a:lnTo>
                    <a:pt x="99" y="299"/>
                  </a:lnTo>
                  <a:lnTo>
                    <a:pt x="86" y="278"/>
                  </a:lnTo>
                  <a:lnTo>
                    <a:pt x="77" y="254"/>
                  </a:lnTo>
                  <a:lnTo>
                    <a:pt x="74" y="227"/>
                  </a:lnTo>
                  <a:lnTo>
                    <a:pt x="77" y="201"/>
                  </a:lnTo>
                  <a:lnTo>
                    <a:pt x="86" y="177"/>
                  </a:lnTo>
                  <a:lnTo>
                    <a:pt x="99" y="157"/>
                  </a:lnTo>
                  <a:lnTo>
                    <a:pt x="117" y="139"/>
                  </a:lnTo>
                  <a:lnTo>
                    <a:pt x="138" y="125"/>
                  </a:lnTo>
                  <a:lnTo>
                    <a:pt x="161" y="116"/>
                  </a:lnTo>
                  <a:lnTo>
                    <a:pt x="187" y="113"/>
                  </a:lnTo>
                  <a:close/>
                  <a:moveTo>
                    <a:pt x="183" y="0"/>
                  </a:moveTo>
                  <a:lnTo>
                    <a:pt x="191" y="0"/>
                  </a:lnTo>
                  <a:lnTo>
                    <a:pt x="196" y="3"/>
                  </a:lnTo>
                  <a:lnTo>
                    <a:pt x="199" y="8"/>
                  </a:lnTo>
                  <a:lnTo>
                    <a:pt x="199" y="15"/>
                  </a:lnTo>
                  <a:lnTo>
                    <a:pt x="196" y="21"/>
                  </a:lnTo>
                  <a:lnTo>
                    <a:pt x="179" y="37"/>
                  </a:lnTo>
                  <a:lnTo>
                    <a:pt x="187" y="37"/>
                  </a:lnTo>
                  <a:lnTo>
                    <a:pt x="222" y="40"/>
                  </a:lnTo>
                  <a:lnTo>
                    <a:pt x="253" y="49"/>
                  </a:lnTo>
                  <a:lnTo>
                    <a:pt x="283" y="63"/>
                  </a:lnTo>
                  <a:lnTo>
                    <a:pt x="309" y="82"/>
                  </a:lnTo>
                  <a:lnTo>
                    <a:pt x="332" y="105"/>
                  </a:lnTo>
                  <a:lnTo>
                    <a:pt x="350" y="132"/>
                  </a:lnTo>
                  <a:lnTo>
                    <a:pt x="364" y="161"/>
                  </a:lnTo>
                  <a:lnTo>
                    <a:pt x="373" y="193"/>
                  </a:lnTo>
                  <a:lnTo>
                    <a:pt x="376" y="227"/>
                  </a:lnTo>
                  <a:lnTo>
                    <a:pt x="373" y="261"/>
                  </a:lnTo>
                  <a:lnTo>
                    <a:pt x="364" y="294"/>
                  </a:lnTo>
                  <a:lnTo>
                    <a:pt x="350" y="324"/>
                  </a:lnTo>
                  <a:lnTo>
                    <a:pt x="332" y="350"/>
                  </a:lnTo>
                  <a:lnTo>
                    <a:pt x="309" y="372"/>
                  </a:lnTo>
                  <a:lnTo>
                    <a:pt x="283" y="391"/>
                  </a:lnTo>
                  <a:lnTo>
                    <a:pt x="253" y="406"/>
                  </a:lnTo>
                  <a:lnTo>
                    <a:pt x="222" y="414"/>
                  </a:lnTo>
                  <a:lnTo>
                    <a:pt x="187" y="417"/>
                  </a:lnTo>
                  <a:lnTo>
                    <a:pt x="155" y="415"/>
                  </a:lnTo>
                  <a:lnTo>
                    <a:pt x="125" y="407"/>
                  </a:lnTo>
                  <a:lnTo>
                    <a:pt x="96" y="393"/>
                  </a:lnTo>
                  <a:lnTo>
                    <a:pt x="71" y="377"/>
                  </a:lnTo>
                  <a:lnTo>
                    <a:pt x="48" y="355"/>
                  </a:lnTo>
                  <a:lnTo>
                    <a:pt x="30" y="330"/>
                  </a:lnTo>
                  <a:lnTo>
                    <a:pt x="14" y="303"/>
                  </a:lnTo>
                  <a:lnTo>
                    <a:pt x="5" y="273"/>
                  </a:lnTo>
                  <a:lnTo>
                    <a:pt x="0" y="241"/>
                  </a:lnTo>
                  <a:lnTo>
                    <a:pt x="0" y="236"/>
                  </a:lnTo>
                  <a:lnTo>
                    <a:pt x="2" y="233"/>
                  </a:lnTo>
                  <a:lnTo>
                    <a:pt x="4" y="230"/>
                  </a:lnTo>
                  <a:lnTo>
                    <a:pt x="7" y="228"/>
                  </a:lnTo>
                  <a:lnTo>
                    <a:pt x="11" y="227"/>
                  </a:lnTo>
                  <a:lnTo>
                    <a:pt x="15" y="227"/>
                  </a:lnTo>
                  <a:lnTo>
                    <a:pt x="18" y="229"/>
                  </a:lnTo>
                  <a:lnTo>
                    <a:pt x="21" y="231"/>
                  </a:lnTo>
                  <a:lnTo>
                    <a:pt x="23" y="235"/>
                  </a:lnTo>
                  <a:lnTo>
                    <a:pt x="24" y="240"/>
                  </a:lnTo>
                  <a:lnTo>
                    <a:pt x="29" y="271"/>
                  </a:lnTo>
                  <a:lnTo>
                    <a:pt x="40" y="299"/>
                  </a:lnTo>
                  <a:lnTo>
                    <a:pt x="56" y="325"/>
                  </a:lnTo>
                  <a:lnTo>
                    <a:pt x="75" y="348"/>
                  </a:lnTo>
                  <a:lnTo>
                    <a:pt x="99" y="366"/>
                  </a:lnTo>
                  <a:lnTo>
                    <a:pt x="126" y="380"/>
                  </a:lnTo>
                  <a:lnTo>
                    <a:pt x="156" y="388"/>
                  </a:lnTo>
                  <a:lnTo>
                    <a:pt x="187" y="391"/>
                  </a:lnTo>
                  <a:lnTo>
                    <a:pt x="216" y="389"/>
                  </a:lnTo>
                  <a:lnTo>
                    <a:pt x="244" y="381"/>
                  </a:lnTo>
                  <a:lnTo>
                    <a:pt x="269" y="369"/>
                  </a:lnTo>
                  <a:lnTo>
                    <a:pt x="292" y="353"/>
                  </a:lnTo>
                  <a:lnTo>
                    <a:pt x="312" y="333"/>
                  </a:lnTo>
                  <a:lnTo>
                    <a:pt x="327" y="310"/>
                  </a:lnTo>
                  <a:lnTo>
                    <a:pt x="340" y="284"/>
                  </a:lnTo>
                  <a:lnTo>
                    <a:pt x="347" y="257"/>
                  </a:lnTo>
                  <a:lnTo>
                    <a:pt x="350" y="227"/>
                  </a:lnTo>
                  <a:lnTo>
                    <a:pt x="347" y="198"/>
                  </a:lnTo>
                  <a:lnTo>
                    <a:pt x="340" y="170"/>
                  </a:lnTo>
                  <a:lnTo>
                    <a:pt x="327" y="144"/>
                  </a:lnTo>
                  <a:lnTo>
                    <a:pt x="312" y="121"/>
                  </a:lnTo>
                  <a:lnTo>
                    <a:pt x="292" y="102"/>
                  </a:lnTo>
                  <a:lnTo>
                    <a:pt x="269" y="85"/>
                  </a:lnTo>
                  <a:lnTo>
                    <a:pt x="244" y="72"/>
                  </a:lnTo>
                  <a:lnTo>
                    <a:pt x="216" y="65"/>
                  </a:lnTo>
                  <a:lnTo>
                    <a:pt x="187" y="62"/>
                  </a:lnTo>
                  <a:lnTo>
                    <a:pt x="179" y="62"/>
                  </a:lnTo>
                  <a:lnTo>
                    <a:pt x="196" y="79"/>
                  </a:lnTo>
                  <a:lnTo>
                    <a:pt x="199" y="85"/>
                  </a:lnTo>
                  <a:lnTo>
                    <a:pt x="199" y="91"/>
                  </a:lnTo>
                  <a:lnTo>
                    <a:pt x="196" y="96"/>
                  </a:lnTo>
                  <a:lnTo>
                    <a:pt x="194" y="98"/>
                  </a:lnTo>
                  <a:lnTo>
                    <a:pt x="191" y="99"/>
                  </a:lnTo>
                  <a:lnTo>
                    <a:pt x="187" y="100"/>
                  </a:lnTo>
                  <a:lnTo>
                    <a:pt x="184" y="99"/>
                  </a:lnTo>
                  <a:lnTo>
                    <a:pt x="181" y="98"/>
                  </a:lnTo>
                  <a:lnTo>
                    <a:pt x="178" y="96"/>
                  </a:lnTo>
                  <a:lnTo>
                    <a:pt x="141" y="59"/>
                  </a:lnTo>
                  <a:lnTo>
                    <a:pt x="138" y="53"/>
                  </a:lnTo>
                  <a:lnTo>
                    <a:pt x="138" y="46"/>
                  </a:lnTo>
                  <a:lnTo>
                    <a:pt x="141" y="41"/>
                  </a:lnTo>
                  <a:lnTo>
                    <a:pt x="178" y="3"/>
                  </a:lnTo>
                  <a:lnTo>
                    <a:pt x="18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40">
              <a:extLst>
                <a:ext uri="{FF2B5EF4-FFF2-40B4-BE49-F238E27FC236}">
                  <a16:creationId xmlns:a16="http://schemas.microsoft.com/office/drawing/2014/main" id="{E259A7D8-FEBB-124D-A7DD-2183FB2777F2}"/>
                </a:ext>
              </a:extLst>
            </p:cNvPr>
            <p:cNvSpPr>
              <a:spLocks noEditPoints="1"/>
            </p:cNvSpPr>
            <p:nvPr/>
          </p:nvSpPr>
          <p:spPr bwMode="auto">
            <a:xfrm>
              <a:off x="4143376" y="546100"/>
              <a:ext cx="858838" cy="950913"/>
            </a:xfrm>
            <a:custGeom>
              <a:avLst/>
              <a:gdLst>
                <a:gd name="T0" fmla="*/ 341 w 541"/>
                <a:gd name="T1" fmla="*/ 431 h 599"/>
                <a:gd name="T2" fmla="*/ 241 w 541"/>
                <a:gd name="T3" fmla="*/ 398 h 599"/>
                <a:gd name="T4" fmla="*/ 266 w 541"/>
                <a:gd name="T5" fmla="*/ 451 h 599"/>
                <a:gd name="T6" fmla="*/ 285 w 541"/>
                <a:gd name="T7" fmla="*/ 433 h 599"/>
                <a:gd name="T8" fmla="*/ 165 w 541"/>
                <a:gd name="T9" fmla="*/ 398 h 599"/>
                <a:gd name="T10" fmla="*/ 211 w 541"/>
                <a:gd name="T11" fmla="*/ 422 h 599"/>
                <a:gd name="T12" fmla="*/ 340 w 541"/>
                <a:gd name="T13" fmla="*/ 307 h 599"/>
                <a:gd name="T14" fmla="*/ 390 w 541"/>
                <a:gd name="T15" fmla="*/ 362 h 599"/>
                <a:gd name="T16" fmla="*/ 390 w 541"/>
                <a:gd name="T17" fmla="*/ 289 h 599"/>
                <a:gd name="T18" fmla="*/ 232 w 541"/>
                <a:gd name="T19" fmla="*/ 326 h 599"/>
                <a:gd name="T20" fmla="*/ 305 w 541"/>
                <a:gd name="T21" fmla="*/ 345 h 599"/>
                <a:gd name="T22" fmla="*/ 235 w 541"/>
                <a:gd name="T23" fmla="*/ 289 h 599"/>
                <a:gd name="T24" fmla="*/ 144 w 541"/>
                <a:gd name="T25" fmla="*/ 345 h 599"/>
                <a:gd name="T26" fmla="*/ 197 w 541"/>
                <a:gd name="T27" fmla="*/ 326 h 599"/>
                <a:gd name="T28" fmla="*/ 323 w 541"/>
                <a:gd name="T29" fmla="*/ 211 h 599"/>
                <a:gd name="T30" fmla="*/ 358 w 541"/>
                <a:gd name="T31" fmla="*/ 236 h 599"/>
                <a:gd name="T32" fmla="*/ 198 w 541"/>
                <a:gd name="T33" fmla="*/ 221 h 599"/>
                <a:gd name="T34" fmla="*/ 211 w 541"/>
                <a:gd name="T35" fmla="*/ 231 h 599"/>
                <a:gd name="T36" fmla="*/ 259 w 541"/>
                <a:gd name="T37" fmla="*/ 208 h 599"/>
                <a:gd name="T38" fmla="*/ 297 w 541"/>
                <a:gd name="T39" fmla="*/ 253 h 599"/>
                <a:gd name="T40" fmla="*/ 275 w 541"/>
                <a:gd name="T41" fmla="*/ 201 h 599"/>
                <a:gd name="T42" fmla="*/ 327 w 541"/>
                <a:gd name="T43" fmla="*/ 174 h 599"/>
                <a:gd name="T44" fmla="*/ 410 w 541"/>
                <a:gd name="T45" fmla="*/ 244 h 599"/>
                <a:gd name="T46" fmla="*/ 430 w 541"/>
                <a:gd name="T47" fmla="*/ 356 h 599"/>
                <a:gd name="T48" fmla="*/ 375 w 541"/>
                <a:gd name="T49" fmla="*/ 452 h 599"/>
                <a:gd name="T50" fmla="*/ 270 w 541"/>
                <a:gd name="T51" fmla="*/ 490 h 599"/>
                <a:gd name="T52" fmla="*/ 166 w 541"/>
                <a:gd name="T53" fmla="*/ 452 h 599"/>
                <a:gd name="T54" fmla="*/ 110 w 541"/>
                <a:gd name="T55" fmla="*/ 356 h 599"/>
                <a:gd name="T56" fmla="*/ 130 w 541"/>
                <a:gd name="T57" fmla="*/ 244 h 599"/>
                <a:gd name="T58" fmla="*/ 214 w 541"/>
                <a:gd name="T59" fmla="*/ 174 h 599"/>
                <a:gd name="T60" fmla="*/ 281 w 541"/>
                <a:gd name="T61" fmla="*/ 4 h 599"/>
                <a:gd name="T62" fmla="*/ 258 w 541"/>
                <a:gd name="T63" fmla="*/ 53 h 599"/>
                <a:gd name="T64" fmla="*/ 384 w 541"/>
                <a:gd name="T65" fmla="*/ 79 h 599"/>
                <a:gd name="T66" fmla="*/ 496 w 541"/>
                <a:gd name="T67" fmla="*/ 178 h 599"/>
                <a:gd name="T68" fmla="*/ 541 w 541"/>
                <a:gd name="T69" fmla="*/ 326 h 599"/>
                <a:gd name="T70" fmla="*/ 496 w 541"/>
                <a:gd name="T71" fmla="*/ 475 h 599"/>
                <a:gd name="T72" fmla="*/ 384 w 541"/>
                <a:gd name="T73" fmla="*/ 574 h 599"/>
                <a:gd name="T74" fmla="*/ 228 w 541"/>
                <a:gd name="T75" fmla="*/ 596 h 599"/>
                <a:gd name="T76" fmla="*/ 85 w 541"/>
                <a:gd name="T77" fmla="*/ 525 h 599"/>
                <a:gd name="T78" fmla="*/ 6 w 541"/>
                <a:gd name="T79" fmla="*/ 386 h 599"/>
                <a:gd name="T80" fmla="*/ 17 w 541"/>
                <a:gd name="T81" fmla="*/ 326 h 599"/>
                <a:gd name="T82" fmla="*/ 41 w 541"/>
                <a:gd name="T83" fmla="*/ 379 h 599"/>
                <a:gd name="T84" fmla="*/ 110 w 541"/>
                <a:gd name="T85" fmla="*/ 498 h 599"/>
                <a:gd name="T86" fmla="*/ 234 w 541"/>
                <a:gd name="T87" fmla="*/ 559 h 599"/>
                <a:gd name="T88" fmla="*/ 377 w 541"/>
                <a:gd name="T89" fmla="*/ 536 h 599"/>
                <a:gd name="T90" fmla="*/ 477 w 541"/>
                <a:gd name="T91" fmla="*/ 434 h 599"/>
                <a:gd name="T92" fmla="*/ 500 w 541"/>
                <a:gd name="T93" fmla="*/ 288 h 599"/>
                <a:gd name="T94" fmla="*/ 435 w 541"/>
                <a:gd name="T95" fmla="*/ 159 h 599"/>
                <a:gd name="T96" fmla="*/ 307 w 541"/>
                <a:gd name="T97" fmla="*/ 93 h 599"/>
                <a:gd name="T98" fmla="*/ 286 w 541"/>
                <a:gd name="T99" fmla="*/ 122 h 599"/>
                <a:gd name="T100" fmla="*/ 276 w 541"/>
                <a:gd name="T101" fmla="*/ 142 h 599"/>
                <a:gd name="T102" fmla="*/ 263 w 541"/>
                <a:gd name="T103" fmla="*/ 142 h 599"/>
                <a:gd name="T104" fmla="*/ 198 w 541"/>
                <a:gd name="T105" fmla="*/ 76 h 599"/>
                <a:gd name="T106" fmla="*/ 265 w 541"/>
                <a:gd name="T10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1" h="599">
                  <a:moveTo>
                    <a:pt x="334" y="398"/>
                  </a:moveTo>
                  <a:lnTo>
                    <a:pt x="329" y="422"/>
                  </a:lnTo>
                  <a:lnTo>
                    <a:pt x="323" y="442"/>
                  </a:lnTo>
                  <a:lnTo>
                    <a:pt x="341" y="431"/>
                  </a:lnTo>
                  <a:lnTo>
                    <a:pt x="358" y="415"/>
                  </a:lnTo>
                  <a:lnTo>
                    <a:pt x="373" y="398"/>
                  </a:lnTo>
                  <a:lnTo>
                    <a:pt x="334" y="398"/>
                  </a:lnTo>
                  <a:close/>
                  <a:moveTo>
                    <a:pt x="241" y="398"/>
                  </a:moveTo>
                  <a:lnTo>
                    <a:pt x="247" y="418"/>
                  </a:lnTo>
                  <a:lnTo>
                    <a:pt x="253" y="433"/>
                  </a:lnTo>
                  <a:lnTo>
                    <a:pt x="259" y="443"/>
                  </a:lnTo>
                  <a:lnTo>
                    <a:pt x="266" y="451"/>
                  </a:lnTo>
                  <a:lnTo>
                    <a:pt x="270" y="453"/>
                  </a:lnTo>
                  <a:lnTo>
                    <a:pt x="275" y="451"/>
                  </a:lnTo>
                  <a:lnTo>
                    <a:pt x="280" y="443"/>
                  </a:lnTo>
                  <a:lnTo>
                    <a:pt x="285" y="433"/>
                  </a:lnTo>
                  <a:lnTo>
                    <a:pt x="292" y="418"/>
                  </a:lnTo>
                  <a:lnTo>
                    <a:pt x="297" y="398"/>
                  </a:lnTo>
                  <a:lnTo>
                    <a:pt x="241" y="398"/>
                  </a:lnTo>
                  <a:close/>
                  <a:moveTo>
                    <a:pt x="165" y="398"/>
                  </a:moveTo>
                  <a:lnTo>
                    <a:pt x="181" y="415"/>
                  </a:lnTo>
                  <a:lnTo>
                    <a:pt x="198" y="431"/>
                  </a:lnTo>
                  <a:lnTo>
                    <a:pt x="218" y="442"/>
                  </a:lnTo>
                  <a:lnTo>
                    <a:pt x="211" y="422"/>
                  </a:lnTo>
                  <a:lnTo>
                    <a:pt x="204" y="398"/>
                  </a:lnTo>
                  <a:lnTo>
                    <a:pt x="165" y="398"/>
                  </a:lnTo>
                  <a:close/>
                  <a:moveTo>
                    <a:pt x="339" y="289"/>
                  </a:moveTo>
                  <a:lnTo>
                    <a:pt x="340" y="307"/>
                  </a:lnTo>
                  <a:lnTo>
                    <a:pt x="340" y="326"/>
                  </a:lnTo>
                  <a:lnTo>
                    <a:pt x="340" y="345"/>
                  </a:lnTo>
                  <a:lnTo>
                    <a:pt x="339" y="362"/>
                  </a:lnTo>
                  <a:lnTo>
                    <a:pt x="390" y="362"/>
                  </a:lnTo>
                  <a:lnTo>
                    <a:pt x="393" y="345"/>
                  </a:lnTo>
                  <a:lnTo>
                    <a:pt x="395" y="326"/>
                  </a:lnTo>
                  <a:lnTo>
                    <a:pt x="393" y="307"/>
                  </a:lnTo>
                  <a:lnTo>
                    <a:pt x="390" y="289"/>
                  </a:lnTo>
                  <a:lnTo>
                    <a:pt x="339" y="289"/>
                  </a:lnTo>
                  <a:close/>
                  <a:moveTo>
                    <a:pt x="235" y="289"/>
                  </a:moveTo>
                  <a:lnTo>
                    <a:pt x="234" y="307"/>
                  </a:lnTo>
                  <a:lnTo>
                    <a:pt x="232" y="326"/>
                  </a:lnTo>
                  <a:lnTo>
                    <a:pt x="234" y="345"/>
                  </a:lnTo>
                  <a:lnTo>
                    <a:pt x="235" y="362"/>
                  </a:lnTo>
                  <a:lnTo>
                    <a:pt x="304" y="362"/>
                  </a:lnTo>
                  <a:lnTo>
                    <a:pt x="305" y="345"/>
                  </a:lnTo>
                  <a:lnTo>
                    <a:pt x="305" y="326"/>
                  </a:lnTo>
                  <a:lnTo>
                    <a:pt x="305" y="307"/>
                  </a:lnTo>
                  <a:lnTo>
                    <a:pt x="304" y="289"/>
                  </a:lnTo>
                  <a:lnTo>
                    <a:pt x="235" y="289"/>
                  </a:lnTo>
                  <a:close/>
                  <a:moveTo>
                    <a:pt x="148" y="289"/>
                  </a:moveTo>
                  <a:lnTo>
                    <a:pt x="144" y="307"/>
                  </a:lnTo>
                  <a:lnTo>
                    <a:pt x="143" y="326"/>
                  </a:lnTo>
                  <a:lnTo>
                    <a:pt x="144" y="345"/>
                  </a:lnTo>
                  <a:lnTo>
                    <a:pt x="148" y="362"/>
                  </a:lnTo>
                  <a:lnTo>
                    <a:pt x="199" y="362"/>
                  </a:lnTo>
                  <a:lnTo>
                    <a:pt x="197" y="345"/>
                  </a:lnTo>
                  <a:lnTo>
                    <a:pt x="197" y="326"/>
                  </a:lnTo>
                  <a:lnTo>
                    <a:pt x="197" y="307"/>
                  </a:lnTo>
                  <a:lnTo>
                    <a:pt x="199" y="289"/>
                  </a:lnTo>
                  <a:lnTo>
                    <a:pt x="148" y="289"/>
                  </a:lnTo>
                  <a:close/>
                  <a:moveTo>
                    <a:pt x="323" y="211"/>
                  </a:moveTo>
                  <a:lnTo>
                    <a:pt x="329" y="231"/>
                  </a:lnTo>
                  <a:lnTo>
                    <a:pt x="334" y="253"/>
                  </a:lnTo>
                  <a:lnTo>
                    <a:pt x="373" y="253"/>
                  </a:lnTo>
                  <a:lnTo>
                    <a:pt x="358" y="236"/>
                  </a:lnTo>
                  <a:lnTo>
                    <a:pt x="341" y="221"/>
                  </a:lnTo>
                  <a:lnTo>
                    <a:pt x="323" y="211"/>
                  </a:lnTo>
                  <a:close/>
                  <a:moveTo>
                    <a:pt x="218" y="211"/>
                  </a:moveTo>
                  <a:lnTo>
                    <a:pt x="198" y="221"/>
                  </a:lnTo>
                  <a:lnTo>
                    <a:pt x="181" y="236"/>
                  </a:lnTo>
                  <a:lnTo>
                    <a:pt x="165" y="253"/>
                  </a:lnTo>
                  <a:lnTo>
                    <a:pt x="204" y="253"/>
                  </a:lnTo>
                  <a:lnTo>
                    <a:pt x="211" y="231"/>
                  </a:lnTo>
                  <a:lnTo>
                    <a:pt x="218" y="211"/>
                  </a:lnTo>
                  <a:close/>
                  <a:moveTo>
                    <a:pt x="270" y="198"/>
                  </a:moveTo>
                  <a:lnTo>
                    <a:pt x="266" y="201"/>
                  </a:lnTo>
                  <a:lnTo>
                    <a:pt x="259" y="208"/>
                  </a:lnTo>
                  <a:lnTo>
                    <a:pt x="253" y="218"/>
                  </a:lnTo>
                  <a:lnTo>
                    <a:pt x="247" y="234"/>
                  </a:lnTo>
                  <a:lnTo>
                    <a:pt x="241" y="253"/>
                  </a:lnTo>
                  <a:lnTo>
                    <a:pt x="297" y="253"/>
                  </a:lnTo>
                  <a:lnTo>
                    <a:pt x="292" y="234"/>
                  </a:lnTo>
                  <a:lnTo>
                    <a:pt x="285" y="218"/>
                  </a:lnTo>
                  <a:lnTo>
                    <a:pt x="280" y="208"/>
                  </a:lnTo>
                  <a:lnTo>
                    <a:pt x="275" y="201"/>
                  </a:lnTo>
                  <a:lnTo>
                    <a:pt x="270" y="198"/>
                  </a:lnTo>
                  <a:close/>
                  <a:moveTo>
                    <a:pt x="270" y="163"/>
                  </a:moveTo>
                  <a:lnTo>
                    <a:pt x="299" y="165"/>
                  </a:lnTo>
                  <a:lnTo>
                    <a:pt x="327" y="174"/>
                  </a:lnTo>
                  <a:lnTo>
                    <a:pt x="352" y="185"/>
                  </a:lnTo>
                  <a:lnTo>
                    <a:pt x="375" y="202"/>
                  </a:lnTo>
                  <a:lnTo>
                    <a:pt x="394" y="221"/>
                  </a:lnTo>
                  <a:lnTo>
                    <a:pt x="410" y="244"/>
                  </a:lnTo>
                  <a:lnTo>
                    <a:pt x="422" y="269"/>
                  </a:lnTo>
                  <a:lnTo>
                    <a:pt x="430" y="297"/>
                  </a:lnTo>
                  <a:lnTo>
                    <a:pt x="432" y="326"/>
                  </a:lnTo>
                  <a:lnTo>
                    <a:pt x="430" y="356"/>
                  </a:lnTo>
                  <a:lnTo>
                    <a:pt x="422" y="383"/>
                  </a:lnTo>
                  <a:lnTo>
                    <a:pt x="410" y="409"/>
                  </a:lnTo>
                  <a:lnTo>
                    <a:pt x="394" y="432"/>
                  </a:lnTo>
                  <a:lnTo>
                    <a:pt x="375" y="452"/>
                  </a:lnTo>
                  <a:lnTo>
                    <a:pt x="352" y="468"/>
                  </a:lnTo>
                  <a:lnTo>
                    <a:pt x="327" y="480"/>
                  </a:lnTo>
                  <a:lnTo>
                    <a:pt x="299" y="488"/>
                  </a:lnTo>
                  <a:lnTo>
                    <a:pt x="270" y="490"/>
                  </a:lnTo>
                  <a:lnTo>
                    <a:pt x="241" y="488"/>
                  </a:lnTo>
                  <a:lnTo>
                    <a:pt x="214" y="480"/>
                  </a:lnTo>
                  <a:lnTo>
                    <a:pt x="188" y="468"/>
                  </a:lnTo>
                  <a:lnTo>
                    <a:pt x="166" y="452"/>
                  </a:lnTo>
                  <a:lnTo>
                    <a:pt x="146" y="432"/>
                  </a:lnTo>
                  <a:lnTo>
                    <a:pt x="130" y="409"/>
                  </a:lnTo>
                  <a:lnTo>
                    <a:pt x="118" y="383"/>
                  </a:lnTo>
                  <a:lnTo>
                    <a:pt x="110" y="356"/>
                  </a:lnTo>
                  <a:lnTo>
                    <a:pt x="108" y="326"/>
                  </a:lnTo>
                  <a:lnTo>
                    <a:pt x="110" y="297"/>
                  </a:lnTo>
                  <a:lnTo>
                    <a:pt x="118" y="269"/>
                  </a:lnTo>
                  <a:lnTo>
                    <a:pt x="130" y="244"/>
                  </a:lnTo>
                  <a:lnTo>
                    <a:pt x="146" y="221"/>
                  </a:lnTo>
                  <a:lnTo>
                    <a:pt x="166" y="202"/>
                  </a:lnTo>
                  <a:lnTo>
                    <a:pt x="188" y="185"/>
                  </a:lnTo>
                  <a:lnTo>
                    <a:pt x="214" y="174"/>
                  </a:lnTo>
                  <a:lnTo>
                    <a:pt x="241" y="165"/>
                  </a:lnTo>
                  <a:lnTo>
                    <a:pt x="270" y="163"/>
                  </a:lnTo>
                  <a:close/>
                  <a:moveTo>
                    <a:pt x="274" y="0"/>
                  </a:moveTo>
                  <a:lnTo>
                    <a:pt x="281" y="4"/>
                  </a:lnTo>
                  <a:lnTo>
                    <a:pt x="286" y="13"/>
                  </a:lnTo>
                  <a:lnTo>
                    <a:pt x="286" y="22"/>
                  </a:lnTo>
                  <a:lnTo>
                    <a:pt x="281" y="30"/>
                  </a:lnTo>
                  <a:lnTo>
                    <a:pt x="258" y="53"/>
                  </a:lnTo>
                  <a:lnTo>
                    <a:pt x="270" y="53"/>
                  </a:lnTo>
                  <a:lnTo>
                    <a:pt x="310" y="56"/>
                  </a:lnTo>
                  <a:lnTo>
                    <a:pt x="348" y="65"/>
                  </a:lnTo>
                  <a:lnTo>
                    <a:pt x="384" y="79"/>
                  </a:lnTo>
                  <a:lnTo>
                    <a:pt x="417" y="98"/>
                  </a:lnTo>
                  <a:lnTo>
                    <a:pt x="447" y="121"/>
                  </a:lnTo>
                  <a:lnTo>
                    <a:pt x="474" y="147"/>
                  </a:lnTo>
                  <a:lnTo>
                    <a:pt x="496" y="178"/>
                  </a:lnTo>
                  <a:lnTo>
                    <a:pt x="515" y="211"/>
                  </a:lnTo>
                  <a:lnTo>
                    <a:pt x="529" y="247"/>
                  </a:lnTo>
                  <a:lnTo>
                    <a:pt x="538" y="286"/>
                  </a:lnTo>
                  <a:lnTo>
                    <a:pt x="541" y="326"/>
                  </a:lnTo>
                  <a:lnTo>
                    <a:pt x="538" y="367"/>
                  </a:lnTo>
                  <a:lnTo>
                    <a:pt x="529" y="405"/>
                  </a:lnTo>
                  <a:lnTo>
                    <a:pt x="515" y="441"/>
                  </a:lnTo>
                  <a:lnTo>
                    <a:pt x="496" y="475"/>
                  </a:lnTo>
                  <a:lnTo>
                    <a:pt x="474" y="505"/>
                  </a:lnTo>
                  <a:lnTo>
                    <a:pt x="447" y="532"/>
                  </a:lnTo>
                  <a:lnTo>
                    <a:pt x="417" y="556"/>
                  </a:lnTo>
                  <a:lnTo>
                    <a:pt x="384" y="574"/>
                  </a:lnTo>
                  <a:lnTo>
                    <a:pt x="348" y="588"/>
                  </a:lnTo>
                  <a:lnTo>
                    <a:pt x="310" y="596"/>
                  </a:lnTo>
                  <a:lnTo>
                    <a:pt x="270" y="599"/>
                  </a:lnTo>
                  <a:lnTo>
                    <a:pt x="228" y="596"/>
                  </a:lnTo>
                  <a:lnTo>
                    <a:pt x="188" y="587"/>
                  </a:lnTo>
                  <a:lnTo>
                    <a:pt x="151" y="571"/>
                  </a:lnTo>
                  <a:lnTo>
                    <a:pt x="116" y="550"/>
                  </a:lnTo>
                  <a:lnTo>
                    <a:pt x="85" y="525"/>
                  </a:lnTo>
                  <a:lnTo>
                    <a:pt x="58" y="495"/>
                  </a:lnTo>
                  <a:lnTo>
                    <a:pt x="36" y="462"/>
                  </a:lnTo>
                  <a:lnTo>
                    <a:pt x="19" y="426"/>
                  </a:lnTo>
                  <a:lnTo>
                    <a:pt x="6" y="386"/>
                  </a:lnTo>
                  <a:lnTo>
                    <a:pt x="0" y="345"/>
                  </a:lnTo>
                  <a:lnTo>
                    <a:pt x="2" y="335"/>
                  </a:lnTo>
                  <a:lnTo>
                    <a:pt x="7" y="329"/>
                  </a:lnTo>
                  <a:lnTo>
                    <a:pt x="17" y="326"/>
                  </a:lnTo>
                  <a:lnTo>
                    <a:pt x="26" y="328"/>
                  </a:lnTo>
                  <a:lnTo>
                    <a:pt x="32" y="334"/>
                  </a:lnTo>
                  <a:lnTo>
                    <a:pt x="35" y="344"/>
                  </a:lnTo>
                  <a:lnTo>
                    <a:pt x="41" y="379"/>
                  </a:lnTo>
                  <a:lnTo>
                    <a:pt x="51" y="413"/>
                  </a:lnTo>
                  <a:lnTo>
                    <a:pt x="66" y="444"/>
                  </a:lnTo>
                  <a:lnTo>
                    <a:pt x="86" y="474"/>
                  </a:lnTo>
                  <a:lnTo>
                    <a:pt x="110" y="498"/>
                  </a:lnTo>
                  <a:lnTo>
                    <a:pt x="137" y="520"/>
                  </a:lnTo>
                  <a:lnTo>
                    <a:pt x="166" y="538"/>
                  </a:lnTo>
                  <a:lnTo>
                    <a:pt x="199" y="550"/>
                  </a:lnTo>
                  <a:lnTo>
                    <a:pt x="234" y="559"/>
                  </a:lnTo>
                  <a:lnTo>
                    <a:pt x="270" y="562"/>
                  </a:lnTo>
                  <a:lnTo>
                    <a:pt x="307" y="559"/>
                  </a:lnTo>
                  <a:lnTo>
                    <a:pt x="344" y="549"/>
                  </a:lnTo>
                  <a:lnTo>
                    <a:pt x="377" y="536"/>
                  </a:lnTo>
                  <a:lnTo>
                    <a:pt x="408" y="516"/>
                  </a:lnTo>
                  <a:lnTo>
                    <a:pt x="435" y="492"/>
                  </a:lnTo>
                  <a:lnTo>
                    <a:pt x="458" y="465"/>
                  </a:lnTo>
                  <a:lnTo>
                    <a:pt x="477" y="434"/>
                  </a:lnTo>
                  <a:lnTo>
                    <a:pt x="491" y="401"/>
                  </a:lnTo>
                  <a:lnTo>
                    <a:pt x="500" y="365"/>
                  </a:lnTo>
                  <a:lnTo>
                    <a:pt x="503" y="326"/>
                  </a:lnTo>
                  <a:lnTo>
                    <a:pt x="500" y="288"/>
                  </a:lnTo>
                  <a:lnTo>
                    <a:pt x="491" y="251"/>
                  </a:lnTo>
                  <a:lnTo>
                    <a:pt x="477" y="217"/>
                  </a:lnTo>
                  <a:lnTo>
                    <a:pt x="458" y="186"/>
                  </a:lnTo>
                  <a:lnTo>
                    <a:pt x="435" y="159"/>
                  </a:lnTo>
                  <a:lnTo>
                    <a:pt x="408" y="135"/>
                  </a:lnTo>
                  <a:lnTo>
                    <a:pt x="377" y="116"/>
                  </a:lnTo>
                  <a:lnTo>
                    <a:pt x="344" y="102"/>
                  </a:lnTo>
                  <a:lnTo>
                    <a:pt x="307" y="93"/>
                  </a:lnTo>
                  <a:lnTo>
                    <a:pt x="270" y="89"/>
                  </a:lnTo>
                  <a:lnTo>
                    <a:pt x="258" y="89"/>
                  </a:lnTo>
                  <a:lnTo>
                    <a:pt x="281" y="113"/>
                  </a:lnTo>
                  <a:lnTo>
                    <a:pt x="286" y="122"/>
                  </a:lnTo>
                  <a:lnTo>
                    <a:pt x="286" y="131"/>
                  </a:lnTo>
                  <a:lnTo>
                    <a:pt x="281" y="139"/>
                  </a:lnTo>
                  <a:lnTo>
                    <a:pt x="279" y="141"/>
                  </a:lnTo>
                  <a:lnTo>
                    <a:pt x="276" y="142"/>
                  </a:lnTo>
                  <a:lnTo>
                    <a:pt x="273" y="143"/>
                  </a:lnTo>
                  <a:lnTo>
                    <a:pt x="270" y="144"/>
                  </a:lnTo>
                  <a:lnTo>
                    <a:pt x="267" y="143"/>
                  </a:lnTo>
                  <a:lnTo>
                    <a:pt x="263" y="142"/>
                  </a:lnTo>
                  <a:lnTo>
                    <a:pt x="259" y="141"/>
                  </a:lnTo>
                  <a:lnTo>
                    <a:pt x="256" y="139"/>
                  </a:lnTo>
                  <a:lnTo>
                    <a:pt x="202" y="84"/>
                  </a:lnTo>
                  <a:lnTo>
                    <a:pt x="198" y="76"/>
                  </a:lnTo>
                  <a:lnTo>
                    <a:pt x="198" y="67"/>
                  </a:lnTo>
                  <a:lnTo>
                    <a:pt x="202" y="58"/>
                  </a:lnTo>
                  <a:lnTo>
                    <a:pt x="256" y="4"/>
                  </a:lnTo>
                  <a:lnTo>
                    <a:pt x="265" y="0"/>
                  </a:lnTo>
                  <a:lnTo>
                    <a:pt x="27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41">
              <a:extLst>
                <a:ext uri="{FF2B5EF4-FFF2-40B4-BE49-F238E27FC236}">
                  <a16:creationId xmlns:a16="http://schemas.microsoft.com/office/drawing/2014/main" id="{7880411F-6CC2-4241-840D-FA3CFE10512C}"/>
                </a:ext>
              </a:extLst>
            </p:cNvPr>
            <p:cNvSpPr>
              <a:spLocks/>
            </p:cNvSpPr>
            <p:nvPr/>
          </p:nvSpPr>
          <p:spPr bwMode="auto">
            <a:xfrm>
              <a:off x="2660651" y="5081588"/>
              <a:ext cx="225425" cy="31750"/>
            </a:xfrm>
            <a:custGeom>
              <a:avLst/>
              <a:gdLst>
                <a:gd name="T0" fmla="*/ 10 w 142"/>
                <a:gd name="T1" fmla="*/ 0 h 20"/>
                <a:gd name="T2" fmla="*/ 132 w 142"/>
                <a:gd name="T3" fmla="*/ 0 h 20"/>
                <a:gd name="T4" fmla="*/ 135 w 142"/>
                <a:gd name="T5" fmla="*/ 0 h 20"/>
                <a:gd name="T6" fmla="*/ 138 w 142"/>
                <a:gd name="T7" fmla="*/ 2 h 20"/>
                <a:gd name="T8" fmla="*/ 140 w 142"/>
                <a:gd name="T9" fmla="*/ 4 h 20"/>
                <a:gd name="T10" fmla="*/ 141 w 142"/>
                <a:gd name="T11" fmla="*/ 6 h 20"/>
                <a:gd name="T12" fmla="*/ 142 w 142"/>
                <a:gd name="T13" fmla="*/ 10 h 20"/>
                <a:gd name="T14" fmla="*/ 141 w 142"/>
                <a:gd name="T15" fmla="*/ 13 h 20"/>
                <a:gd name="T16" fmla="*/ 140 w 142"/>
                <a:gd name="T17" fmla="*/ 16 h 20"/>
                <a:gd name="T18" fmla="*/ 138 w 142"/>
                <a:gd name="T19" fmla="*/ 18 h 20"/>
                <a:gd name="T20" fmla="*/ 135 w 142"/>
                <a:gd name="T21" fmla="*/ 20 h 20"/>
                <a:gd name="T22" fmla="*/ 132 w 142"/>
                <a:gd name="T23" fmla="*/ 20 h 20"/>
                <a:gd name="T24" fmla="*/ 10 w 142"/>
                <a:gd name="T25" fmla="*/ 20 h 20"/>
                <a:gd name="T26" fmla="*/ 7 w 142"/>
                <a:gd name="T27" fmla="*/ 20 h 20"/>
                <a:gd name="T28" fmla="*/ 4 w 142"/>
                <a:gd name="T29" fmla="*/ 18 h 20"/>
                <a:gd name="T30" fmla="*/ 2 w 142"/>
                <a:gd name="T31" fmla="*/ 16 h 20"/>
                <a:gd name="T32" fmla="*/ 1 w 142"/>
                <a:gd name="T33" fmla="*/ 13 h 20"/>
                <a:gd name="T34" fmla="*/ 0 w 142"/>
                <a:gd name="T35" fmla="*/ 10 h 20"/>
                <a:gd name="T36" fmla="*/ 1 w 142"/>
                <a:gd name="T37" fmla="*/ 6 h 20"/>
                <a:gd name="T38" fmla="*/ 2 w 142"/>
                <a:gd name="T39" fmla="*/ 4 h 20"/>
                <a:gd name="T40" fmla="*/ 4 w 142"/>
                <a:gd name="T41" fmla="*/ 2 h 20"/>
                <a:gd name="T42" fmla="*/ 7 w 142"/>
                <a:gd name="T43" fmla="*/ 0 h 20"/>
                <a:gd name="T44" fmla="*/ 10 w 142"/>
                <a:gd name="T4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0">
                  <a:moveTo>
                    <a:pt x="10" y="0"/>
                  </a:moveTo>
                  <a:lnTo>
                    <a:pt x="132" y="0"/>
                  </a:lnTo>
                  <a:lnTo>
                    <a:pt x="135" y="0"/>
                  </a:lnTo>
                  <a:lnTo>
                    <a:pt x="138" y="2"/>
                  </a:lnTo>
                  <a:lnTo>
                    <a:pt x="140" y="4"/>
                  </a:lnTo>
                  <a:lnTo>
                    <a:pt x="141" y="6"/>
                  </a:lnTo>
                  <a:lnTo>
                    <a:pt x="142" y="10"/>
                  </a:lnTo>
                  <a:lnTo>
                    <a:pt x="141" y="13"/>
                  </a:lnTo>
                  <a:lnTo>
                    <a:pt x="140" y="16"/>
                  </a:lnTo>
                  <a:lnTo>
                    <a:pt x="138" y="18"/>
                  </a:lnTo>
                  <a:lnTo>
                    <a:pt x="135" y="20"/>
                  </a:lnTo>
                  <a:lnTo>
                    <a:pt x="132" y="20"/>
                  </a:lnTo>
                  <a:lnTo>
                    <a:pt x="10" y="20"/>
                  </a:lnTo>
                  <a:lnTo>
                    <a:pt x="7" y="20"/>
                  </a:lnTo>
                  <a:lnTo>
                    <a:pt x="4" y="18"/>
                  </a:lnTo>
                  <a:lnTo>
                    <a:pt x="2" y="16"/>
                  </a:lnTo>
                  <a:lnTo>
                    <a:pt x="1" y="13"/>
                  </a:lnTo>
                  <a:lnTo>
                    <a:pt x="0" y="10"/>
                  </a:lnTo>
                  <a:lnTo>
                    <a:pt x="1" y="6"/>
                  </a:lnTo>
                  <a:lnTo>
                    <a:pt x="2" y="4"/>
                  </a:lnTo>
                  <a:lnTo>
                    <a:pt x="4" y="2"/>
                  </a:lnTo>
                  <a:lnTo>
                    <a:pt x="7" y="0"/>
                  </a:lnTo>
                  <a:lnTo>
                    <a:pt x="1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42">
              <a:extLst>
                <a:ext uri="{FF2B5EF4-FFF2-40B4-BE49-F238E27FC236}">
                  <a16:creationId xmlns:a16="http://schemas.microsoft.com/office/drawing/2014/main" id="{3EC1833A-C6EA-E849-9AFD-BA0D0FE029E8}"/>
                </a:ext>
              </a:extLst>
            </p:cNvPr>
            <p:cNvSpPr>
              <a:spLocks noEditPoints="1"/>
            </p:cNvSpPr>
            <p:nvPr/>
          </p:nvSpPr>
          <p:spPr bwMode="auto">
            <a:xfrm>
              <a:off x="2646363" y="4621213"/>
              <a:ext cx="407988" cy="412750"/>
            </a:xfrm>
            <a:custGeom>
              <a:avLst/>
              <a:gdLst>
                <a:gd name="T0" fmla="*/ 81 w 257"/>
                <a:gd name="T1" fmla="*/ 82 h 260"/>
                <a:gd name="T2" fmla="*/ 223 w 257"/>
                <a:gd name="T3" fmla="*/ 130 h 260"/>
                <a:gd name="T4" fmla="*/ 134 w 257"/>
                <a:gd name="T5" fmla="*/ 0 h 260"/>
                <a:gd name="T6" fmla="*/ 141 w 257"/>
                <a:gd name="T7" fmla="*/ 1 h 260"/>
                <a:gd name="T8" fmla="*/ 145 w 257"/>
                <a:gd name="T9" fmla="*/ 5 h 260"/>
                <a:gd name="T10" fmla="*/ 146 w 257"/>
                <a:gd name="T11" fmla="*/ 12 h 260"/>
                <a:gd name="T12" fmla="*/ 143 w 257"/>
                <a:gd name="T13" fmla="*/ 18 h 260"/>
                <a:gd name="T14" fmla="*/ 242 w 257"/>
                <a:gd name="T15" fmla="*/ 112 h 260"/>
                <a:gd name="T16" fmla="*/ 249 w 257"/>
                <a:gd name="T17" fmla="*/ 111 h 260"/>
                <a:gd name="T18" fmla="*/ 255 w 257"/>
                <a:gd name="T19" fmla="*/ 115 h 260"/>
                <a:gd name="T20" fmla="*/ 257 w 257"/>
                <a:gd name="T21" fmla="*/ 121 h 260"/>
                <a:gd name="T22" fmla="*/ 256 w 257"/>
                <a:gd name="T23" fmla="*/ 127 h 260"/>
                <a:gd name="T24" fmla="*/ 175 w 257"/>
                <a:gd name="T25" fmla="*/ 209 h 260"/>
                <a:gd name="T26" fmla="*/ 170 w 257"/>
                <a:gd name="T27" fmla="*/ 212 h 260"/>
                <a:gd name="T28" fmla="*/ 165 w 257"/>
                <a:gd name="T29" fmla="*/ 212 h 260"/>
                <a:gd name="T30" fmla="*/ 160 w 257"/>
                <a:gd name="T31" fmla="*/ 209 h 260"/>
                <a:gd name="T32" fmla="*/ 156 w 257"/>
                <a:gd name="T33" fmla="*/ 203 h 260"/>
                <a:gd name="T34" fmla="*/ 157 w 257"/>
                <a:gd name="T35" fmla="*/ 197 h 260"/>
                <a:gd name="T36" fmla="*/ 120 w 257"/>
                <a:gd name="T37" fmla="*/ 153 h 260"/>
                <a:gd name="T38" fmla="*/ 16 w 257"/>
                <a:gd name="T39" fmla="*/ 259 h 260"/>
                <a:gd name="T40" fmla="*/ 10 w 257"/>
                <a:gd name="T41" fmla="*/ 260 h 260"/>
                <a:gd name="T42" fmla="*/ 5 w 257"/>
                <a:gd name="T43" fmla="*/ 259 h 260"/>
                <a:gd name="T44" fmla="*/ 1 w 257"/>
                <a:gd name="T45" fmla="*/ 254 h 260"/>
                <a:gd name="T46" fmla="*/ 0 w 257"/>
                <a:gd name="T47" fmla="*/ 248 h 260"/>
                <a:gd name="T48" fmla="*/ 3 w 257"/>
                <a:gd name="T49" fmla="*/ 241 h 260"/>
                <a:gd name="T50" fmla="*/ 65 w 257"/>
                <a:gd name="T51" fmla="*/ 98 h 260"/>
                <a:gd name="T52" fmla="*/ 60 w 257"/>
                <a:gd name="T53" fmla="*/ 101 h 260"/>
                <a:gd name="T54" fmla="*/ 54 w 257"/>
                <a:gd name="T55" fmla="*/ 101 h 260"/>
                <a:gd name="T56" fmla="*/ 49 w 257"/>
                <a:gd name="T57" fmla="*/ 98 h 260"/>
                <a:gd name="T58" fmla="*/ 45 w 257"/>
                <a:gd name="T59" fmla="*/ 87 h 260"/>
                <a:gd name="T60" fmla="*/ 127 w 257"/>
                <a:gd name="T61" fmla="*/ 3 h 260"/>
                <a:gd name="T62" fmla="*/ 134 w 257"/>
                <a:gd name="T63"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7" h="260">
                  <a:moveTo>
                    <a:pt x="127" y="34"/>
                  </a:moveTo>
                  <a:lnTo>
                    <a:pt x="81" y="82"/>
                  </a:lnTo>
                  <a:lnTo>
                    <a:pt x="175" y="178"/>
                  </a:lnTo>
                  <a:lnTo>
                    <a:pt x="223" y="130"/>
                  </a:lnTo>
                  <a:lnTo>
                    <a:pt x="127" y="34"/>
                  </a:lnTo>
                  <a:close/>
                  <a:moveTo>
                    <a:pt x="134" y="0"/>
                  </a:moveTo>
                  <a:lnTo>
                    <a:pt x="138" y="0"/>
                  </a:lnTo>
                  <a:lnTo>
                    <a:pt x="141" y="1"/>
                  </a:lnTo>
                  <a:lnTo>
                    <a:pt x="143" y="3"/>
                  </a:lnTo>
                  <a:lnTo>
                    <a:pt x="145" y="5"/>
                  </a:lnTo>
                  <a:lnTo>
                    <a:pt x="146" y="9"/>
                  </a:lnTo>
                  <a:lnTo>
                    <a:pt x="146" y="12"/>
                  </a:lnTo>
                  <a:lnTo>
                    <a:pt x="145" y="15"/>
                  </a:lnTo>
                  <a:lnTo>
                    <a:pt x="143" y="18"/>
                  </a:lnTo>
                  <a:lnTo>
                    <a:pt x="238" y="115"/>
                  </a:lnTo>
                  <a:lnTo>
                    <a:pt x="242" y="112"/>
                  </a:lnTo>
                  <a:lnTo>
                    <a:pt x="245" y="111"/>
                  </a:lnTo>
                  <a:lnTo>
                    <a:pt x="249" y="111"/>
                  </a:lnTo>
                  <a:lnTo>
                    <a:pt x="252" y="112"/>
                  </a:lnTo>
                  <a:lnTo>
                    <a:pt x="255" y="115"/>
                  </a:lnTo>
                  <a:lnTo>
                    <a:pt x="256" y="117"/>
                  </a:lnTo>
                  <a:lnTo>
                    <a:pt x="257" y="121"/>
                  </a:lnTo>
                  <a:lnTo>
                    <a:pt x="257" y="124"/>
                  </a:lnTo>
                  <a:lnTo>
                    <a:pt x="256" y="127"/>
                  </a:lnTo>
                  <a:lnTo>
                    <a:pt x="255" y="130"/>
                  </a:lnTo>
                  <a:lnTo>
                    <a:pt x="175" y="209"/>
                  </a:lnTo>
                  <a:lnTo>
                    <a:pt x="173" y="211"/>
                  </a:lnTo>
                  <a:lnTo>
                    <a:pt x="170" y="212"/>
                  </a:lnTo>
                  <a:lnTo>
                    <a:pt x="168" y="212"/>
                  </a:lnTo>
                  <a:lnTo>
                    <a:pt x="165" y="212"/>
                  </a:lnTo>
                  <a:lnTo>
                    <a:pt x="162" y="211"/>
                  </a:lnTo>
                  <a:lnTo>
                    <a:pt x="160" y="209"/>
                  </a:lnTo>
                  <a:lnTo>
                    <a:pt x="157" y="207"/>
                  </a:lnTo>
                  <a:lnTo>
                    <a:pt x="156" y="203"/>
                  </a:lnTo>
                  <a:lnTo>
                    <a:pt x="156" y="200"/>
                  </a:lnTo>
                  <a:lnTo>
                    <a:pt x="157" y="197"/>
                  </a:lnTo>
                  <a:lnTo>
                    <a:pt x="160" y="194"/>
                  </a:lnTo>
                  <a:lnTo>
                    <a:pt x="120" y="153"/>
                  </a:lnTo>
                  <a:lnTo>
                    <a:pt x="18" y="257"/>
                  </a:lnTo>
                  <a:lnTo>
                    <a:pt x="16" y="259"/>
                  </a:lnTo>
                  <a:lnTo>
                    <a:pt x="13" y="260"/>
                  </a:lnTo>
                  <a:lnTo>
                    <a:pt x="10" y="260"/>
                  </a:lnTo>
                  <a:lnTo>
                    <a:pt x="8" y="260"/>
                  </a:lnTo>
                  <a:lnTo>
                    <a:pt x="5" y="259"/>
                  </a:lnTo>
                  <a:lnTo>
                    <a:pt x="3" y="257"/>
                  </a:lnTo>
                  <a:lnTo>
                    <a:pt x="1" y="254"/>
                  </a:lnTo>
                  <a:lnTo>
                    <a:pt x="0" y="251"/>
                  </a:lnTo>
                  <a:lnTo>
                    <a:pt x="0" y="248"/>
                  </a:lnTo>
                  <a:lnTo>
                    <a:pt x="1" y="245"/>
                  </a:lnTo>
                  <a:lnTo>
                    <a:pt x="3" y="241"/>
                  </a:lnTo>
                  <a:lnTo>
                    <a:pt x="104" y="138"/>
                  </a:lnTo>
                  <a:lnTo>
                    <a:pt x="65" y="98"/>
                  </a:lnTo>
                  <a:lnTo>
                    <a:pt x="62" y="100"/>
                  </a:lnTo>
                  <a:lnTo>
                    <a:pt x="60" y="101"/>
                  </a:lnTo>
                  <a:lnTo>
                    <a:pt x="57" y="101"/>
                  </a:lnTo>
                  <a:lnTo>
                    <a:pt x="54" y="101"/>
                  </a:lnTo>
                  <a:lnTo>
                    <a:pt x="52" y="100"/>
                  </a:lnTo>
                  <a:lnTo>
                    <a:pt x="49" y="98"/>
                  </a:lnTo>
                  <a:lnTo>
                    <a:pt x="45" y="93"/>
                  </a:lnTo>
                  <a:lnTo>
                    <a:pt x="45" y="87"/>
                  </a:lnTo>
                  <a:lnTo>
                    <a:pt x="49" y="82"/>
                  </a:lnTo>
                  <a:lnTo>
                    <a:pt x="127" y="3"/>
                  </a:lnTo>
                  <a:lnTo>
                    <a:pt x="131" y="1"/>
                  </a:lnTo>
                  <a:lnTo>
                    <a:pt x="13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43">
              <a:extLst>
                <a:ext uri="{FF2B5EF4-FFF2-40B4-BE49-F238E27FC236}">
                  <a16:creationId xmlns:a16="http://schemas.microsoft.com/office/drawing/2014/main" id="{07B086E8-B8C0-D543-BC2C-68ADDC78823B}"/>
                </a:ext>
              </a:extLst>
            </p:cNvPr>
            <p:cNvSpPr>
              <a:spLocks noEditPoints="1"/>
            </p:cNvSpPr>
            <p:nvPr/>
          </p:nvSpPr>
          <p:spPr bwMode="auto">
            <a:xfrm>
              <a:off x="3074988" y="5091113"/>
              <a:ext cx="161925" cy="411163"/>
            </a:xfrm>
            <a:custGeom>
              <a:avLst/>
              <a:gdLst>
                <a:gd name="T0" fmla="*/ 48 w 102"/>
                <a:gd name="T1" fmla="*/ 26 h 259"/>
                <a:gd name="T2" fmla="*/ 28 w 102"/>
                <a:gd name="T3" fmla="*/ 130 h 259"/>
                <a:gd name="T4" fmla="*/ 74 w 102"/>
                <a:gd name="T5" fmla="*/ 130 h 259"/>
                <a:gd name="T6" fmla="*/ 54 w 102"/>
                <a:gd name="T7" fmla="*/ 26 h 259"/>
                <a:gd name="T8" fmla="*/ 48 w 102"/>
                <a:gd name="T9" fmla="*/ 26 h 259"/>
                <a:gd name="T10" fmla="*/ 37 w 102"/>
                <a:gd name="T11" fmla="*/ 0 h 259"/>
                <a:gd name="T12" fmla="*/ 64 w 102"/>
                <a:gd name="T13" fmla="*/ 0 h 259"/>
                <a:gd name="T14" fmla="*/ 68 w 102"/>
                <a:gd name="T15" fmla="*/ 1 h 259"/>
                <a:gd name="T16" fmla="*/ 71 w 102"/>
                <a:gd name="T17" fmla="*/ 3 h 259"/>
                <a:gd name="T18" fmla="*/ 73 w 102"/>
                <a:gd name="T19" fmla="*/ 5 h 259"/>
                <a:gd name="T20" fmla="*/ 75 w 102"/>
                <a:gd name="T21" fmla="*/ 8 h 259"/>
                <a:gd name="T22" fmla="*/ 76 w 102"/>
                <a:gd name="T23" fmla="*/ 12 h 259"/>
                <a:gd name="T24" fmla="*/ 102 w 102"/>
                <a:gd name="T25" fmla="*/ 141 h 259"/>
                <a:gd name="T26" fmla="*/ 102 w 102"/>
                <a:gd name="T27" fmla="*/ 143 h 259"/>
                <a:gd name="T28" fmla="*/ 102 w 102"/>
                <a:gd name="T29" fmla="*/ 146 h 259"/>
                <a:gd name="T30" fmla="*/ 101 w 102"/>
                <a:gd name="T31" fmla="*/ 149 h 259"/>
                <a:gd name="T32" fmla="*/ 99 w 102"/>
                <a:gd name="T33" fmla="*/ 151 h 259"/>
                <a:gd name="T34" fmla="*/ 97 w 102"/>
                <a:gd name="T35" fmla="*/ 154 h 259"/>
                <a:gd name="T36" fmla="*/ 95 w 102"/>
                <a:gd name="T37" fmla="*/ 155 h 259"/>
                <a:gd name="T38" fmla="*/ 93 w 102"/>
                <a:gd name="T39" fmla="*/ 156 h 259"/>
                <a:gd name="T40" fmla="*/ 90 w 102"/>
                <a:gd name="T41" fmla="*/ 156 h 259"/>
                <a:gd name="T42" fmla="*/ 90 w 102"/>
                <a:gd name="T43" fmla="*/ 248 h 259"/>
                <a:gd name="T44" fmla="*/ 89 w 102"/>
                <a:gd name="T45" fmla="*/ 252 h 259"/>
                <a:gd name="T46" fmla="*/ 87 w 102"/>
                <a:gd name="T47" fmla="*/ 255 h 259"/>
                <a:gd name="T48" fmla="*/ 85 w 102"/>
                <a:gd name="T49" fmla="*/ 257 h 259"/>
                <a:gd name="T50" fmla="*/ 80 w 102"/>
                <a:gd name="T51" fmla="*/ 259 h 259"/>
                <a:gd name="T52" fmla="*/ 76 w 102"/>
                <a:gd name="T53" fmla="*/ 259 h 259"/>
                <a:gd name="T54" fmla="*/ 72 w 102"/>
                <a:gd name="T55" fmla="*/ 259 h 259"/>
                <a:gd name="T56" fmla="*/ 69 w 102"/>
                <a:gd name="T57" fmla="*/ 257 h 259"/>
                <a:gd name="T58" fmla="*/ 66 w 102"/>
                <a:gd name="T59" fmla="*/ 255 h 259"/>
                <a:gd name="T60" fmla="*/ 65 w 102"/>
                <a:gd name="T61" fmla="*/ 252 h 259"/>
                <a:gd name="T62" fmla="*/ 64 w 102"/>
                <a:gd name="T63" fmla="*/ 248 h 259"/>
                <a:gd name="T64" fmla="*/ 64 w 102"/>
                <a:gd name="T65" fmla="*/ 156 h 259"/>
                <a:gd name="T66" fmla="*/ 37 w 102"/>
                <a:gd name="T67" fmla="*/ 156 h 259"/>
                <a:gd name="T68" fmla="*/ 37 w 102"/>
                <a:gd name="T69" fmla="*/ 248 h 259"/>
                <a:gd name="T70" fmla="*/ 37 w 102"/>
                <a:gd name="T71" fmla="*/ 252 h 259"/>
                <a:gd name="T72" fmla="*/ 35 w 102"/>
                <a:gd name="T73" fmla="*/ 255 h 259"/>
                <a:gd name="T74" fmla="*/ 33 w 102"/>
                <a:gd name="T75" fmla="*/ 257 h 259"/>
                <a:gd name="T76" fmla="*/ 30 w 102"/>
                <a:gd name="T77" fmla="*/ 259 h 259"/>
                <a:gd name="T78" fmla="*/ 25 w 102"/>
                <a:gd name="T79" fmla="*/ 259 h 259"/>
                <a:gd name="T80" fmla="*/ 21 w 102"/>
                <a:gd name="T81" fmla="*/ 259 h 259"/>
                <a:gd name="T82" fmla="*/ 17 w 102"/>
                <a:gd name="T83" fmla="*/ 257 h 259"/>
                <a:gd name="T84" fmla="*/ 14 w 102"/>
                <a:gd name="T85" fmla="*/ 255 h 259"/>
                <a:gd name="T86" fmla="*/ 12 w 102"/>
                <a:gd name="T87" fmla="*/ 252 h 259"/>
                <a:gd name="T88" fmla="*/ 12 w 102"/>
                <a:gd name="T89" fmla="*/ 248 h 259"/>
                <a:gd name="T90" fmla="*/ 12 w 102"/>
                <a:gd name="T91" fmla="*/ 156 h 259"/>
                <a:gd name="T92" fmla="*/ 9 w 102"/>
                <a:gd name="T93" fmla="*/ 156 h 259"/>
                <a:gd name="T94" fmla="*/ 7 w 102"/>
                <a:gd name="T95" fmla="*/ 155 h 259"/>
                <a:gd name="T96" fmla="*/ 4 w 102"/>
                <a:gd name="T97" fmla="*/ 154 h 259"/>
                <a:gd name="T98" fmla="*/ 2 w 102"/>
                <a:gd name="T99" fmla="*/ 151 h 259"/>
                <a:gd name="T100" fmla="*/ 1 w 102"/>
                <a:gd name="T101" fmla="*/ 149 h 259"/>
                <a:gd name="T102" fmla="*/ 0 w 102"/>
                <a:gd name="T103" fmla="*/ 146 h 259"/>
                <a:gd name="T104" fmla="*/ 0 w 102"/>
                <a:gd name="T105" fmla="*/ 143 h 259"/>
                <a:gd name="T106" fmla="*/ 0 w 102"/>
                <a:gd name="T107" fmla="*/ 141 h 259"/>
                <a:gd name="T108" fmla="*/ 25 w 102"/>
                <a:gd name="T109" fmla="*/ 12 h 259"/>
                <a:gd name="T110" fmla="*/ 27 w 102"/>
                <a:gd name="T111" fmla="*/ 8 h 259"/>
                <a:gd name="T112" fmla="*/ 29 w 102"/>
                <a:gd name="T113" fmla="*/ 5 h 259"/>
                <a:gd name="T114" fmla="*/ 31 w 102"/>
                <a:gd name="T115" fmla="*/ 3 h 259"/>
                <a:gd name="T116" fmla="*/ 34 w 102"/>
                <a:gd name="T117" fmla="*/ 1 h 259"/>
                <a:gd name="T118" fmla="*/ 37 w 102"/>
                <a:gd name="T11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2" h="259">
                  <a:moveTo>
                    <a:pt x="48" y="26"/>
                  </a:moveTo>
                  <a:lnTo>
                    <a:pt x="28" y="130"/>
                  </a:lnTo>
                  <a:lnTo>
                    <a:pt x="74" y="130"/>
                  </a:lnTo>
                  <a:lnTo>
                    <a:pt x="54" y="26"/>
                  </a:lnTo>
                  <a:lnTo>
                    <a:pt x="48" y="26"/>
                  </a:lnTo>
                  <a:close/>
                  <a:moveTo>
                    <a:pt x="37" y="0"/>
                  </a:moveTo>
                  <a:lnTo>
                    <a:pt x="64" y="0"/>
                  </a:lnTo>
                  <a:lnTo>
                    <a:pt x="68" y="1"/>
                  </a:lnTo>
                  <a:lnTo>
                    <a:pt x="71" y="3"/>
                  </a:lnTo>
                  <a:lnTo>
                    <a:pt x="73" y="5"/>
                  </a:lnTo>
                  <a:lnTo>
                    <a:pt x="75" y="8"/>
                  </a:lnTo>
                  <a:lnTo>
                    <a:pt x="76" y="12"/>
                  </a:lnTo>
                  <a:lnTo>
                    <a:pt x="102" y="141"/>
                  </a:lnTo>
                  <a:lnTo>
                    <a:pt x="102" y="143"/>
                  </a:lnTo>
                  <a:lnTo>
                    <a:pt x="102" y="146"/>
                  </a:lnTo>
                  <a:lnTo>
                    <a:pt x="101" y="149"/>
                  </a:lnTo>
                  <a:lnTo>
                    <a:pt x="99" y="151"/>
                  </a:lnTo>
                  <a:lnTo>
                    <a:pt x="97" y="154"/>
                  </a:lnTo>
                  <a:lnTo>
                    <a:pt x="95" y="155"/>
                  </a:lnTo>
                  <a:lnTo>
                    <a:pt x="93" y="156"/>
                  </a:lnTo>
                  <a:lnTo>
                    <a:pt x="90" y="156"/>
                  </a:lnTo>
                  <a:lnTo>
                    <a:pt x="90" y="248"/>
                  </a:lnTo>
                  <a:lnTo>
                    <a:pt x="89" y="252"/>
                  </a:lnTo>
                  <a:lnTo>
                    <a:pt x="87" y="255"/>
                  </a:lnTo>
                  <a:lnTo>
                    <a:pt x="85" y="257"/>
                  </a:lnTo>
                  <a:lnTo>
                    <a:pt x="80" y="259"/>
                  </a:lnTo>
                  <a:lnTo>
                    <a:pt x="76" y="259"/>
                  </a:lnTo>
                  <a:lnTo>
                    <a:pt x="72" y="259"/>
                  </a:lnTo>
                  <a:lnTo>
                    <a:pt x="69" y="257"/>
                  </a:lnTo>
                  <a:lnTo>
                    <a:pt x="66" y="255"/>
                  </a:lnTo>
                  <a:lnTo>
                    <a:pt x="65" y="252"/>
                  </a:lnTo>
                  <a:lnTo>
                    <a:pt x="64" y="248"/>
                  </a:lnTo>
                  <a:lnTo>
                    <a:pt x="64" y="156"/>
                  </a:lnTo>
                  <a:lnTo>
                    <a:pt x="37" y="156"/>
                  </a:lnTo>
                  <a:lnTo>
                    <a:pt x="37" y="248"/>
                  </a:lnTo>
                  <a:lnTo>
                    <a:pt x="37" y="252"/>
                  </a:lnTo>
                  <a:lnTo>
                    <a:pt x="35" y="255"/>
                  </a:lnTo>
                  <a:lnTo>
                    <a:pt x="33" y="257"/>
                  </a:lnTo>
                  <a:lnTo>
                    <a:pt x="30" y="259"/>
                  </a:lnTo>
                  <a:lnTo>
                    <a:pt x="25" y="259"/>
                  </a:lnTo>
                  <a:lnTo>
                    <a:pt x="21" y="259"/>
                  </a:lnTo>
                  <a:lnTo>
                    <a:pt x="17" y="257"/>
                  </a:lnTo>
                  <a:lnTo>
                    <a:pt x="14" y="255"/>
                  </a:lnTo>
                  <a:lnTo>
                    <a:pt x="12" y="252"/>
                  </a:lnTo>
                  <a:lnTo>
                    <a:pt x="12" y="248"/>
                  </a:lnTo>
                  <a:lnTo>
                    <a:pt x="12" y="156"/>
                  </a:lnTo>
                  <a:lnTo>
                    <a:pt x="9" y="156"/>
                  </a:lnTo>
                  <a:lnTo>
                    <a:pt x="7" y="155"/>
                  </a:lnTo>
                  <a:lnTo>
                    <a:pt x="4" y="154"/>
                  </a:lnTo>
                  <a:lnTo>
                    <a:pt x="2" y="151"/>
                  </a:lnTo>
                  <a:lnTo>
                    <a:pt x="1" y="149"/>
                  </a:lnTo>
                  <a:lnTo>
                    <a:pt x="0" y="146"/>
                  </a:lnTo>
                  <a:lnTo>
                    <a:pt x="0" y="143"/>
                  </a:lnTo>
                  <a:lnTo>
                    <a:pt x="0" y="141"/>
                  </a:lnTo>
                  <a:lnTo>
                    <a:pt x="25" y="12"/>
                  </a:lnTo>
                  <a:lnTo>
                    <a:pt x="27" y="8"/>
                  </a:lnTo>
                  <a:lnTo>
                    <a:pt x="29" y="5"/>
                  </a:lnTo>
                  <a:lnTo>
                    <a:pt x="31" y="3"/>
                  </a:lnTo>
                  <a:lnTo>
                    <a:pt x="34" y="1"/>
                  </a:lnTo>
                  <a:lnTo>
                    <a:pt x="3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44">
              <a:extLst>
                <a:ext uri="{FF2B5EF4-FFF2-40B4-BE49-F238E27FC236}">
                  <a16:creationId xmlns:a16="http://schemas.microsoft.com/office/drawing/2014/main" id="{3F8480AD-E7FF-1B40-86F5-46C3706A46DA}"/>
                </a:ext>
              </a:extLst>
            </p:cNvPr>
            <p:cNvSpPr>
              <a:spLocks noEditPoints="1"/>
            </p:cNvSpPr>
            <p:nvPr/>
          </p:nvSpPr>
          <p:spPr bwMode="auto">
            <a:xfrm>
              <a:off x="3097213" y="4929188"/>
              <a:ext cx="122238" cy="123825"/>
            </a:xfrm>
            <a:custGeom>
              <a:avLst/>
              <a:gdLst>
                <a:gd name="T0" fmla="*/ 38 w 77"/>
                <a:gd name="T1" fmla="*/ 26 h 78"/>
                <a:gd name="T2" fmla="*/ 34 w 77"/>
                <a:gd name="T3" fmla="*/ 26 h 78"/>
                <a:gd name="T4" fmla="*/ 30 w 77"/>
                <a:gd name="T5" fmla="*/ 28 h 78"/>
                <a:gd name="T6" fmla="*/ 27 w 77"/>
                <a:gd name="T7" fmla="*/ 31 h 78"/>
                <a:gd name="T8" fmla="*/ 25 w 77"/>
                <a:gd name="T9" fmla="*/ 34 h 78"/>
                <a:gd name="T10" fmla="*/ 25 w 77"/>
                <a:gd name="T11" fmla="*/ 39 h 78"/>
                <a:gd name="T12" fmla="*/ 25 w 77"/>
                <a:gd name="T13" fmla="*/ 42 h 78"/>
                <a:gd name="T14" fmla="*/ 27 w 77"/>
                <a:gd name="T15" fmla="*/ 46 h 78"/>
                <a:gd name="T16" fmla="*/ 30 w 77"/>
                <a:gd name="T17" fmla="*/ 48 h 78"/>
                <a:gd name="T18" fmla="*/ 34 w 77"/>
                <a:gd name="T19" fmla="*/ 50 h 78"/>
                <a:gd name="T20" fmla="*/ 38 w 77"/>
                <a:gd name="T21" fmla="*/ 51 h 78"/>
                <a:gd name="T22" fmla="*/ 43 w 77"/>
                <a:gd name="T23" fmla="*/ 50 h 78"/>
                <a:gd name="T24" fmla="*/ 46 w 77"/>
                <a:gd name="T25" fmla="*/ 48 h 78"/>
                <a:gd name="T26" fmla="*/ 49 w 77"/>
                <a:gd name="T27" fmla="*/ 46 h 78"/>
                <a:gd name="T28" fmla="*/ 51 w 77"/>
                <a:gd name="T29" fmla="*/ 42 h 78"/>
                <a:gd name="T30" fmla="*/ 51 w 77"/>
                <a:gd name="T31" fmla="*/ 39 h 78"/>
                <a:gd name="T32" fmla="*/ 51 w 77"/>
                <a:gd name="T33" fmla="*/ 34 h 78"/>
                <a:gd name="T34" fmla="*/ 49 w 77"/>
                <a:gd name="T35" fmla="*/ 31 h 78"/>
                <a:gd name="T36" fmla="*/ 46 w 77"/>
                <a:gd name="T37" fmla="*/ 28 h 78"/>
                <a:gd name="T38" fmla="*/ 43 w 77"/>
                <a:gd name="T39" fmla="*/ 26 h 78"/>
                <a:gd name="T40" fmla="*/ 38 w 77"/>
                <a:gd name="T41" fmla="*/ 26 h 78"/>
                <a:gd name="T42" fmla="*/ 38 w 77"/>
                <a:gd name="T43" fmla="*/ 0 h 78"/>
                <a:gd name="T44" fmla="*/ 53 w 77"/>
                <a:gd name="T45" fmla="*/ 3 h 78"/>
                <a:gd name="T46" fmla="*/ 65 w 77"/>
                <a:gd name="T47" fmla="*/ 11 h 78"/>
                <a:gd name="T48" fmla="*/ 74 w 77"/>
                <a:gd name="T49" fmla="*/ 24 h 78"/>
                <a:gd name="T50" fmla="*/ 77 w 77"/>
                <a:gd name="T51" fmla="*/ 39 h 78"/>
                <a:gd name="T52" fmla="*/ 75 w 77"/>
                <a:gd name="T53" fmla="*/ 51 h 78"/>
                <a:gd name="T54" fmla="*/ 70 w 77"/>
                <a:gd name="T55" fmla="*/ 61 h 78"/>
                <a:gd name="T56" fmla="*/ 61 w 77"/>
                <a:gd name="T57" fmla="*/ 69 h 78"/>
                <a:gd name="T58" fmla="*/ 50 w 77"/>
                <a:gd name="T59" fmla="*/ 75 h 78"/>
                <a:gd name="T60" fmla="*/ 38 w 77"/>
                <a:gd name="T61" fmla="*/ 78 h 78"/>
                <a:gd name="T62" fmla="*/ 26 w 77"/>
                <a:gd name="T63" fmla="*/ 75 h 78"/>
                <a:gd name="T64" fmla="*/ 16 w 77"/>
                <a:gd name="T65" fmla="*/ 69 h 78"/>
                <a:gd name="T66" fmla="*/ 7 w 77"/>
                <a:gd name="T67" fmla="*/ 61 h 78"/>
                <a:gd name="T68" fmla="*/ 1 w 77"/>
                <a:gd name="T69" fmla="*/ 51 h 78"/>
                <a:gd name="T70" fmla="*/ 0 w 77"/>
                <a:gd name="T71" fmla="*/ 39 h 78"/>
                <a:gd name="T72" fmla="*/ 2 w 77"/>
                <a:gd name="T73" fmla="*/ 24 h 78"/>
                <a:gd name="T74" fmla="*/ 10 w 77"/>
                <a:gd name="T75" fmla="*/ 11 h 78"/>
                <a:gd name="T76" fmla="*/ 23 w 77"/>
                <a:gd name="T77" fmla="*/ 3 h 78"/>
                <a:gd name="T78" fmla="*/ 38 w 77"/>
                <a:gd name="T7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8">
                  <a:moveTo>
                    <a:pt x="38" y="26"/>
                  </a:moveTo>
                  <a:lnTo>
                    <a:pt x="34" y="26"/>
                  </a:lnTo>
                  <a:lnTo>
                    <a:pt x="30" y="28"/>
                  </a:lnTo>
                  <a:lnTo>
                    <a:pt x="27" y="31"/>
                  </a:lnTo>
                  <a:lnTo>
                    <a:pt x="25" y="34"/>
                  </a:lnTo>
                  <a:lnTo>
                    <a:pt x="25" y="39"/>
                  </a:lnTo>
                  <a:lnTo>
                    <a:pt x="25" y="42"/>
                  </a:lnTo>
                  <a:lnTo>
                    <a:pt x="27" y="46"/>
                  </a:lnTo>
                  <a:lnTo>
                    <a:pt x="30" y="48"/>
                  </a:lnTo>
                  <a:lnTo>
                    <a:pt x="34" y="50"/>
                  </a:lnTo>
                  <a:lnTo>
                    <a:pt x="38" y="51"/>
                  </a:lnTo>
                  <a:lnTo>
                    <a:pt x="43" y="50"/>
                  </a:lnTo>
                  <a:lnTo>
                    <a:pt x="46" y="48"/>
                  </a:lnTo>
                  <a:lnTo>
                    <a:pt x="49" y="46"/>
                  </a:lnTo>
                  <a:lnTo>
                    <a:pt x="51" y="42"/>
                  </a:lnTo>
                  <a:lnTo>
                    <a:pt x="51" y="39"/>
                  </a:lnTo>
                  <a:lnTo>
                    <a:pt x="51" y="34"/>
                  </a:lnTo>
                  <a:lnTo>
                    <a:pt x="49" y="31"/>
                  </a:lnTo>
                  <a:lnTo>
                    <a:pt x="46" y="28"/>
                  </a:lnTo>
                  <a:lnTo>
                    <a:pt x="43" y="26"/>
                  </a:lnTo>
                  <a:lnTo>
                    <a:pt x="38" y="26"/>
                  </a:lnTo>
                  <a:close/>
                  <a:moveTo>
                    <a:pt x="38" y="0"/>
                  </a:moveTo>
                  <a:lnTo>
                    <a:pt x="53" y="3"/>
                  </a:lnTo>
                  <a:lnTo>
                    <a:pt x="65" y="11"/>
                  </a:lnTo>
                  <a:lnTo>
                    <a:pt x="74" y="24"/>
                  </a:lnTo>
                  <a:lnTo>
                    <a:pt x="77" y="39"/>
                  </a:lnTo>
                  <a:lnTo>
                    <a:pt x="75" y="51"/>
                  </a:lnTo>
                  <a:lnTo>
                    <a:pt x="70" y="61"/>
                  </a:lnTo>
                  <a:lnTo>
                    <a:pt x="61" y="69"/>
                  </a:lnTo>
                  <a:lnTo>
                    <a:pt x="50" y="75"/>
                  </a:lnTo>
                  <a:lnTo>
                    <a:pt x="38" y="78"/>
                  </a:lnTo>
                  <a:lnTo>
                    <a:pt x="26" y="75"/>
                  </a:lnTo>
                  <a:lnTo>
                    <a:pt x="16" y="69"/>
                  </a:lnTo>
                  <a:lnTo>
                    <a:pt x="7" y="61"/>
                  </a:lnTo>
                  <a:lnTo>
                    <a:pt x="1" y="51"/>
                  </a:lnTo>
                  <a:lnTo>
                    <a:pt x="0" y="39"/>
                  </a:lnTo>
                  <a:lnTo>
                    <a:pt x="2" y="24"/>
                  </a:lnTo>
                  <a:lnTo>
                    <a:pt x="10" y="11"/>
                  </a:lnTo>
                  <a:lnTo>
                    <a:pt x="23" y="3"/>
                  </a:lnTo>
                  <a:lnTo>
                    <a:pt x="3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45">
              <a:extLst>
                <a:ext uri="{FF2B5EF4-FFF2-40B4-BE49-F238E27FC236}">
                  <a16:creationId xmlns:a16="http://schemas.microsoft.com/office/drawing/2014/main" id="{852C6849-2CBF-3D42-9044-3F128460D2BE}"/>
                </a:ext>
              </a:extLst>
            </p:cNvPr>
            <p:cNvSpPr>
              <a:spLocks noEditPoints="1"/>
            </p:cNvSpPr>
            <p:nvPr/>
          </p:nvSpPr>
          <p:spPr bwMode="auto">
            <a:xfrm>
              <a:off x="3486151" y="5091113"/>
              <a:ext cx="163513" cy="411163"/>
            </a:xfrm>
            <a:custGeom>
              <a:avLst/>
              <a:gdLst>
                <a:gd name="T0" fmla="*/ 26 w 103"/>
                <a:gd name="T1" fmla="*/ 26 h 259"/>
                <a:gd name="T2" fmla="*/ 26 w 103"/>
                <a:gd name="T3" fmla="*/ 104 h 259"/>
                <a:gd name="T4" fmla="*/ 78 w 103"/>
                <a:gd name="T5" fmla="*/ 104 h 259"/>
                <a:gd name="T6" fmla="*/ 78 w 103"/>
                <a:gd name="T7" fmla="*/ 26 h 259"/>
                <a:gd name="T8" fmla="*/ 26 w 103"/>
                <a:gd name="T9" fmla="*/ 26 h 259"/>
                <a:gd name="T10" fmla="*/ 12 w 103"/>
                <a:gd name="T11" fmla="*/ 0 h 259"/>
                <a:gd name="T12" fmla="*/ 89 w 103"/>
                <a:gd name="T13" fmla="*/ 0 h 259"/>
                <a:gd name="T14" fmla="*/ 93 w 103"/>
                <a:gd name="T15" fmla="*/ 1 h 259"/>
                <a:gd name="T16" fmla="*/ 98 w 103"/>
                <a:gd name="T17" fmla="*/ 4 h 259"/>
                <a:gd name="T18" fmla="*/ 101 w 103"/>
                <a:gd name="T19" fmla="*/ 6 h 259"/>
                <a:gd name="T20" fmla="*/ 102 w 103"/>
                <a:gd name="T21" fmla="*/ 10 h 259"/>
                <a:gd name="T22" fmla="*/ 103 w 103"/>
                <a:gd name="T23" fmla="*/ 14 h 259"/>
                <a:gd name="T24" fmla="*/ 103 w 103"/>
                <a:gd name="T25" fmla="*/ 117 h 259"/>
                <a:gd name="T26" fmla="*/ 102 w 103"/>
                <a:gd name="T27" fmla="*/ 121 h 259"/>
                <a:gd name="T28" fmla="*/ 101 w 103"/>
                <a:gd name="T29" fmla="*/ 125 h 259"/>
                <a:gd name="T30" fmla="*/ 98 w 103"/>
                <a:gd name="T31" fmla="*/ 128 h 259"/>
                <a:gd name="T32" fmla="*/ 93 w 103"/>
                <a:gd name="T33" fmla="*/ 130 h 259"/>
                <a:gd name="T34" fmla="*/ 89 w 103"/>
                <a:gd name="T35" fmla="*/ 130 h 259"/>
                <a:gd name="T36" fmla="*/ 89 w 103"/>
                <a:gd name="T37" fmla="*/ 248 h 259"/>
                <a:gd name="T38" fmla="*/ 89 w 103"/>
                <a:gd name="T39" fmla="*/ 252 h 259"/>
                <a:gd name="T40" fmla="*/ 87 w 103"/>
                <a:gd name="T41" fmla="*/ 255 h 259"/>
                <a:gd name="T42" fmla="*/ 85 w 103"/>
                <a:gd name="T43" fmla="*/ 257 h 259"/>
                <a:gd name="T44" fmla="*/ 82 w 103"/>
                <a:gd name="T45" fmla="*/ 259 h 259"/>
                <a:gd name="T46" fmla="*/ 78 w 103"/>
                <a:gd name="T47" fmla="*/ 259 h 259"/>
                <a:gd name="T48" fmla="*/ 74 w 103"/>
                <a:gd name="T49" fmla="*/ 259 h 259"/>
                <a:gd name="T50" fmla="*/ 70 w 103"/>
                <a:gd name="T51" fmla="*/ 257 h 259"/>
                <a:gd name="T52" fmla="*/ 66 w 103"/>
                <a:gd name="T53" fmla="*/ 255 h 259"/>
                <a:gd name="T54" fmla="*/ 65 w 103"/>
                <a:gd name="T55" fmla="*/ 252 h 259"/>
                <a:gd name="T56" fmla="*/ 64 w 103"/>
                <a:gd name="T57" fmla="*/ 248 h 259"/>
                <a:gd name="T58" fmla="*/ 64 w 103"/>
                <a:gd name="T59" fmla="*/ 130 h 259"/>
                <a:gd name="T60" fmla="*/ 39 w 103"/>
                <a:gd name="T61" fmla="*/ 130 h 259"/>
                <a:gd name="T62" fmla="*/ 39 w 103"/>
                <a:gd name="T63" fmla="*/ 248 h 259"/>
                <a:gd name="T64" fmla="*/ 38 w 103"/>
                <a:gd name="T65" fmla="*/ 252 h 259"/>
                <a:gd name="T66" fmla="*/ 36 w 103"/>
                <a:gd name="T67" fmla="*/ 255 h 259"/>
                <a:gd name="T68" fmla="*/ 33 w 103"/>
                <a:gd name="T69" fmla="*/ 257 h 259"/>
                <a:gd name="T70" fmla="*/ 30 w 103"/>
                <a:gd name="T71" fmla="*/ 259 h 259"/>
                <a:gd name="T72" fmla="*/ 26 w 103"/>
                <a:gd name="T73" fmla="*/ 259 h 259"/>
                <a:gd name="T74" fmla="*/ 22 w 103"/>
                <a:gd name="T75" fmla="*/ 259 h 259"/>
                <a:gd name="T76" fmla="*/ 18 w 103"/>
                <a:gd name="T77" fmla="*/ 257 h 259"/>
                <a:gd name="T78" fmla="*/ 15 w 103"/>
                <a:gd name="T79" fmla="*/ 255 h 259"/>
                <a:gd name="T80" fmla="*/ 13 w 103"/>
                <a:gd name="T81" fmla="*/ 252 h 259"/>
                <a:gd name="T82" fmla="*/ 12 w 103"/>
                <a:gd name="T83" fmla="*/ 248 h 259"/>
                <a:gd name="T84" fmla="*/ 12 w 103"/>
                <a:gd name="T85" fmla="*/ 130 h 259"/>
                <a:gd name="T86" fmla="*/ 8 w 103"/>
                <a:gd name="T87" fmla="*/ 130 h 259"/>
                <a:gd name="T88" fmla="*/ 5 w 103"/>
                <a:gd name="T89" fmla="*/ 128 h 259"/>
                <a:gd name="T90" fmla="*/ 3 w 103"/>
                <a:gd name="T91" fmla="*/ 125 h 259"/>
                <a:gd name="T92" fmla="*/ 1 w 103"/>
                <a:gd name="T93" fmla="*/ 121 h 259"/>
                <a:gd name="T94" fmla="*/ 0 w 103"/>
                <a:gd name="T95" fmla="*/ 117 h 259"/>
                <a:gd name="T96" fmla="*/ 0 w 103"/>
                <a:gd name="T97" fmla="*/ 14 h 259"/>
                <a:gd name="T98" fmla="*/ 1 w 103"/>
                <a:gd name="T99" fmla="*/ 10 h 259"/>
                <a:gd name="T100" fmla="*/ 3 w 103"/>
                <a:gd name="T101" fmla="*/ 6 h 259"/>
                <a:gd name="T102" fmla="*/ 5 w 103"/>
                <a:gd name="T103" fmla="*/ 4 h 259"/>
                <a:gd name="T104" fmla="*/ 8 w 103"/>
                <a:gd name="T105" fmla="*/ 1 h 259"/>
                <a:gd name="T106" fmla="*/ 12 w 103"/>
                <a:gd name="T107"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3" h="259">
                  <a:moveTo>
                    <a:pt x="26" y="26"/>
                  </a:moveTo>
                  <a:lnTo>
                    <a:pt x="26" y="104"/>
                  </a:lnTo>
                  <a:lnTo>
                    <a:pt x="78" y="104"/>
                  </a:lnTo>
                  <a:lnTo>
                    <a:pt x="78" y="26"/>
                  </a:lnTo>
                  <a:lnTo>
                    <a:pt x="26" y="26"/>
                  </a:lnTo>
                  <a:close/>
                  <a:moveTo>
                    <a:pt x="12" y="0"/>
                  </a:moveTo>
                  <a:lnTo>
                    <a:pt x="89" y="0"/>
                  </a:lnTo>
                  <a:lnTo>
                    <a:pt x="93" y="1"/>
                  </a:lnTo>
                  <a:lnTo>
                    <a:pt x="98" y="4"/>
                  </a:lnTo>
                  <a:lnTo>
                    <a:pt x="101" y="6"/>
                  </a:lnTo>
                  <a:lnTo>
                    <a:pt x="102" y="10"/>
                  </a:lnTo>
                  <a:lnTo>
                    <a:pt x="103" y="14"/>
                  </a:lnTo>
                  <a:lnTo>
                    <a:pt x="103" y="117"/>
                  </a:lnTo>
                  <a:lnTo>
                    <a:pt x="102" y="121"/>
                  </a:lnTo>
                  <a:lnTo>
                    <a:pt x="101" y="125"/>
                  </a:lnTo>
                  <a:lnTo>
                    <a:pt x="98" y="128"/>
                  </a:lnTo>
                  <a:lnTo>
                    <a:pt x="93" y="130"/>
                  </a:lnTo>
                  <a:lnTo>
                    <a:pt x="89" y="130"/>
                  </a:lnTo>
                  <a:lnTo>
                    <a:pt x="89" y="248"/>
                  </a:lnTo>
                  <a:lnTo>
                    <a:pt x="89" y="252"/>
                  </a:lnTo>
                  <a:lnTo>
                    <a:pt x="87" y="255"/>
                  </a:lnTo>
                  <a:lnTo>
                    <a:pt x="85" y="257"/>
                  </a:lnTo>
                  <a:lnTo>
                    <a:pt x="82" y="259"/>
                  </a:lnTo>
                  <a:lnTo>
                    <a:pt x="78" y="259"/>
                  </a:lnTo>
                  <a:lnTo>
                    <a:pt x="74" y="259"/>
                  </a:lnTo>
                  <a:lnTo>
                    <a:pt x="70" y="257"/>
                  </a:lnTo>
                  <a:lnTo>
                    <a:pt x="66" y="255"/>
                  </a:lnTo>
                  <a:lnTo>
                    <a:pt x="65" y="252"/>
                  </a:lnTo>
                  <a:lnTo>
                    <a:pt x="64" y="248"/>
                  </a:lnTo>
                  <a:lnTo>
                    <a:pt x="64" y="130"/>
                  </a:lnTo>
                  <a:lnTo>
                    <a:pt x="39" y="130"/>
                  </a:lnTo>
                  <a:lnTo>
                    <a:pt x="39" y="248"/>
                  </a:lnTo>
                  <a:lnTo>
                    <a:pt x="38" y="252"/>
                  </a:lnTo>
                  <a:lnTo>
                    <a:pt x="36" y="255"/>
                  </a:lnTo>
                  <a:lnTo>
                    <a:pt x="33" y="257"/>
                  </a:lnTo>
                  <a:lnTo>
                    <a:pt x="30" y="259"/>
                  </a:lnTo>
                  <a:lnTo>
                    <a:pt x="26" y="259"/>
                  </a:lnTo>
                  <a:lnTo>
                    <a:pt x="22" y="259"/>
                  </a:lnTo>
                  <a:lnTo>
                    <a:pt x="18" y="257"/>
                  </a:lnTo>
                  <a:lnTo>
                    <a:pt x="15" y="255"/>
                  </a:lnTo>
                  <a:lnTo>
                    <a:pt x="13" y="252"/>
                  </a:lnTo>
                  <a:lnTo>
                    <a:pt x="12" y="248"/>
                  </a:lnTo>
                  <a:lnTo>
                    <a:pt x="12" y="130"/>
                  </a:lnTo>
                  <a:lnTo>
                    <a:pt x="8" y="130"/>
                  </a:lnTo>
                  <a:lnTo>
                    <a:pt x="5" y="128"/>
                  </a:lnTo>
                  <a:lnTo>
                    <a:pt x="3" y="125"/>
                  </a:lnTo>
                  <a:lnTo>
                    <a:pt x="1" y="121"/>
                  </a:lnTo>
                  <a:lnTo>
                    <a:pt x="0" y="117"/>
                  </a:lnTo>
                  <a:lnTo>
                    <a:pt x="0" y="14"/>
                  </a:lnTo>
                  <a:lnTo>
                    <a:pt x="1" y="10"/>
                  </a:lnTo>
                  <a:lnTo>
                    <a:pt x="3" y="6"/>
                  </a:lnTo>
                  <a:lnTo>
                    <a:pt x="5" y="4"/>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46">
              <a:extLst>
                <a:ext uri="{FF2B5EF4-FFF2-40B4-BE49-F238E27FC236}">
                  <a16:creationId xmlns:a16="http://schemas.microsoft.com/office/drawing/2014/main" id="{4CF3FF2A-1C80-7149-8EEC-A14AE0AAAC18}"/>
                </a:ext>
              </a:extLst>
            </p:cNvPr>
            <p:cNvSpPr>
              <a:spLocks noEditPoints="1"/>
            </p:cNvSpPr>
            <p:nvPr/>
          </p:nvSpPr>
          <p:spPr bwMode="auto">
            <a:xfrm>
              <a:off x="3506788" y="4929188"/>
              <a:ext cx="122238" cy="123825"/>
            </a:xfrm>
            <a:custGeom>
              <a:avLst/>
              <a:gdLst>
                <a:gd name="T0" fmla="*/ 39 w 77"/>
                <a:gd name="T1" fmla="*/ 26 h 78"/>
                <a:gd name="T2" fmla="*/ 35 w 77"/>
                <a:gd name="T3" fmla="*/ 26 h 78"/>
                <a:gd name="T4" fmla="*/ 32 w 77"/>
                <a:gd name="T5" fmla="*/ 28 h 78"/>
                <a:gd name="T6" fmla="*/ 28 w 77"/>
                <a:gd name="T7" fmla="*/ 31 h 78"/>
                <a:gd name="T8" fmla="*/ 27 w 77"/>
                <a:gd name="T9" fmla="*/ 34 h 78"/>
                <a:gd name="T10" fmla="*/ 26 w 77"/>
                <a:gd name="T11" fmla="*/ 39 h 78"/>
                <a:gd name="T12" fmla="*/ 27 w 77"/>
                <a:gd name="T13" fmla="*/ 42 h 78"/>
                <a:gd name="T14" fmla="*/ 28 w 77"/>
                <a:gd name="T15" fmla="*/ 46 h 78"/>
                <a:gd name="T16" fmla="*/ 32 w 77"/>
                <a:gd name="T17" fmla="*/ 48 h 78"/>
                <a:gd name="T18" fmla="*/ 35 w 77"/>
                <a:gd name="T19" fmla="*/ 50 h 78"/>
                <a:gd name="T20" fmla="*/ 39 w 77"/>
                <a:gd name="T21" fmla="*/ 51 h 78"/>
                <a:gd name="T22" fmla="*/ 43 w 77"/>
                <a:gd name="T23" fmla="*/ 50 h 78"/>
                <a:gd name="T24" fmla="*/ 46 w 77"/>
                <a:gd name="T25" fmla="*/ 48 h 78"/>
                <a:gd name="T26" fmla="*/ 49 w 77"/>
                <a:gd name="T27" fmla="*/ 46 h 78"/>
                <a:gd name="T28" fmla="*/ 51 w 77"/>
                <a:gd name="T29" fmla="*/ 42 h 78"/>
                <a:gd name="T30" fmla="*/ 52 w 77"/>
                <a:gd name="T31" fmla="*/ 39 h 78"/>
                <a:gd name="T32" fmla="*/ 51 w 77"/>
                <a:gd name="T33" fmla="*/ 34 h 78"/>
                <a:gd name="T34" fmla="*/ 49 w 77"/>
                <a:gd name="T35" fmla="*/ 31 h 78"/>
                <a:gd name="T36" fmla="*/ 46 w 77"/>
                <a:gd name="T37" fmla="*/ 28 h 78"/>
                <a:gd name="T38" fmla="*/ 43 w 77"/>
                <a:gd name="T39" fmla="*/ 26 h 78"/>
                <a:gd name="T40" fmla="*/ 39 w 77"/>
                <a:gd name="T41" fmla="*/ 26 h 78"/>
                <a:gd name="T42" fmla="*/ 39 w 77"/>
                <a:gd name="T43" fmla="*/ 0 h 78"/>
                <a:gd name="T44" fmla="*/ 53 w 77"/>
                <a:gd name="T45" fmla="*/ 3 h 78"/>
                <a:gd name="T46" fmla="*/ 66 w 77"/>
                <a:gd name="T47" fmla="*/ 11 h 78"/>
                <a:gd name="T48" fmla="*/ 74 w 77"/>
                <a:gd name="T49" fmla="*/ 24 h 78"/>
                <a:gd name="T50" fmla="*/ 77 w 77"/>
                <a:gd name="T51" fmla="*/ 39 h 78"/>
                <a:gd name="T52" fmla="*/ 75 w 77"/>
                <a:gd name="T53" fmla="*/ 51 h 78"/>
                <a:gd name="T54" fmla="*/ 70 w 77"/>
                <a:gd name="T55" fmla="*/ 61 h 78"/>
                <a:gd name="T56" fmla="*/ 62 w 77"/>
                <a:gd name="T57" fmla="*/ 69 h 78"/>
                <a:gd name="T58" fmla="*/ 51 w 77"/>
                <a:gd name="T59" fmla="*/ 75 h 78"/>
                <a:gd name="T60" fmla="*/ 39 w 77"/>
                <a:gd name="T61" fmla="*/ 78 h 78"/>
                <a:gd name="T62" fmla="*/ 24 w 77"/>
                <a:gd name="T63" fmla="*/ 73 h 78"/>
                <a:gd name="T64" fmla="*/ 12 w 77"/>
                <a:gd name="T65" fmla="*/ 65 h 78"/>
                <a:gd name="T66" fmla="*/ 4 w 77"/>
                <a:gd name="T67" fmla="*/ 54 h 78"/>
                <a:gd name="T68" fmla="*/ 0 w 77"/>
                <a:gd name="T69" fmla="*/ 39 h 78"/>
                <a:gd name="T70" fmla="*/ 3 w 77"/>
                <a:gd name="T71" fmla="*/ 27 h 78"/>
                <a:gd name="T72" fmla="*/ 8 w 77"/>
                <a:gd name="T73" fmla="*/ 16 h 78"/>
                <a:gd name="T74" fmla="*/ 16 w 77"/>
                <a:gd name="T75" fmla="*/ 8 h 78"/>
                <a:gd name="T76" fmla="*/ 26 w 77"/>
                <a:gd name="T77" fmla="*/ 2 h 78"/>
                <a:gd name="T78" fmla="*/ 39 w 77"/>
                <a:gd name="T7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8">
                  <a:moveTo>
                    <a:pt x="39" y="26"/>
                  </a:moveTo>
                  <a:lnTo>
                    <a:pt x="35" y="26"/>
                  </a:lnTo>
                  <a:lnTo>
                    <a:pt x="32" y="28"/>
                  </a:lnTo>
                  <a:lnTo>
                    <a:pt x="28" y="31"/>
                  </a:lnTo>
                  <a:lnTo>
                    <a:pt x="27" y="34"/>
                  </a:lnTo>
                  <a:lnTo>
                    <a:pt x="26" y="39"/>
                  </a:lnTo>
                  <a:lnTo>
                    <a:pt x="27" y="42"/>
                  </a:lnTo>
                  <a:lnTo>
                    <a:pt x="28" y="46"/>
                  </a:lnTo>
                  <a:lnTo>
                    <a:pt x="32" y="48"/>
                  </a:lnTo>
                  <a:lnTo>
                    <a:pt x="35" y="50"/>
                  </a:lnTo>
                  <a:lnTo>
                    <a:pt x="39" y="51"/>
                  </a:lnTo>
                  <a:lnTo>
                    <a:pt x="43" y="50"/>
                  </a:lnTo>
                  <a:lnTo>
                    <a:pt x="46" y="48"/>
                  </a:lnTo>
                  <a:lnTo>
                    <a:pt x="49" y="46"/>
                  </a:lnTo>
                  <a:lnTo>
                    <a:pt x="51" y="42"/>
                  </a:lnTo>
                  <a:lnTo>
                    <a:pt x="52" y="39"/>
                  </a:lnTo>
                  <a:lnTo>
                    <a:pt x="51" y="34"/>
                  </a:lnTo>
                  <a:lnTo>
                    <a:pt x="49" y="31"/>
                  </a:lnTo>
                  <a:lnTo>
                    <a:pt x="46" y="28"/>
                  </a:lnTo>
                  <a:lnTo>
                    <a:pt x="43" y="26"/>
                  </a:lnTo>
                  <a:lnTo>
                    <a:pt x="39" y="26"/>
                  </a:lnTo>
                  <a:close/>
                  <a:moveTo>
                    <a:pt x="39" y="0"/>
                  </a:moveTo>
                  <a:lnTo>
                    <a:pt x="53" y="3"/>
                  </a:lnTo>
                  <a:lnTo>
                    <a:pt x="66" y="11"/>
                  </a:lnTo>
                  <a:lnTo>
                    <a:pt x="74" y="24"/>
                  </a:lnTo>
                  <a:lnTo>
                    <a:pt x="77" y="39"/>
                  </a:lnTo>
                  <a:lnTo>
                    <a:pt x="75" y="51"/>
                  </a:lnTo>
                  <a:lnTo>
                    <a:pt x="70" y="61"/>
                  </a:lnTo>
                  <a:lnTo>
                    <a:pt x="62" y="69"/>
                  </a:lnTo>
                  <a:lnTo>
                    <a:pt x="51" y="75"/>
                  </a:lnTo>
                  <a:lnTo>
                    <a:pt x="39" y="78"/>
                  </a:lnTo>
                  <a:lnTo>
                    <a:pt x="24" y="73"/>
                  </a:lnTo>
                  <a:lnTo>
                    <a:pt x="12" y="65"/>
                  </a:lnTo>
                  <a:lnTo>
                    <a:pt x="4" y="54"/>
                  </a:lnTo>
                  <a:lnTo>
                    <a:pt x="0" y="39"/>
                  </a:lnTo>
                  <a:lnTo>
                    <a:pt x="3" y="27"/>
                  </a:lnTo>
                  <a:lnTo>
                    <a:pt x="8" y="16"/>
                  </a:lnTo>
                  <a:lnTo>
                    <a:pt x="16" y="8"/>
                  </a:lnTo>
                  <a:lnTo>
                    <a:pt x="26" y="2"/>
                  </a:lnTo>
                  <a:lnTo>
                    <a:pt x="3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0" name="Freeform 47">
              <a:extLst>
                <a:ext uri="{FF2B5EF4-FFF2-40B4-BE49-F238E27FC236}">
                  <a16:creationId xmlns:a16="http://schemas.microsoft.com/office/drawing/2014/main" id="{7DB42FC7-58C6-A446-A821-4F14C2E5B6ED}"/>
                </a:ext>
              </a:extLst>
            </p:cNvPr>
            <p:cNvSpPr>
              <a:spLocks noEditPoints="1"/>
            </p:cNvSpPr>
            <p:nvPr/>
          </p:nvSpPr>
          <p:spPr bwMode="auto">
            <a:xfrm>
              <a:off x="3279776" y="5091113"/>
              <a:ext cx="166688" cy="411163"/>
            </a:xfrm>
            <a:custGeom>
              <a:avLst/>
              <a:gdLst>
                <a:gd name="T0" fmla="*/ 26 w 105"/>
                <a:gd name="T1" fmla="*/ 26 h 259"/>
                <a:gd name="T2" fmla="*/ 26 w 105"/>
                <a:gd name="T3" fmla="*/ 104 h 259"/>
                <a:gd name="T4" fmla="*/ 79 w 105"/>
                <a:gd name="T5" fmla="*/ 104 h 259"/>
                <a:gd name="T6" fmla="*/ 79 w 105"/>
                <a:gd name="T7" fmla="*/ 26 h 259"/>
                <a:gd name="T8" fmla="*/ 26 w 105"/>
                <a:gd name="T9" fmla="*/ 26 h 259"/>
                <a:gd name="T10" fmla="*/ 14 w 105"/>
                <a:gd name="T11" fmla="*/ 0 h 259"/>
                <a:gd name="T12" fmla="*/ 93 w 105"/>
                <a:gd name="T13" fmla="*/ 0 h 259"/>
                <a:gd name="T14" fmla="*/ 97 w 105"/>
                <a:gd name="T15" fmla="*/ 1 h 259"/>
                <a:gd name="T16" fmla="*/ 100 w 105"/>
                <a:gd name="T17" fmla="*/ 4 h 259"/>
                <a:gd name="T18" fmla="*/ 103 w 105"/>
                <a:gd name="T19" fmla="*/ 6 h 259"/>
                <a:gd name="T20" fmla="*/ 104 w 105"/>
                <a:gd name="T21" fmla="*/ 10 h 259"/>
                <a:gd name="T22" fmla="*/ 105 w 105"/>
                <a:gd name="T23" fmla="*/ 14 h 259"/>
                <a:gd name="T24" fmla="*/ 105 w 105"/>
                <a:gd name="T25" fmla="*/ 117 h 259"/>
                <a:gd name="T26" fmla="*/ 104 w 105"/>
                <a:gd name="T27" fmla="*/ 121 h 259"/>
                <a:gd name="T28" fmla="*/ 103 w 105"/>
                <a:gd name="T29" fmla="*/ 124 h 259"/>
                <a:gd name="T30" fmla="*/ 101 w 105"/>
                <a:gd name="T31" fmla="*/ 127 h 259"/>
                <a:gd name="T32" fmla="*/ 99 w 105"/>
                <a:gd name="T33" fmla="*/ 129 h 259"/>
                <a:gd name="T34" fmla="*/ 96 w 105"/>
                <a:gd name="T35" fmla="*/ 130 h 259"/>
                <a:gd name="T36" fmla="*/ 93 w 105"/>
                <a:gd name="T37" fmla="*/ 130 h 259"/>
                <a:gd name="T38" fmla="*/ 93 w 105"/>
                <a:gd name="T39" fmla="*/ 248 h 259"/>
                <a:gd name="T40" fmla="*/ 92 w 105"/>
                <a:gd name="T41" fmla="*/ 252 h 259"/>
                <a:gd name="T42" fmla="*/ 90 w 105"/>
                <a:gd name="T43" fmla="*/ 255 h 259"/>
                <a:gd name="T44" fmla="*/ 86 w 105"/>
                <a:gd name="T45" fmla="*/ 257 h 259"/>
                <a:gd name="T46" fmla="*/ 83 w 105"/>
                <a:gd name="T47" fmla="*/ 259 h 259"/>
                <a:gd name="T48" fmla="*/ 79 w 105"/>
                <a:gd name="T49" fmla="*/ 259 h 259"/>
                <a:gd name="T50" fmla="*/ 75 w 105"/>
                <a:gd name="T51" fmla="*/ 259 h 259"/>
                <a:gd name="T52" fmla="*/ 71 w 105"/>
                <a:gd name="T53" fmla="*/ 257 h 259"/>
                <a:gd name="T54" fmla="*/ 68 w 105"/>
                <a:gd name="T55" fmla="*/ 255 h 259"/>
                <a:gd name="T56" fmla="*/ 66 w 105"/>
                <a:gd name="T57" fmla="*/ 252 h 259"/>
                <a:gd name="T58" fmla="*/ 66 w 105"/>
                <a:gd name="T59" fmla="*/ 248 h 259"/>
                <a:gd name="T60" fmla="*/ 66 w 105"/>
                <a:gd name="T61" fmla="*/ 130 h 259"/>
                <a:gd name="T62" fmla="*/ 40 w 105"/>
                <a:gd name="T63" fmla="*/ 130 h 259"/>
                <a:gd name="T64" fmla="*/ 40 w 105"/>
                <a:gd name="T65" fmla="*/ 248 h 259"/>
                <a:gd name="T66" fmla="*/ 39 w 105"/>
                <a:gd name="T67" fmla="*/ 252 h 259"/>
                <a:gd name="T68" fmla="*/ 37 w 105"/>
                <a:gd name="T69" fmla="*/ 255 h 259"/>
                <a:gd name="T70" fmla="*/ 33 w 105"/>
                <a:gd name="T71" fmla="*/ 257 h 259"/>
                <a:gd name="T72" fmla="*/ 30 w 105"/>
                <a:gd name="T73" fmla="*/ 259 h 259"/>
                <a:gd name="T74" fmla="*/ 26 w 105"/>
                <a:gd name="T75" fmla="*/ 259 h 259"/>
                <a:gd name="T76" fmla="*/ 22 w 105"/>
                <a:gd name="T77" fmla="*/ 259 h 259"/>
                <a:gd name="T78" fmla="*/ 18 w 105"/>
                <a:gd name="T79" fmla="*/ 257 h 259"/>
                <a:gd name="T80" fmla="*/ 16 w 105"/>
                <a:gd name="T81" fmla="*/ 255 h 259"/>
                <a:gd name="T82" fmla="*/ 14 w 105"/>
                <a:gd name="T83" fmla="*/ 252 h 259"/>
                <a:gd name="T84" fmla="*/ 14 w 105"/>
                <a:gd name="T85" fmla="*/ 248 h 259"/>
                <a:gd name="T86" fmla="*/ 14 w 105"/>
                <a:gd name="T87" fmla="*/ 130 h 259"/>
                <a:gd name="T88" fmla="*/ 10 w 105"/>
                <a:gd name="T89" fmla="*/ 130 h 259"/>
                <a:gd name="T90" fmla="*/ 5 w 105"/>
                <a:gd name="T91" fmla="*/ 128 h 259"/>
                <a:gd name="T92" fmla="*/ 2 w 105"/>
                <a:gd name="T93" fmla="*/ 125 h 259"/>
                <a:gd name="T94" fmla="*/ 0 w 105"/>
                <a:gd name="T95" fmla="*/ 121 h 259"/>
                <a:gd name="T96" fmla="*/ 0 w 105"/>
                <a:gd name="T97" fmla="*/ 117 h 259"/>
                <a:gd name="T98" fmla="*/ 0 w 105"/>
                <a:gd name="T99" fmla="*/ 14 h 259"/>
                <a:gd name="T100" fmla="*/ 0 w 105"/>
                <a:gd name="T101" fmla="*/ 10 h 259"/>
                <a:gd name="T102" fmla="*/ 2 w 105"/>
                <a:gd name="T103" fmla="*/ 6 h 259"/>
                <a:gd name="T104" fmla="*/ 5 w 105"/>
                <a:gd name="T105" fmla="*/ 4 h 259"/>
                <a:gd name="T106" fmla="*/ 10 w 105"/>
                <a:gd name="T107" fmla="*/ 1 h 259"/>
                <a:gd name="T108" fmla="*/ 14 w 105"/>
                <a:gd name="T10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 h="259">
                  <a:moveTo>
                    <a:pt x="26" y="26"/>
                  </a:moveTo>
                  <a:lnTo>
                    <a:pt x="26" y="104"/>
                  </a:lnTo>
                  <a:lnTo>
                    <a:pt x="79" y="104"/>
                  </a:lnTo>
                  <a:lnTo>
                    <a:pt x="79" y="26"/>
                  </a:lnTo>
                  <a:lnTo>
                    <a:pt x="26" y="26"/>
                  </a:lnTo>
                  <a:close/>
                  <a:moveTo>
                    <a:pt x="14" y="0"/>
                  </a:moveTo>
                  <a:lnTo>
                    <a:pt x="93" y="0"/>
                  </a:lnTo>
                  <a:lnTo>
                    <a:pt x="97" y="1"/>
                  </a:lnTo>
                  <a:lnTo>
                    <a:pt x="100" y="4"/>
                  </a:lnTo>
                  <a:lnTo>
                    <a:pt x="103" y="6"/>
                  </a:lnTo>
                  <a:lnTo>
                    <a:pt x="104" y="10"/>
                  </a:lnTo>
                  <a:lnTo>
                    <a:pt x="105" y="14"/>
                  </a:lnTo>
                  <a:lnTo>
                    <a:pt x="105" y="117"/>
                  </a:lnTo>
                  <a:lnTo>
                    <a:pt x="104" y="121"/>
                  </a:lnTo>
                  <a:lnTo>
                    <a:pt x="103" y="124"/>
                  </a:lnTo>
                  <a:lnTo>
                    <a:pt x="101" y="127"/>
                  </a:lnTo>
                  <a:lnTo>
                    <a:pt x="99" y="129"/>
                  </a:lnTo>
                  <a:lnTo>
                    <a:pt x="96" y="130"/>
                  </a:lnTo>
                  <a:lnTo>
                    <a:pt x="93" y="130"/>
                  </a:lnTo>
                  <a:lnTo>
                    <a:pt x="93" y="248"/>
                  </a:lnTo>
                  <a:lnTo>
                    <a:pt x="92" y="252"/>
                  </a:lnTo>
                  <a:lnTo>
                    <a:pt x="90" y="255"/>
                  </a:lnTo>
                  <a:lnTo>
                    <a:pt x="86" y="257"/>
                  </a:lnTo>
                  <a:lnTo>
                    <a:pt x="83" y="259"/>
                  </a:lnTo>
                  <a:lnTo>
                    <a:pt x="79" y="259"/>
                  </a:lnTo>
                  <a:lnTo>
                    <a:pt x="75" y="259"/>
                  </a:lnTo>
                  <a:lnTo>
                    <a:pt x="71" y="257"/>
                  </a:lnTo>
                  <a:lnTo>
                    <a:pt x="68" y="255"/>
                  </a:lnTo>
                  <a:lnTo>
                    <a:pt x="66" y="252"/>
                  </a:lnTo>
                  <a:lnTo>
                    <a:pt x="66" y="248"/>
                  </a:lnTo>
                  <a:lnTo>
                    <a:pt x="66" y="130"/>
                  </a:lnTo>
                  <a:lnTo>
                    <a:pt x="40" y="130"/>
                  </a:lnTo>
                  <a:lnTo>
                    <a:pt x="40" y="248"/>
                  </a:lnTo>
                  <a:lnTo>
                    <a:pt x="39" y="252"/>
                  </a:lnTo>
                  <a:lnTo>
                    <a:pt x="37" y="255"/>
                  </a:lnTo>
                  <a:lnTo>
                    <a:pt x="33" y="257"/>
                  </a:lnTo>
                  <a:lnTo>
                    <a:pt x="30" y="259"/>
                  </a:lnTo>
                  <a:lnTo>
                    <a:pt x="26" y="259"/>
                  </a:lnTo>
                  <a:lnTo>
                    <a:pt x="22" y="259"/>
                  </a:lnTo>
                  <a:lnTo>
                    <a:pt x="18" y="257"/>
                  </a:lnTo>
                  <a:lnTo>
                    <a:pt x="16" y="255"/>
                  </a:lnTo>
                  <a:lnTo>
                    <a:pt x="14" y="252"/>
                  </a:lnTo>
                  <a:lnTo>
                    <a:pt x="14" y="248"/>
                  </a:lnTo>
                  <a:lnTo>
                    <a:pt x="14" y="130"/>
                  </a:lnTo>
                  <a:lnTo>
                    <a:pt x="10" y="130"/>
                  </a:lnTo>
                  <a:lnTo>
                    <a:pt x="5" y="128"/>
                  </a:lnTo>
                  <a:lnTo>
                    <a:pt x="2" y="125"/>
                  </a:lnTo>
                  <a:lnTo>
                    <a:pt x="0" y="121"/>
                  </a:lnTo>
                  <a:lnTo>
                    <a:pt x="0" y="117"/>
                  </a:lnTo>
                  <a:lnTo>
                    <a:pt x="0" y="14"/>
                  </a:lnTo>
                  <a:lnTo>
                    <a:pt x="0" y="10"/>
                  </a:lnTo>
                  <a:lnTo>
                    <a:pt x="2" y="6"/>
                  </a:lnTo>
                  <a:lnTo>
                    <a:pt x="5" y="4"/>
                  </a:lnTo>
                  <a:lnTo>
                    <a:pt x="10" y="1"/>
                  </a:lnTo>
                  <a:lnTo>
                    <a:pt x="1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1" name="Freeform 48">
              <a:extLst>
                <a:ext uri="{FF2B5EF4-FFF2-40B4-BE49-F238E27FC236}">
                  <a16:creationId xmlns:a16="http://schemas.microsoft.com/office/drawing/2014/main" id="{B88F0589-2A84-644E-AA3F-14526C754C4E}"/>
                </a:ext>
              </a:extLst>
            </p:cNvPr>
            <p:cNvSpPr>
              <a:spLocks noEditPoints="1"/>
            </p:cNvSpPr>
            <p:nvPr/>
          </p:nvSpPr>
          <p:spPr bwMode="auto">
            <a:xfrm>
              <a:off x="3303588" y="4929188"/>
              <a:ext cx="122238" cy="123825"/>
            </a:xfrm>
            <a:custGeom>
              <a:avLst/>
              <a:gdLst>
                <a:gd name="T0" fmla="*/ 38 w 77"/>
                <a:gd name="T1" fmla="*/ 26 h 78"/>
                <a:gd name="T2" fmla="*/ 34 w 77"/>
                <a:gd name="T3" fmla="*/ 26 h 78"/>
                <a:gd name="T4" fmla="*/ 31 w 77"/>
                <a:gd name="T5" fmla="*/ 28 h 78"/>
                <a:gd name="T6" fmla="*/ 28 w 77"/>
                <a:gd name="T7" fmla="*/ 31 h 78"/>
                <a:gd name="T8" fmla="*/ 26 w 77"/>
                <a:gd name="T9" fmla="*/ 34 h 78"/>
                <a:gd name="T10" fmla="*/ 26 w 77"/>
                <a:gd name="T11" fmla="*/ 39 h 78"/>
                <a:gd name="T12" fmla="*/ 26 w 77"/>
                <a:gd name="T13" fmla="*/ 42 h 78"/>
                <a:gd name="T14" fmla="*/ 28 w 77"/>
                <a:gd name="T15" fmla="*/ 46 h 78"/>
                <a:gd name="T16" fmla="*/ 31 w 77"/>
                <a:gd name="T17" fmla="*/ 48 h 78"/>
                <a:gd name="T18" fmla="*/ 34 w 77"/>
                <a:gd name="T19" fmla="*/ 50 h 78"/>
                <a:gd name="T20" fmla="*/ 38 w 77"/>
                <a:gd name="T21" fmla="*/ 51 h 78"/>
                <a:gd name="T22" fmla="*/ 42 w 77"/>
                <a:gd name="T23" fmla="*/ 50 h 78"/>
                <a:gd name="T24" fmla="*/ 45 w 77"/>
                <a:gd name="T25" fmla="*/ 48 h 78"/>
                <a:gd name="T26" fmla="*/ 49 w 77"/>
                <a:gd name="T27" fmla="*/ 46 h 78"/>
                <a:gd name="T28" fmla="*/ 50 w 77"/>
                <a:gd name="T29" fmla="*/ 42 h 78"/>
                <a:gd name="T30" fmla="*/ 51 w 77"/>
                <a:gd name="T31" fmla="*/ 39 h 78"/>
                <a:gd name="T32" fmla="*/ 50 w 77"/>
                <a:gd name="T33" fmla="*/ 34 h 78"/>
                <a:gd name="T34" fmla="*/ 49 w 77"/>
                <a:gd name="T35" fmla="*/ 31 h 78"/>
                <a:gd name="T36" fmla="*/ 45 w 77"/>
                <a:gd name="T37" fmla="*/ 28 h 78"/>
                <a:gd name="T38" fmla="*/ 42 w 77"/>
                <a:gd name="T39" fmla="*/ 26 h 78"/>
                <a:gd name="T40" fmla="*/ 38 w 77"/>
                <a:gd name="T41" fmla="*/ 26 h 78"/>
                <a:gd name="T42" fmla="*/ 38 w 77"/>
                <a:gd name="T43" fmla="*/ 0 h 78"/>
                <a:gd name="T44" fmla="*/ 51 w 77"/>
                <a:gd name="T45" fmla="*/ 2 h 78"/>
                <a:gd name="T46" fmla="*/ 61 w 77"/>
                <a:gd name="T47" fmla="*/ 8 h 78"/>
                <a:gd name="T48" fmla="*/ 69 w 77"/>
                <a:gd name="T49" fmla="*/ 16 h 78"/>
                <a:gd name="T50" fmla="*/ 75 w 77"/>
                <a:gd name="T51" fmla="*/ 27 h 78"/>
                <a:gd name="T52" fmla="*/ 77 w 77"/>
                <a:gd name="T53" fmla="*/ 39 h 78"/>
                <a:gd name="T54" fmla="*/ 73 w 77"/>
                <a:gd name="T55" fmla="*/ 54 h 78"/>
                <a:gd name="T56" fmla="*/ 65 w 77"/>
                <a:gd name="T57" fmla="*/ 65 h 78"/>
                <a:gd name="T58" fmla="*/ 54 w 77"/>
                <a:gd name="T59" fmla="*/ 73 h 78"/>
                <a:gd name="T60" fmla="*/ 38 w 77"/>
                <a:gd name="T61" fmla="*/ 78 h 78"/>
                <a:gd name="T62" fmla="*/ 27 w 77"/>
                <a:gd name="T63" fmla="*/ 75 h 78"/>
                <a:gd name="T64" fmla="*/ 15 w 77"/>
                <a:gd name="T65" fmla="*/ 69 h 78"/>
                <a:gd name="T66" fmla="*/ 7 w 77"/>
                <a:gd name="T67" fmla="*/ 61 h 78"/>
                <a:gd name="T68" fmla="*/ 2 w 77"/>
                <a:gd name="T69" fmla="*/ 51 h 78"/>
                <a:gd name="T70" fmla="*/ 0 w 77"/>
                <a:gd name="T71" fmla="*/ 39 h 78"/>
                <a:gd name="T72" fmla="*/ 3 w 77"/>
                <a:gd name="T73" fmla="*/ 24 h 78"/>
                <a:gd name="T74" fmla="*/ 11 w 77"/>
                <a:gd name="T75" fmla="*/ 11 h 78"/>
                <a:gd name="T76" fmla="*/ 24 w 77"/>
                <a:gd name="T77" fmla="*/ 3 h 78"/>
                <a:gd name="T78" fmla="*/ 38 w 77"/>
                <a:gd name="T7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8">
                  <a:moveTo>
                    <a:pt x="38" y="26"/>
                  </a:moveTo>
                  <a:lnTo>
                    <a:pt x="34" y="26"/>
                  </a:lnTo>
                  <a:lnTo>
                    <a:pt x="31" y="28"/>
                  </a:lnTo>
                  <a:lnTo>
                    <a:pt x="28" y="31"/>
                  </a:lnTo>
                  <a:lnTo>
                    <a:pt x="26" y="34"/>
                  </a:lnTo>
                  <a:lnTo>
                    <a:pt x="26" y="39"/>
                  </a:lnTo>
                  <a:lnTo>
                    <a:pt x="26" y="42"/>
                  </a:lnTo>
                  <a:lnTo>
                    <a:pt x="28" y="46"/>
                  </a:lnTo>
                  <a:lnTo>
                    <a:pt x="31" y="48"/>
                  </a:lnTo>
                  <a:lnTo>
                    <a:pt x="34" y="50"/>
                  </a:lnTo>
                  <a:lnTo>
                    <a:pt x="38" y="51"/>
                  </a:lnTo>
                  <a:lnTo>
                    <a:pt x="42" y="50"/>
                  </a:lnTo>
                  <a:lnTo>
                    <a:pt x="45" y="48"/>
                  </a:lnTo>
                  <a:lnTo>
                    <a:pt x="49" y="46"/>
                  </a:lnTo>
                  <a:lnTo>
                    <a:pt x="50" y="42"/>
                  </a:lnTo>
                  <a:lnTo>
                    <a:pt x="51" y="39"/>
                  </a:lnTo>
                  <a:lnTo>
                    <a:pt x="50" y="34"/>
                  </a:lnTo>
                  <a:lnTo>
                    <a:pt x="49" y="31"/>
                  </a:lnTo>
                  <a:lnTo>
                    <a:pt x="45" y="28"/>
                  </a:lnTo>
                  <a:lnTo>
                    <a:pt x="42" y="26"/>
                  </a:lnTo>
                  <a:lnTo>
                    <a:pt x="38" y="26"/>
                  </a:lnTo>
                  <a:close/>
                  <a:moveTo>
                    <a:pt x="38" y="0"/>
                  </a:moveTo>
                  <a:lnTo>
                    <a:pt x="51" y="2"/>
                  </a:lnTo>
                  <a:lnTo>
                    <a:pt x="61" y="8"/>
                  </a:lnTo>
                  <a:lnTo>
                    <a:pt x="69" y="16"/>
                  </a:lnTo>
                  <a:lnTo>
                    <a:pt x="75" y="27"/>
                  </a:lnTo>
                  <a:lnTo>
                    <a:pt x="77" y="39"/>
                  </a:lnTo>
                  <a:lnTo>
                    <a:pt x="73" y="54"/>
                  </a:lnTo>
                  <a:lnTo>
                    <a:pt x="65" y="65"/>
                  </a:lnTo>
                  <a:lnTo>
                    <a:pt x="54" y="73"/>
                  </a:lnTo>
                  <a:lnTo>
                    <a:pt x="38" y="78"/>
                  </a:lnTo>
                  <a:lnTo>
                    <a:pt x="27" y="75"/>
                  </a:lnTo>
                  <a:lnTo>
                    <a:pt x="15" y="69"/>
                  </a:lnTo>
                  <a:lnTo>
                    <a:pt x="7" y="61"/>
                  </a:lnTo>
                  <a:lnTo>
                    <a:pt x="2" y="51"/>
                  </a:lnTo>
                  <a:lnTo>
                    <a:pt x="0" y="39"/>
                  </a:lnTo>
                  <a:lnTo>
                    <a:pt x="3" y="24"/>
                  </a:lnTo>
                  <a:lnTo>
                    <a:pt x="11" y="11"/>
                  </a:lnTo>
                  <a:lnTo>
                    <a:pt x="24" y="3"/>
                  </a:lnTo>
                  <a:lnTo>
                    <a:pt x="3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2" name="Freeform 49">
              <a:extLst>
                <a:ext uri="{FF2B5EF4-FFF2-40B4-BE49-F238E27FC236}">
                  <a16:creationId xmlns:a16="http://schemas.microsoft.com/office/drawing/2014/main" id="{2A21ECC5-245D-7C48-A049-8F5F598A17BD}"/>
                </a:ext>
              </a:extLst>
            </p:cNvPr>
            <p:cNvSpPr>
              <a:spLocks noEditPoints="1"/>
            </p:cNvSpPr>
            <p:nvPr/>
          </p:nvSpPr>
          <p:spPr bwMode="auto">
            <a:xfrm>
              <a:off x="3635376" y="857250"/>
              <a:ext cx="130175" cy="325438"/>
            </a:xfrm>
            <a:custGeom>
              <a:avLst/>
              <a:gdLst>
                <a:gd name="T0" fmla="*/ 40 w 82"/>
                <a:gd name="T1" fmla="*/ 21 h 205"/>
                <a:gd name="T2" fmla="*/ 23 w 82"/>
                <a:gd name="T3" fmla="*/ 103 h 205"/>
                <a:gd name="T4" fmla="*/ 60 w 82"/>
                <a:gd name="T5" fmla="*/ 103 h 205"/>
                <a:gd name="T6" fmla="*/ 43 w 82"/>
                <a:gd name="T7" fmla="*/ 21 h 205"/>
                <a:gd name="T8" fmla="*/ 40 w 82"/>
                <a:gd name="T9" fmla="*/ 21 h 205"/>
                <a:gd name="T10" fmla="*/ 31 w 82"/>
                <a:gd name="T11" fmla="*/ 0 h 205"/>
                <a:gd name="T12" fmla="*/ 52 w 82"/>
                <a:gd name="T13" fmla="*/ 0 h 205"/>
                <a:gd name="T14" fmla="*/ 55 w 82"/>
                <a:gd name="T15" fmla="*/ 1 h 205"/>
                <a:gd name="T16" fmla="*/ 59 w 82"/>
                <a:gd name="T17" fmla="*/ 3 h 205"/>
                <a:gd name="T18" fmla="*/ 61 w 82"/>
                <a:gd name="T19" fmla="*/ 6 h 205"/>
                <a:gd name="T20" fmla="*/ 62 w 82"/>
                <a:gd name="T21" fmla="*/ 10 h 205"/>
                <a:gd name="T22" fmla="*/ 82 w 82"/>
                <a:gd name="T23" fmla="*/ 110 h 205"/>
                <a:gd name="T24" fmla="*/ 82 w 82"/>
                <a:gd name="T25" fmla="*/ 114 h 205"/>
                <a:gd name="T26" fmla="*/ 81 w 82"/>
                <a:gd name="T27" fmla="*/ 117 h 205"/>
                <a:gd name="T28" fmla="*/ 80 w 82"/>
                <a:gd name="T29" fmla="*/ 120 h 205"/>
                <a:gd name="T30" fmla="*/ 78 w 82"/>
                <a:gd name="T31" fmla="*/ 122 h 205"/>
                <a:gd name="T32" fmla="*/ 75 w 82"/>
                <a:gd name="T33" fmla="*/ 123 h 205"/>
                <a:gd name="T34" fmla="*/ 72 w 82"/>
                <a:gd name="T35" fmla="*/ 123 h 205"/>
                <a:gd name="T36" fmla="*/ 72 w 82"/>
                <a:gd name="T37" fmla="*/ 196 h 205"/>
                <a:gd name="T38" fmla="*/ 72 w 82"/>
                <a:gd name="T39" fmla="*/ 199 h 205"/>
                <a:gd name="T40" fmla="*/ 70 w 82"/>
                <a:gd name="T41" fmla="*/ 201 h 205"/>
                <a:gd name="T42" fmla="*/ 68 w 82"/>
                <a:gd name="T43" fmla="*/ 203 h 205"/>
                <a:gd name="T44" fmla="*/ 65 w 82"/>
                <a:gd name="T45" fmla="*/ 204 h 205"/>
                <a:gd name="T46" fmla="*/ 62 w 82"/>
                <a:gd name="T47" fmla="*/ 205 h 205"/>
                <a:gd name="T48" fmla="*/ 59 w 82"/>
                <a:gd name="T49" fmla="*/ 204 h 205"/>
                <a:gd name="T50" fmla="*/ 55 w 82"/>
                <a:gd name="T51" fmla="*/ 203 h 205"/>
                <a:gd name="T52" fmla="*/ 54 w 82"/>
                <a:gd name="T53" fmla="*/ 201 h 205"/>
                <a:gd name="T54" fmla="*/ 52 w 82"/>
                <a:gd name="T55" fmla="*/ 199 h 205"/>
                <a:gd name="T56" fmla="*/ 52 w 82"/>
                <a:gd name="T57" fmla="*/ 196 h 205"/>
                <a:gd name="T58" fmla="*/ 52 w 82"/>
                <a:gd name="T59" fmla="*/ 123 h 205"/>
                <a:gd name="T60" fmla="*/ 31 w 82"/>
                <a:gd name="T61" fmla="*/ 123 h 205"/>
                <a:gd name="T62" fmla="*/ 31 w 82"/>
                <a:gd name="T63" fmla="*/ 196 h 205"/>
                <a:gd name="T64" fmla="*/ 31 w 82"/>
                <a:gd name="T65" fmla="*/ 199 h 205"/>
                <a:gd name="T66" fmla="*/ 29 w 82"/>
                <a:gd name="T67" fmla="*/ 201 h 205"/>
                <a:gd name="T68" fmla="*/ 27 w 82"/>
                <a:gd name="T69" fmla="*/ 203 h 205"/>
                <a:gd name="T70" fmla="*/ 24 w 82"/>
                <a:gd name="T71" fmla="*/ 204 h 205"/>
                <a:gd name="T72" fmla="*/ 21 w 82"/>
                <a:gd name="T73" fmla="*/ 205 h 205"/>
                <a:gd name="T74" fmla="*/ 18 w 82"/>
                <a:gd name="T75" fmla="*/ 204 h 205"/>
                <a:gd name="T76" fmla="*/ 15 w 82"/>
                <a:gd name="T77" fmla="*/ 203 h 205"/>
                <a:gd name="T78" fmla="*/ 13 w 82"/>
                <a:gd name="T79" fmla="*/ 201 h 205"/>
                <a:gd name="T80" fmla="*/ 12 w 82"/>
                <a:gd name="T81" fmla="*/ 199 h 205"/>
                <a:gd name="T82" fmla="*/ 11 w 82"/>
                <a:gd name="T83" fmla="*/ 196 h 205"/>
                <a:gd name="T84" fmla="*/ 11 w 82"/>
                <a:gd name="T85" fmla="*/ 123 h 205"/>
                <a:gd name="T86" fmla="*/ 8 w 82"/>
                <a:gd name="T87" fmla="*/ 123 h 205"/>
                <a:gd name="T88" fmla="*/ 6 w 82"/>
                <a:gd name="T89" fmla="*/ 122 h 205"/>
                <a:gd name="T90" fmla="*/ 4 w 82"/>
                <a:gd name="T91" fmla="*/ 120 h 205"/>
                <a:gd name="T92" fmla="*/ 1 w 82"/>
                <a:gd name="T93" fmla="*/ 117 h 205"/>
                <a:gd name="T94" fmla="*/ 0 w 82"/>
                <a:gd name="T95" fmla="*/ 114 h 205"/>
                <a:gd name="T96" fmla="*/ 1 w 82"/>
                <a:gd name="T97" fmla="*/ 110 h 205"/>
                <a:gd name="T98" fmla="*/ 21 w 82"/>
                <a:gd name="T99" fmla="*/ 10 h 205"/>
                <a:gd name="T100" fmla="*/ 22 w 82"/>
                <a:gd name="T101" fmla="*/ 6 h 205"/>
                <a:gd name="T102" fmla="*/ 24 w 82"/>
                <a:gd name="T103" fmla="*/ 3 h 205"/>
                <a:gd name="T104" fmla="*/ 27 w 82"/>
                <a:gd name="T105" fmla="*/ 1 h 205"/>
                <a:gd name="T106" fmla="*/ 31 w 82"/>
                <a:gd name="T10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 h="205">
                  <a:moveTo>
                    <a:pt x="40" y="21"/>
                  </a:moveTo>
                  <a:lnTo>
                    <a:pt x="23" y="103"/>
                  </a:lnTo>
                  <a:lnTo>
                    <a:pt x="60" y="103"/>
                  </a:lnTo>
                  <a:lnTo>
                    <a:pt x="43" y="21"/>
                  </a:lnTo>
                  <a:lnTo>
                    <a:pt x="40" y="21"/>
                  </a:lnTo>
                  <a:close/>
                  <a:moveTo>
                    <a:pt x="31" y="0"/>
                  </a:moveTo>
                  <a:lnTo>
                    <a:pt x="52" y="0"/>
                  </a:lnTo>
                  <a:lnTo>
                    <a:pt x="55" y="1"/>
                  </a:lnTo>
                  <a:lnTo>
                    <a:pt x="59" y="3"/>
                  </a:lnTo>
                  <a:lnTo>
                    <a:pt x="61" y="6"/>
                  </a:lnTo>
                  <a:lnTo>
                    <a:pt x="62" y="10"/>
                  </a:lnTo>
                  <a:lnTo>
                    <a:pt x="82" y="110"/>
                  </a:lnTo>
                  <a:lnTo>
                    <a:pt x="82" y="114"/>
                  </a:lnTo>
                  <a:lnTo>
                    <a:pt x="81" y="117"/>
                  </a:lnTo>
                  <a:lnTo>
                    <a:pt x="80" y="120"/>
                  </a:lnTo>
                  <a:lnTo>
                    <a:pt x="78" y="122"/>
                  </a:lnTo>
                  <a:lnTo>
                    <a:pt x="75" y="123"/>
                  </a:lnTo>
                  <a:lnTo>
                    <a:pt x="72" y="123"/>
                  </a:lnTo>
                  <a:lnTo>
                    <a:pt x="72" y="196"/>
                  </a:lnTo>
                  <a:lnTo>
                    <a:pt x="72" y="199"/>
                  </a:lnTo>
                  <a:lnTo>
                    <a:pt x="70" y="201"/>
                  </a:lnTo>
                  <a:lnTo>
                    <a:pt x="68" y="203"/>
                  </a:lnTo>
                  <a:lnTo>
                    <a:pt x="65" y="204"/>
                  </a:lnTo>
                  <a:lnTo>
                    <a:pt x="62" y="205"/>
                  </a:lnTo>
                  <a:lnTo>
                    <a:pt x="59" y="204"/>
                  </a:lnTo>
                  <a:lnTo>
                    <a:pt x="55" y="203"/>
                  </a:lnTo>
                  <a:lnTo>
                    <a:pt x="54" y="201"/>
                  </a:lnTo>
                  <a:lnTo>
                    <a:pt x="52" y="199"/>
                  </a:lnTo>
                  <a:lnTo>
                    <a:pt x="52" y="196"/>
                  </a:lnTo>
                  <a:lnTo>
                    <a:pt x="52" y="123"/>
                  </a:lnTo>
                  <a:lnTo>
                    <a:pt x="31" y="123"/>
                  </a:lnTo>
                  <a:lnTo>
                    <a:pt x="31" y="196"/>
                  </a:lnTo>
                  <a:lnTo>
                    <a:pt x="31" y="199"/>
                  </a:lnTo>
                  <a:lnTo>
                    <a:pt x="29" y="201"/>
                  </a:lnTo>
                  <a:lnTo>
                    <a:pt x="27" y="203"/>
                  </a:lnTo>
                  <a:lnTo>
                    <a:pt x="24" y="204"/>
                  </a:lnTo>
                  <a:lnTo>
                    <a:pt x="21" y="205"/>
                  </a:lnTo>
                  <a:lnTo>
                    <a:pt x="18" y="204"/>
                  </a:lnTo>
                  <a:lnTo>
                    <a:pt x="15" y="203"/>
                  </a:lnTo>
                  <a:lnTo>
                    <a:pt x="13" y="201"/>
                  </a:lnTo>
                  <a:lnTo>
                    <a:pt x="12" y="199"/>
                  </a:lnTo>
                  <a:lnTo>
                    <a:pt x="11" y="196"/>
                  </a:lnTo>
                  <a:lnTo>
                    <a:pt x="11" y="123"/>
                  </a:lnTo>
                  <a:lnTo>
                    <a:pt x="8" y="123"/>
                  </a:lnTo>
                  <a:lnTo>
                    <a:pt x="6" y="122"/>
                  </a:lnTo>
                  <a:lnTo>
                    <a:pt x="4" y="120"/>
                  </a:lnTo>
                  <a:lnTo>
                    <a:pt x="1" y="117"/>
                  </a:lnTo>
                  <a:lnTo>
                    <a:pt x="0" y="114"/>
                  </a:lnTo>
                  <a:lnTo>
                    <a:pt x="1" y="110"/>
                  </a:lnTo>
                  <a:lnTo>
                    <a:pt x="21" y="10"/>
                  </a:lnTo>
                  <a:lnTo>
                    <a:pt x="22" y="6"/>
                  </a:lnTo>
                  <a:lnTo>
                    <a:pt x="24" y="3"/>
                  </a:lnTo>
                  <a:lnTo>
                    <a:pt x="27" y="1"/>
                  </a:lnTo>
                  <a:lnTo>
                    <a:pt x="3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3" name="Freeform 50">
              <a:extLst>
                <a:ext uri="{FF2B5EF4-FFF2-40B4-BE49-F238E27FC236}">
                  <a16:creationId xmlns:a16="http://schemas.microsoft.com/office/drawing/2014/main" id="{32D70AAA-86D2-C54F-8366-9D0EFB5B7E14}"/>
                </a:ext>
              </a:extLst>
            </p:cNvPr>
            <p:cNvSpPr>
              <a:spLocks noEditPoints="1"/>
            </p:cNvSpPr>
            <p:nvPr/>
          </p:nvSpPr>
          <p:spPr bwMode="auto">
            <a:xfrm>
              <a:off x="3654426" y="730250"/>
              <a:ext cx="96838" cy="96838"/>
            </a:xfrm>
            <a:custGeom>
              <a:avLst/>
              <a:gdLst>
                <a:gd name="T0" fmla="*/ 31 w 61"/>
                <a:gd name="T1" fmla="*/ 20 h 61"/>
                <a:gd name="T2" fmla="*/ 27 w 61"/>
                <a:gd name="T3" fmla="*/ 20 h 61"/>
                <a:gd name="T4" fmla="*/ 25 w 61"/>
                <a:gd name="T5" fmla="*/ 22 h 61"/>
                <a:gd name="T6" fmla="*/ 23 w 61"/>
                <a:gd name="T7" fmla="*/ 24 h 61"/>
                <a:gd name="T8" fmla="*/ 21 w 61"/>
                <a:gd name="T9" fmla="*/ 27 h 61"/>
                <a:gd name="T10" fmla="*/ 21 w 61"/>
                <a:gd name="T11" fmla="*/ 31 h 61"/>
                <a:gd name="T12" fmla="*/ 21 w 61"/>
                <a:gd name="T13" fmla="*/ 34 h 61"/>
                <a:gd name="T14" fmla="*/ 23 w 61"/>
                <a:gd name="T15" fmla="*/ 36 h 61"/>
                <a:gd name="T16" fmla="*/ 25 w 61"/>
                <a:gd name="T17" fmla="*/ 38 h 61"/>
                <a:gd name="T18" fmla="*/ 27 w 61"/>
                <a:gd name="T19" fmla="*/ 39 h 61"/>
                <a:gd name="T20" fmla="*/ 31 w 61"/>
                <a:gd name="T21" fmla="*/ 40 h 61"/>
                <a:gd name="T22" fmla="*/ 34 w 61"/>
                <a:gd name="T23" fmla="*/ 39 h 61"/>
                <a:gd name="T24" fmla="*/ 37 w 61"/>
                <a:gd name="T25" fmla="*/ 38 h 61"/>
                <a:gd name="T26" fmla="*/ 39 w 61"/>
                <a:gd name="T27" fmla="*/ 36 h 61"/>
                <a:gd name="T28" fmla="*/ 40 w 61"/>
                <a:gd name="T29" fmla="*/ 34 h 61"/>
                <a:gd name="T30" fmla="*/ 41 w 61"/>
                <a:gd name="T31" fmla="*/ 31 h 61"/>
                <a:gd name="T32" fmla="*/ 40 w 61"/>
                <a:gd name="T33" fmla="*/ 27 h 61"/>
                <a:gd name="T34" fmla="*/ 39 w 61"/>
                <a:gd name="T35" fmla="*/ 24 h 61"/>
                <a:gd name="T36" fmla="*/ 37 w 61"/>
                <a:gd name="T37" fmla="*/ 22 h 61"/>
                <a:gd name="T38" fmla="*/ 34 w 61"/>
                <a:gd name="T39" fmla="*/ 20 h 61"/>
                <a:gd name="T40" fmla="*/ 31 w 61"/>
                <a:gd name="T41" fmla="*/ 20 h 61"/>
                <a:gd name="T42" fmla="*/ 31 w 61"/>
                <a:gd name="T43" fmla="*/ 0 h 61"/>
                <a:gd name="T44" fmla="*/ 42 w 61"/>
                <a:gd name="T45" fmla="*/ 3 h 61"/>
                <a:gd name="T46" fmla="*/ 52 w 61"/>
                <a:gd name="T47" fmla="*/ 9 h 61"/>
                <a:gd name="T48" fmla="*/ 59 w 61"/>
                <a:gd name="T49" fmla="*/ 18 h 61"/>
                <a:gd name="T50" fmla="*/ 61 w 61"/>
                <a:gd name="T51" fmla="*/ 31 h 61"/>
                <a:gd name="T52" fmla="*/ 59 w 61"/>
                <a:gd name="T53" fmla="*/ 42 h 61"/>
                <a:gd name="T54" fmla="*/ 52 w 61"/>
                <a:gd name="T55" fmla="*/ 51 h 61"/>
                <a:gd name="T56" fmla="*/ 42 w 61"/>
                <a:gd name="T57" fmla="*/ 59 h 61"/>
                <a:gd name="T58" fmla="*/ 31 w 61"/>
                <a:gd name="T59" fmla="*/ 61 h 61"/>
                <a:gd name="T60" fmla="*/ 19 w 61"/>
                <a:gd name="T61" fmla="*/ 59 h 61"/>
                <a:gd name="T62" fmla="*/ 9 w 61"/>
                <a:gd name="T63" fmla="*/ 51 h 61"/>
                <a:gd name="T64" fmla="*/ 3 w 61"/>
                <a:gd name="T65" fmla="*/ 42 h 61"/>
                <a:gd name="T66" fmla="*/ 0 w 61"/>
                <a:gd name="T67" fmla="*/ 31 h 61"/>
                <a:gd name="T68" fmla="*/ 3 w 61"/>
                <a:gd name="T69" fmla="*/ 18 h 61"/>
                <a:gd name="T70" fmla="*/ 9 w 61"/>
                <a:gd name="T71" fmla="*/ 9 h 61"/>
                <a:gd name="T72" fmla="*/ 19 w 61"/>
                <a:gd name="T73" fmla="*/ 3 h 61"/>
                <a:gd name="T74" fmla="*/ 31 w 61"/>
                <a:gd name="T7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61">
                  <a:moveTo>
                    <a:pt x="31" y="20"/>
                  </a:moveTo>
                  <a:lnTo>
                    <a:pt x="27" y="20"/>
                  </a:lnTo>
                  <a:lnTo>
                    <a:pt x="25" y="22"/>
                  </a:lnTo>
                  <a:lnTo>
                    <a:pt x="23" y="24"/>
                  </a:lnTo>
                  <a:lnTo>
                    <a:pt x="21" y="27"/>
                  </a:lnTo>
                  <a:lnTo>
                    <a:pt x="21" y="31"/>
                  </a:lnTo>
                  <a:lnTo>
                    <a:pt x="21" y="34"/>
                  </a:lnTo>
                  <a:lnTo>
                    <a:pt x="23" y="36"/>
                  </a:lnTo>
                  <a:lnTo>
                    <a:pt x="25" y="38"/>
                  </a:lnTo>
                  <a:lnTo>
                    <a:pt x="27" y="39"/>
                  </a:lnTo>
                  <a:lnTo>
                    <a:pt x="31" y="40"/>
                  </a:lnTo>
                  <a:lnTo>
                    <a:pt x="34" y="39"/>
                  </a:lnTo>
                  <a:lnTo>
                    <a:pt x="37" y="38"/>
                  </a:lnTo>
                  <a:lnTo>
                    <a:pt x="39" y="36"/>
                  </a:lnTo>
                  <a:lnTo>
                    <a:pt x="40" y="34"/>
                  </a:lnTo>
                  <a:lnTo>
                    <a:pt x="41" y="31"/>
                  </a:lnTo>
                  <a:lnTo>
                    <a:pt x="40" y="27"/>
                  </a:lnTo>
                  <a:lnTo>
                    <a:pt x="39" y="24"/>
                  </a:lnTo>
                  <a:lnTo>
                    <a:pt x="37" y="22"/>
                  </a:lnTo>
                  <a:lnTo>
                    <a:pt x="34" y="20"/>
                  </a:lnTo>
                  <a:lnTo>
                    <a:pt x="31" y="20"/>
                  </a:lnTo>
                  <a:close/>
                  <a:moveTo>
                    <a:pt x="31" y="0"/>
                  </a:moveTo>
                  <a:lnTo>
                    <a:pt x="42" y="3"/>
                  </a:lnTo>
                  <a:lnTo>
                    <a:pt x="52" y="9"/>
                  </a:lnTo>
                  <a:lnTo>
                    <a:pt x="59" y="18"/>
                  </a:lnTo>
                  <a:lnTo>
                    <a:pt x="61" y="31"/>
                  </a:lnTo>
                  <a:lnTo>
                    <a:pt x="59" y="42"/>
                  </a:lnTo>
                  <a:lnTo>
                    <a:pt x="52" y="51"/>
                  </a:lnTo>
                  <a:lnTo>
                    <a:pt x="42" y="59"/>
                  </a:lnTo>
                  <a:lnTo>
                    <a:pt x="31" y="61"/>
                  </a:lnTo>
                  <a:lnTo>
                    <a:pt x="19" y="59"/>
                  </a:lnTo>
                  <a:lnTo>
                    <a:pt x="9" y="51"/>
                  </a:lnTo>
                  <a:lnTo>
                    <a:pt x="3" y="42"/>
                  </a:lnTo>
                  <a:lnTo>
                    <a:pt x="0" y="31"/>
                  </a:lnTo>
                  <a:lnTo>
                    <a:pt x="3" y="18"/>
                  </a:lnTo>
                  <a:lnTo>
                    <a:pt x="9" y="9"/>
                  </a:lnTo>
                  <a:lnTo>
                    <a:pt x="19" y="3"/>
                  </a:lnTo>
                  <a:lnTo>
                    <a:pt x="3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4" name="Freeform 51">
              <a:extLst>
                <a:ext uri="{FF2B5EF4-FFF2-40B4-BE49-F238E27FC236}">
                  <a16:creationId xmlns:a16="http://schemas.microsoft.com/office/drawing/2014/main" id="{5918E6E1-F974-5448-B125-60C24E964F03}"/>
                </a:ext>
              </a:extLst>
            </p:cNvPr>
            <p:cNvSpPr>
              <a:spLocks noEditPoints="1"/>
            </p:cNvSpPr>
            <p:nvPr/>
          </p:nvSpPr>
          <p:spPr bwMode="auto">
            <a:xfrm>
              <a:off x="3962401" y="857250"/>
              <a:ext cx="128588" cy="325438"/>
            </a:xfrm>
            <a:custGeom>
              <a:avLst/>
              <a:gdLst>
                <a:gd name="T0" fmla="*/ 20 w 81"/>
                <a:gd name="T1" fmla="*/ 21 h 205"/>
                <a:gd name="T2" fmla="*/ 20 w 81"/>
                <a:gd name="T3" fmla="*/ 82 h 205"/>
                <a:gd name="T4" fmla="*/ 61 w 81"/>
                <a:gd name="T5" fmla="*/ 82 h 205"/>
                <a:gd name="T6" fmla="*/ 61 w 81"/>
                <a:gd name="T7" fmla="*/ 21 h 205"/>
                <a:gd name="T8" fmla="*/ 20 w 81"/>
                <a:gd name="T9" fmla="*/ 21 h 205"/>
                <a:gd name="T10" fmla="*/ 9 w 81"/>
                <a:gd name="T11" fmla="*/ 0 h 205"/>
                <a:gd name="T12" fmla="*/ 70 w 81"/>
                <a:gd name="T13" fmla="*/ 0 h 205"/>
                <a:gd name="T14" fmla="*/ 74 w 81"/>
                <a:gd name="T15" fmla="*/ 1 h 205"/>
                <a:gd name="T16" fmla="*/ 77 w 81"/>
                <a:gd name="T17" fmla="*/ 2 h 205"/>
                <a:gd name="T18" fmla="*/ 79 w 81"/>
                <a:gd name="T19" fmla="*/ 6 h 205"/>
                <a:gd name="T20" fmla="*/ 80 w 81"/>
                <a:gd name="T21" fmla="*/ 8 h 205"/>
                <a:gd name="T22" fmla="*/ 81 w 81"/>
                <a:gd name="T23" fmla="*/ 12 h 205"/>
                <a:gd name="T24" fmla="*/ 81 w 81"/>
                <a:gd name="T25" fmla="*/ 93 h 205"/>
                <a:gd name="T26" fmla="*/ 80 w 81"/>
                <a:gd name="T27" fmla="*/ 96 h 205"/>
                <a:gd name="T28" fmla="*/ 79 w 81"/>
                <a:gd name="T29" fmla="*/ 99 h 205"/>
                <a:gd name="T30" fmla="*/ 77 w 81"/>
                <a:gd name="T31" fmla="*/ 101 h 205"/>
                <a:gd name="T32" fmla="*/ 74 w 81"/>
                <a:gd name="T33" fmla="*/ 103 h 205"/>
                <a:gd name="T34" fmla="*/ 70 w 81"/>
                <a:gd name="T35" fmla="*/ 103 h 205"/>
                <a:gd name="T36" fmla="*/ 70 w 81"/>
                <a:gd name="T37" fmla="*/ 196 h 205"/>
                <a:gd name="T38" fmla="*/ 69 w 81"/>
                <a:gd name="T39" fmla="*/ 199 h 205"/>
                <a:gd name="T40" fmla="*/ 68 w 81"/>
                <a:gd name="T41" fmla="*/ 201 h 205"/>
                <a:gd name="T42" fmla="*/ 66 w 81"/>
                <a:gd name="T43" fmla="*/ 203 h 205"/>
                <a:gd name="T44" fmla="*/ 64 w 81"/>
                <a:gd name="T45" fmla="*/ 204 h 205"/>
                <a:gd name="T46" fmla="*/ 61 w 81"/>
                <a:gd name="T47" fmla="*/ 205 h 205"/>
                <a:gd name="T48" fmla="*/ 58 w 81"/>
                <a:gd name="T49" fmla="*/ 204 h 205"/>
                <a:gd name="T50" fmla="*/ 55 w 81"/>
                <a:gd name="T51" fmla="*/ 203 h 205"/>
                <a:gd name="T52" fmla="*/ 53 w 81"/>
                <a:gd name="T53" fmla="*/ 201 h 205"/>
                <a:gd name="T54" fmla="*/ 51 w 81"/>
                <a:gd name="T55" fmla="*/ 199 h 205"/>
                <a:gd name="T56" fmla="*/ 51 w 81"/>
                <a:gd name="T57" fmla="*/ 196 h 205"/>
                <a:gd name="T58" fmla="*/ 51 w 81"/>
                <a:gd name="T59" fmla="*/ 103 h 205"/>
                <a:gd name="T60" fmla="*/ 31 w 81"/>
                <a:gd name="T61" fmla="*/ 103 h 205"/>
                <a:gd name="T62" fmla="*/ 31 w 81"/>
                <a:gd name="T63" fmla="*/ 196 h 205"/>
                <a:gd name="T64" fmla="*/ 30 w 81"/>
                <a:gd name="T65" fmla="*/ 199 h 205"/>
                <a:gd name="T66" fmla="*/ 29 w 81"/>
                <a:gd name="T67" fmla="*/ 201 h 205"/>
                <a:gd name="T68" fmla="*/ 26 w 81"/>
                <a:gd name="T69" fmla="*/ 203 h 205"/>
                <a:gd name="T70" fmla="*/ 24 w 81"/>
                <a:gd name="T71" fmla="*/ 204 h 205"/>
                <a:gd name="T72" fmla="*/ 20 w 81"/>
                <a:gd name="T73" fmla="*/ 205 h 205"/>
                <a:gd name="T74" fmla="*/ 16 w 81"/>
                <a:gd name="T75" fmla="*/ 204 h 205"/>
                <a:gd name="T76" fmla="*/ 13 w 81"/>
                <a:gd name="T77" fmla="*/ 203 h 205"/>
                <a:gd name="T78" fmla="*/ 11 w 81"/>
                <a:gd name="T79" fmla="*/ 201 h 205"/>
                <a:gd name="T80" fmla="*/ 10 w 81"/>
                <a:gd name="T81" fmla="*/ 199 h 205"/>
                <a:gd name="T82" fmla="*/ 9 w 81"/>
                <a:gd name="T83" fmla="*/ 196 h 205"/>
                <a:gd name="T84" fmla="*/ 9 w 81"/>
                <a:gd name="T85" fmla="*/ 103 h 205"/>
                <a:gd name="T86" fmla="*/ 6 w 81"/>
                <a:gd name="T87" fmla="*/ 103 h 205"/>
                <a:gd name="T88" fmla="*/ 4 w 81"/>
                <a:gd name="T89" fmla="*/ 101 h 205"/>
                <a:gd name="T90" fmla="*/ 2 w 81"/>
                <a:gd name="T91" fmla="*/ 99 h 205"/>
                <a:gd name="T92" fmla="*/ 1 w 81"/>
                <a:gd name="T93" fmla="*/ 96 h 205"/>
                <a:gd name="T94" fmla="*/ 0 w 81"/>
                <a:gd name="T95" fmla="*/ 93 h 205"/>
                <a:gd name="T96" fmla="*/ 0 w 81"/>
                <a:gd name="T97" fmla="*/ 12 h 205"/>
                <a:gd name="T98" fmla="*/ 1 w 81"/>
                <a:gd name="T99" fmla="*/ 8 h 205"/>
                <a:gd name="T100" fmla="*/ 2 w 81"/>
                <a:gd name="T101" fmla="*/ 6 h 205"/>
                <a:gd name="T102" fmla="*/ 4 w 81"/>
                <a:gd name="T103" fmla="*/ 2 h 205"/>
                <a:gd name="T104" fmla="*/ 6 w 81"/>
                <a:gd name="T105" fmla="*/ 1 h 205"/>
                <a:gd name="T106" fmla="*/ 9 w 81"/>
                <a:gd name="T10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205">
                  <a:moveTo>
                    <a:pt x="20" y="21"/>
                  </a:moveTo>
                  <a:lnTo>
                    <a:pt x="20" y="82"/>
                  </a:lnTo>
                  <a:lnTo>
                    <a:pt x="61" y="82"/>
                  </a:lnTo>
                  <a:lnTo>
                    <a:pt x="61" y="21"/>
                  </a:lnTo>
                  <a:lnTo>
                    <a:pt x="20" y="21"/>
                  </a:lnTo>
                  <a:close/>
                  <a:moveTo>
                    <a:pt x="9" y="0"/>
                  </a:moveTo>
                  <a:lnTo>
                    <a:pt x="70" y="0"/>
                  </a:lnTo>
                  <a:lnTo>
                    <a:pt x="74" y="1"/>
                  </a:lnTo>
                  <a:lnTo>
                    <a:pt x="77" y="2"/>
                  </a:lnTo>
                  <a:lnTo>
                    <a:pt x="79" y="6"/>
                  </a:lnTo>
                  <a:lnTo>
                    <a:pt x="80" y="8"/>
                  </a:lnTo>
                  <a:lnTo>
                    <a:pt x="81" y="12"/>
                  </a:lnTo>
                  <a:lnTo>
                    <a:pt x="81" y="93"/>
                  </a:lnTo>
                  <a:lnTo>
                    <a:pt x="80" y="96"/>
                  </a:lnTo>
                  <a:lnTo>
                    <a:pt x="79" y="99"/>
                  </a:lnTo>
                  <a:lnTo>
                    <a:pt x="77" y="101"/>
                  </a:lnTo>
                  <a:lnTo>
                    <a:pt x="74" y="103"/>
                  </a:lnTo>
                  <a:lnTo>
                    <a:pt x="70" y="103"/>
                  </a:lnTo>
                  <a:lnTo>
                    <a:pt x="70" y="196"/>
                  </a:lnTo>
                  <a:lnTo>
                    <a:pt x="69" y="199"/>
                  </a:lnTo>
                  <a:lnTo>
                    <a:pt x="68" y="201"/>
                  </a:lnTo>
                  <a:lnTo>
                    <a:pt x="66" y="203"/>
                  </a:lnTo>
                  <a:lnTo>
                    <a:pt x="64" y="204"/>
                  </a:lnTo>
                  <a:lnTo>
                    <a:pt x="61" y="205"/>
                  </a:lnTo>
                  <a:lnTo>
                    <a:pt x="58" y="204"/>
                  </a:lnTo>
                  <a:lnTo>
                    <a:pt x="55" y="203"/>
                  </a:lnTo>
                  <a:lnTo>
                    <a:pt x="53" y="201"/>
                  </a:lnTo>
                  <a:lnTo>
                    <a:pt x="51" y="199"/>
                  </a:lnTo>
                  <a:lnTo>
                    <a:pt x="51" y="196"/>
                  </a:lnTo>
                  <a:lnTo>
                    <a:pt x="51" y="103"/>
                  </a:lnTo>
                  <a:lnTo>
                    <a:pt x="31" y="103"/>
                  </a:lnTo>
                  <a:lnTo>
                    <a:pt x="31" y="196"/>
                  </a:lnTo>
                  <a:lnTo>
                    <a:pt x="30" y="199"/>
                  </a:lnTo>
                  <a:lnTo>
                    <a:pt x="29" y="201"/>
                  </a:lnTo>
                  <a:lnTo>
                    <a:pt x="26" y="203"/>
                  </a:lnTo>
                  <a:lnTo>
                    <a:pt x="24" y="204"/>
                  </a:lnTo>
                  <a:lnTo>
                    <a:pt x="20" y="205"/>
                  </a:lnTo>
                  <a:lnTo>
                    <a:pt x="16" y="204"/>
                  </a:lnTo>
                  <a:lnTo>
                    <a:pt x="13" y="203"/>
                  </a:lnTo>
                  <a:lnTo>
                    <a:pt x="11" y="201"/>
                  </a:lnTo>
                  <a:lnTo>
                    <a:pt x="10" y="199"/>
                  </a:lnTo>
                  <a:lnTo>
                    <a:pt x="9" y="196"/>
                  </a:lnTo>
                  <a:lnTo>
                    <a:pt x="9" y="103"/>
                  </a:lnTo>
                  <a:lnTo>
                    <a:pt x="6" y="103"/>
                  </a:lnTo>
                  <a:lnTo>
                    <a:pt x="4" y="101"/>
                  </a:lnTo>
                  <a:lnTo>
                    <a:pt x="2" y="99"/>
                  </a:lnTo>
                  <a:lnTo>
                    <a:pt x="1" y="96"/>
                  </a:lnTo>
                  <a:lnTo>
                    <a:pt x="0" y="93"/>
                  </a:lnTo>
                  <a:lnTo>
                    <a:pt x="0" y="12"/>
                  </a:lnTo>
                  <a:lnTo>
                    <a:pt x="1" y="8"/>
                  </a:lnTo>
                  <a:lnTo>
                    <a:pt x="2" y="6"/>
                  </a:lnTo>
                  <a:lnTo>
                    <a:pt x="4" y="2"/>
                  </a:lnTo>
                  <a:lnTo>
                    <a:pt x="6" y="1"/>
                  </a:lnTo>
                  <a:lnTo>
                    <a:pt x="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5" name="Freeform 52">
              <a:extLst>
                <a:ext uri="{FF2B5EF4-FFF2-40B4-BE49-F238E27FC236}">
                  <a16:creationId xmlns:a16="http://schemas.microsoft.com/office/drawing/2014/main" id="{B3881A37-7B09-9A42-A42E-8CF32A75430B}"/>
                </a:ext>
              </a:extLst>
            </p:cNvPr>
            <p:cNvSpPr>
              <a:spLocks noEditPoints="1"/>
            </p:cNvSpPr>
            <p:nvPr/>
          </p:nvSpPr>
          <p:spPr bwMode="auto">
            <a:xfrm>
              <a:off x="3978276" y="730250"/>
              <a:ext cx="95250" cy="96838"/>
            </a:xfrm>
            <a:custGeom>
              <a:avLst/>
              <a:gdLst>
                <a:gd name="T0" fmla="*/ 30 w 60"/>
                <a:gd name="T1" fmla="*/ 20 h 61"/>
                <a:gd name="T2" fmla="*/ 27 w 60"/>
                <a:gd name="T3" fmla="*/ 20 h 61"/>
                <a:gd name="T4" fmla="*/ 24 w 60"/>
                <a:gd name="T5" fmla="*/ 22 h 61"/>
                <a:gd name="T6" fmla="*/ 23 w 60"/>
                <a:gd name="T7" fmla="*/ 24 h 61"/>
                <a:gd name="T8" fmla="*/ 21 w 60"/>
                <a:gd name="T9" fmla="*/ 27 h 61"/>
                <a:gd name="T10" fmla="*/ 21 w 60"/>
                <a:gd name="T11" fmla="*/ 31 h 61"/>
                <a:gd name="T12" fmla="*/ 21 w 60"/>
                <a:gd name="T13" fmla="*/ 34 h 61"/>
                <a:gd name="T14" fmla="*/ 23 w 60"/>
                <a:gd name="T15" fmla="*/ 36 h 61"/>
                <a:gd name="T16" fmla="*/ 24 w 60"/>
                <a:gd name="T17" fmla="*/ 38 h 61"/>
                <a:gd name="T18" fmla="*/ 27 w 60"/>
                <a:gd name="T19" fmla="*/ 39 h 61"/>
                <a:gd name="T20" fmla="*/ 30 w 60"/>
                <a:gd name="T21" fmla="*/ 40 h 61"/>
                <a:gd name="T22" fmla="*/ 33 w 60"/>
                <a:gd name="T23" fmla="*/ 39 h 61"/>
                <a:gd name="T24" fmla="*/ 37 w 60"/>
                <a:gd name="T25" fmla="*/ 38 h 61"/>
                <a:gd name="T26" fmla="*/ 39 w 60"/>
                <a:gd name="T27" fmla="*/ 36 h 61"/>
                <a:gd name="T28" fmla="*/ 41 w 60"/>
                <a:gd name="T29" fmla="*/ 34 h 61"/>
                <a:gd name="T30" fmla="*/ 41 w 60"/>
                <a:gd name="T31" fmla="*/ 31 h 61"/>
                <a:gd name="T32" fmla="*/ 41 w 60"/>
                <a:gd name="T33" fmla="*/ 27 h 61"/>
                <a:gd name="T34" fmla="*/ 39 w 60"/>
                <a:gd name="T35" fmla="*/ 24 h 61"/>
                <a:gd name="T36" fmla="*/ 37 w 60"/>
                <a:gd name="T37" fmla="*/ 22 h 61"/>
                <a:gd name="T38" fmla="*/ 33 w 60"/>
                <a:gd name="T39" fmla="*/ 20 h 61"/>
                <a:gd name="T40" fmla="*/ 30 w 60"/>
                <a:gd name="T41" fmla="*/ 20 h 61"/>
                <a:gd name="T42" fmla="*/ 30 w 60"/>
                <a:gd name="T43" fmla="*/ 0 h 61"/>
                <a:gd name="T44" fmla="*/ 43 w 60"/>
                <a:gd name="T45" fmla="*/ 3 h 61"/>
                <a:gd name="T46" fmla="*/ 52 w 60"/>
                <a:gd name="T47" fmla="*/ 9 h 61"/>
                <a:gd name="T48" fmla="*/ 58 w 60"/>
                <a:gd name="T49" fmla="*/ 18 h 61"/>
                <a:gd name="T50" fmla="*/ 60 w 60"/>
                <a:gd name="T51" fmla="*/ 31 h 61"/>
                <a:gd name="T52" fmla="*/ 58 w 60"/>
                <a:gd name="T53" fmla="*/ 42 h 61"/>
                <a:gd name="T54" fmla="*/ 52 w 60"/>
                <a:gd name="T55" fmla="*/ 51 h 61"/>
                <a:gd name="T56" fmla="*/ 43 w 60"/>
                <a:gd name="T57" fmla="*/ 59 h 61"/>
                <a:gd name="T58" fmla="*/ 30 w 60"/>
                <a:gd name="T59" fmla="*/ 61 h 61"/>
                <a:gd name="T60" fmla="*/ 19 w 60"/>
                <a:gd name="T61" fmla="*/ 59 h 61"/>
                <a:gd name="T62" fmla="*/ 10 w 60"/>
                <a:gd name="T63" fmla="*/ 51 h 61"/>
                <a:gd name="T64" fmla="*/ 2 w 60"/>
                <a:gd name="T65" fmla="*/ 42 h 61"/>
                <a:gd name="T66" fmla="*/ 0 w 60"/>
                <a:gd name="T67" fmla="*/ 31 h 61"/>
                <a:gd name="T68" fmla="*/ 2 w 60"/>
                <a:gd name="T69" fmla="*/ 18 h 61"/>
                <a:gd name="T70" fmla="*/ 10 w 60"/>
                <a:gd name="T71" fmla="*/ 9 h 61"/>
                <a:gd name="T72" fmla="*/ 19 w 60"/>
                <a:gd name="T73" fmla="*/ 3 h 61"/>
                <a:gd name="T74" fmla="*/ 30 w 60"/>
                <a:gd name="T7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61">
                  <a:moveTo>
                    <a:pt x="30" y="20"/>
                  </a:moveTo>
                  <a:lnTo>
                    <a:pt x="27" y="20"/>
                  </a:lnTo>
                  <a:lnTo>
                    <a:pt x="24" y="22"/>
                  </a:lnTo>
                  <a:lnTo>
                    <a:pt x="23" y="24"/>
                  </a:lnTo>
                  <a:lnTo>
                    <a:pt x="21" y="27"/>
                  </a:lnTo>
                  <a:lnTo>
                    <a:pt x="21" y="31"/>
                  </a:lnTo>
                  <a:lnTo>
                    <a:pt x="21" y="34"/>
                  </a:lnTo>
                  <a:lnTo>
                    <a:pt x="23" y="36"/>
                  </a:lnTo>
                  <a:lnTo>
                    <a:pt x="24" y="38"/>
                  </a:lnTo>
                  <a:lnTo>
                    <a:pt x="27" y="39"/>
                  </a:lnTo>
                  <a:lnTo>
                    <a:pt x="30" y="40"/>
                  </a:lnTo>
                  <a:lnTo>
                    <a:pt x="33" y="39"/>
                  </a:lnTo>
                  <a:lnTo>
                    <a:pt x="37" y="38"/>
                  </a:lnTo>
                  <a:lnTo>
                    <a:pt x="39" y="36"/>
                  </a:lnTo>
                  <a:lnTo>
                    <a:pt x="41" y="34"/>
                  </a:lnTo>
                  <a:lnTo>
                    <a:pt x="41" y="31"/>
                  </a:lnTo>
                  <a:lnTo>
                    <a:pt x="41" y="27"/>
                  </a:lnTo>
                  <a:lnTo>
                    <a:pt x="39" y="24"/>
                  </a:lnTo>
                  <a:lnTo>
                    <a:pt x="37" y="22"/>
                  </a:lnTo>
                  <a:lnTo>
                    <a:pt x="33" y="20"/>
                  </a:lnTo>
                  <a:lnTo>
                    <a:pt x="30" y="20"/>
                  </a:lnTo>
                  <a:close/>
                  <a:moveTo>
                    <a:pt x="30" y="0"/>
                  </a:moveTo>
                  <a:lnTo>
                    <a:pt x="43" y="3"/>
                  </a:lnTo>
                  <a:lnTo>
                    <a:pt x="52" y="9"/>
                  </a:lnTo>
                  <a:lnTo>
                    <a:pt x="58" y="18"/>
                  </a:lnTo>
                  <a:lnTo>
                    <a:pt x="60" y="31"/>
                  </a:lnTo>
                  <a:lnTo>
                    <a:pt x="58" y="42"/>
                  </a:lnTo>
                  <a:lnTo>
                    <a:pt x="52" y="51"/>
                  </a:lnTo>
                  <a:lnTo>
                    <a:pt x="43" y="59"/>
                  </a:lnTo>
                  <a:lnTo>
                    <a:pt x="30" y="61"/>
                  </a:lnTo>
                  <a:lnTo>
                    <a:pt x="19" y="59"/>
                  </a:lnTo>
                  <a:lnTo>
                    <a:pt x="10" y="51"/>
                  </a:lnTo>
                  <a:lnTo>
                    <a:pt x="2" y="42"/>
                  </a:lnTo>
                  <a:lnTo>
                    <a:pt x="0" y="31"/>
                  </a:lnTo>
                  <a:lnTo>
                    <a:pt x="2" y="18"/>
                  </a:lnTo>
                  <a:lnTo>
                    <a:pt x="10" y="9"/>
                  </a:lnTo>
                  <a:lnTo>
                    <a:pt x="19" y="3"/>
                  </a:lnTo>
                  <a:lnTo>
                    <a:pt x="3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6" name="Freeform 53">
              <a:extLst>
                <a:ext uri="{FF2B5EF4-FFF2-40B4-BE49-F238E27FC236}">
                  <a16:creationId xmlns:a16="http://schemas.microsoft.com/office/drawing/2014/main" id="{F96EEF32-1CA2-0F4F-BEB7-8A3FA4A53A8C}"/>
                </a:ext>
              </a:extLst>
            </p:cNvPr>
            <p:cNvSpPr>
              <a:spLocks noEditPoints="1"/>
            </p:cNvSpPr>
            <p:nvPr/>
          </p:nvSpPr>
          <p:spPr bwMode="auto">
            <a:xfrm>
              <a:off x="3798888" y="857250"/>
              <a:ext cx="131763" cy="325438"/>
            </a:xfrm>
            <a:custGeom>
              <a:avLst/>
              <a:gdLst>
                <a:gd name="T0" fmla="*/ 21 w 83"/>
                <a:gd name="T1" fmla="*/ 21 h 205"/>
                <a:gd name="T2" fmla="*/ 21 w 83"/>
                <a:gd name="T3" fmla="*/ 82 h 205"/>
                <a:gd name="T4" fmla="*/ 62 w 83"/>
                <a:gd name="T5" fmla="*/ 82 h 205"/>
                <a:gd name="T6" fmla="*/ 62 w 83"/>
                <a:gd name="T7" fmla="*/ 21 h 205"/>
                <a:gd name="T8" fmla="*/ 21 w 83"/>
                <a:gd name="T9" fmla="*/ 21 h 205"/>
                <a:gd name="T10" fmla="*/ 11 w 83"/>
                <a:gd name="T11" fmla="*/ 0 h 205"/>
                <a:gd name="T12" fmla="*/ 73 w 83"/>
                <a:gd name="T13" fmla="*/ 0 h 205"/>
                <a:gd name="T14" fmla="*/ 76 w 83"/>
                <a:gd name="T15" fmla="*/ 1 h 205"/>
                <a:gd name="T16" fmla="*/ 79 w 83"/>
                <a:gd name="T17" fmla="*/ 2 h 205"/>
                <a:gd name="T18" fmla="*/ 81 w 83"/>
                <a:gd name="T19" fmla="*/ 6 h 205"/>
                <a:gd name="T20" fmla="*/ 82 w 83"/>
                <a:gd name="T21" fmla="*/ 8 h 205"/>
                <a:gd name="T22" fmla="*/ 83 w 83"/>
                <a:gd name="T23" fmla="*/ 12 h 205"/>
                <a:gd name="T24" fmla="*/ 83 w 83"/>
                <a:gd name="T25" fmla="*/ 93 h 205"/>
                <a:gd name="T26" fmla="*/ 82 w 83"/>
                <a:gd name="T27" fmla="*/ 96 h 205"/>
                <a:gd name="T28" fmla="*/ 81 w 83"/>
                <a:gd name="T29" fmla="*/ 99 h 205"/>
                <a:gd name="T30" fmla="*/ 79 w 83"/>
                <a:gd name="T31" fmla="*/ 101 h 205"/>
                <a:gd name="T32" fmla="*/ 76 w 83"/>
                <a:gd name="T33" fmla="*/ 103 h 205"/>
                <a:gd name="T34" fmla="*/ 73 w 83"/>
                <a:gd name="T35" fmla="*/ 103 h 205"/>
                <a:gd name="T36" fmla="*/ 73 w 83"/>
                <a:gd name="T37" fmla="*/ 196 h 205"/>
                <a:gd name="T38" fmla="*/ 73 w 83"/>
                <a:gd name="T39" fmla="*/ 199 h 205"/>
                <a:gd name="T40" fmla="*/ 71 w 83"/>
                <a:gd name="T41" fmla="*/ 201 h 205"/>
                <a:gd name="T42" fmla="*/ 69 w 83"/>
                <a:gd name="T43" fmla="*/ 203 h 205"/>
                <a:gd name="T44" fmla="*/ 66 w 83"/>
                <a:gd name="T45" fmla="*/ 204 h 205"/>
                <a:gd name="T46" fmla="*/ 62 w 83"/>
                <a:gd name="T47" fmla="*/ 205 h 205"/>
                <a:gd name="T48" fmla="*/ 59 w 83"/>
                <a:gd name="T49" fmla="*/ 204 h 205"/>
                <a:gd name="T50" fmla="*/ 56 w 83"/>
                <a:gd name="T51" fmla="*/ 203 h 205"/>
                <a:gd name="T52" fmla="*/ 54 w 83"/>
                <a:gd name="T53" fmla="*/ 201 h 205"/>
                <a:gd name="T54" fmla="*/ 52 w 83"/>
                <a:gd name="T55" fmla="*/ 199 h 205"/>
                <a:gd name="T56" fmla="*/ 52 w 83"/>
                <a:gd name="T57" fmla="*/ 196 h 205"/>
                <a:gd name="T58" fmla="*/ 52 w 83"/>
                <a:gd name="T59" fmla="*/ 103 h 205"/>
                <a:gd name="T60" fmla="*/ 31 w 83"/>
                <a:gd name="T61" fmla="*/ 103 h 205"/>
                <a:gd name="T62" fmla="*/ 31 w 83"/>
                <a:gd name="T63" fmla="*/ 196 h 205"/>
                <a:gd name="T64" fmla="*/ 30 w 83"/>
                <a:gd name="T65" fmla="*/ 199 h 205"/>
                <a:gd name="T66" fmla="*/ 29 w 83"/>
                <a:gd name="T67" fmla="*/ 201 h 205"/>
                <a:gd name="T68" fmla="*/ 27 w 83"/>
                <a:gd name="T69" fmla="*/ 203 h 205"/>
                <a:gd name="T70" fmla="*/ 24 w 83"/>
                <a:gd name="T71" fmla="*/ 204 h 205"/>
                <a:gd name="T72" fmla="*/ 21 w 83"/>
                <a:gd name="T73" fmla="*/ 205 h 205"/>
                <a:gd name="T74" fmla="*/ 18 w 83"/>
                <a:gd name="T75" fmla="*/ 204 h 205"/>
                <a:gd name="T76" fmla="*/ 15 w 83"/>
                <a:gd name="T77" fmla="*/ 203 h 205"/>
                <a:gd name="T78" fmla="*/ 13 w 83"/>
                <a:gd name="T79" fmla="*/ 201 h 205"/>
                <a:gd name="T80" fmla="*/ 12 w 83"/>
                <a:gd name="T81" fmla="*/ 199 h 205"/>
                <a:gd name="T82" fmla="*/ 11 w 83"/>
                <a:gd name="T83" fmla="*/ 196 h 205"/>
                <a:gd name="T84" fmla="*/ 11 w 83"/>
                <a:gd name="T85" fmla="*/ 103 h 205"/>
                <a:gd name="T86" fmla="*/ 7 w 83"/>
                <a:gd name="T87" fmla="*/ 103 h 205"/>
                <a:gd name="T88" fmla="*/ 4 w 83"/>
                <a:gd name="T89" fmla="*/ 101 h 205"/>
                <a:gd name="T90" fmla="*/ 2 w 83"/>
                <a:gd name="T91" fmla="*/ 99 h 205"/>
                <a:gd name="T92" fmla="*/ 1 w 83"/>
                <a:gd name="T93" fmla="*/ 96 h 205"/>
                <a:gd name="T94" fmla="*/ 0 w 83"/>
                <a:gd name="T95" fmla="*/ 93 h 205"/>
                <a:gd name="T96" fmla="*/ 0 w 83"/>
                <a:gd name="T97" fmla="*/ 12 h 205"/>
                <a:gd name="T98" fmla="*/ 1 w 83"/>
                <a:gd name="T99" fmla="*/ 8 h 205"/>
                <a:gd name="T100" fmla="*/ 2 w 83"/>
                <a:gd name="T101" fmla="*/ 6 h 205"/>
                <a:gd name="T102" fmla="*/ 4 w 83"/>
                <a:gd name="T103" fmla="*/ 2 h 205"/>
                <a:gd name="T104" fmla="*/ 7 w 83"/>
                <a:gd name="T105" fmla="*/ 1 h 205"/>
                <a:gd name="T106" fmla="*/ 11 w 83"/>
                <a:gd name="T10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 h="205">
                  <a:moveTo>
                    <a:pt x="21" y="21"/>
                  </a:moveTo>
                  <a:lnTo>
                    <a:pt x="21" y="82"/>
                  </a:lnTo>
                  <a:lnTo>
                    <a:pt x="62" y="82"/>
                  </a:lnTo>
                  <a:lnTo>
                    <a:pt x="62" y="21"/>
                  </a:lnTo>
                  <a:lnTo>
                    <a:pt x="21" y="21"/>
                  </a:lnTo>
                  <a:close/>
                  <a:moveTo>
                    <a:pt x="11" y="0"/>
                  </a:moveTo>
                  <a:lnTo>
                    <a:pt x="73" y="0"/>
                  </a:lnTo>
                  <a:lnTo>
                    <a:pt x="76" y="1"/>
                  </a:lnTo>
                  <a:lnTo>
                    <a:pt x="79" y="2"/>
                  </a:lnTo>
                  <a:lnTo>
                    <a:pt x="81" y="6"/>
                  </a:lnTo>
                  <a:lnTo>
                    <a:pt x="82" y="8"/>
                  </a:lnTo>
                  <a:lnTo>
                    <a:pt x="83" y="12"/>
                  </a:lnTo>
                  <a:lnTo>
                    <a:pt x="83" y="93"/>
                  </a:lnTo>
                  <a:lnTo>
                    <a:pt x="82" y="96"/>
                  </a:lnTo>
                  <a:lnTo>
                    <a:pt x="81" y="99"/>
                  </a:lnTo>
                  <a:lnTo>
                    <a:pt x="79" y="101"/>
                  </a:lnTo>
                  <a:lnTo>
                    <a:pt x="76" y="103"/>
                  </a:lnTo>
                  <a:lnTo>
                    <a:pt x="73" y="103"/>
                  </a:lnTo>
                  <a:lnTo>
                    <a:pt x="73" y="196"/>
                  </a:lnTo>
                  <a:lnTo>
                    <a:pt x="73" y="199"/>
                  </a:lnTo>
                  <a:lnTo>
                    <a:pt x="71" y="201"/>
                  </a:lnTo>
                  <a:lnTo>
                    <a:pt x="69" y="203"/>
                  </a:lnTo>
                  <a:lnTo>
                    <a:pt x="66" y="204"/>
                  </a:lnTo>
                  <a:lnTo>
                    <a:pt x="62" y="205"/>
                  </a:lnTo>
                  <a:lnTo>
                    <a:pt x="59" y="204"/>
                  </a:lnTo>
                  <a:lnTo>
                    <a:pt x="56" y="203"/>
                  </a:lnTo>
                  <a:lnTo>
                    <a:pt x="54" y="201"/>
                  </a:lnTo>
                  <a:lnTo>
                    <a:pt x="52" y="199"/>
                  </a:lnTo>
                  <a:lnTo>
                    <a:pt x="52" y="196"/>
                  </a:lnTo>
                  <a:lnTo>
                    <a:pt x="52" y="103"/>
                  </a:lnTo>
                  <a:lnTo>
                    <a:pt x="31" y="103"/>
                  </a:lnTo>
                  <a:lnTo>
                    <a:pt x="31" y="196"/>
                  </a:lnTo>
                  <a:lnTo>
                    <a:pt x="30" y="199"/>
                  </a:lnTo>
                  <a:lnTo>
                    <a:pt x="29" y="201"/>
                  </a:lnTo>
                  <a:lnTo>
                    <a:pt x="27" y="203"/>
                  </a:lnTo>
                  <a:lnTo>
                    <a:pt x="24" y="204"/>
                  </a:lnTo>
                  <a:lnTo>
                    <a:pt x="21" y="205"/>
                  </a:lnTo>
                  <a:lnTo>
                    <a:pt x="18" y="204"/>
                  </a:lnTo>
                  <a:lnTo>
                    <a:pt x="15" y="203"/>
                  </a:lnTo>
                  <a:lnTo>
                    <a:pt x="13" y="201"/>
                  </a:lnTo>
                  <a:lnTo>
                    <a:pt x="12" y="199"/>
                  </a:lnTo>
                  <a:lnTo>
                    <a:pt x="11" y="196"/>
                  </a:lnTo>
                  <a:lnTo>
                    <a:pt x="11" y="103"/>
                  </a:lnTo>
                  <a:lnTo>
                    <a:pt x="7" y="103"/>
                  </a:lnTo>
                  <a:lnTo>
                    <a:pt x="4" y="101"/>
                  </a:lnTo>
                  <a:lnTo>
                    <a:pt x="2" y="99"/>
                  </a:lnTo>
                  <a:lnTo>
                    <a:pt x="1" y="96"/>
                  </a:lnTo>
                  <a:lnTo>
                    <a:pt x="0" y="93"/>
                  </a:lnTo>
                  <a:lnTo>
                    <a:pt x="0" y="12"/>
                  </a:lnTo>
                  <a:lnTo>
                    <a:pt x="1" y="8"/>
                  </a:lnTo>
                  <a:lnTo>
                    <a:pt x="2" y="6"/>
                  </a:lnTo>
                  <a:lnTo>
                    <a:pt x="4" y="2"/>
                  </a:lnTo>
                  <a:lnTo>
                    <a:pt x="7" y="1"/>
                  </a:lnTo>
                  <a:lnTo>
                    <a:pt x="1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7" name="Freeform 54">
              <a:extLst>
                <a:ext uri="{FF2B5EF4-FFF2-40B4-BE49-F238E27FC236}">
                  <a16:creationId xmlns:a16="http://schemas.microsoft.com/office/drawing/2014/main" id="{9BC4E2A2-C493-CF4D-A5FA-0AF4F348AA70}"/>
                </a:ext>
              </a:extLst>
            </p:cNvPr>
            <p:cNvSpPr>
              <a:spLocks noEditPoints="1"/>
            </p:cNvSpPr>
            <p:nvPr/>
          </p:nvSpPr>
          <p:spPr bwMode="auto">
            <a:xfrm>
              <a:off x="3819526" y="730250"/>
              <a:ext cx="95250" cy="96838"/>
            </a:xfrm>
            <a:custGeom>
              <a:avLst/>
              <a:gdLst>
                <a:gd name="T0" fmla="*/ 30 w 60"/>
                <a:gd name="T1" fmla="*/ 20 h 61"/>
                <a:gd name="T2" fmla="*/ 27 w 60"/>
                <a:gd name="T3" fmla="*/ 20 h 61"/>
                <a:gd name="T4" fmla="*/ 23 w 60"/>
                <a:gd name="T5" fmla="*/ 22 h 61"/>
                <a:gd name="T6" fmla="*/ 21 w 60"/>
                <a:gd name="T7" fmla="*/ 24 h 61"/>
                <a:gd name="T8" fmla="*/ 19 w 60"/>
                <a:gd name="T9" fmla="*/ 27 h 61"/>
                <a:gd name="T10" fmla="*/ 19 w 60"/>
                <a:gd name="T11" fmla="*/ 31 h 61"/>
                <a:gd name="T12" fmla="*/ 19 w 60"/>
                <a:gd name="T13" fmla="*/ 34 h 61"/>
                <a:gd name="T14" fmla="*/ 21 w 60"/>
                <a:gd name="T15" fmla="*/ 36 h 61"/>
                <a:gd name="T16" fmla="*/ 23 w 60"/>
                <a:gd name="T17" fmla="*/ 38 h 61"/>
                <a:gd name="T18" fmla="*/ 27 w 60"/>
                <a:gd name="T19" fmla="*/ 39 h 61"/>
                <a:gd name="T20" fmla="*/ 30 w 60"/>
                <a:gd name="T21" fmla="*/ 40 h 61"/>
                <a:gd name="T22" fmla="*/ 33 w 60"/>
                <a:gd name="T23" fmla="*/ 39 h 61"/>
                <a:gd name="T24" fmla="*/ 35 w 60"/>
                <a:gd name="T25" fmla="*/ 38 h 61"/>
                <a:gd name="T26" fmla="*/ 37 w 60"/>
                <a:gd name="T27" fmla="*/ 36 h 61"/>
                <a:gd name="T28" fmla="*/ 38 w 60"/>
                <a:gd name="T29" fmla="*/ 34 h 61"/>
                <a:gd name="T30" fmla="*/ 39 w 60"/>
                <a:gd name="T31" fmla="*/ 31 h 61"/>
                <a:gd name="T32" fmla="*/ 38 w 60"/>
                <a:gd name="T33" fmla="*/ 27 h 61"/>
                <a:gd name="T34" fmla="*/ 37 w 60"/>
                <a:gd name="T35" fmla="*/ 24 h 61"/>
                <a:gd name="T36" fmla="*/ 35 w 60"/>
                <a:gd name="T37" fmla="*/ 22 h 61"/>
                <a:gd name="T38" fmla="*/ 33 w 60"/>
                <a:gd name="T39" fmla="*/ 20 h 61"/>
                <a:gd name="T40" fmla="*/ 30 w 60"/>
                <a:gd name="T41" fmla="*/ 20 h 61"/>
                <a:gd name="T42" fmla="*/ 30 w 60"/>
                <a:gd name="T43" fmla="*/ 0 h 61"/>
                <a:gd name="T44" fmla="*/ 41 w 60"/>
                <a:gd name="T45" fmla="*/ 3 h 61"/>
                <a:gd name="T46" fmla="*/ 50 w 60"/>
                <a:gd name="T47" fmla="*/ 9 h 61"/>
                <a:gd name="T48" fmla="*/ 58 w 60"/>
                <a:gd name="T49" fmla="*/ 18 h 61"/>
                <a:gd name="T50" fmla="*/ 60 w 60"/>
                <a:gd name="T51" fmla="*/ 31 h 61"/>
                <a:gd name="T52" fmla="*/ 58 w 60"/>
                <a:gd name="T53" fmla="*/ 42 h 61"/>
                <a:gd name="T54" fmla="*/ 50 w 60"/>
                <a:gd name="T55" fmla="*/ 51 h 61"/>
                <a:gd name="T56" fmla="*/ 41 w 60"/>
                <a:gd name="T57" fmla="*/ 59 h 61"/>
                <a:gd name="T58" fmla="*/ 30 w 60"/>
                <a:gd name="T59" fmla="*/ 61 h 61"/>
                <a:gd name="T60" fmla="*/ 17 w 60"/>
                <a:gd name="T61" fmla="*/ 59 h 61"/>
                <a:gd name="T62" fmla="*/ 8 w 60"/>
                <a:gd name="T63" fmla="*/ 51 h 61"/>
                <a:gd name="T64" fmla="*/ 2 w 60"/>
                <a:gd name="T65" fmla="*/ 42 h 61"/>
                <a:gd name="T66" fmla="*/ 0 w 60"/>
                <a:gd name="T67" fmla="*/ 31 h 61"/>
                <a:gd name="T68" fmla="*/ 2 w 60"/>
                <a:gd name="T69" fmla="*/ 18 h 61"/>
                <a:gd name="T70" fmla="*/ 8 w 60"/>
                <a:gd name="T71" fmla="*/ 9 h 61"/>
                <a:gd name="T72" fmla="*/ 17 w 60"/>
                <a:gd name="T73" fmla="*/ 3 h 61"/>
                <a:gd name="T74" fmla="*/ 30 w 60"/>
                <a:gd name="T7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61">
                  <a:moveTo>
                    <a:pt x="30" y="20"/>
                  </a:moveTo>
                  <a:lnTo>
                    <a:pt x="27" y="20"/>
                  </a:lnTo>
                  <a:lnTo>
                    <a:pt x="23" y="22"/>
                  </a:lnTo>
                  <a:lnTo>
                    <a:pt x="21" y="24"/>
                  </a:lnTo>
                  <a:lnTo>
                    <a:pt x="19" y="27"/>
                  </a:lnTo>
                  <a:lnTo>
                    <a:pt x="19" y="31"/>
                  </a:lnTo>
                  <a:lnTo>
                    <a:pt x="19" y="34"/>
                  </a:lnTo>
                  <a:lnTo>
                    <a:pt x="21" y="36"/>
                  </a:lnTo>
                  <a:lnTo>
                    <a:pt x="23" y="38"/>
                  </a:lnTo>
                  <a:lnTo>
                    <a:pt x="27" y="39"/>
                  </a:lnTo>
                  <a:lnTo>
                    <a:pt x="30" y="40"/>
                  </a:lnTo>
                  <a:lnTo>
                    <a:pt x="33" y="39"/>
                  </a:lnTo>
                  <a:lnTo>
                    <a:pt x="35" y="38"/>
                  </a:lnTo>
                  <a:lnTo>
                    <a:pt x="37" y="36"/>
                  </a:lnTo>
                  <a:lnTo>
                    <a:pt x="38" y="34"/>
                  </a:lnTo>
                  <a:lnTo>
                    <a:pt x="39" y="31"/>
                  </a:lnTo>
                  <a:lnTo>
                    <a:pt x="38" y="27"/>
                  </a:lnTo>
                  <a:lnTo>
                    <a:pt x="37" y="24"/>
                  </a:lnTo>
                  <a:lnTo>
                    <a:pt x="35" y="22"/>
                  </a:lnTo>
                  <a:lnTo>
                    <a:pt x="33" y="20"/>
                  </a:lnTo>
                  <a:lnTo>
                    <a:pt x="30" y="20"/>
                  </a:lnTo>
                  <a:close/>
                  <a:moveTo>
                    <a:pt x="30" y="0"/>
                  </a:moveTo>
                  <a:lnTo>
                    <a:pt x="41" y="3"/>
                  </a:lnTo>
                  <a:lnTo>
                    <a:pt x="50" y="9"/>
                  </a:lnTo>
                  <a:lnTo>
                    <a:pt x="58" y="18"/>
                  </a:lnTo>
                  <a:lnTo>
                    <a:pt x="60" y="31"/>
                  </a:lnTo>
                  <a:lnTo>
                    <a:pt x="58" y="42"/>
                  </a:lnTo>
                  <a:lnTo>
                    <a:pt x="50" y="51"/>
                  </a:lnTo>
                  <a:lnTo>
                    <a:pt x="41" y="59"/>
                  </a:lnTo>
                  <a:lnTo>
                    <a:pt x="30" y="61"/>
                  </a:lnTo>
                  <a:lnTo>
                    <a:pt x="17" y="59"/>
                  </a:lnTo>
                  <a:lnTo>
                    <a:pt x="8" y="51"/>
                  </a:lnTo>
                  <a:lnTo>
                    <a:pt x="2" y="42"/>
                  </a:lnTo>
                  <a:lnTo>
                    <a:pt x="0" y="31"/>
                  </a:lnTo>
                  <a:lnTo>
                    <a:pt x="2" y="18"/>
                  </a:lnTo>
                  <a:lnTo>
                    <a:pt x="8" y="9"/>
                  </a:lnTo>
                  <a:lnTo>
                    <a:pt x="17" y="3"/>
                  </a:lnTo>
                  <a:lnTo>
                    <a:pt x="3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8" name="Freeform 55">
              <a:extLst>
                <a:ext uri="{FF2B5EF4-FFF2-40B4-BE49-F238E27FC236}">
                  <a16:creationId xmlns:a16="http://schemas.microsoft.com/office/drawing/2014/main" id="{C71E0D97-4424-4549-AD4B-BBF413AA78C7}"/>
                </a:ext>
              </a:extLst>
            </p:cNvPr>
            <p:cNvSpPr>
              <a:spLocks/>
            </p:cNvSpPr>
            <p:nvPr/>
          </p:nvSpPr>
          <p:spPr bwMode="auto">
            <a:xfrm>
              <a:off x="5872163" y="947738"/>
              <a:ext cx="187325" cy="92075"/>
            </a:xfrm>
            <a:custGeom>
              <a:avLst/>
              <a:gdLst>
                <a:gd name="T0" fmla="*/ 20 w 118"/>
                <a:gd name="T1" fmla="*/ 0 h 58"/>
                <a:gd name="T2" fmla="*/ 97 w 118"/>
                <a:gd name="T3" fmla="*/ 0 h 58"/>
                <a:gd name="T4" fmla="*/ 108 w 118"/>
                <a:gd name="T5" fmla="*/ 16 h 58"/>
                <a:gd name="T6" fmla="*/ 113 w 118"/>
                <a:gd name="T7" fmla="*/ 30 h 58"/>
                <a:gd name="T8" fmla="*/ 117 w 118"/>
                <a:gd name="T9" fmla="*/ 40 h 58"/>
                <a:gd name="T10" fmla="*/ 118 w 118"/>
                <a:gd name="T11" fmla="*/ 48 h 58"/>
                <a:gd name="T12" fmla="*/ 118 w 118"/>
                <a:gd name="T13" fmla="*/ 53 h 58"/>
                <a:gd name="T14" fmla="*/ 118 w 118"/>
                <a:gd name="T15" fmla="*/ 57 h 58"/>
                <a:gd name="T16" fmla="*/ 118 w 118"/>
                <a:gd name="T17" fmla="*/ 58 h 58"/>
                <a:gd name="T18" fmla="*/ 1 w 118"/>
                <a:gd name="T19" fmla="*/ 58 h 58"/>
                <a:gd name="T20" fmla="*/ 0 w 118"/>
                <a:gd name="T21" fmla="*/ 51 h 58"/>
                <a:gd name="T22" fmla="*/ 1 w 118"/>
                <a:gd name="T23" fmla="*/ 42 h 58"/>
                <a:gd name="T24" fmla="*/ 4 w 118"/>
                <a:gd name="T25" fmla="*/ 33 h 58"/>
                <a:gd name="T26" fmla="*/ 8 w 118"/>
                <a:gd name="T27" fmla="*/ 23 h 58"/>
                <a:gd name="T28" fmla="*/ 12 w 118"/>
                <a:gd name="T29" fmla="*/ 15 h 58"/>
                <a:gd name="T30" fmla="*/ 16 w 118"/>
                <a:gd name="T31" fmla="*/ 8 h 58"/>
                <a:gd name="T32" fmla="*/ 19 w 118"/>
                <a:gd name="T33" fmla="*/ 3 h 58"/>
                <a:gd name="T34" fmla="*/ 20 w 118"/>
                <a:gd name="T3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58">
                  <a:moveTo>
                    <a:pt x="20" y="0"/>
                  </a:moveTo>
                  <a:lnTo>
                    <a:pt x="97" y="0"/>
                  </a:lnTo>
                  <a:lnTo>
                    <a:pt x="108" y="16"/>
                  </a:lnTo>
                  <a:lnTo>
                    <a:pt x="113" y="30"/>
                  </a:lnTo>
                  <a:lnTo>
                    <a:pt x="117" y="40"/>
                  </a:lnTo>
                  <a:lnTo>
                    <a:pt x="118" y="48"/>
                  </a:lnTo>
                  <a:lnTo>
                    <a:pt x="118" y="53"/>
                  </a:lnTo>
                  <a:lnTo>
                    <a:pt x="118" y="57"/>
                  </a:lnTo>
                  <a:lnTo>
                    <a:pt x="118" y="58"/>
                  </a:lnTo>
                  <a:lnTo>
                    <a:pt x="1" y="58"/>
                  </a:lnTo>
                  <a:lnTo>
                    <a:pt x="0" y="51"/>
                  </a:lnTo>
                  <a:lnTo>
                    <a:pt x="1" y="42"/>
                  </a:lnTo>
                  <a:lnTo>
                    <a:pt x="4" y="33"/>
                  </a:lnTo>
                  <a:lnTo>
                    <a:pt x="8" y="23"/>
                  </a:lnTo>
                  <a:lnTo>
                    <a:pt x="12" y="15"/>
                  </a:lnTo>
                  <a:lnTo>
                    <a:pt x="16" y="8"/>
                  </a:lnTo>
                  <a:lnTo>
                    <a:pt x="19" y="3"/>
                  </a:lnTo>
                  <a:lnTo>
                    <a:pt x="2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9" name="Freeform 56">
              <a:extLst>
                <a:ext uri="{FF2B5EF4-FFF2-40B4-BE49-F238E27FC236}">
                  <a16:creationId xmlns:a16="http://schemas.microsoft.com/office/drawing/2014/main" id="{590E7735-F00D-324E-BE42-0A39E56722C0}"/>
                </a:ext>
              </a:extLst>
            </p:cNvPr>
            <p:cNvSpPr>
              <a:spLocks/>
            </p:cNvSpPr>
            <p:nvPr/>
          </p:nvSpPr>
          <p:spPr bwMode="auto">
            <a:xfrm>
              <a:off x="5759451" y="1060450"/>
              <a:ext cx="188913" cy="90488"/>
            </a:xfrm>
            <a:custGeom>
              <a:avLst/>
              <a:gdLst>
                <a:gd name="T0" fmla="*/ 22 w 119"/>
                <a:gd name="T1" fmla="*/ 0 h 57"/>
                <a:gd name="T2" fmla="*/ 99 w 119"/>
                <a:gd name="T3" fmla="*/ 0 h 57"/>
                <a:gd name="T4" fmla="*/ 108 w 119"/>
                <a:gd name="T5" fmla="*/ 16 h 57"/>
                <a:gd name="T6" fmla="*/ 114 w 119"/>
                <a:gd name="T7" fmla="*/ 29 h 57"/>
                <a:gd name="T8" fmla="*/ 117 w 119"/>
                <a:gd name="T9" fmla="*/ 40 h 57"/>
                <a:gd name="T10" fmla="*/ 119 w 119"/>
                <a:gd name="T11" fmla="*/ 47 h 57"/>
                <a:gd name="T12" fmla="*/ 119 w 119"/>
                <a:gd name="T13" fmla="*/ 53 h 57"/>
                <a:gd name="T14" fmla="*/ 118 w 119"/>
                <a:gd name="T15" fmla="*/ 56 h 57"/>
                <a:gd name="T16" fmla="*/ 118 w 119"/>
                <a:gd name="T17" fmla="*/ 57 h 57"/>
                <a:gd name="T18" fmla="*/ 2 w 119"/>
                <a:gd name="T19" fmla="*/ 57 h 57"/>
                <a:gd name="T20" fmla="*/ 0 w 119"/>
                <a:gd name="T21" fmla="*/ 50 h 57"/>
                <a:gd name="T22" fmla="*/ 2 w 119"/>
                <a:gd name="T23" fmla="*/ 42 h 57"/>
                <a:gd name="T24" fmla="*/ 4 w 119"/>
                <a:gd name="T25" fmla="*/ 32 h 57"/>
                <a:gd name="T26" fmla="*/ 8 w 119"/>
                <a:gd name="T27" fmla="*/ 23 h 57"/>
                <a:gd name="T28" fmla="*/ 14 w 119"/>
                <a:gd name="T29" fmla="*/ 14 h 57"/>
                <a:gd name="T30" fmla="*/ 18 w 119"/>
                <a:gd name="T31" fmla="*/ 6 h 57"/>
                <a:gd name="T32" fmla="*/ 21 w 119"/>
                <a:gd name="T33" fmla="*/ 2 h 57"/>
                <a:gd name="T34" fmla="*/ 22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2" y="0"/>
                  </a:moveTo>
                  <a:lnTo>
                    <a:pt x="99" y="0"/>
                  </a:lnTo>
                  <a:lnTo>
                    <a:pt x="108" y="16"/>
                  </a:lnTo>
                  <a:lnTo>
                    <a:pt x="114" y="29"/>
                  </a:lnTo>
                  <a:lnTo>
                    <a:pt x="117" y="40"/>
                  </a:lnTo>
                  <a:lnTo>
                    <a:pt x="119" y="47"/>
                  </a:lnTo>
                  <a:lnTo>
                    <a:pt x="119" y="53"/>
                  </a:lnTo>
                  <a:lnTo>
                    <a:pt x="118" y="56"/>
                  </a:lnTo>
                  <a:lnTo>
                    <a:pt x="118" y="57"/>
                  </a:lnTo>
                  <a:lnTo>
                    <a:pt x="2" y="57"/>
                  </a:lnTo>
                  <a:lnTo>
                    <a:pt x="0" y="50"/>
                  </a:lnTo>
                  <a:lnTo>
                    <a:pt x="2" y="42"/>
                  </a:lnTo>
                  <a:lnTo>
                    <a:pt x="4" y="32"/>
                  </a:lnTo>
                  <a:lnTo>
                    <a:pt x="8" y="23"/>
                  </a:lnTo>
                  <a:lnTo>
                    <a:pt x="14" y="14"/>
                  </a:lnTo>
                  <a:lnTo>
                    <a:pt x="18" y="6"/>
                  </a:lnTo>
                  <a:lnTo>
                    <a:pt x="21"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0" name="Freeform 57">
              <a:extLst>
                <a:ext uri="{FF2B5EF4-FFF2-40B4-BE49-F238E27FC236}">
                  <a16:creationId xmlns:a16="http://schemas.microsoft.com/office/drawing/2014/main" id="{E36663BC-FE89-7B49-84BD-DE41DA80527F}"/>
                </a:ext>
              </a:extLst>
            </p:cNvPr>
            <p:cNvSpPr>
              <a:spLocks/>
            </p:cNvSpPr>
            <p:nvPr/>
          </p:nvSpPr>
          <p:spPr bwMode="auto">
            <a:xfrm>
              <a:off x="5989638" y="1060450"/>
              <a:ext cx="190500" cy="90488"/>
            </a:xfrm>
            <a:custGeom>
              <a:avLst/>
              <a:gdLst>
                <a:gd name="T0" fmla="*/ 22 w 120"/>
                <a:gd name="T1" fmla="*/ 0 h 57"/>
                <a:gd name="T2" fmla="*/ 99 w 120"/>
                <a:gd name="T3" fmla="*/ 0 h 57"/>
                <a:gd name="T4" fmla="*/ 108 w 120"/>
                <a:gd name="T5" fmla="*/ 16 h 57"/>
                <a:gd name="T6" fmla="*/ 114 w 120"/>
                <a:gd name="T7" fmla="*/ 29 h 57"/>
                <a:gd name="T8" fmla="*/ 118 w 120"/>
                <a:gd name="T9" fmla="*/ 40 h 57"/>
                <a:gd name="T10" fmla="*/ 119 w 120"/>
                <a:gd name="T11" fmla="*/ 47 h 57"/>
                <a:gd name="T12" fmla="*/ 120 w 120"/>
                <a:gd name="T13" fmla="*/ 53 h 57"/>
                <a:gd name="T14" fmla="*/ 119 w 120"/>
                <a:gd name="T15" fmla="*/ 56 h 57"/>
                <a:gd name="T16" fmla="*/ 119 w 120"/>
                <a:gd name="T17" fmla="*/ 57 h 57"/>
                <a:gd name="T18" fmla="*/ 1 w 120"/>
                <a:gd name="T19" fmla="*/ 57 h 57"/>
                <a:gd name="T20" fmla="*/ 0 w 120"/>
                <a:gd name="T21" fmla="*/ 50 h 57"/>
                <a:gd name="T22" fmla="*/ 1 w 120"/>
                <a:gd name="T23" fmla="*/ 42 h 57"/>
                <a:gd name="T24" fmla="*/ 4 w 120"/>
                <a:gd name="T25" fmla="*/ 32 h 57"/>
                <a:gd name="T26" fmla="*/ 9 w 120"/>
                <a:gd name="T27" fmla="*/ 23 h 57"/>
                <a:gd name="T28" fmla="*/ 14 w 120"/>
                <a:gd name="T29" fmla="*/ 14 h 57"/>
                <a:gd name="T30" fmla="*/ 18 w 120"/>
                <a:gd name="T31" fmla="*/ 6 h 57"/>
                <a:gd name="T32" fmla="*/ 21 w 120"/>
                <a:gd name="T33" fmla="*/ 2 h 57"/>
                <a:gd name="T34" fmla="*/ 22 w 120"/>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57">
                  <a:moveTo>
                    <a:pt x="22" y="0"/>
                  </a:moveTo>
                  <a:lnTo>
                    <a:pt x="99" y="0"/>
                  </a:lnTo>
                  <a:lnTo>
                    <a:pt x="108" y="16"/>
                  </a:lnTo>
                  <a:lnTo>
                    <a:pt x="114" y="29"/>
                  </a:lnTo>
                  <a:lnTo>
                    <a:pt x="118" y="40"/>
                  </a:lnTo>
                  <a:lnTo>
                    <a:pt x="119" y="47"/>
                  </a:lnTo>
                  <a:lnTo>
                    <a:pt x="120" y="53"/>
                  </a:lnTo>
                  <a:lnTo>
                    <a:pt x="119" y="56"/>
                  </a:lnTo>
                  <a:lnTo>
                    <a:pt x="119" y="57"/>
                  </a:lnTo>
                  <a:lnTo>
                    <a:pt x="1" y="57"/>
                  </a:lnTo>
                  <a:lnTo>
                    <a:pt x="0" y="50"/>
                  </a:lnTo>
                  <a:lnTo>
                    <a:pt x="1" y="42"/>
                  </a:lnTo>
                  <a:lnTo>
                    <a:pt x="4" y="32"/>
                  </a:lnTo>
                  <a:lnTo>
                    <a:pt x="9" y="23"/>
                  </a:lnTo>
                  <a:lnTo>
                    <a:pt x="14" y="14"/>
                  </a:lnTo>
                  <a:lnTo>
                    <a:pt x="18" y="6"/>
                  </a:lnTo>
                  <a:lnTo>
                    <a:pt x="21"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1" name="Freeform 58">
              <a:extLst>
                <a:ext uri="{FF2B5EF4-FFF2-40B4-BE49-F238E27FC236}">
                  <a16:creationId xmlns:a16="http://schemas.microsoft.com/office/drawing/2014/main" id="{09D58921-09BA-704C-A655-5890004B9243}"/>
                </a:ext>
              </a:extLst>
            </p:cNvPr>
            <p:cNvSpPr>
              <a:spLocks/>
            </p:cNvSpPr>
            <p:nvPr/>
          </p:nvSpPr>
          <p:spPr bwMode="auto">
            <a:xfrm>
              <a:off x="5640388" y="1176338"/>
              <a:ext cx="188913" cy="90488"/>
            </a:xfrm>
            <a:custGeom>
              <a:avLst/>
              <a:gdLst>
                <a:gd name="T0" fmla="*/ 22 w 119"/>
                <a:gd name="T1" fmla="*/ 0 h 57"/>
                <a:gd name="T2" fmla="*/ 99 w 119"/>
                <a:gd name="T3" fmla="*/ 0 h 57"/>
                <a:gd name="T4" fmla="*/ 108 w 119"/>
                <a:gd name="T5" fmla="*/ 15 h 57"/>
                <a:gd name="T6" fmla="*/ 114 w 119"/>
                <a:gd name="T7" fmla="*/ 29 h 57"/>
                <a:gd name="T8" fmla="*/ 118 w 119"/>
                <a:gd name="T9" fmla="*/ 39 h 57"/>
                <a:gd name="T10" fmla="*/ 119 w 119"/>
                <a:gd name="T11" fmla="*/ 47 h 57"/>
                <a:gd name="T12" fmla="*/ 119 w 119"/>
                <a:gd name="T13" fmla="*/ 53 h 57"/>
                <a:gd name="T14" fmla="*/ 119 w 119"/>
                <a:gd name="T15" fmla="*/ 56 h 57"/>
                <a:gd name="T16" fmla="*/ 119 w 119"/>
                <a:gd name="T17" fmla="*/ 57 h 57"/>
                <a:gd name="T18" fmla="*/ 1 w 119"/>
                <a:gd name="T19" fmla="*/ 57 h 57"/>
                <a:gd name="T20" fmla="*/ 0 w 119"/>
                <a:gd name="T21" fmla="*/ 51 h 57"/>
                <a:gd name="T22" fmla="*/ 1 w 119"/>
                <a:gd name="T23" fmla="*/ 41 h 57"/>
                <a:gd name="T24" fmla="*/ 4 w 119"/>
                <a:gd name="T25" fmla="*/ 32 h 57"/>
                <a:gd name="T26" fmla="*/ 9 w 119"/>
                <a:gd name="T27" fmla="*/ 23 h 57"/>
                <a:gd name="T28" fmla="*/ 14 w 119"/>
                <a:gd name="T29" fmla="*/ 14 h 57"/>
                <a:gd name="T30" fmla="*/ 18 w 119"/>
                <a:gd name="T31" fmla="*/ 7 h 57"/>
                <a:gd name="T32" fmla="*/ 20 w 119"/>
                <a:gd name="T33" fmla="*/ 2 h 57"/>
                <a:gd name="T34" fmla="*/ 22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2" y="0"/>
                  </a:moveTo>
                  <a:lnTo>
                    <a:pt x="99" y="0"/>
                  </a:lnTo>
                  <a:lnTo>
                    <a:pt x="108" y="15"/>
                  </a:lnTo>
                  <a:lnTo>
                    <a:pt x="114" y="29"/>
                  </a:lnTo>
                  <a:lnTo>
                    <a:pt x="118" y="39"/>
                  </a:lnTo>
                  <a:lnTo>
                    <a:pt x="119" y="47"/>
                  </a:lnTo>
                  <a:lnTo>
                    <a:pt x="119" y="53"/>
                  </a:lnTo>
                  <a:lnTo>
                    <a:pt x="119" y="56"/>
                  </a:lnTo>
                  <a:lnTo>
                    <a:pt x="119" y="57"/>
                  </a:lnTo>
                  <a:lnTo>
                    <a:pt x="1" y="57"/>
                  </a:lnTo>
                  <a:lnTo>
                    <a:pt x="0" y="51"/>
                  </a:lnTo>
                  <a:lnTo>
                    <a:pt x="1" y="41"/>
                  </a:lnTo>
                  <a:lnTo>
                    <a:pt x="4" y="32"/>
                  </a:lnTo>
                  <a:lnTo>
                    <a:pt x="9" y="23"/>
                  </a:lnTo>
                  <a:lnTo>
                    <a:pt x="14" y="14"/>
                  </a:lnTo>
                  <a:lnTo>
                    <a:pt x="18" y="7"/>
                  </a:lnTo>
                  <a:lnTo>
                    <a:pt x="20"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2" name="Freeform 59">
              <a:extLst>
                <a:ext uri="{FF2B5EF4-FFF2-40B4-BE49-F238E27FC236}">
                  <a16:creationId xmlns:a16="http://schemas.microsoft.com/office/drawing/2014/main" id="{6DA639B5-FFEC-0E47-AA07-E678B75D66E2}"/>
                </a:ext>
              </a:extLst>
            </p:cNvPr>
            <p:cNvSpPr>
              <a:spLocks/>
            </p:cNvSpPr>
            <p:nvPr/>
          </p:nvSpPr>
          <p:spPr bwMode="auto">
            <a:xfrm>
              <a:off x="5870576" y="1176338"/>
              <a:ext cx="187325" cy="90488"/>
            </a:xfrm>
            <a:custGeom>
              <a:avLst/>
              <a:gdLst>
                <a:gd name="T0" fmla="*/ 20 w 118"/>
                <a:gd name="T1" fmla="*/ 0 h 57"/>
                <a:gd name="T2" fmla="*/ 97 w 118"/>
                <a:gd name="T3" fmla="*/ 0 h 57"/>
                <a:gd name="T4" fmla="*/ 106 w 118"/>
                <a:gd name="T5" fmla="*/ 15 h 57"/>
                <a:gd name="T6" fmla="*/ 113 w 118"/>
                <a:gd name="T7" fmla="*/ 29 h 57"/>
                <a:gd name="T8" fmla="*/ 116 w 118"/>
                <a:gd name="T9" fmla="*/ 39 h 57"/>
                <a:gd name="T10" fmla="*/ 118 w 118"/>
                <a:gd name="T11" fmla="*/ 47 h 57"/>
                <a:gd name="T12" fmla="*/ 118 w 118"/>
                <a:gd name="T13" fmla="*/ 53 h 57"/>
                <a:gd name="T14" fmla="*/ 118 w 118"/>
                <a:gd name="T15" fmla="*/ 56 h 57"/>
                <a:gd name="T16" fmla="*/ 117 w 118"/>
                <a:gd name="T17" fmla="*/ 57 h 57"/>
                <a:gd name="T18" fmla="*/ 1 w 118"/>
                <a:gd name="T19" fmla="*/ 57 h 57"/>
                <a:gd name="T20" fmla="*/ 0 w 118"/>
                <a:gd name="T21" fmla="*/ 51 h 57"/>
                <a:gd name="T22" fmla="*/ 1 w 118"/>
                <a:gd name="T23" fmla="*/ 41 h 57"/>
                <a:gd name="T24" fmla="*/ 4 w 118"/>
                <a:gd name="T25" fmla="*/ 32 h 57"/>
                <a:gd name="T26" fmla="*/ 8 w 118"/>
                <a:gd name="T27" fmla="*/ 23 h 57"/>
                <a:gd name="T28" fmla="*/ 12 w 118"/>
                <a:gd name="T29" fmla="*/ 14 h 57"/>
                <a:gd name="T30" fmla="*/ 16 w 118"/>
                <a:gd name="T31" fmla="*/ 7 h 57"/>
                <a:gd name="T32" fmla="*/ 19 w 118"/>
                <a:gd name="T33" fmla="*/ 2 h 57"/>
                <a:gd name="T34" fmla="*/ 20 w 118"/>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57">
                  <a:moveTo>
                    <a:pt x="20" y="0"/>
                  </a:moveTo>
                  <a:lnTo>
                    <a:pt x="97" y="0"/>
                  </a:lnTo>
                  <a:lnTo>
                    <a:pt x="106" y="15"/>
                  </a:lnTo>
                  <a:lnTo>
                    <a:pt x="113" y="29"/>
                  </a:lnTo>
                  <a:lnTo>
                    <a:pt x="116" y="39"/>
                  </a:lnTo>
                  <a:lnTo>
                    <a:pt x="118" y="47"/>
                  </a:lnTo>
                  <a:lnTo>
                    <a:pt x="118" y="53"/>
                  </a:lnTo>
                  <a:lnTo>
                    <a:pt x="118" y="56"/>
                  </a:lnTo>
                  <a:lnTo>
                    <a:pt x="117" y="57"/>
                  </a:lnTo>
                  <a:lnTo>
                    <a:pt x="1" y="57"/>
                  </a:lnTo>
                  <a:lnTo>
                    <a:pt x="0" y="51"/>
                  </a:lnTo>
                  <a:lnTo>
                    <a:pt x="1" y="41"/>
                  </a:lnTo>
                  <a:lnTo>
                    <a:pt x="4" y="32"/>
                  </a:lnTo>
                  <a:lnTo>
                    <a:pt x="8" y="23"/>
                  </a:lnTo>
                  <a:lnTo>
                    <a:pt x="12" y="14"/>
                  </a:lnTo>
                  <a:lnTo>
                    <a:pt x="16" y="7"/>
                  </a:lnTo>
                  <a:lnTo>
                    <a:pt x="19" y="2"/>
                  </a:lnTo>
                  <a:lnTo>
                    <a:pt x="2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3" name="Freeform 60">
              <a:extLst>
                <a:ext uri="{FF2B5EF4-FFF2-40B4-BE49-F238E27FC236}">
                  <a16:creationId xmlns:a16="http://schemas.microsoft.com/office/drawing/2014/main" id="{8FA27AEE-C7F8-9D4E-B5EA-B1EA76EB3602}"/>
                </a:ext>
              </a:extLst>
            </p:cNvPr>
            <p:cNvSpPr>
              <a:spLocks/>
            </p:cNvSpPr>
            <p:nvPr/>
          </p:nvSpPr>
          <p:spPr bwMode="auto">
            <a:xfrm>
              <a:off x="6097588" y="1176338"/>
              <a:ext cx="187325" cy="90488"/>
            </a:xfrm>
            <a:custGeom>
              <a:avLst/>
              <a:gdLst>
                <a:gd name="T0" fmla="*/ 22 w 118"/>
                <a:gd name="T1" fmla="*/ 0 h 57"/>
                <a:gd name="T2" fmla="*/ 98 w 118"/>
                <a:gd name="T3" fmla="*/ 0 h 57"/>
                <a:gd name="T4" fmla="*/ 108 w 118"/>
                <a:gd name="T5" fmla="*/ 15 h 57"/>
                <a:gd name="T6" fmla="*/ 114 w 118"/>
                <a:gd name="T7" fmla="*/ 29 h 57"/>
                <a:gd name="T8" fmla="*/ 117 w 118"/>
                <a:gd name="T9" fmla="*/ 39 h 57"/>
                <a:gd name="T10" fmla="*/ 118 w 118"/>
                <a:gd name="T11" fmla="*/ 47 h 57"/>
                <a:gd name="T12" fmla="*/ 118 w 118"/>
                <a:gd name="T13" fmla="*/ 53 h 57"/>
                <a:gd name="T14" fmla="*/ 118 w 118"/>
                <a:gd name="T15" fmla="*/ 56 h 57"/>
                <a:gd name="T16" fmla="*/ 118 w 118"/>
                <a:gd name="T17" fmla="*/ 57 h 57"/>
                <a:gd name="T18" fmla="*/ 1 w 118"/>
                <a:gd name="T19" fmla="*/ 57 h 57"/>
                <a:gd name="T20" fmla="*/ 0 w 118"/>
                <a:gd name="T21" fmla="*/ 51 h 57"/>
                <a:gd name="T22" fmla="*/ 1 w 118"/>
                <a:gd name="T23" fmla="*/ 41 h 57"/>
                <a:gd name="T24" fmla="*/ 4 w 118"/>
                <a:gd name="T25" fmla="*/ 32 h 57"/>
                <a:gd name="T26" fmla="*/ 8 w 118"/>
                <a:gd name="T27" fmla="*/ 23 h 57"/>
                <a:gd name="T28" fmla="*/ 13 w 118"/>
                <a:gd name="T29" fmla="*/ 14 h 57"/>
                <a:gd name="T30" fmla="*/ 16 w 118"/>
                <a:gd name="T31" fmla="*/ 7 h 57"/>
                <a:gd name="T32" fmla="*/ 19 w 118"/>
                <a:gd name="T33" fmla="*/ 2 h 57"/>
                <a:gd name="T34" fmla="*/ 22 w 118"/>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57">
                  <a:moveTo>
                    <a:pt x="22" y="0"/>
                  </a:moveTo>
                  <a:lnTo>
                    <a:pt x="98" y="0"/>
                  </a:lnTo>
                  <a:lnTo>
                    <a:pt x="108" y="15"/>
                  </a:lnTo>
                  <a:lnTo>
                    <a:pt x="114" y="29"/>
                  </a:lnTo>
                  <a:lnTo>
                    <a:pt x="117" y="39"/>
                  </a:lnTo>
                  <a:lnTo>
                    <a:pt x="118" y="47"/>
                  </a:lnTo>
                  <a:lnTo>
                    <a:pt x="118" y="53"/>
                  </a:lnTo>
                  <a:lnTo>
                    <a:pt x="118" y="56"/>
                  </a:lnTo>
                  <a:lnTo>
                    <a:pt x="118" y="57"/>
                  </a:lnTo>
                  <a:lnTo>
                    <a:pt x="1" y="57"/>
                  </a:lnTo>
                  <a:lnTo>
                    <a:pt x="0" y="51"/>
                  </a:lnTo>
                  <a:lnTo>
                    <a:pt x="1" y="41"/>
                  </a:lnTo>
                  <a:lnTo>
                    <a:pt x="4" y="32"/>
                  </a:lnTo>
                  <a:lnTo>
                    <a:pt x="8" y="23"/>
                  </a:lnTo>
                  <a:lnTo>
                    <a:pt x="13" y="14"/>
                  </a:lnTo>
                  <a:lnTo>
                    <a:pt x="16" y="7"/>
                  </a:lnTo>
                  <a:lnTo>
                    <a:pt x="19"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61">
              <a:extLst>
                <a:ext uri="{FF2B5EF4-FFF2-40B4-BE49-F238E27FC236}">
                  <a16:creationId xmlns:a16="http://schemas.microsoft.com/office/drawing/2014/main" id="{0D4CF5A4-F365-2941-BCB9-6CA718AD9A41}"/>
                </a:ext>
              </a:extLst>
            </p:cNvPr>
            <p:cNvSpPr>
              <a:spLocks/>
            </p:cNvSpPr>
            <p:nvPr/>
          </p:nvSpPr>
          <p:spPr bwMode="auto">
            <a:xfrm>
              <a:off x="2425701" y="1892300"/>
              <a:ext cx="188913" cy="90488"/>
            </a:xfrm>
            <a:custGeom>
              <a:avLst/>
              <a:gdLst>
                <a:gd name="T0" fmla="*/ 20 w 119"/>
                <a:gd name="T1" fmla="*/ 0 h 57"/>
                <a:gd name="T2" fmla="*/ 98 w 119"/>
                <a:gd name="T3" fmla="*/ 0 h 57"/>
                <a:gd name="T4" fmla="*/ 108 w 119"/>
                <a:gd name="T5" fmla="*/ 16 h 57"/>
                <a:gd name="T6" fmla="*/ 114 w 119"/>
                <a:gd name="T7" fmla="*/ 29 h 57"/>
                <a:gd name="T8" fmla="*/ 117 w 119"/>
                <a:gd name="T9" fmla="*/ 40 h 57"/>
                <a:gd name="T10" fmla="*/ 118 w 119"/>
                <a:gd name="T11" fmla="*/ 48 h 57"/>
                <a:gd name="T12" fmla="*/ 119 w 119"/>
                <a:gd name="T13" fmla="*/ 53 h 57"/>
                <a:gd name="T14" fmla="*/ 118 w 119"/>
                <a:gd name="T15" fmla="*/ 56 h 57"/>
                <a:gd name="T16" fmla="*/ 118 w 119"/>
                <a:gd name="T17" fmla="*/ 57 h 57"/>
                <a:gd name="T18" fmla="*/ 1 w 119"/>
                <a:gd name="T19" fmla="*/ 57 h 57"/>
                <a:gd name="T20" fmla="*/ 0 w 119"/>
                <a:gd name="T21" fmla="*/ 51 h 57"/>
                <a:gd name="T22" fmla="*/ 1 w 119"/>
                <a:gd name="T23" fmla="*/ 42 h 57"/>
                <a:gd name="T24" fmla="*/ 4 w 119"/>
                <a:gd name="T25" fmla="*/ 33 h 57"/>
                <a:gd name="T26" fmla="*/ 8 w 119"/>
                <a:gd name="T27" fmla="*/ 23 h 57"/>
                <a:gd name="T28" fmla="*/ 12 w 119"/>
                <a:gd name="T29" fmla="*/ 15 h 57"/>
                <a:gd name="T30" fmla="*/ 16 w 119"/>
                <a:gd name="T31" fmla="*/ 8 h 57"/>
                <a:gd name="T32" fmla="*/ 19 w 119"/>
                <a:gd name="T33" fmla="*/ 2 h 57"/>
                <a:gd name="T34" fmla="*/ 20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0" y="0"/>
                  </a:moveTo>
                  <a:lnTo>
                    <a:pt x="98" y="0"/>
                  </a:lnTo>
                  <a:lnTo>
                    <a:pt x="108" y="16"/>
                  </a:lnTo>
                  <a:lnTo>
                    <a:pt x="114" y="29"/>
                  </a:lnTo>
                  <a:lnTo>
                    <a:pt x="117" y="40"/>
                  </a:lnTo>
                  <a:lnTo>
                    <a:pt x="118" y="48"/>
                  </a:lnTo>
                  <a:lnTo>
                    <a:pt x="119" y="53"/>
                  </a:lnTo>
                  <a:lnTo>
                    <a:pt x="118" y="56"/>
                  </a:lnTo>
                  <a:lnTo>
                    <a:pt x="118" y="57"/>
                  </a:lnTo>
                  <a:lnTo>
                    <a:pt x="1" y="57"/>
                  </a:lnTo>
                  <a:lnTo>
                    <a:pt x="0" y="51"/>
                  </a:lnTo>
                  <a:lnTo>
                    <a:pt x="1" y="42"/>
                  </a:lnTo>
                  <a:lnTo>
                    <a:pt x="4" y="33"/>
                  </a:lnTo>
                  <a:lnTo>
                    <a:pt x="8" y="23"/>
                  </a:lnTo>
                  <a:lnTo>
                    <a:pt x="12" y="15"/>
                  </a:lnTo>
                  <a:lnTo>
                    <a:pt x="16" y="8"/>
                  </a:lnTo>
                  <a:lnTo>
                    <a:pt x="19" y="2"/>
                  </a:lnTo>
                  <a:lnTo>
                    <a:pt x="2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62">
              <a:extLst>
                <a:ext uri="{FF2B5EF4-FFF2-40B4-BE49-F238E27FC236}">
                  <a16:creationId xmlns:a16="http://schemas.microsoft.com/office/drawing/2014/main" id="{EE419C9D-1FCE-6D47-ABBD-6BD5778B871E}"/>
                </a:ext>
              </a:extLst>
            </p:cNvPr>
            <p:cNvSpPr>
              <a:spLocks/>
            </p:cNvSpPr>
            <p:nvPr/>
          </p:nvSpPr>
          <p:spPr bwMode="auto">
            <a:xfrm>
              <a:off x="2312988" y="2005013"/>
              <a:ext cx="188913" cy="90488"/>
            </a:xfrm>
            <a:custGeom>
              <a:avLst/>
              <a:gdLst>
                <a:gd name="T0" fmla="*/ 21 w 119"/>
                <a:gd name="T1" fmla="*/ 0 h 57"/>
                <a:gd name="T2" fmla="*/ 99 w 119"/>
                <a:gd name="T3" fmla="*/ 0 h 57"/>
                <a:gd name="T4" fmla="*/ 108 w 119"/>
                <a:gd name="T5" fmla="*/ 16 h 57"/>
                <a:gd name="T6" fmla="*/ 114 w 119"/>
                <a:gd name="T7" fmla="*/ 29 h 57"/>
                <a:gd name="T8" fmla="*/ 117 w 119"/>
                <a:gd name="T9" fmla="*/ 39 h 57"/>
                <a:gd name="T10" fmla="*/ 118 w 119"/>
                <a:gd name="T11" fmla="*/ 47 h 57"/>
                <a:gd name="T12" fmla="*/ 119 w 119"/>
                <a:gd name="T13" fmla="*/ 53 h 57"/>
                <a:gd name="T14" fmla="*/ 118 w 119"/>
                <a:gd name="T15" fmla="*/ 56 h 57"/>
                <a:gd name="T16" fmla="*/ 118 w 119"/>
                <a:gd name="T17" fmla="*/ 57 h 57"/>
                <a:gd name="T18" fmla="*/ 1 w 119"/>
                <a:gd name="T19" fmla="*/ 57 h 57"/>
                <a:gd name="T20" fmla="*/ 0 w 119"/>
                <a:gd name="T21" fmla="*/ 50 h 57"/>
                <a:gd name="T22" fmla="*/ 1 w 119"/>
                <a:gd name="T23" fmla="*/ 41 h 57"/>
                <a:gd name="T24" fmla="*/ 4 w 119"/>
                <a:gd name="T25" fmla="*/ 32 h 57"/>
                <a:gd name="T26" fmla="*/ 8 w 119"/>
                <a:gd name="T27" fmla="*/ 23 h 57"/>
                <a:gd name="T28" fmla="*/ 13 w 119"/>
                <a:gd name="T29" fmla="*/ 13 h 57"/>
                <a:gd name="T30" fmla="*/ 17 w 119"/>
                <a:gd name="T31" fmla="*/ 6 h 57"/>
                <a:gd name="T32" fmla="*/ 20 w 119"/>
                <a:gd name="T33" fmla="*/ 2 h 57"/>
                <a:gd name="T34" fmla="*/ 21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1" y="0"/>
                  </a:moveTo>
                  <a:lnTo>
                    <a:pt x="99" y="0"/>
                  </a:lnTo>
                  <a:lnTo>
                    <a:pt x="108" y="16"/>
                  </a:lnTo>
                  <a:lnTo>
                    <a:pt x="114" y="29"/>
                  </a:lnTo>
                  <a:lnTo>
                    <a:pt x="117" y="39"/>
                  </a:lnTo>
                  <a:lnTo>
                    <a:pt x="118" y="47"/>
                  </a:lnTo>
                  <a:lnTo>
                    <a:pt x="119" y="53"/>
                  </a:lnTo>
                  <a:lnTo>
                    <a:pt x="118" y="56"/>
                  </a:lnTo>
                  <a:lnTo>
                    <a:pt x="118" y="57"/>
                  </a:lnTo>
                  <a:lnTo>
                    <a:pt x="1" y="57"/>
                  </a:lnTo>
                  <a:lnTo>
                    <a:pt x="0" y="50"/>
                  </a:lnTo>
                  <a:lnTo>
                    <a:pt x="1" y="41"/>
                  </a:lnTo>
                  <a:lnTo>
                    <a:pt x="4" y="32"/>
                  </a:lnTo>
                  <a:lnTo>
                    <a:pt x="8" y="23"/>
                  </a:lnTo>
                  <a:lnTo>
                    <a:pt x="13" y="13"/>
                  </a:lnTo>
                  <a:lnTo>
                    <a:pt x="17" y="6"/>
                  </a:lnTo>
                  <a:lnTo>
                    <a:pt x="20" y="2"/>
                  </a:lnTo>
                  <a:lnTo>
                    <a:pt x="2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63">
              <a:extLst>
                <a:ext uri="{FF2B5EF4-FFF2-40B4-BE49-F238E27FC236}">
                  <a16:creationId xmlns:a16="http://schemas.microsoft.com/office/drawing/2014/main" id="{15530E3A-44B5-734E-85A7-35708AC8C467}"/>
                </a:ext>
              </a:extLst>
            </p:cNvPr>
            <p:cNvSpPr>
              <a:spLocks/>
            </p:cNvSpPr>
            <p:nvPr/>
          </p:nvSpPr>
          <p:spPr bwMode="auto">
            <a:xfrm>
              <a:off x="2543176" y="2005013"/>
              <a:ext cx="190500" cy="90488"/>
            </a:xfrm>
            <a:custGeom>
              <a:avLst/>
              <a:gdLst>
                <a:gd name="T0" fmla="*/ 22 w 120"/>
                <a:gd name="T1" fmla="*/ 0 h 57"/>
                <a:gd name="T2" fmla="*/ 99 w 120"/>
                <a:gd name="T3" fmla="*/ 0 h 57"/>
                <a:gd name="T4" fmla="*/ 108 w 120"/>
                <a:gd name="T5" fmla="*/ 16 h 57"/>
                <a:gd name="T6" fmla="*/ 115 w 120"/>
                <a:gd name="T7" fmla="*/ 29 h 57"/>
                <a:gd name="T8" fmla="*/ 119 w 120"/>
                <a:gd name="T9" fmla="*/ 39 h 57"/>
                <a:gd name="T10" fmla="*/ 120 w 120"/>
                <a:gd name="T11" fmla="*/ 47 h 57"/>
                <a:gd name="T12" fmla="*/ 120 w 120"/>
                <a:gd name="T13" fmla="*/ 53 h 57"/>
                <a:gd name="T14" fmla="*/ 120 w 120"/>
                <a:gd name="T15" fmla="*/ 56 h 57"/>
                <a:gd name="T16" fmla="*/ 119 w 120"/>
                <a:gd name="T17" fmla="*/ 57 h 57"/>
                <a:gd name="T18" fmla="*/ 2 w 120"/>
                <a:gd name="T19" fmla="*/ 57 h 57"/>
                <a:gd name="T20" fmla="*/ 0 w 120"/>
                <a:gd name="T21" fmla="*/ 50 h 57"/>
                <a:gd name="T22" fmla="*/ 1 w 120"/>
                <a:gd name="T23" fmla="*/ 41 h 57"/>
                <a:gd name="T24" fmla="*/ 5 w 120"/>
                <a:gd name="T25" fmla="*/ 32 h 57"/>
                <a:gd name="T26" fmla="*/ 9 w 120"/>
                <a:gd name="T27" fmla="*/ 23 h 57"/>
                <a:gd name="T28" fmla="*/ 14 w 120"/>
                <a:gd name="T29" fmla="*/ 13 h 57"/>
                <a:gd name="T30" fmla="*/ 18 w 120"/>
                <a:gd name="T31" fmla="*/ 6 h 57"/>
                <a:gd name="T32" fmla="*/ 21 w 120"/>
                <a:gd name="T33" fmla="*/ 2 h 57"/>
                <a:gd name="T34" fmla="*/ 22 w 120"/>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57">
                  <a:moveTo>
                    <a:pt x="22" y="0"/>
                  </a:moveTo>
                  <a:lnTo>
                    <a:pt x="99" y="0"/>
                  </a:lnTo>
                  <a:lnTo>
                    <a:pt x="108" y="16"/>
                  </a:lnTo>
                  <a:lnTo>
                    <a:pt x="115" y="29"/>
                  </a:lnTo>
                  <a:lnTo>
                    <a:pt x="119" y="39"/>
                  </a:lnTo>
                  <a:lnTo>
                    <a:pt x="120" y="47"/>
                  </a:lnTo>
                  <a:lnTo>
                    <a:pt x="120" y="53"/>
                  </a:lnTo>
                  <a:lnTo>
                    <a:pt x="120" y="56"/>
                  </a:lnTo>
                  <a:lnTo>
                    <a:pt x="119" y="57"/>
                  </a:lnTo>
                  <a:lnTo>
                    <a:pt x="2" y="57"/>
                  </a:lnTo>
                  <a:lnTo>
                    <a:pt x="0" y="50"/>
                  </a:lnTo>
                  <a:lnTo>
                    <a:pt x="1" y="41"/>
                  </a:lnTo>
                  <a:lnTo>
                    <a:pt x="5" y="32"/>
                  </a:lnTo>
                  <a:lnTo>
                    <a:pt x="9" y="23"/>
                  </a:lnTo>
                  <a:lnTo>
                    <a:pt x="14" y="13"/>
                  </a:lnTo>
                  <a:lnTo>
                    <a:pt x="18" y="6"/>
                  </a:lnTo>
                  <a:lnTo>
                    <a:pt x="21"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Freeform 64">
              <a:extLst>
                <a:ext uri="{FF2B5EF4-FFF2-40B4-BE49-F238E27FC236}">
                  <a16:creationId xmlns:a16="http://schemas.microsoft.com/office/drawing/2014/main" id="{8C382166-CF9C-AE4D-BF24-12958CFC2573}"/>
                </a:ext>
              </a:extLst>
            </p:cNvPr>
            <p:cNvSpPr>
              <a:spLocks/>
            </p:cNvSpPr>
            <p:nvPr/>
          </p:nvSpPr>
          <p:spPr bwMode="auto">
            <a:xfrm>
              <a:off x="2192338" y="2122488"/>
              <a:ext cx="190500" cy="90488"/>
            </a:xfrm>
            <a:custGeom>
              <a:avLst/>
              <a:gdLst>
                <a:gd name="T0" fmla="*/ 22 w 120"/>
                <a:gd name="T1" fmla="*/ 0 h 57"/>
                <a:gd name="T2" fmla="*/ 99 w 120"/>
                <a:gd name="T3" fmla="*/ 0 h 57"/>
                <a:gd name="T4" fmla="*/ 108 w 120"/>
                <a:gd name="T5" fmla="*/ 15 h 57"/>
                <a:gd name="T6" fmla="*/ 115 w 120"/>
                <a:gd name="T7" fmla="*/ 28 h 57"/>
                <a:gd name="T8" fmla="*/ 119 w 120"/>
                <a:gd name="T9" fmla="*/ 39 h 57"/>
                <a:gd name="T10" fmla="*/ 120 w 120"/>
                <a:gd name="T11" fmla="*/ 46 h 57"/>
                <a:gd name="T12" fmla="*/ 120 w 120"/>
                <a:gd name="T13" fmla="*/ 53 h 57"/>
                <a:gd name="T14" fmla="*/ 120 w 120"/>
                <a:gd name="T15" fmla="*/ 56 h 57"/>
                <a:gd name="T16" fmla="*/ 119 w 120"/>
                <a:gd name="T17" fmla="*/ 57 h 57"/>
                <a:gd name="T18" fmla="*/ 2 w 120"/>
                <a:gd name="T19" fmla="*/ 57 h 57"/>
                <a:gd name="T20" fmla="*/ 0 w 120"/>
                <a:gd name="T21" fmla="*/ 49 h 57"/>
                <a:gd name="T22" fmla="*/ 1 w 120"/>
                <a:gd name="T23" fmla="*/ 41 h 57"/>
                <a:gd name="T24" fmla="*/ 5 w 120"/>
                <a:gd name="T25" fmla="*/ 32 h 57"/>
                <a:gd name="T26" fmla="*/ 9 w 120"/>
                <a:gd name="T27" fmla="*/ 22 h 57"/>
                <a:gd name="T28" fmla="*/ 14 w 120"/>
                <a:gd name="T29" fmla="*/ 13 h 57"/>
                <a:gd name="T30" fmla="*/ 18 w 120"/>
                <a:gd name="T31" fmla="*/ 6 h 57"/>
                <a:gd name="T32" fmla="*/ 21 w 120"/>
                <a:gd name="T33" fmla="*/ 1 h 57"/>
                <a:gd name="T34" fmla="*/ 22 w 120"/>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57">
                  <a:moveTo>
                    <a:pt x="22" y="0"/>
                  </a:moveTo>
                  <a:lnTo>
                    <a:pt x="99" y="0"/>
                  </a:lnTo>
                  <a:lnTo>
                    <a:pt x="108" y="15"/>
                  </a:lnTo>
                  <a:lnTo>
                    <a:pt x="115" y="28"/>
                  </a:lnTo>
                  <a:lnTo>
                    <a:pt x="119" y="39"/>
                  </a:lnTo>
                  <a:lnTo>
                    <a:pt x="120" y="46"/>
                  </a:lnTo>
                  <a:lnTo>
                    <a:pt x="120" y="53"/>
                  </a:lnTo>
                  <a:lnTo>
                    <a:pt x="120" y="56"/>
                  </a:lnTo>
                  <a:lnTo>
                    <a:pt x="119" y="57"/>
                  </a:lnTo>
                  <a:lnTo>
                    <a:pt x="2" y="57"/>
                  </a:lnTo>
                  <a:lnTo>
                    <a:pt x="0" y="49"/>
                  </a:lnTo>
                  <a:lnTo>
                    <a:pt x="1" y="41"/>
                  </a:lnTo>
                  <a:lnTo>
                    <a:pt x="5" y="32"/>
                  </a:lnTo>
                  <a:lnTo>
                    <a:pt x="9" y="22"/>
                  </a:lnTo>
                  <a:lnTo>
                    <a:pt x="14" y="13"/>
                  </a:lnTo>
                  <a:lnTo>
                    <a:pt x="18" y="6"/>
                  </a:lnTo>
                  <a:lnTo>
                    <a:pt x="21" y="1"/>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8" name="Freeform 65">
              <a:extLst>
                <a:ext uri="{FF2B5EF4-FFF2-40B4-BE49-F238E27FC236}">
                  <a16:creationId xmlns:a16="http://schemas.microsoft.com/office/drawing/2014/main" id="{32A323C8-5F9A-A74A-A974-D59CE4C67B83}"/>
                </a:ext>
              </a:extLst>
            </p:cNvPr>
            <p:cNvSpPr>
              <a:spLocks/>
            </p:cNvSpPr>
            <p:nvPr/>
          </p:nvSpPr>
          <p:spPr bwMode="auto">
            <a:xfrm>
              <a:off x="2422526" y="2122488"/>
              <a:ext cx="188913" cy="90488"/>
            </a:xfrm>
            <a:custGeom>
              <a:avLst/>
              <a:gdLst>
                <a:gd name="T0" fmla="*/ 21 w 119"/>
                <a:gd name="T1" fmla="*/ 0 h 57"/>
                <a:gd name="T2" fmla="*/ 98 w 119"/>
                <a:gd name="T3" fmla="*/ 0 h 57"/>
                <a:gd name="T4" fmla="*/ 108 w 119"/>
                <a:gd name="T5" fmla="*/ 15 h 57"/>
                <a:gd name="T6" fmla="*/ 114 w 119"/>
                <a:gd name="T7" fmla="*/ 28 h 57"/>
                <a:gd name="T8" fmla="*/ 118 w 119"/>
                <a:gd name="T9" fmla="*/ 39 h 57"/>
                <a:gd name="T10" fmla="*/ 119 w 119"/>
                <a:gd name="T11" fmla="*/ 46 h 57"/>
                <a:gd name="T12" fmla="*/ 119 w 119"/>
                <a:gd name="T13" fmla="*/ 53 h 57"/>
                <a:gd name="T14" fmla="*/ 119 w 119"/>
                <a:gd name="T15" fmla="*/ 56 h 57"/>
                <a:gd name="T16" fmla="*/ 119 w 119"/>
                <a:gd name="T17" fmla="*/ 57 h 57"/>
                <a:gd name="T18" fmla="*/ 2 w 119"/>
                <a:gd name="T19" fmla="*/ 57 h 57"/>
                <a:gd name="T20" fmla="*/ 0 w 119"/>
                <a:gd name="T21" fmla="*/ 49 h 57"/>
                <a:gd name="T22" fmla="*/ 2 w 119"/>
                <a:gd name="T23" fmla="*/ 41 h 57"/>
                <a:gd name="T24" fmla="*/ 4 w 119"/>
                <a:gd name="T25" fmla="*/ 32 h 57"/>
                <a:gd name="T26" fmla="*/ 9 w 119"/>
                <a:gd name="T27" fmla="*/ 22 h 57"/>
                <a:gd name="T28" fmla="*/ 13 w 119"/>
                <a:gd name="T29" fmla="*/ 13 h 57"/>
                <a:gd name="T30" fmla="*/ 17 w 119"/>
                <a:gd name="T31" fmla="*/ 6 h 57"/>
                <a:gd name="T32" fmla="*/ 20 w 119"/>
                <a:gd name="T33" fmla="*/ 1 h 57"/>
                <a:gd name="T34" fmla="*/ 21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1" y="0"/>
                  </a:moveTo>
                  <a:lnTo>
                    <a:pt x="98" y="0"/>
                  </a:lnTo>
                  <a:lnTo>
                    <a:pt x="108" y="15"/>
                  </a:lnTo>
                  <a:lnTo>
                    <a:pt x="114" y="28"/>
                  </a:lnTo>
                  <a:lnTo>
                    <a:pt x="118" y="39"/>
                  </a:lnTo>
                  <a:lnTo>
                    <a:pt x="119" y="46"/>
                  </a:lnTo>
                  <a:lnTo>
                    <a:pt x="119" y="53"/>
                  </a:lnTo>
                  <a:lnTo>
                    <a:pt x="119" y="56"/>
                  </a:lnTo>
                  <a:lnTo>
                    <a:pt x="119" y="57"/>
                  </a:lnTo>
                  <a:lnTo>
                    <a:pt x="2" y="57"/>
                  </a:lnTo>
                  <a:lnTo>
                    <a:pt x="0" y="49"/>
                  </a:lnTo>
                  <a:lnTo>
                    <a:pt x="2" y="41"/>
                  </a:lnTo>
                  <a:lnTo>
                    <a:pt x="4" y="32"/>
                  </a:lnTo>
                  <a:lnTo>
                    <a:pt x="9" y="22"/>
                  </a:lnTo>
                  <a:lnTo>
                    <a:pt x="13" y="13"/>
                  </a:lnTo>
                  <a:lnTo>
                    <a:pt x="17" y="6"/>
                  </a:lnTo>
                  <a:lnTo>
                    <a:pt x="20" y="1"/>
                  </a:lnTo>
                  <a:lnTo>
                    <a:pt x="2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66">
              <a:extLst>
                <a:ext uri="{FF2B5EF4-FFF2-40B4-BE49-F238E27FC236}">
                  <a16:creationId xmlns:a16="http://schemas.microsoft.com/office/drawing/2014/main" id="{B1115620-CC29-ED48-B6DC-3557A943B238}"/>
                </a:ext>
              </a:extLst>
            </p:cNvPr>
            <p:cNvSpPr>
              <a:spLocks/>
            </p:cNvSpPr>
            <p:nvPr/>
          </p:nvSpPr>
          <p:spPr bwMode="auto">
            <a:xfrm>
              <a:off x="2651126" y="2122488"/>
              <a:ext cx="188913" cy="90488"/>
            </a:xfrm>
            <a:custGeom>
              <a:avLst/>
              <a:gdLst>
                <a:gd name="T0" fmla="*/ 22 w 119"/>
                <a:gd name="T1" fmla="*/ 0 h 57"/>
                <a:gd name="T2" fmla="*/ 98 w 119"/>
                <a:gd name="T3" fmla="*/ 0 h 57"/>
                <a:gd name="T4" fmla="*/ 109 w 119"/>
                <a:gd name="T5" fmla="*/ 15 h 57"/>
                <a:gd name="T6" fmla="*/ 114 w 119"/>
                <a:gd name="T7" fmla="*/ 28 h 57"/>
                <a:gd name="T8" fmla="*/ 118 w 119"/>
                <a:gd name="T9" fmla="*/ 39 h 57"/>
                <a:gd name="T10" fmla="*/ 119 w 119"/>
                <a:gd name="T11" fmla="*/ 46 h 57"/>
                <a:gd name="T12" fmla="*/ 119 w 119"/>
                <a:gd name="T13" fmla="*/ 53 h 57"/>
                <a:gd name="T14" fmla="*/ 119 w 119"/>
                <a:gd name="T15" fmla="*/ 56 h 57"/>
                <a:gd name="T16" fmla="*/ 119 w 119"/>
                <a:gd name="T17" fmla="*/ 57 h 57"/>
                <a:gd name="T18" fmla="*/ 2 w 119"/>
                <a:gd name="T19" fmla="*/ 57 h 57"/>
                <a:gd name="T20" fmla="*/ 0 w 119"/>
                <a:gd name="T21" fmla="*/ 49 h 57"/>
                <a:gd name="T22" fmla="*/ 2 w 119"/>
                <a:gd name="T23" fmla="*/ 41 h 57"/>
                <a:gd name="T24" fmla="*/ 5 w 119"/>
                <a:gd name="T25" fmla="*/ 32 h 57"/>
                <a:gd name="T26" fmla="*/ 9 w 119"/>
                <a:gd name="T27" fmla="*/ 22 h 57"/>
                <a:gd name="T28" fmla="*/ 13 w 119"/>
                <a:gd name="T29" fmla="*/ 13 h 57"/>
                <a:gd name="T30" fmla="*/ 18 w 119"/>
                <a:gd name="T31" fmla="*/ 6 h 57"/>
                <a:gd name="T32" fmla="*/ 21 w 119"/>
                <a:gd name="T33" fmla="*/ 1 h 57"/>
                <a:gd name="T34" fmla="*/ 22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2" y="0"/>
                  </a:moveTo>
                  <a:lnTo>
                    <a:pt x="98" y="0"/>
                  </a:lnTo>
                  <a:lnTo>
                    <a:pt x="109" y="15"/>
                  </a:lnTo>
                  <a:lnTo>
                    <a:pt x="114" y="28"/>
                  </a:lnTo>
                  <a:lnTo>
                    <a:pt x="118" y="39"/>
                  </a:lnTo>
                  <a:lnTo>
                    <a:pt x="119" y="46"/>
                  </a:lnTo>
                  <a:lnTo>
                    <a:pt x="119" y="53"/>
                  </a:lnTo>
                  <a:lnTo>
                    <a:pt x="119" y="56"/>
                  </a:lnTo>
                  <a:lnTo>
                    <a:pt x="119" y="57"/>
                  </a:lnTo>
                  <a:lnTo>
                    <a:pt x="2" y="57"/>
                  </a:lnTo>
                  <a:lnTo>
                    <a:pt x="0" y="49"/>
                  </a:lnTo>
                  <a:lnTo>
                    <a:pt x="2" y="41"/>
                  </a:lnTo>
                  <a:lnTo>
                    <a:pt x="5" y="32"/>
                  </a:lnTo>
                  <a:lnTo>
                    <a:pt x="9" y="22"/>
                  </a:lnTo>
                  <a:lnTo>
                    <a:pt x="13" y="13"/>
                  </a:lnTo>
                  <a:lnTo>
                    <a:pt x="18" y="6"/>
                  </a:lnTo>
                  <a:lnTo>
                    <a:pt x="21" y="1"/>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0" name="Freeform 67">
              <a:extLst>
                <a:ext uri="{FF2B5EF4-FFF2-40B4-BE49-F238E27FC236}">
                  <a16:creationId xmlns:a16="http://schemas.microsoft.com/office/drawing/2014/main" id="{A7C98115-B47D-8147-9768-455127D9E99A}"/>
                </a:ext>
              </a:extLst>
            </p:cNvPr>
            <p:cNvSpPr>
              <a:spLocks noEditPoints="1"/>
            </p:cNvSpPr>
            <p:nvPr/>
          </p:nvSpPr>
          <p:spPr bwMode="auto">
            <a:xfrm>
              <a:off x="3263901" y="917575"/>
              <a:ext cx="279400" cy="207963"/>
            </a:xfrm>
            <a:custGeom>
              <a:avLst/>
              <a:gdLst>
                <a:gd name="T0" fmla="*/ 29 w 176"/>
                <a:gd name="T1" fmla="*/ 95 h 131"/>
                <a:gd name="T2" fmla="*/ 88 w 176"/>
                <a:gd name="T3" fmla="*/ 95 h 131"/>
                <a:gd name="T4" fmla="*/ 90 w 176"/>
                <a:gd name="T5" fmla="*/ 95 h 131"/>
                <a:gd name="T6" fmla="*/ 92 w 176"/>
                <a:gd name="T7" fmla="*/ 97 h 131"/>
                <a:gd name="T8" fmla="*/ 93 w 176"/>
                <a:gd name="T9" fmla="*/ 98 h 131"/>
                <a:gd name="T10" fmla="*/ 93 w 176"/>
                <a:gd name="T11" fmla="*/ 101 h 131"/>
                <a:gd name="T12" fmla="*/ 93 w 176"/>
                <a:gd name="T13" fmla="*/ 104 h 131"/>
                <a:gd name="T14" fmla="*/ 92 w 176"/>
                <a:gd name="T15" fmla="*/ 106 h 131"/>
                <a:gd name="T16" fmla="*/ 90 w 176"/>
                <a:gd name="T17" fmla="*/ 107 h 131"/>
                <a:gd name="T18" fmla="*/ 88 w 176"/>
                <a:gd name="T19" fmla="*/ 107 h 131"/>
                <a:gd name="T20" fmla="*/ 29 w 176"/>
                <a:gd name="T21" fmla="*/ 107 h 131"/>
                <a:gd name="T22" fmla="*/ 27 w 176"/>
                <a:gd name="T23" fmla="*/ 107 h 131"/>
                <a:gd name="T24" fmla="*/ 25 w 176"/>
                <a:gd name="T25" fmla="*/ 106 h 131"/>
                <a:gd name="T26" fmla="*/ 23 w 176"/>
                <a:gd name="T27" fmla="*/ 104 h 131"/>
                <a:gd name="T28" fmla="*/ 23 w 176"/>
                <a:gd name="T29" fmla="*/ 101 h 131"/>
                <a:gd name="T30" fmla="*/ 23 w 176"/>
                <a:gd name="T31" fmla="*/ 98 h 131"/>
                <a:gd name="T32" fmla="*/ 25 w 176"/>
                <a:gd name="T33" fmla="*/ 97 h 131"/>
                <a:gd name="T34" fmla="*/ 27 w 176"/>
                <a:gd name="T35" fmla="*/ 95 h 131"/>
                <a:gd name="T36" fmla="*/ 29 w 176"/>
                <a:gd name="T37" fmla="*/ 95 h 131"/>
                <a:gd name="T38" fmla="*/ 11 w 176"/>
                <a:gd name="T39" fmla="*/ 48 h 131"/>
                <a:gd name="T40" fmla="*/ 11 w 176"/>
                <a:gd name="T41" fmla="*/ 119 h 131"/>
                <a:gd name="T42" fmla="*/ 165 w 176"/>
                <a:gd name="T43" fmla="*/ 119 h 131"/>
                <a:gd name="T44" fmla="*/ 165 w 176"/>
                <a:gd name="T45" fmla="*/ 48 h 131"/>
                <a:gd name="T46" fmla="*/ 11 w 176"/>
                <a:gd name="T47" fmla="*/ 48 h 131"/>
                <a:gd name="T48" fmla="*/ 11 w 176"/>
                <a:gd name="T49" fmla="*/ 12 h 131"/>
                <a:gd name="T50" fmla="*/ 11 w 176"/>
                <a:gd name="T51" fmla="*/ 24 h 131"/>
                <a:gd name="T52" fmla="*/ 165 w 176"/>
                <a:gd name="T53" fmla="*/ 24 h 131"/>
                <a:gd name="T54" fmla="*/ 165 w 176"/>
                <a:gd name="T55" fmla="*/ 12 h 131"/>
                <a:gd name="T56" fmla="*/ 11 w 176"/>
                <a:gd name="T57" fmla="*/ 12 h 131"/>
                <a:gd name="T58" fmla="*/ 5 w 176"/>
                <a:gd name="T59" fmla="*/ 0 h 131"/>
                <a:gd name="T60" fmla="*/ 170 w 176"/>
                <a:gd name="T61" fmla="*/ 0 h 131"/>
                <a:gd name="T62" fmla="*/ 173 w 176"/>
                <a:gd name="T63" fmla="*/ 0 h 131"/>
                <a:gd name="T64" fmla="*/ 175 w 176"/>
                <a:gd name="T65" fmla="*/ 2 h 131"/>
                <a:gd name="T66" fmla="*/ 176 w 176"/>
                <a:gd name="T67" fmla="*/ 4 h 131"/>
                <a:gd name="T68" fmla="*/ 176 w 176"/>
                <a:gd name="T69" fmla="*/ 6 h 131"/>
                <a:gd name="T70" fmla="*/ 176 w 176"/>
                <a:gd name="T71" fmla="*/ 124 h 131"/>
                <a:gd name="T72" fmla="*/ 176 w 176"/>
                <a:gd name="T73" fmla="*/ 127 h 131"/>
                <a:gd name="T74" fmla="*/ 175 w 176"/>
                <a:gd name="T75" fmla="*/ 128 h 131"/>
                <a:gd name="T76" fmla="*/ 173 w 176"/>
                <a:gd name="T77" fmla="*/ 131 h 131"/>
                <a:gd name="T78" fmla="*/ 170 w 176"/>
                <a:gd name="T79" fmla="*/ 131 h 131"/>
                <a:gd name="T80" fmla="*/ 5 w 176"/>
                <a:gd name="T81" fmla="*/ 131 h 131"/>
                <a:gd name="T82" fmla="*/ 3 w 176"/>
                <a:gd name="T83" fmla="*/ 131 h 131"/>
                <a:gd name="T84" fmla="*/ 1 w 176"/>
                <a:gd name="T85" fmla="*/ 128 h 131"/>
                <a:gd name="T86" fmla="*/ 0 w 176"/>
                <a:gd name="T87" fmla="*/ 127 h 131"/>
                <a:gd name="T88" fmla="*/ 0 w 176"/>
                <a:gd name="T89" fmla="*/ 124 h 131"/>
                <a:gd name="T90" fmla="*/ 0 w 176"/>
                <a:gd name="T91" fmla="*/ 6 h 131"/>
                <a:gd name="T92" fmla="*/ 0 w 176"/>
                <a:gd name="T93" fmla="*/ 4 h 131"/>
                <a:gd name="T94" fmla="*/ 1 w 176"/>
                <a:gd name="T95" fmla="*/ 2 h 131"/>
                <a:gd name="T96" fmla="*/ 3 w 176"/>
                <a:gd name="T97" fmla="*/ 0 h 131"/>
                <a:gd name="T98" fmla="*/ 5 w 176"/>
                <a:gd name="T9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 h="131">
                  <a:moveTo>
                    <a:pt x="29" y="95"/>
                  </a:moveTo>
                  <a:lnTo>
                    <a:pt x="88" y="95"/>
                  </a:lnTo>
                  <a:lnTo>
                    <a:pt x="90" y="95"/>
                  </a:lnTo>
                  <a:lnTo>
                    <a:pt x="92" y="97"/>
                  </a:lnTo>
                  <a:lnTo>
                    <a:pt x="93" y="98"/>
                  </a:lnTo>
                  <a:lnTo>
                    <a:pt x="93" y="101"/>
                  </a:lnTo>
                  <a:lnTo>
                    <a:pt x="93" y="104"/>
                  </a:lnTo>
                  <a:lnTo>
                    <a:pt x="92" y="106"/>
                  </a:lnTo>
                  <a:lnTo>
                    <a:pt x="90" y="107"/>
                  </a:lnTo>
                  <a:lnTo>
                    <a:pt x="88" y="107"/>
                  </a:lnTo>
                  <a:lnTo>
                    <a:pt x="29" y="107"/>
                  </a:lnTo>
                  <a:lnTo>
                    <a:pt x="27" y="107"/>
                  </a:lnTo>
                  <a:lnTo>
                    <a:pt x="25" y="106"/>
                  </a:lnTo>
                  <a:lnTo>
                    <a:pt x="23" y="104"/>
                  </a:lnTo>
                  <a:lnTo>
                    <a:pt x="23" y="101"/>
                  </a:lnTo>
                  <a:lnTo>
                    <a:pt x="23" y="98"/>
                  </a:lnTo>
                  <a:lnTo>
                    <a:pt x="25" y="97"/>
                  </a:lnTo>
                  <a:lnTo>
                    <a:pt x="27" y="95"/>
                  </a:lnTo>
                  <a:lnTo>
                    <a:pt x="29" y="95"/>
                  </a:lnTo>
                  <a:close/>
                  <a:moveTo>
                    <a:pt x="11" y="48"/>
                  </a:moveTo>
                  <a:lnTo>
                    <a:pt x="11" y="119"/>
                  </a:lnTo>
                  <a:lnTo>
                    <a:pt x="165" y="119"/>
                  </a:lnTo>
                  <a:lnTo>
                    <a:pt x="165" y="48"/>
                  </a:lnTo>
                  <a:lnTo>
                    <a:pt x="11" y="48"/>
                  </a:lnTo>
                  <a:close/>
                  <a:moveTo>
                    <a:pt x="11" y="12"/>
                  </a:moveTo>
                  <a:lnTo>
                    <a:pt x="11" y="24"/>
                  </a:lnTo>
                  <a:lnTo>
                    <a:pt x="165" y="24"/>
                  </a:lnTo>
                  <a:lnTo>
                    <a:pt x="165" y="12"/>
                  </a:lnTo>
                  <a:lnTo>
                    <a:pt x="11" y="12"/>
                  </a:lnTo>
                  <a:close/>
                  <a:moveTo>
                    <a:pt x="5" y="0"/>
                  </a:moveTo>
                  <a:lnTo>
                    <a:pt x="170" y="0"/>
                  </a:lnTo>
                  <a:lnTo>
                    <a:pt x="173" y="0"/>
                  </a:lnTo>
                  <a:lnTo>
                    <a:pt x="175" y="2"/>
                  </a:lnTo>
                  <a:lnTo>
                    <a:pt x="176" y="4"/>
                  </a:lnTo>
                  <a:lnTo>
                    <a:pt x="176" y="6"/>
                  </a:lnTo>
                  <a:lnTo>
                    <a:pt x="176" y="124"/>
                  </a:lnTo>
                  <a:lnTo>
                    <a:pt x="176" y="127"/>
                  </a:lnTo>
                  <a:lnTo>
                    <a:pt x="175" y="128"/>
                  </a:lnTo>
                  <a:lnTo>
                    <a:pt x="173" y="131"/>
                  </a:lnTo>
                  <a:lnTo>
                    <a:pt x="170" y="131"/>
                  </a:lnTo>
                  <a:lnTo>
                    <a:pt x="5" y="131"/>
                  </a:lnTo>
                  <a:lnTo>
                    <a:pt x="3" y="131"/>
                  </a:lnTo>
                  <a:lnTo>
                    <a:pt x="1" y="128"/>
                  </a:lnTo>
                  <a:lnTo>
                    <a:pt x="0" y="127"/>
                  </a:lnTo>
                  <a:lnTo>
                    <a:pt x="0" y="124"/>
                  </a:lnTo>
                  <a:lnTo>
                    <a:pt x="0" y="6"/>
                  </a:lnTo>
                  <a:lnTo>
                    <a:pt x="0" y="4"/>
                  </a:lnTo>
                  <a:lnTo>
                    <a:pt x="1" y="2"/>
                  </a:lnTo>
                  <a:lnTo>
                    <a:pt x="3" y="0"/>
                  </a:lnTo>
                  <a:lnTo>
                    <a:pt x="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68">
              <a:extLst>
                <a:ext uri="{FF2B5EF4-FFF2-40B4-BE49-F238E27FC236}">
                  <a16:creationId xmlns:a16="http://schemas.microsoft.com/office/drawing/2014/main" id="{0480E25E-48CE-0B44-87F3-F71F3C0C1183}"/>
                </a:ext>
              </a:extLst>
            </p:cNvPr>
            <p:cNvSpPr>
              <a:spLocks noEditPoints="1"/>
            </p:cNvSpPr>
            <p:nvPr/>
          </p:nvSpPr>
          <p:spPr bwMode="auto">
            <a:xfrm>
              <a:off x="3997326" y="3240088"/>
              <a:ext cx="1314450" cy="901700"/>
            </a:xfrm>
            <a:custGeom>
              <a:avLst/>
              <a:gdLst>
                <a:gd name="T0" fmla="*/ 137 w 828"/>
                <a:gd name="T1" fmla="*/ 414 h 568"/>
                <a:gd name="T2" fmla="*/ 414 w 828"/>
                <a:gd name="T3" fmla="*/ 414 h 568"/>
                <a:gd name="T4" fmla="*/ 424 w 828"/>
                <a:gd name="T5" fmla="*/ 416 h 568"/>
                <a:gd name="T6" fmla="*/ 432 w 828"/>
                <a:gd name="T7" fmla="*/ 422 h 568"/>
                <a:gd name="T8" fmla="*/ 438 w 828"/>
                <a:gd name="T9" fmla="*/ 430 h 568"/>
                <a:gd name="T10" fmla="*/ 440 w 828"/>
                <a:gd name="T11" fmla="*/ 441 h 568"/>
                <a:gd name="T12" fmla="*/ 438 w 828"/>
                <a:gd name="T13" fmla="*/ 450 h 568"/>
                <a:gd name="T14" fmla="*/ 432 w 828"/>
                <a:gd name="T15" fmla="*/ 458 h 568"/>
                <a:gd name="T16" fmla="*/ 424 w 828"/>
                <a:gd name="T17" fmla="*/ 463 h 568"/>
                <a:gd name="T18" fmla="*/ 414 w 828"/>
                <a:gd name="T19" fmla="*/ 465 h 568"/>
                <a:gd name="T20" fmla="*/ 137 w 828"/>
                <a:gd name="T21" fmla="*/ 465 h 568"/>
                <a:gd name="T22" fmla="*/ 126 w 828"/>
                <a:gd name="T23" fmla="*/ 463 h 568"/>
                <a:gd name="T24" fmla="*/ 117 w 828"/>
                <a:gd name="T25" fmla="*/ 458 h 568"/>
                <a:gd name="T26" fmla="*/ 111 w 828"/>
                <a:gd name="T27" fmla="*/ 450 h 568"/>
                <a:gd name="T28" fmla="*/ 109 w 828"/>
                <a:gd name="T29" fmla="*/ 441 h 568"/>
                <a:gd name="T30" fmla="*/ 111 w 828"/>
                <a:gd name="T31" fmla="*/ 430 h 568"/>
                <a:gd name="T32" fmla="*/ 117 w 828"/>
                <a:gd name="T33" fmla="*/ 422 h 568"/>
                <a:gd name="T34" fmla="*/ 126 w 828"/>
                <a:gd name="T35" fmla="*/ 416 h 568"/>
                <a:gd name="T36" fmla="*/ 137 w 828"/>
                <a:gd name="T37" fmla="*/ 414 h 568"/>
                <a:gd name="T38" fmla="*/ 54 w 828"/>
                <a:gd name="T39" fmla="*/ 208 h 568"/>
                <a:gd name="T40" fmla="*/ 54 w 828"/>
                <a:gd name="T41" fmla="*/ 518 h 568"/>
                <a:gd name="T42" fmla="*/ 771 w 828"/>
                <a:gd name="T43" fmla="*/ 518 h 568"/>
                <a:gd name="T44" fmla="*/ 771 w 828"/>
                <a:gd name="T45" fmla="*/ 208 h 568"/>
                <a:gd name="T46" fmla="*/ 54 w 828"/>
                <a:gd name="T47" fmla="*/ 208 h 568"/>
                <a:gd name="T48" fmla="*/ 54 w 828"/>
                <a:gd name="T49" fmla="*/ 54 h 568"/>
                <a:gd name="T50" fmla="*/ 54 w 828"/>
                <a:gd name="T51" fmla="*/ 104 h 568"/>
                <a:gd name="T52" fmla="*/ 771 w 828"/>
                <a:gd name="T53" fmla="*/ 104 h 568"/>
                <a:gd name="T54" fmla="*/ 771 w 828"/>
                <a:gd name="T55" fmla="*/ 54 h 568"/>
                <a:gd name="T56" fmla="*/ 54 w 828"/>
                <a:gd name="T57" fmla="*/ 54 h 568"/>
                <a:gd name="T58" fmla="*/ 26 w 828"/>
                <a:gd name="T59" fmla="*/ 0 h 568"/>
                <a:gd name="T60" fmla="*/ 799 w 828"/>
                <a:gd name="T61" fmla="*/ 0 h 568"/>
                <a:gd name="T62" fmla="*/ 810 w 828"/>
                <a:gd name="T63" fmla="*/ 2 h 568"/>
                <a:gd name="T64" fmla="*/ 819 w 828"/>
                <a:gd name="T65" fmla="*/ 8 h 568"/>
                <a:gd name="T66" fmla="*/ 826 w 828"/>
                <a:gd name="T67" fmla="*/ 16 h 568"/>
                <a:gd name="T68" fmla="*/ 828 w 828"/>
                <a:gd name="T69" fmla="*/ 27 h 568"/>
                <a:gd name="T70" fmla="*/ 828 w 828"/>
                <a:gd name="T71" fmla="*/ 543 h 568"/>
                <a:gd name="T72" fmla="*/ 826 w 828"/>
                <a:gd name="T73" fmla="*/ 553 h 568"/>
                <a:gd name="T74" fmla="*/ 819 w 828"/>
                <a:gd name="T75" fmla="*/ 561 h 568"/>
                <a:gd name="T76" fmla="*/ 810 w 828"/>
                <a:gd name="T77" fmla="*/ 566 h 568"/>
                <a:gd name="T78" fmla="*/ 799 w 828"/>
                <a:gd name="T79" fmla="*/ 568 h 568"/>
                <a:gd name="T80" fmla="*/ 26 w 828"/>
                <a:gd name="T81" fmla="*/ 568 h 568"/>
                <a:gd name="T82" fmla="*/ 15 w 828"/>
                <a:gd name="T83" fmla="*/ 566 h 568"/>
                <a:gd name="T84" fmla="*/ 7 w 828"/>
                <a:gd name="T85" fmla="*/ 561 h 568"/>
                <a:gd name="T86" fmla="*/ 2 w 828"/>
                <a:gd name="T87" fmla="*/ 553 h 568"/>
                <a:gd name="T88" fmla="*/ 0 w 828"/>
                <a:gd name="T89" fmla="*/ 543 h 568"/>
                <a:gd name="T90" fmla="*/ 0 w 828"/>
                <a:gd name="T91" fmla="*/ 27 h 568"/>
                <a:gd name="T92" fmla="*/ 2 w 828"/>
                <a:gd name="T93" fmla="*/ 16 h 568"/>
                <a:gd name="T94" fmla="*/ 7 w 828"/>
                <a:gd name="T95" fmla="*/ 8 h 568"/>
                <a:gd name="T96" fmla="*/ 15 w 828"/>
                <a:gd name="T97" fmla="*/ 2 h 568"/>
                <a:gd name="T98" fmla="*/ 26 w 828"/>
                <a:gd name="T99"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8" h="568">
                  <a:moveTo>
                    <a:pt x="137" y="414"/>
                  </a:moveTo>
                  <a:lnTo>
                    <a:pt x="414" y="414"/>
                  </a:lnTo>
                  <a:lnTo>
                    <a:pt x="424" y="416"/>
                  </a:lnTo>
                  <a:lnTo>
                    <a:pt x="432" y="422"/>
                  </a:lnTo>
                  <a:lnTo>
                    <a:pt x="438" y="430"/>
                  </a:lnTo>
                  <a:lnTo>
                    <a:pt x="440" y="441"/>
                  </a:lnTo>
                  <a:lnTo>
                    <a:pt x="438" y="450"/>
                  </a:lnTo>
                  <a:lnTo>
                    <a:pt x="432" y="458"/>
                  </a:lnTo>
                  <a:lnTo>
                    <a:pt x="424" y="463"/>
                  </a:lnTo>
                  <a:lnTo>
                    <a:pt x="414" y="465"/>
                  </a:lnTo>
                  <a:lnTo>
                    <a:pt x="137" y="465"/>
                  </a:lnTo>
                  <a:lnTo>
                    <a:pt x="126" y="463"/>
                  </a:lnTo>
                  <a:lnTo>
                    <a:pt x="117" y="458"/>
                  </a:lnTo>
                  <a:lnTo>
                    <a:pt x="111" y="450"/>
                  </a:lnTo>
                  <a:lnTo>
                    <a:pt x="109" y="441"/>
                  </a:lnTo>
                  <a:lnTo>
                    <a:pt x="111" y="430"/>
                  </a:lnTo>
                  <a:lnTo>
                    <a:pt x="117" y="422"/>
                  </a:lnTo>
                  <a:lnTo>
                    <a:pt x="126" y="416"/>
                  </a:lnTo>
                  <a:lnTo>
                    <a:pt x="137" y="414"/>
                  </a:lnTo>
                  <a:close/>
                  <a:moveTo>
                    <a:pt x="54" y="208"/>
                  </a:moveTo>
                  <a:lnTo>
                    <a:pt x="54" y="518"/>
                  </a:lnTo>
                  <a:lnTo>
                    <a:pt x="771" y="518"/>
                  </a:lnTo>
                  <a:lnTo>
                    <a:pt x="771" y="208"/>
                  </a:lnTo>
                  <a:lnTo>
                    <a:pt x="54" y="208"/>
                  </a:lnTo>
                  <a:close/>
                  <a:moveTo>
                    <a:pt x="54" y="54"/>
                  </a:moveTo>
                  <a:lnTo>
                    <a:pt x="54" y="104"/>
                  </a:lnTo>
                  <a:lnTo>
                    <a:pt x="771" y="104"/>
                  </a:lnTo>
                  <a:lnTo>
                    <a:pt x="771" y="54"/>
                  </a:lnTo>
                  <a:lnTo>
                    <a:pt x="54" y="54"/>
                  </a:lnTo>
                  <a:close/>
                  <a:moveTo>
                    <a:pt x="26" y="0"/>
                  </a:moveTo>
                  <a:lnTo>
                    <a:pt x="799" y="0"/>
                  </a:lnTo>
                  <a:lnTo>
                    <a:pt x="810" y="2"/>
                  </a:lnTo>
                  <a:lnTo>
                    <a:pt x="819" y="8"/>
                  </a:lnTo>
                  <a:lnTo>
                    <a:pt x="826" y="16"/>
                  </a:lnTo>
                  <a:lnTo>
                    <a:pt x="828" y="27"/>
                  </a:lnTo>
                  <a:lnTo>
                    <a:pt x="828" y="543"/>
                  </a:lnTo>
                  <a:lnTo>
                    <a:pt x="826" y="553"/>
                  </a:lnTo>
                  <a:lnTo>
                    <a:pt x="819" y="561"/>
                  </a:lnTo>
                  <a:lnTo>
                    <a:pt x="810" y="566"/>
                  </a:lnTo>
                  <a:lnTo>
                    <a:pt x="799" y="568"/>
                  </a:lnTo>
                  <a:lnTo>
                    <a:pt x="26" y="568"/>
                  </a:lnTo>
                  <a:lnTo>
                    <a:pt x="15" y="566"/>
                  </a:lnTo>
                  <a:lnTo>
                    <a:pt x="7" y="561"/>
                  </a:lnTo>
                  <a:lnTo>
                    <a:pt x="2" y="553"/>
                  </a:lnTo>
                  <a:lnTo>
                    <a:pt x="0" y="543"/>
                  </a:lnTo>
                  <a:lnTo>
                    <a:pt x="0" y="27"/>
                  </a:lnTo>
                  <a:lnTo>
                    <a:pt x="2" y="16"/>
                  </a:lnTo>
                  <a:lnTo>
                    <a:pt x="7" y="8"/>
                  </a:lnTo>
                  <a:lnTo>
                    <a:pt x="15" y="2"/>
                  </a:lnTo>
                  <a:lnTo>
                    <a:pt x="2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2" name="Freeform 69">
              <a:extLst>
                <a:ext uri="{FF2B5EF4-FFF2-40B4-BE49-F238E27FC236}">
                  <a16:creationId xmlns:a16="http://schemas.microsoft.com/office/drawing/2014/main" id="{F340F528-7F65-8F43-A524-829BB2AE8630}"/>
                </a:ext>
              </a:extLst>
            </p:cNvPr>
            <p:cNvSpPr>
              <a:spLocks/>
            </p:cNvSpPr>
            <p:nvPr/>
          </p:nvSpPr>
          <p:spPr bwMode="auto">
            <a:xfrm>
              <a:off x="3975101" y="2228850"/>
              <a:ext cx="153988" cy="74613"/>
            </a:xfrm>
            <a:custGeom>
              <a:avLst/>
              <a:gdLst>
                <a:gd name="T0" fmla="*/ 18 w 97"/>
                <a:gd name="T1" fmla="*/ 0 h 47"/>
                <a:gd name="T2" fmla="*/ 80 w 97"/>
                <a:gd name="T3" fmla="*/ 0 h 47"/>
                <a:gd name="T4" fmla="*/ 88 w 97"/>
                <a:gd name="T5" fmla="*/ 15 h 47"/>
                <a:gd name="T6" fmla="*/ 94 w 97"/>
                <a:gd name="T7" fmla="*/ 27 h 47"/>
                <a:gd name="T8" fmla="*/ 96 w 97"/>
                <a:gd name="T9" fmla="*/ 35 h 47"/>
                <a:gd name="T10" fmla="*/ 97 w 97"/>
                <a:gd name="T11" fmla="*/ 42 h 47"/>
                <a:gd name="T12" fmla="*/ 97 w 97"/>
                <a:gd name="T13" fmla="*/ 45 h 47"/>
                <a:gd name="T14" fmla="*/ 96 w 97"/>
                <a:gd name="T15" fmla="*/ 47 h 47"/>
                <a:gd name="T16" fmla="*/ 1 w 97"/>
                <a:gd name="T17" fmla="*/ 47 h 47"/>
                <a:gd name="T18" fmla="*/ 0 w 97"/>
                <a:gd name="T19" fmla="*/ 40 h 47"/>
                <a:gd name="T20" fmla="*/ 2 w 97"/>
                <a:gd name="T21" fmla="*/ 32 h 47"/>
                <a:gd name="T22" fmla="*/ 5 w 97"/>
                <a:gd name="T23" fmla="*/ 23 h 47"/>
                <a:gd name="T24" fmla="*/ 10 w 97"/>
                <a:gd name="T25" fmla="*/ 15 h 47"/>
                <a:gd name="T26" fmla="*/ 14 w 97"/>
                <a:gd name="T27" fmla="*/ 7 h 47"/>
                <a:gd name="T28" fmla="*/ 17 w 97"/>
                <a:gd name="T29" fmla="*/ 2 h 47"/>
                <a:gd name="T30" fmla="*/ 18 w 97"/>
                <a:gd name="T3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7">
                  <a:moveTo>
                    <a:pt x="18" y="0"/>
                  </a:moveTo>
                  <a:lnTo>
                    <a:pt x="80" y="0"/>
                  </a:lnTo>
                  <a:lnTo>
                    <a:pt x="88" y="15"/>
                  </a:lnTo>
                  <a:lnTo>
                    <a:pt x="94" y="27"/>
                  </a:lnTo>
                  <a:lnTo>
                    <a:pt x="96" y="35"/>
                  </a:lnTo>
                  <a:lnTo>
                    <a:pt x="97" y="42"/>
                  </a:lnTo>
                  <a:lnTo>
                    <a:pt x="97" y="45"/>
                  </a:lnTo>
                  <a:lnTo>
                    <a:pt x="96" y="47"/>
                  </a:lnTo>
                  <a:lnTo>
                    <a:pt x="1" y="47"/>
                  </a:lnTo>
                  <a:lnTo>
                    <a:pt x="0" y="40"/>
                  </a:lnTo>
                  <a:lnTo>
                    <a:pt x="2" y="32"/>
                  </a:lnTo>
                  <a:lnTo>
                    <a:pt x="5" y="23"/>
                  </a:lnTo>
                  <a:lnTo>
                    <a:pt x="10" y="15"/>
                  </a:lnTo>
                  <a:lnTo>
                    <a:pt x="14" y="7"/>
                  </a:lnTo>
                  <a:lnTo>
                    <a:pt x="17"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3" name="Freeform 70">
              <a:extLst>
                <a:ext uri="{FF2B5EF4-FFF2-40B4-BE49-F238E27FC236}">
                  <a16:creationId xmlns:a16="http://schemas.microsoft.com/office/drawing/2014/main" id="{07EB3176-CBDA-344C-A954-873FA10A8EB6}"/>
                </a:ext>
              </a:extLst>
            </p:cNvPr>
            <p:cNvSpPr>
              <a:spLocks/>
            </p:cNvSpPr>
            <p:nvPr/>
          </p:nvSpPr>
          <p:spPr bwMode="auto">
            <a:xfrm>
              <a:off x="3884613" y="2319338"/>
              <a:ext cx="153988" cy="73025"/>
            </a:xfrm>
            <a:custGeom>
              <a:avLst/>
              <a:gdLst>
                <a:gd name="T0" fmla="*/ 18 w 97"/>
                <a:gd name="T1" fmla="*/ 0 h 46"/>
                <a:gd name="T2" fmla="*/ 80 w 97"/>
                <a:gd name="T3" fmla="*/ 0 h 46"/>
                <a:gd name="T4" fmla="*/ 88 w 97"/>
                <a:gd name="T5" fmla="*/ 15 h 46"/>
                <a:gd name="T6" fmla="*/ 94 w 97"/>
                <a:gd name="T7" fmla="*/ 26 h 46"/>
                <a:gd name="T8" fmla="*/ 97 w 97"/>
                <a:gd name="T9" fmla="*/ 36 h 46"/>
                <a:gd name="T10" fmla="*/ 97 w 97"/>
                <a:gd name="T11" fmla="*/ 42 h 46"/>
                <a:gd name="T12" fmla="*/ 97 w 97"/>
                <a:gd name="T13" fmla="*/ 45 h 46"/>
                <a:gd name="T14" fmla="*/ 97 w 97"/>
                <a:gd name="T15" fmla="*/ 46 h 46"/>
                <a:gd name="T16" fmla="*/ 1 w 97"/>
                <a:gd name="T17" fmla="*/ 46 h 46"/>
                <a:gd name="T18" fmla="*/ 0 w 97"/>
                <a:gd name="T19" fmla="*/ 40 h 46"/>
                <a:gd name="T20" fmla="*/ 2 w 97"/>
                <a:gd name="T21" fmla="*/ 31 h 46"/>
                <a:gd name="T22" fmla="*/ 5 w 97"/>
                <a:gd name="T23" fmla="*/ 23 h 46"/>
                <a:gd name="T24" fmla="*/ 9 w 97"/>
                <a:gd name="T25" fmla="*/ 15 h 46"/>
                <a:gd name="T26" fmla="*/ 14 w 97"/>
                <a:gd name="T27" fmla="*/ 8 h 46"/>
                <a:gd name="T28" fmla="*/ 17 w 97"/>
                <a:gd name="T29" fmla="*/ 2 h 46"/>
                <a:gd name="T30" fmla="*/ 18 w 97"/>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6">
                  <a:moveTo>
                    <a:pt x="18" y="0"/>
                  </a:moveTo>
                  <a:lnTo>
                    <a:pt x="80" y="0"/>
                  </a:lnTo>
                  <a:lnTo>
                    <a:pt x="88" y="15"/>
                  </a:lnTo>
                  <a:lnTo>
                    <a:pt x="94" y="26"/>
                  </a:lnTo>
                  <a:lnTo>
                    <a:pt x="97" y="36"/>
                  </a:lnTo>
                  <a:lnTo>
                    <a:pt x="97" y="42"/>
                  </a:lnTo>
                  <a:lnTo>
                    <a:pt x="97" y="45"/>
                  </a:lnTo>
                  <a:lnTo>
                    <a:pt x="97" y="46"/>
                  </a:lnTo>
                  <a:lnTo>
                    <a:pt x="1" y="46"/>
                  </a:lnTo>
                  <a:lnTo>
                    <a:pt x="0" y="40"/>
                  </a:lnTo>
                  <a:lnTo>
                    <a:pt x="2" y="31"/>
                  </a:lnTo>
                  <a:lnTo>
                    <a:pt x="5" y="23"/>
                  </a:lnTo>
                  <a:lnTo>
                    <a:pt x="9" y="15"/>
                  </a:lnTo>
                  <a:lnTo>
                    <a:pt x="14" y="8"/>
                  </a:lnTo>
                  <a:lnTo>
                    <a:pt x="17"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71">
              <a:extLst>
                <a:ext uri="{FF2B5EF4-FFF2-40B4-BE49-F238E27FC236}">
                  <a16:creationId xmlns:a16="http://schemas.microsoft.com/office/drawing/2014/main" id="{07499902-4035-614F-A590-951E4EB5BD2E}"/>
                </a:ext>
              </a:extLst>
            </p:cNvPr>
            <p:cNvSpPr>
              <a:spLocks/>
            </p:cNvSpPr>
            <p:nvPr/>
          </p:nvSpPr>
          <p:spPr bwMode="auto">
            <a:xfrm>
              <a:off x="4071938" y="2319338"/>
              <a:ext cx="152400" cy="73025"/>
            </a:xfrm>
            <a:custGeom>
              <a:avLst/>
              <a:gdLst>
                <a:gd name="T0" fmla="*/ 17 w 96"/>
                <a:gd name="T1" fmla="*/ 0 h 46"/>
                <a:gd name="T2" fmla="*/ 79 w 96"/>
                <a:gd name="T3" fmla="*/ 0 h 46"/>
                <a:gd name="T4" fmla="*/ 89 w 96"/>
                <a:gd name="T5" fmla="*/ 15 h 46"/>
                <a:gd name="T6" fmla="*/ 93 w 96"/>
                <a:gd name="T7" fmla="*/ 26 h 46"/>
                <a:gd name="T8" fmla="*/ 96 w 96"/>
                <a:gd name="T9" fmla="*/ 36 h 46"/>
                <a:gd name="T10" fmla="*/ 96 w 96"/>
                <a:gd name="T11" fmla="*/ 42 h 46"/>
                <a:gd name="T12" fmla="*/ 96 w 96"/>
                <a:gd name="T13" fmla="*/ 45 h 46"/>
                <a:gd name="T14" fmla="*/ 96 w 96"/>
                <a:gd name="T15" fmla="*/ 46 h 46"/>
                <a:gd name="T16" fmla="*/ 1 w 96"/>
                <a:gd name="T17" fmla="*/ 46 h 46"/>
                <a:gd name="T18" fmla="*/ 0 w 96"/>
                <a:gd name="T19" fmla="*/ 40 h 46"/>
                <a:gd name="T20" fmla="*/ 1 w 96"/>
                <a:gd name="T21" fmla="*/ 31 h 46"/>
                <a:gd name="T22" fmla="*/ 5 w 96"/>
                <a:gd name="T23" fmla="*/ 23 h 46"/>
                <a:gd name="T24" fmla="*/ 9 w 96"/>
                <a:gd name="T25" fmla="*/ 15 h 46"/>
                <a:gd name="T26" fmla="*/ 13 w 96"/>
                <a:gd name="T27" fmla="*/ 8 h 46"/>
                <a:gd name="T28" fmla="*/ 16 w 96"/>
                <a:gd name="T29" fmla="*/ 2 h 46"/>
                <a:gd name="T30" fmla="*/ 17 w 9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17" y="0"/>
                  </a:moveTo>
                  <a:lnTo>
                    <a:pt x="79" y="0"/>
                  </a:lnTo>
                  <a:lnTo>
                    <a:pt x="89" y="15"/>
                  </a:lnTo>
                  <a:lnTo>
                    <a:pt x="93" y="26"/>
                  </a:lnTo>
                  <a:lnTo>
                    <a:pt x="96" y="36"/>
                  </a:lnTo>
                  <a:lnTo>
                    <a:pt x="96" y="42"/>
                  </a:lnTo>
                  <a:lnTo>
                    <a:pt x="96" y="45"/>
                  </a:lnTo>
                  <a:lnTo>
                    <a:pt x="96" y="46"/>
                  </a:lnTo>
                  <a:lnTo>
                    <a:pt x="1" y="46"/>
                  </a:lnTo>
                  <a:lnTo>
                    <a:pt x="0" y="40"/>
                  </a:lnTo>
                  <a:lnTo>
                    <a:pt x="1" y="31"/>
                  </a:lnTo>
                  <a:lnTo>
                    <a:pt x="5" y="23"/>
                  </a:lnTo>
                  <a:lnTo>
                    <a:pt x="9" y="15"/>
                  </a:lnTo>
                  <a:lnTo>
                    <a:pt x="13" y="8"/>
                  </a:lnTo>
                  <a:lnTo>
                    <a:pt x="16" y="2"/>
                  </a:lnTo>
                  <a:lnTo>
                    <a:pt x="1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Freeform 72">
              <a:extLst>
                <a:ext uri="{FF2B5EF4-FFF2-40B4-BE49-F238E27FC236}">
                  <a16:creationId xmlns:a16="http://schemas.microsoft.com/office/drawing/2014/main" id="{25DC1F29-FB75-0346-AEEE-A16E49D8ADEE}"/>
                </a:ext>
              </a:extLst>
            </p:cNvPr>
            <p:cNvSpPr>
              <a:spLocks/>
            </p:cNvSpPr>
            <p:nvPr/>
          </p:nvSpPr>
          <p:spPr bwMode="auto">
            <a:xfrm>
              <a:off x="3789363" y="2413000"/>
              <a:ext cx="152400" cy="73025"/>
            </a:xfrm>
            <a:custGeom>
              <a:avLst/>
              <a:gdLst>
                <a:gd name="T0" fmla="*/ 18 w 96"/>
                <a:gd name="T1" fmla="*/ 0 h 46"/>
                <a:gd name="T2" fmla="*/ 79 w 96"/>
                <a:gd name="T3" fmla="*/ 0 h 46"/>
                <a:gd name="T4" fmla="*/ 88 w 96"/>
                <a:gd name="T5" fmla="*/ 15 h 46"/>
                <a:gd name="T6" fmla="*/ 93 w 96"/>
                <a:gd name="T7" fmla="*/ 26 h 46"/>
                <a:gd name="T8" fmla="*/ 95 w 96"/>
                <a:gd name="T9" fmla="*/ 36 h 46"/>
                <a:gd name="T10" fmla="*/ 96 w 96"/>
                <a:gd name="T11" fmla="*/ 42 h 46"/>
                <a:gd name="T12" fmla="*/ 95 w 96"/>
                <a:gd name="T13" fmla="*/ 45 h 46"/>
                <a:gd name="T14" fmla="*/ 95 w 96"/>
                <a:gd name="T15" fmla="*/ 46 h 46"/>
                <a:gd name="T16" fmla="*/ 1 w 96"/>
                <a:gd name="T17" fmla="*/ 46 h 46"/>
                <a:gd name="T18" fmla="*/ 0 w 96"/>
                <a:gd name="T19" fmla="*/ 40 h 46"/>
                <a:gd name="T20" fmla="*/ 1 w 96"/>
                <a:gd name="T21" fmla="*/ 32 h 46"/>
                <a:gd name="T22" fmla="*/ 5 w 96"/>
                <a:gd name="T23" fmla="*/ 23 h 46"/>
                <a:gd name="T24" fmla="*/ 9 w 96"/>
                <a:gd name="T25" fmla="*/ 15 h 46"/>
                <a:gd name="T26" fmla="*/ 12 w 96"/>
                <a:gd name="T27" fmla="*/ 8 h 46"/>
                <a:gd name="T28" fmla="*/ 15 w 96"/>
                <a:gd name="T29" fmla="*/ 2 h 46"/>
                <a:gd name="T30" fmla="*/ 18 w 9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18" y="0"/>
                  </a:moveTo>
                  <a:lnTo>
                    <a:pt x="79" y="0"/>
                  </a:lnTo>
                  <a:lnTo>
                    <a:pt x="88" y="15"/>
                  </a:lnTo>
                  <a:lnTo>
                    <a:pt x="93" y="26"/>
                  </a:lnTo>
                  <a:lnTo>
                    <a:pt x="95" y="36"/>
                  </a:lnTo>
                  <a:lnTo>
                    <a:pt x="96" y="42"/>
                  </a:lnTo>
                  <a:lnTo>
                    <a:pt x="95" y="45"/>
                  </a:lnTo>
                  <a:lnTo>
                    <a:pt x="95" y="46"/>
                  </a:lnTo>
                  <a:lnTo>
                    <a:pt x="1" y="46"/>
                  </a:lnTo>
                  <a:lnTo>
                    <a:pt x="0" y="40"/>
                  </a:lnTo>
                  <a:lnTo>
                    <a:pt x="1" y="32"/>
                  </a:lnTo>
                  <a:lnTo>
                    <a:pt x="5" y="23"/>
                  </a:lnTo>
                  <a:lnTo>
                    <a:pt x="9" y="15"/>
                  </a:lnTo>
                  <a:lnTo>
                    <a:pt x="12" y="8"/>
                  </a:lnTo>
                  <a:lnTo>
                    <a:pt x="15"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6" name="Freeform 73">
              <a:extLst>
                <a:ext uri="{FF2B5EF4-FFF2-40B4-BE49-F238E27FC236}">
                  <a16:creationId xmlns:a16="http://schemas.microsoft.com/office/drawing/2014/main" id="{060CC20F-356E-A841-9784-0E545E96529C}"/>
                </a:ext>
              </a:extLst>
            </p:cNvPr>
            <p:cNvSpPr>
              <a:spLocks/>
            </p:cNvSpPr>
            <p:nvPr/>
          </p:nvSpPr>
          <p:spPr bwMode="auto">
            <a:xfrm>
              <a:off x="3973513" y="2413000"/>
              <a:ext cx="153988" cy="73025"/>
            </a:xfrm>
            <a:custGeom>
              <a:avLst/>
              <a:gdLst>
                <a:gd name="T0" fmla="*/ 18 w 97"/>
                <a:gd name="T1" fmla="*/ 0 h 46"/>
                <a:gd name="T2" fmla="*/ 80 w 97"/>
                <a:gd name="T3" fmla="*/ 0 h 46"/>
                <a:gd name="T4" fmla="*/ 88 w 97"/>
                <a:gd name="T5" fmla="*/ 15 h 46"/>
                <a:gd name="T6" fmla="*/ 94 w 97"/>
                <a:gd name="T7" fmla="*/ 26 h 46"/>
                <a:gd name="T8" fmla="*/ 96 w 97"/>
                <a:gd name="T9" fmla="*/ 36 h 46"/>
                <a:gd name="T10" fmla="*/ 97 w 97"/>
                <a:gd name="T11" fmla="*/ 42 h 46"/>
                <a:gd name="T12" fmla="*/ 96 w 97"/>
                <a:gd name="T13" fmla="*/ 45 h 46"/>
                <a:gd name="T14" fmla="*/ 96 w 97"/>
                <a:gd name="T15" fmla="*/ 46 h 46"/>
                <a:gd name="T16" fmla="*/ 1 w 97"/>
                <a:gd name="T17" fmla="*/ 46 h 46"/>
                <a:gd name="T18" fmla="*/ 0 w 97"/>
                <a:gd name="T19" fmla="*/ 40 h 46"/>
                <a:gd name="T20" fmla="*/ 2 w 97"/>
                <a:gd name="T21" fmla="*/ 32 h 46"/>
                <a:gd name="T22" fmla="*/ 5 w 97"/>
                <a:gd name="T23" fmla="*/ 23 h 46"/>
                <a:gd name="T24" fmla="*/ 9 w 97"/>
                <a:gd name="T25" fmla="*/ 15 h 46"/>
                <a:gd name="T26" fmla="*/ 14 w 97"/>
                <a:gd name="T27" fmla="*/ 8 h 46"/>
                <a:gd name="T28" fmla="*/ 17 w 97"/>
                <a:gd name="T29" fmla="*/ 2 h 46"/>
                <a:gd name="T30" fmla="*/ 18 w 97"/>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6">
                  <a:moveTo>
                    <a:pt x="18" y="0"/>
                  </a:moveTo>
                  <a:lnTo>
                    <a:pt x="80" y="0"/>
                  </a:lnTo>
                  <a:lnTo>
                    <a:pt x="88" y="15"/>
                  </a:lnTo>
                  <a:lnTo>
                    <a:pt x="94" y="26"/>
                  </a:lnTo>
                  <a:lnTo>
                    <a:pt x="96" y="36"/>
                  </a:lnTo>
                  <a:lnTo>
                    <a:pt x="97" y="42"/>
                  </a:lnTo>
                  <a:lnTo>
                    <a:pt x="96" y="45"/>
                  </a:lnTo>
                  <a:lnTo>
                    <a:pt x="96" y="46"/>
                  </a:lnTo>
                  <a:lnTo>
                    <a:pt x="1" y="46"/>
                  </a:lnTo>
                  <a:lnTo>
                    <a:pt x="0" y="40"/>
                  </a:lnTo>
                  <a:lnTo>
                    <a:pt x="2" y="32"/>
                  </a:lnTo>
                  <a:lnTo>
                    <a:pt x="5" y="23"/>
                  </a:lnTo>
                  <a:lnTo>
                    <a:pt x="9" y="15"/>
                  </a:lnTo>
                  <a:lnTo>
                    <a:pt x="14" y="8"/>
                  </a:lnTo>
                  <a:lnTo>
                    <a:pt x="17"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7" name="Freeform 74">
              <a:extLst>
                <a:ext uri="{FF2B5EF4-FFF2-40B4-BE49-F238E27FC236}">
                  <a16:creationId xmlns:a16="http://schemas.microsoft.com/office/drawing/2014/main" id="{E7AEB531-4D74-9D48-8AEE-321ECC47D313}"/>
                </a:ext>
              </a:extLst>
            </p:cNvPr>
            <p:cNvSpPr>
              <a:spLocks/>
            </p:cNvSpPr>
            <p:nvPr/>
          </p:nvSpPr>
          <p:spPr bwMode="auto">
            <a:xfrm>
              <a:off x="4157663" y="2413000"/>
              <a:ext cx="153988" cy="73025"/>
            </a:xfrm>
            <a:custGeom>
              <a:avLst/>
              <a:gdLst>
                <a:gd name="T0" fmla="*/ 18 w 97"/>
                <a:gd name="T1" fmla="*/ 0 h 46"/>
                <a:gd name="T2" fmla="*/ 80 w 97"/>
                <a:gd name="T3" fmla="*/ 0 h 46"/>
                <a:gd name="T4" fmla="*/ 89 w 97"/>
                <a:gd name="T5" fmla="*/ 15 h 46"/>
                <a:gd name="T6" fmla="*/ 94 w 97"/>
                <a:gd name="T7" fmla="*/ 26 h 46"/>
                <a:gd name="T8" fmla="*/ 96 w 97"/>
                <a:gd name="T9" fmla="*/ 36 h 46"/>
                <a:gd name="T10" fmla="*/ 97 w 97"/>
                <a:gd name="T11" fmla="*/ 42 h 46"/>
                <a:gd name="T12" fmla="*/ 97 w 97"/>
                <a:gd name="T13" fmla="*/ 45 h 46"/>
                <a:gd name="T14" fmla="*/ 96 w 97"/>
                <a:gd name="T15" fmla="*/ 46 h 46"/>
                <a:gd name="T16" fmla="*/ 1 w 97"/>
                <a:gd name="T17" fmla="*/ 46 h 46"/>
                <a:gd name="T18" fmla="*/ 0 w 97"/>
                <a:gd name="T19" fmla="*/ 40 h 46"/>
                <a:gd name="T20" fmla="*/ 2 w 97"/>
                <a:gd name="T21" fmla="*/ 32 h 46"/>
                <a:gd name="T22" fmla="*/ 6 w 97"/>
                <a:gd name="T23" fmla="*/ 23 h 46"/>
                <a:gd name="T24" fmla="*/ 10 w 97"/>
                <a:gd name="T25" fmla="*/ 15 h 46"/>
                <a:gd name="T26" fmla="*/ 14 w 97"/>
                <a:gd name="T27" fmla="*/ 8 h 46"/>
                <a:gd name="T28" fmla="*/ 17 w 97"/>
                <a:gd name="T29" fmla="*/ 2 h 46"/>
                <a:gd name="T30" fmla="*/ 18 w 97"/>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6">
                  <a:moveTo>
                    <a:pt x="18" y="0"/>
                  </a:moveTo>
                  <a:lnTo>
                    <a:pt x="80" y="0"/>
                  </a:lnTo>
                  <a:lnTo>
                    <a:pt x="89" y="15"/>
                  </a:lnTo>
                  <a:lnTo>
                    <a:pt x="94" y="26"/>
                  </a:lnTo>
                  <a:lnTo>
                    <a:pt x="96" y="36"/>
                  </a:lnTo>
                  <a:lnTo>
                    <a:pt x="97" y="42"/>
                  </a:lnTo>
                  <a:lnTo>
                    <a:pt x="97" y="45"/>
                  </a:lnTo>
                  <a:lnTo>
                    <a:pt x="96" y="46"/>
                  </a:lnTo>
                  <a:lnTo>
                    <a:pt x="1" y="46"/>
                  </a:lnTo>
                  <a:lnTo>
                    <a:pt x="0" y="40"/>
                  </a:lnTo>
                  <a:lnTo>
                    <a:pt x="2" y="32"/>
                  </a:lnTo>
                  <a:lnTo>
                    <a:pt x="6" y="23"/>
                  </a:lnTo>
                  <a:lnTo>
                    <a:pt x="10" y="15"/>
                  </a:lnTo>
                  <a:lnTo>
                    <a:pt x="14" y="8"/>
                  </a:lnTo>
                  <a:lnTo>
                    <a:pt x="17"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8" name="Freeform 75">
              <a:extLst>
                <a:ext uri="{FF2B5EF4-FFF2-40B4-BE49-F238E27FC236}">
                  <a16:creationId xmlns:a16="http://schemas.microsoft.com/office/drawing/2014/main" id="{9D2F2661-56A5-8841-B09F-BC9B32C96AFE}"/>
                </a:ext>
              </a:extLst>
            </p:cNvPr>
            <p:cNvSpPr>
              <a:spLocks noEditPoints="1"/>
            </p:cNvSpPr>
            <p:nvPr/>
          </p:nvSpPr>
          <p:spPr bwMode="auto">
            <a:xfrm>
              <a:off x="4722813" y="4189413"/>
              <a:ext cx="649288" cy="654050"/>
            </a:xfrm>
            <a:custGeom>
              <a:avLst/>
              <a:gdLst>
                <a:gd name="T0" fmla="*/ 161 w 409"/>
                <a:gd name="T1" fmla="*/ 187 h 412"/>
                <a:gd name="T2" fmla="*/ 161 w 409"/>
                <a:gd name="T3" fmla="*/ 240 h 412"/>
                <a:gd name="T4" fmla="*/ 212 w 409"/>
                <a:gd name="T5" fmla="*/ 258 h 412"/>
                <a:gd name="T6" fmla="*/ 243 w 409"/>
                <a:gd name="T7" fmla="*/ 214 h 412"/>
                <a:gd name="T8" fmla="*/ 205 w 409"/>
                <a:gd name="T9" fmla="*/ 226 h 412"/>
                <a:gd name="T10" fmla="*/ 193 w 409"/>
                <a:gd name="T11" fmla="*/ 228 h 412"/>
                <a:gd name="T12" fmla="*/ 182 w 409"/>
                <a:gd name="T13" fmla="*/ 209 h 412"/>
                <a:gd name="T14" fmla="*/ 197 w 409"/>
                <a:gd name="T15" fmla="*/ 169 h 412"/>
                <a:gd name="T16" fmla="*/ 131 w 409"/>
                <a:gd name="T17" fmla="*/ 130 h 412"/>
                <a:gd name="T18" fmla="*/ 91 w 409"/>
                <a:gd name="T19" fmla="*/ 214 h 412"/>
                <a:gd name="T20" fmla="*/ 131 w 409"/>
                <a:gd name="T21" fmla="*/ 296 h 412"/>
                <a:gd name="T22" fmla="*/ 221 w 409"/>
                <a:gd name="T23" fmla="*/ 317 h 412"/>
                <a:gd name="T24" fmla="*/ 292 w 409"/>
                <a:gd name="T25" fmla="*/ 261 h 412"/>
                <a:gd name="T26" fmla="*/ 293 w 409"/>
                <a:gd name="T27" fmla="*/ 170 h 412"/>
                <a:gd name="T28" fmla="*/ 271 w 409"/>
                <a:gd name="T29" fmla="*/ 199 h 412"/>
                <a:gd name="T30" fmla="*/ 250 w 409"/>
                <a:gd name="T31" fmla="*/ 267 h 412"/>
                <a:gd name="T32" fmla="*/ 177 w 409"/>
                <a:gd name="T33" fmla="*/ 287 h 412"/>
                <a:gd name="T34" fmla="*/ 124 w 409"/>
                <a:gd name="T35" fmla="*/ 234 h 412"/>
                <a:gd name="T36" fmla="*/ 144 w 409"/>
                <a:gd name="T37" fmla="*/ 159 h 412"/>
                <a:gd name="T38" fmla="*/ 213 w 409"/>
                <a:gd name="T39" fmla="*/ 139 h 412"/>
                <a:gd name="T40" fmla="*/ 241 w 409"/>
                <a:gd name="T41" fmla="*/ 117 h 412"/>
                <a:gd name="T42" fmla="*/ 167 w 409"/>
                <a:gd name="T43" fmla="*/ 48 h 412"/>
                <a:gd name="T44" fmla="*/ 70 w 409"/>
                <a:gd name="T45" fmla="*/ 105 h 412"/>
                <a:gd name="T46" fmla="*/ 30 w 409"/>
                <a:gd name="T47" fmla="*/ 214 h 412"/>
                <a:gd name="T48" fmla="*/ 70 w 409"/>
                <a:gd name="T49" fmla="*/ 321 h 412"/>
                <a:gd name="T50" fmla="*/ 167 w 409"/>
                <a:gd name="T51" fmla="*/ 378 h 412"/>
                <a:gd name="T52" fmla="*/ 280 w 409"/>
                <a:gd name="T53" fmla="*/ 359 h 412"/>
                <a:gd name="T54" fmla="*/ 353 w 409"/>
                <a:gd name="T55" fmla="*/ 273 h 412"/>
                <a:gd name="T56" fmla="*/ 353 w 409"/>
                <a:gd name="T57" fmla="*/ 155 h 412"/>
                <a:gd name="T58" fmla="*/ 317 w 409"/>
                <a:gd name="T59" fmla="*/ 147 h 412"/>
                <a:gd name="T60" fmla="*/ 331 w 409"/>
                <a:gd name="T61" fmla="*/ 241 h 412"/>
                <a:gd name="T62" fmla="*/ 273 w 409"/>
                <a:gd name="T63" fmla="*/ 328 h 412"/>
                <a:gd name="T64" fmla="*/ 170 w 409"/>
                <a:gd name="T65" fmla="*/ 348 h 412"/>
                <a:gd name="T66" fmla="*/ 84 w 409"/>
                <a:gd name="T67" fmla="*/ 291 h 412"/>
                <a:gd name="T68" fmla="*/ 64 w 409"/>
                <a:gd name="T69" fmla="*/ 186 h 412"/>
                <a:gd name="T70" fmla="*/ 122 w 409"/>
                <a:gd name="T71" fmla="*/ 100 h 412"/>
                <a:gd name="T72" fmla="*/ 220 w 409"/>
                <a:gd name="T73" fmla="*/ 78 h 412"/>
                <a:gd name="T74" fmla="*/ 304 w 409"/>
                <a:gd name="T75" fmla="*/ 86 h 412"/>
                <a:gd name="T76" fmla="*/ 197 w 409"/>
                <a:gd name="T77" fmla="*/ 45 h 412"/>
                <a:gd name="T78" fmla="*/ 360 w 409"/>
                <a:gd name="T79" fmla="*/ 6 h 412"/>
                <a:gd name="T80" fmla="*/ 394 w 409"/>
                <a:gd name="T81" fmla="*/ 45 h 412"/>
                <a:gd name="T82" fmla="*/ 408 w 409"/>
                <a:gd name="T83" fmla="*/ 56 h 412"/>
                <a:gd name="T84" fmla="*/ 404 w 409"/>
                <a:gd name="T85" fmla="*/ 72 h 412"/>
                <a:gd name="T86" fmla="*/ 355 w 409"/>
                <a:gd name="T87" fmla="*/ 76 h 412"/>
                <a:gd name="T88" fmla="*/ 385 w 409"/>
                <a:gd name="T89" fmla="*/ 157 h 412"/>
                <a:gd name="T90" fmla="*/ 382 w 409"/>
                <a:gd name="T91" fmla="*/ 279 h 412"/>
                <a:gd name="T92" fmla="*/ 359 w 409"/>
                <a:gd name="T93" fmla="*/ 386 h 412"/>
                <a:gd name="T94" fmla="*/ 356 w 409"/>
                <a:gd name="T95" fmla="*/ 410 h 412"/>
                <a:gd name="T96" fmla="*/ 342 w 409"/>
                <a:gd name="T97" fmla="*/ 410 h 412"/>
                <a:gd name="T98" fmla="*/ 256 w 409"/>
                <a:gd name="T99" fmla="*/ 402 h 412"/>
                <a:gd name="T100" fmla="*/ 138 w 409"/>
                <a:gd name="T101" fmla="*/ 402 h 412"/>
                <a:gd name="T102" fmla="*/ 53 w 409"/>
                <a:gd name="T103" fmla="*/ 410 h 412"/>
                <a:gd name="T104" fmla="*/ 38 w 409"/>
                <a:gd name="T105" fmla="*/ 410 h 412"/>
                <a:gd name="T106" fmla="*/ 35 w 409"/>
                <a:gd name="T107" fmla="*/ 386 h 412"/>
                <a:gd name="T108" fmla="*/ 11 w 409"/>
                <a:gd name="T109" fmla="*/ 279 h 412"/>
                <a:gd name="T110" fmla="*/ 13 w 409"/>
                <a:gd name="T111" fmla="*/ 145 h 412"/>
                <a:gd name="T112" fmla="*/ 98 w 409"/>
                <a:gd name="T113" fmla="*/ 42 h 412"/>
                <a:gd name="T114" fmla="*/ 233 w 409"/>
                <a:gd name="T115" fmla="*/ 18 h 412"/>
                <a:gd name="T116" fmla="*/ 333 w 409"/>
                <a:gd name="T117" fmla="*/ 56 h 412"/>
                <a:gd name="T118" fmla="*/ 338 w 409"/>
                <a:gd name="T119" fmla="*/ 5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9" h="412">
                  <a:moveTo>
                    <a:pt x="197" y="169"/>
                  </a:moveTo>
                  <a:lnTo>
                    <a:pt x="183" y="171"/>
                  </a:lnTo>
                  <a:lnTo>
                    <a:pt x="170" y="177"/>
                  </a:lnTo>
                  <a:lnTo>
                    <a:pt x="161" y="187"/>
                  </a:lnTo>
                  <a:lnTo>
                    <a:pt x="154" y="200"/>
                  </a:lnTo>
                  <a:lnTo>
                    <a:pt x="152" y="214"/>
                  </a:lnTo>
                  <a:lnTo>
                    <a:pt x="154" y="228"/>
                  </a:lnTo>
                  <a:lnTo>
                    <a:pt x="161" y="240"/>
                  </a:lnTo>
                  <a:lnTo>
                    <a:pt x="170" y="251"/>
                  </a:lnTo>
                  <a:lnTo>
                    <a:pt x="183" y="258"/>
                  </a:lnTo>
                  <a:lnTo>
                    <a:pt x="197" y="260"/>
                  </a:lnTo>
                  <a:lnTo>
                    <a:pt x="212" y="258"/>
                  </a:lnTo>
                  <a:lnTo>
                    <a:pt x="223" y="251"/>
                  </a:lnTo>
                  <a:lnTo>
                    <a:pt x="234" y="240"/>
                  </a:lnTo>
                  <a:lnTo>
                    <a:pt x="240" y="228"/>
                  </a:lnTo>
                  <a:lnTo>
                    <a:pt x="243" y="214"/>
                  </a:lnTo>
                  <a:lnTo>
                    <a:pt x="241" y="204"/>
                  </a:lnTo>
                  <a:lnTo>
                    <a:pt x="237" y="194"/>
                  </a:lnTo>
                  <a:lnTo>
                    <a:pt x="208" y="224"/>
                  </a:lnTo>
                  <a:lnTo>
                    <a:pt x="205" y="226"/>
                  </a:lnTo>
                  <a:lnTo>
                    <a:pt x="203" y="228"/>
                  </a:lnTo>
                  <a:lnTo>
                    <a:pt x="200" y="228"/>
                  </a:lnTo>
                  <a:lnTo>
                    <a:pt x="197" y="228"/>
                  </a:lnTo>
                  <a:lnTo>
                    <a:pt x="193" y="228"/>
                  </a:lnTo>
                  <a:lnTo>
                    <a:pt x="189" y="227"/>
                  </a:lnTo>
                  <a:lnTo>
                    <a:pt x="186" y="224"/>
                  </a:lnTo>
                  <a:lnTo>
                    <a:pt x="182" y="218"/>
                  </a:lnTo>
                  <a:lnTo>
                    <a:pt x="182" y="209"/>
                  </a:lnTo>
                  <a:lnTo>
                    <a:pt x="186" y="203"/>
                  </a:lnTo>
                  <a:lnTo>
                    <a:pt x="216" y="173"/>
                  </a:lnTo>
                  <a:lnTo>
                    <a:pt x="207" y="170"/>
                  </a:lnTo>
                  <a:lnTo>
                    <a:pt x="197" y="169"/>
                  </a:lnTo>
                  <a:close/>
                  <a:moveTo>
                    <a:pt x="197" y="106"/>
                  </a:moveTo>
                  <a:lnTo>
                    <a:pt x="173" y="110"/>
                  </a:lnTo>
                  <a:lnTo>
                    <a:pt x="151" y="118"/>
                  </a:lnTo>
                  <a:lnTo>
                    <a:pt x="131" y="130"/>
                  </a:lnTo>
                  <a:lnTo>
                    <a:pt x="114" y="147"/>
                  </a:lnTo>
                  <a:lnTo>
                    <a:pt x="102" y="167"/>
                  </a:lnTo>
                  <a:lnTo>
                    <a:pt x="94" y="190"/>
                  </a:lnTo>
                  <a:lnTo>
                    <a:pt x="91" y="214"/>
                  </a:lnTo>
                  <a:lnTo>
                    <a:pt x="94" y="238"/>
                  </a:lnTo>
                  <a:lnTo>
                    <a:pt x="102" y="261"/>
                  </a:lnTo>
                  <a:lnTo>
                    <a:pt x="114" y="281"/>
                  </a:lnTo>
                  <a:lnTo>
                    <a:pt x="131" y="296"/>
                  </a:lnTo>
                  <a:lnTo>
                    <a:pt x="151" y="309"/>
                  </a:lnTo>
                  <a:lnTo>
                    <a:pt x="173" y="317"/>
                  </a:lnTo>
                  <a:lnTo>
                    <a:pt x="197" y="320"/>
                  </a:lnTo>
                  <a:lnTo>
                    <a:pt x="221" y="317"/>
                  </a:lnTo>
                  <a:lnTo>
                    <a:pt x="244" y="309"/>
                  </a:lnTo>
                  <a:lnTo>
                    <a:pt x="263" y="296"/>
                  </a:lnTo>
                  <a:lnTo>
                    <a:pt x="279" y="281"/>
                  </a:lnTo>
                  <a:lnTo>
                    <a:pt x="292" y="261"/>
                  </a:lnTo>
                  <a:lnTo>
                    <a:pt x="300" y="238"/>
                  </a:lnTo>
                  <a:lnTo>
                    <a:pt x="302" y="214"/>
                  </a:lnTo>
                  <a:lnTo>
                    <a:pt x="300" y="191"/>
                  </a:lnTo>
                  <a:lnTo>
                    <a:pt x="293" y="170"/>
                  </a:lnTo>
                  <a:lnTo>
                    <a:pt x="282" y="150"/>
                  </a:lnTo>
                  <a:lnTo>
                    <a:pt x="260" y="171"/>
                  </a:lnTo>
                  <a:lnTo>
                    <a:pt x="267" y="184"/>
                  </a:lnTo>
                  <a:lnTo>
                    <a:pt x="271" y="199"/>
                  </a:lnTo>
                  <a:lnTo>
                    <a:pt x="273" y="214"/>
                  </a:lnTo>
                  <a:lnTo>
                    <a:pt x="270" y="234"/>
                  </a:lnTo>
                  <a:lnTo>
                    <a:pt x="263" y="252"/>
                  </a:lnTo>
                  <a:lnTo>
                    <a:pt x="250" y="267"/>
                  </a:lnTo>
                  <a:lnTo>
                    <a:pt x="235" y="280"/>
                  </a:lnTo>
                  <a:lnTo>
                    <a:pt x="217" y="287"/>
                  </a:lnTo>
                  <a:lnTo>
                    <a:pt x="197" y="290"/>
                  </a:lnTo>
                  <a:lnTo>
                    <a:pt x="177" y="287"/>
                  </a:lnTo>
                  <a:lnTo>
                    <a:pt x="159" y="280"/>
                  </a:lnTo>
                  <a:lnTo>
                    <a:pt x="144" y="267"/>
                  </a:lnTo>
                  <a:lnTo>
                    <a:pt x="131" y="252"/>
                  </a:lnTo>
                  <a:lnTo>
                    <a:pt x="124" y="234"/>
                  </a:lnTo>
                  <a:lnTo>
                    <a:pt x="121" y="214"/>
                  </a:lnTo>
                  <a:lnTo>
                    <a:pt x="124" y="194"/>
                  </a:lnTo>
                  <a:lnTo>
                    <a:pt x="131" y="175"/>
                  </a:lnTo>
                  <a:lnTo>
                    <a:pt x="144" y="159"/>
                  </a:lnTo>
                  <a:lnTo>
                    <a:pt x="159" y="147"/>
                  </a:lnTo>
                  <a:lnTo>
                    <a:pt x="177" y="140"/>
                  </a:lnTo>
                  <a:lnTo>
                    <a:pt x="197" y="137"/>
                  </a:lnTo>
                  <a:lnTo>
                    <a:pt x="213" y="139"/>
                  </a:lnTo>
                  <a:lnTo>
                    <a:pt x="227" y="143"/>
                  </a:lnTo>
                  <a:lnTo>
                    <a:pt x="239" y="150"/>
                  </a:lnTo>
                  <a:lnTo>
                    <a:pt x="260" y="128"/>
                  </a:lnTo>
                  <a:lnTo>
                    <a:pt x="241" y="117"/>
                  </a:lnTo>
                  <a:lnTo>
                    <a:pt x="220" y="110"/>
                  </a:lnTo>
                  <a:lnTo>
                    <a:pt x="197" y="106"/>
                  </a:lnTo>
                  <a:close/>
                  <a:moveTo>
                    <a:pt x="197" y="45"/>
                  </a:moveTo>
                  <a:lnTo>
                    <a:pt x="167" y="48"/>
                  </a:lnTo>
                  <a:lnTo>
                    <a:pt x="139" y="56"/>
                  </a:lnTo>
                  <a:lnTo>
                    <a:pt x="113" y="68"/>
                  </a:lnTo>
                  <a:lnTo>
                    <a:pt x="90" y="86"/>
                  </a:lnTo>
                  <a:lnTo>
                    <a:pt x="70" y="105"/>
                  </a:lnTo>
                  <a:lnTo>
                    <a:pt x="53" y="129"/>
                  </a:lnTo>
                  <a:lnTo>
                    <a:pt x="41" y="155"/>
                  </a:lnTo>
                  <a:lnTo>
                    <a:pt x="32" y="184"/>
                  </a:lnTo>
                  <a:lnTo>
                    <a:pt x="30" y="214"/>
                  </a:lnTo>
                  <a:lnTo>
                    <a:pt x="32" y="245"/>
                  </a:lnTo>
                  <a:lnTo>
                    <a:pt x="41" y="273"/>
                  </a:lnTo>
                  <a:lnTo>
                    <a:pt x="53" y="299"/>
                  </a:lnTo>
                  <a:lnTo>
                    <a:pt x="70" y="321"/>
                  </a:lnTo>
                  <a:lnTo>
                    <a:pt x="90" y="342"/>
                  </a:lnTo>
                  <a:lnTo>
                    <a:pt x="113" y="359"/>
                  </a:lnTo>
                  <a:lnTo>
                    <a:pt x="139" y="371"/>
                  </a:lnTo>
                  <a:lnTo>
                    <a:pt x="167" y="378"/>
                  </a:lnTo>
                  <a:lnTo>
                    <a:pt x="197" y="382"/>
                  </a:lnTo>
                  <a:lnTo>
                    <a:pt x="228" y="378"/>
                  </a:lnTo>
                  <a:lnTo>
                    <a:pt x="256" y="371"/>
                  </a:lnTo>
                  <a:lnTo>
                    <a:pt x="280" y="359"/>
                  </a:lnTo>
                  <a:lnTo>
                    <a:pt x="304" y="342"/>
                  </a:lnTo>
                  <a:lnTo>
                    <a:pt x="324" y="321"/>
                  </a:lnTo>
                  <a:lnTo>
                    <a:pt x="341" y="299"/>
                  </a:lnTo>
                  <a:lnTo>
                    <a:pt x="353" y="273"/>
                  </a:lnTo>
                  <a:lnTo>
                    <a:pt x="361" y="245"/>
                  </a:lnTo>
                  <a:lnTo>
                    <a:pt x="364" y="214"/>
                  </a:lnTo>
                  <a:lnTo>
                    <a:pt x="361" y="184"/>
                  </a:lnTo>
                  <a:lnTo>
                    <a:pt x="353" y="155"/>
                  </a:lnTo>
                  <a:lnTo>
                    <a:pt x="342" y="130"/>
                  </a:lnTo>
                  <a:lnTo>
                    <a:pt x="325" y="106"/>
                  </a:lnTo>
                  <a:lnTo>
                    <a:pt x="304" y="128"/>
                  </a:lnTo>
                  <a:lnTo>
                    <a:pt x="317" y="147"/>
                  </a:lnTo>
                  <a:lnTo>
                    <a:pt x="326" y="168"/>
                  </a:lnTo>
                  <a:lnTo>
                    <a:pt x="331" y="191"/>
                  </a:lnTo>
                  <a:lnTo>
                    <a:pt x="333" y="214"/>
                  </a:lnTo>
                  <a:lnTo>
                    <a:pt x="331" y="241"/>
                  </a:lnTo>
                  <a:lnTo>
                    <a:pt x="323" y="267"/>
                  </a:lnTo>
                  <a:lnTo>
                    <a:pt x="311" y="291"/>
                  </a:lnTo>
                  <a:lnTo>
                    <a:pt x="294" y="311"/>
                  </a:lnTo>
                  <a:lnTo>
                    <a:pt x="273" y="328"/>
                  </a:lnTo>
                  <a:lnTo>
                    <a:pt x="250" y="341"/>
                  </a:lnTo>
                  <a:lnTo>
                    <a:pt x="225" y="348"/>
                  </a:lnTo>
                  <a:lnTo>
                    <a:pt x="197" y="351"/>
                  </a:lnTo>
                  <a:lnTo>
                    <a:pt x="170" y="348"/>
                  </a:lnTo>
                  <a:lnTo>
                    <a:pt x="145" y="341"/>
                  </a:lnTo>
                  <a:lnTo>
                    <a:pt x="122" y="328"/>
                  </a:lnTo>
                  <a:lnTo>
                    <a:pt x="101" y="311"/>
                  </a:lnTo>
                  <a:lnTo>
                    <a:pt x="84" y="291"/>
                  </a:lnTo>
                  <a:lnTo>
                    <a:pt x="72" y="267"/>
                  </a:lnTo>
                  <a:lnTo>
                    <a:pt x="64" y="241"/>
                  </a:lnTo>
                  <a:lnTo>
                    <a:pt x="62" y="214"/>
                  </a:lnTo>
                  <a:lnTo>
                    <a:pt x="64" y="186"/>
                  </a:lnTo>
                  <a:lnTo>
                    <a:pt x="72" y="160"/>
                  </a:lnTo>
                  <a:lnTo>
                    <a:pt x="84" y="138"/>
                  </a:lnTo>
                  <a:lnTo>
                    <a:pt x="101" y="117"/>
                  </a:lnTo>
                  <a:lnTo>
                    <a:pt x="122" y="100"/>
                  </a:lnTo>
                  <a:lnTo>
                    <a:pt x="145" y="88"/>
                  </a:lnTo>
                  <a:lnTo>
                    <a:pt x="170" y="79"/>
                  </a:lnTo>
                  <a:lnTo>
                    <a:pt x="197" y="76"/>
                  </a:lnTo>
                  <a:lnTo>
                    <a:pt x="220" y="78"/>
                  </a:lnTo>
                  <a:lnTo>
                    <a:pt x="243" y="85"/>
                  </a:lnTo>
                  <a:lnTo>
                    <a:pt x="264" y="94"/>
                  </a:lnTo>
                  <a:lnTo>
                    <a:pt x="283" y="106"/>
                  </a:lnTo>
                  <a:lnTo>
                    <a:pt x="304" y="86"/>
                  </a:lnTo>
                  <a:lnTo>
                    <a:pt x="280" y="69"/>
                  </a:lnTo>
                  <a:lnTo>
                    <a:pt x="255" y="57"/>
                  </a:lnTo>
                  <a:lnTo>
                    <a:pt x="227" y="48"/>
                  </a:lnTo>
                  <a:lnTo>
                    <a:pt x="197" y="45"/>
                  </a:lnTo>
                  <a:close/>
                  <a:moveTo>
                    <a:pt x="348" y="0"/>
                  </a:moveTo>
                  <a:lnTo>
                    <a:pt x="353" y="1"/>
                  </a:lnTo>
                  <a:lnTo>
                    <a:pt x="357" y="3"/>
                  </a:lnTo>
                  <a:lnTo>
                    <a:pt x="360" y="6"/>
                  </a:lnTo>
                  <a:lnTo>
                    <a:pt x="362" y="11"/>
                  </a:lnTo>
                  <a:lnTo>
                    <a:pt x="364" y="15"/>
                  </a:lnTo>
                  <a:lnTo>
                    <a:pt x="364" y="45"/>
                  </a:lnTo>
                  <a:lnTo>
                    <a:pt x="394" y="45"/>
                  </a:lnTo>
                  <a:lnTo>
                    <a:pt x="399" y="46"/>
                  </a:lnTo>
                  <a:lnTo>
                    <a:pt x="403" y="48"/>
                  </a:lnTo>
                  <a:lnTo>
                    <a:pt x="406" y="51"/>
                  </a:lnTo>
                  <a:lnTo>
                    <a:pt x="408" y="56"/>
                  </a:lnTo>
                  <a:lnTo>
                    <a:pt x="409" y="61"/>
                  </a:lnTo>
                  <a:lnTo>
                    <a:pt x="408" y="65"/>
                  </a:lnTo>
                  <a:lnTo>
                    <a:pt x="407" y="69"/>
                  </a:lnTo>
                  <a:lnTo>
                    <a:pt x="404" y="72"/>
                  </a:lnTo>
                  <a:lnTo>
                    <a:pt x="401" y="74"/>
                  </a:lnTo>
                  <a:lnTo>
                    <a:pt x="398" y="76"/>
                  </a:lnTo>
                  <a:lnTo>
                    <a:pt x="394" y="76"/>
                  </a:lnTo>
                  <a:lnTo>
                    <a:pt x="355" y="76"/>
                  </a:lnTo>
                  <a:lnTo>
                    <a:pt x="347" y="86"/>
                  </a:lnTo>
                  <a:lnTo>
                    <a:pt x="362" y="108"/>
                  </a:lnTo>
                  <a:lnTo>
                    <a:pt x="376" y="131"/>
                  </a:lnTo>
                  <a:lnTo>
                    <a:pt x="385" y="157"/>
                  </a:lnTo>
                  <a:lnTo>
                    <a:pt x="392" y="184"/>
                  </a:lnTo>
                  <a:lnTo>
                    <a:pt x="394" y="214"/>
                  </a:lnTo>
                  <a:lnTo>
                    <a:pt x="390" y="247"/>
                  </a:lnTo>
                  <a:lnTo>
                    <a:pt x="382" y="279"/>
                  </a:lnTo>
                  <a:lnTo>
                    <a:pt x="370" y="308"/>
                  </a:lnTo>
                  <a:lnTo>
                    <a:pt x="352" y="335"/>
                  </a:lnTo>
                  <a:lnTo>
                    <a:pt x="331" y="359"/>
                  </a:lnTo>
                  <a:lnTo>
                    <a:pt x="359" y="386"/>
                  </a:lnTo>
                  <a:lnTo>
                    <a:pt x="364" y="393"/>
                  </a:lnTo>
                  <a:lnTo>
                    <a:pt x="364" y="400"/>
                  </a:lnTo>
                  <a:lnTo>
                    <a:pt x="359" y="408"/>
                  </a:lnTo>
                  <a:lnTo>
                    <a:pt x="356" y="410"/>
                  </a:lnTo>
                  <a:lnTo>
                    <a:pt x="352" y="411"/>
                  </a:lnTo>
                  <a:lnTo>
                    <a:pt x="348" y="412"/>
                  </a:lnTo>
                  <a:lnTo>
                    <a:pt x="345" y="411"/>
                  </a:lnTo>
                  <a:lnTo>
                    <a:pt x="342" y="410"/>
                  </a:lnTo>
                  <a:lnTo>
                    <a:pt x="339" y="408"/>
                  </a:lnTo>
                  <a:lnTo>
                    <a:pt x="309" y="377"/>
                  </a:lnTo>
                  <a:lnTo>
                    <a:pt x="283" y="392"/>
                  </a:lnTo>
                  <a:lnTo>
                    <a:pt x="256" y="402"/>
                  </a:lnTo>
                  <a:lnTo>
                    <a:pt x="228" y="410"/>
                  </a:lnTo>
                  <a:lnTo>
                    <a:pt x="197" y="412"/>
                  </a:lnTo>
                  <a:lnTo>
                    <a:pt x="167" y="410"/>
                  </a:lnTo>
                  <a:lnTo>
                    <a:pt x="138" y="402"/>
                  </a:lnTo>
                  <a:lnTo>
                    <a:pt x="111" y="392"/>
                  </a:lnTo>
                  <a:lnTo>
                    <a:pt x="86" y="377"/>
                  </a:lnTo>
                  <a:lnTo>
                    <a:pt x="57" y="408"/>
                  </a:lnTo>
                  <a:lnTo>
                    <a:pt x="53" y="410"/>
                  </a:lnTo>
                  <a:lnTo>
                    <a:pt x="49" y="411"/>
                  </a:lnTo>
                  <a:lnTo>
                    <a:pt x="46" y="412"/>
                  </a:lnTo>
                  <a:lnTo>
                    <a:pt x="42" y="411"/>
                  </a:lnTo>
                  <a:lnTo>
                    <a:pt x="38" y="410"/>
                  </a:lnTo>
                  <a:lnTo>
                    <a:pt x="35" y="408"/>
                  </a:lnTo>
                  <a:lnTo>
                    <a:pt x="30" y="400"/>
                  </a:lnTo>
                  <a:lnTo>
                    <a:pt x="30" y="393"/>
                  </a:lnTo>
                  <a:lnTo>
                    <a:pt x="35" y="386"/>
                  </a:lnTo>
                  <a:lnTo>
                    <a:pt x="63" y="359"/>
                  </a:lnTo>
                  <a:lnTo>
                    <a:pt x="42" y="335"/>
                  </a:lnTo>
                  <a:lnTo>
                    <a:pt x="24" y="308"/>
                  </a:lnTo>
                  <a:lnTo>
                    <a:pt x="11" y="279"/>
                  </a:lnTo>
                  <a:lnTo>
                    <a:pt x="3" y="247"/>
                  </a:lnTo>
                  <a:lnTo>
                    <a:pt x="0" y="214"/>
                  </a:lnTo>
                  <a:lnTo>
                    <a:pt x="3" y="178"/>
                  </a:lnTo>
                  <a:lnTo>
                    <a:pt x="13" y="145"/>
                  </a:lnTo>
                  <a:lnTo>
                    <a:pt x="27" y="114"/>
                  </a:lnTo>
                  <a:lnTo>
                    <a:pt x="46" y="86"/>
                  </a:lnTo>
                  <a:lnTo>
                    <a:pt x="70" y="62"/>
                  </a:lnTo>
                  <a:lnTo>
                    <a:pt x="98" y="42"/>
                  </a:lnTo>
                  <a:lnTo>
                    <a:pt x="129" y="28"/>
                  </a:lnTo>
                  <a:lnTo>
                    <a:pt x="162" y="18"/>
                  </a:lnTo>
                  <a:lnTo>
                    <a:pt x="197" y="15"/>
                  </a:lnTo>
                  <a:lnTo>
                    <a:pt x="233" y="18"/>
                  </a:lnTo>
                  <a:lnTo>
                    <a:pt x="267" y="29"/>
                  </a:lnTo>
                  <a:lnTo>
                    <a:pt x="298" y="43"/>
                  </a:lnTo>
                  <a:lnTo>
                    <a:pt x="325" y="63"/>
                  </a:lnTo>
                  <a:lnTo>
                    <a:pt x="333" y="56"/>
                  </a:lnTo>
                  <a:lnTo>
                    <a:pt x="333" y="15"/>
                  </a:lnTo>
                  <a:lnTo>
                    <a:pt x="334" y="11"/>
                  </a:lnTo>
                  <a:lnTo>
                    <a:pt x="335" y="8"/>
                  </a:lnTo>
                  <a:lnTo>
                    <a:pt x="338" y="5"/>
                  </a:lnTo>
                  <a:lnTo>
                    <a:pt x="341" y="2"/>
                  </a:lnTo>
                  <a:lnTo>
                    <a:pt x="344" y="1"/>
                  </a:lnTo>
                  <a:lnTo>
                    <a:pt x="34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Freeform 76">
              <a:extLst>
                <a:ext uri="{FF2B5EF4-FFF2-40B4-BE49-F238E27FC236}">
                  <a16:creationId xmlns:a16="http://schemas.microsoft.com/office/drawing/2014/main" id="{7A021295-D0AD-CF40-8D87-4ADB98755119}"/>
                </a:ext>
              </a:extLst>
            </p:cNvPr>
            <p:cNvSpPr>
              <a:spLocks noEditPoints="1"/>
            </p:cNvSpPr>
            <p:nvPr/>
          </p:nvSpPr>
          <p:spPr bwMode="auto">
            <a:xfrm>
              <a:off x="5932488" y="1287463"/>
              <a:ext cx="706438" cy="714375"/>
            </a:xfrm>
            <a:custGeom>
              <a:avLst/>
              <a:gdLst>
                <a:gd name="T0" fmla="*/ 174 w 445"/>
                <a:gd name="T1" fmla="*/ 205 h 450"/>
                <a:gd name="T2" fmla="*/ 174 w 445"/>
                <a:gd name="T3" fmla="*/ 263 h 450"/>
                <a:gd name="T4" fmla="*/ 230 w 445"/>
                <a:gd name="T5" fmla="*/ 282 h 450"/>
                <a:gd name="T6" fmla="*/ 265 w 445"/>
                <a:gd name="T7" fmla="*/ 234 h 450"/>
                <a:gd name="T8" fmla="*/ 223 w 445"/>
                <a:gd name="T9" fmla="*/ 247 h 450"/>
                <a:gd name="T10" fmla="*/ 212 w 445"/>
                <a:gd name="T11" fmla="*/ 249 h 450"/>
                <a:gd name="T12" fmla="*/ 198 w 445"/>
                <a:gd name="T13" fmla="*/ 237 h 450"/>
                <a:gd name="T14" fmla="*/ 225 w 445"/>
                <a:gd name="T15" fmla="*/ 185 h 450"/>
                <a:gd name="T16" fmla="*/ 164 w 445"/>
                <a:gd name="T17" fmla="*/ 129 h 450"/>
                <a:gd name="T18" fmla="*/ 102 w 445"/>
                <a:gd name="T19" fmla="*/ 207 h 450"/>
                <a:gd name="T20" fmla="*/ 125 w 445"/>
                <a:gd name="T21" fmla="*/ 307 h 450"/>
                <a:gd name="T22" fmla="*/ 215 w 445"/>
                <a:gd name="T23" fmla="*/ 349 h 450"/>
                <a:gd name="T24" fmla="*/ 304 w 445"/>
                <a:gd name="T25" fmla="*/ 307 h 450"/>
                <a:gd name="T26" fmla="*/ 327 w 445"/>
                <a:gd name="T27" fmla="*/ 209 h 450"/>
                <a:gd name="T28" fmla="*/ 291 w 445"/>
                <a:gd name="T29" fmla="*/ 202 h 450"/>
                <a:gd name="T30" fmla="*/ 285 w 445"/>
                <a:gd name="T31" fmla="*/ 275 h 450"/>
                <a:gd name="T32" fmla="*/ 215 w 445"/>
                <a:gd name="T33" fmla="*/ 317 h 450"/>
                <a:gd name="T34" fmla="*/ 142 w 445"/>
                <a:gd name="T35" fmla="*/ 275 h 450"/>
                <a:gd name="T36" fmla="*/ 142 w 445"/>
                <a:gd name="T37" fmla="*/ 191 h 450"/>
                <a:gd name="T38" fmla="*/ 215 w 445"/>
                <a:gd name="T39" fmla="*/ 150 h 450"/>
                <a:gd name="T40" fmla="*/ 283 w 445"/>
                <a:gd name="T41" fmla="*/ 140 h 450"/>
                <a:gd name="T42" fmla="*/ 215 w 445"/>
                <a:gd name="T43" fmla="*/ 50 h 450"/>
                <a:gd name="T44" fmla="*/ 98 w 445"/>
                <a:gd name="T45" fmla="*/ 94 h 450"/>
                <a:gd name="T46" fmla="*/ 35 w 445"/>
                <a:gd name="T47" fmla="*/ 201 h 450"/>
                <a:gd name="T48" fmla="*/ 57 w 445"/>
                <a:gd name="T49" fmla="*/ 326 h 450"/>
                <a:gd name="T50" fmla="*/ 152 w 445"/>
                <a:gd name="T51" fmla="*/ 405 h 450"/>
                <a:gd name="T52" fmla="*/ 278 w 445"/>
                <a:gd name="T53" fmla="*/ 405 h 450"/>
                <a:gd name="T54" fmla="*/ 370 w 445"/>
                <a:gd name="T55" fmla="*/ 326 h 450"/>
                <a:gd name="T56" fmla="*/ 393 w 445"/>
                <a:gd name="T57" fmla="*/ 201 h 450"/>
                <a:gd name="T58" fmla="*/ 331 w 445"/>
                <a:gd name="T59" fmla="*/ 140 h 450"/>
                <a:gd name="T60" fmla="*/ 363 w 445"/>
                <a:gd name="T61" fmla="*/ 234 h 450"/>
                <a:gd name="T62" fmla="*/ 320 w 445"/>
                <a:gd name="T63" fmla="*/ 340 h 450"/>
                <a:gd name="T64" fmla="*/ 215 w 445"/>
                <a:gd name="T65" fmla="*/ 383 h 450"/>
                <a:gd name="T66" fmla="*/ 110 w 445"/>
                <a:gd name="T67" fmla="*/ 340 h 450"/>
                <a:gd name="T68" fmla="*/ 66 w 445"/>
                <a:gd name="T69" fmla="*/ 234 h 450"/>
                <a:gd name="T70" fmla="*/ 110 w 445"/>
                <a:gd name="T71" fmla="*/ 128 h 450"/>
                <a:gd name="T72" fmla="*/ 215 w 445"/>
                <a:gd name="T73" fmla="*/ 84 h 450"/>
                <a:gd name="T74" fmla="*/ 308 w 445"/>
                <a:gd name="T75" fmla="*/ 118 h 450"/>
                <a:gd name="T76" fmla="*/ 247 w 445"/>
                <a:gd name="T77" fmla="*/ 53 h 450"/>
                <a:gd name="T78" fmla="*/ 393 w 445"/>
                <a:gd name="T79" fmla="*/ 9 h 450"/>
                <a:gd name="T80" fmla="*/ 437 w 445"/>
                <a:gd name="T81" fmla="*/ 52 h 450"/>
                <a:gd name="T82" fmla="*/ 437 w 445"/>
                <a:gd name="T83" fmla="*/ 82 h 450"/>
                <a:gd name="T84" fmla="*/ 395 w 445"/>
                <a:gd name="T85" fmla="*/ 118 h 450"/>
                <a:gd name="T86" fmla="*/ 429 w 445"/>
                <a:gd name="T87" fmla="*/ 234 h 450"/>
                <a:gd name="T88" fmla="*/ 383 w 445"/>
                <a:gd name="T89" fmla="*/ 366 h 450"/>
                <a:gd name="T90" fmla="*/ 395 w 445"/>
                <a:gd name="T91" fmla="*/ 437 h 450"/>
                <a:gd name="T92" fmla="*/ 379 w 445"/>
                <a:gd name="T93" fmla="*/ 450 h 450"/>
                <a:gd name="T94" fmla="*/ 368 w 445"/>
                <a:gd name="T95" fmla="*/ 445 h 450"/>
                <a:gd name="T96" fmla="*/ 248 w 445"/>
                <a:gd name="T97" fmla="*/ 447 h 450"/>
                <a:gd name="T98" fmla="*/ 121 w 445"/>
                <a:gd name="T99" fmla="*/ 428 h 450"/>
                <a:gd name="T100" fmla="*/ 53 w 445"/>
                <a:gd name="T101" fmla="*/ 449 h 450"/>
                <a:gd name="T102" fmla="*/ 40 w 445"/>
                <a:gd name="T103" fmla="*/ 447 h 450"/>
                <a:gd name="T104" fmla="*/ 36 w 445"/>
                <a:gd name="T105" fmla="*/ 421 h 450"/>
                <a:gd name="T106" fmla="*/ 11 w 445"/>
                <a:gd name="T107" fmla="*/ 305 h 450"/>
                <a:gd name="T108" fmla="*/ 10 w 445"/>
                <a:gd name="T109" fmla="*/ 165 h 450"/>
                <a:gd name="T110" fmla="*/ 87 w 445"/>
                <a:gd name="T111" fmla="*/ 60 h 450"/>
                <a:gd name="T112" fmla="*/ 215 w 445"/>
                <a:gd name="T113" fmla="*/ 17 h 450"/>
                <a:gd name="T114" fmla="*/ 330 w 445"/>
                <a:gd name="T115" fmla="*/ 51 h 450"/>
                <a:gd name="T116" fmla="*/ 365 w 445"/>
                <a:gd name="T117" fmla="*/ 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5" h="450">
                  <a:moveTo>
                    <a:pt x="215" y="184"/>
                  </a:moveTo>
                  <a:lnTo>
                    <a:pt x="199" y="187"/>
                  </a:lnTo>
                  <a:lnTo>
                    <a:pt x="186" y="193"/>
                  </a:lnTo>
                  <a:lnTo>
                    <a:pt x="174" y="205"/>
                  </a:lnTo>
                  <a:lnTo>
                    <a:pt x="168" y="218"/>
                  </a:lnTo>
                  <a:lnTo>
                    <a:pt x="165" y="234"/>
                  </a:lnTo>
                  <a:lnTo>
                    <a:pt x="168" y="249"/>
                  </a:lnTo>
                  <a:lnTo>
                    <a:pt x="174" y="263"/>
                  </a:lnTo>
                  <a:lnTo>
                    <a:pt x="186" y="274"/>
                  </a:lnTo>
                  <a:lnTo>
                    <a:pt x="199" y="282"/>
                  </a:lnTo>
                  <a:lnTo>
                    <a:pt x="215" y="284"/>
                  </a:lnTo>
                  <a:lnTo>
                    <a:pt x="230" y="282"/>
                  </a:lnTo>
                  <a:lnTo>
                    <a:pt x="244" y="274"/>
                  </a:lnTo>
                  <a:lnTo>
                    <a:pt x="254" y="263"/>
                  </a:lnTo>
                  <a:lnTo>
                    <a:pt x="262" y="249"/>
                  </a:lnTo>
                  <a:lnTo>
                    <a:pt x="265" y="234"/>
                  </a:lnTo>
                  <a:lnTo>
                    <a:pt x="263" y="223"/>
                  </a:lnTo>
                  <a:lnTo>
                    <a:pt x="258" y="212"/>
                  </a:lnTo>
                  <a:lnTo>
                    <a:pt x="225" y="245"/>
                  </a:lnTo>
                  <a:lnTo>
                    <a:pt x="223" y="247"/>
                  </a:lnTo>
                  <a:lnTo>
                    <a:pt x="220" y="248"/>
                  </a:lnTo>
                  <a:lnTo>
                    <a:pt x="218" y="249"/>
                  </a:lnTo>
                  <a:lnTo>
                    <a:pt x="215" y="249"/>
                  </a:lnTo>
                  <a:lnTo>
                    <a:pt x="212" y="249"/>
                  </a:lnTo>
                  <a:lnTo>
                    <a:pt x="209" y="248"/>
                  </a:lnTo>
                  <a:lnTo>
                    <a:pt x="205" y="247"/>
                  </a:lnTo>
                  <a:lnTo>
                    <a:pt x="202" y="245"/>
                  </a:lnTo>
                  <a:lnTo>
                    <a:pt x="198" y="237"/>
                  </a:lnTo>
                  <a:lnTo>
                    <a:pt x="198" y="229"/>
                  </a:lnTo>
                  <a:lnTo>
                    <a:pt x="202" y="221"/>
                  </a:lnTo>
                  <a:lnTo>
                    <a:pt x="235" y="189"/>
                  </a:lnTo>
                  <a:lnTo>
                    <a:pt x="225" y="185"/>
                  </a:lnTo>
                  <a:lnTo>
                    <a:pt x="215" y="184"/>
                  </a:lnTo>
                  <a:close/>
                  <a:moveTo>
                    <a:pt x="215" y="118"/>
                  </a:moveTo>
                  <a:lnTo>
                    <a:pt x="188" y="120"/>
                  </a:lnTo>
                  <a:lnTo>
                    <a:pt x="164" y="129"/>
                  </a:lnTo>
                  <a:lnTo>
                    <a:pt x="142" y="143"/>
                  </a:lnTo>
                  <a:lnTo>
                    <a:pt x="125" y="160"/>
                  </a:lnTo>
                  <a:lnTo>
                    <a:pt x="110" y="182"/>
                  </a:lnTo>
                  <a:lnTo>
                    <a:pt x="102" y="207"/>
                  </a:lnTo>
                  <a:lnTo>
                    <a:pt x="99" y="234"/>
                  </a:lnTo>
                  <a:lnTo>
                    <a:pt x="102" y="261"/>
                  </a:lnTo>
                  <a:lnTo>
                    <a:pt x="110" y="285"/>
                  </a:lnTo>
                  <a:lnTo>
                    <a:pt x="125" y="307"/>
                  </a:lnTo>
                  <a:lnTo>
                    <a:pt x="142" y="324"/>
                  </a:lnTo>
                  <a:lnTo>
                    <a:pt x="164" y="338"/>
                  </a:lnTo>
                  <a:lnTo>
                    <a:pt x="188" y="347"/>
                  </a:lnTo>
                  <a:lnTo>
                    <a:pt x="215" y="349"/>
                  </a:lnTo>
                  <a:lnTo>
                    <a:pt x="241" y="347"/>
                  </a:lnTo>
                  <a:lnTo>
                    <a:pt x="266" y="338"/>
                  </a:lnTo>
                  <a:lnTo>
                    <a:pt x="286" y="324"/>
                  </a:lnTo>
                  <a:lnTo>
                    <a:pt x="304" y="307"/>
                  </a:lnTo>
                  <a:lnTo>
                    <a:pt x="318" y="285"/>
                  </a:lnTo>
                  <a:lnTo>
                    <a:pt x="326" y="261"/>
                  </a:lnTo>
                  <a:lnTo>
                    <a:pt x="329" y="234"/>
                  </a:lnTo>
                  <a:lnTo>
                    <a:pt x="327" y="209"/>
                  </a:lnTo>
                  <a:lnTo>
                    <a:pt x="319" y="185"/>
                  </a:lnTo>
                  <a:lnTo>
                    <a:pt x="306" y="164"/>
                  </a:lnTo>
                  <a:lnTo>
                    <a:pt x="283" y="187"/>
                  </a:lnTo>
                  <a:lnTo>
                    <a:pt x="291" y="202"/>
                  </a:lnTo>
                  <a:lnTo>
                    <a:pt x="296" y="217"/>
                  </a:lnTo>
                  <a:lnTo>
                    <a:pt x="297" y="234"/>
                  </a:lnTo>
                  <a:lnTo>
                    <a:pt x="294" y="256"/>
                  </a:lnTo>
                  <a:lnTo>
                    <a:pt x="285" y="275"/>
                  </a:lnTo>
                  <a:lnTo>
                    <a:pt x="273" y="292"/>
                  </a:lnTo>
                  <a:lnTo>
                    <a:pt x="256" y="306"/>
                  </a:lnTo>
                  <a:lnTo>
                    <a:pt x="237" y="314"/>
                  </a:lnTo>
                  <a:lnTo>
                    <a:pt x="215" y="317"/>
                  </a:lnTo>
                  <a:lnTo>
                    <a:pt x="193" y="314"/>
                  </a:lnTo>
                  <a:lnTo>
                    <a:pt x="172" y="306"/>
                  </a:lnTo>
                  <a:lnTo>
                    <a:pt x="156" y="292"/>
                  </a:lnTo>
                  <a:lnTo>
                    <a:pt x="142" y="275"/>
                  </a:lnTo>
                  <a:lnTo>
                    <a:pt x="134" y="256"/>
                  </a:lnTo>
                  <a:lnTo>
                    <a:pt x="132" y="234"/>
                  </a:lnTo>
                  <a:lnTo>
                    <a:pt x="134" y="212"/>
                  </a:lnTo>
                  <a:lnTo>
                    <a:pt x="142" y="191"/>
                  </a:lnTo>
                  <a:lnTo>
                    <a:pt x="156" y="175"/>
                  </a:lnTo>
                  <a:lnTo>
                    <a:pt x="172" y="161"/>
                  </a:lnTo>
                  <a:lnTo>
                    <a:pt x="193" y="153"/>
                  </a:lnTo>
                  <a:lnTo>
                    <a:pt x="215" y="150"/>
                  </a:lnTo>
                  <a:lnTo>
                    <a:pt x="231" y="152"/>
                  </a:lnTo>
                  <a:lnTo>
                    <a:pt x="246" y="157"/>
                  </a:lnTo>
                  <a:lnTo>
                    <a:pt x="259" y="164"/>
                  </a:lnTo>
                  <a:lnTo>
                    <a:pt x="283" y="140"/>
                  </a:lnTo>
                  <a:lnTo>
                    <a:pt x="263" y="128"/>
                  </a:lnTo>
                  <a:lnTo>
                    <a:pt x="240" y="120"/>
                  </a:lnTo>
                  <a:lnTo>
                    <a:pt x="215" y="118"/>
                  </a:lnTo>
                  <a:close/>
                  <a:moveTo>
                    <a:pt x="215" y="50"/>
                  </a:moveTo>
                  <a:lnTo>
                    <a:pt x="182" y="53"/>
                  </a:lnTo>
                  <a:lnTo>
                    <a:pt x="152" y="62"/>
                  </a:lnTo>
                  <a:lnTo>
                    <a:pt x="122" y="75"/>
                  </a:lnTo>
                  <a:lnTo>
                    <a:pt x="98" y="94"/>
                  </a:lnTo>
                  <a:lnTo>
                    <a:pt x="75" y="116"/>
                  </a:lnTo>
                  <a:lnTo>
                    <a:pt x="57" y="142"/>
                  </a:lnTo>
                  <a:lnTo>
                    <a:pt x="44" y="170"/>
                  </a:lnTo>
                  <a:lnTo>
                    <a:pt x="35" y="201"/>
                  </a:lnTo>
                  <a:lnTo>
                    <a:pt x="32" y="234"/>
                  </a:lnTo>
                  <a:lnTo>
                    <a:pt x="35" y="267"/>
                  </a:lnTo>
                  <a:lnTo>
                    <a:pt x="44" y="297"/>
                  </a:lnTo>
                  <a:lnTo>
                    <a:pt x="57" y="326"/>
                  </a:lnTo>
                  <a:lnTo>
                    <a:pt x="75" y="351"/>
                  </a:lnTo>
                  <a:lnTo>
                    <a:pt x="98" y="373"/>
                  </a:lnTo>
                  <a:lnTo>
                    <a:pt x="122" y="392"/>
                  </a:lnTo>
                  <a:lnTo>
                    <a:pt x="152" y="405"/>
                  </a:lnTo>
                  <a:lnTo>
                    <a:pt x="182" y="414"/>
                  </a:lnTo>
                  <a:lnTo>
                    <a:pt x="215" y="417"/>
                  </a:lnTo>
                  <a:lnTo>
                    <a:pt x="247" y="414"/>
                  </a:lnTo>
                  <a:lnTo>
                    <a:pt x="278" y="405"/>
                  </a:lnTo>
                  <a:lnTo>
                    <a:pt x="306" y="392"/>
                  </a:lnTo>
                  <a:lnTo>
                    <a:pt x="331" y="373"/>
                  </a:lnTo>
                  <a:lnTo>
                    <a:pt x="353" y="351"/>
                  </a:lnTo>
                  <a:lnTo>
                    <a:pt x="370" y="326"/>
                  </a:lnTo>
                  <a:lnTo>
                    <a:pt x="385" y="297"/>
                  </a:lnTo>
                  <a:lnTo>
                    <a:pt x="393" y="267"/>
                  </a:lnTo>
                  <a:lnTo>
                    <a:pt x="396" y="234"/>
                  </a:lnTo>
                  <a:lnTo>
                    <a:pt x="393" y="201"/>
                  </a:lnTo>
                  <a:lnTo>
                    <a:pt x="385" y="171"/>
                  </a:lnTo>
                  <a:lnTo>
                    <a:pt x="371" y="143"/>
                  </a:lnTo>
                  <a:lnTo>
                    <a:pt x="354" y="118"/>
                  </a:lnTo>
                  <a:lnTo>
                    <a:pt x="331" y="140"/>
                  </a:lnTo>
                  <a:lnTo>
                    <a:pt x="345" y="160"/>
                  </a:lnTo>
                  <a:lnTo>
                    <a:pt x="355" y="183"/>
                  </a:lnTo>
                  <a:lnTo>
                    <a:pt x="361" y="208"/>
                  </a:lnTo>
                  <a:lnTo>
                    <a:pt x="363" y="234"/>
                  </a:lnTo>
                  <a:lnTo>
                    <a:pt x="360" y="264"/>
                  </a:lnTo>
                  <a:lnTo>
                    <a:pt x="352" y="292"/>
                  </a:lnTo>
                  <a:lnTo>
                    <a:pt x="338" y="318"/>
                  </a:lnTo>
                  <a:lnTo>
                    <a:pt x="320" y="340"/>
                  </a:lnTo>
                  <a:lnTo>
                    <a:pt x="298" y="359"/>
                  </a:lnTo>
                  <a:lnTo>
                    <a:pt x="273" y="372"/>
                  </a:lnTo>
                  <a:lnTo>
                    <a:pt x="245" y="380"/>
                  </a:lnTo>
                  <a:lnTo>
                    <a:pt x="215" y="383"/>
                  </a:lnTo>
                  <a:lnTo>
                    <a:pt x="185" y="380"/>
                  </a:lnTo>
                  <a:lnTo>
                    <a:pt x="157" y="372"/>
                  </a:lnTo>
                  <a:lnTo>
                    <a:pt x="132" y="359"/>
                  </a:lnTo>
                  <a:lnTo>
                    <a:pt x="110" y="340"/>
                  </a:lnTo>
                  <a:lnTo>
                    <a:pt x="91" y="318"/>
                  </a:lnTo>
                  <a:lnTo>
                    <a:pt x="78" y="292"/>
                  </a:lnTo>
                  <a:lnTo>
                    <a:pt x="70" y="264"/>
                  </a:lnTo>
                  <a:lnTo>
                    <a:pt x="66" y="234"/>
                  </a:lnTo>
                  <a:lnTo>
                    <a:pt x="70" y="204"/>
                  </a:lnTo>
                  <a:lnTo>
                    <a:pt x="78" y="176"/>
                  </a:lnTo>
                  <a:lnTo>
                    <a:pt x="91" y="151"/>
                  </a:lnTo>
                  <a:lnTo>
                    <a:pt x="110" y="128"/>
                  </a:lnTo>
                  <a:lnTo>
                    <a:pt x="132" y="110"/>
                  </a:lnTo>
                  <a:lnTo>
                    <a:pt x="157" y="96"/>
                  </a:lnTo>
                  <a:lnTo>
                    <a:pt x="185" y="88"/>
                  </a:lnTo>
                  <a:lnTo>
                    <a:pt x="215" y="84"/>
                  </a:lnTo>
                  <a:lnTo>
                    <a:pt x="240" y="87"/>
                  </a:lnTo>
                  <a:lnTo>
                    <a:pt x="264" y="93"/>
                  </a:lnTo>
                  <a:lnTo>
                    <a:pt x="286" y="103"/>
                  </a:lnTo>
                  <a:lnTo>
                    <a:pt x="308" y="118"/>
                  </a:lnTo>
                  <a:lnTo>
                    <a:pt x="331" y="94"/>
                  </a:lnTo>
                  <a:lnTo>
                    <a:pt x="305" y="76"/>
                  </a:lnTo>
                  <a:lnTo>
                    <a:pt x="277" y="62"/>
                  </a:lnTo>
                  <a:lnTo>
                    <a:pt x="247" y="53"/>
                  </a:lnTo>
                  <a:lnTo>
                    <a:pt x="215" y="50"/>
                  </a:lnTo>
                  <a:close/>
                  <a:moveTo>
                    <a:pt x="379" y="0"/>
                  </a:moveTo>
                  <a:lnTo>
                    <a:pt x="387" y="2"/>
                  </a:lnTo>
                  <a:lnTo>
                    <a:pt x="393" y="9"/>
                  </a:lnTo>
                  <a:lnTo>
                    <a:pt x="396" y="17"/>
                  </a:lnTo>
                  <a:lnTo>
                    <a:pt x="396" y="50"/>
                  </a:lnTo>
                  <a:lnTo>
                    <a:pt x="429" y="50"/>
                  </a:lnTo>
                  <a:lnTo>
                    <a:pt x="437" y="52"/>
                  </a:lnTo>
                  <a:lnTo>
                    <a:pt x="443" y="58"/>
                  </a:lnTo>
                  <a:lnTo>
                    <a:pt x="445" y="67"/>
                  </a:lnTo>
                  <a:lnTo>
                    <a:pt x="443" y="76"/>
                  </a:lnTo>
                  <a:lnTo>
                    <a:pt x="437" y="82"/>
                  </a:lnTo>
                  <a:lnTo>
                    <a:pt x="429" y="84"/>
                  </a:lnTo>
                  <a:lnTo>
                    <a:pt x="387" y="84"/>
                  </a:lnTo>
                  <a:lnTo>
                    <a:pt x="378" y="94"/>
                  </a:lnTo>
                  <a:lnTo>
                    <a:pt x="395" y="118"/>
                  </a:lnTo>
                  <a:lnTo>
                    <a:pt x="410" y="144"/>
                  </a:lnTo>
                  <a:lnTo>
                    <a:pt x="420" y="172"/>
                  </a:lnTo>
                  <a:lnTo>
                    <a:pt x="426" y="202"/>
                  </a:lnTo>
                  <a:lnTo>
                    <a:pt x="429" y="234"/>
                  </a:lnTo>
                  <a:lnTo>
                    <a:pt x="425" y="270"/>
                  </a:lnTo>
                  <a:lnTo>
                    <a:pt x="416" y="305"/>
                  </a:lnTo>
                  <a:lnTo>
                    <a:pt x="403" y="337"/>
                  </a:lnTo>
                  <a:lnTo>
                    <a:pt x="383" y="366"/>
                  </a:lnTo>
                  <a:lnTo>
                    <a:pt x="360" y="392"/>
                  </a:lnTo>
                  <a:lnTo>
                    <a:pt x="391" y="421"/>
                  </a:lnTo>
                  <a:lnTo>
                    <a:pt x="395" y="429"/>
                  </a:lnTo>
                  <a:lnTo>
                    <a:pt x="395" y="437"/>
                  </a:lnTo>
                  <a:lnTo>
                    <a:pt x="391" y="445"/>
                  </a:lnTo>
                  <a:lnTo>
                    <a:pt x="388" y="448"/>
                  </a:lnTo>
                  <a:lnTo>
                    <a:pt x="383" y="449"/>
                  </a:lnTo>
                  <a:lnTo>
                    <a:pt x="379" y="450"/>
                  </a:lnTo>
                  <a:lnTo>
                    <a:pt x="377" y="449"/>
                  </a:lnTo>
                  <a:lnTo>
                    <a:pt x="374" y="448"/>
                  </a:lnTo>
                  <a:lnTo>
                    <a:pt x="370" y="447"/>
                  </a:lnTo>
                  <a:lnTo>
                    <a:pt x="368" y="445"/>
                  </a:lnTo>
                  <a:lnTo>
                    <a:pt x="335" y="411"/>
                  </a:lnTo>
                  <a:lnTo>
                    <a:pt x="308" y="428"/>
                  </a:lnTo>
                  <a:lnTo>
                    <a:pt x="279" y="439"/>
                  </a:lnTo>
                  <a:lnTo>
                    <a:pt x="248" y="447"/>
                  </a:lnTo>
                  <a:lnTo>
                    <a:pt x="215" y="450"/>
                  </a:lnTo>
                  <a:lnTo>
                    <a:pt x="182" y="447"/>
                  </a:lnTo>
                  <a:lnTo>
                    <a:pt x="150" y="439"/>
                  </a:lnTo>
                  <a:lnTo>
                    <a:pt x="121" y="428"/>
                  </a:lnTo>
                  <a:lnTo>
                    <a:pt x="94" y="411"/>
                  </a:lnTo>
                  <a:lnTo>
                    <a:pt x="61" y="445"/>
                  </a:lnTo>
                  <a:lnTo>
                    <a:pt x="57" y="448"/>
                  </a:lnTo>
                  <a:lnTo>
                    <a:pt x="53" y="449"/>
                  </a:lnTo>
                  <a:lnTo>
                    <a:pt x="49" y="450"/>
                  </a:lnTo>
                  <a:lnTo>
                    <a:pt x="46" y="449"/>
                  </a:lnTo>
                  <a:lnTo>
                    <a:pt x="43" y="448"/>
                  </a:lnTo>
                  <a:lnTo>
                    <a:pt x="40" y="447"/>
                  </a:lnTo>
                  <a:lnTo>
                    <a:pt x="36" y="445"/>
                  </a:lnTo>
                  <a:lnTo>
                    <a:pt x="32" y="437"/>
                  </a:lnTo>
                  <a:lnTo>
                    <a:pt x="32" y="429"/>
                  </a:lnTo>
                  <a:lnTo>
                    <a:pt x="36" y="421"/>
                  </a:lnTo>
                  <a:lnTo>
                    <a:pt x="67" y="392"/>
                  </a:lnTo>
                  <a:lnTo>
                    <a:pt x="45" y="366"/>
                  </a:lnTo>
                  <a:lnTo>
                    <a:pt x="26" y="337"/>
                  </a:lnTo>
                  <a:lnTo>
                    <a:pt x="11" y="305"/>
                  </a:lnTo>
                  <a:lnTo>
                    <a:pt x="3" y="270"/>
                  </a:lnTo>
                  <a:lnTo>
                    <a:pt x="0" y="234"/>
                  </a:lnTo>
                  <a:lnTo>
                    <a:pt x="2" y="199"/>
                  </a:lnTo>
                  <a:lnTo>
                    <a:pt x="10" y="165"/>
                  </a:lnTo>
                  <a:lnTo>
                    <a:pt x="24" y="134"/>
                  </a:lnTo>
                  <a:lnTo>
                    <a:pt x="42" y="106"/>
                  </a:lnTo>
                  <a:lnTo>
                    <a:pt x="62" y="80"/>
                  </a:lnTo>
                  <a:lnTo>
                    <a:pt x="87" y="60"/>
                  </a:lnTo>
                  <a:lnTo>
                    <a:pt x="116" y="42"/>
                  </a:lnTo>
                  <a:lnTo>
                    <a:pt x="146" y="28"/>
                  </a:lnTo>
                  <a:lnTo>
                    <a:pt x="180" y="20"/>
                  </a:lnTo>
                  <a:lnTo>
                    <a:pt x="215" y="17"/>
                  </a:lnTo>
                  <a:lnTo>
                    <a:pt x="246" y="20"/>
                  </a:lnTo>
                  <a:lnTo>
                    <a:pt x="276" y="26"/>
                  </a:lnTo>
                  <a:lnTo>
                    <a:pt x="304" y="38"/>
                  </a:lnTo>
                  <a:lnTo>
                    <a:pt x="330" y="51"/>
                  </a:lnTo>
                  <a:lnTo>
                    <a:pt x="354" y="69"/>
                  </a:lnTo>
                  <a:lnTo>
                    <a:pt x="363" y="62"/>
                  </a:lnTo>
                  <a:lnTo>
                    <a:pt x="363" y="17"/>
                  </a:lnTo>
                  <a:lnTo>
                    <a:pt x="365" y="9"/>
                  </a:lnTo>
                  <a:lnTo>
                    <a:pt x="370" y="2"/>
                  </a:lnTo>
                  <a:lnTo>
                    <a:pt x="37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0" name="Freeform 77">
              <a:extLst>
                <a:ext uri="{FF2B5EF4-FFF2-40B4-BE49-F238E27FC236}">
                  <a16:creationId xmlns:a16="http://schemas.microsoft.com/office/drawing/2014/main" id="{2C789DBF-799B-8C4E-916D-04FAF2557098}"/>
                </a:ext>
              </a:extLst>
            </p:cNvPr>
            <p:cNvSpPr>
              <a:spLocks noEditPoints="1"/>
            </p:cNvSpPr>
            <p:nvPr/>
          </p:nvSpPr>
          <p:spPr bwMode="auto">
            <a:xfrm>
              <a:off x="6669088" y="1836738"/>
              <a:ext cx="358775" cy="357188"/>
            </a:xfrm>
            <a:custGeom>
              <a:avLst/>
              <a:gdLst>
                <a:gd name="T0" fmla="*/ 104 w 226"/>
                <a:gd name="T1" fmla="*/ 19 h 225"/>
                <a:gd name="T2" fmla="*/ 81 w 226"/>
                <a:gd name="T3" fmla="*/ 24 h 225"/>
                <a:gd name="T4" fmla="*/ 60 w 226"/>
                <a:gd name="T5" fmla="*/ 34 h 225"/>
                <a:gd name="T6" fmla="*/ 43 w 226"/>
                <a:gd name="T7" fmla="*/ 49 h 225"/>
                <a:gd name="T8" fmla="*/ 30 w 226"/>
                <a:gd name="T9" fmla="*/ 68 h 225"/>
                <a:gd name="T10" fmla="*/ 22 w 226"/>
                <a:gd name="T11" fmla="*/ 89 h 225"/>
                <a:gd name="T12" fmla="*/ 19 w 226"/>
                <a:gd name="T13" fmla="*/ 112 h 225"/>
                <a:gd name="T14" fmla="*/ 22 w 226"/>
                <a:gd name="T15" fmla="*/ 134 h 225"/>
                <a:gd name="T16" fmla="*/ 29 w 226"/>
                <a:gd name="T17" fmla="*/ 154 h 225"/>
                <a:gd name="T18" fmla="*/ 39 w 226"/>
                <a:gd name="T19" fmla="*/ 171 h 225"/>
                <a:gd name="T20" fmla="*/ 54 w 226"/>
                <a:gd name="T21" fmla="*/ 186 h 225"/>
                <a:gd name="T22" fmla="*/ 71 w 226"/>
                <a:gd name="T23" fmla="*/ 196 h 225"/>
                <a:gd name="T24" fmla="*/ 92 w 226"/>
                <a:gd name="T25" fmla="*/ 204 h 225"/>
                <a:gd name="T26" fmla="*/ 113 w 226"/>
                <a:gd name="T27" fmla="*/ 207 h 225"/>
                <a:gd name="T28" fmla="*/ 137 w 226"/>
                <a:gd name="T29" fmla="*/ 204 h 225"/>
                <a:gd name="T30" fmla="*/ 158 w 226"/>
                <a:gd name="T31" fmla="*/ 195 h 225"/>
                <a:gd name="T32" fmla="*/ 176 w 226"/>
                <a:gd name="T33" fmla="*/ 182 h 225"/>
                <a:gd name="T34" fmla="*/ 191 w 226"/>
                <a:gd name="T35" fmla="*/ 165 h 225"/>
                <a:gd name="T36" fmla="*/ 201 w 226"/>
                <a:gd name="T37" fmla="*/ 144 h 225"/>
                <a:gd name="T38" fmla="*/ 207 w 226"/>
                <a:gd name="T39" fmla="*/ 122 h 225"/>
                <a:gd name="T40" fmla="*/ 113 w 226"/>
                <a:gd name="T41" fmla="*/ 122 h 225"/>
                <a:gd name="T42" fmla="*/ 111 w 226"/>
                <a:gd name="T43" fmla="*/ 122 h 225"/>
                <a:gd name="T44" fmla="*/ 108 w 226"/>
                <a:gd name="T45" fmla="*/ 119 h 225"/>
                <a:gd name="T46" fmla="*/ 106 w 226"/>
                <a:gd name="T47" fmla="*/ 118 h 225"/>
                <a:gd name="T48" fmla="*/ 105 w 226"/>
                <a:gd name="T49" fmla="*/ 115 h 225"/>
                <a:gd name="T50" fmla="*/ 104 w 226"/>
                <a:gd name="T51" fmla="*/ 112 h 225"/>
                <a:gd name="T52" fmla="*/ 104 w 226"/>
                <a:gd name="T53" fmla="*/ 19 h 225"/>
                <a:gd name="T54" fmla="*/ 113 w 226"/>
                <a:gd name="T55" fmla="*/ 0 h 225"/>
                <a:gd name="T56" fmla="*/ 117 w 226"/>
                <a:gd name="T57" fmla="*/ 0 h 225"/>
                <a:gd name="T58" fmla="*/ 120 w 226"/>
                <a:gd name="T59" fmla="*/ 2 h 225"/>
                <a:gd name="T60" fmla="*/ 121 w 226"/>
                <a:gd name="T61" fmla="*/ 5 h 225"/>
                <a:gd name="T62" fmla="*/ 122 w 226"/>
                <a:gd name="T63" fmla="*/ 8 h 225"/>
                <a:gd name="T64" fmla="*/ 122 w 226"/>
                <a:gd name="T65" fmla="*/ 103 h 225"/>
                <a:gd name="T66" fmla="*/ 217 w 226"/>
                <a:gd name="T67" fmla="*/ 103 h 225"/>
                <a:gd name="T68" fmla="*/ 221 w 226"/>
                <a:gd name="T69" fmla="*/ 104 h 225"/>
                <a:gd name="T70" fmla="*/ 224 w 226"/>
                <a:gd name="T71" fmla="*/ 106 h 225"/>
                <a:gd name="T72" fmla="*/ 226 w 226"/>
                <a:gd name="T73" fmla="*/ 109 h 225"/>
                <a:gd name="T74" fmla="*/ 226 w 226"/>
                <a:gd name="T75" fmla="*/ 112 h 225"/>
                <a:gd name="T76" fmla="*/ 223 w 226"/>
                <a:gd name="T77" fmla="*/ 138 h 225"/>
                <a:gd name="T78" fmla="*/ 215 w 226"/>
                <a:gd name="T79" fmla="*/ 162 h 225"/>
                <a:gd name="T80" fmla="*/ 201 w 226"/>
                <a:gd name="T81" fmla="*/ 183 h 225"/>
                <a:gd name="T82" fmla="*/ 184 w 226"/>
                <a:gd name="T83" fmla="*/ 200 h 225"/>
                <a:gd name="T84" fmla="*/ 163 w 226"/>
                <a:gd name="T85" fmla="*/ 214 h 225"/>
                <a:gd name="T86" fmla="*/ 139 w 226"/>
                <a:gd name="T87" fmla="*/ 223 h 225"/>
                <a:gd name="T88" fmla="*/ 113 w 226"/>
                <a:gd name="T89" fmla="*/ 225 h 225"/>
                <a:gd name="T90" fmla="*/ 87 w 226"/>
                <a:gd name="T91" fmla="*/ 223 h 225"/>
                <a:gd name="T92" fmla="*/ 63 w 226"/>
                <a:gd name="T93" fmla="*/ 214 h 225"/>
                <a:gd name="T94" fmla="*/ 42 w 226"/>
                <a:gd name="T95" fmla="*/ 200 h 225"/>
                <a:gd name="T96" fmla="*/ 25 w 226"/>
                <a:gd name="T97" fmla="*/ 183 h 225"/>
                <a:gd name="T98" fmla="*/ 11 w 226"/>
                <a:gd name="T99" fmla="*/ 162 h 225"/>
                <a:gd name="T100" fmla="*/ 3 w 226"/>
                <a:gd name="T101" fmla="*/ 138 h 225"/>
                <a:gd name="T102" fmla="*/ 0 w 226"/>
                <a:gd name="T103" fmla="*/ 112 h 225"/>
                <a:gd name="T104" fmla="*/ 3 w 226"/>
                <a:gd name="T105" fmla="*/ 86 h 225"/>
                <a:gd name="T106" fmla="*/ 11 w 226"/>
                <a:gd name="T107" fmla="*/ 62 h 225"/>
                <a:gd name="T108" fmla="*/ 25 w 226"/>
                <a:gd name="T109" fmla="*/ 42 h 225"/>
                <a:gd name="T110" fmla="*/ 42 w 226"/>
                <a:gd name="T111" fmla="*/ 24 h 225"/>
                <a:gd name="T112" fmla="*/ 63 w 226"/>
                <a:gd name="T113" fmla="*/ 11 h 225"/>
                <a:gd name="T114" fmla="*/ 87 w 226"/>
                <a:gd name="T115" fmla="*/ 2 h 225"/>
                <a:gd name="T116" fmla="*/ 113 w 226"/>
                <a:gd name="T1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25">
                  <a:moveTo>
                    <a:pt x="104" y="19"/>
                  </a:moveTo>
                  <a:lnTo>
                    <a:pt x="81" y="24"/>
                  </a:lnTo>
                  <a:lnTo>
                    <a:pt x="60" y="34"/>
                  </a:lnTo>
                  <a:lnTo>
                    <a:pt x="43" y="49"/>
                  </a:lnTo>
                  <a:lnTo>
                    <a:pt x="30" y="68"/>
                  </a:lnTo>
                  <a:lnTo>
                    <a:pt x="22" y="89"/>
                  </a:lnTo>
                  <a:lnTo>
                    <a:pt x="19" y="112"/>
                  </a:lnTo>
                  <a:lnTo>
                    <a:pt x="22" y="134"/>
                  </a:lnTo>
                  <a:lnTo>
                    <a:pt x="29" y="154"/>
                  </a:lnTo>
                  <a:lnTo>
                    <a:pt x="39" y="171"/>
                  </a:lnTo>
                  <a:lnTo>
                    <a:pt x="54" y="186"/>
                  </a:lnTo>
                  <a:lnTo>
                    <a:pt x="71" y="196"/>
                  </a:lnTo>
                  <a:lnTo>
                    <a:pt x="92" y="204"/>
                  </a:lnTo>
                  <a:lnTo>
                    <a:pt x="113" y="207"/>
                  </a:lnTo>
                  <a:lnTo>
                    <a:pt x="137" y="204"/>
                  </a:lnTo>
                  <a:lnTo>
                    <a:pt x="158" y="195"/>
                  </a:lnTo>
                  <a:lnTo>
                    <a:pt x="176" y="182"/>
                  </a:lnTo>
                  <a:lnTo>
                    <a:pt x="191" y="165"/>
                  </a:lnTo>
                  <a:lnTo>
                    <a:pt x="201" y="144"/>
                  </a:lnTo>
                  <a:lnTo>
                    <a:pt x="207" y="122"/>
                  </a:lnTo>
                  <a:lnTo>
                    <a:pt x="113" y="122"/>
                  </a:lnTo>
                  <a:lnTo>
                    <a:pt x="111" y="122"/>
                  </a:lnTo>
                  <a:lnTo>
                    <a:pt x="108" y="119"/>
                  </a:lnTo>
                  <a:lnTo>
                    <a:pt x="106" y="118"/>
                  </a:lnTo>
                  <a:lnTo>
                    <a:pt x="105" y="115"/>
                  </a:lnTo>
                  <a:lnTo>
                    <a:pt x="104" y="112"/>
                  </a:lnTo>
                  <a:lnTo>
                    <a:pt x="104" y="19"/>
                  </a:lnTo>
                  <a:close/>
                  <a:moveTo>
                    <a:pt x="113" y="0"/>
                  </a:moveTo>
                  <a:lnTo>
                    <a:pt x="117" y="0"/>
                  </a:lnTo>
                  <a:lnTo>
                    <a:pt x="120" y="2"/>
                  </a:lnTo>
                  <a:lnTo>
                    <a:pt x="121" y="5"/>
                  </a:lnTo>
                  <a:lnTo>
                    <a:pt x="122" y="8"/>
                  </a:lnTo>
                  <a:lnTo>
                    <a:pt x="122" y="103"/>
                  </a:lnTo>
                  <a:lnTo>
                    <a:pt x="217" y="103"/>
                  </a:lnTo>
                  <a:lnTo>
                    <a:pt x="221" y="104"/>
                  </a:lnTo>
                  <a:lnTo>
                    <a:pt x="224" y="106"/>
                  </a:lnTo>
                  <a:lnTo>
                    <a:pt x="226" y="109"/>
                  </a:lnTo>
                  <a:lnTo>
                    <a:pt x="226" y="112"/>
                  </a:lnTo>
                  <a:lnTo>
                    <a:pt x="223" y="138"/>
                  </a:lnTo>
                  <a:lnTo>
                    <a:pt x="215" y="162"/>
                  </a:lnTo>
                  <a:lnTo>
                    <a:pt x="201" y="183"/>
                  </a:lnTo>
                  <a:lnTo>
                    <a:pt x="184" y="200"/>
                  </a:lnTo>
                  <a:lnTo>
                    <a:pt x="163" y="214"/>
                  </a:lnTo>
                  <a:lnTo>
                    <a:pt x="139" y="223"/>
                  </a:lnTo>
                  <a:lnTo>
                    <a:pt x="113" y="225"/>
                  </a:lnTo>
                  <a:lnTo>
                    <a:pt x="87" y="223"/>
                  </a:lnTo>
                  <a:lnTo>
                    <a:pt x="63" y="214"/>
                  </a:lnTo>
                  <a:lnTo>
                    <a:pt x="42" y="200"/>
                  </a:lnTo>
                  <a:lnTo>
                    <a:pt x="25" y="183"/>
                  </a:lnTo>
                  <a:lnTo>
                    <a:pt x="11" y="162"/>
                  </a:lnTo>
                  <a:lnTo>
                    <a:pt x="3" y="138"/>
                  </a:lnTo>
                  <a:lnTo>
                    <a:pt x="0" y="112"/>
                  </a:lnTo>
                  <a:lnTo>
                    <a:pt x="3" y="86"/>
                  </a:lnTo>
                  <a:lnTo>
                    <a:pt x="11" y="62"/>
                  </a:lnTo>
                  <a:lnTo>
                    <a:pt x="25" y="42"/>
                  </a:lnTo>
                  <a:lnTo>
                    <a:pt x="42" y="24"/>
                  </a:lnTo>
                  <a:lnTo>
                    <a:pt x="63" y="11"/>
                  </a:lnTo>
                  <a:lnTo>
                    <a:pt x="87" y="2"/>
                  </a:lnTo>
                  <a:lnTo>
                    <a:pt x="11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1" name="Freeform 78">
              <a:extLst>
                <a:ext uri="{FF2B5EF4-FFF2-40B4-BE49-F238E27FC236}">
                  <a16:creationId xmlns:a16="http://schemas.microsoft.com/office/drawing/2014/main" id="{6C0E313C-FF99-A747-B3A2-9F14964BF1C3}"/>
                </a:ext>
              </a:extLst>
            </p:cNvPr>
            <p:cNvSpPr>
              <a:spLocks noEditPoints="1"/>
            </p:cNvSpPr>
            <p:nvPr/>
          </p:nvSpPr>
          <p:spPr bwMode="auto">
            <a:xfrm>
              <a:off x="6892926" y="1819275"/>
              <a:ext cx="152400" cy="152400"/>
            </a:xfrm>
            <a:custGeom>
              <a:avLst/>
              <a:gdLst>
                <a:gd name="T0" fmla="*/ 18 w 96"/>
                <a:gd name="T1" fmla="*/ 22 h 96"/>
                <a:gd name="T2" fmla="*/ 18 w 96"/>
                <a:gd name="T3" fmla="*/ 77 h 96"/>
                <a:gd name="T4" fmla="*/ 73 w 96"/>
                <a:gd name="T5" fmla="*/ 77 h 96"/>
                <a:gd name="T6" fmla="*/ 59 w 96"/>
                <a:gd name="T7" fmla="*/ 55 h 96"/>
                <a:gd name="T8" fmla="*/ 40 w 96"/>
                <a:gd name="T9" fmla="*/ 36 h 96"/>
                <a:gd name="T10" fmla="*/ 18 w 96"/>
                <a:gd name="T11" fmla="*/ 22 h 96"/>
                <a:gd name="T12" fmla="*/ 8 w 96"/>
                <a:gd name="T13" fmla="*/ 0 h 96"/>
                <a:gd name="T14" fmla="*/ 11 w 96"/>
                <a:gd name="T15" fmla="*/ 1 h 96"/>
                <a:gd name="T16" fmla="*/ 34 w 96"/>
                <a:gd name="T17" fmla="*/ 10 h 96"/>
                <a:gd name="T18" fmla="*/ 55 w 96"/>
                <a:gd name="T19" fmla="*/ 24 h 96"/>
                <a:gd name="T20" fmla="*/ 72 w 96"/>
                <a:gd name="T21" fmla="*/ 41 h 96"/>
                <a:gd name="T22" fmla="*/ 86 w 96"/>
                <a:gd name="T23" fmla="*/ 61 h 96"/>
                <a:gd name="T24" fmla="*/ 95 w 96"/>
                <a:gd name="T25" fmla="*/ 85 h 96"/>
                <a:gd name="T26" fmla="*/ 96 w 96"/>
                <a:gd name="T27" fmla="*/ 87 h 96"/>
                <a:gd name="T28" fmla="*/ 95 w 96"/>
                <a:gd name="T29" fmla="*/ 90 h 96"/>
                <a:gd name="T30" fmla="*/ 94 w 96"/>
                <a:gd name="T31" fmla="*/ 92 h 96"/>
                <a:gd name="T32" fmla="*/ 92 w 96"/>
                <a:gd name="T33" fmla="*/ 94 h 96"/>
                <a:gd name="T34" fmla="*/ 89 w 96"/>
                <a:gd name="T35" fmla="*/ 96 h 96"/>
                <a:gd name="T36" fmla="*/ 86 w 96"/>
                <a:gd name="T37" fmla="*/ 96 h 96"/>
                <a:gd name="T38" fmla="*/ 8 w 96"/>
                <a:gd name="T39" fmla="*/ 96 h 96"/>
                <a:gd name="T40" fmla="*/ 5 w 96"/>
                <a:gd name="T41" fmla="*/ 96 h 96"/>
                <a:gd name="T42" fmla="*/ 3 w 96"/>
                <a:gd name="T43" fmla="*/ 95 h 96"/>
                <a:gd name="T44" fmla="*/ 1 w 96"/>
                <a:gd name="T45" fmla="*/ 93 h 96"/>
                <a:gd name="T46" fmla="*/ 0 w 96"/>
                <a:gd name="T47" fmla="*/ 90 h 96"/>
                <a:gd name="T48" fmla="*/ 0 w 96"/>
                <a:gd name="T49" fmla="*/ 87 h 96"/>
                <a:gd name="T50" fmla="*/ 0 w 96"/>
                <a:gd name="T51" fmla="*/ 9 h 96"/>
                <a:gd name="T52" fmla="*/ 0 w 96"/>
                <a:gd name="T53" fmla="*/ 7 h 96"/>
                <a:gd name="T54" fmla="*/ 0 w 96"/>
                <a:gd name="T55" fmla="*/ 5 h 96"/>
                <a:gd name="T56" fmla="*/ 1 w 96"/>
                <a:gd name="T57" fmla="*/ 3 h 96"/>
                <a:gd name="T58" fmla="*/ 3 w 96"/>
                <a:gd name="T59" fmla="*/ 1 h 96"/>
                <a:gd name="T60" fmla="*/ 6 w 96"/>
                <a:gd name="T61" fmla="*/ 0 h 96"/>
                <a:gd name="T62" fmla="*/ 8 w 96"/>
                <a:gd name="T63"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96">
                  <a:moveTo>
                    <a:pt x="18" y="22"/>
                  </a:moveTo>
                  <a:lnTo>
                    <a:pt x="18" y="77"/>
                  </a:lnTo>
                  <a:lnTo>
                    <a:pt x="73" y="77"/>
                  </a:lnTo>
                  <a:lnTo>
                    <a:pt x="59" y="55"/>
                  </a:lnTo>
                  <a:lnTo>
                    <a:pt x="40" y="36"/>
                  </a:lnTo>
                  <a:lnTo>
                    <a:pt x="18" y="22"/>
                  </a:lnTo>
                  <a:close/>
                  <a:moveTo>
                    <a:pt x="8" y="0"/>
                  </a:moveTo>
                  <a:lnTo>
                    <a:pt x="11" y="1"/>
                  </a:lnTo>
                  <a:lnTo>
                    <a:pt x="34" y="10"/>
                  </a:lnTo>
                  <a:lnTo>
                    <a:pt x="55" y="24"/>
                  </a:lnTo>
                  <a:lnTo>
                    <a:pt x="72" y="41"/>
                  </a:lnTo>
                  <a:lnTo>
                    <a:pt x="86" y="61"/>
                  </a:lnTo>
                  <a:lnTo>
                    <a:pt x="95" y="85"/>
                  </a:lnTo>
                  <a:lnTo>
                    <a:pt x="96" y="87"/>
                  </a:lnTo>
                  <a:lnTo>
                    <a:pt x="95" y="90"/>
                  </a:lnTo>
                  <a:lnTo>
                    <a:pt x="94" y="92"/>
                  </a:lnTo>
                  <a:lnTo>
                    <a:pt x="92" y="94"/>
                  </a:lnTo>
                  <a:lnTo>
                    <a:pt x="89" y="96"/>
                  </a:lnTo>
                  <a:lnTo>
                    <a:pt x="86" y="96"/>
                  </a:lnTo>
                  <a:lnTo>
                    <a:pt x="8" y="96"/>
                  </a:lnTo>
                  <a:lnTo>
                    <a:pt x="5" y="96"/>
                  </a:lnTo>
                  <a:lnTo>
                    <a:pt x="3" y="95"/>
                  </a:lnTo>
                  <a:lnTo>
                    <a:pt x="1" y="93"/>
                  </a:lnTo>
                  <a:lnTo>
                    <a:pt x="0" y="90"/>
                  </a:lnTo>
                  <a:lnTo>
                    <a:pt x="0" y="87"/>
                  </a:lnTo>
                  <a:lnTo>
                    <a:pt x="0" y="9"/>
                  </a:lnTo>
                  <a:lnTo>
                    <a:pt x="0" y="7"/>
                  </a:lnTo>
                  <a:lnTo>
                    <a:pt x="0" y="5"/>
                  </a:lnTo>
                  <a:lnTo>
                    <a:pt x="1" y="3"/>
                  </a:lnTo>
                  <a:lnTo>
                    <a:pt x="3" y="1"/>
                  </a:lnTo>
                  <a:lnTo>
                    <a:pt x="6" y="0"/>
                  </a:lnTo>
                  <a:lnTo>
                    <a:pt x="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2" name="Freeform 79">
              <a:extLst>
                <a:ext uri="{FF2B5EF4-FFF2-40B4-BE49-F238E27FC236}">
                  <a16:creationId xmlns:a16="http://schemas.microsoft.com/office/drawing/2014/main" id="{7389592F-3A14-3048-A940-1C57D63242A7}"/>
                </a:ext>
              </a:extLst>
            </p:cNvPr>
            <p:cNvSpPr>
              <a:spLocks noEditPoints="1"/>
            </p:cNvSpPr>
            <p:nvPr/>
          </p:nvSpPr>
          <p:spPr bwMode="auto">
            <a:xfrm>
              <a:off x="6765926" y="4017963"/>
              <a:ext cx="395288" cy="409575"/>
            </a:xfrm>
            <a:custGeom>
              <a:avLst/>
              <a:gdLst>
                <a:gd name="T0" fmla="*/ 115 w 249"/>
                <a:gd name="T1" fmla="*/ 21 h 258"/>
                <a:gd name="T2" fmla="*/ 74 w 249"/>
                <a:gd name="T3" fmla="*/ 36 h 258"/>
                <a:gd name="T4" fmla="*/ 41 w 249"/>
                <a:gd name="T5" fmla="*/ 67 h 258"/>
                <a:gd name="T6" fmla="*/ 23 w 249"/>
                <a:gd name="T7" fmla="*/ 108 h 258"/>
                <a:gd name="T8" fmla="*/ 23 w 249"/>
                <a:gd name="T9" fmla="*/ 150 h 258"/>
                <a:gd name="T10" fmla="*/ 40 w 249"/>
                <a:gd name="T11" fmla="*/ 187 h 258"/>
                <a:gd name="T12" fmla="*/ 69 w 249"/>
                <a:gd name="T13" fmla="*/ 218 h 258"/>
                <a:gd name="T14" fmla="*/ 110 w 249"/>
                <a:gd name="T15" fmla="*/ 234 h 258"/>
                <a:gd name="T16" fmla="*/ 155 w 249"/>
                <a:gd name="T17" fmla="*/ 233 h 258"/>
                <a:gd name="T18" fmla="*/ 194 w 249"/>
                <a:gd name="T19" fmla="*/ 214 h 258"/>
                <a:gd name="T20" fmla="*/ 224 w 249"/>
                <a:gd name="T21" fmla="*/ 180 h 258"/>
                <a:gd name="T22" fmla="*/ 123 w 249"/>
                <a:gd name="T23" fmla="*/ 137 h 258"/>
                <a:gd name="T24" fmla="*/ 118 w 249"/>
                <a:gd name="T25" fmla="*/ 131 h 258"/>
                <a:gd name="T26" fmla="*/ 119 w 249"/>
                <a:gd name="T27" fmla="*/ 125 h 258"/>
                <a:gd name="T28" fmla="*/ 138 w 249"/>
                <a:gd name="T29" fmla="*/ 21 h 258"/>
                <a:gd name="T30" fmla="*/ 154 w 249"/>
                <a:gd name="T31" fmla="*/ 2 h 258"/>
                <a:gd name="T32" fmla="*/ 182 w 249"/>
                <a:gd name="T33" fmla="*/ 11 h 258"/>
                <a:gd name="T34" fmla="*/ 185 w 249"/>
                <a:gd name="T35" fmla="*/ 16 h 258"/>
                <a:gd name="T36" fmla="*/ 185 w 249"/>
                <a:gd name="T37" fmla="*/ 22 h 258"/>
                <a:gd name="T38" fmla="*/ 243 w 249"/>
                <a:gd name="T39" fmla="*/ 165 h 258"/>
                <a:gd name="T40" fmla="*/ 248 w 249"/>
                <a:gd name="T41" fmla="*/ 169 h 258"/>
                <a:gd name="T42" fmla="*/ 249 w 249"/>
                <a:gd name="T43" fmla="*/ 176 h 258"/>
                <a:gd name="T44" fmla="*/ 237 w 249"/>
                <a:gd name="T45" fmla="*/ 202 h 258"/>
                <a:gd name="T46" fmla="*/ 200 w 249"/>
                <a:gd name="T47" fmla="*/ 237 h 258"/>
                <a:gd name="T48" fmla="*/ 155 w 249"/>
                <a:gd name="T49" fmla="*/ 256 h 258"/>
                <a:gd name="T50" fmla="*/ 104 w 249"/>
                <a:gd name="T51" fmla="*/ 256 h 258"/>
                <a:gd name="T52" fmla="*/ 56 w 249"/>
                <a:gd name="T53" fmla="*/ 236 h 258"/>
                <a:gd name="T54" fmla="*/ 21 w 249"/>
                <a:gd name="T55" fmla="*/ 200 h 258"/>
                <a:gd name="T56" fmla="*/ 2 w 249"/>
                <a:gd name="T57" fmla="*/ 154 h 258"/>
                <a:gd name="T58" fmla="*/ 2 w 249"/>
                <a:gd name="T59" fmla="*/ 104 h 258"/>
                <a:gd name="T60" fmla="*/ 22 w 249"/>
                <a:gd name="T61" fmla="*/ 56 h 258"/>
                <a:gd name="T62" fmla="*/ 58 w 249"/>
                <a:gd name="T63" fmla="*/ 20 h 258"/>
                <a:gd name="T64" fmla="*/ 104 w 249"/>
                <a:gd name="T65" fmla="*/ 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9" h="258">
                  <a:moveTo>
                    <a:pt x="138" y="21"/>
                  </a:moveTo>
                  <a:lnTo>
                    <a:pt x="115" y="21"/>
                  </a:lnTo>
                  <a:lnTo>
                    <a:pt x="93" y="27"/>
                  </a:lnTo>
                  <a:lnTo>
                    <a:pt x="74" y="36"/>
                  </a:lnTo>
                  <a:lnTo>
                    <a:pt x="55" y="49"/>
                  </a:lnTo>
                  <a:lnTo>
                    <a:pt x="41" y="67"/>
                  </a:lnTo>
                  <a:lnTo>
                    <a:pt x="29" y="88"/>
                  </a:lnTo>
                  <a:lnTo>
                    <a:pt x="23" y="108"/>
                  </a:lnTo>
                  <a:lnTo>
                    <a:pt x="21" y="129"/>
                  </a:lnTo>
                  <a:lnTo>
                    <a:pt x="23" y="150"/>
                  </a:lnTo>
                  <a:lnTo>
                    <a:pt x="29" y="170"/>
                  </a:lnTo>
                  <a:lnTo>
                    <a:pt x="40" y="187"/>
                  </a:lnTo>
                  <a:lnTo>
                    <a:pt x="52" y="204"/>
                  </a:lnTo>
                  <a:lnTo>
                    <a:pt x="69" y="218"/>
                  </a:lnTo>
                  <a:lnTo>
                    <a:pt x="88" y="228"/>
                  </a:lnTo>
                  <a:lnTo>
                    <a:pt x="110" y="234"/>
                  </a:lnTo>
                  <a:lnTo>
                    <a:pt x="133" y="236"/>
                  </a:lnTo>
                  <a:lnTo>
                    <a:pt x="155" y="233"/>
                  </a:lnTo>
                  <a:lnTo>
                    <a:pt x="175" y="226"/>
                  </a:lnTo>
                  <a:lnTo>
                    <a:pt x="194" y="214"/>
                  </a:lnTo>
                  <a:lnTo>
                    <a:pt x="211" y="199"/>
                  </a:lnTo>
                  <a:lnTo>
                    <a:pt x="224" y="180"/>
                  </a:lnTo>
                  <a:lnTo>
                    <a:pt x="126" y="139"/>
                  </a:lnTo>
                  <a:lnTo>
                    <a:pt x="123" y="137"/>
                  </a:lnTo>
                  <a:lnTo>
                    <a:pt x="120" y="135"/>
                  </a:lnTo>
                  <a:lnTo>
                    <a:pt x="118" y="131"/>
                  </a:lnTo>
                  <a:lnTo>
                    <a:pt x="118" y="128"/>
                  </a:lnTo>
                  <a:lnTo>
                    <a:pt x="119" y="125"/>
                  </a:lnTo>
                  <a:lnTo>
                    <a:pt x="160" y="26"/>
                  </a:lnTo>
                  <a:lnTo>
                    <a:pt x="138" y="21"/>
                  </a:lnTo>
                  <a:close/>
                  <a:moveTo>
                    <a:pt x="129" y="0"/>
                  </a:moveTo>
                  <a:lnTo>
                    <a:pt x="154" y="2"/>
                  </a:lnTo>
                  <a:lnTo>
                    <a:pt x="179" y="10"/>
                  </a:lnTo>
                  <a:lnTo>
                    <a:pt x="182" y="11"/>
                  </a:lnTo>
                  <a:lnTo>
                    <a:pt x="184" y="13"/>
                  </a:lnTo>
                  <a:lnTo>
                    <a:pt x="185" y="16"/>
                  </a:lnTo>
                  <a:lnTo>
                    <a:pt x="186" y="19"/>
                  </a:lnTo>
                  <a:lnTo>
                    <a:pt x="185" y="22"/>
                  </a:lnTo>
                  <a:lnTo>
                    <a:pt x="143" y="123"/>
                  </a:lnTo>
                  <a:lnTo>
                    <a:pt x="243" y="165"/>
                  </a:lnTo>
                  <a:lnTo>
                    <a:pt x="246" y="167"/>
                  </a:lnTo>
                  <a:lnTo>
                    <a:pt x="248" y="169"/>
                  </a:lnTo>
                  <a:lnTo>
                    <a:pt x="249" y="172"/>
                  </a:lnTo>
                  <a:lnTo>
                    <a:pt x="249" y="176"/>
                  </a:lnTo>
                  <a:lnTo>
                    <a:pt x="249" y="179"/>
                  </a:lnTo>
                  <a:lnTo>
                    <a:pt x="237" y="202"/>
                  </a:lnTo>
                  <a:lnTo>
                    <a:pt x="220" y="222"/>
                  </a:lnTo>
                  <a:lnTo>
                    <a:pt x="200" y="237"/>
                  </a:lnTo>
                  <a:lnTo>
                    <a:pt x="179" y="249"/>
                  </a:lnTo>
                  <a:lnTo>
                    <a:pt x="155" y="256"/>
                  </a:lnTo>
                  <a:lnTo>
                    <a:pt x="130" y="258"/>
                  </a:lnTo>
                  <a:lnTo>
                    <a:pt x="104" y="256"/>
                  </a:lnTo>
                  <a:lnTo>
                    <a:pt x="79" y="249"/>
                  </a:lnTo>
                  <a:lnTo>
                    <a:pt x="56" y="236"/>
                  </a:lnTo>
                  <a:lnTo>
                    <a:pt x="36" y="220"/>
                  </a:lnTo>
                  <a:lnTo>
                    <a:pt x="21" y="200"/>
                  </a:lnTo>
                  <a:lnTo>
                    <a:pt x="9" y="178"/>
                  </a:lnTo>
                  <a:lnTo>
                    <a:pt x="2" y="154"/>
                  </a:lnTo>
                  <a:lnTo>
                    <a:pt x="0" y="129"/>
                  </a:lnTo>
                  <a:lnTo>
                    <a:pt x="2" y="104"/>
                  </a:lnTo>
                  <a:lnTo>
                    <a:pt x="9" y="80"/>
                  </a:lnTo>
                  <a:lnTo>
                    <a:pt x="22" y="56"/>
                  </a:lnTo>
                  <a:lnTo>
                    <a:pt x="38" y="36"/>
                  </a:lnTo>
                  <a:lnTo>
                    <a:pt x="58" y="20"/>
                  </a:lnTo>
                  <a:lnTo>
                    <a:pt x="80" y="9"/>
                  </a:lnTo>
                  <a:lnTo>
                    <a:pt x="104" y="2"/>
                  </a:lnTo>
                  <a:lnTo>
                    <a:pt x="12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80">
              <a:extLst>
                <a:ext uri="{FF2B5EF4-FFF2-40B4-BE49-F238E27FC236}">
                  <a16:creationId xmlns:a16="http://schemas.microsoft.com/office/drawing/2014/main" id="{990E0FC7-3D6C-1641-B782-8F13A3948D09}"/>
                </a:ext>
              </a:extLst>
            </p:cNvPr>
            <p:cNvSpPr>
              <a:spLocks noEditPoints="1"/>
            </p:cNvSpPr>
            <p:nvPr/>
          </p:nvSpPr>
          <p:spPr bwMode="auto">
            <a:xfrm>
              <a:off x="7040563" y="4038600"/>
              <a:ext cx="165100" cy="219075"/>
            </a:xfrm>
            <a:custGeom>
              <a:avLst/>
              <a:gdLst>
                <a:gd name="T0" fmla="*/ 49 w 104"/>
                <a:gd name="T1" fmla="*/ 29 h 138"/>
                <a:gd name="T2" fmla="*/ 25 w 104"/>
                <a:gd name="T3" fmla="*/ 87 h 138"/>
                <a:gd name="T4" fmla="*/ 83 w 104"/>
                <a:gd name="T5" fmla="*/ 111 h 138"/>
                <a:gd name="T6" fmla="*/ 80 w 104"/>
                <a:gd name="T7" fmla="*/ 88 h 138"/>
                <a:gd name="T8" fmla="*/ 73 w 104"/>
                <a:gd name="T9" fmla="*/ 68 h 138"/>
                <a:gd name="T10" fmla="*/ 63 w 104"/>
                <a:gd name="T11" fmla="*/ 47 h 138"/>
                <a:gd name="T12" fmla="*/ 49 w 104"/>
                <a:gd name="T13" fmla="*/ 29 h 138"/>
                <a:gd name="T14" fmla="*/ 46 w 104"/>
                <a:gd name="T15" fmla="*/ 0 h 138"/>
                <a:gd name="T16" fmla="*/ 49 w 104"/>
                <a:gd name="T17" fmla="*/ 1 h 138"/>
                <a:gd name="T18" fmla="*/ 52 w 104"/>
                <a:gd name="T19" fmla="*/ 3 h 138"/>
                <a:gd name="T20" fmla="*/ 69 w 104"/>
                <a:gd name="T21" fmla="*/ 20 h 138"/>
                <a:gd name="T22" fmla="*/ 82 w 104"/>
                <a:gd name="T23" fmla="*/ 38 h 138"/>
                <a:gd name="T24" fmla="*/ 94 w 104"/>
                <a:gd name="T25" fmla="*/ 59 h 138"/>
                <a:gd name="T26" fmla="*/ 100 w 104"/>
                <a:gd name="T27" fmla="*/ 82 h 138"/>
                <a:gd name="T28" fmla="*/ 104 w 104"/>
                <a:gd name="T29" fmla="*/ 105 h 138"/>
                <a:gd name="T30" fmla="*/ 104 w 104"/>
                <a:gd name="T31" fmla="*/ 129 h 138"/>
                <a:gd name="T32" fmla="*/ 103 w 104"/>
                <a:gd name="T33" fmla="*/ 132 h 138"/>
                <a:gd name="T34" fmla="*/ 101 w 104"/>
                <a:gd name="T35" fmla="*/ 135 h 138"/>
                <a:gd name="T36" fmla="*/ 99 w 104"/>
                <a:gd name="T37" fmla="*/ 136 h 138"/>
                <a:gd name="T38" fmla="*/ 96 w 104"/>
                <a:gd name="T39" fmla="*/ 138 h 138"/>
                <a:gd name="T40" fmla="*/ 92 w 104"/>
                <a:gd name="T41" fmla="*/ 138 h 138"/>
                <a:gd name="T42" fmla="*/ 89 w 104"/>
                <a:gd name="T43" fmla="*/ 137 h 138"/>
                <a:gd name="T44" fmla="*/ 7 w 104"/>
                <a:gd name="T45" fmla="*/ 103 h 138"/>
                <a:gd name="T46" fmla="*/ 3 w 104"/>
                <a:gd name="T47" fmla="*/ 102 h 138"/>
                <a:gd name="T48" fmla="*/ 1 w 104"/>
                <a:gd name="T49" fmla="*/ 99 h 138"/>
                <a:gd name="T50" fmla="*/ 0 w 104"/>
                <a:gd name="T51" fmla="*/ 96 h 138"/>
                <a:gd name="T52" fmla="*/ 0 w 104"/>
                <a:gd name="T53" fmla="*/ 92 h 138"/>
                <a:gd name="T54" fmla="*/ 1 w 104"/>
                <a:gd name="T55" fmla="*/ 89 h 138"/>
                <a:gd name="T56" fmla="*/ 36 w 104"/>
                <a:gd name="T57" fmla="*/ 6 h 138"/>
                <a:gd name="T58" fmla="*/ 37 w 104"/>
                <a:gd name="T59" fmla="*/ 4 h 138"/>
                <a:gd name="T60" fmla="*/ 38 w 104"/>
                <a:gd name="T61" fmla="*/ 2 h 138"/>
                <a:gd name="T62" fmla="*/ 40 w 104"/>
                <a:gd name="T63" fmla="*/ 1 h 138"/>
                <a:gd name="T64" fmla="*/ 43 w 104"/>
                <a:gd name="T65" fmla="*/ 0 h 138"/>
                <a:gd name="T66" fmla="*/ 46 w 104"/>
                <a:gd name="T6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4" h="138">
                  <a:moveTo>
                    <a:pt x="49" y="29"/>
                  </a:moveTo>
                  <a:lnTo>
                    <a:pt x="25" y="87"/>
                  </a:lnTo>
                  <a:lnTo>
                    <a:pt x="83" y="111"/>
                  </a:lnTo>
                  <a:lnTo>
                    <a:pt x="80" y="88"/>
                  </a:lnTo>
                  <a:lnTo>
                    <a:pt x="73" y="68"/>
                  </a:lnTo>
                  <a:lnTo>
                    <a:pt x="63" y="47"/>
                  </a:lnTo>
                  <a:lnTo>
                    <a:pt x="49" y="29"/>
                  </a:lnTo>
                  <a:close/>
                  <a:moveTo>
                    <a:pt x="46" y="0"/>
                  </a:moveTo>
                  <a:lnTo>
                    <a:pt x="49" y="1"/>
                  </a:lnTo>
                  <a:lnTo>
                    <a:pt x="52" y="3"/>
                  </a:lnTo>
                  <a:lnTo>
                    <a:pt x="69" y="20"/>
                  </a:lnTo>
                  <a:lnTo>
                    <a:pt x="82" y="38"/>
                  </a:lnTo>
                  <a:lnTo>
                    <a:pt x="94" y="59"/>
                  </a:lnTo>
                  <a:lnTo>
                    <a:pt x="100" y="82"/>
                  </a:lnTo>
                  <a:lnTo>
                    <a:pt x="104" y="105"/>
                  </a:lnTo>
                  <a:lnTo>
                    <a:pt x="104" y="129"/>
                  </a:lnTo>
                  <a:lnTo>
                    <a:pt x="103" y="132"/>
                  </a:lnTo>
                  <a:lnTo>
                    <a:pt x="101" y="135"/>
                  </a:lnTo>
                  <a:lnTo>
                    <a:pt x="99" y="136"/>
                  </a:lnTo>
                  <a:lnTo>
                    <a:pt x="96" y="138"/>
                  </a:lnTo>
                  <a:lnTo>
                    <a:pt x="92" y="138"/>
                  </a:lnTo>
                  <a:lnTo>
                    <a:pt x="89" y="137"/>
                  </a:lnTo>
                  <a:lnTo>
                    <a:pt x="7" y="103"/>
                  </a:lnTo>
                  <a:lnTo>
                    <a:pt x="3" y="102"/>
                  </a:lnTo>
                  <a:lnTo>
                    <a:pt x="1" y="99"/>
                  </a:lnTo>
                  <a:lnTo>
                    <a:pt x="0" y="96"/>
                  </a:lnTo>
                  <a:lnTo>
                    <a:pt x="0" y="92"/>
                  </a:lnTo>
                  <a:lnTo>
                    <a:pt x="1" y="89"/>
                  </a:lnTo>
                  <a:lnTo>
                    <a:pt x="36" y="6"/>
                  </a:lnTo>
                  <a:lnTo>
                    <a:pt x="37" y="4"/>
                  </a:lnTo>
                  <a:lnTo>
                    <a:pt x="38" y="2"/>
                  </a:lnTo>
                  <a:lnTo>
                    <a:pt x="40" y="1"/>
                  </a:lnTo>
                  <a:lnTo>
                    <a:pt x="43" y="0"/>
                  </a:lnTo>
                  <a:lnTo>
                    <a:pt x="4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4" name="Freeform 81">
              <a:extLst>
                <a:ext uri="{FF2B5EF4-FFF2-40B4-BE49-F238E27FC236}">
                  <a16:creationId xmlns:a16="http://schemas.microsoft.com/office/drawing/2014/main" id="{7A57E472-9DFA-BE4F-9ED6-298753D2CD19}"/>
                </a:ext>
              </a:extLst>
            </p:cNvPr>
            <p:cNvSpPr>
              <a:spLocks/>
            </p:cNvSpPr>
            <p:nvPr/>
          </p:nvSpPr>
          <p:spPr bwMode="auto">
            <a:xfrm>
              <a:off x="4321176" y="5214938"/>
              <a:ext cx="587375" cy="763588"/>
            </a:xfrm>
            <a:custGeom>
              <a:avLst/>
              <a:gdLst>
                <a:gd name="T0" fmla="*/ 285 w 370"/>
                <a:gd name="T1" fmla="*/ 2 h 481"/>
                <a:gd name="T2" fmla="*/ 338 w 370"/>
                <a:gd name="T3" fmla="*/ 18 h 481"/>
                <a:gd name="T4" fmla="*/ 368 w 370"/>
                <a:gd name="T5" fmla="*/ 39 h 481"/>
                <a:gd name="T6" fmla="*/ 367 w 370"/>
                <a:gd name="T7" fmla="*/ 54 h 481"/>
                <a:gd name="T8" fmla="*/ 353 w 370"/>
                <a:gd name="T9" fmla="*/ 62 h 481"/>
                <a:gd name="T10" fmla="*/ 325 w 370"/>
                <a:gd name="T11" fmla="*/ 47 h 481"/>
                <a:gd name="T12" fmla="*/ 280 w 370"/>
                <a:gd name="T13" fmla="*/ 34 h 481"/>
                <a:gd name="T14" fmla="*/ 226 w 370"/>
                <a:gd name="T15" fmla="*/ 35 h 481"/>
                <a:gd name="T16" fmla="*/ 171 w 370"/>
                <a:gd name="T17" fmla="*/ 58 h 481"/>
                <a:gd name="T18" fmla="*/ 126 w 370"/>
                <a:gd name="T19" fmla="*/ 101 h 481"/>
                <a:gd name="T20" fmla="*/ 95 w 370"/>
                <a:gd name="T21" fmla="*/ 159 h 481"/>
                <a:gd name="T22" fmla="*/ 291 w 370"/>
                <a:gd name="T23" fmla="*/ 192 h 481"/>
                <a:gd name="T24" fmla="*/ 298 w 370"/>
                <a:gd name="T25" fmla="*/ 194 h 481"/>
                <a:gd name="T26" fmla="*/ 303 w 370"/>
                <a:gd name="T27" fmla="*/ 200 h 481"/>
                <a:gd name="T28" fmla="*/ 305 w 370"/>
                <a:gd name="T29" fmla="*/ 207 h 481"/>
                <a:gd name="T30" fmla="*/ 303 w 370"/>
                <a:gd name="T31" fmla="*/ 215 h 481"/>
                <a:gd name="T32" fmla="*/ 298 w 370"/>
                <a:gd name="T33" fmla="*/ 221 h 481"/>
                <a:gd name="T34" fmla="*/ 291 w 370"/>
                <a:gd name="T35" fmla="*/ 224 h 481"/>
                <a:gd name="T36" fmla="*/ 80 w 370"/>
                <a:gd name="T37" fmla="*/ 256 h 481"/>
                <a:gd name="T38" fmla="*/ 295 w 370"/>
                <a:gd name="T39" fmla="*/ 256 h 481"/>
                <a:gd name="T40" fmla="*/ 301 w 370"/>
                <a:gd name="T41" fmla="*/ 260 h 481"/>
                <a:gd name="T42" fmla="*/ 305 w 370"/>
                <a:gd name="T43" fmla="*/ 268 h 481"/>
                <a:gd name="T44" fmla="*/ 305 w 370"/>
                <a:gd name="T45" fmla="*/ 276 h 481"/>
                <a:gd name="T46" fmla="*/ 301 w 370"/>
                <a:gd name="T47" fmla="*/ 284 h 481"/>
                <a:gd name="T48" fmla="*/ 295 w 370"/>
                <a:gd name="T49" fmla="*/ 288 h 481"/>
                <a:gd name="T50" fmla="*/ 85 w 370"/>
                <a:gd name="T51" fmla="*/ 289 h 481"/>
                <a:gd name="T52" fmla="*/ 108 w 370"/>
                <a:gd name="T53" fmla="*/ 352 h 481"/>
                <a:gd name="T54" fmla="*/ 147 w 370"/>
                <a:gd name="T55" fmla="*/ 402 h 481"/>
                <a:gd name="T56" fmla="*/ 198 w 370"/>
                <a:gd name="T57" fmla="*/ 436 h 481"/>
                <a:gd name="T58" fmla="*/ 257 w 370"/>
                <a:gd name="T59" fmla="*/ 448 h 481"/>
                <a:gd name="T60" fmla="*/ 303 w 370"/>
                <a:gd name="T61" fmla="*/ 442 h 481"/>
                <a:gd name="T62" fmla="*/ 345 w 370"/>
                <a:gd name="T63" fmla="*/ 421 h 481"/>
                <a:gd name="T64" fmla="*/ 361 w 370"/>
                <a:gd name="T65" fmla="*/ 420 h 481"/>
                <a:gd name="T66" fmla="*/ 370 w 370"/>
                <a:gd name="T67" fmla="*/ 433 h 481"/>
                <a:gd name="T68" fmla="*/ 363 w 370"/>
                <a:gd name="T69" fmla="*/ 448 h 481"/>
                <a:gd name="T70" fmla="*/ 312 w 370"/>
                <a:gd name="T71" fmla="*/ 473 h 481"/>
                <a:gd name="T72" fmla="*/ 257 w 370"/>
                <a:gd name="T73" fmla="*/ 481 h 481"/>
                <a:gd name="T74" fmla="*/ 192 w 370"/>
                <a:gd name="T75" fmla="*/ 470 h 481"/>
                <a:gd name="T76" fmla="*/ 136 w 370"/>
                <a:gd name="T77" fmla="*/ 437 h 481"/>
                <a:gd name="T78" fmla="*/ 91 w 370"/>
                <a:gd name="T79" fmla="*/ 388 h 481"/>
                <a:gd name="T80" fmla="*/ 60 w 370"/>
                <a:gd name="T81" fmla="*/ 324 h 481"/>
                <a:gd name="T82" fmla="*/ 16 w 370"/>
                <a:gd name="T83" fmla="*/ 289 h 481"/>
                <a:gd name="T84" fmla="*/ 7 w 370"/>
                <a:gd name="T85" fmla="*/ 287 h 481"/>
                <a:gd name="T86" fmla="*/ 2 w 370"/>
                <a:gd name="T87" fmla="*/ 281 h 481"/>
                <a:gd name="T88" fmla="*/ 0 w 370"/>
                <a:gd name="T89" fmla="*/ 272 h 481"/>
                <a:gd name="T90" fmla="*/ 2 w 370"/>
                <a:gd name="T91" fmla="*/ 264 h 481"/>
                <a:gd name="T92" fmla="*/ 7 w 370"/>
                <a:gd name="T93" fmla="*/ 258 h 481"/>
                <a:gd name="T94" fmla="*/ 16 w 370"/>
                <a:gd name="T95" fmla="*/ 256 h 481"/>
                <a:gd name="T96" fmla="*/ 49 w 370"/>
                <a:gd name="T97" fmla="*/ 224 h 481"/>
                <a:gd name="T98" fmla="*/ 12 w 370"/>
                <a:gd name="T99" fmla="*/ 224 h 481"/>
                <a:gd name="T100" fmla="*/ 4 w 370"/>
                <a:gd name="T101" fmla="*/ 219 h 481"/>
                <a:gd name="T102" fmla="*/ 1 w 370"/>
                <a:gd name="T103" fmla="*/ 212 h 481"/>
                <a:gd name="T104" fmla="*/ 1 w 370"/>
                <a:gd name="T105" fmla="*/ 203 h 481"/>
                <a:gd name="T106" fmla="*/ 4 w 370"/>
                <a:gd name="T107" fmla="*/ 197 h 481"/>
                <a:gd name="T108" fmla="*/ 12 w 370"/>
                <a:gd name="T109" fmla="*/ 192 h 481"/>
                <a:gd name="T110" fmla="*/ 52 w 370"/>
                <a:gd name="T111" fmla="*/ 192 h 481"/>
                <a:gd name="T112" fmla="*/ 74 w 370"/>
                <a:gd name="T113" fmla="*/ 124 h 481"/>
                <a:gd name="T114" fmla="*/ 112 w 370"/>
                <a:gd name="T115" fmla="*/ 67 h 481"/>
                <a:gd name="T116" fmla="*/ 163 w 370"/>
                <a:gd name="T117" fmla="*/ 25 h 481"/>
                <a:gd name="T118" fmla="*/ 224 w 370"/>
                <a:gd name="T119" fmla="*/ 3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481">
                  <a:moveTo>
                    <a:pt x="257" y="0"/>
                  </a:moveTo>
                  <a:lnTo>
                    <a:pt x="285" y="2"/>
                  </a:lnTo>
                  <a:lnTo>
                    <a:pt x="312" y="8"/>
                  </a:lnTo>
                  <a:lnTo>
                    <a:pt x="338" y="18"/>
                  </a:lnTo>
                  <a:lnTo>
                    <a:pt x="363" y="31"/>
                  </a:lnTo>
                  <a:lnTo>
                    <a:pt x="368" y="39"/>
                  </a:lnTo>
                  <a:lnTo>
                    <a:pt x="370" y="46"/>
                  </a:lnTo>
                  <a:lnTo>
                    <a:pt x="367" y="54"/>
                  </a:lnTo>
                  <a:lnTo>
                    <a:pt x="361" y="59"/>
                  </a:lnTo>
                  <a:lnTo>
                    <a:pt x="353" y="62"/>
                  </a:lnTo>
                  <a:lnTo>
                    <a:pt x="345" y="58"/>
                  </a:lnTo>
                  <a:lnTo>
                    <a:pt x="325" y="47"/>
                  </a:lnTo>
                  <a:lnTo>
                    <a:pt x="303" y="39"/>
                  </a:lnTo>
                  <a:lnTo>
                    <a:pt x="280" y="34"/>
                  </a:lnTo>
                  <a:lnTo>
                    <a:pt x="257" y="31"/>
                  </a:lnTo>
                  <a:lnTo>
                    <a:pt x="226" y="35"/>
                  </a:lnTo>
                  <a:lnTo>
                    <a:pt x="198" y="44"/>
                  </a:lnTo>
                  <a:lnTo>
                    <a:pt x="171" y="58"/>
                  </a:lnTo>
                  <a:lnTo>
                    <a:pt x="147" y="77"/>
                  </a:lnTo>
                  <a:lnTo>
                    <a:pt x="126" y="101"/>
                  </a:lnTo>
                  <a:lnTo>
                    <a:pt x="108" y="129"/>
                  </a:lnTo>
                  <a:lnTo>
                    <a:pt x="95" y="159"/>
                  </a:lnTo>
                  <a:lnTo>
                    <a:pt x="85" y="192"/>
                  </a:lnTo>
                  <a:lnTo>
                    <a:pt x="291" y="192"/>
                  </a:lnTo>
                  <a:lnTo>
                    <a:pt x="295" y="192"/>
                  </a:lnTo>
                  <a:lnTo>
                    <a:pt x="298" y="194"/>
                  </a:lnTo>
                  <a:lnTo>
                    <a:pt x="301" y="197"/>
                  </a:lnTo>
                  <a:lnTo>
                    <a:pt x="303" y="200"/>
                  </a:lnTo>
                  <a:lnTo>
                    <a:pt x="305" y="203"/>
                  </a:lnTo>
                  <a:lnTo>
                    <a:pt x="305" y="207"/>
                  </a:lnTo>
                  <a:lnTo>
                    <a:pt x="305" y="212"/>
                  </a:lnTo>
                  <a:lnTo>
                    <a:pt x="303" y="215"/>
                  </a:lnTo>
                  <a:lnTo>
                    <a:pt x="301" y="219"/>
                  </a:lnTo>
                  <a:lnTo>
                    <a:pt x="298" y="221"/>
                  </a:lnTo>
                  <a:lnTo>
                    <a:pt x="295" y="224"/>
                  </a:lnTo>
                  <a:lnTo>
                    <a:pt x="291" y="224"/>
                  </a:lnTo>
                  <a:lnTo>
                    <a:pt x="80" y="224"/>
                  </a:lnTo>
                  <a:lnTo>
                    <a:pt x="80" y="256"/>
                  </a:lnTo>
                  <a:lnTo>
                    <a:pt x="291" y="256"/>
                  </a:lnTo>
                  <a:lnTo>
                    <a:pt x="295" y="256"/>
                  </a:lnTo>
                  <a:lnTo>
                    <a:pt x="298" y="258"/>
                  </a:lnTo>
                  <a:lnTo>
                    <a:pt x="301" y="260"/>
                  </a:lnTo>
                  <a:lnTo>
                    <a:pt x="303" y="264"/>
                  </a:lnTo>
                  <a:lnTo>
                    <a:pt x="305" y="268"/>
                  </a:lnTo>
                  <a:lnTo>
                    <a:pt x="305" y="272"/>
                  </a:lnTo>
                  <a:lnTo>
                    <a:pt x="305" y="276"/>
                  </a:lnTo>
                  <a:lnTo>
                    <a:pt x="303" y="281"/>
                  </a:lnTo>
                  <a:lnTo>
                    <a:pt x="301" y="284"/>
                  </a:lnTo>
                  <a:lnTo>
                    <a:pt x="298" y="287"/>
                  </a:lnTo>
                  <a:lnTo>
                    <a:pt x="295" y="288"/>
                  </a:lnTo>
                  <a:lnTo>
                    <a:pt x="291" y="289"/>
                  </a:lnTo>
                  <a:lnTo>
                    <a:pt x="85" y="289"/>
                  </a:lnTo>
                  <a:lnTo>
                    <a:pt x="95" y="322"/>
                  </a:lnTo>
                  <a:lnTo>
                    <a:pt x="108" y="352"/>
                  </a:lnTo>
                  <a:lnTo>
                    <a:pt x="126" y="379"/>
                  </a:lnTo>
                  <a:lnTo>
                    <a:pt x="147" y="402"/>
                  </a:lnTo>
                  <a:lnTo>
                    <a:pt x="171" y="422"/>
                  </a:lnTo>
                  <a:lnTo>
                    <a:pt x="198" y="436"/>
                  </a:lnTo>
                  <a:lnTo>
                    <a:pt x="226" y="445"/>
                  </a:lnTo>
                  <a:lnTo>
                    <a:pt x="257" y="448"/>
                  </a:lnTo>
                  <a:lnTo>
                    <a:pt x="280" y="446"/>
                  </a:lnTo>
                  <a:lnTo>
                    <a:pt x="303" y="442"/>
                  </a:lnTo>
                  <a:lnTo>
                    <a:pt x="325" y="432"/>
                  </a:lnTo>
                  <a:lnTo>
                    <a:pt x="345" y="421"/>
                  </a:lnTo>
                  <a:lnTo>
                    <a:pt x="353" y="419"/>
                  </a:lnTo>
                  <a:lnTo>
                    <a:pt x="361" y="420"/>
                  </a:lnTo>
                  <a:lnTo>
                    <a:pt x="367" y="425"/>
                  </a:lnTo>
                  <a:lnTo>
                    <a:pt x="370" y="433"/>
                  </a:lnTo>
                  <a:lnTo>
                    <a:pt x="368" y="442"/>
                  </a:lnTo>
                  <a:lnTo>
                    <a:pt x="363" y="448"/>
                  </a:lnTo>
                  <a:lnTo>
                    <a:pt x="338" y="462"/>
                  </a:lnTo>
                  <a:lnTo>
                    <a:pt x="312" y="473"/>
                  </a:lnTo>
                  <a:lnTo>
                    <a:pt x="285" y="479"/>
                  </a:lnTo>
                  <a:lnTo>
                    <a:pt x="257" y="481"/>
                  </a:lnTo>
                  <a:lnTo>
                    <a:pt x="224" y="478"/>
                  </a:lnTo>
                  <a:lnTo>
                    <a:pt x="192" y="470"/>
                  </a:lnTo>
                  <a:lnTo>
                    <a:pt x="163" y="455"/>
                  </a:lnTo>
                  <a:lnTo>
                    <a:pt x="136" y="437"/>
                  </a:lnTo>
                  <a:lnTo>
                    <a:pt x="112" y="414"/>
                  </a:lnTo>
                  <a:lnTo>
                    <a:pt x="91" y="388"/>
                  </a:lnTo>
                  <a:lnTo>
                    <a:pt x="74" y="357"/>
                  </a:lnTo>
                  <a:lnTo>
                    <a:pt x="60" y="324"/>
                  </a:lnTo>
                  <a:lnTo>
                    <a:pt x="52" y="289"/>
                  </a:lnTo>
                  <a:lnTo>
                    <a:pt x="16" y="289"/>
                  </a:lnTo>
                  <a:lnTo>
                    <a:pt x="12" y="288"/>
                  </a:lnTo>
                  <a:lnTo>
                    <a:pt x="7" y="287"/>
                  </a:lnTo>
                  <a:lnTo>
                    <a:pt x="4" y="284"/>
                  </a:lnTo>
                  <a:lnTo>
                    <a:pt x="2" y="281"/>
                  </a:lnTo>
                  <a:lnTo>
                    <a:pt x="1" y="276"/>
                  </a:lnTo>
                  <a:lnTo>
                    <a:pt x="0" y="272"/>
                  </a:lnTo>
                  <a:lnTo>
                    <a:pt x="1" y="268"/>
                  </a:lnTo>
                  <a:lnTo>
                    <a:pt x="2" y="264"/>
                  </a:lnTo>
                  <a:lnTo>
                    <a:pt x="4" y="260"/>
                  </a:lnTo>
                  <a:lnTo>
                    <a:pt x="7" y="258"/>
                  </a:lnTo>
                  <a:lnTo>
                    <a:pt x="12" y="256"/>
                  </a:lnTo>
                  <a:lnTo>
                    <a:pt x="16" y="256"/>
                  </a:lnTo>
                  <a:lnTo>
                    <a:pt x="49" y="256"/>
                  </a:lnTo>
                  <a:lnTo>
                    <a:pt x="49" y="224"/>
                  </a:lnTo>
                  <a:lnTo>
                    <a:pt x="16" y="224"/>
                  </a:lnTo>
                  <a:lnTo>
                    <a:pt x="12" y="224"/>
                  </a:lnTo>
                  <a:lnTo>
                    <a:pt x="7" y="221"/>
                  </a:lnTo>
                  <a:lnTo>
                    <a:pt x="4" y="219"/>
                  </a:lnTo>
                  <a:lnTo>
                    <a:pt x="2" y="215"/>
                  </a:lnTo>
                  <a:lnTo>
                    <a:pt x="1" y="212"/>
                  </a:lnTo>
                  <a:lnTo>
                    <a:pt x="0" y="207"/>
                  </a:lnTo>
                  <a:lnTo>
                    <a:pt x="1" y="203"/>
                  </a:lnTo>
                  <a:lnTo>
                    <a:pt x="2" y="200"/>
                  </a:lnTo>
                  <a:lnTo>
                    <a:pt x="4" y="197"/>
                  </a:lnTo>
                  <a:lnTo>
                    <a:pt x="7" y="194"/>
                  </a:lnTo>
                  <a:lnTo>
                    <a:pt x="12" y="192"/>
                  </a:lnTo>
                  <a:lnTo>
                    <a:pt x="16" y="192"/>
                  </a:lnTo>
                  <a:lnTo>
                    <a:pt x="52" y="192"/>
                  </a:lnTo>
                  <a:lnTo>
                    <a:pt x="60" y="157"/>
                  </a:lnTo>
                  <a:lnTo>
                    <a:pt x="74" y="124"/>
                  </a:lnTo>
                  <a:lnTo>
                    <a:pt x="91" y="94"/>
                  </a:lnTo>
                  <a:lnTo>
                    <a:pt x="112" y="67"/>
                  </a:lnTo>
                  <a:lnTo>
                    <a:pt x="136" y="44"/>
                  </a:lnTo>
                  <a:lnTo>
                    <a:pt x="163" y="25"/>
                  </a:lnTo>
                  <a:lnTo>
                    <a:pt x="192" y="12"/>
                  </a:lnTo>
                  <a:lnTo>
                    <a:pt x="224" y="3"/>
                  </a:lnTo>
                  <a:lnTo>
                    <a:pt x="25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82">
              <a:extLst>
                <a:ext uri="{FF2B5EF4-FFF2-40B4-BE49-F238E27FC236}">
                  <a16:creationId xmlns:a16="http://schemas.microsoft.com/office/drawing/2014/main" id="{732D7CD3-22B4-234A-B8E1-313A4DEA8FB2}"/>
                </a:ext>
              </a:extLst>
            </p:cNvPr>
            <p:cNvSpPr>
              <a:spLocks/>
            </p:cNvSpPr>
            <p:nvPr/>
          </p:nvSpPr>
          <p:spPr bwMode="auto">
            <a:xfrm>
              <a:off x="2166938" y="3954463"/>
              <a:ext cx="533400" cy="693738"/>
            </a:xfrm>
            <a:custGeom>
              <a:avLst/>
              <a:gdLst>
                <a:gd name="T0" fmla="*/ 258 w 336"/>
                <a:gd name="T1" fmla="*/ 2 h 437"/>
                <a:gd name="T2" fmla="*/ 307 w 336"/>
                <a:gd name="T3" fmla="*/ 17 h 437"/>
                <a:gd name="T4" fmla="*/ 334 w 336"/>
                <a:gd name="T5" fmla="*/ 35 h 437"/>
                <a:gd name="T6" fmla="*/ 334 w 336"/>
                <a:gd name="T7" fmla="*/ 50 h 437"/>
                <a:gd name="T8" fmla="*/ 320 w 336"/>
                <a:gd name="T9" fmla="*/ 56 h 437"/>
                <a:gd name="T10" fmla="*/ 288 w 336"/>
                <a:gd name="T11" fmla="*/ 41 h 437"/>
                <a:gd name="T12" fmla="*/ 233 w 336"/>
                <a:gd name="T13" fmla="*/ 29 h 437"/>
                <a:gd name="T14" fmla="*/ 179 w 336"/>
                <a:gd name="T15" fmla="*/ 41 h 437"/>
                <a:gd name="T16" fmla="*/ 134 w 336"/>
                <a:gd name="T17" fmla="*/ 71 h 437"/>
                <a:gd name="T18" fmla="*/ 98 w 336"/>
                <a:gd name="T19" fmla="*/ 117 h 437"/>
                <a:gd name="T20" fmla="*/ 77 w 336"/>
                <a:gd name="T21" fmla="*/ 176 h 437"/>
                <a:gd name="T22" fmla="*/ 269 w 336"/>
                <a:gd name="T23" fmla="*/ 176 h 437"/>
                <a:gd name="T24" fmla="*/ 275 w 336"/>
                <a:gd name="T25" fmla="*/ 181 h 437"/>
                <a:gd name="T26" fmla="*/ 277 w 336"/>
                <a:gd name="T27" fmla="*/ 189 h 437"/>
                <a:gd name="T28" fmla="*/ 276 w 336"/>
                <a:gd name="T29" fmla="*/ 196 h 437"/>
                <a:gd name="T30" fmla="*/ 271 w 336"/>
                <a:gd name="T31" fmla="*/ 202 h 437"/>
                <a:gd name="T32" fmla="*/ 263 w 336"/>
                <a:gd name="T33" fmla="*/ 204 h 437"/>
                <a:gd name="T34" fmla="*/ 72 w 336"/>
                <a:gd name="T35" fmla="*/ 233 h 437"/>
                <a:gd name="T36" fmla="*/ 268 w 336"/>
                <a:gd name="T37" fmla="*/ 234 h 437"/>
                <a:gd name="T38" fmla="*/ 274 w 336"/>
                <a:gd name="T39" fmla="*/ 237 h 437"/>
                <a:gd name="T40" fmla="*/ 277 w 336"/>
                <a:gd name="T41" fmla="*/ 244 h 437"/>
                <a:gd name="T42" fmla="*/ 277 w 336"/>
                <a:gd name="T43" fmla="*/ 251 h 437"/>
                <a:gd name="T44" fmla="*/ 274 w 336"/>
                <a:gd name="T45" fmla="*/ 259 h 437"/>
                <a:gd name="T46" fmla="*/ 268 w 336"/>
                <a:gd name="T47" fmla="*/ 262 h 437"/>
                <a:gd name="T48" fmla="*/ 77 w 336"/>
                <a:gd name="T49" fmla="*/ 263 h 437"/>
                <a:gd name="T50" fmla="*/ 98 w 336"/>
                <a:gd name="T51" fmla="*/ 321 h 437"/>
                <a:gd name="T52" fmla="*/ 134 w 336"/>
                <a:gd name="T53" fmla="*/ 367 h 437"/>
                <a:gd name="T54" fmla="*/ 179 w 336"/>
                <a:gd name="T55" fmla="*/ 397 h 437"/>
                <a:gd name="T56" fmla="*/ 233 w 336"/>
                <a:gd name="T57" fmla="*/ 407 h 437"/>
                <a:gd name="T58" fmla="*/ 288 w 336"/>
                <a:gd name="T59" fmla="*/ 397 h 437"/>
                <a:gd name="T60" fmla="*/ 320 w 336"/>
                <a:gd name="T61" fmla="*/ 381 h 437"/>
                <a:gd name="T62" fmla="*/ 334 w 336"/>
                <a:gd name="T63" fmla="*/ 387 h 437"/>
                <a:gd name="T64" fmla="*/ 334 w 336"/>
                <a:gd name="T65" fmla="*/ 402 h 437"/>
                <a:gd name="T66" fmla="*/ 300 w 336"/>
                <a:gd name="T67" fmla="*/ 424 h 437"/>
                <a:gd name="T68" fmla="*/ 233 w 336"/>
                <a:gd name="T69" fmla="*/ 437 h 437"/>
                <a:gd name="T70" fmla="*/ 174 w 336"/>
                <a:gd name="T71" fmla="*/ 427 h 437"/>
                <a:gd name="T72" fmla="*/ 123 w 336"/>
                <a:gd name="T73" fmla="*/ 398 h 437"/>
                <a:gd name="T74" fmla="*/ 83 w 336"/>
                <a:gd name="T75" fmla="*/ 352 h 437"/>
                <a:gd name="T76" fmla="*/ 55 w 336"/>
                <a:gd name="T77" fmla="*/ 295 h 437"/>
                <a:gd name="T78" fmla="*/ 13 w 336"/>
                <a:gd name="T79" fmla="*/ 263 h 437"/>
                <a:gd name="T80" fmla="*/ 6 w 336"/>
                <a:gd name="T81" fmla="*/ 261 h 437"/>
                <a:gd name="T82" fmla="*/ 2 w 336"/>
                <a:gd name="T83" fmla="*/ 256 h 437"/>
                <a:gd name="T84" fmla="*/ 0 w 336"/>
                <a:gd name="T85" fmla="*/ 248 h 437"/>
                <a:gd name="T86" fmla="*/ 2 w 336"/>
                <a:gd name="T87" fmla="*/ 240 h 437"/>
                <a:gd name="T88" fmla="*/ 6 w 336"/>
                <a:gd name="T89" fmla="*/ 235 h 437"/>
                <a:gd name="T90" fmla="*/ 13 w 336"/>
                <a:gd name="T91" fmla="*/ 233 h 437"/>
                <a:gd name="T92" fmla="*/ 43 w 336"/>
                <a:gd name="T93" fmla="*/ 204 h 437"/>
                <a:gd name="T94" fmla="*/ 10 w 336"/>
                <a:gd name="T95" fmla="*/ 204 h 437"/>
                <a:gd name="T96" fmla="*/ 4 w 336"/>
                <a:gd name="T97" fmla="*/ 199 h 437"/>
                <a:gd name="T98" fmla="*/ 0 w 336"/>
                <a:gd name="T99" fmla="*/ 193 h 437"/>
                <a:gd name="T100" fmla="*/ 1 w 336"/>
                <a:gd name="T101" fmla="*/ 185 h 437"/>
                <a:gd name="T102" fmla="*/ 5 w 336"/>
                <a:gd name="T103" fmla="*/ 178 h 437"/>
                <a:gd name="T104" fmla="*/ 13 w 336"/>
                <a:gd name="T105" fmla="*/ 176 h 437"/>
                <a:gd name="T106" fmla="*/ 55 w 336"/>
                <a:gd name="T107" fmla="*/ 143 h 437"/>
                <a:gd name="T108" fmla="*/ 83 w 336"/>
                <a:gd name="T109" fmla="*/ 85 h 437"/>
                <a:gd name="T110" fmla="*/ 123 w 336"/>
                <a:gd name="T111" fmla="*/ 41 h 437"/>
                <a:gd name="T112" fmla="*/ 174 w 336"/>
                <a:gd name="T113" fmla="*/ 12 h 437"/>
                <a:gd name="T114" fmla="*/ 233 w 336"/>
                <a:gd name="T115"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6" h="437">
                  <a:moveTo>
                    <a:pt x="233" y="0"/>
                  </a:moveTo>
                  <a:lnTo>
                    <a:pt x="258" y="2"/>
                  </a:lnTo>
                  <a:lnTo>
                    <a:pt x="283" y="7"/>
                  </a:lnTo>
                  <a:lnTo>
                    <a:pt x="307" y="17"/>
                  </a:lnTo>
                  <a:lnTo>
                    <a:pt x="330" y="29"/>
                  </a:lnTo>
                  <a:lnTo>
                    <a:pt x="334" y="35"/>
                  </a:lnTo>
                  <a:lnTo>
                    <a:pt x="336" y="43"/>
                  </a:lnTo>
                  <a:lnTo>
                    <a:pt x="334" y="50"/>
                  </a:lnTo>
                  <a:lnTo>
                    <a:pt x="328" y="55"/>
                  </a:lnTo>
                  <a:lnTo>
                    <a:pt x="320" y="56"/>
                  </a:lnTo>
                  <a:lnTo>
                    <a:pt x="313" y="54"/>
                  </a:lnTo>
                  <a:lnTo>
                    <a:pt x="288" y="41"/>
                  </a:lnTo>
                  <a:lnTo>
                    <a:pt x="261" y="32"/>
                  </a:lnTo>
                  <a:lnTo>
                    <a:pt x="233" y="29"/>
                  </a:lnTo>
                  <a:lnTo>
                    <a:pt x="205" y="32"/>
                  </a:lnTo>
                  <a:lnTo>
                    <a:pt x="179" y="41"/>
                  </a:lnTo>
                  <a:lnTo>
                    <a:pt x="155" y="53"/>
                  </a:lnTo>
                  <a:lnTo>
                    <a:pt x="134" y="71"/>
                  </a:lnTo>
                  <a:lnTo>
                    <a:pt x="114" y="93"/>
                  </a:lnTo>
                  <a:lnTo>
                    <a:pt x="98" y="117"/>
                  </a:lnTo>
                  <a:lnTo>
                    <a:pt x="86" y="145"/>
                  </a:lnTo>
                  <a:lnTo>
                    <a:pt x="77" y="176"/>
                  </a:lnTo>
                  <a:lnTo>
                    <a:pt x="263" y="176"/>
                  </a:lnTo>
                  <a:lnTo>
                    <a:pt x="269" y="176"/>
                  </a:lnTo>
                  <a:lnTo>
                    <a:pt x="272" y="178"/>
                  </a:lnTo>
                  <a:lnTo>
                    <a:pt x="275" y="181"/>
                  </a:lnTo>
                  <a:lnTo>
                    <a:pt x="277" y="185"/>
                  </a:lnTo>
                  <a:lnTo>
                    <a:pt x="277" y="189"/>
                  </a:lnTo>
                  <a:lnTo>
                    <a:pt x="277" y="193"/>
                  </a:lnTo>
                  <a:lnTo>
                    <a:pt x="276" y="196"/>
                  </a:lnTo>
                  <a:lnTo>
                    <a:pt x="274" y="199"/>
                  </a:lnTo>
                  <a:lnTo>
                    <a:pt x="271" y="202"/>
                  </a:lnTo>
                  <a:lnTo>
                    <a:pt x="268" y="204"/>
                  </a:lnTo>
                  <a:lnTo>
                    <a:pt x="263" y="204"/>
                  </a:lnTo>
                  <a:lnTo>
                    <a:pt x="72" y="204"/>
                  </a:lnTo>
                  <a:lnTo>
                    <a:pt x="72" y="233"/>
                  </a:lnTo>
                  <a:lnTo>
                    <a:pt x="263" y="233"/>
                  </a:lnTo>
                  <a:lnTo>
                    <a:pt x="268" y="234"/>
                  </a:lnTo>
                  <a:lnTo>
                    <a:pt x="271" y="235"/>
                  </a:lnTo>
                  <a:lnTo>
                    <a:pt x="274" y="237"/>
                  </a:lnTo>
                  <a:lnTo>
                    <a:pt x="276" y="240"/>
                  </a:lnTo>
                  <a:lnTo>
                    <a:pt x="277" y="244"/>
                  </a:lnTo>
                  <a:lnTo>
                    <a:pt x="277" y="248"/>
                  </a:lnTo>
                  <a:lnTo>
                    <a:pt x="277" y="251"/>
                  </a:lnTo>
                  <a:lnTo>
                    <a:pt x="276" y="256"/>
                  </a:lnTo>
                  <a:lnTo>
                    <a:pt x="274" y="259"/>
                  </a:lnTo>
                  <a:lnTo>
                    <a:pt x="271" y="261"/>
                  </a:lnTo>
                  <a:lnTo>
                    <a:pt x="268" y="262"/>
                  </a:lnTo>
                  <a:lnTo>
                    <a:pt x="263" y="263"/>
                  </a:lnTo>
                  <a:lnTo>
                    <a:pt x="77" y="263"/>
                  </a:lnTo>
                  <a:lnTo>
                    <a:pt x="86" y="293"/>
                  </a:lnTo>
                  <a:lnTo>
                    <a:pt x="98" y="321"/>
                  </a:lnTo>
                  <a:lnTo>
                    <a:pt x="114" y="345"/>
                  </a:lnTo>
                  <a:lnTo>
                    <a:pt x="134" y="367"/>
                  </a:lnTo>
                  <a:lnTo>
                    <a:pt x="155" y="383"/>
                  </a:lnTo>
                  <a:lnTo>
                    <a:pt x="179" y="397"/>
                  </a:lnTo>
                  <a:lnTo>
                    <a:pt x="205" y="405"/>
                  </a:lnTo>
                  <a:lnTo>
                    <a:pt x="233" y="407"/>
                  </a:lnTo>
                  <a:lnTo>
                    <a:pt x="261" y="405"/>
                  </a:lnTo>
                  <a:lnTo>
                    <a:pt x="288" y="397"/>
                  </a:lnTo>
                  <a:lnTo>
                    <a:pt x="313" y="383"/>
                  </a:lnTo>
                  <a:lnTo>
                    <a:pt x="320" y="381"/>
                  </a:lnTo>
                  <a:lnTo>
                    <a:pt x="328" y="382"/>
                  </a:lnTo>
                  <a:lnTo>
                    <a:pt x="334" y="387"/>
                  </a:lnTo>
                  <a:lnTo>
                    <a:pt x="336" y="395"/>
                  </a:lnTo>
                  <a:lnTo>
                    <a:pt x="334" y="402"/>
                  </a:lnTo>
                  <a:lnTo>
                    <a:pt x="330" y="407"/>
                  </a:lnTo>
                  <a:lnTo>
                    <a:pt x="300" y="424"/>
                  </a:lnTo>
                  <a:lnTo>
                    <a:pt x="268" y="434"/>
                  </a:lnTo>
                  <a:lnTo>
                    <a:pt x="233" y="437"/>
                  </a:lnTo>
                  <a:lnTo>
                    <a:pt x="203" y="435"/>
                  </a:lnTo>
                  <a:lnTo>
                    <a:pt x="174" y="427"/>
                  </a:lnTo>
                  <a:lnTo>
                    <a:pt x="148" y="414"/>
                  </a:lnTo>
                  <a:lnTo>
                    <a:pt x="123" y="398"/>
                  </a:lnTo>
                  <a:lnTo>
                    <a:pt x="101" y="377"/>
                  </a:lnTo>
                  <a:lnTo>
                    <a:pt x="83" y="352"/>
                  </a:lnTo>
                  <a:lnTo>
                    <a:pt x="66" y="325"/>
                  </a:lnTo>
                  <a:lnTo>
                    <a:pt x="55" y="295"/>
                  </a:lnTo>
                  <a:lnTo>
                    <a:pt x="46" y="263"/>
                  </a:lnTo>
                  <a:lnTo>
                    <a:pt x="13" y="263"/>
                  </a:lnTo>
                  <a:lnTo>
                    <a:pt x="10" y="262"/>
                  </a:lnTo>
                  <a:lnTo>
                    <a:pt x="6" y="261"/>
                  </a:lnTo>
                  <a:lnTo>
                    <a:pt x="4" y="259"/>
                  </a:lnTo>
                  <a:lnTo>
                    <a:pt x="2" y="256"/>
                  </a:lnTo>
                  <a:lnTo>
                    <a:pt x="0" y="251"/>
                  </a:lnTo>
                  <a:lnTo>
                    <a:pt x="0" y="248"/>
                  </a:lnTo>
                  <a:lnTo>
                    <a:pt x="0" y="244"/>
                  </a:lnTo>
                  <a:lnTo>
                    <a:pt x="2" y="240"/>
                  </a:lnTo>
                  <a:lnTo>
                    <a:pt x="4" y="237"/>
                  </a:lnTo>
                  <a:lnTo>
                    <a:pt x="6" y="235"/>
                  </a:lnTo>
                  <a:lnTo>
                    <a:pt x="10" y="234"/>
                  </a:lnTo>
                  <a:lnTo>
                    <a:pt x="13" y="233"/>
                  </a:lnTo>
                  <a:lnTo>
                    <a:pt x="43" y="233"/>
                  </a:lnTo>
                  <a:lnTo>
                    <a:pt x="43" y="204"/>
                  </a:lnTo>
                  <a:lnTo>
                    <a:pt x="13" y="204"/>
                  </a:lnTo>
                  <a:lnTo>
                    <a:pt x="10" y="204"/>
                  </a:lnTo>
                  <a:lnTo>
                    <a:pt x="6" y="202"/>
                  </a:lnTo>
                  <a:lnTo>
                    <a:pt x="4" y="199"/>
                  </a:lnTo>
                  <a:lnTo>
                    <a:pt x="2" y="196"/>
                  </a:lnTo>
                  <a:lnTo>
                    <a:pt x="0" y="193"/>
                  </a:lnTo>
                  <a:lnTo>
                    <a:pt x="0" y="189"/>
                  </a:lnTo>
                  <a:lnTo>
                    <a:pt x="1" y="185"/>
                  </a:lnTo>
                  <a:lnTo>
                    <a:pt x="2" y="181"/>
                  </a:lnTo>
                  <a:lnTo>
                    <a:pt x="5" y="178"/>
                  </a:lnTo>
                  <a:lnTo>
                    <a:pt x="9" y="176"/>
                  </a:lnTo>
                  <a:lnTo>
                    <a:pt x="13" y="176"/>
                  </a:lnTo>
                  <a:lnTo>
                    <a:pt x="46" y="176"/>
                  </a:lnTo>
                  <a:lnTo>
                    <a:pt x="55" y="143"/>
                  </a:lnTo>
                  <a:lnTo>
                    <a:pt x="66" y="113"/>
                  </a:lnTo>
                  <a:lnTo>
                    <a:pt x="83" y="85"/>
                  </a:lnTo>
                  <a:lnTo>
                    <a:pt x="101" y="61"/>
                  </a:lnTo>
                  <a:lnTo>
                    <a:pt x="123" y="41"/>
                  </a:lnTo>
                  <a:lnTo>
                    <a:pt x="148" y="24"/>
                  </a:lnTo>
                  <a:lnTo>
                    <a:pt x="174" y="12"/>
                  </a:lnTo>
                  <a:lnTo>
                    <a:pt x="203" y="3"/>
                  </a:lnTo>
                  <a:lnTo>
                    <a:pt x="23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6" name="Freeform 83">
              <a:extLst>
                <a:ext uri="{FF2B5EF4-FFF2-40B4-BE49-F238E27FC236}">
                  <a16:creationId xmlns:a16="http://schemas.microsoft.com/office/drawing/2014/main" id="{5E42E929-AD7E-504B-9EF8-0D45D04795C2}"/>
                </a:ext>
              </a:extLst>
            </p:cNvPr>
            <p:cNvSpPr>
              <a:spLocks noEditPoints="1"/>
            </p:cNvSpPr>
            <p:nvPr/>
          </p:nvSpPr>
          <p:spPr bwMode="auto">
            <a:xfrm>
              <a:off x="6624638" y="2192338"/>
              <a:ext cx="682625" cy="593725"/>
            </a:xfrm>
            <a:custGeom>
              <a:avLst/>
              <a:gdLst>
                <a:gd name="T0" fmla="*/ 370 w 430"/>
                <a:gd name="T1" fmla="*/ 309 h 374"/>
                <a:gd name="T2" fmla="*/ 370 w 430"/>
                <a:gd name="T3" fmla="*/ 368 h 374"/>
                <a:gd name="T4" fmla="*/ 351 w 430"/>
                <a:gd name="T5" fmla="*/ 372 h 374"/>
                <a:gd name="T6" fmla="*/ 344 w 430"/>
                <a:gd name="T7" fmla="*/ 316 h 374"/>
                <a:gd name="T8" fmla="*/ 358 w 430"/>
                <a:gd name="T9" fmla="*/ 302 h 374"/>
                <a:gd name="T10" fmla="*/ 314 w 430"/>
                <a:gd name="T11" fmla="*/ 311 h 374"/>
                <a:gd name="T12" fmla="*/ 311 w 430"/>
                <a:gd name="T13" fmla="*/ 369 h 374"/>
                <a:gd name="T14" fmla="*/ 292 w 430"/>
                <a:gd name="T15" fmla="*/ 371 h 374"/>
                <a:gd name="T16" fmla="*/ 287 w 430"/>
                <a:gd name="T17" fmla="*/ 312 h 374"/>
                <a:gd name="T18" fmla="*/ 301 w 430"/>
                <a:gd name="T19" fmla="*/ 302 h 374"/>
                <a:gd name="T20" fmla="*/ 256 w 430"/>
                <a:gd name="T21" fmla="*/ 309 h 374"/>
                <a:gd name="T22" fmla="*/ 255 w 430"/>
                <a:gd name="T23" fmla="*/ 368 h 374"/>
                <a:gd name="T24" fmla="*/ 234 w 430"/>
                <a:gd name="T25" fmla="*/ 371 h 374"/>
                <a:gd name="T26" fmla="*/ 229 w 430"/>
                <a:gd name="T27" fmla="*/ 312 h 374"/>
                <a:gd name="T28" fmla="*/ 244 w 430"/>
                <a:gd name="T29" fmla="*/ 302 h 374"/>
                <a:gd name="T30" fmla="*/ 198 w 430"/>
                <a:gd name="T31" fmla="*/ 309 h 374"/>
                <a:gd name="T32" fmla="*/ 198 w 430"/>
                <a:gd name="T33" fmla="*/ 368 h 374"/>
                <a:gd name="T34" fmla="*/ 178 w 430"/>
                <a:gd name="T35" fmla="*/ 372 h 374"/>
                <a:gd name="T36" fmla="*/ 172 w 430"/>
                <a:gd name="T37" fmla="*/ 316 h 374"/>
                <a:gd name="T38" fmla="*/ 186 w 430"/>
                <a:gd name="T39" fmla="*/ 302 h 374"/>
                <a:gd name="T40" fmla="*/ 142 w 430"/>
                <a:gd name="T41" fmla="*/ 311 h 374"/>
                <a:gd name="T42" fmla="*/ 139 w 430"/>
                <a:gd name="T43" fmla="*/ 369 h 374"/>
                <a:gd name="T44" fmla="*/ 120 w 430"/>
                <a:gd name="T45" fmla="*/ 371 h 374"/>
                <a:gd name="T46" fmla="*/ 115 w 430"/>
                <a:gd name="T47" fmla="*/ 312 h 374"/>
                <a:gd name="T48" fmla="*/ 130 w 430"/>
                <a:gd name="T49" fmla="*/ 302 h 374"/>
                <a:gd name="T50" fmla="*/ 84 w 430"/>
                <a:gd name="T51" fmla="*/ 309 h 374"/>
                <a:gd name="T52" fmla="*/ 83 w 430"/>
                <a:gd name="T53" fmla="*/ 368 h 374"/>
                <a:gd name="T54" fmla="*/ 62 w 430"/>
                <a:gd name="T55" fmla="*/ 371 h 374"/>
                <a:gd name="T56" fmla="*/ 57 w 430"/>
                <a:gd name="T57" fmla="*/ 312 h 374"/>
                <a:gd name="T58" fmla="*/ 71 w 430"/>
                <a:gd name="T59" fmla="*/ 302 h 374"/>
                <a:gd name="T60" fmla="*/ 161 w 430"/>
                <a:gd name="T61" fmla="*/ 124 h 374"/>
                <a:gd name="T62" fmla="*/ 66 w 430"/>
                <a:gd name="T63" fmla="*/ 217 h 374"/>
                <a:gd name="T64" fmla="*/ 335 w 430"/>
                <a:gd name="T65" fmla="*/ 171 h 374"/>
                <a:gd name="T66" fmla="*/ 231 w 430"/>
                <a:gd name="T67" fmla="*/ 116 h 374"/>
                <a:gd name="T68" fmla="*/ 200 w 430"/>
                <a:gd name="T69" fmla="*/ 56 h 374"/>
                <a:gd name="T70" fmla="*/ 216 w 430"/>
                <a:gd name="T71" fmla="*/ 0 h 374"/>
                <a:gd name="T72" fmla="*/ 229 w 430"/>
                <a:gd name="T73" fmla="*/ 14 h 374"/>
                <a:gd name="T74" fmla="*/ 255 w 430"/>
                <a:gd name="T75" fmla="*/ 35 h 374"/>
                <a:gd name="T76" fmla="*/ 316 w 430"/>
                <a:gd name="T77" fmla="*/ 117 h 374"/>
                <a:gd name="T78" fmla="*/ 399 w 430"/>
                <a:gd name="T79" fmla="*/ 244 h 374"/>
                <a:gd name="T80" fmla="*/ 429 w 430"/>
                <a:gd name="T81" fmla="*/ 255 h 374"/>
                <a:gd name="T82" fmla="*/ 424 w 430"/>
                <a:gd name="T83" fmla="*/ 371 h 374"/>
                <a:gd name="T84" fmla="*/ 404 w 430"/>
                <a:gd name="T85" fmla="*/ 368 h 374"/>
                <a:gd name="T86" fmla="*/ 28 w 430"/>
                <a:gd name="T87" fmla="*/ 358 h 374"/>
                <a:gd name="T88" fmla="*/ 13 w 430"/>
                <a:gd name="T89" fmla="*/ 374 h 374"/>
                <a:gd name="T90" fmla="*/ 1 w 430"/>
                <a:gd name="T91" fmla="*/ 363 h 374"/>
                <a:gd name="T92" fmla="*/ 4 w 430"/>
                <a:gd name="T93" fmla="*/ 248 h 374"/>
                <a:gd name="T94" fmla="*/ 38 w 430"/>
                <a:gd name="T95" fmla="*/ 213 h 374"/>
                <a:gd name="T96" fmla="*/ 142 w 430"/>
                <a:gd name="T97" fmla="*/ 102 h 374"/>
                <a:gd name="T98" fmla="*/ 176 w 430"/>
                <a:gd name="T99" fmla="*/ 32 h 374"/>
                <a:gd name="T100" fmla="*/ 200 w 430"/>
                <a:gd name="T101" fmla="*/ 14 h 374"/>
                <a:gd name="T102" fmla="*/ 212 w 430"/>
                <a:gd name="T10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0" h="374">
                  <a:moveTo>
                    <a:pt x="358" y="302"/>
                  </a:moveTo>
                  <a:lnTo>
                    <a:pt x="362" y="302"/>
                  </a:lnTo>
                  <a:lnTo>
                    <a:pt x="365" y="303"/>
                  </a:lnTo>
                  <a:lnTo>
                    <a:pt x="368" y="306"/>
                  </a:lnTo>
                  <a:lnTo>
                    <a:pt x="370" y="309"/>
                  </a:lnTo>
                  <a:lnTo>
                    <a:pt x="372" y="312"/>
                  </a:lnTo>
                  <a:lnTo>
                    <a:pt x="372" y="316"/>
                  </a:lnTo>
                  <a:lnTo>
                    <a:pt x="372" y="358"/>
                  </a:lnTo>
                  <a:lnTo>
                    <a:pt x="372" y="364"/>
                  </a:lnTo>
                  <a:lnTo>
                    <a:pt x="370" y="368"/>
                  </a:lnTo>
                  <a:lnTo>
                    <a:pt x="366" y="371"/>
                  </a:lnTo>
                  <a:lnTo>
                    <a:pt x="362" y="373"/>
                  </a:lnTo>
                  <a:lnTo>
                    <a:pt x="358" y="374"/>
                  </a:lnTo>
                  <a:lnTo>
                    <a:pt x="354" y="373"/>
                  </a:lnTo>
                  <a:lnTo>
                    <a:pt x="351" y="372"/>
                  </a:lnTo>
                  <a:lnTo>
                    <a:pt x="349" y="369"/>
                  </a:lnTo>
                  <a:lnTo>
                    <a:pt x="346" y="367"/>
                  </a:lnTo>
                  <a:lnTo>
                    <a:pt x="345" y="363"/>
                  </a:lnTo>
                  <a:lnTo>
                    <a:pt x="344" y="358"/>
                  </a:lnTo>
                  <a:lnTo>
                    <a:pt x="344" y="316"/>
                  </a:lnTo>
                  <a:lnTo>
                    <a:pt x="345" y="311"/>
                  </a:lnTo>
                  <a:lnTo>
                    <a:pt x="346" y="308"/>
                  </a:lnTo>
                  <a:lnTo>
                    <a:pt x="350" y="304"/>
                  </a:lnTo>
                  <a:lnTo>
                    <a:pt x="354" y="302"/>
                  </a:lnTo>
                  <a:lnTo>
                    <a:pt x="358" y="302"/>
                  </a:lnTo>
                  <a:close/>
                  <a:moveTo>
                    <a:pt x="301" y="302"/>
                  </a:moveTo>
                  <a:lnTo>
                    <a:pt x="306" y="302"/>
                  </a:lnTo>
                  <a:lnTo>
                    <a:pt x="309" y="304"/>
                  </a:lnTo>
                  <a:lnTo>
                    <a:pt x="312" y="308"/>
                  </a:lnTo>
                  <a:lnTo>
                    <a:pt x="314" y="311"/>
                  </a:lnTo>
                  <a:lnTo>
                    <a:pt x="315" y="316"/>
                  </a:lnTo>
                  <a:lnTo>
                    <a:pt x="315" y="358"/>
                  </a:lnTo>
                  <a:lnTo>
                    <a:pt x="314" y="363"/>
                  </a:lnTo>
                  <a:lnTo>
                    <a:pt x="313" y="367"/>
                  </a:lnTo>
                  <a:lnTo>
                    <a:pt x="311" y="369"/>
                  </a:lnTo>
                  <a:lnTo>
                    <a:pt x="308" y="372"/>
                  </a:lnTo>
                  <a:lnTo>
                    <a:pt x="305" y="373"/>
                  </a:lnTo>
                  <a:lnTo>
                    <a:pt x="301" y="374"/>
                  </a:lnTo>
                  <a:lnTo>
                    <a:pt x="297" y="373"/>
                  </a:lnTo>
                  <a:lnTo>
                    <a:pt x="292" y="371"/>
                  </a:lnTo>
                  <a:lnTo>
                    <a:pt x="289" y="368"/>
                  </a:lnTo>
                  <a:lnTo>
                    <a:pt x="287" y="364"/>
                  </a:lnTo>
                  <a:lnTo>
                    <a:pt x="286" y="358"/>
                  </a:lnTo>
                  <a:lnTo>
                    <a:pt x="286" y="316"/>
                  </a:lnTo>
                  <a:lnTo>
                    <a:pt x="287" y="312"/>
                  </a:lnTo>
                  <a:lnTo>
                    <a:pt x="288" y="309"/>
                  </a:lnTo>
                  <a:lnTo>
                    <a:pt x="290" y="306"/>
                  </a:lnTo>
                  <a:lnTo>
                    <a:pt x="294" y="303"/>
                  </a:lnTo>
                  <a:lnTo>
                    <a:pt x="298" y="302"/>
                  </a:lnTo>
                  <a:lnTo>
                    <a:pt x="301" y="302"/>
                  </a:lnTo>
                  <a:close/>
                  <a:moveTo>
                    <a:pt x="244" y="302"/>
                  </a:moveTo>
                  <a:lnTo>
                    <a:pt x="248" y="302"/>
                  </a:lnTo>
                  <a:lnTo>
                    <a:pt x="251" y="303"/>
                  </a:lnTo>
                  <a:lnTo>
                    <a:pt x="254" y="306"/>
                  </a:lnTo>
                  <a:lnTo>
                    <a:pt x="256" y="309"/>
                  </a:lnTo>
                  <a:lnTo>
                    <a:pt x="258" y="312"/>
                  </a:lnTo>
                  <a:lnTo>
                    <a:pt x="258" y="316"/>
                  </a:lnTo>
                  <a:lnTo>
                    <a:pt x="258" y="358"/>
                  </a:lnTo>
                  <a:lnTo>
                    <a:pt x="257" y="364"/>
                  </a:lnTo>
                  <a:lnTo>
                    <a:pt x="255" y="368"/>
                  </a:lnTo>
                  <a:lnTo>
                    <a:pt x="252" y="371"/>
                  </a:lnTo>
                  <a:lnTo>
                    <a:pt x="248" y="373"/>
                  </a:lnTo>
                  <a:lnTo>
                    <a:pt x="244" y="374"/>
                  </a:lnTo>
                  <a:lnTo>
                    <a:pt x="239" y="373"/>
                  </a:lnTo>
                  <a:lnTo>
                    <a:pt x="234" y="371"/>
                  </a:lnTo>
                  <a:lnTo>
                    <a:pt x="231" y="368"/>
                  </a:lnTo>
                  <a:lnTo>
                    <a:pt x="229" y="364"/>
                  </a:lnTo>
                  <a:lnTo>
                    <a:pt x="229" y="358"/>
                  </a:lnTo>
                  <a:lnTo>
                    <a:pt x="229" y="316"/>
                  </a:lnTo>
                  <a:lnTo>
                    <a:pt x="229" y="312"/>
                  </a:lnTo>
                  <a:lnTo>
                    <a:pt x="231" y="309"/>
                  </a:lnTo>
                  <a:lnTo>
                    <a:pt x="233" y="306"/>
                  </a:lnTo>
                  <a:lnTo>
                    <a:pt x="236" y="303"/>
                  </a:lnTo>
                  <a:lnTo>
                    <a:pt x="240" y="302"/>
                  </a:lnTo>
                  <a:lnTo>
                    <a:pt x="244" y="302"/>
                  </a:lnTo>
                  <a:close/>
                  <a:moveTo>
                    <a:pt x="186" y="302"/>
                  </a:moveTo>
                  <a:lnTo>
                    <a:pt x="190" y="302"/>
                  </a:lnTo>
                  <a:lnTo>
                    <a:pt x="193" y="303"/>
                  </a:lnTo>
                  <a:lnTo>
                    <a:pt x="196" y="306"/>
                  </a:lnTo>
                  <a:lnTo>
                    <a:pt x="198" y="309"/>
                  </a:lnTo>
                  <a:lnTo>
                    <a:pt x="200" y="312"/>
                  </a:lnTo>
                  <a:lnTo>
                    <a:pt x="200" y="316"/>
                  </a:lnTo>
                  <a:lnTo>
                    <a:pt x="200" y="358"/>
                  </a:lnTo>
                  <a:lnTo>
                    <a:pt x="200" y="364"/>
                  </a:lnTo>
                  <a:lnTo>
                    <a:pt x="198" y="368"/>
                  </a:lnTo>
                  <a:lnTo>
                    <a:pt x="194" y="371"/>
                  </a:lnTo>
                  <a:lnTo>
                    <a:pt x="190" y="373"/>
                  </a:lnTo>
                  <a:lnTo>
                    <a:pt x="186" y="374"/>
                  </a:lnTo>
                  <a:lnTo>
                    <a:pt x="181" y="373"/>
                  </a:lnTo>
                  <a:lnTo>
                    <a:pt x="178" y="372"/>
                  </a:lnTo>
                  <a:lnTo>
                    <a:pt x="176" y="369"/>
                  </a:lnTo>
                  <a:lnTo>
                    <a:pt x="174" y="367"/>
                  </a:lnTo>
                  <a:lnTo>
                    <a:pt x="173" y="363"/>
                  </a:lnTo>
                  <a:lnTo>
                    <a:pt x="172" y="358"/>
                  </a:lnTo>
                  <a:lnTo>
                    <a:pt x="172" y="316"/>
                  </a:lnTo>
                  <a:lnTo>
                    <a:pt x="173" y="311"/>
                  </a:lnTo>
                  <a:lnTo>
                    <a:pt x="174" y="308"/>
                  </a:lnTo>
                  <a:lnTo>
                    <a:pt x="177" y="304"/>
                  </a:lnTo>
                  <a:lnTo>
                    <a:pt x="181" y="302"/>
                  </a:lnTo>
                  <a:lnTo>
                    <a:pt x="186" y="302"/>
                  </a:lnTo>
                  <a:close/>
                  <a:moveTo>
                    <a:pt x="130" y="302"/>
                  </a:moveTo>
                  <a:lnTo>
                    <a:pt x="134" y="302"/>
                  </a:lnTo>
                  <a:lnTo>
                    <a:pt x="138" y="304"/>
                  </a:lnTo>
                  <a:lnTo>
                    <a:pt x="140" y="308"/>
                  </a:lnTo>
                  <a:lnTo>
                    <a:pt x="142" y="311"/>
                  </a:lnTo>
                  <a:lnTo>
                    <a:pt x="142" y="316"/>
                  </a:lnTo>
                  <a:lnTo>
                    <a:pt x="142" y="358"/>
                  </a:lnTo>
                  <a:lnTo>
                    <a:pt x="142" y="363"/>
                  </a:lnTo>
                  <a:lnTo>
                    <a:pt x="141" y="367"/>
                  </a:lnTo>
                  <a:lnTo>
                    <a:pt x="139" y="369"/>
                  </a:lnTo>
                  <a:lnTo>
                    <a:pt x="136" y="372"/>
                  </a:lnTo>
                  <a:lnTo>
                    <a:pt x="133" y="373"/>
                  </a:lnTo>
                  <a:lnTo>
                    <a:pt x="130" y="374"/>
                  </a:lnTo>
                  <a:lnTo>
                    <a:pt x="124" y="373"/>
                  </a:lnTo>
                  <a:lnTo>
                    <a:pt x="120" y="371"/>
                  </a:lnTo>
                  <a:lnTo>
                    <a:pt x="117" y="368"/>
                  </a:lnTo>
                  <a:lnTo>
                    <a:pt x="115" y="364"/>
                  </a:lnTo>
                  <a:lnTo>
                    <a:pt x="114" y="358"/>
                  </a:lnTo>
                  <a:lnTo>
                    <a:pt x="114" y="316"/>
                  </a:lnTo>
                  <a:lnTo>
                    <a:pt x="115" y="312"/>
                  </a:lnTo>
                  <a:lnTo>
                    <a:pt x="116" y="309"/>
                  </a:lnTo>
                  <a:lnTo>
                    <a:pt x="119" y="306"/>
                  </a:lnTo>
                  <a:lnTo>
                    <a:pt x="121" y="303"/>
                  </a:lnTo>
                  <a:lnTo>
                    <a:pt x="125" y="302"/>
                  </a:lnTo>
                  <a:lnTo>
                    <a:pt x="130" y="302"/>
                  </a:lnTo>
                  <a:close/>
                  <a:moveTo>
                    <a:pt x="71" y="302"/>
                  </a:moveTo>
                  <a:lnTo>
                    <a:pt x="76" y="302"/>
                  </a:lnTo>
                  <a:lnTo>
                    <a:pt x="79" y="303"/>
                  </a:lnTo>
                  <a:lnTo>
                    <a:pt x="82" y="306"/>
                  </a:lnTo>
                  <a:lnTo>
                    <a:pt x="84" y="309"/>
                  </a:lnTo>
                  <a:lnTo>
                    <a:pt x="85" y="312"/>
                  </a:lnTo>
                  <a:lnTo>
                    <a:pt x="86" y="316"/>
                  </a:lnTo>
                  <a:lnTo>
                    <a:pt x="86" y="358"/>
                  </a:lnTo>
                  <a:lnTo>
                    <a:pt x="85" y="364"/>
                  </a:lnTo>
                  <a:lnTo>
                    <a:pt x="83" y="368"/>
                  </a:lnTo>
                  <a:lnTo>
                    <a:pt x="80" y="371"/>
                  </a:lnTo>
                  <a:lnTo>
                    <a:pt x="76" y="373"/>
                  </a:lnTo>
                  <a:lnTo>
                    <a:pt x="71" y="374"/>
                  </a:lnTo>
                  <a:lnTo>
                    <a:pt x="66" y="373"/>
                  </a:lnTo>
                  <a:lnTo>
                    <a:pt x="62" y="371"/>
                  </a:lnTo>
                  <a:lnTo>
                    <a:pt x="59" y="368"/>
                  </a:lnTo>
                  <a:lnTo>
                    <a:pt x="57" y="364"/>
                  </a:lnTo>
                  <a:lnTo>
                    <a:pt x="57" y="358"/>
                  </a:lnTo>
                  <a:lnTo>
                    <a:pt x="57" y="316"/>
                  </a:lnTo>
                  <a:lnTo>
                    <a:pt x="57" y="312"/>
                  </a:lnTo>
                  <a:lnTo>
                    <a:pt x="59" y="309"/>
                  </a:lnTo>
                  <a:lnTo>
                    <a:pt x="61" y="306"/>
                  </a:lnTo>
                  <a:lnTo>
                    <a:pt x="64" y="303"/>
                  </a:lnTo>
                  <a:lnTo>
                    <a:pt x="67" y="302"/>
                  </a:lnTo>
                  <a:lnTo>
                    <a:pt x="71" y="302"/>
                  </a:lnTo>
                  <a:close/>
                  <a:moveTo>
                    <a:pt x="216" y="114"/>
                  </a:moveTo>
                  <a:lnTo>
                    <a:pt x="206" y="114"/>
                  </a:lnTo>
                  <a:lnTo>
                    <a:pt x="198" y="116"/>
                  </a:lnTo>
                  <a:lnTo>
                    <a:pt x="189" y="118"/>
                  </a:lnTo>
                  <a:lnTo>
                    <a:pt x="161" y="124"/>
                  </a:lnTo>
                  <a:lnTo>
                    <a:pt x="136" y="136"/>
                  </a:lnTo>
                  <a:lnTo>
                    <a:pt x="114" y="152"/>
                  </a:lnTo>
                  <a:lnTo>
                    <a:pt x="94" y="171"/>
                  </a:lnTo>
                  <a:lnTo>
                    <a:pt x="79" y="192"/>
                  </a:lnTo>
                  <a:lnTo>
                    <a:pt x="66" y="217"/>
                  </a:lnTo>
                  <a:lnTo>
                    <a:pt x="59" y="244"/>
                  </a:lnTo>
                  <a:lnTo>
                    <a:pt x="370" y="244"/>
                  </a:lnTo>
                  <a:lnTo>
                    <a:pt x="362" y="217"/>
                  </a:lnTo>
                  <a:lnTo>
                    <a:pt x="351" y="192"/>
                  </a:lnTo>
                  <a:lnTo>
                    <a:pt x="335" y="171"/>
                  </a:lnTo>
                  <a:lnTo>
                    <a:pt x="315" y="152"/>
                  </a:lnTo>
                  <a:lnTo>
                    <a:pt x="294" y="136"/>
                  </a:lnTo>
                  <a:lnTo>
                    <a:pt x="269" y="124"/>
                  </a:lnTo>
                  <a:lnTo>
                    <a:pt x="241" y="118"/>
                  </a:lnTo>
                  <a:lnTo>
                    <a:pt x="231" y="116"/>
                  </a:lnTo>
                  <a:lnTo>
                    <a:pt x="227" y="116"/>
                  </a:lnTo>
                  <a:lnTo>
                    <a:pt x="223" y="114"/>
                  </a:lnTo>
                  <a:lnTo>
                    <a:pt x="219" y="114"/>
                  </a:lnTo>
                  <a:lnTo>
                    <a:pt x="216" y="114"/>
                  </a:lnTo>
                  <a:close/>
                  <a:moveTo>
                    <a:pt x="200" y="56"/>
                  </a:moveTo>
                  <a:lnTo>
                    <a:pt x="200" y="86"/>
                  </a:lnTo>
                  <a:lnTo>
                    <a:pt x="229" y="86"/>
                  </a:lnTo>
                  <a:lnTo>
                    <a:pt x="229" y="56"/>
                  </a:lnTo>
                  <a:lnTo>
                    <a:pt x="200" y="56"/>
                  </a:lnTo>
                  <a:close/>
                  <a:moveTo>
                    <a:pt x="216" y="0"/>
                  </a:moveTo>
                  <a:lnTo>
                    <a:pt x="220" y="0"/>
                  </a:lnTo>
                  <a:lnTo>
                    <a:pt x="224" y="2"/>
                  </a:lnTo>
                  <a:lnTo>
                    <a:pt x="226" y="5"/>
                  </a:lnTo>
                  <a:lnTo>
                    <a:pt x="228" y="9"/>
                  </a:lnTo>
                  <a:lnTo>
                    <a:pt x="229" y="14"/>
                  </a:lnTo>
                  <a:lnTo>
                    <a:pt x="229" y="28"/>
                  </a:lnTo>
                  <a:lnTo>
                    <a:pt x="244" y="28"/>
                  </a:lnTo>
                  <a:lnTo>
                    <a:pt x="248" y="29"/>
                  </a:lnTo>
                  <a:lnTo>
                    <a:pt x="252" y="31"/>
                  </a:lnTo>
                  <a:lnTo>
                    <a:pt x="255" y="35"/>
                  </a:lnTo>
                  <a:lnTo>
                    <a:pt x="257" y="39"/>
                  </a:lnTo>
                  <a:lnTo>
                    <a:pt x="258" y="43"/>
                  </a:lnTo>
                  <a:lnTo>
                    <a:pt x="258" y="92"/>
                  </a:lnTo>
                  <a:lnTo>
                    <a:pt x="288" y="102"/>
                  </a:lnTo>
                  <a:lnTo>
                    <a:pt x="316" y="117"/>
                  </a:lnTo>
                  <a:lnTo>
                    <a:pt x="340" y="135"/>
                  </a:lnTo>
                  <a:lnTo>
                    <a:pt x="362" y="158"/>
                  </a:lnTo>
                  <a:lnTo>
                    <a:pt x="379" y="184"/>
                  </a:lnTo>
                  <a:lnTo>
                    <a:pt x="392" y="213"/>
                  </a:lnTo>
                  <a:lnTo>
                    <a:pt x="399" y="244"/>
                  </a:lnTo>
                  <a:lnTo>
                    <a:pt x="416" y="244"/>
                  </a:lnTo>
                  <a:lnTo>
                    <a:pt x="420" y="245"/>
                  </a:lnTo>
                  <a:lnTo>
                    <a:pt x="424" y="247"/>
                  </a:lnTo>
                  <a:lnTo>
                    <a:pt x="427" y="250"/>
                  </a:lnTo>
                  <a:lnTo>
                    <a:pt x="429" y="255"/>
                  </a:lnTo>
                  <a:lnTo>
                    <a:pt x="430" y="259"/>
                  </a:lnTo>
                  <a:lnTo>
                    <a:pt x="430" y="358"/>
                  </a:lnTo>
                  <a:lnTo>
                    <a:pt x="429" y="364"/>
                  </a:lnTo>
                  <a:lnTo>
                    <a:pt x="427" y="368"/>
                  </a:lnTo>
                  <a:lnTo>
                    <a:pt x="424" y="371"/>
                  </a:lnTo>
                  <a:lnTo>
                    <a:pt x="420" y="373"/>
                  </a:lnTo>
                  <a:lnTo>
                    <a:pt x="416" y="374"/>
                  </a:lnTo>
                  <a:lnTo>
                    <a:pt x="411" y="373"/>
                  </a:lnTo>
                  <a:lnTo>
                    <a:pt x="407" y="371"/>
                  </a:lnTo>
                  <a:lnTo>
                    <a:pt x="404" y="368"/>
                  </a:lnTo>
                  <a:lnTo>
                    <a:pt x="401" y="364"/>
                  </a:lnTo>
                  <a:lnTo>
                    <a:pt x="400" y="358"/>
                  </a:lnTo>
                  <a:lnTo>
                    <a:pt x="400" y="272"/>
                  </a:lnTo>
                  <a:lnTo>
                    <a:pt x="28" y="272"/>
                  </a:lnTo>
                  <a:lnTo>
                    <a:pt x="28" y="358"/>
                  </a:lnTo>
                  <a:lnTo>
                    <a:pt x="28" y="364"/>
                  </a:lnTo>
                  <a:lnTo>
                    <a:pt x="26" y="368"/>
                  </a:lnTo>
                  <a:lnTo>
                    <a:pt x="23" y="371"/>
                  </a:lnTo>
                  <a:lnTo>
                    <a:pt x="19" y="373"/>
                  </a:lnTo>
                  <a:lnTo>
                    <a:pt x="13" y="374"/>
                  </a:lnTo>
                  <a:lnTo>
                    <a:pt x="9" y="373"/>
                  </a:lnTo>
                  <a:lnTo>
                    <a:pt x="6" y="372"/>
                  </a:lnTo>
                  <a:lnTo>
                    <a:pt x="4" y="369"/>
                  </a:lnTo>
                  <a:lnTo>
                    <a:pt x="2" y="367"/>
                  </a:lnTo>
                  <a:lnTo>
                    <a:pt x="1" y="363"/>
                  </a:lnTo>
                  <a:lnTo>
                    <a:pt x="0" y="358"/>
                  </a:lnTo>
                  <a:lnTo>
                    <a:pt x="0" y="259"/>
                  </a:lnTo>
                  <a:lnTo>
                    <a:pt x="1" y="255"/>
                  </a:lnTo>
                  <a:lnTo>
                    <a:pt x="2" y="252"/>
                  </a:lnTo>
                  <a:lnTo>
                    <a:pt x="4" y="248"/>
                  </a:lnTo>
                  <a:lnTo>
                    <a:pt x="6" y="246"/>
                  </a:lnTo>
                  <a:lnTo>
                    <a:pt x="9" y="244"/>
                  </a:lnTo>
                  <a:lnTo>
                    <a:pt x="13" y="244"/>
                  </a:lnTo>
                  <a:lnTo>
                    <a:pt x="31" y="244"/>
                  </a:lnTo>
                  <a:lnTo>
                    <a:pt x="38" y="213"/>
                  </a:lnTo>
                  <a:lnTo>
                    <a:pt x="51" y="184"/>
                  </a:lnTo>
                  <a:lnTo>
                    <a:pt x="67" y="158"/>
                  </a:lnTo>
                  <a:lnTo>
                    <a:pt x="89" y="135"/>
                  </a:lnTo>
                  <a:lnTo>
                    <a:pt x="114" y="117"/>
                  </a:lnTo>
                  <a:lnTo>
                    <a:pt x="142" y="102"/>
                  </a:lnTo>
                  <a:lnTo>
                    <a:pt x="172" y="92"/>
                  </a:lnTo>
                  <a:lnTo>
                    <a:pt x="172" y="43"/>
                  </a:lnTo>
                  <a:lnTo>
                    <a:pt x="173" y="40"/>
                  </a:lnTo>
                  <a:lnTo>
                    <a:pt x="174" y="36"/>
                  </a:lnTo>
                  <a:lnTo>
                    <a:pt x="176" y="32"/>
                  </a:lnTo>
                  <a:lnTo>
                    <a:pt x="178" y="30"/>
                  </a:lnTo>
                  <a:lnTo>
                    <a:pt x="181" y="28"/>
                  </a:lnTo>
                  <a:lnTo>
                    <a:pt x="186" y="28"/>
                  </a:lnTo>
                  <a:lnTo>
                    <a:pt x="200" y="28"/>
                  </a:lnTo>
                  <a:lnTo>
                    <a:pt x="200" y="14"/>
                  </a:lnTo>
                  <a:lnTo>
                    <a:pt x="201" y="10"/>
                  </a:lnTo>
                  <a:lnTo>
                    <a:pt x="202" y="7"/>
                  </a:lnTo>
                  <a:lnTo>
                    <a:pt x="205" y="3"/>
                  </a:lnTo>
                  <a:lnTo>
                    <a:pt x="207" y="1"/>
                  </a:lnTo>
                  <a:lnTo>
                    <a:pt x="212" y="0"/>
                  </a:lnTo>
                  <a:lnTo>
                    <a:pt x="21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7" name="Freeform 84">
              <a:extLst>
                <a:ext uri="{FF2B5EF4-FFF2-40B4-BE49-F238E27FC236}">
                  <a16:creationId xmlns:a16="http://schemas.microsoft.com/office/drawing/2014/main" id="{E6931C37-5082-264A-9644-FF940C9987ED}"/>
                </a:ext>
              </a:extLst>
            </p:cNvPr>
            <p:cNvSpPr>
              <a:spLocks noEditPoints="1"/>
            </p:cNvSpPr>
            <p:nvPr/>
          </p:nvSpPr>
          <p:spPr bwMode="auto">
            <a:xfrm>
              <a:off x="6161088" y="2200275"/>
              <a:ext cx="427038" cy="381000"/>
            </a:xfrm>
            <a:custGeom>
              <a:avLst/>
              <a:gdLst>
                <a:gd name="T0" fmla="*/ 192 w 269"/>
                <a:gd name="T1" fmla="*/ 160 h 240"/>
                <a:gd name="T2" fmla="*/ 223 w 269"/>
                <a:gd name="T3" fmla="*/ 69 h 240"/>
                <a:gd name="T4" fmla="*/ 21 w 269"/>
                <a:gd name="T5" fmla="*/ 160 h 240"/>
                <a:gd name="T6" fmla="*/ 53 w 269"/>
                <a:gd name="T7" fmla="*/ 69 h 240"/>
                <a:gd name="T8" fmla="*/ 138 w 269"/>
                <a:gd name="T9" fmla="*/ 0 h 240"/>
                <a:gd name="T10" fmla="*/ 142 w 269"/>
                <a:gd name="T11" fmla="*/ 5 h 240"/>
                <a:gd name="T12" fmla="*/ 143 w 269"/>
                <a:gd name="T13" fmla="*/ 32 h 240"/>
                <a:gd name="T14" fmla="*/ 226 w 269"/>
                <a:gd name="T15" fmla="*/ 33 h 240"/>
                <a:gd name="T16" fmla="*/ 229 w 269"/>
                <a:gd name="T17" fmla="*/ 33 h 240"/>
                <a:gd name="T18" fmla="*/ 230 w 269"/>
                <a:gd name="T19" fmla="*/ 34 h 240"/>
                <a:gd name="T20" fmla="*/ 231 w 269"/>
                <a:gd name="T21" fmla="*/ 34 h 240"/>
                <a:gd name="T22" fmla="*/ 231 w 269"/>
                <a:gd name="T23" fmla="*/ 35 h 240"/>
                <a:gd name="T24" fmla="*/ 232 w 269"/>
                <a:gd name="T25" fmla="*/ 36 h 240"/>
                <a:gd name="T26" fmla="*/ 233 w 269"/>
                <a:gd name="T27" fmla="*/ 37 h 240"/>
                <a:gd name="T28" fmla="*/ 234 w 269"/>
                <a:gd name="T29" fmla="*/ 38 h 240"/>
                <a:gd name="T30" fmla="*/ 269 w 269"/>
                <a:gd name="T31" fmla="*/ 169 h 240"/>
                <a:gd name="T32" fmla="*/ 267 w 269"/>
                <a:gd name="T33" fmla="*/ 173 h 240"/>
                <a:gd name="T34" fmla="*/ 263 w 269"/>
                <a:gd name="T35" fmla="*/ 176 h 240"/>
                <a:gd name="T36" fmla="*/ 180 w 269"/>
                <a:gd name="T37" fmla="*/ 176 h 240"/>
                <a:gd name="T38" fmla="*/ 176 w 269"/>
                <a:gd name="T39" fmla="*/ 175 h 240"/>
                <a:gd name="T40" fmla="*/ 173 w 269"/>
                <a:gd name="T41" fmla="*/ 173 h 240"/>
                <a:gd name="T42" fmla="*/ 170 w 269"/>
                <a:gd name="T43" fmla="*/ 168 h 240"/>
                <a:gd name="T44" fmla="*/ 212 w 269"/>
                <a:gd name="T45" fmla="*/ 48 h 240"/>
                <a:gd name="T46" fmla="*/ 143 w 269"/>
                <a:gd name="T47" fmla="*/ 224 h 240"/>
                <a:gd name="T48" fmla="*/ 192 w 269"/>
                <a:gd name="T49" fmla="*/ 225 h 240"/>
                <a:gd name="T50" fmla="*/ 196 w 269"/>
                <a:gd name="T51" fmla="*/ 229 h 240"/>
                <a:gd name="T52" fmla="*/ 196 w 269"/>
                <a:gd name="T53" fmla="*/ 235 h 240"/>
                <a:gd name="T54" fmla="*/ 192 w 269"/>
                <a:gd name="T55" fmla="*/ 239 h 240"/>
                <a:gd name="T56" fmla="*/ 81 w 269"/>
                <a:gd name="T57" fmla="*/ 240 h 240"/>
                <a:gd name="T58" fmla="*/ 75 w 269"/>
                <a:gd name="T59" fmla="*/ 238 h 240"/>
                <a:gd name="T60" fmla="*/ 72 w 269"/>
                <a:gd name="T61" fmla="*/ 232 h 240"/>
                <a:gd name="T62" fmla="*/ 75 w 269"/>
                <a:gd name="T63" fmla="*/ 227 h 240"/>
                <a:gd name="T64" fmla="*/ 81 w 269"/>
                <a:gd name="T65" fmla="*/ 224 h 240"/>
                <a:gd name="T66" fmla="*/ 126 w 269"/>
                <a:gd name="T67" fmla="*/ 48 h 240"/>
                <a:gd name="T68" fmla="*/ 99 w 269"/>
                <a:gd name="T69" fmla="*/ 166 h 240"/>
                <a:gd name="T70" fmla="*/ 99 w 269"/>
                <a:gd name="T71" fmla="*/ 170 h 240"/>
                <a:gd name="T72" fmla="*/ 97 w 269"/>
                <a:gd name="T73" fmla="*/ 173 h 240"/>
                <a:gd name="T74" fmla="*/ 93 w 269"/>
                <a:gd name="T75" fmla="*/ 176 h 240"/>
                <a:gd name="T76" fmla="*/ 9 w 269"/>
                <a:gd name="T77" fmla="*/ 176 h 240"/>
                <a:gd name="T78" fmla="*/ 4 w 269"/>
                <a:gd name="T79" fmla="*/ 175 h 240"/>
                <a:gd name="T80" fmla="*/ 0 w 269"/>
                <a:gd name="T81" fmla="*/ 171 h 240"/>
                <a:gd name="T82" fmla="*/ 0 w 269"/>
                <a:gd name="T83" fmla="*/ 166 h 240"/>
                <a:gd name="T84" fmla="*/ 46 w 269"/>
                <a:gd name="T85" fmla="*/ 38 h 240"/>
                <a:gd name="T86" fmla="*/ 46 w 269"/>
                <a:gd name="T87" fmla="*/ 37 h 240"/>
                <a:gd name="T88" fmla="*/ 48 w 269"/>
                <a:gd name="T89" fmla="*/ 35 h 240"/>
                <a:gd name="T90" fmla="*/ 48 w 269"/>
                <a:gd name="T91" fmla="*/ 35 h 240"/>
                <a:gd name="T92" fmla="*/ 49 w 269"/>
                <a:gd name="T93" fmla="*/ 34 h 240"/>
                <a:gd name="T94" fmla="*/ 50 w 269"/>
                <a:gd name="T95" fmla="*/ 34 h 240"/>
                <a:gd name="T96" fmla="*/ 51 w 269"/>
                <a:gd name="T97" fmla="*/ 33 h 240"/>
                <a:gd name="T98" fmla="*/ 52 w 269"/>
                <a:gd name="T99" fmla="*/ 33 h 240"/>
                <a:gd name="T100" fmla="*/ 126 w 269"/>
                <a:gd name="T101" fmla="*/ 32 h 240"/>
                <a:gd name="T102" fmla="*/ 126 w 269"/>
                <a:gd name="T103" fmla="*/ 6 h 240"/>
                <a:gd name="T104" fmla="*/ 130 w 269"/>
                <a:gd name="T105" fmla="*/ 2 h 240"/>
                <a:gd name="T106" fmla="*/ 135 w 269"/>
                <a:gd name="T10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9" h="240">
                  <a:moveTo>
                    <a:pt x="223" y="69"/>
                  </a:moveTo>
                  <a:lnTo>
                    <a:pt x="192" y="160"/>
                  </a:lnTo>
                  <a:lnTo>
                    <a:pt x="248" y="160"/>
                  </a:lnTo>
                  <a:lnTo>
                    <a:pt x="223" y="69"/>
                  </a:lnTo>
                  <a:close/>
                  <a:moveTo>
                    <a:pt x="53" y="69"/>
                  </a:moveTo>
                  <a:lnTo>
                    <a:pt x="21" y="160"/>
                  </a:lnTo>
                  <a:lnTo>
                    <a:pt x="79" y="160"/>
                  </a:lnTo>
                  <a:lnTo>
                    <a:pt x="53" y="69"/>
                  </a:lnTo>
                  <a:close/>
                  <a:moveTo>
                    <a:pt x="135" y="0"/>
                  </a:moveTo>
                  <a:lnTo>
                    <a:pt x="138" y="0"/>
                  </a:lnTo>
                  <a:lnTo>
                    <a:pt x="141" y="3"/>
                  </a:lnTo>
                  <a:lnTo>
                    <a:pt x="142" y="5"/>
                  </a:lnTo>
                  <a:lnTo>
                    <a:pt x="143" y="8"/>
                  </a:lnTo>
                  <a:lnTo>
                    <a:pt x="143" y="32"/>
                  </a:lnTo>
                  <a:lnTo>
                    <a:pt x="225" y="32"/>
                  </a:lnTo>
                  <a:lnTo>
                    <a:pt x="226" y="33"/>
                  </a:lnTo>
                  <a:lnTo>
                    <a:pt x="227" y="33"/>
                  </a:lnTo>
                  <a:lnTo>
                    <a:pt x="229" y="33"/>
                  </a:lnTo>
                  <a:lnTo>
                    <a:pt x="229" y="34"/>
                  </a:lnTo>
                  <a:lnTo>
                    <a:pt x="230" y="34"/>
                  </a:lnTo>
                  <a:lnTo>
                    <a:pt x="230" y="34"/>
                  </a:lnTo>
                  <a:lnTo>
                    <a:pt x="231" y="34"/>
                  </a:lnTo>
                  <a:lnTo>
                    <a:pt x="231" y="35"/>
                  </a:lnTo>
                  <a:lnTo>
                    <a:pt x="231" y="35"/>
                  </a:lnTo>
                  <a:lnTo>
                    <a:pt x="231" y="35"/>
                  </a:lnTo>
                  <a:lnTo>
                    <a:pt x="232" y="36"/>
                  </a:lnTo>
                  <a:lnTo>
                    <a:pt x="232" y="36"/>
                  </a:lnTo>
                  <a:lnTo>
                    <a:pt x="233" y="37"/>
                  </a:lnTo>
                  <a:lnTo>
                    <a:pt x="233" y="38"/>
                  </a:lnTo>
                  <a:lnTo>
                    <a:pt x="234" y="38"/>
                  </a:lnTo>
                  <a:lnTo>
                    <a:pt x="269" y="166"/>
                  </a:lnTo>
                  <a:lnTo>
                    <a:pt x="269" y="169"/>
                  </a:lnTo>
                  <a:lnTo>
                    <a:pt x="268" y="171"/>
                  </a:lnTo>
                  <a:lnTo>
                    <a:pt x="267" y="173"/>
                  </a:lnTo>
                  <a:lnTo>
                    <a:pt x="265" y="175"/>
                  </a:lnTo>
                  <a:lnTo>
                    <a:pt x="263" y="176"/>
                  </a:lnTo>
                  <a:lnTo>
                    <a:pt x="261" y="176"/>
                  </a:lnTo>
                  <a:lnTo>
                    <a:pt x="180" y="176"/>
                  </a:lnTo>
                  <a:lnTo>
                    <a:pt x="178" y="176"/>
                  </a:lnTo>
                  <a:lnTo>
                    <a:pt x="176" y="175"/>
                  </a:lnTo>
                  <a:lnTo>
                    <a:pt x="174" y="174"/>
                  </a:lnTo>
                  <a:lnTo>
                    <a:pt x="173" y="173"/>
                  </a:lnTo>
                  <a:lnTo>
                    <a:pt x="170" y="171"/>
                  </a:lnTo>
                  <a:lnTo>
                    <a:pt x="170" y="168"/>
                  </a:lnTo>
                  <a:lnTo>
                    <a:pt x="171" y="166"/>
                  </a:lnTo>
                  <a:lnTo>
                    <a:pt x="212" y="48"/>
                  </a:lnTo>
                  <a:lnTo>
                    <a:pt x="143" y="48"/>
                  </a:lnTo>
                  <a:lnTo>
                    <a:pt x="143" y="224"/>
                  </a:lnTo>
                  <a:lnTo>
                    <a:pt x="189" y="224"/>
                  </a:lnTo>
                  <a:lnTo>
                    <a:pt x="192" y="225"/>
                  </a:lnTo>
                  <a:lnTo>
                    <a:pt x="195" y="227"/>
                  </a:lnTo>
                  <a:lnTo>
                    <a:pt x="196" y="229"/>
                  </a:lnTo>
                  <a:lnTo>
                    <a:pt x="197" y="232"/>
                  </a:lnTo>
                  <a:lnTo>
                    <a:pt x="196" y="235"/>
                  </a:lnTo>
                  <a:lnTo>
                    <a:pt x="195" y="238"/>
                  </a:lnTo>
                  <a:lnTo>
                    <a:pt x="192" y="239"/>
                  </a:lnTo>
                  <a:lnTo>
                    <a:pt x="189" y="240"/>
                  </a:lnTo>
                  <a:lnTo>
                    <a:pt x="81" y="240"/>
                  </a:lnTo>
                  <a:lnTo>
                    <a:pt x="78" y="239"/>
                  </a:lnTo>
                  <a:lnTo>
                    <a:pt x="75" y="238"/>
                  </a:lnTo>
                  <a:lnTo>
                    <a:pt x="73" y="235"/>
                  </a:lnTo>
                  <a:lnTo>
                    <a:pt x="72" y="232"/>
                  </a:lnTo>
                  <a:lnTo>
                    <a:pt x="73" y="229"/>
                  </a:lnTo>
                  <a:lnTo>
                    <a:pt x="75" y="227"/>
                  </a:lnTo>
                  <a:lnTo>
                    <a:pt x="78" y="225"/>
                  </a:lnTo>
                  <a:lnTo>
                    <a:pt x="81" y="224"/>
                  </a:lnTo>
                  <a:lnTo>
                    <a:pt x="126" y="224"/>
                  </a:lnTo>
                  <a:lnTo>
                    <a:pt x="126" y="48"/>
                  </a:lnTo>
                  <a:lnTo>
                    <a:pt x="66" y="48"/>
                  </a:lnTo>
                  <a:lnTo>
                    <a:pt x="99" y="166"/>
                  </a:lnTo>
                  <a:lnTo>
                    <a:pt x="99" y="168"/>
                  </a:lnTo>
                  <a:lnTo>
                    <a:pt x="99" y="170"/>
                  </a:lnTo>
                  <a:lnTo>
                    <a:pt x="98" y="172"/>
                  </a:lnTo>
                  <a:lnTo>
                    <a:pt x="97" y="173"/>
                  </a:lnTo>
                  <a:lnTo>
                    <a:pt x="96" y="175"/>
                  </a:lnTo>
                  <a:lnTo>
                    <a:pt x="93" y="176"/>
                  </a:lnTo>
                  <a:lnTo>
                    <a:pt x="89" y="176"/>
                  </a:lnTo>
                  <a:lnTo>
                    <a:pt x="9" y="176"/>
                  </a:lnTo>
                  <a:lnTo>
                    <a:pt x="6" y="176"/>
                  </a:lnTo>
                  <a:lnTo>
                    <a:pt x="4" y="175"/>
                  </a:lnTo>
                  <a:lnTo>
                    <a:pt x="2" y="173"/>
                  </a:lnTo>
                  <a:lnTo>
                    <a:pt x="0" y="171"/>
                  </a:lnTo>
                  <a:lnTo>
                    <a:pt x="0" y="168"/>
                  </a:lnTo>
                  <a:lnTo>
                    <a:pt x="0" y="166"/>
                  </a:lnTo>
                  <a:lnTo>
                    <a:pt x="45" y="38"/>
                  </a:lnTo>
                  <a:lnTo>
                    <a:pt x="46" y="38"/>
                  </a:lnTo>
                  <a:lnTo>
                    <a:pt x="46" y="37"/>
                  </a:lnTo>
                  <a:lnTo>
                    <a:pt x="46" y="37"/>
                  </a:lnTo>
                  <a:lnTo>
                    <a:pt x="46" y="37"/>
                  </a:lnTo>
                  <a:lnTo>
                    <a:pt x="48" y="35"/>
                  </a:lnTo>
                  <a:lnTo>
                    <a:pt x="48" y="35"/>
                  </a:lnTo>
                  <a:lnTo>
                    <a:pt x="48" y="35"/>
                  </a:lnTo>
                  <a:lnTo>
                    <a:pt x="48" y="34"/>
                  </a:lnTo>
                  <a:lnTo>
                    <a:pt x="49" y="34"/>
                  </a:lnTo>
                  <a:lnTo>
                    <a:pt x="49" y="34"/>
                  </a:lnTo>
                  <a:lnTo>
                    <a:pt x="50" y="34"/>
                  </a:lnTo>
                  <a:lnTo>
                    <a:pt x="50" y="33"/>
                  </a:lnTo>
                  <a:lnTo>
                    <a:pt x="51" y="33"/>
                  </a:lnTo>
                  <a:lnTo>
                    <a:pt x="51" y="33"/>
                  </a:lnTo>
                  <a:lnTo>
                    <a:pt x="52" y="33"/>
                  </a:lnTo>
                  <a:lnTo>
                    <a:pt x="53" y="32"/>
                  </a:lnTo>
                  <a:lnTo>
                    <a:pt x="126" y="32"/>
                  </a:lnTo>
                  <a:lnTo>
                    <a:pt x="126" y="8"/>
                  </a:lnTo>
                  <a:lnTo>
                    <a:pt x="126" y="6"/>
                  </a:lnTo>
                  <a:lnTo>
                    <a:pt x="128" y="4"/>
                  </a:lnTo>
                  <a:lnTo>
                    <a:pt x="130" y="2"/>
                  </a:lnTo>
                  <a:lnTo>
                    <a:pt x="132" y="0"/>
                  </a:lnTo>
                  <a:lnTo>
                    <a:pt x="13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85">
              <a:extLst>
                <a:ext uri="{FF2B5EF4-FFF2-40B4-BE49-F238E27FC236}">
                  <a16:creationId xmlns:a16="http://schemas.microsoft.com/office/drawing/2014/main" id="{A6AADAF0-F8FF-4345-B08E-877C8CE45B57}"/>
                </a:ext>
              </a:extLst>
            </p:cNvPr>
            <p:cNvSpPr>
              <a:spLocks noEditPoints="1"/>
            </p:cNvSpPr>
            <p:nvPr/>
          </p:nvSpPr>
          <p:spPr bwMode="auto">
            <a:xfrm>
              <a:off x="4398963" y="2138363"/>
              <a:ext cx="763588" cy="1041400"/>
            </a:xfrm>
            <a:custGeom>
              <a:avLst/>
              <a:gdLst>
                <a:gd name="T0" fmla="*/ 218 w 481"/>
                <a:gd name="T1" fmla="*/ 551 h 656"/>
                <a:gd name="T2" fmla="*/ 196 w 481"/>
                <a:gd name="T3" fmla="*/ 568 h 656"/>
                <a:gd name="T4" fmla="*/ 176 w 481"/>
                <a:gd name="T5" fmla="*/ 551 h 656"/>
                <a:gd name="T6" fmla="*/ 188 w 481"/>
                <a:gd name="T7" fmla="*/ 526 h 656"/>
                <a:gd name="T8" fmla="*/ 388 w 481"/>
                <a:gd name="T9" fmla="*/ 444 h 656"/>
                <a:gd name="T10" fmla="*/ 389 w 481"/>
                <a:gd name="T11" fmla="*/ 471 h 656"/>
                <a:gd name="T12" fmla="*/ 351 w 481"/>
                <a:gd name="T13" fmla="*/ 463 h 656"/>
                <a:gd name="T14" fmla="*/ 359 w 481"/>
                <a:gd name="T15" fmla="*/ 441 h 656"/>
                <a:gd name="T16" fmla="*/ 120 w 481"/>
                <a:gd name="T17" fmla="*/ 439 h 656"/>
                <a:gd name="T18" fmla="*/ 126 w 481"/>
                <a:gd name="T19" fmla="*/ 471 h 656"/>
                <a:gd name="T20" fmla="*/ 94 w 481"/>
                <a:gd name="T21" fmla="*/ 473 h 656"/>
                <a:gd name="T22" fmla="*/ 102 w 481"/>
                <a:gd name="T23" fmla="*/ 438 h 656"/>
                <a:gd name="T24" fmla="*/ 217 w 481"/>
                <a:gd name="T25" fmla="*/ 467 h 656"/>
                <a:gd name="T26" fmla="*/ 189 w 481"/>
                <a:gd name="T27" fmla="*/ 479 h 656"/>
                <a:gd name="T28" fmla="*/ 179 w 481"/>
                <a:gd name="T29" fmla="*/ 446 h 656"/>
                <a:gd name="T30" fmla="*/ 377 w 481"/>
                <a:gd name="T31" fmla="*/ 350 h 656"/>
                <a:gd name="T32" fmla="*/ 393 w 481"/>
                <a:gd name="T33" fmla="*/ 372 h 656"/>
                <a:gd name="T34" fmla="*/ 378 w 481"/>
                <a:gd name="T35" fmla="*/ 392 h 656"/>
                <a:gd name="T36" fmla="*/ 355 w 481"/>
                <a:gd name="T37" fmla="*/ 386 h 656"/>
                <a:gd name="T38" fmla="*/ 353 w 481"/>
                <a:gd name="T39" fmla="*/ 361 h 656"/>
                <a:gd name="T40" fmla="*/ 120 w 481"/>
                <a:gd name="T41" fmla="*/ 352 h 656"/>
                <a:gd name="T42" fmla="*/ 131 w 481"/>
                <a:gd name="T43" fmla="*/ 376 h 656"/>
                <a:gd name="T44" fmla="*/ 102 w 481"/>
                <a:gd name="T45" fmla="*/ 392 h 656"/>
                <a:gd name="T46" fmla="*/ 91 w 481"/>
                <a:gd name="T47" fmla="*/ 359 h 656"/>
                <a:gd name="T48" fmla="*/ 216 w 481"/>
                <a:gd name="T49" fmla="*/ 359 h 656"/>
                <a:gd name="T50" fmla="*/ 216 w 481"/>
                <a:gd name="T51" fmla="*/ 383 h 656"/>
                <a:gd name="T52" fmla="*/ 184 w 481"/>
                <a:gd name="T53" fmla="*/ 389 h 656"/>
                <a:gd name="T54" fmla="*/ 180 w 481"/>
                <a:gd name="T55" fmla="*/ 357 h 656"/>
                <a:gd name="T56" fmla="*/ 124 w 481"/>
                <a:gd name="T57" fmla="*/ 268 h 656"/>
                <a:gd name="T58" fmla="*/ 124 w 481"/>
                <a:gd name="T59" fmla="*/ 300 h 656"/>
                <a:gd name="T60" fmla="*/ 97 w 481"/>
                <a:gd name="T61" fmla="*/ 302 h 656"/>
                <a:gd name="T62" fmla="*/ 97 w 481"/>
                <a:gd name="T63" fmla="*/ 265 h 656"/>
                <a:gd name="T64" fmla="*/ 393 w 481"/>
                <a:gd name="T65" fmla="*/ 282 h 656"/>
                <a:gd name="T66" fmla="*/ 376 w 481"/>
                <a:gd name="T67" fmla="*/ 305 h 656"/>
                <a:gd name="T68" fmla="*/ 353 w 481"/>
                <a:gd name="T69" fmla="*/ 294 h 656"/>
                <a:gd name="T70" fmla="*/ 361 w 481"/>
                <a:gd name="T71" fmla="*/ 265 h 656"/>
                <a:gd name="T72" fmla="*/ 204 w 481"/>
                <a:gd name="T73" fmla="*/ 265 h 656"/>
                <a:gd name="T74" fmla="*/ 212 w 481"/>
                <a:gd name="T75" fmla="*/ 301 h 656"/>
                <a:gd name="T76" fmla="*/ 184 w 481"/>
                <a:gd name="T77" fmla="*/ 301 h 656"/>
                <a:gd name="T78" fmla="*/ 181 w 481"/>
                <a:gd name="T79" fmla="*/ 269 h 656"/>
                <a:gd name="T80" fmla="*/ 357 w 481"/>
                <a:gd name="T81" fmla="*/ 531 h 656"/>
                <a:gd name="T82" fmla="*/ 213 w 481"/>
                <a:gd name="T83" fmla="*/ 181 h 656"/>
                <a:gd name="T84" fmla="*/ 212 w 481"/>
                <a:gd name="T85" fmla="*/ 213 h 656"/>
                <a:gd name="T86" fmla="*/ 184 w 481"/>
                <a:gd name="T87" fmla="*/ 213 h 656"/>
                <a:gd name="T88" fmla="*/ 181 w 481"/>
                <a:gd name="T89" fmla="*/ 181 h 656"/>
                <a:gd name="T90" fmla="*/ 126 w 481"/>
                <a:gd name="T91" fmla="*/ 182 h 656"/>
                <a:gd name="T92" fmla="*/ 118 w 481"/>
                <a:gd name="T93" fmla="*/ 216 h 656"/>
                <a:gd name="T94" fmla="*/ 88 w 481"/>
                <a:gd name="T95" fmla="*/ 201 h 656"/>
                <a:gd name="T96" fmla="*/ 97 w 481"/>
                <a:gd name="T97" fmla="*/ 179 h 656"/>
                <a:gd name="T98" fmla="*/ 126 w 481"/>
                <a:gd name="T99" fmla="*/ 95 h 656"/>
                <a:gd name="T100" fmla="*/ 121 w 481"/>
                <a:gd name="T101" fmla="*/ 128 h 656"/>
                <a:gd name="T102" fmla="*/ 91 w 481"/>
                <a:gd name="T103" fmla="*/ 122 h 656"/>
                <a:gd name="T104" fmla="*/ 101 w 481"/>
                <a:gd name="T105" fmla="*/ 88 h 656"/>
                <a:gd name="T106" fmla="*/ 218 w 481"/>
                <a:gd name="T107" fmla="*/ 103 h 656"/>
                <a:gd name="T108" fmla="*/ 209 w 481"/>
                <a:gd name="T109" fmla="*/ 128 h 656"/>
                <a:gd name="T110" fmla="*/ 177 w 481"/>
                <a:gd name="T111" fmla="*/ 117 h 656"/>
                <a:gd name="T112" fmla="*/ 197 w 481"/>
                <a:gd name="T113" fmla="*/ 86 h 656"/>
                <a:gd name="T114" fmla="*/ 131 w 481"/>
                <a:gd name="T115" fmla="*/ 545 h 656"/>
                <a:gd name="T116" fmla="*/ 459 w 481"/>
                <a:gd name="T117" fmla="*/ 174 h 656"/>
                <a:gd name="T118" fmla="*/ 0 w 481"/>
                <a:gd name="T119" fmla="*/ 633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1" h="656">
                  <a:moveTo>
                    <a:pt x="197" y="524"/>
                  </a:moveTo>
                  <a:lnTo>
                    <a:pt x="205" y="526"/>
                  </a:lnTo>
                  <a:lnTo>
                    <a:pt x="213" y="532"/>
                  </a:lnTo>
                  <a:lnTo>
                    <a:pt x="215" y="533"/>
                  </a:lnTo>
                  <a:lnTo>
                    <a:pt x="217" y="535"/>
                  </a:lnTo>
                  <a:lnTo>
                    <a:pt x="217" y="537"/>
                  </a:lnTo>
                  <a:lnTo>
                    <a:pt x="218" y="540"/>
                  </a:lnTo>
                  <a:lnTo>
                    <a:pt x="219" y="542"/>
                  </a:lnTo>
                  <a:lnTo>
                    <a:pt x="219" y="544"/>
                  </a:lnTo>
                  <a:lnTo>
                    <a:pt x="219" y="545"/>
                  </a:lnTo>
                  <a:lnTo>
                    <a:pt x="219" y="549"/>
                  </a:lnTo>
                  <a:lnTo>
                    <a:pt x="218" y="551"/>
                  </a:lnTo>
                  <a:lnTo>
                    <a:pt x="217" y="553"/>
                  </a:lnTo>
                  <a:lnTo>
                    <a:pt x="217" y="557"/>
                  </a:lnTo>
                  <a:lnTo>
                    <a:pt x="216" y="559"/>
                  </a:lnTo>
                  <a:lnTo>
                    <a:pt x="214" y="561"/>
                  </a:lnTo>
                  <a:lnTo>
                    <a:pt x="213" y="562"/>
                  </a:lnTo>
                  <a:lnTo>
                    <a:pt x="212" y="564"/>
                  </a:lnTo>
                  <a:lnTo>
                    <a:pt x="209" y="565"/>
                  </a:lnTo>
                  <a:lnTo>
                    <a:pt x="207" y="566"/>
                  </a:lnTo>
                  <a:lnTo>
                    <a:pt x="204" y="566"/>
                  </a:lnTo>
                  <a:lnTo>
                    <a:pt x="202" y="567"/>
                  </a:lnTo>
                  <a:lnTo>
                    <a:pt x="200" y="568"/>
                  </a:lnTo>
                  <a:lnTo>
                    <a:pt x="196" y="568"/>
                  </a:lnTo>
                  <a:lnTo>
                    <a:pt x="195" y="568"/>
                  </a:lnTo>
                  <a:lnTo>
                    <a:pt x="193" y="568"/>
                  </a:lnTo>
                  <a:lnTo>
                    <a:pt x="191" y="567"/>
                  </a:lnTo>
                  <a:lnTo>
                    <a:pt x="188" y="566"/>
                  </a:lnTo>
                  <a:lnTo>
                    <a:pt x="186" y="565"/>
                  </a:lnTo>
                  <a:lnTo>
                    <a:pt x="184" y="564"/>
                  </a:lnTo>
                  <a:lnTo>
                    <a:pt x="181" y="562"/>
                  </a:lnTo>
                  <a:lnTo>
                    <a:pt x="180" y="561"/>
                  </a:lnTo>
                  <a:lnTo>
                    <a:pt x="179" y="559"/>
                  </a:lnTo>
                  <a:lnTo>
                    <a:pt x="178" y="557"/>
                  </a:lnTo>
                  <a:lnTo>
                    <a:pt x="177" y="553"/>
                  </a:lnTo>
                  <a:lnTo>
                    <a:pt x="176" y="551"/>
                  </a:lnTo>
                  <a:lnTo>
                    <a:pt x="175" y="549"/>
                  </a:lnTo>
                  <a:lnTo>
                    <a:pt x="175" y="545"/>
                  </a:lnTo>
                  <a:lnTo>
                    <a:pt x="175" y="544"/>
                  </a:lnTo>
                  <a:lnTo>
                    <a:pt x="176" y="542"/>
                  </a:lnTo>
                  <a:lnTo>
                    <a:pt x="176" y="540"/>
                  </a:lnTo>
                  <a:lnTo>
                    <a:pt x="177" y="537"/>
                  </a:lnTo>
                  <a:lnTo>
                    <a:pt x="178" y="535"/>
                  </a:lnTo>
                  <a:lnTo>
                    <a:pt x="180" y="533"/>
                  </a:lnTo>
                  <a:lnTo>
                    <a:pt x="181" y="532"/>
                  </a:lnTo>
                  <a:lnTo>
                    <a:pt x="184" y="530"/>
                  </a:lnTo>
                  <a:lnTo>
                    <a:pt x="186" y="527"/>
                  </a:lnTo>
                  <a:lnTo>
                    <a:pt x="188" y="526"/>
                  </a:lnTo>
                  <a:lnTo>
                    <a:pt x="197" y="524"/>
                  </a:lnTo>
                  <a:close/>
                  <a:moveTo>
                    <a:pt x="368" y="437"/>
                  </a:moveTo>
                  <a:lnTo>
                    <a:pt x="377" y="437"/>
                  </a:lnTo>
                  <a:lnTo>
                    <a:pt x="378" y="437"/>
                  </a:lnTo>
                  <a:lnTo>
                    <a:pt x="378" y="438"/>
                  </a:lnTo>
                  <a:lnTo>
                    <a:pt x="380" y="438"/>
                  </a:lnTo>
                  <a:lnTo>
                    <a:pt x="381" y="439"/>
                  </a:lnTo>
                  <a:lnTo>
                    <a:pt x="382" y="439"/>
                  </a:lnTo>
                  <a:lnTo>
                    <a:pt x="383" y="439"/>
                  </a:lnTo>
                  <a:lnTo>
                    <a:pt x="385" y="440"/>
                  </a:lnTo>
                  <a:lnTo>
                    <a:pt x="387" y="443"/>
                  </a:lnTo>
                  <a:lnTo>
                    <a:pt x="388" y="444"/>
                  </a:lnTo>
                  <a:lnTo>
                    <a:pt x="390" y="446"/>
                  </a:lnTo>
                  <a:lnTo>
                    <a:pt x="391" y="449"/>
                  </a:lnTo>
                  <a:lnTo>
                    <a:pt x="391" y="452"/>
                  </a:lnTo>
                  <a:lnTo>
                    <a:pt x="392" y="453"/>
                  </a:lnTo>
                  <a:lnTo>
                    <a:pt x="393" y="456"/>
                  </a:lnTo>
                  <a:lnTo>
                    <a:pt x="393" y="459"/>
                  </a:lnTo>
                  <a:lnTo>
                    <a:pt x="393" y="461"/>
                  </a:lnTo>
                  <a:lnTo>
                    <a:pt x="393" y="463"/>
                  </a:lnTo>
                  <a:lnTo>
                    <a:pt x="392" y="465"/>
                  </a:lnTo>
                  <a:lnTo>
                    <a:pt x="391" y="467"/>
                  </a:lnTo>
                  <a:lnTo>
                    <a:pt x="391" y="469"/>
                  </a:lnTo>
                  <a:lnTo>
                    <a:pt x="389" y="471"/>
                  </a:lnTo>
                  <a:lnTo>
                    <a:pt x="387" y="473"/>
                  </a:lnTo>
                  <a:lnTo>
                    <a:pt x="384" y="477"/>
                  </a:lnTo>
                  <a:lnTo>
                    <a:pt x="380" y="479"/>
                  </a:lnTo>
                  <a:lnTo>
                    <a:pt x="377" y="480"/>
                  </a:lnTo>
                  <a:lnTo>
                    <a:pt x="372" y="480"/>
                  </a:lnTo>
                  <a:lnTo>
                    <a:pt x="364" y="479"/>
                  </a:lnTo>
                  <a:lnTo>
                    <a:pt x="356" y="473"/>
                  </a:lnTo>
                  <a:lnTo>
                    <a:pt x="355" y="471"/>
                  </a:lnTo>
                  <a:lnTo>
                    <a:pt x="353" y="469"/>
                  </a:lnTo>
                  <a:lnTo>
                    <a:pt x="352" y="467"/>
                  </a:lnTo>
                  <a:lnTo>
                    <a:pt x="351" y="465"/>
                  </a:lnTo>
                  <a:lnTo>
                    <a:pt x="351" y="463"/>
                  </a:lnTo>
                  <a:lnTo>
                    <a:pt x="350" y="461"/>
                  </a:lnTo>
                  <a:lnTo>
                    <a:pt x="350" y="459"/>
                  </a:lnTo>
                  <a:lnTo>
                    <a:pt x="350" y="456"/>
                  </a:lnTo>
                  <a:lnTo>
                    <a:pt x="351" y="453"/>
                  </a:lnTo>
                  <a:lnTo>
                    <a:pt x="352" y="452"/>
                  </a:lnTo>
                  <a:lnTo>
                    <a:pt x="353" y="449"/>
                  </a:lnTo>
                  <a:lnTo>
                    <a:pt x="354" y="446"/>
                  </a:lnTo>
                  <a:lnTo>
                    <a:pt x="355" y="444"/>
                  </a:lnTo>
                  <a:lnTo>
                    <a:pt x="356" y="443"/>
                  </a:lnTo>
                  <a:lnTo>
                    <a:pt x="358" y="442"/>
                  </a:lnTo>
                  <a:lnTo>
                    <a:pt x="358" y="441"/>
                  </a:lnTo>
                  <a:lnTo>
                    <a:pt x="359" y="441"/>
                  </a:lnTo>
                  <a:lnTo>
                    <a:pt x="361" y="440"/>
                  </a:lnTo>
                  <a:lnTo>
                    <a:pt x="361" y="439"/>
                  </a:lnTo>
                  <a:lnTo>
                    <a:pt x="362" y="439"/>
                  </a:lnTo>
                  <a:lnTo>
                    <a:pt x="363" y="439"/>
                  </a:lnTo>
                  <a:lnTo>
                    <a:pt x="364" y="439"/>
                  </a:lnTo>
                  <a:lnTo>
                    <a:pt x="365" y="438"/>
                  </a:lnTo>
                  <a:lnTo>
                    <a:pt x="366" y="438"/>
                  </a:lnTo>
                  <a:lnTo>
                    <a:pt x="367" y="437"/>
                  </a:lnTo>
                  <a:lnTo>
                    <a:pt x="368" y="437"/>
                  </a:lnTo>
                  <a:close/>
                  <a:moveTo>
                    <a:pt x="110" y="437"/>
                  </a:moveTo>
                  <a:lnTo>
                    <a:pt x="118" y="439"/>
                  </a:lnTo>
                  <a:lnTo>
                    <a:pt x="120" y="439"/>
                  </a:lnTo>
                  <a:lnTo>
                    <a:pt x="122" y="441"/>
                  </a:lnTo>
                  <a:lnTo>
                    <a:pt x="124" y="443"/>
                  </a:lnTo>
                  <a:lnTo>
                    <a:pt x="128" y="446"/>
                  </a:lnTo>
                  <a:lnTo>
                    <a:pt x="130" y="451"/>
                  </a:lnTo>
                  <a:lnTo>
                    <a:pt x="131" y="455"/>
                  </a:lnTo>
                  <a:lnTo>
                    <a:pt x="131" y="459"/>
                  </a:lnTo>
                  <a:lnTo>
                    <a:pt x="131" y="461"/>
                  </a:lnTo>
                  <a:lnTo>
                    <a:pt x="131" y="463"/>
                  </a:lnTo>
                  <a:lnTo>
                    <a:pt x="130" y="465"/>
                  </a:lnTo>
                  <a:lnTo>
                    <a:pt x="129" y="467"/>
                  </a:lnTo>
                  <a:lnTo>
                    <a:pt x="128" y="469"/>
                  </a:lnTo>
                  <a:lnTo>
                    <a:pt x="126" y="471"/>
                  </a:lnTo>
                  <a:lnTo>
                    <a:pt x="124" y="473"/>
                  </a:lnTo>
                  <a:lnTo>
                    <a:pt x="122" y="476"/>
                  </a:lnTo>
                  <a:lnTo>
                    <a:pt x="120" y="477"/>
                  </a:lnTo>
                  <a:lnTo>
                    <a:pt x="118" y="478"/>
                  </a:lnTo>
                  <a:lnTo>
                    <a:pt x="116" y="479"/>
                  </a:lnTo>
                  <a:lnTo>
                    <a:pt x="114" y="480"/>
                  </a:lnTo>
                  <a:lnTo>
                    <a:pt x="112" y="480"/>
                  </a:lnTo>
                  <a:lnTo>
                    <a:pt x="110" y="480"/>
                  </a:lnTo>
                  <a:lnTo>
                    <a:pt x="106" y="480"/>
                  </a:lnTo>
                  <a:lnTo>
                    <a:pt x="102" y="479"/>
                  </a:lnTo>
                  <a:lnTo>
                    <a:pt x="97" y="477"/>
                  </a:lnTo>
                  <a:lnTo>
                    <a:pt x="94" y="473"/>
                  </a:lnTo>
                  <a:lnTo>
                    <a:pt x="92" y="471"/>
                  </a:lnTo>
                  <a:lnTo>
                    <a:pt x="90" y="469"/>
                  </a:lnTo>
                  <a:lnTo>
                    <a:pt x="89" y="467"/>
                  </a:lnTo>
                  <a:lnTo>
                    <a:pt x="88" y="465"/>
                  </a:lnTo>
                  <a:lnTo>
                    <a:pt x="88" y="463"/>
                  </a:lnTo>
                  <a:lnTo>
                    <a:pt x="88" y="461"/>
                  </a:lnTo>
                  <a:lnTo>
                    <a:pt x="88" y="459"/>
                  </a:lnTo>
                  <a:lnTo>
                    <a:pt x="88" y="455"/>
                  </a:lnTo>
                  <a:lnTo>
                    <a:pt x="89" y="451"/>
                  </a:lnTo>
                  <a:lnTo>
                    <a:pt x="91" y="446"/>
                  </a:lnTo>
                  <a:lnTo>
                    <a:pt x="94" y="443"/>
                  </a:lnTo>
                  <a:lnTo>
                    <a:pt x="102" y="438"/>
                  </a:lnTo>
                  <a:lnTo>
                    <a:pt x="110" y="437"/>
                  </a:lnTo>
                  <a:close/>
                  <a:moveTo>
                    <a:pt x="200" y="436"/>
                  </a:moveTo>
                  <a:lnTo>
                    <a:pt x="206" y="439"/>
                  </a:lnTo>
                  <a:lnTo>
                    <a:pt x="213" y="443"/>
                  </a:lnTo>
                  <a:lnTo>
                    <a:pt x="216" y="446"/>
                  </a:lnTo>
                  <a:lnTo>
                    <a:pt x="217" y="451"/>
                  </a:lnTo>
                  <a:lnTo>
                    <a:pt x="219" y="455"/>
                  </a:lnTo>
                  <a:lnTo>
                    <a:pt x="219" y="459"/>
                  </a:lnTo>
                  <a:lnTo>
                    <a:pt x="219" y="461"/>
                  </a:lnTo>
                  <a:lnTo>
                    <a:pt x="219" y="463"/>
                  </a:lnTo>
                  <a:lnTo>
                    <a:pt x="218" y="465"/>
                  </a:lnTo>
                  <a:lnTo>
                    <a:pt x="217" y="467"/>
                  </a:lnTo>
                  <a:lnTo>
                    <a:pt x="217" y="469"/>
                  </a:lnTo>
                  <a:lnTo>
                    <a:pt x="215" y="471"/>
                  </a:lnTo>
                  <a:lnTo>
                    <a:pt x="213" y="473"/>
                  </a:lnTo>
                  <a:lnTo>
                    <a:pt x="212" y="476"/>
                  </a:lnTo>
                  <a:lnTo>
                    <a:pt x="209" y="477"/>
                  </a:lnTo>
                  <a:lnTo>
                    <a:pt x="207" y="478"/>
                  </a:lnTo>
                  <a:lnTo>
                    <a:pt x="204" y="478"/>
                  </a:lnTo>
                  <a:lnTo>
                    <a:pt x="202" y="479"/>
                  </a:lnTo>
                  <a:lnTo>
                    <a:pt x="200" y="480"/>
                  </a:lnTo>
                  <a:lnTo>
                    <a:pt x="196" y="480"/>
                  </a:lnTo>
                  <a:lnTo>
                    <a:pt x="192" y="480"/>
                  </a:lnTo>
                  <a:lnTo>
                    <a:pt x="189" y="479"/>
                  </a:lnTo>
                  <a:lnTo>
                    <a:pt x="185" y="477"/>
                  </a:lnTo>
                  <a:lnTo>
                    <a:pt x="181" y="473"/>
                  </a:lnTo>
                  <a:lnTo>
                    <a:pt x="180" y="471"/>
                  </a:lnTo>
                  <a:lnTo>
                    <a:pt x="178" y="469"/>
                  </a:lnTo>
                  <a:lnTo>
                    <a:pt x="177" y="467"/>
                  </a:lnTo>
                  <a:lnTo>
                    <a:pt x="176" y="465"/>
                  </a:lnTo>
                  <a:lnTo>
                    <a:pt x="176" y="463"/>
                  </a:lnTo>
                  <a:lnTo>
                    <a:pt x="175" y="461"/>
                  </a:lnTo>
                  <a:lnTo>
                    <a:pt x="175" y="459"/>
                  </a:lnTo>
                  <a:lnTo>
                    <a:pt x="176" y="455"/>
                  </a:lnTo>
                  <a:lnTo>
                    <a:pt x="177" y="451"/>
                  </a:lnTo>
                  <a:lnTo>
                    <a:pt x="179" y="446"/>
                  </a:lnTo>
                  <a:lnTo>
                    <a:pt x="181" y="443"/>
                  </a:lnTo>
                  <a:lnTo>
                    <a:pt x="184" y="440"/>
                  </a:lnTo>
                  <a:lnTo>
                    <a:pt x="186" y="439"/>
                  </a:lnTo>
                  <a:lnTo>
                    <a:pt x="188" y="439"/>
                  </a:lnTo>
                  <a:lnTo>
                    <a:pt x="188" y="439"/>
                  </a:lnTo>
                  <a:lnTo>
                    <a:pt x="190" y="438"/>
                  </a:lnTo>
                  <a:lnTo>
                    <a:pt x="191" y="438"/>
                  </a:lnTo>
                  <a:lnTo>
                    <a:pt x="192" y="437"/>
                  </a:lnTo>
                  <a:lnTo>
                    <a:pt x="192" y="437"/>
                  </a:lnTo>
                  <a:lnTo>
                    <a:pt x="200" y="436"/>
                  </a:lnTo>
                  <a:close/>
                  <a:moveTo>
                    <a:pt x="371" y="349"/>
                  </a:moveTo>
                  <a:lnTo>
                    <a:pt x="377" y="350"/>
                  </a:lnTo>
                  <a:lnTo>
                    <a:pt x="381" y="351"/>
                  </a:lnTo>
                  <a:lnTo>
                    <a:pt x="383" y="352"/>
                  </a:lnTo>
                  <a:lnTo>
                    <a:pt x="385" y="353"/>
                  </a:lnTo>
                  <a:lnTo>
                    <a:pt x="387" y="355"/>
                  </a:lnTo>
                  <a:lnTo>
                    <a:pt x="388" y="357"/>
                  </a:lnTo>
                  <a:lnTo>
                    <a:pt x="390" y="359"/>
                  </a:lnTo>
                  <a:lnTo>
                    <a:pt x="391" y="361"/>
                  </a:lnTo>
                  <a:lnTo>
                    <a:pt x="391" y="363"/>
                  </a:lnTo>
                  <a:lnTo>
                    <a:pt x="392" y="364"/>
                  </a:lnTo>
                  <a:lnTo>
                    <a:pt x="393" y="368"/>
                  </a:lnTo>
                  <a:lnTo>
                    <a:pt x="393" y="370"/>
                  </a:lnTo>
                  <a:lnTo>
                    <a:pt x="393" y="372"/>
                  </a:lnTo>
                  <a:lnTo>
                    <a:pt x="393" y="373"/>
                  </a:lnTo>
                  <a:lnTo>
                    <a:pt x="393" y="376"/>
                  </a:lnTo>
                  <a:lnTo>
                    <a:pt x="392" y="378"/>
                  </a:lnTo>
                  <a:lnTo>
                    <a:pt x="391" y="380"/>
                  </a:lnTo>
                  <a:lnTo>
                    <a:pt x="391" y="381"/>
                  </a:lnTo>
                  <a:lnTo>
                    <a:pt x="390" y="383"/>
                  </a:lnTo>
                  <a:lnTo>
                    <a:pt x="388" y="386"/>
                  </a:lnTo>
                  <a:lnTo>
                    <a:pt x="387" y="387"/>
                  </a:lnTo>
                  <a:lnTo>
                    <a:pt x="385" y="389"/>
                  </a:lnTo>
                  <a:lnTo>
                    <a:pt x="383" y="390"/>
                  </a:lnTo>
                  <a:lnTo>
                    <a:pt x="381" y="391"/>
                  </a:lnTo>
                  <a:lnTo>
                    <a:pt x="378" y="392"/>
                  </a:lnTo>
                  <a:lnTo>
                    <a:pt x="376" y="392"/>
                  </a:lnTo>
                  <a:lnTo>
                    <a:pt x="374" y="394"/>
                  </a:lnTo>
                  <a:lnTo>
                    <a:pt x="372" y="394"/>
                  </a:lnTo>
                  <a:lnTo>
                    <a:pt x="370" y="394"/>
                  </a:lnTo>
                  <a:lnTo>
                    <a:pt x="368" y="392"/>
                  </a:lnTo>
                  <a:lnTo>
                    <a:pt x="366" y="392"/>
                  </a:lnTo>
                  <a:lnTo>
                    <a:pt x="364" y="391"/>
                  </a:lnTo>
                  <a:lnTo>
                    <a:pt x="362" y="390"/>
                  </a:lnTo>
                  <a:lnTo>
                    <a:pt x="360" y="389"/>
                  </a:lnTo>
                  <a:lnTo>
                    <a:pt x="358" y="388"/>
                  </a:lnTo>
                  <a:lnTo>
                    <a:pt x="356" y="387"/>
                  </a:lnTo>
                  <a:lnTo>
                    <a:pt x="355" y="386"/>
                  </a:lnTo>
                  <a:lnTo>
                    <a:pt x="354" y="383"/>
                  </a:lnTo>
                  <a:lnTo>
                    <a:pt x="353" y="381"/>
                  </a:lnTo>
                  <a:lnTo>
                    <a:pt x="352" y="380"/>
                  </a:lnTo>
                  <a:lnTo>
                    <a:pt x="351" y="378"/>
                  </a:lnTo>
                  <a:lnTo>
                    <a:pt x="351" y="376"/>
                  </a:lnTo>
                  <a:lnTo>
                    <a:pt x="350" y="373"/>
                  </a:lnTo>
                  <a:lnTo>
                    <a:pt x="350" y="372"/>
                  </a:lnTo>
                  <a:lnTo>
                    <a:pt x="350" y="370"/>
                  </a:lnTo>
                  <a:lnTo>
                    <a:pt x="351" y="368"/>
                  </a:lnTo>
                  <a:lnTo>
                    <a:pt x="351" y="364"/>
                  </a:lnTo>
                  <a:lnTo>
                    <a:pt x="352" y="363"/>
                  </a:lnTo>
                  <a:lnTo>
                    <a:pt x="353" y="361"/>
                  </a:lnTo>
                  <a:lnTo>
                    <a:pt x="354" y="359"/>
                  </a:lnTo>
                  <a:lnTo>
                    <a:pt x="355" y="357"/>
                  </a:lnTo>
                  <a:lnTo>
                    <a:pt x="356" y="355"/>
                  </a:lnTo>
                  <a:lnTo>
                    <a:pt x="358" y="354"/>
                  </a:lnTo>
                  <a:lnTo>
                    <a:pt x="360" y="353"/>
                  </a:lnTo>
                  <a:lnTo>
                    <a:pt x="362" y="352"/>
                  </a:lnTo>
                  <a:lnTo>
                    <a:pt x="364" y="351"/>
                  </a:lnTo>
                  <a:lnTo>
                    <a:pt x="368" y="350"/>
                  </a:lnTo>
                  <a:lnTo>
                    <a:pt x="371" y="349"/>
                  </a:lnTo>
                  <a:close/>
                  <a:moveTo>
                    <a:pt x="110" y="349"/>
                  </a:moveTo>
                  <a:lnTo>
                    <a:pt x="118" y="351"/>
                  </a:lnTo>
                  <a:lnTo>
                    <a:pt x="120" y="352"/>
                  </a:lnTo>
                  <a:lnTo>
                    <a:pt x="122" y="353"/>
                  </a:lnTo>
                  <a:lnTo>
                    <a:pt x="124" y="355"/>
                  </a:lnTo>
                  <a:lnTo>
                    <a:pt x="126" y="357"/>
                  </a:lnTo>
                  <a:lnTo>
                    <a:pt x="128" y="359"/>
                  </a:lnTo>
                  <a:lnTo>
                    <a:pt x="129" y="361"/>
                  </a:lnTo>
                  <a:lnTo>
                    <a:pt x="129" y="363"/>
                  </a:lnTo>
                  <a:lnTo>
                    <a:pt x="130" y="364"/>
                  </a:lnTo>
                  <a:lnTo>
                    <a:pt x="131" y="368"/>
                  </a:lnTo>
                  <a:lnTo>
                    <a:pt x="131" y="370"/>
                  </a:lnTo>
                  <a:lnTo>
                    <a:pt x="131" y="372"/>
                  </a:lnTo>
                  <a:lnTo>
                    <a:pt x="131" y="373"/>
                  </a:lnTo>
                  <a:lnTo>
                    <a:pt x="131" y="376"/>
                  </a:lnTo>
                  <a:lnTo>
                    <a:pt x="130" y="378"/>
                  </a:lnTo>
                  <a:lnTo>
                    <a:pt x="129" y="380"/>
                  </a:lnTo>
                  <a:lnTo>
                    <a:pt x="129" y="381"/>
                  </a:lnTo>
                  <a:lnTo>
                    <a:pt x="128" y="383"/>
                  </a:lnTo>
                  <a:lnTo>
                    <a:pt x="126" y="386"/>
                  </a:lnTo>
                  <a:lnTo>
                    <a:pt x="124" y="387"/>
                  </a:lnTo>
                  <a:lnTo>
                    <a:pt x="121" y="390"/>
                  </a:lnTo>
                  <a:lnTo>
                    <a:pt x="118" y="392"/>
                  </a:lnTo>
                  <a:lnTo>
                    <a:pt x="114" y="394"/>
                  </a:lnTo>
                  <a:lnTo>
                    <a:pt x="110" y="394"/>
                  </a:lnTo>
                  <a:lnTo>
                    <a:pt x="106" y="394"/>
                  </a:lnTo>
                  <a:lnTo>
                    <a:pt x="102" y="392"/>
                  </a:lnTo>
                  <a:lnTo>
                    <a:pt x="97" y="390"/>
                  </a:lnTo>
                  <a:lnTo>
                    <a:pt x="94" y="387"/>
                  </a:lnTo>
                  <a:lnTo>
                    <a:pt x="91" y="384"/>
                  </a:lnTo>
                  <a:lnTo>
                    <a:pt x="89" y="380"/>
                  </a:lnTo>
                  <a:lnTo>
                    <a:pt x="88" y="376"/>
                  </a:lnTo>
                  <a:lnTo>
                    <a:pt x="88" y="372"/>
                  </a:lnTo>
                  <a:lnTo>
                    <a:pt x="88" y="370"/>
                  </a:lnTo>
                  <a:lnTo>
                    <a:pt x="88" y="368"/>
                  </a:lnTo>
                  <a:lnTo>
                    <a:pt x="88" y="364"/>
                  </a:lnTo>
                  <a:lnTo>
                    <a:pt x="89" y="363"/>
                  </a:lnTo>
                  <a:lnTo>
                    <a:pt x="90" y="361"/>
                  </a:lnTo>
                  <a:lnTo>
                    <a:pt x="91" y="359"/>
                  </a:lnTo>
                  <a:lnTo>
                    <a:pt x="92" y="357"/>
                  </a:lnTo>
                  <a:lnTo>
                    <a:pt x="94" y="355"/>
                  </a:lnTo>
                  <a:lnTo>
                    <a:pt x="95" y="354"/>
                  </a:lnTo>
                  <a:lnTo>
                    <a:pt x="97" y="353"/>
                  </a:lnTo>
                  <a:lnTo>
                    <a:pt x="100" y="352"/>
                  </a:lnTo>
                  <a:lnTo>
                    <a:pt x="102" y="351"/>
                  </a:lnTo>
                  <a:lnTo>
                    <a:pt x="110" y="349"/>
                  </a:lnTo>
                  <a:close/>
                  <a:moveTo>
                    <a:pt x="197" y="349"/>
                  </a:moveTo>
                  <a:lnTo>
                    <a:pt x="205" y="350"/>
                  </a:lnTo>
                  <a:lnTo>
                    <a:pt x="213" y="355"/>
                  </a:lnTo>
                  <a:lnTo>
                    <a:pt x="214" y="357"/>
                  </a:lnTo>
                  <a:lnTo>
                    <a:pt x="216" y="359"/>
                  </a:lnTo>
                  <a:lnTo>
                    <a:pt x="217" y="361"/>
                  </a:lnTo>
                  <a:lnTo>
                    <a:pt x="217" y="363"/>
                  </a:lnTo>
                  <a:lnTo>
                    <a:pt x="218" y="364"/>
                  </a:lnTo>
                  <a:lnTo>
                    <a:pt x="219" y="368"/>
                  </a:lnTo>
                  <a:lnTo>
                    <a:pt x="219" y="370"/>
                  </a:lnTo>
                  <a:lnTo>
                    <a:pt x="219" y="372"/>
                  </a:lnTo>
                  <a:lnTo>
                    <a:pt x="219" y="373"/>
                  </a:lnTo>
                  <a:lnTo>
                    <a:pt x="219" y="376"/>
                  </a:lnTo>
                  <a:lnTo>
                    <a:pt x="218" y="378"/>
                  </a:lnTo>
                  <a:lnTo>
                    <a:pt x="217" y="380"/>
                  </a:lnTo>
                  <a:lnTo>
                    <a:pt x="217" y="381"/>
                  </a:lnTo>
                  <a:lnTo>
                    <a:pt x="216" y="383"/>
                  </a:lnTo>
                  <a:lnTo>
                    <a:pt x="214" y="386"/>
                  </a:lnTo>
                  <a:lnTo>
                    <a:pt x="213" y="387"/>
                  </a:lnTo>
                  <a:lnTo>
                    <a:pt x="209" y="390"/>
                  </a:lnTo>
                  <a:lnTo>
                    <a:pt x="205" y="392"/>
                  </a:lnTo>
                  <a:lnTo>
                    <a:pt x="201" y="394"/>
                  </a:lnTo>
                  <a:lnTo>
                    <a:pt x="196" y="394"/>
                  </a:lnTo>
                  <a:lnTo>
                    <a:pt x="195" y="394"/>
                  </a:lnTo>
                  <a:lnTo>
                    <a:pt x="193" y="392"/>
                  </a:lnTo>
                  <a:lnTo>
                    <a:pt x="191" y="392"/>
                  </a:lnTo>
                  <a:lnTo>
                    <a:pt x="188" y="391"/>
                  </a:lnTo>
                  <a:lnTo>
                    <a:pt x="186" y="390"/>
                  </a:lnTo>
                  <a:lnTo>
                    <a:pt x="184" y="389"/>
                  </a:lnTo>
                  <a:lnTo>
                    <a:pt x="181" y="387"/>
                  </a:lnTo>
                  <a:lnTo>
                    <a:pt x="179" y="384"/>
                  </a:lnTo>
                  <a:lnTo>
                    <a:pt x="177" y="380"/>
                  </a:lnTo>
                  <a:lnTo>
                    <a:pt x="176" y="376"/>
                  </a:lnTo>
                  <a:lnTo>
                    <a:pt x="175" y="372"/>
                  </a:lnTo>
                  <a:lnTo>
                    <a:pt x="175" y="370"/>
                  </a:lnTo>
                  <a:lnTo>
                    <a:pt x="176" y="368"/>
                  </a:lnTo>
                  <a:lnTo>
                    <a:pt x="176" y="364"/>
                  </a:lnTo>
                  <a:lnTo>
                    <a:pt x="177" y="363"/>
                  </a:lnTo>
                  <a:lnTo>
                    <a:pt x="178" y="361"/>
                  </a:lnTo>
                  <a:lnTo>
                    <a:pt x="179" y="359"/>
                  </a:lnTo>
                  <a:lnTo>
                    <a:pt x="180" y="357"/>
                  </a:lnTo>
                  <a:lnTo>
                    <a:pt x="181" y="355"/>
                  </a:lnTo>
                  <a:lnTo>
                    <a:pt x="189" y="350"/>
                  </a:lnTo>
                  <a:lnTo>
                    <a:pt x="197" y="349"/>
                  </a:lnTo>
                  <a:close/>
                  <a:moveTo>
                    <a:pt x="106" y="263"/>
                  </a:moveTo>
                  <a:lnTo>
                    <a:pt x="114" y="263"/>
                  </a:lnTo>
                  <a:lnTo>
                    <a:pt x="115" y="263"/>
                  </a:lnTo>
                  <a:lnTo>
                    <a:pt x="116" y="263"/>
                  </a:lnTo>
                  <a:lnTo>
                    <a:pt x="118" y="265"/>
                  </a:lnTo>
                  <a:lnTo>
                    <a:pt x="122" y="265"/>
                  </a:lnTo>
                  <a:lnTo>
                    <a:pt x="122" y="266"/>
                  </a:lnTo>
                  <a:lnTo>
                    <a:pt x="123" y="267"/>
                  </a:lnTo>
                  <a:lnTo>
                    <a:pt x="124" y="268"/>
                  </a:lnTo>
                  <a:lnTo>
                    <a:pt x="124" y="269"/>
                  </a:lnTo>
                  <a:lnTo>
                    <a:pt x="128" y="272"/>
                  </a:lnTo>
                  <a:lnTo>
                    <a:pt x="130" y="276"/>
                  </a:lnTo>
                  <a:lnTo>
                    <a:pt x="131" y="279"/>
                  </a:lnTo>
                  <a:lnTo>
                    <a:pt x="131" y="282"/>
                  </a:lnTo>
                  <a:lnTo>
                    <a:pt x="131" y="287"/>
                  </a:lnTo>
                  <a:lnTo>
                    <a:pt x="131" y="289"/>
                  </a:lnTo>
                  <a:lnTo>
                    <a:pt x="129" y="292"/>
                  </a:lnTo>
                  <a:lnTo>
                    <a:pt x="129" y="294"/>
                  </a:lnTo>
                  <a:lnTo>
                    <a:pt x="128" y="296"/>
                  </a:lnTo>
                  <a:lnTo>
                    <a:pt x="126" y="298"/>
                  </a:lnTo>
                  <a:lnTo>
                    <a:pt x="124" y="300"/>
                  </a:lnTo>
                  <a:lnTo>
                    <a:pt x="122" y="301"/>
                  </a:lnTo>
                  <a:lnTo>
                    <a:pt x="120" y="303"/>
                  </a:lnTo>
                  <a:lnTo>
                    <a:pt x="118" y="303"/>
                  </a:lnTo>
                  <a:lnTo>
                    <a:pt x="116" y="305"/>
                  </a:lnTo>
                  <a:lnTo>
                    <a:pt x="114" y="305"/>
                  </a:lnTo>
                  <a:lnTo>
                    <a:pt x="112" y="305"/>
                  </a:lnTo>
                  <a:lnTo>
                    <a:pt x="110" y="305"/>
                  </a:lnTo>
                  <a:lnTo>
                    <a:pt x="107" y="305"/>
                  </a:lnTo>
                  <a:lnTo>
                    <a:pt x="104" y="305"/>
                  </a:lnTo>
                  <a:lnTo>
                    <a:pt x="102" y="303"/>
                  </a:lnTo>
                  <a:lnTo>
                    <a:pt x="100" y="303"/>
                  </a:lnTo>
                  <a:lnTo>
                    <a:pt x="97" y="302"/>
                  </a:lnTo>
                  <a:lnTo>
                    <a:pt x="95" y="301"/>
                  </a:lnTo>
                  <a:lnTo>
                    <a:pt x="94" y="300"/>
                  </a:lnTo>
                  <a:lnTo>
                    <a:pt x="89" y="292"/>
                  </a:lnTo>
                  <a:lnTo>
                    <a:pt x="88" y="282"/>
                  </a:lnTo>
                  <a:lnTo>
                    <a:pt x="88" y="279"/>
                  </a:lnTo>
                  <a:lnTo>
                    <a:pt x="89" y="276"/>
                  </a:lnTo>
                  <a:lnTo>
                    <a:pt x="91" y="272"/>
                  </a:lnTo>
                  <a:lnTo>
                    <a:pt x="94" y="269"/>
                  </a:lnTo>
                  <a:lnTo>
                    <a:pt x="95" y="268"/>
                  </a:lnTo>
                  <a:lnTo>
                    <a:pt x="95" y="267"/>
                  </a:lnTo>
                  <a:lnTo>
                    <a:pt x="96" y="266"/>
                  </a:lnTo>
                  <a:lnTo>
                    <a:pt x="97" y="265"/>
                  </a:lnTo>
                  <a:lnTo>
                    <a:pt x="102" y="265"/>
                  </a:lnTo>
                  <a:lnTo>
                    <a:pt x="103" y="264"/>
                  </a:lnTo>
                  <a:lnTo>
                    <a:pt x="104" y="263"/>
                  </a:lnTo>
                  <a:lnTo>
                    <a:pt x="105" y="263"/>
                  </a:lnTo>
                  <a:lnTo>
                    <a:pt x="106" y="263"/>
                  </a:lnTo>
                  <a:close/>
                  <a:moveTo>
                    <a:pt x="376" y="262"/>
                  </a:moveTo>
                  <a:lnTo>
                    <a:pt x="382" y="264"/>
                  </a:lnTo>
                  <a:lnTo>
                    <a:pt x="387" y="269"/>
                  </a:lnTo>
                  <a:lnTo>
                    <a:pt x="390" y="272"/>
                  </a:lnTo>
                  <a:lnTo>
                    <a:pt x="391" y="276"/>
                  </a:lnTo>
                  <a:lnTo>
                    <a:pt x="393" y="279"/>
                  </a:lnTo>
                  <a:lnTo>
                    <a:pt x="393" y="282"/>
                  </a:lnTo>
                  <a:lnTo>
                    <a:pt x="393" y="287"/>
                  </a:lnTo>
                  <a:lnTo>
                    <a:pt x="392" y="289"/>
                  </a:lnTo>
                  <a:lnTo>
                    <a:pt x="391" y="292"/>
                  </a:lnTo>
                  <a:lnTo>
                    <a:pt x="391" y="294"/>
                  </a:lnTo>
                  <a:lnTo>
                    <a:pt x="390" y="296"/>
                  </a:lnTo>
                  <a:lnTo>
                    <a:pt x="388" y="298"/>
                  </a:lnTo>
                  <a:lnTo>
                    <a:pt x="387" y="300"/>
                  </a:lnTo>
                  <a:lnTo>
                    <a:pt x="385" y="301"/>
                  </a:lnTo>
                  <a:lnTo>
                    <a:pt x="383" y="303"/>
                  </a:lnTo>
                  <a:lnTo>
                    <a:pt x="381" y="303"/>
                  </a:lnTo>
                  <a:lnTo>
                    <a:pt x="378" y="305"/>
                  </a:lnTo>
                  <a:lnTo>
                    <a:pt x="376" y="305"/>
                  </a:lnTo>
                  <a:lnTo>
                    <a:pt x="374" y="305"/>
                  </a:lnTo>
                  <a:lnTo>
                    <a:pt x="372" y="305"/>
                  </a:lnTo>
                  <a:lnTo>
                    <a:pt x="369" y="305"/>
                  </a:lnTo>
                  <a:lnTo>
                    <a:pt x="366" y="305"/>
                  </a:lnTo>
                  <a:lnTo>
                    <a:pt x="364" y="303"/>
                  </a:lnTo>
                  <a:lnTo>
                    <a:pt x="362" y="303"/>
                  </a:lnTo>
                  <a:lnTo>
                    <a:pt x="360" y="302"/>
                  </a:lnTo>
                  <a:lnTo>
                    <a:pt x="358" y="301"/>
                  </a:lnTo>
                  <a:lnTo>
                    <a:pt x="356" y="300"/>
                  </a:lnTo>
                  <a:lnTo>
                    <a:pt x="355" y="298"/>
                  </a:lnTo>
                  <a:lnTo>
                    <a:pt x="354" y="296"/>
                  </a:lnTo>
                  <a:lnTo>
                    <a:pt x="353" y="294"/>
                  </a:lnTo>
                  <a:lnTo>
                    <a:pt x="352" y="292"/>
                  </a:lnTo>
                  <a:lnTo>
                    <a:pt x="351" y="289"/>
                  </a:lnTo>
                  <a:lnTo>
                    <a:pt x="350" y="287"/>
                  </a:lnTo>
                  <a:lnTo>
                    <a:pt x="350" y="282"/>
                  </a:lnTo>
                  <a:lnTo>
                    <a:pt x="351" y="279"/>
                  </a:lnTo>
                  <a:lnTo>
                    <a:pt x="352" y="276"/>
                  </a:lnTo>
                  <a:lnTo>
                    <a:pt x="354" y="272"/>
                  </a:lnTo>
                  <a:lnTo>
                    <a:pt x="356" y="269"/>
                  </a:lnTo>
                  <a:lnTo>
                    <a:pt x="358" y="268"/>
                  </a:lnTo>
                  <a:lnTo>
                    <a:pt x="358" y="267"/>
                  </a:lnTo>
                  <a:lnTo>
                    <a:pt x="359" y="266"/>
                  </a:lnTo>
                  <a:lnTo>
                    <a:pt x="361" y="265"/>
                  </a:lnTo>
                  <a:lnTo>
                    <a:pt x="364" y="265"/>
                  </a:lnTo>
                  <a:lnTo>
                    <a:pt x="365" y="264"/>
                  </a:lnTo>
                  <a:lnTo>
                    <a:pt x="366" y="263"/>
                  </a:lnTo>
                  <a:lnTo>
                    <a:pt x="367" y="263"/>
                  </a:lnTo>
                  <a:lnTo>
                    <a:pt x="368" y="263"/>
                  </a:lnTo>
                  <a:lnTo>
                    <a:pt x="376" y="262"/>
                  </a:lnTo>
                  <a:close/>
                  <a:moveTo>
                    <a:pt x="197" y="262"/>
                  </a:moveTo>
                  <a:lnTo>
                    <a:pt x="200" y="263"/>
                  </a:lnTo>
                  <a:lnTo>
                    <a:pt x="202" y="263"/>
                  </a:lnTo>
                  <a:lnTo>
                    <a:pt x="203" y="263"/>
                  </a:lnTo>
                  <a:lnTo>
                    <a:pt x="204" y="264"/>
                  </a:lnTo>
                  <a:lnTo>
                    <a:pt x="204" y="265"/>
                  </a:lnTo>
                  <a:lnTo>
                    <a:pt x="208" y="265"/>
                  </a:lnTo>
                  <a:lnTo>
                    <a:pt x="209" y="266"/>
                  </a:lnTo>
                  <a:lnTo>
                    <a:pt x="211" y="267"/>
                  </a:lnTo>
                  <a:lnTo>
                    <a:pt x="212" y="268"/>
                  </a:lnTo>
                  <a:lnTo>
                    <a:pt x="213" y="269"/>
                  </a:lnTo>
                  <a:lnTo>
                    <a:pt x="216" y="272"/>
                  </a:lnTo>
                  <a:lnTo>
                    <a:pt x="217" y="276"/>
                  </a:lnTo>
                  <a:lnTo>
                    <a:pt x="219" y="279"/>
                  </a:lnTo>
                  <a:lnTo>
                    <a:pt x="219" y="282"/>
                  </a:lnTo>
                  <a:lnTo>
                    <a:pt x="217" y="292"/>
                  </a:lnTo>
                  <a:lnTo>
                    <a:pt x="213" y="300"/>
                  </a:lnTo>
                  <a:lnTo>
                    <a:pt x="212" y="301"/>
                  </a:lnTo>
                  <a:lnTo>
                    <a:pt x="209" y="302"/>
                  </a:lnTo>
                  <a:lnTo>
                    <a:pt x="207" y="303"/>
                  </a:lnTo>
                  <a:lnTo>
                    <a:pt x="204" y="303"/>
                  </a:lnTo>
                  <a:lnTo>
                    <a:pt x="202" y="305"/>
                  </a:lnTo>
                  <a:lnTo>
                    <a:pt x="200" y="305"/>
                  </a:lnTo>
                  <a:lnTo>
                    <a:pt x="196" y="305"/>
                  </a:lnTo>
                  <a:lnTo>
                    <a:pt x="195" y="305"/>
                  </a:lnTo>
                  <a:lnTo>
                    <a:pt x="193" y="305"/>
                  </a:lnTo>
                  <a:lnTo>
                    <a:pt x="191" y="305"/>
                  </a:lnTo>
                  <a:lnTo>
                    <a:pt x="188" y="303"/>
                  </a:lnTo>
                  <a:lnTo>
                    <a:pt x="186" y="303"/>
                  </a:lnTo>
                  <a:lnTo>
                    <a:pt x="184" y="301"/>
                  </a:lnTo>
                  <a:lnTo>
                    <a:pt x="181" y="300"/>
                  </a:lnTo>
                  <a:lnTo>
                    <a:pt x="180" y="298"/>
                  </a:lnTo>
                  <a:lnTo>
                    <a:pt x="179" y="296"/>
                  </a:lnTo>
                  <a:lnTo>
                    <a:pt x="178" y="294"/>
                  </a:lnTo>
                  <a:lnTo>
                    <a:pt x="177" y="292"/>
                  </a:lnTo>
                  <a:lnTo>
                    <a:pt x="176" y="289"/>
                  </a:lnTo>
                  <a:lnTo>
                    <a:pt x="175" y="287"/>
                  </a:lnTo>
                  <a:lnTo>
                    <a:pt x="175" y="282"/>
                  </a:lnTo>
                  <a:lnTo>
                    <a:pt x="176" y="279"/>
                  </a:lnTo>
                  <a:lnTo>
                    <a:pt x="177" y="276"/>
                  </a:lnTo>
                  <a:lnTo>
                    <a:pt x="179" y="272"/>
                  </a:lnTo>
                  <a:lnTo>
                    <a:pt x="181" y="269"/>
                  </a:lnTo>
                  <a:lnTo>
                    <a:pt x="184" y="267"/>
                  </a:lnTo>
                  <a:lnTo>
                    <a:pt x="186" y="265"/>
                  </a:lnTo>
                  <a:lnTo>
                    <a:pt x="188" y="265"/>
                  </a:lnTo>
                  <a:lnTo>
                    <a:pt x="191" y="263"/>
                  </a:lnTo>
                  <a:lnTo>
                    <a:pt x="194" y="262"/>
                  </a:lnTo>
                  <a:lnTo>
                    <a:pt x="197" y="262"/>
                  </a:lnTo>
                  <a:close/>
                  <a:moveTo>
                    <a:pt x="307" y="217"/>
                  </a:moveTo>
                  <a:lnTo>
                    <a:pt x="307" y="610"/>
                  </a:lnTo>
                  <a:lnTo>
                    <a:pt x="350" y="610"/>
                  </a:lnTo>
                  <a:lnTo>
                    <a:pt x="350" y="545"/>
                  </a:lnTo>
                  <a:lnTo>
                    <a:pt x="352" y="537"/>
                  </a:lnTo>
                  <a:lnTo>
                    <a:pt x="357" y="531"/>
                  </a:lnTo>
                  <a:lnTo>
                    <a:pt x="364" y="526"/>
                  </a:lnTo>
                  <a:lnTo>
                    <a:pt x="372" y="525"/>
                  </a:lnTo>
                  <a:lnTo>
                    <a:pt x="384" y="527"/>
                  </a:lnTo>
                  <a:lnTo>
                    <a:pt x="390" y="535"/>
                  </a:lnTo>
                  <a:lnTo>
                    <a:pt x="393" y="545"/>
                  </a:lnTo>
                  <a:lnTo>
                    <a:pt x="393" y="610"/>
                  </a:lnTo>
                  <a:lnTo>
                    <a:pt x="438" y="610"/>
                  </a:lnTo>
                  <a:lnTo>
                    <a:pt x="438" y="217"/>
                  </a:lnTo>
                  <a:lnTo>
                    <a:pt x="307" y="217"/>
                  </a:lnTo>
                  <a:close/>
                  <a:moveTo>
                    <a:pt x="197" y="174"/>
                  </a:moveTo>
                  <a:lnTo>
                    <a:pt x="205" y="175"/>
                  </a:lnTo>
                  <a:lnTo>
                    <a:pt x="213" y="181"/>
                  </a:lnTo>
                  <a:lnTo>
                    <a:pt x="214" y="182"/>
                  </a:lnTo>
                  <a:lnTo>
                    <a:pt x="216" y="184"/>
                  </a:lnTo>
                  <a:lnTo>
                    <a:pt x="217" y="186"/>
                  </a:lnTo>
                  <a:lnTo>
                    <a:pt x="217" y="189"/>
                  </a:lnTo>
                  <a:lnTo>
                    <a:pt x="218" y="191"/>
                  </a:lnTo>
                  <a:lnTo>
                    <a:pt x="219" y="193"/>
                  </a:lnTo>
                  <a:lnTo>
                    <a:pt x="219" y="197"/>
                  </a:lnTo>
                  <a:lnTo>
                    <a:pt x="219" y="201"/>
                  </a:lnTo>
                  <a:lnTo>
                    <a:pt x="217" y="205"/>
                  </a:lnTo>
                  <a:lnTo>
                    <a:pt x="216" y="209"/>
                  </a:lnTo>
                  <a:lnTo>
                    <a:pt x="213" y="211"/>
                  </a:lnTo>
                  <a:lnTo>
                    <a:pt x="212" y="213"/>
                  </a:lnTo>
                  <a:lnTo>
                    <a:pt x="209" y="214"/>
                  </a:lnTo>
                  <a:lnTo>
                    <a:pt x="207" y="215"/>
                  </a:lnTo>
                  <a:lnTo>
                    <a:pt x="204" y="216"/>
                  </a:lnTo>
                  <a:lnTo>
                    <a:pt x="202" y="217"/>
                  </a:lnTo>
                  <a:lnTo>
                    <a:pt x="200" y="217"/>
                  </a:lnTo>
                  <a:lnTo>
                    <a:pt x="196" y="217"/>
                  </a:lnTo>
                  <a:lnTo>
                    <a:pt x="195" y="217"/>
                  </a:lnTo>
                  <a:lnTo>
                    <a:pt x="193" y="217"/>
                  </a:lnTo>
                  <a:lnTo>
                    <a:pt x="191" y="217"/>
                  </a:lnTo>
                  <a:lnTo>
                    <a:pt x="188" y="216"/>
                  </a:lnTo>
                  <a:lnTo>
                    <a:pt x="186" y="215"/>
                  </a:lnTo>
                  <a:lnTo>
                    <a:pt x="184" y="213"/>
                  </a:lnTo>
                  <a:lnTo>
                    <a:pt x="181" y="211"/>
                  </a:lnTo>
                  <a:lnTo>
                    <a:pt x="179" y="209"/>
                  </a:lnTo>
                  <a:lnTo>
                    <a:pt x="177" y="205"/>
                  </a:lnTo>
                  <a:lnTo>
                    <a:pt x="176" y="201"/>
                  </a:lnTo>
                  <a:lnTo>
                    <a:pt x="175" y="197"/>
                  </a:lnTo>
                  <a:lnTo>
                    <a:pt x="175" y="193"/>
                  </a:lnTo>
                  <a:lnTo>
                    <a:pt x="176" y="191"/>
                  </a:lnTo>
                  <a:lnTo>
                    <a:pt x="177" y="189"/>
                  </a:lnTo>
                  <a:lnTo>
                    <a:pt x="178" y="186"/>
                  </a:lnTo>
                  <a:lnTo>
                    <a:pt x="179" y="184"/>
                  </a:lnTo>
                  <a:lnTo>
                    <a:pt x="180" y="182"/>
                  </a:lnTo>
                  <a:lnTo>
                    <a:pt x="181" y="181"/>
                  </a:lnTo>
                  <a:lnTo>
                    <a:pt x="184" y="179"/>
                  </a:lnTo>
                  <a:lnTo>
                    <a:pt x="186" y="178"/>
                  </a:lnTo>
                  <a:lnTo>
                    <a:pt x="188" y="177"/>
                  </a:lnTo>
                  <a:lnTo>
                    <a:pt x="197" y="174"/>
                  </a:lnTo>
                  <a:close/>
                  <a:moveTo>
                    <a:pt x="106" y="174"/>
                  </a:moveTo>
                  <a:lnTo>
                    <a:pt x="110" y="174"/>
                  </a:lnTo>
                  <a:lnTo>
                    <a:pt x="114" y="175"/>
                  </a:lnTo>
                  <a:lnTo>
                    <a:pt x="118" y="177"/>
                  </a:lnTo>
                  <a:lnTo>
                    <a:pt x="120" y="178"/>
                  </a:lnTo>
                  <a:lnTo>
                    <a:pt x="122" y="179"/>
                  </a:lnTo>
                  <a:lnTo>
                    <a:pt x="124" y="181"/>
                  </a:lnTo>
                  <a:lnTo>
                    <a:pt x="126" y="182"/>
                  </a:lnTo>
                  <a:lnTo>
                    <a:pt x="128" y="184"/>
                  </a:lnTo>
                  <a:lnTo>
                    <a:pt x="129" y="186"/>
                  </a:lnTo>
                  <a:lnTo>
                    <a:pt x="129" y="189"/>
                  </a:lnTo>
                  <a:lnTo>
                    <a:pt x="131" y="191"/>
                  </a:lnTo>
                  <a:lnTo>
                    <a:pt x="131" y="193"/>
                  </a:lnTo>
                  <a:lnTo>
                    <a:pt x="131" y="197"/>
                  </a:lnTo>
                  <a:lnTo>
                    <a:pt x="131" y="201"/>
                  </a:lnTo>
                  <a:lnTo>
                    <a:pt x="130" y="205"/>
                  </a:lnTo>
                  <a:lnTo>
                    <a:pt x="128" y="209"/>
                  </a:lnTo>
                  <a:lnTo>
                    <a:pt x="124" y="211"/>
                  </a:lnTo>
                  <a:lnTo>
                    <a:pt x="121" y="214"/>
                  </a:lnTo>
                  <a:lnTo>
                    <a:pt x="118" y="216"/>
                  </a:lnTo>
                  <a:lnTo>
                    <a:pt x="114" y="217"/>
                  </a:lnTo>
                  <a:lnTo>
                    <a:pt x="110" y="217"/>
                  </a:lnTo>
                  <a:lnTo>
                    <a:pt x="107" y="217"/>
                  </a:lnTo>
                  <a:lnTo>
                    <a:pt x="104" y="217"/>
                  </a:lnTo>
                  <a:lnTo>
                    <a:pt x="102" y="216"/>
                  </a:lnTo>
                  <a:lnTo>
                    <a:pt x="100" y="215"/>
                  </a:lnTo>
                  <a:lnTo>
                    <a:pt x="97" y="214"/>
                  </a:lnTo>
                  <a:lnTo>
                    <a:pt x="95" y="213"/>
                  </a:lnTo>
                  <a:lnTo>
                    <a:pt x="94" y="211"/>
                  </a:lnTo>
                  <a:lnTo>
                    <a:pt x="91" y="209"/>
                  </a:lnTo>
                  <a:lnTo>
                    <a:pt x="89" y="205"/>
                  </a:lnTo>
                  <a:lnTo>
                    <a:pt x="88" y="201"/>
                  </a:lnTo>
                  <a:lnTo>
                    <a:pt x="88" y="197"/>
                  </a:lnTo>
                  <a:lnTo>
                    <a:pt x="88" y="193"/>
                  </a:lnTo>
                  <a:lnTo>
                    <a:pt x="88" y="191"/>
                  </a:lnTo>
                  <a:lnTo>
                    <a:pt x="89" y="189"/>
                  </a:lnTo>
                  <a:lnTo>
                    <a:pt x="90" y="186"/>
                  </a:lnTo>
                  <a:lnTo>
                    <a:pt x="91" y="184"/>
                  </a:lnTo>
                  <a:lnTo>
                    <a:pt x="92" y="182"/>
                  </a:lnTo>
                  <a:lnTo>
                    <a:pt x="94" y="181"/>
                  </a:lnTo>
                  <a:lnTo>
                    <a:pt x="95" y="181"/>
                  </a:lnTo>
                  <a:lnTo>
                    <a:pt x="95" y="180"/>
                  </a:lnTo>
                  <a:lnTo>
                    <a:pt x="96" y="179"/>
                  </a:lnTo>
                  <a:lnTo>
                    <a:pt x="97" y="179"/>
                  </a:lnTo>
                  <a:lnTo>
                    <a:pt x="98" y="178"/>
                  </a:lnTo>
                  <a:lnTo>
                    <a:pt x="100" y="177"/>
                  </a:lnTo>
                  <a:lnTo>
                    <a:pt x="101" y="177"/>
                  </a:lnTo>
                  <a:lnTo>
                    <a:pt x="102" y="177"/>
                  </a:lnTo>
                  <a:lnTo>
                    <a:pt x="103" y="177"/>
                  </a:lnTo>
                  <a:lnTo>
                    <a:pt x="104" y="175"/>
                  </a:lnTo>
                  <a:lnTo>
                    <a:pt x="105" y="174"/>
                  </a:lnTo>
                  <a:lnTo>
                    <a:pt x="106" y="174"/>
                  </a:lnTo>
                  <a:close/>
                  <a:moveTo>
                    <a:pt x="109" y="86"/>
                  </a:moveTo>
                  <a:lnTo>
                    <a:pt x="117" y="88"/>
                  </a:lnTo>
                  <a:lnTo>
                    <a:pt x="124" y="92"/>
                  </a:lnTo>
                  <a:lnTo>
                    <a:pt x="126" y="95"/>
                  </a:lnTo>
                  <a:lnTo>
                    <a:pt x="128" y="97"/>
                  </a:lnTo>
                  <a:lnTo>
                    <a:pt x="129" y="99"/>
                  </a:lnTo>
                  <a:lnTo>
                    <a:pt x="129" y="101"/>
                  </a:lnTo>
                  <a:lnTo>
                    <a:pt x="130" y="103"/>
                  </a:lnTo>
                  <a:lnTo>
                    <a:pt x="131" y="105"/>
                  </a:lnTo>
                  <a:lnTo>
                    <a:pt x="131" y="107"/>
                  </a:lnTo>
                  <a:lnTo>
                    <a:pt x="131" y="109"/>
                  </a:lnTo>
                  <a:lnTo>
                    <a:pt x="131" y="113"/>
                  </a:lnTo>
                  <a:lnTo>
                    <a:pt x="130" y="117"/>
                  </a:lnTo>
                  <a:lnTo>
                    <a:pt x="128" y="122"/>
                  </a:lnTo>
                  <a:lnTo>
                    <a:pt x="124" y="126"/>
                  </a:lnTo>
                  <a:lnTo>
                    <a:pt x="121" y="128"/>
                  </a:lnTo>
                  <a:lnTo>
                    <a:pt x="118" y="130"/>
                  </a:lnTo>
                  <a:lnTo>
                    <a:pt x="114" y="131"/>
                  </a:lnTo>
                  <a:lnTo>
                    <a:pt x="110" y="131"/>
                  </a:lnTo>
                  <a:lnTo>
                    <a:pt x="108" y="131"/>
                  </a:lnTo>
                  <a:lnTo>
                    <a:pt x="106" y="131"/>
                  </a:lnTo>
                  <a:lnTo>
                    <a:pt x="104" y="130"/>
                  </a:lnTo>
                  <a:lnTo>
                    <a:pt x="102" y="130"/>
                  </a:lnTo>
                  <a:lnTo>
                    <a:pt x="100" y="128"/>
                  </a:lnTo>
                  <a:lnTo>
                    <a:pt x="97" y="128"/>
                  </a:lnTo>
                  <a:lnTo>
                    <a:pt x="95" y="127"/>
                  </a:lnTo>
                  <a:lnTo>
                    <a:pt x="94" y="126"/>
                  </a:lnTo>
                  <a:lnTo>
                    <a:pt x="91" y="122"/>
                  </a:lnTo>
                  <a:lnTo>
                    <a:pt x="89" y="117"/>
                  </a:lnTo>
                  <a:lnTo>
                    <a:pt x="88" y="113"/>
                  </a:lnTo>
                  <a:lnTo>
                    <a:pt x="88" y="109"/>
                  </a:lnTo>
                  <a:lnTo>
                    <a:pt x="88" y="107"/>
                  </a:lnTo>
                  <a:lnTo>
                    <a:pt x="88" y="105"/>
                  </a:lnTo>
                  <a:lnTo>
                    <a:pt x="88" y="103"/>
                  </a:lnTo>
                  <a:lnTo>
                    <a:pt x="89" y="101"/>
                  </a:lnTo>
                  <a:lnTo>
                    <a:pt x="90" y="99"/>
                  </a:lnTo>
                  <a:lnTo>
                    <a:pt x="91" y="97"/>
                  </a:lnTo>
                  <a:lnTo>
                    <a:pt x="92" y="95"/>
                  </a:lnTo>
                  <a:lnTo>
                    <a:pt x="94" y="92"/>
                  </a:lnTo>
                  <a:lnTo>
                    <a:pt x="101" y="88"/>
                  </a:lnTo>
                  <a:lnTo>
                    <a:pt x="109" y="86"/>
                  </a:lnTo>
                  <a:close/>
                  <a:moveTo>
                    <a:pt x="197" y="86"/>
                  </a:moveTo>
                  <a:lnTo>
                    <a:pt x="204" y="88"/>
                  </a:lnTo>
                  <a:lnTo>
                    <a:pt x="207" y="89"/>
                  </a:lnTo>
                  <a:lnTo>
                    <a:pt x="209" y="90"/>
                  </a:lnTo>
                  <a:lnTo>
                    <a:pt x="212" y="91"/>
                  </a:lnTo>
                  <a:lnTo>
                    <a:pt x="213" y="92"/>
                  </a:lnTo>
                  <a:lnTo>
                    <a:pt x="214" y="95"/>
                  </a:lnTo>
                  <a:lnTo>
                    <a:pt x="216" y="97"/>
                  </a:lnTo>
                  <a:lnTo>
                    <a:pt x="217" y="99"/>
                  </a:lnTo>
                  <a:lnTo>
                    <a:pt x="217" y="101"/>
                  </a:lnTo>
                  <a:lnTo>
                    <a:pt x="218" y="103"/>
                  </a:lnTo>
                  <a:lnTo>
                    <a:pt x="219" y="105"/>
                  </a:lnTo>
                  <a:lnTo>
                    <a:pt x="219" y="107"/>
                  </a:lnTo>
                  <a:lnTo>
                    <a:pt x="219" y="109"/>
                  </a:lnTo>
                  <a:lnTo>
                    <a:pt x="219" y="111"/>
                  </a:lnTo>
                  <a:lnTo>
                    <a:pt x="219" y="113"/>
                  </a:lnTo>
                  <a:lnTo>
                    <a:pt x="218" y="115"/>
                  </a:lnTo>
                  <a:lnTo>
                    <a:pt x="217" y="117"/>
                  </a:lnTo>
                  <a:lnTo>
                    <a:pt x="217" y="119"/>
                  </a:lnTo>
                  <a:lnTo>
                    <a:pt x="215" y="122"/>
                  </a:lnTo>
                  <a:lnTo>
                    <a:pt x="213" y="126"/>
                  </a:lnTo>
                  <a:lnTo>
                    <a:pt x="212" y="127"/>
                  </a:lnTo>
                  <a:lnTo>
                    <a:pt x="209" y="128"/>
                  </a:lnTo>
                  <a:lnTo>
                    <a:pt x="207" y="128"/>
                  </a:lnTo>
                  <a:lnTo>
                    <a:pt x="204" y="130"/>
                  </a:lnTo>
                  <a:lnTo>
                    <a:pt x="203" y="130"/>
                  </a:lnTo>
                  <a:lnTo>
                    <a:pt x="201" y="131"/>
                  </a:lnTo>
                  <a:lnTo>
                    <a:pt x="199" y="131"/>
                  </a:lnTo>
                  <a:lnTo>
                    <a:pt x="196" y="131"/>
                  </a:lnTo>
                  <a:lnTo>
                    <a:pt x="192" y="131"/>
                  </a:lnTo>
                  <a:lnTo>
                    <a:pt x="189" y="130"/>
                  </a:lnTo>
                  <a:lnTo>
                    <a:pt x="185" y="128"/>
                  </a:lnTo>
                  <a:lnTo>
                    <a:pt x="181" y="126"/>
                  </a:lnTo>
                  <a:lnTo>
                    <a:pt x="179" y="122"/>
                  </a:lnTo>
                  <a:lnTo>
                    <a:pt x="177" y="117"/>
                  </a:lnTo>
                  <a:lnTo>
                    <a:pt x="176" y="113"/>
                  </a:lnTo>
                  <a:lnTo>
                    <a:pt x="175" y="109"/>
                  </a:lnTo>
                  <a:lnTo>
                    <a:pt x="175" y="107"/>
                  </a:lnTo>
                  <a:lnTo>
                    <a:pt x="176" y="105"/>
                  </a:lnTo>
                  <a:lnTo>
                    <a:pt x="176" y="103"/>
                  </a:lnTo>
                  <a:lnTo>
                    <a:pt x="177" y="101"/>
                  </a:lnTo>
                  <a:lnTo>
                    <a:pt x="178" y="99"/>
                  </a:lnTo>
                  <a:lnTo>
                    <a:pt x="179" y="97"/>
                  </a:lnTo>
                  <a:lnTo>
                    <a:pt x="180" y="95"/>
                  </a:lnTo>
                  <a:lnTo>
                    <a:pt x="181" y="92"/>
                  </a:lnTo>
                  <a:lnTo>
                    <a:pt x="189" y="88"/>
                  </a:lnTo>
                  <a:lnTo>
                    <a:pt x="197" y="86"/>
                  </a:lnTo>
                  <a:close/>
                  <a:moveTo>
                    <a:pt x="45" y="44"/>
                  </a:moveTo>
                  <a:lnTo>
                    <a:pt x="45" y="610"/>
                  </a:lnTo>
                  <a:lnTo>
                    <a:pt x="88" y="610"/>
                  </a:lnTo>
                  <a:lnTo>
                    <a:pt x="88" y="545"/>
                  </a:lnTo>
                  <a:lnTo>
                    <a:pt x="89" y="537"/>
                  </a:lnTo>
                  <a:lnTo>
                    <a:pt x="94" y="531"/>
                  </a:lnTo>
                  <a:lnTo>
                    <a:pt x="102" y="526"/>
                  </a:lnTo>
                  <a:lnTo>
                    <a:pt x="110" y="525"/>
                  </a:lnTo>
                  <a:lnTo>
                    <a:pt x="118" y="526"/>
                  </a:lnTo>
                  <a:lnTo>
                    <a:pt x="125" y="531"/>
                  </a:lnTo>
                  <a:lnTo>
                    <a:pt x="130" y="537"/>
                  </a:lnTo>
                  <a:lnTo>
                    <a:pt x="131" y="545"/>
                  </a:lnTo>
                  <a:lnTo>
                    <a:pt x="131" y="610"/>
                  </a:lnTo>
                  <a:lnTo>
                    <a:pt x="262" y="610"/>
                  </a:lnTo>
                  <a:lnTo>
                    <a:pt x="262" y="44"/>
                  </a:lnTo>
                  <a:lnTo>
                    <a:pt x="45" y="44"/>
                  </a:lnTo>
                  <a:close/>
                  <a:moveTo>
                    <a:pt x="22" y="0"/>
                  </a:moveTo>
                  <a:lnTo>
                    <a:pt x="284" y="0"/>
                  </a:lnTo>
                  <a:lnTo>
                    <a:pt x="294" y="2"/>
                  </a:lnTo>
                  <a:lnTo>
                    <a:pt x="301" y="6"/>
                  </a:lnTo>
                  <a:lnTo>
                    <a:pt x="305" y="12"/>
                  </a:lnTo>
                  <a:lnTo>
                    <a:pt x="307" y="21"/>
                  </a:lnTo>
                  <a:lnTo>
                    <a:pt x="307" y="174"/>
                  </a:lnTo>
                  <a:lnTo>
                    <a:pt x="459" y="174"/>
                  </a:lnTo>
                  <a:lnTo>
                    <a:pt x="468" y="177"/>
                  </a:lnTo>
                  <a:lnTo>
                    <a:pt x="475" y="181"/>
                  </a:lnTo>
                  <a:lnTo>
                    <a:pt x="479" y="188"/>
                  </a:lnTo>
                  <a:lnTo>
                    <a:pt x="481" y="197"/>
                  </a:lnTo>
                  <a:lnTo>
                    <a:pt x="481" y="633"/>
                  </a:lnTo>
                  <a:lnTo>
                    <a:pt x="478" y="645"/>
                  </a:lnTo>
                  <a:lnTo>
                    <a:pt x="470" y="653"/>
                  </a:lnTo>
                  <a:lnTo>
                    <a:pt x="459" y="656"/>
                  </a:lnTo>
                  <a:lnTo>
                    <a:pt x="22" y="656"/>
                  </a:lnTo>
                  <a:lnTo>
                    <a:pt x="10" y="653"/>
                  </a:lnTo>
                  <a:lnTo>
                    <a:pt x="3" y="645"/>
                  </a:lnTo>
                  <a:lnTo>
                    <a:pt x="0" y="633"/>
                  </a:lnTo>
                  <a:lnTo>
                    <a:pt x="0" y="21"/>
                  </a:lnTo>
                  <a:lnTo>
                    <a:pt x="1" y="12"/>
                  </a:lnTo>
                  <a:lnTo>
                    <a:pt x="6" y="6"/>
                  </a:lnTo>
                  <a:lnTo>
                    <a:pt x="13"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86">
              <a:extLst>
                <a:ext uri="{FF2B5EF4-FFF2-40B4-BE49-F238E27FC236}">
                  <a16:creationId xmlns:a16="http://schemas.microsoft.com/office/drawing/2014/main" id="{BD8DD1D3-5278-A04F-B8DF-53997E7E6E70}"/>
                </a:ext>
              </a:extLst>
            </p:cNvPr>
            <p:cNvSpPr>
              <a:spLocks noEditPoints="1"/>
            </p:cNvSpPr>
            <p:nvPr/>
          </p:nvSpPr>
          <p:spPr bwMode="auto">
            <a:xfrm>
              <a:off x="2041526" y="2557463"/>
              <a:ext cx="614363" cy="836613"/>
            </a:xfrm>
            <a:custGeom>
              <a:avLst/>
              <a:gdLst>
                <a:gd name="T0" fmla="*/ 174 w 387"/>
                <a:gd name="T1" fmla="*/ 444 h 527"/>
                <a:gd name="T2" fmla="*/ 157 w 387"/>
                <a:gd name="T3" fmla="*/ 457 h 527"/>
                <a:gd name="T4" fmla="*/ 141 w 387"/>
                <a:gd name="T5" fmla="*/ 441 h 527"/>
                <a:gd name="T6" fmla="*/ 158 w 387"/>
                <a:gd name="T7" fmla="*/ 421 h 527"/>
                <a:gd name="T8" fmla="*/ 313 w 387"/>
                <a:gd name="T9" fmla="*/ 358 h 527"/>
                <a:gd name="T10" fmla="*/ 308 w 387"/>
                <a:gd name="T11" fmla="*/ 382 h 527"/>
                <a:gd name="T12" fmla="*/ 281 w 387"/>
                <a:gd name="T13" fmla="*/ 370 h 527"/>
                <a:gd name="T14" fmla="*/ 290 w 387"/>
                <a:gd name="T15" fmla="*/ 353 h 527"/>
                <a:gd name="T16" fmla="*/ 103 w 387"/>
                <a:gd name="T17" fmla="*/ 358 h 527"/>
                <a:gd name="T18" fmla="*/ 96 w 387"/>
                <a:gd name="T19" fmla="*/ 383 h 527"/>
                <a:gd name="T20" fmla="*/ 72 w 387"/>
                <a:gd name="T21" fmla="*/ 376 h 527"/>
                <a:gd name="T22" fmla="*/ 165 w 387"/>
                <a:gd name="T23" fmla="*/ 352 h 527"/>
                <a:gd name="T24" fmla="*/ 171 w 387"/>
                <a:gd name="T25" fmla="*/ 380 h 527"/>
                <a:gd name="T26" fmla="*/ 143 w 387"/>
                <a:gd name="T27" fmla="*/ 377 h 527"/>
                <a:gd name="T28" fmla="*/ 150 w 387"/>
                <a:gd name="T29" fmla="*/ 353 h 527"/>
                <a:gd name="T30" fmla="*/ 174 w 387"/>
                <a:gd name="T31" fmla="*/ 289 h 527"/>
                <a:gd name="T32" fmla="*/ 168 w 387"/>
                <a:gd name="T33" fmla="*/ 313 h 527"/>
                <a:gd name="T34" fmla="*/ 142 w 387"/>
                <a:gd name="T35" fmla="*/ 305 h 527"/>
                <a:gd name="T36" fmla="*/ 86 w 387"/>
                <a:gd name="T37" fmla="*/ 280 h 527"/>
                <a:gd name="T38" fmla="*/ 105 w 387"/>
                <a:gd name="T39" fmla="*/ 297 h 527"/>
                <a:gd name="T40" fmla="*/ 92 w 387"/>
                <a:gd name="T41" fmla="*/ 315 h 527"/>
                <a:gd name="T42" fmla="*/ 72 w 387"/>
                <a:gd name="T43" fmla="*/ 291 h 527"/>
                <a:gd name="T44" fmla="*/ 306 w 387"/>
                <a:gd name="T45" fmla="*/ 281 h 527"/>
                <a:gd name="T46" fmla="*/ 315 w 387"/>
                <a:gd name="T47" fmla="*/ 302 h 527"/>
                <a:gd name="T48" fmla="*/ 298 w 387"/>
                <a:gd name="T49" fmla="*/ 315 h 527"/>
                <a:gd name="T50" fmla="*/ 282 w 387"/>
                <a:gd name="T51" fmla="*/ 303 h 527"/>
                <a:gd name="T52" fmla="*/ 287 w 387"/>
                <a:gd name="T53" fmla="*/ 283 h 527"/>
                <a:gd name="T54" fmla="*/ 98 w 387"/>
                <a:gd name="T55" fmla="*/ 213 h 527"/>
                <a:gd name="T56" fmla="*/ 103 w 387"/>
                <a:gd name="T57" fmla="*/ 237 h 527"/>
                <a:gd name="T58" fmla="*/ 82 w 387"/>
                <a:gd name="T59" fmla="*/ 244 h 527"/>
                <a:gd name="T60" fmla="*/ 76 w 387"/>
                <a:gd name="T61" fmla="*/ 216 h 527"/>
                <a:gd name="T62" fmla="*/ 306 w 387"/>
                <a:gd name="T63" fmla="*/ 210 h 527"/>
                <a:gd name="T64" fmla="*/ 312 w 387"/>
                <a:gd name="T65" fmla="*/ 239 h 527"/>
                <a:gd name="T66" fmla="*/ 290 w 387"/>
                <a:gd name="T67" fmla="*/ 243 h 527"/>
                <a:gd name="T68" fmla="*/ 283 w 387"/>
                <a:gd name="T69" fmla="*/ 221 h 527"/>
                <a:gd name="T70" fmla="*/ 300 w 387"/>
                <a:gd name="T71" fmla="*/ 209 h 527"/>
                <a:gd name="T72" fmla="*/ 173 w 387"/>
                <a:gd name="T73" fmla="*/ 218 h 527"/>
                <a:gd name="T74" fmla="*/ 163 w 387"/>
                <a:gd name="T75" fmla="*/ 245 h 527"/>
                <a:gd name="T76" fmla="*/ 143 w 387"/>
                <a:gd name="T77" fmla="*/ 235 h 527"/>
                <a:gd name="T78" fmla="*/ 153 w 387"/>
                <a:gd name="T79" fmla="*/ 210 h 527"/>
                <a:gd name="T80" fmla="*/ 311 w 387"/>
                <a:gd name="T81" fmla="*/ 426 h 527"/>
                <a:gd name="T82" fmla="*/ 173 w 387"/>
                <a:gd name="T83" fmla="*/ 147 h 527"/>
                <a:gd name="T84" fmla="*/ 167 w 387"/>
                <a:gd name="T85" fmla="*/ 172 h 527"/>
                <a:gd name="T86" fmla="*/ 144 w 387"/>
                <a:gd name="T87" fmla="*/ 167 h 527"/>
                <a:gd name="T88" fmla="*/ 149 w 387"/>
                <a:gd name="T89" fmla="*/ 142 h 527"/>
                <a:gd name="T90" fmla="*/ 103 w 387"/>
                <a:gd name="T91" fmla="*/ 149 h 527"/>
                <a:gd name="T92" fmla="*/ 88 w 387"/>
                <a:gd name="T93" fmla="*/ 174 h 527"/>
                <a:gd name="T94" fmla="*/ 70 w 387"/>
                <a:gd name="T95" fmla="*/ 154 h 527"/>
                <a:gd name="T96" fmla="*/ 80 w 387"/>
                <a:gd name="T97" fmla="*/ 141 h 527"/>
                <a:gd name="T98" fmla="*/ 103 w 387"/>
                <a:gd name="T99" fmla="*/ 79 h 527"/>
                <a:gd name="T100" fmla="*/ 92 w 387"/>
                <a:gd name="T101" fmla="*/ 105 h 527"/>
                <a:gd name="T102" fmla="*/ 70 w 387"/>
                <a:gd name="T103" fmla="*/ 87 h 527"/>
                <a:gd name="T104" fmla="*/ 168 w 387"/>
                <a:gd name="T105" fmla="*/ 71 h 527"/>
                <a:gd name="T106" fmla="*/ 174 w 387"/>
                <a:gd name="T107" fmla="*/ 93 h 527"/>
                <a:gd name="T108" fmla="*/ 151 w 387"/>
                <a:gd name="T109" fmla="*/ 104 h 527"/>
                <a:gd name="T110" fmla="*/ 144 w 387"/>
                <a:gd name="T111" fmla="*/ 77 h 527"/>
                <a:gd name="T112" fmla="*/ 93 w 387"/>
                <a:gd name="T113" fmla="*/ 422 h 527"/>
                <a:gd name="T114" fmla="*/ 238 w 387"/>
                <a:gd name="T115" fmla="*/ 2 h 527"/>
                <a:gd name="T116" fmla="*/ 18 w 387"/>
                <a:gd name="T117" fmla="*/ 527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7" h="527">
                  <a:moveTo>
                    <a:pt x="158" y="421"/>
                  </a:moveTo>
                  <a:lnTo>
                    <a:pt x="165" y="422"/>
                  </a:lnTo>
                  <a:lnTo>
                    <a:pt x="171" y="426"/>
                  </a:lnTo>
                  <a:lnTo>
                    <a:pt x="172" y="429"/>
                  </a:lnTo>
                  <a:lnTo>
                    <a:pt x="174" y="430"/>
                  </a:lnTo>
                  <a:lnTo>
                    <a:pt x="174" y="432"/>
                  </a:lnTo>
                  <a:lnTo>
                    <a:pt x="175" y="434"/>
                  </a:lnTo>
                  <a:lnTo>
                    <a:pt x="175" y="436"/>
                  </a:lnTo>
                  <a:lnTo>
                    <a:pt x="175" y="438"/>
                  </a:lnTo>
                  <a:lnTo>
                    <a:pt x="175" y="441"/>
                  </a:lnTo>
                  <a:lnTo>
                    <a:pt x="175" y="443"/>
                  </a:lnTo>
                  <a:lnTo>
                    <a:pt x="174" y="444"/>
                  </a:lnTo>
                  <a:lnTo>
                    <a:pt x="174" y="446"/>
                  </a:lnTo>
                  <a:lnTo>
                    <a:pt x="173" y="448"/>
                  </a:lnTo>
                  <a:lnTo>
                    <a:pt x="172" y="450"/>
                  </a:lnTo>
                  <a:lnTo>
                    <a:pt x="171" y="451"/>
                  </a:lnTo>
                  <a:lnTo>
                    <a:pt x="170" y="452"/>
                  </a:lnTo>
                  <a:lnTo>
                    <a:pt x="168" y="453"/>
                  </a:lnTo>
                  <a:lnTo>
                    <a:pt x="167" y="454"/>
                  </a:lnTo>
                  <a:lnTo>
                    <a:pt x="165" y="454"/>
                  </a:lnTo>
                  <a:lnTo>
                    <a:pt x="163" y="455"/>
                  </a:lnTo>
                  <a:lnTo>
                    <a:pt x="161" y="457"/>
                  </a:lnTo>
                  <a:lnTo>
                    <a:pt x="158" y="457"/>
                  </a:lnTo>
                  <a:lnTo>
                    <a:pt x="157" y="457"/>
                  </a:lnTo>
                  <a:lnTo>
                    <a:pt x="155" y="455"/>
                  </a:lnTo>
                  <a:lnTo>
                    <a:pt x="153" y="455"/>
                  </a:lnTo>
                  <a:lnTo>
                    <a:pt x="151" y="454"/>
                  </a:lnTo>
                  <a:lnTo>
                    <a:pt x="149" y="453"/>
                  </a:lnTo>
                  <a:lnTo>
                    <a:pt x="148" y="452"/>
                  </a:lnTo>
                  <a:lnTo>
                    <a:pt x="146" y="451"/>
                  </a:lnTo>
                  <a:lnTo>
                    <a:pt x="145" y="450"/>
                  </a:lnTo>
                  <a:lnTo>
                    <a:pt x="144" y="448"/>
                  </a:lnTo>
                  <a:lnTo>
                    <a:pt x="143" y="446"/>
                  </a:lnTo>
                  <a:lnTo>
                    <a:pt x="143" y="444"/>
                  </a:lnTo>
                  <a:lnTo>
                    <a:pt x="142" y="443"/>
                  </a:lnTo>
                  <a:lnTo>
                    <a:pt x="141" y="441"/>
                  </a:lnTo>
                  <a:lnTo>
                    <a:pt x="141" y="438"/>
                  </a:lnTo>
                  <a:lnTo>
                    <a:pt x="141" y="437"/>
                  </a:lnTo>
                  <a:lnTo>
                    <a:pt x="141" y="436"/>
                  </a:lnTo>
                  <a:lnTo>
                    <a:pt x="142" y="434"/>
                  </a:lnTo>
                  <a:lnTo>
                    <a:pt x="143" y="432"/>
                  </a:lnTo>
                  <a:lnTo>
                    <a:pt x="143" y="430"/>
                  </a:lnTo>
                  <a:lnTo>
                    <a:pt x="144" y="429"/>
                  </a:lnTo>
                  <a:lnTo>
                    <a:pt x="146" y="426"/>
                  </a:lnTo>
                  <a:lnTo>
                    <a:pt x="148" y="424"/>
                  </a:lnTo>
                  <a:lnTo>
                    <a:pt x="149" y="423"/>
                  </a:lnTo>
                  <a:lnTo>
                    <a:pt x="151" y="423"/>
                  </a:lnTo>
                  <a:lnTo>
                    <a:pt x="158" y="421"/>
                  </a:lnTo>
                  <a:close/>
                  <a:moveTo>
                    <a:pt x="297" y="351"/>
                  </a:moveTo>
                  <a:lnTo>
                    <a:pt x="303" y="351"/>
                  </a:lnTo>
                  <a:lnTo>
                    <a:pt x="303" y="351"/>
                  </a:lnTo>
                  <a:lnTo>
                    <a:pt x="304" y="352"/>
                  </a:lnTo>
                  <a:lnTo>
                    <a:pt x="305" y="352"/>
                  </a:lnTo>
                  <a:lnTo>
                    <a:pt x="306" y="353"/>
                  </a:lnTo>
                  <a:lnTo>
                    <a:pt x="307" y="353"/>
                  </a:lnTo>
                  <a:lnTo>
                    <a:pt x="308" y="353"/>
                  </a:lnTo>
                  <a:lnTo>
                    <a:pt x="309" y="354"/>
                  </a:lnTo>
                  <a:lnTo>
                    <a:pt x="311" y="356"/>
                  </a:lnTo>
                  <a:lnTo>
                    <a:pt x="312" y="357"/>
                  </a:lnTo>
                  <a:lnTo>
                    <a:pt x="313" y="358"/>
                  </a:lnTo>
                  <a:lnTo>
                    <a:pt x="314" y="360"/>
                  </a:lnTo>
                  <a:lnTo>
                    <a:pt x="314" y="362"/>
                  </a:lnTo>
                  <a:lnTo>
                    <a:pt x="315" y="364"/>
                  </a:lnTo>
                  <a:lnTo>
                    <a:pt x="316" y="366"/>
                  </a:lnTo>
                  <a:lnTo>
                    <a:pt x="316" y="368"/>
                  </a:lnTo>
                  <a:lnTo>
                    <a:pt x="316" y="370"/>
                  </a:lnTo>
                  <a:lnTo>
                    <a:pt x="315" y="372"/>
                  </a:lnTo>
                  <a:lnTo>
                    <a:pt x="314" y="376"/>
                  </a:lnTo>
                  <a:lnTo>
                    <a:pt x="314" y="377"/>
                  </a:lnTo>
                  <a:lnTo>
                    <a:pt x="313" y="379"/>
                  </a:lnTo>
                  <a:lnTo>
                    <a:pt x="311" y="380"/>
                  </a:lnTo>
                  <a:lnTo>
                    <a:pt x="308" y="382"/>
                  </a:lnTo>
                  <a:lnTo>
                    <a:pt x="305" y="384"/>
                  </a:lnTo>
                  <a:lnTo>
                    <a:pt x="303" y="385"/>
                  </a:lnTo>
                  <a:lnTo>
                    <a:pt x="300" y="385"/>
                  </a:lnTo>
                  <a:lnTo>
                    <a:pt x="295" y="385"/>
                  </a:lnTo>
                  <a:lnTo>
                    <a:pt x="290" y="383"/>
                  </a:lnTo>
                  <a:lnTo>
                    <a:pt x="286" y="380"/>
                  </a:lnTo>
                  <a:lnTo>
                    <a:pt x="285" y="379"/>
                  </a:lnTo>
                  <a:lnTo>
                    <a:pt x="283" y="377"/>
                  </a:lnTo>
                  <a:lnTo>
                    <a:pt x="283" y="376"/>
                  </a:lnTo>
                  <a:lnTo>
                    <a:pt x="282" y="373"/>
                  </a:lnTo>
                  <a:lnTo>
                    <a:pt x="281" y="371"/>
                  </a:lnTo>
                  <a:lnTo>
                    <a:pt x="281" y="370"/>
                  </a:lnTo>
                  <a:lnTo>
                    <a:pt x="281" y="368"/>
                  </a:lnTo>
                  <a:lnTo>
                    <a:pt x="281" y="366"/>
                  </a:lnTo>
                  <a:lnTo>
                    <a:pt x="282" y="364"/>
                  </a:lnTo>
                  <a:lnTo>
                    <a:pt x="283" y="362"/>
                  </a:lnTo>
                  <a:lnTo>
                    <a:pt x="283" y="360"/>
                  </a:lnTo>
                  <a:lnTo>
                    <a:pt x="284" y="358"/>
                  </a:lnTo>
                  <a:lnTo>
                    <a:pt x="285" y="357"/>
                  </a:lnTo>
                  <a:lnTo>
                    <a:pt x="286" y="356"/>
                  </a:lnTo>
                  <a:lnTo>
                    <a:pt x="287" y="355"/>
                  </a:lnTo>
                  <a:lnTo>
                    <a:pt x="288" y="354"/>
                  </a:lnTo>
                  <a:lnTo>
                    <a:pt x="289" y="354"/>
                  </a:lnTo>
                  <a:lnTo>
                    <a:pt x="290" y="353"/>
                  </a:lnTo>
                  <a:lnTo>
                    <a:pt x="292" y="353"/>
                  </a:lnTo>
                  <a:lnTo>
                    <a:pt x="293" y="353"/>
                  </a:lnTo>
                  <a:lnTo>
                    <a:pt x="294" y="352"/>
                  </a:lnTo>
                  <a:lnTo>
                    <a:pt x="295" y="352"/>
                  </a:lnTo>
                  <a:lnTo>
                    <a:pt x="296" y="351"/>
                  </a:lnTo>
                  <a:lnTo>
                    <a:pt x="297" y="351"/>
                  </a:lnTo>
                  <a:close/>
                  <a:moveTo>
                    <a:pt x="88" y="351"/>
                  </a:moveTo>
                  <a:lnTo>
                    <a:pt x="95" y="353"/>
                  </a:lnTo>
                  <a:lnTo>
                    <a:pt x="96" y="353"/>
                  </a:lnTo>
                  <a:lnTo>
                    <a:pt x="98" y="354"/>
                  </a:lnTo>
                  <a:lnTo>
                    <a:pt x="101" y="356"/>
                  </a:lnTo>
                  <a:lnTo>
                    <a:pt x="103" y="358"/>
                  </a:lnTo>
                  <a:lnTo>
                    <a:pt x="104" y="361"/>
                  </a:lnTo>
                  <a:lnTo>
                    <a:pt x="105" y="365"/>
                  </a:lnTo>
                  <a:lnTo>
                    <a:pt x="105" y="368"/>
                  </a:lnTo>
                  <a:lnTo>
                    <a:pt x="105" y="370"/>
                  </a:lnTo>
                  <a:lnTo>
                    <a:pt x="105" y="371"/>
                  </a:lnTo>
                  <a:lnTo>
                    <a:pt x="105" y="373"/>
                  </a:lnTo>
                  <a:lnTo>
                    <a:pt x="104" y="376"/>
                  </a:lnTo>
                  <a:lnTo>
                    <a:pt x="103" y="377"/>
                  </a:lnTo>
                  <a:lnTo>
                    <a:pt x="102" y="379"/>
                  </a:lnTo>
                  <a:lnTo>
                    <a:pt x="101" y="380"/>
                  </a:lnTo>
                  <a:lnTo>
                    <a:pt x="98" y="382"/>
                  </a:lnTo>
                  <a:lnTo>
                    <a:pt x="96" y="383"/>
                  </a:lnTo>
                  <a:lnTo>
                    <a:pt x="95" y="384"/>
                  </a:lnTo>
                  <a:lnTo>
                    <a:pt x="93" y="384"/>
                  </a:lnTo>
                  <a:lnTo>
                    <a:pt x="91" y="385"/>
                  </a:lnTo>
                  <a:lnTo>
                    <a:pt x="90" y="385"/>
                  </a:lnTo>
                  <a:lnTo>
                    <a:pt x="88" y="385"/>
                  </a:lnTo>
                  <a:lnTo>
                    <a:pt x="85" y="385"/>
                  </a:lnTo>
                  <a:lnTo>
                    <a:pt x="81" y="384"/>
                  </a:lnTo>
                  <a:lnTo>
                    <a:pt x="78" y="382"/>
                  </a:lnTo>
                  <a:lnTo>
                    <a:pt x="76" y="380"/>
                  </a:lnTo>
                  <a:lnTo>
                    <a:pt x="74" y="379"/>
                  </a:lnTo>
                  <a:lnTo>
                    <a:pt x="73" y="377"/>
                  </a:lnTo>
                  <a:lnTo>
                    <a:pt x="72" y="376"/>
                  </a:lnTo>
                  <a:lnTo>
                    <a:pt x="70" y="372"/>
                  </a:lnTo>
                  <a:lnTo>
                    <a:pt x="70" y="370"/>
                  </a:lnTo>
                  <a:lnTo>
                    <a:pt x="70" y="368"/>
                  </a:lnTo>
                  <a:lnTo>
                    <a:pt x="70" y="365"/>
                  </a:lnTo>
                  <a:lnTo>
                    <a:pt x="72" y="361"/>
                  </a:lnTo>
                  <a:lnTo>
                    <a:pt x="74" y="358"/>
                  </a:lnTo>
                  <a:lnTo>
                    <a:pt x="76" y="356"/>
                  </a:lnTo>
                  <a:lnTo>
                    <a:pt x="81" y="352"/>
                  </a:lnTo>
                  <a:lnTo>
                    <a:pt x="88" y="351"/>
                  </a:lnTo>
                  <a:close/>
                  <a:moveTo>
                    <a:pt x="159" y="350"/>
                  </a:moveTo>
                  <a:lnTo>
                    <a:pt x="162" y="351"/>
                  </a:lnTo>
                  <a:lnTo>
                    <a:pt x="165" y="352"/>
                  </a:lnTo>
                  <a:lnTo>
                    <a:pt x="168" y="354"/>
                  </a:lnTo>
                  <a:lnTo>
                    <a:pt x="171" y="356"/>
                  </a:lnTo>
                  <a:lnTo>
                    <a:pt x="173" y="358"/>
                  </a:lnTo>
                  <a:lnTo>
                    <a:pt x="174" y="361"/>
                  </a:lnTo>
                  <a:lnTo>
                    <a:pt x="175" y="365"/>
                  </a:lnTo>
                  <a:lnTo>
                    <a:pt x="175" y="368"/>
                  </a:lnTo>
                  <a:lnTo>
                    <a:pt x="175" y="370"/>
                  </a:lnTo>
                  <a:lnTo>
                    <a:pt x="175" y="372"/>
                  </a:lnTo>
                  <a:lnTo>
                    <a:pt x="174" y="376"/>
                  </a:lnTo>
                  <a:lnTo>
                    <a:pt x="174" y="377"/>
                  </a:lnTo>
                  <a:lnTo>
                    <a:pt x="172" y="379"/>
                  </a:lnTo>
                  <a:lnTo>
                    <a:pt x="171" y="380"/>
                  </a:lnTo>
                  <a:lnTo>
                    <a:pt x="169" y="382"/>
                  </a:lnTo>
                  <a:lnTo>
                    <a:pt x="167" y="383"/>
                  </a:lnTo>
                  <a:lnTo>
                    <a:pt x="165" y="384"/>
                  </a:lnTo>
                  <a:lnTo>
                    <a:pt x="163" y="385"/>
                  </a:lnTo>
                  <a:lnTo>
                    <a:pt x="161" y="385"/>
                  </a:lnTo>
                  <a:lnTo>
                    <a:pt x="158" y="385"/>
                  </a:lnTo>
                  <a:lnTo>
                    <a:pt x="155" y="385"/>
                  </a:lnTo>
                  <a:lnTo>
                    <a:pt x="151" y="384"/>
                  </a:lnTo>
                  <a:lnTo>
                    <a:pt x="148" y="382"/>
                  </a:lnTo>
                  <a:lnTo>
                    <a:pt x="146" y="380"/>
                  </a:lnTo>
                  <a:lnTo>
                    <a:pt x="144" y="379"/>
                  </a:lnTo>
                  <a:lnTo>
                    <a:pt x="143" y="377"/>
                  </a:lnTo>
                  <a:lnTo>
                    <a:pt x="143" y="376"/>
                  </a:lnTo>
                  <a:lnTo>
                    <a:pt x="142" y="373"/>
                  </a:lnTo>
                  <a:lnTo>
                    <a:pt x="141" y="371"/>
                  </a:lnTo>
                  <a:lnTo>
                    <a:pt x="141" y="370"/>
                  </a:lnTo>
                  <a:lnTo>
                    <a:pt x="141" y="368"/>
                  </a:lnTo>
                  <a:lnTo>
                    <a:pt x="141" y="365"/>
                  </a:lnTo>
                  <a:lnTo>
                    <a:pt x="142" y="361"/>
                  </a:lnTo>
                  <a:lnTo>
                    <a:pt x="144" y="358"/>
                  </a:lnTo>
                  <a:lnTo>
                    <a:pt x="146" y="356"/>
                  </a:lnTo>
                  <a:lnTo>
                    <a:pt x="148" y="354"/>
                  </a:lnTo>
                  <a:lnTo>
                    <a:pt x="149" y="353"/>
                  </a:lnTo>
                  <a:lnTo>
                    <a:pt x="150" y="353"/>
                  </a:lnTo>
                  <a:lnTo>
                    <a:pt x="151" y="353"/>
                  </a:lnTo>
                  <a:lnTo>
                    <a:pt x="152" y="352"/>
                  </a:lnTo>
                  <a:lnTo>
                    <a:pt x="153" y="352"/>
                  </a:lnTo>
                  <a:lnTo>
                    <a:pt x="155" y="351"/>
                  </a:lnTo>
                  <a:lnTo>
                    <a:pt x="155" y="351"/>
                  </a:lnTo>
                  <a:lnTo>
                    <a:pt x="159" y="350"/>
                  </a:lnTo>
                  <a:close/>
                  <a:moveTo>
                    <a:pt x="155" y="280"/>
                  </a:moveTo>
                  <a:lnTo>
                    <a:pt x="163" y="280"/>
                  </a:lnTo>
                  <a:lnTo>
                    <a:pt x="171" y="284"/>
                  </a:lnTo>
                  <a:lnTo>
                    <a:pt x="172" y="286"/>
                  </a:lnTo>
                  <a:lnTo>
                    <a:pt x="173" y="288"/>
                  </a:lnTo>
                  <a:lnTo>
                    <a:pt x="174" y="289"/>
                  </a:lnTo>
                  <a:lnTo>
                    <a:pt x="174" y="291"/>
                  </a:lnTo>
                  <a:lnTo>
                    <a:pt x="175" y="294"/>
                  </a:lnTo>
                  <a:lnTo>
                    <a:pt x="175" y="296"/>
                  </a:lnTo>
                  <a:lnTo>
                    <a:pt x="175" y="298"/>
                  </a:lnTo>
                  <a:lnTo>
                    <a:pt x="175" y="300"/>
                  </a:lnTo>
                  <a:lnTo>
                    <a:pt x="175" y="302"/>
                  </a:lnTo>
                  <a:lnTo>
                    <a:pt x="174" y="305"/>
                  </a:lnTo>
                  <a:lnTo>
                    <a:pt x="174" y="306"/>
                  </a:lnTo>
                  <a:lnTo>
                    <a:pt x="173" y="308"/>
                  </a:lnTo>
                  <a:lnTo>
                    <a:pt x="172" y="309"/>
                  </a:lnTo>
                  <a:lnTo>
                    <a:pt x="171" y="311"/>
                  </a:lnTo>
                  <a:lnTo>
                    <a:pt x="168" y="313"/>
                  </a:lnTo>
                  <a:lnTo>
                    <a:pt x="165" y="314"/>
                  </a:lnTo>
                  <a:lnTo>
                    <a:pt x="162" y="315"/>
                  </a:lnTo>
                  <a:lnTo>
                    <a:pt x="158" y="315"/>
                  </a:lnTo>
                  <a:lnTo>
                    <a:pt x="157" y="315"/>
                  </a:lnTo>
                  <a:lnTo>
                    <a:pt x="155" y="315"/>
                  </a:lnTo>
                  <a:lnTo>
                    <a:pt x="153" y="314"/>
                  </a:lnTo>
                  <a:lnTo>
                    <a:pt x="151" y="314"/>
                  </a:lnTo>
                  <a:lnTo>
                    <a:pt x="149" y="313"/>
                  </a:lnTo>
                  <a:lnTo>
                    <a:pt x="148" y="312"/>
                  </a:lnTo>
                  <a:lnTo>
                    <a:pt x="146" y="311"/>
                  </a:lnTo>
                  <a:lnTo>
                    <a:pt x="144" y="308"/>
                  </a:lnTo>
                  <a:lnTo>
                    <a:pt x="142" y="305"/>
                  </a:lnTo>
                  <a:lnTo>
                    <a:pt x="141" y="302"/>
                  </a:lnTo>
                  <a:lnTo>
                    <a:pt x="141" y="298"/>
                  </a:lnTo>
                  <a:lnTo>
                    <a:pt x="141" y="297"/>
                  </a:lnTo>
                  <a:lnTo>
                    <a:pt x="141" y="295"/>
                  </a:lnTo>
                  <a:lnTo>
                    <a:pt x="142" y="293"/>
                  </a:lnTo>
                  <a:lnTo>
                    <a:pt x="143" y="291"/>
                  </a:lnTo>
                  <a:lnTo>
                    <a:pt x="143" y="289"/>
                  </a:lnTo>
                  <a:lnTo>
                    <a:pt x="144" y="288"/>
                  </a:lnTo>
                  <a:lnTo>
                    <a:pt x="145" y="286"/>
                  </a:lnTo>
                  <a:lnTo>
                    <a:pt x="146" y="284"/>
                  </a:lnTo>
                  <a:lnTo>
                    <a:pt x="155" y="280"/>
                  </a:lnTo>
                  <a:close/>
                  <a:moveTo>
                    <a:pt x="86" y="280"/>
                  </a:moveTo>
                  <a:lnTo>
                    <a:pt x="90" y="280"/>
                  </a:lnTo>
                  <a:lnTo>
                    <a:pt x="95" y="281"/>
                  </a:lnTo>
                  <a:lnTo>
                    <a:pt x="96" y="282"/>
                  </a:lnTo>
                  <a:lnTo>
                    <a:pt x="98" y="283"/>
                  </a:lnTo>
                  <a:lnTo>
                    <a:pt x="101" y="284"/>
                  </a:lnTo>
                  <a:lnTo>
                    <a:pt x="102" y="286"/>
                  </a:lnTo>
                  <a:lnTo>
                    <a:pt x="103" y="288"/>
                  </a:lnTo>
                  <a:lnTo>
                    <a:pt x="103" y="289"/>
                  </a:lnTo>
                  <a:lnTo>
                    <a:pt x="104" y="291"/>
                  </a:lnTo>
                  <a:lnTo>
                    <a:pt x="105" y="293"/>
                  </a:lnTo>
                  <a:lnTo>
                    <a:pt x="105" y="295"/>
                  </a:lnTo>
                  <a:lnTo>
                    <a:pt x="105" y="297"/>
                  </a:lnTo>
                  <a:lnTo>
                    <a:pt x="105" y="298"/>
                  </a:lnTo>
                  <a:lnTo>
                    <a:pt x="105" y="300"/>
                  </a:lnTo>
                  <a:lnTo>
                    <a:pt x="105" y="301"/>
                  </a:lnTo>
                  <a:lnTo>
                    <a:pt x="105" y="303"/>
                  </a:lnTo>
                  <a:lnTo>
                    <a:pt x="104" y="305"/>
                  </a:lnTo>
                  <a:lnTo>
                    <a:pt x="103" y="306"/>
                  </a:lnTo>
                  <a:lnTo>
                    <a:pt x="103" y="308"/>
                  </a:lnTo>
                  <a:lnTo>
                    <a:pt x="102" y="309"/>
                  </a:lnTo>
                  <a:lnTo>
                    <a:pt x="101" y="311"/>
                  </a:lnTo>
                  <a:lnTo>
                    <a:pt x="97" y="313"/>
                  </a:lnTo>
                  <a:lnTo>
                    <a:pt x="94" y="314"/>
                  </a:lnTo>
                  <a:lnTo>
                    <a:pt x="92" y="315"/>
                  </a:lnTo>
                  <a:lnTo>
                    <a:pt x="88" y="315"/>
                  </a:lnTo>
                  <a:lnTo>
                    <a:pt x="85" y="315"/>
                  </a:lnTo>
                  <a:lnTo>
                    <a:pt x="81" y="314"/>
                  </a:lnTo>
                  <a:lnTo>
                    <a:pt x="78" y="313"/>
                  </a:lnTo>
                  <a:lnTo>
                    <a:pt x="76" y="311"/>
                  </a:lnTo>
                  <a:lnTo>
                    <a:pt x="74" y="308"/>
                  </a:lnTo>
                  <a:lnTo>
                    <a:pt x="72" y="305"/>
                  </a:lnTo>
                  <a:lnTo>
                    <a:pt x="70" y="302"/>
                  </a:lnTo>
                  <a:lnTo>
                    <a:pt x="70" y="298"/>
                  </a:lnTo>
                  <a:lnTo>
                    <a:pt x="70" y="296"/>
                  </a:lnTo>
                  <a:lnTo>
                    <a:pt x="70" y="294"/>
                  </a:lnTo>
                  <a:lnTo>
                    <a:pt x="72" y="291"/>
                  </a:lnTo>
                  <a:lnTo>
                    <a:pt x="73" y="289"/>
                  </a:lnTo>
                  <a:lnTo>
                    <a:pt x="73" y="288"/>
                  </a:lnTo>
                  <a:lnTo>
                    <a:pt x="74" y="286"/>
                  </a:lnTo>
                  <a:lnTo>
                    <a:pt x="76" y="284"/>
                  </a:lnTo>
                  <a:lnTo>
                    <a:pt x="77" y="283"/>
                  </a:lnTo>
                  <a:lnTo>
                    <a:pt x="78" y="283"/>
                  </a:lnTo>
                  <a:lnTo>
                    <a:pt x="80" y="282"/>
                  </a:lnTo>
                  <a:lnTo>
                    <a:pt x="82" y="281"/>
                  </a:lnTo>
                  <a:lnTo>
                    <a:pt x="86" y="280"/>
                  </a:lnTo>
                  <a:close/>
                  <a:moveTo>
                    <a:pt x="299" y="280"/>
                  </a:moveTo>
                  <a:lnTo>
                    <a:pt x="303" y="280"/>
                  </a:lnTo>
                  <a:lnTo>
                    <a:pt x="306" y="281"/>
                  </a:lnTo>
                  <a:lnTo>
                    <a:pt x="308" y="282"/>
                  </a:lnTo>
                  <a:lnTo>
                    <a:pt x="309" y="283"/>
                  </a:lnTo>
                  <a:lnTo>
                    <a:pt x="311" y="284"/>
                  </a:lnTo>
                  <a:lnTo>
                    <a:pt x="312" y="286"/>
                  </a:lnTo>
                  <a:lnTo>
                    <a:pt x="313" y="288"/>
                  </a:lnTo>
                  <a:lnTo>
                    <a:pt x="314" y="289"/>
                  </a:lnTo>
                  <a:lnTo>
                    <a:pt x="314" y="291"/>
                  </a:lnTo>
                  <a:lnTo>
                    <a:pt x="315" y="294"/>
                  </a:lnTo>
                  <a:lnTo>
                    <a:pt x="316" y="296"/>
                  </a:lnTo>
                  <a:lnTo>
                    <a:pt x="316" y="298"/>
                  </a:lnTo>
                  <a:lnTo>
                    <a:pt x="316" y="300"/>
                  </a:lnTo>
                  <a:lnTo>
                    <a:pt x="315" y="302"/>
                  </a:lnTo>
                  <a:lnTo>
                    <a:pt x="314" y="305"/>
                  </a:lnTo>
                  <a:lnTo>
                    <a:pt x="314" y="306"/>
                  </a:lnTo>
                  <a:lnTo>
                    <a:pt x="313" y="308"/>
                  </a:lnTo>
                  <a:lnTo>
                    <a:pt x="312" y="309"/>
                  </a:lnTo>
                  <a:lnTo>
                    <a:pt x="311" y="311"/>
                  </a:lnTo>
                  <a:lnTo>
                    <a:pt x="309" y="312"/>
                  </a:lnTo>
                  <a:lnTo>
                    <a:pt x="308" y="313"/>
                  </a:lnTo>
                  <a:lnTo>
                    <a:pt x="306" y="314"/>
                  </a:lnTo>
                  <a:lnTo>
                    <a:pt x="303" y="314"/>
                  </a:lnTo>
                  <a:lnTo>
                    <a:pt x="301" y="315"/>
                  </a:lnTo>
                  <a:lnTo>
                    <a:pt x="300" y="315"/>
                  </a:lnTo>
                  <a:lnTo>
                    <a:pt x="298" y="315"/>
                  </a:lnTo>
                  <a:lnTo>
                    <a:pt x="296" y="315"/>
                  </a:lnTo>
                  <a:lnTo>
                    <a:pt x="295" y="314"/>
                  </a:lnTo>
                  <a:lnTo>
                    <a:pt x="293" y="314"/>
                  </a:lnTo>
                  <a:lnTo>
                    <a:pt x="290" y="313"/>
                  </a:lnTo>
                  <a:lnTo>
                    <a:pt x="289" y="312"/>
                  </a:lnTo>
                  <a:lnTo>
                    <a:pt x="287" y="312"/>
                  </a:lnTo>
                  <a:lnTo>
                    <a:pt x="286" y="311"/>
                  </a:lnTo>
                  <a:lnTo>
                    <a:pt x="285" y="309"/>
                  </a:lnTo>
                  <a:lnTo>
                    <a:pt x="284" y="308"/>
                  </a:lnTo>
                  <a:lnTo>
                    <a:pt x="283" y="306"/>
                  </a:lnTo>
                  <a:lnTo>
                    <a:pt x="283" y="305"/>
                  </a:lnTo>
                  <a:lnTo>
                    <a:pt x="282" y="303"/>
                  </a:lnTo>
                  <a:lnTo>
                    <a:pt x="281" y="301"/>
                  </a:lnTo>
                  <a:lnTo>
                    <a:pt x="281" y="300"/>
                  </a:lnTo>
                  <a:lnTo>
                    <a:pt x="281" y="298"/>
                  </a:lnTo>
                  <a:lnTo>
                    <a:pt x="281" y="297"/>
                  </a:lnTo>
                  <a:lnTo>
                    <a:pt x="281" y="295"/>
                  </a:lnTo>
                  <a:lnTo>
                    <a:pt x="282" y="293"/>
                  </a:lnTo>
                  <a:lnTo>
                    <a:pt x="283" y="291"/>
                  </a:lnTo>
                  <a:lnTo>
                    <a:pt x="283" y="289"/>
                  </a:lnTo>
                  <a:lnTo>
                    <a:pt x="284" y="288"/>
                  </a:lnTo>
                  <a:lnTo>
                    <a:pt x="285" y="286"/>
                  </a:lnTo>
                  <a:lnTo>
                    <a:pt x="286" y="284"/>
                  </a:lnTo>
                  <a:lnTo>
                    <a:pt x="287" y="283"/>
                  </a:lnTo>
                  <a:lnTo>
                    <a:pt x="289" y="283"/>
                  </a:lnTo>
                  <a:lnTo>
                    <a:pt x="290" y="282"/>
                  </a:lnTo>
                  <a:lnTo>
                    <a:pt x="293" y="281"/>
                  </a:lnTo>
                  <a:lnTo>
                    <a:pt x="296" y="280"/>
                  </a:lnTo>
                  <a:lnTo>
                    <a:pt x="299" y="280"/>
                  </a:lnTo>
                  <a:close/>
                  <a:moveTo>
                    <a:pt x="85" y="210"/>
                  </a:moveTo>
                  <a:lnTo>
                    <a:pt x="91" y="210"/>
                  </a:lnTo>
                  <a:lnTo>
                    <a:pt x="92" y="210"/>
                  </a:lnTo>
                  <a:lnTo>
                    <a:pt x="93" y="210"/>
                  </a:lnTo>
                  <a:lnTo>
                    <a:pt x="95" y="212"/>
                  </a:lnTo>
                  <a:lnTo>
                    <a:pt x="98" y="212"/>
                  </a:lnTo>
                  <a:lnTo>
                    <a:pt x="98" y="213"/>
                  </a:lnTo>
                  <a:lnTo>
                    <a:pt x="100" y="214"/>
                  </a:lnTo>
                  <a:lnTo>
                    <a:pt x="100" y="215"/>
                  </a:lnTo>
                  <a:lnTo>
                    <a:pt x="101" y="216"/>
                  </a:lnTo>
                  <a:lnTo>
                    <a:pt x="103" y="218"/>
                  </a:lnTo>
                  <a:lnTo>
                    <a:pt x="104" y="221"/>
                  </a:lnTo>
                  <a:lnTo>
                    <a:pt x="105" y="224"/>
                  </a:lnTo>
                  <a:lnTo>
                    <a:pt x="105" y="227"/>
                  </a:lnTo>
                  <a:lnTo>
                    <a:pt x="105" y="229"/>
                  </a:lnTo>
                  <a:lnTo>
                    <a:pt x="105" y="231"/>
                  </a:lnTo>
                  <a:lnTo>
                    <a:pt x="104" y="233"/>
                  </a:lnTo>
                  <a:lnTo>
                    <a:pt x="103" y="235"/>
                  </a:lnTo>
                  <a:lnTo>
                    <a:pt x="103" y="237"/>
                  </a:lnTo>
                  <a:lnTo>
                    <a:pt x="102" y="239"/>
                  </a:lnTo>
                  <a:lnTo>
                    <a:pt x="101" y="241"/>
                  </a:lnTo>
                  <a:lnTo>
                    <a:pt x="98" y="242"/>
                  </a:lnTo>
                  <a:lnTo>
                    <a:pt x="96" y="243"/>
                  </a:lnTo>
                  <a:lnTo>
                    <a:pt x="95" y="244"/>
                  </a:lnTo>
                  <a:lnTo>
                    <a:pt x="93" y="245"/>
                  </a:lnTo>
                  <a:lnTo>
                    <a:pt x="91" y="245"/>
                  </a:lnTo>
                  <a:lnTo>
                    <a:pt x="90" y="245"/>
                  </a:lnTo>
                  <a:lnTo>
                    <a:pt x="88" y="245"/>
                  </a:lnTo>
                  <a:lnTo>
                    <a:pt x="86" y="245"/>
                  </a:lnTo>
                  <a:lnTo>
                    <a:pt x="84" y="245"/>
                  </a:lnTo>
                  <a:lnTo>
                    <a:pt x="82" y="244"/>
                  </a:lnTo>
                  <a:lnTo>
                    <a:pt x="80" y="243"/>
                  </a:lnTo>
                  <a:lnTo>
                    <a:pt x="78" y="243"/>
                  </a:lnTo>
                  <a:lnTo>
                    <a:pt x="77" y="242"/>
                  </a:lnTo>
                  <a:lnTo>
                    <a:pt x="76" y="241"/>
                  </a:lnTo>
                  <a:lnTo>
                    <a:pt x="74" y="237"/>
                  </a:lnTo>
                  <a:lnTo>
                    <a:pt x="72" y="234"/>
                  </a:lnTo>
                  <a:lnTo>
                    <a:pt x="70" y="230"/>
                  </a:lnTo>
                  <a:lnTo>
                    <a:pt x="70" y="227"/>
                  </a:lnTo>
                  <a:lnTo>
                    <a:pt x="70" y="224"/>
                  </a:lnTo>
                  <a:lnTo>
                    <a:pt x="72" y="221"/>
                  </a:lnTo>
                  <a:lnTo>
                    <a:pt x="74" y="218"/>
                  </a:lnTo>
                  <a:lnTo>
                    <a:pt x="76" y="216"/>
                  </a:lnTo>
                  <a:lnTo>
                    <a:pt x="77" y="215"/>
                  </a:lnTo>
                  <a:lnTo>
                    <a:pt x="77" y="214"/>
                  </a:lnTo>
                  <a:lnTo>
                    <a:pt x="78" y="213"/>
                  </a:lnTo>
                  <a:lnTo>
                    <a:pt x="79" y="212"/>
                  </a:lnTo>
                  <a:lnTo>
                    <a:pt x="82" y="212"/>
                  </a:lnTo>
                  <a:lnTo>
                    <a:pt x="82" y="212"/>
                  </a:lnTo>
                  <a:lnTo>
                    <a:pt x="83" y="210"/>
                  </a:lnTo>
                  <a:lnTo>
                    <a:pt x="84" y="210"/>
                  </a:lnTo>
                  <a:lnTo>
                    <a:pt x="85" y="210"/>
                  </a:lnTo>
                  <a:close/>
                  <a:moveTo>
                    <a:pt x="300" y="209"/>
                  </a:moveTo>
                  <a:lnTo>
                    <a:pt x="303" y="210"/>
                  </a:lnTo>
                  <a:lnTo>
                    <a:pt x="306" y="210"/>
                  </a:lnTo>
                  <a:lnTo>
                    <a:pt x="309" y="213"/>
                  </a:lnTo>
                  <a:lnTo>
                    <a:pt x="311" y="216"/>
                  </a:lnTo>
                  <a:lnTo>
                    <a:pt x="313" y="218"/>
                  </a:lnTo>
                  <a:lnTo>
                    <a:pt x="315" y="221"/>
                  </a:lnTo>
                  <a:lnTo>
                    <a:pt x="315" y="224"/>
                  </a:lnTo>
                  <a:lnTo>
                    <a:pt x="316" y="227"/>
                  </a:lnTo>
                  <a:lnTo>
                    <a:pt x="316" y="229"/>
                  </a:lnTo>
                  <a:lnTo>
                    <a:pt x="315" y="231"/>
                  </a:lnTo>
                  <a:lnTo>
                    <a:pt x="314" y="233"/>
                  </a:lnTo>
                  <a:lnTo>
                    <a:pt x="314" y="235"/>
                  </a:lnTo>
                  <a:lnTo>
                    <a:pt x="313" y="237"/>
                  </a:lnTo>
                  <a:lnTo>
                    <a:pt x="312" y="239"/>
                  </a:lnTo>
                  <a:lnTo>
                    <a:pt x="311" y="241"/>
                  </a:lnTo>
                  <a:lnTo>
                    <a:pt x="309" y="242"/>
                  </a:lnTo>
                  <a:lnTo>
                    <a:pt x="308" y="243"/>
                  </a:lnTo>
                  <a:lnTo>
                    <a:pt x="306" y="244"/>
                  </a:lnTo>
                  <a:lnTo>
                    <a:pt x="304" y="245"/>
                  </a:lnTo>
                  <a:lnTo>
                    <a:pt x="302" y="245"/>
                  </a:lnTo>
                  <a:lnTo>
                    <a:pt x="301" y="245"/>
                  </a:lnTo>
                  <a:lnTo>
                    <a:pt x="300" y="245"/>
                  </a:lnTo>
                  <a:lnTo>
                    <a:pt x="297" y="245"/>
                  </a:lnTo>
                  <a:lnTo>
                    <a:pt x="295" y="245"/>
                  </a:lnTo>
                  <a:lnTo>
                    <a:pt x="293" y="244"/>
                  </a:lnTo>
                  <a:lnTo>
                    <a:pt x="290" y="243"/>
                  </a:lnTo>
                  <a:lnTo>
                    <a:pt x="289" y="243"/>
                  </a:lnTo>
                  <a:lnTo>
                    <a:pt x="287" y="242"/>
                  </a:lnTo>
                  <a:lnTo>
                    <a:pt x="286" y="241"/>
                  </a:lnTo>
                  <a:lnTo>
                    <a:pt x="285" y="239"/>
                  </a:lnTo>
                  <a:lnTo>
                    <a:pt x="284" y="237"/>
                  </a:lnTo>
                  <a:lnTo>
                    <a:pt x="283" y="235"/>
                  </a:lnTo>
                  <a:lnTo>
                    <a:pt x="283" y="233"/>
                  </a:lnTo>
                  <a:lnTo>
                    <a:pt x="282" y="231"/>
                  </a:lnTo>
                  <a:lnTo>
                    <a:pt x="281" y="229"/>
                  </a:lnTo>
                  <a:lnTo>
                    <a:pt x="281" y="227"/>
                  </a:lnTo>
                  <a:lnTo>
                    <a:pt x="282" y="224"/>
                  </a:lnTo>
                  <a:lnTo>
                    <a:pt x="283" y="221"/>
                  </a:lnTo>
                  <a:lnTo>
                    <a:pt x="284" y="218"/>
                  </a:lnTo>
                  <a:lnTo>
                    <a:pt x="286" y="216"/>
                  </a:lnTo>
                  <a:lnTo>
                    <a:pt x="287" y="215"/>
                  </a:lnTo>
                  <a:lnTo>
                    <a:pt x="288" y="214"/>
                  </a:lnTo>
                  <a:lnTo>
                    <a:pt x="288" y="213"/>
                  </a:lnTo>
                  <a:lnTo>
                    <a:pt x="289" y="212"/>
                  </a:lnTo>
                  <a:lnTo>
                    <a:pt x="293" y="212"/>
                  </a:lnTo>
                  <a:lnTo>
                    <a:pt x="294" y="212"/>
                  </a:lnTo>
                  <a:lnTo>
                    <a:pt x="295" y="210"/>
                  </a:lnTo>
                  <a:lnTo>
                    <a:pt x="296" y="210"/>
                  </a:lnTo>
                  <a:lnTo>
                    <a:pt x="297" y="210"/>
                  </a:lnTo>
                  <a:lnTo>
                    <a:pt x="300" y="209"/>
                  </a:lnTo>
                  <a:close/>
                  <a:moveTo>
                    <a:pt x="159" y="209"/>
                  </a:moveTo>
                  <a:lnTo>
                    <a:pt x="161" y="210"/>
                  </a:lnTo>
                  <a:lnTo>
                    <a:pt x="162" y="210"/>
                  </a:lnTo>
                  <a:lnTo>
                    <a:pt x="163" y="210"/>
                  </a:lnTo>
                  <a:lnTo>
                    <a:pt x="164" y="212"/>
                  </a:lnTo>
                  <a:lnTo>
                    <a:pt x="165" y="212"/>
                  </a:lnTo>
                  <a:lnTo>
                    <a:pt x="168" y="212"/>
                  </a:lnTo>
                  <a:lnTo>
                    <a:pt x="169" y="213"/>
                  </a:lnTo>
                  <a:lnTo>
                    <a:pt x="169" y="214"/>
                  </a:lnTo>
                  <a:lnTo>
                    <a:pt x="170" y="215"/>
                  </a:lnTo>
                  <a:lnTo>
                    <a:pt x="171" y="216"/>
                  </a:lnTo>
                  <a:lnTo>
                    <a:pt x="173" y="218"/>
                  </a:lnTo>
                  <a:lnTo>
                    <a:pt x="174" y="221"/>
                  </a:lnTo>
                  <a:lnTo>
                    <a:pt x="175" y="224"/>
                  </a:lnTo>
                  <a:lnTo>
                    <a:pt x="175" y="227"/>
                  </a:lnTo>
                  <a:lnTo>
                    <a:pt x="175" y="230"/>
                  </a:lnTo>
                  <a:lnTo>
                    <a:pt x="174" y="234"/>
                  </a:lnTo>
                  <a:lnTo>
                    <a:pt x="173" y="237"/>
                  </a:lnTo>
                  <a:lnTo>
                    <a:pt x="171" y="241"/>
                  </a:lnTo>
                  <a:lnTo>
                    <a:pt x="170" y="242"/>
                  </a:lnTo>
                  <a:lnTo>
                    <a:pt x="168" y="243"/>
                  </a:lnTo>
                  <a:lnTo>
                    <a:pt x="167" y="243"/>
                  </a:lnTo>
                  <a:lnTo>
                    <a:pt x="165" y="244"/>
                  </a:lnTo>
                  <a:lnTo>
                    <a:pt x="163" y="245"/>
                  </a:lnTo>
                  <a:lnTo>
                    <a:pt x="161" y="245"/>
                  </a:lnTo>
                  <a:lnTo>
                    <a:pt x="158" y="245"/>
                  </a:lnTo>
                  <a:lnTo>
                    <a:pt x="157" y="245"/>
                  </a:lnTo>
                  <a:lnTo>
                    <a:pt x="155" y="245"/>
                  </a:lnTo>
                  <a:lnTo>
                    <a:pt x="153" y="245"/>
                  </a:lnTo>
                  <a:lnTo>
                    <a:pt x="151" y="244"/>
                  </a:lnTo>
                  <a:lnTo>
                    <a:pt x="149" y="243"/>
                  </a:lnTo>
                  <a:lnTo>
                    <a:pt x="148" y="242"/>
                  </a:lnTo>
                  <a:lnTo>
                    <a:pt x="146" y="241"/>
                  </a:lnTo>
                  <a:lnTo>
                    <a:pt x="145" y="239"/>
                  </a:lnTo>
                  <a:lnTo>
                    <a:pt x="144" y="237"/>
                  </a:lnTo>
                  <a:lnTo>
                    <a:pt x="143" y="235"/>
                  </a:lnTo>
                  <a:lnTo>
                    <a:pt x="143" y="233"/>
                  </a:lnTo>
                  <a:lnTo>
                    <a:pt x="142" y="231"/>
                  </a:lnTo>
                  <a:lnTo>
                    <a:pt x="141" y="229"/>
                  </a:lnTo>
                  <a:lnTo>
                    <a:pt x="141" y="227"/>
                  </a:lnTo>
                  <a:lnTo>
                    <a:pt x="141" y="224"/>
                  </a:lnTo>
                  <a:lnTo>
                    <a:pt x="142" y="221"/>
                  </a:lnTo>
                  <a:lnTo>
                    <a:pt x="144" y="218"/>
                  </a:lnTo>
                  <a:lnTo>
                    <a:pt x="146" y="216"/>
                  </a:lnTo>
                  <a:lnTo>
                    <a:pt x="148" y="214"/>
                  </a:lnTo>
                  <a:lnTo>
                    <a:pt x="149" y="213"/>
                  </a:lnTo>
                  <a:lnTo>
                    <a:pt x="151" y="212"/>
                  </a:lnTo>
                  <a:lnTo>
                    <a:pt x="153" y="210"/>
                  </a:lnTo>
                  <a:lnTo>
                    <a:pt x="157" y="209"/>
                  </a:lnTo>
                  <a:lnTo>
                    <a:pt x="159" y="209"/>
                  </a:lnTo>
                  <a:close/>
                  <a:moveTo>
                    <a:pt x="247" y="174"/>
                  </a:moveTo>
                  <a:lnTo>
                    <a:pt x="247" y="491"/>
                  </a:lnTo>
                  <a:lnTo>
                    <a:pt x="281" y="491"/>
                  </a:lnTo>
                  <a:lnTo>
                    <a:pt x="281" y="438"/>
                  </a:lnTo>
                  <a:lnTo>
                    <a:pt x="284" y="430"/>
                  </a:lnTo>
                  <a:lnTo>
                    <a:pt x="290" y="423"/>
                  </a:lnTo>
                  <a:lnTo>
                    <a:pt x="300" y="421"/>
                  </a:lnTo>
                  <a:lnTo>
                    <a:pt x="304" y="422"/>
                  </a:lnTo>
                  <a:lnTo>
                    <a:pt x="308" y="423"/>
                  </a:lnTo>
                  <a:lnTo>
                    <a:pt x="311" y="426"/>
                  </a:lnTo>
                  <a:lnTo>
                    <a:pt x="314" y="430"/>
                  </a:lnTo>
                  <a:lnTo>
                    <a:pt x="315" y="433"/>
                  </a:lnTo>
                  <a:lnTo>
                    <a:pt x="316" y="438"/>
                  </a:lnTo>
                  <a:lnTo>
                    <a:pt x="316" y="491"/>
                  </a:lnTo>
                  <a:lnTo>
                    <a:pt x="353" y="491"/>
                  </a:lnTo>
                  <a:lnTo>
                    <a:pt x="353" y="174"/>
                  </a:lnTo>
                  <a:lnTo>
                    <a:pt x="247" y="174"/>
                  </a:lnTo>
                  <a:close/>
                  <a:moveTo>
                    <a:pt x="158" y="140"/>
                  </a:moveTo>
                  <a:lnTo>
                    <a:pt x="165" y="141"/>
                  </a:lnTo>
                  <a:lnTo>
                    <a:pt x="171" y="144"/>
                  </a:lnTo>
                  <a:lnTo>
                    <a:pt x="172" y="146"/>
                  </a:lnTo>
                  <a:lnTo>
                    <a:pt x="173" y="147"/>
                  </a:lnTo>
                  <a:lnTo>
                    <a:pt x="174" y="149"/>
                  </a:lnTo>
                  <a:lnTo>
                    <a:pt x="174" y="151"/>
                  </a:lnTo>
                  <a:lnTo>
                    <a:pt x="175" y="152"/>
                  </a:lnTo>
                  <a:lnTo>
                    <a:pt x="175" y="154"/>
                  </a:lnTo>
                  <a:lnTo>
                    <a:pt x="175" y="158"/>
                  </a:lnTo>
                  <a:lnTo>
                    <a:pt x="175" y="161"/>
                  </a:lnTo>
                  <a:lnTo>
                    <a:pt x="174" y="164"/>
                  </a:lnTo>
                  <a:lnTo>
                    <a:pt x="173" y="167"/>
                  </a:lnTo>
                  <a:lnTo>
                    <a:pt x="171" y="169"/>
                  </a:lnTo>
                  <a:lnTo>
                    <a:pt x="170" y="170"/>
                  </a:lnTo>
                  <a:lnTo>
                    <a:pt x="168" y="171"/>
                  </a:lnTo>
                  <a:lnTo>
                    <a:pt x="167" y="172"/>
                  </a:lnTo>
                  <a:lnTo>
                    <a:pt x="165" y="172"/>
                  </a:lnTo>
                  <a:lnTo>
                    <a:pt x="163" y="173"/>
                  </a:lnTo>
                  <a:lnTo>
                    <a:pt x="161" y="174"/>
                  </a:lnTo>
                  <a:lnTo>
                    <a:pt x="158" y="174"/>
                  </a:lnTo>
                  <a:lnTo>
                    <a:pt x="157" y="174"/>
                  </a:lnTo>
                  <a:lnTo>
                    <a:pt x="155" y="174"/>
                  </a:lnTo>
                  <a:lnTo>
                    <a:pt x="153" y="173"/>
                  </a:lnTo>
                  <a:lnTo>
                    <a:pt x="151" y="172"/>
                  </a:lnTo>
                  <a:lnTo>
                    <a:pt x="149" y="172"/>
                  </a:lnTo>
                  <a:lnTo>
                    <a:pt x="148" y="171"/>
                  </a:lnTo>
                  <a:lnTo>
                    <a:pt x="146" y="169"/>
                  </a:lnTo>
                  <a:lnTo>
                    <a:pt x="144" y="167"/>
                  </a:lnTo>
                  <a:lnTo>
                    <a:pt x="142" y="164"/>
                  </a:lnTo>
                  <a:lnTo>
                    <a:pt x="141" y="161"/>
                  </a:lnTo>
                  <a:lnTo>
                    <a:pt x="141" y="158"/>
                  </a:lnTo>
                  <a:lnTo>
                    <a:pt x="141" y="154"/>
                  </a:lnTo>
                  <a:lnTo>
                    <a:pt x="142" y="152"/>
                  </a:lnTo>
                  <a:lnTo>
                    <a:pt x="143" y="151"/>
                  </a:lnTo>
                  <a:lnTo>
                    <a:pt x="143" y="149"/>
                  </a:lnTo>
                  <a:lnTo>
                    <a:pt x="144" y="147"/>
                  </a:lnTo>
                  <a:lnTo>
                    <a:pt x="145" y="146"/>
                  </a:lnTo>
                  <a:lnTo>
                    <a:pt x="146" y="144"/>
                  </a:lnTo>
                  <a:lnTo>
                    <a:pt x="148" y="143"/>
                  </a:lnTo>
                  <a:lnTo>
                    <a:pt x="149" y="142"/>
                  </a:lnTo>
                  <a:lnTo>
                    <a:pt x="151" y="141"/>
                  </a:lnTo>
                  <a:lnTo>
                    <a:pt x="158" y="140"/>
                  </a:lnTo>
                  <a:close/>
                  <a:moveTo>
                    <a:pt x="85" y="140"/>
                  </a:moveTo>
                  <a:lnTo>
                    <a:pt x="88" y="140"/>
                  </a:lnTo>
                  <a:lnTo>
                    <a:pt x="92" y="140"/>
                  </a:lnTo>
                  <a:lnTo>
                    <a:pt x="95" y="141"/>
                  </a:lnTo>
                  <a:lnTo>
                    <a:pt x="96" y="142"/>
                  </a:lnTo>
                  <a:lnTo>
                    <a:pt x="98" y="143"/>
                  </a:lnTo>
                  <a:lnTo>
                    <a:pt x="101" y="144"/>
                  </a:lnTo>
                  <a:lnTo>
                    <a:pt x="102" y="146"/>
                  </a:lnTo>
                  <a:lnTo>
                    <a:pt x="103" y="147"/>
                  </a:lnTo>
                  <a:lnTo>
                    <a:pt x="103" y="149"/>
                  </a:lnTo>
                  <a:lnTo>
                    <a:pt x="104" y="151"/>
                  </a:lnTo>
                  <a:lnTo>
                    <a:pt x="105" y="152"/>
                  </a:lnTo>
                  <a:lnTo>
                    <a:pt x="105" y="154"/>
                  </a:lnTo>
                  <a:lnTo>
                    <a:pt x="105" y="158"/>
                  </a:lnTo>
                  <a:lnTo>
                    <a:pt x="105" y="161"/>
                  </a:lnTo>
                  <a:lnTo>
                    <a:pt x="104" y="164"/>
                  </a:lnTo>
                  <a:lnTo>
                    <a:pt x="103" y="167"/>
                  </a:lnTo>
                  <a:lnTo>
                    <a:pt x="101" y="169"/>
                  </a:lnTo>
                  <a:lnTo>
                    <a:pt x="97" y="171"/>
                  </a:lnTo>
                  <a:lnTo>
                    <a:pt x="94" y="173"/>
                  </a:lnTo>
                  <a:lnTo>
                    <a:pt x="92" y="174"/>
                  </a:lnTo>
                  <a:lnTo>
                    <a:pt x="88" y="174"/>
                  </a:lnTo>
                  <a:lnTo>
                    <a:pt x="86" y="174"/>
                  </a:lnTo>
                  <a:lnTo>
                    <a:pt x="84" y="173"/>
                  </a:lnTo>
                  <a:lnTo>
                    <a:pt x="82" y="172"/>
                  </a:lnTo>
                  <a:lnTo>
                    <a:pt x="80" y="172"/>
                  </a:lnTo>
                  <a:lnTo>
                    <a:pt x="78" y="171"/>
                  </a:lnTo>
                  <a:lnTo>
                    <a:pt x="77" y="170"/>
                  </a:lnTo>
                  <a:lnTo>
                    <a:pt x="76" y="169"/>
                  </a:lnTo>
                  <a:lnTo>
                    <a:pt x="74" y="167"/>
                  </a:lnTo>
                  <a:lnTo>
                    <a:pt x="72" y="164"/>
                  </a:lnTo>
                  <a:lnTo>
                    <a:pt x="70" y="161"/>
                  </a:lnTo>
                  <a:lnTo>
                    <a:pt x="70" y="158"/>
                  </a:lnTo>
                  <a:lnTo>
                    <a:pt x="70" y="154"/>
                  </a:lnTo>
                  <a:lnTo>
                    <a:pt x="70" y="152"/>
                  </a:lnTo>
                  <a:lnTo>
                    <a:pt x="72" y="151"/>
                  </a:lnTo>
                  <a:lnTo>
                    <a:pt x="73" y="149"/>
                  </a:lnTo>
                  <a:lnTo>
                    <a:pt x="73" y="147"/>
                  </a:lnTo>
                  <a:lnTo>
                    <a:pt x="74" y="146"/>
                  </a:lnTo>
                  <a:lnTo>
                    <a:pt x="76" y="144"/>
                  </a:lnTo>
                  <a:lnTo>
                    <a:pt x="77" y="144"/>
                  </a:lnTo>
                  <a:lnTo>
                    <a:pt x="77" y="144"/>
                  </a:lnTo>
                  <a:lnTo>
                    <a:pt x="78" y="143"/>
                  </a:lnTo>
                  <a:lnTo>
                    <a:pt x="79" y="143"/>
                  </a:lnTo>
                  <a:lnTo>
                    <a:pt x="79" y="142"/>
                  </a:lnTo>
                  <a:lnTo>
                    <a:pt x="80" y="141"/>
                  </a:lnTo>
                  <a:lnTo>
                    <a:pt x="81" y="141"/>
                  </a:lnTo>
                  <a:lnTo>
                    <a:pt x="82" y="141"/>
                  </a:lnTo>
                  <a:lnTo>
                    <a:pt x="82" y="141"/>
                  </a:lnTo>
                  <a:lnTo>
                    <a:pt x="83" y="140"/>
                  </a:lnTo>
                  <a:lnTo>
                    <a:pt x="84" y="140"/>
                  </a:lnTo>
                  <a:lnTo>
                    <a:pt x="85" y="140"/>
                  </a:lnTo>
                  <a:close/>
                  <a:moveTo>
                    <a:pt x="83" y="69"/>
                  </a:moveTo>
                  <a:lnTo>
                    <a:pt x="92" y="69"/>
                  </a:lnTo>
                  <a:lnTo>
                    <a:pt x="101" y="73"/>
                  </a:lnTo>
                  <a:lnTo>
                    <a:pt x="102" y="74"/>
                  </a:lnTo>
                  <a:lnTo>
                    <a:pt x="103" y="77"/>
                  </a:lnTo>
                  <a:lnTo>
                    <a:pt x="103" y="79"/>
                  </a:lnTo>
                  <a:lnTo>
                    <a:pt x="104" y="80"/>
                  </a:lnTo>
                  <a:lnTo>
                    <a:pt x="105" y="82"/>
                  </a:lnTo>
                  <a:lnTo>
                    <a:pt x="105" y="84"/>
                  </a:lnTo>
                  <a:lnTo>
                    <a:pt x="105" y="85"/>
                  </a:lnTo>
                  <a:lnTo>
                    <a:pt x="105" y="87"/>
                  </a:lnTo>
                  <a:lnTo>
                    <a:pt x="105" y="90"/>
                  </a:lnTo>
                  <a:lnTo>
                    <a:pt x="104" y="94"/>
                  </a:lnTo>
                  <a:lnTo>
                    <a:pt x="103" y="97"/>
                  </a:lnTo>
                  <a:lnTo>
                    <a:pt x="101" y="99"/>
                  </a:lnTo>
                  <a:lnTo>
                    <a:pt x="97" y="103"/>
                  </a:lnTo>
                  <a:lnTo>
                    <a:pt x="94" y="104"/>
                  </a:lnTo>
                  <a:lnTo>
                    <a:pt x="92" y="105"/>
                  </a:lnTo>
                  <a:lnTo>
                    <a:pt x="88" y="105"/>
                  </a:lnTo>
                  <a:lnTo>
                    <a:pt x="86" y="105"/>
                  </a:lnTo>
                  <a:lnTo>
                    <a:pt x="84" y="104"/>
                  </a:lnTo>
                  <a:lnTo>
                    <a:pt x="82" y="104"/>
                  </a:lnTo>
                  <a:lnTo>
                    <a:pt x="80" y="103"/>
                  </a:lnTo>
                  <a:lnTo>
                    <a:pt x="78" y="101"/>
                  </a:lnTo>
                  <a:lnTo>
                    <a:pt x="77" y="100"/>
                  </a:lnTo>
                  <a:lnTo>
                    <a:pt x="76" y="99"/>
                  </a:lnTo>
                  <a:lnTo>
                    <a:pt x="74" y="97"/>
                  </a:lnTo>
                  <a:lnTo>
                    <a:pt x="72" y="94"/>
                  </a:lnTo>
                  <a:lnTo>
                    <a:pt x="70" y="90"/>
                  </a:lnTo>
                  <a:lnTo>
                    <a:pt x="70" y="87"/>
                  </a:lnTo>
                  <a:lnTo>
                    <a:pt x="70" y="85"/>
                  </a:lnTo>
                  <a:lnTo>
                    <a:pt x="70" y="82"/>
                  </a:lnTo>
                  <a:lnTo>
                    <a:pt x="72" y="80"/>
                  </a:lnTo>
                  <a:lnTo>
                    <a:pt x="73" y="79"/>
                  </a:lnTo>
                  <a:lnTo>
                    <a:pt x="73" y="77"/>
                  </a:lnTo>
                  <a:lnTo>
                    <a:pt x="74" y="74"/>
                  </a:lnTo>
                  <a:lnTo>
                    <a:pt x="76" y="73"/>
                  </a:lnTo>
                  <a:lnTo>
                    <a:pt x="83" y="69"/>
                  </a:lnTo>
                  <a:close/>
                  <a:moveTo>
                    <a:pt x="159" y="68"/>
                  </a:moveTo>
                  <a:lnTo>
                    <a:pt x="165" y="70"/>
                  </a:lnTo>
                  <a:lnTo>
                    <a:pt x="167" y="71"/>
                  </a:lnTo>
                  <a:lnTo>
                    <a:pt x="168" y="71"/>
                  </a:lnTo>
                  <a:lnTo>
                    <a:pt x="170" y="72"/>
                  </a:lnTo>
                  <a:lnTo>
                    <a:pt x="171" y="73"/>
                  </a:lnTo>
                  <a:lnTo>
                    <a:pt x="172" y="74"/>
                  </a:lnTo>
                  <a:lnTo>
                    <a:pt x="173" y="77"/>
                  </a:lnTo>
                  <a:lnTo>
                    <a:pt x="174" y="79"/>
                  </a:lnTo>
                  <a:lnTo>
                    <a:pt x="174" y="80"/>
                  </a:lnTo>
                  <a:lnTo>
                    <a:pt x="175" y="82"/>
                  </a:lnTo>
                  <a:lnTo>
                    <a:pt x="175" y="85"/>
                  </a:lnTo>
                  <a:lnTo>
                    <a:pt x="175" y="87"/>
                  </a:lnTo>
                  <a:lnTo>
                    <a:pt x="175" y="89"/>
                  </a:lnTo>
                  <a:lnTo>
                    <a:pt x="175" y="91"/>
                  </a:lnTo>
                  <a:lnTo>
                    <a:pt x="174" y="93"/>
                  </a:lnTo>
                  <a:lnTo>
                    <a:pt x="174" y="95"/>
                  </a:lnTo>
                  <a:lnTo>
                    <a:pt x="172" y="97"/>
                  </a:lnTo>
                  <a:lnTo>
                    <a:pt x="171" y="99"/>
                  </a:lnTo>
                  <a:lnTo>
                    <a:pt x="170" y="100"/>
                  </a:lnTo>
                  <a:lnTo>
                    <a:pt x="168" y="101"/>
                  </a:lnTo>
                  <a:lnTo>
                    <a:pt x="167" y="103"/>
                  </a:lnTo>
                  <a:lnTo>
                    <a:pt x="165" y="104"/>
                  </a:lnTo>
                  <a:lnTo>
                    <a:pt x="163" y="104"/>
                  </a:lnTo>
                  <a:lnTo>
                    <a:pt x="161" y="105"/>
                  </a:lnTo>
                  <a:lnTo>
                    <a:pt x="158" y="105"/>
                  </a:lnTo>
                  <a:lnTo>
                    <a:pt x="155" y="105"/>
                  </a:lnTo>
                  <a:lnTo>
                    <a:pt x="151" y="104"/>
                  </a:lnTo>
                  <a:lnTo>
                    <a:pt x="148" y="103"/>
                  </a:lnTo>
                  <a:lnTo>
                    <a:pt x="146" y="99"/>
                  </a:lnTo>
                  <a:lnTo>
                    <a:pt x="144" y="97"/>
                  </a:lnTo>
                  <a:lnTo>
                    <a:pt x="142" y="94"/>
                  </a:lnTo>
                  <a:lnTo>
                    <a:pt x="141" y="90"/>
                  </a:lnTo>
                  <a:lnTo>
                    <a:pt x="141" y="87"/>
                  </a:lnTo>
                  <a:lnTo>
                    <a:pt x="141" y="85"/>
                  </a:lnTo>
                  <a:lnTo>
                    <a:pt x="141" y="84"/>
                  </a:lnTo>
                  <a:lnTo>
                    <a:pt x="142" y="82"/>
                  </a:lnTo>
                  <a:lnTo>
                    <a:pt x="143" y="80"/>
                  </a:lnTo>
                  <a:lnTo>
                    <a:pt x="143" y="79"/>
                  </a:lnTo>
                  <a:lnTo>
                    <a:pt x="144" y="77"/>
                  </a:lnTo>
                  <a:lnTo>
                    <a:pt x="145" y="74"/>
                  </a:lnTo>
                  <a:lnTo>
                    <a:pt x="146" y="73"/>
                  </a:lnTo>
                  <a:lnTo>
                    <a:pt x="152" y="69"/>
                  </a:lnTo>
                  <a:lnTo>
                    <a:pt x="159" y="68"/>
                  </a:lnTo>
                  <a:close/>
                  <a:moveTo>
                    <a:pt x="36" y="34"/>
                  </a:moveTo>
                  <a:lnTo>
                    <a:pt x="36" y="491"/>
                  </a:lnTo>
                  <a:lnTo>
                    <a:pt x="70" y="491"/>
                  </a:lnTo>
                  <a:lnTo>
                    <a:pt x="70" y="438"/>
                  </a:lnTo>
                  <a:lnTo>
                    <a:pt x="73" y="430"/>
                  </a:lnTo>
                  <a:lnTo>
                    <a:pt x="80" y="423"/>
                  </a:lnTo>
                  <a:lnTo>
                    <a:pt x="88" y="421"/>
                  </a:lnTo>
                  <a:lnTo>
                    <a:pt x="93" y="422"/>
                  </a:lnTo>
                  <a:lnTo>
                    <a:pt x="97" y="423"/>
                  </a:lnTo>
                  <a:lnTo>
                    <a:pt x="101" y="426"/>
                  </a:lnTo>
                  <a:lnTo>
                    <a:pt x="103" y="430"/>
                  </a:lnTo>
                  <a:lnTo>
                    <a:pt x="105" y="433"/>
                  </a:lnTo>
                  <a:lnTo>
                    <a:pt x="105" y="438"/>
                  </a:lnTo>
                  <a:lnTo>
                    <a:pt x="105" y="491"/>
                  </a:lnTo>
                  <a:lnTo>
                    <a:pt x="211" y="491"/>
                  </a:lnTo>
                  <a:lnTo>
                    <a:pt x="211" y="34"/>
                  </a:lnTo>
                  <a:lnTo>
                    <a:pt x="36" y="34"/>
                  </a:lnTo>
                  <a:close/>
                  <a:moveTo>
                    <a:pt x="18" y="0"/>
                  </a:moveTo>
                  <a:lnTo>
                    <a:pt x="229" y="0"/>
                  </a:lnTo>
                  <a:lnTo>
                    <a:pt x="238" y="2"/>
                  </a:lnTo>
                  <a:lnTo>
                    <a:pt x="245" y="7"/>
                  </a:lnTo>
                  <a:lnTo>
                    <a:pt x="247" y="16"/>
                  </a:lnTo>
                  <a:lnTo>
                    <a:pt x="247" y="140"/>
                  </a:lnTo>
                  <a:lnTo>
                    <a:pt x="369" y="140"/>
                  </a:lnTo>
                  <a:lnTo>
                    <a:pt x="378" y="142"/>
                  </a:lnTo>
                  <a:lnTo>
                    <a:pt x="385" y="148"/>
                  </a:lnTo>
                  <a:lnTo>
                    <a:pt x="387" y="158"/>
                  </a:lnTo>
                  <a:lnTo>
                    <a:pt x="387" y="508"/>
                  </a:lnTo>
                  <a:lnTo>
                    <a:pt x="385" y="518"/>
                  </a:lnTo>
                  <a:lnTo>
                    <a:pt x="378" y="524"/>
                  </a:lnTo>
                  <a:lnTo>
                    <a:pt x="369" y="527"/>
                  </a:lnTo>
                  <a:lnTo>
                    <a:pt x="18" y="527"/>
                  </a:lnTo>
                  <a:lnTo>
                    <a:pt x="8" y="524"/>
                  </a:lnTo>
                  <a:lnTo>
                    <a:pt x="2" y="518"/>
                  </a:lnTo>
                  <a:lnTo>
                    <a:pt x="0" y="508"/>
                  </a:lnTo>
                  <a:lnTo>
                    <a:pt x="0" y="16"/>
                  </a:lnTo>
                  <a:lnTo>
                    <a:pt x="2" y="7"/>
                  </a:lnTo>
                  <a:lnTo>
                    <a:pt x="8"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87">
              <a:extLst>
                <a:ext uri="{FF2B5EF4-FFF2-40B4-BE49-F238E27FC236}">
                  <a16:creationId xmlns:a16="http://schemas.microsoft.com/office/drawing/2014/main" id="{264E5939-5FEC-1C42-95D5-5D164AC5639D}"/>
                </a:ext>
              </a:extLst>
            </p:cNvPr>
            <p:cNvSpPr>
              <a:spLocks/>
            </p:cNvSpPr>
            <p:nvPr/>
          </p:nvSpPr>
          <p:spPr bwMode="auto">
            <a:xfrm>
              <a:off x="3911601" y="4765675"/>
              <a:ext cx="152400" cy="74613"/>
            </a:xfrm>
            <a:custGeom>
              <a:avLst/>
              <a:gdLst>
                <a:gd name="T0" fmla="*/ 17 w 96"/>
                <a:gd name="T1" fmla="*/ 0 h 47"/>
                <a:gd name="T2" fmla="*/ 80 w 96"/>
                <a:gd name="T3" fmla="*/ 0 h 47"/>
                <a:gd name="T4" fmla="*/ 88 w 96"/>
                <a:gd name="T5" fmla="*/ 14 h 47"/>
                <a:gd name="T6" fmla="*/ 93 w 96"/>
                <a:gd name="T7" fmla="*/ 26 h 47"/>
                <a:gd name="T8" fmla="*/ 95 w 96"/>
                <a:gd name="T9" fmla="*/ 35 h 47"/>
                <a:gd name="T10" fmla="*/ 96 w 96"/>
                <a:gd name="T11" fmla="*/ 41 h 47"/>
                <a:gd name="T12" fmla="*/ 96 w 96"/>
                <a:gd name="T13" fmla="*/ 45 h 47"/>
                <a:gd name="T14" fmla="*/ 95 w 96"/>
                <a:gd name="T15" fmla="*/ 47 h 47"/>
                <a:gd name="T16" fmla="*/ 1 w 96"/>
                <a:gd name="T17" fmla="*/ 47 h 47"/>
                <a:gd name="T18" fmla="*/ 0 w 96"/>
                <a:gd name="T19" fmla="*/ 39 h 47"/>
                <a:gd name="T20" fmla="*/ 2 w 96"/>
                <a:gd name="T21" fmla="*/ 32 h 47"/>
                <a:gd name="T22" fmla="*/ 5 w 96"/>
                <a:gd name="T23" fmla="*/ 23 h 47"/>
                <a:gd name="T24" fmla="*/ 9 w 96"/>
                <a:gd name="T25" fmla="*/ 14 h 47"/>
                <a:gd name="T26" fmla="*/ 13 w 96"/>
                <a:gd name="T27" fmla="*/ 7 h 47"/>
                <a:gd name="T28" fmla="*/ 16 w 96"/>
                <a:gd name="T29" fmla="*/ 2 h 47"/>
                <a:gd name="T30" fmla="*/ 17 w 96"/>
                <a:gd name="T3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7">
                  <a:moveTo>
                    <a:pt x="17" y="0"/>
                  </a:moveTo>
                  <a:lnTo>
                    <a:pt x="80" y="0"/>
                  </a:lnTo>
                  <a:lnTo>
                    <a:pt x="88" y="14"/>
                  </a:lnTo>
                  <a:lnTo>
                    <a:pt x="93" y="26"/>
                  </a:lnTo>
                  <a:lnTo>
                    <a:pt x="95" y="35"/>
                  </a:lnTo>
                  <a:lnTo>
                    <a:pt x="96" y="41"/>
                  </a:lnTo>
                  <a:lnTo>
                    <a:pt x="96" y="45"/>
                  </a:lnTo>
                  <a:lnTo>
                    <a:pt x="95" y="47"/>
                  </a:lnTo>
                  <a:lnTo>
                    <a:pt x="1" y="47"/>
                  </a:lnTo>
                  <a:lnTo>
                    <a:pt x="0" y="39"/>
                  </a:lnTo>
                  <a:lnTo>
                    <a:pt x="2" y="32"/>
                  </a:lnTo>
                  <a:lnTo>
                    <a:pt x="5" y="23"/>
                  </a:lnTo>
                  <a:lnTo>
                    <a:pt x="9" y="14"/>
                  </a:lnTo>
                  <a:lnTo>
                    <a:pt x="13" y="7"/>
                  </a:lnTo>
                  <a:lnTo>
                    <a:pt x="16" y="2"/>
                  </a:lnTo>
                  <a:lnTo>
                    <a:pt x="1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Freeform 88">
              <a:extLst>
                <a:ext uri="{FF2B5EF4-FFF2-40B4-BE49-F238E27FC236}">
                  <a16:creationId xmlns:a16="http://schemas.microsoft.com/office/drawing/2014/main" id="{33A3EBC7-021C-6742-BC31-B32E954F356D}"/>
                </a:ext>
              </a:extLst>
            </p:cNvPr>
            <p:cNvSpPr>
              <a:spLocks/>
            </p:cNvSpPr>
            <p:nvPr/>
          </p:nvSpPr>
          <p:spPr bwMode="auto">
            <a:xfrm>
              <a:off x="3822701" y="4856163"/>
              <a:ext cx="150813" cy="73025"/>
            </a:xfrm>
            <a:custGeom>
              <a:avLst/>
              <a:gdLst>
                <a:gd name="T0" fmla="*/ 16 w 95"/>
                <a:gd name="T1" fmla="*/ 0 h 46"/>
                <a:gd name="T2" fmla="*/ 79 w 95"/>
                <a:gd name="T3" fmla="*/ 0 h 46"/>
                <a:gd name="T4" fmla="*/ 87 w 95"/>
                <a:gd name="T5" fmla="*/ 15 h 46"/>
                <a:gd name="T6" fmla="*/ 92 w 95"/>
                <a:gd name="T7" fmla="*/ 26 h 46"/>
                <a:gd name="T8" fmla="*/ 95 w 95"/>
                <a:gd name="T9" fmla="*/ 35 h 46"/>
                <a:gd name="T10" fmla="*/ 95 w 95"/>
                <a:gd name="T11" fmla="*/ 42 h 46"/>
                <a:gd name="T12" fmla="*/ 95 w 95"/>
                <a:gd name="T13" fmla="*/ 45 h 46"/>
                <a:gd name="T14" fmla="*/ 95 w 95"/>
                <a:gd name="T15" fmla="*/ 46 h 46"/>
                <a:gd name="T16" fmla="*/ 1 w 95"/>
                <a:gd name="T17" fmla="*/ 46 h 46"/>
                <a:gd name="T18" fmla="*/ 0 w 95"/>
                <a:gd name="T19" fmla="*/ 39 h 46"/>
                <a:gd name="T20" fmla="*/ 1 w 95"/>
                <a:gd name="T21" fmla="*/ 31 h 46"/>
                <a:gd name="T22" fmla="*/ 4 w 95"/>
                <a:gd name="T23" fmla="*/ 23 h 46"/>
                <a:gd name="T24" fmla="*/ 8 w 95"/>
                <a:gd name="T25" fmla="*/ 15 h 46"/>
                <a:gd name="T26" fmla="*/ 12 w 95"/>
                <a:gd name="T27" fmla="*/ 7 h 46"/>
                <a:gd name="T28" fmla="*/ 15 w 95"/>
                <a:gd name="T29" fmla="*/ 2 h 46"/>
                <a:gd name="T30" fmla="*/ 16 w 95"/>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46">
                  <a:moveTo>
                    <a:pt x="16" y="0"/>
                  </a:moveTo>
                  <a:lnTo>
                    <a:pt x="79" y="0"/>
                  </a:lnTo>
                  <a:lnTo>
                    <a:pt x="87" y="15"/>
                  </a:lnTo>
                  <a:lnTo>
                    <a:pt x="92" y="26"/>
                  </a:lnTo>
                  <a:lnTo>
                    <a:pt x="95" y="35"/>
                  </a:lnTo>
                  <a:lnTo>
                    <a:pt x="95" y="42"/>
                  </a:lnTo>
                  <a:lnTo>
                    <a:pt x="95" y="45"/>
                  </a:lnTo>
                  <a:lnTo>
                    <a:pt x="95" y="46"/>
                  </a:lnTo>
                  <a:lnTo>
                    <a:pt x="1" y="46"/>
                  </a:lnTo>
                  <a:lnTo>
                    <a:pt x="0" y="39"/>
                  </a:lnTo>
                  <a:lnTo>
                    <a:pt x="1" y="31"/>
                  </a:lnTo>
                  <a:lnTo>
                    <a:pt x="4" y="23"/>
                  </a:lnTo>
                  <a:lnTo>
                    <a:pt x="8" y="15"/>
                  </a:lnTo>
                  <a:lnTo>
                    <a:pt x="12" y="7"/>
                  </a:lnTo>
                  <a:lnTo>
                    <a:pt x="15" y="2"/>
                  </a:lnTo>
                  <a:lnTo>
                    <a:pt x="1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89">
              <a:extLst>
                <a:ext uri="{FF2B5EF4-FFF2-40B4-BE49-F238E27FC236}">
                  <a16:creationId xmlns:a16="http://schemas.microsoft.com/office/drawing/2014/main" id="{D5B1E01B-4925-764D-A4B1-50EA445289E9}"/>
                </a:ext>
              </a:extLst>
            </p:cNvPr>
            <p:cNvSpPr>
              <a:spLocks/>
            </p:cNvSpPr>
            <p:nvPr/>
          </p:nvSpPr>
          <p:spPr bwMode="auto">
            <a:xfrm>
              <a:off x="4008438" y="4856163"/>
              <a:ext cx="150813" cy="73025"/>
            </a:xfrm>
            <a:custGeom>
              <a:avLst/>
              <a:gdLst>
                <a:gd name="T0" fmla="*/ 17 w 95"/>
                <a:gd name="T1" fmla="*/ 0 h 46"/>
                <a:gd name="T2" fmla="*/ 79 w 95"/>
                <a:gd name="T3" fmla="*/ 0 h 46"/>
                <a:gd name="T4" fmla="*/ 88 w 95"/>
                <a:gd name="T5" fmla="*/ 15 h 46"/>
                <a:gd name="T6" fmla="*/ 93 w 95"/>
                <a:gd name="T7" fmla="*/ 26 h 46"/>
                <a:gd name="T8" fmla="*/ 95 w 95"/>
                <a:gd name="T9" fmla="*/ 35 h 46"/>
                <a:gd name="T10" fmla="*/ 95 w 95"/>
                <a:gd name="T11" fmla="*/ 42 h 46"/>
                <a:gd name="T12" fmla="*/ 95 w 95"/>
                <a:gd name="T13" fmla="*/ 45 h 46"/>
                <a:gd name="T14" fmla="*/ 95 w 95"/>
                <a:gd name="T15" fmla="*/ 46 h 46"/>
                <a:gd name="T16" fmla="*/ 1 w 95"/>
                <a:gd name="T17" fmla="*/ 46 h 46"/>
                <a:gd name="T18" fmla="*/ 0 w 95"/>
                <a:gd name="T19" fmla="*/ 39 h 46"/>
                <a:gd name="T20" fmla="*/ 1 w 95"/>
                <a:gd name="T21" fmla="*/ 31 h 46"/>
                <a:gd name="T22" fmla="*/ 4 w 95"/>
                <a:gd name="T23" fmla="*/ 23 h 46"/>
                <a:gd name="T24" fmla="*/ 8 w 95"/>
                <a:gd name="T25" fmla="*/ 15 h 46"/>
                <a:gd name="T26" fmla="*/ 12 w 95"/>
                <a:gd name="T27" fmla="*/ 7 h 46"/>
                <a:gd name="T28" fmla="*/ 16 w 95"/>
                <a:gd name="T29" fmla="*/ 2 h 46"/>
                <a:gd name="T30" fmla="*/ 17 w 95"/>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46">
                  <a:moveTo>
                    <a:pt x="17" y="0"/>
                  </a:moveTo>
                  <a:lnTo>
                    <a:pt x="79" y="0"/>
                  </a:lnTo>
                  <a:lnTo>
                    <a:pt x="88" y="15"/>
                  </a:lnTo>
                  <a:lnTo>
                    <a:pt x="93" y="26"/>
                  </a:lnTo>
                  <a:lnTo>
                    <a:pt x="95" y="35"/>
                  </a:lnTo>
                  <a:lnTo>
                    <a:pt x="95" y="42"/>
                  </a:lnTo>
                  <a:lnTo>
                    <a:pt x="95" y="45"/>
                  </a:lnTo>
                  <a:lnTo>
                    <a:pt x="95" y="46"/>
                  </a:lnTo>
                  <a:lnTo>
                    <a:pt x="1" y="46"/>
                  </a:lnTo>
                  <a:lnTo>
                    <a:pt x="0" y="39"/>
                  </a:lnTo>
                  <a:lnTo>
                    <a:pt x="1" y="31"/>
                  </a:lnTo>
                  <a:lnTo>
                    <a:pt x="4" y="23"/>
                  </a:lnTo>
                  <a:lnTo>
                    <a:pt x="8" y="15"/>
                  </a:lnTo>
                  <a:lnTo>
                    <a:pt x="12" y="7"/>
                  </a:lnTo>
                  <a:lnTo>
                    <a:pt x="16" y="2"/>
                  </a:lnTo>
                  <a:lnTo>
                    <a:pt x="1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90">
              <a:extLst>
                <a:ext uri="{FF2B5EF4-FFF2-40B4-BE49-F238E27FC236}">
                  <a16:creationId xmlns:a16="http://schemas.microsoft.com/office/drawing/2014/main" id="{8886892B-9761-EF43-834E-7DA177453258}"/>
                </a:ext>
              </a:extLst>
            </p:cNvPr>
            <p:cNvSpPr>
              <a:spLocks/>
            </p:cNvSpPr>
            <p:nvPr/>
          </p:nvSpPr>
          <p:spPr bwMode="auto">
            <a:xfrm>
              <a:off x="3724276" y="4949825"/>
              <a:ext cx="153988" cy="73025"/>
            </a:xfrm>
            <a:custGeom>
              <a:avLst/>
              <a:gdLst>
                <a:gd name="T0" fmla="*/ 18 w 97"/>
                <a:gd name="T1" fmla="*/ 0 h 46"/>
                <a:gd name="T2" fmla="*/ 80 w 97"/>
                <a:gd name="T3" fmla="*/ 0 h 46"/>
                <a:gd name="T4" fmla="*/ 89 w 97"/>
                <a:gd name="T5" fmla="*/ 15 h 46"/>
                <a:gd name="T6" fmla="*/ 94 w 97"/>
                <a:gd name="T7" fmla="*/ 26 h 46"/>
                <a:gd name="T8" fmla="*/ 96 w 97"/>
                <a:gd name="T9" fmla="*/ 35 h 46"/>
                <a:gd name="T10" fmla="*/ 97 w 97"/>
                <a:gd name="T11" fmla="*/ 42 h 46"/>
                <a:gd name="T12" fmla="*/ 96 w 97"/>
                <a:gd name="T13" fmla="*/ 45 h 46"/>
                <a:gd name="T14" fmla="*/ 96 w 97"/>
                <a:gd name="T15" fmla="*/ 46 h 46"/>
                <a:gd name="T16" fmla="*/ 1 w 97"/>
                <a:gd name="T17" fmla="*/ 46 h 46"/>
                <a:gd name="T18" fmla="*/ 0 w 97"/>
                <a:gd name="T19" fmla="*/ 40 h 46"/>
                <a:gd name="T20" fmla="*/ 3 w 97"/>
                <a:gd name="T21" fmla="*/ 31 h 46"/>
                <a:gd name="T22" fmla="*/ 6 w 97"/>
                <a:gd name="T23" fmla="*/ 23 h 46"/>
                <a:gd name="T24" fmla="*/ 10 w 97"/>
                <a:gd name="T25" fmla="*/ 15 h 46"/>
                <a:gd name="T26" fmla="*/ 14 w 97"/>
                <a:gd name="T27" fmla="*/ 7 h 46"/>
                <a:gd name="T28" fmla="*/ 16 w 97"/>
                <a:gd name="T29" fmla="*/ 2 h 46"/>
                <a:gd name="T30" fmla="*/ 18 w 97"/>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6">
                  <a:moveTo>
                    <a:pt x="18" y="0"/>
                  </a:moveTo>
                  <a:lnTo>
                    <a:pt x="80" y="0"/>
                  </a:lnTo>
                  <a:lnTo>
                    <a:pt x="89" y="15"/>
                  </a:lnTo>
                  <a:lnTo>
                    <a:pt x="94" y="26"/>
                  </a:lnTo>
                  <a:lnTo>
                    <a:pt x="96" y="35"/>
                  </a:lnTo>
                  <a:lnTo>
                    <a:pt x="97" y="42"/>
                  </a:lnTo>
                  <a:lnTo>
                    <a:pt x="96" y="45"/>
                  </a:lnTo>
                  <a:lnTo>
                    <a:pt x="96" y="46"/>
                  </a:lnTo>
                  <a:lnTo>
                    <a:pt x="1" y="46"/>
                  </a:lnTo>
                  <a:lnTo>
                    <a:pt x="0" y="40"/>
                  </a:lnTo>
                  <a:lnTo>
                    <a:pt x="3" y="31"/>
                  </a:lnTo>
                  <a:lnTo>
                    <a:pt x="6" y="23"/>
                  </a:lnTo>
                  <a:lnTo>
                    <a:pt x="10" y="15"/>
                  </a:lnTo>
                  <a:lnTo>
                    <a:pt x="14" y="7"/>
                  </a:lnTo>
                  <a:lnTo>
                    <a:pt x="16"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91">
              <a:extLst>
                <a:ext uri="{FF2B5EF4-FFF2-40B4-BE49-F238E27FC236}">
                  <a16:creationId xmlns:a16="http://schemas.microsoft.com/office/drawing/2014/main" id="{F58DC0B5-9861-AD42-AE90-A2B339564EE4}"/>
                </a:ext>
              </a:extLst>
            </p:cNvPr>
            <p:cNvSpPr>
              <a:spLocks/>
            </p:cNvSpPr>
            <p:nvPr/>
          </p:nvSpPr>
          <p:spPr bwMode="auto">
            <a:xfrm>
              <a:off x="3910013" y="4949825"/>
              <a:ext cx="152400" cy="73025"/>
            </a:xfrm>
            <a:custGeom>
              <a:avLst/>
              <a:gdLst>
                <a:gd name="T0" fmla="*/ 17 w 96"/>
                <a:gd name="T1" fmla="*/ 0 h 46"/>
                <a:gd name="T2" fmla="*/ 80 w 96"/>
                <a:gd name="T3" fmla="*/ 0 h 46"/>
                <a:gd name="T4" fmla="*/ 88 w 96"/>
                <a:gd name="T5" fmla="*/ 15 h 46"/>
                <a:gd name="T6" fmla="*/ 93 w 96"/>
                <a:gd name="T7" fmla="*/ 26 h 46"/>
                <a:gd name="T8" fmla="*/ 95 w 96"/>
                <a:gd name="T9" fmla="*/ 35 h 46"/>
                <a:gd name="T10" fmla="*/ 96 w 96"/>
                <a:gd name="T11" fmla="*/ 42 h 46"/>
                <a:gd name="T12" fmla="*/ 96 w 96"/>
                <a:gd name="T13" fmla="*/ 45 h 46"/>
                <a:gd name="T14" fmla="*/ 95 w 96"/>
                <a:gd name="T15" fmla="*/ 46 h 46"/>
                <a:gd name="T16" fmla="*/ 1 w 96"/>
                <a:gd name="T17" fmla="*/ 46 h 46"/>
                <a:gd name="T18" fmla="*/ 0 w 96"/>
                <a:gd name="T19" fmla="*/ 40 h 46"/>
                <a:gd name="T20" fmla="*/ 2 w 96"/>
                <a:gd name="T21" fmla="*/ 31 h 46"/>
                <a:gd name="T22" fmla="*/ 5 w 96"/>
                <a:gd name="T23" fmla="*/ 23 h 46"/>
                <a:gd name="T24" fmla="*/ 9 w 96"/>
                <a:gd name="T25" fmla="*/ 15 h 46"/>
                <a:gd name="T26" fmla="*/ 13 w 96"/>
                <a:gd name="T27" fmla="*/ 7 h 46"/>
                <a:gd name="T28" fmla="*/ 16 w 96"/>
                <a:gd name="T29" fmla="*/ 2 h 46"/>
                <a:gd name="T30" fmla="*/ 17 w 9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17" y="0"/>
                  </a:moveTo>
                  <a:lnTo>
                    <a:pt x="80" y="0"/>
                  </a:lnTo>
                  <a:lnTo>
                    <a:pt x="88" y="15"/>
                  </a:lnTo>
                  <a:lnTo>
                    <a:pt x="93" y="26"/>
                  </a:lnTo>
                  <a:lnTo>
                    <a:pt x="95" y="35"/>
                  </a:lnTo>
                  <a:lnTo>
                    <a:pt x="96" y="42"/>
                  </a:lnTo>
                  <a:lnTo>
                    <a:pt x="96" y="45"/>
                  </a:lnTo>
                  <a:lnTo>
                    <a:pt x="95" y="46"/>
                  </a:lnTo>
                  <a:lnTo>
                    <a:pt x="1" y="46"/>
                  </a:lnTo>
                  <a:lnTo>
                    <a:pt x="0" y="40"/>
                  </a:lnTo>
                  <a:lnTo>
                    <a:pt x="2" y="31"/>
                  </a:lnTo>
                  <a:lnTo>
                    <a:pt x="5" y="23"/>
                  </a:lnTo>
                  <a:lnTo>
                    <a:pt x="9" y="15"/>
                  </a:lnTo>
                  <a:lnTo>
                    <a:pt x="13" y="7"/>
                  </a:lnTo>
                  <a:lnTo>
                    <a:pt x="16" y="2"/>
                  </a:lnTo>
                  <a:lnTo>
                    <a:pt x="1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92">
              <a:extLst>
                <a:ext uri="{FF2B5EF4-FFF2-40B4-BE49-F238E27FC236}">
                  <a16:creationId xmlns:a16="http://schemas.microsoft.com/office/drawing/2014/main" id="{CCC0D3E2-DD5D-FC4D-ADB8-37B5FA8AFEE4}"/>
                </a:ext>
              </a:extLst>
            </p:cNvPr>
            <p:cNvSpPr>
              <a:spLocks/>
            </p:cNvSpPr>
            <p:nvPr/>
          </p:nvSpPr>
          <p:spPr bwMode="auto">
            <a:xfrm>
              <a:off x="4094163" y="4949825"/>
              <a:ext cx="152400" cy="73025"/>
            </a:xfrm>
            <a:custGeom>
              <a:avLst/>
              <a:gdLst>
                <a:gd name="T0" fmla="*/ 18 w 96"/>
                <a:gd name="T1" fmla="*/ 0 h 46"/>
                <a:gd name="T2" fmla="*/ 80 w 96"/>
                <a:gd name="T3" fmla="*/ 0 h 46"/>
                <a:gd name="T4" fmla="*/ 88 w 96"/>
                <a:gd name="T5" fmla="*/ 15 h 46"/>
                <a:gd name="T6" fmla="*/ 93 w 96"/>
                <a:gd name="T7" fmla="*/ 26 h 46"/>
                <a:gd name="T8" fmla="*/ 95 w 96"/>
                <a:gd name="T9" fmla="*/ 35 h 46"/>
                <a:gd name="T10" fmla="*/ 96 w 96"/>
                <a:gd name="T11" fmla="*/ 42 h 46"/>
                <a:gd name="T12" fmla="*/ 96 w 96"/>
                <a:gd name="T13" fmla="*/ 45 h 46"/>
                <a:gd name="T14" fmla="*/ 95 w 96"/>
                <a:gd name="T15" fmla="*/ 46 h 46"/>
                <a:gd name="T16" fmla="*/ 1 w 96"/>
                <a:gd name="T17" fmla="*/ 46 h 46"/>
                <a:gd name="T18" fmla="*/ 0 w 96"/>
                <a:gd name="T19" fmla="*/ 40 h 46"/>
                <a:gd name="T20" fmla="*/ 2 w 96"/>
                <a:gd name="T21" fmla="*/ 31 h 46"/>
                <a:gd name="T22" fmla="*/ 5 w 96"/>
                <a:gd name="T23" fmla="*/ 23 h 46"/>
                <a:gd name="T24" fmla="*/ 9 w 96"/>
                <a:gd name="T25" fmla="*/ 15 h 46"/>
                <a:gd name="T26" fmla="*/ 13 w 96"/>
                <a:gd name="T27" fmla="*/ 7 h 46"/>
                <a:gd name="T28" fmla="*/ 17 w 96"/>
                <a:gd name="T29" fmla="*/ 2 h 46"/>
                <a:gd name="T30" fmla="*/ 18 w 9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18" y="0"/>
                  </a:moveTo>
                  <a:lnTo>
                    <a:pt x="80" y="0"/>
                  </a:lnTo>
                  <a:lnTo>
                    <a:pt x="88" y="15"/>
                  </a:lnTo>
                  <a:lnTo>
                    <a:pt x="93" y="26"/>
                  </a:lnTo>
                  <a:lnTo>
                    <a:pt x="95" y="35"/>
                  </a:lnTo>
                  <a:lnTo>
                    <a:pt x="96" y="42"/>
                  </a:lnTo>
                  <a:lnTo>
                    <a:pt x="96" y="45"/>
                  </a:lnTo>
                  <a:lnTo>
                    <a:pt x="95" y="46"/>
                  </a:lnTo>
                  <a:lnTo>
                    <a:pt x="1" y="46"/>
                  </a:lnTo>
                  <a:lnTo>
                    <a:pt x="0" y="40"/>
                  </a:lnTo>
                  <a:lnTo>
                    <a:pt x="2" y="31"/>
                  </a:lnTo>
                  <a:lnTo>
                    <a:pt x="5" y="23"/>
                  </a:lnTo>
                  <a:lnTo>
                    <a:pt x="9" y="15"/>
                  </a:lnTo>
                  <a:lnTo>
                    <a:pt x="13" y="7"/>
                  </a:lnTo>
                  <a:lnTo>
                    <a:pt x="17"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93">
              <a:extLst>
                <a:ext uri="{FF2B5EF4-FFF2-40B4-BE49-F238E27FC236}">
                  <a16:creationId xmlns:a16="http://schemas.microsoft.com/office/drawing/2014/main" id="{E23E1E65-6B1A-C442-B248-98F08E6D0862}"/>
                </a:ext>
              </a:extLst>
            </p:cNvPr>
            <p:cNvSpPr>
              <a:spLocks noEditPoints="1"/>
            </p:cNvSpPr>
            <p:nvPr/>
          </p:nvSpPr>
          <p:spPr bwMode="auto">
            <a:xfrm>
              <a:off x="3390901" y="4605338"/>
              <a:ext cx="358775" cy="303213"/>
            </a:xfrm>
            <a:custGeom>
              <a:avLst/>
              <a:gdLst>
                <a:gd name="T0" fmla="*/ 203 w 226"/>
                <a:gd name="T1" fmla="*/ 178 h 191"/>
                <a:gd name="T2" fmla="*/ 26 w 226"/>
                <a:gd name="T3" fmla="*/ 151 h 191"/>
                <a:gd name="T4" fmla="*/ 205 w 226"/>
                <a:gd name="T5" fmla="*/ 152 h 191"/>
                <a:gd name="T6" fmla="*/ 226 w 226"/>
                <a:gd name="T7" fmla="*/ 184 h 191"/>
                <a:gd name="T8" fmla="*/ 223 w 226"/>
                <a:gd name="T9" fmla="*/ 190 h 191"/>
                <a:gd name="T10" fmla="*/ 9 w 226"/>
                <a:gd name="T11" fmla="*/ 191 h 191"/>
                <a:gd name="T12" fmla="*/ 2 w 226"/>
                <a:gd name="T13" fmla="*/ 188 h 191"/>
                <a:gd name="T14" fmla="*/ 1 w 226"/>
                <a:gd name="T15" fmla="*/ 182 h 191"/>
                <a:gd name="T16" fmla="*/ 23 w 226"/>
                <a:gd name="T17" fmla="*/ 151 h 191"/>
                <a:gd name="T18" fmla="*/ 195 w 226"/>
                <a:gd name="T19" fmla="*/ 69 h 191"/>
                <a:gd name="T20" fmla="*/ 200 w 226"/>
                <a:gd name="T21" fmla="*/ 75 h 191"/>
                <a:gd name="T22" fmla="*/ 197 w 226"/>
                <a:gd name="T23" fmla="*/ 135 h 191"/>
                <a:gd name="T24" fmla="*/ 188 w 226"/>
                <a:gd name="T25" fmla="*/ 136 h 191"/>
                <a:gd name="T26" fmla="*/ 182 w 226"/>
                <a:gd name="T27" fmla="*/ 130 h 191"/>
                <a:gd name="T28" fmla="*/ 186 w 226"/>
                <a:gd name="T29" fmla="*/ 71 h 191"/>
                <a:gd name="T30" fmla="*/ 140 w 226"/>
                <a:gd name="T31" fmla="*/ 69 h 191"/>
                <a:gd name="T32" fmla="*/ 147 w 226"/>
                <a:gd name="T33" fmla="*/ 73 h 191"/>
                <a:gd name="T34" fmla="*/ 147 w 226"/>
                <a:gd name="T35" fmla="*/ 132 h 191"/>
                <a:gd name="T36" fmla="*/ 140 w 226"/>
                <a:gd name="T37" fmla="*/ 137 h 191"/>
                <a:gd name="T38" fmla="*/ 131 w 226"/>
                <a:gd name="T39" fmla="*/ 132 h 191"/>
                <a:gd name="T40" fmla="*/ 131 w 226"/>
                <a:gd name="T41" fmla="*/ 73 h 191"/>
                <a:gd name="T42" fmla="*/ 140 w 226"/>
                <a:gd name="T43" fmla="*/ 69 h 191"/>
                <a:gd name="T44" fmla="*/ 93 w 226"/>
                <a:gd name="T45" fmla="*/ 71 h 191"/>
                <a:gd name="T46" fmla="*/ 95 w 226"/>
                <a:gd name="T47" fmla="*/ 130 h 191"/>
                <a:gd name="T48" fmla="*/ 90 w 226"/>
                <a:gd name="T49" fmla="*/ 136 h 191"/>
                <a:gd name="T50" fmla="*/ 81 w 226"/>
                <a:gd name="T51" fmla="*/ 135 h 191"/>
                <a:gd name="T52" fmla="*/ 79 w 226"/>
                <a:gd name="T53" fmla="*/ 75 h 191"/>
                <a:gd name="T54" fmla="*/ 84 w 226"/>
                <a:gd name="T55" fmla="*/ 69 h 191"/>
                <a:gd name="T56" fmla="*/ 38 w 226"/>
                <a:gd name="T57" fmla="*/ 69 h 191"/>
                <a:gd name="T58" fmla="*/ 43 w 226"/>
                <a:gd name="T59" fmla="*/ 75 h 191"/>
                <a:gd name="T60" fmla="*/ 41 w 226"/>
                <a:gd name="T61" fmla="*/ 135 h 191"/>
                <a:gd name="T62" fmla="*/ 32 w 226"/>
                <a:gd name="T63" fmla="*/ 136 h 191"/>
                <a:gd name="T64" fmla="*/ 26 w 226"/>
                <a:gd name="T65" fmla="*/ 130 h 191"/>
                <a:gd name="T66" fmla="*/ 29 w 226"/>
                <a:gd name="T67" fmla="*/ 71 h 191"/>
                <a:gd name="T68" fmla="*/ 113 w 226"/>
                <a:gd name="T69" fmla="*/ 15 h 191"/>
                <a:gd name="T70" fmla="*/ 113 w 226"/>
                <a:gd name="T71" fmla="*/ 15 h 191"/>
                <a:gd name="T72" fmla="*/ 213 w 226"/>
                <a:gd name="T73" fmla="*/ 42 h 191"/>
                <a:gd name="T74" fmla="*/ 217 w 226"/>
                <a:gd name="T75" fmla="*/ 48 h 191"/>
                <a:gd name="T76" fmla="*/ 214 w 226"/>
                <a:gd name="T77" fmla="*/ 53 h 191"/>
                <a:gd name="T78" fmla="*/ 17 w 226"/>
                <a:gd name="T79" fmla="*/ 55 h 191"/>
                <a:gd name="T80" fmla="*/ 10 w 226"/>
                <a:gd name="T81" fmla="*/ 52 h 191"/>
                <a:gd name="T82" fmla="*/ 9 w 226"/>
                <a:gd name="T83" fmla="*/ 45 h 191"/>
                <a:gd name="T84" fmla="*/ 109 w 226"/>
                <a:gd name="T85" fmla="*/ 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6" h="191">
                  <a:moveTo>
                    <a:pt x="32" y="164"/>
                  </a:moveTo>
                  <a:lnTo>
                    <a:pt x="23" y="178"/>
                  </a:lnTo>
                  <a:lnTo>
                    <a:pt x="203" y="178"/>
                  </a:lnTo>
                  <a:lnTo>
                    <a:pt x="195" y="164"/>
                  </a:lnTo>
                  <a:lnTo>
                    <a:pt x="32" y="164"/>
                  </a:lnTo>
                  <a:close/>
                  <a:moveTo>
                    <a:pt x="26" y="151"/>
                  </a:moveTo>
                  <a:lnTo>
                    <a:pt x="200" y="151"/>
                  </a:lnTo>
                  <a:lnTo>
                    <a:pt x="203" y="151"/>
                  </a:lnTo>
                  <a:lnTo>
                    <a:pt x="205" y="152"/>
                  </a:lnTo>
                  <a:lnTo>
                    <a:pt x="207" y="154"/>
                  </a:lnTo>
                  <a:lnTo>
                    <a:pt x="225" y="182"/>
                  </a:lnTo>
                  <a:lnTo>
                    <a:pt x="226" y="184"/>
                  </a:lnTo>
                  <a:lnTo>
                    <a:pt x="226" y="186"/>
                  </a:lnTo>
                  <a:lnTo>
                    <a:pt x="225" y="188"/>
                  </a:lnTo>
                  <a:lnTo>
                    <a:pt x="223" y="190"/>
                  </a:lnTo>
                  <a:lnTo>
                    <a:pt x="220" y="191"/>
                  </a:lnTo>
                  <a:lnTo>
                    <a:pt x="218" y="191"/>
                  </a:lnTo>
                  <a:lnTo>
                    <a:pt x="9" y="191"/>
                  </a:lnTo>
                  <a:lnTo>
                    <a:pt x="6" y="191"/>
                  </a:lnTo>
                  <a:lnTo>
                    <a:pt x="4" y="190"/>
                  </a:lnTo>
                  <a:lnTo>
                    <a:pt x="2" y="188"/>
                  </a:lnTo>
                  <a:lnTo>
                    <a:pt x="1" y="186"/>
                  </a:lnTo>
                  <a:lnTo>
                    <a:pt x="0" y="184"/>
                  </a:lnTo>
                  <a:lnTo>
                    <a:pt x="1" y="182"/>
                  </a:lnTo>
                  <a:lnTo>
                    <a:pt x="18" y="154"/>
                  </a:lnTo>
                  <a:lnTo>
                    <a:pt x="21" y="152"/>
                  </a:lnTo>
                  <a:lnTo>
                    <a:pt x="23" y="151"/>
                  </a:lnTo>
                  <a:lnTo>
                    <a:pt x="26" y="151"/>
                  </a:lnTo>
                  <a:close/>
                  <a:moveTo>
                    <a:pt x="192" y="69"/>
                  </a:moveTo>
                  <a:lnTo>
                    <a:pt x="195" y="69"/>
                  </a:lnTo>
                  <a:lnTo>
                    <a:pt x="197" y="71"/>
                  </a:lnTo>
                  <a:lnTo>
                    <a:pt x="199" y="73"/>
                  </a:lnTo>
                  <a:lnTo>
                    <a:pt x="200" y="75"/>
                  </a:lnTo>
                  <a:lnTo>
                    <a:pt x="200" y="130"/>
                  </a:lnTo>
                  <a:lnTo>
                    <a:pt x="199" y="132"/>
                  </a:lnTo>
                  <a:lnTo>
                    <a:pt x="197" y="135"/>
                  </a:lnTo>
                  <a:lnTo>
                    <a:pt x="195" y="136"/>
                  </a:lnTo>
                  <a:lnTo>
                    <a:pt x="192" y="137"/>
                  </a:lnTo>
                  <a:lnTo>
                    <a:pt x="188" y="136"/>
                  </a:lnTo>
                  <a:lnTo>
                    <a:pt x="186" y="135"/>
                  </a:lnTo>
                  <a:lnTo>
                    <a:pt x="183" y="132"/>
                  </a:lnTo>
                  <a:lnTo>
                    <a:pt x="182" y="130"/>
                  </a:lnTo>
                  <a:lnTo>
                    <a:pt x="182" y="75"/>
                  </a:lnTo>
                  <a:lnTo>
                    <a:pt x="183" y="73"/>
                  </a:lnTo>
                  <a:lnTo>
                    <a:pt x="186" y="71"/>
                  </a:lnTo>
                  <a:lnTo>
                    <a:pt x="188" y="69"/>
                  </a:lnTo>
                  <a:lnTo>
                    <a:pt x="192" y="69"/>
                  </a:lnTo>
                  <a:close/>
                  <a:moveTo>
                    <a:pt x="140" y="69"/>
                  </a:moveTo>
                  <a:lnTo>
                    <a:pt x="143" y="69"/>
                  </a:lnTo>
                  <a:lnTo>
                    <a:pt x="145" y="71"/>
                  </a:lnTo>
                  <a:lnTo>
                    <a:pt x="147" y="73"/>
                  </a:lnTo>
                  <a:lnTo>
                    <a:pt x="147" y="75"/>
                  </a:lnTo>
                  <a:lnTo>
                    <a:pt x="147" y="130"/>
                  </a:lnTo>
                  <a:lnTo>
                    <a:pt x="147" y="132"/>
                  </a:lnTo>
                  <a:lnTo>
                    <a:pt x="145" y="135"/>
                  </a:lnTo>
                  <a:lnTo>
                    <a:pt x="143" y="136"/>
                  </a:lnTo>
                  <a:lnTo>
                    <a:pt x="140" y="137"/>
                  </a:lnTo>
                  <a:lnTo>
                    <a:pt x="136" y="136"/>
                  </a:lnTo>
                  <a:lnTo>
                    <a:pt x="133" y="135"/>
                  </a:lnTo>
                  <a:lnTo>
                    <a:pt x="131" y="132"/>
                  </a:lnTo>
                  <a:lnTo>
                    <a:pt x="131" y="130"/>
                  </a:lnTo>
                  <a:lnTo>
                    <a:pt x="131" y="75"/>
                  </a:lnTo>
                  <a:lnTo>
                    <a:pt x="131" y="73"/>
                  </a:lnTo>
                  <a:lnTo>
                    <a:pt x="133" y="71"/>
                  </a:lnTo>
                  <a:lnTo>
                    <a:pt x="136" y="69"/>
                  </a:lnTo>
                  <a:lnTo>
                    <a:pt x="140" y="69"/>
                  </a:lnTo>
                  <a:close/>
                  <a:moveTo>
                    <a:pt x="87" y="69"/>
                  </a:moveTo>
                  <a:lnTo>
                    <a:pt x="90" y="69"/>
                  </a:lnTo>
                  <a:lnTo>
                    <a:pt x="93" y="71"/>
                  </a:lnTo>
                  <a:lnTo>
                    <a:pt x="95" y="73"/>
                  </a:lnTo>
                  <a:lnTo>
                    <a:pt x="95" y="75"/>
                  </a:lnTo>
                  <a:lnTo>
                    <a:pt x="95" y="130"/>
                  </a:lnTo>
                  <a:lnTo>
                    <a:pt x="95" y="132"/>
                  </a:lnTo>
                  <a:lnTo>
                    <a:pt x="93" y="135"/>
                  </a:lnTo>
                  <a:lnTo>
                    <a:pt x="90" y="136"/>
                  </a:lnTo>
                  <a:lnTo>
                    <a:pt x="87" y="137"/>
                  </a:lnTo>
                  <a:lnTo>
                    <a:pt x="84" y="136"/>
                  </a:lnTo>
                  <a:lnTo>
                    <a:pt x="81" y="135"/>
                  </a:lnTo>
                  <a:lnTo>
                    <a:pt x="79" y="132"/>
                  </a:lnTo>
                  <a:lnTo>
                    <a:pt x="79" y="130"/>
                  </a:lnTo>
                  <a:lnTo>
                    <a:pt x="79" y="75"/>
                  </a:lnTo>
                  <a:lnTo>
                    <a:pt x="79" y="73"/>
                  </a:lnTo>
                  <a:lnTo>
                    <a:pt x="81" y="71"/>
                  </a:lnTo>
                  <a:lnTo>
                    <a:pt x="84" y="69"/>
                  </a:lnTo>
                  <a:lnTo>
                    <a:pt x="87" y="69"/>
                  </a:lnTo>
                  <a:close/>
                  <a:moveTo>
                    <a:pt x="35" y="69"/>
                  </a:moveTo>
                  <a:lnTo>
                    <a:pt x="38" y="69"/>
                  </a:lnTo>
                  <a:lnTo>
                    <a:pt x="41" y="71"/>
                  </a:lnTo>
                  <a:lnTo>
                    <a:pt x="42" y="73"/>
                  </a:lnTo>
                  <a:lnTo>
                    <a:pt x="43" y="75"/>
                  </a:lnTo>
                  <a:lnTo>
                    <a:pt x="43" y="130"/>
                  </a:lnTo>
                  <a:lnTo>
                    <a:pt x="42" y="132"/>
                  </a:lnTo>
                  <a:lnTo>
                    <a:pt x="41" y="135"/>
                  </a:lnTo>
                  <a:lnTo>
                    <a:pt x="38" y="136"/>
                  </a:lnTo>
                  <a:lnTo>
                    <a:pt x="35" y="137"/>
                  </a:lnTo>
                  <a:lnTo>
                    <a:pt x="32" y="136"/>
                  </a:lnTo>
                  <a:lnTo>
                    <a:pt x="29" y="135"/>
                  </a:lnTo>
                  <a:lnTo>
                    <a:pt x="27" y="132"/>
                  </a:lnTo>
                  <a:lnTo>
                    <a:pt x="26" y="130"/>
                  </a:lnTo>
                  <a:lnTo>
                    <a:pt x="26" y="75"/>
                  </a:lnTo>
                  <a:lnTo>
                    <a:pt x="27" y="73"/>
                  </a:lnTo>
                  <a:lnTo>
                    <a:pt x="29" y="71"/>
                  </a:lnTo>
                  <a:lnTo>
                    <a:pt x="32" y="69"/>
                  </a:lnTo>
                  <a:lnTo>
                    <a:pt x="35" y="69"/>
                  </a:lnTo>
                  <a:close/>
                  <a:moveTo>
                    <a:pt x="113" y="15"/>
                  </a:moveTo>
                  <a:lnTo>
                    <a:pt x="52" y="42"/>
                  </a:lnTo>
                  <a:lnTo>
                    <a:pt x="174" y="42"/>
                  </a:lnTo>
                  <a:lnTo>
                    <a:pt x="113" y="15"/>
                  </a:lnTo>
                  <a:close/>
                  <a:moveTo>
                    <a:pt x="115" y="0"/>
                  </a:moveTo>
                  <a:lnTo>
                    <a:pt x="117" y="1"/>
                  </a:lnTo>
                  <a:lnTo>
                    <a:pt x="213" y="42"/>
                  </a:lnTo>
                  <a:lnTo>
                    <a:pt x="215" y="44"/>
                  </a:lnTo>
                  <a:lnTo>
                    <a:pt x="217" y="45"/>
                  </a:lnTo>
                  <a:lnTo>
                    <a:pt x="217" y="48"/>
                  </a:lnTo>
                  <a:lnTo>
                    <a:pt x="217" y="50"/>
                  </a:lnTo>
                  <a:lnTo>
                    <a:pt x="216" y="52"/>
                  </a:lnTo>
                  <a:lnTo>
                    <a:pt x="214" y="53"/>
                  </a:lnTo>
                  <a:lnTo>
                    <a:pt x="211" y="54"/>
                  </a:lnTo>
                  <a:lnTo>
                    <a:pt x="208" y="55"/>
                  </a:lnTo>
                  <a:lnTo>
                    <a:pt x="17" y="55"/>
                  </a:lnTo>
                  <a:lnTo>
                    <a:pt x="14" y="54"/>
                  </a:lnTo>
                  <a:lnTo>
                    <a:pt x="12" y="53"/>
                  </a:lnTo>
                  <a:lnTo>
                    <a:pt x="10" y="52"/>
                  </a:lnTo>
                  <a:lnTo>
                    <a:pt x="9" y="50"/>
                  </a:lnTo>
                  <a:lnTo>
                    <a:pt x="9" y="48"/>
                  </a:lnTo>
                  <a:lnTo>
                    <a:pt x="9" y="45"/>
                  </a:lnTo>
                  <a:lnTo>
                    <a:pt x="11" y="44"/>
                  </a:lnTo>
                  <a:lnTo>
                    <a:pt x="13" y="42"/>
                  </a:lnTo>
                  <a:lnTo>
                    <a:pt x="109" y="1"/>
                  </a:lnTo>
                  <a:lnTo>
                    <a:pt x="112" y="0"/>
                  </a:lnTo>
                  <a:lnTo>
                    <a:pt x="1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94">
              <a:extLst>
                <a:ext uri="{FF2B5EF4-FFF2-40B4-BE49-F238E27FC236}">
                  <a16:creationId xmlns:a16="http://schemas.microsoft.com/office/drawing/2014/main" id="{3BC9C739-9785-2144-A14E-B286BF721EC1}"/>
                </a:ext>
              </a:extLst>
            </p:cNvPr>
            <p:cNvSpPr>
              <a:spLocks noEditPoints="1"/>
            </p:cNvSpPr>
            <p:nvPr/>
          </p:nvSpPr>
          <p:spPr bwMode="auto">
            <a:xfrm>
              <a:off x="3714751" y="5259388"/>
              <a:ext cx="525463" cy="592138"/>
            </a:xfrm>
            <a:custGeom>
              <a:avLst/>
              <a:gdLst>
                <a:gd name="T0" fmla="*/ 42 w 331"/>
                <a:gd name="T1" fmla="*/ 160 h 373"/>
                <a:gd name="T2" fmla="*/ 48 w 331"/>
                <a:gd name="T3" fmla="*/ 161 h 373"/>
                <a:gd name="T4" fmla="*/ 53 w 331"/>
                <a:gd name="T5" fmla="*/ 165 h 373"/>
                <a:gd name="T6" fmla="*/ 56 w 331"/>
                <a:gd name="T7" fmla="*/ 173 h 373"/>
                <a:gd name="T8" fmla="*/ 133 w 331"/>
                <a:gd name="T9" fmla="*/ 346 h 373"/>
                <a:gd name="T10" fmla="*/ 134 w 331"/>
                <a:gd name="T11" fmla="*/ 275 h 373"/>
                <a:gd name="T12" fmla="*/ 137 w 331"/>
                <a:gd name="T13" fmla="*/ 269 h 373"/>
                <a:gd name="T14" fmla="*/ 143 w 331"/>
                <a:gd name="T15" fmla="*/ 266 h 373"/>
                <a:gd name="T16" fmla="*/ 192 w 331"/>
                <a:gd name="T17" fmla="*/ 267 h 373"/>
                <a:gd name="T18" fmla="*/ 197 w 331"/>
                <a:gd name="T19" fmla="*/ 272 h 373"/>
                <a:gd name="T20" fmla="*/ 199 w 331"/>
                <a:gd name="T21" fmla="*/ 280 h 373"/>
                <a:gd name="T22" fmla="*/ 276 w 331"/>
                <a:gd name="T23" fmla="*/ 346 h 373"/>
                <a:gd name="T24" fmla="*/ 276 w 331"/>
                <a:gd name="T25" fmla="*/ 169 h 373"/>
                <a:gd name="T26" fmla="*/ 280 w 331"/>
                <a:gd name="T27" fmla="*/ 162 h 373"/>
                <a:gd name="T28" fmla="*/ 288 w 331"/>
                <a:gd name="T29" fmla="*/ 160 h 373"/>
                <a:gd name="T30" fmla="*/ 166 w 331"/>
                <a:gd name="T31" fmla="*/ 30 h 373"/>
                <a:gd name="T32" fmla="*/ 170 w 331"/>
                <a:gd name="T33" fmla="*/ 1 h 373"/>
                <a:gd name="T34" fmla="*/ 328 w 331"/>
                <a:gd name="T35" fmla="*/ 162 h 373"/>
                <a:gd name="T36" fmla="*/ 331 w 331"/>
                <a:gd name="T37" fmla="*/ 169 h 373"/>
                <a:gd name="T38" fmla="*/ 331 w 331"/>
                <a:gd name="T39" fmla="*/ 175 h 373"/>
                <a:gd name="T40" fmla="*/ 329 w 331"/>
                <a:gd name="T41" fmla="*/ 181 h 373"/>
                <a:gd name="T42" fmla="*/ 324 w 331"/>
                <a:gd name="T43" fmla="*/ 186 h 373"/>
                <a:gd name="T44" fmla="*/ 299 w 331"/>
                <a:gd name="T45" fmla="*/ 186 h 373"/>
                <a:gd name="T46" fmla="*/ 298 w 331"/>
                <a:gd name="T47" fmla="*/ 364 h 373"/>
                <a:gd name="T48" fmla="*/ 294 w 331"/>
                <a:gd name="T49" fmla="*/ 370 h 373"/>
                <a:gd name="T50" fmla="*/ 288 w 331"/>
                <a:gd name="T51" fmla="*/ 373 h 373"/>
                <a:gd name="T52" fmla="*/ 185 w 331"/>
                <a:gd name="T53" fmla="*/ 372 h 373"/>
                <a:gd name="T54" fmla="*/ 179 w 331"/>
                <a:gd name="T55" fmla="*/ 368 h 373"/>
                <a:gd name="T56" fmla="*/ 177 w 331"/>
                <a:gd name="T57" fmla="*/ 360 h 373"/>
                <a:gd name="T58" fmla="*/ 155 w 331"/>
                <a:gd name="T59" fmla="*/ 293 h 373"/>
                <a:gd name="T60" fmla="*/ 155 w 331"/>
                <a:gd name="T61" fmla="*/ 364 h 373"/>
                <a:gd name="T62" fmla="*/ 151 w 331"/>
                <a:gd name="T63" fmla="*/ 370 h 373"/>
                <a:gd name="T64" fmla="*/ 143 w 331"/>
                <a:gd name="T65" fmla="*/ 373 h 373"/>
                <a:gd name="T66" fmla="*/ 41 w 331"/>
                <a:gd name="T67" fmla="*/ 372 h 373"/>
                <a:gd name="T68" fmla="*/ 36 w 331"/>
                <a:gd name="T69" fmla="*/ 368 h 373"/>
                <a:gd name="T70" fmla="*/ 34 w 331"/>
                <a:gd name="T71" fmla="*/ 360 h 373"/>
                <a:gd name="T72" fmla="*/ 12 w 331"/>
                <a:gd name="T73" fmla="*/ 186 h 373"/>
                <a:gd name="T74" fmla="*/ 5 w 331"/>
                <a:gd name="T75" fmla="*/ 184 h 373"/>
                <a:gd name="T76" fmla="*/ 1 w 331"/>
                <a:gd name="T77" fmla="*/ 178 h 373"/>
                <a:gd name="T78" fmla="*/ 1 w 331"/>
                <a:gd name="T79" fmla="*/ 170 h 373"/>
                <a:gd name="T80" fmla="*/ 4 w 331"/>
                <a:gd name="T81" fmla="*/ 162 h 373"/>
                <a:gd name="T82" fmla="*/ 162 w 331"/>
                <a:gd name="T83" fmla="*/ 1 h 373"/>
                <a:gd name="T84" fmla="*/ 168 w 331"/>
                <a:gd name="T85"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1" h="373">
                  <a:moveTo>
                    <a:pt x="166" y="30"/>
                  </a:moveTo>
                  <a:lnTo>
                    <a:pt x="42" y="160"/>
                  </a:lnTo>
                  <a:lnTo>
                    <a:pt x="45" y="160"/>
                  </a:lnTo>
                  <a:lnTo>
                    <a:pt x="48" y="161"/>
                  </a:lnTo>
                  <a:lnTo>
                    <a:pt x="51" y="162"/>
                  </a:lnTo>
                  <a:lnTo>
                    <a:pt x="53" y="165"/>
                  </a:lnTo>
                  <a:lnTo>
                    <a:pt x="55" y="169"/>
                  </a:lnTo>
                  <a:lnTo>
                    <a:pt x="56" y="173"/>
                  </a:lnTo>
                  <a:lnTo>
                    <a:pt x="56" y="346"/>
                  </a:lnTo>
                  <a:lnTo>
                    <a:pt x="133" y="346"/>
                  </a:lnTo>
                  <a:lnTo>
                    <a:pt x="133" y="280"/>
                  </a:lnTo>
                  <a:lnTo>
                    <a:pt x="134" y="275"/>
                  </a:lnTo>
                  <a:lnTo>
                    <a:pt x="135" y="272"/>
                  </a:lnTo>
                  <a:lnTo>
                    <a:pt x="137" y="269"/>
                  </a:lnTo>
                  <a:lnTo>
                    <a:pt x="140" y="267"/>
                  </a:lnTo>
                  <a:lnTo>
                    <a:pt x="143" y="266"/>
                  </a:lnTo>
                  <a:lnTo>
                    <a:pt x="188" y="266"/>
                  </a:lnTo>
                  <a:lnTo>
                    <a:pt x="192" y="267"/>
                  </a:lnTo>
                  <a:lnTo>
                    <a:pt x="195" y="269"/>
                  </a:lnTo>
                  <a:lnTo>
                    <a:pt x="197" y="272"/>
                  </a:lnTo>
                  <a:lnTo>
                    <a:pt x="198" y="275"/>
                  </a:lnTo>
                  <a:lnTo>
                    <a:pt x="199" y="280"/>
                  </a:lnTo>
                  <a:lnTo>
                    <a:pt x="199" y="346"/>
                  </a:lnTo>
                  <a:lnTo>
                    <a:pt x="276" y="346"/>
                  </a:lnTo>
                  <a:lnTo>
                    <a:pt x="276" y="173"/>
                  </a:lnTo>
                  <a:lnTo>
                    <a:pt x="276" y="169"/>
                  </a:lnTo>
                  <a:lnTo>
                    <a:pt x="278" y="165"/>
                  </a:lnTo>
                  <a:lnTo>
                    <a:pt x="280" y="162"/>
                  </a:lnTo>
                  <a:lnTo>
                    <a:pt x="284" y="161"/>
                  </a:lnTo>
                  <a:lnTo>
                    <a:pt x="288" y="160"/>
                  </a:lnTo>
                  <a:lnTo>
                    <a:pt x="291" y="160"/>
                  </a:lnTo>
                  <a:lnTo>
                    <a:pt x="166" y="30"/>
                  </a:lnTo>
                  <a:close/>
                  <a:moveTo>
                    <a:pt x="168" y="0"/>
                  </a:moveTo>
                  <a:lnTo>
                    <a:pt x="170" y="1"/>
                  </a:lnTo>
                  <a:lnTo>
                    <a:pt x="174" y="2"/>
                  </a:lnTo>
                  <a:lnTo>
                    <a:pt x="328" y="162"/>
                  </a:lnTo>
                  <a:lnTo>
                    <a:pt x="329" y="165"/>
                  </a:lnTo>
                  <a:lnTo>
                    <a:pt x="331" y="169"/>
                  </a:lnTo>
                  <a:lnTo>
                    <a:pt x="331" y="172"/>
                  </a:lnTo>
                  <a:lnTo>
                    <a:pt x="331" y="175"/>
                  </a:lnTo>
                  <a:lnTo>
                    <a:pt x="331" y="178"/>
                  </a:lnTo>
                  <a:lnTo>
                    <a:pt x="329" y="181"/>
                  </a:lnTo>
                  <a:lnTo>
                    <a:pt x="326" y="184"/>
                  </a:lnTo>
                  <a:lnTo>
                    <a:pt x="324" y="186"/>
                  </a:lnTo>
                  <a:lnTo>
                    <a:pt x="321" y="186"/>
                  </a:lnTo>
                  <a:lnTo>
                    <a:pt x="299" y="186"/>
                  </a:lnTo>
                  <a:lnTo>
                    <a:pt x="299" y="360"/>
                  </a:lnTo>
                  <a:lnTo>
                    <a:pt x="298" y="364"/>
                  </a:lnTo>
                  <a:lnTo>
                    <a:pt x="297" y="368"/>
                  </a:lnTo>
                  <a:lnTo>
                    <a:pt x="294" y="370"/>
                  </a:lnTo>
                  <a:lnTo>
                    <a:pt x="291" y="372"/>
                  </a:lnTo>
                  <a:lnTo>
                    <a:pt x="288" y="373"/>
                  </a:lnTo>
                  <a:lnTo>
                    <a:pt x="188" y="373"/>
                  </a:lnTo>
                  <a:lnTo>
                    <a:pt x="185" y="372"/>
                  </a:lnTo>
                  <a:lnTo>
                    <a:pt x="182" y="370"/>
                  </a:lnTo>
                  <a:lnTo>
                    <a:pt x="179" y="368"/>
                  </a:lnTo>
                  <a:lnTo>
                    <a:pt x="178" y="364"/>
                  </a:lnTo>
                  <a:lnTo>
                    <a:pt x="177" y="360"/>
                  </a:lnTo>
                  <a:lnTo>
                    <a:pt x="177" y="293"/>
                  </a:lnTo>
                  <a:lnTo>
                    <a:pt x="155" y="293"/>
                  </a:lnTo>
                  <a:lnTo>
                    <a:pt x="155" y="360"/>
                  </a:lnTo>
                  <a:lnTo>
                    <a:pt x="155" y="364"/>
                  </a:lnTo>
                  <a:lnTo>
                    <a:pt x="153" y="368"/>
                  </a:lnTo>
                  <a:lnTo>
                    <a:pt x="151" y="370"/>
                  </a:lnTo>
                  <a:lnTo>
                    <a:pt x="148" y="372"/>
                  </a:lnTo>
                  <a:lnTo>
                    <a:pt x="143" y="373"/>
                  </a:lnTo>
                  <a:lnTo>
                    <a:pt x="45" y="373"/>
                  </a:lnTo>
                  <a:lnTo>
                    <a:pt x="41" y="372"/>
                  </a:lnTo>
                  <a:lnTo>
                    <a:pt x="38" y="370"/>
                  </a:lnTo>
                  <a:lnTo>
                    <a:pt x="36" y="368"/>
                  </a:lnTo>
                  <a:lnTo>
                    <a:pt x="34" y="364"/>
                  </a:lnTo>
                  <a:lnTo>
                    <a:pt x="34" y="360"/>
                  </a:lnTo>
                  <a:lnTo>
                    <a:pt x="34" y="186"/>
                  </a:lnTo>
                  <a:lnTo>
                    <a:pt x="12" y="186"/>
                  </a:lnTo>
                  <a:lnTo>
                    <a:pt x="9" y="186"/>
                  </a:lnTo>
                  <a:lnTo>
                    <a:pt x="5" y="184"/>
                  </a:lnTo>
                  <a:lnTo>
                    <a:pt x="3" y="181"/>
                  </a:lnTo>
                  <a:lnTo>
                    <a:pt x="1" y="178"/>
                  </a:lnTo>
                  <a:lnTo>
                    <a:pt x="0" y="174"/>
                  </a:lnTo>
                  <a:lnTo>
                    <a:pt x="1" y="170"/>
                  </a:lnTo>
                  <a:lnTo>
                    <a:pt x="2" y="166"/>
                  </a:lnTo>
                  <a:lnTo>
                    <a:pt x="4" y="162"/>
                  </a:lnTo>
                  <a:lnTo>
                    <a:pt x="159" y="2"/>
                  </a:lnTo>
                  <a:lnTo>
                    <a:pt x="162" y="1"/>
                  </a:lnTo>
                  <a:lnTo>
                    <a:pt x="165" y="0"/>
                  </a:lnTo>
                  <a:lnTo>
                    <a:pt x="16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95">
              <a:extLst>
                <a:ext uri="{FF2B5EF4-FFF2-40B4-BE49-F238E27FC236}">
                  <a16:creationId xmlns:a16="http://schemas.microsoft.com/office/drawing/2014/main" id="{41D36336-5380-EA4E-B43F-6A67C0A59F00}"/>
                </a:ext>
              </a:extLst>
            </p:cNvPr>
            <p:cNvSpPr>
              <a:spLocks noEditPoints="1"/>
            </p:cNvSpPr>
            <p:nvPr/>
          </p:nvSpPr>
          <p:spPr bwMode="auto">
            <a:xfrm>
              <a:off x="2663826" y="1174750"/>
              <a:ext cx="782638" cy="831850"/>
            </a:xfrm>
            <a:custGeom>
              <a:avLst/>
              <a:gdLst>
                <a:gd name="T0" fmla="*/ 321 w 493"/>
                <a:gd name="T1" fmla="*/ 110 h 524"/>
                <a:gd name="T2" fmla="*/ 347 w 493"/>
                <a:gd name="T3" fmla="*/ 187 h 524"/>
                <a:gd name="T4" fmla="*/ 400 w 493"/>
                <a:gd name="T5" fmla="*/ 209 h 524"/>
                <a:gd name="T6" fmla="*/ 454 w 493"/>
                <a:gd name="T7" fmla="*/ 215 h 524"/>
                <a:gd name="T8" fmla="*/ 408 w 493"/>
                <a:gd name="T9" fmla="*/ 138 h 524"/>
                <a:gd name="T10" fmla="*/ 330 w 493"/>
                <a:gd name="T11" fmla="*/ 85 h 524"/>
                <a:gd name="T12" fmla="*/ 163 w 493"/>
                <a:gd name="T13" fmla="*/ 85 h 524"/>
                <a:gd name="T14" fmla="*/ 84 w 493"/>
                <a:gd name="T15" fmla="*/ 138 h 524"/>
                <a:gd name="T16" fmla="*/ 41 w 493"/>
                <a:gd name="T17" fmla="*/ 216 h 524"/>
                <a:gd name="T18" fmla="*/ 113 w 493"/>
                <a:gd name="T19" fmla="*/ 209 h 524"/>
                <a:gd name="T20" fmla="*/ 153 w 493"/>
                <a:gd name="T21" fmla="*/ 156 h 524"/>
                <a:gd name="T22" fmla="*/ 183 w 493"/>
                <a:gd name="T23" fmla="*/ 91 h 524"/>
                <a:gd name="T24" fmla="*/ 240 w 493"/>
                <a:gd name="T25" fmla="*/ 79 h 524"/>
                <a:gd name="T26" fmla="*/ 209 w 493"/>
                <a:gd name="T27" fmla="*/ 115 h 524"/>
                <a:gd name="T28" fmla="*/ 183 w 493"/>
                <a:gd name="T29" fmla="*/ 181 h 524"/>
                <a:gd name="T30" fmla="*/ 217 w 493"/>
                <a:gd name="T31" fmla="*/ 196 h 524"/>
                <a:gd name="T32" fmla="*/ 271 w 493"/>
                <a:gd name="T33" fmla="*/ 193 h 524"/>
                <a:gd name="T34" fmla="*/ 315 w 493"/>
                <a:gd name="T35" fmla="*/ 208 h 524"/>
                <a:gd name="T36" fmla="*/ 294 w 493"/>
                <a:gd name="T37" fmla="*/ 133 h 524"/>
                <a:gd name="T38" fmla="*/ 264 w 493"/>
                <a:gd name="T39" fmla="*/ 88 h 524"/>
                <a:gd name="T40" fmla="*/ 247 w 493"/>
                <a:gd name="T41" fmla="*/ 0 h 524"/>
                <a:gd name="T42" fmla="*/ 260 w 493"/>
                <a:gd name="T43" fmla="*/ 5 h 524"/>
                <a:gd name="T44" fmla="*/ 264 w 493"/>
                <a:gd name="T45" fmla="*/ 16 h 524"/>
                <a:gd name="T46" fmla="*/ 333 w 493"/>
                <a:gd name="T47" fmla="*/ 48 h 524"/>
                <a:gd name="T48" fmla="*/ 421 w 493"/>
                <a:gd name="T49" fmla="*/ 99 h 524"/>
                <a:gd name="T50" fmla="*/ 478 w 493"/>
                <a:gd name="T51" fmla="*/ 178 h 524"/>
                <a:gd name="T52" fmla="*/ 492 w 493"/>
                <a:gd name="T53" fmla="*/ 247 h 524"/>
                <a:gd name="T54" fmla="*/ 487 w 493"/>
                <a:gd name="T55" fmla="*/ 256 h 524"/>
                <a:gd name="T56" fmla="*/ 470 w 493"/>
                <a:gd name="T57" fmla="*/ 260 h 524"/>
                <a:gd name="T58" fmla="*/ 458 w 493"/>
                <a:gd name="T59" fmla="*/ 254 h 524"/>
                <a:gd name="T60" fmla="*/ 425 w 493"/>
                <a:gd name="T61" fmla="*/ 245 h 524"/>
                <a:gd name="T62" fmla="*/ 366 w 493"/>
                <a:gd name="T63" fmla="*/ 251 h 524"/>
                <a:gd name="T64" fmla="*/ 338 w 493"/>
                <a:gd name="T65" fmla="*/ 261 h 524"/>
                <a:gd name="T66" fmla="*/ 331 w 493"/>
                <a:gd name="T67" fmla="*/ 261 h 524"/>
                <a:gd name="T68" fmla="*/ 321 w 493"/>
                <a:gd name="T69" fmla="*/ 255 h 524"/>
                <a:gd name="T70" fmla="*/ 305 w 493"/>
                <a:gd name="T71" fmla="*/ 243 h 524"/>
                <a:gd name="T72" fmla="*/ 264 w 493"/>
                <a:gd name="T73" fmla="*/ 228 h 524"/>
                <a:gd name="T74" fmla="*/ 253 w 493"/>
                <a:gd name="T75" fmla="*/ 502 h 524"/>
                <a:gd name="T76" fmla="*/ 211 w 493"/>
                <a:gd name="T77" fmla="*/ 524 h 524"/>
                <a:gd name="T78" fmla="*/ 168 w 493"/>
                <a:gd name="T79" fmla="*/ 502 h 524"/>
                <a:gd name="T80" fmla="*/ 161 w 493"/>
                <a:gd name="T81" fmla="*/ 463 h 524"/>
                <a:gd name="T82" fmla="*/ 186 w 493"/>
                <a:gd name="T83" fmla="*/ 457 h 524"/>
                <a:gd name="T84" fmla="*/ 195 w 493"/>
                <a:gd name="T85" fmla="*/ 476 h 524"/>
                <a:gd name="T86" fmla="*/ 203 w 493"/>
                <a:gd name="T87" fmla="*/ 486 h 524"/>
                <a:gd name="T88" fmla="*/ 220 w 493"/>
                <a:gd name="T89" fmla="*/ 486 h 524"/>
                <a:gd name="T90" fmla="*/ 229 w 493"/>
                <a:gd name="T91" fmla="*/ 229 h 524"/>
                <a:gd name="T92" fmla="*/ 169 w 493"/>
                <a:gd name="T93" fmla="*/ 259 h 524"/>
                <a:gd name="T94" fmla="*/ 151 w 493"/>
                <a:gd name="T95" fmla="*/ 259 h 524"/>
                <a:gd name="T96" fmla="*/ 94 w 493"/>
                <a:gd name="T97" fmla="*/ 245 h 524"/>
                <a:gd name="T98" fmla="*/ 47 w 493"/>
                <a:gd name="T99" fmla="*/ 252 h 524"/>
                <a:gd name="T100" fmla="*/ 26 w 493"/>
                <a:gd name="T101" fmla="*/ 260 h 524"/>
                <a:gd name="T102" fmla="*/ 4 w 493"/>
                <a:gd name="T103" fmla="*/ 256 h 524"/>
                <a:gd name="T104" fmla="*/ 0 w 493"/>
                <a:gd name="T105" fmla="*/ 243 h 524"/>
                <a:gd name="T106" fmla="*/ 38 w 493"/>
                <a:gd name="T107" fmla="*/ 141 h 524"/>
                <a:gd name="T108" fmla="*/ 118 w 493"/>
                <a:gd name="T109" fmla="*/ 67 h 524"/>
                <a:gd name="T110" fmla="*/ 229 w 493"/>
                <a:gd name="T111" fmla="*/ 34 h 524"/>
                <a:gd name="T112" fmla="*/ 238 w 493"/>
                <a:gd name="T113" fmla="*/ 2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3" h="524">
                  <a:moveTo>
                    <a:pt x="298" y="75"/>
                  </a:moveTo>
                  <a:lnTo>
                    <a:pt x="310" y="91"/>
                  </a:lnTo>
                  <a:lnTo>
                    <a:pt x="321" y="110"/>
                  </a:lnTo>
                  <a:lnTo>
                    <a:pt x="331" y="132"/>
                  </a:lnTo>
                  <a:lnTo>
                    <a:pt x="341" y="156"/>
                  </a:lnTo>
                  <a:lnTo>
                    <a:pt x="347" y="187"/>
                  </a:lnTo>
                  <a:lnTo>
                    <a:pt x="351" y="220"/>
                  </a:lnTo>
                  <a:lnTo>
                    <a:pt x="377" y="213"/>
                  </a:lnTo>
                  <a:lnTo>
                    <a:pt x="400" y="209"/>
                  </a:lnTo>
                  <a:lnTo>
                    <a:pt x="420" y="209"/>
                  </a:lnTo>
                  <a:lnTo>
                    <a:pt x="438" y="211"/>
                  </a:lnTo>
                  <a:lnTo>
                    <a:pt x="454" y="215"/>
                  </a:lnTo>
                  <a:lnTo>
                    <a:pt x="442" y="187"/>
                  </a:lnTo>
                  <a:lnTo>
                    <a:pt x="427" y="161"/>
                  </a:lnTo>
                  <a:lnTo>
                    <a:pt x="408" y="138"/>
                  </a:lnTo>
                  <a:lnTo>
                    <a:pt x="385" y="117"/>
                  </a:lnTo>
                  <a:lnTo>
                    <a:pt x="359" y="99"/>
                  </a:lnTo>
                  <a:lnTo>
                    <a:pt x="330" y="85"/>
                  </a:lnTo>
                  <a:lnTo>
                    <a:pt x="298" y="75"/>
                  </a:lnTo>
                  <a:close/>
                  <a:moveTo>
                    <a:pt x="194" y="75"/>
                  </a:moveTo>
                  <a:lnTo>
                    <a:pt x="163" y="85"/>
                  </a:lnTo>
                  <a:lnTo>
                    <a:pt x="134" y="99"/>
                  </a:lnTo>
                  <a:lnTo>
                    <a:pt x="107" y="117"/>
                  </a:lnTo>
                  <a:lnTo>
                    <a:pt x="84" y="138"/>
                  </a:lnTo>
                  <a:lnTo>
                    <a:pt x="66" y="162"/>
                  </a:lnTo>
                  <a:lnTo>
                    <a:pt x="51" y="188"/>
                  </a:lnTo>
                  <a:lnTo>
                    <a:pt x="41" y="216"/>
                  </a:lnTo>
                  <a:lnTo>
                    <a:pt x="62" y="211"/>
                  </a:lnTo>
                  <a:lnTo>
                    <a:pt x="86" y="208"/>
                  </a:lnTo>
                  <a:lnTo>
                    <a:pt x="113" y="209"/>
                  </a:lnTo>
                  <a:lnTo>
                    <a:pt x="141" y="216"/>
                  </a:lnTo>
                  <a:lnTo>
                    <a:pt x="145" y="184"/>
                  </a:lnTo>
                  <a:lnTo>
                    <a:pt x="153" y="156"/>
                  </a:lnTo>
                  <a:lnTo>
                    <a:pt x="161" y="131"/>
                  </a:lnTo>
                  <a:lnTo>
                    <a:pt x="171" y="110"/>
                  </a:lnTo>
                  <a:lnTo>
                    <a:pt x="183" y="91"/>
                  </a:lnTo>
                  <a:lnTo>
                    <a:pt x="194" y="75"/>
                  </a:lnTo>
                  <a:close/>
                  <a:moveTo>
                    <a:pt x="247" y="72"/>
                  </a:moveTo>
                  <a:lnTo>
                    <a:pt x="240" y="79"/>
                  </a:lnTo>
                  <a:lnTo>
                    <a:pt x="229" y="88"/>
                  </a:lnTo>
                  <a:lnTo>
                    <a:pt x="219" y="100"/>
                  </a:lnTo>
                  <a:lnTo>
                    <a:pt x="209" y="115"/>
                  </a:lnTo>
                  <a:lnTo>
                    <a:pt x="198" y="134"/>
                  </a:lnTo>
                  <a:lnTo>
                    <a:pt x="190" y="155"/>
                  </a:lnTo>
                  <a:lnTo>
                    <a:pt x="183" y="181"/>
                  </a:lnTo>
                  <a:lnTo>
                    <a:pt x="178" y="211"/>
                  </a:lnTo>
                  <a:lnTo>
                    <a:pt x="198" y="202"/>
                  </a:lnTo>
                  <a:lnTo>
                    <a:pt x="217" y="196"/>
                  </a:lnTo>
                  <a:lnTo>
                    <a:pt x="236" y="193"/>
                  </a:lnTo>
                  <a:lnTo>
                    <a:pt x="252" y="192"/>
                  </a:lnTo>
                  <a:lnTo>
                    <a:pt x="271" y="193"/>
                  </a:lnTo>
                  <a:lnTo>
                    <a:pt x="288" y="197"/>
                  </a:lnTo>
                  <a:lnTo>
                    <a:pt x="302" y="202"/>
                  </a:lnTo>
                  <a:lnTo>
                    <a:pt x="315" y="208"/>
                  </a:lnTo>
                  <a:lnTo>
                    <a:pt x="309" y="179"/>
                  </a:lnTo>
                  <a:lnTo>
                    <a:pt x="302" y="154"/>
                  </a:lnTo>
                  <a:lnTo>
                    <a:pt x="294" y="133"/>
                  </a:lnTo>
                  <a:lnTo>
                    <a:pt x="283" y="115"/>
                  </a:lnTo>
                  <a:lnTo>
                    <a:pt x="273" y="100"/>
                  </a:lnTo>
                  <a:lnTo>
                    <a:pt x="264" y="88"/>
                  </a:lnTo>
                  <a:lnTo>
                    <a:pt x="254" y="79"/>
                  </a:lnTo>
                  <a:lnTo>
                    <a:pt x="247" y="72"/>
                  </a:lnTo>
                  <a:close/>
                  <a:moveTo>
                    <a:pt x="247" y="0"/>
                  </a:moveTo>
                  <a:lnTo>
                    <a:pt x="252" y="1"/>
                  </a:lnTo>
                  <a:lnTo>
                    <a:pt x="255" y="2"/>
                  </a:lnTo>
                  <a:lnTo>
                    <a:pt x="260" y="5"/>
                  </a:lnTo>
                  <a:lnTo>
                    <a:pt x="262" y="8"/>
                  </a:lnTo>
                  <a:lnTo>
                    <a:pt x="264" y="12"/>
                  </a:lnTo>
                  <a:lnTo>
                    <a:pt x="264" y="16"/>
                  </a:lnTo>
                  <a:lnTo>
                    <a:pt x="264" y="34"/>
                  </a:lnTo>
                  <a:lnTo>
                    <a:pt x="300" y="39"/>
                  </a:lnTo>
                  <a:lnTo>
                    <a:pt x="333" y="48"/>
                  </a:lnTo>
                  <a:lnTo>
                    <a:pt x="365" y="62"/>
                  </a:lnTo>
                  <a:lnTo>
                    <a:pt x="394" y="79"/>
                  </a:lnTo>
                  <a:lnTo>
                    <a:pt x="421" y="99"/>
                  </a:lnTo>
                  <a:lnTo>
                    <a:pt x="444" y="123"/>
                  </a:lnTo>
                  <a:lnTo>
                    <a:pt x="463" y="150"/>
                  </a:lnTo>
                  <a:lnTo>
                    <a:pt x="478" y="178"/>
                  </a:lnTo>
                  <a:lnTo>
                    <a:pt x="488" y="209"/>
                  </a:lnTo>
                  <a:lnTo>
                    <a:pt x="493" y="243"/>
                  </a:lnTo>
                  <a:lnTo>
                    <a:pt x="492" y="247"/>
                  </a:lnTo>
                  <a:lnTo>
                    <a:pt x="491" y="250"/>
                  </a:lnTo>
                  <a:lnTo>
                    <a:pt x="489" y="253"/>
                  </a:lnTo>
                  <a:lnTo>
                    <a:pt x="487" y="256"/>
                  </a:lnTo>
                  <a:lnTo>
                    <a:pt x="483" y="259"/>
                  </a:lnTo>
                  <a:lnTo>
                    <a:pt x="478" y="261"/>
                  </a:lnTo>
                  <a:lnTo>
                    <a:pt x="470" y="260"/>
                  </a:lnTo>
                  <a:lnTo>
                    <a:pt x="465" y="257"/>
                  </a:lnTo>
                  <a:lnTo>
                    <a:pt x="463" y="256"/>
                  </a:lnTo>
                  <a:lnTo>
                    <a:pt x="458" y="254"/>
                  </a:lnTo>
                  <a:lnTo>
                    <a:pt x="449" y="250"/>
                  </a:lnTo>
                  <a:lnTo>
                    <a:pt x="438" y="247"/>
                  </a:lnTo>
                  <a:lnTo>
                    <a:pt x="425" y="245"/>
                  </a:lnTo>
                  <a:lnTo>
                    <a:pt x="408" y="245"/>
                  </a:lnTo>
                  <a:lnTo>
                    <a:pt x="388" y="246"/>
                  </a:lnTo>
                  <a:lnTo>
                    <a:pt x="366" y="251"/>
                  </a:lnTo>
                  <a:lnTo>
                    <a:pt x="342" y="260"/>
                  </a:lnTo>
                  <a:lnTo>
                    <a:pt x="339" y="260"/>
                  </a:lnTo>
                  <a:lnTo>
                    <a:pt x="338" y="261"/>
                  </a:lnTo>
                  <a:lnTo>
                    <a:pt x="336" y="261"/>
                  </a:lnTo>
                  <a:lnTo>
                    <a:pt x="334" y="262"/>
                  </a:lnTo>
                  <a:lnTo>
                    <a:pt x="331" y="261"/>
                  </a:lnTo>
                  <a:lnTo>
                    <a:pt x="327" y="260"/>
                  </a:lnTo>
                  <a:lnTo>
                    <a:pt x="324" y="258"/>
                  </a:lnTo>
                  <a:lnTo>
                    <a:pt x="321" y="255"/>
                  </a:lnTo>
                  <a:lnTo>
                    <a:pt x="319" y="253"/>
                  </a:lnTo>
                  <a:lnTo>
                    <a:pt x="314" y="248"/>
                  </a:lnTo>
                  <a:lnTo>
                    <a:pt x="305" y="243"/>
                  </a:lnTo>
                  <a:lnTo>
                    <a:pt x="295" y="236"/>
                  </a:lnTo>
                  <a:lnTo>
                    <a:pt x="280" y="231"/>
                  </a:lnTo>
                  <a:lnTo>
                    <a:pt x="264" y="228"/>
                  </a:lnTo>
                  <a:lnTo>
                    <a:pt x="264" y="472"/>
                  </a:lnTo>
                  <a:lnTo>
                    <a:pt x="261" y="488"/>
                  </a:lnTo>
                  <a:lnTo>
                    <a:pt x="253" y="502"/>
                  </a:lnTo>
                  <a:lnTo>
                    <a:pt x="242" y="514"/>
                  </a:lnTo>
                  <a:lnTo>
                    <a:pt x="227" y="522"/>
                  </a:lnTo>
                  <a:lnTo>
                    <a:pt x="211" y="524"/>
                  </a:lnTo>
                  <a:lnTo>
                    <a:pt x="194" y="522"/>
                  </a:lnTo>
                  <a:lnTo>
                    <a:pt x="181" y="514"/>
                  </a:lnTo>
                  <a:lnTo>
                    <a:pt x="168" y="502"/>
                  </a:lnTo>
                  <a:lnTo>
                    <a:pt x="161" y="488"/>
                  </a:lnTo>
                  <a:lnTo>
                    <a:pt x="158" y="472"/>
                  </a:lnTo>
                  <a:lnTo>
                    <a:pt x="161" y="463"/>
                  </a:lnTo>
                  <a:lnTo>
                    <a:pt x="167" y="457"/>
                  </a:lnTo>
                  <a:lnTo>
                    <a:pt x="177" y="453"/>
                  </a:lnTo>
                  <a:lnTo>
                    <a:pt x="186" y="457"/>
                  </a:lnTo>
                  <a:lnTo>
                    <a:pt x="192" y="463"/>
                  </a:lnTo>
                  <a:lnTo>
                    <a:pt x="194" y="472"/>
                  </a:lnTo>
                  <a:lnTo>
                    <a:pt x="195" y="476"/>
                  </a:lnTo>
                  <a:lnTo>
                    <a:pt x="196" y="480"/>
                  </a:lnTo>
                  <a:lnTo>
                    <a:pt x="199" y="483"/>
                  </a:lnTo>
                  <a:lnTo>
                    <a:pt x="203" y="486"/>
                  </a:lnTo>
                  <a:lnTo>
                    <a:pt x="207" y="488"/>
                  </a:lnTo>
                  <a:lnTo>
                    <a:pt x="211" y="488"/>
                  </a:lnTo>
                  <a:lnTo>
                    <a:pt x="220" y="486"/>
                  </a:lnTo>
                  <a:lnTo>
                    <a:pt x="226" y="480"/>
                  </a:lnTo>
                  <a:lnTo>
                    <a:pt x="229" y="472"/>
                  </a:lnTo>
                  <a:lnTo>
                    <a:pt x="229" y="229"/>
                  </a:lnTo>
                  <a:lnTo>
                    <a:pt x="211" y="235"/>
                  </a:lnTo>
                  <a:lnTo>
                    <a:pt x="191" y="245"/>
                  </a:lnTo>
                  <a:lnTo>
                    <a:pt x="169" y="259"/>
                  </a:lnTo>
                  <a:lnTo>
                    <a:pt x="163" y="261"/>
                  </a:lnTo>
                  <a:lnTo>
                    <a:pt x="156" y="261"/>
                  </a:lnTo>
                  <a:lnTo>
                    <a:pt x="151" y="259"/>
                  </a:lnTo>
                  <a:lnTo>
                    <a:pt x="132" y="250"/>
                  </a:lnTo>
                  <a:lnTo>
                    <a:pt x="112" y="246"/>
                  </a:lnTo>
                  <a:lnTo>
                    <a:pt x="94" y="245"/>
                  </a:lnTo>
                  <a:lnTo>
                    <a:pt x="76" y="246"/>
                  </a:lnTo>
                  <a:lnTo>
                    <a:pt x="60" y="248"/>
                  </a:lnTo>
                  <a:lnTo>
                    <a:pt x="47" y="252"/>
                  </a:lnTo>
                  <a:lnTo>
                    <a:pt x="35" y="256"/>
                  </a:lnTo>
                  <a:lnTo>
                    <a:pt x="29" y="259"/>
                  </a:lnTo>
                  <a:lnTo>
                    <a:pt x="26" y="260"/>
                  </a:lnTo>
                  <a:lnTo>
                    <a:pt x="17" y="261"/>
                  </a:lnTo>
                  <a:lnTo>
                    <a:pt x="8" y="259"/>
                  </a:lnTo>
                  <a:lnTo>
                    <a:pt x="4" y="256"/>
                  </a:lnTo>
                  <a:lnTo>
                    <a:pt x="2" y="252"/>
                  </a:lnTo>
                  <a:lnTo>
                    <a:pt x="0" y="247"/>
                  </a:lnTo>
                  <a:lnTo>
                    <a:pt x="0" y="243"/>
                  </a:lnTo>
                  <a:lnTo>
                    <a:pt x="6" y="206"/>
                  </a:lnTo>
                  <a:lnTo>
                    <a:pt x="19" y="172"/>
                  </a:lnTo>
                  <a:lnTo>
                    <a:pt x="38" y="141"/>
                  </a:lnTo>
                  <a:lnTo>
                    <a:pt x="60" y="113"/>
                  </a:lnTo>
                  <a:lnTo>
                    <a:pt x="87" y="88"/>
                  </a:lnTo>
                  <a:lnTo>
                    <a:pt x="118" y="67"/>
                  </a:lnTo>
                  <a:lnTo>
                    <a:pt x="153" y="51"/>
                  </a:lnTo>
                  <a:lnTo>
                    <a:pt x="190" y="40"/>
                  </a:lnTo>
                  <a:lnTo>
                    <a:pt x="229" y="34"/>
                  </a:lnTo>
                  <a:lnTo>
                    <a:pt x="229" y="16"/>
                  </a:lnTo>
                  <a:lnTo>
                    <a:pt x="232" y="8"/>
                  </a:lnTo>
                  <a:lnTo>
                    <a:pt x="238" y="2"/>
                  </a:lnTo>
                  <a:lnTo>
                    <a:pt x="24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96">
              <a:extLst>
                <a:ext uri="{FF2B5EF4-FFF2-40B4-BE49-F238E27FC236}">
                  <a16:creationId xmlns:a16="http://schemas.microsoft.com/office/drawing/2014/main" id="{48BDE589-A072-D347-84FF-4FD0EB54C223}"/>
                </a:ext>
              </a:extLst>
            </p:cNvPr>
            <p:cNvSpPr>
              <a:spLocks noEditPoints="1"/>
            </p:cNvSpPr>
            <p:nvPr/>
          </p:nvSpPr>
          <p:spPr bwMode="auto">
            <a:xfrm>
              <a:off x="4860926" y="1501775"/>
              <a:ext cx="384175" cy="285750"/>
            </a:xfrm>
            <a:custGeom>
              <a:avLst/>
              <a:gdLst>
                <a:gd name="T0" fmla="*/ 41 w 242"/>
                <a:gd name="T1" fmla="*/ 130 h 180"/>
                <a:gd name="T2" fmla="*/ 122 w 242"/>
                <a:gd name="T3" fmla="*/ 130 h 180"/>
                <a:gd name="T4" fmla="*/ 125 w 242"/>
                <a:gd name="T5" fmla="*/ 131 h 180"/>
                <a:gd name="T6" fmla="*/ 127 w 242"/>
                <a:gd name="T7" fmla="*/ 133 h 180"/>
                <a:gd name="T8" fmla="*/ 128 w 242"/>
                <a:gd name="T9" fmla="*/ 136 h 180"/>
                <a:gd name="T10" fmla="*/ 129 w 242"/>
                <a:gd name="T11" fmla="*/ 139 h 180"/>
                <a:gd name="T12" fmla="*/ 128 w 242"/>
                <a:gd name="T13" fmla="*/ 143 h 180"/>
                <a:gd name="T14" fmla="*/ 127 w 242"/>
                <a:gd name="T15" fmla="*/ 145 h 180"/>
                <a:gd name="T16" fmla="*/ 125 w 242"/>
                <a:gd name="T17" fmla="*/ 146 h 180"/>
                <a:gd name="T18" fmla="*/ 122 w 242"/>
                <a:gd name="T19" fmla="*/ 147 h 180"/>
                <a:gd name="T20" fmla="*/ 41 w 242"/>
                <a:gd name="T21" fmla="*/ 147 h 180"/>
                <a:gd name="T22" fmla="*/ 38 w 242"/>
                <a:gd name="T23" fmla="*/ 146 h 180"/>
                <a:gd name="T24" fmla="*/ 35 w 242"/>
                <a:gd name="T25" fmla="*/ 145 h 180"/>
                <a:gd name="T26" fmla="*/ 33 w 242"/>
                <a:gd name="T27" fmla="*/ 143 h 180"/>
                <a:gd name="T28" fmla="*/ 33 w 242"/>
                <a:gd name="T29" fmla="*/ 139 h 180"/>
                <a:gd name="T30" fmla="*/ 33 w 242"/>
                <a:gd name="T31" fmla="*/ 136 h 180"/>
                <a:gd name="T32" fmla="*/ 35 w 242"/>
                <a:gd name="T33" fmla="*/ 133 h 180"/>
                <a:gd name="T34" fmla="*/ 38 w 242"/>
                <a:gd name="T35" fmla="*/ 131 h 180"/>
                <a:gd name="T36" fmla="*/ 41 w 242"/>
                <a:gd name="T37" fmla="*/ 130 h 180"/>
                <a:gd name="T38" fmla="*/ 16 w 242"/>
                <a:gd name="T39" fmla="*/ 66 h 180"/>
                <a:gd name="T40" fmla="*/ 16 w 242"/>
                <a:gd name="T41" fmla="*/ 163 h 180"/>
                <a:gd name="T42" fmla="*/ 226 w 242"/>
                <a:gd name="T43" fmla="*/ 163 h 180"/>
                <a:gd name="T44" fmla="*/ 226 w 242"/>
                <a:gd name="T45" fmla="*/ 66 h 180"/>
                <a:gd name="T46" fmla="*/ 16 w 242"/>
                <a:gd name="T47" fmla="*/ 66 h 180"/>
                <a:gd name="T48" fmla="*/ 16 w 242"/>
                <a:gd name="T49" fmla="*/ 17 h 180"/>
                <a:gd name="T50" fmla="*/ 16 w 242"/>
                <a:gd name="T51" fmla="*/ 32 h 180"/>
                <a:gd name="T52" fmla="*/ 226 w 242"/>
                <a:gd name="T53" fmla="*/ 32 h 180"/>
                <a:gd name="T54" fmla="*/ 226 w 242"/>
                <a:gd name="T55" fmla="*/ 17 h 180"/>
                <a:gd name="T56" fmla="*/ 16 w 242"/>
                <a:gd name="T57" fmla="*/ 17 h 180"/>
                <a:gd name="T58" fmla="*/ 8 w 242"/>
                <a:gd name="T59" fmla="*/ 0 h 180"/>
                <a:gd name="T60" fmla="*/ 234 w 242"/>
                <a:gd name="T61" fmla="*/ 0 h 180"/>
                <a:gd name="T62" fmla="*/ 237 w 242"/>
                <a:gd name="T63" fmla="*/ 1 h 180"/>
                <a:gd name="T64" fmla="*/ 240 w 242"/>
                <a:gd name="T65" fmla="*/ 2 h 180"/>
                <a:gd name="T66" fmla="*/ 242 w 242"/>
                <a:gd name="T67" fmla="*/ 5 h 180"/>
                <a:gd name="T68" fmla="*/ 242 w 242"/>
                <a:gd name="T69" fmla="*/ 9 h 180"/>
                <a:gd name="T70" fmla="*/ 242 w 242"/>
                <a:gd name="T71" fmla="*/ 172 h 180"/>
                <a:gd name="T72" fmla="*/ 242 w 242"/>
                <a:gd name="T73" fmla="*/ 175 h 180"/>
                <a:gd name="T74" fmla="*/ 240 w 242"/>
                <a:gd name="T75" fmla="*/ 177 h 180"/>
                <a:gd name="T76" fmla="*/ 237 w 242"/>
                <a:gd name="T77" fmla="*/ 179 h 180"/>
                <a:gd name="T78" fmla="*/ 234 w 242"/>
                <a:gd name="T79" fmla="*/ 180 h 180"/>
                <a:gd name="T80" fmla="*/ 8 w 242"/>
                <a:gd name="T81" fmla="*/ 180 h 180"/>
                <a:gd name="T82" fmla="*/ 5 w 242"/>
                <a:gd name="T83" fmla="*/ 179 h 180"/>
                <a:gd name="T84" fmla="*/ 3 w 242"/>
                <a:gd name="T85" fmla="*/ 177 h 180"/>
                <a:gd name="T86" fmla="*/ 2 w 242"/>
                <a:gd name="T87" fmla="*/ 175 h 180"/>
                <a:gd name="T88" fmla="*/ 0 w 242"/>
                <a:gd name="T89" fmla="*/ 172 h 180"/>
                <a:gd name="T90" fmla="*/ 0 w 242"/>
                <a:gd name="T91" fmla="*/ 9 h 180"/>
                <a:gd name="T92" fmla="*/ 2 w 242"/>
                <a:gd name="T93" fmla="*/ 5 h 180"/>
                <a:gd name="T94" fmla="*/ 3 w 242"/>
                <a:gd name="T95" fmla="*/ 2 h 180"/>
                <a:gd name="T96" fmla="*/ 5 w 242"/>
                <a:gd name="T97" fmla="*/ 1 h 180"/>
                <a:gd name="T98" fmla="*/ 8 w 242"/>
                <a:gd name="T9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2" h="180">
                  <a:moveTo>
                    <a:pt x="41" y="130"/>
                  </a:moveTo>
                  <a:lnTo>
                    <a:pt x="122" y="130"/>
                  </a:lnTo>
                  <a:lnTo>
                    <a:pt x="125" y="131"/>
                  </a:lnTo>
                  <a:lnTo>
                    <a:pt x="127" y="133"/>
                  </a:lnTo>
                  <a:lnTo>
                    <a:pt x="128" y="136"/>
                  </a:lnTo>
                  <a:lnTo>
                    <a:pt x="129" y="139"/>
                  </a:lnTo>
                  <a:lnTo>
                    <a:pt x="128" y="143"/>
                  </a:lnTo>
                  <a:lnTo>
                    <a:pt x="127" y="145"/>
                  </a:lnTo>
                  <a:lnTo>
                    <a:pt x="125" y="146"/>
                  </a:lnTo>
                  <a:lnTo>
                    <a:pt x="122" y="147"/>
                  </a:lnTo>
                  <a:lnTo>
                    <a:pt x="41" y="147"/>
                  </a:lnTo>
                  <a:lnTo>
                    <a:pt x="38" y="146"/>
                  </a:lnTo>
                  <a:lnTo>
                    <a:pt x="35" y="145"/>
                  </a:lnTo>
                  <a:lnTo>
                    <a:pt x="33" y="143"/>
                  </a:lnTo>
                  <a:lnTo>
                    <a:pt x="33" y="139"/>
                  </a:lnTo>
                  <a:lnTo>
                    <a:pt x="33" y="136"/>
                  </a:lnTo>
                  <a:lnTo>
                    <a:pt x="35" y="133"/>
                  </a:lnTo>
                  <a:lnTo>
                    <a:pt x="38" y="131"/>
                  </a:lnTo>
                  <a:lnTo>
                    <a:pt x="41" y="130"/>
                  </a:lnTo>
                  <a:close/>
                  <a:moveTo>
                    <a:pt x="16" y="66"/>
                  </a:moveTo>
                  <a:lnTo>
                    <a:pt x="16" y="163"/>
                  </a:lnTo>
                  <a:lnTo>
                    <a:pt x="226" y="163"/>
                  </a:lnTo>
                  <a:lnTo>
                    <a:pt x="226" y="66"/>
                  </a:lnTo>
                  <a:lnTo>
                    <a:pt x="16" y="66"/>
                  </a:lnTo>
                  <a:close/>
                  <a:moveTo>
                    <a:pt x="16" y="17"/>
                  </a:moveTo>
                  <a:lnTo>
                    <a:pt x="16" y="32"/>
                  </a:lnTo>
                  <a:lnTo>
                    <a:pt x="226" y="32"/>
                  </a:lnTo>
                  <a:lnTo>
                    <a:pt x="226" y="17"/>
                  </a:lnTo>
                  <a:lnTo>
                    <a:pt x="16" y="17"/>
                  </a:lnTo>
                  <a:close/>
                  <a:moveTo>
                    <a:pt x="8" y="0"/>
                  </a:moveTo>
                  <a:lnTo>
                    <a:pt x="234" y="0"/>
                  </a:lnTo>
                  <a:lnTo>
                    <a:pt x="237" y="1"/>
                  </a:lnTo>
                  <a:lnTo>
                    <a:pt x="240" y="2"/>
                  </a:lnTo>
                  <a:lnTo>
                    <a:pt x="242" y="5"/>
                  </a:lnTo>
                  <a:lnTo>
                    <a:pt x="242" y="9"/>
                  </a:lnTo>
                  <a:lnTo>
                    <a:pt x="242" y="172"/>
                  </a:lnTo>
                  <a:lnTo>
                    <a:pt x="242" y="175"/>
                  </a:lnTo>
                  <a:lnTo>
                    <a:pt x="240" y="177"/>
                  </a:lnTo>
                  <a:lnTo>
                    <a:pt x="237" y="179"/>
                  </a:lnTo>
                  <a:lnTo>
                    <a:pt x="234" y="180"/>
                  </a:lnTo>
                  <a:lnTo>
                    <a:pt x="8" y="180"/>
                  </a:lnTo>
                  <a:lnTo>
                    <a:pt x="5" y="179"/>
                  </a:lnTo>
                  <a:lnTo>
                    <a:pt x="3" y="177"/>
                  </a:lnTo>
                  <a:lnTo>
                    <a:pt x="2" y="175"/>
                  </a:lnTo>
                  <a:lnTo>
                    <a:pt x="0" y="172"/>
                  </a:lnTo>
                  <a:lnTo>
                    <a:pt x="0" y="9"/>
                  </a:lnTo>
                  <a:lnTo>
                    <a:pt x="2" y="5"/>
                  </a:lnTo>
                  <a:lnTo>
                    <a:pt x="3" y="2"/>
                  </a:lnTo>
                  <a:lnTo>
                    <a:pt x="5" y="1"/>
                  </a:lnTo>
                  <a:lnTo>
                    <a:pt x="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063431672"/>
      </p:ext>
    </p:extLst>
  </p:cSld>
  <p:clrMapOvr>
    <a:masterClrMapping/>
  </p:clrMapOvr>
  <p:transition>
    <p:fade/>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p:cNvSpPr>
            <a:spLocks/>
          </p:cNvSpPr>
          <p:nvPr/>
        </p:nvSpPr>
        <p:spPr bwMode="auto">
          <a:xfrm>
            <a:off x="2855913" y="2236789"/>
            <a:ext cx="17463" cy="12700"/>
          </a:xfrm>
          <a:custGeom>
            <a:avLst/>
            <a:gdLst>
              <a:gd name="T0" fmla="*/ 0 w 7"/>
              <a:gd name="T1" fmla="*/ 5 h 5"/>
              <a:gd name="T2" fmla="*/ 7 w 7"/>
              <a:gd name="T3" fmla="*/ 0 h 5"/>
            </a:gdLst>
            <a:ahLst/>
            <a:cxnLst>
              <a:cxn ang="0">
                <a:pos x="T0" y="T1"/>
              </a:cxn>
              <a:cxn ang="0">
                <a:pos x="T2" y="T3"/>
              </a:cxn>
            </a:cxnLst>
            <a:rect l="0" t="0" r="r" b="b"/>
            <a:pathLst>
              <a:path w="7" h="5">
                <a:moveTo>
                  <a:pt x="0" y="5"/>
                </a:moveTo>
                <a:cubicBezTo>
                  <a:pt x="2" y="3"/>
                  <a:pt x="5" y="2"/>
                  <a:pt x="7" y="0"/>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6"/>
          <p:cNvSpPr>
            <a:spLocks/>
          </p:cNvSpPr>
          <p:nvPr/>
        </p:nvSpPr>
        <p:spPr bwMode="auto">
          <a:xfrm>
            <a:off x="2486026" y="2347914"/>
            <a:ext cx="241300" cy="561975"/>
          </a:xfrm>
          <a:custGeom>
            <a:avLst/>
            <a:gdLst>
              <a:gd name="T0" fmla="*/ 0 w 93"/>
              <a:gd name="T1" fmla="*/ 218 h 218"/>
              <a:gd name="T2" fmla="*/ 0 w 93"/>
              <a:gd name="T3" fmla="*/ 217 h 218"/>
              <a:gd name="T4" fmla="*/ 93 w 93"/>
              <a:gd name="T5" fmla="*/ 0 h 218"/>
            </a:gdLst>
            <a:ahLst/>
            <a:cxnLst>
              <a:cxn ang="0">
                <a:pos x="T0" y="T1"/>
              </a:cxn>
              <a:cxn ang="0">
                <a:pos x="T2" y="T3"/>
              </a:cxn>
              <a:cxn ang="0">
                <a:pos x="T4" y="T5"/>
              </a:cxn>
            </a:cxnLst>
            <a:rect l="0" t="0" r="r" b="b"/>
            <a:pathLst>
              <a:path w="93" h="218">
                <a:moveTo>
                  <a:pt x="0" y="218"/>
                </a:moveTo>
                <a:cubicBezTo>
                  <a:pt x="0" y="218"/>
                  <a:pt x="0" y="217"/>
                  <a:pt x="0" y="217"/>
                </a:cubicBezTo>
                <a:cubicBezTo>
                  <a:pt x="0" y="132"/>
                  <a:pt x="36" y="55"/>
                  <a:pt x="93" y="0"/>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p:cNvSpPr>
          <p:nvPr/>
        </p:nvSpPr>
        <p:spPr bwMode="auto">
          <a:xfrm>
            <a:off x="4037013" y="2879726"/>
            <a:ext cx="0" cy="20638"/>
          </a:xfrm>
          <a:custGeom>
            <a:avLst/>
            <a:gdLst>
              <a:gd name="T0" fmla="*/ 0 h 8"/>
              <a:gd name="T1" fmla="*/ 8 h 8"/>
            </a:gdLst>
            <a:ahLst/>
            <a:cxnLst>
              <a:cxn ang="0">
                <a:pos x="0" y="T0"/>
              </a:cxn>
              <a:cxn ang="0">
                <a:pos x="0" y="T1"/>
              </a:cxn>
            </a:cxnLst>
            <a:rect l="0" t="0" r="r" b="b"/>
            <a:pathLst>
              <a:path h="8">
                <a:moveTo>
                  <a:pt x="0" y="0"/>
                </a:moveTo>
                <a:cubicBezTo>
                  <a:pt x="0" y="3"/>
                  <a:pt x="0" y="6"/>
                  <a:pt x="0" y="8"/>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Freeform 8"/>
          <p:cNvSpPr>
            <a:spLocks/>
          </p:cNvSpPr>
          <p:nvPr/>
        </p:nvSpPr>
        <p:spPr bwMode="auto">
          <a:xfrm>
            <a:off x="3652838" y="2236789"/>
            <a:ext cx="363538" cy="487363"/>
          </a:xfrm>
          <a:custGeom>
            <a:avLst/>
            <a:gdLst>
              <a:gd name="T0" fmla="*/ 0 w 141"/>
              <a:gd name="T1" fmla="*/ 0 h 189"/>
              <a:gd name="T2" fmla="*/ 141 w 141"/>
              <a:gd name="T3" fmla="*/ 189 h 189"/>
            </a:gdLst>
            <a:ahLst/>
            <a:cxnLst>
              <a:cxn ang="0">
                <a:pos x="T0" y="T1"/>
              </a:cxn>
              <a:cxn ang="0">
                <a:pos x="T2" y="T3"/>
              </a:cxn>
            </a:cxnLst>
            <a:rect l="0" t="0" r="r" b="b"/>
            <a:pathLst>
              <a:path w="141" h="189">
                <a:moveTo>
                  <a:pt x="0" y="0"/>
                </a:moveTo>
                <a:cubicBezTo>
                  <a:pt x="69" y="41"/>
                  <a:pt x="121" y="108"/>
                  <a:pt x="141" y="189"/>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Oval 9"/>
          <p:cNvSpPr>
            <a:spLocks noChangeArrowheads="1"/>
          </p:cNvSpPr>
          <p:nvPr/>
        </p:nvSpPr>
        <p:spPr bwMode="auto">
          <a:xfrm>
            <a:off x="3108326" y="2752726"/>
            <a:ext cx="309563" cy="309563"/>
          </a:xfrm>
          <a:prstGeom prst="ellipse">
            <a:avLst/>
          </a:pr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10"/>
          <p:cNvSpPr>
            <a:spLocks/>
          </p:cNvSpPr>
          <p:nvPr/>
        </p:nvSpPr>
        <p:spPr bwMode="auto">
          <a:xfrm>
            <a:off x="3160713" y="1614489"/>
            <a:ext cx="206375" cy="1176338"/>
          </a:xfrm>
          <a:custGeom>
            <a:avLst/>
            <a:gdLst>
              <a:gd name="T0" fmla="*/ 0 w 130"/>
              <a:gd name="T1" fmla="*/ 741 h 741"/>
              <a:gd name="T2" fmla="*/ 32 w 130"/>
              <a:gd name="T3" fmla="*/ 0 h 741"/>
              <a:gd name="T4" fmla="*/ 97 w 130"/>
              <a:gd name="T5" fmla="*/ 0 h 741"/>
              <a:gd name="T6" fmla="*/ 130 w 130"/>
              <a:gd name="T7" fmla="*/ 741 h 741"/>
            </a:gdLst>
            <a:ahLst/>
            <a:cxnLst>
              <a:cxn ang="0">
                <a:pos x="T0" y="T1"/>
              </a:cxn>
              <a:cxn ang="0">
                <a:pos x="T2" y="T3"/>
              </a:cxn>
              <a:cxn ang="0">
                <a:pos x="T4" y="T5"/>
              </a:cxn>
              <a:cxn ang="0">
                <a:pos x="T6" y="T7"/>
              </a:cxn>
            </a:cxnLst>
            <a:rect l="0" t="0" r="r" b="b"/>
            <a:pathLst>
              <a:path w="130" h="741">
                <a:moveTo>
                  <a:pt x="0" y="741"/>
                </a:moveTo>
                <a:lnTo>
                  <a:pt x="32" y="0"/>
                </a:lnTo>
                <a:lnTo>
                  <a:pt x="97" y="0"/>
                </a:lnTo>
                <a:lnTo>
                  <a:pt x="130" y="741"/>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11"/>
          <p:cNvSpPr>
            <a:spLocks/>
          </p:cNvSpPr>
          <p:nvPr/>
        </p:nvSpPr>
        <p:spPr bwMode="auto">
          <a:xfrm>
            <a:off x="3317876" y="2871789"/>
            <a:ext cx="1098550" cy="727075"/>
          </a:xfrm>
          <a:custGeom>
            <a:avLst/>
            <a:gdLst>
              <a:gd name="T0" fmla="*/ 60 w 692"/>
              <a:gd name="T1" fmla="*/ 0 h 458"/>
              <a:gd name="T2" fmla="*/ 692 w 692"/>
              <a:gd name="T3" fmla="*/ 401 h 458"/>
              <a:gd name="T4" fmla="*/ 658 w 692"/>
              <a:gd name="T5" fmla="*/ 458 h 458"/>
              <a:gd name="T6" fmla="*/ 0 w 692"/>
              <a:gd name="T7" fmla="*/ 114 h 458"/>
            </a:gdLst>
            <a:ahLst/>
            <a:cxnLst>
              <a:cxn ang="0">
                <a:pos x="T0" y="T1"/>
              </a:cxn>
              <a:cxn ang="0">
                <a:pos x="T2" y="T3"/>
              </a:cxn>
              <a:cxn ang="0">
                <a:pos x="T4" y="T5"/>
              </a:cxn>
              <a:cxn ang="0">
                <a:pos x="T6" y="T7"/>
              </a:cxn>
            </a:cxnLst>
            <a:rect l="0" t="0" r="r" b="b"/>
            <a:pathLst>
              <a:path w="692" h="458">
                <a:moveTo>
                  <a:pt x="60" y="0"/>
                </a:moveTo>
                <a:lnTo>
                  <a:pt x="692" y="401"/>
                </a:lnTo>
                <a:lnTo>
                  <a:pt x="658" y="458"/>
                </a:lnTo>
                <a:lnTo>
                  <a:pt x="0" y="114"/>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2"/>
          <p:cNvSpPr>
            <a:spLocks/>
          </p:cNvSpPr>
          <p:nvPr/>
        </p:nvSpPr>
        <p:spPr bwMode="auto">
          <a:xfrm>
            <a:off x="2130426" y="2879726"/>
            <a:ext cx="1084263" cy="722313"/>
          </a:xfrm>
          <a:custGeom>
            <a:avLst/>
            <a:gdLst>
              <a:gd name="T0" fmla="*/ 614 w 683"/>
              <a:gd name="T1" fmla="*/ 0 h 455"/>
              <a:gd name="T2" fmla="*/ 0 w 683"/>
              <a:gd name="T3" fmla="*/ 398 h 455"/>
              <a:gd name="T4" fmla="*/ 33 w 683"/>
              <a:gd name="T5" fmla="*/ 455 h 455"/>
              <a:gd name="T6" fmla="*/ 683 w 683"/>
              <a:gd name="T7" fmla="*/ 110 h 455"/>
            </a:gdLst>
            <a:ahLst/>
            <a:cxnLst>
              <a:cxn ang="0">
                <a:pos x="T0" y="T1"/>
              </a:cxn>
              <a:cxn ang="0">
                <a:pos x="T2" y="T3"/>
              </a:cxn>
              <a:cxn ang="0">
                <a:pos x="T4" y="T5"/>
              </a:cxn>
              <a:cxn ang="0">
                <a:pos x="T6" y="T7"/>
              </a:cxn>
            </a:cxnLst>
            <a:rect l="0" t="0" r="r" b="b"/>
            <a:pathLst>
              <a:path w="683" h="455">
                <a:moveTo>
                  <a:pt x="614" y="0"/>
                </a:moveTo>
                <a:lnTo>
                  <a:pt x="0" y="398"/>
                </a:lnTo>
                <a:lnTo>
                  <a:pt x="33" y="455"/>
                </a:lnTo>
                <a:lnTo>
                  <a:pt x="683" y="110"/>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13"/>
          <p:cNvSpPr>
            <a:spLocks noChangeShapeType="1"/>
          </p:cNvSpPr>
          <p:nvPr/>
        </p:nvSpPr>
        <p:spPr bwMode="auto">
          <a:xfrm flipV="1">
            <a:off x="3046413" y="3087689"/>
            <a:ext cx="103188" cy="931863"/>
          </a:xfrm>
          <a:prstGeom prst="line">
            <a:avLst/>
          </a:prstGeom>
          <a:noFill/>
          <a:ln w="3016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14"/>
          <p:cNvSpPr>
            <a:spLocks noChangeShapeType="1"/>
          </p:cNvSpPr>
          <p:nvPr/>
        </p:nvSpPr>
        <p:spPr bwMode="auto">
          <a:xfrm>
            <a:off x="3384551" y="3087689"/>
            <a:ext cx="219075" cy="1951038"/>
          </a:xfrm>
          <a:prstGeom prst="line">
            <a:avLst/>
          </a:prstGeom>
          <a:noFill/>
          <a:ln w="3016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Oval 15"/>
          <p:cNvSpPr>
            <a:spLocks noChangeArrowheads="1"/>
          </p:cNvSpPr>
          <p:nvPr/>
        </p:nvSpPr>
        <p:spPr bwMode="auto">
          <a:xfrm>
            <a:off x="8720138" y="3379789"/>
            <a:ext cx="190500" cy="190500"/>
          </a:xfrm>
          <a:prstGeom prst="ellipse">
            <a:avLst/>
          </a:prstGeom>
          <a:noFill/>
          <a:ln w="30163"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6"/>
          <p:cNvSpPr>
            <a:spLocks noChangeShapeType="1"/>
          </p:cNvSpPr>
          <p:nvPr/>
        </p:nvSpPr>
        <p:spPr bwMode="auto">
          <a:xfrm flipV="1">
            <a:off x="8720138" y="3557589"/>
            <a:ext cx="46038" cy="717550"/>
          </a:xfrm>
          <a:prstGeom prst="line">
            <a:avLst/>
          </a:prstGeom>
          <a:noFill/>
          <a:ln w="30163"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7"/>
          <p:cNvSpPr>
            <a:spLocks noChangeShapeType="1"/>
          </p:cNvSpPr>
          <p:nvPr/>
        </p:nvSpPr>
        <p:spPr bwMode="auto">
          <a:xfrm>
            <a:off x="8864601" y="3557589"/>
            <a:ext cx="46038" cy="717550"/>
          </a:xfrm>
          <a:prstGeom prst="line">
            <a:avLst/>
          </a:prstGeom>
          <a:noFill/>
          <a:ln w="30163"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8"/>
          <p:cNvSpPr>
            <a:spLocks noChangeShapeType="1"/>
          </p:cNvSpPr>
          <p:nvPr/>
        </p:nvSpPr>
        <p:spPr bwMode="auto">
          <a:xfrm flipV="1">
            <a:off x="8815388" y="2806701"/>
            <a:ext cx="0" cy="573088"/>
          </a:xfrm>
          <a:prstGeom prst="line">
            <a:avLst/>
          </a:prstGeom>
          <a:noFill/>
          <a:ln w="30163"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9"/>
          <p:cNvSpPr>
            <a:spLocks noChangeShapeType="1"/>
          </p:cNvSpPr>
          <p:nvPr/>
        </p:nvSpPr>
        <p:spPr bwMode="auto">
          <a:xfrm>
            <a:off x="8897938" y="3524251"/>
            <a:ext cx="495300" cy="287338"/>
          </a:xfrm>
          <a:prstGeom prst="line">
            <a:avLst/>
          </a:prstGeom>
          <a:noFill/>
          <a:ln w="30163"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20"/>
          <p:cNvSpPr>
            <a:spLocks noChangeShapeType="1"/>
          </p:cNvSpPr>
          <p:nvPr/>
        </p:nvSpPr>
        <p:spPr bwMode="auto">
          <a:xfrm flipH="1">
            <a:off x="8237538" y="3524251"/>
            <a:ext cx="495300" cy="287338"/>
          </a:xfrm>
          <a:prstGeom prst="line">
            <a:avLst/>
          </a:prstGeom>
          <a:noFill/>
          <a:ln w="30163"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21"/>
          <p:cNvSpPr>
            <a:spLocks/>
          </p:cNvSpPr>
          <p:nvPr/>
        </p:nvSpPr>
        <p:spPr bwMode="auto">
          <a:xfrm>
            <a:off x="8977313" y="4770439"/>
            <a:ext cx="1385888" cy="1427163"/>
          </a:xfrm>
          <a:custGeom>
            <a:avLst/>
            <a:gdLst>
              <a:gd name="T0" fmla="*/ 0 w 873"/>
              <a:gd name="T1" fmla="*/ 533 h 899"/>
              <a:gd name="T2" fmla="*/ 67 w 873"/>
              <a:gd name="T3" fmla="*/ 533 h 899"/>
              <a:gd name="T4" fmla="*/ 67 w 873"/>
              <a:gd name="T5" fmla="*/ 307 h 899"/>
              <a:gd name="T6" fmla="*/ 96 w 873"/>
              <a:gd name="T7" fmla="*/ 307 h 899"/>
              <a:gd name="T8" fmla="*/ 96 w 873"/>
              <a:gd name="T9" fmla="*/ 278 h 899"/>
              <a:gd name="T10" fmla="*/ 307 w 873"/>
              <a:gd name="T11" fmla="*/ 278 h 899"/>
              <a:gd name="T12" fmla="*/ 307 w 873"/>
              <a:gd name="T13" fmla="*/ 307 h 899"/>
              <a:gd name="T14" fmla="*/ 337 w 873"/>
              <a:gd name="T15" fmla="*/ 307 h 899"/>
              <a:gd name="T16" fmla="*/ 337 w 873"/>
              <a:gd name="T17" fmla="*/ 608 h 899"/>
              <a:gd name="T18" fmla="*/ 364 w 873"/>
              <a:gd name="T19" fmla="*/ 608 h 899"/>
              <a:gd name="T20" fmla="*/ 364 w 873"/>
              <a:gd name="T21" fmla="*/ 0 h 899"/>
              <a:gd name="T22" fmla="*/ 632 w 873"/>
              <a:gd name="T23" fmla="*/ 0 h 899"/>
              <a:gd name="T24" fmla="*/ 632 w 873"/>
              <a:gd name="T25" fmla="*/ 670 h 899"/>
              <a:gd name="T26" fmla="*/ 873 w 873"/>
              <a:gd name="T27" fmla="*/ 670 h 899"/>
              <a:gd name="T28" fmla="*/ 873 w 873"/>
              <a:gd name="T29" fmla="*/ 899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3" h="899">
                <a:moveTo>
                  <a:pt x="0" y="533"/>
                </a:moveTo>
                <a:lnTo>
                  <a:pt x="67" y="533"/>
                </a:lnTo>
                <a:lnTo>
                  <a:pt x="67" y="307"/>
                </a:lnTo>
                <a:lnTo>
                  <a:pt x="96" y="307"/>
                </a:lnTo>
                <a:lnTo>
                  <a:pt x="96" y="278"/>
                </a:lnTo>
                <a:lnTo>
                  <a:pt x="307" y="278"/>
                </a:lnTo>
                <a:lnTo>
                  <a:pt x="307" y="307"/>
                </a:lnTo>
                <a:lnTo>
                  <a:pt x="337" y="307"/>
                </a:lnTo>
                <a:lnTo>
                  <a:pt x="337" y="608"/>
                </a:lnTo>
                <a:lnTo>
                  <a:pt x="364" y="608"/>
                </a:lnTo>
                <a:lnTo>
                  <a:pt x="364" y="0"/>
                </a:lnTo>
                <a:lnTo>
                  <a:pt x="632" y="0"/>
                </a:lnTo>
                <a:lnTo>
                  <a:pt x="632" y="670"/>
                </a:lnTo>
                <a:lnTo>
                  <a:pt x="873" y="670"/>
                </a:lnTo>
                <a:lnTo>
                  <a:pt x="873" y="899"/>
                </a:lnTo>
              </a:path>
            </a:pathLst>
          </a:custGeom>
          <a:noFill/>
          <a:ln w="20638" cap="flat">
            <a:solidFill>
              <a:srgbClr val="B3B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22"/>
          <p:cNvSpPr>
            <a:spLocks/>
          </p:cNvSpPr>
          <p:nvPr/>
        </p:nvSpPr>
        <p:spPr bwMode="auto">
          <a:xfrm>
            <a:off x="1824038" y="4022726"/>
            <a:ext cx="1568450" cy="2241550"/>
          </a:xfrm>
          <a:custGeom>
            <a:avLst/>
            <a:gdLst>
              <a:gd name="T0" fmla="*/ 0 w 988"/>
              <a:gd name="T1" fmla="*/ 1276 h 1412"/>
              <a:gd name="T2" fmla="*/ 0 w 988"/>
              <a:gd name="T3" fmla="*/ 793 h 1412"/>
              <a:gd name="T4" fmla="*/ 188 w 988"/>
              <a:gd name="T5" fmla="*/ 793 h 1412"/>
              <a:gd name="T6" fmla="*/ 188 w 988"/>
              <a:gd name="T7" fmla="*/ 689 h 1412"/>
              <a:gd name="T8" fmla="*/ 278 w 988"/>
              <a:gd name="T9" fmla="*/ 689 h 1412"/>
              <a:gd name="T10" fmla="*/ 278 w 988"/>
              <a:gd name="T11" fmla="*/ 595 h 1412"/>
              <a:gd name="T12" fmla="*/ 536 w 988"/>
              <a:gd name="T13" fmla="*/ 595 h 1412"/>
              <a:gd name="T14" fmla="*/ 536 w 988"/>
              <a:gd name="T15" fmla="*/ 0 h 1412"/>
              <a:gd name="T16" fmla="*/ 898 w 988"/>
              <a:gd name="T17" fmla="*/ 0 h 1412"/>
              <a:gd name="T18" fmla="*/ 898 w 988"/>
              <a:gd name="T19" fmla="*/ 198 h 1412"/>
              <a:gd name="T20" fmla="*/ 988 w 988"/>
              <a:gd name="T21" fmla="*/ 198 h 1412"/>
              <a:gd name="T22" fmla="*/ 988 w 988"/>
              <a:gd name="T23" fmla="*/ 1412 h 1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8" h="1412">
                <a:moveTo>
                  <a:pt x="0" y="1276"/>
                </a:moveTo>
                <a:lnTo>
                  <a:pt x="0" y="793"/>
                </a:lnTo>
                <a:lnTo>
                  <a:pt x="188" y="793"/>
                </a:lnTo>
                <a:lnTo>
                  <a:pt x="188" y="689"/>
                </a:lnTo>
                <a:lnTo>
                  <a:pt x="278" y="689"/>
                </a:lnTo>
                <a:lnTo>
                  <a:pt x="278" y="595"/>
                </a:lnTo>
                <a:lnTo>
                  <a:pt x="536" y="595"/>
                </a:lnTo>
                <a:lnTo>
                  <a:pt x="536" y="0"/>
                </a:lnTo>
                <a:lnTo>
                  <a:pt x="898" y="0"/>
                </a:lnTo>
                <a:lnTo>
                  <a:pt x="898" y="198"/>
                </a:lnTo>
                <a:lnTo>
                  <a:pt x="988" y="198"/>
                </a:lnTo>
                <a:lnTo>
                  <a:pt x="988" y="1412"/>
                </a:lnTo>
              </a:path>
            </a:pathLst>
          </a:custGeom>
          <a:noFill/>
          <a:ln w="20638" cap="flat">
            <a:solidFill>
              <a:srgbClr val="C1C3C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23"/>
          <p:cNvSpPr>
            <a:spLocks noChangeShapeType="1"/>
          </p:cNvSpPr>
          <p:nvPr/>
        </p:nvSpPr>
        <p:spPr bwMode="auto">
          <a:xfrm>
            <a:off x="4019551" y="3825876"/>
            <a:ext cx="0" cy="0"/>
          </a:xfrm>
          <a:prstGeom prst="line">
            <a:avLst/>
          </a:prstGeom>
          <a:noFill/>
          <a:ln w="9525" cap="flat">
            <a:solidFill>
              <a:srgbClr val="C1C3C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24"/>
          <p:cNvSpPr>
            <a:spLocks/>
          </p:cNvSpPr>
          <p:nvPr/>
        </p:nvSpPr>
        <p:spPr bwMode="auto">
          <a:xfrm>
            <a:off x="3459163" y="3190876"/>
            <a:ext cx="2557463" cy="2879725"/>
          </a:xfrm>
          <a:custGeom>
            <a:avLst/>
            <a:gdLst>
              <a:gd name="T0" fmla="*/ 0 w 1611"/>
              <a:gd name="T1" fmla="*/ 1665 h 1814"/>
              <a:gd name="T2" fmla="*/ 73 w 1611"/>
              <a:gd name="T3" fmla="*/ 1665 h 1814"/>
              <a:gd name="T4" fmla="*/ 73 w 1611"/>
              <a:gd name="T5" fmla="*/ 1150 h 1814"/>
              <a:gd name="T6" fmla="*/ 135 w 1611"/>
              <a:gd name="T7" fmla="*/ 1150 h 1814"/>
              <a:gd name="T8" fmla="*/ 135 w 1611"/>
              <a:gd name="T9" fmla="*/ 488 h 1814"/>
              <a:gd name="T10" fmla="*/ 169 w 1611"/>
              <a:gd name="T11" fmla="*/ 488 h 1814"/>
              <a:gd name="T12" fmla="*/ 169 w 1611"/>
              <a:gd name="T13" fmla="*/ 334 h 1814"/>
              <a:gd name="T14" fmla="*/ 351 w 1611"/>
              <a:gd name="T15" fmla="*/ 334 h 1814"/>
              <a:gd name="T16" fmla="*/ 351 w 1611"/>
              <a:gd name="T17" fmla="*/ 376 h 1814"/>
              <a:gd name="T18" fmla="*/ 375 w 1611"/>
              <a:gd name="T19" fmla="*/ 376 h 1814"/>
              <a:gd name="T20" fmla="*/ 375 w 1611"/>
              <a:gd name="T21" fmla="*/ 428 h 1814"/>
              <a:gd name="T22" fmla="*/ 400 w 1611"/>
              <a:gd name="T23" fmla="*/ 428 h 1814"/>
              <a:gd name="T24" fmla="*/ 400 w 1611"/>
              <a:gd name="T25" fmla="*/ 1665 h 1814"/>
              <a:gd name="T26" fmla="*/ 478 w 1611"/>
              <a:gd name="T27" fmla="*/ 1665 h 1814"/>
              <a:gd name="T28" fmla="*/ 478 w 1611"/>
              <a:gd name="T29" fmla="*/ 1026 h 1814"/>
              <a:gd name="T30" fmla="*/ 519 w 1611"/>
              <a:gd name="T31" fmla="*/ 1026 h 1814"/>
              <a:gd name="T32" fmla="*/ 519 w 1611"/>
              <a:gd name="T33" fmla="*/ 818 h 1814"/>
              <a:gd name="T34" fmla="*/ 727 w 1611"/>
              <a:gd name="T35" fmla="*/ 818 h 1814"/>
              <a:gd name="T36" fmla="*/ 727 w 1611"/>
              <a:gd name="T37" fmla="*/ 709 h 1814"/>
              <a:gd name="T38" fmla="*/ 868 w 1611"/>
              <a:gd name="T39" fmla="*/ 709 h 1814"/>
              <a:gd name="T40" fmla="*/ 868 w 1611"/>
              <a:gd name="T41" fmla="*/ 592 h 1814"/>
              <a:gd name="T42" fmla="*/ 935 w 1611"/>
              <a:gd name="T43" fmla="*/ 592 h 1814"/>
              <a:gd name="T44" fmla="*/ 935 w 1611"/>
              <a:gd name="T45" fmla="*/ 309 h 1814"/>
              <a:gd name="T46" fmla="*/ 969 w 1611"/>
              <a:gd name="T47" fmla="*/ 309 h 1814"/>
              <a:gd name="T48" fmla="*/ 969 w 1611"/>
              <a:gd name="T49" fmla="*/ 0 h 1814"/>
              <a:gd name="T50" fmla="*/ 1146 w 1611"/>
              <a:gd name="T51" fmla="*/ 0 h 1814"/>
              <a:gd name="T52" fmla="*/ 1146 w 1611"/>
              <a:gd name="T53" fmla="*/ 309 h 1814"/>
              <a:gd name="T54" fmla="*/ 1169 w 1611"/>
              <a:gd name="T55" fmla="*/ 309 h 1814"/>
              <a:gd name="T56" fmla="*/ 1169 w 1611"/>
              <a:gd name="T57" fmla="*/ 418 h 1814"/>
              <a:gd name="T58" fmla="*/ 1230 w 1611"/>
              <a:gd name="T59" fmla="*/ 418 h 1814"/>
              <a:gd name="T60" fmla="*/ 1230 w 1611"/>
              <a:gd name="T61" fmla="*/ 592 h 1814"/>
              <a:gd name="T62" fmla="*/ 1253 w 1611"/>
              <a:gd name="T63" fmla="*/ 592 h 1814"/>
              <a:gd name="T64" fmla="*/ 1253 w 1611"/>
              <a:gd name="T65" fmla="*/ 1117 h 1814"/>
              <a:gd name="T66" fmla="*/ 1349 w 1611"/>
              <a:gd name="T67" fmla="*/ 1117 h 1814"/>
              <a:gd name="T68" fmla="*/ 1349 w 1611"/>
              <a:gd name="T69" fmla="*/ 478 h 1814"/>
              <a:gd name="T70" fmla="*/ 1554 w 1611"/>
              <a:gd name="T71" fmla="*/ 478 h 1814"/>
              <a:gd name="T72" fmla="*/ 1554 w 1611"/>
              <a:gd name="T73" fmla="*/ 1015 h 1814"/>
              <a:gd name="T74" fmla="*/ 1611 w 1611"/>
              <a:gd name="T75" fmla="*/ 1015 h 1814"/>
              <a:gd name="T76" fmla="*/ 1611 w 1611"/>
              <a:gd name="T77" fmla="*/ 1814 h 1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1" h="1814">
                <a:moveTo>
                  <a:pt x="0" y="1665"/>
                </a:moveTo>
                <a:lnTo>
                  <a:pt x="73" y="1665"/>
                </a:lnTo>
                <a:lnTo>
                  <a:pt x="73" y="1150"/>
                </a:lnTo>
                <a:lnTo>
                  <a:pt x="135" y="1150"/>
                </a:lnTo>
                <a:lnTo>
                  <a:pt x="135" y="488"/>
                </a:lnTo>
                <a:lnTo>
                  <a:pt x="169" y="488"/>
                </a:lnTo>
                <a:lnTo>
                  <a:pt x="169" y="334"/>
                </a:lnTo>
                <a:lnTo>
                  <a:pt x="351" y="334"/>
                </a:lnTo>
                <a:lnTo>
                  <a:pt x="351" y="376"/>
                </a:lnTo>
                <a:lnTo>
                  <a:pt x="375" y="376"/>
                </a:lnTo>
                <a:lnTo>
                  <a:pt x="375" y="428"/>
                </a:lnTo>
                <a:lnTo>
                  <a:pt x="400" y="428"/>
                </a:lnTo>
                <a:lnTo>
                  <a:pt x="400" y="1665"/>
                </a:lnTo>
                <a:lnTo>
                  <a:pt x="478" y="1665"/>
                </a:lnTo>
                <a:lnTo>
                  <a:pt x="478" y="1026"/>
                </a:lnTo>
                <a:lnTo>
                  <a:pt x="519" y="1026"/>
                </a:lnTo>
                <a:lnTo>
                  <a:pt x="519" y="818"/>
                </a:lnTo>
                <a:lnTo>
                  <a:pt x="727" y="818"/>
                </a:lnTo>
                <a:lnTo>
                  <a:pt x="727" y="709"/>
                </a:lnTo>
                <a:lnTo>
                  <a:pt x="868" y="709"/>
                </a:lnTo>
                <a:lnTo>
                  <a:pt x="868" y="592"/>
                </a:lnTo>
                <a:lnTo>
                  <a:pt x="935" y="592"/>
                </a:lnTo>
                <a:lnTo>
                  <a:pt x="935" y="309"/>
                </a:lnTo>
                <a:lnTo>
                  <a:pt x="969" y="309"/>
                </a:lnTo>
                <a:lnTo>
                  <a:pt x="969" y="0"/>
                </a:lnTo>
                <a:lnTo>
                  <a:pt x="1146" y="0"/>
                </a:lnTo>
                <a:lnTo>
                  <a:pt x="1146" y="309"/>
                </a:lnTo>
                <a:lnTo>
                  <a:pt x="1169" y="309"/>
                </a:lnTo>
                <a:lnTo>
                  <a:pt x="1169" y="418"/>
                </a:lnTo>
                <a:lnTo>
                  <a:pt x="1230" y="418"/>
                </a:lnTo>
                <a:lnTo>
                  <a:pt x="1230" y="592"/>
                </a:lnTo>
                <a:lnTo>
                  <a:pt x="1253" y="592"/>
                </a:lnTo>
                <a:lnTo>
                  <a:pt x="1253" y="1117"/>
                </a:lnTo>
                <a:lnTo>
                  <a:pt x="1349" y="1117"/>
                </a:lnTo>
                <a:lnTo>
                  <a:pt x="1349" y="478"/>
                </a:lnTo>
                <a:lnTo>
                  <a:pt x="1554" y="478"/>
                </a:lnTo>
                <a:lnTo>
                  <a:pt x="1554" y="1015"/>
                </a:lnTo>
                <a:lnTo>
                  <a:pt x="1611" y="1015"/>
                </a:lnTo>
                <a:lnTo>
                  <a:pt x="1611" y="1814"/>
                </a:lnTo>
              </a:path>
            </a:pathLst>
          </a:custGeom>
          <a:noFill/>
          <a:ln w="20638" cap="flat">
            <a:solidFill>
              <a:srgbClr val="9698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25"/>
          <p:cNvSpPr>
            <a:spLocks/>
          </p:cNvSpPr>
          <p:nvPr/>
        </p:nvSpPr>
        <p:spPr bwMode="auto">
          <a:xfrm>
            <a:off x="6000751" y="3594101"/>
            <a:ext cx="2995613" cy="2260600"/>
          </a:xfrm>
          <a:custGeom>
            <a:avLst/>
            <a:gdLst>
              <a:gd name="T0" fmla="*/ 0 w 1887"/>
              <a:gd name="T1" fmla="*/ 1411 h 1424"/>
              <a:gd name="T2" fmla="*/ 136 w 1887"/>
              <a:gd name="T3" fmla="*/ 1411 h 1424"/>
              <a:gd name="T4" fmla="*/ 136 w 1887"/>
              <a:gd name="T5" fmla="*/ 722 h 1424"/>
              <a:gd name="T6" fmla="*/ 166 w 1887"/>
              <a:gd name="T7" fmla="*/ 722 h 1424"/>
              <a:gd name="T8" fmla="*/ 166 w 1887"/>
              <a:gd name="T9" fmla="*/ 671 h 1424"/>
              <a:gd name="T10" fmla="*/ 218 w 1887"/>
              <a:gd name="T11" fmla="*/ 671 h 1424"/>
              <a:gd name="T12" fmla="*/ 218 w 1887"/>
              <a:gd name="T13" fmla="*/ 224 h 1424"/>
              <a:gd name="T14" fmla="*/ 437 w 1887"/>
              <a:gd name="T15" fmla="*/ 224 h 1424"/>
              <a:gd name="T16" fmla="*/ 437 w 1887"/>
              <a:gd name="T17" fmla="*/ 338 h 1424"/>
              <a:gd name="T18" fmla="*/ 517 w 1887"/>
              <a:gd name="T19" fmla="*/ 338 h 1424"/>
              <a:gd name="T20" fmla="*/ 517 w 1887"/>
              <a:gd name="T21" fmla="*/ 385 h 1424"/>
              <a:gd name="T22" fmla="*/ 567 w 1887"/>
              <a:gd name="T23" fmla="*/ 385 h 1424"/>
              <a:gd name="T24" fmla="*/ 567 w 1887"/>
              <a:gd name="T25" fmla="*/ 1411 h 1424"/>
              <a:gd name="T26" fmla="*/ 604 w 1887"/>
              <a:gd name="T27" fmla="*/ 1411 h 1424"/>
              <a:gd name="T28" fmla="*/ 604 w 1887"/>
              <a:gd name="T29" fmla="*/ 408 h 1424"/>
              <a:gd name="T30" fmla="*/ 630 w 1887"/>
              <a:gd name="T31" fmla="*/ 408 h 1424"/>
              <a:gd name="T32" fmla="*/ 630 w 1887"/>
              <a:gd name="T33" fmla="*/ 180 h 1424"/>
              <a:gd name="T34" fmla="*/ 687 w 1887"/>
              <a:gd name="T35" fmla="*/ 180 h 1424"/>
              <a:gd name="T36" fmla="*/ 687 w 1887"/>
              <a:gd name="T37" fmla="*/ 0 h 1424"/>
              <a:gd name="T38" fmla="*/ 973 w 1887"/>
              <a:gd name="T39" fmla="*/ 0 h 1424"/>
              <a:gd name="T40" fmla="*/ 973 w 1887"/>
              <a:gd name="T41" fmla="*/ 671 h 1424"/>
              <a:gd name="T42" fmla="*/ 1098 w 1887"/>
              <a:gd name="T43" fmla="*/ 671 h 1424"/>
              <a:gd name="T44" fmla="*/ 1098 w 1887"/>
              <a:gd name="T45" fmla="*/ 696 h 1424"/>
              <a:gd name="T46" fmla="*/ 1157 w 1887"/>
              <a:gd name="T47" fmla="*/ 696 h 1424"/>
              <a:gd name="T48" fmla="*/ 1157 w 1887"/>
              <a:gd name="T49" fmla="*/ 821 h 1424"/>
              <a:gd name="T50" fmla="*/ 1215 w 1887"/>
              <a:gd name="T51" fmla="*/ 821 h 1424"/>
              <a:gd name="T52" fmla="*/ 1215 w 1887"/>
              <a:gd name="T53" fmla="*/ 408 h 1424"/>
              <a:gd name="T54" fmla="*/ 1436 w 1887"/>
              <a:gd name="T55" fmla="*/ 408 h 1424"/>
              <a:gd name="T56" fmla="*/ 1436 w 1887"/>
              <a:gd name="T57" fmla="*/ 722 h 1424"/>
              <a:gd name="T58" fmla="*/ 1508 w 1887"/>
              <a:gd name="T59" fmla="*/ 722 h 1424"/>
              <a:gd name="T60" fmla="*/ 1508 w 1887"/>
              <a:gd name="T61" fmla="*/ 761 h 1424"/>
              <a:gd name="T62" fmla="*/ 1584 w 1887"/>
              <a:gd name="T63" fmla="*/ 761 h 1424"/>
              <a:gd name="T64" fmla="*/ 1584 w 1887"/>
              <a:gd name="T65" fmla="*/ 647 h 1424"/>
              <a:gd name="T66" fmla="*/ 1630 w 1887"/>
              <a:gd name="T67" fmla="*/ 647 h 1424"/>
              <a:gd name="T68" fmla="*/ 1630 w 1887"/>
              <a:gd name="T69" fmla="*/ 523 h 1424"/>
              <a:gd name="T70" fmla="*/ 1679 w 1887"/>
              <a:gd name="T71" fmla="*/ 523 h 1424"/>
              <a:gd name="T72" fmla="*/ 1679 w 1887"/>
              <a:gd name="T73" fmla="*/ 436 h 1424"/>
              <a:gd name="T74" fmla="*/ 1887 w 1887"/>
              <a:gd name="T75" fmla="*/ 436 h 1424"/>
              <a:gd name="T76" fmla="*/ 1887 w 1887"/>
              <a:gd name="T7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7" h="1424">
                <a:moveTo>
                  <a:pt x="0" y="1411"/>
                </a:moveTo>
                <a:lnTo>
                  <a:pt x="136" y="1411"/>
                </a:lnTo>
                <a:lnTo>
                  <a:pt x="136" y="722"/>
                </a:lnTo>
                <a:lnTo>
                  <a:pt x="166" y="722"/>
                </a:lnTo>
                <a:lnTo>
                  <a:pt x="166" y="671"/>
                </a:lnTo>
                <a:lnTo>
                  <a:pt x="218" y="671"/>
                </a:lnTo>
                <a:lnTo>
                  <a:pt x="218" y="224"/>
                </a:lnTo>
                <a:lnTo>
                  <a:pt x="437" y="224"/>
                </a:lnTo>
                <a:lnTo>
                  <a:pt x="437" y="338"/>
                </a:lnTo>
                <a:lnTo>
                  <a:pt x="517" y="338"/>
                </a:lnTo>
                <a:lnTo>
                  <a:pt x="517" y="385"/>
                </a:lnTo>
                <a:lnTo>
                  <a:pt x="567" y="385"/>
                </a:lnTo>
                <a:lnTo>
                  <a:pt x="567" y="1411"/>
                </a:lnTo>
                <a:lnTo>
                  <a:pt x="604" y="1411"/>
                </a:lnTo>
                <a:lnTo>
                  <a:pt x="604" y="408"/>
                </a:lnTo>
                <a:lnTo>
                  <a:pt x="630" y="408"/>
                </a:lnTo>
                <a:lnTo>
                  <a:pt x="630" y="180"/>
                </a:lnTo>
                <a:lnTo>
                  <a:pt x="687" y="180"/>
                </a:lnTo>
                <a:lnTo>
                  <a:pt x="687" y="0"/>
                </a:lnTo>
                <a:lnTo>
                  <a:pt x="973" y="0"/>
                </a:lnTo>
                <a:lnTo>
                  <a:pt x="973" y="671"/>
                </a:lnTo>
                <a:lnTo>
                  <a:pt x="1098" y="671"/>
                </a:lnTo>
                <a:lnTo>
                  <a:pt x="1098" y="696"/>
                </a:lnTo>
                <a:lnTo>
                  <a:pt x="1157" y="696"/>
                </a:lnTo>
                <a:lnTo>
                  <a:pt x="1157" y="821"/>
                </a:lnTo>
                <a:lnTo>
                  <a:pt x="1215" y="821"/>
                </a:lnTo>
                <a:lnTo>
                  <a:pt x="1215" y="408"/>
                </a:lnTo>
                <a:lnTo>
                  <a:pt x="1436" y="408"/>
                </a:lnTo>
                <a:lnTo>
                  <a:pt x="1436" y="722"/>
                </a:lnTo>
                <a:lnTo>
                  <a:pt x="1508" y="722"/>
                </a:lnTo>
                <a:lnTo>
                  <a:pt x="1508" y="761"/>
                </a:lnTo>
                <a:lnTo>
                  <a:pt x="1584" y="761"/>
                </a:lnTo>
                <a:lnTo>
                  <a:pt x="1584" y="647"/>
                </a:lnTo>
                <a:lnTo>
                  <a:pt x="1630" y="647"/>
                </a:lnTo>
                <a:lnTo>
                  <a:pt x="1630" y="523"/>
                </a:lnTo>
                <a:lnTo>
                  <a:pt x="1679" y="523"/>
                </a:lnTo>
                <a:lnTo>
                  <a:pt x="1679" y="436"/>
                </a:lnTo>
                <a:lnTo>
                  <a:pt x="1887" y="436"/>
                </a:lnTo>
                <a:lnTo>
                  <a:pt x="1887" y="1424"/>
                </a:lnTo>
              </a:path>
            </a:pathLst>
          </a:custGeom>
          <a:noFill/>
          <a:ln w="20638" cap="flat">
            <a:solidFill>
              <a:srgbClr val="C1C3C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Rectangle 26"/>
          <p:cNvSpPr>
            <a:spLocks noChangeArrowheads="1"/>
          </p:cNvSpPr>
          <p:nvPr/>
        </p:nvSpPr>
        <p:spPr bwMode="auto">
          <a:xfrm>
            <a:off x="9147176" y="5980114"/>
            <a:ext cx="106363" cy="282575"/>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 name="Oval 27"/>
          <p:cNvSpPr>
            <a:spLocks noChangeArrowheads="1"/>
          </p:cNvSpPr>
          <p:nvPr/>
        </p:nvSpPr>
        <p:spPr bwMode="auto">
          <a:xfrm>
            <a:off x="9013826" y="4981576"/>
            <a:ext cx="374650" cy="1066800"/>
          </a:xfrm>
          <a:prstGeom prst="ellipse">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Rectangle 28"/>
          <p:cNvSpPr>
            <a:spLocks noChangeArrowheads="1"/>
          </p:cNvSpPr>
          <p:nvPr/>
        </p:nvSpPr>
        <p:spPr bwMode="auto">
          <a:xfrm>
            <a:off x="6429376" y="6065839"/>
            <a:ext cx="76200" cy="201613"/>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9"/>
          <p:cNvSpPr>
            <a:spLocks/>
          </p:cNvSpPr>
          <p:nvPr/>
        </p:nvSpPr>
        <p:spPr bwMode="auto">
          <a:xfrm>
            <a:off x="6353176" y="5689601"/>
            <a:ext cx="233363" cy="463550"/>
          </a:xfrm>
          <a:custGeom>
            <a:avLst/>
            <a:gdLst>
              <a:gd name="T0" fmla="*/ 45 w 90"/>
              <a:gd name="T1" fmla="*/ 0 h 180"/>
              <a:gd name="T2" fmla="*/ 2 w 90"/>
              <a:gd name="T3" fmla="*/ 137 h 180"/>
              <a:gd name="T4" fmla="*/ 45 w 90"/>
              <a:gd name="T5" fmla="*/ 180 h 180"/>
              <a:gd name="T6" fmla="*/ 87 w 90"/>
              <a:gd name="T7" fmla="*/ 137 h 180"/>
              <a:gd name="T8" fmla="*/ 45 w 90"/>
              <a:gd name="T9" fmla="*/ 0 h 180"/>
            </a:gdLst>
            <a:ahLst/>
            <a:cxnLst>
              <a:cxn ang="0">
                <a:pos x="T0" y="T1"/>
              </a:cxn>
              <a:cxn ang="0">
                <a:pos x="T2" y="T3"/>
              </a:cxn>
              <a:cxn ang="0">
                <a:pos x="T4" y="T5"/>
              </a:cxn>
              <a:cxn ang="0">
                <a:pos x="T6" y="T7"/>
              </a:cxn>
              <a:cxn ang="0">
                <a:pos x="T8" y="T9"/>
              </a:cxn>
            </a:cxnLst>
            <a:rect l="0" t="0" r="r" b="b"/>
            <a:pathLst>
              <a:path w="90" h="180">
                <a:moveTo>
                  <a:pt x="45" y="0"/>
                </a:moveTo>
                <a:cubicBezTo>
                  <a:pt x="45" y="0"/>
                  <a:pt x="0" y="100"/>
                  <a:pt x="2" y="137"/>
                </a:cubicBezTo>
                <a:cubicBezTo>
                  <a:pt x="4" y="175"/>
                  <a:pt x="45" y="180"/>
                  <a:pt x="45" y="180"/>
                </a:cubicBezTo>
                <a:cubicBezTo>
                  <a:pt x="45" y="180"/>
                  <a:pt x="85" y="175"/>
                  <a:pt x="87" y="137"/>
                </a:cubicBezTo>
                <a:cubicBezTo>
                  <a:pt x="90" y="100"/>
                  <a:pt x="45" y="0"/>
                  <a:pt x="45" y="0"/>
                </a:cubicBezTo>
                <a:close/>
              </a:path>
            </a:pathLst>
          </a:custGeom>
          <a:solidFill>
            <a:srgbClr val="FFFFFF"/>
          </a:solidFill>
          <a:ln w="30163"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Rectangle 30"/>
          <p:cNvSpPr>
            <a:spLocks noChangeArrowheads="1"/>
          </p:cNvSpPr>
          <p:nvPr/>
        </p:nvSpPr>
        <p:spPr bwMode="auto">
          <a:xfrm>
            <a:off x="5273676" y="5957889"/>
            <a:ext cx="104775" cy="284163"/>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31"/>
          <p:cNvSpPr>
            <a:spLocks/>
          </p:cNvSpPr>
          <p:nvPr/>
        </p:nvSpPr>
        <p:spPr bwMode="auto">
          <a:xfrm>
            <a:off x="5154613" y="5364164"/>
            <a:ext cx="346075" cy="712788"/>
          </a:xfrm>
          <a:custGeom>
            <a:avLst/>
            <a:gdLst>
              <a:gd name="T0" fmla="*/ 67 w 134"/>
              <a:gd name="T1" fmla="*/ 0 h 276"/>
              <a:gd name="T2" fmla="*/ 3 w 134"/>
              <a:gd name="T3" fmla="*/ 211 h 276"/>
              <a:gd name="T4" fmla="*/ 67 w 134"/>
              <a:gd name="T5" fmla="*/ 276 h 276"/>
              <a:gd name="T6" fmla="*/ 130 w 134"/>
              <a:gd name="T7" fmla="*/ 211 h 276"/>
              <a:gd name="T8" fmla="*/ 67 w 134"/>
              <a:gd name="T9" fmla="*/ 0 h 276"/>
            </a:gdLst>
            <a:ahLst/>
            <a:cxnLst>
              <a:cxn ang="0">
                <a:pos x="T0" y="T1"/>
              </a:cxn>
              <a:cxn ang="0">
                <a:pos x="T2" y="T3"/>
              </a:cxn>
              <a:cxn ang="0">
                <a:pos x="T4" y="T5"/>
              </a:cxn>
              <a:cxn ang="0">
                <a:pos x="T6" y="T7"/>
              </a:cxn>
              <a:cxn ang="0">
                <a:pos x="T8" y="T9"/>
              </a:cxn>
            </a:cxnLst>
            <a:rect l="0" t="0" r="r" b="b"/>
            <a:pathLst>
              <a:path w="134" h="276">
                <a:moveTo>
                  <a:pt x="67" y="0"/>
                </a:moveTo>
                <a:cubicBezTo>
                  <a:pt x="67" y="0"/>
                  <a:pt x="0" y="153"/>
                  <a:pt x="3" y="211"/>
                </a:cubicBezTo>
                <a:cubicBezTo>
                  <a:pt x="7" y="268"/>
                  <a:pt x="67" y="276"/>
                  <a:pt x="67" y="276"/>
                </a:cubicBezTo>
                <a:cubicBezTo>
                  <a:pt x="67" y="276"/>
                  <a:pt x="127" y="268"/>
                  <a:pt x="130" y="211"/>
                </a:cubicBezTo>
                <a:cubicBezTo>
                  <a:pt x="134" y="153"/>
                  <a:pt x="67" y="0"/>
                  <a:pt x="67" y="0"/>
                </a:cubicBezTo>
                <a:close/>
              </a:path>
            </a:pathLst>
          </a:custGeom>
          <a:solidFill>
            <a:srgbClr val="FFFFFF"/>
          </a:solidFill>
          <a:ln w="30163"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Oval 32"/>
          <p:cNvSpPr>
            <a:spLocks noChangeArrowheads="1"/>
          </p:cNvSpPr>
          <p:nvPr/>
        </p:nvSpPr>
        <p:spPr bwMode="auto">
          <a:xfrm>
            <a:off x="6596063" y="6115051"/>
            <a:ext cx="128588" cy="3222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33"/>
          <p:cNvSpPr>
            <a:spLocks noChangeArrowheads="1"/>
          </p:cNvSpPr>
          <p:nvPr/>
        </p:nvSpPr>
        <p:spPr bwMode="auto">
          <a:xfrm>
            <a:off x="6596063" y="6115051"/>
            <a:ext cx="128588" cy="322263"/>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Oval 34"/>
          <p:cNvSpPr>
            <a:spLocks noChangeArrowheads="1"/>
          </p:cNvSpPr>
          <p:nvPr/>
        </p:nvSpPr>
        <p:spPr bwMode="auto">
          <a:xfrm>
            <a:off x="6707188" y="6169026"/>
            <a:ext cx="100013" cy="2508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35"/>
          <p:cNvSpPr>
            <a:spLocks noChangeArrowheads="1"/>
          </p:cNvSpPr>
          <p:nvPr/>
        </p:nvSpPr>
        <p:spPr bwMode="auto">
          <a:xfrm>
            <a:off x="6707188" y="6169026"/>
            <a:ext cx="100013" cy="250825"/>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Oval 36"/>
          <p:cNvSpPr>
            <a:spLocks noChangeArrowheads="1"/>
          </p:cNvSpPr>
          <p:nvPr/>
        </p:nvSpPr>
        <p:spPr bwMode="auto">
          <a:xfrm>
            <a:off x="6807201" y="6184901"/>
            <a:ext cx="254000" cy="2190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37"/>
          <p:cNvSpPr>
            <a:spLocks noChangeArrowheads="1"/>
          </p:cNvSpPr>
          <p:nvPr/>
        </p:nvSpPr>
        <p:spPr bwMode="auto">
          <a:xfrm>
            <a:off x="6807201" y="6184901"/>
            <a:ext cx="254000" cy="219075"/>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Oval 38"/>
          <p:cNvSpPr>
            <a:spLocks noChangeArrowheads="1"/>
          </p:cNvSpPr>
          <p:nvPr/>
        </p:nvSpPr>
        <p:spPr bwMode="auto">
          <a:xfrm>
            <a:off x="7040563" y="6230939"/>
            <a:ext cx="198438" cy="1730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39"/>
          <p:cNvSpPr>
            <a:spLocks noChangeArrowheads="1"/>
          </p:cNvSpPr>
          <p:nvPr/>
        </p:nvSpPr>
        <p:spPr bwMode="auto">
          <a:xfrm>
            <a:off x="7040563" y="6230939"/>
            <a:ext cx="198438" cy="173038"/>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Rectangle 40"/>
          <p:cNvSpPr>
            <a:spLocks noChangeArrowheads="1"/>
          </p:cNvSpPr>
          <p:nvPr/>
        </p:nvSpPr>
        <p:spPr bwMode="auto">
          <a:xfrm>
            <a:off x="3500438" y="5702301"/>
            <a:ext cx="58738" cy="536575"/>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41"/>
          <p:cNvSpPr>
            <a:spLocks/>
          </p:cNvSpPr>
          <p:nvPr/>
        </p:nvSpPr>
        <p:spPr bwMode="auto">
          <a:xfrm>
            <a:off x="3146426" y="5340351"/>
            <a:ext cx="766763" cy="515938"/>
          </a:xfrm>
          <a:custGeom>
            <a:avLst/>
            <a:gdLst>
              <a:gd name="T0" fmla="*/ 235 w 297"/>
              <a:gd name="T1" fmla="*/ 45 h 200"/>
              <a:gd name="T2" fmla="*/ 178 w 297"/>
              <a:gd name="T3" fmla="*/ 0 h 200"/>
              <a:gd name="T4" fmla="*/ 129 w 297"/>
              <a:gd name="T5" fmla="*/ 21 h 200"/>
              <a:gd name="T6" fmla="*/ 99 w 297"/>
              <a:gd name="T7" fmla="*/ 11 h 200"/>
              <a:gd name="T8" fmla="*/ 55 w 297"/>
              <a:gd name="T9" fmla="*/ 48 h 200"/>
              <a:gd name="T10" fmla="*/ 56 w 297"/>
              <a:gd name="T11" fmla="*/ 56 h 200"/>
              <a:gd name="T12" fmla="*/ 0 w 297"/>
              <a:gd name="T13" fmla="*/ 112 h 200"/>
              <a:gd name="T14" fmla="*/ 68 w 297"/>
              <a:gd name="T15" fmla="*/ 169 h 200"/>
              <a:gd name="T16" fmla="*/ 72 w 297"/>
              <a:gd name="T17" fmla="*/ 169 h 200"/>
              <a:gd name="T18" fmla="*/ 143 w 297"/>
              <a:gd name="T19" fmla="*/ 200 h 200"/>
              <a:gd name="T20" fmla="*/ 205 w 297"/>
              <a:gd name="T21" fmla="*/ 178 h 200"/>
              <a:gd name="T22" fmla="*/ 215 w 297"/>
              <a:gd name="T23" fmla="*/ 179 h 200"/>
              <a:gd name="T24" fmla="*/ 297 w 297"/>
              <a:gd name="T25" fmla="*/ 111 h 200"/>
              <a:gd name="T26" fmla="*/ 235 w 297"/>
              <a:gd name="T27" fmla="*/ 4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7" h="200">
                <a:moveTo>
                  <a:pt x="235" y="45"/>
                </a:moveTo>
                <a:cubicBezTo>
                  <a:pt x="233" y="20"/>
                  <a:pt x="208" y="0"/>
                  <a:pt x="178" y="0"/>
                </a:cubicBezTo>
                <a:cubicBezTo>
                  <a:pt x="157" y="0"/>
                  <a:pt x="140" y="8"/>
                  <a:pt x="129" y="21"/>
                </a:cubicBezTo>
                <a:cubicBezTo>
                  <a:pt x="122" y="15"/>
                  <a:pt x="111" y="11"/>
                  <a:pt x="99" y="11"/>
                </a:cubicBezTo>
                <a:cubicBezTo>
                  <a:pt x="75" y="11"/>
                  <a:pt x="55" y="28"/>
                  <a:pt x="55" y="48"/>
                </a:cubicBezTo>
                <a:cubicBezTo>
                  <a:pt x="55" y="51"/>
                  <a:pt x="55" y="53"/>
                  <a:pt x="56" y="56"/>
                </a:cubicBezTo>
                <a:cubicBezTo>
                  <a:pt x="24" y="61"/>
                  <a:pt x="0" y="84"/>
                  <a:pt x="0" y="112"/>
                </a:cubicBezTo>
                <a:cubicBezTo>
                  <a:pt x="0" y="144"/>
                  <a:pt x="30" y="169"/>
                  <a:pt x="68" y="169"/>
                </a:cubicBezTo>
                <a:cubicBezTo>
                  <a:pt x="70" y="169"/>
                  <a:pt x="71" y="169"/>
                  <a:pt x="72" y="169"/>
                </a:cubicBezTo>
                <a:cubicBezTo>
                  <a:pt x="86" y="187"/>
                  <a:pt x="112" y="200"/>
                  <a:pt x="143" y="200"/>
                </a:cubicBezTo>
                <a:cubicBezTo>
                  <a:pt x="168" y="200"/>
                  <a:pt x="190" y="191"/>
                  <a:pt x="205" y="178"/>
                </a:cubicBezTo>
                <a:cubicBezTo>
                  <a:pt x="208" y="179"/>
                  <a:pt x="212" y="179"/>
                  <a:pt x="215" y="179"/>
                </a:cubicBezTo>
                <a:cubicBezTo>
                  <a:pt x="261" y="179"/>
                  <a:pt x="297" y="148"/>
                  <a:pt x="297" y="111"/>
                </a:cubicBezTo>
                <a:cubicBezTo>
                  <a:pt x="297" y="79"/>
                  <a:pt x="271" y="52"/>
                  <a:pt x="235" y="45"/>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Rectangle 42"/>
          <p:cNvSpPr>
            <a:spLocks noChangeArrowheads="1"/>
          </p:cNvSpPr>
          <p:nvPr/>
        </p:nvSpPr>
        <p:spPr bwMode="auto">
          <a:xfrm>
            <a:off x="6070601" y="5813426"/>
            <a:ext cx="50800" cy="44926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43"/>
          <p:cNvSpPr>
            <a:spLocks/>
          </p:cNvSpPr>
          <p:nvPr/>
        </p:nvSpPr>
        <p:spPr bwMode="auto">
          <a:xfrm>
            <a:off x="5775326" y="5511801"/>
            <a:ext cx="639763" cy="430213"/>
          </a:xfrm>
          <a:custGeom>
            <a:avLst/>
            <a:gdLst>
              <a:gd name="T0" fmla="*/ 196 w 248"/>
              <a:gd name="T1" fmla="*/ 38 h 167"/>
              <a:gd name="T2" fmla="*/ 148 w 248"/>
              <a:gd name="T3" fmla="*/ 0 h 167"/>
              <a:gd name="T4" fmla="*/ 108 w 248"/>
              <a:gd name="T5" fmla="*/ 18 h 167"/>
              <a:gd name="T6" fmla="*/ 83 w 248"/>
              <a:gd name="T7" fmla="*/ 10 h 167"/>
              <a:gd name="T8" fmla="*/ 46 w 248"/>
              <a:gd name="T9" fmla="*/ 40 h 167"/>
              <a:gd name="T10" fmla="*/ 47 w 248"/>
              <a:gd name="T11" fmla="*/ 47 h 167"/>
              <a:gd name="T12" fmla="*/ 0 w 248"/>
              <a:gd name="T13" fmla="*/ 94 h 167"/>
              <a:gd name="T14" fmla="*/ 57 w 248"/>
              <a:gd name="T15" fmla="*/ 141 h 167"/>
              <a:gd name="T16" fmla="*/ 60 w 248"/>
              <a:gd name="T17" fmla="*/ 141 h 167"/>
              <a:gd name="T18" fmla="*/ 119 w 248"/>
              <a:gd name="T19" fmla="*/ 167 h 167"/>
              <a:gd name="T20" fmla="*/ 171 w 248"/>
              <a:gd name="T21" fmla="*/ 149 h 167"/>
              <a:gd name="T22" fmla="*/ 180 w 248"/>
              <a:gd name="T23" fmla="*/ 149 h 167"/>
              <a:gd name="T24" fmla="*/ 248 w 248"/>
              <a:gd name="T25" fmla="*/ 93 h 167"/>
              <a:gd name="T26" fmla="*/ 196 w 248"/>
              <a:gd name="T27" fmla="*/ 3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 h="167">
                <a:moveTo>
                  <a:pt x="196" y="38"/>
                </a:moveTo>
                <a:cubicBezTo>
                  <a:pt x="195" y="17"/>
                  <a:pt x="174" y="0"/>
                  <a:pt x="148" y="0"/>
                </a:cubicBezTo>
                <a:cubicBezTo>
                  <a:pt x="131" y="0"/>
                  <a:pt x="117" y="7"/>
                  <a:pt x="108" y="18"/>
                </a:cubicBezTo>
                <a:cubicBezTo>
                  <a:pt x="102" y="13"/>
                  <a:pt x="93" y="10"/>
                  <a:pt x="83" y="10"/>
                </a:cubicBezTo>
                <a:cubicBezTo>
                  <a:pt x="62" y="10"/>
                  <a:pt x="46" y="23"/>
                  <a:pt x="46" y="40"/>
                </a:cubicBezTo>
                <a:cubicBezTo>
                  <a:pt x="46" y="42"/>
                  <a:pt x="46" y="45"/>
                  <a:pt x="47" y="47"/>
                </a:cubicBezTo>
                <a:cubicBezTo>
                  <a:pt x="20" y="51"/>
                  <a:pt x="0" y="70"/>
                  <a:pt x="0" y="94"/>
                </a:cubicBezTo>
                <a:cubicBezTo>
                  <a:pt x="0" y="120"/>
                  <a:pt x="25" y="141"/>
                  <a:pt x="57" y="141"/>
                </a:cubicBezTo>
                <a:cubicBezTo>
                  <a:pt x="58" y="141"/>
                  <a:pt x="59" y="141"/>
                  <a:pt x="60" y="141"/>
                </a:cubicBezTo>
                <a:cubicBezTo>
                  <a:pt x="72" y="156"/>
                  <a:pt x="94" y="167"/>
                  <a:pt x="119" y="167"/>
                </a:cubicBezTo>
                <a:cubicBezTo>
                  <a:pt x="140" y="167"/>
                  <a:pt x="159" y="160"/>
                  <a:pt x="171" y="149"/>
                </a:cubicBezTo>
                <a:cubicBezTo>
                  <a:pt x="174" y="149"/>
                  <a:pt x="177" y="149"/>
                  <a:pt x="180" y="149"/>
                </a:cubicBezTo>
                <a:cubicBezTo>
                  <a:pt x="218" y="149"/>
                  <a:pt x="248" y="124"/>
                  <a:pt x="248" y="93"/>
                </a:cubicBezTo>
                <a:cubicBezTo>
                  <a:pt x="248" y="66"/>
                  <a:pt x="226" y="44"/>
                  <a:pt x="196" y="38"/>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Rectangle 44"/>
          <p:cNvSpPr>
            <a:spLocks noChangeArrowheads="1"/>
          </p:cNvSpPr>
          <p:nvPr/>
        </p:nvSpPr>
        <p:spPr bwMode="auto">
          <a:xfrm>
            <a:off x="3784601" y="5926139"/>
            <a:ext cx="46038" cy="32861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Rectangle 45"/>
          <p:cNvSpPr>
            <a:spLocks noChangeArrowheads="1"/>
          </p:cNvSpPr>
          <p:nvPr/>
        </p:nvSpPr>
        <p:spPr bwMode="auto">
          <a:xfrm>
            <a:off x="7021513" y="5926139"/>
            <a:ext cx="47625" cy="32861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46"/>
          <p:cNvSpPr>
            <a:spLocks/>
          </p:cNvSpPr>
          <p:nvPr/>
        </p:nvSpPr>
        <p:spPr bwMode="auto">
          <a:xfrm>
            <a:off x="6805613" y="5705476"/>
            <a:ext cx="469900" cy="314325"/>
          </a:xfrm>
          <a:custGeom>
            <a:avLst/>
            <a:gdLst>
              <a:gd name="T0" fmla="*/ 144 w 182"/>
              <a:gd name="T1" fmla="*/ 28 h 122"/>
              <a:gd name="T2" fmla="*/ 109 w 182"/>
              <a:gd name="T3" fmla="*/ 0 h 122"/>
              <a:gd name="T4" fmla="*/ 79 w 182"/>
              <a:gd name="T5" fmla="*/ 13 h 122"/>
              <a:gd name="T6" fmla="*/ 61 w 182"/>
              <a:gd name="T7" fmla="*/ 7 h 122"/>
              <a:gd name="T8" fmla="*/ 34 w 182"/>
              <a:gd name="T9" fmla="*/ 30 h 122"/>
              <a:gd name="T10" fmla="*/ 34 w 182"/>
              <a:gd name="T11" fmla="*/ 35 h 122"/>
              <a:gd name="T12" fmla="*/ 0 w 182"/>
              <a:gd name="T13" fmla="*/ 69 h 122"/>
              <a:gd name="T14" fmla="*/ 42 w 182"/>
              <a:gd name="T15" fmla="*/ 104 h 122"/>
              <a:gd name="T16" fmla="*/ 44 w 182"/>
              <a:gd name="T17" fmla="*/ 104 h 122"/>
              <a:gd name="T18" fmla="*/ 87 w 182"/>
              <a:gd name="T19" fmla="*/ 122 h 122"/>
              <a:gd name="T20" fmla="*/ 125 w 182"/>
              <a:gd name="T21" fmla="*/ 109 h 122"/>
              <a:gd name="T22" fmla="*/ 132 w 182"/>
              <a:gd name="T23" fmla="*/ 110 h 122"/>
              <a:gd name="T24" fmla="*/ 182 w 182"/>
              <a:gd name="T25" fmla="*/ 68 h 122"/>
              <a:gd name="T26" fmla="*/ 144 w 182"/>
              <a:gd name="T27" fmla="*/ 2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22">
                <a:moveTo>
                  <a:pt x="144" y="28"/>
                </a:moveTo>
                <a:cubicBezTo>
                  <a:pt x="143" y="12"/>
                  <a:pt x="127" y="0"/>
                  <a:pt x="109" y="0"/>
                </a:cubicBezTo>
                <a:cubicBezTo>
                  <a:pt x="96" y="0"/>
                  <a:pt x="85" y="5"/>
                  <a:pt x="79" y="13"/>
                </a:cubicBezTo>
                <a:cubicBezTo>
                  <a:pt x="74" y="10"/>
                  <a:pt x="68" y="7"/>
                  <a:pt x="61" y="7"/>
                </a:cubicBezTo>
                <a:cubicBezTo>
                  <a:pt x="46" y="7"/>
                  <a:pt x="34" y="17"/>
                  <a:pt x="34" y="30"/>
                </a:cubicBezTo>
                <a:cubicBezTo>
                  <a:pt x="34" y="31"/>
                  <a:pt x="34" y="33"/>
                  <a:pt x="34" y="35"/>
                </a:cubicBezTo>
                <a:cubicBezTo>
                  <a:pt x="15" y="38"/>
                  <a:pt x="0" y="52"/>
                  <a:pt x="0" y="69"/>
                </a:cubicBezTo>
                <a:cubicBezTo>
                  <a:pt x="0" y="88"/>
                  <a:pt x="19" y="104"/>
                  <a:pt x="42" y="104"/>
                </a:cubicBezTo>
                <a:cubicBezTo>
                  <a:pt x="43" y="104"/>
                  <a:pt x="43" y="104"/>
                  <a:pt x="44" y="104"/>
                </a:cubicBezTo>
                <a:cubicBezTo>
                  <a:pt x="52" y="115"/>
                  <a:pt x="69" y="122"/>
                  <a:pt x="87" y="122"/>
                </a:cubicBezTo>
                <a:cubicBezTo>
                  <a:pt x="103" y="122"/>
                  <a:pt x="116" y="117"/>
                  <a:pt x="125" y="109"/>
                </a:cubicBezTo>
                <a:cubicBezTo>
                  <a:pt x="127" y="109"/>
                  <a:pt x="129" y="110"/>
                  <a:pt x="132" y="110"/>
                </a:cubicBezTo>
                <a:cubicBezTo>
                  <a:pt x="159" y="110"/>
                  <a:pt x="182" y="91"/>
                  <a:pt x="182" y="68"/>
                </a:cubicBezTo>
                <a:cubicBezTo>
                  <a:pt x="182" y="49"/>
                  <a:pt x="165" y="32"/>
                  <a:pt x="144" y="28"/>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Rectangle 47"/>
          <p:cNvSpPr>
            <a:spLocks noChangeArrowheads="1"/>
          </p:cNvSpPr>
          <p:nvPr/>
        </p:nvSpPr>
        <p:spPr bwMode="auto">
          <a:xfrm>
            <a:off x="8459788" y="5532439"/>
            <a:ext cx="79375" cy="70326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8"/>
          <p:cNvSpPr>
            <a:spLocks/>
          </p:cNvSpPr>
          <p:nvPr/>
        </p:nvSpPr>
        <p:spPr bwMode="auto">
          <a:xfrm>
            <a:off x="7997826" y="5059364"/>
            <a:ext cx="1004888" cy="676275"/>
          </a:xfrm>
          <a:custGeom>
            <a:avLst/>
            <a:gdLst>
              <a:gd name="T0" fmla="*/ 308 w 390"/>
              <a:gd name="T1" fmla="*/ 59 h 262"/>
              <a:gd name="T2" fmla="*/ 233 w 390"/>
              <a:gd name="T3" fmla="*/ 0 h 262"/>
              <a:gd name="T4" fmla="*/ 170 w 390"/>
              <a:gd name="T5" fmla="*/ 29 h 262"/>
              <a:gd name="T6" fmla="*/ 130 w 390"/>
              <a:gd name="T7" fmla="*/ 15 h 262"/>
              <a:gd name="T8" fmla="*/ 72 w 390"/>
              <a:gd name="T9" fmla="*/ 63 h 262"/>
              <a:gd name="T10" fmla="*/ 73 w 390"/>
              <a:gd name="T11" fmla="*/ 74 h 262"/>
              <a:gd name="T12" fmla="*/ 0 w 390"/>
              <a:gd name="T13" fmla="*/ 147 h 262"/>
              <a:gd name="T14" fmla="*/ 90 w 390"/>
              <a:gd name="T15" fmla="*/ 222 h 262"/>
              <a:gd name="T16" fmla="*/ 95 w 390"/>
              <a:gd name="T17" fmla="*/ 222 h 262"/>
              <a:gd name="T18" fmla="*/ 187 w 390"/>
              <a:gd name="T19" fmla="*/ 262 h 262"/>
              <a:gd name="T20" fmla="*/ 269 w 390"/>
              <a:gd name="T21" fmla="*/ 234 h 262"/>
              <a:gd name="T22" fmla="*/ 282 w 390"/>
              <a:gd name="T23" fmla="*/ 235 h 262"/>
              <a:gd name="T24" fmla="*/ 390 w 390"/>
              <a:gd name="T25" fmla="*/ 146 h 262"/>
              <a:gd name="T26" fmla="*/ 308 w 390"/>
              <a:gd name="T27" fmla="*/ 5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0" h="262">
                <a:moveTo>
                  <a:pt x="308" y="59"/>
                </a:moveTo>
                <a:cubicBezTo>
                  <a:pt x="306" y="26"/>
                  <a:pt x="273" y="0"/>
                  <a:pt x="233" y="0"/>
                </a:cubicBezTo>
                <a:cubicBezTo>
                  <a:pt x="206" y="0"/>
                  <a:pt x="183" y="11"/>
                  <a:pt x="170" y="29"/>
                </a:cubicBezTo>
                <a:cubicBezTo>
                  <a:pt x="159" y="20"/>
                  <a:pt x="145" y="15"/>
                  <a:pt x="130" y="15"/>
                </a:cubicBezTo>
                <a:cubicBezTo>
                  <a:pt x="98" y="15"/>
                  <a:pt x="72" y="37"/>
                  <a:pt x="72" y="63"/>
                </a:cubicBezTo>
                <a:cubicBezTo>
                  <a:pt x="72" y="67"/>
                  <a:pt x="73" y="70"/>
                  <a:pt x="73" y="74"/>
                </a:cubicBezTo>
                <a:cubicBezTo>
                  <a:pt x="31" y="80"/>
                  <a:pt x="0" y="111"/>
                  <a:pt x="0" y="147"/>
                </a:cubicBezTo>
                <a:cubicBezTo>
                  <a:pt x="0" y="188"/>
                  <a:pt x="40" y="222"/>
                  <a:pt x="90" y="222"/>
                </a:cubicBezTo>
                <a:cubicBezTo>
                  <a:pt x="92" y="222"/>
                  <a:pt x="93" y="222"/>
                  <a:pt x="95" y="222"/>
                </a:cubicBezTo>
                <a:cubicBezTo>
                  <a:pt x="112" y="246"/>
                  <a:pt x="147" y="262"/>
                  <a:pt x="187" y="262"/>
                </a:cubicBezTo>
                <a:cubicBezTo>
                  <a:pt x="220" y="262"/>
                  <a:pt x="250" y="251"/>
                  <a:pt x="269" y="234"/>
                </a:cubicBezTo>
                <a:cubicBezTo>
                  <a:pt x="273" y="234"/>
                  <a:pt x="278" y="235"/>
                  <a:pt x="282" y="235"/>
                </a:cubicBezTo>
                <a:cubicBezTo>
                  <a:pt x="342" y="235"/>
                  <a:pt x="390" y="195"/>
                  <a:pt x="390" y="146"/>
                </a:cubicBezTo>
                <a:cubicBezTo>
                  <a:pt x="390" y="104"/>
                  <a:pt x="355" y="69"/>
                  <a:pt x="308" y="59"/>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Rectangle 49"/>
          <p:cNvSpPr>
            <a:spLocks noChangeArrowheads="1"/>
          </p:cNvSpPr>
          <p:nvPr/>
        </p:nvSpPr>
        <p:spPr bwMode="auto">
          <a:xfrm>
            <a:off x="8853488" y="5815014"/>
            <a:ext cx="49213" cy="428625"/>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0"/>
          <p:cNvSpPr>
            <a:spLocks/>
          </p:cNvSpPr>
          <p:nvPr/>
        </p:nvSpPr>
        <p:spPr bwMode="auto">
          <a:xfrm>
            <a:off x="8572501" y="5526089"/>
            <a:ext cx="614363" cy="412750"/>
          </a:xfrm>
          <a:custGeom>
            <a:avLst/>
            <a:gdLst>
              <a:gd name="T0" fmla="*/ 188 w 238"/>
              <a:gd name="T1" fmla="*/ 36 h 160"/>
              <a:gd name="T2" fmla="*/ 142 w 238"/>
              <a:gd name="T3" fmla="*/ 0 h 160"/>
              <a:gd name="T4" fmla="*/ 104 w 238"/>
              <a:gd name="T5" fmla="*/ 17 h 160"/>
              <a:gd name="T6" fmla="*/ 79 w 238"/>
              <a:gd name="T7" fmla="*/ 9 h 160"/>
              <a:gd name="T8" fmla="*/ 44 w 238"/>
              <a:gd name="T9" fmla="*/ 38 h 160"/>
              <a:gd name="T10" fmla="*/ 45 w 238"/>
              <a:gd name="T11" fmla="*/ 44 h 160"/>
              <a:gd name="T12" fmla="*/ 0 w 238"/>
              <a:gd name="T13" fmla="*/ 89 h 160"/>
              <a:gd name="T14" fmla="*/ 55 w 238"/>
              <a:gd name="T15" fmla="*/ 135 h 160"/>
              <a:gd name="T16" fmla="*/ 58 w 238"/>
              <a:gd name="T17" fmla="*/ 135 h 160"/>
              <a:gd name="T18" fmla="*/ 114 w 238"/>
              <a:gd name="T19" fmla="*/ 160 h 160"/>
              <a:gd name="T20" fmla="*/ 164 w 238"/>
              <a:gd name="T21" fmla="*/ 142 h 160"/>
              <a:gd name="T22" fmla="*/ 172 w 238"/>
              <a:gd name="T23" fmla="*/ 143 h 160"/>
              <a:gd name="T24" fmla="*/ 238 w 238"/>
              <a:gd name="T25" fmla="*/ 89 h 160"/>
              <a:gd name="T26" fmla="*/ 188 w 238"/>
              <a:gd name="T27" fmla="*/ 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160">
                <a:moveTo>
                  <a:pt x="188" y="36"/>
                </a:moveTo>
                <a:cubicBezTo>
                  <a:pt x="187" y="16"/>
                  <a:pt x="167" y="0"/>
                  <a:pt x="142" y="0"/>
                </a:cubicBezTo>
                <a:cubicBezTo>
                  <a:pt x="126" y="0"/>
                  <a:pt x="112" y="6"/>
                  <a:pt x="104" y="17"/>
                </a:cubicBezTo>
                <a:cubicBezTo>
                  <a:pt x="97" y="12"/>
                  <a:pt x="89" y="9"/>
                  <a:pt x="79" y="9"/>
                </a:cubicBezTo>
                <a:cubicBezTo>
                  <a:pt x="60" y="9"/>
                  <a:pt x="44" y="22"/>
                  <a:pt x="44" y="38"/>
                </a:cubicBezTo>
                <a:cubicBezTo>
                  <a:pt x="44" y="40"/>
                  <a:pt x="44" y="42"/>
                  <a:pt x="45" y="44"/>
                </a:cubicBezTo>
                <a:cubicBezTo>
                  <a:pt x="19" y="48"/>
                  <a:pt x="0" y="67"/>
                  <a:pt x="0" y="89"/>
                </a:cubicBezTo>
                <a:cubicBezTo>
                  <a:pt x="0" y="115"/>
                  <a:pt x="24" y="135"/>
                  <a:pt x="55" y="135"/>
                </a:cubicBezTo>
                <a:cubicBezTo>
                  <a:pt x="56" y="135"/>
                  <a:pt x="57" y="135"/>
                  <a:pt x="58" y="135"/>
                </a:cubicBezTo>
                <a:cubicBezTo>
                  <a:pt x="69" y="150"/>
                  <a:pt x="90" y="160"/>
                  <a:pt x="114" y="160"/>
                </a:cubicBezTo>
                <a:cubicBezTo>
                  <a:pt x="134" y="160"/>
                  <a:pt x="152" y="153"/>
                  <a:pt x="164" y="142"/>
                </a:cubicBezTo>
                <a:cubicBezTo>
                  <a:pt x="167" y="143"/>
                  <a:pt x="170" y="143"/>
                  <a:pt x="172" y="143"/>
                </a:cubicBezTo>
                <a:cubicBezTo>
                  <a:pt x="209" y="143"/>
                  <a:pt x="238" y="119"/>
                  <a:pt x="238" y="89"/>
                </a:cubicBezTo>
                <a:cubicBezTo>
                  <a:pt x="238" y="63"/>
                  <a:pt x="217" y="42"/>
                  <a:pt x="188" y="36"/>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1"/>
          <p:cNvSpPr>
            <a:spLocks/>
          </p:cNvSpPr>
          <p:nvPr/>
        </p:nvSpPr>
        <p:spPr bwMode="auto">
          <a:xfrm>
            <a:off x="3830638" y="5962651"/>
            <a:ext cx="614363" cy="292100"/>
          </a:xfrm>
          <a:custGeom>
            <a:avLst/>
            <a:gdLst>
              <a:gd name="T0" fmla="*/ 236 w 238"/>
              <a:gd name="T1" fmla="*/ 113 h 113"/>
              <a:gd name="T2" fmla="*/ 238 w 238"/>
              <a:gd name="T3" fmla="*/ 99 h 113"/>
              <a:gd name="T4" fmla="*/ 207 w 238"/>
              <a:gd name="T5" fmla="*/ 56 h 113"/>
              <a:gd name="T6" fmla="*/ 147 w 238"/>
              <a:gd name="T7" fmla="*/ 0 h 113"/>
              <a:gd name="T8" fmla="*/ 94 w 238"/>
              <a:gd name="T9" fmla="*/ 30 h 113"/>
              <a:gd name="T10" fmla="*/ 75 w 238"/>
              <a:gd name="T11" fmla="*/ 26 h 113"/>
              <a:gd name="T12" fmla="*/ 26 w 238"/>
              <a:gd name="T13" fmla="*/ 75 h 113"/>
              <a:gd name="T14" fmla="*/ 26 w 238"/>
              <a:gd name="T15" fmla="*/ 76 h 113"/>
              <a:gd name="T16" fmla="*/ 0 w 238"/>
              <a:gd name="T17" fmla="*/ 110 h 113"/>
              <a:gd name="T18" fmla="*/ 0 w 238"/>
              <a:gd name="T19" fmla="*/ 113 h 113"/>
              <a:gd name="T20" fmla="*/ 236 w 238"/>
              <a:gd name="T21"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113">
                <a:moveTo>
                  <a:pt x="236" y="113"/>
                </a:moveTo>
                <a:cubicBezTo>
                  <a:pt x="237" y="109"/>
                  <a:pt x="238" y="104"/>
                  <a:pt x="238" y="99"/>
                </a:cubicBezTo>
                <a:cubicBezTo>
                  <a:pt x="238" y="78"/>
                  <a:pt x="225" y="61"/>
                  <a:pt x="207" y="56"/>
                </a:cubicBezTo>
                <a:cubicBezTo>
                  <a:pt x="204" y="24"/>
                  <a:pt x="178" y="0"/>
                  <a:pt x="147" y="0"/>
                </a:cubicBezTo>
                <a:cubicBezTo>
                  <a:pt x="124" y="0"/>
                  <a:pt x="105" y="12"/>
                  <a:pt x="94" y="30"/>
                </a:cubicBezTo>
                <a:cubicBezTo>
                  <a:pt x="88" y="27"/>
                  <a:pt x="82" y="26"/>
                  <a:pt x="75" y="26"/>
                </a:cubicBezTo>
                <a:cubicBezTo>
                  <a:pt x="48" y="26"/>
                  <a:pt x="26" y="48"/>
                  <a:pt x="26" y="75"/>
                </a:cubicBezTo>
                <a:cubicBezTo>
                  <a:pt x="26" y="75"/>
                  <a:pt x="26" y="76"/>
                  <a:pt x="26" y="76"/>
                </a:cubicBezTo>
                <a:cubicBezTo>
                  <a:pt x="11" y="80"/>
                  <a:pt x="0" y="93"/>
                  <a:pt x="0" y="110"/>
                </a:cubicBezTo>
                <a:cubicBezTo>
                  <a:pt x="0" y="111"/>
                  <a:pt x="0" y="112"/>
                  <a:pt x="0" y="113"/>
                </a:cubicBezTo>
                <a:lnTo>
                  <a:pt x="236" y="113"/>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2"/>
          <p:cNvSpPr>
            <a:spLocks/>
          </p:cNvSpPr>
          <p:nvPr/>
        </p:nvSpPr>
        <p:spPr bwMode="auto">
          <a:xfrm>
            <a:off x="8108951" y="5934076"/>
            <a:ext cx="693738" cy="330200"/>
          </a:xfrm>
          <a:custGeom>
            <a:avLst/>
            <a:gdLst>
              <a:gd name="T0" fmla="*/ 266 w 269"/>
              <a:gd name="T1" fmla="*/ 128 h 128"/>
              <a:gd name="T2" fmla="*/ 269 w 269"/>
              <a:gd name="T3" fmla="*/ 111 h 128"/>
              <a:gd name="T4" fmla="*/ 234 w 269"/>
              <a:gd name="T5" fmla="*/ 63 h 128"/>
              <a:gd name="T6" fmla="*/ 165 w 269"/>
              <a:gd name="T7" fmla="*/ 0 h 128"/>
              <a:gd name="T8" fmla="*/ 107 w 269"/>
              <a:gd name="T9" fmla="*/ 33 h 128"/>
              <a:gd name="T10" fmla="*/ 85 w 269"/>
              <a:gd name="T11" fmla="*/ 29 h 128"/>
              <a:gd name="T12" fmla="*/ 30 w 269"/>
              <a:gd name="T13" fmla="*/ 84 h 128"/>
              <a:gd name="T14" fmla="*/ 30 w 269"/>
              <a:gd name="T15" fmla="*/ 86 h 128"/>
              <a:gd name="T16" fmla="*/ 0 w 269"/>
              <a:gd name="T17" fmla="*/ 124 h 128"/>
              <a:gd name="T18" fmla="*/ 0 w 269"/>
              <a:gd name="T19" fmla="*/ 128 h 128"/>
              <a:gd name="T20" fmla="*/ 266 w 269"/>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128">
                <a:moveTo>
                  <a:pt x="266" y="128"/>
                </a:moveTo>
                <a:cubicBezTo>
                  <a:pt x="268" y="123"/>
                  <a:pt x="269" y="117"/>
                  <a:pt x="269" y="111"/>
                </a:cubicBezTo>
                <a:cubicBezTo>
                  <a:pt x="269" y="88"/>
                  <a:pt x="254" y="69"/>
                  <a:pt x="234" y="63"/>
                </a:cubicBezTo>
                <a:cubicBezTo>
                  <a:pt x="231" y="27"/>
                  <a:pt x="201" y="0"/>
                  <a:pt x="165" y="0"/>
                </a:cubicBezTo>
                <a:cubicBezTo>
                  <a:pt x="140" y="0"/>
                  <a:pt x="118" y="13"/>
                  <a:pt x="107" y="33"/>
                </a:cubicBezTo>
                <a:cubicBezTo>
                  <a:pt x="100" y="31"/>
                  <a:pt x="92" y="29"/>
                  <a:pt x="85" y="29"/>
                </a:cubicBezTo>
                <a:cubicBezTo>
                  <a:pt x="54" y="29"/>
                  <a:pt x="30" y="54"/>
                  <a:pt x="30" y="84"/>
                </a:cubicBezTo>
                <a:cubicBezTo>
                  <a:pt x="30" y="85"/>
                  <a:pt x="30" y="85"/>
                  <a:pt x="30" y="86"/>
                </a:cubicBezTo>
                <a:cubicBezTo>
                  <a:pt x="13" y="90"/>
                  <a:pt x="0" y="105"/>
                  <a:pt x="0" y="124"/>
                </a:cubicBezTo>
                <a:cubicBezTo>
                  <a:pt x="0" y="125"/>
                  <a:pt x="0" y="126"/>
                  <a:pt x="0" y="128"/>
                </a:cubicBezTo>
                <a:lnTo>
                  <a:pt x="266" y="128"/>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3"/>
          <p:cNvSpPr>
            <a:spLocks/>
          </p:cNvSpPr>
          <p:nvPr/>
        </p:nvSpPr>
        <p:spPr bwMode="auto">
          <a:xfrm>
            <a:off x="7419976" y="5772151"/>
            <a:ext cx="1011238" cy="482600"/>
          </a:xfrm>
          <a:custGeom>
            <a:avLst/>
            <a:gdLst>
              <a:gd name="T0" fmla="*/ 388 w 392"/>
              <a:gd name="T1" fmla="*/ 187 h 187"/>
              <a:gd name="T2" fmla="*/ 392 w 392"/>
              <a:gd name="T3" fmla="*/ 162 h 187"/>
              <a:gd name="T4" fmla="*/ 340 w 392"/>
              <a:gd name="T5" fmla="*/ 92 h 187"/>
              <a:gd name="T6" fmla="*/ 241 w 392"/>
              <a:gd name="T7" fmla="*/ 0 h 187"/>
              <a:gd name="T8" fmla="*/ 155 w 392"/>
              <a:gd name="T9" fmla="*/ 49 h 187"/>
              <a:gd name="T10" fmla="*/ 124 w 392"/>
              <a:gd name="T11" fmla="*/ 43 h 187"/>
              <a:gd name="T12" fmla="*/ 43 w 392"/>
              <a:gd name="T13" fmla="*/ 123 h 187"/>
              <a:gd name="T14" fmla="*/ 43 w 392"/>
              <a:gd name="T15" fmla="*/ 126 h 187"/>
              <a:gd name="T16" fmla="*/ 0 w 392"/>
              <a:gd name="T17" fmla="*/ 180 h 187"/>
              <a:gd name="T18" fmla="*/ 0 w 392"/>
              <a:gd name="T19" fmla="*/ 187 h 187"/>
              <a:gd name="T20" fmla="*/ 388 w 392"/>
              <a:gd name="T21"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187">
                <a:moveTo>
                  <a:pt x="388" y="187"/>
                </a:moveTo>
                <a:cubicBezTo>
                  <a:pt x="390" y="179"/>
                  <a:pt x="392" y="171"/>
                  <a:pt x="392" y="162"/>
                </a:cubicBezTo>
                <a:cubicBezTo>
                  <a:pt x="392" y="129"/>
                  <a:pt x="370" y="101"/>
                  <a:pt x="340" y="92"/>
                </a:cubicBezTo>
                <a:cubicBezTo>
                  <a:pt x="336" y="40"/>
                  <a:pt x="294" y="0"/>
                  <a:pt x="241" y="0"/>
                </a:cubicBezTo>
                <a:cubicBezTo>
                  <a:pt x="205" y="0"/>
                  <a:pt x="173" y="20"/>
                  <a:pt x="155" y="49"/>
                </a:cubicBezTo>
                <a:cubicBezTo>
                  <a:pt x="146" y="45"/>
                  <a:pt x="135" y="43"/>
                  <a:pt x="124" y="43"/>
                </a:cubicBezTo>
                <a:cubicBezTo>
                  <a:pt x="79" y="43"/>
                  <a:pt x="43" y="79"/>
                  <a:pt x="43" y="123"/>
                </a:cubicBezTo>
                <a:cubicBezTo>
                  <a:pt x="43" y="124"/>
                  <a:pt x="43" y="125"/>
                  <a:pt x="43" y="126"/>
                </a:cubicBezTo>
                <a:cubicBezTo>
                  <a:pt x="19" y="132"/>
                  <a:pt x="0" y="154"/>
                  <a:pt x="0" y="180"/>
                </a:cubicBezTo>
                <a:cubicBezTo>
                  <a:pt x="0" y="183"/>
                  <a:pt x="0" y="185"/>
                  <a:pt x="0" y="187"/>
                </a:cubicBezTo>
                <a:lnTo>
                  <a:pt x="388" y="187"/>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54"/>
          <p:cNvSpPr>
            <a:spLocks/>
          </p:cNvSpPr>
          <p:nvPr/>
        </p:nvSpPr>
        <p:spPr bwMode="auto">
          <a:xfrm>
            <a:off x="4171951" y="5846764"/>
            <a:ext cx="858838" cy="407988"/>
          </a:xfrm>
          <a:custGeom>
            <a:avLst/>
            <a:gdLst>
              <a:gd name="T0" fmla="*/ 329 w 333"/>
              <a:gd name="T1" fmla="*/ 158 h 158"/>
              <a:gd name="T2" fmla="*/ 333 w 333"/>
              <a:gd name="T3" fmla="*/ 138 h 158"/>
              <a:gd name="T4" fmla="*/ 289 w 333"/>
              <a:gd name="T5" fmla="*/ 78 h 158"/>
              <a:gd name="T6" fmla="*/ 205 w 333"/>
              <a:gd name="T7" fmla="*/ 0 h 158"/>
              <a:gd name="T8" fmla="*/ 132 w 333"/>
              <a:gd name="T9" fmla="*/ 42 h 158"/>
              <a:gd name="T10" fmla="*/ 105 w 333"/>
              <a:gd name="T11" fmla="*/ 36 h 158"/>
              <a:gd name="T12" fmla="*/ 37 w 333"/>
              <a:gd name="T13" fmla="*/ 104 h 158"/>
              <a:gd name="T14" fmla="*/ 37 w 333"/>
              <a:gd name="T15" fmla="*/ 107 h 158"/>
              <a:gd name="T16" fmla="*/ 0 w 333"/>
              <a:gd name="T17" fmla="*/ 153 h 158"/>
              <a:gd name="T18" fmla="*/ 1 w 333"/>
              <a:gd name="T19" fmla="*/ 158 h 158"/>
              <a:gd name="T20" fmla="*/ 329 w 333"/>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 h="158">
                <a:moveTo>
                  <a:pt x="329" y="158"/>
                </a:moveTo>
                <a:cubicBezTo>
                  <a:pt x="331" y="152"/>
                  <a:pt x="333" y="145"/>
                  <a:pt x="333" y="138"/>
                </a:cubicBezTo>
                <a:cubicBezTo>
                  <a:pt x="333" y="110"/>
                  <a:pt x="314" y="86"/>
                  <a:pt x="289" y="78"/>
                </a:cubicBezTo>
                <a:cubicBezTo>
                  <a:pt x="286" y="34"/>
                  <a:pt x="249" y="0"/>
                  <a:pt x="205" y="0"/>
                </a:cubicBezTo>
                <a:cubicBezTo>
                  <a:pt x="174" y="0"/>
                  <a:pt x="147" y="17"/>
                  <a:pt x="132" y="42"/>
                </a:cubicBezTo>
                <a:cubicBezTo>
                  <a:pt x="124" y="38"/>
                  <a:pt x="115" y="36"/>
                  <a:pt x="105" y="36"/>
                </a:cubicBezTo>
                <a:cubicBezTo>
                  <a:pt x="68" y="36"/>
                  <a:pt x="37" y="67"/>
                  <a:pt x="37" y="104"/>
                </a:cubicBezTo>
                <a:cubicBezTo>
                  <a:pt x="37" y="105"/>
                  <a:pt x="37" y="106"/>
                  <a:pt x="37" y="107"/>
                </a:cubicBezTo>
                <a:cubicBezTo>
                  <a:pt x="16" y="112"/>
                  <a:pt x="0" y="131"/>
                  <a:pt x="0" y="153"/>
                </a:cubicBezTo>
                <a:cubicBezTo>
                  <a:pt x="0" y="155"/>
                  <a:pt x="1" y="157"/>
                  <a:pt x="1" y="158"/>
                </a:cubicBezTo>
                <a:lnTo>
                  <a:pt x="329" y="158"/>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55"/>
          <p:cNvSpPr>
            <a:spLocks/>
          </p:cNvSpPr>
          <p:nvPr/>
        </p:nvSpPr>
        <p:spPr bwMode="auto">
          <a:xfrm>
            <a:off x="5480051" y="5967414"/>
            <a:ext cx="603250" cy="287338"/>
          </a:xfrm>
          <a:custGeom>
            <a:avLst/>
            <a:gdLst>
              <a:gd name="T0" fmla="*/ 231 w 234"/>
              <a:gd name="T1" fmla="*/ 111 h 111"/>
              <a:gd name="T2" fmla="*/ 234 w 234"/>
              <a:gd name="T3" fmla="*/ 97 h 111"/>
              <a:gd name="T4" fmla="*/ 203 w 234"/>
              <a:gd name="T5" fmla="*/ 55 h 111"/>
              <a:gd name="T6" fmla="*/ 144 w 234"/>
              <a:gd name="T7" fmla="*/ 0 h 111"/>
              <a:gd name="T8" fmla="*/ 93 w 234"/>
              <a:gd name="T9" fmla="*/ 29 h 111"/>
              <a:gd name="T10" fmla="*/ 74 w 234"/>
              <a:gd name="T11" fmla="*/ 26 h 111"/>
              <a:gd name="T12" fmla="*/ 26 w 234"/>
              <a:gd name="T13" fmla="*/ 73 h 111"/>
              <a:gd name="T14" fmla="*/ 26 w 234"/>
              <a:gd name="T15" fmla="*/ 75 h 111"/>
              <a:gd name="T16" fmla="*/ 0 w 234"/>
              <a:gd name="T17" fmla="*/ 108 h 111"/>
              <a:gd name="T18" fmla="*/ 0 w 234"/>
              <a:gd name="T19" fmla="*/ 111 h 111"/>
              <a:gd name="T20" fmla="*/ 231 w 234"/>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111">
                <a:moveTo>
                  <a:pt x="231" y="111"/>
                </a:moveTo>
                <a:cubicBezTo>
                  <a:pt x="233" y="107"/>
                  <a:pt x="234" y="102"/>
                  <a:pt x="234" y="97"/>
                </a:cubicBezTo>
                <a:cubicBezTo>
                  <a:pt x="234" y="77"/>
                  <a:pt x="221" y="60"/>
                  <a:pt x="203" y="55"/>
                </a:cubicBezTo>
                <a:cubicBezTo>
                  <a:pt x="201" y="24"/>
                  <a:pt x="175" y="0"/>
                  <a:pt x="144" y="0"/>
                </a:cubicBezTo>
                <a:cubicBezTo>
                  <a:pt x="122" y="0"/>
                  <a:pt x="103" y="12"/>
                  <a:pt x="93" y="29"/>
                </a:cubicBezTo>
                <a:cubicBezTo>
                  <a:pt x="87" y="27"/>
                  <a:pt x="81" y="26"/>
                  <a:pt x="74" y="26"/>
                </a:cubicBezTo>
                <a:cubicBezTo>
                  <a:pt x="47" y="26"/>
                  <a:pt x="26" y="47"/>
                  <a:pt x="26" y="73"/>
                </a:cubicBezTo>
                <a:cubicBezTo>
                  <a:pt x="26" y="74"/>
                  <a:pt x="26" y="75"/>
                  <a:pt x="26" y="75"/>
                </a:cubicBezTo>
                <a:cubicBezTo>
                  <a:pt x="11" y="79"/>
                  <a:pt x="0" y="92"/>
                  <a:pt x="0" y="108"/>
                </a:cubicBezTo>
                <a:cubicBezTo>
                  <a:pt x="0" y="109"/>
                  <a:pt x="0" y="110"/>
                  <a:pt x="0" y="111"/>
                </a:cubicBezTo>
                <a:lnTo>
                  <a:pt x="231" y="111"/>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56"/>
          <p:cNvSpPr>
            <a:spLocks/>
          </p:cNvSpPr>
          <p:nvPr/>
        </p:nvSpPr>
        <p:spPr bwMode="auto">
          <a:xfrm>
            <a:off x="3586163" y="5697539"/>
            <a:ext cx="468313" cy="314325"/>
          </a:xfrm>
          <a:custGeom>
            <a:avLst/>
            <a:gdLst>
              <a:gd name="T0" fmla="*/ 144 w 182"/>
              <a:gd name="T1" fmla="*/ 27 h 122"/>
              <a:gd name="T2" fmla="*/ 109 w 182"/>
              <a:gd name="T3" fmla="*/ 0 h 122"/>
              <a:gd name="T4" fmla="*/ 79 w 182"/>
              <a:gd name="T5" fmla="*/ 13 h 122"/>
              <a:gd name="T6" fmla="*/ 61 w 182"/>
              <a:gd name="T7" fmla="*/ 7 h 122"/>
              <a:gd name="T8" fmla="*/ 34 w 182"/>
              <a:gd name="T9" fmla="*/ 29 h 122"/>
              <a:gd name="T10" fmla="*/ 34 w 182"/>
              <a:gd name="T11" fmla="*/ 34 h 122"/>
              <a:gd name="T12" fmla="*/ 0 w 182"/>
              <a:gd name="T13" fmla="*/ 68 h 122"/>
              <a:gd name="T14" fmla="*/ 42 w 182"/>
              <a:gd name="T15" fmla="*/ 103 h 122"/>
              <a:gd name="T16" fmla="*/ 44 w 182"/>
              <a:gd name="T17" fmla="*/ 103 h 122"/>
              <a:gd name="T18" fmla="*/ 87 w 182"/>
              <a:gd name="T19" fmla="*/ 122 h 122"/>
              <a:gd name="T20" fmla="*/ 125 w 182"/>
              <a:gd name="T21" fmla="*/ 109 h 122"/>
              <a:gd name="T22" fmla="*/ 132 w 182"/>
              <a:gd name="T23" fmla="*/ 109 h 122"/>
              <a:gd name="T24" fmla="*/ 182 w 182"/>
              <a:gd name="T25" fmla="*/ 67 h 122"/>
              <a:gd name="T26" fmla="*/ 144 w 182"/>
              <a:gd name="T27" fmla="*/ 2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22">
                <a:moveTo>
                  <a:pt x="144" y="27"/>
                </a:moveTo>
                <a:cubicBezTo>
                  <a:pt x="143" y="12"/>
                  <a:pt x="127" y="0"/>
                  <a:pt x="109" y="0"/>
                </a:cubicBezTo>
                <a:cubicBezTo>
                  <a:pt x="96" y="0"/>
                  <a:pt x="85" y="5"/>
                  <a:pt x="79" y="13"/>
                </a:cubicBezTo>
                <a:cubicBezTo>
                  <a:pt x="74" y="9"/>
                  <a:pt x="68" y="7"/>
                  <a:pt x="61" y="7"/>
                </a:cubicBezTo>
                <a:cubicBezTo>
                  <a:pt x="46" y="7"/>
                  <a:pt x="34" y="17"/>
                  <a:pt x="34" y="29"/>
                </a:cubicBezTo>
                <a:cubicBezTo>
                  <a:pt x="34" y="31"/>
                  <a:pt x="34" y="32"/>
                  <a:pt x="34" y="34"/>
                </a:cubicBezTo>
                <a:cubicBezTo>
                  <a:pt x="15" y="37"/>
                  <a:pt x="0" y="51"/>
                  <a:pt x="0" y="68"/>
                </a:cubicBezTo>
                <a:cubicBezTo>
                  <a:pt x="0" y="87"/>
                  <a:pt x="19" y="103"/>
                  <a:pt x="42" y="103"/>
                </a:cubicBezTo>
                <a:cubicBezTo>
                  <a:pt x="43" y="103"/>
                  <a:pt x="43" y="103"/>
                  <a:pt x="44" y="103"/>
                </a:cubicBezTo>
                <a:cubicBezTo>
                  <a:pt x="52" y="114"/>
                  <a:pt x="69" y="122"/>
                  <a:pt x="87" y="122"/>
                </a:cubicBezTo>
                <a:cubicBezTo>
                  <a:pt x="103" y="122"/>
                  <a:pt x="116" y="117"/>
                  <a:pt x="125" y="109"/>
                </a:cubicBezTo>
                <a:cubicBezTo>
                  <a:pt x="127" y="109"/>
                  <a:pt x="129" y="109"/>
                  <a:pt x="132" y="109"/>
                </a:cubicBezTo>
                <a:cubicBezTo>
                  <a:pt x="159" y="109"/>
                  <a:pt x="182" y="90"/>
                  <a:pt x="182" y="67"/>
                </a:cubicBezTo>
                <a:cubicBezTo>
                  <a:pt x="182" y="48"/>
                  <a:pt x="165" y="32"/>
                  <a:pt x="144" y="27"/>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Rectangle 57"/>
          <p:cNvSpPr>
            <a:spLocks noChangeArrowheads="1"/>
          </p:cNvSpPr>
          <p:nvPr/>
        </p:nvSpPr>
        <p:spPr bwMode="auto">
          <a:xfrm>
            <a:off x="2030413" y="6373814"/>
            <a:ext cx="7767638" cy="1079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58"/>
          <p:cNvSpPr>
            <a:spLocks noChangeArrowheads="1"/>
          </p:cNvSpPr>
          <p:nvPr/>
        </p:nvSpPr>
        <p:spPr bwMode="auto">
          <a:xfrm>
            <a:off x="2112963" y="6256339"/>
            <a:ext cx="7532688" cy="109538"/>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Rectangle 59"/>
          <p:cNvSpPr>
            <a:spLocks noChangeArrowheads="1"/>
          </p:cNvSpPr>
          <p:nvPr/>
        </p:nvSpPr>
        <p:spPr bwMode="auto">
          <a:xfrm>
            <a:off x="7102476" y="4071939"/>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Rectangle 60"/>
          <p:cNvSpPr>
            <a:spLocks noChangeArrowheads="1"/>
          </p:cNvSpPr>
          <p:nvPr/>
        </p:nvSpPr>
        <p:spPr bwMode="auto">
          <a:xfrm>
            <a:off x="7310438" y="4071939"/>
            <a:ext cx="122238"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Rectangle 61"/>
          <p:cNvSpPr>
            <a:spLocks noChangeArrowheads="1"/>
          </p:cNvSpPr>
          <p:nvPr/>
        </p:nvSpPr>
        <p:spPr bwMode="auto">
          <a:xfrm>
            <a:off x="7102476" y="4283076"/>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Rectangle 62"/>
          <p:cNvSpPr>
            <a:spLocks noChangeArrowheads="1"/>
          </p:cNvSpPr>
          <p:nvPr/>
        </p:nvSpPr>
        <p:spPr bwMode="auto">
          <a:xfrm>
            <a:off x="6451601" y="4624389"/>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Rectangle 63"/>
          <p:cNvSpPr>
            <a:spLocks noChangeArrowheads="1"/>
          </p:cNvSpPr>
          <p:nvPr/>
        </p:nvSpPr>
        <p:spPr bwMode="auto">
          <a:xfrm>
            <a:off x="6604001" y="4368801"/>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Rectangle 64"/>
          <p:cNvSpPr>
            <a:spLocks noChangeArrowheads="1"/>
          </p:cNvSpPr>
          <p:nvPr/>
        </p:nvSpPr>
        <p:spPr bwMode="auto">
          <a:xfrm>
            <a:off x="6686551" y="4835526"/>
            <a:ext cx="120650"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Rectangle 65"/>
          <p:cNvSpPr>
            <a:spLocks noChangeArrowheads="1"/>
          </p:cNvSpPr>
          <p:nvPr/>
        </p:nvSpPr>
        <p:spPr bwMode="auto">
          <a:xfrm>
            <a:off x="4530726" y="4789489"/>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Rectangle 66"/>
          <p:cNvSpPr>
            <a:spLocks noChangeArrowheads="1"/>
          </p:cNvSpPr>
          <p:nvPr/>
        </p:nvSpPr>
        <p:spPr bwMode="auto">
          <a:xfrm>
            <a:off x="7627938" y="5016501"/>
            <a:ext cx="122238" cy="120650"/>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Rectangle 67"/>
          <p:cNvSpPr>
            <a:spLocks noChangeArrowheads="1"/>
          </p:cNvSpPr>
          <p:nvPr/>
        </p:nvSpPr>
        <p:spPr bwMode="auto">
          <a:xfrm>
            <a:off x="4383088" y="4621214"/>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Rectangle 68"/>
          <p:cNvSpPr>
            <a:spLocks noChangeArrowheads="1"/>
          </p:cNvSpPr>
          <p:nvPr/>
        </p:nvSpPr>
        <p:spPr bwMode="auto">
          <a:xfrm>
            <a:off x="5027613" y="3759201"/>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Rectangle 69"/>
          <p:cNvSpPr>
            <a:spLocks noChangeArrowheads="1"/>
          </p:cNvSpPr>
          <p:nvPr/>
        </p:nvSpPr>
        <p:spPr bwMode="auto">
          <a:xfrm>
            <a:off x="5027613" y="4233864"/>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Rectangle 70"/>
          <p:cNvSpPr>
            <a:spLocks noChangeArrowheads="1"/>
          </p:cNvSpPr>
          <p:nvPr/>
        </p:nvSpPr>
        <p:spPr bwMode="auto">
          <a:xfrm>
            <a:off x="5027613" y="4968876"/>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Rectangle 71"/>
          <p:cNvSpPr>
            <a:spLocks noChangeArrowheads="1"/>
          </p:cNvSpPr>
          <p:nvPr/>
        </p:nvSpPr>
        <p:spPr bwMode="auto">
          <a:xfrm>
            <a:off x="5211763" y="4233864"/>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Rectangle 72"/>
          <p:cNvSpPr>
            <a:spLocks noChangeArrowheads="1"/>
          </p:cNvSpPr>
          <p:nvPr/>
        </p:nvSpPr>
        <p:spPr bwMode="auto">
          <a:xfrm>
            <a:off x="5211763" y="4621214"/>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Rectangle 73"/>
          <p:cNvSpPr>
            <a:spLocks noChangeArrowheads="1"/>
          </p:cNvSpPr>
          <p:nvPr/>
        </p:nvSpPr>
        <p:spPr bwMode="auto">
          <a:xfrm>
            <a:off x="5159376" y="3994151"/>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Rectangle 74"/>
          <p:cNvSpPr>
            <a:spLocks noChangeArrowheads="1"/>
          </p:cNvSpPr>
          <p:nvPr/>
        </p:nvSpPr>
        <p:spPr bwMode="auto">
          <a:xfrm>
            <a:off x="7310438" y="4283076"/>
            <a:ext cx="122238"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76"/>
          <p:cNvSpPr>
            <a:spLocks/>
          </p:cNvSpPr>
          <p:nvPr/>
        </p:nvSpPr>
        <p:spPr bwMode="auto">
          <a:xfrm>
            <a:off x="3902869" y="1085852"/>
            <a:ext cx="960438" cy="560388"/>
          </a:xfrm>
          <a:custGeom>
            <a:avLst/>
            <a:gdLst>
              <a:gd name="T0" fmla="*/ 310 w 372"/>
              <a:gd name="T1" fmla="*/ 84 h 217"/>
              <a:gd name="T2" fmla="*/ 205 w 372"/>
              <a:gd name="T3" fmla="*/ 0 h 217"/>
              <a:gd name="T4" fmla="*/ 102 w 372"/>
              <a:gd name="T5" fmla="*/ 76 h 217"/>
              <a:gd name="T6" fmla="*/ 73 w 372"/>
              <a:gd name="T7" fmla="*/ 69 h 217"/>
              <a:gd name="T8" fmla="*/ 0 w 372"/>
              <a:gd name="T9" fmla="*/ 143 h 217"/>
              <a:gd name="T10" fmla="*/ 21 w 372"/>
              <a:gd name="T11" fmla="*/ 195 h 217"/>
              <a:gd name="T12" fmla="*/ 73 w 372"/>
              <a:gd name="T13" fmla="*/ 217 h 217"/>
              <a:gd name="T14" fmla="*/ 115 w 372"/>
              <a:gd name="T15" fmla="*/ 217 h 217"/>
              <a:gd name="T16" fmla="*/ 114 w 372"/>
              <a:gd name="T17" fmla="*/ 217 h 217"/>
              <a:gd name="T18" fmla="*/ 306 w 372"/>
              <a:gd name="T19" fmla="*/ 217 h 217"/>
              <a:gd name="T20" fmla="*/ 372 w 372"/>
              <a:gd name="T21" fmla="*/ 150 h 217"/>
              <a:gd name="T22" fmla="*/ 310 w 372"/>
              <a:gd name="T23" fmla="*/ 8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2" h="217">
                <a:moveTo>
                  <a:pt x="310" y="84"/>
                </a:moveTo>
                <a:cubicBezTo>
                  <a:pt x="299" y="36"/>
                  <a:pt x="256" y="0"/>
                  <a:pt x="205" y="0"/>
                </a:cubicBezTo>
                <a:cubicBezTo>
                  <a:pt x="157" y="0"/>
                  <a:pt x="116" y="32"/>
                  <a:pt x="102" y="76"/>
                </a:cubicBezTo>
                <a:cubicBezTo>
                  <a:pt x="93" y="72"/>
                  <a:pt x="84" y="69"/>
                  <a:pt x="73" y="69"/>
                </a:cubicBezTo>
                <a:cubicBezTo>
                  <a:pt x="33" y="69"/>
                  <a:pt x="0" y="102"/>
                  <a:pt x="0" y="143"/>
                </a:cubicBezTo>
                <a:cubicBezTo>
                  <a:pt x="0" y="163"/>
                  <a:pt x="8" y="182"/>
                  <a:pt x="21" y="195"/>
                </a:cubicBezTo>
                <a:cubicBezTo>
                  <a:pt x="34" y="208"/>
                  <a:pt x="53" y="217"/>
                  <a:pt x="73" y="217"/>
                </a:cubicBezTo>
                <a:cubicBezTo>
                  <a:pt x="79" y="217"/>
                  <a:pt x="95" y="217"/>
                  <a:pt x="115" y="217"/>
                </a:cubicBezTo>
                <a:cubicBezTo>
                  <a:pt x="115" y="217"/>
                  <a:pt x="114" y="217"/>
                  <a:pt x="114" y="217"/>
                </a:cubicBezTo>
                <a:cubicBezTo>
                  <a:pt x="306" y="217"/>
                  <a:pt x="306" y="217"/>
                  <a:pt x="306" y="217"/>
                </a:cubicBezTo>
                <a:cubicBezTo>
                  <a:pt x="342" y="217"/>
                  <a:pt x="372" y="187"/>
                  <a:pt x="372" y="150"/>
                </a:cubicBezTo>
                <a:cubicBezTo>
                  <a:pt x="372" y="115"/>
                  <a:pt x="345" y="86"/>
                  <a:pt x="310" y="84"/>
                </a:cubicBezTo>
                <a:close/>
              </a:path>
            </a:pathLst>
          </a:custGeom>
          <a:noFill/>
          <a:ln w="30163" cap="flat">
            <a:solidFill>
              <a:srgbClr val="E4E5E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Freeform 76">
            <a:extLst>
              <a:ext uri="{FF2B5EF4-FFF2-40B4-BE49-F238E27FC236}">
                <a16:creationId xmlns:a16="http://schemas.microsoft.com/office/drawing/2014/main" id="{ADB7D55C-2842-3B40-AE55-7B952F513012}"/>
              </a:ext>
            </a:extLst>
          </p:cNvPr>
          <p:cNvSpPr>
            <a:spLocks/>
          </p:cNvSpPr>
          <p:nvPr/>
        </p:nvSpPr>
        <p:spPr bwMode="auto">
          <a:xfrm>
            <a:off x="7352125" y="2706308"/>
            <a:ext cx="960438" cy="560388"/>
          </a:xfrm>
          <a:custGeom>
            <a:avLst/>
            <a:gdLst>
              <a:gd name="T0" fmla="*/ 310 w 372"/>
              <a:gd name="T1" fmla="*/ 84 h 217"/>
              <a:gd name="T2" fmla="*/ 205 w 372"/>
              <a:gd name="T3" fmla="*/ 0 h 217"/>
              <a:gd name="T4" fmla="*/ 102 w 372"/>
              <a:gd name="T5" fmla="*/ 76 h 217"/>
              <a:gd name="T6" fmla="*/ 73 w 372"/>
              <a:gd name="T7" fmla="*/ 69 h 217"/>
              <a:gd name="T8" fmla="*/ 0 w 372"/>
              <a:gd name="T9" fmla="*/ 143 h 217"/>
              <a:gd name="T10" fmla="*/ 21 w 372"/>
              <a:gd name="T11" fmla="*/ 195 h 217"/>
              <a:gd name="T12" fmla="*/ 73 w 372"/>
              <a:gd name="T13" fmla="*/ 217 h 217"/>
              <a:gd name="T14" fmla="*/ 115 w 372"/>
              <a:gd name="T15" fmla="*/ 217 h 217"/>
              <a:gd name="T16" fmla="*/ 114 w 372"/>
              <a:gd name="T17" fmla="*/ 217 h 217"/>
              <a:gd name="T18" fmla="*/ 306 w 372"/>
              <a:gd name="T19" fmla="*/ 217 h 217"/>
              <a:gd name="T20" fmla="*/ 372 w 372"/>
              <a:gd name="T21" fmla="*/ 150 h 217"/>
              <a:gd name="T22" fmla="*/ 310 w 372"/>
              <a:gd name="T23" fmla="*/ 8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2" h="217">
                <a:moveTo>
                  <a:pt x="310" y="84"/>
                </a:moveTo>
                <a:cubicBezTo>
                  <a:pt x="299" y="36"/>
                  <a:pt x="256" y="0"/>
                  <a:pt x="205" y="0"/>
                </a:cubicBezTo>
                <a:cubicBezTo>
                  <a:pt x="157" y="0"/>
                  <a:pt x="116" y="32"/>
                  <a:pt x="102" y="76"/>
                </a:cubicBezTo>
                <a:cubicBezTo>
                  <a:pt x="93" y="72"/>
                  <a:pt x="84" y="69"/>
                  <a:pt x="73" y="69"/>
                </a:cubicBezTo>
                <a:cubicBezTo>
                  <a:pt x="33" y="69"/>
                  <a:pt x="0" y="102"/>
                  <a:pt x="0" y="143"/>
                </a:cubicBezTo>
                <a:cubicBezTo>
                  <a:pt x="0" y="163"/>
                  <a:pt x="8" y="182"/>
                  <a:pt x="21" y="195"/>
                </a:cubicBezTo>
                <a:cubicBezTo>
                  <a:pt x="34" y="208"/>
                  <a:pt x="53" y="217"/>
                  <a:pt x="73" y="217"/>
                </a:cubicBezTo>
                <a:cubicBezTo>
                  <a:pt x="79" y="217"/>
                  <a:pt x="95" y="217"/>
                  <a:pt x="115" y="217"/>
                </a:cubicBezTo>
                <a:cubicBezTo>
                  <a:pt x="115" y="217"/>
                  <a:pt x="114" y="217"/>
                  <a:pt x="114" y="217"/>
                </a:cubicBezTo>
                <a:cubicBezTo>
                  <a:pt x="306" y="217"/>
                  <a:pt x="306" y="217"/>
                  <a:pt x="306" y="217"/>
                </a:cubicBezTo>
                <a:cubicBezTo>
                  <a:pt x="342" y="217"/>
                  <a:pt x="372" y="187"/>
                  <a:pt x="372" y="150"/>
                </a:cubicBezTo>
                <a:cubicBezTo>
                  <a:pt x="372" y="115"/>
                  <a:pt x="345" y="86"/>
                  <a:pt x="310" y="84"/>
                </a:cubicBezTo>
                <a:close/>
              </a:path>
            </a:pathLst>
          </a:custGeom>
          <a:noFill/>
          <a:ln w="30163" cap="flat">
            <a:solidFill>
              <a:srgbClr val="E4E5E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1615693235"/>
      </p:ext>
    </p:extLst>
  </p:cSld>
  <p:clrMapOvr>
    <a:masterClrMapping/>
  </p:clrMapOvr>
  <p:transition>
    <p:fade/>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Freeform 5"/>
          <p:cNvSpPr>
            <a:spLocks noEditPoints="1"/>
          </p:cNvSpPr>
          <p:nvPr/>
        </p:nvSpPr>
        <p:spPr bwMode="auto">
          <a:xfrm>
            <a:off x="3177696" y="62725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4" name="Freeform 6"/>
          <p:cNvSpPr>
            <a:spLocks noEditPoints="1"/>
          </p:cNvSpPr>
          <p:nvPr/>
        </p:nvSpPr>
        <p:spPr bwMode="auto">
          <a:xfrm>
            <a:off x="3175671" y="6269500"/>
            <a:ext cx="54661" cy="55674"/>
          </a:xfrm>
          <a:custGeom>
            <a:avLst/>
            <a:gdLst>
              <a:gd name="T0" fmla="*/ 2 w 54"/>
              <a:gd name="T1" fmla="*/ 3 h 55"/>
              <a:gd name="T2" fmla="*/ 2 w 54"/>
              <a:gd name="T3" fmla="*/ 5 h 55"/>
              <a:gd name="T4" fmla="*/ 49 w 54"/>
              <a:gd name="T5" fmla="*/ 5 h 55"/>
              <a:gd name="T6" fmla="*/ 49 w 54"/>
              <a:gd name="T7" fmla="*/ 50 h 55"/>
              <a:gd name="T8" fmla="*/ 4 w 54"/>
              <a:gd name="T9" fmla="*/ 50 h 55"/>
              <a:gd name="T10" fmla="*/ 4 w 54"/>
              <a:gd name="T11" fmla="*/ 3 h 55"/>
              <a:gd name="T12" fmla="*/ 2 w 54"/>
              <a:gd name="T13" fmla="*/ 3 h 55"/>
              <a:gd name="T14" fmla="*/ 2 w 54"/>
              <a:gd name="T15" fmla="*/ 5 h 55"/>
              <a:gd name="T16" fmla="*/ 2 w 54"/>
              <a:gd name="T17" fmla="*/ 3 h 55"/>
              <a:gd name="T18" fmla="*/ 0 w 54"/>
              <a:gd name="T19" fmla="*/ 3 h 55"/>
              <a:gd name="T20" fmla="*/ 0 w 54"/>
              <a:gd name="T21" fmla="*/ 55 h 55"/>
              <a:gd name="T22" fmla="*/ 54 w 54"/>
              <a:gd name="T23" fmla="*/ 55 h 55"/>
              <a:gd name="T24" fmla="*/ 54 w 54"/>
              <a:gd name="T25" fmla="*/ 0 h 55"/>
              <a:gd name="T26" fmla="*/ 0 w 54"/>
              <a:gd name="T27" fmla="*/ 0 h 55"/>
              <a:gd name="T28" fmla="*/ 0 w 54"/>
              <a:gd name="T29" fmla="*/ 3 h 55"/>
              <a:gd name="T30" fmla="*/ 2 w 54"/>
              <a:gd name="T31" fmla="*/ 3 h 55"/>
              <a:gd name="T32" fmla="*/ 40 w 54"/>
              <a:gd name="T33" fmla="*/ 14 h 55"/>
              <a:gd name="T34" fmla="*/ 40 w 54"/>
              <a:gd name="T35" fmla="*/ 12 h 55"/>
              <a:gd name="T36" fmla="*/ 11 w 54"/>
              <a:gd name="T37" fmla="*/ 12 h 55"/>
              <a:gd name="T38" fmla="*/ 11 w 54"/>
              <a:gd name="T39" fmla="*/ 43 h 55"/>
              <a:gd name="T40" fmla="*/ 42 w 54"/>
              <a:gd name="T41" fmla="*/ 43 h 55"/>
              <a:gd name="T42" fmla="*/ 42 w 54"/>
              <a:gd name="T43" fmla="*/ 12 h 55"/>
              <a:gd name="T44" fmla="*/ 40 w 54"/>
              <a:gd name="T45" fmla="*/ 12 h 55"/>
              <a:gd name="T46" fmla="*/ 40 w 54"/>
              <a:gd name="T47" fmla="*/ 14 h 55"/>
              <a:gd name="T48" fmla="*/ 38 w 54"/>
              <a:gd name="T49" fmla="*/ 14 h 55"/>
              <a:gd name="T50" fmla="*/ 38 w 54"/>
              <a:gd name="T51" fmla="*/ 38 h 55"/>
              <a:gd name="T52" fmla="*/ 16 w 54"/>
              <a:gd name="T53" fmla="*/ 38 h 55"/>
              <a:gd name="T54" fmla="*/ 16 w 54"/>
              <a:gd name="T55" fmla="*/ 17 h 55"/>
              <a:gd name="T56" fmla="*/ 40 w 54"/>
              <a:gd name="T57" fmla="*/ 17 h 55"/>
              <a:gd name="T58" fmla="*/ 40 w 54"/>
              <a:gd name="T59" fmla="*/ 14 h 55"/>
              <a:gd name="T60" fmla="*/ 38 w 54"/>
              <a:gd name="T61" fmla="*/ 14 h 55"/>
              <a:gd name="T62" fmla="*/ 40 w 54"/>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55">
                <a:moveTo>
                  <a:pt x="2" y="3"/>
                </a:moveTo>
                <a:lnTo>
                  <a:pt x="2" y="5"/>
                </a:lnTo>
                <a:lnTo>
                  <a:pt x="49" y="5"/>
                </a:lnTo>
                <a:lnTo>
                  <a:pt x="49" y="50"/>
                </a:lnTo>
                <a:lnTo>
                  <a:pt x="4" y="50"/>
                </a:lnTo>
                <a:lnTo>
                  <a:pt x="4" y="3"/>
                </a:lnTo>
                <a:lnTo>
                  <a:pt x="2" y="3"/>
                </a:lnTo>
                <a:lnTo>
                  <a:pt x="2" y="5"/>
                </a:lnTo>
                <a:lnTo>
                  <a:pt x="2" y="3"/>
                </a:lnTo>
                <a:lnTo>
                  <a:pt x="0" y="3"/>
                </a:lnTo>
                <a:lnTo>
                  <a:pt x="0" y="55"/>
                </a:lnTo>
                <a:lnTo>
                  <a:pt x="54" y="55"/>
                </a:lnTo>
                <a:lnTo>
                  <a:pt x="54" y="0"/>
                </a:lnTo>
                <a:lnTo>
                  <a:pt x="0" y="0"/>
                </a:lnTo>
                <a:lnTo>
                  <a:pt x="0" y="3"/>
                </a:lnTo>
                <a:lnTo>
                  <a:pt x="2" y="3"/>
                </a:lnTo>
                <a:close/>
                <a:moveTo>
                  <a:pt x="40" y="14"/>
                </a:moveTo>
                <a:lnTo>
                  <a:pt x="40" y="12"/>
                </a:lnTo>
                <a:lnTo>
                  <a:pt x="11" y="12"/>
                </a:lnTo>
                <a:lnTo>
                  <a:pt x="11" y="43"/>
                </a:lnTo>
                <a:lnTo>
                  <a:pt x="42" y="43"/>
                </a:lnTo>
                <a:lnTo>
                  <a:pt x="42" y="12"/>
                </a:lnTo>
                <a:lnTo>
                  <a:pt x="40" y="12"/>
                </a:lnTo>
                <a:lnTo>
                  <a:pt x="40" y="14"/>
                </a:lnTo>
                <a:lnTo>
                  <a:pt x="38" y="14"/>
                </a:lnTo>
                <a:lnTo>
                  <a:pt x="38" y="38"/>
                </a:lnTo>
                <a:lnTo>
                  <a:pt x="16" y="38"/>
                </a:lnTo>
                <a:lnTo>
                  <a:pt x="16" y="17"/>
                </a:lnTo>
                <a:lnTo>
                  <a:pt x="40" y="17"/>
                </a:lnTo>
                <a:lnTo>
                  <a:pt x="40" y="14"/>
                </a:lnTo>
                <a:lnTo>
                  <a:pt x="38" y="14"/>
                </a:lnTo>
                <a:lnTo>
                  <a:pt x="40"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7"/>
          <p:cNvSpPr>
            <a:spLocks noEditPoints="1"/>
          </p:cNvSpPr>
          <p:nvPr/>
        </p:nvSpPr>
        <p:spPr bwMode="auto">
          <a:xfrm>
            <a:off x="3105826" y="62725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8"/>
          <p:cNvSpPr>
            <a:spLocks noEditPoints="1"/>
          </p:cNvSpPr>
          <p:nvPr/>
        </p:nvSpPr>
        <p:spPr bwMode="auto">
          <a:xfrm>
            <a:off x="3102790" y="6269500"/>
            <a:ext cx="55674" cy="55674"/>
          </a:xfrm>
          <a:custGeom>
            <a:avLst/>
            <a:gdLst>
              <a:gd name="T0" fmla="*/ 3 w 55"/>
              <a:gd name="T1" fmla="*/ 3 h 55"/>
              <a:gd name="T2" fmla="*/ 3 w 55"/>
              <a:gd name="T3" fmla="*/ 5 h 55"/>
              <a:gd name="T4" fmla="*/ 50 w 55"/>
              <a:gd name="T5" fmla="*/ 5 h 55"/>
              <a:gd name="T6" fmla="*/ 50 w 55"/>
              <a:gd name="T7" fmla="*/ 50 h 55"/>
              <a:gd name="T8" fmla="*/ 5 w 55"/>
              <a:gd name="T9" fmla="*/ 50 h 55"/>
              <a:gd name="T10" fmla="*/ 5 w 55"/>
              <a:gd name="T11" fmla="*/ 3 h 55"/>
              <a:gd name="T12" fmla="*/ 3 w 55"/>
              <a:gd name="T13" fmla="*/ 3 h 55"/>
              <a:gd name="T14" fmla="*/ 3 w 55"/>
              <a:gd name="T15" fmla="*/ 5 h 55"/>
              <a:gd name="T16" fmla="*/ 3 w 55"/>
              <a:gd name="T17" fmla="*/ 3 h 55"/>
              <a:gd name="T18" fmla="*/ 0 w 55"/>
              <a:gd name="T19" fmla="*/ 3 h 55"/>
              <a:gd name="T20" fmla="*/ 0 w 55"/>
              <a:gd name="T21" fmla="*/ 55 h 55"/>
              <a:gd name="T22" fmla="*/ 55 w 55"/>
              <a:gd name="T23" fmla="*/ 55 h 55"/>
              <a:gd name="T24" fmla="*/ 55 w 55"/>
              <a:gd name="T25" fmla="*/ 0 h 55"/>
              <a:gd name="T26" fmla="*/ 0 w 55"/>
              <a:gd name="T27" fmla="*/ 0 h 55"/>
              <a:gd name="T28" fmla="*/ 0 w 55"/>
              <a:gd name="T29" fmla="*/ 3 h 55"/>
              <a:gd name="T30" fmla="*/ 3 w 55"/>
              <a:gd name="T31" fmla="*/ 3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3"/>
                </a:moveTo>
                <a:lnTo>
                  <a:pt x="3" y="5"/>
                </a:lnTo>
                <a:lnTo>
                  <a:pt x="50" y="5"/>
                </a:lnTo>
                <a:lnTo>
                  <a:pt x="50" y="50"/>
                </a:lnTo>
                <a:lnTo>
                  <a:pt x="5" y="50"/>
                </a:lnTo>
                <a:lnTo>
                  <a:pt x="5" y="3"/>
                </a:lnTo>
                <a:lnTo>
                  <a:pt x="3" y="3"/>
                </a:lnTo>
                <a:lnTo>
                  <a:pt x="3" y="5"/>
                </a:lnTo>
                <a:lnTo>
                  <a:pt x="3" y="3"/>
                </a:lnTo>
                <a:lnTo>
                  <a:pt x="0" y="3"/>
                </a:lnTo>
                <a:lnTo>
                  <a:pt x="0" y="55"/>
                </a:lnTo>
                <a:lnTo>
                  <a:pt x="55" y="55"/>
                </a:lnTo>
                <a:lnTo>
                  <a:pt x="55" y="0"/>
                </a:lnTo>
                <a:lnTo>
                  <a:pt x="0" y="0"/>
                </a:lnTo>
                <a:lnTo>
                  <a:pt x="0" y="3"/>
                </a:lnTo>
                <a:lnTo>
                  <a:pt x="3" y="3"/>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Freeform 9"/>
          <p:cNvSpPr>
            <a:spLocks noEditPoints="1"/>
          </p:cNvSpPr>
          <p:nvPr/>
        </p:nvSpPr>
        <p:spPr bwMode="auto">
          <a:xfrm>
            <a:off x="9393898" y="6322137"/>
            <a:ext cx="50612" cy="50612"/>
          </a:xfrm>
          <a:custGeom>
            <a:avLst/>
            <a:gdLst>
              <a:gd name="T0" fmla="*/ 0 w 50"/>
              <a:gd name="T1" fmla="*/ 0 h 50"/>
              <a:gd name="T2" fmla="*/ 50 w 50"/>
              <a:gd name="T3" fmla="*/ 0 h 50"/>
              <a:gd name="T4" fmla="*/ 50 w 50"/>
              <a:gd name="T5" fmla="*/ 50 h 50"/>
              <a:gd name="T6" fmla="*/ 0 w 50"/>
              <a:gd name="T7" fmla="*/ 50 h 50"/>
              <a:gd name="T8" fmla="*/ 0 w 50"/>
              <a:gd name="T9" fmla="*/ 0 h 50"/>
              <a:gd name="T10" fmla="*/ 38 w 50"/>
              <a:gd name="T11" fmla="*/ 12 h 50"/>
              <a:gd name="T12" fmla="*/ 12 w 50"/>
              <a:gd name="T13" fmla="*/ 12 h 50"/>
              <a:gd name="T14" fmla="*/ 12 w 50"/>
              <a:gd name="T15" fmla="*/ 38 h 50"/>
              <a:gd name="T16" fmla="*/ 38 w 50"/>
              <a:gd name="T17" fmla="*/ 38 h 50"/>
              <a:gd name="T18" fmla="*/ 38 w 50"/>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0" y="0"/>
                </a:moveTo>
                <a:lnTo>
                  <a:pt x="50" y="0"/>
                </a:lnTo>
                <a:lnTo>
                  <a:pt x="50" y="50"/>
                </a:lnTo>
                <a:lnTo>
                  <a:pt x="0" y="50"/>
                </a:lnTo>
                <a:lnTo>
                  <a:pt x="0" y="0"/>
                </a:lnTo>
                <a:close/>
                <a:moveTo>
                  <a:pt x="38" y="12"/>
                </a:moveTo>
                <a:lnTo>
                  <a:pt x="12" y="12"/>
                </a:lnTo>
                <a:lnTo>
                  <a:pt x="12" y="38"/>
                </a:lnTo>
                <a:lnTo>
                  <a:pt x="38" y="38"/>
                </a:lnTo>
                <a:lnTo>
                  <a:pt x="38"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Freeform 10"/>
          <p:cNvSpPr>
            <a:spLocks noEditPoints="1"/>
          </p:cNvSpPr>
          <p:nvPr/>
        </p:nvSpPr>
        <p:spPr bwMode="auto">
          <a:xfrm>
            <a:off x="9390862" y="6320112"/>
            <a:ext cx="55674" cy="55674"/>
          </a:xfrm>
          <a:custGeom>
            <a:avLst/>
            <a:gdLst>
              <a:gd name="T0" fmla="*/ 3 w 55"/>
              <a:gd name="T1" fmla="*/ 2 h 55"/>
              <a:gd name="T2" fmla="*/ 3 w 55"/>
              <a:gd name="T3" fmla="*/ 5 h 55"/>
              <a:gd name="T4" fmla="*/ 50 w 55"/>
              <a:gd name="T5" fmla="*/ 5 h 55"/>
              <a:gd name="T6" fmla="*/ 50 w 55"/>
              <a:gd name="T7" fmla="*/ 50 h 55"/>
              <a:gd name="T8" fmla="*/ 5 w 55"/>
              <a:gd name="T9" fmla="*/ 50 h 55"/>
              <a:gd name="T10" fmla="*/ 5 w 55"/>
              <a:gd name="T11" fmla="*/ 2 h 55"/>
              <a:gd name="T12" fmla="*/ 3 w 55"/>
              <a:gd name="T13" fmla="*/ 2 h 55"/>
              <a:gd name="T14" fmla="*/ 3 w 55"/>
              <a:gd name="T15" fmla="*/ 5 h 55"/>
              <a:gd name="T16" fmla="*/ 3 w 55"/>
              <a:gd name="T17" fmla="*/ 2 h 55"/>
              <a:gd name="T18" fmla="*/ 0 w 55"/>
              <a:gd name="T19" fmla="*/ 2 h 55"/>
              <a:gd name="T20" fmla="*/ 0 w 55"/>
              <a:gd name="T21" fmla="*/ 55 h 55"/>
              <a:gd name="T22" fmla="*/ 55 w 55"/>
              <a:gd name="T23" fmla="*/ 55 h 55"/>
              <a:gd name="T24" fmla="*/ 55 w 55"/>
              <a:gd name="T25" fmla="*/ 0 h 55"/>
              <a:gd name="T26" fmla="*/ 0 w 55"/>
              <a:gd name="T27" fmla="*/ 0 h 55"/>
              <a:gd name="T28" fmla="*/ 0 w 55"/>
              <a:gd name="T29" fmla="*/ 2 h 55"/>
              <a:gd name="T30" fmla="*/ 3 w 55"/>
              <a:gd name="T31" fmla="*/ 2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2"/>
                </a:moveTo>
                <a:lnTo>
                  <a:pt x="3" y="5"/>
                </a:lnTo>
                <a:lnTo>
                  <a:pt x="50" y="5"/>
                </a:lnTo>
                <a:lnTo>
                  <a:pt x="50" y="50"/>
                </a:lnTo>
                <a:lnTo>
                  <a:pt x="5" y="50"/>
                </a:lnTo>
                <a:lnTo>
                  <a:pt x="5" y="2"/>
                </a:lnTo>
                <a:lnTo>
                  <a:pt x="3" y="2"/>
                </a:lnTo>
                <a:lnTo>
                  <a:pt x="3" y="5"/>
                </a:lnTo>
                <a:lnTo>
                  <a:pt x="3" y="2"/>
                </a:lnTo>
                <a:lnTo>
                  <a:pt x="0" y="2"/>
                </a:lnTo>
                <a:lnTo>
                  <a:pt x="0" y="55"/>
                </a:lnTo>
                <a:lnTo>
                  <a:pt x="55" y="55"/>
                </a:lnTo>
                <a:lnTo>
                  <a:pt x="55" y="0"/>
                </a:lnTo>
                <a:lnTo>
                  <a:pt x="0" y="0"/>
                </a:lnTo>
                <a:lnTo>
                  <a:pt x="0" y="2"/>
                </a:lnTo>
                <a:lnTo>
                  <a:pt x="3" y="2"/>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Freeform 11"/>
          <p:cNvSpPr>
            <a:spLocks noEditPoints="1"/>
          </p:cNvSpPr>
          <p:nvPr/>
        </p:nvSpPr>
        <p:spPr bwMode="auto">
          <a:xfrm>
            <a:off x="9322029" y="6322137"/>
            <a:ext cx="52637" cy="50612"/>
          </a:xfrm>
          <a:custGeom>
            <a:avLst/>
            <a:gdLst>
              <a:gd name="T0" fmla="*/ 0 w 52"/>
              <a:gd name="T1" fmla="*/ 0 h 50"/>
              <a:gd name="T2" fmla="*/ 52 w 52"/>
              <a:gd name="T3" fmla="*/ 0 h 50"/>
              <a:gd name="T4" fmla="*/ 52 w 52"/>
              <a:gd name="T5" fmla="*/ 50 h 50"/>
              <a:gd name="T6" fmla="*/ 0 w 52"/>
              <a:gd name="T7" fmla="*/ 50 h 50"/>
              <a:gd name="T8" fmla="*/ 0 w 52"/>
              <a:gd name="T9" fmla="*/ 0 h 50"/>
              <a:gd name="T10" fmla="*/ 38 w 52"/>
              <a:gd name="T11" fmla="*/ 12 h 50"/>
              <a:gd name="T12" fmla="*/ 14 w 52"/>
              <a:gd name="T13" fmla="*/ 12 h 50"/>
              <a:gd name="T14" fmla="*/ 14 w 52"/>
              <a:gd name="T15" fmla="*/ 38 h 50"/>
              <a:gd name="T16" fmla="*/ 38 w 52"/>
              <a:gd name="T17" fmla="*/ 38 h 50"/>
              <a:gd name="T18" fmla="*/ 38 w 52"/>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0">
                <a:moveTo>
                  <a:pt x="0" y="0"/>
                </a:moveTo>
                <a:lnTo>
                  <a:pt x="52" y="0"/>
                </a:lnTo>
                <a:lnTo>
                  <a:pt x="52" y="50"/>
                </a:lnTo>
                <a:lnTo>
                  <a:pt x="0" y="50"/>
                </a:lnTo>
                <a:lnTo>
                  <a:pt x="0" y="0"/>
                </a:lnTo>
                <a:close/>
                <a:moveTo>
                  <a:pt x="38" y="12"/>
                </a:moveTo>
                <a:lnTo>
                  <a:pt x="14" y="12"/>
                </a:lnTo>
                <a:lnTo>
                  <a:pt x="14" y="38"/>
                </a:lnTo>
                <a:lnTo>
                  <a:pt x="38" y="38"/>
                </a:lnTo>
                <a:lnTo>
                  <a:pt x="38"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Freeform 12"/>
          <p:cNvSpPr>
            <a:spLocks noEditPoints="1"/>
          </p:cNvSpPr>
          <p:nvPr/>
        </p:nvSpPr>
        <p:spPr bwMode="auto">
          <a:xfrm>
            <a:off x="9318992" y="6320112"/>
            <a:ext cx="57698" cy="55674"/>
          </a:xfrm>
          <a:custGeom>
            <a:avLst/>
            <a:gdLst>
              <a:gd name="T0" fmla="*/ 3 w 57"/>
              <a:gd name="T1" fmla="*/ 2 h 55"/>
              <a:gd name="T2" fmla="*/ 3 w 57"/>
              <a:gd name="T3" fmla="*/ 5 h 55"/>
              <a:gd name="T4" fmla="*/ 52 w 57"/>
              <a:gd name="T5" fmla="*/ 5 h 55"/>
              <a:gd name="T6" fmla="*/ 52 w 57"/>
              <a:gd name="T7" fmla="*/ 50 h 55"/>
              <a:gd name="T8" fmla="*/ 5 w 57"/>
              <a:gd name="T9" fmla="*/ 50 h 55"/>
              <a:gd name="T10" fmla="*/ 5 w 57"/>
              <a:gd name="T11" fmla="*/ 2 h 55"/>
              <a:gd name="T12" fmla="*/ 3 w 57"/>
              <a:gd name="T13" fmla="*/ 2 h 55"/>
              <a:gd name="T14" fmla="*/ 3 w 57"/>
              <a:gd name="T15" fmla="*/ 5 h 55"/>
              <a:gd name="T16" fmla="*/ 3 w 57"/>
              <a:gd name="T17" fmla="*/ 2 h 55"/>
              <a:gd name="T18" fmla="*/ 0 w 57"/>
              <a:gd name="T19" fmla="*/ 2 h 55"/>
              <a:gd name="T20" fmla="*/ 0 w 57"/>
              <a:gd name="T21" fmla="*/ 55 h 55"/>
              <a:gd name="T22" fmla="*/ 57 w 57"/>
              <a:gd name="T23" fmla="*/ 55 h 55"/>
              <a:gd name="T24" fmla="*/ 57 w 57"/>
              <a:gd name="T25" fmla="*/ 0 h 55"/>
              <a:gd name="T26" fmla="*/ 0 w 57"/>
              <a:gd name="T27" fmla="*/ 0 h 55"/>
              <a:gd name="T28" fmla="*/ 0 w 57"/>
              <a:gd name="T29" fmla="*/ 2 h 55"/>
              <a:gd name="T30" fmla="*/ 3 w 57"/>
              <a:gd name="T31" fmla="*/ 2 h 55"/>
              <a:gd name="T32" fmla="*/ 41 w 57"/>
              <a:gd name="T33" fmla="*/ 14 h 55"/>
              <a:gd name="T34" fmla="*/ 41 w 57"/>
              <a:gd name="T35" fmla="*/ 12 h 55"/>
              <a:gd name="T36" fmla="*/ 14 w 57"/>
              <a:gd name="T37" fmla="*/ 12 h 55"/>
              <a:gd name="T38" fmla="*/ 14 w 57"/>
              <a:gd name="T39" fmla="*/ 43 h 55"/>
              <a:gd name="T40" fmla="*/ 43 w 57"/>
              <a:gd name="T41" fmla="*/ 43 h 55"/>
              <a:gd name="T42" fmla="*/ 43 w 57"/>
              <a:gd name="T43" fmla="*/ 12 h 55"/>
              <a:gd name="T44" fmla="*/ 41 w 57"/>
              <a:gd name="T45" fmla="*/ 12 h 55"/>
              <a:gd name="T46" fmla="*/ 41 w 57"/>
              <a:gd name="T47" fmla="*/ 14 h 55"/>
              <a:gd name="T48" fmla="*/ 38 w 57"/>
              <a:gd name="T49" fmla="*/ 14 h 55"/>
              <a:gd name="T50" fmla="*/ 38 w 57"/>
              <a:gd name="T51" fmla="*/ 38 h 55"/>
              <a:gd name="T52" fmla="*/ 19 w 57"/>
              <a:gd name="T53" fmla="*/ 38 h 55"/>
              <a:gd name="T54" fmla="*/ 19 w 57"/>
              <a:gd name="T55" fmla="*/ 17 h 55"/>
              <a:gd name="T56" fmla="*/ 41 w 57"/>
              <a:gd name="T57" fmla="*/ 17 h 55"/>
              <a:gd name="T58" fmla="*/ 41 w 57"/>
              <a:gd name="T59" fmla="*/ 14 h 55"/>
              <a:gd name="T60" fmla="*/ 38 w 57"/>
              <a:gd name="T61" fmla="*/ 14 h 55"/>
              <a:gd name="T62" fmla="*/ 41 w 57"/>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55">
                <a:moveTo>
                  <a:pt x="3" y="2"/>
                </a:moveTo>
                <a:lnTo>
                  <a:pt x="3" y="5"/>
                </a:lnTo>
                <a:lnTo>
                  <a:pt x="52" y="5"/>
                </a:lnTo>
                <a:lnTo>
                  <a:pt x="52" y="50"/>
                </a:lnTo>
                <a:lnTo>
                  <a:pt x="5" y="50"/>
                </a:lnTo>
                <a:lnTo>
                  <a:pt x="5" y="2"/>
                </a:lnTo>
                <a:lnTo>
                  <a:pt x="3" y="2"/>
                </a:lnTo>
                <a:lnTo>
                  <a:pt x="3" y="5"/>
                </a:lnTo>
                <a:lnTo>
                  <a:pt x="3" y="2"/>
                </a:lnTo>
                <a:lnTo>
                  <a:pt x="0" y="2"/>
                </a:lnTo>
                <a:lnTo>
                  <a:pt x="0" y="55"/>
                </a:lnTo>
                <a:lnTo>
                  <a:pt x="57" y="55"/>
                </a:lnTo>
                <a:lnTo>
                  <a:pt x="57" y="0"/>
                </a:lnTo>
                <a:lnTo>
                  <a:pt x="0" y="0"/>
                </a:lnTo>
                <a:lnTo>
                  <a:pt x="0" y="2"/>
                </a:lnTo>
                <a:lnTo>
                  <a:pt x="3" y="2"/>
                </a:lnTo>
                <a:close/>
                <a:moveTo>
                  <a:pt x="41" y="14"/>
                </a:moveTo>
                <a:lnTo>
                  <a:pt x="41" y="12"/>
                </a:lnTo>
                <a:lnTo>
                  <a:pt x="14" y="12"/>
                </a:lnTo>
                <a:lnTo>
                  <a:pt x="14" y="43"/>
                </a:lnTo>
                <a:lnTo>
                  <a:pt x="43" y="43"/>
                </a:lnTo>
                <a:lnTo>
                  <a:pt x="43" y="12"/>
                </a:lnTo>
                <a:lnTo>
                  <a:pt x="41" y="12"/>
                </a:lnTo>
                <a:lnTo>
                  <a:pt x="41" y="14"/>
                </a:lnTo>
                <a:lnTo>
                  <a:pt x="38" y="14"/>
                </a:lnTo>
                <a:lnTo>
                  <a:pt x="38" y="38"/>
                </a:lnTo>
                <a:lnTo>
                  <a:pt x="19" y="38"/>
                </a:lnTo>
                <a:lnTo>
                  <a:pt x="19"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Freeform 13"/>
          <p:cNvSpPr>
            <a:spLocks noEditPoints="1"/>
          </p:cNvSpPr>
          <p:nvPr/>
        </p:nvSpPr>
        <p:spPr bwMode="auto">
          <a:xfrm>
            <a:off x="3293092" y="5716814"/>
            <a:ext cx="112359" cy="111347"/>
          </a:xfrm>
          <a:custGeom>
            <a:avLst/>
            <a:gdLst>
              <a:gd name="T0" fmla="*/ 0 w 47"/>
              <a:gd name="T1" fmla="*/ 23 h 46"/>
              <a:gd name="T2" fmla="*/ 23 w 47"/>
              <a:gd name="T3" fmla="*/ 0 h 46"/>
              <a:gd name="T4" fmla="*/ 47 w 47"/>
              <a:gd name="T5" fmla="*/ 23 h 46"/>
              <a:gd name="T6" fmla="*/ 23 w 47"/>
              <a:gd name="T7" fmla="*/ 46 h 46"/>
              <a:gd name="T8" fmla="*/ 0 w 47"/>
              <a:gd name="T9" fmla="*/ 23 h 46"/>
              <a:gd name="T10" fmla="*/ 5 w 47"/>
              <a:gd name="T11" fmla="*/ 23 h 46"/>
              <a:gd name="T12" fmla="*/ 23 w 47"/>
              <a:gd name="T13" fmla="*/ 42 h 46"/>
              <a:gd name="T14" fmla="*/ 42 w 47"/>
              <a:gd name="T15" fmla="*/ 23 h 46"/>
              <a:gd name="T16" fmla="*/ 23 w 47"/>
              <a:gd name="T17" fmla="*/ 5 h 46"/>
              <a:gd name="T18" fmla="*/ 5 w 47"/>
              <a:gd name="T1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6">
                <a:moveTo>
                  <a:pt x="0" y="23"/>
                </a:moveTo>
                <a:cubicBezTo>
                  <a:pt x="0" y="10"/>
                  <a:pt x="11" y="0"/>
                  <a:pt x="23" y="0"/>
                </a:cubicBezTo>
                <a:cubicBezTo>
                  <a:pt x="36" y="0"/>
                  <a:pt x="47" y="10"/>
                  <a:pt x="47" y="23"/>
                </a:cubicBezTo>
                <a:cubicBezTo>
                  <a:pt x="47" y="36"/>
                  <a:pt x="36" y="46"/>
                  <a:pt x="23" y="46"/>
                </a:cubicBezTo>
                <a:cubicBezTo>
                  <a:pt x="11" y="46"/>
                  <a:pt x="0" y="36"/>
                  <a:pt x="0" y="23"/>
                </a:cubicBezTo>
                <a:close/>
                <a:moveTo>
                  <a:pt x="5" y="23"/>
                </a:moveTo>
                <a:cubicBezTo>
                  <a:pt x="5" y="33"/>
                  <a:pt x="13" y="42"/>
                  <a:pt x="23" y="42"/>
                </a:cubicBezTo>
                <a:cubicBezTo>
                  <a:pt x="34" y="42"/>
                  <a:pt x="42" y="33"/>
                  <a:pt x="42" y="23"/>
                </a:cubicBezTo>
                <a:cubicBezTo>
                  <a:pt x="42" y="13"/>
                  <a:pt x="34" y="5"/>
                  <a:pt x="23" y="5"/>
                </a:cubicBezTo>
                <a:cubicBezTo>
                  <a:pt x="13" y="5"/>
                  <a:pt x="5" y="13"/>
                  <a:pt x="5" y="2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Freeform 14"/>
          <p:cNvSpPr>
            <a:spLocks noEditPoints="1"/>
          </p:cNvSpPr>
          <p:nvPr/>
        </p:nvSpPr>
        <p:spPr bwMode="auto">
          <a:xfrm>
            <a:off x="3290055" y="5712765"/>
            <a:ext cx="118433" cy="119445"/>
          </a:xfrm>
          <a:custGeom>
            <a:avLst/>
            <a:gdLst>
              <a:gd name="T0" fmla="*/ 1 w 49"/>
              <a:gd name="T1" fmla="*/ 25 h 50"/>
              <a:gd name="T2" fmla="*/ 3 w 49"/>
              <a:gd name="T3" fmla="*/ 25 h 50"/>
              <a:gd name="T4" fmla="*/ 9 w 49"/>
              <a:gd name="T5" fmla="*/ 10 h 50"/>
              <a:gd name="T6" fmla="*/ 24 w 49"/>
              <a:gd name="T7" fmla="*/ 3 h 50"/>
              <a:gd name="T8" fmla="*/ 40 w 49"/>
              <a:gd name="T9" fmla="*/ 10 h 50"/>
              <a:gd name="T10" fmla="*/ 46 w 49"/>
              <a:gd name="T11" fmla="*/ 25 h 50"/>
              <a:gd name="T12" fmla="*/ 40 w 49"/>
              <a:gd name="T13" fmla="*/ 40 h 50"/>
              <a:gd name="T14" fmla="*/ 24 w 49"/>
              <a:gd name="T15" fmla="*/ 47 h 50"/>
              <a:gd name="T16" fmla="*/ 9 w 49"/>
              <a:gd name="T17" fmla="*/ 40 h 50"/>
              <a:gd name="T18" fmla="*/ 3 w 49"/>
              <a:gd name="T19" fmla="*/ 25 h 50"/>
              <a:gd name="T20" fmla="*/ 1 w 49"/>
              <a:gd name="T21" fmla="*/ 25 h 50"/>
              <a:gd name="T22" fmla="*/ 0 w 49"/>
              <a:gd name="T23" fmla="*/ 25 h 50"/>
              <a:gd name="T24" fmla="*/ 24 w 49"/>
              <a:gd name="T25" fmla="*/ 50 h 50"/>
              <a:gd name="T26" fmla="*/ 49 w 49"/>
              <a:gd name="T27" fmla="*/ 25 h 50"/>
              <a:gd name="T28" fmla="*/ 24 w 49"/>
              <a:gd name="T29" fmla="*/ 0 h 50"/>
              <a:gd name="T30" fmla="*/ 0 w 49"/>
              <a:gd name="T31" fmla="*/ 25 h 50"/>
              <a:gd name="T32" fmla="*/ 1 w 49"/>
              <a:gd name="T33" fmla="*/ 25 h 50"/>
              <a:gd name="T34" fmla="*/ 6 w 49"/>
              <a:gd name="T35" fmla="*/ 25 h 50"/>
              <a:gd name="T36" fmla="*/ 4 w 49"/>
              <a:gd name="T37" fmla="*/ 25 h 50"/>
              <a:gd name="T38" fmla="*/ 24 w 49"/>
              <a:gd name="T39" fmla="*/ 45 h 50"/>
              <a:gd name="T40" fmla="*/ 44 w 49"/>
              <a:gd name="T41" fmla="*/ 25 h 50"/>
              <a:gd name="T42" fmla="*/ 24 w 49"/>
              <a:gd name="T43" fmla="*/ 5 h 50"/>
              <a:gd name="T44" fmla="*/ 4 w 49"/>
              <a:gd name="T45" fmla="*/ 25 h 50"/>
              <a:gd name="T46" fmla="*/ 6 w 49"/>
              <a:gd name="T47" fmla="*/ 25 h 50"/>
              <a:gd name="T48" fmla="*/ 7 w 49"/>
              <a:gd name="T49" fmla="*/ 25 h 50"/>
              <a:gd name="T50" fmla="*/ 12 w 49"/>
              <a:gd name="T51" fmla="*/ 13 h 50"/>
              <a:gd name="T52" fmla="*/ 24 w 49"/>
              <a:gd name="T53" fmla="*/ 8 h 50"/>
              <a:gd name="T54" fmla="*/ 36 w 49"/>
              <a:gd name="T55" fmla="*/ 13 h 50"/>
              <a:gd name="T56" fmla="*/ 41 w 49"/>
              <a:gd name="T57" fmla="*/ 25 h 50"/>
              <a:gd name="T58" fmla="*/ 36 w 49"/>
              <a:gd name="T59" fmla="*/ 37 h 50"/>
              <a:gd name="T60" fmla="*/ 24 w 49"/>
              <a:gd name="T61" fmla="*/ 42 h 50"/>
              <a:gd name="T62" fmla="*/ 12 w 49"/>
              <a:gd name="T63" fmla="*/ 37 h 50"/>
              <a:gd name="T64" fmla="*/ 7 w 49"/>
              <a:gd name="T65" fmla="*/ 25 h 50"/>
              <a:gd name="T66" fmla="*/ 6 w 49"/>
              <a:gd name="T6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50">
                <a:moveTo>
                  <a:pt x="1" y="25"/>
                </a:moveTo>
                <a:cubicBezTo>
                  <a:pt x="3" y="25"/>
                  <a:pt x="3" y="25"/>
                  <a:pt x="3" y="25"/>
                </a:cubicBezTo>
                <a:cubicBezTo>
                  <a:pt x="3" y="19"/>
                  <a:pt x="5" y="14"/>
                  <a:pt x="9" y="10"/>
                </a:cubicBezTo>
                <a:cubicBezTo>
                  <a:pt x="13" y="6"/>
                  <a:pt x="18" y="3"/>
                  <a:pt x="24" y="3"/>
                </a:cubicBezTo>
                <a:cubicBezTo>
                  <a:pt x="30" y="3"/>
                  <a:pt x="36" y="6"/>
                  <a:pt x="40" y="10"/>
                </a:cubicBezTo>
                <a:cubicBezTo>
                  <a:pt x="44" y="14"/>
                  <a:pt x="46" y="19"/>
                  <a:pt x="46" y="25"/>
                </a:cubicBezTo>
                <a:cubicBezTo>
                  <a:pt x="46" y="31"/>
                  <a:pt x="44" y="37"/>
                  <a:pt x="40" y="40"/>
                </a:cubicBezTo>
                <a:cubicBezTo>
                  <a:pt x="36" y="44"/>
                  <a:pt x="30" y="47"/>
                  <a:pt x="24" y="47"/>
                </a:cubicBezTo>
                <a:cubicBezTo>
                  <a:pt x="18" y="47"/>
                  <a:pt x="13" y="44"/>
                  <a:pt x="9" y="40"/>
                </a:cubicBezTo>
                <a:cubicBezTo>
                  <a:pt x="5" y="37"/>
                  <a:pt x="3" y="31"/>
                  <a:pt x="3" y="25"/>
                </a:cubicBezTo>
                <a:cubicBezTo>
                  <a:pt x="1" y="25"/>
                  <a:pt x="1" y="25"/>
                  <a:pt x="1" y="25"/>
                </a:cubicBezTo>
                <a:cubicBezTo>
                  <a:pt x="0" y="25"/>
                  <a:pt x="0" y="25"/>
                  <a:pt x="0" y="25"/>
                </a:cubicBezTo>
                <a:cubicBezTo>
                  <a:pt x="0" y="39"/>
                  <a:pt x="11" y="50"/>
                  <a:pt x="24" y="50"/>
                </a:cubicBezTo>
                <a:cubicBezTo>
                  <a:pt x="38" y="50"/>
                  <a:pt x="49" y="39"/>
                  <a:pt x="49" y="25"/>
                </a:cubicBezTo>
                <a:cubicBezTo>
                  <a:pt x="49" y="12"/>
                  <a:pt x="38" y="0"/>
                  <a:pt x="24" y="0"/>
                </a:cubicBezTo>
                <a:cubicBezTo>
                  <a:pt x="11" y="0"/>
                  <a:pt x="0" y="12"/>
                  <a:pt x="0" y="25"/>
                </a:cubicBezTo>
                <a:lnTo>
                  <a:pt x="1" y="25"/>
                </a:lnTo>
                <a:close/>
                <a:moveTo>
                  <a:pt x="6" y="25"/>
                </a:moveTo>
                <a:cubicBezTo>
                  <a:pt x="4" y="25"/>
                  <a:pt x="4" y="25"/>
                  <a:pt x="4" y="25"/>
                </a:cubicBezTo>
                <a:cubicBezTo>
                  <a:pt x="4" y="36"/>
                  <a:pt x="13" y="45"/>
                  <a:pt x="24" y="45"/>
                </a:cubicBezTo>
                <a:cubicBezTo>
                  <a:pt x="36" y="45"/>
                  <a:pt x="44" y="36"/>
                  <a:pt x="44" y="25"/>
                </a:cubicBezTo>
                <a:cubicBezTo>
                  <a:pt x="44" y="14"/>
                  <a:pt x="36" y="5"/>
                  <a:pt x="24" y="5"/>
                </a:cubicBezTo>
                <a:cubicBezTo>
                  <a:pt x="13" y="5"/>
                  <a:pt x="4" y="14"/>
                  <a:pt x="4" y="25"/>
                </a:cubicBezTo>
                <a:cubicBezTo>
                  <a:pt x="6" y="25"/>
                  <a:pt x="6" y="25"/>
                  <a:pt x="6" y="25"/>
                </a:cubicBezTo>
                <a:cubicBezTo>
                  <a:pt x="7" y="25"/>
                  <a:pt x="7" y="25"/>
                  <a:pt x="7" y="25"/>
                </a:cubicBezTo>
                <a:cubicBezTo>
                  <a:pt x="7" y="20"/>
                  <a:pt x="9" y="16"/>
                  <a:pt x="12" y="13"/>
                </a:cubicBezTo>
                <a:cubicBezTo>
                  <a:pt x="16" y="10"/>
                  <a:pt x="20" y="8"/>
                  <a:pt x="24" y="8"/>
                </a:cubicBezTo>
                <a:cubicBezTo>
                  <a:pt x="29" y="8"/>
                  <a:pt x="33" y="10"/>
                  <a:pt x="36" y="13"/>
                </a:cubicBezTo>
                <a:cubicBezTo>
                  <a:pt x="40" y="16"/>
                  <a:pt x="41" y="20"/>
                  <a:pt x="41" y="25"/>
                </a:cubicBezTo>
                <a:cubicBezTo>
                  <a:pt x="41" y="30"/>
                  <a:pt x="40" y="34"/>
                  <a:pt x="36" y="37"/>
                </a:cubicBezTo>
                <a:cubicBezTo>
                  <a:pt x="33" y="40"/>
                  <a:pt x="29" y="42"/>
                  <a:pt x="24" y="42"/>
                </a:cubicBezTo>
                <a:cubicBezTo>
                  <a:pt x="20" y="42"/>
                  <a:pt x="16" y="40"/>
                  <a:pt x="12" y="37"/>
                </a:cubicBezTo>
                <a:cubicBezTo>
                  <a:pt x="9" y="34"/>
                  <a:pt x="7" y="30"/>
                  <a:pt x="7" y="25"/>
                </a:cubicBezTo>
                <a:lnTo>
                  <a:pt x="6" y="2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5"/>
          <p:cNvSpPr>
            <a:spLocks noEditPoints="1"/>
          </p:cNvSpPr>
          <p:nvPr/>
        </p:nvSpPr>
        <p:spPr bwMode="auto">
          <a:xfrm>
            <a:off x="3324472" y="5746169"/>
            <a:ext cx="50612" cy="52637"/>
          </a:xfrm>
          <a:custGeom>
            <a:avLst/>
            <a:gdLst>
              <a:gd name="T0" fmla="*/ 0 w 21"/>
              <a:gd name="T1" fmla="*/ 11 h 22"/>
              <a:gd name="T2" fmla="*/ 10 w 21"/>
              <a:gd name="T3" fmla="*/ 0 h 22"/>
              <a:gd name="T4" fmla="*/ 21 w 21"/>
              <a:gd name="T5" fmla="*/ 11 h 22"/>
              <a:gd name="T6" fmla="*/ 10 w 21"/>
              <a:gd name="T7" fmla="*/ 22 h 22"/>
              <a:gd name="T8" fmla="*/ 0 w 21"/>
              <a:gd name="T9" fmla="*/ 11 h 22"/>
              <a:gd name="T10" fmla="*/ 4 w 21"/>
              <a:gd name="T11" fmla="*/ 11 h 22"/>
              <a:gd name="T12" fmla="*/ 10 w 21"/>
              <a:gd name="T13" fmla="*/ 17 h 22"/>
              <a:gd name="T14" fmla="*/ 17 w 21"/>
              <a:gd name="T15" fmla="*/ 11 h 22"/>
              <a:gd name="T16" fmla="*/ 10 w 21"/>
              <a:gd name="T17" fmla="*/ 5 h 22"/>
              <a:gd name="T18" fmla="*/ 4 w 21"/>
              <a:gd name="T1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2">
                <a:moveTo>
                  <a:pt x="0" y="11"/>
                </a:moveTo>
                <a:cubicBezTo>
                  <a:pt x="0" y="5"/>
                  <a:pt x="5" y="0"/>
                  <a:pt x="10" y="0"/>
                </a:cubicBezTo>
                <a:cubicBezTo>
                  <a:pt x="16" y="0"/>
                  <a:pt x="21" y="5"/>
                  <a:pt x="21" y="11"/>
                </a:cubicBezTo>
                <a:cubicBezTo>
                  <a:pt x="21" y="17"/>
                  <a:pt x="16" y="22"/>
                  <a:pt x="10" y="22"/>
                </a:cubicBezTo>
                <a:cubicBezTo>
                  <a:pt x="5" y="22"/>
                  <a:pt x="0" y="17"/>
                  <a:pt x="0" y="11"/>
                </a:cubicBezTo>
                <a:close/>
                <a:moveTo>
                  <a:pt x="4" y="11"/>
                </a:moveTo>
                <a:cubicBezTo>
                  <a:pt x="4" y="15"/>
                  <a:pt x="7" y="17"/>
                  <a:pt x="10" y="17"/>
                </a:cubicBezTo>
                <a:cubicBezTo>
                  <a:pt x="14" y="17"/>
                  <a:pt x="17" y="15"/>
                  <a:pt x="17" y="11"/>
                </a:cubicBezTo>
                <a:cubicBezTo>
                  <a:pt x="17" y="8"/>
                  <a:pt x="14" y="5"/>
                  <a:pt x="10" y="5"/>
                </a:cubicBezTo>
                <a:cubicBezTo>
                  <a:pt x="7" y="5"/>
                  <a:pt x="4" y="8"/>
                  <a:pt x="4" y="1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6"/>
          <p:cNvSpPr>
            <a:spLocks noEditPoints="1"/>
          </p:cNvSpPr>
          <p:nvPr/>
        </p:nvSpPr>
        <p:spPr bwMode="auto">
          <a:xfrm>
            <a:off x="3319410" y="5744145"/>
            <a:ext cx="59723" cy="56686"/>
          </a:xfrm>
          <a:custGeom>
            <a:avLst/>
            <a:gdLst>
              <a:gd name="T0" fmla="*/ 2 w 25"/>
              <a:gd name="T1" fmla="*/ 12 h 24"/>
              <a:gd name="T2" fmla="*/ 3 w 25"/>
              <a:gd name="T3" fmla="*/ 12 h 24"/>
              <a:gd name="T4" fmla="*/ 12 w 25"/>
              <a:gd name="T5" fmla="*/ 3 h 24"/>
              <a:gd name="T6" fmla="*/ 22 w 25"/>
              <a:gd name="T7" fmla="*/ 12 h 24"/>
              <a:gd name="T8" fmla="*/ 12 w 25"/>
              <a:gd name="T9" fmla="*/ 21 h 24"/>
              <a:gd name="T10" fmla="*/ 3 w 25"/>
              <a:gd name="T11" fmla="*/ 12 h 24"/>
              <a:gd name="T12" fmla="*/ 2 w 25"/>
              <a:gd name="T13" fmla="*/ 12 h 24"/>
              <a:gd name="T14" fmla="*/ 0 w 25"/>
              <a:gd name="T15" fmla="*/ 12 h 24"/>
              <a:gd name="T16" fmla="*/ 12 w 25"/>
              <a:gd name="T17" fmla="*/ 24 h 24"/>
              <a:gd name="T18" fmla="*/ 25 w 25"/>
              <a:gd name="T19" fmla="*/ 12 h 24"/>
              <a:gd name="T20" fmla="*/ 12 w 25"/>
              <a:gd name="T21" fmla="*/ 0 h 24"/>
              <a:gd name="T22" fmla="*/ 0 w 25"/>
              <a:gd name="T23" fmla="*/ 12 h 24"/>
              <a:gd name="T24" fmla="*/ 2 w 25"/>
              <a:gd name="T25" fmla="*/ 12 h 24"/>
              <a:gd name="T26" fmla="*/ 6 w 25"/>
              <a:gd name="T27" fmla="*/ 12 h 24"/>
              <a:gd name="T28" fmla="*/ 5 w 25"/>
              <a:gd name="T29" fmla="*/ 12 h 24"/>
              <a:gd name="T30" fmla="*/ 12 w 25"/>
              <a:gd name="T31" fmla="*/ 20 h 24"/>
              <a:gd name="T32" fmla="*/ 20 w 25"/>
              <a:gd name="T33" fmla="*/ 12 h 24"/>
              <a:gd name="T34" fmla="*/ 12 w 25"/>
              <a:gd name="T35" fmla="*/ 5 h 24"/>
              <a:gd name="T36" fmla="*/ 5 w 25"/>
              <a:gd name="T37" fmla="*/ 12 h 24"/>
              <a:gd name="T38" fmla="*/ 6 w 25"/>
              <a:gd name="T39" fmla="*/ 12 h 24"/>
              <a:gd name="T40" fmla="*/ 8 w 25"/>
              <a:gd name="T41" fmla="*/ 12 h 24"/>
              <a:gd name="T42" fmla="*/ 12 w 25"/>
              <a:gd name="T43" fmla="*/ 8 h 24"/>
              <a:gd name="T44" fmla="*/ 17 w 25"/>
              <a:gd name="T45" fmla="*/ 12 h 24"/>
              <a:gd name="T46" fmla="*/ 12 w 25"/>
              <a:gd name="T47" fmla="*/ 17 h 24"/>
              <a:gd name="T48" fmla="*/ 8 w 25"/>
              <a:gd name="T49" fmla="*/ 12 h 24"/>
              <a:gd name="T50" fmla="*/ 6 w 25"/>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24">
                <a:moveTo>
                  <a:pt x="2" y="12"/>
                </a:moveTo>
                <a:cubicBezTo>
                  <a:pt x="3" y="12"/>
                  <a:pt x="3" y="12"/>
                  <a:pt x="3" y="12"/>
                </a:cubicBezTo>
                <a:cubicBezTo>
                  <a:pt x="3" y="7"/>
                  <a:pt x="7" y="3"/>
                  <a:pt x="12" y="3"/>
                </a:cubicBezTo>
                <a:cubicBezTo>
                  <a:pt x="18" y="3"/>
                  <a:pt x="22" y="7"/>
                  <a:pt x="22" y="12"/>
                </a:cubicBezTo>
                <a:cubicBezTo>
                  <a:pt x="22" y="17"/>
                  <a:pt x="18" y="21"/>
                  <a:pt x="12" y="21"/>
                </a:cubicBezTo>
                <a:cubicBezTo>
                  <a:pt x="7" y="21"/>
                  <a:pt x="3" y="17"/>
                  <a:pt x="3" y="12"/>
                </a:cubicBezTo>
                <a:cubicBezTo>
                  <a:pt x="2" y="12"/>
                  <a:pt x="2" y="12"/>
                  <a:pt x="2" y="12"/>
                </a:cubicBezTo>
                <a:cubicBezTo>
                  <a:pt x="0" y="12"/>
                  <a:pt x="0" y="12"/>
                  <a:pt x="0" y="12"/>
                </a:cubicBezTo>
                <a:cubicBezTo>
                  <a:pt x="0" y="19"/>
                  <a:pt x="6" y="24"/>
                  <a:pt x="12" y="24"/>
                </a:cubicBezTo>
                <a:cubicBezTo>
                  <a:pt x="19" y="24"/>
                  <a:pt x="25" y="19"/>
                  <a:pt x="25" y="12"/>
                </a:cubicBezTo>
                <a:cubicBezTo>
                  <a:pt x="25" y="5"/>
                  <a:pt x="19" y="0"/>
                  <a:pt x="12" y="0"/>
                </a:cubicBezTo>
                <a:cubicBezTo>
                  <a:pt x="6" y="0"/>
                  <a:pt x="0" y="5"/>
                  <a:pt x="0" y="12"/>
                </a:cubicBezTo>
                <a:lnTo>
                  <a:pt x="2" y="12"/>
                </a:lnTo>
                <a:close/>
                <a:moveTo>
                  <a:pt x="6" y="12"/>
                </a:moveTo>
                <a:cubicBezTo>
                  <a:pt x="5" y="12"/>
                  <a:pt x="5" y="12"/>
                  <a:pt x="5" y="12"/>
                </a:cubicBezTo>
                <a:cubicBezTo>
                  <a:pt x="5" y="16"/>
                  <a:pt x="8" y="20"/>
                  <a:pt x="12" y="20"/>
                </a:cubicBezTo>
                <a:cubicBezTo>
                  <a:pt x="17" y="20"/>
                  <a:pt x="20" y="16"/>
                  <a:pt x="20" y="12"/>
                </a:cubicBezTo>
                <a:cubicBezTo>
                  <a:pt x="20" y="8"/>
                  <a:pt x="17" y="5"/>
                  <a:pt x="12" y="5"/>
                </a:cubicBezTo>
                <a:cubicBezTo>
                  <a:pt x="8" y="5"/>
                  <a:pt x="5" y="8"/>
                  <a:pt x="5" y="12"/>
                </a:cubicBezTo>
                <a:cubicBezTo>
                  <a:pt x="6" y="12"/>
                  <a:pt x="6" y="12"/>
                  <a:pt x="6" y="12"/>
                </a:cubicBezTo>
                <a:cubicBezTo>
                  <a:pt x="8" y="12"/>
                  <a:pt x="8" y="12"/>
                  <a:pt x="8" y="12"/>
                </a:cubicBezTo>
                <a:cubicBezTo>
                  <a:pt x="8" y="10"/>
                  <a:pt x="10" y="8"/>
                  <a:pt x="12" y="8"/>
                </a:cubicBezTo>
                <a:cubicBezTo>
                  <a:pt x="15" y="8"/>
                  <a:pt x="17" y="10"/>
                  <a:pt x="17" y="12"/>
                </a:cubicBezTo>
                <a:cubicBezTo>
                  <a:pt x="17" y="15"/>
                  <a:pt x="15" y="17"/>
                  <a:pt x="12" y="17"/>
                </a:cubicBezTo>
                <a:cubicBezTo>
                  <a:pt x="10" y="17"/>
                  <a:pt x="8" y="15"/>
                  <a:pt x="8" y="12"/>
                </a:cubicBezTo>
                <a:lnTo>
                  <a:pt x="6"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7"/>
          <p:cNvSpPr>
            <a:spLocks noEditPoints="1"/>
          </p:cNvSpPr>
          <p:nvPr/>
        </p:nvSpPr>
        <p:spPr bwMode="auto">
          <a:xfrm>
            <a:off x="3907525" y="5620651"/>
            <a:ext cx="69845" cy="69845"/>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6"/>
                  <a:pt x="7" y="0"/>
                  <a:pt x="15" y="0"/>
                </a:cubicBezTo>
                <a:cubicBezTo>
                  <a:pt x="23" y="0"/>
                  <a:pt x="29" y="6"/>
                  <a:pt x="29" y="14"/>
                </a:cubicBezTo>
                <a:cubicBezTo>
                  <a:pt x="29" y="22"/>
                  <a:pt x="23"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rgbClr val="5DB8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8"/>
          <p:cNvSpPr>
            <a:spLocks noEditPoints="1"/>
          </p:cNvSpPr>
          <p:nvPr/>
        </p:nvSpPr>
        <p:spPr bwMode="auto">
          <a:xfrm>
            <a:off x="3905501" y="5618626"/>
            <a:ext cx="76931" cy="74906"/>
          </a:xfrm>
          <a:custGeom>
            <a:avLst/>
            <a:gdLst>
              <a:gd name="T0" fmla="*/ 16 w 32"/>
              <a:gd name="T1" fmla="*/ 30 h 31"/>
              <a:gd name="T2" fmla="*/ 16 w 32"/>
              <a:gd name="T3" fmla="*/ 28 h 31"/>
              <a:gd name="T4" fmla="*/ 7 w 32"/>
              <a:gd name="T5" fmla="*/ 24 h 31"/>
              <a:gd name="T6" fmla="*/ 3 w 32"/>
              <a:gd name="T7" fmla="*/ 15 h 31"/>
              <a:gd name="T8" fmla="*/ 7 w 32"/>
              <a:gd name="T9" fmla="*/ 6 h 31"/>
              <a:gd name="T10" fmla="*/ 16 w 32"/>
              <a:gd name="T11" fmla="*/ 2 h 31"/>
              <a:gd name="T12" fmla="*/ 25 w 32"/>
              <a:gd name="T13" fmla="*/ 6 h 31"/>
              <a:gd name="T14" fmla="*/ 29 w 32"/>
              <a:gd name="T15" fmla="*/ 15 h 31"/>
              <a:gd name="T16" fmla="*/ 25 w 32"/>
              <a:gd name="T17" fmla="*/ 24 h 31"/>
              <a:gd name="T18" fmla="*/ 16 w 32"/>
              <a:gd name="T19" fmla="*/ 28 h 31"/>
              <a:gd name="T20" fmla="*/ 16 w 32"/>
              <a:gd name="T21" fmla="*/ 30 h 31"/>
              <a:gd name="T22" fmla="*/ 16 w 32"/>
              <a:gd name="T23" fmla="*/ 31 h 31"/>
              <a:gd name="T24" fmla="*/ 32 w 32"/>
              <a:gd name="T25" fmla="*/ 15 h 31"/>
              <a:gd name="T26" fmla="*/ 16 w 32"/>
              <a:gd name="T27" fmla="*/ 0 h 31"/>
              <a:gd name="T28" fmla="*/ 0 w 32"/>
              <a:gd name="T29" fmla="*/ 15 h 31"/>
              <a:gd name="T30" fmla="*/ 16 w 32"/>
              <a:gd name="T31" fmla="*/ 31 h 31"/>
              <a:gd name="T32" fmla="*/ 16 w 32"/>
              <a:gd name="T33" fmla="*/ 30 h 31"/>
              <a:gd name="T34" fmla="*/ 16 w 32"/>
              <a:gd name="T35" fmla="*/ 6 h 31"/>
              <a:gd name="T36" fmla="*/ 16 w 32"/>
              <a:gd name="T37" fmla="*/ 4 h 31"/>
              <a:gd name="T38" fmla="*/ 5 w 32"/>
              <a:gd name="T39" fmla="*/ 15 h 31"/>
              <a:gd name="T40" fmla="*/ 16 w 32"/>
              <a:gd name="T41" fmla="*/ 26 h 31"/>
              <a:gd name="T42" fmla="*/ 27 w 32"/>
              <a:gd name="T43" fmla="*/ 15 h 31"/>
              <a:gd name="T44" fmla="*/ 16 w 32"/>
              <a:gd name="T45" fmla="*/ 4 h 31"/>
              <a:gd name="T46" fmla="*/ 16 w 32"/>
              <a:gd name="T47" fmla="*/ 6 h 31"/>
              <a:gd name="T48" fmla="*/ 16 w 32"/>
              <a:gd name="T49" fmla="*/ 7 h 31"/>
              <a:gd name="T50" fmla="*/ 24 w 32"/>
              <a:gd name="T51" fmla="*/ 15 h 31"/>
              <a:gd name="T52" fmla="*/ 16 w 32"/>
              <a:gd name="T53" fmla="*/ 23 h 31"/>
              <a:gd name="T54" fmla="*/ 8 w 32"/>
              <a:gd name="T55" fmla="*/ 15 h 31"/>
              <a:gd name="T56" fmla="*/ 16 w 32"/>
              <a:gd name="T57" fmla="*/ 7 h 31"/>
              <a:gd name="T58" fmla="*/ 16 w 32"/>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16" y="30"/>
                </a:moveTo>
                <a:cubicBezTo>
                  <a:pt x="16" y="28"/>
                  <a:pt x="16" y="28"/>
                  <a:pt x="16" y="28"/>
                </a:cubicBezTo>
                <a:cubicBezTo>
                  <a:pt x="12" y="28"/>
                  <a:pt x="9" y="27"/>
                  <a:pt x="7" y="24"/>
                </a:cubicBezTo>
                <a:cubicBezTo>
                  <a:pt x="4" y="22"/>
                  <a:pt x="3" y="19"/>
                  <a:pt x="3" y="15"/>
                </a:cubicBezTo>
                <a:cubicBezTo>
                  <a:pt x="3" y="12"/>
                  <a:pt x="4" y="9"/>
                  <a:pt x="7" y="6"/>
                </a:cubicBezTo>
                <a:cubicBezTo>
                  <a:pt x="9" y="4"/>
                  <a:pt x="12" y="3"/>
                  <a:pt x="16" y="2"/>
                </a:cubicBezTo>
                <a:cubicBezTo>
                  <a:pt x="19" y="3"/>
                  <a:pt x="22" y="4"/>
                  <a:pt x="25" y="6"/>
                </a:cubicBezTo>
                <a:cubicBezTo>
                  <a:pt x="27" y="9"/>
                  <a:pt x="29" y="12"/>
                  <a:pt x="29" y="15"/>
                </a:cubicBezTo>
                <a:cubicBezTo>
                  <a:pt x="29" y="19"/>
                  <a:pt x="27" y="22"/>
                  <a:pt x="25" y="24"/>
                </a:cubicBezTo>
                <a:cubicBezTo>
                  <a:pt x="22" y="27"/>
                  <a:pt x="19" y="28"/>
                  <a:pt x="16" y="28"/>
                </a:cubicBezTo>
                <a:cubicBezTo>
                  <a:pt x="16" y="30"/>
                  <a:pt x="16" y="30"/>
                  <a:pt x="16" y="30"/>
                </a:cubicBezTo>
                <a:cubicBezTo>
                  <a:pt x="16" y="31"/>
                  <a:pt x="16" y="31"/>
                  <a:pt x="16" y="31"/>
                </a:cubicBezTo>
                <a:cubicBezTo>
                  <a:pt x="24" y="31"/>
                  <a:pt x="32" y="24"/>
                  <a:pt x="32" y="15"/>
                </a:cubicBezTo>
                <a:cubicBezTo>
                  <a:pt x="32" y="7"/>
                  <a:pt x="24" y="0"/>
                  <a:pt x="16" y="0"/>
                </a:cubicBezTo>
                <a:cubicBezTo>
                  <a:pt x="7" y="0"/>
                  <a:pt x="0" y="7"/>
                  <a:pt x="0" y="15"/>
                </a:cubicBezTo>
                <a:cubicBezTo>
                  <a:pt x="0" y="24"/>
                  <a:pt x="7" y="31"/>
                  <a:pt x="16" y="31"/>
                </a:cubicBezTo>
                <a:lnTo>
                  <a:pt x="16" y="30"/>
                </a:lnTo>
                <a:close/>
                <a:moveTo>
                  <a:pt x="16" y="6"/>
                </a:moveTo>
                <a:cubicBezTo>
                  <a:pt x="16" y="4"/>
                  <a:pt x="16" y="4"/>
                  <a:pt x="16" y="4"/>
                </a:cubicBezTo>
                <a:cubicBezTo>
                  <a:pt x="10" y="4"/>
                  <a:pt x="5" y="9"/>
                  <a:pt x="5" y="15"/>
                </a:cubicBezTo>
                <a:cubicBezTo>
                  <a:pt x="5" y="21"/>
                  <a:pt x="10" y="26"/>
                  <a:pt x="16" y="26"/>
                </a:cubicBezTo>
                <a:cubicBezTo>
                  <a:pt x="22" y="26"/>
                  <a:pt x="27" y="21"/>
                  <a:pt x="27" y="15"/>
                </a:cubicBezTo>
                <a:cubicBezTo>
                  <a:pt x="27" y="9"/>
                  <a:pt x="22" y="4"/>
                  <a:pt x="16" y="4"/>
                </a:cubicBezTo>
                <a:cubicBezTo>
                  <a:pt x="16" y="6"/>
                  <a:pt x="16" y="6"/>
                  <a:pt x="16" y="6"/>
                </a:cubicBezTo>
                <a:cubicBezTo>
                  <a:pt x="16" y="7"/>
                  <a:pt x="16" y="7"/>
                  <a:pt x="16" y="7"/>
                </a:cubicBezTo>
                <a:cubicBezTo>
                  <a:pt x="20" y="7"/>
                  <a:pt x="24" y="11"/>
                  <a:pt x="24" y="15"/>
                </a:cubicBezTo>
                <a:cubicBezTo>
                  <a:pt x="24" y="20"/>
                  <a:pt x="20" y="23"/>
                  <a:pt x="16" y="23"/>
                </a:cubicBezTo>
                <a:cubicBezTo>
                  <a:pt x="11" y="23"/>
                  <a:pt x="8" y="20"/>
                  <a:pt x="8" y="15"/>
                </a:cubicBezTo>
                <a:cubicBezTo>
                  <a:pt x="8" y="11"/>
                  <a:pt x="11" y="7"/>
                  <a:pt x="16" y="7"/>
                </a:cubicBezTo>
                <a:lnTo>
                  <a:pt x="16" y="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9"/>
          <p:cNvSpPr>
            <a:spLocks noEditPoints="1"/>
          </p:cNvSpPr>
          <p:nvPr/>
        </p:nvSpPr>
        <p:spPr bwMode="auto">
          <a:xfrm>
            <a:off x="2990430" y="6176374"/>
            <a:ext cx="66808" cy="69845"/>
          </a:xfrm>
          <a:custGeom>
            <a:avLst/>
            <a:gdLst>
              <a:gd name="T0" fmla="*/ 0 w 28"/>
              <a:gd name="T1" fmla="*/ 15 h 29"/>
              <a:gd name="T2" fmla="*/ 14 w 28"/>
              <a:gd name="T3" fmla="*/ 0 h 29"/>
              <a:gd name="T4" fmla="*/ 28 w 28"/>
              <a:gd name="T5" fmla="*/ 15 h 29"/>
              <a:gd name="T6" fmla="*/ 14 w 28"/>
              <a:gd name="T7" fmla="*/ 29 h 29"/>
              <a:gd name="T8" fmla="*/ 0 w 28"/>
              <a:gd name="T9" fmla="*/ 15 h 29"/>
              <a:gd name="T10" fmla="*/ 4 w 28"/>
              <a:gd name="T11" fmla="*/ 15 h 29"/>
              <a:gd name="T12" fmla="*/ 14 w 28"/>
              <a:gd name="T13" fmla="*/ 24 h 29"/>
              <a:gd name="T14" fmla="*/ 24 w 28"/>
              <a:gd name="T15" fmla="*/ 15 h 29"/>
              <a:gd name="T16" fmla="*/ 14 w 28"/>
              <a:gd name="T17" fmla="*/ 5 h 29"/>
              <a:gd name="T18" fmla="*/ 4 w 28"/>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9">
                <a:moveTo>
                  <a:pt x="0" y="15"/>
                </a:moveTo>
                <a:cubicBezTo>
                  <a:pt x="0" y="7"/>
                  <a:pt x="6" y="0"/>
                  <a:pt x="14" y="0"/>
                </a:cubicBezTo>
                <a:cubicBezTo>
                  <a:pt x="22" y="0"/>
                  <a:pt x="28" y="7"/>
                  <a:pt x="28" y="15"/>
                </a:cubicBezTo>
                <a:cubicBezTo>
                  <a:pt x="28" y="22"/>
                  <a:pt x="22" y="29"/>
                  <a:pt x="14" y="29"/>
                </a:cubicBezTo>
                <a:cubicBezTo>
                  <a:pt x="6" y="29"/>
                  <a:pt x="0" y="22"/>
                  <a:pt x="0" y="15"/>
                </a:cubicBezTo>
                <a:close/>
                <a:moveTo>
                  <a:pt x="4" y="15"/>
                </a:moveTo>
                <a:cubicBezTo>
                  <a:pt x="4" y="20"/>
                  <a:pt x="9" y="24"/>
                  <a:pt x="14" y="24"/>
                </a:cubicBezTo>
                <a:cubicBezTo>
                  <a:pt x="19" y="24"/>
                  <a:pt x="24" y="20"/>
                  <a:pt x="24" y="15"/>
                </a:cubicBezTo>
                <a:cubicBezTo>
                  <a:pt x="24" y="9"/>
                  <a:pt x="19" y="5"/>
                  <a:pt x="14" y="5"/>
                </a:cubicBezTo>
                <a:cubicBezTo>
                  <a:pt x="9" y="5"/>
                  <a:pt x="4" y="9"/>
                  <a:pt x="4" y="15"/>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20"/>
          <p:cNvSpPr>
            <a:spLocks noEditPoints="1"/>
          </p:cNvSpPr>
          <p:nvPr/>
        </p:nvSpPr>
        <p:spPr bwMode="auto">
          <a:xfrm>
            <a:off x="2985369" y="6173337"/>
            <a:ext cx="76931" cy="74906"/>
          </a:xfrm>
          <a:custGeom>
            <a:avLst/>
            <a:gdLst>
              <a:gd name="T0" fmla="*/ 2 w 32"/>
              <a:gd name="T1" fmla="*/ 16 h 31"/>
              <a:gd name="T2" fmla="*/ 3 w 32"/>
              <a:gd name="T3" fmla="*/ 16 h 31"/>
              <a:gd name="T4" fmla="*/ 7 w 32"/>
              <a:gd name="T5" fmla="*/ 6 h 31"/>
              <a:gd name="T6" fmla="*/ 16 w 32"/>
              <a:gd name="T7" fmla="*/ 3 h 31"/>
              <a:gd name="T8" fmla="*/ 25 w 32"/>
              <a:gd name="T9" fmla="*/ 6 h 31"/>
              <a:gd name="T10" fmla="*/ 29 w 32"/>
              <a:gd name="T11" fmla="*/ 16 h 31"/>
              <a:gd name="T12" fmla="*/ 25 w 32"/>
              <a:gd name="T13" fmla="*/ 25 h 31"/>
              <a:gd name="T14" fmla="*/ 16 w 32"/>
              <a:gd name="T15" fmla="*/ 28 h 31"/>
              <a:gd name="T16" fmla="*/ 7 w 32"/>
              <a:gd name="T17" fmla="*/ 25 h 31"/>
              <a:gd name="T18" fmla="*/ 3 w 32"/>
              <a:gd name="T19" fmla="*/ 16 h 31"/>
              <a:gd name="T20" fmla="*/ 2 w 32"/>
              <a:gd name="T21" fmla="*/ 16 h 31"/>
              <a:gd name="T22" fmla="*/ 0 w 32"/>
              <a:gd name="T23" fmla="*/ 16 h 31"/>
              <a:gd name="T24" fmla="*/ 16 w 32"/>
              <a:gd name="T25" fmla="*/ 31 h 31"/>
              <a:gd name="T26" fmla="*/ 32 w 32"/>
              <a:gd name="T27" fmla="*/ 16 h 31"/>
              <a:gd name="T28" fmla="*/ 16 w 32"/>
              <a:gd name="T29" fmla="*/ 0 h 31"/>
              <a:gd name="T30" fmla="*/ 0 w 32"/>
              <a:gd name="T31" fmla="*/ 16 h 31"/>
              <a:gd name="T32" fmla="*/ 2 w 32"/>
              <a:gd name="T33" fmla="*/ 16 h 31"/>
              <a:gd name="T34" fmla="*/ 6 w 32"/>
              <a:gd name="T35" fmla="*/ 16 h 31"/>
              <a:gd name="T36" fmla="*/ 5 w 32"/>
              <a:gd name="T37" fmla="*/ 16 h 31"/>
              <a:gd name="T38" fmla="*/ 16 w 32"/>
              <a:gd name="T39" fmla="*/ 27 h 31"/>
              <a:gd name="T40" fmla="*/ 27 w 32"/>
              <a:gd name="T41" fmla="*/ 16 h 31"/>
              <a:gd name="T42" fmla="*/ 16 w 32"/>
              <a:gd name="T43" fmla="*/ 4 h 31"/>
              <a:gd name="T44" fmla="*/ 5 w 32"/>
              <a:gd name="T45" fmla="*/ 16 h 31"/>
              <a:gd name="T46" fmla="*/ 6 w 32"/>
              <a:gd name="T47" fmla="*/ 16 h 31"/>
              <a:gd name="T48" fmla="*/ 8 w 32"/>
              <a:gd name="T49" fmla="*/ 16 h 31"/>
              <a:gd name="T50" fmla="*/ 16 w 32"/>
              <a:gd name="T51" fmla="*/ 7 h 31"/>
              <a:gd name="T52" fmla="*/ 24 w 32"/>
              <a:gd name="T53" fmla="*/ 16 h 31"/>
              <a:gd name="T54" fmla="*/ 16 w 32"/>
              <a:gd name="T55" fmla="*/ 24 h 31"/>
              <a:gd name="T56" fmla="*/ 8 w 32"/>
              <a:gd name="T57" fmla="*/ 16 h 31"/>
              <a:gd name="T58" fmla="*/ 6 w 32"/>
              <a:gd name="T59"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2" y="16"/>
                </a:moveTo>
                <a:cubicBezTo>
                  <a:pt x="3" y="16"/>
                  <a:pt x="3" y="16"/>
                  <a:pt x="3" y="16"/>
                </a:cubicBezTo>
                <a:cubicBezTo>
                  <a:pt x="3" y="12"/>
                  <a:pt x="5" y="9"/>
                  <a:pt x="7" y="6"/>
                </a:cubicBezTo>
                <a:cubicBezTo>
                  <a:pt x="9" y="4"/>
                  <a:pt x="13" y="3"/>
                  <a:pt x="16" y="3"/>
                </a:cubicBezTo>
                <a:cubicBezTo>
                  <a:pt x="20" y="3"/>
                  <a:pt x="23" y="4"/>
                  <a:pt x="25" y="6"/>
                </a:cubicBezTo>
                <a:cubicBezTo>
                  <a:pt x="27" y="9"/>
                  <a:pt x="29" y="12"/>
                  <a:pt x="29" y="16"/>
                </a:cubicBezTo>
                <a:cubicBezTo>
                  <a:pt x="29" y="19"/>
                  <a:pt x="27" y="22"/>
                  <a:pt x="25" y="25"/>
                </a:cubicBezTo>
                <a:cubicBezTo>
                  <a:pt x="23" y="27"/>
                  <a:pt x="20" y="28"/>
                  <a:pt x="16" y="28"/>
                </a:cubicBezTo>
                <a:cubicBezTo>
                  <a:pt x="13" y="28"/>
                  <a:pt x="9" y="27"/>
                  <a:pt x="7" y="25"/>
                </a:cubicBezTo>
                <a:cubicBezTo>
                  <a:pt x="5" y="22"/>
                  <a:pt x="3" y="19"/>
                  <a:pt x="3" y="16"/>
                </a:cubicBezTo>
                <a:cubicBezTo>
                  <a:pt x="2" y="16"/>
                  <a:pt x="2" y="16"/>
                  <a:pt x="2" y="16"/>
                </a:cubicBezTo>
                <a:cubicBezTo>
                  <a:pt x="0" y="16"/>
                  <a:pt x="0" y="16"/>
                  <a:pt x="0" y="16"/>
                </a:cubicBezTo>
                <a:cubicBezTo>
                  <a:pt x="0" y="24"/>
                  <a:pt x="7" y="31"/>
                  <a:pt x="16" y="31"/>
                </a:cubicBezTo>
                <a:cubicBezTo>
                  <a:pt x="25" y="31"/>
                  <a:pt x="32" y="24"/>
                  <a:pt x="32" y="16"/>
                </a:cubicBezTo>
                <a:cubicBezTo>
                  <a:pt x="32" y="7"/>
                  <a:pt x="25" y="0"/>
                  <a:pt x="16" y="0"/>
                </a:cubicBezTo>
                <a:cubicBezTo>
                  <a:pt x="7" y="0"/>
                  <a:pt x="0" y="7"/>
                  <a:pt x="0" y="16"/>
                </a:cubicBezTo>
                <a:lnTo>
                  <a:pt x="2" y="16"/>
                </a:lnTo>
                <a:close/>
                <a:moveTo>
                  <a:pt x="6" y="16"/>
                </a:moveTo>
                <a:cubicBezTo>
                  <a:pt x="5" y="16"/>
                  <a:pt x="5" y="16"/>
                  <a:pt x="5" y="16"/>
                </a:cubicBezTo>
                <a:cubicBezTo>
                  <a:pt x="5" y="22"/>
                  <a:pt x="10" y="27"/>
                  <a:pt x="16" y="27"/>
                </a:cubicBezTo>
                <a:cubicBezTo>
                  <a:pt x="22" y="27"/>
                  <a:pt x="27" y="22"/>
                  <a:pt x="27" y="16"/>
                </a:cubicBezTo>
                <a:cubicBezTo>
                  <a:pt x="27" y="9"/>
                  <a:pt x="22" y="4"/>
                  <a:pt x="16" y="4"/>
                </a:cubicBezTo>
                <a:cubicBezTo>
                  <a:pt x="10" y="4"/>
                  <a:pt x="5" y="9"/>
                  <a:pt x="5" y="16"/>
                </a:cubicBezTo>
                <a:cubicBezTo>
                  <a:pt x="6" y="16"/>
                  <a:pt x="6" y="16"/>
                  <a:pt x="6" y="16"/>
                </a:cubicBezTo>
                <a:cubicBezTo>
                  <a:pt x="8" y="16"/>
                  <a:pt x="8" y="16"/>
                  <a:pt x="8" y="16"/>
                </a:cubicBezTo>
                <a:cubicBezTo>
                  <a:pt x="8" y="11"/>
                  <a:pt x="12" y="7"/>
                  <a:pt x="16" y="7"/>
                </a:cubicBezTo>
                <a:cubicBezTo>
                  <a:pt x="21" y="7"/>
                  <a:pt x="24" y="11"/>
                  <a:pt x="24" y="16"/>
                </a:cubicBezTo>
                <a:cubicBezTo>
                  <a:pt x="24" y="20"/>
                  <a:pt x="21" y="24"/>
                  <a:pt x="16" y="24"/>
                </a:cubicBezTo>
                <a:cubicBezTo>
                  <a:pt x="12" y="24"/>
                  <a:pt x="8" y="20"/>
                  <a:pt x="8" y="16"/>
                </a:cubicBezTo>
                <a:lnTo>
                  <a:pt x="6" y="1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1"/>
          <p:cNvSpPr>
            <a:spLocks noEditPoints="1"/>
          </p:cNvSpPr>
          <p:nvPr/>
        </p:nvSpPr>
        <p:spPr bwMode="auto">
          <a:xfrm>
            <a:off x="2514675" y="6087296"/>
            <a:ext cx="78955" cy="96163"/>
          </a:xfrm>
          <a:custGeom>
            <a:avLst/>
            <a:gdLst>
              <a:gd name="T0" fmla="*/ 0 w 78"/>
              <a:gd name="T1" fmla="*/ 47 h 95"/>
              <a:gd name="T2" fmla="*/ 78 w 78"/>
              <a:gd name="T3" fmla="*/ 0 h 95"/>
              <a:gd name="T4" fmla="*/ 78 w 78"/>
              <a:gd name="T5" fmla="*/ 95 h 95"/>
              <a:gd name="T6" fmla="*/ 0 w 78"/>
              <a:gd name="T7" fmla="*/ 47 h 95"/>
              <a:gd name="T8" fmla="*/ 21 w 78"/>
              <a:gd name="T9" fmla="*/ 47 h 95"/>
              <a:gd name="T10" fmla="*/ 69 w 78"/>
              <a:gd name="T11" fmla="*/ 76 h 95"/>
              <a:gd name="T12" fmla="*/ 69 w 78"/>
              <a:gd name="T13" fmla="*/ 21 h 95"/>
              <a:gd name="T14" fmla="*/ 21 w 78"/>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5">
                <a:moveTo>
                  <a:pt x="0" y="47"/>
                </a:moveTo>
                <a:lnTo>
                  <a:pt x="78" y="0"/>
                </a:lnTo>
                <a:lnTo>
                  <a:pt x="78" y="95"/>
                </a:lnTo>
                <a:lnTo>
                  <a:pt x="0" y="47"/>
                </a:lnTo>
                <a:close/>
                <a:moveTo>
                  <a:pt x="21" y="47"/>
                </a:moveTo>
                <a:lnTo>
                  <a:pt x="69" y="76"/>
                </a:lnTo>
                <a:lnTo>
                  <a:pt x="69" y="21"/>
                </a:lnTo>
                <a:lnTo>
                  <a:pt x="21" y="4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2"/>
          <p:cNvSpPr>
            <a:spLocks noEditPoints="1"/>
          </p:cNvSpPr>
          <p:nvPr/>
        </p:nvSpPr>
        <p:spPr bwMode="auto">
          <a:xfrm>
            <a:off x="2507589" y="60822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5 w 90"/>
              <a:gd name="T17" fmla="*/ 55 h 105"/>
              <a:gd name="T18" fmla="*/ 90 w 90"/>
              <a:gd name="T19" fmla="*/ 105 h 105"/>
              <a:gd name="T20" fmla="*/ 90 w 90"/>
              <a:gd name="T21" fmla="*/ 0 h 105"/>
              <a:gd name="T22" fmla="*/ 0 w 90"/>
              <a:gd name="T23" fmla="*/ 52 h 105"/>
              <a:gd name="T24" fmla="*/ 5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1 w 90"/>
              <a:gd name="T43" fmla="*/ 55 h 105"/>
              <a:gd name="T44" fmla="*/ 71 w 90"/>
              <a:gd name="T45" fmla="*/ 31 h 105"/>
              <a:gd name="T46" fmla="*/ 71 w 90"/>
              <a:gd name="T47" fmla="*/ 74 h 105"/>
              <a:gd name="T48" fmla="*/ 31 w 90"/>
              <a:gd name="T49" fmla="*/ 50 h 105"/>
              <a:gd name="T50" fmla="*/ 28 w 90"/>
              <a:gd name="T51" fmla="*/ 52 h 105"/>
              <a:gd name="T52" fmla="*/ 31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5" y="55"/>
                </a:lnTo>
                <a:lnTo>
                  <a:pt x="90" y="105"/>
                </a:lnTo>
                <a:lnTo>
                  <a:pt x="90" y="0"/>
                </a:lnTo>
                <a:lnTo>
                  <a:pt x="0" y="52"/>
                </a:lnTo>
                <a:lnTo>
                  <a:pt x="5" y="55"/>
                </a:lnTo>
                <a:lnTo>
                  <a:pt x="7" y="52"/>
                </a:lnTo>
                <a:close/>
                <a:moveTo>
                  <a:pt x="28" y="52"/>
                </a:moveTo>
                <a:lnTo>
                  <a:pt x="26" y="55"/>
                </a:lnTo>
                <a:lnTo>
                  <a:pt x="78" y="86"/>
                </a:lnTo>
                <a:lnTo>
                  <a:pt x="78" y="19"/>
                </a:lnTo>
                <a:lnTo>
                  <a:pt x="21" y="52"/>
                </a:lnTo>
                <a:lnTo>
                  <a:pt x="26" y="55"/>
                </a:lnTo>
                <a:lnTo>
                  <a:pt x="28" y="52"/>
                </a:lnTo>
                <a:lnTo>
                  <a:pt x="31" y="55"/>
                </a:lnTo>
                <a:lnTo>
                  <a:pt x="71" y="31"/>
                </a:lnTo>
                <a:lnTo>
                  <a:pt x="71" y="74"/>
                </a:lnTo>
                <a:lnTo>
                  <a:pt x="31" y="50"/>
                </a:lnTo>
                <a:lnTo>
                  <a:pt x="28" y="52"/>
                </a:lnTo>
                <a:lnTo>
                  <a:pt x="31" y="55"/>
                </a:lnTo>
                <a:lnTo>
                  <a:pt x="28" y="5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3"/>
          <p:cNvSpPr>
            <a:spLocks noEditPoints="1"/>
          </p:cNvSpPr>
          <p:nvPr/>
        </p:nvSpPr>
        <p:spPr bwMode="auto">
          <a:xfrm>
            <a:off x="2409401" y="6087296"/>
            <a:ext cx="80980" cy="96163"/>
          </a:xfrm>
          <a:custGeom>
            <a:avLst/>
            <a:gdLst>
              <a:gd name="T0" fmla="*/ 0 w 80"/>
              <a:gd name="T1" fmla="*/ 47 h 95"/>
              <a:gd name="T2" fmla="*/ 80 w 80"/>
              <a:gd name="T3" fmla="*/ 0 h 95"/>
              <a:gd name="T4" fmla="*/ 80 w 80"/>
              <a:gd name="T5" fmla="*/ 95 h 95"/>
              <a:gd name="T6" fmla="*/ 0 w 80"/>
              <a:gd name="T7" fmla="*/ 47 h 95"/>
              <a:gd name="T8" fmla="*/ 21 w 80"/>
              <a:gd name="T9" fmla="*/ 47 h 95"/>
              <a:gd name="T10" fmla="*/ 68 w 80"/>
              <a:gd name="T11" fmla="*/ 76 h 95"/>
              <a:gd name="T12" fmla="*/ 68 w 80"/>
              <a:gd name="T13" fmla="*/ 21 h 95"/>
              <a:gd name="T14" fmla="*/ 21 w 80"/>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5">
                <a:moveTo>
                  <a:pt x="0" y="47"/>
                </a:moveTo>
                <a:lnTo>
                  <a:pt x="80" y="0"/>
                </a:lnTo>
                <a:lnTo>
                  <a:pt x="80" y="95"/>
                </a:lnTo>
                <a:lnTo>
                  <a:pt x="0" y="47"/>
                </a:lnTo>
                <a:close/>
                <a:moveTo>
                  <a:pt x="21" y="47"/>
                </a:moveTo>
                <a:lnTo>
                  <a:pt x="68" y="76"/>
                </a:lnTo>
                <a:lnTo>
                  <a:pt x="68" y="21"/>
                </a:lnTo>
                <a:lnTo>
                  <a:pt x="21" y="4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4"/>
          <p:cNvSpPr>
            <a:spLocks noEditPoints="1"/>
          </p:cNvSpPr>
          <p:nvPr/>
        </p:nvSpPr>
        <p:spPr bwMode="auto">
          <a:xfrm>
            <a:off x="2402315" y="60822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4 w 90"/>
              <a:gd name="T17" fmla="*/ 55 h 105"/>
              <a:gd name="T18" fmla="*/ 90 w 90"/>
              <a:gd name="T19" fmla="*/ 105 h 105"/>
              <a:gd name="T20" fmla="*/ 90 w 90"/>
              <a:gd name="T21" fmla="*/ 0 h 105"/>
              <a:gd name="T22" fmla="*/ 0 w 90"/>
              <a:gd name="T23" fmla="*/ 52 h 105"/>
              <a:gd name="T24" fmla="*/ 4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0 w 90"/>
              <a:gd name="T43" fmla="*/ 55 h 105"/>
              <a:gd name="T44" fmla="*/ 71 w 90"/>
              <a:gd name="T45" fmla="*/ 31 h 105"/>
              <a:gd name="T46" fmla="*/ 71 w 90"/>
              <a:gd name="T47" fmla="*/ 74 h 105"/>
              <a:gd name="T48" fmla="*/ 30 w 90"/>
              <a:gd name="T49" fmla="*/ 50 h 105"/>
              <a:gd name="T50" fmla="*/ 28 w 90"/>
              <a:gd name="T51" fmla="*/ 52 h 105"/>
              <a:gd name="T52" fmla="*/ 30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4" y="55"/>
                </a:lnTo>
                <a:lnTo>
                  <a:pt x="90" y="105"/>
                </a:lnTo>
                <a:lnTo>
                  <a:pt x="90" y="0"/>
                </a:lnTo>
                <a:lnTo>
                  <a:pt x="0" y="52"/>
                </a:lnTo>
                <a:lnTo>
                  <a:pt x="4" y="55"/>
                </a:lnTo>
                <a:lnTo>
                  <a:pt x="7" y="52"/>
                </a:lnTo>
                <a:close/>
                <a:moveTo>
                  <a:pt x="28" y="52"/>
                </a:moveTo>
                <a:lnTo>
                  <a:pt x="26" y="55"/>
                </a:lnTo>
                <a:lnTo>
                  <a:pt x="78" y="86"/>
                </a:lnTo>
                <a:lnTo>
                  <a:pt x="78" y="19"/>
                </a:lnTo>
                <a:lnTo>
                  <a:pt x="21" y="52"/>
                </a:lnTo>
                <a:lnTo>
                  <a:pt x="26" y="55"/>
                </a:lnTo>
                <a:lnTo>
                  <a:pt x="28" y="52"/>
                </a:lnTo>
                <a:lnTo>
                  <a:pt x="30" y="55"/>
                </a:lnTo>
                <a:lnTo>
                  <a:pt x="71" y="31"/>
                </a:lnTo>
                <a:lnTo>
                  <a:pt x="71" y="74"/>
                </a:lnTo>
                <a:lnTo>
                  <a:pt x="30" y="50"/>
                </a:lnTo>
                <a:lnTo>
                  <a:pt x="28" y="52"/>
                </a:lnTo>
                <a:lnTo>
                  <a:pt x="30" y="55"/>
                </a:lnTo>
                <a:lnTo>
                  <a:pt x="28" y="5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5"/>
          <p:cNvSpPr>
            <a:spLocks noEditPoints="1"/>
          </p:cNvSpPr>
          <p:nvPr/>
        </p:nvSpPr>
        <p:spPr bwMode="auto">
          <a:xfrm>
            <a:off x="9482976" y="6202692"/>
            <a:ext cx="110335" cy="112359"/>
          </a:xfrm>
          <a:custGeom>
            <a:avLst/>
            <a:gdLst>
              <a:gd name="T0" fmla="*/ 0 w 46"/>
              <a:gd name="T1" fmla="*/ 24 h 47"/>
              <a:gd name="T2" fmla="*/ 23 w 46"/>
              <a:gd name="T3" fmla="*/ 0 h 47"/>
              <a:gd name="T4" fmla="*/ 46 w 46"/>
              <a:gd name="T5" fmla="*/ 24 h 47"/>
              <a:gd name="T6" fmla="*/ 23 w 46"/>
              <a:gd name="T7" fmla="*/ 47 h 47"/>
              <a:gd name="T8" fmla="*/ 0 w 46"/>
              <a:gd name="T9" fmla="*/ 24 h 47"/>
              <a:gd name="T10" fmla="*/ 5 w 46"/>
              <a:gd name="T11" fmla="*/ 24 h 47"/>
              <a:gd name="T12" fmla="*/ 23 w 46"/>
              <a:gd name="T13" fmla="*/ 42 h 47"/>
              <a:gd name="T14" fmla="*/ 42 w 46"/>
              <a:gd name="T15" fmla="*/ 24 h 47"/>
              <a:gd name="T16" fmla="*/ 23 w 46"/>
              <a:gd name="T17" fmla="*/ 5 h 47"/>
              <a:gd name="T18" fmla="*/ 5 w 46"/>
              <a:gd name="T19"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7">
                <a:moveTo>
                  <a:pt x="0" y="24"/>
                </a:moveTo>
                <a:cubicBezTo>
                  <a:pt x="0" y="11"/>
                  <a:pt x="10" y="0"/>
                  <a:pt x="23" y="0"/>
                </a:cubicBezTo>
                <a:cubicBezTo>
                  <a:pt x="36" y="0"/>
                  <a:pt x="46" y="11"/>
                  <a:pt x="46" y="24"/>
                </a:cubicBezTo>
                <a:cubicBezTo>
                  <a:pt x="46" y="36"/>
                  <a:pt x="36" y="47"/>
                  <a:pt x="23" y="47"/>
                </a:cubicBezTo>
                <a:cubicBezTo>
                  <a:pt x="10" y="47"/>
                  <a:pt x="0" y="36"/>
                  <a:pt x="0" y="24"/>
                </a:cubicBezTo>
                <a:close/>
                <a:moveTo>
                  <a:pt x="5" y="24"/>
                </a:moveTo>
                <a:cubicBezTo>
                  <a:pt x="5" y="34"/>
                  <a:pt x="13" y="42"/>
                  <a:pt x="23" y="42"/>
                </a:cubicBezTo>
                <a:cubicBezTo>
                  <a:pt x="33" y="42"/>
                  <a:pt x="42" y="34"/>
                  <a:pt x="42" y="24"/>
                </a:cubicBezTo>
                <a:cubicBezTo>
                  <a:pt x="42" y="13"/>
                  <a:pt x="33" y="5"/>
                  <a:pt x="23" y="5"/>
                </a:cubicBezTo>
                <a:cubicBezTo>
                  <a:pt x="13" y="5"/>
                  <a:pt x="5" y="13"/>
                  <a:pt x="5" y="24"/>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6"/>
          <p:cNvSpPr>
            <a:spLocks noEditPoints="1"/>
          </p:cNvSpPr>
          <p:nvPr/>
        </p:nvSpPr>
        <p:spPr bwMode="auto">
          <a:xfrm>
            <a:off x="9477915" y="6199655"/>
            <a:ext cx="119445" cy="118433"/>
          </a:xfrm>
          <a:custGeom>
            <a:avLst/>
            <a:gdLst>
              <a:gd name="T0" fmla="*/ 2 w 50"/>
              <a:gd name="T1" fmla="*/ 25 h 49"/>
              <a:gd name="T2" fmla="*/ 3 w 50"/>
              <a:gd name="T3" fmla="*/ 25 h 49"/>
              <a:gd name="T4" fmla="*/ 10 w 50"/>
              <a:gd name="T5" fmla="*/ 9 h 49"/>
              <a:gd name="T6" fmla="*/ 25 w 50"/>
              <a:gd name="T7" fmla="*/ 3 h 49"/>
              <a:gd name="T8" fmla="*/ 40 w 50"/>
              <a:gd name="T9" fmla="*/ 9 h 49"/>
              <a:gd name="T10" fmla="*/ 47 w 50"/>
              <a:gd name="T11" fmla="*/ 25 h 49"/>
              <a:gd name="T12" fmla="*/ 40 w 50"/>
              <a:gd name="T13" fmla="*/ 40 h 49"/>
              <a:gd name="T14" fmla="*/ 25 w 50"/>
              <a:gd name="T15" fmla="*/ 46 h 49"/>
              <a:gd name="T16" fmla="*/ 10 w 50"/>
              <a:gd name="T17" fmla="*/ 40 h 49"/>
              <a:gd name="T18" fmla="*/ 3 w 50"/>
              <a:gd name="T19" fmla="*/ 25 h 49"/>
              <a:gd name="T20" fmla="*/ 2 w 50"/>
              <a:gd name="T21" fmla="*/ 25 h 49"/>
              <a:gd name="T22" fmla="*/ 0 w 50"/>
              <a:gd name="T23" fmla="*/ 25 h 49"/>
              <a:gd name="T24" fmla="*/ 25 w 50"/>
              <a:gd name="T25" fmla="*/ 49 h 49"/>
              <a:gd name="T26" fmla="*/ 50 w 50"/>
              <a:gd name="T27" fmla="*/ 25 h 49"/>
              <a:gd name="T28" fmla="*/ 25 w 50"/>
              <a:gd name="T29" fmla="*/ 0 h 49"/>
              <a:gd name="T30" fmla="*/ 0 w 50"/>
              <a:gd name="T31" fmla="*/ 25 h 49"/>
              <a:gd name="T32" fmla="*/ 2 w 50"/>
              <a:gd name="T33" fmla="*/ 25 h 49"/>
              <a:gd name="T34" fmla="*/ 7 w 50"/>
              <a:gd name="T35" fmla="*/ 25 h 49"/>
              <a:gd name="T36" fmla="*/ 5 w 50"/>
              <a:gd name="T37" fmla="*/ 25 h 49"/>
              <a:gd name="T38" fmla="*/ 25 w 50"/>
              <a:gd name="T39" fmla="*/ 45 h 49"/>
              <a:gd name="T40" fmla="*/ 45 w 50"/>
              <a:gd name="T41" fmla="*/ 25 h 49"/>
              <a:gd name="T42" fmla="*/ 25 w 50"/>
              <a:gd name="T43" fmla="*/ 5 h 49"/>
              <a:gd name="T44" fmla="*/ 5 w 50"/>
              <a:gd name="T45" fmla="*/ 25 h 49"/>
              <a:gd name="T46" fmla="*/ 7 w 50"/>
              <a:gd name="T47" fmla="*/ 25 h 49"/>
              <a:gd name="T48" fmla="*/ 8 w 50"/>
              <a:gd name="T49" fmla="*/ 25 h 49"/>
              <a:gd name="T50" fmla="*/ 13 w 50"/>
              <a:gd name="T51" fmla="*/ 13 h 49"/>
              <a:gd name="T52" fmla="*/ 25 w 50"/>
              <a:gd name="T53" fmla="*/ 8 h 49"/>
              <a:gd name="T54" fmla="*/ 37 w 50"/>
              <a:gd name="T55" fmla="*/ 13 h 49"/>
              <a:gd name="T56" fmla="*/ 42 w 50"/>
              <a:gd name="T57" fmla="*/ 25 h 49"/>
              <a:gd name="T58" fmla="*/ 37 w 50"/>
              <a:gd name="T59" fmla="*/ 37 h 49"/>
              <a:gd name="T60" fmla="*/ 25 w 50"/>
              <a:gd name="T61" fmla="*/ 42 h 49"/>
              <a:gd name="T62" fmla="*/ 13 w 50"/>
              <a:gd name="T63" fmla="*/ 37 h 49"/>
              <a:gd name="T64" fmla="*/ 8 w 50"/>
              <a:gd name="T65" fmla="*/ 25 h 49"/>
              <a:gd name="T66" fmla="*/ 7 w 50"/>
              <a:gd name="T67"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49">
                <a:moveTo>
                  <a:pt x="2" y="25"/>
                </a:moveTo>
                <a:cubicBezTo>
                  <a:pt x="3" y="25"/>
                  <a:pt x="3" y="25"/>
                  <a:pt x="3" y="25"/>
                </a:cubicBezTo>
                <a:cubicBezTo>
                  <a:pt x="3" y="19"/>
                  <a:pt x="6" y="13"/>
                  <a:pt x="10" y="9"/>
                </a:cubicBezTo>
                <a:cubicBezTo>
                  <a:pt x="14" y="5"/>
                  <a:pt x="19" y="3"/>
                  <a:pt x="25" y="3"/>
                </a:cubicBezTo>
                <a:cubicBezTo>
                  <a:pt x="31" y="3"/>
                  <a:pt x="36" y="5"/>
                  <a:pt x="40" y="9"/>
                </a:cubicBezTo>
                <a:cubicBezTo>
                  <a:pt x="44" y="13"/>
                  <a:pt x="47" y="19"/>
                  <a:pt x="47" y="25"/>
                </a:cubicBezTo>
                <a:cubicBezTo>
                  <a:pt x="47" y="31"/>
                  <a:pt x="44" y="36"/>
                  <a:pt x="40" y="40"/>
                </a:cubicBezTo>
                <a:cubicBezTo>
                  <a:pt x="36" y="44"/>
                  <a:pt x="31" y="46"/>
                  <a:pt x="25" y="46"/>
                </a:cubicBezTo>
                <a:cubicBezTo>
                  <a:pt x="19" y="46"/>
                  <a:pt x="14" y="44"/>
                  <a:pt x="10" y="40"/>
                </a:cubicBezTo>
                <a:cubicBezTo>
                  <a:pt x="6" y="36"/>
                  <a:pt x="3" y="31"/>
                  <a:pt x="3" y="25"/>
                </a:cubicBezTo>
                <a:cubicBezTo>
                  <a:pt x="2" y="25"/>
                  <a:pt x="2" y="25"/>
                  <a:pt x="2" y="25"/>
                </a:cubicBezTo>
                <a:cubicBezTo>
                  <a:pt x="0" y="25"/>
                  <a:pt x="0" y="25"/>
                  <a:pt x="0" y="25"/>
                </a:cubicBezTo>
                <a:cubicBezTo>
                  <a:pt x="0" y="38"/>
                  <a:pt x="11" y="49"/>
                  <a:pt x="25" y="49"/>
                </a:cubicBezTo>
                <a:cubicBezTo>
                  <a:pt x="39" y="49"/>
                  <a:pt x="50" y="38"/>
                  <a:pt x="50" y="25"/>
                </a:cubicBezTo>
                <a:cubicBezTo>
                  <a:pt x="50" y="11"/>
                  <a:pt x="39" y="0"/>
                  <a:pt x="25" y="0"/>
                </a:cubicBezTo>
                <a:cubicBezTo>
                  <a:pt x="11" y="0"/>
                  <a:pt x="0" y="11"/>
                  <a:pt x="0" y="25"/>
                </a:cubicBezTo>
                <a:lnTo>
                  <a:pt x="2" y="25"/>
                </a:lnTo>
                <a:close/>
                <a:moveTo>
                  <a:pt x="7" y="25"/>
                </a:moveTo>
                <a:cubicBezTo>
                  <a:pt x="5" y="25"/>
                  <a:pt x="5" y="25"/>
                  <a:pt x="5" y="25"/>
                </a:cubicBezTo>
                <a:cubicBezTo>
                  <a:pt x="5" y="36"/>
                  <a:pt x="14" y="45"/>
                  <a:pt x="25" y="45"/>
                </a:cubicBezTo>
                <a:cubicBezTo>
                  <a:pt x="36" y="45"/>
                  <a:pt x="45" y="36"/>
                  <a:pt x="45" y="25"/>
                </a:cubicBezTo>
                <a:cubicBezTo>
                  <a:pt x="45" y="14"/>
                  <a:pt x="36" y="5"/>
                  <a:pt x="25" y="5"/>
                </a:cubicBezTo>
                <a:cubicBezTo>
                  <a:pt x="14" y="5"/>
                  <a:pt x="5" y="14"/>
                  <a:pt x="5" y="25"/>
                </a:cubicBezTo>
                <a:cubicBezTo>
                  <a:pt x="7" y="25"/>
                  <a:pt x="7" y="25"/>
                  <a:pt x="7" y="25"/>
                </a:cubicBezTo>
                <a:cubicBezTo>
                  <a:pt x="8" y="25"/>
                  <a:pt x="8" y="25"/>
                  <a:pt x="8" y="25"/>
                </a:cubicBezTo>
                <a:cubicBezTo>
                  <a:pt x="8" y="20"/>
                  <a:pt x="10" y="16"/>
                  <a:pt x="13" y="13"/>
                </a:cubicBezTo>
                <a:cubicBezTo>
                  <a:pt x="16" y="9"/>
                  <a:pt x="20" y="8"/>
                  <a:pt x="25" y="8"/>
                </a:cubicBezTo>
                <a:cubicBezTo>
                  <a:pt x="30" y="8"/>
                  <a:pt x="34" y="9"/>
                  <a:pt x="37" y="13"/>
                </a:cubicBezTo>
                <a:cubicBezTo>
                  <a:pt x="40" y="16"/>
                  <a:pt x="42" y="20"/>
                  <a:pt x="42" y="25"/>
                </a:cubicBezTo>
                <a:cubicBezTo>
                  <a:pt x="42" y="29"/>
                  <a:pt x="40" y="33"/>
                  <a:pt x="37" y="37"/>
                </a:cubicBezTo>
                <a:cubicBezTo>
                  <a:pt x="34" y="40"/>
                  <a:pt x="30" y="42"/>
                  <a:pt x="25" y="42"/>
                </a:cubicBezTo>
                <a:cubicBezTo>
                  <a:pt x="20" y="42"/>
                  <a:pt x="16" y="40"/>
                  <a:pt x="13" y="37"/>
                </a:cubicBezTo>
                <a:cubicBezTo>
                  <a:pt x="10" y="33"/>
                  <a:pt x="8" y="29"/>
                  <a:pt x="8" y="25"/>
                </a:cubicBezTo>
                <a:lnTo>
                  <a:pt x="7" y="2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5" name="Freeform 27"/>
          <p:cNvSpPr>
            <a:spLocks noEditPoints="1"/>
          </p:cNvSpPr>
          <p:nvPr/>
        </p:nvSpPr>
        <p:spPr bwMode="auto">
          <a:xfrm>
            <a:off x="9511319" y="6234072"/>
            <a:ext cx="52637" cy="49600"/>
          </a:xfrm>
          <a:custGeom>
            <a:avLst/>
            <a:gdLst>
              <a:gd name="T0" fmla="*/ 0 w 22"/>
              <a:gd name="T1" fmla="*/ 11 h 21"/>
              <a:gd name="T2" fmla="*/ 11 w 22"/>
              <a:gd name="T3" fmla="*/ 0 h 21"/>
              <a:gd name="T4" fmla="*/ 22 w 22"/>
              <a:gd name="T5" fmla="*/ 11 h 21"/>
              <a:gd name="T6" fmla="*/ 11 w 22"/>
              <a:gd name="T7" fmla="*/ 21 h 21"/>
              <a:gd name="T8" fmla="*/ 0 w 22"/>
              <a:gd name="T9" fmla="*/ 11 h 21"/>
              <a:gd name="T10" fmla="*/ 5 w 22"/>
              <a:gd name="T11" fmla="*/ 11 h 21"/>
              <a:gd name="T12" fmla="*/ 11 w 22"/>
              <a:gd name="T13" fmla="*/ 17 h 21"/>
              <a:gd name="T14" fmla="*/ 17 w 22"/>
              <a:gd name="T15" fmla="*/ 11 h 21"/>
              <a:gd name="T16" fmla="*/ 11 w 22"/>
              <a:gd name="T17" fmla="*/ 4 h 21"/>
              <a:gd name="T18" fmla="*/ 5 w 22"/>
              <a:gd name="T19"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0" y="11"/>
                </a:moveTo>
                <a:cubicBezTo>
                  <a:pt x="0" y="5"/>
                  <a:pt x="5" y="0"/>
                  <a:pt x="11" y="0"/>
                </a:cubicBezTo>
                <a:cubicBezTo>
                  <a:pt x="17" y="0"/>
                  <a:pt x="22" y="5"/>
                  <a:pt x="22" y="11"/>
                </a:cubicBezTo>
                <a:cubicBezTo>
                  <a:pt x="22" y="17"/>
                  <a:pt x="17" y="21"/>
                  <a:pt x="11" y="21"/>
                </a:cubicBezTo>
                <a:cubicBezTo>
                  <a:pt x="5" y="21"/>
                  <a:pt x="0" y="17"/>
                  <a:pt x="0" y="11"/>
                </a:cubicBezTo>
                <a:close/>
                <a:moveTo>
                  <a:pt x="5" y="11"/>
                </a:moveTo>
                <a:cubicBezTo>
                  <a:pt x="5" y="14"/>
                  <a:pt x="8" y="17"/>
                  <a:pt x="11" y="17"/>
                </a:cubicBezTo>
                <a:cubicBezTo>
                  <a:pt x="14" y="17"/>
                  <a:pt x="17" y="14"/>
                  <a:pt x="17" y="11"/>
                </a:cubicBezTo>
                <a:cubicBezTo>
                  <a:pt x="17" y="7"/>
                  <a:pt x="14" y="4"/>
                  <a:pt x="11" y="4"/>
                </a:cubicBezTo>
                <a:cubicBezTo>
                  <a:pt x="8" y="4"/>
                  <a:pt x="5" y="7"/>
                  <a:pt x="5" y="1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6" name="Freeform 28"/>
          <p:cNvSpPr>
            <a:spLocks noEditPoints="1"/>
          </p:cNvSpPr>
          <p:nvPr/>
        </p:nvSpPr>
        <p:spPr bwMode="auto">
          <a:xfrm>
            <a:off x="9509294" y="6229010"/>
            <a:ext cx="57698" cy="59723"/>
          </a:xfrm>
          <a:custGeom>
            <a:avLst/>
            <a:gdLst>
              <a:gd name="T0" fmla="*/ 1 w 24"/>
              <a:gd name="T1" fmla="*/ 13 h 25"/>
              <a:gd name="T2" fmla="*/ 3 w 24"/>
              <a:gd name="T3" fmla="*/ 13 h 25"/>
              <a:gd name="T4" fmla="*/ 12 w 24"/>
              <a:gd name="T5" fmla="*/ 3 h 25"/>
              <a:gd name="T6" fmla="*/ 21 w 24"/>
              <a:gd name="T7" fmla="*/ 13 h 25"/>
              <a:gd name="T8" fmla="*/ 12 w 24"/>
              <a:gd name="T9" fmla="*/ 22 h 25"/>
              <a:gd name="T10" fmla="*/ 3 w 24"/>
              <a:gd name="T11" fmla="*/ 13 h 25"/>
              <a:gd name="T12" fmla="*/ 1 w 24"/>
              <a:gd name="T13" fmla="*/ 13 h 25"/>
              <a:gd name="T14" fmla="*/ 0 w 24"/>
              <a:gd name="T15" fmla="*/ 13 h 25"/>
              <a:gd name="T16" fmla="*/ 12 w 24"/>
              <a:gd name="T17" fmla="*/ 25 h 25"/>
              <a:gd name="T18" fmla="*/ 24 w 24"/>
              <a:gd name="T19" fmla="*/ 13 h 25"/>
              <a:gd name="T20" fmla="*/ 12 w 24"/>
              <a:gd name="T21" fmla="*/ 0 h 25"/>
              <a:gd name="T22" fmla="*/ 0 w 24"/>
              <a:gd name="T23" fmla="*/ 13 h 25"/>
              <a:gd name="T24" fmla="*/ 1 w 24"/>
              <a:gd name="T25" fmla="*/ 13 h 25"/>
              <a:gd name="T26" fmla="*/ 6 w 24"/>
              <a:gd name="T27" fmla="*/ 13 h 25"/>
              <a:gd name="T28" fmla="*/ 4 w 24"/>
              <a:gd name="T29" fmla="*/ 13 h 25"/>
              <a:gd name="T30" fmla="*/ 12 w 24"/>
              <a:gd name="T31" fmla="*/ 20 h 25"/>
              <a:gd name="T32" fmla="*/ 20 w 24"/>
              <a:gd name="T33" fmla="*/ 13 h 25"/>
              <a:gd name="T34" fmla="*/ 12 w 24"/>
              <a:gd name="T35" fmla="*/ 5 h 25"/>
              <a:gd name="T36" fmla="*/ 4 w 24"/>
              <a:gd name="T37" fmla="*/ 13 h 25"/>
              <a:gd name="T38" fmla="*/ 6 w 24"/>
              <a:gd name="T39" fmla="*/ 13 h 25"/>
              <a:gd name="T40" fmla="*/ 7 w 24"/>
              <a:gd name="T41" fmla="*/ 13 h 25"/>
              <a:gd name="T42" fmla="*/ 12 w 24"/>
              <a:gd name="T43" fmla="*/ 8 h 25"/>
              <a:gd name="T44" fmla="*/ 17 w 24"/>
              <a:gd name="T45" fmla="*/ 13 h 25"/>
              <a:gd name="T46" fmla="*/ 12 w 24"/>
              <a:gd name="T47" fmla="*/ 17 h 25"/>
              <a:gd name="T48" fmla="*/ 7 w 24"/>
              <a:gd name="T49" fmla="*/ 13 h 25"/>
              <a:gd name="T50" fmla="*/ 6 w 24"/>
              <a:gd name="T5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5">
                <a:moveTo>
                  <a:pt x="1" y="13"/>
                </a:moveTo>
                <a:cubicBezTo>
                  <a:pt x="3" y="13"/>
                  <a:pt x="3" y="13"/>
                  <a:pt x="3" y="13"/>
                </a:cubicBezTo>
                <a:cubicBezTo>
                  <a:pt x="3" y="7"/>
                  <a:pt x="7" y="3"/>
                  <a:pt x="12" y="3"/>
                </a:cubicBezTo>
                <a:cubicBezTo>
                  <a:pt x="17" y="3"/>
                  <a:pt x="21" y="7"/>
                  <a:pt x="21" y="13"/>
                </a:cubicBezTo>
                <a:cubicBezTo>
                  <a:pt x="21" y="18"/>
                  <a:pt x="17" y="22"/>
                  <a:pt x="12" y="22"/>
                </a:cubicBezTo>
                <a:cubicBezTo>
                  <a:pt x="7" y="22"/>
                  <a:pt x="3" y="18"/>
                  <a:pt x="3" y="13"/>
                </a:cubicBezTo>
                <a:cubicBezTo>
                  <a:pt x="1" y="13"/>
                  <a:pt x="1" y="13"/>
                  <a:pt x="1" y="13"/>
                </a:cubicBezTo>
                <a:cubicBezTo>
                  <a:pt x="0" y="13"/>
                  <a:pt x="0" y="13"/>
                  <a:pt x="0" y="13"/>
                </a:cubicBezTo>
                <a:cubicBezTo>
                  <a:pt x="0" y="19"/>
                  <a:pt x="5" y="25"/>
                  <a:pt x="12" y="25"/>
                </a:cubicBezTo>
                <a:cubicBezTo>
                  <a:pt x="19" y="25"/>
                  <a:pt x="24" y="19"/>
                  <a:pt x="24" y="13"/>
                </a:cubicBezTo>
                <a:cubicBezTo>
                  <a:pt x="24" y="6"/>
                  <a:pt x="19" y="0"/>
                  <a:pt x="12" y="0"/>
                </a:cubicBezTo>
                <a:cubicBezTo>
                  <a:pt x="5" y="0"/>
                  <a:pt x="0" y="6"/>
                  <a:pt x="0" y="13"/>
                </a:cubicBezTo>
                <a:lnTo>
                  <a:pt x="1" y="13"/>
                </a:lnTo>
                <a:close/>
                <a:moveTo>
                  <a:pt x="6" y="13"/>
                </a:moveTo>
                <a:cubicBezTo>
                  <a:pt x="4" y="13"/>
                  <a:pt x="4" y="13"/>
                  <a:pt x="4" y="13"/>
                </a:cubicBezTo>
                <a:cubicBezTo>
                  <a:pt x="4" y="17"/>
                  <a:pt x="8" y="20"/>
                  <a:pt x="12" y="20"/>
                </a:cubicBezTo>
                <a:cubicBezTo>
                  <a:pt x="16" y="20"/>
                  <a:pt x="20" y="17"/>
                  <a:pt x="20" y="13"/>
                </a:cubicBezTo>
                <a:cubicBezTo>
                  <a:pt x="20" y="8"/>
                  <a:pt x="16" y="5"/>
                  <a:pt x="12" y="5"/>
                </a:cubicBezTo>
                <a:cubicBezTo>
                  <a:pt x="8" y="5"/>
                  <a:pt x="4" y="8"/>
                  <a:pt x="4" y="13"/>
                </a:cubicBezTo>
                <a:cubicBezTo>
                  <a:pt x="6" y="13"/>
                  <a:pt x="6" y="13"/>
                  <a:pt x="6" y="13"/>
                </a:cubicBezTo>
                <a:cubicBezTo>
                  <a:pt x="7" y="13"/>
                  <a:pt x="7" y="13"/>
                  <a:pt x="7" y="13"/>
                </a:cubicBezTo>
                <a:cubicBezTo>
                  <a:pt x="7" y="10"/>
                  <a:pt x="10" y="8"/>
                  <a:pt x="12" y="8"/>
                </a:cubicBezTo>
                <a:cubicBezTo>
                  <a:pt x="15" y="8"/>
                  <a:pt x="17" y="10"/>
                  <a:pt x="17" y="13"/>
                </a:cubicBezTo>
                <a:cubicBezTo>
                  <a:pt x="17" y="15"/>
                  <a:pt x="15" y="17"/>
                  <a:pt x="12" y="17"/>
                </a:cubicBezTo>
                <a:cubicBezTo>
                  <a:pt x="10" y="17"/>
                  <a:pt x="7" y="15"/>
                  <a:pt x="7" y="13"/>
                </a:cubicBezTo>
                <a:lnTo>
                  <a:pt x="6" y="13"/>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7" name="Freeform 29"/>
          <p:cNvSpPr>
            <a:spLocks noEditPoints="1"/>
          </p:cNvSpPr>
          <p:nvPr/>
        </p:nvSpPr>
        <p:spPr bwMode="auto">
          <a:xfrm>
            <a:off x="9739074" y="5657091"/>
            <a:ext cx="81992" cy="94139"/>
          </a:xfrm>
          <a:custGeom>
            <a:avLst/>
            <a:gdLst>
              <a:gd name="T0" fmla="*/ 0 w 81"/>
              <a:gd name="T1" fmla="*/ 93 h 93"/>
              <a:gd name="T2" fmla="*/ 0 w 81"/>
              <a:gd name="T3" fmla="*/ 0 h 93"/>
              <a:gd name="T4" fmla="*/ 81 w 81"/>
              <a:gd name="T5" fmla="*/ 45 h 93"/>
              <a:gd name="T6" fmla="*/ 0 w 81"/>
              <a:gd name="T7" fmla="*/ 93 h 93"/>
              <a:gd name="T8" fmla="*/ 10 w 81"/>
              <a:gd name="T9" fmla="*/ 19 h 93"/>
              <a:gd name="T10" fmla="*/ 10 w 81"/>
              <a:gd name="T11" fmla="*/ 74 h 93"/>
              <a:gd name="T12" fmla="*/ 57 w 81"/>
              <a:gd name="T13" fmla="*/ 45 h 93"/>
              <a:gd name="T14" fmla="*/ 10 w 81"/>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3">
                <a:moveTo>
                  <a:pt x="0" y="93"/>
                </a:moveTo>
                <a:lnTo>
                  <a:pt x="0" y="0"/>
                </a:lnTo>
                <a:lnTo>
                  <a:pt x="81" y="45"/>
                </a:lnTo>
                <a:lnTo>
                  <a:pt x="0" y="93"/>
                </a:lnTo>
                <a:close/>
                <a:moveTo>
                  <a:pt x="10" y="19"/>
                </a:moveTo>
                <a:lnTo>
                  <a:pt x="10" y="74"/>
                </a:lnTo>
                <a:lnTo>
                  <a:pt x="57" y="45"/>
                </a:lnTo>
                <a:lnTo>
                  <a:pt x="10" y="1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8" name="Freeform 30"/>
          <p:cNvSpPr>
            <a:spLocks noEditPoints="1"/>
          </p:cNvSpPr>
          <p:nvPr/>
        </p:nvSpPr>
        <p:spPr bwMode="auto">
          <a:xfrm>
            <a:off x="9735025" y="5650006"/>
            <a:ext cx="93127" cy="108310"/>
          </a:xfrm>
          <a:custGeom>
            <a:avLst/>
            <a:gdLst>
              <a:gd name="T0" fmla="*/ 4 w 92"/>
              <a:gd name="T1" fmla="*/ 100 h 107"/>
              <a:gd name="T2" fmla="*/ 7 w 92"/>
              <a:gd name="T3" fmla="*/ 100 h 107"/>
              <a:gd name="T4" fmla="*/ 7 w 92"/>
              <a:gd name="T5" fmla="*/ 12 h 107"/>
              <a:gd name="T6" fmla="*/ 78 w 92"/>
              <a:gd name="T7" fmla="*/ 52 h 107"/>
              <a:gd name="T8" fmla="*/ 2 w 92"/>
              <a:gd name="T9" fmla="*/ 97 h 107"/>
              <a:gd name="T10" fmla="*/ 4 w 92"/>
              <a:gd name="T11" fmla="*/ 100 h 107"/>
              <a:gd name="T12" fmla="*/ 7 w 92"/>
              <a:gd name="T13" fmla="*/ 100 h 107"/>
              <a:gd name="T14" fmla="*/ 4 w 92"/>
              <a:gd name="T15" fmla="*/ 100 h 107"/>
              <a:gd name="T16" fmla="*/ 4 w 92"/>
              <a:gd name="T17" fmla="*/ 102 h 107"/>
              <a:gd name="T18" fmla="*/ 92 w 92"/>
              <a:gd name="T19" fmla="*/ 52 h 107"/>
              <a:gd name="T20" fmla="*/ 0 w 92"/>
              <a:gd name="T21" fmla="*/ 0 h 107"/>
              <a:gd name="T22" fmla="*/ 0 w 92"/>
              <a:gd name="T23" fmla="*/ 107 h 107"/>
              <a:gd name="T24" fmla="*/ 4 w 92"/>
              <a:gd name="T25" fmla="*/ 102 h 107"/>
              <a:gd name="T26" fmla="*/ 4 w 92"/>
              <a:gd name="T27" fmla="*/ 100 h 107"/>
              <a:gd name="T28" fmla="*/ 14 w 92"/>
              <a:gd name="T29" fmla="*/ 26 h 107"/>
              <a:gd name="T30" fmla="*/ 12 w 92"/>
              <a:gd name="T31" fmla="*/ 26 h 107"/>
              <a:gd name="T32" fmla="*/ 12 w 92"/>
              <a:gd name="T33" fmla="*/ 88 h 107"/>
              <a:gd name="T34" fmla="*/ 69 w 92"/>
              <a:gd name="T35" fmla="*/ 52 h 107"/>
              <a:gd name="T36" fmla="*/ 12 w 92"/>
              <a:gd name="T37" fmla="*/ 19 h 107"/>
              <a:gd name="T38" fmla="*/ 12 w 92"/>
              <a:gd name="T39" fmla="*/ 26 h 107"/>
              <a:gd name="T40" fmla="*/ 14 w 92"/>
              <a:gd name="T41" fmla="*/ 26 h 107"/>
              <a:gd name="T42" fmla="*/ 14 w 92"/>
              <a:gd name="T43" fmla="*/ 28 h 107"/>
              <a:gd name="T44" fmla="*/ 54 w 92"/>
              <a:gd name="T45" fmla="*/ 52 h 107"/>
              <a:gd name="T46" fmla="*/ 19 w 92"/>
              <a:gd name="T47" fmla="*/ 74 h 107"/>
              <a:gd name="T48" fmla="*/ 19 w 92"/>
              <a:gd name="T49" fmla="*/ 26 h 107"/>
              <a:gd name="T50" fmla="*/ 14 w 92"/>
              <a:gd name="T51" fmla="*/ 26 h 107"/>
              <a:gd name="T52" fmla="*/ 14 w 92"/>
              <a:gd name="T53" fmla="*/ 28 h 107"/>
              <a:gd name="T54" fmla="*/ 14 w 92"/>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107">
                <a:moveTo>
                  <a:pt x="4" y="100"/>
                </a:moveTo>
                <a:lnTo>
                  <a:pt x="7" y="100"/>
                </a:lnTo>
                <a:lnTo>
                  <a:pt x="7" y="12"/>
                </a:lnTo>
                <a:lnTo>
                  <a:pt x="78" y="52"/>
                </a:lnTo>
                <a:lnTo>
                  <a:pt x="2" y="97"/>
                </a:lnTo>
                <a:lnTo>
                  <a:pt x="4" y="100"/>
                </a:lnTo>
                <a:lnTo>
                  <a:pt x="7" y="100"/>
                </a:lnTo>
                <a:lnTo>
                  <a:pt x="4" y="100"/>
                </a:lnTo>
                <a:lnTo>
                  <a:pt x="4" y="102"/>
                </a:lnTo>
                <a:lnTo>
                  <a:pt x="92" y="52"/>
                </a:lnTo>
                <a:lnTo>
                  <a:pt x="0" y="0"/>
                </a:lnTo>
                <a:lnTo>
                  <a:pt x="0" y="107"/>
                </a:lnTo>
                <a:lnTo>
                  <a:pt x="4" y="102"/>
                </a:lnTo>
                <a:lnTo>
                  <a:pt x="4" y="100"/>
                </a:lnTo>
                <a:close/>
                <a:moveTo>
                  <a:pt x="14" y="26"/>
                </a:moveTo>
                <a:lnTo>
                  <a:pt x="12" y="26"/>
                </a:lnTo>
                <a:lnTo>
                  <a:pt x="12" y="88"/>
                </a:lnTo>
                <a:lnTo>
                  <a:pt x="69" y="52"/>
                </a:lnTo>
                <a:lnTo>
                  <a:pt x="12" y="19"/>
                </a:lnTo>
                <a:lnTo>
                  <a:pt x="12" y="26"/>
                </a:lnTo>
                <a:lnTo>
                  <a:pt x="14" y="26"/>
                </a:lnTo>
                <a:lnTo>
                  <a:pt x="14" y="28"/>
                </a:lnTo>
                <a:lnTo>
                  <a:pt x="54" y="52"/>
                </a:lnTo>
                <a:lnTo>
                  <a:pt x="19" y="74"/>
                </a:lnTo>
                <a:lnTo>
                  <a:pt x="19" y="26"/>
                </a:lnTo>
                <a:lnTo>
                  <a:pt x="14" y="26"/>
                </a:lnTo>
                <a:lnTo>
                  <a:pt x="14" y="28"/>
                </a:lnTo>
                <a:lnTo>
                  <a:pt x="14" y="2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9" name="Freeform 31"/>
          <p:cNvSpPr>
            <a:spLocks noEditPoints="1"/>
          </p:cNvSpPr>
          <p:nvPr/>
        </p:nvSpPr>
        <p:spPr bwMode="auto">
          <a:xfrm>
            <a:off x="9843336" y="5657091"/>
            <a:ext cx="80980" cy="94139"/>
          </a:xfrm>
          <a:custGeom>
            <a:avLst/>
            <a:gdLst>
              <a:gd name="T0" fmla="*/ 0 w 80"/>
              <a:gd name="T1" fmla="*/ 93 h 93"/>
              <a:gd name="T2" fmla="*/ 0 w 80"/>
              <a:gd name="T3" fmla="*/ 0 h 93"/>
              <a:gd name="T4" fmla="*/ 80 w 80"/>
              <a:gd name="T5" fmla="*/ 45 h 93"/>
              <a:gd name="T6" fmla="*/ 0 w 80"/>
              <a:gd name="T7" fmla="*/ 93 h 93"/>
              <a:gd name="T8" fmla="*/ 11 w 80"/>
              <a:gd name="T9" fmla="*/ 19 h 93"/>
              <a:gd name="T10" fmla="*/ 11 w 80"/>
              <a:gd name="T11" fmla="*/ 74 h 93"/>
              <a:gd name="T12" fmla="*/ 59 w 80"/>
              <a:gd name="T13" fmla="*/ 45 h 93"/>
              <a:gd name="T14" fmla="*/ 11 w 80"/>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3">
                <a:moveTo>
                  <a:pt x="0" y="93"/>
                </a:moveTo>
                <a:lnTo>
                  <a:pt x="0" y="0"/>
                </a:lnTo>
                <a:lnTo>
                  <a:pt x="80" y="45"/>
                </a:lnTo>
                <a:lnTo>
                  <a:pt x="0" y="93"/>
                </a:lnTo>
                <a:close/>
                <a:moveTo>
                  <a:pt x="11" y="19"/>
                </a:moveTo>
                <a:lnTo>
                  <a:pt x="11" y="74"/>
                </a:lnTo>
                <a:lnTo>
                  <a:pt x="59" y="45"/>
                </a:lnTo>
                <a:lnTo>
                  <a:pt x="11" y="1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32"/>
          <p:cNvSpPr>
            <a:spLocks noEditPoints="1"/>
          </p:cNvSpPr>
          <p:nvPr/>
        </p:nvSpPr>
        <p:spPr bwMode="auto">
          <a:xfrm>
            <a:off x="9840299" y="5650006"/>
            <a:ext cx="91102" cy="108310"/>
          </a:xfrm>
          <a:custGeom>
            <a:avLst/>
            <a:gdLst>
              <a:gd name="T0" fmla="*/ 3 w 90"/>
              <a:gd name="T1" fmla="*/ 100 h 107"/>
              <a:gd name="T2" fmla="*/ 7 w 90"/>
              <a:gd name="T3" fmla="*/ 100 h 107"/>
              <a:gd name="T4" fmla="*/ 7 w 90"/>
              <a:gd name="T5" fmla="*/ 12 h 107"/>
              <a:gd name="T6" fmla="*/ 76 w 90"/>
              <a:gd name="T7" fmla="*/ 52 h 107"/>
              <a:gd name="T8" fmla="*/ 3 w 90"/>
              <a:gd name="T9" fmla="*/ 97 h 107"/>
              <a:gd name="T10" fmla="*/ 3 w 90"/>
              <a:gd name="T11" fmla="*/ 100 h 107"/>
              <a:gd name="T12" fmla="*/ 7 w 90"/>
              <a:gd name="T13" fmla="*/ 100 h 107"/>
              <a:gd name="T14" fmla="*/ 3 w 90"/>
              <a:gd name="T15" fmla="*/ 100 h 107"/>
              <a:gd name="T16" fmla="*/ 5 w 90"/>
              <a:gd name="T17" fmla="*/ 102 h 107"/>
              <a:gd name="T18" fmla="*/ 90 w 90"/>
              <a:gd name="T19" fmla="*/ 52 h 107"/>
              <a:gd name="T20" fmla="*/ 0 w 90"/>
              <a:gd name="T21" fmla="*/ 0 h 107"/>
              <a:gd name="T22" fmla="*/ 0 w 90"/>
              <a:gd name="T23" fmla="*/ 107 h 107"/>
              <a:gd name="T24" fmla="*/ 5 w 90"/>
              <a:gd name="T25" fmla="*/ 102 h 107"/>
              <a:gd name="T26" fmla="*/ 3 w 90"/>
              <a:gd name="T27" fmla="*/ 100 h 107"/>
              <a:gd name="T28" fmla="*/ 14 w 90"/>
              <a:gd name="T29" fmla="*/ 26 h 107"/>
              <a:gd name="T30" fmla="*/ 12 w 90"/>
              <a:gd name="T31" fmla="*/ 26 h 107"/>
              <a:gd name="T32" fmla="*/ 12 w 90"/>
              <a:gd name="T33" fmla="*/ 88 h 107"/>
              <a:gd name="T34" fmla="*/ 69 w 90"/>
              <a:gd name="T35" fmla="*/ 52 h 107"/>
              <a:gd name="T36" fmla="*/ 12 w 90"/>
              <a:gd name="T37" fmla="*/ 19 h 107"/>
              <a:gd name="T38" fmla="*/ 12 w 90"/>
              <a:gd name="T39" fmla="*/ 26 h 107"/>
              <a:gd name="T40" fmla="*/ 14 w 90"/>
              <a:gd name="T41" fmla="*/ 26 h 107"/>
              <a:gd name="T42" fmla="*/ 12 w 90"/>
              <a:gd name="T43" fmla="*/ 28 h 107"/>
              <a:gd name="T44" fmla="*/ 55 w 90"/>
              <a:gd name="T45" fmla="*/ 52 h 107"/>
              <a:gd name="T46" fmla="*/ 19 w 90"/>
              <a:gd name="T47" fmla="*/ 74 h 107"/>
              <a:gd name="T48" fmla="*/ 19 w 90"/>
              <a:gd name="T49" fmla="*/ 26 h 107"/>
              <a:gd name="T50" fmla="*/ 14 w 90"/>
              <a:gd name="T51" fmla="*/ 26 h 107"/>
              <a:gd name="T52" fmla="*/ 12 w 90"/>
              <a:gd name="T53" fmla="*/ 28 h 107"/>
              <a:gd name="T54" fmla="*/ 14 w 90"/>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7">
                <a:moveTo>
                  <a:pt x="3" y="100"/>
                </a:moveTo>
                <a:lnTo>
                  <a:pt x="7" y="100"/>
                </a:lnTo>
                <a:lnTo>
                  <a:pt x="7" y="12"/>
                </a:lnTo>
                <a:lnTo>
                  <a:pt x="76" y="52"/>
                </a:lnTo>
                <a:lnTo>
                  <a:pt x="3" y="97"/>
                </a:lnTo>
                <a:lnTo>
                  <a:pt x="3" y="100"/>
                </a:lnTo>
                <a:lnTo>
                  <a:pt x="7" y="100"/>
                </a:lnTo>
                <a:lnTo>
                  <a:pt x="3" y="100"/>
                </a:lnTo>
                <a:lnTo>
                  <a:pt x="5" y="102"/>
                </a:lnTo>
                <a:lnTo>
                  <a:pt x="90" y="52"/>
                </a:lnTo>
                <a:lnTo>
                  <a:pt x="0" y="0"/>
                </a:lnTo>
                <a:lnTo>
                  <a:pt x="0" y="107"/>
                </a:lnTo>
                <a:lnTo>
                  <a:pt x="5" y="102"/>
                </a:lnTo>
                <a:lnTo>
                  <a:pt x="3" y="100"/>
                </a:lnTo>
                <a:close/>
                <a:moveTo>
                  <a:pt x="14" y="26"/>
                </a:moveTo>
                <a:lnTo>
                  <a:pt x="12" y="26"/>
                </a:lnTo>
                <a:lnTo>
                  <a:pt x="12" y="88"/>
                </a:lnTo>
                <a:lnTo>
                  <a:pt x="69" y="52"/>
                </a:lnTo>
                <a:lnTo>
                  <a:pt x="12" y="19"/>
                </a:lnTo>
                <a:lnTo>
                  <a:pt x="12" y="26"/>
                </a:lnTo>
                <a:lnTo>
                  <a:pt x="14" y="26"/>
                </a:lnTo>
                <a:lnTo>
                  <a:pt x="12" y="28"/>
                </a:lnTo>
                <a:lnTo>
                  <a:pt x="55" y="52"/>
                </a:lnTo>
                <a:lnTo>
                  <a:pt x="19" y="74"/>
                </a:lnTo>
                <a:lnTo>
                  <a:pt x="19" y="26"/>
                </a:lnTo>
                <a:lnTo>
                  <a:pt x="14" y="26"/>
                </a:lnTo>
                <a:lnTo>
                  <a:pt x="12" y="28"/>
                </a:lnTo>
                <a:lnTo>
                  <a:pt x="14" y="2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33"/>
          <p:cNvSpPr>
            <a:spLocks noEditPoints="1"/>
          </p:cNvSpPr>
          <p:nvPr/>
        </p:nvSpPr>
        <p:spPr bwMode="auto">
          <a:xfrm>
            <a:off x="9187400" y="5892945"/>
            <a:ext cx="69845" cy="68833"/>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5 h 29"/>
              <a:gd name="T12" fmla="*/ 5 w 29"/>
              <a:gd name="T13" fmla="*/ 15 h 29"/>
              <a:gd name="T14" fmla="*/ 15 w 29"/>
              <a:gd name="T15" fmla="*/ 24 h 29"/>
              <a:gd name="T16" fmla="*/ 24 w 29"/>
              <a:gd name="T17" fmla="*/ 15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5"/>
                </a:cubicBezTo>
                <a:cubicBezTo>
                  <a:pt x="0" y="7"/>
                  <a:pt x="7" y="0"/>
                  <a:pt x="15" y="0"/>
                </a:cubicBezTo>
                <a:cubicBezTo>
                  <a:pt x="22" y="0"/>
                  <a:pt x="29" y="7"/>
                  <a:pt x="29" y="15"/>
                </a:cubicBezTo>
                <a:cubicBezTo>
                  <a:pt x="29" y="22"/>
                  <a:pt x="22" y="29"/>
                  <a:pt x="15" y="29"/>
                </a:cubicBezTo>
                <a:close/>
                <a:moveTo>
                  <a:pt x="15" y="5"/>
                </a:moveTo>
                <a:cubicBezTo>
                  <a:pt x="9" y="5"/>
                  <a:pt x="5" y="9"/>
                  <a:pt x="5" y="15"/>
                </a:cubicBezTo>
                <a:cubicBezTo>
                  <a:pt x="5" y="20"/>
                  <a:pt x="9" y="24"/>
                  <a:pt x="15" y="24"/>
                </a:cubicBezTo>
                <a:cubicBezTo>
                  <a:pt x="20" y="24"/>
                  <a:pt x="24" y="20"/>
                  <a:pt x="24" y="15"/>
                </a:cubicBezTo>
                <a:cubicBezTo>
                  <a:pt x="24" y="9"/>
                  <a:pt x="20" y="5"/>
                  <a:pt x="15" y="5"/>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34"/>
          <p:cNvSpPr>
            <a:spLocks noEditPoints="1"/>
          </p:cNvSpPr>
          <p:nvPr/>
        </p:nvSpPr>
        <p:spPr bwMode="auto">
          <a:xfrm>
            <a:off x="9184363" y="5889908"/>
            <a:ext cx="74906" cy="74906"/>
          </a:xfrm>
          <a:custGeom>
            <a:avLst/>
            <a:gdLst>
              <a:gd name="T0" fmla="*/ 16 w 31"/>
              <a:gd name="T1" fmla="*/ 30 h 31"/>
              <a:gd name="T2" fmla="*/ 16 w 31"/>
              <a:gd name="T3" fmla="*/ 28 h 31"/>
              <a:gd name="T4" fmla="*/ 6 w 31"/>
              <a:gd name="T5" fmla="*/ 25 h 31"/>
              <a:gd name="T6" fmla="*/ 3 w 31"/>
              <a:gd name="T7" fmla="*/ 16 h 31"/>
              <a:gd name="T8" fmla="*/ 6 w 31"/>
              <a:gd name="T9" fmla="*/ 7 h 31"/>
              <a:gd name="T10" fmla="*/ 16 w 31"/>
              <a:gd name="T11" fmla="*/ 3 h 31"/>
              <a:gd name="T12" fmla="*/ 25 w 31"/>
              <a:gd name="T13" fmla="*/ 7 h 31"/>
              <a:gd name="T14" fmla="*/ 28 w 31"/>
              <a:gd name="T15" fmla="*/ 16 h 31"/>
              <a:gd name="T16" fmla="*/ 25 w 31"/>
              <a:gd name="T17" fmla="*/ 25 h 31"/>
              <a:gd name="T18" fmla="*/ 16 w 31"/>
              <a:gd name="T19" fmla="*/ 28 h 31"/>
              <a:gd name="T20" fmla="*/ 16 w 31"/>
              <a:gd name="T21" fmla="*/ 30 h 31"/>
              <a:gd name="T22" fmla="*/ 16 w 31"/>
              <a:gd name="T23" fmla="*/ 31 h 31"/>
              <a:gd name="T24" fmla="*/ 31 w 31"/>
              <a:gd name="T25" fmla="*/ 16 h 31"/>
              <a:gd name="T26" fmla="*/ 16 w 31"/>
              <a:gd name="T27" fmla="*/ 0 h 31"/>
              <a:gd name="T28" fmla="*/ 0 w 31"/>
              <a:gd name="T29" fmla="*/ 16 h 31"/>
              <a:gd name="T30" fmla="*/ 16 w 31"/>
              <a:gd name="T31" fmla="*/ 31 h 31"/>
              <a:gd name="T32" fmla="*/ 16 w 31"/>
              <a:gd name="T33" fmla="*/ 30 h 31"/>
              <a:gd name="T34" fmla="*/ 16 w 31"/>
              <a:gd name="T35" fmla="*/ 6 h 31"/>
              <a:gd name="T36" fmla="*/ 16 w 31"/>
              <a:gd name="T37" fmla="*/ 4 h 31"/>
              <a:gd name="T38" fmla="*/ 4 w 31"/>
              <a:gd name="T39" fmla="*/ 16 h 31"/>
              <a:gd name="T40" fmla="*/ 16 w 31"/>
              <a:gd name="T41" fmla="*/ 27 h 31"/>
              <a:gd name="T42" fmla="*/ 27 w 31"/>
              <a:gd name="T43" fmla="*/ 16 h 31"/>
              <a:gd name="T44" fmla="*/ 16 w 31"/>
              <a:gd name="T45" fmla="*/ 4 h 31"/>
              <a:gd name="T46" fmla="*/ 16 w 31"/>
              <a:gd name="T47" fmla="*/ 6 h 31"/>
              <a:gd name="T48" fmla="*/ 16 w 31"/>
              <a:gd name="T49" fmla="*/ 7 h 31"/>
              <a:gd name="T50" fmla="*/ 24 w 31"/>
              <a:gd name="T51" fmla="*/ 16 h 31"/>
              <a:gd name="T52" fmla="*/ 16 w 31"/>
              <a:gd name="T53" fmla="*/ 24 h 31"/>
              <a:gd name="T54" fmla="*/ 7 w 31"/>
              <a:gd name="T55" fmla="*/ 16 h 31"/>
              <a:gd name="T56" fmla="*/ 16 w 31"/>
              <a:gd name="T57" fmla="*/ 7 h 31"/>
              <a:gd name="T58" fmla="*/ 16 w 31"/>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 h="31">
                <a:moveTo>
                  <a:pt x="16" y="30"/>
                </a:moveTo>
                <a:cubicBezTo>
                  <a:pt x="16" y="28"/>
                  <a:pt x="16" y="28"/>
                  <a:pt x="16" y="28"/>
                </a:cubicBezTo>
                <a:cubicBezTo>
                  <a:pt x="12" y="28"/>
                  <a:pt x="9" y="27"/>
                  <a:pt x="6" y="25"/>
                </a:cubicBezTo>
                <a:cubicBezTo>
                  <a:pt x="4" y="22"/>
                  <a:pt x="3" y="19"/>
                  <a:pt x="3" y="16"/>
                </a:cubicBezTo>
                <a:cubicBezTo>
                  <a:pt x="3" y="12"/>
                  <a:pt x="4" y="9"/>
                  <a:pt x="6" y="7"/>
                </a:cubicBezTo>
                <a:cubicBezTo>
                  <a:pt x="9" y="4"/>
                  <a:pt x="12" y="3"/>
                  <a:pt x="16" y="3"/>
                </a:cubicBezTo>
                <a:cubicBezTo>
                  <a:pt x="19" y="3"/>
                  <a:pt x="22" y="4"/>
                  <a:pt x="25" y="7"/>
                </a:cubicBezTo>
                <a:cubicBezTo>
                  <a:pt x="27" y="9"/>
                  <a:pt x="28" y="12"/>
                  <a:pt x="28" y="16"/>
                </a:cubicBezTo>
                <a:cubicBezTo>
                  <a:pt x="28" y="19"/>
                  <a:pt x="27" y="22"/>
                  <a:pt x="25" y="25"/>
                </a:cubicBezTo>
                <a:cubicBezTo>
                  <a:pt x="22" y="27"/>
                  <a:pt x="19" y="28"/>
                  <a:pt x="16" y="28"/>
                </a:cubicBezTo>
                <a:cubicBezTo>
                  <a:pt x="16" y="30"/>
                  <a:pt x="16" y="30"/>
                  <a:pt x="16" y="30"/>
                </a:cubicBezTo>
                <a:cubicBezTo>
                  <a:pt x="16" y="31"/>
                  <a:pt x="16" y="31"/>
                  <a:pt x="16" y="31"/>
                </a:cubicBezTo>
                <a:cubicBezTo>
                  <a:pt x="24" y="31"/>
                  <a:pt x="31" y="24"/>
                  <a:pt x="31" y="16"/>
                </a:cubicBezTo>
                <a:cubicBezTo>
                  <a:pt x="31" y="7"/>
                  <a:pt x="24" y="0"/>
                  <a:pt x="16" y="0"/>
                </a:cubicBezTo>
                <a:cubicBezTo>
                  <a:pt x="7" y="0"/>
                  <a:pt x="0" y="7"/>
                  <a:pt x="0" y="16"/>
                </a:cubicBezTo>
                <a:cubicBezTo>
                  <a:pt x="0" y="24"/>
                  <a:pt x="7" y="31"/>
                  <a:pt x="16" y="31"/>
                </a:cubicBezTo>
                <a:lnTo>
                  <a:pt x="16" y="30"/>
                </a:lnTo>
                <a:close/>
                <a:moveTo>
                  <a:pt x="16" y="6"/>
                </a:moveTo>
                <a:cubicBezTo>
                  <a:pt x="16" y="4"/>
                  <a:pt x="16" y="4"/>
                  <a:pt x="16" y="4"/>
                </a:cubicBezTo>
                <a:cubicBezTo>
                  <a:pt x="9" y="4"/>
                  <a:pt x="4" y="9"/>
                  <a:pt x="4" y="16"/>
                </a:cubicBezTo>
                <a:cubicBezTo>
                  <a:pt x="4" y="22"/>
                  <a:pt x="9" y="27"/>
                  <a:pt x="16" y="27"/>
                </a:cubicBezTo>
                <a:cubicBezTo>
                  <a:pt x="22" y="27"/>
                  <a:pt x="27" y="22"/>
                  <a:pt x="27" y="16"/>
                </a:cubicBezTo>
                <a:cubicBezTo>
                  <a:pt x="27" y="9"/>
                  <a:pt x="22" y="4"/>
                  <a:pt x="16" y="4"/>
                </a:cubicBezTo>
                <a:cubicBezTo>
                  <a:pt x="16" y="6"/>
                  <a:pt x="16" y="6"/>
                  <a:pt x="16" y="6"/>
                </a:cubicBezTo>
                <a:cubicBezTo>
                  <a:pt x="16" y="7"/>
                  <a:pt x="16" y="7"/>
                  <a:pt x="16" y="7"/>
                </a:cubicBezTo>
                <a:cubicBezTo>
                  <a:pt x="20" y="7"/>
                  <a:pt x="24" y="11"/>
                  <a:pt x="24" y="16"/>
                </a:cubicBezTo>
                <a:cubicBezTo>
                  <a:pt x="24" y="20"/>
                  <a:pt x="20" y="24"/>
                  <a:pt x="16" y="24"/>
                </a:cubicBezTo>
                <a:cubicBezTo>
                  <a:pt x="11" y="24"/>
                  <a:pt x="7" y="20"/>
                  <a:pt x="7" y="16"/>
                </a:cubicBezTo>
                <a:cubicBezTo>
                  <a:pt x="7" y="11"/>
                  <a:pt x="11" y="7"/>
                  <a:pt x="16" y="7"/>
                </a:cubicBezTo>
                <a:lnTo>
                  <a:pt x="16" y="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35"/>
          <p:cNvSpPr>
            <a:spLocks noEditPoints="1"/>
          </p:cNvSpPr>
          <p:nvPr/>
        </p:nvSpPr>
        <p:spPr bwMode="auto">
          <a:xfrm>
            <a:off x="8975841" y="5496144"/>
            <a:ext cx="86041" cy="45551"/>
          </a:xfrm>
          <a:custGeom>
            <a:avLst/>
            <a:gdLst>
              <a:gd name="T0" fmla="*/ 85 w 85"/>
              <a:gd name="T1" fmla="*/ 45 h 45"/>
              <a:gd name="T2" fmla="*/ 0 w 85"/>
              <a:gd name="T3" fmla="*/ 45 h 45"/>
              <a:gd name="T4" fmla="*/ 0 w 85"/>
              <a:gd name="T5" fmla="*/ 0 h 45"/>
              <a:gd name="T6" fmla="*/ 85 w 85"/>
              <a:gd name="T7" fmla="*/ 0 h 45"/>
              <a:gd name="T8" fmla="*/ 85 w 85"/>
              <a:gd name="T9" fmla="*/ 45 h 45"/>
              <a:gd name="T10" fmla="*/ 9 w 85"/>
              <a:gd name="T11" fmla="*/ 36 h 45"/>
              <a:gd name="T12" fmla="*/ 73 w 85"/>
              <a:gd name="T13" fmla="*/ 36 h 45"/>
              <a:gd name="T14" fmla="*/ 73 w 85"/>
              <a:gd name="T15" fmla="*/ 12 h 45"/>
              <a:gd name="T16" fmla="*/ 9 w 85"/>
              <a:gd name="T17" fmla="*/ 12 h 45"/>
              <a:gd name="T18" fmla="*/ 9 w 85"/>
              <a:gd name="T19"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45">
                <a:moveTo>
                  <a:pt x="85" y="45"/>
                </a:moveTo>
                <a:lnTo>
                  <a:pt x="0" y="45"/>
                </a:lnTo>
                <a:lnTo>
                  <a:pt x="0" y="0"/>
                </a:lnTo>
                <a:lnTo>
                  <a:pt x="85" y="0"/>
                </a:lnTo>
                <a:lnTo>
                  <a:pt x="85" y="45"/>
                </a:lnTo>
                <a:close/>
                <a:moveTo>
                  <a:pt x="9" y="36"/>
                </a:moveTo>
                <a:lnTo>
                  <a:pt x="73" y="36"/>
                </a:lnTo>
                <a:lnTo>
                  <a:pt x="73" y="12"/>
                </a:lnTo>
                <a:lnTo>
                  <a:pt x="9" y="12"/>
                </a:lnTo>
                <a:lnTo>
                  <a:pt x="9" y="3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36"/>
          <p:cNvSpPr>
            <a:spLocks noEditPoints="1"/>
          </p:cNvSpPr>
          <p:nvPr/>
        </p:nvSpPr>
        <p:spPr bwMode="auto">
          <a:xfrm>
            <a:off x="8970780" y="5494120"/>
            <a:ext cx="94139" cy="52637"/>
          </a:xfrm>
          <a:custGeom>
            <a:avLst/>
            <a:gdLst>
              <a:gd name="T0" fmla="*/ 90 w 93"/>
              <a:gd name="T1" fmla="*/ 47 h 52"/>
              <a:gd name="T2" fmla="*/ 90 w 93"/>
              <a:gd name="T3" fmla="*/ 45 h 52"/>
              <a:gd name="T4" fmla="*/ 7 w 93"/>
              <a:gd name="T5" fmla="*/ 45 h 52"/>
              <a:gd name="T6" fmla="*/ 7 w 93"/>
              <a:gd name="T7" fmla="*/ 7 h 52"/>
              <a:gd name="T8" fmla="*/ 86 w 93"/>
              <a:gd name="T9" fmla="*/ 7 h 52"/>
              <a:gd name="T10" fmla="*/ 86 w 93"/>
              <a:gd name="T11" fmla="*/ 47 h 52"/>
              <a:gd name="T12" fmla="*/ 90 w 93"/>
              <a:gd name="T13" fmla="*/ 47 h 52"/>
              <a:gd name="T14" fmla="*/ 90 w 93"/>
              <a:gd name="T15" fmla="*/ 45 h 52"/>
              <a:gd name="T16" fmla="*/ 90 w 93"/>
              <a:gd name="T17" fmla="*/ 47 h 52"/>
              <a:gd name="T18" fmla="*/ 93 w 93"/>
              <a:gd name="T19" fmla="*/ 47 h 52"/>
              <a:gd name="T20" fmla="*/ 93 w 93"/>
              <a:gd name="T21" fmla="*/ 0 h 52"/>
              <a:gd name="T22" fmla="*/ 0 w 93"/>
              <a:gd name="T23" fmla="*/ 0 h 52"/>
              <a:gd name="T24" fmla="*/ 0 w 93"/>
              <a:gd name="T25" fmla="*/ 52 h 52"/>
              <a:gd name="T26" fmla="*/ 93 w 93"/>
              <a:gd name="T27" fmla="*/ 52 h 52"/>
              <a:gd name="T28" fmla="*/ 93 w 93"/>
              <a:gd name="T29" fmla="*/ 47 h 52"/>
              <a:gd name="T30" fmla="*/ 90 w 93"/>
              <a:gd name="T31" fmla="*/ 47 h 52"/>
              <a:gd name="T32" fmla="*/ 14 w 93"/>
              <a:gd name="T33" fmla="*/ 38 h 52"/>
              <a:gd name="T34" fmla="*/ 14 w 93"/>
              <a:gd name="T35" fmla="*/ 40 h 52"/>
              <a:gd name="T36" fmla="*/ 83 w 93"/>
              <a:gd name="T37" fmla="*/ 40 h 52"/>
              <a:gd name="T38" fmla="*/ 83 w 93"/>
              <a:gd name="T39" fmla="*/ 9 h 52"/>
              <a:gd name="T40" fmla="*/ 12 w 93"/>
              <a:gd name="T41" fmla="*/ 9 h 52"/>
              <a:gd name="T42" fmla="*/ 12 w 93"/>
              <a:gd name="T43" fmla="*/ 40 h 52"/>
              <a:gd name="T44" fmla="*/ 14 w 93"/>
              <a:gd name="T45" fmla="*/ 40 h 52"/>
              <a:gd name="T46" fmla="*/ 14 w 93"/>
              <a:gd name="T47" fmla="*/ 38 h 52"/>
              <a:gd name="T48" fmla="*/ 19 w 93"/>
              <a:gd name="T49" fmla="*/ 38 h 52"/>
              <a:gd name="T50" fmla="*/ 19 w 93"/>
              <a:gd name="T51" fmla="*/ 16 h 52"/>
              <a:gd name="T52" fmla="*/ 76 w 93"/>
              <a:gd name="T53" fmla="*/ 16 h 52"/>
              <a:gd name="T54" fmla="*/ 76 w 93"/>
              <a:gd name="T55" fmla="*/ 33 h 52"/>
              <a:gd name="T56" fmla="*/ 14 w 93"/>
              <a:gd name="T57" fmla="*/ 33 h 52"/>
              <a:gd name="T58" fmla="*/ 14 w 93"/>
              <a:gd name="T59" fmla="*/ 38 h 52"/>
              <a:gd name="T60" fmla="*/ 19 w 93"/>
              <a:gd name="T61" fmla="*/ 38 h 52"/>
              <a:gd name="T62" fmla="*/ 14 w 93"/>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 h="52">
                <a:moveTo>
                  <a:pt x="90" y="47"/>
                </a:moveTo>
                <a:lnTo>
                  <a:pt x="90" y="45"/>
                </a:lnTo>
                <a:lnTo>
                  <a:pt x="7" y="45"/>
                </a:lnTo>
                <a:lnTo>
                  <a:pt x="7" y="7"/>
                </a:lnTo>
                <a:lnTo>
                  <a:pt x="86" y="7"/>
                </a:lnTo>
                <a:lnTo>
                  <a:pt x="86" y="47"/>
                </a:lnTo>
                <a:lnTo>
                  <a:pt x="90" y="47"/>
                </a:lnTo>
                <a:lnTo>
                  <a:pt x="90" y="45"/>
                </a:lnTo>
                <a:lnTo>
                  <a:pt x="90" y="47"/>
                </a:lnTo>
                <a:lnTo>
                  <a:pt x="93" y="47"/>
                </a:lnTo>
                <a:lnTo>
                  <a:pt x="93" y="0"/>
                </a:lnTo>
                <a:lnTo>
                  <a:pt x="0" y="0"/>
                </a:lnTo>
                <a:lnTo>
                  <a:pt x="0" y="52"/>
                </a:lnTo>
                <a:lnTo>
                  <a:pt x="93" y="52"/>
                </a:lnTo>
                <a:lnTo>
                  <a:pt x="93" y="47"/>
                </a:lnTo>
                <a:lnTo>
                  <a:pt x="90" y="47"/>
                </a:lnTo>
                <a:close/>
                <a:moveTo>
                  <a:pt x="14" y="38"/>
                </a:moveTo>
                <a:lnTo>
                  <a:pt x="14" y="40"/>
                </a:lnTo>
                <a:lnTo>
                  <a:pt x="83" y="40"/>
                </a:lnTo>
                <a:lnTo>
                  <a:pt x="83" y="9"/>
                </a:lnTo>
                <a:lnTo>
                  <a:pt x="12" y="9"/>
                </a:lnTo>
                <a:lnTo>
                  <a:pt x="12" y="40"/>
                </a:lnTo>
                <a:lnTo>
                  <a:pt x="14" y="40"/>
                </a:lnTo>
                <a:lnTo>
                  <a:pt x="14" y="38"/>
                </a:lnTo>
                <a:lnTo>
                  <a:pt x="19" y="38"/>
                </a:lnTo>
                <a:lnTo>
                  <a:pt x="19" y="16"/>
                </a:lnTo>
                <a:lnTo>
                  <a:pt x="76" y="16"/>
                </a:lnTo>
                <a:lnTo>
                  <a:pt x="76" y="33"/>
                </a:lnTo>
                <a:lnTo>
                  <a:pt x="14" y="33"/>
                </a:lnTo>
                <a:lnTo>
                  <a:pt x="14" y="38"/>
                </a:lnTo>
                <a:lnTo>
                  <a:pt x="19" y="38"/>
                </a:lnTo>
                <a:lnTo>
                  <a:pt x="14" y="3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37"/>
          <p:cNvSpPr>
            <a:spLocks noEditPoints="1"/>
          </p:cNvSpPr>
          <p:nvPr/>
        </p:nvSpPr>
        <p:spPr bwMode="auto">
          <a:xfrm>
            <a:off x="8975841" y="5563965"/>
            <a:ext cx="45551" cy="47576"/>
          </a:xfrm>
          <a:custGeom>
            <a:avLst/>
            <a:gdLst>
              <a:gd name="T0" fmla="*/ 45 w 45"/>
              <a:gd name="T1" fmla="*/ 47 h 47"/>
              <a:gd name="T2" fmla="*/ 0 w 45"/>
              <a:gd name="T3" fmla="*/ 47 h 47"/>
              <a:gd name="T4" fmla="*/ 0 w 45"/>
              <a:gd name="T5" fmla="*/ 0 h 47"/>
              <a:gd name="T6" fmla="*/ 45 w 45"/>
              <a:gd name="T7" fmla="*/ 0 h 47"/>
              <a:gd name="T8" fmla="*/ 45 w 45"/>
              <a:gd name="T9" fmla="*/ 47 h 47"/>
              <a:gd name="T10" fmla="*/ 9 w 45"/>
              <a:gd name="T11" fmla="*/ 35 h 47"/>
              <a:gd name="T12" fmla="*/ 33 w 45"/>
              <a:gd name="T13" fmla="*/ 35 h 47"/>
              <a:gd name="T14" fmla="*/ 33 w 45"/>
              <a:gd name="T15" fmla="*/ 11 h 47"/>
              <a:gd name="T16" fmla="*/ 9 w 45"/>
              <a:gd name="T17" fmla="*/ 11 h 47"/>
              <a:gd name="T18" fmla="*/ 9 w 45"/>
              <a:gd name="T1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7">
                <a:moveTo>
                  <a:pt x="45" y="47"/>
                </a:moveTo>
                <a:lnTo>
                  <a:pt x="0" y="47"/>
                </a:lnTo>
                <a:lnTo>
                  <a:pt x="0" y="0"/>
                </a:lnTo>
                <a:lnTo>
                  <a:pt x="45" y="0"/>
                </a:lnTo>
                <a:lnTo>
                  <a:pt x="45" y="47"/>
                </a:lnTo>
                <a:close/>
                <a:moveTo>
                  <a:pt x="9" y="35"/>
                </a:moveTo>
                <a:lnTo>
                  <a:pt x="33" y="35"/>
                </a:lnTo>
                <a:lnTo>
                  <a:pt x="33" y="11"/>
                </a:lnTo>
                <a:lnTo>
                  <a:pt x="9" y="11"/>
                </a:lnTo>
                <a:lnTo>
                  <a:pt x="9" y="3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38"/>
          <p:cNvSpPr>
            <a:spLocks noEditPoints="1"/>
          </p:cNvSpPr>
          <p:nvPr/>
        </p:nvSpPr>
        <p:spPr bwMode="auto">
          <a:xfrm>
            <a:off x="8970780" y="5560928"/>
            <a:ext cx="55674" cy="52637"/>
          </a:xfrm>
          <a:custGeom>
            <a:avLst/>
            <a:gdLst>
              <a:gd name="T0" fmla="*/ 50 w 55"/>
              <a:gd name="T1" fmla="*/ 50 h 52"/>
              <a:gd name="T2" fmla="*/ 50 w 55"/>
              <a:gd name="T3" fmla="*/ 45 h 52"/>
              <a:gd name="T4" fmla="*/ 7 w 55"/>
              <a:gd name="T5" fmla="*/ 45 h 52"/>
              <a:gd name="T6" fmla="*/ 7 w 55"/>
              <a:gd name="T7" fmla="*/ 7 h 52"/>
              <a:gd name="T8" fmla="*/ 48 w 55"/>
              <a:gd name="T9" fmla="*/ 7 h 52"/>
              <a:gd name="T10" fmla="*/ 48 w 55"/>
              <a:gd name="T11" fmla="*/ 50 h 52"/>
              <a:gd name="T12" fmla="*/ 50 w 55"/>
              <a:gd name="T13" fmla="*/ 50 h 52"/>
              <a:gd name="T14" fmla="*/ 50 w 55"/>
              <a:gd name="T15" fmla="*/ 45 h 52"/>
              <a:gd name="T16" fmla="*/ 50 w 55"/>
              <a:gd name="T17" fmla="*/ 50 h 52"/>
              <a:gd name="T18" fmla="*/ 55 w 55"/>
              <a:gd name="T19" fmla="*/ 50 h 52"/>
              <a:gd name="T20" fmla="*/ 55 w 55"/>
              <a:gd name="T21" fmla="*/ 0 h 52"/>
              <a:gd name="T22" fmla="*/ 0 w 55"/>
              <a:gd name="T23" fmla="*/ 0 h 52"/>
              <a:gd name="T24" fmla="*/ 0 w 55"/>
              <a:gd name="T25" fmla="*/ 52 h 52"/>
              <a:gd name="T26" fmla="*/ 55 w 55"/>
              <a:gd name="T27" fmla="*/ 52 h 52"/>
              <a:gd name="T28" fmla="*/ 55 w 55"/>
              <a:gd name="T29" fmla="*/ 50 h 52"/>
              <a:gd name="T30" fmla="*/ 50 w 55"/>
              <a:gd name="T31" fmla="*/ 50 h 52"/>
              <a:gd name="T32" fmla="*/ 14 w 55"/>
              <a:gd name="T33" fmla="*/ 38 h 52"/>
              <a:gd name="T34" fmla="*/ 14 w 55"/>
              <a:gd name="T35" fmla="*/ 40 h 52"/>
              <a:gd name="T36" fmla="*/ 43 w 55"/>
              <a:gd name="T37" fmla="*/ 40 h 52"/>
              <a:gd name="T38" fmla="*/ 43 w 55"/>
              <a:gd name="T39" fmla="*/ 10 h 52"/>
              <a:gd name="T40" fmla="*/ 12 w 55"/>
              <a:gd name="T41" fmla="*/ 10 h 52"/>
              <a:gd name="T42" fmla="*/ 12 w 55"/>
              <a:gd name="T43" fmla="*/ 40 h 52"/>
              <a:gd name="T44" fmla="*/ 14 w 55"/>
              <a:gd name="T45" fmla="*/ 40 h 52"/>
              <a:gd name="T46" fmla="*/ 14 w 55"/>
              <a:gd name="T47" fmla="*/ 38 h 52"/>
              <a:gd name="T48" fmla="*/ 19 w 55"/>
              <a:gd name="T49" fmla="*/ 38 h 52"/>
              <a:gd name="T50" fmla="*/ 19 w 55"/>
              <a:gd name="T51" fmla="*/ 17 h 52"/>
              <a:gd name="T52" fmla="*/ 36 w 55"/>
              <a:gd name="T53" fmla="*/ 17 h 52"/>
              <a:gd name="T54" fmla="*/ 36 w 55"/>
              <a:gd name="T55" fmla="*/ 33 h 52"/>
              <a:gd name="T56" fmla="*/ 14 w 55"/>
              <a:gd name="T57" fmla="*/ 33 h 52"/>
              <a:gd name="T58" fmla="*/ 14 w 55"/>
              <a:gd name="T59" fmla="*/ 38 h 52"/>
              <a:gd name="T60" fmla="*/ 19 w 55"/>
              <a:gd name="T61" fmla="*/ 38 h 52"/>
              <a:gd name="T62" fmla="*/ 14 w 55"/>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2">
                <a:moveTo>
                  <a:pt x="50" y="50"/>
                </a:moveTo>
                <a:lnTo>
                  <a:pt x="50" y="45"/>
                </a:lnTo>
                <a:lnTo>
                  <a:pt x="7" y="45"/>
                </a:lnTo>
                <a:lnTo>
                  <a:pt x="7" y="7"/>
                </a:lnTo>
                <a:lnTo>
                  <a:pt x="48" y="7"/>
                </a:lnTo>
                <a:lnTo>
                  <a:pt x="48" y="50"/>
                </a:lnTo>
                <a:lnTo>
                  <a:pt x="50" y="50"/>
                </a:lnTo>
                <a:lnTo>
                  <a:pt x="50" y="45"/>
                </a:lnTo>
                <a:lnTo>
                  <a:pt x="50" y="50"/>
                </a:lnTo>
                <a:lnTo>
                  <a:pt x="55" y="50"/>
                </a:lnTo>
                <a:lnTo>
                  <a:pt x="55" y="0"/>
                </a:lnTo>
                <a:lnTo>
                  <a:pt x="0" y="0"/>
                </a:lnTo>
                <a:lnTo>
                  <a:pt x="0" y="52"/>
                </a:lnTo>
                <a:lnTo>
                  <a:pt x="55" y="52"/>
                </a:lnTo>
                <a:lnTo>
                  <a:pt x="55" y="50"/>
                </a:lnTo>
                <a:lnTo>
                  <a:pt x="50" y="50"/>
                </a:lnTo>
                <a:close/>
                <a:moveTo>
                  <a:pt x="14" y="38"/>
                </a:moveTo>
                <a:lnTo>
                  <a:pt x="14" y="40"/>
                </a:lnTo>
                <a:lnTo>
                  <a:pt x="43" y="40"/>
                </a:lnTo>
                <a:lnTo>
                  <a:pt x="43" y="10"/>
                </a:lnTo>
                <a:lnTo>
                  <a:pt x="12" y="10"/>
                </a:lnTo>
                <a:lnTo>
                  <a:pt x="12" y="40"/>
                </a:lnTo>
                <a:lnTo>
                  <a:pt x="14" y="40"/>
                </a:lnTo>
                <a:lnTo>
                  <a:pt x="14" y="38"/>
                </a:lnTo>
                <a:lnTo>
                  <a:pt x="19" y="38"/>
                </a:lnTo>
                <a:lnTo>
                  <a:pt x="19" y="17"/>
                </a:lnTo>
                <a:lnTo>
                  <a:pt x="36" y="17"/>
                </a:lnTo>
                <a:lnTo>
                  <a:pt x="36" y="33"/>
                </a:lnTo>
                <a:lnTo>
                  <a:pt x="14" y="33"/>
                </a:lnTo>
                <a:lnTo>
                  <a:pt x="14" y="38"/>
                </a:lnTo>
                <a:lnTo>
                  <a:pt x="19" y="38"/>
                </a:lnTo>
                <a:lnTo>
                  <a:pt x="14" y="3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39"/>
          <p:cNvSpPr>
            <a:spLocks/>
          </p:cNvSpPr>
          <p:nvPr/>
        </p:nvSpPr>
        <p:spPr bwMode="auto">
          <a:xfrm>
            <a:off x="6453324" y="3982837"/>
            <a:ext cx="433241" cy="451462"/>
          </a:xfrm>
          <a:custGeom>
            <a:avLst/>
            <a:gdLst>
              <a:gd name="T0" fmla="*/ 90 w 180"/>
              <a:gd name="T1" fmla="*/ 4 h 188"/>
              <a:gd name="T2" fmla="*/ 90 w 180"/>
              <a:gd name="T3" fmla="*/ 0 h 188"/>
              <a:gd name="T4" fmla="*/ 0 w 180"/>
              <a:gd name="T5" fmla="*/ 90 h 188"/>
              <a:gd name="T6" fmla="*/ 22 w 180"/>
              <a:gd name="T7" fmla="*/ 148 h 188"/>
              <a:gd name="T8" fmla="*/ 25 w 180"/>
              <a:gd name="T9" fmla="*/ 145 h 188"/>
              <a:gd name="T10" fmla="*/ 21 w 180"/>
              <a:gd name="T11" fmla="*/ 143 h 188"/>
              <a:gd name="T12" fmla="*/ 1 w 180"/>
              <a:gd name="T13" fmla="*/ 181 h 188"/>
              <a:gd name="T14" fmla="*/ 2 w 180"/>
              <a:gd name="T15" fmla="*/ 186 h 188"/>
              <a:gd name="T16" fmla="*/ 7 w 180"/>
              <a:gd name="T17" fmla="*/ 187 h 188"/>
              <a:gd name="T18" fmla="*/ 43 w 180"/>
              <a:gd name="T19" fmla="*/ 164 h 188"/>
              <a:gd name="T20" fmla="*/ 41 w 180"/>
              <a:gd name="T21" fmla="*/ 160 h 188"/>
              <a:gd name="T22" fmla="*/ 39 w 180"/>
              <a:gd name="T23" fmla="*/ 164 h 188"/>
              <a:gd name="T24" fmla="*/ 90 w 180"/>
              <a:gd name="T25" fmla="*/ 180 h 188"/>
              <a:gd name="T26" fmla="*/ 180 w 180"/>
              <a:gd name="T27" fmla="*/ 90 h 188"/>
              <a:gd name="T28" fmla="*/ 90 w 180"/>
              <a:gd name="T29" fmla="*/ 0 h 188"/>
              <a:gd name="T30" fmla="*/ 90 w 180"/>
              <a:gd name="T31" fmla="*/ 4 h 188"/>
              <a:gd name="T32" fmla="*/ 90 w 180"/>
              <a:gd name="T33" fmla="*/ 8 h 188"/>
              <a:gd name="T34" fmla="*/ 148 w 180"/>
              <a:gd name="T35" fmla="*/ 32 h 188"/>
              <a:gd name="T36" fmla="*/ 172 w 180"/>
              <a:gd name="T37" fmla="*/ 90 h 188"/>
              <a:gd name="T38" fmla="*/ 148 w 180"/>
              <a:gd name="T39" fmla="*/ 148 h 188"/>
              <a:gd name="T40" fmla="*/ 90 w 180"/>
              <a:gd name="T41" fmla="*/ 172 h 188"/>
              <a:gd name="T42" fmla="*/ 43 w 180"/>
              <a:gd name="T43" fmla="*/ 157 h 188"/>
              <a:gd name="T44" fmla="*/ 39 w 180"/>
              <a:gd name="T45" fmla="*/ 157 h 188"/>
              <a:gd name="T46" fmla="*/ 15 w 180"/>
              <a:gd name="T47" fmla="*/ 172 h 188"/>
              <a:gd name="T48" fmla="*/ 28 w 180"/>
              <a:gd name="T49" fmla="*/ 147 h 188"/>
              <a:gd name="T50" fmla="*/ 28 w 180"/>
              <a:gd name="T51" fmla="*/ 143 h 188"/>
              <a:gd name="T52" fmla="*/ 8 w 180"/>
              <a:gd name="T53" fmla="*/ 90 h 188"/>
              <a:gd name="T54" fmla="*/ 32 w 180"/>
              <a:gd name="T55" fmla="*/ 32 h 188"/>
              <a:gd name="T56" fmla="*/ 90 w 180"/>
              <a:gd name="T57" fmla="*/ 8 h 188"/>
              <a:gd name="T58" fmla="*/ 90 w 180"/>
              <a:gd name="T59" fmla="*/ 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88">
                <a:moveTo>
                  <a:pt x="90" y="4"/>
                </a:moveTo>
                <a:cubicBezTo>
                  <a:pt x="90" y="0"/>
                  <a:pt x="90" y="0"/>
                  <a:pt x="90" y="0"/>
                </a:cubicBezTo>
                <a:cubicBezTo>
                  <a:pt x="41" y="0"/>
                  <a:pt x="0" y="40"/>
                  <a:pt x="0" y="90"/>
                </a:cubicBezTo>
                <a:cubicBezTo>
                  <a:pt x="0" y="112"/>
                  <a:pt x="8" y="132"/>
                  <a:pt x="22" y="148"/>
                </a:cubicBezTo>
                <a:cubicBezTo>
                  <a:pt x="25" y="145"/>
                  <a:pt x="25" y="145"/>
                  <a:pt x="25" y="145"/>
                </a:cubicBezTo>
                <a:cubicBezTo>
                  <a:pt x="21" y="143"/>
                  <a:pt x="21" y="143"/>
                  <a:pt x="21" y="143"/>
                </a:cubicBezTo>
                <a:cubicBezTo>
                  <a:pt x="1" y="181"/>
                  <a:pt x="1" y="181"/>
                  <a:pt x="1" y="181"/>
                </a:cubicBezTo>
                <a:cubicBezTo>
                  <a:pt x="0" y="183"/>
                  <a:pt x="1" y="185"/>
                  <a:pt x="2" y="186"/>
                </a:cubicBezTo>
                <a:cubicBezTo>
                  <a:pt x="3" y="187"/>
                  <a:pt x="5" y="188"/>
                  <a:pt x="7" y="187"/>
                </a:cubicBezTo>
                <a:cubicBezTo>
                  <a:pt x="43" y="164"/>
                  <a:pt x="43" y="164"/>
                  <a:pt x="43" y="164"/>
                </a:cubicBezTo>
                <a:cubicBezTo>
                  <a:pt x="41" y="160"/>
                  <a:pt x="41" y="160"/>
                  <a:pt x="41" y="160"/>
                </a:cubicBezTo>
                <a:cubicBezTo>
                  <a:pt x="39" y="164"/>
                  <a:pt x="39" y="164"/>
                  <a:pt x="39" y="164"/>
                </a:cubicBezTo>
                <a:cubicBezTo>
                  <a:pt x="53" y="174"/>
                  <a:pt x="71" y="180"/>
                  <a:pt x="90" y="180"/>
                </a:cubicBezTo>
                <a:cubicBezTo>
                  <a:pt x="140" y="180"/>
                  <a:pt x="180" y="139"/>
                  <a:pt x="180" y="90"/>
                </a:cubicBezTo>
                <a:cubicBezTo>
                  <a:pt x="180" y="40"/>
                  <a:pt x="140" y="0"/>
                  <a:pt x="90" y="0"/>
                </a:cubicBezTo>
                <a:cubicBezTo>
                  <a:pt x="90" y="4"/>
                  <a:pt x="90" y="4"/>
                  <a:pt x="90" y="4"/>
                </a:cubicBezTo>
                <a:cubicBezTo>
                  <a:pt x="90" y="8"/>
                  <a:pt x="90" y="8"/>
                  <a:pt x="90" y="8"/>
                </a:cubicBezTo>
                <a:cubicBezTo>
                  <a:pt x="113" y="8"/>
                  <a:pt x="133" y="17"/>
                  <a:pt x="148" y="32"/>
                </a:cubicBezTo>
                <a:cubicBezTo>
                  <a:pt x="163" y="47"/>
                  <a:pt x="172" y="67"/>
                  <a:pt x="172" y="90"/>
                </a:cubicBezTo>
                <a:cubicBezTo>
                  <a:pt x="172" y="112"/>
                  <a:pt x="163" y="133"/>
                  <a:pt x="148" y="148"/>
                </a:cubicBezTo>
                <a:cubicBezTo>
                  <a:pt x="133" y="163"/>
                  <a:pt x="113" y="172"/>
                  <a:pt x="90" y="172"/>
                </a:cubicBezTo>
                <a:cubicBezTo>
                  <a:pt x="73" y="172"/>
                  <a:pt x="57" y="166"/>
                  <a:pt x="43" y="157"/>
                </a:cubicBezTo>
                <a:cubicBezTo>
                  <a:pt x="42" y="156"/>
                  <a:pt x="40" y="156"/>
                  <a:pt x="39" y="157"/>
                </a:cubicBezTo>
                <a:cubicBezTo>
                  <a:pt x="15" y="172"/>
                  <a:pt x="15" y="172"/>
                  <a:pt x="15" y="172"/>
                </a:cubicBezTo>
                <a:cubicBezTo>
                  <a:pt x="28" y="147"/>
                  <a:pt x="28" y="147"/>
                  <a:pt x="28" y="147"/>
                </a:cubicBezTo>
                <a:cubicBezTo>
                  <a:pt x="29" y="146"/>
                  <a:pt x="29" y="144"/>
                  <a:pt x="28" y="143"/>
                </a:cubicBezTo>
                <a:cubicBezTo>
                  <a:pt x="16" y="128"/>
                  <a:pt x="8" y="110"/>
                  <a:pt x="8" y="90"/>
                </a:cubicBezTo>
                <a:cubicBezTo>
                  <a:pt x="8" y="67"/>
                  <a:pt x="18" y="47"/>
                  <a:pt x="32" y="32"/>
                </a:cubicBezTo>
                <a:cubicBezTo>
                  <a:pt x="47" y="17"/>
                  <a:pt x="68" y="8"/>
                  <a:pt x="90" y="8"/>
                </a:cubicBezTo>
                <a:lnTo>
                  <a:pt x="90" y="4"/>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40"/>
          <p:cNvSpPr>
            <a:spLocks/>
          </p:cNvSpPr>
          <p:nvPr/>
        </p:nvSpPr>
        <p:spPr bwMode="auto">
          <a:xfrm>
            <a:off x="6516083" y="4047621"/>
            <a:ext cx="302662" cy="300637"/>
          </a:xfrm>
          <a:custGeom>
            <a:avLst/>
            <a:gdLst>
              <a:gd name="T0" fmla="*/ 122 w 126"/>
              <a:gd name="T1" fmla="*/ 63 h 125"/>
              <a:gd name="T2" fmla="*/ 118 w 126"/>
              <a:gd name="T3" fmla="*/ 63 h 125"/>
              <a:gd name="T4" fmla="*/ 102 w 126"/>
              <a:gd name="T5" fmla="*/ 101 h 125"/>
              <a:gd name="T6" fmla="*/ 63 w 126"/>
              <a:gd name="T7" fmla="*/ 117 h 125"/>
              <a:gd name="T8" fmla="*/ 24 w 126"/>
              <a:gd name="T9" fmla="*/ 101 h 125"/>
              <a:gd name="T10" fmla="*/ 8 w 126"/>
              <a:gd name="T11" fmla="*/ 63 h 125"/>
              <a:gd name="T12" fmla="*/ 24 w 126"/>
              <a:gd name="T13" fmla="*/ 24 h 125"/>
              <a:gd name="T14" fmla="*/ 63 w 126"/>
              <a:gd name="T15" fmla="*/ 8 h 125"/>
              <a:gd name="T16" fmla="*/ 102 w 126"/>
              <a:gd name="T17" fmla="*/ 24 h 125"/>
              <a:gd name="T18" fmla="*/ 118 w 126"/>
              <a:gd name="T19" fmla="*/ 63 h 125"/>
              <a:gd name="T20" fmla="*/ 122 w 126"/>
              <a:gd name="T21" fmla="*/ 63 h 125"/>
              <a:gd name="T22" fmla="*/ 126 w 126"/>
              <a:gd name="T23" fmla="*/ 63 h 125"/>
              <a:gd name="T24" fmla="*/ 63 w 126"/>
              <a:gd name="T25" fmla="*/ 0 h 125"/>
              <a:gd name="T26" fmla="*/ 0 w 126"/>
              <a:gd name="T27" fmla="*/ 63 h 125"/>
              <a:gd name="T28" fmla="*/ 63 w 126"/>
              <a:gd name="T29" fmla="*/ 125 h 125"/>
              <a:gd name="T30" fmla="*/ 126 w 126"/>
              <a:gd name="T31" fmla="*/ 63 h 125"/>
              <a:gd name="T32" fmla="*/ 122 w 126"/>
              <a:gd name="T33" fmla="*/ 6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 h="125">
                <a:moveTo>
                  <a:pt x="122" y="63"/>
                </a:moveTo>
                <a:cubicBezTo>
                  <a:pt x="118" y="63"/>
                  <a:pt x="118" y="63"/>
                  <a:pt x="118" y="63"/>
                </a:cubicBezTo>
                <a:cubicBezTo>
                  <a:pt x="118" y="78"/>
                  <a:pt x="112" y="91"/>
                  <a:pt x="102" y="101"/>
                </a:cubicBezTo>
                <a:cubicBezTo>
                  <a:pt x="92" y="111"/>
                  <a:pt x="78" y="117"/>
                  <a:pt x="63" y="117"/>
                </a:cubicBezTo>
                <a:cubicBezTo>
                  <a:pt x="48" y="117"/>
                  <a:pt x="34" y="111"/>
                  <a:pt x="24" y="101"/>
                </a:cubicBezTo>
                <a:cubicBezTo>
                  <a:pt x="15" y="91"/>
                  <a:pt x="8" y="78"/>
                  <a:pt x="8" y="63"/>
                </a:cubicBezTo>
                <a:cubicBezTo>
                  <a:pt x="8" y="48"/>
                  <a:pt x="15" y="34"/>
                  <a:pt x="24" y="24"/>
                </a:cubicBezTo>
                <a:cubicBezTo>
                  <a:pt x="34" y="14"/>
                  <a:pt x="48" y="8"/>
                  <a:pt x="63" y="8"/>
                </a:cubicBezTo>
                <a:cubicBezTo>
                  <a:pt x="78" y="8"/>
                  <a:pt x="92" y="14"/>
                  <a:pt x="102" y="24"/>
                </a:cubicBezTo>
                <a:cubicBezTo>
                  <a:pt x="112" y="34"/>
                  <a:pt x="118" y="48"/>
                  <a:pt x="118" y="63"/>
                </a:cubicBezTo>
                <a:cubicBezTo>
                  <a:pt x="122" y="63"/>
                  <a:pt x="122" y="63"/>
                  <a:pt x="122" y="63"/>
                </a:cubicBezTo>
                <a:cubicBezTo>
                  <a:pt x="126" y="63"/>
                  <a:pt x="126" y="63"/>
                  <a:pt x="126" y="63"/>
                </a:cubicBezTo>
                <a:cubicBezTo>
                  <a:pt x="126" y="28"/>
                  <a:pt x="98" y="0"/>
                  <a:pt x="63" y="0"/>
                </a:cubicBezTo>
                <a:cubicBezTo>
                  <a:pt x="28" y="0"/>
                  <a:pt x="0" y="28"/>
                  <a:pt x="0" y="63"/>
                </a:cubicBezTo>
                <a:cubicBezTo>
                  <a:pt x="0" y="97"/>
                  <a:pt x="28" y="125"/>
                  <a:pt x="63" y="125"/>
                </a:cubicBezTo>
                <a:cubicBezTo>
                  <a:pt x="98" y="125"/>
                  <a:pt x="126" y="97"/>
                  <a:pt x="126" y="63"/>
                </a:cubicBezTo>
                <a:lnTo>
                  <a:pt x="122" y="6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41"/>
          <p:cNvSpPr>
            <a:spLocks/>
          </p:cNvSpPr>
          <p:nvPr/>
        </p:nvSpPr>
        <p:spPr bwMode="auto">
          <a:xfrm>
            <a:off x="6603136" y="4098233"/>
            <a:ext cx="131592" cy="187265"/>
          </a:xfrm>
          <a:custGeom>
            <a:avLst/>
            <a:gdLst>
              <a:gd name="T0" fmla="*/ 47 w 55"/>
              <a:gd name="T1" fmla="*/ 2 h 78"/>
              <a:gd name="T2" fmla="*/ 1 w 55"/>
              <a:gd name="T3" fmla="*/ 71 h 78"/>
              <a:gd name="T4" fmla="*/ 2 w 55"/>
              <a:gd name="T5" fmla="*/ 76 h 78"/>
              <a:gd name="T6" fmla="*/ 8 w 55"/>
              <a:gd name="T7" fmla="*/ 75 h 78"/>
              <a:gd name="T8" fmla="*/ 53 w 55"/>
              <a:gd name="T9" fmla="*/ 7 h 78"/>
              <a:gd name="T10" fmla="*/ 52 w 55"/>
              <a:gd name="T11" fmla="*/ 1 h 78"/>
              <a:gd name="T12" fmla="*/ 47 w 55"/>
              <a:gd name="T13" fmla="*/ 2 h 78"/>
            </a:gdLst>
            <a:ahLst/>
            <a:cxnLst>
              <a:cxn ang="0">
                <a:pos x="T0" y="T1"/>
              </a:cxn>
              <a:cxn ang="0">
                <a:pos x="T2" y="T3"/>
              </a:cxn>
              <a:cxn ang="0">
                <a:pos x="T4" y="T5"/>
              </a:cxn>
              <a:cxn ang="0">
                <a:pos x="T6" y="T7"/>
              </a:cxn>
              <a:cxn ang="0">
                <a:pos x="T8" y="T9"/>
              </a:cxn>
              <a:cxn ang="0">
                <a:pos x="T10" y="T11"/>
              </a:cxn>
              <a:cxn ang="0">
                <a:pos x="T12" y="T13"/>
              </a:cxn>
            </a:cxnLst>
            <a:rect l="0" t="0" r="r" b="b"/>
            <a:pathLst>
              <a:path w="55" h="78">
                <a:moveTo>
                  <a:pt x="47" y="2"/>
                </a:moveTo>
                <a:cubicBezTo>
                  <a:pt x="1" y="71"/>
                  <a:pt x="1" y="71"/>
                  <a:pt x="1" y="71"/>
                </a:cubicBezTo>
                <a:cubicBezTo>
                  <a:pt x="0" y="73"/>
                  <a:pt x="1" y="75"/>
                  <a:pt x="2" y="76"/>
                </a:cubicBezTo>
                <a:cubicBezTo>
                  <a:pt x="4" y="78"/>
                  <a:pt x="7" y="77"/>
                  <a:pt x="8" y="75"/>
                </a:cubicBezTo>
                <a:cubicBezTo>
                  <a:pt x="53" y="7"/>
                  <a:pt x="53" y="7"/>
                  <a:pt x="53" y="7"/>
                </a:cubicBezTo>
                <a:cubicBezTo>
                  <a:pt x="55" y="5"/>
                  <a:pt x="54" y="2"/>
                  <a:pt x="52" y="1"/>
                </a:cubicBezTo>
                <a:cubicBezTo>
                  <a:pt x="50" y="0"/>
                  <a:pt x="48" y="0"/>
                  <a:pt x="47" y="2"/>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42"/>
          <p:cNvSpPr>
            <a:spLocks/>
          </p:cNvSpPr>
          <p:nvPr/>
        </p:nvSpPr>
        <p:spPr bwMode="auto">
          <a:xfrm>
            <a:off x="6585928" y="4100257"/>
            <a:ext cx="66808" cy="101225"/>
          </a:xfrm>
          <a:custGeom>
            <a:avLst/>
            <a:gdLst>
              <a:gd name="T0" fmla="*/ 24 w 28"/>
              <a:gd name="T1" fmla="*/ 28 h 42"/>
              <a:gd name="T2" fmla="*/ 20 w 28"/>
              <a:gd name="T3" fmla="*/ 28 h 42"/>
              <a:gd name="T4" fmla="*/ 14 w 28"/>
              <a:gd name="T5" fmla="*/ 34 h 42"/>
              <a:gd name="T6" fmla="*/ 8 w 28"/>
              <a:gd name="T7" fmla="*/ 28 h 42"/>
              <a:gd name="T8" fmla="*/ 8 w 28"/>
              <a:gd name="T9" fmla="*/ 14 h 42"/>
              <a:gd name="T10" fmla="*/ 14 w 28"/>
              <a:gd name="T11" fmla="*/ 8 h 42"/>
              <a:gd name="T12" fmla="*/ 20 w 28"/>
              <a:gd name="T13" fmla="*/ 14 h 42"/>
              <a:gd name="T14" fmla="*/ 20 w 28"/>
              <a:gd name="T15" fmla="*/ 28 h 42"/>
              <a:gd name="T16" fmla="*/ 24 w 28"/>
              <a:gd name="T17" fmla="*/ 28 h 42"/>
              <a:gd name="T18" fmla="*/ 28 w 28"/>
              <a:gd name="T19" fmla="*/ 28 h 42"/>
              <a:gd name="T20" fmla="*/ 28 w 28"/>
              <a:gd name="T21" fmla="*/ 14 h 42"/>
              <a:gd name="T22" fmla="*/ 14 w 28"/>
              <a:gd name="T23" fmla="*/ 0 h 42"/>
              <a:gd name="T24" fmla="*/ 0 w 28"/>
              <a:gd name="T25" fmla="*/ 14 h 42"/>
              <a:gd name="T26" fmla="*/ 0 w 28"/>
              <a:gd name="T27" fmla="*/ 28 h 42"/>
              <a:gd name="T28" fmla="*/ 14 w 28"/>
              <a:gd name="T29" fmla="*/ 42 h 42"/>
              <a:gd name="T30" fmla="*/ 28 w 28"/>
              <a:gd name="T31" fmla="*/ 28 h 42"/>
              <a:gd name="T32" fmla="*/ 24 w 28"/>
              <a:gd name="T33"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2">
                <a:moveTo>
                  <a:pt x="24" y="28"/>
                </a:moveTo>
                <a:cubicBezTo>
                  <a:pt x="20" y="28"/>
                  <a:pt x="20" y="28"/>
                  <a:pt x="20" y="28"/>
                </a:cubicBezTo>
                <a:cubicBezTo>
                  <a:pt x="20" y="31"/>
                  <a:pt x="17" y="34"/>
                  <a:pt x="14" y="34"/>
                </a:cubicBezTo>
                <a:cubicBezTo>
                  <a:pt x="10" y="34"/>
                  <a:pt x="8" y="31"/>
                  <a:pt x="8" y="28"/>
                </a:cubicBezTo>
                <a:cubicBezTo>
                  <a:pt x="8" y="14"/>
                  <a:pt x="8" y="14"/>
                  <a:pt x="8" y="14"/>
                </a:cubicBezTo>
                <a:cubicBezTo>
                  <a:pt x="8" y="11"/>
                  <a:pt x="10" y="8"/>
                  <a:pt x="14" y="8"/>
                </a:cubicBezTo>
                <a:cubicBezTo>
                  <a:pt x="17" y="8"/>
                  <a:pt x="20" y="11"/>
                  <a:pt x="20" y="14"/>
                </a:cubicBezTo>
                <a:cubicBezTo>
                  <a:pt x="20" y="28"/>
                  <a:pt x="20" y="28"/>
                  <a:pt x="20" y="28"/>
                </a:cubicBezTo>
                <a:cubicBezTo>
                  <a:pt x="24" y="28"/>
                  <a:pt x="24" y="28"/>
                  <a:pt x="24" y="28"/>
                </a:cubicBezTo>
                <a:cubicBezTo>
                  <a:pt x="28" y="28"/>
                  <a:pt x="28" y="28"/>
                  <a:pt x="28" y="28"/>
                </a:cubicBezTo>
                <a:cubicBezTo>
                  <a:pt x="28" y="14"/>
                  <a:pt x="28" y="14"/>
                  <a:pt x="28" y="14"/>
                </a:cubicBezTo>
                <a:cubicBezTo>
                  <a:pt x="28" y="7"/>
                  <a:pt x="21" y="0"/>
                  <a:pt x="14" y="0"/>
                </a:cubicBezTo>
                <a:cubicBezTo>
                  <a:pt x="6" y="0"/>
                  <a:pt x="0" y="7"/>
                  <a:pt x="0" y="14"/>
                </a:cubicBezTo>
                <a:cubicBezTo>
                  <a:pt x="0" y="28"/>
                  <a:pt x="0" y="28"/>
                  <a:pt x="0" y="28"/>
                </a:cubicBezTo>
                <a:cubicBezTo>
                  <a:pt x="0" y="35"/>
                  <a:pt x="6" y="42"/>
                  <a:pt x="14" y="42"/>
                </a:cubicBezTo>
                <a:cubicBezTo>
                  <a:pt x="21" y="42"/>
                  <a:pt x="28" y="35"/>
                  <a:pt x="28" y="28"/>
                </a:cubicBezTo>
                <a:lnTo>
                  <a:pt x="24" y="28"/>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3"/>
          <p:cNvSpPr>
            <a:spLocks/>
          </p:cNvSpPr>
          <p:nvPr/>
        </p:nvSpPr>
        <p:spPr bwMode="auto">
          <a:xfrm>
            <a:off x="6684116" y="4182249"/>
            <a:ext cx="67820" cy="98188"/>
          </a:xfrm>
          <a:custGeom>
            <a:avLst/>
            <a:gdLst>
              <a:gd name="T0" fmla="*/ 24 w 28"/>
              <a:gd name="T1" fmla="*/ 27 h 41"/>
              <a:gd name="T2" fmla="*/ 20 w 28"/>
              <a:gd name="T3" fmla="*/ 27 h 41"/>
              <a:gd name="T4" fmla="*/ 14 w 28"/>
              <a:gd name="T5" fmla="*/ 33 h 41"/>
              <a:gd name="T6" fmla="*/ 8 w 28"/>
              <a:gd name="T7" fmla="*/ 27 h 41"/>
              <a:gd name="T8" fmla="*/ 8 w 28"/>
              <a:gd name="T9" fmla="*/ 14 h 41"/>
              <a:gd name="T10" fmla="*/ 14 w 28"/>
              <a:gd name="T11" fmla="*/ 8 h 41"/>
              <a:gd name="T12" fmla="*/ 20 w 28"/>
              <a:gd name="T13" fmla="*/ 14 h 41"/>
              <a:gd name="T14" fmla="*/ 20 w 28"/>
              <a:gd name="T15" fmla="*/ 27 h 41"/>
              <a:gd name="T16" fmla="*/ 24 w 28"/>
              <a:gd name="T17" fmla="*/ 27 h 41"/>
              <a:gd name="T18" fmla="*/ 28 w 28"/>
              <a:gd name="T19" fmla="*/ 27 h 41"/>
              <a:gd name="T20" fmla="*/ 28 w 28"/>
              <a:gd name="T21" fmla="*/ 14 h 41"/>
              <a:gd name="T22" fmla="*/ 14 w 28"/>
              <a:gd name="T23" fmla="*/ 0 h 41"/>
              <a:gd name="T24" fmla="*/ 0 w 28"/>
              <a:gd name="T25" fmla="*/ 14 h 41"/>
              <a:gd name="T26" fmla="*/ 0 w 28"/>
              <a:gd name="T27" fmla="*/ 27 h 41"/>
              <a:gd name="T28" fmla="*/ 14 w 28"/>
              <a:gd name="T29" fmla="*/ 41 h 41"/>
              <a:gd name="T30" fmla="*/ 28 w 28"/>
              <a:gd name="T31" fmla="*/ 27 h 41"/>
              <a:gd name="T32" fmla="*/ 24 w 28"/>
              <a:gd name="T33"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1">
                <a:moveTo>
                  <a:pt x="24" y="27"/>
                </a:moveTo>
                <a:cubicBezTo>
                  <a:pt x="20" y="27"/>
                  <a:pt x="20" y="27"/>
                  <a:pt x="20" y="27"/>
                </a:cubicBezTo>
                <a:cubicBezTo>
                  <a:pt x="20" y="31"/>
                  <a:pt x="17" y="33"/>
                  <a:pt x="14" y="33"/>
                </a:cubicBezTo>
                <a:cubicBezTo>
                  <a:pt x="11" y="33"/>
                  <a:pt x="8" y="31"/>
                  <a:pt x="8" y="27"/>
                </a:cubicBezTo>
                <a:cubicBezTo>
                  <a:pt x="8" y="14"/>
                  <a:pt x="8" y="14"/>
                  <a:pt x="8" y="14"/>
                </a:cubicBezTo>
                <a:cubicBezTo>
                  <a:pt x="8" y="11"/>
                  <a:pt x="11" y="8"/>
                  <a:pt x="14" y="8"/>
                </a:cubicBezTo>
                <a:cubicBezTo>
                  <a:pt x="17" y="8"/>
                  <a:pt x="20" y="11"/>
                  <a:pt x="20" y="14"/>
                </a:cubicBezTo>
                <a:cubicBezTo>
                  <a:pt x="20" y="27"/>
                  <a:pt x="20" y="27"/>
                  <a:pt x="20" y="27"/>
                </a:cubicBezTo>
                <a:cubicBezTo>
                  <a:pt x="24" y="27"/>
                  <a:pt x="24" y="27"/>
                  <a:pt x="24" y="27"/>
                </a:cubicBezTo>
                <a:cubicBezTo>
                  <a:pt x="28" y="27"/>
                  <a:pt x="28" y="27"/>
                  <a:pt x="28" y="27"/>
                </a:cubicBezTo>
                <a:cubicBezTo>
                  <a:pt x="28" y="14"/>
                  <a:pt x="28" y="14"/>
                  <a:pt x="28" y="14"/>
                </a:cubicBezTo>
                <a:cubicBezTo>
                  <a:pt x="28" y="6"/>
                  <a:pt x="22" y="0"/>
                  <a:pt x="14" y="0"/>
                </a:cubicBezTo>
                <a:cubicBezTo>
                  <a:pt x="6" y="0"/>
                  <a:pt x="0" y="6"/>
                  <a:pt x="0" y="14"/>
                </a:cubicBezTo>
                <a:cubicBezTo>
                  <a:pt x="0" y="27"/>
                  <a:pt x="0" y="27"/>
                  <a:pt x="0" y="27"/>
                </a:cubicBezTo>
                <a:cubicBezTo>
                  <a:pt x="0" y="35"/>
                  <a:pt x="6" y="41"/>
                  <a:pt x="14" y="41"/>
                </a:cubicBezTo>
                <a:cubicBezTo>
                  <a:pt x="22" y="41"/>
                  <a:pt x="28" y="35"/>
                  <a:pt x="28" y="27"/>
                </a:cubicBezTo>
                <a:lnTo>
                  <a:pt x="24" y="27"/>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44"/>
          <p:cNvSpPr>
            <a:spLocks noEditPoints="1"/>
          </p:cNvSpPr>
          <p:nvPr/>
        </p:nvSpPr>
        <p:spPr bwMode="auto">
          <a:xfrm>
            <a:off x="4736555" y="2339962"/>
            <a:ext cx="69845" cy="68833"/>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7"/>
                  <a:pt x="7" y="0"/>
                  <a:pt x="15" y="0"/>
                </a:cubicBezTo>
                <a:cubicBezTo>
                  <a:pt x="22" y="0"/>
                  <a:pt x="29" y="7"/>
                  <a:pt x="29" y="14"/>
                </a:cubicBezTo>
                <a:cubicBezTo>
                  <a:pt x="29" y="22"/>
                  <a:pt x="22"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rgbClr val="C6C3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45"/>
          <p:cNvSpPr>
            <a:spLocks/>
          </p:cNvSpPr>
          <p:nvPr/>
        </p:nvSpPr>
        <p:spPr bwMode="auto">
          <a:xfrm>
            <a:off x="5034155" y="3615392"/>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7"/>
                  <a:pt x="8" y="45"/>
                </a:cubicBezTo>
                <a:cubicBezTo>
                  <a:pt x="0" y="32"/>
                  <a:pt x="3" y="16"/>
                  <a:pt x="16" y="8"/>
                </a:cubicBezTo>
                <a:cubicBezTo>
                  <a:pt x="28" y="0"/>
                  <a:pt x="45" y="3"/>
                  <a:pt x="53" y="16"/>
                </a:cubicBezTo>
                <a:cubicBezTo>
                  <a:pt x="61" y="28"/>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46"/>
          <p:cNvSpPr>
            <a:spLocks/>
          </p:cNvSpPr>
          <p:nvPr/>
        </p:nvSpPr>
        <p:spPr bwMode="auto">
          <a:xfrm>
            <a:off x="5032130" y="3612355"/>
            <a:ext cx="148800" cy="149812"/>
          </a:xfrm>
          <a:custGeom>
            <a:avLst/>
            <a:gdLst>
              <a:gd name="T0" fmla="*/ 46 w 62"/>
              <a:gd name="T1" fmla="*/ 54 h 62"/>
              <a:gd name="T2" fmla="*/ 44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1 h 62"/>
              <a:gd name="T20" fmla="*/ 46 w 62"/>
              <a:gd name="T21" fmla="*/ 54 h 62"/>
              <a:gd name="T22" fmla="*/ 48 w 62"/>
              <a:gd name="T23" fmla="*/ 57 h 62"/>
              <a:gd name="T24" fmla="*/ 62 w 62"/>
              <a:gd name="T25" fmla="*/ 31 h 62"/>
              <a:gd name="T26" fmla="*/ 57 w 62"/>
              <a:gd name="T27" fmla="*/ 15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1"/>
                  <a:pt x="44" y="51"/>
                  <a:pt x="44" y="51"/>
                </a:cubicBezTo>
                <a:cubicBezTo>
                  <a:pt x="40" y="53"/>
                  <a:pt x="36" y="54"/>
                  <a:pt x="31" y="54"/>
                </a:cubicBezTo>
                <a:cubicBezTo>
                  <a:pt x="24" y="54"/>
                  <a:pt x="16" y="50"/>
                  <a:pt x="12" y="44"/>
                </a:cubicBezTo>
                <a:cubicBezTo>
                  <a:pt x="10" y="40"/>
                  <a:pt x="8" y="35"/>
                  <a:pt x="8" y="31"/>
                </a:cubicBezTo>
                <a:cubicBezTo>
                  <a:pt x="8" y="24"/>
                  <a:pt x="12" y="16"/>
                  <a:pt x="19" y="12"/>
                </a:cubicBezTo>
                <a:cubicBezTo>
                  <a:pt x="23" y="10"/>
                  <a:pt x="27" y="8"/>
                  <a:pt x="31" y="8"/>
                </a:cubicBezTo>
                <a:cubicBezTo>
                  <a:pt x="39" y="8"/>
                  <a:pt x="46" y="12"/>
                  <a:pt x="51" y="19"/>
                </a:cubicBezTo>
                <a:cubicBezTo>
                  <a:pt x="53" y="23"/>
                  <a:pt x="54" y="27"/>
                  <a:pt x="54" y="31"/>
                </a:cubicBezTo>
                <a:cubicBezTo>
                  <a:pt x="54" y="39"/>
                  <a:pt x="50" y="46"/>
                  <a:pt x="44" y="51"/>
                </a:cubicBezTo>
                <a:cubicBezTo>
                  <a:pt x="46" y="54"/>
                  <a:pt x="46" y="54"/>
                  <a:pt x="46" y="54"/>
                </a:cubicBezTo>
                <a:cubicBezTo>
                  <a:pt x="48" y="57"/>
                  <a:pt x="48" y="57"/>
                  <a:pt x="48" y="57"/>
                </a:cubicBezTo>
                <a:cubicBezTo>
                  <a:pt x="57" y="51"/>
                  <a:pt x="62" y="41"/>
                  <a:pt x="62" y="31"/>
                </a:cubicBezTo>
                <a:cubicBezTo>
                  <a:pt x="62" y="26"/>
                  <a:pt x="61" y="20"/>
                  <a:pt x="57" y="15"/>
                </a:cubicBezTo>
                <a:cubicBezTo>
                  <a:pt x="51" y="5"/>
                  <a:pt x="41" y="0"/>
                  <a:pt x="31" y="0"/>
                </a:cubicBezTo>
                <a:cubicBezTo>
                  <a:pt x="26" y="0"/>
                  <a:pt x="20" y="2"/>
                  <a:pt x="15" y="5"/>
                </a:cubicBezTo>
                <a:cubicBezTo>
                  <a:pt x="6" y="11"/>
                  <a:pt x="0" y="21"/>
                  <a:pt x="0" y="31"/>
                </a:cubicBezTo>
                <a:cubicBezTo>
                  <a:pt x="0" y="37"/>
                  <a:pt x="2" y="43"/>
                  <a:pt x="5" y="48"/>
                </a:cubicBezTo>
                <a:cubicBezTo>
                  <a:pt x="11" y="57"/>
                  <a:pt x="21" y="62"/>
                  <a:pt x="31" y="62"/>
                </a:cubicBezTo>
                <a:cubicBezTo>
                  <a:pt x="37" y="62"/>
                  <a:pt x="43" y="61"/>
                  <a:pt x="48" y="57"/>
                </a:cubicBezTo>
                <a:lnTo>
                  <a:pt x="46"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47"/>
          <p:cNvSpPr>
            <a:spLocks/>
          </p:cNvSpPr>
          <p:nvPr/>
        </p:nvSpPr>
        <p:spPr bwMode="auto">
          <a:xfrm>
            <a:off x="6036278" y="2788387"/>
            <a:ext cx="1575055" cy="771331"/>
          </a:xfrm>
          <a:custGeom>
            <a:avLst/>
            <a:gdLst>
              <a:gd name="T0" fmla="*/ 645 w 656"/>
              <a:gd name="T1" fmla="*/ 2 h 321"/>
              <a:gd name="T2" fmla="*/ 554 w 656"/>
              <a:gd name="T3" fmla="*/ 97 h 321"/>
              <a:gd name="T4" fmla="*/ 355 w 656"/>
              <a:gd name="T5" fmla="*/ 118 h 321"/>
              <a:gd name="T6" fmla="*/ 351 w 656"/>
              <a:gd name="T7" fmla="*/ 120 h 321"/>
              <a:gd name="T8" fmla="*/ 230 w 656"/>
              <a:gd name="T9" fmla="*/ 270 h 321"/>
              <a:gd name="T10" fmla="*/ 6 w 656"/>
              <a:gd name="T11" fmla="*/ 308 h 321"/>
              <a:gd name="T12" fmla="*/ 1 w 656"/>
              <a:gd name="T13" fmla="*/ 315 h 321"/>
              <a:gd name="T14" fmla="*/ 8 w 656"/>
              <a:gd name="T15" fmla="*/ 320 h 321"/>
              <a:gd name="T16" fmla="*/ 235 w 656"/>
              <a:gd name="T17" fmla="*/ 281 h 321"/>
              <a:gd name="T18" fmla="*/ 238 w 656"/>
              <a:gd name="T19" fmla="*/ 279 h 321"/>
              <a:gd name="T20" fmla="*/ 359 w 656"/>
              <a:gd name="T21" fmla="*/ 130 h 321"/>
              <a:gd name="T22" fmla="*/ 557 w 656"/>
              <a:gd name="T23" fmla="*/ 108 h 321"/>
              <a:gd name="T24" fmla="*/ 561 w 656"/>
              <a:gd name="T25" fmla="*/ 106 h 321"/>
              <a:gd name="T26" fmla="*/ 654 w 656"/>
              <a:gd name="T27" fmla="*/ 11 h 321"/>
              <a:gd name="T28" fmla="*/ 653 w 656"/>
              <a:gd name="T29" fmla="*/ 2 h 321"/>
              <a:gd name="T30" fmla="*/ 645 w 656"/>
              <a:gd name="T31" fmla="*/ 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6" h="321">
                <a:moveTo>
                  <a:pt x="645" y="2"/>
                </a:moveTo>
                <a:cubicBezTo>
                  <a:pt x="554" y="97"/>
                  <a:pt x="554" y="97"/>
                  <a:pt x="554" y="97"/>
                </a:cubicBezTo>
                <a:cubicBezTo>
                  <a:pt x="355" y="118"/>
                  <a:pt x="355" y="118"/>
                  <a:pt x="355" y="118"/>
                </a:cubicBezTo>
                <a:cubicBezTo>
                  <a:pt x="354" y="118"/>
                  <a:pt x="352" y="119"/>
                  <a:pt x="351" y="120"/>
                </a:cubicBezTo>
                <a:cubicBezTo>
                  <a:pt x="230" y="270"/>
                  <a:pt x="230" y="270"/>
                  <a:pt x="230" y="270"/>
                </a:cubicBezTo>
                <a:cubicBezTo>
                  <a:pt x="6" y="308"/>
                  <a:pt x="6" y="308"/>
                  <a:pt x="6" y="308"/>
                </a:cubicBezTo>
                <a:cubicBezTo>
                  <a:pt x="3" y="309"/>
                  <a:pt x="0" y="312"/>
                  <a:pt x="1" y="315"/>
                </a:cubicBezTo>
                <a:cubicBezTo>
                  <a:pt x="2" y="318"/>
                  <a:pt x="5" y="321"/>
                  <a:pt x="8" y="320"/>
                </a:cubicBezTo>
                <a:cubicBezTo>
                  <a:pt x="235" y="281"/>
                  <a:pt x="235" y="281"/>
                  <a:pt x="235" y="281"/>
                </a:cubicBezTo>
                <a:cubicBezTo>
                  <a:pt x="236" y="281"/>
                  <a:pt x="237" y="280"/>
                  <a:pt x="238" y="279"/>
                </a:cubicBezTo>
                <a:cubicBezTo>
                  <a:pt x="359" y="130"/>
                  <a:pt x="359" y="130"/>
                  <a:pt x="359" y="130"/>
                </a:cubicBezTo>
                <a:cubicBezTo>
                  <a:pt x="557" y="108"/>
                  <a:pt x="557" y="108"/>
                  <a:pt x="557" y="108"/>
                </a:cubicBezTo>
                <a:cubicBezTo>
                  <a:pt x="559" y="108"/>
                  <a:pt x="560" y="107"/>
                  <a:pt x="561" y="106"/>
                </a:cubicBezTo>
                <a:cubicBezTo>
                  <a:pt x="654" y="11"/>
                  <a:pt x="654" y="11"/>
                  <a:pt x="654" y="11"/>
                </a:cubicBezTo>
                <a:cubicBezTo>
                  <a:pt x="656" y="8"/>
                  <a:pt x="656" y="5"/>
                  <a:pt x="653" y="2"/>
                </a:cubicBezTo>
                <a:cubicBezTo>
                  <a:pt x="651" y="0"/>
                  <a:pt x="647" y="0"/>
                  <a:pt x="645" y="2"/>
                </a:cubicBez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48"/>
          <p:cNvSpPr>
            <a:spLocks/>
          </p:cNvSpPr>
          <p:nvPr/>
        </p:nvSpPr>
        <p:spPr bwMode="auto">
          <a:xfrm>
            <a:off x="6540377" y="3423065"/>
            <a:ext cx="81992" cy="81992"/>
          </a:xfrm>
          <a:custGeom>
            <a:avLst/>
            <a:gdLst>
              <a:gd name="T0" fmla="*/ 25 w 34"/>
              <a:gd name="T1" fmla="*/ 29 h 34"/>
              <a:gd name="T2" fmla="*/ 4 w 34"/>
              <a:gd name="T3" fmla="*/ 25 h 34"/>
              <a:gd name="T4" fmla="*/ 9 w 34"/>
              <a:gd name="T5" fmla="*/ 4 h 34"/>
              <a:gd name="T6" fmla="*/ 29 w 34"/>
              <a:gd name="T7" fmla="*/ 9 h 34"/>
              <a:gd name="T8" fmla="*/ 25 w 34"/>
              <a:gd name="T9" fmla="*/ 29 h 34"/>
            </a:gdLst>
            <a:ahLst/>
            <a:cxnLst>
              <a:cxn ang="0">
                <a:pos x="T0" y="T1"/>
              </a:cxn>
              <a:cxn ang="0">
                <a:pos x="T2" y="T3"/>
              </a:cxn>
              <a:cxn ang="0">
                <a:pos x="T4" y="T5"/>
              </a:cxn>
              <a:cxn ang="0">
                <a:pos x="T6" y="T7"/>
              </a:cxn>
              <a:cxn ang="0">
                <a:pos x="T8" y="T9"/>
              </a:cxn>
            </a:cxnLst>
            <a:rect l="0" t="0" r="r" b="b"/>
            <a:pathLst>
              <a:path w="34" h="34">
                <a:moveTo>
                  <a:pt x="25" y="29"/>
                </a:moveTo>
                <a:cubicBezTo>
                  <a:pt x="18" y="34"/>
                  <a:pt x="8" y="32"/>
                  <a:pt x="4" y="25"/>
                </a:cubicBezTo>
                <a:cubicBezTo>
                  <a:pt x="0" y="18"/>
                  <a:pt x="2" y="9"/>
                  <a:pt x="9" y="4"/>
                </a:cubicBezTo>
                <a:cubicBezTo>
                  <a:pt x="16" y="0"/>
                  <a:pt x="25" y="2"/>
                  <a:pt x="29" y="9"/>
                </a:cubicBezTo>
                <a:cubicBezTo>
                  <a:pt x="34" y="16"/>
                  <a:pt x="31" y="25"/>
                  <a:pt x="2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49"/>
          <p:cNvSpPr>
            <a:spLocks/>
          </p:cNvSpPr>
          <p:nvPr/>
        </p:nvSpPr>
        <p:spPr bwMode="auto">
          <a:xfrm>
            <a:off x="6535316" y="3418004"/>
            <a:ext cx="89078" cy="91102"/>
          </a:xfrm>
          <a:custGeom>
            <a:avLst/>
            <a:gdLst>
              <a:gd name="T0" fmla="*/ 27 w 37"/>
              <a:gd name="T1" fmla="*/ 31 h 38"/>
              <a:gd name="T2" fmla="*/ 24 w 37"/>
              <a:gd name="T3" fmla="*/ 28 h 38"/>
              <a:gd name="T4" fmla="*/ 19 w 37"/>
              <a:gd name="T5" fmla="*/ 30 h 38"/>
              <a:gd name="T6" fmla="*/ 9 w 37"/>
              <a:gd name="T7" fmla="*/ 25 h 38"/>
              <a:gd name="T8" fmla="*/ 8 w 37"/>
              <a:gd name="T9" fmla="*/ 19 h 38"/>
              <a:gd name="T10" fmla="*/ 13 w 37"/>
              <a:gd name="T11" fmla="*/ 10 h 38"/>
              <a:gd name="T12" fmla="*/ 19 w 37"/>
              <a:gd name="T13" fmla="*/ 8 h 38"/>
              <a:gd name="T14" fmla="*/ 28 w 37"/>
              <a:gd name="T15" fmla="*/ 13 h 38"/>
              <a:gd name="T16" fmla="*/ 29 w 37"/>
              <a:gd name="T17" fmla="*/ 19 h 38"/>
              <a:gd name="T18" fmla="*/ 24 w 37"/>
              <a:gd name="T19" fmla="*/ 28 h 38"/>
              <a:gd name="T20" fmla="*/ 27 w 37"/>
              <a:gd name="T21" fmla="*/ 31 h 38"/>
              <a:gd name="T22" fmla="*/ 29 w 37"/>
              <a:gd name="T23" fmla="*/ 35 h 38"/>
              <a:gd name="T24" fmla="*/ 37 w 37"/>
              <a:gd name="T25" fmla="*/ 19 h 38"/>
              <a:gd name="T26" fmla="*/ 34 w 37"/>
              <a:gd name="T27" fmla="*/ 9 h 38"/>
              <a:gd name="T28" fmla="*/ 19 w 37"/>
              <a:gd name="T29" fmla="*/ 0 h 38"/>
              <a:gd name="T30" fmla="*/ 8 w 37"/>
              <a:gd name="T31" fmla="*/ 3 h 38"/>
              <a:gd name="T32" fmla="*/ 0 w 37"/>
              <a:gd name="T33" fmla="*/ 19 h 38"/>
              <a:gd name="T34" fmla="*/ 3 w 37"/>
              <a:gd name="T35" fmla="*/ 29 h 38"/>
              <a:gd name="T36" fmla="*/ 19 w 37"/>
              <a:gd name="T37" fmla="*/ 38 h 38"/>
              <a:gd name="T38" fmla="*/ 29 w 37"/>
              <a:gd name="T39" fmla="*/ 35 h 38"/>
              <a:gd name="T40" fmla="*/ 27 w 37"/>
              <a:gd name="T41"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38">
                <a:moveTo>
                  <a:pt x="27" y="31"/>
                </a:moveTo>
                <a:cubicBezTo>
                  <a:pt x="24" y="28"/>
                  <a:pt x="24" y="28"/>
                  <a:pt x="24" y="28"/>
                </a:cubicBezTo>
                <a:cubicBezTo>
                  <a:pt x="23" y="29"/>
                  <a:pt x="21" y="30"/>
                  <a:pt x="19" y="30"/>
                </a:cubicBezTo>
                <a:cubicBezTo>
                  <a:pt x="15" y="30"/>
                  <a:pt x="11" y="28"/>
                  <a:pt x="9" y="25"/>
                </a:cubicBezTo>
                <a:cubicBezTo>
                  <a:pt x="8" y="23"/>
                  <a:pt x="8" y="21"/>
                  <a:pt x="8" y="19"/>
                </a:cubicBezTo>
                <a:cubicBezTo>
                  <a:pt x="8" y="15"/>
                  <a:pt x="9" y="12"/>
                  <a:pt x="13" y="10"/>
                </a:cubicBezTo>
                <a:cubicBezTo>
                  <a:pt x="15" y="8"/>
                  <a:pt x="17" y="8"/>
                  <a:pt x="19" y="8"/>
                </a:cubicBezTo>
                <a:cubicBezTo>
                  <a:pt x="22" y="8"/>
                  <a:pt x="26" y="10"/>
                  <a:pt x="28" y="13"/>
                </a:cubicBezTo>
                <a:cubicBezTo>
                  <a:pt x="29" y="15"/>
                  <a:pt x="29" y="17"/>
                  <a:pt x="29" y="19"/>
                </a:cubicBezTo>
                <a:cubicBezTo>
                  <a:pt x="29" y="22"/>
                  <a:pt x="28" y="26"/>
                  <a:pt x="24" y="28"/>
                </a:cubicBezTo>
                <a:cubicBezTo>
                  <a:pt x="27" y="31"/>
                  <a:pt x="27" y="31"/>
                  <a:pt x="27" y="31"/>
                </a:cubicBezTo>
                <a:cubicBezTo>
                  <a:pt x="29" y="35"/>
                  <a:pt x="29" y="35"/>
                  <a:pt x="29" y="35"/>
                </a:cubicBezTo>
                <a:cubicBezTo>
                  <a:pt x="34" y="31"/>
                  <a:pt x="37" y="25"/>
                  <a:pt x="37" y="19"/>
                </a:cubicBezTo>
                <a:cubicBezTo>
                  <a:pt x="37" y="15"/>
                  <a:pt x="36" y="12"/>
                  <a:pt x="34" y="9"/>
                </a:cubicBezTo>
                <a:cubicBezTo>
                  <a:pt x="31" y="3"/>
                  <a:pt x="25" y="0"/>
                  <a:pt x="19" y="0"/>
                </a:cubicBezTo>
                <a:cubicBezTo>
                  <a:pt x="15" y="0"/>
                  <a:pt x="12" y="1"/>
                  <a:pt x="8" y="3"/>
                </a:cubicBezTo>
                <a:cubicBezTo>
                  <a:pt x="3" y="6"/>
                  <a:pt x="0" y="13"/>
                  <a:pt x="0" y="19"/>
                </a:cubicBezTo>
                <a:cubicBezTo>
                  <a:pt x="0" y="22"/>
                  <a:pt x="1" y="26"/>
                  <a:pt x="3" y="29"/>
                </a:cubicBezTo>
                <a:cubicBezTo>
                  <a:pt x="6" y="35"/>
                  <a:pt x="12" y="38"/>
                  <a:pt x="19" y="38"/>
                </a:cubicBezTo>
                <a:cubicBezTo>
                  <a:pt x="22" y="38"/>
                  <a:pt x="26" y="37"/>
                  <a:pt x="29" y="35"/>
                </a:cubicBezTo>
                <a:lnTo>
                  <a:pt x="27" y="31"/>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50"/>
          <p:cNvSpPr>
            <a:spLocks/>
          </p:cNvSpPr>
          <p:nvPr/>
        </p:nvSpPr>
        <p:spPr bwMode="auto">
          <a:xfrm>
            <a:off x="8490975" y="2586950"/>
            <a:ext cx="148800" cy="148800"/>
          </a:xfrm>
          <a:custGeom>
            <a:avLst/>
            <a:gdLst>
              <a:gd name="T0" fmla="*/ 45 w 62"/>
              <a:gd name="T1" fmla="*/ 54 h 62"/>
              <a:gd name="T2" fmla="*/ 8 w 62"/>
              <a:gd name="T3" fmla="*/ 45 h 62"/>
              <a:gd name="T4" fmla="*/ 16 w 62"/>
              <a:gd name="T5" fmla="*/ 8 h 62"/>
              <a:gd name="T6" fmla="*/ 54 w 62"/>
              <a:gd name="T7" fmla="*/ 17 h 62"/>
              <a:gd name="T8" fmla="*/ 45 w 62"/>
              <a:gd name="T9" fmla="*/ 54 h 62"/>
            </a:gdLst>
            <a:ahLst/>
            <a:cxnLst>
              <a:cxn ang="0">
                <a:pos x="T0" y="T1"/>
              </a:cxn>
              <a:cxn ang="0">
                <a:pos x="T2" y="T3"/>
              </a:cxn>
              <a:cxn ang="0">
                <a:pos x="T4" y="T5"/>
              </a:cxn>
              <a:cxn ang="0">
                <a:pos x="T6" y="T7"/>
              </a:cxn>
              <a:cxn ang="0">
                <a:pos x="T8" y="T9"/>
              </a:cxn>
            </a:cxnLst>
            <a:rect l="0" t="0" r="r" b="b"/>
            <a:pathLst>
              <a:path w="62" h="62">
                <a:moveTo>
                  <a:pt x="45" y="54"/>
                </a:moveTo>
                <a:cubicBezTo>
                  <a:pt x="33" y="62"/>
                  <a:pt x="16" y="58"/>
                  <a:pt x="8" y="45"/>
                </a:cubicBezTo>
                <a:cubicBezTo>
                  <a:pt x="0" y="33"/>
                  <a:pt x="4" y="16"/>
                  <a:pt x="16" y="8"/>
                </a:cubicBezTo>
                <a:cubicBezTo>
                  <a:pt x="29" y="0"/>
                  <a:pt x="46" y="4"/>
                  <a:pt x="54" y="17"/>
                </a:cubicBezTo>
                <a:cubicBezTo>
                  <a:pt x="62" y="29"/>
                  <a:pt x="58"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51"/>
          <p:cNvSpPr>
            <a:spLocks/>
          </p:cNvSpPr>
          <p:nvPr/>
        </p:nvSpPr>
        <p:spPr bwMode="auto">
          <a:xfrm>
            <a:off x="8490975" y="2586950"/>
            <a:ext cx="148800" cy="148800"/>
          </a:xfrm>
          <a:custGeom>
            <a:avLst/>
            <a:gdLst>
              <a:gd name="T0" fmla="*/ 45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5 w 62"/>
              <a:gd name="T21" fmla="*/ 54 h 62"/>
              <a:gd name="T22" fmla="*/ 47 w 62"/>
              <a:gd name="T23" fmla="*/ 57 h 62"/>
              <a:gd name="T24" fmla="*/ 62 w 62"/>
              <a:gd name="T25" fmla="*/ 31 h 62"/>
              <a:gd name="T26" fmla="*/ 57 w 62"/>
              <a:gd name="T27" fmla="*/ 14 h 62"/>
              <a:gd name="T28" fmla="*/ 31 w 62"/>
              <a:gd name="T29" fmla="*/ 0 h 62"/>
              <a:gd name="T30" fmla="*/ 14 w 62"/>
              <a:gd name="T31" fmla="*/ 5 h 62"/>
              <a:gd name="T32" fmla="*/ 0 w 62"/>
              <a:gd name="T33" fmla="*/ 31 h 62"/>
              <a:gd name="T34" fmla="*/ 5 w 62"/>
              <a:gd name="T35" fmla="*/ 48 h 62"/>
              <a:gd name="T36" fmla="*/ 31 w 62"/>
              <a:gd name="T37" fmla="*/ 62 h 62"/>
              <a:gd name="T38" fmla="*/ 47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0"/>
                  <a:pt x="43" y="50"/>
                  <a:pt x="43" y="50"/>
                </a:cubicBezTo>
                <a:cubicBezTo>
                  <a:pt x="39" y="53"/>
                  <a:pt x="35" y="54"/>
                  <a:pt x="31" y="54"/>
                </a:cubicBezTo>
                <a:cubicBezTo>
                  <a:pt x="23" y="54"/>
                  <a:pt x="16" y="50"/>
                  <a:pt x="12" y="43"/>
                </a:cubicBezTo>
                <a:cubicBezTo>
                  <a:pt x="9" y="39"/>
                  <a:pt x="8" y="35"/>
                  <a:pt x="8" y="31"/>
                </a:cubicBezTo>
                <a:cubicBezTo>
                  <a:pt x="8" y="23"/>
                  <a:pt x="12" y="16"/>
                  <a:pt x="19" y="12"/>
                </a:cubicBezTo>
                <a:cubicBezTo>
                  <a:pt x="22" y="9"/>
                  <a:pt x="27" y="8"/>
                  <a:pt x="31" y="8"/>
                </a:cubicBezTo>
                <a:cubicBezTo>
                  <a:pt x="38" y="8"/>
                  <a:pt x="46" y="12"/>
                  <a:pt x="50" y="19"/>
                </a:cubicBezTo>
                <a:cubicBezTo>
                  <a:pt x="53" y="23"/>
                  <a:pt x="54" y="27"/>
                  <a:pt x="54" y="31"/>
                </a:cubicBezTo>
                <a:cubicBezTo>
                  <a:pt x="54" y="39"/>
                  <a:pt x="50" y="46"/>
                  <a:pt x="43" y="50"/>
                </a:cubicBezTo>
                <a:cubicBezTo>
                  <a:pt x="45" y="54"/>
                  <a:pt x="45" y="54"/>
                  <a:pt x="45" y="54"/>
                </a:cubicBezTo>
                <a:cubicBezTo>
                  <a:pt x="47" y="57"/>
                  <a:pt x="47" y="57"/>
                  <a:pt x="47" y="57"/>
                </a:cubicBezTo>
                <a:cubicBezTo>
                  <a:pt x="57" y="51"/>
                  <a:pt x="62" y="41"/>
                  <a:pt x="62" y="31"/>
                </a:cubicBezTo>
                <a:cubicBezTo>
                  <a:pt x="62" y="25"/>
                  <a:pt x="60" y="20"/>
                  <a:pt x="57" y="14"/>
                </a:cubicBezTo>
                <a:cubicBezTo>
                  <a:pt x="51" y="5"/>
                  <a:pt x="41" y="0"/>
                  <a:pt x="31" y="0"/>
                </a:cubicBezTo>
                <a:cubicBezTo>
                  <a:pt x="25" y="0"/>
                  <a:pt x="19" y="2"/>
                  <a:pt x="14" y="5"/>
                </a:cubicBezTo>
                <a:cubicBezTo>
                  <a:pt x="5" y="11"/>
                  <a:pt x="0" y="21"/>
                  <a:pt x="0" y="31"/>
                </a:cubicBezTo>
                <a:cubicBezTo>
                  <a:pt x="0" y="37"/>
                  <a:pt x="2" y="42"/>
                  <a:pt x="5" y="48"/>
                </a:cubicBezTo>
                <a:cubicBezTo>
                  <a:pt x="11" y="57"/>
                  <a:pt x="21" y="62"/>
                  <a:pt x="31" y="62"/>
                </a:cubicBezTo>
                <a:cubicBezTo>
                  <a:pt x="37" y="62"/>
                  <a:pt x="42" y="60"/>
                  <a:pt x="47" y="57"/>
                </a:cubicBezTo>
                <a:lnTo>
                  <a:pt x="45"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52"/>
          <p:cNvSpPr>
            <a:spLocks/>
          </p:cNvSpPr>
          <p:nvPr/>
        </p:nvSpPr>
        <p:spPr bwMode="auto">
          <a:xfrm>
            <a:off x="6835953" y="3017154"/>
            <a:ext cx="145763" cy="148800"/>
          </a:xfrm>
          <a:custGeom>
            <a:avLst/>
            <a:gdLst>
              <a:gd name="T0" fmla="*/ 45 w 61"/>
              <a:gd name="T1" fmla="*/ 54 h 62"/>
              <a:gd name="T2" fmla="*/ 8 w 61"/>
              <a:gd name="T3" fmla="*/ 46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6"/>
                </a:cubicBezTo>
                <a:cubicBezTo>
                  <a:pt x="0" y="33"/>
                  <a:pt x="4" y="16"/>
                  <a:pt x="16" y="8"/>
                </a:cubicBezTo>
                <a:cubicBezTo>
                  <a:pt x="29" y="0"/>
                  <a:pt x="45" y="4"/>
                  <a:pt x="53" y="17"/>
                </a:cubicBezTo>
                <a:cubicBezTo>
                  <a:pt x="61" y="29"/>
                  <a:pt x="57"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53"/>
          <p:cNvSpPr>
            <a:spLocks/>
          </p:cNvSpPr>
          <p:nvPr/>
        </p:nvSpPr>
        <p:spPr bwMode="auto">
          <a:xfrm>
            <a:off x="6835953" y="3017154"/>
            <a:ext cx="145763" cy="148800"/>
          </a:xfrm>
          <a:custGeom>
            <a:avLst/>
            <a:gdLst>
              <a:gd name="T0" fmla="*/ 45 w 61"/>
              <a:gd name="T1" fmla="*/ 54 h 62"/>
              <a:gd name="T2" fmla="*/ 43 w 61"/>
              <a:gd name="T3" fmla="*/ 50 h 62"/>
              <a:gd name="T4" fmla="*/ 31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4 h 62"/>
              <a:gd name="T22" fmla="*/ 47 w 61"/>
              <a:gd name="T23" fmla="*/ 57 h 62"/>
              <a:gd name="T24" fmla="*/ 61 w 61"/>
              <a:gd name="T25" fmla="*/ 31 h 62"/>
              <a:gd name="T26" fmla="*/ 57 w 61"/>
              <a:gd name="T27" fmla="*/ 15 h 62"/>
              <a:gd name="T28" fmla="*/ 30 w 61"/>
              <a:gd name="T29" fmla="*/ 0 h 62"/>
              <a:gd name="T30" fmla="*/ 14 w 61"/>
              <a:gd name="T31" fmla="*/ 5 h 62"/>
              <a:gd name="T32" fmla="*/ 0 w 61"/>
              <a:gd name="T33" fmla="*/ 31 h 62"/>
              <a:gd name="T34" fmla="*/ 4 w 61"/>
              <a:gd name="T35" fmla="*/ 48 h 62"/>
              <a:gd name="T36" fmla="*/ 31 w 61"/>
              <a:gd name="T37" fmla="*/ 62 h 62"/>
              <a:gd name="T38" fmla="*/ 47 w 61"/>
              <a:gd name="T39" fmla="*/ 57 h 62"/>
              <a:gd name="T40" fmla="*/ 45 w 61"/>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4"/>
                </a:moveTo>
                <a:cubicBezTo>
                  <a:pt x="43" y="50"/>
                  <a:pt x="43" y="50"/>
                  <a:pt x="43" y="50"/>
                </a:cubicBezTo>
                <a:cubicBezTo>
                  <a:pt x="39" y="53"/>
                  <a:pt x="35" y="54"/>
                  <a:pt x="31" y="54"/>
                </a:cubicBezTo>
                <a:cubicBezTo>
                  <a:pt x="23" y="54"/>
                  <a:pt x="16" y="50"/>
                  <a:pt x="11" y="43"/>
                </a:cubicBezTo>
                <a:cubicBezTo>
                  <a:pt x="9" y="40"/>
                  <a:pt x="8" y="35"/>
                  <a:pt x="8" y="31"/>
                </a:cubicBezTo>
                <a:cubicBezTo>
                  <a:pt x="8" y="24"/>
                  <a:pt x="11" y="16"/>
                  <a:pt x="18" y="12"/>
                </a:cubicBezTo>
                <a:cubicBezTo>
                  <a:pt x="22" y="9"/>
                  <a:pt x="26" y="8"/>
                  <a:pt x="30" y="8"/>
                </a:cubicBezTo>
                <a:cubicBezTo>
                  <a:pt x="38" y="8"/>
                  <a:pt x="45" y="12"/>
                  <a:pt x="50" y="19"/>
                </a:cubicBezTo>
                <a:cubicBezTo>
                  <a:pt x="52" y="23"/>
                  <a:pt x="53" y="27"/>
                  <a:pt x="53" y="31"/>
                </a:cubicBezTo>
                <a:cubicBezTo>
                  <a:pt x="53" y="39"/>
                  <a:pt x="50" y="46"/>
                  <a:pt x="43" y="50"/>
                </a:cubicBezTo>
                <a:cubicBezTo>
                  <a:pt x="45" y="54"/>
                  <a:pt x="45" y="54"/>
                  <a:pt x="45" y="54"/>
                </a:cubicBezTo>
                <a:cubicBezTo>
                  <a:pt x="47" y="57"/>
                  <a:pt x="47" y="57"/>
                  <a:pt x="47" y="57"/>
                </a:cubicBezTo>
                <a:cubicBezTo>
                  <a:pt x="56" y="51"/>
                  <a:pt x="61" y="41"/>
                  <a:pt x="61" y="31"/>
                </a:cubicBezTo>
                <a:cubicBezTo>
                  <a:pt x="61" y="25"/>
                  <a:pt x="60" y="20"/>
                  <a:pt x="57" y="15"/>
                </a:cubicBezTo>
                <a:cubicBezTo>
                  <a:pt x="51" y="5"/>
                  <a:pt x="41" y="0"/>
                  <a:pt x="30" y="0"/>
                </a:cubicBezTo>
                <a:cubicBezTo>
                  <a:pt x="25" y="0"/>
                  <a:pt x="19" y="2"/>
                  <a:pt x="14" y="5"/>
                </a:cubicBezTo>
                <a:cubicBezTo>
                  <a:pt x="5" y="11"/>
                  <a:pt x="0" y="21"/>
                  <a:pt x="0" y="31"/>
                </a:cubicBezTo>
                <a:cubicBezTo>
                  <a:pt x="0" y="37"/>
                  <a:pt x="1" y="43"/>
                  <a:pt x="4" y="48"/>
                </a:cubicBezTo>
                <a:cubicBezTo>
                  <a:pt x="10" y="57"/>
                  <a:pt x="20" y="62"/>
                  <a:pt x="31" y="62"/>
                </a:cubicBezTo>
                <a:cubicBezTo>
                  <a:pt x="36" y="62"/>
                  <a:pt x="42" y="60"/>
                  <a:pt x="47" y="57"/>
                </a:cubicBezTo>
                <a:lnTo>
                  <a:pt x="45" y="54"/>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54"/>
          <p:cNvSpPr>
            <a:spLocks/>
          </p:cNvSpPr>
          <p:nvPr/>
        </p:nvSpPr>
        <p:spPr bwMode="auto">
          <a:xfrm>
            <a:off x="7296525" y="2971603"/>
            <a:ext cx="118433" cy="115396"/>
          </a:xfrm>
          <a:custGeom>
            <a:avLst/>
            <a:gdLst>
              <a:gd name="T0" fmla="*/ 36 w 49"/>
              <a:gd name="T1" fmla="*/ 42 h 48"/>
              <a:gd name="T2" fmla="*/ 6 w 49"/>
              <a:gd name="T3" fmla="*/ 36 h 48"/>
              <a:gd name="T4" fmla="*/ 13 w 49"/>
              <a:gd name="T5" fmla="*/ 6 h 48"/>
              <a:gd name="T6" fmla="*/ 43 w 49"/>
              <a:gd name="T7" fmla="*/ 12 h 48"/>
              <a:gd name="T8" fmla="*/ 36 w 49"/>
              <a:gd name="T9" fmla="*/ 42 h 48"/>
            </a:gdLst>
            <a:ahLst/>
            <a:cxnLst>
              <a:cxn ang="0">
                <a:pos x="T0" y="T1"/>
              </a:cxn>
              <a:cxn ang="0">
                <a:pos x="T2" y="T3"/>
              </a:cxn>
              <a:cxn ang="0">
                <a:pos x="T4" y="T5"/>
              </a:cxn>
              <a:cxn ang="0">
                <a:pos x="T6" y="T7"/>
              </a:cxn>
              <a:cxn ang="0">
                <a:pos x="T8" y="T9"/>
              </a:cxn>
            </a:cxnLst>
            <a:rect l="0" t="0" r="r" b="b"/>
            <a:pathLst>
              <a:path w="49" h="48">
                <a:moveTo>
                  <a:pt x="36" y="42"/>
                </a:moveTo>
                <a:cubicBezTo>
                  <a:pt x="26" y="48"/>
                  <a:pt x="13" y="45"/>
                  <a:pt x="6" y="36"/>
                </a:cubicBezTo>
                <a:cubicBezTo>
                  <a:pt x="0" y="26"/>
                  <a:pt x="3" y="12"/>
                  <a:pt x="13" y="6"/>
                </a:cubicBezTo>
                <a:cubicBezTo>
                  <a:pt x="23" y="0"/>
                  <a:pt x="36" y="2"/>
                  <a:pt x="43" y="12"/>
                </a:cubicBezTo>
                <a:cubicBezTo>
                  <a:pt x="49" y="22"/>
                  <a:pt x="46" y="36"/>
                  <a:pt x="36"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55"/>
          <p:cNvSpPr>
            <a:spLocks/>
          </p:cNvSpPr>
          <p:nvPr/>
        </p:nvSpPr>
        <p:spPr bwMode="auto">
          <a:xfrm>
            <a:off x="7294500" y="2968567"/>
            <a:ext cx="122482" cy="120457"/>
          </a:xfrm>
          <a:custGeom>
            <a:avLst/>
            <a:gdLst>
              <a:gd name="T0" fmla="*/ 37 w 51"/>
              <a:gd name="T1" fmla="*/ 43 h 50"/>
              <a:gd name="T2" fmla="*/ 35 w 51"/>
              <a:gd name="T3" fmla="*/ 40 h 50"/>
              <a:gd name="T4" fmla="*/ 25 w 51"/>
              <a:gd name="T5" fmla="*/ 42 h 50"/>
              <a:gd name="T6" fmla="*/ 11 w 51"/>
              <a:gd name="T7" fmla="*/ 34 h 50"/>
              <a:gd name="T8" fmla="*/ 8 w 51"/>
              <a:gd name="T9" fmla="*/ 25 h 50"/>
              <a:gd name="T10" fmla="*/ 16 w 51"/>
              <a:gd name="T11" fmla="*/ 10 h 50"/>
              <a:gd name="T12" fmla="*/ 25 w 51"/>
              <a:gd name="T13" fmla="*/ 8 h 50"/>
              <a:gd name="T14" fmla="*/ 40 w 51"/>
              <a:gd name="T15" fmla="*/ 16 h 50"/>
              <a:gd name="T16" fmla="*/ 43 w 51"/>
              <a:gd name="T17" fmla="*/ 25 h 50"/>
              <a:gd name="T18" fmla="*/ 35 w 51"/>
              <a:gd name="T19" fmla="*/ 40 h 50"/>
              <a:gd name="T20" fmla="*/ 37 w 51"/>
              <a:gd name="T21" fmla="*/ 43 h 50"/>
              <a:gd name="T22" fmla="*/ 39 w 51"/>
              <a:gd name="T23" fmla="*/ 46 h 50"/>
              <a:gd name="T24" fmla="*/ 51 w 51"/>
              <a:gd name="T25" fmla="*/ 25 h 50"/>
              <a:gd name="T26" fmla="*/ 47 w 51"/>
              <a:gd name="T27" fmla="*/ 11 h 50"/>
              <a:gd name="T28" fmla="*/ 25 w 51"/>
              <a:gd name="T29" fmla="*/ 0 h 50"/>
              <a:gd name="T30" fmla="*/ 12 w 51"/>
              <a:gd name="T31" fmla="*/ 4 h 50"/>
              <a:gd name="T32" fmla="*/ 0 w 51"/>
              <a:gd name="T33" fmla="*/ 25 h 50"/>
              <a:gd name="T34" fmla="*/ 4 w 51"/>
              <a:gd name="T35" fmla="*/ 39 h 50"/>
              <a:gd name="T36" fmla="*/ 25 w 51"/>
              <a:gd name="T37" fmla="*/ 50 h 50"/>
              <a:gd name="T38" fmla="*/ 39 w 51"/>
              <a:gd name="T39" fmla="*/ 46 h 50"/>
              <a:gd name="T40" fmla="*/ 37 w 51"/>
              <a:gd name="T41"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0">
                <a:moveTo>
                  <a:pt x="37" y="43"/>
                </a:moveTo>
                <a:cubicBezTo>
                  <a:pt x="35" y="40"/>
                  <a:pt x="35" y="40"/>
                  <a:pt x="35" y="40"/>
                </a:cubicBezTo>
                <a:cubicBezTo>
                  <a:pt x="32" y="42"/>
                  <a:pt x="29" y="42"/>
                  <a:pt x="25" y="42"/>
                </a:cubicBezTo>
                <a:cubicBezTo>
                  <a:pt x="20" y="42"/>
                  <a:pt x="14" y="40"/>
                  <a:pt x="11" y="34"/>
                </a:cubicBezTo>
                <a:cubicBezTo>
                  <a:pt x="9" y="31"/>
                  <a:pt x="8" y="28"/>
                  <a:pt x="8" y="25"/>
                </a:cubicBezTo>
                <a:cubicBezTo>
                  <a:pt x="8" y="19"/>
                  <a:pt x="11" y="14"/>
                  <a:pt x="16" y="10"/>
                </a:cubicBezTo>
                <a:cubicBezTo>
                  <a:pt x="19" y="8"/>
                  <a:pt x="22" y="8"/>
                  <a:pt x="25" y="8"/>
                </a:cubicBezTo>
                <a:cubicBezTo>
                  <a:pt x="31" y="8"/>
                  <a:pt x="37" y="10"/>
                  <a:pt x="40" y="16"/>
                </a:cubicBezTo>
                <a:cubicBezTo>
                  <a:pt x="42" y="19"/>
                  <a:pt x="43" y="22"/>
                  <a:pt x="43" y="25"/>
                </a:cubicBezTo>
                <a:cubicBezTo>
                  <a:pt x="43" y="31"/>
                  <a:pt x="40" y="36"/>
                  <a:pt x="35" y="40"/>
                </a:cubicBezTo>
                <a:cubicBezTo>
                  <a:pt x="37" y="43"/>
                  <a:pt x="37" y="43"/>
                  <a:pt x="37" y="43"/>
                </a:cubicBezTo>
                <a:cubicBezTo>
                  <a:pt x="39" y="46"/>
                  <a:pt x="39" y="46"/>
                  <a:pt x="39" y="46"/>
                </a:cubicBezTo>
                <a:cubicBezTo>
                  <a:pt x="47" y="42"/>
                  <a:pt x="51" y="33"/>
                  <a:pt x="51" y="25"/>
                </a:cubicBezTo>
                <a:cubicBezTo>
                  <a:pt x="51" y="20"/>
                  <a:pt x="50" y="16"/>
                  <a:pt x="47" y="11"/>
                </a:cubicBezTo>
                <a:cubicBezTo>
                  <a:pt x="42" y="4"/>
                  <a:pt x="34" y="0"/>
                  <a:pt x="25" y="0"/>
                </a:cubicBezTo>
                <a:cubicBezTo>
                  <a:pt x="21" y="0"/>
                  <a:pt x="16" y="1"/>
                  <a:pt x="12" y="4"/>
                </a:cubicBezTo>
                <a:cubicBezTo>
                  <a:pt x="4" y="8"/>
                  <a:pt x="0" y="17"/>
                  <a:pt x="0" y="25"/>
                </a:cubicBezTo>
                <a:cubicBezTo>
                  <a:pt x="0" y="30"/>
                  <a:pt x="1" y="34"/>
                  <a:pt x="4" y="39"/>
                </a:cubicBezTo>
                <a:cubicBezTo>
                  <a:pt x="9" y="46"/>
                  <a:pt x="17" y="50"/>
                  <a:pt x="25" y="50"/>
                </a:cubicBezTo>
                <a:cubicBezTo>
                  <a:pt x="30" y="50"/>
                  <a:pt x="35" y="49"/>
                  <a:pt x="39" y="46"/>
                </a:cubicBezTo>
                <a:lnTo>
                  <a:pt x="37" y="43"/>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56"/>
          <p:cNvSpPr>
            <a:spLocks noEditPoints="1"/>
          </p:cNvSpPr>
          <p:nvPr/>
        </p:nvSpPr>
        <p:spPr bwMode="auto">
          <a:xfrm>
            <a:off x="3922709" y="5128699"/>
            <a:ext cx="66808" cy="6680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3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9" y="4"/>
                  <a:pt x="4" y="9"/>
                  <a:pt x="4" y="14"/>
                </a:cubicBezTo>
                <a:cubicBezTo>
                  <a:pt x="4" y="19"/>
                  <a:pt x="9" y="23"/>
                  <a:pt x="14" y="23"/>
                </a:cubicBezTo>
                <a:cubicBezTo>
                  <a:pt x="19" y="23"/>
                  <a:pt x="24" y="19"/>
                  <a:pt x="24" y="14"/>
                </a:cubicBezTo>
                <a:cubicBezTo>
                  <a:pt x="24" y="9"/>
                  <a:pt x="19" y="4"/>
                  <a:pt x="14" y="4"/>
                </a:cubicBezTo>
                <a:close/>
              </a:path>
            </a:pathLst>
          </a:custGeom>
          <a:solidFill>
            <a:srgbClr val="C6C3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Rectangle 57"/>
          <p:cNvSpPr>
            <a:spLocks noChangeArrowheads="1"/>
          </p:cNvSpPr>
          <p:nvPr/>
        </p:nvSpPr>
        <p:spPr bwMode="auto">
          <a:xfrm>
            <a:off x="6014009" y="4756193"/>
            <a:ext cx="166008" cy="29355"/>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Rectangle 58"/>
          <p:cNvSpPr>
            <a:spLocks noChangeArrowheads="1"/>
          </p:cNvSpPr>
          <p:nvPr/>
        </p:nvSpPr>
        <p:spPr bwMode="auto">
          <a:xfrm>
            <a:off x="6014009" y="4679262"/>
            <a:ext cx="166008" cy="31380"/>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Rectangle 59"/>
          <p:cNvSpPr>
            <a:spLocks noChangeArrowheads="1"/>
          </p:cNvSpPr>
          <p:nvPr/>
        </p:nvSpPr>
        <p:spPr bwMode="auto">
          <a:xfrm>
            <a:off x="6014009" y="4607393"/>
            <a:ext cx="166008" cy="28343"/>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60"/>
          <p:cNvSpPr>
            <a:spLocks/>
          </p:cNvSpPr>
          <p:nvPr/>
        </p:nvSpPr>
        <p:spPr bwMode="auto">
          <a:xfrm>
            <a:off x="4270922" y="3963604"/>
            <a:ext cx="88065" cy="86041"/>
          </a:xfrm>
          <a:custGeom>
            <a:avLst/>
            <a:gdLst>
              <a:gd name="T0" fmla="*/ 27 w 37"/>
              <a:gd name="T1" fmla="*/ 31 h 36"/>
              <a:gd name="T2" fmla="*/ 5 w 37"/>
              <a:gd name="T3" fmla="*/ 27 h 36"/>
              <a:gd name="T4" fmla="*/ 10 w 37"/>
              <a:gd name="T5" fmla="*/ 4 h 36"/>
              <a:gd name="T6" fmla="*/ 32 w 37"/>
              <a:gd name="T7" fmla="*/ 9 h 36"/>
              <a:gd name="T8" fmla="*/ 27 w 37"/>
              <a:gd name="T9" fmla="*/ 31 h 36"/>
            </a:gdLst>
            <a:ahLst/>
            <a:cxnLst>
              <a:cxn ang="0">
                <a:pos x="T0" y="T1"/>
              </a:cxn>
              <a:cxn ang="0">
                <a:pos x="T2" y="T3"/>
              </a:cxn>
              <a:cxn ang="0">
                <a:pos x="T4" y="T5"/>
              </a:cxn>
              <a:cxn ang="0">
                <a:pos x="T6" y="T7"/>
              </a:cxn>
              <a:cxn ang="0">
                <a:pos x="T8" y="T9"/>
              </a:cxn>
            </a:cxnLst>
            <a:rect l="0" t="0" r="r" b="b"/>
            <a:pathLst>
              <a:path w="37" h="36">
                <a:moveTo>
                  <a:pt x="27" y="31"/>
                </a:moveTo>
                <a:cubicBezTo>
                  <a:pt x="19" y="36"/>
                  <a:pt x="9" y="34"/>
                  <a:pt x="5" y="27"/>
                </a:cubicBezTo>
                <a:cubicBezTo>
                  <a:pt x="0" y="19"/>
                  <a:pt x="2" y="9"/>
                  <a:pt x="10" y="4"/>
                </a:cubicBezTo>
                <a:cubicBezTo>
                  <a:pt x="17" y="0"/>
                  <a:pt x="27" y="2"/>
                  <a:pt x="32" y="9"/>
                </a:cubicBezTo>
                <a:cubicBezTo>
                  <a:pt x="37" y="17"/>
                  <a:pt x="34" y="27"/>
                  <a:pt x="27"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61"/>
          <p:cNvSpPr>
            <a:spLocks/>
          </p:cNvSpPr>
          <p:nvPr/>
        </p:nvSpPr>
        <p:spPr bwMode="auto">
          <a:xfrm>
            <a:off x="4265860" y="3958543"/>
            <a:ext cx="96163" cy="96163"/>
          </a:xfrm>
          <a:custGeom>
            <a:avLst/>
            <a:gdLst>
              <a:gd name="T0" fmla="*/ 29 w 40"/>
              <a:gd name="T1" fmla="*/ 33 h 40"/>
              <a:gd name="T2" fmla="*/ 27 w 40"/>
              <a:gd name="T3" fmla="*/ 30 h 40"/>
              <a:gd name="T4" fmla="*/ 20 w 40"/>
              <a:gd name="T5" fmla="*/ 32 h 40"/>
              <a:gd name="T6" fmla="*/ 10 w 40"/>
              <a:gd name="T7" fmla="*/ 26 h 40"/>
              <a:gd name="T8" fmla="*/ 8 w 40"/>
              <a:gd name="T9" fmla="*/ 20 h 40"/>
              <a:gd name="T10" fmla="*/ 14 w 40"/>
              <a:gd name="T11" fmla="*/ 10 h 40"/>
              <a:gd name="T12" fmla="*/ 14 w 40"/>
              <a:gd name="T13" fmla="*/ 10 h 40"/>
              <a:gd name="T14" fmla="*/ 20 w 40"/>
              <a:gd name="T15" fmla="*/ 8 h 40"/>
              <a:gd name="T16" fmla="*/ 30 w 40"/>
              <a:gd name="T17" fmla="*/ 13 h 40"/>
              <a:gd name="T18" fmla="*/ 32 w 40"/>
              <a:gd name="T19" fmla="*/ 20 h 40"/>
              <a:gd name="T20" fmla="*/ 27 w 40"/>
              <a:gd name="T21" fmla="*/ 30 h 40"/>
              <a:gd name="T22" fmla="*/ 29 w 40"/>
              <a:gd name="T23" fmla="*/ 33 h 40"/>
              <a:gd name="T24" fmla="*/ 31 w 40"/>
              <a:gd name="T25" fmla="*/ 37 h 40"/>
              <a:gd name="T26" fmla="*/ 40 w 40"/>
              <a:gd name="T27" fmla="*/ 20 h 40"/>
              <a:gd name="T28" fmla="*/ 37 w 40"/>
              <a:gd name="T29" fmla="*/ 9 h 40"/>
              <a:gd name="T30" fmla="*/ 20 w 40"/>
              <a:gd name="T31" fmla="*/ 0 h 40"/>
              <a:gd name="T32" fmla="*/ 9 w 40"/>
              <a:gd name="T33" fmla="*/ 3 h 40"/>
              <a:gd name="T34" fmla="*/ 10 w 40"/>
              <a:gd name="T35" fmla="*/ 3 h 40"/>
              <a:gd name="T36" fmla="*/ 0 w 40"/>
              <a:gd name="T37" fmla="*/ 20 h 40"/>
              <a:gd name="T38" fmla="*/ 3 w 40"/>
              <a:gd name="T39" fmla="*/ 31 h 40"/>
              <a:gd name="T40" fmla="*/ 20 w 40"/>
              <a:gd name="T41" fmla="*/ 40 h 40"/>
              <a:gd name="T42" fmla="*/ 31 w 40"/>
              <a:gd name="T43" fmla="*/ 37 h 40"/>
              <a:gd name="T44" fmla="*/ 29 w 40"/>
              <a:gd name="T4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40">
                <a:moveTo>
                  <a:pt x="29" y="33"/>
                </a:moveTo>
                <a:cubicBezTo>
                  <a:pt x="27" y="30"/>
                  <a:pt x="27" y="30"/>
                  <a:pt x="27" y="30"/>
                </a:cubicBezTo>
                <a:cubicBezTo>
                  <a:pt x="25" y="31"/>
                  <a:pt x="23" y="32"/>
                  <a:pt x="20" y="32"/>
                </a:cubicBezTo>
                <a:cubicBezTo>
                  <a:pt x="16" y="32"/>
                  <a:pt x="12" y="30"/>
                  <a:pt x="10" y="26"/>
                </a:cubicBezTo>
                <a:cubicBezTo>
                  <a:pt x="9" y="24"/>
                  <a:pt x="8" y="22"/>
                  <a:pt x="8" y="20"/>
                </a:cubicBezTo>
                <a:cubicBezTo>
                  <a:pt x="8" y="16"/>
                  <a:pt x="10" y="12"/>
                  <a:pt x="14" y="10"/>
                </a:cubicBezTo>
                <a:cubicBezTo>
                  <a:pt x="14" y="10"/>
                  <a:pt x="14" y="10"/>
                  <a:pt x="14" y="10"/>
                </a:cubicBezTo>
                <a:cubicBezTo>
                  <a:pt x="16" y="8"/>
                  <a:pt x="18" y="8"/>
                  <a:pt x="20" y="8"/>
                </a:cubicBezTo>
                <a:cubicBezTo>
                  <a:pt x="24" y="8"/>
                  <a:pt x="28" y="10"/>
                  <a:pt x="30" y="13"/>
                </a:cubicBezTo>
                <a:cubicBezTo>
                  <a:pt x="32" y="15"/>
                  <a:pt x="32" y="18"/>
                  <a:pt x="32" y="20"/>
                </a:cubicBezTo>
                <a:cubicBezTo>
                  <a:pt x="32" y="24"/>
                  <a:pt x="30" y="28"/>
                  <a:pt x="27" y="30"/>
                </a:cubicBezTo>
                <a:cubicBezTo>
                  <a:pt x="29" y="33"/>
                  <a:pt x="29" y="33"/>
                  <a:pt x="29" y="33"/>
                </a:cubicBezTo>
                <a:cubicBezTo>
                  <a:pt x="31" y="37"/>
                  <a:pt x="31" y="37"/>
                  <a:pt x="31" y="37"/>
                </a:cubicBezTo>
                <a:cubicBezTo>
                  <a:pt x="37" y="33"/>
                  <a:pt x="40" y="27"/>
                  <a:pt x="40" y="20"/>
                </a:cubicBezTo>
                <a:cubicBezTo>
                  <a:pt x="40" y="16"/>
                  <a:pt x="39" y="12"/>
                  <a:pt x="37" y="9"/>
                </a:cubicBezTo>
                <a:cubicBezTo>
                  <a:pt x="33" y="3"/>
                  <a:pt x="27" y="0"/>
                  <a:pt x="20" y="0"/>
                </a:cubicBezTo>
                <a:cubicBezTo>
                  <a:pt x="17" y="0"/>
                  <a:pt x="13" y="1"/>
                  <a:pt x="9" y="3"/>
                </a:cubicBezTo>
                <a:cubicBezTo>
                  <a:pt x="10" y="3"/>
                  <a:pt x="10" y="3"/>
                  <a:pt x="10" y="3"/>
                </a:cubicBezTo>
                <a:cubicBezTo>
                  <a:pt x="3" y="7"/>
                  <a:pt x="0" y="13"/>
                  <a:pt x="0" y="20"/>
                </a:cubicBezTo>
                <a:cubicBezTo>
                  <a:pt x="0" y="24"/>
                  <a:pt x="1" y="27"/>
                  <a:pt x="3" y="31"/>
                </a:cubicBezTo>
                <a:cubicBezTo>
                  <a:pt x="7" y="37"/>
                  <a:pt x="14" y="40"/>
                  <a:pt x="20" y="40"/>
                </a:cubicBezTo>
                <a:cubicBezTo>
                  <a:pt x="24" y="40"/>
                  <a:pt x="28" y="39"/>
                  <a:pt x="31" y="37"/>
                </a:cubicBezTo>
                <a:lnTo>
                  <a:pt x="29" y="3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2"/>
          <p:cNvSpPr>
            <a:spLocks/>
          </p:cNvSpPr>
          <p:nvPr/>
        </p:nvSpPr>
        <p:spPr bwMode="auto">
          <a:xfrm>
            <a:off x="5091853" y="4525401"/>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63"/>
          <p:cNvSpPr>
            <a:spLocks/>
          </p:cNvSpPr>
          <p:nvPr/>
        </p:nvSpPr>
        <p:spPr bwMode="auto">
          <a:xfrm>
            <a:off x="5089829" y="4525401"/>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1 h 62"/>
              <a:gd name="T12" fmla="*/ 31 w 62"/>
              <a:gd name="T13" fmla="*/ 8 h 62"/>
              <a:gd name="T14" fmla="*/ 51 w 62"/>
              <a:gd name="T15" fmla="*/ 18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2"/>
                  <a:pt x="36" y="54"/>
                  <a:pt x="31" y="54"/>
                </a:cubicBezTo>
                <a:cubicBezTo>
                  <a:pt x="24" y="54"/>
                  <a:pt x="16" y="50"/>
                  <a:pt x="12" y="43"/>
                </a:cubicBezTo>
                <a:cubicBezTo>
                  <a:pt x="10" y="39"/>
                  <a:pt x="8" y="35"/>
                  <a:pt x="8" y="31"/>
                </a:cubicBezTo>
                <a:cubicBezTo>
                  <a:pt x="8" y="23"/>
                  <a:pt x="12" y="16"/>
                  <a:pt x="19" y="11"/>
                </a:cubicBezTo>
                <a:cubicBezTo>
                  <a:pt x="23" y="9"/>
                  <a:pt x="27" y="8"/>
                  <a:pt x="31" y="8"/>
                </a:cubicBezTo>
                <a:cubicBezTo>
                  <a:pt x="39" y="8"/>
                  <a:pt x="46" y="12"/>
                  <a:pt x="51" y="18"/>
                </a:cubicBezTo>
                <a:cubicBezTo>
                  <a:pt x="53" y="22"/>
                  <a:pt x="54" y="26"/>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0"/>
                  <a:pt x="0" y="21"/>
                  <a:pt x="0" y="31"/>
                </a:cubicBezTo>
                <a:cubicBezTo>
                  <a:pt x="0" y="36"/>
                  <a:pt x="2" y="42"/>
                  <a:pt x="5" y="47"/>
                </a:cubicBezTo>
                <a:cubicBezTo>
                  <a:pt x="11" y="56"/>
                  <a:pt x="21" y="62"/>
                  <a:pt x="31" y="62"/>
                </a:cubicBezTo>
                <a:cubicBezTo>
                  <a:pt x="37" y="62"/>
                  <a:pt x="43" y="60"/>
                  <a:pt x="48" y="57"/>
                </a:cubicBezTo>
                <a:lnTo>
                  <a:pt x="46" y="5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64"/>
          <p:cNvSpPr>
            <a:spLocks/>
          </p:cNvSpPr>
          <p:nvPr/>
        </p:nvSpPr>
        <p:spPr bwMode="auto">
          <a:xfrm>
            <a:off x="5716409" y="422780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6"/>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65"/>
          <p:cNvSpPr>
            <a:spLocks/>
          </p:cNvSpPr>
          <p:nvPr/>
        </p:nvSpPr>
        <p:spPr bwMode="auto">
          <a:xfrm>
            <a:off x="5714384" y="4227800"/>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3"/>
                  <a:pt x="35"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2"/>
                  <a:pt x="54" y="27"/>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1"/>
                  <a:pt x="0" y="21"/>
                  <a:pt x="0" y="31"/>
                </a:cubicBezTo>
                <a:cubicBezTo>
                  <a:pt x="0" y="36"/>
                  <a:pt x="2" y="42"/>
                  <a:pt x="5" y="47"/>
                </a:cubicBezTo>
                <a:cubicBezTo>
                  <a:pt x="11" y="57"/>
                  <a:pt x="21" y="62"/>
                  <a:pt x="31" y="62"/>
                </a:cubicBezTo>
                <a:cubicBezTo>
                  <a:pt x="37" y="62"/>
                  <a:pt x="43" y="60"/>
                  <a:pt x="48" y="57"/>
                </a:cubicBezTo>
                <a:lnTo>
                  <a:pt x="46" y="5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66"/>
          <p:cNvSpPr>
            <a:spLocks/>
          </p:cNvSpPr>
          <p:nvPr/>
        </p:nvSpPr>
        <p:spPr bwMode="auto">
          <a:xfrm>
            <a:off x="6127381" y="4390772"/>
            <a:ext cx="108310" cy="108310"/>
          </a:xfrm>
          <a:custGeom>
            <a:avLst/>
            <a:gdLst>
              <a:gd name="T0" fmla="*/ 33 w 45"/>
              <a:gd name="T1" fmla="*/ 39 h 45"/>
              <a:gd name="T2" fmla="*/ 6 w 45"/>
              <a:gd name="T3" fmla="*/ 33 h 45"/>
              <a:gd name="T4" fmla="*/ 12 w 45"/>
              <a:gd name="T5" fmla="*/ 6 h 45"/>
              <a:gd name="T6" fmla="*/ 39 w 45"/>
              <a:gd name="T7" fmla="*/ 12 h 45"/>
              <a:gd name="T8" fmla="*/ 33 w 45"/>
              <a:gd name="T9" fmla="*/ 39 h 45"/>
            </a:gdLst>
            <a:ahLst/>
            <a:cxnLst>
              <a:cxn ang="0">
                <a:pos x="T0" y="T1"/>
              </a:cxn>
              <a:cxn ang="0">
                <a:pos x="T2" y="T3"/>
              </a:cxn>
              <a:cxn ang="0">
                <a:pos x="T4" y="T5"/>
              </a:cxn>
              <a:cxn ang="0">
                <a:pos x="T6" y="T7"/>
              </a:cxn>
              <a:cxn ang="0">
                <a:pos x="T8" y="T9"/>
              </a:cxn>
            </a:cxnLst>
            <a:rect l="0" t="0" r="r" b="b"/>
            <a:pathLst>
              <a:path w="45" h="45">
                <a:moveTo>
                  <a:pt x="33" y="39"/>
                </a:moveTo>
                <a:cubicBezTo>
                  <a:pt x="24" y="45"/>
                  <a:pt x="12" y="42"/>
                  <a:pt x="6" y="33"/>
                </a:cubicBezTo>
                <a:cubicBezTo>
                  <a:pt x="0" y="24"/>
                  <a:pt x="3" y="11"/>
                  <a:pt x="12" y="6"/>
                </a:cubicBezTo>
                <a:cubicBezTo>
                  <a:pt x="21" y="0"/>
                  <a:pt x="33" y="3"/>
                  <a:pt x="39" y="12"/>
                </a:cubicBezTo>
                <a:cubicBezTo>
                  <a:pt x="45" y="21"/>
                  <a:pt x="42" y="33"/>
                  <a:pt x="33"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67"/>
          <p:cNvSpPr>
            <a:spLocks/>
          </p:cNvSpPr>
          <p:nvPr/>
        </p:nvSpPr>
        <p:spPr bwMode="auto">
          <a:xfrm>
            <a:off x="6124344" y="4388748"/>
            <a:ext cx="113372" cy="113372"/>
          </a:xfrm>
          <a:custGeom>
            <a:avLst/>
            <a:gdLst>
              <a:gd name="T0" fmla="*/ 34 w 47"/>
              <a:gd name="T1" fmla="*/ 40 h 47"/>
              <a:gd name="T2" fmla="*/ 32 w 47"/>
              <a:gd name="T3" fmla="*/ 37 h 47"/>
              <a:gd name="T4" fmla="*/ 23 w 47"/>
              <a:gd name="T5" fmla="*/ 39 h 47"/>
              <a:gd name="T6" fmla="*/ 10 w 47"/>
              <a:gd name="T7" fmla="*/ 32 h 47"/>
              <a:gd name="T8" fmla="*/ 8 w 47"/>
              <a:gd name="T9" fmla="*/ 23 h 47"/>
              <a:gd name="T10" fmla="*/ 15 w 47"/>
              <a:gd name="T11" fmla="*/ 10 h 47"/>
              <a:gd name="T12" fmla="*/ 23 w 47"/>
              <a:gd name="T13" fmla="*/ 8 h 47"/>
              <a:gd name="T14" fmla="*/ 37 w 47"/>
              <a:gd name="T15" fmla="*/ 15 h 47"/>
              <a:gd name="T16" fmla="*/ 39 w 47"/>
              <a:gd name="T17" fmla="*/ 23 h 47"/>
              <a:gd name="T18" fmla="*/ 32 w 47"/>
              <a:gd name="T19" fmla="*/ 37 h 47"/>
              <a:gd name="T20" fmla="*/ 34 w 47"/>
              <a:gd name="T21" fmla="*/ 40 h 47"/>
              <a:gd name="T22" fmla="*/ 36 w 47"/>
              <a:gd name="T23" fmla="*/ 43 h 47"/>
              <a:gd name="T24" fmla="*/ 47 w 47"/>
              <a:gd name="T25" fmla="*/ 23 h 47"/>
              <a:gd name="T26" fmla="*/ 43 w 47"/>
              <a:gd name="T27" fmla="*/ 11 h 47"/>
              <a:gd name="T28" fmla="*/ 23 w 47"/>
              <a:gd name="T29" fmla="*/ 0 h 47"/>
              <a:gd name="T30" fmla="*/ 11 w 47"/>
              <a:gd name="T31" fmla="*/ 3 h 47"/>
              <a:gd name="T32" fmla="*/ 0 w 47"/>
              <a:gd name="T33" fmla="*/ 23 h 47"/>
              <a:gd name="T34" fmla="*/ 3 w 47"/>
              <a:gd name="T35" fmla="*/ 36 h 47"/>
              <a:gd name="T36" fmla="*/ 23 w 47"/>
              <a:gd name="T37" fmla="*/ 47 h 47"/>
              <a:gd name="T38" fmla="*/ 36 w 47"/>
              <a:gd name="T39" fmla="*/ 43 h 47"/>
              <a:gd name="T40" fmla="*/ 34 w 47"/>
              <a:gd name="T41"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47">
                <a:moveTo>
                  <a:pt x="34" y="40"/>
                </a:moveTo>
                <a:cubicBezTo>
                  <a:pt x="32" y="37"/>
                  <a:pt x="32" y="37"/>
                  <a:pt x="32" y="37"/>
                </a:cubicBezTo>
                <a:cubicBezTo>
                  <a:pt x="29" y="38"/>
                  <a:pt x="26" y="39"/>
                  <a:pt x="23" y="39"/>
                </a:cubicBezTo>
                <a:cubicBezTo>
                  <a:pt x="18" y="39"/>
                  <a:pt x="13" y="36"/>
                  <a:pt x="10" y="32"/>
                </a:cubicBezTo>
                <a:cubicBezTo>
                  <a:pt x="8" y="29"/>
                  <a:pt x="8" y="26"/>
                  <a:pt x="8" y="23"/>
                </a:cubicBezTo>
                <a:cubicBezTo>
                  <a:pt x="8" y="18"/>
                  <a:pt x="10" y="13"/>
                  <a:pt x="15" y="10"/>
                </a:cubicBezTo>
                <a:cubicBezTo>
                  <a:pt x="18" y="8"/>
                  <a:pt x="20" y="8"/>
                  <a:pt x="23" y="8"/>
                </a:cubicBezTo>
                <a:cubicBezTo>
                  <a:pt x="29" y="8"/>
                  <a:pt x="34" y="10"/>
                  <a:pt x="37" y="15"/>
                </a:cubicBezTo>
                <a:cubicBezTo>
                  <a:pt x="38" y="17"/>
                  <a:pt x="39" y="20"/>
                  <a:pt x="39" y="23"/>
                </a:cubicBezTo>
                <a:cubicBezTo>
                  <a:pt x="39" y="28"/>
                  <a:pt x="37" y="34"/>
                  <a:pt x="32" y="37"/>
                </a:cubicBezTo>
                <a:cubicBezTo>
                  <a:pt x="34" y="40"/>
                  <a:pt x="34" y="40"/>
                  <a:pt x="34" y="40"/>
                </a:cubicBezTo>
                <a:cubicBezTo>
                  <a:pt x="36" y="43"/>
                  <a:pt x="36" y="43"/>
                  <a:pt x="36" y="43"/>
                </a:cubicBezTo>
                <a:cubicBezTo>
                  <a:pt x="43" y="39"/>
                  <a:pt x="47" y="31"/>
                  <a:pt x="47" y="23"/>
                </a:cubicBezTo>
                <a:cubicBezTo>
                  <a:pt x="47" y="19"/>
                  <a:pt x="46" y="14"/>
                  <a:pt x="43" y="11"/>
                </a:cubicBezTo>
                <a:cubicBezTo>
                  <a:pt x="39" y="3"/>
                  <a:pt x="31" y="0"/>
                  <a:pt x="23" y="0"/>
                </a:cubicBezTo>
                <a:cubicBezTo>
                  <a:pt x="19" y="0"/>
                  <a:pt x="15" y="1"/>
                  <a:pt x="11" y="3"/>
                </a:cubicBezTo>
                <a:cubicBezTo>
                  <a:pt x="4" y="8"/>
                  <a:pt x="0" y="15"/>
                  <a:pt x="0" y="23"/>
                </a:cubicBezTo>
                <a:cubicBezTo>
                  <a:pt x="0" y="28"/>
                  <a:pt x="1" y="32"/>
                  <a:pt x="3" y="36"/>
                </a:cubicBezTo>
                <a:cubicBezTo>
                  <a:pt x="8" y="43"/>
                  <a:pt x="16" y="47"/>
                  <a:pt x="23" y="47"/>
                </a:cubicBezTo>
                <a:cubicBezTo>
                  <a:pt x="28" y="47"/>
                  <a:pt x="32" y="46"/>
                  <a:pt x="36" y="43"/>
                </a:cubicBezTo>
                <a:lnTo>
                  <a:pt x="34" y="40"/>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68"/>
          <p:cNvSpPr>
            <a:spLocks/>
          </p:cNvSpPr>
          <p:nvPr/>
        </p:nvSpPr>
        <p:spPr bwMode="auto">
          <a:xfrm>
            <a:off x="3975346" y="3521253"/>
            <a:ext cx="148800" cy="146776"/>
          </a:xfrm>
          <a:custGeom>
            <a:avLst/>
            <a:gdLst>
              <a:gd name="T0" fmla="*/ 45 w 62"/>
              <a:gd name="T1" fmla="*/ 53 h 61"/>
              <a:gd name="T2" fmla="*/ 8 w 62"/>
              <a:gd name="T3" fmla="*/ 45 h 61"/>
              <a:gd name="T4" fmla="*/ 17 w 62"/>
              <a:gd name="T5" fmla="*/ 8 h 61"/>
              <a:gd name="T6" fmla="*/ 54 w 62"/>
              <a:gd name="T7" fmla="*/ 16 h 61"/>
              <a:gd name="T8" fmla="*/ 45 w 62"/>
              <a:gd name="T9" fmla="*/ 53 h 61"/>
            </a:gdLst>
            <a:ahLst/>
            <a:cxnLst>
              <a:cxn ang="0">
                <a:pos x="T0" y="T1"/>
              </a:cxn>
              <a:cxn ang="0">
                <a:pos x="T2" y="T3"/>
              </a:cxn>
              <a:cxn ang="0">
                <a:pos x="T4" y="T5"/>
              </a:cxn>
              <a:cxn ang="0">
                <a:pos x="T6" y="T7"/>
              </a:cxn>
              <a:cxn ang="0">
                <a:pos x="T8" y="T9"/>
              </a:cxn>
            </a:cxnLst>
            <a:rect l="0" t="0" r="r" b="b"/>
            <a:pathLst>
              <a:path w="62" h="61">
                <a:moveTo>
                  <a:pt x="45" y="53"/>
                </a:moveTo>
                <a:cubicBezTo>
                  <a:pt x="33" y="61"/>
                  <a:pt x="16" y="57"/>
                  <a:pt x="8" y="45"/>
                </a:cubicBezTo>
                <a:cubicBezTo>
                  <a:pt x="0" y="32"/>
                  <a:pt x="4" y="16"/>
                  <a:pt x="17" y="8"/>
                </a:cubicBezTo>
                <a:cubicBezTo>
                  <a:pt x="29" y="0"/>
                  <a:pt x="46" y="3"/>
                  <a:pt x="54" y="16"/>
                </a:cubicBezTo>
                <a:cubicBezTo>
                  <a:pt x="62" y="28"/>
                  <a:pt x="58"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69"/>
          <p:cNvSpPr>
            <a:spLocks/>
          </p:cNvSpPr>
          <p:nvPr/>
        </p:nvSpPr>
        <p:spPr bwMode="auto">
          <a:xfrm>
            <a:off x="3975346" y="3519228"/>
            <a:ext cx="148800" cy="148800"/>
          </a:xfrm>
          <a:custGeom>
            <a:avLst/>
            <a:gdLst>
              <a:gd name="T0" fmla="*/ 45 w 62"/>
              <a:gd name="T1" fmla="*/ 54 h 62"/>
              <a:gd name="T2" fmla="*/ 43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1 h 62"/>
              <a:gd name="T20" fmla="*/ 45 w 62"/>
              <a:gd name="T21" fmla="*/ 54 h 62"/>
              <a:gd name="T22" fmla="*/ 48 w 62"/>
              <a:gd name="T23" fmla="*/ 57 h 62"/>
              <a:gd name="T24" fmla="*/ 62 w 62"/>
              <a:gd name="T25" fmla="*/ 31 h 62"/>
              <a:gd name="T26" fmla="*/ 57 w 62"/>
              <a:gd name="T27" fmla="*/ 15 h 62"/>
              <a:gd name="T28" fmla="*/ 31 w 62"/>
              <a:gd name="T29" fmla="*/ 0 h 62"/>
              <a:gd name="T30" fmla="*/ 14 w 62"/>
              <a:gd name="T31" fmla="*/ 5 h 62"/>
              <a:gd name="T32" fmla="*/ 0 w 62"/>
              <a:gd name="T33" fmla="*/ 31 h 62"/>
              <a:gd name="T34" fmla="*/ 5 w 62"/>
              <a:gd name="T35" fmla="*/ 48 h 62"/>
              <a:gd name="T36" fmla="*/ 31 w 62"/>
              <a:gd name="T37" fmla="*/ 62 h 62"/>
              <a:gd name="T38" fmla="*/ 48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1"/>
                  <a:pt x="43" y="51"/>
                  <a:pt x="43" y="51"/>
                </a:cubicBezTo>
                <a:cubicBezTo>
                  <a:pt x="39" y="53"/>
                  <a:pt x="35" y="54"/>
                  <a:pt x="31" y="54"/>
                </a:cubicBezTo>
                <a:cubicBezTo>
                  <a:pt x="23" y="54"/>
                  <a:pt x="16" y="50"/>
                  <a:pt x="12" y="44"/>
                </a:cubicBezTo>
                <a:cubicBezTo>
                  <a:pt x="9" y="40"/>
                  <a:pt x="8" y="35"/>
                  <a:pt x="8" y="31"/>
                </a:cubicBezTo>
                <a:cubicBezTo>
                  <a:pt x="8" y="24"/>
                  <a:pt x="12" y="16"/>
                  <a:pt x="19" y="12"/>
                </a:cubicBezTo>
                <a:cubicBezTo>
                  <a:pt x="23" y="10"/>
                  <a:pt x="27" y="8"/>
                  <a:pt x="31" y="8"/>
                </a:cubicBezTo>
                <a:cubicBezTo>
                  <a:pt x="39" y="8"/>
                  <a:pt x="46" y="12"/>
                  <a:pt x="50" y="19"/>
                </a:cubicBezTo>
                <a:cubicBezTo>
                  <a:pt x="53" y="23"/>
                  <a:pt x="54" y="27"/>
                  <a:pt x="54" y="31"/>
                </a:cubicBezTo>
                <a:cubicBezTo>
                  <a:pt x="54" y="39"/>
                  <a:pt x="50" y="46"/>
                  <a:pt x="43" y="51"/>
                </a:cubicBezTo>
                <a:cubicBezTo>
                  <a:pt x="45" y="54"/>
                  <a:pt x="45" y="54"/>
                  <a:pt x="45" y="54"/>
                </a:cubicBezTo>
                <a:cubicBezTo>
                  <a:pt x="48" y="57"/>
                  <a:pt x="48" y="57"/>
                  <a:pt x="48" y="57"/>
                </a:cubicBezTo>
                <a:cubicBezTo>
                  <a:pt x="57" y="51"/>
                  <a:pt x="62" y="41"/>
                  <a:pt x="62" y="31"/>
                </a:cubicBezTo>
                <a:cubicBezTo>
                  <a:pt x="62" y="26"/>
                  <a:pt x="60" y="20"/>
                  <a:pt x="57" y="15"/>
                </a:cubicBezTo>
                <a:cubicBezTo>
                  <a:pt x="51" y="5"/>
                  <a:pt x="41" y="0"/>
                  <a:pt x="31" y="0"/>
                </a:cubicBezTo>
                <a:cubicBezTo>
                  <a:pt x="25" y="0"/>
                  <a:pt x="20" y="2"/>
                  <a:pt x="14" y="5"/>
                </a:cubicBezTo>
                <a:cubicBezTo>
                  <a:pt x="5" y="11"/>
                  <a:pt x="0" y="21"/>
                  <a:pt x="0" y="31"/>
                </a:cubicBezTo>
                <a:cubicBezTo>
                  <a:pt x="0" y="37"/>
                  <a:pt x="2" y="43"/>
                  <a:pt x="5" y="48"/>
                </a:cubicBezTo>
                <a:cubicBezTo>
                  <a:pt x="11" y="57"/>
                  <a:pt x="21" y="62"/>
                  <a:pt x="31" y="62"/>
                </a:cubicBezTo>
                <a:cubicBezTo>
                  <a:pt x="37" y="62"/>
                  <a:pt x="42" y="61"/>
                  <a:pt x="48" y="57"/>
                </a:cubicBezTo>
                <a:lnTo>
                  <a:pt x="45"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70"/>
          <p:cNvSpPr>
            <a:spLocks/>
          </p:cNvSpPr>
          <p:nvPr/>
        </p:nvSpPr>
        <p:spPr bwMode="auto">
          <a:xfrm>
            <a:off x="4616097" y="2488762"/>
            <a:ext cx="146776" cy="145763"/>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71"/>
          <p:cNvSpPr>
            <a:spLocks/>
          </p:cNvSpPr>
          <p:nvPr/>
        </p:nvSpPr>
        <p:spPr bwMode="auto">
          <a:xfrm>
            <a:off x="4616097" y="2488762"/>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1"/>
                  <a:pt x="14" y="5"/>
                </a:cubicBezTo>
                <a:cubicBezTo>
                  <a:pt x="5" y="11"/>
                  <a:pt x="0" y="21"/>
                  <a:pt x="0" y="31"/>
                </a:cubicBezTo>
                <a:cubicBezTo>
                  <a:pt x="0" y="36"/>
                  <a:pt x="1" y="42"/>
                  <a:pt x="4" y="47"/>
                </a:cubicBezTo>
                <a:cubicBezTo>
                  <a:pt x="10" y="57"/>
                  <a:pt x="20" y="62"/>
                  <a:pt x="30" y="62"/>
                </a:cubicBezTo>
                <a:cubicBezTo>
                  <a:pt x="36" y="62"/>
                  <a:pt x="42" y="60"/>
                  <a:pt x="47" y="57"/>
                </a:cubicBezTo>
                <a:lnTo>
                  <a:pt x="45"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72"/>
          <p:cNvSpPr>
            <a:spLocks/>
          </p:cNvSpPr>
          <p:nvPr/>
        </p:nvSpPr>
        <p:spPr bwMode="auto">
          <a:xfrm>
            <a:off x="5077682" y="4222739"/>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73"/>
          <p:cNvSpPr>
            <a:spLocks/>
          </p:cNvSpPr>
          <p:nvPr/>
        </p:nvSpPr>
        <p:spPr bwMode="auto">
          <a:xfrm>
            <a:off x="5077682" y="4222739"/>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2"/>
                  <a:pt x="14" y="5"/>
                </a:cubicBezTo>
                <a:cubicBezTo>
                  <a:pt x="5" y="11"/>
                  <a:pt x="0" y="21"/>
                  <a:pt x="0" y="31"/>
                </a:cubicBezTo>
                <a:cubicBezTo>
                  <a:pt x="0" y="37"/>
                  <a:pt x="1" y="42"/>
                  <a:pt x="4" y="47"/>
                </a:cubicBezTo>
                <a:cubicBezTo>
                  <a:pt x="10" y="57"/>
                  <a:pt x="20" y="62"/>
                  <a:pt x="30" y="62"/>
                </a:cubicBezTo>
                <a:cubicBezTo>
                  <a:pt x="36" y="62"/>
                  <a:pt x="42" y="60"/>
                  <a:pt x="47" y="57"/>
                </a:cubicBezTo>
                <a:cubicBezTo>
                  <a:pt x="45" y="53"/>
                  <a:pt x="45" y="53"/>
                  <a:pt x="45" y="53"/>
                </a:cubicBezTo>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4"/>
          <p:cNvSpPr>
            <a:spLocks/>
          </p:cNvSpPr>
          <p:nvPr/>
        </p:nvSpPr>
        <p:spPr bwMode="auto">
          <a:xfrm>
            <a:off x="5077682" y="4213629"/>
            <a:ext cx="127543" cy="69845"/>
          </a:xfrm>
          <a:custGeom>
            <a:avLst/>
            <a:gdLst>
              <a:gd name="T0" fmla="*/ 29 w 53"/>
              <a:gd name="T1" fmla="*/ 0 h 29"/>
              <a:gd name="T2" fmla="*/ 0 w 53"/>
              <a:gd name="T3" fmla="*/ 29 h 29"/>
              <a:gd name="T4" fmla="*/ 14 w 53"/>
              <a:gd name="T5" fmla="*/ 9 h 29"/>
              <a:gd name="T6" fmla="*/ 30 w 53"/>
              <a:gd name="T7" fmla="*/ 4 h 29"/>
              <a:gd name="T8" fmla="*/ 30 w 53"/>
              <a:gd name="T9" fmla="*/ 4 h 29"/>
              <a:gd name="T10" fmla="*/ 53 w 53"/>
              <a:gd name="T11" fmla="*/ 14 h 29"/>
              <a:gd name="T12" fmla="*/ 29 w 53"/>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53" h="29">
                <a:moveTo>
                  <a:pt x="29" y="0"/>
                </a:moveTo>
                <a:cubicBezTo>
                  <a:pt x="13" y="0"/>
                  <a:pt x="0" y="13"/>
                  <a:pt x="0" y="29"/>
                </a:cubicBezTo>
                <a:cubicBezTo>
                  <a:pt x="2" y="21"/>
                  <a:pt x="6" y="14"/>
                  <a:pt x="14" y="9"/>
                </a:cubicBezTo>
                <a:cubicBezTo>
                  <a:pt x="19" y="6"/>
                  <a:pt x="25" y="4"/>
                  <a:pt x="30" y="4"/>
                </a:cubicBezTo>
                <a:cubicBezTo>
                  <a:pt x="30" y="4"/>
                  <a:pt x="30" y="4"/>
                  <a:pt x="30" y="4"/>
                </a:cubicBezTo>
                <a:cubicBezTo>
                  <a:pt x="39" y="4"/>
                  <a:pt x="47" y="7"/>
                  <a:pt x="53" y="14"/>
                </a:cubicBezTo>
                <a:cubicBezTo>
                  <a:pt x="48" y="6"/>
                  <a:pt x="39" y="0"/>
                  <a:pt x="29" y="0"/>
                </a:cubicBezTo>
              </a:path>
            </a:pathLst>
          </a:custGeom>
          <a:solidFill>
            <a:srgbClr val="87B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75"/>
          <p:cNvSpPr>
            <a:spLocks noEditPoints="1"/>
          </p:cNvSpPr>
          <p:nvPr/>
        </p:nvSpPr>
        <p:spPr bwMode="auto">
          <a:xfrm>
            <a:off x="5096914" y="4241972"/>
            <a:ext cx="108310" cy="110335"/>
          </a:xfrm>
          <a:custGeom>
            <a:avLst/>
            <a:gdLst>
              <a:gd name="T0" fmla="*/ 21 w 45"/>
              <a:gd name="T1" fmla="*/ 34 h 46"/>
              <a:gd name="T2" fmla="*/ 4 w 45"/>
              <a:gd name="T3" fmla="*/ 17 h 46"/>
              <a:gd name="T4" fmla="*/ 21 w 45"/>
              <a:gd name="T5" fmla="*/ 0 h 46"/>
              <a:gd name="T6" fmla="*/ 38 w 45"/>
              <a:gd name="T7" fmla="*/ 17 h 46"/>
              <a:gd name="T8" fmla="*/ 21 w 45"/>
              <a:gd name="T9" fmla="*/ 34 h 46"/>
              <a:gd name="T10" fmla="*/ 22 w 45"/>
              <a:gd name="T11" fmla="*/ 0 h 46"/>
              <a:gd name="T12" fmla="*/ 10 w 45"/>
              <a:gd name="T13" fmla="*/ 4 h 46"/>
              <a:gd name="T14" fmla="*/ 0 w 45"/>
              <a:gd name="T15" fmla="*/ 23 h 46"/>
              <a:gd name="T16" fmla="*/ 3 w 45"/>
              <a:gd name="T17" fmla="*/ 35 h 46"/>
              <a:gd name="T18" fmla="*/ 22 w 45"/>
              <a:gd name="T19" fmla="*/ 46 h 46"/>
              <a:gd name="T20" fmla="*/ 25 w 45"/>
              <a:gd name="T21" fmla="*/ 46 h 46"/>
              <a:gd name="T22" fmla="*/ 32 w 45"/>
              <a:gd name="T23" fmla="*/ 43 h 46"/>
              <a:gd name="T24" fmla="*/ 35 w 45"/>
              <a:gd name="T25" fmla="*/ 42 h 46"/>
              <a:gd name="T26" fmla="*/ 35 w 45"/>
              <a:gd name="T27" fmla="*/ 42 h 46"/>
              <a:gd name="T28" fmla="*/ 45 w 45"/>
              <a:gd name="T29" fmla="*/ 23 h 46"/>
              <a:gd name="T30" fmla="*/ 42 w 45"/>
              <a:gd name="T31" fmla="*/ 11 h 46"/>
              <a:gd name="T32" fmla="*/ 22 w 45"/>
              <a:gd name="T3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46">
                <a:moveTo>
                  <a:pt x="21" y="34"/>
                </a:moveTo>
                <a:cubicBezTo>
                  <a:pt x="12" y="34"/>
                  <a:pt x="4" y="26"/>
                  <a:pt x="4" y="17"/>
                </a:cubicBezTo>
                <a:cubicBezTo>
                  <a:pt x="4" y="8"/>
                  <a:pt x="12" y="0"/>
                  <a:pt x="21" y="0"/>
                </a:cubicBezTo>
                <a:cubicBezTo>
                  <a:pt x="30" y="0"/>
                  <a:pt x="38" y="8"/>
                  <a:pt x="38" y="17"/>
                </a:cubicBezTo>
                <a:cubicBezTo>
                  <a:pt x="38" y="26"/>
                  <a:pt x="30" y="34"/>
                  <a:pt x="21" y="34"/>
                </a:cubicBezTo>
                <a:moveTo>
                  <a:pt x="22" y="0"/>
                </a:moveTo>
                <a:cubicBezTo>
                  <a:pt x="18" y="0"/>
                  <a:pt x="14" y="1"/>
                  <a:pt x="10" y="4"/>
                </a:cubicBezTo>
                <a:cubicBezTo>
                  <a:pt x="3" y="8"/>
                  <a:pt x="0" y="15"/>
                  <a:pt x="0" y="23"/>
                </a:cubicBezTo>
                <a:cubicBezTo>
                  <a:pt x="0" y="27"/>
                  <a:pt x="1" y="31"/>
                  <a:pt x="3" y="35"/>
                </a:cubicBezTo>
                <a:cubicBezTo>
                  <a:pt x="8" y="42"/>
                  <a:pt x="15" y="46"/>
                  <a:pt x="22" y="46"/>
                </a:cubicBezTo>
                <a:cubicBezTo>
                  <a:pt x="23" y="46"/>
                  <a:pt x="24" y="46"/>
                  <a:pt x="25" y="46"/>
                </a:cubicBezTo>
                <a:cubicBezTo>
                  <a:pt x="27" y="45"/>
                  <a:pt x="30" y="44"/>
                  <a:pt x="32" y="43"/>
                </a:cubicBezTo>
                <a:cubicBezTo>
                  <a:pt x="33" y="43"/>
                  <a:pt x="34" y="43"/>
                  <a:pt x="35" y="42"/>
                </a:cubicBezTo>
                <a:cubicBezTo>
                  <a:pt x="35" y="42"/>
                  <a:pt x="35" y="42"/>
                  <a:pt x="35" y="42"/>
                </a:cubicBezTo>
                <a:cubicBezTo>
                  <a:pt x="42" y="38"/>
                  <a:pt x="45" y="30"/>
                  <a:pt x="45" y="23"/>
                </a:cubicBezTo>
                <a:cubicBezTo>
                  <a:pt x="45" y="19"/>
                  <a:pt x="44" y="14"/>
                  <a:pt x="42" y="11"/>
                </a:cubicBezTo>
                <a:cubicBezTo>
                  <a:pt x="37" y="4"/>
                  <a:pt x="30" y="0"/>
                  <a:pt x="22" y="0"/>
                </a:cubicBezTo>
              </a:path>
            </a:pathLst>
          </a:custGeom>
          <a:solidFill>
            <a:srgbClr val="86BF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6"/>
          <p:cNvSpPr>
            <a:spLocks/>
          </p:cNvSpPr>
          <p:nvPr/>
        </p:nvSpPr>
        <p:spPr bwMode="auto">
          <a:xfrm>
            <a:off x="5077682" y="4222739"/>
            <a:ext cx="138678" cy="129567"/>
          </a:xfrm>
          <a:custGeom>
            <a:avLst/>
            <a:gdLst>
              <a:gd name="T0" fmla="*/ 30 w 58"/>
              <a:gd name="T1" fmla="*/ 0 h 54"/>
              <a:gd name="T2" fmla="*/ 30 w 58"/>
              <a:gd name="T3" fmla="*/ 0 h 54"/>
              <a:gd name="T4" fmla="*/ 14 w 58"/>
              <a:gd name="T5" fmla="*/ 5 h 54"/>
              <a:gd name="T6" fmla="*/ 0 w 58"/>
              <a:gd name="T7" fmla="*/ 25 h 54"/>
              <a:gd name="T8" fmla="*/ 0 w 58"/>
              <a:gd name="T9" fmla="*/ 25 h 54"/>
              <a:gd name="T10" fmla="*/ 29 w 58"/>
              <a:gd name="T11" fmla="*/ 54 h 54"/>
              <a:gd name="T12" fmla="*/ 33 w 58"/>
              <a:gd name="T13" fmla="*/ 54 h 54"/>
              <a:gd name="T14" fmla="*/ 30 w 58"/>
              <a:gd name="T15" fmla="*/ 54 h 54"/>
              <a:gd name="T16" fmla="*/ 11 w 58"/>
              <a:gd name="T17" fmla="*/ 43 h 54"/>
              <a:gd name="T18" fmla="*/ 8 w 58"/>
              <a:gd name="T19" fmla="*/ 31 h 54"/>
              <a:gd name="T20" fmla="*/ 18 w 58"/>
              <a:gd name="T21" fmla="*/ 12 h 54"/>
              <a:gd name="T22" fmla="*/ 30 w 58"/>
              <a:gd name="T23" fmla="*/ 8 h 54"/>
              <a:gd name="T24" fmla="*/ 50 w 58"/>
              <a:gd name="T25" fmla="*/ 19 h 54"/>
              <a:gd name="T26" fmla="*/ 53 w 58"/>
              <a:gd name="T27" fmla="*/ 31 h 54"/>
              <a:gd name="T28" fmla="*/ 43 w 58"/>
              <a:gd name="T29" fmla="*/ 50 h 54"/>
              <a:gd name="T30" fmla="*/ 43 w 58"/>
              <a:gd name="T31" fmla="*/ 50 h 54"/>
              <a:gd name="T32" fmla="*/ 40 w 58"/>
              <a:gd name="T33" fmla="*/ 51 h 54"/>
              <a:gd name="T34" fmla="*/ 58 w 58"/>
              <a:gd name="T35" fmla="*/ 25 h 54"/>
              <a:gd name="T36" fmla="*/ 53 w 58"/>
              <a:gd name="T37" fmla="*/ 10 h 54"/>
              <a:gd name="T38" fmla="*/ 30 w 58"/>
              <a:gd name="T3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4">
                <a:moveTo>
                  <a:pt x="30" y="0"/>
                </a:moveTo>
                <a:cubicBezTo>
                  <a:pt x="30" y="0"/>
                  <a:pt x="30" y="0"/>
                  <a:pt x="30" y="0"/>
                </a:cubicBezTo>
                <a:cubicBezTo>
                  <a:pt x="25" y="0"/>
                  <a:pt x="19" y="2"/>
                  <a:pt x="14" y="5"/>
                </a:cubicBezTo>
                <a:cubicBezTo>
                  <a:pt x="6" y="10"/>
                  <a:pt x="2" y="17"/>
                  <a:pt x="0" y="25"/>
                </a:cubicBezTo>
                <a:cubicBezTo>
                  <a:pt x="0" y="25"/>
                  <a:pt x="0" y="25"/>
                  <a:pt x="0" y="25"/>
                </a:cubicBezTo>
                <a:cubicBezTo>
                  <a:pt x="0" y="41"/>
                  <a:pt x="13" y="54"/>
                  <a:pt x="29" y="54"/>
                </a:cubicBezTo>
                <a:cubicBezTo>
                  <a:pt x="30" y="54"/>
                  <a:pt x="31" y="54"/>
                  <a:pt x="33" y="54"/>
                </a:cubicBezTo>
                <a:cubicBezTo>
                  <a:pt x="32" y="54"/>
                  <a:pt x="31"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3" y="50"/>
                  <a:pt x="43" y="50"/>
                  <a:pt x="43" y="50"/>
                </a:cubicBezTo>
                <a:cubicBezTo>
                  <a:pt x="42" y="51"/>
                  <a:pt x="41" y="51"/>
                  <a:pt x="40" y="51"/>
                </a:cubicBezTo>
                <a:cubicBezTo>
                  <a:pt x="50" y="47"/>
                  <a:pt x="58" y="37"/>
                  <a:pt x="58" y="25"/>
                </a:cubicBezTo>
                <a:cubicBezTo>
                  <a:pt x="58" y="20"/>
                  <a:pt x="56" y="14"/>
                  <a:pt x="53" y="10"/>
                </a:cubicBezTo>
                <a:cubicBezTo>
                  <a:pt x="47" y="3"/>
                  <a:pt x="39" y="0"/>
                  <a:pt x="30" y="0"/>
                </a:cubicBezTo>
              </a:path>
            </a:pathLst>
          </a:custGeom>
          <a:solidFill>
            <a:srgbClr val="6CAB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77"/>
          <p:cNvSpPr>
            <a:spLocks noEditPoints="1"/>
          </p:cNvSpPr>
          <p:nvPr/>
        </p:nvSpPr>
        <p:spPr bwMode="auto">
          <a:xfrm>
            <a:off x="5019984" y="4155931"/>
            <a:ext cx="254074" cy="254074"/>
          </a:xfrm>
          <a:custGeom>
            <a:avLst/>
            <a:gdLst>
              <a:gd name="T0" fmla="*/ 53 w 106"/>
              <a:gd name="T1" fmla="*/ 97 h 106"/>
              <a:gd name="T2" fmla="*/ 9 w 106"/>
              <a:gd name="T3" fmla="*/ 53 h 106"/>
              <a:gd name="T4" fmla="*/ 53 w 106"/>
              <a:gd name="T5" fmla="*/ 10 h 106"/>
              <a:gd name="T6" fmla="*/ 96 w 106"/>
              <a:gd name="T7" fmla="*/ 53 h 106"/>
              <a:gd name="T8" fmla="*/ 53 w 106"/>
              <a:gd name="T9" fmla="*/ 97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97"/>
                </a:moveTo>
                <a:cubicBezTo>
                  <a:pt x="29" y="97"/>
                  <a:pt x="9" y="77"/>
                  <a:pt x="9" y="53"/>
                </a:cubicBezTo>
                <a:cubicBezTo>
                  <a:pt x="9" y="29"/>
                  <a:pt x="29" y="10"/>
                  <a:pt x="53" y="10"/>
                </a:cubicBezTo>
                <a:cubicBezTo>
                  <a:pt x="77" y="10"/>
                  <a:pt x="96" y="29"/>
                  <a:pt x="96" y="53"/>
                </a:cubicBezTo>
                <a:cubicBezTo>
                  <a:pt x="96" y="77"/>
                  <a:pt x="77" y="97"/>
                  <a:pt x="53" y="97"/>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path>
            </a:pathLst>
          </a:custGeom>
          <a:solidFill>
            <a:srgbClr val="90C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78"/>
          <p:cNvSpPr>
            <a:spLocks noEditPoints="1"/>
          </p:cNvSpPr>
          <p:nvPr/>
        </p:nvSpPr>
        <p:spPr bwMode="auto">
          <a:xfrm>
            <a:off x="4971396" y="4110380"/>
            <a:ext cx="349225" cy="348213"/>
          </a:xfrm>
          <a:custGeom>
            <a:avLst/>
            <a:gdLst>
              <a:gd name="T0" fmla="*/ 73 w 145"/>
              <a:gd name="T1" fmla="*/ 138 h 145"/>
              <a:gd name="T2" fmla="*/ 7 w 145"/>
              <a:gd name="T3" fmla="*/ 74 h 145"/>
              <a:gd name="T4" fmla="*/ 7 w 145"/>
              <a:gd name="T5" fmla="*/ 72 h 145"/>
              <a:gd name="T6" fmla="*/ 73 w 145"/>
              <a:gd name="T7" fmla="*/ 6 h 145"/>
              <a:gd name="T8" fmla="*/ 139 w 145"/>
              <a:gd name="T9" fmla="*/ 72 h 145"/>
              <a:gd name="T10" fmla="*/ 73 w 145"/>
              <a:gd name="T11" fmla="*/ 138 h 145"/>
              <a:gd name="T12" fmla="*/ 73 w 145"/>
              <a:gd name="T13" fmla="*/ 0 h 145"/>
              <a:gd name="T14" fmla="*/ 0 w 145"/>
              <a:gd name="T15" fmla="*/ 72 h 145"/>
              <a:gd name="T16" fmla="*/ 0 w 145"/>
              <a:gd name="T17" fmla="*/ 74 h 145"/>
              <a:gd name="T18" fmla="*/ 73 w 145"/>
              <a:gd name="T19" fmla="*/ 145 h 145"/>
              <a:gd name="T20" fmla="*/ 145 w 145"/>
              <a:gd name="T21" fmla="*/ 72 h 145"/>
              <a:gd name="T22" fmla="*/ 73 w 145"/>
              <a:gd name="T2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5">
                <a:moveTo>
                  <a:pt x="73" y="138"/>
                </a:moveTo>
                <a:cubicBezTo>
                  <a:pt x="37" y="138"/>
                  <a:pt x="7" y="109"/>
                  <a:pt x="7" y="74"/>
                </a:cubicBezTo>
                <a:cubicBezTo>
                  <a:pt x="7" y="73"/>
                  <a:pt x="7" y="73"/>
                  <a:pt x="7" y="72"/>
                </a:cubicBezTo>
                <a:cubicBezTo>
                  <a:pt x="7" y="36"/>
                  <a:pt x="36" y="6"/>
                  <a:pt x="73" y="6"/>
                </a:cubicBezTo>
                <a:cubicBezTo>
                  <a:pt x="109" y="6"/>
                  <a:pt x="139" y="36"/>
                  <a:pt x="139" y="72"/>
                </a:cubicBezTo>
                <a:cubicBezTo>
                  <a:pt x="139" y="109"/>
                  <a:pt x="109" y="138"/>
                  <a:pt x="73" y="138"/>
                </a:cubicBezTo>
                <a:moveTo>
                  <a:pt x="73" y="0"/>
                </a:moveTo>
                <a:cubicBezTo>
                  <a:pt x="33" y="0"/>
                  <a:pt x="0" y="32"/>
                  <a:pt x="0" y="72"/>
                </a:cubicBezTo>
                <a:cubicBezTo>
                  <a:pt x="0" y="73"/>
                  <a:pt x="0" y="73"/>
                  <a:pt x="0" y="74"/>
                </a:cubicBezTo>
                <a:cubicBezTo>
                  <a:pt x="1" y="113"/>
                  <a:pt x="34" y="145"/>
                  <a:pt x="73" y="145"/>
                </a:cubicBezTo>
                <a:cubicBezTo>
                  <a:pt x="113" y="145"/>
                  <a:pt x="145" y="112"/>
                  <a:pt x="145" y="72"/>
                </a:cubicBezTo>
                <a:cubicBezTo>
                  <a:pt x="145" y="32"/>
                  <a:pt x="113" y="0"/>
                  <a:pt x="73" y="0"/>
                </a:cubicBezTo>
              </a:path>
            </a:pathLst>
          </a:custGeom>
          <a:solidFill>
            <a:srgbClr val="B9D7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79"/>
          <p:cNvSpPr>
            <a:spLocks noEditPoints="1"/>
          </p:cNvSpPr>
          <p:nvPr/>
        </p:nvSpPr>
        <p:spPr bwMode="auto">
          <a:xfrm>
            <a:off x="4923820" y="4059768"/>
            <a:ext cx="446400" cy="446400"/>
          </a:xfrm>
          <a:custGeom>
            <a:avLst/>
            <a:gdLst>
              <a:gd name="T0" fmla="*/ 93 w 186"/>
              <a:gd name="T1" fmla="*/ 181 h 186"/>
              <a:gd name="T2" fmla="*/ 5 w 186"/>
              <a:gd name="T3" fmla="*/ 93 h 186"/>
              <a:gd name="T4" fmla="*/ 93 w 186"/>
              <a:gd name="T5" fmla="*/ 5 h 186"/>
              <a:gd name="T6" fmla="*/ 181 w 186"/>
              <a:gd name="T7" fmla="*/ 93 h 186"/>
              <a:gd name="T8" fmla="*/ 93 w 186"/>
              <a:gd name="T9" fmla="*/ 181 h 186"/>
              <a:gd name="T10" fmla="*/ 93 w 186"/>
              <a:gd name="T11" fmla="*/ 0 h 186"/>
              <a:gd name="T12" fmla="*/ 0 w 186"/>
              <a:gd name="T13" fmla="*/ 93 h 186"/>
              <a:gd name="T14" fmla="*/ 93 w 186"/>
              <a:gd name="T15" fmla="*/ 186 h 186"/>
              <a:gd name="T16" fmla="*/ 186 w 186"/>
              <a:gd name="T17" fmla="*/ 93 h 186"/>
              <a:gd name="T18" fmla="*/ 93 w 186"/>
              <a:gd name="T1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86">
                <a:moveTo>
                  <a:pt x="93" y="181"/>
                </a:moveTo>
                <a:cubicBezTo>
                  <a:pt x="44" y="181"/>
                  <a:pt x="5" y="142"/>
                  <a:pt x="5" y="93"/>
                </a:cubicBezTo>
                <a:cubicBezTo>
                  <a:pt x="5" y="45"/>
                  <a:pt x="44" y="5"/>
                  <a:pt x="93" y="5"/>
                </a:cubicBezTo>
                <a:cubicBezTo>
                  <a:pt x="141" y="5"/>
                  <a:pt x="181" y="45"/>
                  <a:pt x="181" y="93"/>
                </a:cubicBezTo>
                <a:cubicBezTo>
                  <a:pt x="181" y="142"/>
                  <a:pt x="141" y="181"/>
                  <a:pt x="93" y="181"/>
                </a:cubicBezTo>
                <a:moveTo>
                  <a:pt x="93" y="0"/>
                </a:moveTo>
                <a:cubicBezTo>
                  <a:pt x="42" y="0"/>
                  <a:pt x="0" y="42"/>
                  <a:pt x="0" y="93"/>
                </a:cubicBezTo>
                <a:cubicBezTo>
                  <a:pt x="0" y="144"/>
                  <a:pt x="42" y="186"/>
                  <a:pt x="93" y="186"/>
                </a:cubicBezTo>
                <a:cubicBezTo>
                  <a:pt x="144" y="186"/>
                  <a:pt x="186" y="144"/>
                  <a:pt x="186" y="93"/>
                </a:cubicBezTo>
                <a:cubicBezTo>
                  <a:pt x="186" y="42"/>
                  <a:pt x="144" y="0"/>
                  <a:pt x="93" y="0"/>
                </a:cubicBezTo>
              </a:path>
            </a:pathLst>
          </a:custGeom>
          <a:solidFill>
            <a:srgbClr val="DEEC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80"/>
          <p:cNvSpPr>
            <a:spLocks noChangeArrowheads="1"/>
          </p:cNvSpPr>
          <p:nvPr/>
        </p:nvSpPr>
        <p:spPr bwMode="auto">
          <a:xfrm>
            <a:off x="5130318" y="4268290"/>
            <a:ext cx="31380" cy="31380"/>
          </a:xfrm>
          <a:prstGeom prst="ellipse">
            <a:avLst/>
          </a:prstGeom>
          <a:solidFill>
            <a:srgbClr val="5EA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81"/>
          <p:cNvSpPr>
            <a:spLocks/>
          </p:cNvSpPr>
          <p:nvPr/>
        </p:nvSpPr>
        <p:spPr bwMode="auto">
          <a:xfrm>
            <a:off x="3723296" y="5786659"/>
            <a:ext cx="11135" cy="0"/>
          </a:xfrm>
          <a:custGeom>
            <a:avLst/>
            <a:gdLst>
              <a:gd name="T0" fmla="*/ 11 w 11"/>
              <a:gd name="T1" fmla="*/ 0 w 11"/>
              <a:gd name="T2" fmla="*/ 11 w 11"/>
            </a:gdLst>
            <a:ahLst/>
            <a:cxnLst>
              <a:cxn ang="0">
                <a:pos x="T0" y="0"/>
              </a:cxn>
              <a:cxn ang="0">
                <a:pos x="T1" y="0"/>
              </a:cxn>
              <a:cxn ang="0">
                <a:pos x="T2" y="0"/>
              </a:cxn>
            </a:cxnLst>
            <a:rect l="0" t="0" r="r" b="b"/>
            <a:pathLst>
              <a:path w="11">
                <a:moveTo>
                  <a:pt x="11" y="0"/>
                </a:moveTo>
                <a:lnTo>
                  <a:pt x="0" y="0"/>
                </a:lnTo>
                <a:lnTo>
                  <a:pt x="11" y="0"/>
                </a:lnTo>
                <a:close/>
              </a:path>
            </a:pathLst>
          </a:custGeom>
          <a:solidFill>
            <a:srgbClr val="0D70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Line 82"/>
          <p:cNvSpPr>
            <a:spLocks noChangeShapeType="1"/>
          </p:cNvSpPr>
          <p:nvPr/>
        </p:nvSpPr>
        <p:spPr bwMode="auto">
          <a:xfrm flipH="1">
            <a:off x="3723296" y="5786659"/>
            <a:ext cx="1113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83"/>
          <p:cNvSpPr>
            <a:spLocks/>
          </p:cNvSpPr>
          <p:nvPr/>
        </p:nvSpPr>
        <p:spPr bwMode="auto">
          <a:xfrm>
            <a:off x="4274970" y="2492811"/>
            <a:ext cx="1780541" cy="2856558"/>
          </a:xfrm>
          <a:custGeom>
            <a:avLst/>
            <a:gdLst>
              <a:gd name="T0" fmla="*/ 576 w 741"/>
              <a:gd name="T1" fmla="*/ 1189 h 1189"/>
              <a:gd name="T2" fmla="*/ 576 w 741"/>
              <a:gd name="T3" fmla="*/ 537 h 1189"/>
              <a:gd name="T4" fmla="*/ 664 w 741"/>
              <a:gd name="T5" fmla="*/ 537 h 1189"/>
              <a:gd name="T6" fmla="*/ 708 w 741"/>
              <a:gd name="T7" fmla="*/ 452 h 1189"/>
              <a:gd name="T8" fmla="*/ 429 w 741"/>
              <a:gd name="T9" fmla="*/ 47 h 1189"/>
              <a:gd name="T10" fmla="*/ 312 w 741"/>
              <a:gd name="T11" fmla="*/ 47 h 1189"/>
              <a:gd name="T12" fmla="*/ 32 w 741"/>
              <a:gd name="T13" fmla="*/ 452 h 1189"/>
              <a:gd name="T14" fmla="*/ 77 w 741"/>
              <a:gd name="T15" fmla="*/ 537 h 1189"/>
              <a:gd name="T16" fmla="*/ 165 w 741"/>
              <a:gd name="T17" fmla="*/ 537 h 1189"/>
              <a:gd name="T18" fmla="*/ 165 w 741"/>
              <a:gd name="T19" fmla="*/ 1189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1189">
                <a:moveTo>
                  <a:pt x="576" y="1189"/>
                </a:moveTo>
                <a:cubicBezTo>
                  <a:pt x="576" y="537"/>
                  <a:pt x="576" y="537"/>
                  <a:pt x="576" y="537"/>
                </a:cubicBezTo>
                <a:cubicBezTo>
                  <a:pt x="664" y="537"/>
                  <a:pt x="664" y="537"/>
                  <a:pt x="664" y="537"/>
                </a:cubicBezTo>
                <a:cubicBezTo>
                  <a:pt x="721" y="537"/>
                  <a:pt x="741" y="499"/>
                  <a:pt x="708" y="452"/>
                </a:cubicBezTo>
                <a:cubicBezTo>
                  <a:pt x="429" y="47"/>
                  <a:pt x="429" y="47"/>
                  <a:pt x="429" y="47"/>
                </a:cubicBezTo>
                <a:cubicBezTo>
                  <a:pt x="397" y="0"/>
                  <a:pt x="344" y="0"/>
                  <a:pt x="312" y="47"/>
                </a:cubicBezTo>
                <a:cubicBezTo>
                  <a:pt x="32" y="452"/>
                  <a:pt x="32" y="452"/>
                  <a:pt x="32" y="452"/>
                </a:cubicBezTo>
                <a:cubicBezTo>
                  <a:pt x="0" y="499"/>
                  <a:pt x="20" y="537"/>
                  <a:pt x="77" y="537"/>
                </a:cubicBezTo>
                <a:cubicBezTo>
                  <a:pt x="165" y="537"/>
                  <a:pt x="165" y="537"/>
                  <a:pt x="165" y="537"/>
                </a:cubicBezTo>
                <a:cubicBezTo>
                  <a:pt x="165" y="1189"/>
                  <a:pt x="165" y="1189"/>
                  <a:pt x="165" y="118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84"/>
          <p:cNvSpPr>
            <a:spLocks/>
          </p:cNvSpPr>
          <p:nvPr/>
        </p:nvSpPr>
        <p:spPr bwMode="auto">
          <a:xfrm>
            <a:off x="4301289" y="2504958"/>
            <a:ext cx="1726892" cy="2844411"/>
          </a:xfrm>
          <a:custGeom>
            <a:avLst/>
            <a:gdLst>
              <a:gd name="T0" fmla="*/ 571 w 719"/>
              <a:gd name="T1" fmla="*/ 1184 h 1184"/>
              <a:gd name="T2" fmla="*/ 571 w 719"/>
              <a:gd name="T3" fmla="*/ 538 h 1184"/>
              <a:gd name="T4" fmla="*/ 653 w 719"/>
              <a:gd name="T5" fmla="*/ 538 h 1184"/>
              <a:gd name="T6" fmla="*/ 701 w 719"/>
              <a:gd name="T7" fmla="*/ 525 h 1184"/>
              <a:gd name="T8" fmla="*/ 714 w 719"/>
              <a:gd name="T9" fmla="*/ 509 h 1184"/>
              <a:gd name="T10" fmla="*/ 719 w 719"/>
              <a:gd name="T11" fmla="*/ 489 h 1184"/>
              <a:gd name="T12" fmla="*/ 702 w 719"/>
              <a:gd name="T13" fmla="*/ 443 h 1184"/>
              <a:gd name="T14" fmla="*/ 423 w 719"/>
              <a:gd name="T15" fmla="*/ 38 h 1184"/>
              <a:gd name="T16" fmla="*/ 394 w 719"/>
              <a:gd name="T17" fmla="*/ 10 h 1184"/>
              <a:gd name="T18" fmla="*/ 359 w 719"/>
              <a:gd name="T19" fmla="*/ 0 h 1184"/>
              <a:gd name="T20" fmla="*/ 325 w 719"/>
              <a:gd name="T21" fmla="*/ 10 h 1184"/>
              <a:gd name="T22" fmla="*/ 296 w 719"/>
              <a:gd name="T23" fmla="*/ 38 h 1184"/>
              <a:gd name="T24" fmla="*/ 16 w 719"/>
              <a:gd name="T25" fmla="*/ 443 h 1184"/>
              <a:gd name="T26" fmla="*/ 0 w 719"/>
              <a:gd name="T27" fmla="*/ 489 h 1184"/>
              <a:gd name="T28" fmla="*/ 5 w 719"/>
              <a:gd name="T29" fmla="*/ 509 h 1184"/>
              <a:gd name="T30" fmla="*/ 28 w 719"/>
              <a:gd name="T31" fmla="*/ 531 h 1184"/>
              <a:gd name="T32" fmla="*/ 66 w 719"/>
              <a:gd name="T33" fmla="*/ 538 h 1184"/>
              <a:gd name="T34" fmla="*/ 148 w 719"/>
              <a:gd name="T35" fmla="*/ 538 h 1184"/>
              <a:gd name="T36" fmla="*/ 148 w 719"/>
              <a:gd name="T37" fmla="*/ 1184 h 1184"/>
              <a:gd name="T38" fmla="*/ 160 w 719"/>
              <a:gd name="T39" fmla="*/ 1184 h 1184"/>
              <a:gd name="T40" fmla="*/ 160 w 719"/>
              <a:gd name="T41" fmla="*/ 526 h 1184"/>
              <a:gd name="T42" fmla="*/ 66 w 719"/>
              <a:gd name="T43" fmla="*/ 526 h 1184"/>
              <a:gd name="T44" fmla="*/ 25 w 719"/>
              <a:gd name="T45" fmla="*/ 515 h 1184"/>
              <a:gd name="T46" fmla="*/ 15 w 719"/>
              <a:gd name="T47" fmla="*/ 504 h 1184"/>
              <a:gd name="T48" fmla="*/ 12 w 719"/>
              <a:gd name="T49" fmla="*/ 489 h 1184"/>
              <a:gd name="T50" fmla="*/ 26 w 719"/>
              <a:gd name="T51" fmla="*/ 450 h 1184"/>
              <a:gd name="T52" fmla="*/ 305 w 719"/>
              <a:gd name="T53" fmla="*/ 45 h 1184"/>
              <a:gd name="T54" fmla="*/ 331 w 719"/>
              <a:gd name="T55" fmla="*/ 20 h 1184"/>
              <a:gd name="T56" fmla="*/ 359 w 719"/>
              <a:gd name="T57" fmla="*/ 12 h 1184"/>
              <a:gd name="T58" fmla="*/ 388 w 719"/>
              <a:gd name="T59" fmla="*/ 20 h 1184"/>
              <a:gd name="T60" fmla="*/ 413 w 719"/>
              <a:gd name="T61" fmla="*/ 45 h 1184"/>
              <a:gd name="T62" fmla="*/ 693 w 719"/>
              <a:gd name="T63" fmla="*/ 450 h 1184"/>
              <a:gd name="T64" fmla="*/ 707 w 719"/>
              <a:gd name="T65" fmla="*/ 489 h 1184"/>
              <a:gd name="T66" fmla="*/ 704 w 719"/>
              <a:gd name="T67" fmla="*/ 504 h 1184"/>
              <a:gd name="T68" fmla="*/ 686 w 719"/>
              <a:gd name="T69" fmla="*/ 520 h 1184"/>
              <a:gd name="T70" fmla="*/ 653 w 719"/>
              <a:gd name="T71" fmla="*/ 526 h 1184"/>
              <a:gd name="T72" fmla="*/ 559 w 719"/>
              <a:gd name="T73" fmla="*/ 526 h 1184"/>
              <a:gd name="T74" fmla="*/ 559 w 719"/>
              <a:gd name="T75" fmla="*/ 1184 h 1184"/>
              <a:gd name="T76" fmla="*/ 571 w 719"/>
              <a:gd name="T77" fmla="*/ 118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9" h="1184">
                <a:moveTo>
                  <a:pt x="571" y="1184"/>
                </a:moveTo>
                <a:cubicBezTo>
                  <a:pt x="571" y="538"/>
                  <a:pt x="571" y="538"/>
                  <a:pt x="571" y="538"/>
                </a:cubicBezTo>
                <a:cubicBezTo>
                  <a:pt x="653" y="538"/>
                  <a:pt x="653" y="538"/>
                  <a:pt x="653" y="538"/>
                </a:cubicBezTo>
                <a:cubicBezTo>
                  <a:pt x="673" y="538"/>
                  <a:pt x="689" y="534"/>
                  <a:pt x="701" y="525"/>
                </a:cubicBezTo>
                <a:cubicBezTo>
                  <a:pt x="707" y="521"/>
                  <a:pt x="711" y="515"/>
                  <a:pt x="714" y="509"/>
                </a:cubicBezTo>
                <a:cubicBezTo>
                  <a:pt x="717" y="503"/>
                  <a:pt x="719" y="496"/>
                  <a:pt x="719" y="489"/>
                </a:cubicBezTo>
                <a:cubicBezTo>
                  <a:pt x="719" y="475"/>
                  <a:pt x="713" y="459"/>
                  <a:pt x="702" y="443"/>
                </a:cubicBezTo>
                <a:cubicBezTo>
                  <a:pt x="423" y="38"/>
                  <a:pt x="423" y="38"/>
                  <a:pt x="423" y="38"/>
                </a:cubicBezTo>
                <a:cubicBezTo>
                  <a:pt x="415" y="26"/>
                  <a:pt x="405" y="17"/>
                  <a:pt x="394" y="10"/>
                </a:cubicBezTo>
                <a:cubicBezTo>
                  <a:pt x="383" y="4"/>
                  <a:pt x="371" y="0"/>
                  <a:pt x="359" y="0"/>
                </a:cubicBezTo>
                <a:cubicBezTo>
                  <a:pt x="348" y="0"/>
                  <a:pt x="336" y="4"/>
                  <a:pt x="325" y="10"/>
                </a:cubicBezTo>
                <a:cubicBezTo>
                  <a:pt x="314" y="17"/>
                  <a:pt x="304" y="26"/>
                  <a:pt x="296" y="38"/>
                </a:cubicBezTo>
                <a:cubicBezTo>
                  <a:pt x="16" y="443"/>
                  <a:pt x="16" y="443"/>
                  <a:pt x="16" y="443"/>
                </a:cubicBezTo>
                <a:cubicBezTo>
                  <a:pt x="5" y="459"/>
                  <a:pt x="0" y="475"/>
                  <a:pt x="0" y="489"/>
                </a:cubicBezTo>
                <a:cubicBezTo>
                  <a:pt x="0" y="496"/>
                  <a:pt x="1" y="503"/>
                  <a:pt x="5" y="509"/>
                </a:cubicBezTo>
                <a:cubicBezTo>
                  <a:pt x="9" y="518"/>
                  <a:pt x="17" y="526"/>
                  <a:pt x="28" y="531"/>
                </a:cubicBezTo>
                <a:cubicBezTo>
                  <a:pt x="38" y="536"/>
                  <a:pt x="51" y="538"/>
                  <a:pt x="66" y="538"/>
                </a:cubicBezTo>
                <a:cubicBezTo>
                  <a:pt x="148" y="538"/>
                  <a:pt x="148" y="538"/>
                  <a:pt x="148" y="538"/>
                </a:cubicBezTo>
                <a:cubicBezTo>
                  <a:pt x="148" y="1184"/>
                  <a:pt x="148" y="1184"/>
                  <a:pt x="148" y="1184"/>
                </a:cubicBezTo>
                <a:cubicBezTo>
                  <a:pt x="160" y="1184"/>
                  <a:pt x="160" y="1184"/>
                  <a:pt x="160" y="1184"/>
                </a:cubicBezTo>
                <a:cubicBezTo>
                  <a:pt x="160" y="526"/>
                  <a:pt x="160" y="526"/>
                  <a:pt x="160" y="526"/>
                </a:cubicBezTo>
                <a:cubicBezTo>
                  <a:pt x="66" y="526"/>
                  <a:pt x="66" y="526"/>
                  <a:pt x="66" y="526"/>
                </a:cubicBezTo>
                <a:cubicBezTo>
                  <a:pt x="48" y="526"/>
                  <a:pt x="34" y="522"/>
                  <a:pt x="25" y="515"/>
                </a:cubicBezTo>
                <a:cubicBezTo>
                  <a:pt x="21" y="512"/>
                  <a:pt x="17" y="508"/>
                  <a:pt x="15" y="504"/>
                </a:cubicBezTo>
                <a:cubicBezTo>
                  <a:pt x="13" y="499"/>
                  <a:pt x="12" y="494"/>
                  <a:pt x="12" y="489"/>
                </a:cubicBezTo>
                <a:cubicBezTo>
                  <a:pt x="12" y="478"/>
                  <a:pt x="16" y="465"/>
                  <a:pt x="26" y="450"/>
                </a:cubicBezTo>
                <a:cubicBezTo>
                  <a:pt x="305" y="45"/>
                  <a:pt x="305" y="45"/>
                  <a:pt x="305" y="45"/>
                </a:cubicBezTo>
                <a:cubicBezTo>
                  <a:pt x="313" y="34"/>
                  <a:pt x="322" y="26"/>
                  <a:pt x="331" y="20"/>
                </a:cubicBezTo>
                <a:cubicBezTo>
                  <a:pt x="340" y="15"/>
                  <a:pt x="350" y="12"/>
                  <a:pt x="359" y="12"/>
                </a:cubicBezTo>
                <a:cubicBezTo>
                  <a:pt x="369" y="12"/>
                  <a:pt x="379" y="15"/>
                  <a:pt x="388" y="20"/>
                </a:cubicBezTo>
                <a:cubicBezTo>
                  <a:pt x="397" y="26"/>
                  <a:pt x="406" y="34"/>
                  <a:pt x="413" y="45"/>
                </a:cubicBezTo>
                <a:cubicBezTo>
                  <a:pt x="693" y="450"/>
                  <a:pt x="693" y="450"/>
                  <a:pt x="693" y="450"/>
                </a:cubicBezTo>
                <a:cubicBezTo>
                  <a:pt x="703" y="465"/>
                  <a:pt x="707" y="478"/>
                  <a:pt x="707" y="489"/>
                </a:cubicBezTo>
                <a:cubicBezTo>
                  <a:pt x="707" y="494"/>
                  <a:pt x="706" y="499"/>
                  <a:pt x="704" y="504"/>
                </a:cubicBezTo>
                <a:cubicBezTo>
                  <a:pt x="700" y="510"/>
                  <a:pt x="695" y="516"/>
                  <a:pt x="686" y="520"/>
                </a:cubicBezTo>
                <a:cubicBezTo>
                  <a:pt x="678" y="524"/>
                  <a:pt x="666" y="526"/>
                  <a:pt x="653" y="526"/>
                </a:cubicBezTo>
                <a:cubicBezTo>
                  <a:pt x="559" y="526"/>
                  <a:pt x="559" y="526"/>
                  <a:pt x="559" y="526"/>
                </a:cubicBezTo>
                <a:cubicBezTo>
                  <a:pt x="559" y="1184"/>
                  <a:pt x="559" y="1184"/>
                  <a:pt x="559" y="1184"/>
                </a:cubicBezTo>
                <a:cubicBezTo>
                  <a:pt x="571" y="1184"/>
                  <a:pt x="571" y="1184"/>
                  <a:pt x="571" y="1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85"/>
          <p:cNvSpPr>
            <a:spLocks/>
          </p:cNvSpPr>
          <p:nvPr/>
        </p:nvSpPr>
        <p:spPr bwMode="auto">
          <a:xfrm>
            <a:off x="4827657" y="3098134"/>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87"/>
          <p:cNvSpPr>
            <a:spLocks/>
          </p:cNvSpPr>
          <p:nvPr/>
        </p:nvSpPr>
        <p:spPr bwMode="auto">
          <a:xfrm>
            <a:off x="4810449" y="3081938"/>
            <a:ext cx="310760" cy="412996"/>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88"/>
          <p:cNvSpPr>
            <a:spLocks/>
          </p:cNvSpPr>
          <p:nvPr/>
        </p:nvSpPr>
        <p:spPr bwMode="auto">
          <a:xfrm>
            <a:off x="4827657" y="333904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90"/>
          <p:cNvSpPr>
            <a:spLocks/>
          </p:cNvSpPr>
          <p:nvPr/>
        </p:nvSpPr>
        <p:spPr bwMode="auto">
          <a:xfrm>
            <a:off x="4810449" y="3321840"/>
            <a:ext cx="310760" cy="412996"/>
          </a:xfrm>
          <a:custGeom>
            <a:avLst/>
            <a:gdLst>
              <a:gd name="T0" fmla="*/ 12 w 129"/>
              <a:gd name="T1" fmla="*/ 168 h 172"/>
              <a:gd name="T2" fmla="*/ 127 w 129"/>
              <a:gd name="T3" fmla="*/ 10 h 172"/>
              <a:gd name="T4" fmla="*/ 126 w 129"/>
              <a:gd name="T5" fmla="*/ 2 h 172"/>
              <a:gd name="T6" fmla="*/ 118 w 129"/>
              <a:gd name="T7" fmla="*/ 3 h 172"/>
              <a:gd name="T8" fmla="*/ 2 w 129"/>
              <a:gd name="T9" fmla="*/ 161 h 172"/>
              <a:gd name="T10" fmla="*/ 3 w 129"/>
              <a:gd name="T11" fmla="*/ 170 h 172"/>
              <a:gd name="T12" fmla="*/ 12 w 129"/>
              <a:gd name="T13" fmla="*/ 168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8"/>
                </a:moveTo>
                <a:cubicBezTo>
                  <a:pt x="127" y="10"/>
                  <a:pt x="127" y="10"/>
                  <a:pt x="127" y="10"/>
                </a:cubicBezTo>
                <a:cubicBezTo>
                  <a:pt x="129" y="8"/>
                  <a:pt x="129" y="4"/>
                  <a:pt x="126" y="2"/>
                </a:cubicBezTo>
                <a:cubicBezTo>
                  <a:pt x="123" y="0"/>
                  <a:pt x="120" y="1"/>
                  <a:pt x="118" y="3"/>
                </a:cubicBezTo>
                <a:cubicBezTo>
                  <a:pt x="2" y="161"/>
                  <a:pt x="2" y="161"/>
                  <a:pt x="2" y="161"/>
                </a:cubicBezTo>
                <a:cubicBezTo>
                  <a:pt x="0" y="164"/>
                  <a:pt x="1" y="168"/>
                  <a:pt x="3" y="170"/>
                </a:cubicBezTo>
                <a:cubicBezTo>
                  <a:pt x="6" y="172"/>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91"/>
          <p:cNvSpPr>
            <a:spLocks/>
          </p:cNvSpPr>
          <p:nvPr/>
        </p:nvSpPr>
        <p:spPr bwMode="auto">
          <a:xfrm>
            <a:off x="4827657" y="3578951"/>
            <a:ext cx="276343" cy="377568"/>
          </a:xfrm>
          <a:custGeom>
            <a:avLst/>
            <a:gdLst>
              <a:gd name="T0" fmla="*/ 0 w 273"/>
              <a:gd name="T1" fmla="*/ 373 h 373"/>
              <a:gd name="T2" fmla="*/ 273 w 273"/>
              <a:gd name="T3" fmla="*/ 0 h 373"/>
              <a:gd name="T4" fmla="*/ 0 w 273"/>
              <a:gd name="T5" fmla="*/ 373 h 373"/>
            </a:gdLst>
            <a:ahLst/>
            <a:cxnLst>
              <a:cxn ang="0">
                <a:pos x="T0" y="T1"/>
              </a:cxn>
              <a:cxn ang="0">
                <a:pos x="T2" y="T3"/>
              </a:cxn>
              <a:cxn ang="0">
                <a:pos x="T4" y="T5"/>
              </a:cxn>
            </a:cxnLst>
            <a:rect l="0" t="0" r="r" b="b"/>
            <a:pathLst>
              <a:path w="273" h="373">
                <a:moveTo>
                  <a:pt x="0" y="373"/>
                </a:moveTo>
                <a:lnTo>
                  <a:pt x="273" y="0"/>
                </a:lnTo>
                <a:lnTo>
                  <a:pt x="0" y="373"/>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Line 92"/>
          <p:cNvSpPr>
            <a:spLocks noChangeShapeType="1"/>
          </p:cNvSpPr>
          <p:nvPr/>
        </p:nvSpPr>
        <p:spPr bwMode="auto">
          <a:xfrm flipV="1">
            <a:off x="4827657" y="3578951"/>
            <a:ext cx="276343" cy="37756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93"/>
          <p:cNvSpPr>
            <a:spLocks/>
          </p:cNvSpPr>
          <p:nvPr/>
        </p:nvSpPr>
        <p:spPr bwMode="auto">
          <a:xfrm>
            <a:off x="4810449" y="3562755"/>
            <a:ext cx="310760" cy="409960"/>
          </a:xfrm>
          <a:custGeom>
            <a:avLst/>
            <a:gdLst>
              <a:gd name="T0" fmla="*/ 12 w 129"/>
              <a:gd name="T1" fmla="*/ 168 h 171"/>
              <a:gd name="T2" fmla="*/ 127 w 129"/>
              <a:gd name="T3" fmla="*/ 10 h 171"/>
              <a:gd name="T4" fmla="*/ 126 w 129"/>
              <a:gd name="T5" fmla="*/ 2 h 171"/>
              <a:gd name="T6" fmla="*/ 118 w 129"/>
              <a:gd name="T7" fmla="*/ 3 h 171"/>
              <a:gd name="T8" fmla="*/ 2 w 129"/>
              <a:gd name="T9" fmla="*/ 161 h 171"/>
              <a:gd name="T10" fmla="*/ 3 w 129"/>
              <a:gd name="T11" fmla="*/ 169 h 171"/>
              <a:gd name="T12" fmla="*/ 12 w 129"/>
              <a:gd name="T13" fmla="*/ 168 h 171"/>
            </a:gdLst>
            <a:ahLst/>
            <a:cxnLst>
              <a:cxn ang="0">
                <a:pos x="T0" y="T1"/>
              </a:cxn>
              <a:cxn ang="0">
                <a:pos x="T2" y="T3"/>
              </a:cxn>
              <a:cxn ang="0">
                <a:pos x="T4" y="T5"/>
              </a:cxn>
              <a:cxn ang="0">
                <a:pos x="T6" y="T7"/>
              </a:cxn>
              <a:cxn ang="0">
                <a:pos x="T8" y="T9"/>
              </a:cxn>
              <a:cxn ang="0">
                <a:pos x="T10" y="T11"/>
              </a:cxn>
              <a:cxn ang="0">
                <a:pos x="T12" y="T13"/>
              </a:cxn>
            </a:cxnLst>
            <a:rect l="0" t="0" r="r" b="b"/>
            <a:pathLst>
              <a:path w="129" h="171">
                <a:moveTo>
                  <a:pt x="12" y="168"/>
                </a:moveTo>
                <a:cubicBezTo>
                  <a:pt x="127" y="10"/>
                  <a:pt x="127" y="10"/>
                  <a:pt x="127" y="10"/>
                </a:cubicBezTo>
                <a:cubicBezTo>
                  <a:pt x="129" y="7"/>
                  <a:pt x="129" y="4"/>
                  <a:pt x="126" y="2"/>
                </a:cubicBezTo>
                <a:cubicBezTo>
                  <a:pt x="123" y="0"/>
                  <a:pt x="120" y="0"/>
                  <a:pt x="118" y="3"/>
                </a:cubicBezTo>
                <a:cubicBezTo>
                  <a:pt x="2" y="161"/>
                  <a:pt x="2" y="161"/>
                  <a:pt x="2" y="161"/>
                </a:cubicBezTo>
                <a:cubicBezTo>
                  <a:pt x="0" y="164"/>
                  <a:pt x="1" y="167"/>
                  <a:pt x="3" y="169"/>
                </a:cubicBezTo>
                <a:cubicBezTo>
                  <a:pt x="6" y="171"/>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94"/>
          <p:cNvSpPr>
            <a:spLocks/>
          </p:cNvSpPr>
          <p:nvPr/>
        </p:nvSpPr>
        <p:spPr bwMode="auto">
          <a:xfrm>
            <a:off x="4827657" y="381682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96"/>
          <p:cNvSpPr>
            <a:spLocks/>
          </p:cNvSpPr>
          <p:nvPr/>
        </p:nvSpPr>
        <p:spPr bwMode="auto">
          <a:xfrm>
            <a:off x="4810449" y="3799620"/>
            <a:ext cx="310760" cy="414009"/>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97"/>
          <p:cNvSpPr>
            <a:spLocks/>
          </p:cNvSpPr>
          <p:nvPr/>
        </p:nvSpPr>
        <p:spPr bwMode="auto">
          <a:xfrm>
            <a:off x="4969371" y="4056731"/>
            <a:ext cx="134629" cy="183216"/>
          </a:xfrm>
          <a:custGeom>
            <a:avLst/>
            <a:gdLst>
              <a:gd name="T0" fmla="*/ 0 w 133"/>
              <a:gd name="T1" fmla="*/ 181 h 181"/>
              <a:gd name="T2" fmla="*/ 133 w 133"/>
              <a:gd name="T3" fmla="*/ 0 h 181"/>
              <a:gd name="T4" fmla="*/ 0 w 133"/>
              <a:gd name="T5" fmla="*/ 181 h 181"/>
            </a:gdLst>
            <a:ahLst/>
            <a:cxnLst>
              <a:cxn ang="0">
                <a:pos x="T0" y="T1"/>
              </a:cxn>
              <a:cxn ang="0">
                <a:pos x="T2" y="T3"/>
              </a:cxn>
              <a:cxn ang="0">
                <a:pos x="T4" y="T5"/>
              </a:cxn>
            </a:cxnLst>
            <a:rect l="0" t="0" r="r" b="b"/>
            <a:pathLst>
              <a:path w="133" h="181">
                <a:moveTo>
                  <a:pt x="0" y="181"/>
                </a:moveTo>
                <a:lnTo>
                  <a:pt x="133" y="0"/>
                </a:lnTo>
                <a:lnTo>
                  <a:pt x="0" y="181"/>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Line 98"/>
          <p:cNvSpPr>
            <a:spLocks noChangeShapeType="1"/>
          </p:cNvSpPr>
          <p:nvPr/>
        </p:nvSpPr>
        <p:spPr bwMode="auto">
          <a:xfrm flipV="1">
            <a:off x="4969371" y="4056731"/>
            <a:ext cx="134629" cy="18321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99"/>
          <p:cNvSpPr>
            <a:spLocks/>
          </p:cNvSpPr>
          <p:nvPr/>
        </p:nvSpPr>
        <p:spPr bwMode="auto">
          <a:xfrm>
            <a:off x="4955200" y="4040535"/>
            <a:ext cx="166008" cy="215608"/>
          </a:xfrm>
          <a:custGeom>
            <a:avLst/>
            <a:gdLst>
              <a:gd name="T0" fmla="*/ 11 w 69"/>
              <a:gd name="T1" fmla="*/ 87 h 90"/>
              <a:gd name="T2" fmla="*/ 67 w 69"/>
              <a:gd name="T3" fmla="*/ 10 h 90"/>
              <a:gd name="T4" fmla="*/ 66 w 69"/>
              <a:gd name="T5" fmla="*/ 2 h 90"/>
              <a:gd name="T6" fmla="*/ 58 w 69"/>
              <a:gd name="T7" fmla="*/ 3 h 90"/>
              <a:gd name="T8" fmla="*/ 2 w 69"/>
              <a:gd name="T9" fmla="*/ 80 h 90"/>
              <a:gd name="T10" fmla="*/ 3 w 69"/>
              <a:gd name="T11" fmla="*/ 88 h 90"/>
              <a:gd name="T12" fmla="*/ 11 w 69"/>
              <a:gd name="T13" fmla="*/ 87 h 90"/>
            </a:gdLst>
            <a:ahLst/>
            <a:cxnLst>
              <a:cxn ang="0">
                <a:pos x="T0" y="T1"/>
              </a:cxn>
              <a:cxn ang="0">
                <a:pos x="T2" y="T3"/>
              </a:cxn>
              <a:cxn ang="0">
                <a:pos x="T4" y="T5"/>
              </a:cxn>
              <a:cxn ang="0">
                <a:pos x="T6" y="T7"/>
              </a:cxn>
              <a:cxn ang="0">
                <a:pos x="T8" y="T9"/>
              </a:cxn>
              <a:cxn ang="0">
                <a:pos x="T10" y="T11"/>
              </a:cxn>
              <a:cxn ang="0">
                <a:pos x="T12" y="T13"/>
              </a:cxn>
            </a:cxnLst>
            <a:rect l="0" t="0" r="r" b="b"/>
            <a:pathLst>
              <a:path w="69" h="90">
                <a:moveTo>
                  <a:pt x="11" y="87"/>
                </a:moveTo>
                <a:cubicBezTo>
                  <a:pt x="67" y="10"/>
                  <a:pt x="67" y="10"/>
                  <a:pt x="67" y="10"/>
                </a:cubicBezTo>
                <a:cubicBezTo>
                  <a:pt x="69" y="8"/>
                  <a:pt x="69" y="4"/>
                  <a:pt x="66" y="2"/>
                </a:cubicBezTo>
                <a:cubicBezTo>
                  <a:pt x="63" y="0"/>
                  <a:pt x="60" y="1"/>
                  <a:pt x="58" y="3"/>
                </a:cubicBezTo>
                <a:cubicBezTo>
                  <a:pt x="2" y="80"/>
                  <a:pt x="2" y="80"/>
                  <a:pt x="2" y="80"/>
                </a:cubicBezTo>
                <a:cubicBezTo>
                  <a:pt x="0" y="82"/>
                  <a:pt x="0" y="86"/>
                  <a:pt x="3" y="88"/>
                </a:cubicBezTo>
                <a:cubicBezTo>
                  <a:pt x="6" y="90"/>
                  <a:pt x="9" y="90"/>
                  <a:pt x="11" y="87"/>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00"/>
          <p:cNvSpPr>
            <a:spLocks/>
          </p:cNvSpPr>
          <p:nvPr/>
        </p:nvSpPr>
        <p:spPr bwMode="auto">
          <a:xfrm>
            <a:off x="4003689" y="4256143"/>
            <a:ext cx="1004148" cy="1612508"/>
          </a:xfrm>
          <a:custGeom>
            <a:avLst/>
            <a:gdLst>
              <a:gd name="T0" fmla="*/ 325 w 418"/>
              <a:gd name="T1" fmla="*/ 671 h 671"/>
              <a:gd name="T2" fmla="*/ 325 w 418"/>
              <a:gd name="T3" fmla="*/ 303 h 671"/>
              <a:gd name="T4" fmla="*/ 375 w 418"/>
              <a:gd name="T5" fmla="*/ 303 h 671"/>
              <a:gd name="T6" fmla="*/ 400 w 418"/>
              <a:gd name="T7" fmla="*/ 255 h 671"/>
              <a:gd name="T8" fmla="*/ 242 w 418"/>
              <a:gd name="T9" fmla="*/ 26 h 671"/>
              <a:gd name="T10" fmla="*/ 176 w 418"/>
              <a:gd name="T11" fmla="*/ 26 h 671"/>
              <a:gd name="T12" fmla="*/ 18 w 418"/>
              <a:gd name="T13" fmla="*/ 255 h 671"/>
              <a:gd name="T14" fmla="*/ 44 w 418"/>
              <a:gd name="T15" fmla="*/ 303 h 671"/>
              <a:gd name="T16" fmla="*/ 93 w 418"/>
              <a:gd name="T17" fmla="*/ 303 h 671"/>
              <a:gd name="T18" fmla="*/ 93 w 418"/>
              <a:gd name="T19" fmla="*/ 671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8" h="671">
                <a:moveTo>
                  <a:pt x="325" y="671"/>
                </a:moveTo>
                <a:cubicBezTo>
                  <a:pt x="325" y="303"/>
                  <a:pt x="325" y="303"/>
                  <a:pt x="325" y="303"/>
                </a:cubicBezTo>
                <a:cubicBezTo>
                  <a:pt x="375" y="303"/>
                  <a:pt x="375" y="303"/>
                  <a:pt x="375" y="303"/>
                </a:cubicBezTo>
                <a:cubicBezTo>
                  <a:pt x="407" y="303"/>
                  <a:pt x="418" y="282"/>
                  <a:pt x="400" y="255"/>
                </a:cubicBezTo>
                <a:cubicBezTo>
                  <a:pt x="242" y="26"/>
                  <a:pt x="242" y="26"/>
                  <a:pt x="242" y="26"/>
                </a:cubicBezTo>
                <a:cubicBezTo>
                  <a:pt x="224" y="0"/>
                  <a:pt x="194" y="0"/>
                  <a:pt x="176" y="26"/>
                </a:cubicBezTo>
                <a:cubicBezTo>
                  <a:pt x="18" y="255"/>
                  <a:pt x="18" y="255"/>
                  <a:pt x="18" y="255"/>
                </a:cubicBezTo>
                <a:cubicBezTo>
                  <a:pt x="0" y="282"/>
                  <a:pt x="11" y="303"/>
                  <a:pt x="44" y="303"/>
                </a:cubicBezTo>
                <a:cubicBezTo>
                  <a:pt x="93" y="303"/>
                  <a:pt x="93" y="303"/>
                  <a:pt x="93" y="303"/>
                </a:cubicBezTo>
                <a:cubicBezTo>
                  <a:pt x="93" y="671"/>
                  <a:pt x="93" y="671"/>
                  <a:pt x="93" y="67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01"/>
          <p:cNvSpPr>
            <a:spLocks/>
          </p:cNvSpPr>
          <p:nvPr/>
        </p:nvSpPr>
        <p:spPr bwMode="auto">
          <a:xfrm>
            <a:off x="4010774" y="4256143"/>
            <a:ext cx="989977" cy="1626679"/>
          </a:xfrm>
          <a:custGeom>
            <a:avLst/>
            <a:gdLst>
              <a:gd name="T0" fmla="*/ 328 w 412"/>
              <a:gd name="T1" fmla="*/ 671 h 677"/>
              <a:gd name="T2" fmla="*/ 328 w 412"/>
              <a:gd name="T3" fmla="*/ 309 h 677"/>
              <a:gd name="T4" fmla="*/ 372 w 412"/>
              <a:gd name="T5" fmla="*/ 309 h 677"/>
              <a:gd name="T6" fmla="*/ 401 w 412"/>
              <a:gd name="T7" fmla="*/ 301 h 677"/>
              <a:gd name="T8" fmla="*/ 409 w 412"/>
              <a:gd name="T9" fmla="*/ 291 h 677"/>
              <a:gd name="T10" fmla="*/ 412 w 412"/>
              <a:gd name="T11" fmla="*/ 279 h 677"/>
              <a:gd name="T12" fmla="*/ 402 w 412"/>
              <a:gd name="T13" fmla="*/ 252 h 677"/>
              <a:gd name="T14" fmla="*/ 244 w 412"/>
              <a:gd name="T15" fmla="*/ 23 h 677"/>
              <a:gd name="T16" fmla="*/ 227 w 412"/>
              <a:gd name="T17" fmla="*/ 6 h 677"/>
              <a:gd name="T18" fmla="*/ 206 w 412"/>
              <a:gd name="T19" fmla="*/ 0 h 677"/>
              <a:gd name="T20" fmla="*/ 185 w 412"/>
              <a:gd name="T21" fmla="*/ 6 h 677"/>
              <a:gd name="T22" fmla="*/ 168 w 412"/>
              <a:gd name="T23" fmla="*/ 23 h 677"/>
              <a:gd name="T24" fmla="*/ 10 w 412"/>
              <a:gd name="T25" fmla="*/ 252 h 677"/>
              <a:gd name="T26" fmla="*/ 0 w 412"/>
              <a:gd name="T27" fmla="*/ 279 h 677"/>
              <a:gd name="T28" fmla="*/ 3 w 412"/>
              <a:gd name="T29" fmla="*/ 291 h 677"/>
              <a:gd name="T30" fmla="*/ 18 w 412"/>
              <a:gd name="T31" fmla="*/ 305 h 677"/>
              <a:gd name="T32" fmla="*/ 41 w 412"/>
              <a:gd name="T33" fmla="*/ 309 h 677"/>
              <a:gd name="T34" fmla="*/ 84 w 412"/>
              <a:gd name="T35" fmla="*/ 309 h 677"/>
              <a:gd name="T36" fmla="*/ 84 w 412"/>
              <a:gd name="T37" fmla="*/ 671 h 677"/>
              <a:gd name="T38" fmla="*/ 90 w 412"/>
              <a:gd name="T39" fmla="*/ 677 h 677"/>
              <a:gd name="T40" fmla="*/ 96 w 412"/>
              <a:gd name="T41" fmla="*/ 671 h 677"/>
              <a:gd name="T42" fmla="*/ 96 w 412"/>
              <a:gd name="T43" fmla="*/ 297 h 677"/>
              <a:gd name="T44" fmla="*/ 41 w 412"/>
              <a:gd name="T45" fmla="*/ 297 h 677"/>
              <a:gd name="T46" fmla="*/ 19 w 412"/>
              <a:gd name="T47" fmla="*/ 292 h 677"/>
              <a:gd name="T48" fmla="*/ 14 w 412"/>
              <a:gd name="T49" fmla="*/ 286 h 677"/>
              <a:gd name="T50" fmla="*/ 12 w 412"/>
              <a:gd name="T51" fmla="*/ 279 h 677"/>
              <a:gd name="T52" fmla="*/ 20 w 412"/>
              <a:gd name="T53" fmla="*/ 259 h 677"/>
              <a:gd name="T54" fmla="*/ 178 w 412"/>
              <a:gd name="T55" fmla="*/ 30 h 677"/>
              <a:gd name="T56" fmla="*/ 191 w 412"/>
              <a:gd name="T57" fmla="*/ 17 h 677"/>
              <a:gd name="T58" fmla="*/ 206 w 412"/>
              <a:gd name="T59" fmla="*/ 12 h 677"/>
              <a:gd name="T60" fmla="*/ 221 w 412"/>
              <a:gd name="T61" fmla="*/ 17 h 677"/>
              <a:gd name="T62" fmla="*/ 234 w 412"/>
              <a:gd name="T63" fmla="*/ 30 h 677"/>
              <a:gd name="T64" fmla="*/ 392 w 412"/>
              <a:gd name="T65" fmla="*/ 259 h 677"/>
              <a:gd name="T66" fmla="*/ 400 w 412"/>
              <a:gd name="T67" fmla="*/ 279 h 677"/>
              <a:gd name="T68" fmla="*/ 398 w 412"/>
              <a:gd name="T69" fmla="*/ 286 h 677"/>
              <a:gd name="T70" fmla="*/ 390 w 412"/>
              <a:gd name="T71" fmla="*/ 294 h 677"/>
              <a:gd name="T72" fmla="*/ 372 w 412"/>
              <a:gd name="T73" fmla="*/ 297 h 677"/>
              <a:gd name="T74" fmla="*/ 316 w 412"/>
              <a:gd name="T75" fmla="*/ 297 h 677"/>
              <a:gd name="T76" fmla="*/ 316 w 412"/>
              <a:gd name="T77" fmla="*/ 671 h 677"/>
              <a:gd name="T78" fmla="*/ 322 w 412"/>
              <a:gd name="T79" fmla="*/ 677 h 677"/>
              <a:gd name="T80" fmla="*/ 328 w 412"/>
              <a:gd name="T81" fmla="*/ 67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2" h="677">
                <a:moveTo>
                  <a:pt x="328" y="671"/>
                </a:moveTo>
                <a:cubicBezTo>
                  <a:pt x="328" y="309"/>
                  <a:pt x="328" y="309"/>
                  <a:pt x="328" y="309"/>
                </a:cubicBezTo>
                <a:cubicBezTo>
                  <a:pt x="372" y="309"/>
                  <a:pt x="372" y="309"/>
                  <a:pt x="372" y="309"/>
                </a:cubicBezTo>
                <a:cubicBezTo>
                  <a:pt x="384" y="309"/>
                  <a:pt x="393" y="307"/>
                  <a:pt x="401" y="301"/>
                </a:cubicBezTo>
                <a:cubicBezTo>
                  <a:pt x="404" y="299"/>
                  <a:pt x="407" y="295"/>
                  <a:pt x="409" y="291"/>
                </a:cubicBezTo>
                <a:cubicBezTo>
                  <a:pt x="411" y="288"/>
                  <a:pt x="412" y="283"/>
                  <a:pt x="412" y="279"/>
                </a:cubicBezTo>
                <a:cubicBezTo>
                  <a:pt x="412" y="270"/>
                  <a:pt x="408" y="261"/>
                  <a:pt x="402" y="252"/>
                </a:cubicBezTo>
                <a:cubicBezTo>
                  <a:pt x="244" y="23"/>
                  <a:pt x="244" y="23"/>
                  <a:pt x="244" y="23"/>
                </a:cubicBezTo>
                <a:cubicBezTo>
                  <a:pt x="239" y="16"/>
                  <a:pt x="233" y="10"/>
                  <a:pt x="227" y="6"/>
                </a:cubicBezTo>
                <a:cubicBezTo>
                  <a:pt x="220" y="2"/>
                  <a:pt x="213" y="0"/>
                  <a:pt x="206" y="0"/>
                </a:cubicBezTo>
                <a:cubicBezTo>
                  <a:pt x="199" y="0"/>
                  <a:pt x="192" y="2"/>
                  <a:pt x="185" y="6"/>
                </a:cubicBezTo>
                <a:cubicBezTo>
                  <a:pt x="179" y="10"/>
                  <a:pt x="173" y="16"/>
                  <a:pt x="168" y="23"/>
                </a:cubicBezTo>
                <a:cubicBezTo>
                  <a:pt x="10" y="252"/>
                  <a:pt x="10" y="252"/>
                  <a:pt x="10" y="252"/>
                </a:cubicBezTo>
                <a:cubicBezTo>
                  <a:pt x="4" y="261"/>
                  <a:pt x="0" y="270"/>
                  <a:pt x="0" y="279"/>
                </a:cubicBezTo>
                <a:cubicBezTo>
                  <a:pt x="0" y="283"/>
                  <a:pt x="1" y="288"/>
                  <a:pt x="3" y="291"/>
                </a:cubicBezTo>
                <a:cubicBezTo>
                  <a:pt x="6" y="297"/>
                  <a:pt x="11" y="302"/>
                  <a:pt x="18" y="305"/>
                </a:cubicBezTo>
                <a:cubicBezTo>
                  <a:pt x="24" y="308"/>
                  <a:pt x="32" y="309"/>
                  <a:pt x="41" y="309"/>
                </a:cubicBezTo>
                <a:cubicBezTo>
                  <a:pt x="84" y="309"/>
                  <a:pt x="84" y="309"/>
                  <a:pt x="84" y="309"/>
                </a:cubicBezTo>
                <a:cubicBezTo>
                  <a:pt x="84" y="671"/>
                  <a:pt x="84" y="671"/>
                  <a:pt x="84" y="671"/>
                </a:cubicBezTo>
                <a:cubicBezTo>
                  <a:pt x="84" y="675"/>
                  <a:pt x="86" y="677"/>
                  <a:pt x="90" y="677"/>
                </a:cubicBezTo>
                <a:cubicBezTo>
                  <a:pt x="93" y="677"/>
                  <a:pt x="96" y="675"/>
                  <a:pt x="96" y="671"/>
                </a:cubicBezTo>
                <a:cubicBezTo>
                  <a:pt x="96" y="297"/>
                  <a:pt x="96" y="297"/>
                  <a:pt x="96" y="297"/>
                </a:cubicBezTo>
                <a:cubicBezTo>
                  <a:pt x="41" y="297"/>
                  <a:pt x="41" y="297"/>
                  <a:pt x="41" y="297"/>
                </a:cubicBezTo>
                <a:cubicBezTo>
                  <a:pt x="31" y="297"/>
                  <a:pt x="23" y="295"/>
                  <a:pt x="19" y="292"/>
                </a:cubicBezTo>
                <a:cubicBezTo>
                  <a:pt x="17" y="290"/>
                  <a:pt x="15" y="288"/>
                  <a:pt x="14" y="286"/>
                </a:cubicBezTo>
                <a:cubicBezTo>
                  <a:pt x="13" y="284"/>
                  <a:pt x="12" y="282"/>
                  <a:pt x="12" y="279"/>
                </a:cubicBezTo>
                <a:cubicBezTo>
                  <a:pt x="12" y="273"/>
                  <a:pt x="15" y="266"/>
                  <a:pt x="20" y="259"/>
                </a:cubicBezTo>
                <a:cubicBezTo>
                  <a:pt x="178" y="30"/>
                  <a:pt x="178" y="30"/>
                  <a:pt x="178" y="30"/>
                </a:cubicBezTo>
                <a:cubicBezTo>
                  <a:pt x="182" y="24"/>
                  <a:pt x="187" y="19"/>
                  <a:pt x="191" y="17"/>
                </a:cubicBezTo>
                <a:cubicBezTo>
                  <a:pt x="196" y="14"/>
                  <a:pt x="201" y="12"/>
                  <a:pt x="206" y="12"/>
                </a:cubicBezTo>
                <a:cubicBezTo>
                  <a:pt x="211" y="12"/>
                  <a:pt x="216" y="14"/>
                  <a:pt x="221" y="17"/>
                </a:cubicBezTo>
                <a:cubicBezTo>
                  <a:pt x="226" y="19"/>
                  <a:pt x="230" y="24"/>
                  <a:pt x="234" y="30"/>
                </a:cubicBezTo>
                <a:cubicBezTo>
                  <a:pt x="392" y="259"/>
                  <a:pt x="392" y="259"/>
                  <a:pt x="392" y="259"/>
                </a:cubicBezTo>
                <a:cubicBezTo>
                  <a:pt x="398" y="266"/>
                  <a:pt x="400" y="273"/>
                  <a:pt x="400" y="279"/>
                </a:cubicBezTo>
                <a:cubicBezTo>
                  <a:pt x="400" y="282"/>
                  <a:pt x="399" y="284"/>
                  <a:pt x="398" y="286"/>
                </a:cubicBezTo>
                <a:cubicBezTo>
                  <a:pt x="397" y="289"/>
                  <a:pt x="394" y="292"/>
                  <a:pt x="390" y="294"/>
                </a:cubicBezTo>
                <a:cubicBezTo>
                  <a:pt x="385" y="296"/>
                  <a:pt x="379" y="297"/>
                  <a:pt x="372" y="297"/>
                </a:cubicBezTo>
                <a:cubicBezTo>
                  <a:pt x="316" y="297"/>
                  <a:pt x="316" y="297"/>
                  <a:pt x="316" y="297"/>
                </a:cubicBezTo>
                <a:cubicBezTo>
                  <a:pt x="316" y="671"/>
                  <a:pt x="316" y="671"/>
                  <a:pt x="316" y="671"/>
                </a:cubicBezTo>
                <a:cubicBezTo>
                  <a:pt x="316" y="675"/>
                  <a:pt x="319" y="677"/>
                  <a:pt x="322" y="677"/>
                </a:cubicBezTo>
                <a:cubicBezTo>
                  <a:pt x="326" y="677"/>
                  <a:pt x="328" y="675"/>
                  <a:pt x="328" y="671"/>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02"/>
          <p:cNvSpPr>
            <a:spLocks/>
          </p:cNvSpPr>
          <p:nvPr/>
        </p:nvSpPr>
        <p:spPr bwMode="auto">
          <a:xfrm>
            <a:off x="4332669" y="5027475"/>
            <a:ext cx="0" cy="627592"/>
          </a:xfrm>
          <a:custGeom>
            <a:avLst/>
            <a:gdLst>
              <a:gd name="T0" fmla="*/ 0 h 620"/>
              <a:gd name="T1" fmla="*/ 620 h 620"/>
              <a:gd name="T2" fmla="*/ 0 h 620"/>
            </a:gdLst>
            <a:ahLst/>
            <a:cxnLst>
              <a:cxn ang="0">
                <a:pos x="0" y="T0"/>
              </a:cxn>
              <a:cxn ang="0">
                <a:pos x="0" y="T1"/>
              </a:cxn>
              <a:cxn ang="0">
                <a:pos x="0" y="T2"/>
              </a:cxn>
            </a:cxnLst>
            <a:rect l="0" t="0" r="r" b="b"/>
            <a:pathLst>
              <a:path h="620">
                <a:moveTo>
                  <a:pt x="0" y="0"/>
                </a:moveTo>
                <a:lnTo>
                  <a:pt x="0" y="620"/>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Line 103"/>
          <p:cNvSpPr>
            <a:spLocks noChangeShapeType="1"/>
          </p:cNvSpPr>
          <p:nvPr/>
        </p:nvSpPr>
        <p:spPr bwMode="auto">
          <a:xfrm>
            <a:off x="4332669" y="5027475"/>
            <a:ext cx="0" cy="62759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04"/>
          <p:cNvSpPr>
            <a:spLocks/>
          </p:cNvSpPr>
          <p:nvPr/>
        </p:nvSpPr>
        <p:spPr bwMode="auto">
          <a:xfrm>
            <a:off x="4318497" y="5013303"/>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2"/>
                  <a:pt x="3" y="14"/>
                  <a:pt x="6" y="14"/>
                </a:cubicBezTo>
                <a:cubicBezTo>
                  <a:pt x="9" y="14"/>
                  <a:pt x="12" y="12"/>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05"/>
          <p:cNvSpPr>
            <a:spLocks noEditPoints="1"/>
          </p:cNvSpPr>
          <p:nvPr/>
        </p:nvSpPr>
        <p:spPr bwMode="auto">
          <a:xfrm>
            <a:off x="4318497" y="5065940"/>
            <a:ext cx="29355" cy="550662"/>
          </a:xfrm>
          <a:custGeom>
            <a:avLst/>
            <a:gdLst>
              <a:gd name="T0" fmla="*/ 0 w 12"/>
              <a:gd name="T1" fmla="*/ 223 h 229"/>
              <a:gd name="T2" fmla="*/ 12 w 12"/>
              <a:gd name="T3" fmla="*/ 223 h 229"/>
              <a:gd name="T4" fmla="*/ 6 w 12"/>
              <a:gd name="T5" fmla="*/ 213 h 229"/>
              <a:gd name="T6" fmla="*/ 0 w 12"/>
              <a:gd name="T7" fmla="*/ 195 h 229"/>
              <a:gd name="T8" fmla="*/ 6 w 12"/>
              <a:gd name="T9" fmla="*/ 205 h 229"/>
              <a:gd name="T10" fmla="*/ 12 w 12"/>
              <a:gd name="T11" fmla="*/ 195 h 229"/>
              <a:gd name="T12" fmla="*/ 0 w 12"/>
              <a:gd name="T13" fmla="*/ 195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8 h 229"/>
              <a:gd name="T30" fmla="*/ 12 w 12"/>
              <a:gd name="T31" fmla="*/ 128 h 229"/>
              <a:gd name="T32" fmla="*/ 6 w 12"/>
              <a:gd name="T33" fmla="*/ 118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3 h 229"/>
              <a:gd name="T50" fmla="*/ 6 w 12"/>
              <a:gd name="T51" fmla="*/ 63 h 229"/>
              <a:gd name="T52" fmla="*/ 12 w 12"/>
              <a:gd name="T53" fmla="*/ 53 h 229"/>
              <a:gd name="T54" fmla="*/ 0 w 12"/>
              <a:gd name="T55" fmla="*/ 53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6"/>
                  <a:pt x="3" y="229"/>
                  <a:pt x="6" y="229"/>
                </a:cubicBezTo>
                <a:cubicBezTo>
                  <a:pt x="9" y="229"/>
                  <a:pt x="12" y="226"/>
                  <a:pt x="12" y="223"/>
                </a:cubicBezTo>
                <a:cubicBezTo>
                  <a:pt x="12" y="219"/>
                  <a:pt x="12" y="219"/>
                  <a:pt x="12" y="219"/>
                </a:cubicBezTo>
                <a:cubicBezTo>
                  <a:pt x="12" y="216"/>
                  <a:pt x="9" y="213"/>
                  <a:pt x="6" y="213"/>
                </a:cubicBezTo>
                <a:cubicBezTo>
                  <a:pt x="3" y="213"/>
                  <a:pt x="0" y="216"/>
                  <a:pt x="0" y="219"/>
                </a:cubicBezTo>
                <a:close/>
                <a:moveTo>
                  <a:pt x="0" y="195"/>
                </a:moveTo>
                <a:cubicBezTo>
                  <a:pt x="0" y="199"/>
                  <a:pt x="0" y="199"/>
                  <a:pt x="0" y="199"/>
                </a:cubicBezTo>
                <a:cubicBezTo>
                  <a:pt x="0" y="203"/>
                  <a:pt x="3" y="205"/>
                  <a:pt x="6" y="205"/>
                </a:cubicBezTo>
                <a:cubicBezTo>
                  <a:pt x="9" y="205"/>
                  <a:pt x="12" y="203"/>
                  <a:pt x="12" y="199"/>
                </a:cubicBezTo>
                <a:cubicBezTo>
                  <a:pt x="12" y="195"/>
                  <a:pt x="12" y="195"/>
                  <a:pt x="12" y="195"/>
                </a:cubicBezTo>
                <a:cubicBezTo>
                  <a:pt x="12" y="192"/>
                  <a:pt x="9" y="189"/>
                  <a:pt x="6" y="189"/>
                </a:cubicBezTo>
                <a:cubicBezTo>
                  <a:pt x="3" y="189"/>
                  <a:pt x="0" y="192"/>
                  <a:pt x="0" y="195"/>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8"/>
                  <a:pt x="9" y="166"/>
                  <a:pt x="6" y="166"/>
                </a:cubicBezTo>
                <a:cubicBezTo>
                  <a:pt x="3" y="166"/>
                  <a:pt x="0" y="168"/>
                  <a:pt x="0" y="172"/>
                </a:cubicBezTo>
                <a:close/>
                <a:moveTo>
                  <a:pt x="0" y="148"/>
                </a:moveTo>
                <a:cubicBezTo>
                  <a:pt x="0" y="152"/>
                  <a:pt x="0" y="152"/>
                  <a:pt x="0" y="152"/>
                </a:cubicBezTo>
                <a:cubicBezTo>
                  <a:pt x="0" y="155"/>
                  <a:pt x="3" y="158"/>
                  <a:pt x="6" y="158"/>
                </a:cubicBezTo>
                <a:cubicBezTo>
                  <a:pt x="9" y="158"/>
                  <a:pt x="12" y="155"/>
                  <a:pt x="12" y="152"/>
                </a:cubicBezTo>
                <a:cubicBezTo>
                  <a:pt x="12" y="148"/>
                  <a:pt x="12" y="148"/>
                  <a:pt x="12" y="148"/>
                </a:cubicBezTo>
                <a:cubicBezTo>
                  <a:pt x="12" y="145"/>
                  <a:pt x="9" y="142"/>
                  <a:pt x="6" y="142"/>
                </a:cubicBezTo>
                <a:cubicBezTo>
                  <a:pt x="3" y="142"/>
                  <a:pt x="0" y="145"/>
                  <a:pt x="0" y="148"/>
                </a:cubicBezTo>
                <a:close/>
                <a:moveTo>
                  <a:pt x="0" y="124"/>
                </a:moveTo>
                <a:cubicBezTo>
                  <a:pt x="0" y="128"/>
                  <a:pt x="0" y="128"/>
                  <a:pt x="0" y="128"/>
                </a:cubicBezTo>
                <a:cubicBezTo>
                  <a:pt x="0" y="132"/>
                  <a:pt x="3" y="134"/>
                  <a:pt x="6" y="134"/>
                </a:cubicBezTo>
                <a:cubicBezTo>
                  <a:pt x="9" y="134"/>
                  <a:pt x="12" y="132"/>
                  <a:pt x="12" y="128"/>
                </a:cubicBezTo>
                <a:cubicBezTo>
                  <a:pt x="12" y="124"/>
                  <a:pt x="12" y="124"/>
                  <a:pt x="12" y="124"/>
                </a:cubicBezTo>
                <a:cubicBezTo>
                  <a:pt x="12" y="121"/>
                  <a:pt x="9" y="118"/>
                  <a:pt x="6" y="118"/>
                </a:cubicBezTo>
                <a:cubicBezTo>
                  <a:pt x="3" y="118"/>
                  <a:pt x="0" y="121"/>
                  <a:pt x="0" y="124"/>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7"/>
                  <a:pt x="9" y="95"/>
                  <a:pt x="6" y="95"/>
                </a:cubicBezTo>
                <a:cubicBezTo>
                  <a:pt x="3" y="95"/>
                  <a:pt x="0" y="97"/>
                  <a:pt x="0" y="101"/>
                </a:cubicBezTo>
                <a:close/>
                <a:moveTo>
                  <a:pt x="0" y="77"/>
                </a:moveTo>
                <a:cubicBezTo>
                  <a:pt x="0" y="81"/>
                  <a:pt x="0" y="81"/>
                  <a:pt x="0" y="81"/>
                </a:cubicBezTo>
                <a:cubicBezTo>
                  <a:pt x="0" y="84"/>
                  <a:pt x="3" y="87"/>
                  <a:pt x="6" y="87"/>
                </a:cubicBezTo>
                <a:cubicBezTo>
                  <a:pt x="9" y="87"/>
                  <a:pt x="12" y="84"/>
                  <a:pt x="12" y="81"/>
                </a:cubicBezTo>
                <a:cubicBezTo>
                  <a:pt x="12" y="77"/>
                  <a:pt x="12" y="77"/>
                  <a:pt x="12" y="77"/>
                </a:cubicBezTo>
                <a:cubicBezTo>
                  <a:pt x="12" y="74"/>
                  <a:pt x="9" y="71"/>
                  <a:pt x="6" y="71"/>
                </a:cubicBezTo>
                <a:cubicBezTo>
                  <a:pt x="3" y="71"/>
                  <a:pt x="0" y="74"/>
                  <a:pt x="0" y="77"/>
                </a:cubicBezTo>
                <a:close/>
                <a:moveTo>
                  <a:pt x="0" y="53"/>
                </a:moveTo>
                <a:cubicBezTo>
                  <a:pt x="0" y="57"/>
                  <a:pt x="0" y="57"/>
                  <a:pt x="0" y="57"/>
                </a:cubicBezTo>
                <a:cubicBezTo>
                  <a:pt x="0" y="61"/>
                  <a:pt x="3" y="63"/>
                  <a:pt x="6" y="63"/>
                </a:cubicBezTo>
                <a:cubicBezTo>
                  <a:pt x="9" y="63"/>
                  <a:pt x="12" y="61"/>
                  <a:pt x="12" y="57"/>
                </a:cubicBezTo>
                <a:cubicBezTo>
                  <a:pt x="12" y="53"/>
                  <a:pt x="12" y="53"/>
                  <a:pt x="12" y="53"/>
                </a:cubicBezTo>
                <a:cubicBezTo>
                  <a:pt x="12" y="50"/>
                  <a:pt x="9" y="47"/>
                  <a:pt x="6" y="47"/>
                </a:cubicBezTo>
                <a:cubicBezTo>
                  <a:pt x="3" y="47"/>
                  <a:pt x="0" y="50"/>
                  <a:pt x="0" y="53"/>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6"/>
                  <a:pt x="9" y="24"/>
                  <a:pt x="6" y="24"/>
                </a:cubicBezTo>
                <a:cubicBezTo>
                  <a:pt x="3" y="24"/>
                  <a:pt x="0" y="26"/>
                  <a:pt x="0" y="30"/>
                </a:cubicBezTo>
                <a:close/>
                <a:moveTo>
                  <a:pt x="0" y="6"/>
                </a:moveTo>
                <a:cubicBezTo>
                  <a:pt x="0" y="10"/>
                  <a:pt x="0" y="10"/>
                  <a:pt x="0" y="10"/>
                </a:cubicBezTo>
                <a:cubicBezTo>
                  <a:pt x="0" y="13"/>
                  <a:pt x="3" y="16"/>
                  <a:pt x="6" y="16"/>
                </a:cubicBezTo>
                <a:cubicBezTo>
                  <a:pt x="9" y="16"/>
                  <a:pt x="12" y="13"/>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06"/>
          <p:cNvSpPr>
            <a:spLocks/>
          </p:cNvSpPr>
          <p:nvPr/>
        </p:nvSpPr>
        <p:spPr bwMode="auto">
          <a:xfrm>
            <a:off x="4318497" y="5635834"/>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07"/>
          <p:cNvSpPr>
            <a:spLocks/>
          </p:cNvSpPr>
          <p:nvPr/>
        </p:nvSpPr>
        <p:spPr bwMode="auto">
          <a:xfrm>
            <a:off x="4407575" y="4915115"/>
            <a:ext cx="0" cy="624556"/>
          </a:xfrm>
          <a:custGeom>
            <a:avLst/>
            <a:gdLst>
              <a:gd name="T0" fmla="*/ 0 h 617"/>
              <a:gd name="T1" fmla="*/ 617 h 617"/>
              <a:gd name="T2" fmla="*/ 0 h 617"/>
            </a:gdLst>
            <a:ahLst/>
            <a:cxnLst>
              <a:cxn ang="0">
                <a:pos x="0" y="T0"/>
              </a:cxn>
              <a:cxn ang="0">
                <a:pos x="0" y="T1"/>
              </a:cxn>
              <a:cxn ang="0">
                <a:pos x="0" y="T2"/>
              </a:cxn>
            </a:cxnLst>
            <a:rect l="0" t="0" r="r" b="b"/>
            <a:pathLst>
              <a:path h="617">
                <a:moveTo>
                  <a:pt x="0" y="0"/>
                </a:moveTo>
                <a:lnTo>
                  <a:pt x="0" y="617"/>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Line 108"/>
          <p:cNvSpPr>
            <a:spLocks noChangeShapeType="1"/>
          </p:cNvSpPr>
          <p:nvPr/>
        </p:nvSpPr>
        <p:spPr bwMode="auto">
          <a:xfrm>
            <a:off x="4407575" y="4915115"/>
            <a:ext cx="0" cy="62455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09"/>
          <p:cNvSpPr>
            <a:spLocks/>
          </p:cNvSpPr>
          <p:nvPr/>
        </p:nvSpPr>
        <p:spPr bwMode="auto">
          <a:xfrm>
            <a:off x="4393403" y="4899932"/>
            <a:ext cx="28343" cy="34416"/>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10"/>
          <p:cNvSpPr>
            <a:spLocks noEditPoints="1"/>
          </p:cNvSpPr>
          <p:nvPr/>
        </p:nvSpPr>
        <p:spPr bwMode="auto">
          <a:xfrm>
            <a:off x="4393403" y="4950544"/>
            <a:ext cx="28343" cy="550662"/>
          </a:xfrm>
          <a:custGeom>
            <a:avLst/>
            <a:gdLst>
              <a:gd name="T0" fmla="*/ 0 w 12"/>
              <a:gd name="T1" fmla="*/ 223 h 229"/>
              <a:gd name="T2" fmla="*/ 12 w 12"/>
              <a:gd name="T3" fmla="*/ 223 h 229"/>
              <a:gd name="T4" fmla="*/ 6 w 12"/>
              <a:gd name="T5" fmla="*/ 213 h 229"/>
              <a:gd name="T6" fmla="*/ 0 w 12"/>
              <a:gd name="T7" fmla="*/ 196 h 229"/>
              <a:gd name="T8" fmla="*/ 6 w 12"/>
              <a:gd name="T9" fmla="*/ 206 h 229"/>
              <a:gd name="T10" fmla="*/ 12 w 12"/>
              <a:gd name="T11" fmla="*/ 196 h 229"/>
              <a:gd name="T12" fmla="*/ 0 w 12"/>
              <a:gd name="T13" fmla="*/ 196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9 h 229"/>
              <a:gd name="T30" fmla="*/ 12 w 12"/>
              <a:gd name="T31" fmla="*/ 129 h 229"/>
              <a:gd name="T32" fmla="*/ 6 w 12"/>
              <a:gd name="T33" fmla="*/ 119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4 h 229"/>
              <a:gd name="T50" fmla="*/ 6 w 12"/>
              <a:gd name="T51" fmla="*/ 64 h 229"/>
              <a:gd name="T52" fmla="*/ 12 w 12"/>
              <a:gd name="T53" fmla="*/ 54 h 229"/>
              <a:gd name="T54" fmla="*/ 0 w 12"/>
              <a:gd name="T55" fmla="*/ 54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7"/>
                  <a:pt x="3" y="229"/>
                  <a:pt x="6" y="229"/>
                </a:cubicBezTo>
                <a:cubicBezTo>
                  <a:pt x="9" y="229"/>
                  <a:pt x="12" y="227"/>
                  <a:pt x="12" y="223"/>
                </a:cubicBezTo>
                <a:cubicBezTo>
                  <a:pt x="12" y="219"/>
                  <a:pt x="12" y="219"/>
                  <a:pt x="12" y="219"/>
                </a:cubicBezTo>
                <a:cubicBezTo>
                  <a:pt x="12" y="216"/>
                  <a:pt x="9" y="213"/>
                  <a:pt x="6" y="213"/>
                </a:cubicBezTo>
                <a:cubicBezTo>
                  <a:pt x="3" y="213"/>
                  <a:pt x="0" y="216"/>
                  <a:pt x="0" y="219"/>
                </a:cubicBezTo>
                <a:close/>
                <a:moveTo>
                  <a:pt x="0" y="196"/>
                </a:moveTo>
                <a:cubicBezTo>
                  <a:pt x="0" y="200"/>
                  <a:pt x="0" y="200"/>
                  <a:pt x="0" y="200"/>
                </a:cubicBezTo>
                <a:cubicBezTo>
                  <a:pt x="0" y="203"/>
                  <a:pt x="3" y="206"/>
                  <a:pt x="6" y="206"/>
                </a:cubicBezTo>
                <a:cubicBezTo>
                  <a:pt x="9" y="206"/>
                  <a:pt x="12" y="203"/>
                  <a:pt x="12" y="200"/>
                </a:cubicBezTo>
                <a:cubicBezTo>
                  <a:pt x="12" y="196"/>
                  <a:pt x="12" y="196"/>
                  <a:pt x="12" y="196"/>
                </a:cubicBezTo>
                <a:cubicBezTo>
                  <a:pt x="12" y="192"/>
                  <a:pt x="9" y="190"/>
                  <a:pt x="6" y="190"/>
                </a:cubicBezTo>
                <a:cubicBezTo>
                  <a:pt x="3" y="190"/>
                  <a:pt x="0" y="192"/>
                  <a:pt x="0" y="196"/>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9"/>
                  <a:pt x="9" y="166"/>
                  <a:pt x="6" y="166"/>
                </a:cubicBezTo>
                <a:cubicBezTo>
                  <a:pt x="3" y="166"/>
                  <a:pt x="0" y="169"/>
                  <a:pt x="0" y="172"/>
                </a:cubicBezTo>
                <a:close/>
                <a:moveTo>
                  <a:pt x="0" y="148"/>
                </a:moveTo>
                <a:cubicBezTo>
                  <a:pt x="0" y="152"/>
                  <a:pt x="0" y="152"/>
                  <a:pt x="0" y="152"/>
                </a:cubicBezTo>
                <a:cubicBezTo>
                  <a:pt x="0" y="156"/>
                  <a:pt x="3" y="158"/>
                  <a:pt x="6" y="158"/>
                </a:cubicBezTo>
                <a:cubicBezTo>
                  <a:pt x="9" y="158"/>
                  <a:pt x="12" y="156"/>
                  <a:pt x="12" y="152"/>
                </a:cubicBezTo>
                <a:cubicBezTo>
                  <a:pt x="12" y="148"/>
                  <a:pt x="12" y="148"/>
                  <a:pt x="12" y="148"/>
                </a:cubicBezTo>
                <a:cubicBezTo>
                  <a:pt x="12" y="145"/>
                  <a:pt x="9" y="142"/>
                  <a:pt x="6" y="142"/>
                </a:cubicBezTo>
                <a:cubicBezTo>
                  <a:pt x="3" y="142"/>
                  <a:pt x="0" y="145"/>
                  <a:pt x="0" y="148"/>
                </a:cubicBezTo>
                <a:close/>
                <a:moveTo>
                  <a:pt x="0" y="125"/>
                </a:moveTo>
                <a:cubicBezTo>
                  <a:pt x="0" y="129"/>
                  <a:pt x="0" y="129"/>
                  <a:pt x="0" y="129"/>
                </a:cubicBezTo>
                <a:cubicBezTo>
                  <a:pt x="0" y="132"/>
                  <a:pt x="3" y="135"/>
                  <a:pt x="6" y="135"/>
                </a:cubicBezTo>
                <a:cubicBezTo>
                  <a:pt x="9" y="135"/>
                  <a:pt x="12" y="132"/>
                  <a:pt x="12" y="129"/>
                </a:cubicBezTo>
                <a:cubicBezTo>
                  <a:pt x="12" y="125"/>
                  <a:pt x="12" y="125"/>
                  <a:pt x="12" y="125"/>
                </a:cubicBezTo>
                <a:cubicBezTo>
                  <a:pt x="12" y="121"/>
                  <a:pt x="9" y="119"/>
                  <a:pt x="6" y="119"/>
                </a:cubicBezTo>
                <a:cubicBezTo>
                  <a:pt x="3" y="119"/>
                  <a:pt x="0" y="121"/>
                  <a:pt x="0" y="125"/>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8"/>
                  <a:pt x="9" y="95"/>
                  <a:pt x="6" y="95"/>
                </a:cubicBezTo>
                <a:cubicBezTo>
                  <a:pt x="3" y="95"/>
                  <a:pt x="0" y="98"/>
                  <a:pt x="0" y="101"/>
                </a:cubicBezTo>
                <a:close/>
                <a:moveTo>
                  <a:pt x="0" y="77"/>
                </a:moveTo>
                <a:cubicBezTo>
                  <a:pt x="0" y="81"/>
                  <a:pt x="0" y="81"/>
                  <a:pt x="0" y="81"/>
                </a:cubicBezTo>
                <a:cubicBezTo>
                  <a:pt x="0" y="85"/>
                  <a:pt x="3" y="87"/>
                  <a:pt x="6" y="87"/>
                </a:cubicBezTo>
                <a:cubicBezTo>
                  <a:pt x="9" y="87"/>
                  <a:pt x="12" y="85"/>
                  <a:pt x="12" y="81"/>
                </a:cubicBezTo>
                <a:cubicBezTo>
                  <a:pt x="12" y="77"/>
                  <a:pt x="12" y="77"/>
                  <a:pt x="12" y="77"/>
                </a:cubicBezTo>
                <a:cubicBezTo>
                  <a:pt x="12" y="74"/>
                  <a:pt x="9" y="71"/>
                  <a:pt x="6" y="71"/>
                </a:cubicBezTo>
                <a:cubicBezTo>
                  <a:pt x="3" y="71"/>
                  <a:pt x="0" y="74"/>
                  <a:pt x="0" y="77"/>
                </a:cubicBezTo>
                <a:close/>
                <a:moveTo>
                  <a:pt x="0" y="54"/>
                </a:moveTo>
                <a:cubicBezTo>
                  <a:pt x="0" y="58"/>
                  <a:pt x="0" y="58"/>
                  <a:pt x="0" y="58"/>
                </a:cubicBezTo>
                <a:cubicBezTo>
                  <a:pt x="0" y="61"/>
                  <a:pt x="3" y="64"/>
                  <a:pt x="6" y="64"/>
                </a:cubicBezTo>
                <a:cubicBezTo>
                  <a:pt x="9" y="64"/>
                  <a:pt x="12" y="61"/>
                  <a:pt x="12" y="58"/>
                </a:cubicBezTo>
                <a:cubicBezTo>
                  <a:pt x="12" y="54"/>
                  <a:pt x="12" y="54"/>
                  <a:pt x="12" y="54"/>
                </a:cubicBezTo>
                <a:cubicBezTo>
                  <a:pt x="12" y="50"/>
                  <a:pt x="9" y="48"/>
                  <a:pt x="6" y="48"/>
                </a:cubicBezTo>
                <a:cubicBezTo>
                  <a:pt x="3" y="48"/>
                  <a:pt x="0" y="50"/>
                  <a:pt x="0" y="54"/>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7"/>
                  <a:pt x="9" y="24"/>
                  <a:pt x="6" y="24"/>
                </a:cubicBezTo>
                <a:cubicBezTo>
                  <a:pt x="3" y="24"/>
                  <a:pt x="0" y="27"/>
                  <a:pt x="0" y="30"/>
                </a:cubicBezTo>
                <a:close/>
                <a:moveTo>
                  <a:pt x="0" y="6"/>
                </a:moveTo>
                <a:cubicBezTo>
                  <a:pt x="0" y="10"/>
                  <a:pt x="0" y="10"/>
                  <a:pt x="0" y="10"/>
                </a:cubicBezTo>
                <a:cubicBezTo>
                  <a:pt x="0" y="14"/>
                  <a:pt x="3" y="16"/>
                  <a:pt x="6" y="16"/>
                </a:cubicBezTo>
                <a:cubicBezTo>
                  <a:pt x="9" y="16"/>
                  <a:pt x="12" y="14"/>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11"/>
          <p:cNvSpPr>
            <a:spLocks/>
          </p:cNvSpPr>
          <p:nvPr/>
        </p:nvSpPr>
        <p:spPr bwMode="auto">
          <a:xfrm>
            <a:off x="4393403" y="5520438"/>
            <a:ext cx="28343"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12"/>
          <p:cNvSpPr>
            <a:spLocks/>
          </p:cNvSpPr>
          <p:nvPr/>
        </p:nvSpPr>
        <p:spPr bwMode="auto">
          <a:xfrm>
            <a:off x="4421746" y="57441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 name="T16" fmla="*/ 615 w 615"/>
              <a:gd name="T17" fmla="*/ 204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5" h="550">
                <a:moveTo>
                  <a:pt x="615" y="204"/>
                </a:moveTo>
                <a:lnTo>
                  <a:pt x="615" y="0"/>
                </a:lnTo>
                <a:lnTo>
                  <a:pt x="0" y="0"/>
                </a:lnTo>
                <a:lnTo>
                  <a:pt x="0" y="434"/>
                </a:lnTo>
                <a:lnTo>
                  <a:pt x="107" y="434"/>
                </a:lnTo>
                <a:lnTo>
                  <a:pt x="107" y="550"/>
                </a:lnTo>
                <a:lnTo>
                  <a:pt x="223" y="434"/>
                </a:lnTo>
                <a:lnTo>
                  <a:pt x="408" y="434"/>
                </a:lnTo>
                <a:lnTo>
                  <a:pt x="615" y="2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13"/>
          <p:cNvSpPr>
            <a:spLocks/>
          </p:cNvSpPr>
          <p:nvPr/>
        </p:nvSpPr>
        <p:spPr bwMode="auto">
          <a:xfrm>
            <a:off x="4421746" y="57441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5" h="550">
                <a:moveTo>
                  <a:pt x="615" y="204"/>
                </a:moveTo>
                <a:lnTo>
                  <a:pt x="615" y="0"/>
                </a:lnTo>
                <a:lnTo>
                  <a:pt x="0" y="0"/>
                </a:lnTo>
                <a:lnTo>
                  <a:pt x="0" y="434"/>
                </a:lnTo>
                <a:lnTo>
                  <a:pt x="107" y="434"/>
                </a:lnTo>
                <a:lnTo>
                  <a:pt x="107" y="550"/>
                </a:lnTo>
                <a:lnTo>
                  <a:pt x="223" y="434"/>
                </a:lnTo>
                <a:lnTo>
                  <a:pt x="408" y="4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14"/>
          <p:cNvSpPr>
            <a:spLocks/>
          </p:cNvSpPr>
          <p:nvPr/>
        </p:nvSpPr>
        <p:spPr bwMode="auto">
          <a:xfrm>
            <a:off x="4407575" y="5728961"/>
            <a:ext cx="650874" cy="586090"/>
          </a:xfrm>
          <a:custGeom>
            <a:avLst/>
            <a:gdLst>
              <a:gd name="T0" fmla="*/ 271 w 271"/>
              <a:gd name="T1" fmla="*/ 92 h 244"/>
              <a:gd name="T2" fmla="*/ 271 w 271"/>
              <a:gd name="T3" fmla="*/ 6 h 244"/>
              <a:gd name="T4" fmla="*/ 269 w 271"/>
              <a:gd name="T5" fmla="*/ 1 h 244"/>
              <a:gd name="T6" fmla="*/ 265 w 271"/>
              <a:gd name="T7" fmla="*/ 0 h 244"/>
              <a:gd name="T8" fmla="*/ 6 w 271"/>
              <a:gd name="T9" fmla="*/ 0 h 244"/>
              <a:gd name="T10" fmla="*/ 2 w 271"/>
              <a:gd name="T11" fmla="*/ 1 h 244"/>
              <a:gd name="T12" fmla="*/ 0 w 271"/>
              <a:gd name="T13" fmla="*/ 6 h 244"/>
              <a:gd name="T14" fmla="*/ 0 w 271"/>
              <a:gd name="T15" fmla="*/ 189 h 244"/>
              <a:gd name="T16" fmla="*/ 2 w 271"/>
              <a:gd name="T17" fmla="*/ 193 h 244"/>
              <a:gd name="T18" fmla="*/ 6 w 271"/>
              <a:gd name="T19" fmla="*/ 195 h 244"/>
              <a:gd name="T20" fmla="*/ 45 w 271"/>
              <a:gd name="T21" fmla="*/ 195 h 244"/>
              <a:gd name="T22" fmla="*/ 45 w 271"/>
              <a:gd name="T23" fmla="*/ 238 h 244"/>
              <a:gd name="T24" fmla="*/ 49 w 271"/>
              <a:gd name="T25" fmla="*/ 243 h 244"/>
              <a:gd name="T26" fmla="*/ 56 w 271"/>
              <a:gd name="T27" fmla="*/ 242 h 244"/>
              <a:gd name="T28" fmla="*/ 102 w 271"/>
              <a:gd name="T29" fmla="*/ 195 h 244"/>
              <a:gd name="T30" fmla="*/ 178 w 271"/>
              <a:gd name="T31" fmla="*/ 195 h 244"/>
              <a:gd name="T32" fmla="*/ 184 w 271"/>
              <a:gd name="T33" fmla="*/ 189 h 244"/>
              <a:gd name="T34" fmla="*/ 178 w 271"/>
              <a:gd name="T35" fmla="*/ 183 h 244"/>
              <a:gd name="T36" fmla="*/ 100 w 271"/>
              <a:gd name="T37" fmla="*/ 183 h 244"/>
              <a:gd name="T38" fmla="*/ 96 w 271"/>
              <a:gd name="T39" fmla="*/ 185 h 244"/>
              <a:gd name="T40" fmla="*/ 57 w 271"/>
              <a:gd name="T41" fmla="*/ 223 h 244"/>
              <a:gd name="T42" fmla="*/ 57 w 271"/>
              <a:gd name="T43" fmla="*/ 189 h 244"/>
              <a:gd name="T44" fmla="*/ 56 w 271"/>
              <a:gd name="T45" fmla="*/ 185 h 244"/>
              <a:gd name="T46" fmla="*/ 51 w 271"/>
              <a:gd name="T47" fmla="*/ 183 h 244"/>
              <a:gd name="T48" fmla="*/ 12 w 271"/>
              <a:gd name="T49" fmla="*/ 183 h 244"/>
              <a:gd name="T50" fmla="*/ 12 w 271"/>
              <a:gd name="T51" fmla="*/ 12 h 244"/>
              <a:gd name="T52" fmla="*/ 259 w 271"/>
              <a:gd name="T53" fmla="*/ 12 h 244"/>
              <a:gd name="T54" fmla="*/ 259 w 271"/>
              <a:gd name="T55" fmla="*/ 92 h 244"/>
              <a:gd name="T56" fmla="*/ 265 w 271"/>
              <a:gd name="T57" fmla="*/ 98 h 244"/>
              <a:gd name="T58" fmla="*/ 271 w 271"/>
              <a:gd name="T59" fmla="*/ 9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244">
                <a:moveTo>
                  <a:pt x="271" y="92"/>
                </a:moveTo>
                <a:cubicBezTo>
                  <a:pt x="271" y="6"/>
                  <a:pt x="271" y="6"/>
                  <a:pt x="271" y="6"/>
                </a:cubicBezTo>
                <a:cubicBezTo>
                  <a:pt x="271" y="4"/>
                  <a:pt x="270" y="2"/>
                  <a:pt x="269" y="1"/>
                </a:cubicBezTo>
                <a:cubicBezTo>
                  <a:pt x="268" y="0"/>
                  <a:pt x="266" y="0"/>
                  <a:pt x="265" y="0"/>
                </a:cubicBezTo>
                <a:cubicBezTo>
                  <a:pt x="6" y="0"/>
                  <a:pt x="6" y="0"/>
                  <a:pt x="6" y="0"/>
                </a:cubicBezTo>
                <a:cubicBezTo>
                  <a:pt x="5" y="0"/>
                  <a:pt x="3" y="0"/>
                  <a:pt x="2" y="1"/>
                </a:cubicBezTo>
                <a:cubicBezTo>
                  <a:pt x="1" y="2"/>
                  <a:pt x="0" y="4"/>
                  <a:pt x="0" y="6"/>
                </a:cubicBezTo>
                <a:cubicBezTo>
                  <a:pt x="0" y="189"/>
                  <a:pt x="0" y="189"/>
                  <a:pt x="0" y="189"/>
                </a:cubicBezTo>
                <a:cubicBezTo>
                  <a:pt x="0" y="191"/>
                  <a:pt x="1" y="192"/>
                  <a:pt x="2" y="193"/>
                </a:cubicBezTo>
                <a:cubicBezTo>
                  <a:pt x="3" y="194"/>
                  <a:pt x="5" y="195"/>
                  <a:pt x="6" y="195"/>
                </a:cubicBezTo>
                <a:cubicBezTo>
                  <a:pt x="45" y="195"/>
                  <a:pt x="45" y="195"/>
                  <a:pt x="45" y="195"/>
                </a:cubicBezTo>
                <a:cubicBezTo>
                  <a:pt x="45" y="238"/>
                  <a:pt x="45" y="238"/>
                  <a:pt x="45" y="238"/>
                </a:cubicBezTo>
                <a:cubicBezTo>
                  <a:pt x="45" y="240"/>
                  <a:pt x="47" y="242"/>
                  <a:pt x="49" y="243"/>
                </a:cubicBezTo>
                <a:cubicBezTo>
                  <a:pt x="51" y="244"/>
                  <a:pt x="54" y="244"/>
                  <a:pt x="56" y="242"/>
                </a:cubicBezTo>
                <a:cubicBezTo>
                  <a:pt x="102" y="195"/>
                  <a:pt x="102" y="195"/>
                  <a:pt x="102" y="195"/>
                </a:cubicBezTo>
                <a:cubicBezTo>
                  <a:pt x="178" y="195"/>
                  <a:pt x="178" y="195"/>
                  <a:pt x="178" y="195"/>
                </a:cubicBezTo>
                <a:cubicBezTo>
                  <a:pt x="181" y="195"/>
                  <a:pt x="184" y="192"/>
                  <a:pt x="184" y="189"/>
                </a:cubicBezTo>
                <a:cubicBezTo>
                  <a:pt x="184" y="186"/>
                  <a:pt x="181" y="183"/>
                  <a:pt x="178" y="183"/>
                </a:cubicBezTo>
                <a:cubicBezTo>
                  <a:pt x="100" y="183"/>
                  <a:pt x="100" y="183"/>
                  <a:pt x="100" y="183"/>
                </a:cubicBezTo>
                <a:cubicBezTo>
                  <a:pt x="98" y="183"/>
                  <a:pt x="97" y="184"/>
                  <a:pt x="96" y="185"/>
                </a:cubicBezTo>
                <a:cubicBezTo>
                  <a:pt x="57" y="223"/>
                  <a:pt x="57" y="223"/>
                  <a:pt x="57" y="223"/>
                </a:cubicBezTo>
                <a:cubicBezTo>
                  <a:pt x="57" y="189"/>
                  <a:pt x="57" y="189"/>
                  <a:pt x="57" y="189"/>
                </a:cubicBezTo>
                <a:cubicBezTo>
                  <a:pt x="57" y="187"/>
                  <a:pt x="57" y="186"/>
                  <a:pt x="56" y="185"/>
                </a:cubicBezTo>
                <a:cubicBezTo>
                  <a:pt x="54" y="184"/>
                  <a:pt x="53" y="183"/>
                  <a:pt x="51" y="183"/>
                </a:cubicBezTo>
                <a:cubicBezTo>
                  <a:pt x="12" y="183"/>
                  <a:pt x="12" y="183"/>
                  <a:pt x="12" y="183"/>
                </a:cubicBezTo>
                <a:cubicBezTo>
                  <a:pt x="12" y="12"/>
                  <a:pt x="12" y="12"/>
                  <a:pt x="12" y="12"/>
                </a:cubicBezTo>
                <a:cubicBezTo>
                  <a:pt x="259" y="12"/>
                  <a:pt x="259" y="12"/>
                  <a:pt x="259" y="12"/>
                </a:cubicBezTo>
                <a:cubicBezTo>
                  <a:pt x="259" y="92"/>
                  <a:pt x="259" y="92"/>
                  <a:pt x="259" y="92"/>
                </a:cubicBezTo>
                <a:cubicBezTo>
                  <a:pt x="259" y="95"/>
                  <a:pt x="261" y="98"/>
                  <a:pt x="265" y="98"/>
                </a:cubicBezTo>
                <a:cubicBezTo>
                  <a:pt x="268" y="98"/>
                  <a:pt x="271" y="95"/>
                  <a:pt x="271" y="92"/>
                </a:cubicBez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15"/>
          <p:cNvSpPr>
            <a:spLocks/>
          </p:cNvSpPr>
          <p:nvPr/>
        </p:nvSpPr>
        <p:spPr bwMode="auto">
          <a:xfrm>
            <a:off x="4575608" y="5854479"/>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Line 116"/>
          <p:cNvSpPr>
            <a:spLocks noChangeShapeType="1"/>
          </p:cNvSpPr>
          <p:nvPr/>
        </p:nvSpPr>
        <p:spPr bwMode="auto">
          <a:xfrm>
            <a:off x="4575608" y="5854479"/>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17"/>
          <p:cNvSpPr>
            <a:spLocks/>
          </p:cNvSpPr>
          <p:nvPr/>
        </p:nvSpPr>
        <p:spPr bwMode="auto">
          <a:xfrm>
            <a:off x="4561436" y="5839296"/>
            <a:ext cx="415021" cy="29355"/>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2"/>
                  <a:pt x="170" y="0"/>
                  <a:pt x="167" y="0"/>
                </a:cubicBezTo>
                <a:cubicBezTo>
                  <a:pt x="6" y="0"/>
                  <a:pt x="6" y="0"/>
                  <a:pt x="6" y="0"/>
                </a:cubicBezTo>
                <a:cubicBezTo>
                  <a:pt x="3" y="0"/>
                  <a:pt x="0" y="2"/>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18"/>
          <p:cNvSpPr>
            <a:spLocks/>
          </p:cNvSpPr>
          <p:nvPr/>
        </p:nvSpPr>
        <p:spPr bwMode="auto">
          <a:xfrm>
            <a:off x="4575608" y="5921288"/>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Line 119"/>
          <p:cNvSpPr>
            <a:spLocks noChangeShapeType="1"/>
          </p:cNvSpPr>
          <p:nvPr/>
        </p:nvSpPr>
        <p:spPr bwMode="auto">
          <a:xfrm>
            <a:off x="4575608" y="5921288"/>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20"/>
          <p:cNvSpPr>
            <a:spLocks/>
          </p:cNvSpPr>
          <p:nvPr/>
        </p:nvSpPr>
        <p:spPr bwMode="auto">
          <a:xfrm>
            <a:off x="4561436" y="5907116"/>
            <a:ext cx="415021" cy="28343"/>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3"/>
                  <a:pt x="170" y="0"/>
                  <a:pt x="167" y="0"/>
                </a:cubicBezTo>
                <a:cubicBezTo>
                  <a:pt x="6" y="0"/>
                  <a:pt x="6" y="0"/>
                  <a:pt x="6" y="0"/>
                </a:cubicBezTo>
                <a:cubicBezTo>
                  <a:pt x="3" y="0"/>
                  <a:pt x="0" y="3"/>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21"/>
          <p:cNvSpPr>
            <a:spLocks/>
          </p:cNvSpPr>
          <p:nvPr/>
        </p:nvSpPr>
        <p:spPr bwMode="auto">
          <a:xfrm>
            <a:off x="4575608" y="5989108"/>
            <a:ext cx="285453" cy="0"/>
          </a:xfrm>
          <a:custGeom>
            <a:avLst/>
            <a:gdLst>
              <a:gd name="T0" fmla="*/ 0 w 282"/>
              <a:gd name="T1" fmla="*/ 282 w 282"/>
              <a:gd name="T2" fmla="*/ 0 w 282"/>
            </a:gdLst>
            <a:ahLst/>
            <a:cxnLst>
              <a:cxn ang="0">
                <a:pos x="T0" y="0"/>
              </a:cxn>
              <a:cxn ang="0">
                <a:pos x="T1" y="0"/>
              </a:cxn>
              <a:cxn ang="0">
                <a:pos x="T2" y="0"/>
              </a:cxn>
            </a:cxnLst>
            <a:rect l="0" t="0" r="r" b="b"/>
            <a:pathLst>
              <a:path w="282">
                <a:moveTo>
                  <a:pt x="0" y="0"/>
                </a:moveTo>
                <a:lnTo>
                  <a:pt x="2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Line 122"/>
          <p:cNvSpPr>
            <a:spLocks noChangeShapeType="1"/>
          </p:cNvSpPr>
          <p:nvPr/>
        </p:nvSpPr>
        <p:spPr bwMode="auto">
          <a:xfrm>
            <a:off x="4575608" y="5989108"/>
            <a:ext cx="28545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23"/>
          <p:cNvSpPr>
            <a:spLocks/>
          </p:cNvSpPr>
          <p:nvPr/>
        </p:nvSpPr>
        <p:spPr bwMode="auto">
          <a:xfrm>
            <a:off x="4561436" y="5973924"/>
            <a:ext cx="314808" cy="29355"/>
          </a:xfrm>
          <a:custGeom>
            <a:avLst/>
            <a:gdLst>
              <a:gd name="T0" fmla="*/ 6 w 131"/>
              <a:gd name="T1" fmla="*/ 12 h 12"/>
              <a:gd name="T2" fmla="*/ 125 w 131"/>
              <a:gd name="T3" fmla="*/ 12 h 12"/>
              <a:gd name="T4" fmla="*/ 131 w 131"/>
              <a:gd name="T5" fmla="*/ 6 h 12"/>
              <a:gd name="T6" fmla="*/ 125 w 131"/>
              <a:gd name="T7" fmla="*/ 0 h 12"/>
              <a:gd name="T8" fmla="*/ 6 w 131"/>
              <a:gd name="T9" fmla="*/ 0 h 12"/>
              <a:gd name="T10" fmla="*/ 0 w 131"/>
              <a:gd name="T11" fmla="*/ 6 h 12"/>
              <a:gd name="T12" fmla="*/ 6 w 13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1" h="12">
                <a:moveTo>
                  <a:pt x="6" y="12"/>
                </a:moveTo>
                <a:cubicBezTo>
                  <a:pt x="125" y="12"/>
                  <a:pt x="125" y="12"/>
                  <a:pt x="125" y="12"/>
                </a:cubicBezTo>
                <a:cubicBezTo>
                  <a:pt x="128" y="12"/>
                  <a:pt x="131" y="10"/>
                  <a:pt x="131" y="6"/>
                </a:cubicBezTo>
                <a:cubicBezTo>
                  <a:pt x="131" y="3"/>
                  <a:pt x="128" y="0"/>
                  <a:pt x="125"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24"/>
          <p:cNvSpPr>
            <a:spLocks/>
          </p:cNvSpPr>
          <p:nvPr/>
        </p:nvSpPr>
        <p:spPr bwMode="auto">
          <a:xfrm>
            <a:off x="4575608" y="6055916"/>
            <a:ext cx="242939" cy="0"/>
          </a:xfrm>
          <a:custGeom>
            <a:avLst/>
            <a:gdLst>
              <a:gd name="T0" fmla="*/ 0 w 240"/>
              <a:gd name="T1" fmla="*/ 240 w 240"/>
              <a:gd name="T2" fmla="*/ 0 w 240"/>
            </a:gdLst>
            <a:ahLst/>
            <a:cxnLst>
              <a:cxn ang="0">
                <a:pos x="T0" y="0"/>
              </a:cxn>
              <a:cxn ang="0">
                <a:pos x="T1" y="0"/>
              </a:cxn>
              <a:cxn ang="0">
                <a:pos x="T2" y="0"/>
              </a:cxn>
            </a:cxnLst>
            <a:rect l="0" t="0" r="r" b="b"/>
            <a:pathLst>
              <a:path w="240">
                <a:moveTo>
                  <a:pt x="0" y="0"/>
                </a:moveTo>
                <a:lnTo>
                  <a:pt x="24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Line 125"/>
          <p:cNvSpPr>
            <a:spLocks noChangeShapeType="1"/>
          </p:cNvSpPr>
          <p:nvPr/>
        </p:nvSpPr>
        <p:spPr bwMode="auto">
          <a:xfrm>
            <a:off x="4575608" y="6055916"/>
            <a:ext cx="242939"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26"/>
          <p:cNvSpPr>
            <a:spLocks/>
          </p:cNvSpPr>
          <p:nvPr/>
        </p:nvSpPr>
        <p:spPr bwMode="auto">
          <a:xfrm>
            <a:off x="4561436" y="6041745"/>
            <a:ext cx="271282" cy="28343"/>
          </a:xfrm>
          <a:custGeom>
            <a:avLst/>
            <a:gdLst>
              <a:gd name="T0" fmla="*/ 6 w 113"/>
              <a:gd name="T1" fmla="*/ 12 h 12"/>
              <a:gd name="T2" fmla="*/ 107 w 113"/>
              <a:gd name="T3" fmla="*/ 12 h 12"/>
              <a:gd name="T4" fmla="*/ 113 w 113"/>
              <a:gd name="T5" fmla="*/ 6 h 12"/>
              <a:gd name="T6" fmla="*/ 107 w 113"/>
              <a:gd name="T7" fmla="*/ 0 h 12"/>
              <a:gd name="T8" fmla="*/ 6 w 113"/>
              <a:gd name="T9" fmla="*/ 0 h 12"/>
              <a:gd name="T10" fmla="*/ 0 w 113"/>
              <a:gd name="T11" fmla="*/ 6 h 12"/>
              <a:gd name="T12" fmla="*/ 6 w 11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3" h="12">
                <a:moveTo>
                  <a:pt x="6" y="12"/>
                </a:moveTo>
                <a:cubicBezTo>
                  <a:pt x="107" y="12"/>
                  <a:pt x="107" y="12"/>
                  <a:pt x="107" y="12"/>
                </a:cubicBezTo>
                <a:cubicBezTo>
                  <a:pt x="111" y="12"/>
                  <a:pt x="113" y="10"/>
                  <a:pt x="113" y="6"/>
                </a:cubicBezTo>
                <a:cubicBezTo>
                  <a:pt x="113" y="3"/>
                  <a:pt x="111" y="0"/>
                  <a:pt x="107"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27"/>
          <p:cNvSpPr>
            <a:spLocks/>
          </p:cNvSpPr>
          <p:nvPr/>
        </p:nvSpPr>
        <p:spPr bwMode="auto">
          <a:xfrm>
            <a:off x="4498677" y="5854479"/>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Line 128"/>
          <p:cNvSpPr>
            <a:spLocks noChangeShapeType="1"/>
          </p:cNvSpPr>
          <p:nvPr/>
        </p:nvSpPr>
        <p:spPr bwMode="auto">
          <a:xfrm flipH="1">
            <a:off x="4498677" y="5854479"/>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29"/>
          <p:cNvSpPr>
            <a:spLocks/>
          </p:cNvSpPr>
          <p:nvPr/>
        </p:nvSpPr>
        <p:spPr bwMode="auto">
          <a:xfrm>
            <a:off x="4484505" y="5839296"/>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2"/>
                  <a:pt x="0" y="6"/>
                </a:cubicBezTo>
                <a:cubicBezTo>
                  <a:pt x="0" y="9"/>
                  <a:pt x="2" y="12"/>
                  <a:pt x="6" y="12"/>
                </a:cubicBezTo>
                <a:cubicBezTo>
                  <a:pt x="17" y="12"/>
                  <a:pt x="17" y="12"/>
                  <a:pt x="17" y="12"/>
                </a:cubicBezTo>
                <a:cubicBezTo>
                  <a:pt x="20" y="12"/>
                  <a:pt x="23" y="9"/>
                  <a:pt x="23" y="6"/>
                </a:cubicBezTo>
                <a:cubicBezTo>
                  <a:pt x="23" y="2"/>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30"/>
          <p:cNvSpPr>
            <a:spLocks/>
          </p:cNvSpPr>
          <p:nvPr/>
        </p:nvSpPr>
        <p:spPr bwMode="auto">
          <a:xfrm>
            <a:off x="4498677" y="592128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Line 131"/>
          <p:cNvSpPr>
            <a:spLocks noChangeShapeType="1"/>
          </p:cNvSpPr>
          <p:nvPr/>
        </p:nvSpPr>
        <p:spPr bwMode="auto">
          <a:xfrm flipH="1">
            <a:off x="4498677" y="592128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32"/>
          <p:cNvSpPr>
            <a:spLocks/>
          </p:cNvSpPr>
          <p:nvPr/>
        </p:nvSpPr>
        <p:spPr bwMode="auto">
          <a:xfrm>
            <a:off x="4484505" y="5907116"/>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9"/>
                  <a:pt x="2" y="12"/>
                  <a:pt x="6" y="12"/>
                </a:cubicBezTo>
                <a:cubicBezTo>
                  <a:pt x="17" y="12"/>
                  <a:pt x="17" y="12"/>
                  <a:pt x="17" y="12"/>
                </a:cubicBezTo>
                <a:cubicBezTo>
                  <a:pt x="20" y="12"/>
                  <a:pt x="23" y="9"/>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33"/>
          <p:cNvSpPr>
            <a:spLocks/>
          </p:cNvSpPr>
          <p:nvPr/>
        </p:nvSpPr>
        <p:spPr bwMode="auto">
          <a:xfrm>
            <a:off x="4498677" y="598910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Line 134"/>
          <p:cNvSpPr>
            <a:spLocks noChangeShapeType="1"/>
          </p:cNvSpPr>
          <p:nvPr/>
        </p:nvSpPr>
        <p:spPr bwMode="auto">
          <a:xfrm flipH="1">
            <a:off x="4498677" y="598910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35"/>
          <p:cNvSpPr>
            <a:spLocks/>
          </p:cNvSpPr>
          <p:nvPr/>
        </p:nvSpPr>
        <p:spPr bwMode="auto">
          <a:xfrm>
            <a:off x="4484505" y="5973924"/>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36"/>
          <p:cNvSpPr>
            <a:spLocks/>
          </p:cNvSpPr>
          <p:nvPr/>
        </p:nvSpPr>
        <p:spPr bwMode="auto">
          <a:xfrm>
            <a:off x="4498677" y="6055916"/>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Line 137"/>
          <p:cNvSpPr>
            <a:spLocks noChangeShapeType="1"/>
          </p:cNvSpPr>
          <p:nvPr/>
        </p:nvSpPr>
        <p:spPr bwMode="auto">
          <a:xfrm flipH="1">
            <a:off x="4498677" y="6055916"/>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38"/>
          <p:cNvSpPr>
            <a:spLocks/>
          </p:cNvSpPr>
          <p:nvPr/>
        </p:nvSpPr>
        <p:spPr bwMode="auto">
          <a:xfrm>
            <a:off x="4484505" y="6041745"/>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39"/>
          <p:cNvSpPr>
            <a:spLocks/>
          </p:cNvSpPr>
          <p:nvPr/>
        </p:nvSpPr>
        <p:spPr bwMode="auto">
          <a:xfrm>
            <a:off x="4921796" y="5950643"/>
            <a:ext cx="119445" cy="208523"/>
          </a:xfrm>
          <a:custGeom>
            <a:avLst/>
            <a:gdLst>
              <a:gd name="T0" fmla="*/ 50 w 50"/>
              <a:gd name="T1" fmla="*/ 87 h 87"/>
              <a:gd name="T2" fmla="*/ 0 w 50"/>
              <a:gd name="T3" fmla="*/ 17 h 87"/>
              <a:gd name="T4" fmla="*/ 50 w 50"/>
              <a:gd name="T5" fmla="*/ 0 h 87"/>
              <a:gd name="T6" fmla="*/ 50 w 50"/>
              <a:gd name="T7" fmla="*/ 87 h 87"/>
            </a:gdLst>
            <a:ahLst/>
            <a:cxnLst>
              <a:cxn ang="0">
                <a:pos x="T0" y="T1"/>
              </a:cxn>
              <a:cxn ang="0">
                <a:pos x="T2" y="T3"/>
              </a:cxn>
              <a:cxn ang="0">
                <a:pos x="T4" y="T5"/>
              </a:cxn>
              <a:cxn ang="0">
                <a:pos x="T6" y="T7"/>
              </a:cxn>
            </a:cxnLst>
            <a:rect l="0" t="0" r="r" b="b"/>
            <a:pathLst>
              <a:path w="50" h="87">
                <a:moveTo>
                  <a:pt x="50" y="87"/>
                </a:moveTo>
                <a:cubicBezTo>
                  <a:pt x="0" y="17"/>
                  <a:pt x="0" y="17"/>
                  <a:pt x="0" y="17"/>
                </a:cubicBezTo>
                <a:cubicBezTo>
                  <a:pt x="15" y="6"/>
                  <a:pt x="31" y="0"/>
                  <a:pt x="50" y="0"/>
                </a:cubicBezTo>
                <a:lnTo>
                  <a:pt x="50"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40"/>
          <p:cNvSpPr>
            <a:spLocks/>
          </p:cNvSpPr>
          <p:nvPr/>
        </p:nvSpPr>
        <p:spPr bwMode="auto">
          <a:xfrm>
            <a:off x="4906612" y="5935459"/>
            <a:ext cx="148800" cy="237878"/>
          </a:xfrm>
          <a:custGeom>
            <a:avLst/>
            <a:gdLst>
              <a:gd name="T0" fmla="*/ 56 w 62"/>
              <a:gd name="T1" fmla="*/ 93 h 99"/>
              <a:gd name="T2" fmla="*/ 61 w 62"/>
              <a:gd name="T3" fmla="*/ 89 h 99"/>
              <a:gd name="T4" fmla="*/ 11 w 62"/>
              <a:gd name="T5" fmla="*/ 19 h 99"/>
              <a:gd name="T6" fmla="*/ 6 w 62"/>
              <a:gd name="T7" fmla="*/ 23 h 99"/>
              <a:gd name="T8" fmla="*/ 9 w 62"/>
              <a:gd name="T9" fmla="*/ 28 h 99"/>
              <a:gd name="T10" fmla="*/ 56 w 62"/>
              <a:gd name="T11" fmla="*/ 12 h 99"/>
              <a:gd name="T12" fmla="*/ 56 w 62"/>
              <a:gd name="T13" fmla="*/ 6 h 99"/>
              <a:gd name="T14" fmla="*/ 50 w 62"/>
              <a:gd name="T15" fmla="*/ 6 h 99"/>
              <a:gd name="T16" fmla="*/ 50 w 62"/>
              <a:gd name="T17" fmla="*/ 93 h 99"/>
              <a:gd name="T18" fmla="*/ 56 w 62"/>
              <a:gd name="T19" fmla="*/ 93 h 99"/>
              <a:gd name="T20" fmla="*/ 61 w 62"/>
              <a:gd name="T21" fmla="*/ 89 h 99"/>
              <a:gd name="T22" fmla="*/ 56 w 62"/>
              <a:gd name="T23" fmla="*/ 93 h 99"/>
              <a:gd name="T24" fmla="*/ 62 w 62"/>
              <a:gd name="T25" fmla="*/ 93 h 99"/>
              <a:gd name="T26" fmla="*/ 62 w 62"/>
              <a:gd name="T27" fmla="*/ 6 h 99"/>
              <a:gd name="T28" fmla="*/ 61 w 62"/>
              <a:gd name="T29" fmla="*/ 2 h 99"/>
              <a:gd name="T30" fmla="*/ 56 w 62"/>
              <a:gd name="T31" fmla="*/ 0 h 99"/>
              <a:gd name="T32" fmla="*/ 2 w 62"/>
              <a:gd name="T33" fmla="*/ 18 h 99"/>
              <a:gd name="T34" fmla="*/ 0 w 62"/>
              <a:gd name="T35" fmla="*/ 22 h 99"/>
              <a:gd name="T36" fmla="*/ 1 w 62"/>
              <a:gd name="T37" fmla="*/ 26 h 99"/>
              <a:gd name="T38" fmla="*/ 52 w 62"/>
              <a:gd name="T39" fmla="*/ 96 h 99"/>
              <a:gd name="T40" fmla="*/ 58 w 62"/>
              <a:gd name="T41" fmla="*/ 98 h 99"/>
              <a:gd name="T42" fmla="*/ 62 w 62"/>
              <a:gd name="T43" fmla="*/ 93 h 99"/>
              <a:gd name="T44" fmla="*/ 56 w 62"/>
              <a:gd name="T45"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99">
                <a:moveTo>
                  <a:pt x="56" y="93"/>
                </a:moveTo>
                <a:cubicBezTo>
                  <a:pt x="61" y="89"/>
                  <a:pt x="61" y="89"/>
                  <a:pt x="61" y="89"/>
                </a:cubicBezTo>
                <a:cubicBezTo>
                  <a:pt x="11" y="19"/>
                  <a:pt x="11" y="19"/>
                  <a:pt x="11" y="19"/>
                </a:cubicBezTo>
                <a:cubicBezTo>
                  <a:pt x="6" y="23"/>
                  <a:pt x="6" y="23"/>
                  <a:pt x="6" y="23"/>
                </a:cubicBezTo>
                <a:cubicBezTo>
                  <a:pt x="9" y="28"/>
                  <a:pt x="9" y="28"/>
                  <a:pt x="9" y="28"/>
                </a:cubicBezTo>
                <a:cubicBezTo>
                  <a:pt x="24" y="17"/>
                  <a:pt x="39" y="12"/>
                  <a:pt x="56" y="12"/>
                </a:cubicBezTo>
                <a:cubicBezTo>
                  <a:pt x="56" y="6"/>
                  <a:pt x="56" y="6"/>
                  <a:pt x="56" y="6"/>
                </a:cubicBezTo>
                <a:cubicBezTo>
                  <a:pt x="50" y="6"/>
                  <a:pt x="50" y="6"/>
                  <a:pt x="50" y="6"/>
                </a:cubicBezTo>
                <a:cubicBezTo>
                  <a:pt x="50" y="93"/>
                  <a:pt x="50" y="93"/>
                  <a:pt x="50" y="93"/>
                </a:cubicBezTo>
                <a:cubicBezTo>
                  <a:pt x="56" y="93"/>
                  <a:pt x="56" y="93"/>
                  <a:pt x="56" y="93"/>
                </a:cubicBezTo>
                <a:cubicBezTo>
                  <a:pt x="61" y="89"/>
                  <a:pt x="61" y="89"/>
                  <a:pt x="61" y="89"/>
                </a:cubicBezTo>
                <a:cubicBezTo>
                  <a:pt x="56" y="93"/>
                  <a:pt x="56" y="93"/>
                  <a:pt x="56" y="93"/>
                </a:cubicBezTo>
                <a:cubicBezTo>
                  <a:pt x="62" y="93"/>
                  <a:pt x="62" y="93"/>
                  <a:pt x="62" y="93"/>
                </a:cubicBezTo>
                <a:cubicBezTo>
                  <a:pt x="62" y="6"/>
                  <a:pt x="62" y="6"/>
                  <a:pt x="62" y="6"/>
                </a:cubicBezTo>
                <a:cubicBezTo>
                  <a:pt x="62" y="5"/>
                  <a:pt x="62" y="3"/>
                  <a:pt x="61" y="2"/>
                </a:cubicBezTo>
                <a:cubicBezTo>
                  <a:pt x="60" y="1"/>
                  <a:pt x="58" y="0"/>
                  <a:pt x="56" y="0"/>
                </a:cubicBezTo>
                <a:cubicBezTo>
                  <a:pt x="36" y="0"/>
                  <a:pt x="19" y="6"/>
                  <a:pt x="2" y="18"/>
                </a:cubicBezTo>
                <a:cubicBezTo>
                  <a:pt x="1" y="19"/>
                  <a:pt x="0" y="20"/>
                  <a:pt x="0" y="22"/>
                </a:cubicBezTo>
                <a:cubicBezTo>
                  <a:pt x="0" y="24"/>
                  <a:pt x="0" y="25"/>
                  <a:pt x="1" y="26"/>
                </a:cubicBezTo>
                <a:cubicBezTo>
                  <a:pt x="52" y="96"/>
                  <a:pt x="52" y="96"/>
                  <a:pt x="52" y="96"/>
                </a:cubicBezTo>
                <a:cubicBezTo>
                  <a:pt x="53" y="98"/>
                  <a:pt x="56" y="99"/>
                  <a:pt x="58" y="98"/>
                </a:cubicBezTo>
                <a:cubicBezTo>
                  <a:pt x="61" y="98"/>
                  <a:pt x="62" y="95"/>
                  <a:pt x="62" y="93"/>
                </a:cubicBezTo>
                <a:lnTo>
                  <a:pt x="5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41"/>
          <p:cNvSpPr>
            <a:spLocks/>
          </p:cNvSpPr>
          <p:nvPr/>
        </p:nvSpPr>
        <p:spPr bwMode="auto">
          <a:xfrm>
            <a:off x="4834743" y="5950643"/>
            <a:ext cx="416033" cy="415021"/>
          </a:xfrm>
          <a:custGeom>
            <a:avLst/>
            <a:gdLst>
              <a:gd name="T0" fmla="*/ 86 w 173"/>
              <a:gd name="T1" fmla="*/ 87 h 173"/>
              <a:gd name="T2" fmla="*/ 86 w 173"/>
              <a:gd name="T3" fmla="*/ 0 h 173"/>
              <a:gd name="T4" fmla="*/ 173 w 173"/>
              <a:gd name="T5" fmla="*/ 87 h 173"/>
              <a:gd name="T6" fmla="*/ 86 w 173"/>
              <a:gd name="T7" fmla="*/ 173 h 173"/>
              <a:gd name="T8" fmla="*/ 0 w 173"/>
              <a:gd name="T9" fmla="*/ 87 h 173"/>
              <a:gd name="T10" fmla="*/ 36 w 173"/>
              <a:gd name="T11" fmla="*/ 17 h 173"/>
              <a:gd name="T12" fmla="*/ 86 w 173"/>
              <a:gd name="T13" fmla="*/ 87 h 173"/>
            </a:gdLst>
            <a:ahLst/>
            <a:cxnLst>
              <a:cxn ang="0">
                <a:pos x="T0" y="T1"/>
              </a:cxn>
              <a:cxn ang="0">
                <a:pos x="T2" y="T3"/>
              </a:cxn>
              <a:cxn ang="0">
                <a:pos x="T4" y="T5"/>
              </a:cxn>
              <a:cxn ang="0">
                <a:pos x="T6" y="T7"/>
              </a:cxn>
              <a:cxn ang="0">
                <a:pos x="T8" y="T9"/>
              </a:cxn>
              <a:cxn ang="0">
                <a:pos x="T10" y="T11"/>
              </a:cxn>
              <a:cxn ang="0">
                <a:pos x="T12" y="T13"/>
              </a:cxn>
            </a:cxnLst>
            <a:rect l="0" t="0" r="r" b="b"/>
            <a:pathLst>
              <a:path w="173" h="173">
                <a:moveTo>
                  <a:pt x="86" y="87"/>
                </a:moveTo>
                <a:cubicBezTo>
                  <a:pt x="86" y="0"/>
                  <a:pt x="86" y="0"/>
                  <a:pt x="86" y="0"/>
                </a:cubicBezTo>
                <a:cubicBezTo>
                  <a:pt x="134" y="0"/>
                  <a:pt x="173" y="39"/>
                  <a:pt x="173" y="87"/>
                </a:cubicBezTo>
                <a:cubicBezTo>
                  <a:pt x="173" y="134"/>
                  <a:pt x="134" y="173"/>
                  <a:pt x="86" y="173"/>
                </a:cubicBezTo>
                <a:cubicBezTo>
                  <a:pt x="39" y="173"/>
                  <a:pt x="0" y="134"/>
                  <a:pt x="0" y="87"/>
                </a:cubicBezTo>
                <a:cubicBezTo>
                  <a:pt x="0" y="58"/>
                  <a:pt x="13" y="34"/>
                  <a:pt x="36" y="17"/>
                </a:cubicBezTo>
                <a:lnTo>
                  <a:pt x="86"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42"/>
          <p:cNvSpPr>
            <a:spLocks/>
          </p:cNvSpPr>
          <p:nvPr/>
        </p:nvSpPr>
        <p:spPr bwMode="auto">
          <a:xfrm>
            <a:off x="4820571" y="5935459"/>
            <a:ext cx="444376" cy="444376"/>
          </a:xfrm>
          <a:custGeom>
            <a:avLst/>
            <a:gdLst>
              <a:gd name="T0" fmla="*/ 92 w 185"/>
              <a:gd name="T1" fmla="*/ 93 h 185"/>
              <a:gd name="T2" fmla="*/ 98 w 185"/>
              <a:gd name="T3" fmla="*/ 93 h 185"/>
              <a:gd name="T4" fmla="*/ 98 w 185"/>
              <a:gd name="T5" fmla="*/ 6 h 185"/>
              <a:gd name="T6" fmla="*/ 92 w 185"/>
              <a:gd name="T7" fmla="*/ 6 h 185"/>
              <a:gd name="T8" fmla="*/ 92 w 185"/>
              <a:gd name="T9" fmla="*/ 12 h 185"/>
              <a:gd name="T10" fmla="*/ 149 w 185"/>
              <a:gd name="T11" fmla="*/ 36 h 185"/>
              <a:gd name="T12" fmla="*/ 173 w 185"/>
              <a:gd name="T13" fmla="*/ 93 h 185"/>
              <a:gd name="T14" fmla="*/ 149 w 185"/>
              <a:gd name="T15" fmla="*/ 149 h 185"/>
              <a:gd name="T16" fmla="*/ 92 w 185"/>
              <a:gd name="T17" fmla="*/ 173 h 185"/>
              <a:gd name="T18" fmla="*/ 36 w 185"/>
              <a:gd name="T19" fmla="*/ 149 h 185"/>
              <a:gd name="T20" fmla="*/ 12 w 185"/>
              <a:gd name="T21" fmla="*/ 93 h 185"/>
              <a:gd name="T22" fmla="*/ 21 w 185"/>
              <a:gd name="T23" fmla="*/ 56 h 185"/>
              <a:gd name="T24" fmla="*/ 45 w 185"/>
              <a:gd name="T25" fmla="*/ 28 h 185"/>
              <a:gd name="T26" fmla="*/ 42 w 185"/>
              <a:gd name="T27" fmla="*/ 23 h 185"/>
              <a:gd name="T28" fmla="*/ 37 w 185"/>
              <a:gd name="T29" fmla="*/ 26 h 185"/>
              <a:gd name="T30" fmla="*/ 88 w 185"/>
              <a:gd name="T31" fmla="*/ 96 h 185"/>
              <a:gd name="T32" fmla="*/ 94 w 185"/>
              <a:gd name="T33" fmla="*/ 98 h 185"/>
              <a:gd name="T34" fmla="*/ 98 w 185"/>
              <a:gd name="T35" fmla="*/ 93 h 185"/>
              <a:gd name="T36" fmla="*/ 92 w 185"/>
              <a:gd name="T37" fmla="*/ 93 h 185"/>
              <a:gd name="T38" fmla="*/ 97 w 185"/>
              <a:gd name="T39" fmla="*/ 89 h 185"/>
              <a:gd name="T40" fmla="*/ 47 w 185"/>
              <a:gd name="T41" fmla="*/ 19 h 185"/>
              <a:gd name="T42" fmla="*/ 38 w 185"/>
              <a:gd name="T43" fmla="*/ 18 h 185"/>
              <a:gd name="T44" fmla="*/ 10 w 185"/>
              <a:gd name="T45" fmla="*/ 51 h 185"/>
              <a:gd name="T46" fmla="*/ 0 w 185"/>
              <a:gd name="T47" fmla="*/ 93 h 185"/>
              <a:gd name="T48" fmla="*/ 92 w 185"/>
              <a:gd name="T49" fmla="*/ 185 h 185"/>
              <a:gd name="T50" fmla="*/ 185 w 185"/>
              <a:gd name="T51" fmla="*/ 93 h 185"/>
              <a:gd name="T52" fmla="*/ 92 w 185"/>
              <a:gd name="T53" fmla="*/ 0 h 185"/>
              <a:gd name="T54" fmla="*/ 88 w 185"/>
              <a:gd name="T55" fmla="*/ 2 h 185"/>
              <a:gd name="T56" fmla="*/ 86 w 185"/>
              <a:gd name="T57" fmla="*/ 6 h 185"/>
              <a:gd name="T58" fmla="*/ 86 w 185"/>
              <a:gd name="T59" fmla="*/ 93 h 185"/>
              <a:gd name="T60" fmla="*/ 92 w 185"/>
              <a:gd name="T61" fmla="*/ 93 h 185"/>
              <a:gd name="T62" fmla="*/ 97 w 185"/>
              <a:gd name="T63" fmla="*/ 89 h 185"/>
              <a:gd name="T64" fmla="*/ 92 w 185"/>
              <a:gd name="T65" fmla="*/ 9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185">
                <a:moveTo>
                  <a:pt x="92" y="93"/>
                </a:moveTo>
                <a:cubicBezTo>
                  <a:pt x="98" y="93"/>
                  <a:pt x="98" y="93"/>
                  <a:pt x="98" y="93"/>
                </a:cubicBezTo>
                <a:cubicBezTo>
                  <a:pt x="98" y="6"/>
                  <a:pt x="98" y="6"/>
                  <a:pt x="98" y="6"/>
                </a:cubicBezTo>
                <a:cubicBezTo>
                  <a:pt x="92" y="6"/>
                  <a:pt x="92" y="6"/>
                  <a:pt x="92" y="6"/>
                </a:cubicBezTo>
                <a:cubicBezTo>
                  <a:pt x="92" y="12"/>
                  <a:pt x="92" y="12"/>
                  <a:pt x="92" y="12"/>
                </a:cubicBezTo>
                <a:cubicBezTo>
                  <a:pt x="115" y="12"/>
                  <a:pt x="135" y="21"/>
                  <a:pt x="149" y="36"/>
                </a:cubicBezTo>
                <a:cubicBezTo>
                  <a:pt x="164" y="50"/>
                  <a:pt x="173" y="70"/>
                  <a:pt x="173" y="93"/>
                </a:cubicBezTo>
                <a:cubicBezTo>
                  <a:pt x="173" y="115"/>
                  <a:pt x="164" y="135"/>
                  <a:pt x="149" y="149"/>
                </a:cubicBezTo>
                <a:cubicBezTo>
                  <a:pt x="135" y="164"/>
                  <a:pt x="115" y="173"/>
                  <a:pt x="92" y="173"/>
                </a:cubicBezTo>
                <a:cubicBezTo>
                  <a:pt x="70" y="173"/>
                  <a:pt x="50" y="164"/>
                  <a:pt x="36" y="149"/>
                </a:cubicBezTo>
                <a:cubicBezTo>
                  <a:pt x="21" y="135"/>
                  <a:pt x="12" y="115"/>
                  <a:pt x="12" y="93"/>
                </a:cubicBezTo>
                <a:cubicBezTo>
                  <a:pt x="12" y="79"/>
                  <a:pt x="15" y="67"/>
                  <a:pt x="21" y="56"/>
                </a:cubicBezTo>
                <a:cubicBezTo>
                  <a:pt x="26" y="45"/>
                  <a:pt x="34" y="36"/>
                  <a:pt x="45" y="28"/>
                </a:cubicBezTo>
                <a:cubicBezTo>
                  <a:pt x="42" y="23"/>
                  <a:pt x="42" y="23"/>
                  <a:pt x="42" y="23"/>
                </a:cubicBezTo>
                <a:cubicBezTo>
                  <a:pt x="37" y="26"/>
                  <a:pt x="37" y="26"/>
                  <a:pt x="37" y="26"/>
                </a:cubicBezTo>
                <a:cubicBezTo>
                  <a:pt x="88" y="96"/>
                  <a:pt x="88" y="96"/>
                  <a:pt x="88" y="96"/>
                </a:cubicBezTo>
                <a:cubicBezTo>
                  <a:pt x="89" y="98"/>
                  <a:pt x="92" y="99"/>
                  <a:pt x="94" y="98"/>
                </a:cubicBezTo>
                <a:cubicBezTo>
                  <a:pt x="97" y="98"/>
                  <a:pt x="98" y="95"/>
                  <a:pt x="98" y="93"/>
                </a:cubicBezTo>
                <a:cubicBezTo>
                  <a:pt x="92" y="93"/>
                  <a:pt x="92" y="93"/>
                  <a:pt x="92" y="93"/>
                </a:cubicBezTo>
                <a:cubicBezTo>
                  <a:pt x="97" y="89"/>
                  <a:pt x="97" y="89"/>
                  <a:pt x="97" y="89"/>
                </a:cubicBezTo>
                <a:cubicBezTo>
                  <a:pt x="47" y="19"/>
                  <a:pt x="47" y="19"/>
                  <a:pt x="47" y="19"/>
                </a:cubicBezTo>
                <a:cubicBezTo>
                  <a:pt x="45" y="17"/>
                  <a:pt x="41" y="16"/>
                  <a:pt x="38" y="18"/>
                </a:cubicBezTo>
                <a:cubicBezTo>
                  <a:pt x="26" y="27"/>
                  <a:pt x="16" y="38"/>
                  <a:pt x="10" y="51"/>
                </a:cubicBezTo>
                <a:cubicBezTo>
                  <a:pt x="4" y="63"/>
                  <a:pt x="0" y="77"/>
                  <a:pt x="0" y="93"/>
                </a:cubicBezTo>
                <a:cubicBezTo>
                  <a:pt x="0" y="144"/>
                  <a:pt x="42" y="185"/>
                  <a:pt x="92" y="185"/>
                </a:cubicBezTo>
                <a:cubicBezTo>
                  <a:pt x="143" y="185"/>
                  <a:pt x="185" y="144"/>
                  <a:pt x="185" y="93"/>
                </a:cubicBezTo>
                <a:cubicBezTo>
                  <a:pt x="185" y="42"/>
                  <a:pt x="143" y="0"/>
                  <a:pt x="92" y="0"/>
                </a:cubicBezTo>
                <a:cubicBezTo>
                  <a:pt x="91" y="0"/>
                  <a:pt x="89" y="1"/>
                  <a:pt x="88" y="2"/>
                </a:cubicBezTo>
                <a:cubicBezTo>
                  <a:pt x="87" y="3"/>
                  <a:pt x="86" y="5"/>
                  <a:pt x="86" y="6"/>
                </a:cubicBezTo>
                <a:cubicBezTo>
                  <a:pt x="86" y="93"/>
                  <a:pt x="86" y="93"/>
                  <a:pt x="86" y="93"/>
                </a:cubicBezTo>
                <a:cubicBezTo>
                  <a:pt x="92" y="93"/>
                  <a:pt x="92" y="93"/>
                  <a:pt x="92" y="93"/>
                </a:cubicBezTo>
                <a:cubicBezTo>
                  <a:pt x="97" y="89"/>
                  <a:pt x="97" y="89"/>
                  <a:pt x="97" y="89"/>
                </a:cubicBezTo>
                <a:lnTo>
                  <a:pt x="92"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43"/>
          <p:cNvSpPr>
            <a:spLocks/>
          </p:cNvSpPr>
          <p:nvPr/>
        </p:nvSpPr>
        <p:spPr bwMode="auto">
          <a:xfrm>
            <a:off x="5041241" y="5950643"/>
            <a:ext cx="232817" cy="271282"/>
          </a:xfrm>
          <a:custGeom>
            <a:avLst/>
            <a:gdLst>
              <a:gd name="T0" fmla="*/ 0 w 97"/>
              <a:gd name="T1" fmla="*/ 87 h 113"/>
              <a:gd name="T2" fmla="*/ 82 w 97"/>
              <a:gd name="T3" fmla="*/ 113 h 113"/>
              <a:gd name="T4" fmla="*/ 27 w 97"/>
              <a:gd name="T5" fmla="*/ 5 h 113"/>
              <a:gd name="T6" fmla="*/ 0 w 97"/>
              <a:gd name="T7" fmla="*/ 0 h 113"/>
              <a:gd name="T8" fmla="*/ 0 w 97"/>
              <a:gd name="T9" fmla="*/ 87 h 113"/>
            </a:gdLst>
            <a:ahLst/>
            <a:cxnLst>
              <a:cxn ang="0">
                <a:pos x="T0" y="T1"/>
              </a:cxn>
              <a:cxn ang="0">
                <a:pos x="T2" y="T3"/>
              </a:cxn>
              <a:cxn ang="0">
                <a:pos x="T4" y="T5"/>
              </a:cxn>
              <a:cxn ang="0">
                <a:pos x="T6" y="T7"/>
              </a:cxn>
              <a:cxn ang="0">
                <a:pos x="T8" y="T9"/>
              </a:cxn>
            </a:cxnLst>
            <a:rect l="0" t="0" r="r" b="b"/>
            <a:pathLst>
              <a:path w="97" h="113">
                <a:moveTo>
                  <a:pt x="0" y="87"/>
                </a:moveTo>
                <a:cubicBezTo>
                  <a:pt x="82" y="113"/>
                  <a:pt x="82" y="113"/>
                  <a:pt x="82" y="113"/>
                </a:cubicBezTo>
                <a:cubicBezTo>
                  <a:pt x="97" y="68"/>
                  <a:pt x="72" y="19"/>
                  <a:pt x="27" y="5"/>
                </a:cubicBezTo>
                <a:cubicBezTo>
                  <a:pt x="18" y="2"/>
                  <a:pt x="10" y="0"/>
                  <a:pt x="0" y="0"/>
                </a:cubicBezTo>
                <a:lnTo>
                  <a:pt x="0"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44"/>
          <p:cNvSpPr>
            <a:spLocks/>
          </p:cNvSpPr>
          <p:nvPr/>
        </p:nvSpPr>
        <p:spPr bwMode="auto">
          <a:xfrm>
            <a:off x="5027069" y="5935459"/>
            <a:ext cx="237878" cy="300637"/>
          </a:xfrm>
          <a:custGeom>
            <a:avLst/>
            <a:gdLst>
              <a:gd name="T0" fmla="*/ 6 w 99"/>
              <a:gd name="T1" fmla="*/ 93 h 125"/>
              <a:gd name="T2" fmla="*/ 5 w 99"/>
              <a:gd name="T3" fmla="*/ 98 h 125"/>
              <a:gd name="T4" fmla="*/ 87 w 99"/>
              <a:gd name="T5" fmla="*/ 125 h 125"/>
              <a:gd name="T6" fmla="*/ 91 w 99"/>
              <a:gd name="T7" fmla="*/ 125 h 125"/>
              <a:gd name="T8" fmla="*/ 94 w 99"/>
              <a:gd name="T9" fmla="*/ 121 h 125"/>
              <a:gd name="T10" fmla="*/ 99 w 99"/>
              <a:gd name="T11" fmla="*/ 93 h 125"/>
              <a:gd name="T12" fmla="*/ 35 w 99"/>
              <a:gd name="T13" fmla="*/ 5 h 125"/>
              <a:gd name="T14" fmla="*/ 35 w 99"/>
              <a:gd name="T15" fmla="*/ 5 h 125"/>
              <a:gd name="T16" fmla="*/ 6 w 99"/>
              <a:gd name="T17" fmla="*/ 0 h 125"/>
              <a:gd name="T18" fmla="*/ 2 w 99"/>
              <a:gd name="T19" fmla="*/ 2 h 125"/>
              <a:gd name="T20" fmla="*/ 0 w 99"/>
              <a:gd name="T21" fmla="*/ 6 h 125"/>
              <a:gd name="T22" fmla="*/ 0 w 99"/>
              <a:gd name="T23" fmla="*/ 93 h 125"/>
              <a:gd name="T24" fmla="*/ 5 w 99"/>
              <a:gd name="T25" fmla="*/ 98 h 125"/>
              <a:gd name="T26" fmla="*/ 6 w 99"/>
              <a:gd name="T27" fmla="*/ 93 h 125"/>
              <a:gd name="T28" fmla="*/ 12 w 99"/>
              <a:gd name="T29" fmla="*/ 93 h 125"/>
              <a:gd name="T30" fmla="*/ 12 w 99"/>
              <a:gd name="T31" fmla="*/ 6 h 125"/>
              <a:gd name="T32" fmla="*/ 6 w 99"/>
              <a:gd name="T33" fmla="*/ 6 h 125"/>
              <a:gd name="T34" fmla="*/ 6 w 99"/>
              <a:gd name="T35" fmla="*/ 12 h 125"/>
              <a:gd name="T36" fmla="*/ 31 w 99"/>
              <a:gd name="T37" fmla="*/ 16 h 125"/>
              <a:gd name="T38" fmla="*/ 31 w 99"/>
              <a:gd name="T39" fmla="*/ 16 h 125"/>
              <a:gd name="T40" fmla="*/ 87 w 99"/>
              <a:gd name="T41" fmla="*/ 93 h 125"/>
              <a:gd name="T42" fmla="*/ 83 w 99"/>
              <a:gd name="T43" fmla="*/ 117 h 125"/>
              <a:gd name="T44" fmla="*/ 88 w 99"/>
              <a:gd name="T45" fmla="*/ 119 h 125"/>
              <a:gd name="T46" fmla="*/ 90 w 99"/>
              <a:gd name="T47" fmla="*/ 114 h 125"/>
              <a:gd name="T48" fmla="*/ 8 w 99"/>
              <a:gd name="T49" fmla="*/ 87 h 125"/>
              <a:gd name="T50" fmla="*/ 6 w 99"/>
              <a:gd name="T51" fmla="*/ 93 h 125"/>
              <a:gd name="T52" fmla="*/ 12 w 99"/>
              <a:gd name="T53" fmla="*/ 93 h 125"/>
              <a:gd name="T54" fmla="*/ 6 w 99"/>
              <a:gd name="T55"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 h="125">
                <a:moveTo>
                  <a:pt x="6" y="93"/>
                </a:moveTo>
                <a:cubicBezTo>
                  <a:pt x="5" y="98"/>
                  <a:pt x="5" y="98"/>
                  <a:pt x="5" y="98"/>
                </a:cubicBezTo>
                <a:cubicBezTo>
                  <a:pt x="87" y="125"/>
                  <a:pt x="87" y="125"/>
                  <a:pt x="87" y="125"/>
                </a:cubicBezTo>
                <a:cubicBezTo>
                  <a:pt x="88" y="125"/>
                  <a:pt x="90" y="125"/>
                  <a:pt x="91" y="125"/>
                </a:cubicBezTo>
                <a:cubicBezTo>
                  <a:pt x="93" y="124"/>
                  <a:pt x="94" y="123"/>
                  <a:pt x="94" y="121"/>
                </a:cubicBezTo>
                <a:cubicBezTo>
                  <a:pt x="97" y="112"/>
                  <a:pt x="99" y="102"/>
                  <a:pt x="99" y="93"/>
                </a:cubicBezTo>
                <a:cubicBezTo>
                  <a:pt x="99" y="54"/>
                  <a:pt x="74" y="18"/>
                  <a:pt x="35" y="5"/>
                </a:cubicBezTo>
                <a:cubicBezTo>
                  <a:pt x="35" y="5"/>
                  <a:pt x="35" y="5"/>
                  <a:pt x="35" y="5"/>
                </a:cubicBezTo>
                <a:cubicBezTo>
                  <a:pt x="25" y="2"/>
                  <a:pt x="17" y="0"/>
                  <a:pt x="6" y="0"/>
                </a:cubicBezTo>
                <a:cubicBezTo>
                  <a:pt x="5" y="0"/>
                  <a:pt x="3" y="1"/>
                  <a:pt x="2" y="2"/>
                </a:cubicBezTo>
                <a:cubicBezTo>
                  <a:pt x="1" y="3"/>
                  <a:pt x="0" y="5"/>
                  <a:pt x="0" y="6"/>
                </a:cubicBezTo>
                <a:cubicBezTo>
                  <a:pt x="0" y="93"/>
                  <a:pt x="0" y="93"/>
                  <a:pt x="0" y="93"/>
                </a:cubicBezTo>
                <a:cubicBezTo>
                  <a:pt x="0" y="95"/>
                  <a:pt x="2" y="98"/>
                  <a:pt x="5" y="98"/>
                </a:cubicBezTo>
                <a:cubicBezTo>
                  <a:pt x="6" y="93"/>
                  <a:pt x="6" y="93"/>
                  <a:pt x="6" y="93"/>
                </a:cubicBezTo>
                <a:cubicBezTo>
                  <a:pt x="12" y="93"/>
                  <a:pt x="12" y="93"/>
                  <a:pt x="12" y="93"/>
                </a:cubicBezTo>
                <a:cubicBezTo>
                  <a:pt x="12" y="6"/>
                  <a:pt x="12" y="6"/>
                  <a:pt x="12" y="6"/>
                </a:cubicBezTo>
                <a:cubicBezTo>
                  <a:pt x="6" y="6"/>
                  <a:pt x="6" y="6"/>
                  <a:pt x="6" y="6"/>
                </a:cubicBezTo>
                <a:cubicBezTo>
                  <a:pt x="6" y="12"/>
                  <a:pt x="6" y="12"/>
                  <a:pt x="6" y="12"/>
                </a:cubicBezTo>
                <a:cubicBezTo>
                  <a:pt x="15" y="12"/>
                  <a:pt x="23" y="14"/>
                  <a:pt x="31" y="16"/>
                </a:cubicBezTo>
                <a:cubicBezTo>
                  <a:pt x="31" y="16"/>
                  <a:pt x="31" y="16"/>
                  <a:pt x="31" y="16"/>
                </a:cubicBezTo>
                <a:cubicBezTo>
                  <a:pt x="65" y="27"/>
                  <a:pt x="87" y="59"/>
                  <a:pt x="87" y="93"/>
                </a:cubicBezTo>
                <a:cubicBezTo>
                  <a:pt x="87" y="101"/>
                  <a:pt x="85" y="109"/>
                  <a:pt x="83" y="117"/>
                </a:cubicBezTo>
                <a:cubicBezTo>
                  <a:pt x="88" y="119"/>
                  <a:pt x="88" y="119"/>
                  <a:pt x="88" y="119"/>
                </a:cubicBezTo>
                <a:cubicBezTo>
                  <a:pt x="90" y="114"/>
                  <a:pt x="90" y="114"/>
                  <a:pt x="90" y="114"/>
                </a:cubicBezTo>
                <a:cubicBezTo>
                  <a:pt x="8" y="87"/>
                  <a:pt x="8" y="87"/>
                  <a:pt x="8" y="87"/>
                </a:cubicBezTo>
                <a:cubicBezTo>
                  <a:pt x="6" y="93"/>
                  <a:pt x="6" y="93"/>
                  <a:pt x="6" y="93"/>
                </a:cubicBezTo>
                <a:cubicBezTo>
                  <a:pt x="12" y="93"/>
                  <a:pt x="12" y="93"/>
                  <a:pt x="12" y="93"/>
                </a:cubicBezTo>
                <a:lnTo>
                  <a:pt x="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45"/>
          <p:cNvSpPr>
            <a:spLocks/>
          </p:cNvSpPr>
          <p:nvPr/>
        </p:nvSpPr>
        <p:spPr bwMode="auto">
          <a:xfrm>
            <a:off x="2303115" y="4681287"/>
            <a:ext cx="1056785" cy="610384"/>
          </a:xfrm>
          <a:custGeom>
            <a:avLst/>
            <a:gdLst>
              <a:gd name="T0" fmla="*/ 11 w 440"/>
              <a:gd name="T1" fmla="*/ 251 h 254"/>
              <a:gd name="T2" fmla="*/ 147 w 440"/>
              <a:gd name="T3" fmla="*/ 125 h 254"/>
              <a:gd name="T4" fmla="*/ 240 w 440"/>
              <a:gd name="T5" fmla="*/ 136 h 254"/>
              <a:gd name="T6" fmla="*/ 244 w 440"/>
              <a:gd name="T7" fmla="*/ 134 h 254"/>
              <a:gd name="T8" fmla="*/ 283 w 440"/>
              <a:gd name="T9" fmla="*/ 103 h 254"/>
              <a:gd name="T10" fmla="*/ 351 w 440"/>
              <a:gd name="T11" fmla="*/ 100 h 254"/>
              <a:gd name="T12" fmla="*/ 355 w 440"/>
              <a:gd name="T13" fmla="*/ 98 h 254"/>
              <a:gd name="T14" fmla="*/ 438 w 440"/>
              <a:gd name="T15" fmla="*/ 10 h 254"/>
              <a:gd name="T16" fmla="*/ 438 w 440"/>
              <a:gd name="T17" fmla="*/ 2 h 254"/>
              <a:gd name="T18" fmla="*/ 429 w 440"/>
              <a:gd name="T19" fmla="*/ 2 h 254"/>
              <a:gd name="T20" fmla="*/ 348 w 440"/>
              <a:gd name="T21" fmla="*/ 88 h 254"/>
              <a:gd name="T22" fmla="*/ 281 w 440"/>
              <a:gd name="T23" fmla="*/ 91 h 254"/>
              <a:gd name="T24" fmla="*/ 277 w 440"/>
              <a:gd name="T25" fmla="*/ 92 h 254"/>
              <a:gd name="T26" fmla="*/ 239 w 440"/>
              <a:gd name="T27" fmla="*/ 124 h 254"/>
              <a:gd name="T28" fmla="*/ 146 w 440"/>
              <a:gd name="T29" fmla="*/ 113 h 254"/>
              <a:gd name="T30" fmla="*/ 141 w 440"/>
              <a:gd name="T31" fmla="*/ 114 h 254"/>
              <a:gd name="T32" fmla="*/ 2 w 440"/>
              <a:gd name="T33" fmla="*/ 243 h 254"/>
              <a:gd name="T34" fmla="*/ 2 w 440"/>
              <a:gd name="T35" fmla="*/ 251 h 254"/>
              <a:gd name="T36" fmla="*/ 11 w 440"/>
              <a:gd name="T37" fmla="*/ 25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 h="254">
                <a:moveTo>
                  <a:pt x="11" y="251"/>
                </a:moveTo>
                <a:cubicBezTo>
                  <a:pt x="147" y="125"/>
                  <a:pt x="147" y="125"/>
                  <a:pt x="147" y="125"/>
                </a:cubicBezTo>
                <a:cubicBezTo>
                  <a:pt x="240" y="136"/>
                  <a:pt x="240" y="136"/>
                  <a:pt x="240" y="136"/>
                </a:cubicBezTo>
                <a:cubicBezTo>
                  <a:pt x="241" y="136"/>
                  <a:pt x="243" y="136"/>
                  <a:pt x="244" y="134"/>
                </a:cubicBezTo>
                <a:cubicBezTo>
                  <a:pt x="283" y="103"/>
                  <a:pt x="283" y="103"/>
                  <a:pt x="283" y="103"/>
                </a:cubicBezTo>
                <a:cubicBezTo>
                  <a:pt x="351" y="100"/>
                  <a:pt x="351" y="100"/>
                  <a:pt x="351" y="100"/>
                </a:cubicBezTo>
                <a:cubicBezTo>
                  <a:pt x="352" y="100"/>
                  <a:pt x="354" y="100"/>
                  <a:pt x="355" y="98"/>
                </a:cubicBezTo>
                <a:cubicBezTo>
                  <a:pt x="438" y="10"/>
                  <a:pt x="438" y="10"/>
                  <a:pt x="438" y="10"/>
                </a:cubicBezTo>
                <a:cubicBezTo>
                  <a:pt x="440" y="8"/>
                  <a:pt x="440" y="4"/>
                  <a:pt x="438" y="2"/>
                </a:cubicBezTo>
                <a:cubicBezTo>
                  <a:pt x="435" y="0"/>
                  <a:pt x="432" y="0"/>
                  <a:pt x="429" y="2"/>
                </a:cubicBezTo>
                <a:cubicBezTo>
                  <a:pt x="348" y="88"/>
                  <a:pt x="348" y="88"/>
                  <a:pt x="348" y="88"/>
                </a:cubicBezTo>
                <a:cubicBezTo>
                  <a:pt x="281" y="91"/>
                  <a:pt x="281" y="91"/>
                  <a:pt x="281" y="91"/>
                </a:cubicBezTo>
                <a:cubicBezTo>
                  <a:pt x="279" y="91"/>
                  <a:pt x="278" y="91"/>
                  <a:pt x="277" y="92"/>
                </a:cubicBezTo>
                <a:cubicBezTo>
                  <a:pt x="239" y="124"/>
                  <a:pt x="239" y="124"/>
                  <a:pt x="239" y="124"/>
                </a:cubicBezTo>
                <a:cubicBezTo>
                  <a:pt x="146" y="113"/>
                  <a:pt x="146" y="113"/>
                  <a:pt x="146" y="113"/>
                </a:cubicBezTo>
                <a:cubicBezTo>
                  <a:pt x="144" y="113"/>
                  <a:pt x="142" y="113"/>
                  <a:pt x="141" y="114"/>
                </a:cubicBezTo>
                <a:cubicBezTo>
                  <a:pt x="2" y="243"/>
                  <a:pt x="2" y="243"/>
                  <a:pt x="2" y="243"/>
                </a:cubicBezTo>
                <a:cubicBezTo>
                  <a:pt x="0" y="245"/>
                  <a:pt x="0" y="249"/>
                  <a:pt x="2" y="251"/>
                </a:cubicBezTo>
                <a:cubicBezTo>
                  <a:pt x="4" y="254"/>
                  <a:pt x="8" y="254"/>
                  <a:pt x="11" y="251"/>
                </a:cubicBez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46"/>
          <p:cNvSpPr>
            <a:spLocks/>
          </p:cNvSpPr>
          <p:nvPr/>
        </p:nvSpPr>
        <p:spPr bwMode="auto">
          <a:xfrm>
            <a:off x="3086594" y="4866528"/>
            <a:ext cx="91102" cy="91102"/>
          </a:xfrm>
          <a:custGeom>
            <a:avLst/>
            <a:gdLst>
              <a:gd name="T0" fmla="*/ 28 w 38"/>
              <a:gd name="T1" fmla="*/ 33 h 38"/>
              <a:gd name="T2" fmla="*/ 5 w 38"/>
              <a:gd name="T3" fmla="*/ 28 h 38"/>
              <a:gd name="T4" fmla="*/ 10 w 38"/>
              <a:gd name="T5" fmla="*/ 5 h 38"/>
              <a:gd name="T6" fmla="*/ 33 w 38"/>
              <a:gd name="T7" fmla="*/ 10 h 38"/>
              <a:gd name="T8" fmla="*/ 28 w 38"/>
              <a:gd name="T9" fmla="*/ 33 h 38"/>
            </a:gdLst>
            <a:ahLst/>
            <a:cxnLst>
              <a:cxn ang="0">
                <a:pos x="T0" y="T1"/>
              </a:cxn>
              <a:cxn ang="0">
                <a:pos x="T2" y="T3"/>
              </a:cxn>
              <a:cxn ang="0">
                <a:pos x="T4" y="T5"/>
              </a:cxn>
              <a:cxn ang="0">
                <a:pos x="T6" y="T7"/>
              </a:cxn>
              <a:cxn ang="0">
                <a:pos x="T8" y="T9"/>
              </a:cxn>
            </a:cxnLst>
            <a:rect l="0" t="0" r="r" b="b"/>
            <a:pathLst>
              <a:path w="38" h="38">
                <a:moveTo>
                  <a:pt x="28" y="33"/>
                </a:moveTo>
                <a:cubicBezTo>
                  <a:pt x="20" y="38"/>
                  <a:pt x="10" y="36"/>
                  <a:pt x="5" y="28"/>
                </a:cubicBezTo>
                <a:cubicBezTo>
                  <a:pt x="0" y="20"/>
                  <a:pt x="2" y="10"/>
                  <a:pt x="10" y="5"/>
                </a:cubicBezTo>
                <a:cubicBezTo>
                  <a:pt x="18" y="0"/>
                  <a:pt x="28" y="2"/>
                  <a:pt x="33" y="10"/>
                </a:cubicBezTo>
                <a:cubicBezTo>
                  <a:pt x="38" y="18"/>
                  <a:pt x="36" y="28"/>
                  <a:pt x="28"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47"/>
          <p:cNvSpPr>
            <a:spLocks/>
          </p:cNvSpPr>
          <p:nvPr/>
        </p:nvSpPr>
        <p:spPr bwMode="auto">
          <a:xfrm>
            <a:off x="3081532" y="4861466"/>
            <a:ext cx="101225"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14 w 42"/>
              <a:gd name="T13" fmla="*/ 10 h 42"/>
              <a:gd name="T14" fmla="*/ 21 w 42"/>
              <a:gd name="T15" fmla="*/ 8 h 42"/>
              <a:gd name="T16" fmla="*/ 32 w 42"/>
              <a:gd name="T17" fmla="*/ 14 h 42"/>
              <a:gd name="T18" fmla="*/ 34 w 42"/>
              <a:gd name="T19" fmla="*/ 21 h 42"/>
              <a:gd name="T20" fmla="*/ 28 w 42"/>
              <a:gd name="T21" fmla="*/ 32 h 42"/>
              <a:gd name="T22" fmla="*/ 30 w 42"/>
              <a:gd name="T23" fmla="*/ 35 h 42"/>
              <a:gd name="T24" fmla="*/ 32 w 42"/>
              <a:gd name="T25" fmla="*/ 39 h 42"/>
              <a:gd name="T26" fmla="*/ 42 w 42"/>
              <a:gd name="T27" fmla="*/ 21 h 42"/>
              <a:gd name="T28" fmla="*/ 38 w 42"/>
              <a:gd name="T29" fmla="*/ 10 h 42"/>
              <a:gd name="T30" fmla="*/ 21 w 42"/>
              <a:gd name="T31" fmla="*/ 0 h 42"/>
              <a:gd name="T32" fmla="*/ 10 w 42"/>
              <a:gd name="T33" fmla="*/ 4 h 42"/>
              <a:gd name="T34" fmla="*/ 10 w 42"/>
              <a:gd name="T35" fmla="*/ 4 h 42"/>
              <a:gd name="T36" fmla="*/ 0 w 42"/>
              <a:gd name="T37" fmla="*/ 21 h 42"/>
              <a:gd name="T38" fmla="*/ 3 w 42"/>
              <a:gd name="T39" fmla="*/ 32 h 42"/>
              <a:gd name="T40" fmla="*/ 21 w 42"/>
              <a:gd name="T41" fmla="*/ 42 h 42"/>
              <a:gd name="T42" fmla="*/ 32 w 42"/>
              <a:gd name="T43" fmla="*/ 39 h 42"/>
              <a:gd name="T44" fmla="*/ 30 w 42"/>
              <a:gd name="T45"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42">
                <a:moveTo>
                  <a:pt x="30" y="35"/>
                </a:moveTo>
                <a:cubicBezTo>
                  <a:pt x="28" y="32"/>
                  <a:pt x="28" y="32"/>
                  <a:pt x="28" y="32"/>
                </a:cubicBezTo>
                <a:cubicBezTo>
                  <a:pt x="26" y="33"/>
                  <a:pt x="23" y="34"/>
                  <a:pt x="21" y="34"/>
                </a:cubicBezTo>
                <a:cubicBezTo>
                  <a:pt x="17" y="34"/>
                  <a:pt x="13" y="32"/>
                  <a:pt x="10" y="28"/>
                </a:cubicBezTo>
                <a:cubicBezTo>
                  <a:pt x="9" y="26"/>
                  <a:pt x="8" y="23"/>
                  <a:pt x="8" y="21"/>
                </a:cubicBezTo>
                <a:cubicBezTo>
                  <a:pt x="8" y="17"/>
                  <a:pt x="10" y="13"/>
                  <a:pt x="14" y="10"/>
                </a:cubicBezTo>
                <a:cubicBezTo>
                  <a:pt x="14" y="10"/>
                  <a:pt x="14" y="10"/>
                  <a:pt x="14" y="10"/>
                </a:cubicBezTo>
                <a:cubicBezTo>
                  <a:pt x="16" y="9"/>
                  <a:pt x="19" y="8"/>
                  <a:pt x="21" y="8"/>
                </a:cubicBezTo>
                <a:cubicBezTo>
                  <a:pt x="25" y="8"/>
                  <a:pt x="29" y="10"/>
                  <a:pt x="32" y="14"/>
                </a:cubicBezTo>
                <a:cubicBezTo>
                  <a:pt x="33" y="16"/>
                  <a:pt x="34" y="19"/>
                  <a:pt x="34" y="21"/>
                </a:cubicBezTo>
                <a:cubicBezTo>
                  <a:pt x="34" y="25"/>
                  <a:pt x="32" y="29"/>
                  <a:pt x="28" y="32"/>
                </a:cubicBezTo>
                <a:cubicBezTo>
                  <a:pt x="30" y="35"/>
                  <a:pt x="30" y="35"/>
                  <a:pt x="30" y="35"/>
                </a:cubicBezTo>
                <a:cubicBezTo>
                  <a:pt x="32" y="39"/>
                  <a:pt x="32" y="39"/>
                  <a:pt x="32" y="39"/>
                </a:cubicBezTo>
                <a:cubicBezTo>
                  <a:pt x="38" y="35"/>
                  <a:pt x="42" y="28"/>
                  <a:pt x="42" y="21"/>
                </a:cubicBezTo>
                <a:cubicBezTo>
                  <a:pt x="42" y="17"/>
                  <a:pt x="41" y="13"/>
                  <a:pt x="38" y="10"/>
                </a:cubicBezTo>
                <a:cubicBezTo>
                  <a:pt x="34" y="4"/>
                  <a:pt x="28" y="0"/>
                  <a:pt x="21" y="0"/>
                </a:cubicBezTo>
                <a:cubicBezTo>
                  <a:pt x="17" y="0"/>
                  <a:pt x="13" y="1"/>
                  <a:pt x="10" y="4"/>
                </a:cubicBezTo>
                <a:cubicBezTo>
                  <a:pt x="10" y="4"/>
                  <a:pt x="10" y="4"/>
                  <a:pt x="10" y="4"/>
                </a:cubicBezTo>
                <a:cubicBezTo>
                  <a:pt x="4" y="8"/>
                  <a:pt x="0" y="14"/>
                  <a:pt x="0" y="21"/>
                </a:cubicBezTo>
                <a:cubicBezTo>
                  <a:pt x="0" y="25"/>
                  <a:pt x="1" y="29"/>
                  <a:pt x="3" y="32"/>
                </a:cubicBezTo>
                <a:cubicBezTo>
                  <a:pt x="7" y="38"/>
                  <a:pt x="14" y="42"/>
                  <a:pt x="21" y="42"/>
                </a:cubicBezTo>
                <a:cubicBezTo>
                  <a:pt x="25" y="42"/>
                  <a:pt x="29" y="41"/>
                  <a:pt x="32" y="39"/>
                </a:cubicBezTo>
                <a:lnTo>
                  <a:pt x="30" y="35"/>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48"/>
          <p:cNvSpPr>
            <a:spLocks/>
          </p:cNvSpPr>
          <p:nvPr/>
        </p:nvSpPr>
        <p:spPr bwMode="auto">
          <a:xfrm>
            <a:off x="2262625" y="5229924"/>
            <a:ext cx="93127" cy="91102"/>
          </a:xfrm>
          <a:custGeom>
            <a:avLst/>
            <a:gdLst>
              <a:gd name="T0" fmla="*/ 28 w 39"/>
              <a:gd name="T1" fmla="*/ 33 h 38"/>
              <a:gd name="T2" fmla="*/ 5 w 39"/>
              <a:gd name="T3" fmla="*/ 28 h 38"/>
              <a:gd name="T4" fmla="*/ 11 w 39"/>
              <a:gd name="T5" fmla="*/ 5 h 38"/>
              <a:gd name="T6" fmla="*/ 34 w 39"/>
              <a:gd name="T7" fmla="*/ 10 h 38"/>
              <a:gd name="T8" fmla="*/ 28 w 39"/>
              <a:gd name="T9" fmla="*/ 33 h 38"/>
            </a:gdLst>
            <a:ahLst/>
            <a:cxnLst>
              <a:cxn ang="0">
                <a:pos x="T0" y="T1"/>
              </a:cxn>
              <a:cxn ang="0">
                <a:pos x="T2" y="T3"/>
              </a:cxn>
              <a:cxn ang="0">
                <a:pos x="T4" y="T5"/>
              </a:cxn>
              <a:cxn ang="0">
                <a:pos x="T6" y="T7"/>
              </a:cxn>
              <a:cxn ang="0">
                <a:pos x="T8" y="T9"/>
              </a:cxn>
            </a:cxnLst>
            <a:rect l="0" t="0" r="r" b="b"/>
            <a:pathLst>
              <a:path w="39" h="38">
                <a:moveTo>
                  <a:pt x="28" y="33"/>
                </a:moveTo>
                <a:cubicBezTo>
                  <a:pt x="21" y="38"/>
                  <a:pt x="10" y="36"/>
                  <a:pt x="5" y="28"/>
                </a:cubicBezTo>
                <a:cubicBezTo>
                  <a:pt x="0" y="20"/>
                  <a:pt x="3" y="10"/>
                  <a:pt x="11" y="5"/>
                </a:cubicBezTo>
                <a:cubicBezTo>
                  <a:pt x="18" y="0"/>
                  <a:pt x="29" y="2"/>
                  <a:pt x="34" y="10"/>
                </a:cubicBezTo>
                <a:cubicBezTo>
                  <a:pt x="39" y="18"/>
                  <a:pt x="36" y="28"/>
                  <a:pt x="28"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49"/>
          <p:cNvSpPr>
            <a:spLocks/>
          </p:cNvSpPr>
          <p:nvPr/>
        </p:nvSpPr>
        <p:spPr bwMode="auto">
          <a:xfrm>
            <a:off x="2260601" y="5224863"/>
            <a:ext cx="98188" cy="101225"/>
          </a:xfrm>
          <a:custGeom>
            <a:avLst/>
            <a:gdLst>
              <a:gd name="T0" fmla="*/ 29 w 41"/>
              <a:gd name="T1" fmla="*/ 35 h 42"/>
              <a:gd name="T2" fmla="*/ 27 w 41"/>
              <a:gd name="T3" fmla="*/ 32 h 42"/>
              <a:gd name="T4" fmla="*/ 21 w 41"/>
              <a:gd name="T5" fmla="*/ 34 h 42"/>
              <a:gd name="T6" fmla="*/ 10 w 41"/>
              <a:gd name="T7" fmla="*/ 28 h 42"/>
              <a:gd name="T8" fmla="*/ 10 w 41"/>
              <a:gd name="T9" fmla="*/ 28 h 42"/>
              <a:gd name="T10" fmla="*/ 8 w 41"/>
              <a:gd name="T11" fmla="*/ 21 h 42"/>
              <a:gd name="T12" fmla="*/ 14 w 41"/>
              <a:gd name="T13" fmla="*/ 10 h 42"/>
              <a:gd name="T14" fmla="*/ 14 w 41"/>
              <a:gd name="T15" fmla="*/ 10 h 42"/>
              <a:gd name="T16" fmla="*/ 20 w 41"/>
              <a:gd name="T17" fmla="*/ 8 h 42"/>
              <a:gd name="T18" fmla="*/ 31 w 41"/>
              <a:gd name="T19" fmla="*/ 14 h 42"/>
              <a:gd name="T20" fmla="*/ 31 w 41"/>
              <a:gd name="T21" fmla="*/ 14 h 42"/>
              <a:gd name="T22" fmla="*/ 33 w 41"/>
              <a:gd name="T23" fmla="*/ 21 h 42"/>
              <a:gd name="T24" fmla="*/ 27 w 41"/>
              <a:gd name="T25" fmla="*/ 32 h 42"/>
              <a:gd name="T26" fmla="*/ 27 w 41"/>
              <a:gd name="T27" fmla="*/ 32 h 42"/>
              <a:gd name="T28" fmla="*/ 29 w 41"/>
              <a:gd name="T29" fmla="*/ 35 h 42"/>
              <a:gd name="T30" fmla="*/ 32 w 41"/>
              <a:gd name="T31" fmla="*/ 38 h 42"/>
              <a:gd name="T32" fmla="*/ 41 w 41"/>
              <a:gd name="T33" fmla="*/ 21 h 42"/>
              <a:gd name="T34" fmla="*/ 38 w 41"/>
              <a:gd name="T35" fmla="*/ 10 h 42"/>
              <a:gd name="T36" fmla="*/ 38 w 41"/>
              <a:gd name="T37" fmla="*/ 10 h 42"/>
              <a:gd name="T38" fmla="*/ 20 w 41"/>
              <a:gd name="T39" fmla="*/ 0 h 42"/>
              <a:gd name="T40" fmla="*/ 9 w 41"/>
              <a:gd name="T41" fmla="*/ 3 h 42"/>
              <a:gd name="T42" fmla="*/ 9 w 41"/>
              <a:gd name="T43" fmla="*/ 3 h 42"/>
              <a:gd name="T44" fmla="*/ 0 w 41"/>
              <a:gd name="T45" fmla="*/ 21 h 42"/>
              <a:gd name="T46" fmla="*/ 3 w 41"/>
              <a:gd name="T47" fmla="*/ 32 h 42"/>
              <a:gd name="T48" fmla="*/ 5 w 41"/>
              <a:gd name="T49" fmla="*/ 35 h 42"/>
              <a:gd name="T50" fmla="*/ 3 w 41"/>
              <a:gd name="T51" fmla="*/ 32 h 42"/>
              <a:gd name="T52" fmla="*/ 21 w 41"/>
              <a:gd name="T53" fmla="*/ 42 h 42"/>
              <a:gd name="T54" fmla="*/ 32 w 41"/>
              <a:gd name="T55" fmla="*/ 38 h 42"/>
              <a:gd name="T56" fmla="*/ 32 w 41"/>
              <a:gd name="T57" fmla="*/ 38 h 42"/>
              <a:gd name="T58" fmla="*/ 29 w 41"/>
              <a:gd name="T59"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42">
                <a:moveTo>
                  <a:pt x="29" y="35"/>
                </a:moveTo>
                <a:cubicBezTo>
                  <a:pt x="27" y="32"/>
                  <a:pt x="27" y="32"/>
                  <a:pt x="27" y="32"/>
                </a:cubicBezTo>
                <a:cubicBezTo>
                  <a:pt x="25" y="33"/>
                  <a:pt x="23" y="34"/>
                  <a:pt x="21" y="34"/>
                </a:cubicBezTo>
                <a:cubicBezTo>
                  <a:pt x="16" y="34"/>
                  <a:pt x="12" y="32"/>
                  <a:pt x="10" y="28"/>
                </a:cubicBezTo>
                <a:cubicBezTo>
                  <a:pt x="10" y="28"/>
                  <a:pt x="10" y="28"/>
                  <a:pt x="10" y="28"/>
                </a:cubicBezTo>
                <a:cubicBezTo>
                  <a:pt x="8" y="26"/>
                  <a:pt x="8" y="23"/>
                  <a:pt x="8" y="21"/>
                </a:cubicBezTo>
                <a:cubicBezTo>
                  <a:pt x="8" y="17"/>
                  <a:pt x="10" y="13"/>
                  <a:pt x="14" y="10"/>
                </a:cubicBezTo>
                <a:cubicBezTo>
                  <a:pt x="14" y="10"/>
                  <a:pt x="14" y="10"/>
                  <a:pt x="14" y="10"/>
                </a:cubicBezTo>
                <a:cubicBezTo>
                  <a:pt x="16" y="9"/>
                  <a:pt x="18" y="8"/>
                  <a:pt x="20" y="8"/>
                </a:cubicBezTo>
                <a:cubicBezTo>
                  <a:pt x="25" y="8"/>
                  <a:pt x="29" y="10"/>
                  <a:pt x="31" y="14"/>
                </a:cubicBezTo>
                <a:cubicBezTo>
                  <a:pt x="31" y="14"/>
                  <a:pt x="31" y="14"/>
                  <a:pt x="31" y="14"/>
                </a:cubicBezTo>
                <a:cubicBezTo>
                  <a:pt x="33" y="16"/>
                  <a:pt x="33" y="19"/>
                  <a:pt x="33" y="21"/>
                </a:cubicBezTo>
                <a:cubicBezTo>
                  <a:pt x="33" y="25"/>
                  <a:pt x="31" y="29"/>
                  <a:pt x="27" y="32"/>
                </a:cubicBezTo>
                <a:cubicBezTo>
                  <a:pt x="27" y="32"/>
                  <a:pt x="27" y="32"/>
                  <a:pt x="27" y="32"/>
                </a:cubicBezTo>
                <a:cubicBezTo>
                  <a:pt x="29" y="35"/>
                  <a:pt x="29" y="35"/>
                  <a:pt x="29" y="35"/>
                </a:cubicBezTo>
                <a:cubicBezTo>
                  <a:pt x="32" y="38"/>
                  <a:pt x="32" y="38"/>
                  <a:pt x="32" y="38"/>
                </a:cubicBezTo>
                <a:cubicBezTo>
                  <a:pt x="38" y="34"/>
                  <a:pt x="41" y="28"/>
                  <a:pt x="41" y="21"/>
                </a:cubicBezTo>
                <a:cubicBezTo>
                  <a:pt x="41" y="17"/>
                  <a:pt x="40" y="13"/>
                  <a:pt x="38" y="10"/>
                </a:cubicBezTo>
                <a:cubicBezTo>
                  <a:pt x="38" y="10"/>
                  <a:pt x="38" y="10"/>
                  <a:pt x="38" y="10"/>
                </a:cubicBezTo>
                <a:cubicBezTo>
                  <a:pt x="34" y="4"/>
                  <a:pt x="27" y="0"/>
                  <a:pt x="20" y="0"/>
                </a:cubicBezTo>
                <a:cubicBezTo>
                  <a:pt x="17" y="0"/>
                  <a:pt x="13" y="1"/>
                  <a:pt x="9" y="3"/>
                </a:cubicBezTo>
                <a:cubicBezTo>
                  <a:pt x="9" y="3"/>
                  <a:pt x="9" y="3"/>
                  <a:pt x="9" y="3"/>
                </a:cubicBezTo>
                <a:cubicBezTo>
                  <a:pt x="3" y="7"/>
                  <a:pt x="0" y="14"/>
                  <a:pt x="0" y="21"/>
                </a:cubicBezTo>
                <a:cubicBezTo>
                  <a:pt x="0" y="25"/>
                  <a:pt x="1" y="29"/>
                  <a:pt x="3" y="32"/>
                </a:cubicBezTo>
                <a:cubicBezTo>
                  <a:pt x="5" y="35"/>
                  <a:pt x="5" y="35"/>
                  <a:pt x="5" y="35"/>
                </a:cubicBezTo>
                <a:cubicBezTo>
                  <a:pt x="3" y="32"/>
                  <a:pt x="3" y="32"/>
                  <a:pt x="3" y="32"/>
                </a:cubicBezTo>
                <a:cubicBezTo>
                  <a:pt x="7" y="38"/>
                  <a:pt x="14" y="42"/>
                  <a:pt x="21" y="42"/>
                </a:cubicBezTo>
                <a:cubicBezTo>
                  <a:pt x="24" y="42"/>
                  <a:pt x="28" y="41"/>
                  <a:pt x="32" y="38"/>
                </a:cubicBezTo>
                <a:cubicBezTo>
                  <a:pt x="32" y="38"/>
                  <a:pt x="32" y="38"/>
                  <a:pt x="32" y="38"/>
                </a:cubicBezTo>
                <a:lnTo>
                  <a:pt x="29" y="35"/>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50"/>
          <p:cNvSpPr>
            <a:spLocks noEditPoints="1"/>
          </p:cNvSpPr>
          <p:nvPr/>
        </p:nvSpPr>
        <p:spPr bwMode="auto">
          <a:xfrm>
            <a:off x="6148638" y="2961481"/>
            <a:ext cx="1721830" cy="1084115"/>
          </a:xfrm>
          <a:custGeom>
            <a:avLst/>
            <a:gdLst>
              <a:gd name="T0" fmla="*/ 703 w 717"/>
              <a:gd name="T1" fmla="*/ 7 h 451"/>
              <a:gd name="T2" fmla="*/ 700 w 717"/>
              <a:gd name="T3" fmla="*/ 22 h 451"/>
              <a:gd name="T4" fmla="*/ 686 w 717"/>
              <a:gd name="T5" fmla="*/ 53 h 451"/>
              <a:gd name="T6" fmla="*/ 677 w 717"/>
              <a:gd name="T7" fmla="*/ 55 h 451"/>
              <a:gd name="T8" fmla="*/ 664 w 717"/>
              <a:gd name="T9" fmla="*/ 63 h 451"/>
              <a:gd name="T10" fmla="*/ 660 w 717"/>
              <a:gd name="T11" fmla="*/ 89 h 451"/>
              <a:gd name="T12" fmla="*/ 658 w 717"/>
              <a:gd name="T13" fmla="*/ 93 h 451"/>
              <a:gd name="T14" fmla="*/ 634 w 717"/>
              <a:gd name="T15" fmla="*/ 105 h 451"/>
              <a:gd name="T16" fmla="*/ 633 w 717"/>
              <a:gd name="T17" fmla="*/ 123 h 451"/>
              <a:gd name="T18" fmla="*/ 601 w 717"/>
              <a:gd name="T19" fmla="*/ 135 h 451"/>
              <a:gd name="T20" fmla="*/ 594 w 717"/>
              <a:gd name="T21" fmla="*/ 131 h 451"/>
              <a:gd name="T22" fmla="*/ 579 w 717"/>
              <a:gd name="T23" fmla="*/ 128 h 451"/>
              <a:gd name="T24" fmla="*/ 558 w 717"/>
              <a:gd name="T25" fmla="*/ 145 h 451"/>
              <a:gd name="T26" fmla="*/ 554 w 717"/>
              <a:gd name="T27" fmla="*/ 145 h 451"/>
              <a:gd name="T28" fmla="*/ 528 w 717"/>
              <a:gd name="T29" fmla="*/ 139 h 451"/>
              <a:gd name="T30" fmla="*/ 515 w 717"/>
              <a:gd name="T31" fmla="*/ 147 h 451"/>
              <a:gd name="T32" fmla="*/ 483 w 717"/>
              <a:gd name="T33" fmla="*/ 160 h 451"/>
              <a:gd name="T34" fmla="*/ 476 w 717"/>
              <a:gd name="T35" fmla="*/ 156 h 451"/>
              <a:gd name="T36" fmla="*/ 459 w 717"/>
              <a:gd name="T37" fmla="*/ 157 h 451"/>
              <a:gd name="T38" fmla="*/ 453 w 717"/>
              <a:gd name="T39" fmla="*/ 183 h 451"/>
              <a:gd name="T40" fmla="*/ 451 w 717"/>
              <a:gd name="T41" fmla="*/ 186 h 451"/>
              <a:gd name="T42" fmla="*/ 426 w 717"/>
              <a:gd name="T43" fmla="*/ 197 h 451"/>
              <a:gd name="T44" fmla="*/ 422 w 717"/>
              <a:gd name="T45" fmla="*/ 211 h 451"/>
              <a:gd name="T46" fmla="*/ 405 w 717"/>
              <a:gd name="T47" fmla="*/ 241 h 451"/>
              <a:gd name="T48" fmla="*/ 396 w 717"/>
              <a:gd name="T49" fmla="*/ 242 h 451"/>
              <a:gd name="T50" fmla="*/ 383 w 717"/>
              <a:gd name="T51" fmla="*/ 249 h 451"/>
              <a:gd name="T52" fmla="*/ 377 w 717"/>
              <a:gd name="T53" fmla="*/ 275 h 451"/>
              <a:gd name="T54" fmla="*/ 374 w 717"/>
              <a:gd name="T55" fmla="*/ 278 h 451"/>
              <a:gd name="T56" fmla="*/ 350 w 717"/>
              <a:gd name="T57" fmla="*/ 289 h 451"/>
              <a:gd name="T58" fmla="*/ 341 w 717"/>
              <a:gd name="T59" fmla="*/ 290 h 451"/>
              <a:gd name="T60" fmla="*/ 306 w 717"/>
              <a:gd name="T61" fmla="*/ 289 h 451"/>
              <a:gd name="T62" fmla="*/ 302 w 717"/>
              <a:gd name="T63" fmla="*/ 282 h 451"/>
              <a:gd name="T64" fmla="*/ 289 w 717"/>
              <a:gd name="T65" fmla="*/ 273 h 451"/>
              <a:gd name="T66" fmla="*/ 263 w 717"/>
              <a:gd name="T67" fmla="*/ 280 h 451"/>
              <a:gd name="T68" fmla="*/ 259 w 717"/>
              <a:gd name="T69" fmla="*/ 279 h 451"/>
              <a:gd name="T70" fmla="*/ 234 w 717"/>
              <a:gd name="T71" fmla="*/ 267 h 451"/>
              <a:gd name="T72" fmla="*/ 227 w 717"/>
              <a:gd name="T73" fmla="*/ 280 h 451"/>
              <a:gd name="T74" fmla="*/ 203 w 717"/>
              <a:gd name="T75" fmla="*/ 306 h 451"/>
              <a:gd name="T76" fmla="*/ 195 w 717"/>
              <a:gd name="T77" fmla="*/ 304 h 451"/>
              <a:gd name="T78" fmla="*/ 180 w 717"/>
              <a:gd name="T79" fmla="*/ 308 h 451"/>
              <a:gd name="T80" fmla="*/ 168 w 717"/>
              <a:gd name="T81" fmla="*/ 332 h 451"/>
              <a:gd name="T82" fmla="*/ 164 w 717"/>
              <a:gd name="T83" fmla="*/ 334 h 451"/>
              <a:gd name="T84" fmla="*/ 138 w 717"/>
              <a:gd name="T85" fmla="*/ 339 h 451"/>
              <a:gd name="T86" fmla="*/ 130 w 717"/>
              <a:gd name="T87" fmla="*/ 352 h 451"/>
              <a:gd name="T88" fmla="*/ 107 w 717"/>
              <a:gd name="T89" fmla="*/ 377 h 451"/>
              <a:gd name="T90" fmla="*/ 98 w 717"/>
              <a:gd name="T91" fmla="*/ 376 h 451"/>
              <a:gd name="T92" fmla="*/ 83 w 717"/>
              <a:gd name="T93" fmla="*/ 379 h 451"/>
              <a:gd name="T94" fmla="*/ 71 w 717"/>
              <a:gd name="T95" fmla="*/ 403 h 451"/>
              <a:gd name="T96" fmla="*/ 68 w 717"/>
              <a:gd name="T97" fmla="*/ 406 h 451"/>
              <a:gd name="T98" fmla="*/ 42 w 717"/>
              <a:gd name="T99" fmla="*/ 410 h 451"/>
              <a:gd name="T100" fmla="*/ 34 w 717"/>
              <a:gd name="T101" fmla="*/ 424 h 451"/>
              <a:gd name="T102" fmla="*/ 10 w 717"/>
              <a:gd name="T103" fmla="*/ 449 h 451"/>
              <a:gd name="T104" fmla="*/ 2 w 717"/>
              <a:gd name="T105" fmla="*/ 447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7" h="451">
                <a:moveTo>
                  <a:pt x="713" y="14"/>
                </a:moveTo>
                <a:cubicBezTo>
                  <a:pt x="715" y="11"/>
                  <a:pt x="715" y="11"/>
                  <a:pt x="715" y="11"/>
                </a:cubicBezTo>
                <a:cubicBezTo>
                  <a:pt x="717" y="8"/>
                  <a:pt x="717" y="4"/>
                  <a:pt x="714" y="2"/>
                </a:cubicBezTo>
                <a:cubicBezTo>
                  <a:pt x="711" y="0"/>
                  <a:pt x="708" y="1"/>
                  <a:pt x="706" y="4"/>
                </a:cubicBezTo>
                <a:cubicBezTo>
                  <a:pt x="703" y="7"/>
                  <a:pt x="703" y="7"/>
                  <a:pt x="703" y="7"/>
                </a:cubicBezTo>
                <a:cubicBezTo>
                  <a:pt x="701" y="10"/>
                  <a:pt x="702" y="14"/>
                  <a:pt x="705" y="15"/>
                </a:cubicBezTo>
                <a:cubicBezTo>
                  <a:pt x="707" y="17"/>
                  <a:pt x="711" y="17"/>
                  <a:pt x="713" y="14"/>
                </a:cubicBezTo>
                <a:close/>
                <a:moveTo>
                  <a:pt x="699" y="34"/>
                </a:moveTo>
                <a:cubicBezTo>
                  <a:pt x="702" y="30"/>
                  <a:pt x="702" y="30"/>
                  <a:pt x="702" y="30"/>
                </a:cubicBezTo>
                <a:cubicBezTo>
                  <a:pt x="704" y="28"/>
                  <a:pt x="703" y="24"/>
                  <a:pt x="700" y="22"/>
                </a:cubicBezTo>
                <a:cubicBezTo>
                  <a:pt x="697" y="20"/>
                  <a:pt x="694" y="21"/>
                  <a:pt x="692" y="23"/>
                </a:cubicBezTo>
                <a:cubicBezTo>
                  <a:pt x="690" y="27"/>
                  <a:pt x="690" y="27"/>
                  <a:pt x="690" y="27"/>
                </a:cubicBezTo>
                <a:cubicBezTo>
                  <a:pt x="688" y="29"/>
                  <a:pt x="688" y="33"/>
                  <a:pt x="691" y="35"/>
                </a:cubicBezTo>
                <a:cubicBezTo>
                  <a:pt x="694" y="37"/>
                  <a:pt x="697" y="36"/>
                  <a:pt x="699" y="34"/>
                </a:cubicBezTo>
                <a:close/>
                <a:moveTo>
                  <a:pt x="686" y="53"/>
                </a:moveTo>
                <a:cubicBezTo>
                  <a:pt x="688" y="50"/>
                  <a:pt x="688" y="50"/>
                  <a:pt x="688" y="50"/>
                </a:cubicBezTo>
                <a:cubicBezTo>
                  <a:pt x="690" y="47"/>
                  <a:pt x="689" y="44"/>
                  <a:pt x="686" y="42"/>
                </a:cubicBezTo>
                <a:cubicBezTo>
                  <a:pt x="684" y="40"/>
                  <a:pt x="680" y="40"/>
                  <a:pt x="678" y="43"/>
                </a:cubicBezTo>
                <a:cubicBezTo>
                  <a:pt x="676" y="46"/>
                  <a:pt x="676" y="46"/>
                  <a:pt x="676" y="46"/>
                </a:cubicBezTo>
                <a:cubicBezTo>
                  <a:pt x="674" y="49"/>
                  <a:pt x="675" y="53"/>
                  <a:pt x="677" y="55"/>
                </a:cubicBezTo>
                <a:cubicBezTo>
                  <a:pt x="680" y="57"/>
                  <a:pt x="684" y="56"/>
                  <a:pt x="686" y="53"/>
                </a:cubicBezTo>
                <a:close/>
                <a:moveTo>
                  <a:pt x="672" y="73"/>
                </a:moveTo>
                <a:cubicBezTo>
                  <a:pt x="674" y="70"/>
                  <a:pt x="674" y="70"/>
                  <a:pt x="674" y="70"/>
                </a:cubicBezTo>
                <a:cubicBezTo>
                  <a:pt x="676" y="67"/>
                  <a:pt x="675" y="63"/>
                  <a:pt x="673" y="61"/>
                </a:cubicBezTo>
                <a:cubicBezTo>
                  <a:pt x="670" y="59"/>
                  <a:pt x="666" y="60"/>
                  <a:pt x="664" y="63"/>
                </a:cubicBezTo>
                <a:cubicBezTo>
                  <a:pt x="662" y="66"/>
                  <a:pt x="662" y="66"/>
                  <a:pt x="662" y="66"/>
                </a:cubicBezTo>
                <a:cubicBezTo>
                  <a:pt x="660" y="69"/>
                  <a:pt x="661" y="72"/>
                  <a:pt x="663" y="74"/>
                </a:cubicBezTo>
                <a:cubicBezTo>
                  <a:pt x="666" y="76"/>
                  <a:pt x="670" y="76"/>
                  <a:pt x="672" y="73"/>
                </a:cubicBezTo>
                <a:close/>
                <a:moveTo>
                  <a:pt x="658" y="93"/>
                </a:moveTo>
                <a:cubicBezTo>
                  <a:pt x="660" y="89"/>
                  <a:pt x="660" y="89"/>
                  <a:pt x="660" y="89"/>
                </a:cubicBezTo>
                <a:cubicBezTo>
                  <a:pt x="662" y="87"/>
                  <a:pt x="662" y="83"/>
                  <a:pt x="659" y="81"/>
                </a:cubicBezTo>
                <a:cubicBezTo>
                  <a:pt x="656" y="79"/>
                  <a:pt x="652" y="80"/>
                  <a:pt x="651" y="82"/>
                </a:cubicBezTo>
                <a:cubicBezTo>
                  <a:pt x="648" y="86"/>
                  <a:pt x="648" y="86"/>
                  <a:pt x="648" y="86"/>
                </a:cubicBezTo>
                <a:cubicBezTo>
                  <a:pt x="646" y="88"/>
                  <a:pt x="647" y="92"/>
                  <a:pt x="650" y="94"/>
                </a:cubicBezTo>
                <a:cubicBezTo>
                  <a:pt x="652" y="96"/>
                  <a:pt x="656" y="95"/>
                  <a:pt x="658" y="93"/>
                </a:cubicBezTo>
                <a:close/>
                <a:moveTo>
                  <a:pt x="644" y="112"/>
                </a:moveTo>
                <a:cubicBezTo>
                  <a:pt x="647" y="109"/>
                  <a:pt x="647" y="109"/>
                  <a:pt x="647" y="109"/>
                </a:cubicBezTo>
                <a:cubicBezTo>
                  <a:pt x="648" y="106"/>
                  <a:pt x="648" y="102"/>
                  <a:pt x="645" y="101"/>
                </a:cubicBezTo>
                <a:cubicBezTo>
                  <a:pt x="642" y="99"/>
                  <a:pt x="639" y="99"/>
                  <a:pt x="637" y="102"/>
                </a:cubicBezTo>
                <a:cubicBezTo>
                  <a:pt x="634" y="105"/>
                  <a:pt x="634" y="105"/>
                  <a:pt x="634" y="105"/>
                </a:cubicBezTo>
                <a:cubicBezTo>
                  <a:pt x="633" y="108"/>
                  <a:pt x="633" y="112"/>
                  <a:pt x="636" y="114"/>
                </a:cubicBezTo>
                <a:cubicBezTo>
                  <a:pt x="639" y="116"/>
                  <a:pt x="642" y="115"/>
                  <a:pt x="644" y="112"/>
                </a:cubicBezTo>
                <a:close/>
                <a:moveTo>
                  <a:pt x="624" y="131"/>
                </a:moveTo>
                <a:cubicBezTo>
                  <a:pt x="628" y="130"/>
                  <a:pt x="628" y="130"/>
                  <a:pt x="628" y="130"/>
                </a:cubicBezTo>
                <a:cubicBezTo>
                  <a:pt x="631" y="129"/>
                  <a:pt x="634" y="126"/>
                  <a:pt x="633" y="123"/>
                </a:cubicBezTo>
                <a:cubicBezTo>
                  <a:pt x="632" y="119"/>
                  <a:pt x="629" y="117"/>
                  <a:pt x="626" y="118"/>
                </a:cubicBezTo>
                <a:cubicBezTo>
                  <a:pt x="622" y="119"/>
                  <a:pt x="622" y="119"/>
                  <a:pt x="622" y="119"/>
                </a:cubicBezTo>
                <a:cubicBezTo>
                  <a:pt x="619" y="119"/>
                  <a:pt x="617" y="123"/>
                  <a:pt x="617" y="126"/>
                </a:cubicBezTo>
                <a:cubicBezTo>
                  <a:pt x="618" y="129"/>
                  <a:pt x="621" y="131"/>
                  <a:pt x="624" y="131"/>
                </a:cubicBezTo>
                <a:close/>
                <a:moveTo>
                  <a:pt x="601" y="135"/>
                </a:moveTo>
                <a:cubicBezTo>
                  <a:pt x="605" y="135"/>
                  <a:pt x="605" y="135"/>
                  <a:pt x="605" y="135"/>
                </a:cubicBezTo>
                <a:cubicBezTo>
                  <a:pt x="608" y="134"/>
                  <a:pt x="610" y="131"/>
                  <a:pt x="609" y="128"/>
                </a:cubicBezTo>
                <a:cubicBezTo>
                  <a:pt x="609" y="124"/>
                  <a:pt x="606" y="122"/>
                  <a:pt x="602" y="123"/>
                </a:cubicBezTo>
                <a:cubicBezTo>
                  <a:pt x="598" y="124"/>
                  <a:pt x="598" y="124"/>
                  <a:pt x="598" y="124"/>
                </a:cubicBezTo>
                <a:cubicBezTo>
                  <a:pt x="595" y="124"/>
                  <a:pt x="593" y="128"/>
                  <a:pt x="594" y="131"/>
                </a:cubicBezTo>
                <a:cubicBezTo>
                  <a:pt x="594" y="134"/>
                  <a:pt x="598" y="136"/>
                  <a:pt x="601" y="135"/>
                </a:cubicBezTo>
                <a:close/>
                <a:moveTo>
                  <a:pt x="577" y="140"/>
                </a:moveTo>
                <a:cubicBezTo>
                  <a:pt x="581" y="140"/>
                  <a:pt x="581" y="140"/>
                  <a:pt x="581" y="140"/>
                </a:cubicBezTo>
                <a:cubicBezTo>
                  <a:pt x="585" y="139"/>
                  <a:pt x="587" y="136"/>
                  <a:pt x="586" y="132"/>
                </a:cubicBezTo>
                <a:cubicBezTo>
                  <a:pt x="585" y="129"/>
                  <a:pt x="582" y="127"/>
                  <a:pt x="579" y="128"/>
                </a:cubicBezTo>
                <a:cubicBezTo>
                  <a:pt x="575" y="129"/>
                  <a:pt x="575" y="129"/>
                  <a:pt x="575" y="129"/>
                </a:cubicBezTo>
                <a:cubicBezTo>
                  <a:pt x="572" y="129"/>
                  <a:pt x="570" y="133"/>
                  <a:pt x="570" y="136"/>
                </a:cubicBezTo>
                <a:cubicBezTo>
                  <a:pt x="571" y="139"/>
                  <a:pt x="574" y="141"/>
                  <a:pt x="577" y="140"/>
                </a:cubicBezTo>
                <a:close/>
                <a:moveTo>
                  <a:pt x="554" y="145"/>
                </a:moveTo>
                <a:cubicBezTo>
                  <a:pt x="558" y="145"/>
                  <a:pt x="558" y="145"/>
                  <a:pt x="558" y="145"/>
                </a:cubicBezTo>
                <a:cubicBezTo>
                  <a:pt x="561" y="144"/>
                  <a:pt x="563" y="141"/>
                  <a:pt x="562" y="137"/>
                </a:cubicBezTo>
                <a:cubicBezTo>
                  <a:pt x="562" y="134"/>
                  <a:pt x="559" y="132"/>
                  <a:pt x="555" y="133"/>
                </a:cubicBezTo>
                <a:cubicBezTo>
                  <a:pt x="551" y="134"/>
                  <a:pt x="551" y="134"/>
                  <a:pt x="551" y="134"/>
                </a:cubicBezTo>
                <a:cubicBezTo>
                  <a:pt x="548" y="134"/>
                  <a:pt x="546" y="137"/>
                  <a:pt x="547" y="141"/>
                </a:cubicBezTo>
                <a:cubicBezTo>
                  <a:pt x="547" y="144"/>
                  <a:pt x="551" y="146"/>
                  <a:pt x="554" y="145"/>
                </a:cubicBezTo>
                <a:close/>
                <a:moveTo>
                  <a:pt x="530" y="150"/>
                </a:moveTo>
                <a:cubicBezTo>
                  <a:pt x="534" y="149"/>
                  <a:pt x="534" y="149"/>
                  <a:pt x="534" y="149"/>
                </a:cubicBezTo>
                <a:cubicBezTo>
                  <a:pt x="538" y="149"/>
                  <a:pt x="540" y="146"/>
                  <a:pt x="539" y="142"/>
                </a:cubicBezTo>
                <a:cubicBezTo>
                  <a:pt x="538" y="139"/>
                  <a:pt x="535" y="137"/>
                  <a:pt x="532" y="138"/>
                </a:cubicBezTo>
                <a:cubicBezTo>
                  <a:pt x="528" y="139"/>
                  <a:pt x="528" y="139"/>
                  <a:pt x="528" y="139"/>
                </a:cubicBezTo>
                <a:cubicBezTo>
                  <a:pt x="525" y="139"/>
                  <a:pt x="523" y="142"/>
                  <a:pt x="523" y="146"/>
                </a:cubicBezTo>
                <a:cubicBezTo>
                  <a:pt x="524" y="149"/>
                  <a:pt x="527" y="151"/>
                  <a:pt x="530" y="150"/>
                </a:cubicBezTo>
                <a:close/>
                <a:moveTo>
                  <a:pt x="507" y="155"/>
                </a:moveTo>
                <a:cubicBezTo>
                  <a:pt x="511" y="154"/>
                  <a:pt x="511" y="154"/>
                  <a:pt x="511" y="154"/>
                </a:cubicBezTo>
                <a:cubicBezTo>
                  <a:pt x="514" y="154"/>
                  <a:pt x="516" y="151"/>
                  <a:pt x="515" y="147"/>
                </a:cubicBezTo>
                <a:cubicBezTo>
                  <a:pt x="515" y="144"/>
                  <a:pt x="512" y="142"/>
                  <a:pt x="508" y="143"/>
                </a:cubicBezTo>
                <a:cubicBezTo>
                  <a:pt x="504" y="143"/>
                  <a:pt x="504" y="143"/>
                  <a:pt x="504" y="143"/>
                </a:cubicBezTo>
                <a:cubicBezTo>
                  <a:pt x="501" y="144"/>
                  <a:pt x="499" y="147"/>
                  <a:pt x="500" y="151"/>
                </a:cubicBezTo>
                <a:cubicBezTo>
                  <a:pt x="500" y="154"/>
                  <a:pt x="504" y="156"/>
                  <a:pt x="507" y="155"/>
                </a:cubicBezTo>
                <a:close/>
                <a:moveTo>
                  <a:pt x="483" y="160"/>
                </a:moveTo>
                <a:cubicBezTo>
                  <a:pt x="487" y="159"/>
                  <a:pt x="487" y="159"/>
                  <a:pt x="487" y="159"/>
                </a:cubicBezTo>
                <a:cubicBezTo>
                  <a:pt x="491" y="159"/>
                  <a:pt x="493" y="155"/>
                  <a:pt x="492" y="152"/>
                </a:cubicBezTo>
                <a:cubicBezTo>
                  <a:pt x="491" y="149"/>
                  <a:pt x="488" y="147"/>
                  <a:pt x="485" y="148"/>
                </a:cubicBezTo>
                <a:cubicBezTo>
                  <a:pt x="481" y="148"/>
                  <a:pt x="481" y="148"/>
                  <a:pt x="481" y="148"/>
                </a:cubicBezTo>
                <a:cubicBezTo>
                  <a:pt x="478" y="149"/>
                  <a:pt x="476" y="152"/>
                  <a:pt x="476" y="156"/>
                </a:cubicBezTo>
                <a:cubicBezTo>
                  <a:pt x="477" y="159"/>
                  <a:pt x="480" y="161"/>
                  <a:pt x="483" y="160"/>
                </a:cubicBezTo>
                <a:close/>
                <a:moveTo>
                  <a:pt x="466" y="168"/>
                </a:moveTo>
                <a:cubicBezTo>
                  <a:pt x="469" y="164"/>
                  <a:pt x="469" y="164"/>
                  <a:pt x="469" y="164"/>
                </a:cubicBezTo>
                <a:cubicBezTo>
                  <a:pt x="471" y="162"/>
                  <a:pt x="470" y="158"/>
                  <a:pt x="468" y="156"/>
                </a:cubicBezTo>
                <a:cubicBezTo>
                  <a:pt x="465" y="154"/>
                  <a:pt x="461" y="154"/>
                  <a:pt x="459" y="157"/>
                </a:cubicBezTo>
                <a:cubicBezTo>
                  <a:pt x="457" y="160"/>
                  <a:pt x="457" y="160"/>
                  <a:pt x="457" y="160"/>
                </a:cubicBezTo>
                <a:cubicBezTo>
                  <a:pt x="455" y="162"/>
                  <a:pt x="455" y="166"/>
                  <a:pt x="458" y="168"/>
                </a:cubicBezTo>
                <a:cubicBezTo>
                  <a:pt x="460" y="170"/>
                  <a:pt x="464" y="170"/>
                  <a:pt x="466" y="168"/>
                </a:cubicBezTo>
                <a:close/>
                <a:moveTo>
                  <a:pt x="451" y="186"/>
                </a:moveTo>
                <a:cubicBezTo>
                  <a:pt x="453" y="183"/>
                  <a:pt x="453" y="183"/>
                  <a:pt x="453" y="183"/>
                </a:cubicBezTo>
                <a:cubicBezTo>
                  <a:pt x="455" y="180"/>
                  <a:pt x="455" y="177"/>
                  <a:pt x="452" y="175"/>
                </a:cubicBezTo>
                <a:cubicBezTo>
                  <a:pt x="450" y="172"/>
                  <a:pt x="446" y="173"/>
                  <a:pt x="444" y="175"/>
                </a:cubicBezTo>
                <a:cubicBezTo>
                  <a:pt x="441" y="178"/>
                  <a:pt x="441" y="178"/>
                  <a:pt x="441" y="178"/>
                </a:cubicBezTo>
                <a:cubicBezTo>
                  <a:pt x="439" y="181"/>
                  <a:pt x="440" y="185"/>
                  <a:pt x="442" y="187"/>
                </a:cubicBezTo>
                <a:cubicBezTo>
                  <a:pt x="445" y="189"/>
                  <a:pt x="449" y="189"/>
                  <a:pt x="451" y="186"/>
                </a:cubicBezTo>
                <a:close/>
                <a:moveTo>
                  <a:pt x="435" y="205"/>
                </a:moveTo>
                <a:cubicBezTo>
                  <a:pt x="438" y="201"/>
                  <a:pt x="438" y="201"/>
                  <a:pt x="438" y="201"/>
                </a:cubicBezTo>
                <a:cubicBezTo>
                  <a:pt x="440" y="199"/>
                  <a:pt x="440" y="195"/>
                  <a:pt x="437" y="193"/>
                </a:cubicBezTo>
                <a:cubicBezTo>
                  <a:pt x="435" y="191"/>
                  <a:pt x="431" y="191"/>
                  <a:pt x="429" y="194"/>
                </a:cubicBezTo>
                <a:cubicBezTo>
                  <a:pt x="426" y="197"/>
                  <a:pt x="426" y="197"/>
                  <a:pt x="426" y="197"/>
                </a:cubicBezTo>
                <a:cubicBezTo>
                  <a:pt x="424" y="199"/>
                  <a:pt x="424" y="203"/>
                  <a:pt x="427" y="205"/>
                </a:cubicBezTo>
                <a:cubicBezTo>
                  <a:pt x="429" y="207"/>
                  <a:pt x="433" y="207"/>
                  <a:pt x="435" y="205"/>
                </a:cubicBezTo>
                <a:close/>
                <a:moveTo>
                  <a:pt x="420" y="223"/>
                </a:moveTo>
                <a:cubicBezTo>
                  <a:pt x="423" y="220"/>
                  <a:pt x="423" y="220"/>
                  <a:pt x="423" y="220"/>
                </a:cubicBezTo>
                <a:cubicBezTo>
                  <a:pt x="425" y="217"/>
                  <a:pt x="424" y="214"/>
                  <a:pt x="422" y="211"/>
                </a:cubicBezTo>
                <a:cubicBezTo>
                  <a:pt x="419" y="209"/>
                  <a:pt x="415" y="210"/>
                  <a:pt x="413" y="212"/>
                </a:cubicBezTo>
                <a:cubicBezTo>
                  <a:pt x="411" y="215"/>
                  <a:pt x="411" y="215"/>
                  <a:pt x="411" y="215"/>
                </a:cubicBezTo>
                <a:cubicBezTo>
                  <a:pt x="409" y="218"/>
                  <a:pt x="409" y="222"/>
                  <a:pt x="412" y="224"/>
                </a:cubicBezTo>
                <a:cubicBezTo>
                  <a:pt x="414" y="226"/>
                  <a:pt x="418" y="226"/>
                  <a:pt x="420" y="223"/>
                </a:cubicBezTo>
                <a:close/>
                <a:moveTo>
                  <a:pt x="405" y="241"/>
                </a:moveTo>
                <a:cubicBezTo>
                  <a:pt x="407" y="238"/>
                  <a:pt x="407" y="238"/>
                  <a:pt x="407" y="238"/>
                </a:cubicBezTo>
                <a:cubicBezTo>
                  <a:pt x="409" y="236"/>
                  <a:pt x="409" y="232"/>
                  <a:pt x="407" y="230"/>
                </a:cubicBezTo>
                <a:cubicBezTo>
                  <a:pt x="404" y="228"/>
                  <a:pt x="400" y="228"/>
                  <a:pt x="398" y="231"/>
                </a:cubicBezTo>
                <a:cubicBezTo>
                  <a:pt x="396" y="234"/>
                  <a:pt x="396" y="234"/>
                  <a:pt x="396" y="234"/>
                </a:cubicBezTo>
                <a:cubicBezTo>
                  <a:pt x="393" y="236"/>
                  <a:pt x="394" y="240"/>
                  <a:pt x="396" y="242"/>
                </a:cubicBezTo>
                <a:cubicBezTo>
                  <a:pt x="399" y="244"/>
                  <a:pt x="403" y="244"/>
                  <a:pt x="405" y="241"/>
                </a:cubicBezTo>
                <a:close/>
                <a:moveTo>
                  <a:pt x="389" y="260"/>
                </a:moveTo>
                <a:cubicBezTo>
                  <a:pt x="392" y="257"/>
                  <a:pt x="392" y="257"/>
                  <a:pt x="392" y="257"/>
                </a:cubicBezTo>
                <a:cubicBezTo>
                  <a:pt x="394" y="254"/>
                  <a:pt x="394" y="251"/>
                  <a:pt x="391" y="248"/>
                </a:cubicBezTo>
                <a:cubicBezTo>
                  <a:pt x="389" y="246"/>
                  <a:pt x="385" y="247"/>
                  <a:pt x="383" y="249"/>
                </a:cubicBezTo>
                <a:cubicBezTo>
                  <a:pt x="380" y="252"/>
                  <a:pt x="380" y="252"/>
                  <a:pt x="380" y="252"/>
                </a:cubicBezTo>
                <a:cubicBezTo>
                  <a:pt x="378" y="255"/>
                  <a:pt x="378" y="259"/>
                  <a:pt x="381" y="261"/>
                </a:cubicBezTo>
                <a:cubicBezTo>
                  <a:pt x="384" y="263"/>
                  <a:pt x="387" y="263"/>
                  <a:pt x="389" y="260"/>
                </a:cubicBezTo>
                <a:close/>
                <a:moveTo>
                  <a:pt x="374" y="278"/>
                </a:moveTo>
                <a:cubicBezTo>
                  <a:pt x="377" y="275"/>
                  <a:pt x="377" y="275"/>
                  <a:pt x="377" y="275"/>
                </a:cubicBezTo>
                <a:cubicBezTo>
                  <a:pt x="379" y="273"/>
                  <a:pt x="378" y="269"/>
                  <a:pt x="376" y="267"/>
                </a:cubicBezTo>
                <a:cubicBezTo>
                  <a:pt x="373" y="265"/>
                  <a:pt x="370" y="265"/>
                  <a:pt x="367" y="268"/>
                </a:cubicBezTo>
                <a:cubicBezTo>
                  <a:pt x="365" y="271"/>
                  <a:pt x="365" y="271"/>
                  <a:pt x="365" y="271"/>
                </a:cubicBezTo>
                <a:cubicBezTo>
                  <a:pt x="363" y="273"/>
                  <a:pt x="363" y="277"/>
                  <a:pt x="366" y="279"/>
                </a:cubicBezTo>
                <a:cubicBezTo>
                  <a:pt x="368" y="281"/>
                  <a:pt x="372" y="281"/>
                  <a:pt x="374" y="278"/>
                </a:cubicBezTo>
                <a:close/>
                <a:moveTo>
                  <a:pt x="359" y="297"/>
                </a:moveTo>
                <a:cubicBezTo>
                  <a:pt x="361" y="294"/>
                  <a:pt x="361" y="294"/>
                  <a:pt x="361" y="294"/>
                </a:cubicBezTo>
                <a:cubicBezTo>
                  <a:pt x="363" y="291"/>
                  <a:pt x="363" y="287"/>
                  <a:pt x="361" y="285"/>
                </a:cubicBezTo>
                <a:cubicBezTo>
                  <a:pt x="358" y="283"/>
                  <a:pt x="354" y="284"/>
                  <a:pt x="352" y="286"/>
                </a:cubicBezTo>
                <a:cubicBezTo>
                  <a:pt x="350" y="289"/>
                  <a:pt x="350" y="289"/>
                  <a:pt x="350" y="289"/>
                </a:cubicBezTo>
                <a:cubicBezTo>
                  <a:pt x="347" y="292"/>
                  <a:pt x="348" y="296"/>
                  <a:pt x="350" y="298"/>
                </a:cubicBezTo>
                <a:cubicBezTo>
                  <a:pt x="353" y="300"/>
                  <a:pt x="357" y="299"/>
                  <a:pt x="359" y="297"/>
                </a:cubicBezTo>
                <a:close/>
                <a:moveTo>
                  <a:pt x="330" y="294"/>
                </a:moveTo>
                <a:cubicBezTo>
                  <a:pt x="333" y="295"/>
                  <a:pt x="333" y="295"/>
                  <a:pt x="333" y="295"/>
                </a:cubicBezTo>
                <a:cubicBezTo>
                  <a:pt x="337" y="296"/>
                  <a:pt x="340" y="294"/>
                  <a:pt x="341" y="290"/>
                </a:cubicBezTo>
                <a:cubicBezTo>
                  <a:pt x="341" y="287"/>
                  <a:pt x="339" y="284"/>
                  <a:pt x="336" y="283"/>
                </a:cubicBezTo>
                <a:cubicBezTo>
                  <a:pt x="332" y="282"/>
                  <a:pt x="332" y="282"/>
                  <a:pt x="332" y="282"/>
                </a:cubicBezTo>
                <a:cubicBezTo>
                  <a:pt x="329" y="282"/>
                  <a:pt x="326" y="284"/>
                  <a:pt x="325" y="287"/>
                </a:cubicBezTo>
                <a:cubicBezTo>
                  <a:pt x="324" y="290"/>
                  <a:pt x="326" y="294"/>
                  <a:pt x="330" y="294"/>
                </a:cubicBezTo>
                <a:close/>
                <a:moveTo>
                  <a:pt x="306" y="289"/>
                </a:moveTo>
                <a:cubicBezTo>
                  <a:pt x="310" y="290"/>
                  <a:pt x="310" y="290"/>
                  <a:pt x="310" y="290"/>
                </a:cubicBezTo>
                <a:cubicBezTo>
                  <a:pt x="313" y="291"/>
                  <a:pt x="316" y="289"/>
                  <a:pt x="317" y="285"/>
                </a:cubicBezTo>
                <a:cubicBezTo>
                  <a:pt x="318" y="282"/>
                  <a:pt x="316" y="279"/>
                  <a:pt x="313" y="278"/>
                </a:cubicBezTo>
                <a:cubicBezTo>
                  <a:pt x="309" y="277"/>
                  <a:pt x="309" y="277"/>
                  <a:pt x="309" y="277"/>
                </a:cubicBezTo>
                <a:cubicBezTo>
                  <a:pt x="305" y="277"/>
                  <a:pt x="302" y="279"/>
                  <a:pt x="302" y="282"/>
                </a:cubicBezTo>
                <a:cubicBezTo>
                  <a:pt x="301" y="285"/>
                  <a:pt x="303" y="288"/>
                  <a:pt x="306" y="289"/>
                </a:cubicBezTo>
                <a:close/>
                <a:moveTo>
                  <a:pt x="283" y="284"/>
                </a:moveTo>
                <a:cubicBezTo>
                  <a:pt x="287" y="285"/>
                  <a:pt x="287" y="285"/>
                  <a:pt x="287" y="285"/>
                </a:cubicBezTo>
                <a:cubicBezTo>
                  <a:pt x="290" y="286"/>
                  <a:pt x="293" y="284"/>
                  <a:pt x="294" y="280"/>
                </a:cubicBezTo>
                <a:cubicBezTo>
                  <a:pt x="294" y="277"/>
                  <a:pt x="292" y="274"/>
                  <a:pt x="289" y="273"/>
                </a:cubicBezTo>
                <a:cubicBezTo>
                  <a:pt x="285" y="272"/>
                  <a:pt x="285" y="272"/>
                  <a:pt x="285" y="272"/>
                </a:cubicBezTo>
                <a:cubicBezTo>
                  <a:pt x="282" y="272"/>
                  <a:pt x="279" y="274"/>
                  <a:pt x="278" y="277"/>
                </a:cubicBezTo>
                <a:cubicBezTo>
                  <a:pt x="277" y="280"/>
                  <a:pt x="279" y="283"/>
                  <a:pt x="283" y="284"/>
                </a:cubicBezTo>
                <a:close/>
                <a:moveTo>
                  <a:pt x="259" y="279"/>
                </a:moveTo>
                <a:cubicBezTo>
                  <a:pt x="263" y="280"/>
                  <a:pt x="263" y="280"/>
                  <a:pt x="263" y="280"/>
                </a:cubicBezTo>
                <a:cubicBezTo>
                  <a:pt x="266" y="280"/>
                  <a:pt x="270" y="278"/>
                  <a:pt x="270" y="275"/>
                </a:cubicBezTo>
                <a:cubicBezTo>
                  <a:pt x="271" y="272"/>
                  <a:pt x="269" y="269"/>
                  <a:pt x="266" y="268"/>
                </a:cubicBezTo>
                <a:cubicBezTo>
                  <a:pt x="262" y="267"/>
                  <a:pt x="262" y="267"/>
                  <a:pt x="262" y="267"/>
                </a:cubicBezTo>
                <a:cubicBezTo>
                  <a:pt x="259" y="267"/>
                  <a:pt x="255" y="269"/>
                  <a:pt x="255" y="272"/>
                </a:cubicBezTo>
                <a:cubicBezTo>
                  <a:pt x="254" y="275"/>
                  <a:pt x="256" y="278"/>
                  <a:pt x="259" y="279"/>
                </a:cubicBezTo>
                <a:close/>
                <a:moveTo>
                  <a:pt x="242" y="277"/>
                </a:moveTo>
                <a:cubicBezTo>
                  <a:pt x="245" y="275"/>
                  <a:pt x="245" y="275"/>
                  <a:pt x="245" y="275"/>
                </a:cubicBezTo>
                <a:cubicBezTo>
                  <a:pt x="247" y="273"/>
                  <a:pt x="248" y="269"/>
                  <a:pt x="246" y="266"/>
                </a:cubicBezTo>
                <a:cubicBezTo>
                  <a:pt x="244" y="264"/>
                  <a:pt x="240" y="263"/>
                  <a:pt x="238" y="265"/>
                </a:cubicBezTo>
                <a:cubicBezTo>
                  <a:pt x="234" y="267"/>
                  <a:pt x="234" y="267"/>
                  <a:pt x="234" y="267"/>
                </a:cubicBezTo>
                <a:cubicBezTo>
                  <a:pt x="232" y="269"/>
                  <a:pt x="231" y="273"/>
                  <a:pt x="233" y="276"/>
                </a:cubicBezTo>
                <a:cubicBezTo>
                  <a:pt x="235" y="278"/>
                  <a:pt x="239" y="279"/>
                  <a:pt x="242" y="277"/>
                </a:cubicBezTo>
                <a:close/>
                <a:moveTo>
                  <a:pt x="222" y="291"/>
                </a:moveTo>
                <a:cubicBezTo>
                  <a:pt x="225" y="289"/>
                  <a:pt x="225" y="289"/>
                  <a:pt x="225" y="289"/>
                </a:cubicBezTo>
                <a:cubicBezTo>
                  <a:pt x="228" y="287"/>
                  <a:pt x="229" y="283"/>
                  <a:pt x="227" y="280"/>
                </a:cubicBezTo>
                <a:cubicBezTo>
                  <a:pt x="225" y="278"/>
                  <a:pt x="221" y="277"/>
                  <a:pt x="218" y="279"/>
                </a:cubicBezTo>
                <a:cubicBezTo>
                  <a:pt x="215" y="282"/>
                  <a:pt x="215" y="282"/>
                  <a:pt x="215" y="282"/>
                </a:cubicBezTo>
                <a:cubicBezTo>
                  <a:pt x="212" y="284"/>
                  <a:pt x="212" y="287"/>
                  <a:pt x="214" y="290"/>
                </a:cubicBezTo>
                <a:cubicBezTo>
                  <a:pt x="216" y="293"/>
                  <a:pt x="220" y="293"/>
                  <a:pt x="222" y="291"/>
                </a:cubicBezTo>
                <a:close/>
                <a:moveTo>
                  <a:pt x="203" y="306"/>
                </a:moveTo>
                <a:cubicBezTo>
                  <a:pt x="206" y="303"/>
                  <a:pt x="206" y="303"/>
                  <a:pt x="206" y="303"/>
                </a:cubicBezTo>
                <a:cubicBezTo>
                  <a:pt x="209" y="301"/>
                  <a:pt x="209" y="297"/>
                  <a:pt x="207" y="295"/>
                </a:cubicBezTo>
                <a:cubicBezTo>
                  <a:pt x="205" y="292"/>
                  <a:pt x="202" y="292"/>
                  <a:pt x="199" y="294"/>
                </a:cubicBezTo>
                <a:cubicBezTo>
                  <a:pt x="196" y="296"/>
                  <a:pt x="196" y="296"/>
                  <a:pt x="196" y="296"/>
                </a:cubicBezTo>
                <a:cubicBezTo>
                  <a:pt x="193" y="298"/>
                  <a:pt x="193" y="302"/>
                  <a:pt x="195" y="304"/>
                </a:cubicBezTo>
                <a:cubicBezTo>
                  <a:pt x="197" y="307"/>
                  <a:pt x="200" y="308"/>
                  <a:pt x="203" y="306"/>
                </a:cubicBezTo>
                <a:close/>
                <a:moveTo>
                  <a:pt x="184" y="320"/>
                </a:moveTo>
                <a:cubicBezTo>
                  <a:pt x="187" y="318"/>
                  <a:pt x="187" y="318"/>
                  <a:pt x="187" y="318"/>
                </a:cubicBezTo>
                <a:cubicBezTo>
                  <a:pt x="190" y="316"/>
                  <a:pt x="190" y="312"/>
                  <a:pt x="188" y="309"/>
                </a:cubicBezTo>
                <a:cubicBezTo>
                  <a:pt x="186" y="306"/>
                  <a:pt x="182" y="306"/>
                  <a:pt x="180" y="308"/>
                </a:cubicBezTo>
                <a:cubicBezTo>
                  <a:pt x="177" y="310"/>
                  <a:pt x="177" y="310"/>
                  <a:pt x="177" y="310"/>
                </a:cubicBezTo>
                <a:cubicBezTo>
                  <a:pt x="174" y="312"/>
                  <a:pt x="173" y="316"/>
                  <a:pt x="175" y="319"/>
                </a:cubicBezTo>
                <a:cubicBezTo>
                  <a:pt x="177" y="321"/>
                  <a:pt x="181" y="322"/>
                  <a:pt x="184" y="320"/>
                </a:cubicBezTo>
                <a:close/>
                <a:moveTo>
                  <a:pt x="164" y="334"/>
                </a:moveTo>
                <a:cubicBezTo>
                  <a:pt x="168" y="332"/>
                  <a:pt x="168" y="332"/>
                  <a:pt x="168" y="332"/>
                </a:cubicBezTo>
                <a:cubicBezTo>
                  <a:pt x="170" y="330"/>
                  <a:pt x="171" y="326"/>
                  <a:pt x="169" y="323"/>
                </a:cubicBezTo>
                <a:cubicBezTo>
                  <a:pt x="167" y="321"/>
                  <a:pt x="163" y="320"/>
                  <a:pt x="160" y="322"/>
                </a:cubicBezTo>
                <a:cubicBezTo>
                  <a:pt x="157" y="325"/>
                  <a:pt x="157" y="325"/>
                  <a:pt x="157" y="325"/>
                </a:cubicBezTo>
                <a:cubicBezTo>
                  <a:pt x="155" y="327"/>
                  <a:pt x="154" y="330"/>
                  <a:pt x="156" y="333"/>
                </a:cubicBezTo>
                <a:cubicBezTo>
                  <a:pt x="158" y="336"/>
                  <a:pt x="162" y="336"/>
                  <a:pt x="164" y="334"/>
                </a:cubicBezTo>
                <a:close/>
                <a:moveTo>
                  <a:pt x="145" y="349"/>
                </a:moveTo>
                <a:cubicBezTo>
                  <a:pt x="148" y="346"/>
                  <a:pt x="148" y="346"/>
                  <a:pt x="148" y="346"/>
                </a:cubicBezTo>
                <a:cubicBezTo>
                  <a:pt x="151" y="344"/>
                  <a:pt x="152" y="340"/>
                  <a:pt x="150" y="338"/>
                </a:cubicBezTo>
                <a:cubicBezTo>
                  <a:pt x="148" y="335"/>
                  <a:pt x="144" y="335"/>
                  <a:pt x="141" y="336"/>
                </a:cubicBezTo>
                <a:cubicBezTo>
                  <a:pt x="138" y="339"/>
                  <a:pt x="138" y="339"/>
                  <a:pt x="138" y="339"/>
                </a:cubicBezTo>
                <a:cubicBezTo>
                  <a:pt x="135" y="341"/>
                  <a:pt x="135" y="345"/>
                  <a:pt x="137" y="347"/>
                </a:cubicBezTo>
                <a:cubicBezTo>
                  <a:pt x="139" y="350"/>
                  <a:pt x="143" y="350"/>
                  <a:pt x="145" y="349"/>
                </a:cubicBezTo>
                <a:close/>
                <a:moveTo>
                  <a:pt x="126" y="363"/>
                </a:moveTo>
                <a:cubicBezTo>
                  <a:pt x="129" y="360"/>
                  <a:pt x="129" y="360"/>
                  <a:pt x="129" y="360"/>
                </a:cubicBezTo>
                <a:cubicBezTo>
                  <a:pt x="132" y="358"/>
                  <a:pt x="132" y="355"/>
                  <a:pt x="130" y="352"/>
                </a:cubicBezTo>
                <a:cubicBezTo>
                  <a:pt x="128" y="349"/>
                  <a:pt x="125" y="349"/>
                  <a:pt x="122" y="351"/>
                </a:cubicBezTo>
                <a:cubicBezTo>
                  <a:pt x="119" y="353"/>
                  <a:pt x="119" y="353"/>
                  <a:pt x="119" y="353"/>
                </a:cubicBezTo>
                <a:cubicBezTo>
                  <a:pt x="116" y="355"/>
                  <a:pt x="116" y="359"/>
                  <a:pt x="118" y="362"/>
                </a:cubicBezTo>
                <a:cubicBezTo>
                  <a:pt x="119" y="364"/>
                  <a:pt x="123" y="365"/>
                  <a:pt x="126" y="363"/>
                </a:cubicBezTo>
                <a:close/>
                <a:moveTo>
                  <a:pt x="107" y="377"/>
                </a:moveTo>
                <a:cubicBezTo>
                  <a:pt x="110" y="375"/>
                  <a:pt x="110" y="375"/>
                  <a:pt x="110" y="375"/>
                </a:cubicBezTo>
                <a:cubicBezTo>
                  <a:pt x="113" y="373"/>
                  <a:pt x="113" y="369"/>
                  <a:pt x="111" y="366"/>
                </a:cubicBezTo>
                <a:cubicBezTo>
                  <a:pt x="109" y="364"/>
                  <a:pt x="105" y="363"/>
                  <a:pt x="103" y="365"/>
                </a:cubicBezTo>
                <a:cubicBezTo>
                  <a:pt x="99" y="367"/>
                  <a:pt x="99" y="367"/>
                  <a:pt x="99" y="367"/>
                </a:cubicBezTo>
                <a:cubicBezTo>
                  <a:pt x="97" y="369"/>
                  <a:pt x="96" y="373"/>
                  <a:pt x="98" y="376"/>
                </a:cubicBezTo>
                <a:cubicBezTo>
                  <a:pt x="100" y="379"/>
                  <a:pt x="104" y="379"/>
                  <a:pt x="107" y="377"/>
                </a:cubicBezTo>
                <a:close/>
                <a:moveTo>
                  <a:pt x="87" y="391"/>
                </a:moveTo>
                <a:cubicBezTo>
                  <a:pt x="91" y="389"/>
                  <a:pt x="91" y="389"/>
                  <a:pt x="91" y="389"/>
                </a:cubicBezTo>
                <a:cubicBezTo>
                  <a:pt x="93" y="387"/>
                  <a:pt x="94" y="383"/>
                  <a:pt x="92" y="381"/>
                </a:cubicBezTo>
                <a:cubicBezTo>
                  <a:pt x="90" y="378"/>
                  <a:pt x="86" y="377"/>
                  <a:pt x="83" y="379"/>
                </a:cubicBezTo>
                <a:cubicBezTo>
                  <a:pt x="80" y="382"/>
                  <a:pt x="80" y="382"/>
                  <a:pt x="80" y="382"/>
                </a:cubicBezTo>
                <a:cubicBezTo>
                  <a:pt x="78" y="384"/>
                  <a:pt x="77" y="388"/>
                  <a:pt x="79" y="390"/>
                </a:cubicBezTo>
                <a:cubicBezTo>
                  <a:pt x="81" y="393"/>
                  <a:pt x="85" y="393"/>
                  <a:pt x="87" y="391"/>
                </a:cubicBezTo>
                <a:close/>
                <a:moveTo>
                  <a:pt x="68" y="406"/>
                </a:moveTo>
                <a:cubicBezTo>
                  <a:pt x="71" y="403"/>
                  <a:pt x="71" y="403"/>
                  <a:pt x="71" y="403"/>
                </a:cubicBezTo>
                <a:cubicBezTo>
                  <a:pt x="74" y="401"/>
                  <a:pt x="75" y="398"/>
                  <a:pt x="73" y="395"/>
                </a:cubicBezTo>
                <a:cubicBezTo>
                  <a:pt x="71" y="392"/>
                  <a:pt x="67" y="392"/>
                  <a:pt x="64" y="394"/>
                </a:cubicBezTo>
                <a:cubicBezTo>
                  <a:pt x="61" y="396"/>
                  <a:pt x="61" y="396"/>
                  <a:pt x="61" y="396"/>
                </a:cubicBezTo>
                <a:cubicBezTo>
                  <a:pt x="58" y="398"/>
                  <a:pt x="58" y="402"/>
                  <a:pt x="60" y="405"/>
                </a:cubicBezTo>
                <a:cubicBezTo>
                  <a:pt x="62" y="407"/>
                  <a:pt x="65" y="408"/>
                  <a:pt x="68" y="406"/>
                </a:cubicBezTo>
                <a:close/>
                <a:moveTo>
                  <a:pt x="49" y="420"/>
                </a:moveTo>
                <a:cubicBezTo>
                  <a:pt x="52" y="418"/>
                  <a:pt x="52" y="418"/>
                  <a:pt x="52" y="418"/>
                </a:cubicBezTo>
                <a:cubicBezTo>
                  <a:pt x="55" y="416"/>
                  <a:pt x="55" y="412"/>
                  <a:pt x="53" y="409"/>
                </a:cubicBezTo>
                <a:cubicBezTo>
                  <a:pt x="51" y="407"/>
                  <a:pt x="48" y="406"/>
                  <a:pt x="45" y="408"/>
                </a:cubicBezTo>
                <a:cubicBezTo>
                  <a:pt x="42" y="410"/>
                  <a:pt x="42" y="410"/>
                  <a:pt x="42" y="410"/>
                </a:cubicBezTo>
                <a:cubicBezTo>
                  <a:pt x="39" y="412"/>
                  <a:pt x="38" y="416"/>
                  <a:pt x="40" y="419"/>
                </a:cubicBezTo>
                <a:cubicBezTo>
                  <a:pt x="42" y="421"/>
                  <a:pt x="46" y="422"/>
                  <a:pt x="49" y="420"/>
                </a:cubicBezTo>
                <a:close/>
                <a:moveTo>
                  <a:pt x="30" y="434"/>
                </a:moveTo>
                <a:cubicBezTo>
                  <a:pt x="33" y="432"/>
                  <a:pt x="33" y="432"/>
                  <a:pt x="33" y="432"/>
                </a:cubicBezTo>
                <a:cubicBezTo>
                  <a:pt x="35" y="430"/>
                  <a:pt x="36" y="426"/>
                  <a:pt x="34" y="424"/>
                </a:cubicBezTo>
                <a:cubicBezTo>
                  <a:pt x="32" y="421"/>
                  <a:pt x="28" y="420"/>
                  <a:pt x="26" y="422"/>
                </a:cubicBezTo>
                <a:cubicBezTo>
                  <a:pt x="22" y="425"/>
                  <a:pt x="22" y="425"/>
                  <a:pt x="22" y="425"/>
                </a:cubicBezTo>
                <a:cubicBezTo>
                  <a:pt x="20" y="427"/>
                  <a:pt x="19" y="430"/>
                  <a:pt x="21" y="433"/>
                </a:cubicBezTo>
                <a:cubicBezTo>
                  <a:pt x="23" y="436"/>
                  <a:pt x="27" y="436"/>
                  <a:pt x="30" y="434"/>
                </a:cubicBezTo>
                <a:close/>
                <a:moveTo>
                  <a:pt x="10" y="449"/>
                </a:moveTo>
                <a:cubicBezTo>
                  <a:pt x="13" y="446"/>
                  <a:pt x="13" y="446"/>
                  <a:pt x="13" y="446"/>
                </a:cubicBezTo>
                <a:cubicBezTo>
                  <a:pt x="16" y="444"/>
                  <a:pt x="17" y="441"/>
                  <a:pt x="15" y="438"/>
                </a:cubicBezTo>
                <a:cubicBezTo>
                  <a:pt x="13" y="435"/>
                  <a:pt x="9" y="435"/>
                  <a:pt x="6" y="437"/>
                </a:cubicBezTo>
                <a:cubicBezTo>
                  <a:pt x="3" y="439"/>
                  <a:pt x="3" y="439"/>
                  <a:pt x="3" y="439"/>
                </a:cubicBezTo>
                <a:cubicBezTo>
                  <a:pt x="0" y="441"/>
                  <a:pt x="0" y="445"/>
                  <a:pt x="2" y="447"/>
                </a:cubicBezTo>
                <a:cubicBezTo>
                  <a:pt x="4" y="450"/>
                  <a:pt x="8" y="451"/>
                  <a:pt x="10" y="449"/>
                </a:cubicBez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51"/>
          <p:cNvSpPr>
            <a:spLocks/>
          </p:cNvSpPr>
          <p:nvPr/>
        </p:nvSpPr>
        <p:spPr bwMode="auto">
          <a:xfrm>
            <a:off x="6929079" y="3586037"/>
            <a:ext cx="148800" cy="148800"/>
          </a:xfrm>
          <a:custGeom>
            <a:avLst/>
            <a:gdLst>
              <a:gd name="T0" fmla="*/ 46 w 62"/>
              <a:gd name="T1" fmla="*/ 54 h 62"/>
              <a:gd name="T2" fmla="*/ 8 w 62"/>
              <a:gd name="T3" fmla="*/ 45 h 62"/>
              <a:gd name="T4" fmla="*/ 17 w 62"/>
              <a:gd name="T5" fmla="*/ 8 h 62"/>
              <a:gd name="T6" fmla="*/ 54 w 62"/>
              <a:gd name="T7" fmla="*/ 16 h 62"/>
              <a:gd name="T8" fmla="*/ 46 w 62"/>
              <a:gd name="T9" fmla="*/ 54 h 62"/>
            </a:gdLst>
            <a:ahLst/>
            <a:cxnLst>
              <a:cxn ang="0">
                <a:pos x="T0" y="T1"/>
              </a:cxn>
              <a:cxn ang="0">
                <a:pos x="T2" y="T3"/>
              </a:cxn>
              <a:cxn ang="0">
                <a:pos x="T4" y="T5"/>
              </a:cxn>
              <a:cxn ang="0">
                <a:pos x="T6" y="T7"/>
              </a:cxn>
              <a:cxn ang="0">
                <a:pos x="T8" y="T9"/>
              </a:cxn>
            </a:cxnLst>
            <a:rect l="0" t="0" r="r" b="b"/>
            <a:pathLst>
              <a:path w="62" h="62">
                <a:moveTo>
                  <a:pt x="46" y="54"/>
                </a:moveTo>
                <a:cubicBezTo>
                  <a:pt x="33" y="62"/>
                  <a:pt x="16" y="58"/>
                  <a:pt x="8" y="45"/>
                </a:cubicBezTo>
                <a:cubicBezTo>
                  <a:pt x="0" y="33"/>
                  <a:pt x="4" y="16"/>
                  <a:pt x="17" y="8"/>
                </a:cubicBezTo>
                <a:cubicBezTo>
                  <a:pt x="29" y="0"/>
                  <a:pt x="46" y="4"/>
                  <a:pt x="54" y="16"/>
                </a:cubicBezTo>
                <a:cubicBezTo>
                  <a:pt x="62" y="29"/>
                  <a:pt x="58" y="46"/>
                  <a:pt x="46"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52"/>
          <p:cNvSpPr>
            <a:spLocks/>
          </p:cNvSpPr>
          <p:nvPr/>
        </p:nvSpPr>
        <p:spPr bwMode="auto">
          <a:xfrm>
            <a:off x="6929079" y="3586037"/>
            <a:ext cx="148800" cy="148800"/>
          </a:xfrm>
          <a:custGeom>
            <a:avLst/>
            <a:gdLst>
              <a:gd name="T0" fmla="*/ 46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3" y="50"/>
                  <a:pt x="43" y="50"/>
                  <a:pt x="43" y="50"/>
                </a:cubicBezTo>
                <a:cubicBezTo>
                  <a:pt x="40" y="53"/>
                  <a:pt x="35" y="54"/>
                  <a:pt x="31" y="54"/>
                </a:cubicBezTo>
                <a:cubicBezTo>
                  <a:pt x="24" y="54"/>
                  <a:pt x="16" y="50"/>
                  <a:pt x="12" y="43"/>
                </a:cubicBezTo>
                <a:cubicBezTo>
                  <a:pt x="9" y="39"/>
                  <a:pt x="8" y="35"/>
                  <a:pt x="8" y="31"/>
                </a:cubicBezTo>
                <a:cubicBezTo>
                  <a:pt x="8" y="23"/>
                  <a:pt x="12" y="16"/>
                  <a:pt x="19" y="12"/>
                </a:cubicBezTo>
                <a:cubicBezTo>
                  <a:pt x="23" y="9"/>
                  <a:pt x="27" y="8"/>
                  <a:pt x="31" y="8"/>
                </a:cubicBezTo>
                <a:cubicBezTo>
                  <a:pt x="39" y="8"/>
                  <a:pt x="46" y="12"/>
                  <a:pt x="50" y="19"/>
                </a:cubicBezTo>
                <a:cubicBezTo>
                  <a:pt x="53" y="22"/>
                  <a:pt x="54" y="27"/>
                  <a:pt x="54" y="31"/>
                </a:cubicBezTo>
                <a:cubicBezTo>
                  <a:pt x="54" y="38"/>
                  <a:pt x="50" y="46"/>
                  <a:pt x="43" y="50"/>
                </a:cubicBezTo>
                <a:cubicBezTo>
                  <a:pt x="46" y="54"/>
                  <a:pt x="46" y="54"/>
                  <a:pt x="46" y="54"/>
                </a:cubicBezTo>
                <a:cubicBezTo>
                  <a:pt x="48" y="57"/>
                  <a:pt x="48" y="57"/>
                  <a:pt x="48" y="57"/>
                </a:cubicBezTo>
                <a:cubicBezTo>
                  <a:pt x="57" y="51"/>
                  <a:pt x="62" y="41"/>
                  <a:pt x="62" y="31"/>
                </a:cubicBezTo>
                <a:cubicBezTo>
                  <a:pt x="62" y="25"/>
                  <a:pt x="60" y="19"/>
                  <a:pt x="57" y="14"/>
                </a:cubicBezTo>
                <a:cubicBezTo>
                  <a:pt x="51" y="5"/>
                  <a:pt x="41" y="0"/>
                  <a:pt x="31" y="0"/>
                </a:cubicBezTo>
                <a:cubicBezTo>
                  <a:pt x="25" y="0"/>
                  <a:pt x="20" y="2"/>
                  <a:pt x="15" y="5"/>
                </a:cubicBezTo>
                <a:cubicBezTo>
                  <a:pt x="5" y="11"/>
                  <a:pt x="0" y="21"/>
                  <a:pt x="0" y="31"/>
                </a:cubicBezTo>
                <a:cubicBezTo>
                  <a:pt x="0" y="37"/>
                  <a:pt x="2" y="42"/>
                  <a:pt x="5" y="47"/>
                </a:cubicBezTo>
                <a:cubicBezTo>
                  <a:pt x="11" y="57"/>
                  <a:pt x="21" y="62"/>
                  <a:pt x="31" y="62"/>
                </a:cubicBezTo>
                <a:cubicBezTo>
                  <a:pt x="37" y="62"/>
                  <a:pt x="43" y="60"/>
                  <a:pt x="48" y="57"/>
                </a:cubicBezTo>
                <a:lnTo>
                  <a:pt x="46" y="54"/>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53"/>
          <p:cNvSpPr>
            <a:spLocks/>
          </p:cNvSpPr>
          <p:nvPr/>
        </p:nvSpPr>
        <p:spPr bwMode="auto">
          <a:xfrm>
            <a:off x="6033242" y="397069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9"/>
                  <a:pt x="58"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54"/>
          <p:cNvSpPr>
            <a:spLocks/>
          </p:cNvSpPr>
          <p:nvPr/>
        </p:nvSpPr>
        <p:spPr bwMode="auto">
          <a:xfrm>
            <a:off x="6033242" y="3970690"/>
            <a:ext cx="148800" cy="146776"/>
          </a:xfrm>
          <a:custGeom>
            <a:avLst/>
            <a:gdLst>
              <a:gd name="T0" fmla="*/ 45 w 62"/>
              <a:gd name="T1" fmla="*/ 53 h 61"/>
              <a:gd name="T2" fmla="*/ 43 w 62"/>
              <a:gd name="T3" fmla="*/ 50 h 61"/>
              <a:gd name="T4" fmla="*/ 31 w 62"/>
              <a:gd name="T5" fmla="*/ 53 h 61"/>
              <a:gd name="T6" fmla="*/ 11 w 62"/>
              <a:gd name="T7" fmla="*/ 43 h 61"/>
              <a:gd name="T8" fmla="*/ 8 w 62"/>
              <a:gd name="T9" fmla="*/ 30 h 61"/>
              <a:gd name="T10" fmla="*/ 18 w 62"/>
              <a:gd name="T11" fmla="*/ 11 h 61"/>
              <a:gd name="T12" fmla="*/ 31 w 62"/>
              <a:gd name="T13" fmla="*/ 8 h 61"/>
              <a:gd name="T14" fmla="*/ 50 w 62"/>
              <a:gd name="T15" fmla="*/ 18 h 61"/>
              <a:gd name="T16" fmla="*/ 54 w 62"/>
              <a:gd name="T17" fmla="*/ 30 h 61"/>
              <a:gd name="T18" fmla="*/ 43 w 62"/>
              <a:gd name="T19" fmla="*/ 50 h 61"/>
              <a:gd name="T20" fmla="*/ 45 w 62"/>
              <a:gd name="T21" fmla="*/ 53 h 61"/>
              <a:gd name="T22" fmla="*/ 47 w 62"/>
              <a:gd name="T23" fmla="*/ 56 h 61"/>
              <a:gd name="T24" fmla="*/ 62 w 62"/>
              <a:gd name="T25" fmla="*/ 30 h 61"/>
              <a:gd name="T26" fmla="*/ 57 w 62"/>
              <a:gd name="T27" fmla="*/ 14 h 61"/>
              <a:gd name="T28" fmla="*/ 31 w 62"/>
              <a:gd name="T29" fmla="*/ 0 h 61"/>
              <a:gd name="T30" fmla="*/ 14 w 62"/>
              <a:gd name="T31" fmla="*/ 4 h 61"/>
              <a:gd name="T32" fmla="*/ 0 w 62"/>
              <a:gd name="T33" fmla="*/ 30 h 61"/>
              <a:gd name="T34" fmla="*/ 5 w 62"/>
              <a:gd name="T35" fmla="*/ 47 h 61"/>
              <a:gd name="T36" fmla="*/ 31 w 62"/>
              <a:gd name="T37" fmla="*/ 61 h 61"/>
              <a:gd name="T38" fmla="*/ 47 w 62"/>
              <a:gd name="T39" fmla="*/ 56 h 61"/>
              <a:gd name="T40" fmla="*/ 45 w 62"/>
              <a:gd name="T41" fmla="*/ 5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1">
                <a:moveTo>
                  <a:pt x="45" y="53"/>
                </a:moveTo>
                <a:cubicBezTo>
                  <a:pt x="43" y="50"/>
                  <a:pt x="43" y="50"/>
                  <a:pt x="43" y="50"/>
                </a:cubicBezTo>
                <a:cubicBezTo>
                  <a:pt x="39" y="52"/>
                  <a:pt x="35" y="53"/>
                  <a:pt x="31" y="53"/>
                </a:cubicBezTo>
                <a:cubicBezTo>
                  <a:pt x="23" y="53"/>
                  <a:pt x="16" y="50"/>
                  <a:pt x="11" y="43"/>
                </a:cubicBezTo>
                <a:cubicBezTo>
                  <a:pt x="9" y="39"/>
                  <a:pt x="8" y="35"/>
                  <a:pt x="8" y="30"/>
                </a:cubicBezTo>
                <a:cubicBezTo>
                  <a:pt x="8" y="23"/>
                  <a:pt x="12" y="15"/>
                  <a:pt x="18" y="11"/>
                </a:cubicBezTo>
                <a:cubicBezTo>
                  <a:pt x="22" y="9"/>
                  <a:pt x="27" y="8"/>
                  <a:pt x="31" y="8"/>
                </a:cubicBezTo>
                <a:cubicBezTo>
                  <a:pt x="38" y="8"/>
                  <a:pt x="46" y="11"/>
                  <a:pt x="50" y="18"/>
                </a:cubicBezTo>
                <a:cubicBezTo>
                  <a:pt x="53" y="22"/>
                  <a:pt x="54" y="26"/>
                  <a:pt x="54" y="30"/>
                </a:cubicBezTo>
                <a:cubicBezTo>
                  <a:pt x="54" y="38"/>
                  <a:pt x="50" y="45"/>
                  <a:pt x="43" y="50"/>
                </a:cubicBezTo>
                <a:cubicBezTo>
                  <a:pt x="45" y="53"/>
                  <a:pt x="45" y="53"/>
                  <a:pt x="45" y="53"/>
                </a:cubicBezTo>
                <a:cubicBezTo>
                  <a:pt x="47" y="56"/>
                  <a:pt x="47" y="56"/>
                  <a:pt x="47" y="56"/>
                </a:cubicBezTo>
                <a:cubicBezTo>
                  <a:pt x="57" y="51"/>
                  <a:pt x="62" y="41"/>
                  <a:pt x="62" y="30"/>
                </a:cubicBezTo>
                <a:cubicBezTo>
                  <a:pt x="62" y="25"/>
                  <a:pt x="60" y="19"/>
                  <a:pt x="57" y="14"/>
                </a:cubicBezTo>
                <a:cubicBezTo>
                  <a:pt x="51" y="5"/>
                  <a:pt x="41" y="0"/>
                  <a:pt x="31" y="0"/>
                </a:cubicBezTo>
                <a:cubicBezTo>
                  <a:pt x="25" y="0"/>
                  <a:pt x="19" y="1"/>
                  <a:pt x="14" y="4"/>
                </a:cubicBezTo>
                <a:cubicBezTo>
                  <a:pt x="5" y="10"/>
                  <a:pt x="0" y="20"/>
                  <a:pt x="0" y="30"/>
                </a:cubicBezTo>
                <a:cubicBezTo>
                  <a:pt x="0" y="36"/>
                  <a:pt x="1" y="42"/>
                  <a:pt x="5" y="47"/>
                </a:cubicBezTo>
                <a:cubicBezTo>
                  <a:pt x="11" y="56"/>
                  <a:pt x="21" y="61"/>
                  <a:pt x="31" y="61"/>
                </a:cubicBezTo>
                <a:cubicBezTo>
                  <a:pt x="36" y="61"/>
                  <a:pt x="42" y="60"/>
                  <a:pt x="47" y="56"/>
                </a:cubicBezTo>
                <a:lnTo>
                  <a:pt x="45" y="53"/>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55"/>
          <p:cNvSpPr>
            <a:spLocks/>
          </p:cNvSpPr>
          <p:nvPr/>
        </p:nvSpPr>
        <p:spPr bwMode="auto">
          <a:xfrm>
            <a:off x="7592101" y="3204420"/>
            <a:ext cx="98188" cy="101225"/>
          </a:xfrm>
          <a:custGeom>
            <a:avLst/>
            <a:gdLst>
              <a:gd name="T0" fmla="*/ 30 w 41"/>
              <a:gd name="T1" fmla="*/ 36 h 42"/>
              <a:gd name="T2" fmla="*/ 5 w 41"/>
              <a:gd name="T3" fmla="*/ 31 h 42"/>
              <a:gd name="T4" fmla="*/ 11 w 41"/>
              <a:gd name="T5" fmla="*/ 5 h 42"/>
              <a:gd name="T6" fmla="*/ 36 w 41"/>
              <a:gd name="T7" fmla="*/ 11 h 42"/>
              <a:gd name="T8" fmla="*/ 30 w 41"/>
              <a:gd name="T9" fmla="*/ 36 h 42"/>
            </a:gdLst>
            <a:ahLst/>
            <a:cxnLst>
              <a:cxn ang="0">
                <a:pos x="T0" y="T1"/>
              </a:cxn>
              <a:cxn ang="0">
                <a:pos x="T2" y="T3"/>
              </a:cxn>
              <a:cxn ang="0">
                <a:pos x="T4" y="T5"/>
              </a:cxn>
              <a:cxn ang="0">
                <a:pos x="T6" y="T7"/>
              </a:cxn>
              <a:cxn ang="0">
                <a:pos x="T8" y="T9"/>
              </a:cxn>
            </a:cxnLst>
            <a:rect l="0" t="0" r="r" b="b"/>
            <a:pathLst>
              <a:path w="41" h="42">
                <a:moveTo>
                  <a:pt x="30" y="36"/>
                </a:moveTo>
                <a:cubicBezTo>
                  <a:pt x="22" y="42"/>
                  <a:pt x="10" y="39"/>
                  <a:pt x="5" y="31"/>
                </a:cubicBezTo>
                <a:cubicBezTo>
                  <a:pt x="0" y="22"/>
                  <a:pt x="2" y="11"/>
                  <a:pt x="11" y="5"/>
                </a:cubicBezTo>
                <a:cubicBezTo>
                  <a:pt x="19" y="0"/>
                  <a:pt x="30" y="2"/>
                  <a:pt x="36" y="11"/>
                </a:cubicBezTo>
                <a:cubicBezTo>
                  <a:pt x="41" y="19"/>
                  <a:pt x="39" y="31"/>
                  <a:pt x="30"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56"/>
          <p:cNvSpPr>
            <a:spLocks/>
          </p:cNvSpPr>
          <p:nvPr/>
        </p:nvSpPr>
        <p:spPr bwMode="auto">
          <a:xfrm>
            <a:off x="7587039" y="3199359"/>
            <a:ext cx="108310" cy="108310"/>
          </a:xfrm>
          <a:custGeom>
            <a:avLst/>
            <a:gdLst>
              <a:gd name="T0" fmla="*/ 32 w 45"/>
              <a:gd name="T1" fmla="*/ 38 h 45"/>
              <a:gd name="T2" fmla="*/ 30 w 45"/>
              <a:gd name="T3" fmla="*/ 35 h 45"/>
              <a:gd name="T4" fmla="*/ 22 w 45"/>
              <a:gd name="T5" fmla="*/ 37 h 45"/>
              <a:gd name="T6" fmla="*/ 10 w 45"/>
              <a:gd name="T7" fmla="*/ 30 h 45"/>
              <a:gd name="T8" fmla="*/ 8 w 45"/>
              <a:gd name="T9" fmla="*/ 23 h 45"/>
              <a:gd name="T10" fmla="*/ 15 w 45"/>
              <a:gd name="T11" fmla="*/ 11 h 45"/>
              <a:gd name="T12" fmla="*/ 22 w 45"/>
              <a:gd name="T13" fmla="*/ 8 h 45"/>
              <a:gd name="T14" fmla="*/ 34 w 45"/>
              <a:gd name="T15" fmla="*/ 15 h 45"/>
              <a:gd name="T16" fmla="*/ 37 w 45"/>
              <a:gd name="T17" fmla="*/ 23 h 45"/>
              <a:gd name="T18" fmla="*/ 30 w 45"/>
              <a:gd name="T19" fmla="*/ 35 h 45"/>
              <a:gd name="T20" fmla="*/ 32 w 45"/>
              <a:gd name="T21" fmla="*/ 38 h 45"/>
              <a:gd name="T22" fmla="*/ 34 w 45"/>
              <a:gd name="T23" fmla="*/ 42 h 45"/>
              <a:gd name="T24" fmla="*/ 45 w 45"/>
              <a:gd name="T25" fmla="*/ 23 h 45"/>
              <a:gd name="T26" fmla="*/ 41 w 45"/>
              <a:gd name="T27" fmla="*/ 11 h 45"/>
              <a:gd name="T28" fmla="*/ 22 w 45"/>
              <a:gd name="T29" fmla="*/ 0 h 45"/>
              <a:gd name="T30" fmla="*/ 10 w 45"/>
              <a:gd name="T31" fmla="*/ 4 h 45"/>
              <a:gd name="T32" fmla="*/ 0 w 45"/>
              <a:gd name="T33" fmla="*/ 23 h 45"/>
              <a:gd name="T34" fmla="*/ 4 w 45"/>
              <a:gd name="T35" fmla="*/ 35 h 45"/>
              <a:gd name="T36" fmla="*/ 22 w 45"/>
              <a:gd name="T37" fmla="*/ 45 h 45"/>
              <a:gd name="T38" fmla="*/ 34 w 45"/>
              <a:gd name="T39" fmla="*/ 42 h 45"/>
              <a:gd name="T40" fmla="*/ 32 w 45"/>
              <a:gd name="T4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45">
                <a:moveTo>
                  <a:pt x="32" y="38"/>
                </a:moveTo>
                <a:cubicBezTo>
                  <a:pt x="30" y="35"/>
                  <a:pt x="30" y="35"/>
                  <a:pt x="30" y="35"/>
                </a:cubicBezTo>
                <a:cubicBezTo>
                  <a:pt x="28" y="36"/>
                  <a:pt x="25" y="37"/>
                  <a:pt x="22" y="37"/>
                </a:cubicBezTo>
                <a:cubicBezTo>
                  <a:pt x="18" y="37"/>
                  <a:pt x="13" y="35"/>
                  <a:pt x="10" y="30"/>
                </a:cubicBezTo>
                <a:cubicBezTo>
                  <a:pt x="9" y="28"/>
                  <a:pt x="8" y="25"/>
                  <a:pt x="8" y="23"/>
                </a:cubicBezTo>
                <a:cubicBezTo>
                  <a:pt x="8" y="18"/>
                  <a:pt x="10" y="13"/>
                  <a:pt x="15" y="11"/>
                </a:cubicBezTo>
                <a:cubicBezTo>
                  <a:pt x="17" y="9"/>
                  <a:pt x="20" y="8"/>
                  <a:pt x="22" y="8"/>
                </a:cubicBezTo>
                <a:cubicBezTo>
                  <a:pt x="27" y="9"/>
                  <a:pt x="32" y="11"/>
                  <a:pt x="34" y="15"/>
                </a:cubicBezTo>
                <a:cubicBezTo>
                  <a:pt x="36" y="17"/>
                  <a:pt x="37" y="20"/>
                  <a:pt x="37" y="23"/>
                </a:cubicBezTo>
                <a:cubicBezTo>
                  <a:pt x="37" y="27"/>
                  <a:pt x="34" y="32"/>
                  <a:pt x="30" y="35"/>
                </a:cubicBezTo>
                <a:cubicBezTo>
                  <a:pt x="32" y="38"/>
                  <a:pt x="32" y="38"/>
                  <a:pt x="32" y="38"/>
                </a:cubicBezTo>
                <a:cubicBezTo>
                  <a:pt x="34" y="42"/>
                  <a:pt x="34" y="42"/>
                  <a:pt x="34" y="42"/>
                </a:cubicBezTo>
                <a:cubicBezTo>
                  <a:pt x="41" y="37"/>
                  <a:pt x="45" y="30"/>
                  <a:pt x="45" y="23"/>
                </a:cubicBezTo>
                <a:cubicBezTo>
                  <a:pt x="45" y="19"/>
                  <a:pt x="44" y="15"/>
                  <a:pt x="41" y="11"/>
                </a:cubicBezTo>
                <a:cubicBezTo>
                  <a:pt x="37" y="4"/>
                  <a:pt x="30" y="0"/>
                  <a:pt x="22" y="0"/>
                </a:cubicBezTo>
                <a:cubicBezTo>
                  <a:pt x="18" y="0"/>
                  <a:pt x="14" y="2"/>
                  <a:pt x="10" y="4"/>
                </a:cubicBezTo>
                <a:cubicBezTo>
                  <a:pt x="4" y="8"/>
                  <a:pt x="0" y="15"/>
                  <a:pt x="0" y="23"/>
                </a:cubicBezTo>
                <a:cubicBezTo>
                  <a:pt x="0" y="27"/>
                  <a:pt x="1" y="31"/>
                  <a:pt x="4" y="35"/>
                </a:cubicBezTo>
                <a:cubicBezTo>
                  <a:pt x="8" y="41"/>
                  <a:pt x="15" y="45"/>
                  <a:pt x="22" y="45"/>
                </a:cubicBezTo>
                <a:cubicBezTo>
                  <a:pt x="27" y="45"/>
                  <a:pt x="31" y="44"/>
                  <a:pt x="34" y="42"/>
                </a:cubicBezTo>
                <a:lnTo>
                  <a:pt x="32" y="38"/>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57"/>
          <p:cNvSpPr>
            <a:spLocks/>
          </p:cNvSpPr>
          <p:nvPr/>
        </p:nvSpPr>
        <p:spPr bwMode="auto">
          <a:xfrm>
            <a:off x="2570348" y="4910054"/>
            <a:ext cx="145763"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8"/>
                  <a:pt x="58"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58"/>
          <p:cNvSpPr>
            <a:spLocks/>
          </p:cNvSpPr>
          <p:nvPr/>
        </p:nvSpPr>
        <p:spPr bwMode="auto">
          <a:xfrm>
            <a:off x="2570348" y="4908030"/>
            <a:ext cx="148800" cy="148800"/>
          </a:xfrm>
          <a:custGeom>
            <a:avLst/>
            <a:gdLst>
              <a:gd name="T0" fmla="*/ 45 w 62"/>
              <a:gd name="T1" fmla="*/ 54 h 62"/>
              <a:gd name="T2" fmla="*/ 43 w 62"/>
              <a:gd name="T3" fmla="*/ 51 h 62"/>
              <a:gd name="T4" fmla="*/ 31 w 62"/>
              <a:gd name="T5" fmla="*/ 54 h 62"/>
              <a:gd name="T6" fmla="*/ 11 w 62"/>
              <a:gd name="T7" fmla="*/ 44 h 62"/>
              <a:gd name="T8" fmla="*/ 8 w 62"/>
              <a:gd name="T9" fmla="*/ 31 h 62"/>
              <a:gd name="T10" fmla="*/ 18 w 62"/>
              <a:gd name="T11" fmla="*/ 12 h 62"/>
              <a:gd name="T12" fmla="*/ 18 w 62"/>
              <a:gd name="T13" fmla="*/ 12 h 62"/>
              <a:gd name="T14" fmla="*/ 31 w 62"/>
              <a:gd name="T15" fmla="*/ 8 h 62"/>
              <a:gd name="T16" fmla="*/ 50 w 62"/>
              <a:gd name="T17" fmla="*/ 19 h 62"/>
              <a:gd name="T18" fmla="*/ 54 w 62"/>
              <a:gd name="T19" fmla="*/ 31 h 62"/>
              <a:gd name="T20" fmla="*/ 43 w 62"/>
              <a:gd name="T21" fmla="*/ 51 h 62"/>
              <a:gd name="T22" fmla="*/ 43 w 62"/>
              <a:gd name="T23" fmla="*/ 51 h 62"/>
              <a:gd name="T24" fmla="*/ 45 w 62"/>
              <a:gd name="T25" fmla="*/ 54 h 62"/>
              <a:gd name="T26" fmla="*/ 47 w 62"/>
              <a:gd name="T27" fmla="*/ 57 h 62"/>
              <a:gd name="T28" fmla="*/ 62 w 62"/>
              <a:gd name="T29" fmla="*/ 31 h 62"/>
              <a:gd name="T30" fmla="*/ 57 w 62"/>
              <a:gd name="T31" fmla="*/ 15 h 62"/>
              <a:gd name="T32" fmla="*/ 31 w 62"/>
              <a:gd name="T33" fmla="*/ 0 h 62"/>
              <a:gd name="T34" fmla="*/ 14 w 62"/>
              <a:gd name="T35" fmla="*/ 5 h 62"/>
              <a:gd name="T36" fmla="*/ 14 w 62"/>
              <a:gd name="T37" fmla="*/ 5 h 62"/>
              <a:gd name="T38" fmla="*/ 0 w 62"/>
              <a:gd name="T39" fmla="*/ 31 h 62"/>
              <a:gd name="T40" fmla="*/ 5 w 62"/>
              <a:gd name="T41" fmla="*/ 48 h 62"/>
              <a:gd name="T42" fmla="*/ 31 w 62"/>
              <a:gd name="T43" fmla="*/ 62 h 62"/>
              <a:gd name="T44" fmla="*/ 47 w 62"/>
              <a:gd name="T45" fmla="*/ 57 h 62"/>
              <a:gd name="T46" fmla="*/ 47 w 62"/>
              <a:gd name="T47" fmla="*/ 57 h 62"/>
              <a:gd name="T48" fmla="*/ 45 w 62"/>
              <a:gd name="T49"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2">
                <a:moveTo>
                  <a:pt x="45" y="54"/>
                </a:moveTo>
                <a:cubicBezTo>
                  <a:pt x="43" y="51"/>
                  <a:pt x="43" y="51"/>
                  <a:pt x="43" y="51"/>
                </a:cubicBezTo>
                <a:cubicBezTo>
                  <a:pt x="39" y="53"/>
                  <a:pt x="35" y="54"/>
                  <a:pt x="31" y="54"/>
                </a:cubicBezTo>
                <a:cubicBezTo>
                  <a:pt x="23" y="54"/>
                  <a:pt x="16" y="50"/>
                  <a:pt x="11" y="44"/>
                </a:cubicBezTo>
                <a:cubicBezTo>
                  <a:pt x="9" y="40"/>
                  <a:pt x="8" y="36"/>
                  <a:pt x="8" y="31"/>
                </a:cubicBezTo>
                <a:cubicBezTo>
                  <a:pt x="8" y="24"/>
                  <a:pt x="12" y="16"/>
                  <a:pt x="18" y="12"/>
                </a:cubicBezTo>
                <a:cubicBezTo>
                  <a:pt x="18" y="12"/>
                  <a:pt x="18" y="12"/>
                  <a:pt x="18" y="12"/>
                </a:cubicBezTo>
                <a:cubicBezTo>
                  <a:pt x="22" y="10"/>
                  <a:pt x="27" y="8"/>
                  <a:pt x="31" y="8"/>
                </a:cubicBezTo>
                <a:cubicBezTo>
                  <a:pt x="38" y="8"/>
                  <a:pt x="46" y="12"/>
                  <a:pt x="50" y="19"/>
                </a:cubicBezTo>
                <a:cubicBezTo>
                  <a:pt x="52" y="23"/>
                  <a:pt x="54" y="27"/>
                  <a:pt x="54" y="31"/>
                </a:cubicBezTo>
                <a:cubicBezTo>
                  <a:pt x="54" y="39"/>
                  <a:pt x="50" y="46"/>
                  <a:pt x="43" y="51"/>
                </a:cubicBezTo>
                <a:cubicBezTo>
                  <a:pt x="43" y="51"/>
                  <a:pt x="43" y="51"/>
                  <a:pt x="43" y="51"/>
                </a:cubicBezTo>
                <a:cubicBezTo>
                  <a:pt x="45" y="54"/>
                  <a:pt x="45" y="54"/>
                  <a:pt x="45" y="54"/>
                </a:cubicBezTo>
                <a:cubicBezTo>
                  <a:pt x="47" y="57"/>
                  <a:pt x="47" y="57"/>
                  <a:pt x="47" y="57"/>
                </a:cubicBezTo>
                <a:cubicBezTo>
                  <a:pt x="57" y="51"/>
                  <a:pt x="62" y="41"/>
                  <a:pt x="62" y="31"/>
                </a:cubicBezTo>
                <a:cubicBezTo>
                  <a:pt x="62" y="26"/>
                  <a:pt x="60" y="20"/>
                  <a:pt x="57" y="15"/>
                </a:cubicBezTo>
                <a:cubicBezTo>
                  <a:pt x="51" y="5"/>
                  <a:pt x="41" y="0"/>
                  <a:pt x="31" y="0"/>
                </a:cubicBezTo>
                <a:cubicBezTo>
                  <a:pt x="25" y="0"/>
                  <a:pt x="19" y="2"/>
                  <a:pt x="14" y="5"/>
                </a:cubicBezTo>
                <a:cubicBezTo>
                  <a:pt x="14" y="5"/>
                  <a:pt x="14" y="5"/>
                  <a:pt x="14" y="5"/>
                </a:cubicBezTo>
                <a:cubicBezTo>
                  <a:pt x="5" y="11"/>
                  <a:pt x="0" y="21"/>
                  <a:pt x="0" y="31"/>
                </a:cubicBezTo>
                <a:cubicBezTo>
                  <a:pt x="0" y="37"/>
                  <a:pt x="1" y="43"/>
                  <a:pt x="5" y="48"/>
                </a:cubicBezTo>
                <a:cubicBezTo>
                  <a:pt x="11" y="57"/>
                  <a:pt x="21" y="62"/>
                  <a:pt x="31" y="62"/>
                </a:cubicBezTo>
                <a:cubicBezTo>
                  <a:pt x="36" y="62"/>
                  <a:pt x="42" y="61"/>
                  <a:pt x="47" y="57"/>
                </a:cubicBezTo>
                <a:cubicBezTo>
                  <a:pt x="47" y="57"/>
                  <a:pt x="47" y="57"/>
                  <a:pt x="47" y="57"/>
                </a:cubicBezTo>
                <a:lnTo>
                  <a:pt x="45" y="54"/>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159"/>
          <p:cNvSpPr>
            <a:spLocks noChangeArrowheads="1"/>
          </p:cNvSpPr>
          <p:nvPr/>
        </p:nvSpPr>
        <p:spPr bwMode="auto">
          <a:xfrm>
            <a:off x="8001048" y="3257057"/>
            <a:ext cx="547625" cy="31086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60"/>
          <p:cNvSpPr>
            <a:spLocks noEditPoints="1"/>
          </p:cNvSpPr>
          <p:nvPr/>
        </p:nvSpPr>
        <p:spPr bwMode="auto">
          <a:xfrm>
            <a:off x="7985864" y="3242885"/>
            <a:ext cx="576980" cy="3136950"/>
          </a:xfrm>
          <a:custGeom>
            <a:avLst/>
            <a:gdLst>
              <a:gd name="T0" fmla="*/ 229 w 240"/>
              <a:gd name="T1" fmla="*/ 1278 h 1306"/>
              <a:gd name="T2" fmla="*/ 234 w 240"/>
              <a:gd name="T3" fmla="*/ 1237 h 1306"/>
              <a:gd name="T4" fmla="*/ 240 w 240"/>
              <a:gd name="T5" fmla="*/ 1184 h 1306"/>
              <a:gd name="T6" fmla="*/ 240 w 240"/>
              <a:gd name="T7" fmla="*/ 1133 h 1306"/>
              <a:gd name="T8" fmla="*/ 234 w 240"/>
              <a:gd name="T9" fmla="*/ 1081 h 1306"/>
              <a:gd name="T10" fmla="*/ 229 w 240"/>
              <a:gd name="T11" fmla="*/ 1040 h 1306"/>
              <a:gd name="T12" fmla="*/ 229 w 240"/>
              <a:gd name="T13" fmla="*/ 969 h 1306"/>
              <a:gd name="T14" fmla="*/ 229 w 240"/>
              <a:gd name="T15" fmla="*/ 927 h 1306"/>
              <a:gd name="T16" fmla="*/ 234 w 240"/>
              <a:gd name="T17" fmla="*/ 886 h 1306"/>
              <a:gd name="T18" fmla="*/ 240 w 240"/>
              <a:gd name="T19" fmla="*/ 833 h 1306"/>
              <a:gd name="T20" fmla="*/ 240 w 240"/>
              <a:gd name="T21" fmla="*/ 782 h 1306"/>
              <a:gd name="T22" fmla="*/ 234 w 240"/>
              <a:gd name="T23" fmla="*/ 730 h 1306"/>
              <a:gd name="T24" fmla="*/ 229 w 240"/>
              <a:gd name="T25" fmla="*/ 689 h 1306"/>
              <a:gd name="T26" fmla="*/ 229 w 240"/>
              <a:gd name="T27" fmla="*/ 619 h 1306"/>
              <a:gd name="T28" fmla="*/ 229 w 240"/>
              <a:gd name="T29" fmla="*/ 576 h 1306"/>
              <a:gd name="T30" fmla="*/ 234 w 240"/>
              <a:gd name="T31" fmla="*/ 535 h 1306"/>
              <a:gd name="T32" fmla="*/ 240 w 240"/>
              <a:gd name="T33" fmla="*/ 482 h 1306"/>
              <a:gd name="T34" fmla="*/ 240 w 240"/>
              <a:gd name="T35" fmla="*/ 431 h 1306"/>
              <a:gd name="T36" fmla="*/ 234 w 240"/>
              <a:gd name="T37" fmla="*/ 379 h 1306"/>
              <a:gd name="T38" fmla="*/ 229 w 240"/>
              <a:gd name="T39" fmla="*/ 338 h 1306"/>
              <a:gd name="T40" fmla="*/ 229 w 240"/>
              <a:gd name="T41" fmla="*/ 268 h 1306"/>
              <a:gd name="T42" fmla="*/ 229 w 240"/>
              <a:gd name="T43" fmla="*/ 225 h 1306"/>
              <a:gd name="T44" fmla="*/ 234 w 240"/>
              <a:gd name="T45" fmla="*/ 184 h 1306"/>
              <a:gd name="T46" fmla="*/ 240 w 240"/>
              <a:gd name="T47" fmla="*/ 131 h 1306"/>
              <a:gd name="T48" fmla="*/ 240 w 240"/>
              <a:gd name="T49" fmla="*/ 81 h 1306"/>
              <a:gd name="T50" fmla="*/ 234 w 240"/>
              <a:gd name="T51" fmla="*/ 28 h 1306"/>
              <a:gd name="T52" fmla="*/ 215 w 240"/>
              <a:gd name="T53" fmla="*/ 12 h 1306"/>
              <a:gd name="T54" fmla="*/ 145 w 240"/>
              <a:gd name="T55" fmla="*/ 12 h 1306"/>
              <a:gd name="T56" fmla="*/ 102 w 240"/>
              <a:gd name="T57" fmla="*/ 12 h 1306"/>
              <a:gd name="T58" fmla="*/ 61 w 240"/>
              <a:gd name="T59" fmla="*/ 6 h 1306"/>
              <a:gd name="T60" fmla="*/ 6 w 240"/>
              <a:gd name="T61" fmla="*/ 12 h 1306"/>
              <a:gd name="T62" fmla="*/ 6 w 240"/>
              <a:gd name="T63" fmla="*/ 37 h 1306"/>
              <a:gd name="T64" fmla="*/ 12 w 240"/>
              <a:gd name="T65" fmla="*/ 78 h 1306"/>
              <a:gd name="T66" fmla="*/ 12 w 240"/>
              <a:gd name="T67" fmla="*/ 148 h 1306"/>
              <a:gd name="T68" fmla="*/ 12 w 240"/>
              <a:gd name="T69" fmla="*/ 191 h 1306"/>
              <a:gd name="T70" fmla="*/ 6 w 240"/>
              <a:gd name="T71" fmla="*/ 232 h 1306"/>
              <a:gd name="T72" fmla="*/ 0 w 240"/>
              <a:gd name="T73" fmla="*/ 284 h 1306"/>
              <a:gd name="T74" fmla="*/ 0 w 240"/>
              <a:gd name="T75" fmla="*/ 335 h 1306"/>
              <a:gd name="T76" fmla="*/ 6 w 240"/>
              <a:gd name="T77" fmla="*/ 388 h 1306"/>
              <a:gd name="T78" fmla="*/ 12 w 240"/>
              <a:gd name="T79" fmla="*/ 429 h 1306"/>
              <a:gd name="T80" fmla="*/ 12 w 240"/>
              <a:gd name="T81" fmla="*/ 499 h 1306"/>
              <a:gd name="T82" fmla="*/ 12 w 240"/>
              <a:gd name="T83" fmla="*/ 542 h 1306"/>
              <a:gd name="T84" fmla="*/ 6 w 240"/>
              <a:gd name="T85" fmla="*/ 583 h 1306"/>
              <a:gd name="T86" fmla="*/ 0 w 240"/>
              <a:gd name="T87" fmla="*/ 635 h 1306"/>
              <a:gd name="T88" fmla="*/ 0 w 240"/>
              <a:gd name="T89" fmla="*/ 686 h 1306"/>
              <a:gd name="T90" fmla="*/ 6 w 240"/>
              <a:gd name="T91" fmla="*/ 739 h 1306"/>
              <a:gd name="T92" fmla="*/ 12 w 240"/>
              <a:gd name="T93" fmla="*/ 780 h 1306"/>
              <a:gd name="T94" fmla="*/ 12 w 240"/>
              <a:gd name="T95" fmla="*/ 850 h 1306"/>
              <a:gd name="T96" fmla="*/ 12 w 240"/>
              <a:gd name="T97" fmla="*/ 893 h 1306"/>
              <a:gd name="T98" fmla="*/ 6 w 240"/>
              <a:gd name="T99" fmla="*/ 934 h 1306"/>
              <a:gd name="T100" fmla="*/ 0 w 240"/>
              <a:gd name="T101" fmla="*/ 986 h 1306"/>
              <a:gd name="T102" fmla="*/ 0 w 240"/>
              <a:gd name="T103" fmla="*/ 1037 h 1306"/>
              <a:gd name="T104" fmla="*/ 6 w 240"/>
              <a:gd name="T105" fmla="*/ 1090 h 1306"/>
              <a:gd name="T106" fmla="*/ 12 w 240"/>
              <a:gd name="T107" fmla="*/ 1131 h 1306"/>
              <a:gd name="T108" fmla="*/ 12 w 240"/>
              <a:gd name="T109" fmla="*/ 1201 h 1306"/>
              <a:gd name="T110" fmla="*/ 12 w 240"/>
              <a:gd name="T111" fmla="*/ 1244 h 1306"/>
              <a:gd name="T112" fmla="*/ 6 w 240"/>
              <a:gd name="T113" fmla="*/ 1285 h 1306"/>
              <a:gd name="T114" fmla="*/ 43 w 240"/>
              <a:gd name="T115" fmla="*/ 1306 h 1306"/>
              <a:gd name="T116" fmla="*/ 94 w 240"/>
              <a:gd name="T117" fmla="*/ 1306 h 1306"/>
              <a:gd name="T118" fmla="*/ 147 w 240"/>
              <a:gd name="T119" fmla="*/ 1300 h 1306"/>
              <a:gd name="T120" fmla="*/ 188 w 240"/>
              <a:gd name="T121" fmla="*/ 1294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1306">
                <a:moveTo>
                  <a:pt x="229" y="1297"/>
                </a:moveTo>
                <a:cubicBezTo>
                  <a:pt x="229" y="1300"/>
                  <a:pt x="229" y="1300"/>
                  <a:pt x="229" y="1300"/>
                </a:cubicBezTo>
                <a:cubicBezTo>
                  <a:pt x="234" y="1300"/>
                  <a:pt x="234" y="1300"/>
                  <a:pt x="234" y="1300"/>
                </a:cubicBezTo>
                <a:cubicBezTo>
                  <a:pt x="234" y="1294"/>
                  <a:pt x="234" y="1294"/>
                  <a:pt x="234" y="1294"/>
                </a:cubicBezTo>
                <a:cubicBezTo>
                  <a:pt x="231" y="1294"/>
                  <a:pt x="231" y="1294"/>
                  <a:pt x="231" y="1294"/>
                </a:cubicBezTo>
                <a:cubicBezTo>
                  <a:pt x="227" y="1294"/>
                  <a:pt x="225" y="1297"/>
                  <a:pt x="225" y="1300"/>
                </a:cubicBezTo>
                <a:cubicBezTo>
                  <a:pt x="225" y="1303"/>
                  <a:pt x="227" y="1306"/>
                  <a:pt x="231" y="1306"/>
                </a:cubicBezTo>
                <a:cubicBezTo>
                  <a:pt x="234" y="1306"/>
                  <a:pt x="234" y="1306"/>
                  <a:pt x="234" y="1306"/>
                </a:cubicBezTo>
                <a:cubicBezTo>
                  <a:pt x="236" y="1306"/>
                  <a:pt x="238" y="1305"/>
                  <a:pt x="239" y="1304"/>
                </a:cubicBezTo>
                <a:cubicBezTo>
                  <a:pt x="240" y="1303"/>
                  <a:pt x="240" y="1301"/>
                  <a:pt x="240" y="1300"/>
                </a:cubicBezTo>
                <a:cubicBezTo>
                  <a:pt x="240" y="1297"/>
                  <a:pt x="240" y="1297"/>
                  <a:pt x="240" y="1297"/>
                </a:cubicBezTo>
                <a:cubicBezTo>
                  <a:pt x="240" y="1294"/>
                  <a:pt x="238" y="1291"/>
                  <a:pt x="234" y="1291"/>
                </a:cubicBezTo>
                <a:cubicBezTo>
                  <a:pt x="231" y="1291"/>
                  <a:pt x="229" y="1294"/>
                  <a:pt x="229" y="1297"/>
                </a:cubicBezTo>
                <a:close/>
                <a:moveTo>
                  <a:pt x="229" y="1274"/>
                </a:moveTo>
                <a:cubicBezTo>
                  <a:pt x="229" y="1278"/>
                  <a:pt x="229" y="1278"/>
                  <a:pt x="229" y="1278"/>
                </a:cubicBezTo>
                <a:cubicBezTo>
                  <a:pt x="229" y="1281"/>
                  <a:pt x="231" y="1283"/>
                  <a:pt x="234" y="1283"/>
                </a:cubicBezTo>
                <a:cubicBezTo>
                  <a:pt x="238" y="1283"/>
                  <a:pt x="240" y="1281"/>
                  <a:pt x="240" y="1278"/>
                </a:cubicBezTo>
                <a:cubicBezTo>
                  <a:pt x="240" y="1274"/>
                  <a:pt x="240" y="1274"/>
                  <a:pt x="240" y="1274"/>
                </a:cubicBezTo>
                <a:cubicBezTo>
                  <a:pt x="240" y="1270"/>
                  <a:pt x="238" y="1268"/>
                  <a:pt x="234" y="1268"/>
                </a:cubicBezTo>
                <a:cubicBezTo>
                  <a:pt x="231" y="1268"/>
                  <a:pt x="229" y="1270"/>
                  <a:pt x="229" y="1274"/>
                </a:cubicBezTo>
                <a:close/>
                <a:moveTo>
                  <a:pt x="229" y="1250"/>
                </a:moveTo>
                <a:cubicBezTo>
                  <a:pt x="229" y="1254"/>
                  <a:pt x="229" y="1254"/>
                  <a:pt x="229" y="1254"/>
                </a:cubicBezTo>
                <a:cubicBezTo>
                  <a:pt x="229" y="1257"/>
                  <a:pt x="231" y="1260"/>
                  <a:pt x="234" y="1260"/>
                </a:cubicBezTo>
                <a:cubicBezTo>
                  <a:pt x="238" y="1260"/>
                  <a:pt x="240" y="1257"/>
                  <a:pt x="240" y="1254"/>
                </a:cubicBezTo>
                <a:cubicBezTo>
                  <a:pt x="240" y="1250"/>
                  <a:pt x="240" y="1250"/>
                  <a:pt x="240" y="1250"/>
                </a:cubicBezTo>
                <a:cubicBezTo>
                  <a:pt x="240" y="1247"/>
                  <a:pt x="238" y="1244"/>
                  <a:pt x="234" y="1244"/>
                </a:cubicBezTo>
                <a:cubicBezTo>
                  <a:pt x="231" y="1244"/>
                  <a:pt x="229" y="1247"/>
                  <a:pt x="229" y="1250"/>
                </a:cubicBezTo>
                <a:close/>
                <a:moveTo>
                  <a:pt x="229" y="1227"/>
                </a:moveTo>
                <a:cubicBezTo>
                  <a:pt x="229" y="1231"/>
                  <a:pt x="229" y="1231"/>
                  <a:pt x="229" y="1231"/>
                </a:cubicBezTo>
                <a:cubicBezTo>
                  <a:pt x="229" y="1234"/>
                  <a:pt x="231" y="1237"/>
                  <a:pt x="234" y="1237"/>
                </a:cubicBezTo>
                <a:cubicBezTo>
                  <a:pt x="238" y="1237"/>
                  <a:pt x="240" y="1234"/>
                  <a:pt x="240" y="1231"/>
                </a:cubicBezTo>
                <a:cubicBezTo>
                  <a:pt x="240" y="1227"/>
                  <a:pt x="240" y="1227"/>
                  <a:pt x="240" y="1227"/>
                </a:cubicBezTo>
                <a:cubicBezTo>
                  <a:pt x="240" y="1224"/>
                  <a:pt x="238" y="1221"/>
                  <a:pt x="234" y="1221"/>
                </a:cubicBezTo>
                <a:cubicBezTo>
                  <a:pt x="231" y="1221"/>
                  <a:pt x="229" y="1224"/>
                  <a:pt x="229" y="1227"/>
                </a:cubicBezTo>
                <a:close/>
                <a:moveTo>
                  <a:pt x="229" y="1203"/>
                </a:moveTo>
                <a:cubicBezTo>
                  <a:pt x="229" y="1207"/>
                  <a:pt x="229" y="1207"/>
                  <a:pt x="229" y="1207"/>
                </a:cubicBezTo>
                <a:cubicBezTo>
                  <a:pt x="229" y="1211"/>
                  <a:pt x="231" y="1213"/>
                  <a:pt x="234" y="1213"/>
                </a:cubicBezTo>
                <a:cubicBezTo>
                  <a:pt x="238" y="1213"/>
                  <a:pt x="240" y="1211"/>
                  <a:pt x="240" y="1207"/>
                </a:cubicBezTo>
                <a:cubicBezTo>
                  <a:pt x="240" y="1203"/>
                  <a:pt x="240" y="1203"/>
                  <a:pt x="240" y="1203"/>
                </a:cubicBezTo>
                <a:cubicBezTo>
                  <a:pt x="240" y="1200"/>
                  <a:pt x="238" y="1198"/>
                  <a:pt x="234" y="1198"/>
                </a:cubicBezTo>
                <a:cubicBezTo>
                  <a:pt x="231" y="1198"/>
                  <a:pt x="229" y="1200"/>
                  <a:pt x="229" y="1203"/>
                </a:cubicBezTo>
                <a:close/>
                <a:moveTo>
                  <a:pt x="229" y="1180"/>
                </a:moveTo>
                <a:cubicBezTo>
                  <a:pt x="229" y="1184"/>
                  <a:pt x="229" y="1184"/>
                  <a:pt x="229" y="1184"/>
                </a:cubicBezTo>
                <a:cubicBezTo>
                  <a:pt x="229" y="1187"/>
                  <a:pt x="231" y="1190"/>
                  <a:pt x="234" y="1190"/>
                </a:cubicBezTo>
                <a:cubicBezTo>
                  <a:pt x="238" y="1190"/>
                  <a:pt x="240" y="1187"/>
                  <a:pt x="240" y="1184"/>
                </a:cubicBezTo>
                <a:cubicBezTo>
                  <a:pt x="240" y="1180"/>
                  <a:pt x="240" y="1180"/>
                  <a:pt x="240" y="1180"/>
                </a:cubicBezTo>
                <a:cubicBezTo>
                  <a:pt x="240" y="1177"/>
                  <a:pt x="238" y="1174"/>
                  <a:pt x="234" y="1174"/>
                </a:cubicBezTo>
                <a:cubicBezTo>
                  <a:pt x="231" y="1174"/>
                  <a:pt x="229" y="1177"/>
                  <a:pt x="229" y="1180"/>
                </a:cubicBezTo>
                <a:close/>
                <a:moveTo>
                  <a:pt x="229" y="1157"/>
                </a:moveTo>
                <a:cubicBezTo>
                  <a:pt x="229" y="1161"/>
                  <a:pt x="229" y="1161"/>
                  <a:pt x="229" y="1161"/>
                </a:cubicBezTo>
                <a:cubicBezTo>
                  <a:pt x="229" y="1164"/>
                  <a:pt x="231" y="1166"/>
                  <a:pt x="234" y="1166"/>
                </a:cubicBezTo>
                <a:cubicBezTo>
                  <a:pt x="238" y="1166"/>
                  <a:pt x="240" y="1164"/>
                  <a:pt x="240" y="1161"/>
                </a:cubicBezTo>
                <a:cubicBezTo>
                  <a:pt x="240" y="1157"/>
                  <a:pt x="240" y="1157"/>
                  <a:pt x="240" y="1157"/>
                </a:cubicBezTo>
                <a:cubicBezTo>
                  <a:pt x="240" y="1153"/>
                  <a:pt x="238" y="1151"/>
                  <a:pt x="234" y="1151"/>
                </a:cubicBezTo>
                <a:cubicBezTo>
                  <a:pt x="231" y="1151"/>
                  <a:pt x="229" y="1153"/>
                  <a:pt x="229" y="1157"/>
                </a:cubicBezTo>
                <a:close/>
                <a:moveTo>
                  <a:pt x="229" y="1133"/>
                </a:moveTo>
                <a:cubicBezTo>
                  <a:pt x="229" y="1137"/>
                  <a:pt x="229" y="1137"/>
                  <a:pt x="229" y="1137"/>
                </a:cubicBezTo>
                <a:cubicBezTo>
                  <a:pt x="229" y="1140"/>
                  <a:pt x="231" y="1143"/>
                  <a:pt x="234" y="1143"/>
                </a:cubicBezTo>
                <a:cubicBezTo>
                  <a:pt x="238" y="1143"/>
                  <a:pt x="240" y="1140"/>
                  <a:pt x="240" y="1137"/>
                </a:cubicBezTo>
                <a:cubicBezTo>
                  <a:pt x="240" y="1133"/>
                  <a:pt x="240" y="1133"/>
                  <a:pt x="240" y="1133"/>
                </a:cubicBezTo>
                <a:cubicBezTo>
                  <a:pt x="240" y="1130"/>
                  <a:pt x="238" y="1127"/>
                  <a:pt x="234" y="1127"/>
                </a:cubicBezTo>
                <a:cubicBezTo>
                  <a:pt x="231" y="1127"/>
                  <a:pt x="229" y="1130"/>
                  <a:pt x="229" y="1133"/>
                </a:cubicBezTo>
                <a:close/>
                <a:moveTo>
                  <a:pt x="229" y="1110"/>
                </a:moveTo>
                <a:cubicBezTo>
                  <a:pt x="229" y="1114"/>
                  <a:pt x="229" y="1114"/>
                  <a:pt x="229" y="1114"/>
                </a:cubicBezTo>
                <a:cubicBezTo>
                  <a:pt x="229" y="1117"/>
                  <a:pt x="231" y="1120"/>
                  <a:pt x="234" y="1120"/>
                </a:cubicBezTo>
                <a:cubicBezTo>
                  <a:pt x="238" y="1120"/>
                  <a:pt x="240" y="1117"/>
                  <a:pt x="240" y="1114"/>
                </a:cubicBezTo>
                <a:cubicBezTo>
                  <a:pt x="240" y="1110"/>
                  <a:pt x="240" y="1110"/>
                  <a:pt x="240" y="1110"/>
                </a:cubicBezTo>
                <a:cubicBezTo>
                  <a:pt x="240" y="1107"/>
                  <a:pt x="238" y="1104"/>
                  <a:pt x="234" y="1104"/>
                </a:cubicBezTo>
                <a:cubicBezTo>
                  <a:pt x="231" y="1104"/>
                  <a:pt x="229" y="1107"/>
                  <a:pt x="229" y="1110"/>
                </a:cubicBezTo>
                <a:close/>
                <a:moveTo>
                  <a:pt x="229" y="1086"/>
                </a:moveTo>
                <a:cubicBezTo>
                  <a:pt x="229" y="1090"/>
                  <a:pt x="229" y="1090"/>
                  <a:pt x="229" y="1090"/>
                </a:cubicBezTo>
                <a:cubicBezTo>
                  <a:pt x="229" y="1094"/>
                  <a:pt x="231" y="1096"/>
                  <a:pt x="234" y="1096"/>
                </a:cubicBezTo>
                <a:cubicBezTo>
                  <a:pt x="238" y="1096"/>
                  <a:pt x="240" y="1094"/>
                  <a:pt x="240" y="1090"/>
                </a:cubicBezTo>
                <a:cubicBezTo>
                  <a:pt x="240" y="1086"/>
                  <a:pt x="240" y="1086"/>
                  <a:pt x="240" y="1086"/>
                </a:cubicBezTo>
                <a:cubicBezTo>
                  <a:pt x="240" y="1083"/>
                  <a:pt x="238" y="1081"/>
                  <a:pt x="234" y="1081"/>
                </a:cubicBezTo>
                <a:cubicBezTo>
                  <a:pt x="231" y="1081"/>
                  <a:pt x="229" y="1083"/>
                  <a:pt x="229" y="1086"/>
                </a:cubicBezTo>
                <a:close/>
                <a:moveTo>
                  <a:pt x="229" y="1063"/>
                </a:moveTo>
                <a:cubicBezTo>
                  <a:pt x="229" y="1067"/>
                  <a:pt x="229" y="1067"/>
                  <a:pt x="229" y="1067"/>
                </a:cubicBezTo>
                <a:cubicBezTo>
                  <a:pt x="229" y="1070"/>
                  <a:pt x="231" y="1073"/>
                  <a:pt x="234" y="1073"/>
                </a:cubicBezTo>
                <a:cubicBezTo>
                  <a:pt x="238" y="1073"/>
                  <a:pt x="240" y="1070"/>
                  <a:pt x="240" y="1067"/>
                </a:cubicBezTo>
                <a:cubicBezTo>
                  <a:pt x="240" y="1063"/>
                  <a:pt x="240" y="1063"/>
                  <a:pt x="240" y="1063"/>
                </a:cubicBezTo>
                <a:cubicBezTo>
                  <a:pt x="240" y="1060"/>
                  <a:pt x="238" y="1057"/>
                  <a:pt x="234" y="1057"/>
                </a:cubicBezTo>
                <a:cubicBezTo>
                  <a:pt x="231" y="1057"/>
                  <a:pt x="229" y="1060"/>
                  <a:pt x="229" y="1063"/>
                </a:cubicBezTo>
                <a:close/>
                <a:moveTo>
                  <a:pt x="229" y="1040"/>
                </a:moveTo>
                <a:cubicBezTo>
                  <a:pt x="229" y="1044"/>
                  <a:pt x="229" y="1044"/>
                  <a:pt x="229" y="1044"/>
                </a:cubicBezTo>
                <a:cubicBezTo>
                  <a:pt x="229" y="1047"/>
                  <a:pt x="231" y="1049"/>
                  <a:pt x="234" y="1049"/>
                </a:cubicBezTo>
                <a:cubicBezTo>
                  <a:pt x="238" y="1049"/>
                  <a:pt x="240" y="1047"/>
                  <a:pt x="240" y="1044"/>
                </a:cubicBezTo>
                <a:cubicBezTo>
                  <a:pt x="240" y="1040"/>
                  <a:pt x="240" y="1040"/>
                  <a:pt x="240" y="1040"/>
                </a:cubicBezTo>
                <a:cubicBezTo>
                  <a:pt x="240" y="1036"/>
                  <a:pt x="238" y="1034"/>
                  <a:pt x="234" y="1034"/>
                </a:cubicBezTo>
                <a:cubicBezTo>
                  <a:pt x="231" y="1034"/>
                  <a:pt x="229" y="1036"/>
                  <a:pt x="229" y="1040"/>
                </a:cubicBezTo>
                <a:close/>
                <a:moveTo>
                  <a:pt x="229" y="1016"/>
                </a:moveTo>
                <a:cubicBezTo>
                  <a:pt x="229" y="1020"/>
                  <a:pt x="229" y="1020"/>
                  <a:pt x="229" y="1020"/>
                </a:cubicBezTo>
                <a:cubicBezTo>
                  <a:pt x="229" y="1023"/>
                  <a:pt x="231" y="1026"/>
                  <a:pt x="234" y="1026"/>
                </a:cubicBezTo>
                <a:cubicBezTo>
                  <a:pt x="238" y="1026"/>
                  <a:pt x="240" y="1023"/>
                  <a:pt x="240" y="1020"/>
                </a:cubicBezTo>
                <a:cubicBezTo>
                  <a:pt x="240" y="1016"/>
                  <a:pt x="240" y="1016"/>
                  <a:pt x="240" y="1016"/>
                </a:cubicBezTo>
                <a:cubicBezTo>
                  <a:pt x="240" y="1013"/>
                  <a:pt x="238" y="1010"/>
                  <a:pt x="234" y="1010"/>
                </a:cubicBezTo>
                <a:cubicBezTo>
                  <a:pt x="231" y="1010"/>
                  <a:pt x="229" y="1013"/>
                  <a:pt x="229" y="1016"/>
                </a:cubicBezTo>
                <a:close/>
                <a:moveTo>
                  <a:pt x="229" y="993"/>
                </a:moveTo>
                <a:cubicBezTo>
                  <a:pt x="229" y="997"/>
                  <a:pt x="229" y="997"/>
                  <a:pt x="229" y="997"/>
                </a:cubicBezTo>
                <a:cubicBezTo>
                  <a:pt x="229" y="1000"/>
                  <a:pt x="231" y="1003"/>
                  <a:pt x="234" y="1003"/>
                </a:cubicBezTo>
                <a:cubicBezTo>
                  <a:pt x="238" y="1003"/>
                  <a:pt x="240" y="1000"/>
                  <a:pt x="240" y="997"/>
                </a:cubicBezTo>
                <a:cubicBezTo>
                  <a:pt x="240" y="993"/>
                  <a:pt x="240" y="993"/>
                  <a:pt x="240" y="993"/>
                </a:cubicBezTo>
                <a:cubicBezTo>
                  <a:pt x="240" y="990"/>
                  <a:pt x="238" y="987"/>
                  <a:pt x="234" y="987"/>
                </a:cubicBezTo>
                <a:cubicBezTo>
                  <a:pt x="231" y="987"/>
                  <a:pt x="229" y="990"/>
                  <a:pt x="229" y="993"/>
                </a:cubicBezTo>
                <a:close/>
                <a:moveTo>
                  <a:pt x="229" y="969"/>
                </a:moveTo>
                <a:cubicBezTo>
                  <a:pt x="229" y="973"/>
                  <a:pt x="229" y="973"/>
                  <a:pt x="229" y="973"/>
                </a:cubicBezTo>
                <a:cubicBezTo>
                  <a:pt x="229" y="977"/>
                  <a:pt x="231" y="979"/>
                  <a:pt x="234" y="979"/>
                </a:cubicBezTo>
                <a:cubicBezTo>
                  <a:pt x="238" y="979"/>
                  <a:pt x="240" y="977"/>
                  <a:pt x="240" y="973"/>
                </a:cubicBezTo>
                <a:cubicBezTo>
                  <a:pt x="240" y="969"/>
                  <a:pt x="240" y="969"/>
                  <a:pt x="240" y="969"/>
                </a:cubicBezTo>
                <a:cubicBezTo>
                  <a:pt x="240" y="966"/>
                  <a:pt x="238" y="964"/>
                  <a:pt x="234" y="964"/>
                </a:cubicBezTo>
                <a:cubicBezTo>
                  <a:pt x="231" y="964"/>
                  <a:pt x="229" y="966"/>
                  <a:pt x="229" y="969"/>
                </a:cubicBezTo>
                <a:close/>
                <a:moveTo>
                  <a:pt x="229" y="946"/>
                </a:moveTo>
                <a:cubicBezTo>
                  <a:pt x="229" y="950"/>
                  <a:pt x="229" y="950"/>
                  <a:pt x="229" y="950"/>
                </a:cubicBezTo>
                <a:cubicBezTo>
                  <a:pt x="229" y="953"/>
                  <a:pt x="231" y="956"/>
                  <a:pt x="234" y="956"/>
                </a:cubicBezTo>
                <a:cubicBezTo>
                  <a:pt x="238" y="956"/>
                  <a:pt x="240" y="953"/>
                  <a:pt x="240" y="950"/>
                </a:cubicBezTo>
                <a:cubicBezTo>
                  <a:pt x="240" y="946"/>
                  <a:pt x="240" y="946"/>
                  <a:pt x="240" y="946"/>
                </a:cubicBezTo>
                <a:cubicBezTo>
                  <a:pt x="240" y="943"/>
                  <a:pt x="238" y="940"/>
                  <a:pt x="234" y="940"/>
                </a:cubicBezTo>
                <a:cubicBezTo>
                  <a:pt x="231" y="940"/>
                  <a:pt x="229" y="943"/>
                  <a:pt x="229" y="946"/>
                </a:cubicBezTo>
                <a:close/>
                <a:moveTo>
                  <a:pt x="229" y="923"/>
                </a:moveTo>
                <a:cubicBezTo>
                  <a:pt x="229" y="927"/>
                  <a:pt x="229" y="927"/>
                  <a:pt x="229" y="927"/>
                </a:cubicBezTo>
                <a:cubicBezTo>
                  <a:pt x="229" y="930"/>
                  <a:pt x="231" y="932"/>
                  <a:pt x="234" y="932"/>
                </a:cubicBezTo>
                <a:cubicBezTo>
                  <a:pt x="238" y="932"/>
                  <a:pt x="240" y="930"/>
                  <a:pt x="240" y="927"/>
                </a:cubicBezTo>
                <a:cubicBezTo>
                  <a:pt x="240" y="923"/>
                  <a:pt x="240" y="923"/>
                  <a:pt x="240" y="923"/>
                </a:cubicBezTo>
                <a:cubicBezTo>
                  <a:pt x="240" y="919"/>
                  <a:pt x="238" y="917"/>
                  <a:pt x="234" y="917"/>
                </a:cubicBezTo>
                <a:cubicBezTo>
                  <a:pt x="231" y="917"/>
                  <a:pt x="229" y="919"/>
                  <a:pt x="229" y="923"/>
                </a:cubicBezTo>
                <a:close/>
                <a:moveTo>
                  <a:pt x="229" y="899"/>
                </a:moveTo>
                <a:cubicBezTo>
                  <a:pt x="229" y="903"/>
                  <a:pt x="229" y="903"/>
                  <a:pt x="229" y="903"/>
                </a:cubicBezTo>
                <a:cubicBezTo>
                  <a:pt x="229" y="906"/>
                  <a:pt x="231" y="909"/>
                  <a:pt x="234" y="909"/>
                </a:cubicBezTo>
                <a:cubicBezTo>
                  <a:pt x="238" y="909"/>
                  <a:pt x="240" y="906"/>
                  <a:pt x="240" y="903"/>
                </a:cubicBezTo>
                <a:cubicBezTo>
                  <a:pt x="240" y="899"/>
                  <a:pt x="240" y="899"/>
                  <a:pt x="240" y="899"/>
                </a:cubicBezTo>
                <a:cubicBezTo>
                  <a:pt x="240" y="896"/>
                  <a:pt x="238" y="893"/>
                  <a:pt x="234" y="893"/>
                </a:cubicBezTo>
                <a:cubicBezTo>
                  <a:pt x="231" y="893"/>
                  <a:pt x="229" y="896"/>
                  <a:pt x="229" y="899"/>
                </a:cubicBezTo>
                <a:close/>
                <a:moveTo>
                  <a:pt x="229" y="876"/>
                </a:moveTo>
                <a:cubicBezTo>
                  <a:pt x="229" y="880"/>
                  <a:pt x="229" y="880"/>
                  <a:pt x="229" y="880"/>
                </a:cubicBezTo>
                <a:cubicBezTo>
                  <a:pt x="229" y="883"/>
                  <a:pt x="231" y="886"/>
                  <a:pt x="234" y="886"/>
                </a:cubicBezTo>
                <a:cubicBezTo>
                  <a:pt x="238" y="886"/>
                  <a:pt x="240" y="883"/>
                  <a:pt x="240" y="880"/>
                </a:cubicBezTo>
                <a:cubicBezTo>
                  <a:pt x="240" y="876"/>
                  <a:pt x="240" y="876"/>
                  <a:pt x="240" y="876"/>
                </a:cubicBezTo>
                <a:cubicBezTo>
                  <a:pt x="240" y="873"/>
                  <a:pt x="238" y="870"/>
                  <a:pt x="234" y="870"/>
                </a:cubicBezTo>
                <a:cubicBezTo>
                  <a:pt x="231" y="870"/>
                  <a:pt x="229" y="873"/>
                  <a:pt x="229" y="876"/>
                </a:cubicBezTo>
                <a:close/>
                <a:moveTo>
                  <a:pt x="229" y="853"/>
                </a:moveTo>
                <a:cubicBezTo>
                  <a:pt x="229" y="856"/>
                  <a:pt x="229" y="856"/>
                  <a:pt x="229" y="856"/>
                </a:cubicBezTo>
                <a:cubicBezTo>
                  <a:pt x="229" y="860"/>
                  <a:pt x="231" y="862"/>
                  <a:pt x="234" y="862"/>
                </a:cubicBezTo>
                <a:cubicBezTo>
                  <a:pt x="238" y="862"/>
                  <a:pt x="240" y="860"/>
                  <a:pt x="240" y="856"/>
                </a:cubicBezTo>
                <a:cubicBezTo>
                  <a:pt x="240" y="853"/>
                  <a:pt x="240" y="853"/>
                  <a:pt x="240" y="853"/>
                </a:cubicBezTo>
                <a:cubicBezTo>
                  <a:pt x="240" y="849"/>
                  <a:pt x="238" y="847"/>
                  <a:pt x="234" y="847"/>
                </a:cubicBezTo>
                <a:cubicBezTo>
                  <a:pt x="231" y="847"/>
                  <a:pt x="229" y="849"/>
                  <a:pt x="229" y="853"/>
                </a:cubicBezTo>
                <a:close/>
                <a:moveTo>
                  <a:pt x="229" y="829"/>
                </a:moveTo>
                <a:cubicBezTo>
                  <a:pt x="229" y="833"/>
                  <a:pt x="229" y="833"/>
                  <a:pt x="229" y="833"/>
                </a:cubicBezTo>
                <a:cubicBezTo>
                  <a:pt x="229" y="836"/>
                  <a:pt x="231" y="839"/>
                  <a:pt x="234" y="839"/>
                </a:cubicBezTo>
                <a:cubicBezTo>
                  <a:pt x="238" y="839"/>
                  <a:pt x="240" y="836"/>
                  <a:pt x="240" y="833"/>
                </a:cubicBezTo>
                <a:cubicBezTo>
                  <a:pt x="240" y="829"/>
                  <a:pt x="240" y="829"/>
                  <a:pt x="240" y="829"/>
                </a:cubicBezTo>
                <a:cubicBezTo>
                  <a:pt x="240" y="826"/>
                  <a:pt x="238" y="823"/>
                  <a:pt x="234" y="823"/>
                </a:cubicBezTo>
                <a:cubicBezTo>
                  <a:pt x="231" y="823"/>
                  <a:pt x="229" y="826"/>
                  <a:pt x="229" y="829"/>
                </a:cubicBezTo>
                <a:close/>
                <a:moveTo>
                  <a:pt x="229" y="806"/>
                </a:moveTo>
                <a:cubicBezTo>
                  <a:pt x="229" y="810"/>
                  <a:pt x="229" y="810"/>
                  <a:pt x="229" y="810"/>
                </a:cubicBezTo>
                <a:cubicBezTo>
                  <a:pt x="229" y="813"/>
                  <a:pt x="231" y="815"/>
                  <a:pt x="234" y="815"/>
                </a:cubicBezTo>
                <a:cubicBezTo>
                  <a:pt x="238" y="815"/>
                  <a:pt x="240" y="813"/>
                  <a:pt x="240" y="810"/>
                </a:cubicBezTo>
                <a:cubicBezTo>
                  <a:pt x="240" y="806"/>
                  <a:pt x="240" y="806"/>
                  <a:pt x="240" y="806"/>
                </a:cubicBezTo>
                <a:cubicBezTo>
                  <a:pt x="240" y="803"/>
                  <a:pt x="238" y="800"/>
                  <a:pt x="234" y="800"/>
                </a:cubicBezTo>
                <a:cubicBezTo>
                  <a:pt x="231" y="800"/>
                  <a:pt x="229" y="803"/>
                  <a:pt x="229" y="806"/>
                </a:cubicBezTo>
                <a:close/>
                <a:moveTo>
                  <a:pt x="229" y="782"/>
                </a:moveTo>
                <a:cubicBezTo>
                  <a:pt x="229" y="786"/>
                  <a:pt x="229" y="786"/>
                  <a:pt x="229" y="786"/>
                </a:cubicBezTo>
                <a:cubicBezTo>
                  <a:pt x="229" y="789"/>
                  <a:pt x="231" y="792"/>
                  <a:pt x="234" y="792"/>
                </a:cubicBezTo>
                <a:cubicBezTo>
                  <a:pt x="238" y="792"/>
                  <a:pt x="240" y="789"/>
                  <a:pt x="240" y="786"/>
                </a:cubicBezTo>
                <a:cubicBezTo>
                  <a:pt x="240" y="782"/>
                  <a:pt x="240" y="782"/>
                  <a:pt x="240" y="782"/>
                </a:cubicBezTo>
                <a:cubicBezTo>
                  <a:pt x="240" y="779"/>
                  <a:pt x="238" y="776"/>
                  <a:pt x="234" y="776"/>
                </a:cubicBezTo>
                <a:cubicBezTo>
                  <a:pt x="231" y="776"/>
                  <a:pt x="229" y="779"/>
                  <a:pt x="229" y="782"/>
                </a:cubicBezTo>
                <a:close/>
                <a:moveTo>
                  <a:pt x="229" y="759"/>
                </a:moveTo>
                <a:cubicBezTo>
                  <a:pt x="229" y="763"/>
                  <a:pt x="229" y="763"/>
                  <a:pt x="229" y="763"/>
                </a:cubicBezTo>
                <a:cubicBezTo>
                  <a:pt x="229" y="766"/>
                  <a:pt x="231" y="769"/>
                  <a:pt x="234" y="769"/>
                </a:cubicBezTo>
                <a:cubicBezTo>
                  <a:pt x="238" y="769"/>
                  <a:pt x="240" y="766"/>
                  <a:pt x="240" y="763"/>
                </a:cubicBezTo>
                <a:cubicBezTo>
                  <a:pt x="240" y="759"/>
                  <a:pt x="240" y="759"/>
                  <a:pt x="240" y="759"/>
                </a:cubicBezTo>
                <a:cubicBezTo>
                  <a:pt x="240" y="756"/>
                  <a:pt x="238" y="753"/>
                  <a:pt x="234" y="753"/>
                </a:cubicBezTo>
                <a:cubicBezTo>
                  <a:pt x="231" y="753"/>
                  <a:pt x="229" y="756"/>
                  <a:pt x="229" y="759"/>
                </a:cubicBezTo>
                <a:close/>
                <a:moveTo>
                  <a:pt x="229" y="736"/>
                </a:moveTo>
                <a:cubicBezTo>
                  <a:pt x="229" y="739"/>
                  <a:pt x="229" y="739"/>
                  <a:pt x="229" y="739"/>
                </a:cubicBezTo>
                <a:cubicBezTo>
                  <a:pt x="229" y="743"/>
                  <a:pt x="231" y="745"/>
                  <a:pt x="234" y="745"/>
                </a:cubicBezTo>
                <a:cubicBezTo>
                  <a:pt x="238" y="745"/>
                  <a:pt x="240" y="743"/>
                  <a:pt x="240" y="739"/>
                </a:cubicBezTo>
                <a:cubicBezTo>
                  <a:pt x="240" y="736"/>
                  <a:pt x="240" y="736"/>
                  <a:pt x="240" y="736"/>
                </a:cubicBezTo>
                <a:cubicBezTo>
                  <a:pt x="240" y="732"/>
                  <a:pt x="238" y="730"/>
                  <a:pt x="234" y="730"/>
                </a:cubicBezTo>
                <a:cubicBezTo>
                  <a:pt x="231" y="730"/>
                  <a:pt x="229" y="732"/>
                  <a:pt x="229" y="736"/>
                </a:cubicBezTo>
                <a:close/>
                <a:moveTo>
                  <a:pt x="229" y="712"/>
                </a:moveTo>
                <a:cubicBezTo>
                  <a:pt x="229" y="716"/>
                  <a:pt x="229" y="716"/>
                  <a:pt x="229" y="716"/>
                </a:cubicBezTo>
                <a:cubicBezTo>
                  <a:pt x="229" y="719"/>
                  <a:pt x="231" y="722"/>
                  <a:pt x="234" y="722"/>
                </a:cubicBezTo>
                <a:cubicBezTo>
                  <a:pt x="238" y="722"/>
                  <a:pt x="240" y="719"/>
                  <a:pt x="240" y="716"/>
                </a:cubicBezTo>
                <a:cubicBezTo>
                  <a:pt x="240" y="712"/>
                  <a:pt x="240" y="712"/>
                  <a:pt x="240" y="712"/>
                </a:cubicBezTo>
                <a:cubicBezTo>
                  <a:pt x="240" y="709"/>
                  <a:pt x="238" y="706"/>
                  <a:pt x="234" y="706"/>
                </a:cubicBezTo>
                <a:cubicBezTo>
                  <a:pt x="231" y="706"/>
                  <a:pt x="229" y="709"/>
                  <a:pt x="229" y="712"/>
                </a:cubicBezTo>
                <a:close/>
                <a:moveTo>
                  <a:pt x="229" y="689"/>
                </a:moveTo>
                <a:cubicBezTo>
                  <a:pt x="229" y="693"/>
                  <a:pt x="229" y="693"/>
                  <a:pt x="229" y="693"/>
                </a:cubicBezTo>
                <a:cubicBezTo>
                  <a:pt x="229" y="696"/>
                  <a:pt x="231" y="699"/>
                  <a:pt x="234" y="699"/>
                </a:cubicBezTo>
                <a:cubicBezTo>
                  <a:pt x="238" y="699"/>
                  <a:pt x="240" y="696"/>
                  <a:pt x="240" y="693"/>
                </a:cubicBezTo>
                <a:cubicBezTo>
                  <a:pt x="240" y="689"/>
                  <a:pt x="240" y="689"/>
                  <a:pt x="240" y="689"/>
                </a:cubicBezTo>
                <a:cubicBezTo>
                  <a:pt x="240" y="686"/>
                  <a:pt x="238" y="683"/>
                  <a:pt x="234" y="683"/>
                </a:cubicBezTo>
                <a:cubicBezTo>
                  <a:pt x="231" y="683"/>
                  <a:pt x="229" y="686"/>
                  <a:pt x="229" y="689"/>
                </a:cubicBezTo>
                <a:close/>
                <a:moveTo>
                  <a:pt x="229" y="665"/>
                </a:moveTo>
                <a:cubicBezTo>
                  <a:pt x="229" y="669"/>
                  <a:pt x="229" y="669"/>
                  <a:pt x="229" y="669"/>
                </a:cubicBezTo>
                <a:cubicBezTo>
                  <a:pt x="229" y="673"/>
                  <a:pt x="231" y="675"/>
                  <a:pt x="234" y="675"/>
                </a:cubicBezTo>
                <a:cubicBezTo>
                  <a:pt x="238" y="675"/>
                  <a:pt x="240" y="673"/>
                  <a:pt x="240" y="669"/>
                </a:cubicBezTo>
                <a:cubicBezTo>
                  <a:pt x="240" y="665"/>
                  <a:pt x="240" y="665"/>
                  <a:pt x="240" y="665"/>
                </a:cubicBezTo>
                <a:cubicBezTo>
                  <a:pt x="240" y="662"/>
                  <a:pt x="238" y="660"/>
                  <a:pt x="234" y="660"/>
                </a:cubicBezTo>
                <a:cubicBezTo>
                  <a:pt x="231" y="660"/>
                  <a:pt x="229" y="662"/>
                  <a:pt x="229" y="665"/>
                </a:cubicBezTo>
                <a:close/>
                <a:moveTo>
                  <a:pt x="229" y="642"/>
                </a:moveTo>
                <a:cubicBezTo>
                  <a:pt x="229" y="646"/>
                  <a:pt x="229" y="646"/>
                  <a:pt x="229" y="646"/>
                </a:cubicBezTo>
                <a:cubicBezTo>
                  <a:pt x="229" y="649"/>
                  <a:pt x="231" y="652"/>
                  <a:pt x="234" y="652"/>
                </a:cubicBezTo>
                <a:cubicBezTo>
                  <a:pt x="238" y="652"/>
                  <a:pt x="240" y="649"/>
                  <a:pt x="240" y="646"/>
                </a:cubicBezTo>
                <a:cubicBezTo>
                  <a:pt x="240" y="642"/>
                  <a:pt x="240" y="642"/>
                  <a:pt x="240" y="642"/>
                </a:cubicBezTo>
                <a:cubicBezTo>
                  <a:pt x="240" y="639"/>
                  <a:pt x="238" y="636"/>
                  <a:pt x="234" y="636"/>
                </a:cubicBezTo>
                <a:cubicBezTo>
                  <a:pt x="231" y="636"/>
                  <a:pt x="229" y="639"/>
                  <a:pt x="229" y="642"/>
                </a:cubicBezTo>
                <a:close/>
                <a:moveTo>
                  <a:pt x="229" y="619"/>
                </a:moveTo>
                <a:cubicBezTo>
                  <a:pt x="229" y="622"/>
                  <a:pt x="229" y="622"/>
                  <a:pt x="229" y="622"/>
                </a:cubicBezTo>
                <a:cubicBezTo>
                  <a:pt x="229" y="626"/>
                  <a:pt x="231" y="628"/>
                  <a:pt x="234" y="628"/>
                </a:cubicBezTo>
                <a:cubicBezTo>
                  <a:pt x="238" y="628"/>
                  <a:pt x="240" y="626"/>
                  <a:pt x="240" y="622"/>
                </a:cubicBezTo>
                <a:cubicBezTo>
                  <a:pt x="240" y="619"/>
                  <a:pt x="240" y="619"/>
                  <a:pt x="240" y="619"/>
                </a:cubicBezTo>
                <a:cubicBezTo>
                  <a:pt x="240" y="615"/>
                  <a:pt x="238" y="613"/>
                  <a:pt x="234" y="613"/>
                </a:cubicBezTo>
                <a:cubicBezTo>
                  <a:pt x="231" y="613"/>
                  <a:pt x="229" y="615"/>
                  <a:pt x="229" y="619"/>
                </a:cubicBezTo>
                <a:close/>
                <a:moveTo>
                  <a:pt x="229" y="595"/>
                </a:moveTo>
                <a:cubicBezTo>
                  <a:pt x="229" y="599"/>
                  <a:pt x="229" y="599"/>
                  <a:pt x="229" y="599"/>
                </a:cubicBezTo>
                <a:cubicBezTo>
                  <a:pt x="229" y="602"/>
                  <a:pt x="231" y="605"/>
                  <a:pt x="234" y="605"/>
                </a:cubicBezTo>
                <a:cubicBezTo>
                  <a:pt x="238" y="605"/>
                  <a:pt x="240" y="602"/>
                  <a:pt x="240" y="599"/>
                </a:cubicBezTo>
                <a:cubicBezTo>
                  <a:pt x="240" y="595"/>
                  <a:pt x="240" y="595"/>
                  <a:pt x="240" y="595"/>
                </a:cubicBezTo>
                <a:cubicBezTo>
                  <a:pt x="240" y="592"/>
                  <a:pt x="238" y="589"/>
                  <a:pt x="234" y="589"/>
                </a:cubicBezTo>
                <a:cubicBezTo>
                  <a:pt x="231" y="589"/>
                  <a:pt x="229" y="592"/>
                  <a:pt x="229" y="595"/>
                </a:cubicBezTo>
                <a:close/>
                <a:moveTo>
                  <a:pt x="229" y="572"/>
                </a:moveTo>
                <a:cubicBezTo>
                  <a:pt x="229" y="576"/>
                  <a:pt x="229" y="576"/>
                  <a:pt x="229" y="576"/>
                </a:cubicBezTo>
                <a:cubicBezTo>
                  <a:pt x="229" y="579"/>
                  <a:pt x="231" y="582"/>
                  <a:pt x="234" y="582"/>
                </a:cubicBezTo>
                <a:cubicBezTo>
                  <a:pt x="238" y="582"/>
                  <a:pt x="240" y="579"/>
                  <a:pt x="240" y="576"/>
                </a:cubicBezTo>
                <a:cubicBezTo>
                  <a:pt x="240" y="572"/>
                  <a:pt x="240" y="572"/>
                  <a:pt x="240" y="572"/>
                </a:cubicBezTo>
                <a:cubicBezTo>
                  <a:pt x="240" y="569"/>
                  <a:pt x="238" y="566"/>
                  <a:pt x="234" y="566"/>
                </a:cubicBezTo>
                <a:cubicBezTo>
                  <a:pt x="231" y="566"/>
                  <a:pt x="229" y="569"/>
                  <a:pt x="229" y="572"/>
                </a:cubicBezTo>
                <a:close/>
                <a:moveTo>
                  <a:pt x="229" y="548"/>
                </a:moveTo>
                <a:cubicBezTo>
                  <a:pt x="229" y="552"/>
                  <a:pt x="229" y="552"/>
                  <a:pt x="229" y="552"/>
                </a:cubicBezTo>
                <a:cubicBezTo>
                  <a:pt x="229" y="556"/>
                  <a:pt x="231" y="558"/>
                  <a:pt x="234" y="558"/>
                </a:cubicBezTo>
                <a:cubicBezTo>
                  <a:pt x="238" y="558"/>
                  <a:pt x="240" y="556"/>
                  <a:pt x="240" y="552"/>
                </a:cubicBezTo>
                <a:cubicBezTo>
                  <a:pt x="240" y="548"/>
                  <a:pt x="240" y="548"/>
                  <a:pt x="240" y="548"/>
                </a:cubicBezTo>
                <a:cubicBezTo>
                  <a:pt x="240" y="545"/>
                  <a:pt x="238" y="543"/>
                  <a:pt x="234" y="543"/>
                </a:cubicBezTo>
                <a:cubicBezTo>
                  <a:pt x="231" y="543"/>
                  <a:pt x="229" y="545"/>
                  <a:pt x="229" y="548"/>
                </a:cubicBezTo>
                <a:close/>
                <a:moveTo>
                  <a:pt x="229" y="525"/>
                </a:moveTo>
                <a:cubicBezTo>
                  <a:pt x="229" y="529"/>
                  <a:pt x="229" y="529"/>
                  <a:pt x="229" y="529"/>
                </a:cubicBezTo>
                <a:cubicBezTo>
                  <a:pt x="229" y="532"/>
                  <a:pt x="231" y="535"/>
                  <a:pt x="234" y="535"/>
                </a:cubicBezTo>
                <a:cubicBezTo>
                  <a:pt x="238" y="535"/>
                  <a:pt x="240" y="532"/>
                  <a:pt x="240" y="529"/>
                </a:cubicBezTo>
                <a:cubicBezTo>
                  <a:pt x="240" y="525"/>
                  <a:pt x="240" y="525"/>
                  <a:pt x="240" y="525"/>
                </a:cubicBezTo>
                <a:cubicBezTo>
                  <a:pt x="240" y="522"/>
                  <a:pt x="238" y="519"/>
                  <a:pt x="234" y="519"/>
                </a:cubicBezTo>
                <a:cubicBezTo>
                  <a:pt x="231" y="519"/>
                  <a:pt x="229" y="522"/>
                  <a:pt x="229" y="525"/>
                </a:cubicBezTo>
                <a:close/>
                <a:moveTo>
                  <a:pt x="229" y="502"/>
                </a:moveTo>
                <a:cubicBezTo>
                  <a:pt x="229" y="506"/>
                  <a:pt x="229" y="506"/>
                  <a:pt x="229" y="506"/>
                </a:cubicBezTo>
                <a:cubicBezTo>
                  <a:pt x="229" y="509"/>
                  <a:pt x="231" y="511"/>
                  <a:pt x="234" y="511"/>
                </a:cubicBezTo>
                <a:cubicBezTo>
                  <a:pt x="238" y="511"/>
                  <a:pt x="240" y="509"/>
                  <a:pt x="240" y="506"/>
                </a:cubicBezTo>
                <a:cubicBezTo>
                  <a:pt x="240" y="502"/>
                  <a:pt x="240" y="502"/>
                  <a:pt x="240" y="502"/>
                </a:cubicBezTo>
                <a:cubicBezTo>
                  <a:pt x="240" y="498"/>
                  <a:pt x="238" y="496"/>
                  <a:pt x="234" y="496"/>
                </a:cubicBezTo>
                <a:cubicBezTo>
                  <a:pt x="231" y="496"/>
                  <a:pt x="229" y="498"/>
                  <a:pt x="229" y="502"/>
                </a:cubicBezTo>
                <a:close/>
                <a:moveTo>
                  <a:pt x="229" y="478"/>
                </a:moveTo>
                <a:cubicBezTo>
                  <a:pt x="229" y="482"/>
                  <a:pt x="229" y="482"/>
                  <a:pt x="229" y="482"/>
                </a:cubicBezTo>
                <a:cubicBezTo>
                  <a:pt x="229" y="485"/>
                  <a:pt x="231" y="488"/>
                  <a:pt x="234" y="488"/>
                </a:cubicBezTo>
                <a:cubicBezTo>
                  <a:pt x="238" y="488"/>
                  <a:pt x="240" y="485"/>
                  <a:pt x="240" y="482"/>
                </a:cubicBezTo>
                <a:cubicBezTo>
                  <a:pt x="240" y="478"/>
                  <a:pt x="240" y="478"/>
                  <a:pt x="240" y="478"/>
                </a:cubicBezTo>
                <a:cubicBezTo>
                  <a:pt x="240" y="475"/>
                  <a:pt x="238" y="472"/>
                  <a:pt x="234" y="472"/>
                </a:cubicBezTo>
                <a:cubicBezTo>
                  <a:pt x="231" y="472"/>
                  <a:pt x="229" y="475"/>
                  <a:pt x="229" y="478"/>
                </a:cubicBezTo>
                <a:close/>
                <a:moveTo>
                  <a:pt x="229" y="455"/>
                </a:moveTo>
                <a:cubicBezTo>
                  <a:pt x="229" y="459"/>
                  <a:pt x="229" y="459"/>
                  <a:pt x="229" y="459"/>
                </a:cubicBezTo>
                <a:cubicBezTo>
                  <a:pt x="229" y="462"/>
                  <a:pt x="231" y="465"/>
                  <a:pt x="234" y="465"/>
                </a:cubicBezTo>
                <a:cubicBezTo>
                  <a:pt x="238" y="465"/>
                  <a:pt x="240" y="462"/>
                  <a:pt x="240" y="459"/>
                </a:cubicBezTo>
                <a:cubicBezTo>
                  <a:pt x="240" y="455"/>
                  <a:pt x="240" y="455"/>
                  <a:pt x="240" y="455"/>
                </a:cubicBezTo>
                <a:cubicBezTo>
                  <a:pt x="240" y="452"/>
                  <a:pt x="238" y="449"/>
                  <a:pt x="234" y="449"/>
                </a:cubicBezTo>
                <a:cubicBezTo>
                  <a:pt x="231" y="449"/>
                  <a:pt x="229" y="452"/>
                  <a:pt x="229" y="455"/>
                </a:cubicBezTo>
                <a:close/>
                <a:moveTo>
                  <a:pt x="229" y="431"/>
                </a:moveTo>
                <a:cubicBezTo>
                  <a:pt x="229" y="435"/>
                  <a:pt x="229" y="435"/>
                  <a:pt x="229" y="435"/>
                </a:cubicBezTo>
                <a:cubicBezTo>
                  <a:pt x="229" y="439"/>
                  <a:pt x="231" y="441"/>
                  <a:pt x="234" y="441"/>
                </a:cubicBezTo>
                <a:cubicBezTo>
                  <a:pt x="238" y="441"/>
                  <a:pt x="240" y="439"/>
                  <a:pt x="240" y="435"/>
                </a:cubicBezTo>
                <a:cubicBezTo>
                  <a:pt x="240" y="431"/>
                  <a:pt x="240" y="431"/>
                  <a:pt x="240" y="431"/>
                </a:cubicBezTo>
                <a:cubicBezTo>
                  <a:pt x="240" y="428"/>
                  <a:pt x="238" y="426"/>
                  <a:pt x="234" y="426"/>
                </a:cubicBezTo>
                <a:cubicBezTo>
                  <a:pt x="231" y="426"/>
                  <a:pt x="229" y="428"/>
                  <a:pt x="229" y="431"/>
                </a:cubicBezTo>
                <a:close/>
                <a:moveTo>
                  <a:pt x="229" y="408"/>
                </a:moveTo>
                <a:cubicBezTo>
                  <a:pt x="229" y="412"/>
                  <a:pt x="229" y="412"/>
                  <a:pt x="229" y="412"/>
                </a:cubicBezTo>
                <a:cubicBezTo>
                  <a:pt x="229" y="415"/>
                  <a:pt x="231" y="418"/>
                  <a:pt x="234" y="418"/>
                </a:cubicBezTo>
                <a:cubicBezTo>
                  <a:pt x="238" y="418"/>
                  <a:pt x="240" y="415"/>
                  <a:pt x="240" y="412"/>
                </a:cubicBezTo>
                <a:cubicBezTo>
                  <a:pt x="240" y="408"/>
                  <a:pt x="240" y="408"/>
                  <a:pt x="240" y="408"/>
                </a:cubicBezTo>
                <a:cubicBezTo>
                  <a:pt x="240" y="405"/>
                  <a:pt x="238" y="402"/>
                  <a:pt x="234" y="402"/>
                </a:cubicBezTo>
                <a:cubicBezTo>
                  <a:pt x="231" y="402"/>
                  <a:pt x="229" y="405"/>
                  <a:pt x="229" y="408"/>
                </a:cubicBezTo>
                <a:close/>
                <a:moveTo>
                  <a:pt x="229" y="385"/>
                </a:moveTo>
                <a:cubicBezTo>
                  <a:pt x="229" y="389"/>
                  <a:pt x="229" y="389"/>
                  <a:pt x="229" y="389"/>
                </a:cubicBezTo>
                <a:cubicBezTo>
                  <a:pt x="229" y="392"/>
                  <a:pt x="231" y="394"/>
                  <a:pt x="234" y="394"/>
                </a:cubicBezTo>
                <a:cubicBezTo>
                  <a:pt x="238" y="394"/>
                  <a:pt x="240" y="392"/>
                  <a:pt x="240" y="389"/>
                </a:cubicBezTo>
                <a:cubicBezTo>
                  <a:pt x="240" y="385"/>
                  <a:pt x="240" y="385"/>
                  <a:pt x="240" y="385"/>
                </a:cubicBezTo>
                <a:cubicBezTo>
                  <a:pt x="240" y="381"/>
                  <a:pt x="238" y="379"/>
                  <a:pt x="234" y="379"/>
                </a:cubicBezTo>
                <a:cubicBezTo>
                  <a:pt x="231" y="379"/>
                  <a:pt x="229" y="381"/>
                  <a:pt x="229" y="385"/>
                </a:cubicBezTo>
                <a:close/>
                <a:moveTo>
                  <a:pt x="229" y="361"/>
                </a:moveTo>
                <a:cubicBezTo>
                  <a:pt x="229" y="365"/>
                  <a:pt x="229" y="365"/>
                  <a:pt x="229" y="365"/>
                </a:cubicBezTo>
                <a:cubicBezTo>
                  <a:pt x="229" y="368"/>
                  <a:pt x="231" y="371"/>
                  <a:pt x="234" y="371"/>
                </a:cubicBezTo>
                <a:cubicBezTo>
                  <a:pt x="238" y="371"/>
                  <a:pt x="240" y="368"/>
                  <a:pt x="240" y="365"/>
                </a:cubicBezTo>
                <a:cubicBezTo>
                  <a:pt x="240" y="361"/>
                  <a:pt x="240" y="361"/>
                  <a:pt x="240" y="361"/>
                </a:cubicBezTo>
                <a:cubicBezTo>
                  <a:pt x="240" y="358"/>
                  <a:pt x="238" y="355"/>
                  <a:pt x="234" y="355"/>
                </a:cubicBezTo>
                <a:cubicBezTo>
                  <a:pt x="231" y="355"/>
                  <a:pt x="229" y="358"/>
                  <a:pt x="229" y="361"/>
                </a:cubicBezTo>
                <a:close/>
                <a:moveTo>
                  <a:pt x="229" y="338"/>
                </a:moveTo>
                <a:cubicBezTo>
                  <a:pt x="229" y="342"/>
                  <a:pt x="229" y="342"/>
                  <a:pt x="229" y="342"/>
                </a:cubicBezTo>
                <a:cubicBezTo>
                  <a:pt x="229" y="345"/>
                  <a:pt x="231" y="348"/>
                  <a:pt x="234" y="348"/>
                </a:cubicBezTo>
                <a:cubicBezTo>
                  <a:pt x="238" y="348"/>
                  <a:pt x="240" y="345"/>
                  <a:pt x="240" y="342"/>
                </a:cubicBezTo>
                <a:cubicBezTo>
                  <a:pt x="240" y="338"/>
                  <a:pt x="240" y="338"/>
                  <a:pt x="240" y="338"/>
                </a:cubicBezTo>
                <a:cubicBezTo>
                  <a:pt x="240" y="335"/>
                  <a:pt x="238" y="332"/>
                  <a:pt x="234" y="332"/>
                </a:cubicBezTo>
                <a:cubicBezTo>
                  <a:pt x="231" y="332"/>
                  <a:pt x="229" y="335"/>
                  <a:pt x="229" y="338"/>
                </a:cubicBezTo>
                <a:close/>
                <a:moveTo>
                  <a:pt x="229" y="314"/>
                </a:moveTo>
                <a:cubicBezTo>
                  <a:pt x="229" y="318"/>
                  <a:pt x="229" y="318"/>
                  <a:pt x="229" y="318"/>
                </a:cubicBezTo>
                <a:cubicBezTo>
                  <a:pt x="229" y="322"/>
                  <a:pt x="231" y="324"/>
                  <a:pt x="234" y="324"/>
                </a:cubicBezTo>
                <a:cubicBezTo>
                  <a:pt x="238" y="324"/>
                  <a:pt x="240" y="322"/>
                  <a:pt x="240" y="318"/>
                </a:cubicBezTo>
                <a:cubicBezTo>
                  <a:pt x="240" y="314"/>
                  <a:pt x="240" y="314"/>
                  <a:pt x="240" y="314"/>
                </a:cubicBezTo>
                <a:cubicBezTo>
                  <a:pt x="240" y="311"/>
                  <a:pt x="238" y="309"/>
                  <a:pt x="234" y="309"/>
                </a:cubicBezTo>
                <a:cubicBezTo>
                  <a:pt x="231" y="309"/>
                  <a:pt x="229" y="311"/>
                  <a:pt x="229" y="314"/>
                </a:cubicBezTo>
                <a:close/>
                <a:moveTo>
                  <a:pt x="229" y="291"/>
                </a:moveTo>
                <a:cubicBezTo>
                  <a:pt x="229" y="295"/>
                  <a:pt x="229" y="295"/>
                  <a:pt x="229" y="295"/>
                </a:cubicBezTo>
                <a:cubicBezTo>
                  <a:pt x="229" y="298"/>
                  <a:pt x="231" y="301"/>
                  <a:pt x="234" y="301"/>
                </a:cubicBezTo>
                <a:cubicBezTo>
                  <a:pt x="238" y="301"/>
                  <a:pt x="240" y="298"/>
                  <a:pt x="240" y="295"/>
                </a:cubicBezTo>
                <a:cubicBezTo>
                  <a:pt x="240" y="291"/>
                  <a:pt x="240" y="291"/>
                  <a:pt x="240" y="291"/>
                </a:cubicBezTo>
                <a:cubicBezTo>
                  <a:pt x="240" y="288"/>
                  <a:pt x="238" y="285"/>
                  <a:pt x="234" y="285"/>
                </a:cubicBezTo>
                <a:cubicBezTo>
                  <a:pt x="231" y="285"/>
                  <a:pt x="229" y="288"/>
                  <a:pt x="229" y="291"/>
                </a:cubicBezTo>
                <a:close/>
                <a:moveTo>
                  <a:pt x="229" y="268"/>
                </a:moveTo>
                <a:cubicBezTo>
                  <a:pt x="229" y="272"/>
                  <a:pt x="229" y="272"/>
                  <a:pt x="229" y="272"/>
                </a:cubicBezTo>
                <a:cubicBezTo>
                  <a:pt x="229" y="275"/>
                  <a:pt x="231" y="277"/>
                  <a:pt x="234" y="277"/>
                </a:cubicBezTo>
                <a:cubicBezTo>
                  <a:pt x="238" y="277"/>
                  <a:pt x="240" y="275"/>
                  <a:pt x="240" y="272"/>
                </a:cubicBezTo>
                <a:cubicBezTo>
                  <a:pt x="240" y="268"/>
                  <a:pt x="240" y="268"/>
                  <a:pt x="240" y="268"/>
                </a:cubicBezTo>
                <a:cubicBezTo>
                  <a:pt x="240" y="264"/>
                  <a:pt x="238" y="262"/>
                  <a:pt x="234" y="262"/>
                </a:cubicBezTo>
                <a:cubicBezTo>
                  <a:pt x="231" y="262"/>
                  <a:pt x="229" y="264"/>
                  <a:pt x="229" y="268"/>
                </a:cubicBezTo>
                <a:close/>
                <a:moveTo>
                  <a:pt x="229" y="244"/>
                </a:moveTo>
                <a:cubicBezTo>
                  <a:pt x="229" y="248"/>
                  <a:pt x="229" y="248"/>
                  <a:pt x="229" y="248"/>
                </a:cubicBezTo>
                <a:cubicBezTo>
                  <a:pt x="229" y="251"/>
                  <a:pt x="231" y="254"/>
                  <a:pt x="234" y="254"/>
                </a:cubicBezTo>
                <a:cubicBezTo>
                  <a:pt x="238" y="254"/>
                  <a:pt x="240" y="251"/>
                  <a:pt x="240" y="248"/>
                </a:cubicBezTo>
                <a:cubicBezTo>
                  <a:pt x="240" y="244"/>
                  <a:pt x="240" y="244"/>
                  <a:pt x="240" y="244"/>
                </a:cubicBezTo>
                <a:cubicBezTo>
                  <a:pt x="240" y="241"/>
                  <a:pt x="238" y="238"/>
                  <a:pt x="234" y="238"/>
                </a:cubicBezTo>
                <a:cubicBezTo>
                  <a:pt x="231" y="238"/>
                  <a:pt x="229" y="241"/>
                  <a:pt x="229" y="244"/>
                </a:cubicBezTo>
                <a:close/>
                <a:moveTo>
                  <a:pt x="229" y="221"/>
                </a:moveTo>
                <a:cubicBezTo>
                  <a:pt x="229" y="225"/>
                  <a:pt x="229" y="225"/>
                  <a:pt x="229" y="225"/>
                </a:cubicBezTo>
                <a:cubicBezTo>
                  <a:pt x="229" y="228"/>
                  <a:pt x="231" y="231"/>
                  <a:pt x="234" y="231"/>
                </a:cubicBezTo>
                <a:cubicBezTo>
                  <a:pt x="238" y="231"/>
                  <a:pt x="240" y="228"/>
                  <a:pt x="240" y="225"/>
                </a:cubicBezTo>
                <a:cubicBezTo>
                  <a:pt x="240" y="221"/>
                  <a:pt x="240" y="221"/>
                  <a:pt x="240" y="221"/>
                </a:cubicBezTo>
                <a:cubicBezTo>
                  <a:pt x="240" y="218"/>
                  <a:pt x="238" y="215"/>
                  <a:pt x="234" y="215"/>
                </a:cubicBezTo>
                <a:cubicBezTo>
                  <a:pt x="231" y="215"/>
                  <a:pt x="229" y="218"/>
                  <a:pt x="229" y="221"/>
                </a:cubicBezTo>
                <a:close/>
                <a:moveTo>
                  <a:pt x="229" y="198"/>
                </a:moveTo>
                <a:cubicBezTo>
                  <a:pt x="229" y="201"/>
                  <a:pt x="229" y="201"/>
                  <a:pt x="229" y="201"/>
                </a:cubicBezTo>
                <a:cubicBezTo>
                  <a:pt x="229" y="205"/>
                  <a:pt x="231" y="207"/>
                  <a:pt x="234" y="207"/>
                </a:cubicBezTo>
                <a:cubicBezTo>
                  <a:pt x="238" y="207"/>
                  <a:pt x="240" y="205"/>
                  <a:pt x="240" y="201"/>
                </a:cubicBezTo>
                <a:cubicBezTo>
                  <a:pt x="240" y="198"/>
                  <a:pt x="240" y="198"/>
                  <a:pt x="240" y="198"/>
                </a:cubicBezTo>
                <a:cubicBezTo>
                  <a:pt x="240" y="194"/>
                  <a:pt x="238" y="192"/>
                  <a:pt x="234" y="192"/>
                </a:cubicBezTo>
                <a:cubicBezTo>
                  <a:pt x="231" y="192"/>
                  <a:pt x="229" y="194"/>
                  <a:pt x="229" y="198"/>
                </a:cubicBezTo>
                <a:close/>
                <a:moveTo>
                  <a:pt x="229" y="174"/>
                </a:moveTo>
                <a:cubicBezTo>
                  <a:pt x="229" y="178"/>
                  <a:pt x="229" y="178"/>
                  <a:pt x="229" y="178"/>
                </a:cubicBezTo>
                <a:cubicBezTo>
                  <a:pt x="229" y="181"/>
                  <a:pt x="231" y="184"/>
                  <a:pt x="234" y="184"/>
                </a:cubicBezTo>
                <a:cubicBezTo>
                  <a:pt x="238" y="184"/>
                  <a:pt x="240" y="181"/>
                  <a:pt x="240" y="178"/>
                </a:cubicBezTo>
                <a:cubicBezTo>
                  <a:pt x="240" y="174"/>
                  <a:pt x="240" y="174"/>
                  <a:pt x="240" y="174"/>
                </a:cubicBezTo>
                <a:cubicBezTo>
                  <a:pt x="240" y="171"/>
                  <a:pt x="238" y="168"/>
                  <a:pt x="234" y="168"/>
                </a:cubicBezTo>
                <a:cubicBezTo>
                  <a:pt x="231" y="168"/>
                  <a:pt x="229" y="171"/>
                  <a:pt x="229" y="174"/>
                </a:cubicBezTo>
                <a:close/>
                <a:moveTo>
                  <a:pt x="229" y="151"/>
                </a:moveTo>
                <a:cubicBezTo>
                  <a:pt x="229" y="155"/>
                  <a:pt x="229" y="155"/>
                  <a:pt x="229" y="155"/>
                </a:cubicBezTo>
                <a:cubicBezTo>
                  <a:pt x="229" y="158"/>
                  <a:pt x="231" y="160"/>
                  <a:pt x="234" y="160"/>
                </a:cubicBezTo>
                <a:cubicBezTo>
                  <a:pt x="238" y="160"/>
                  <a:pt x="240" y="158"/>
                  <a:pt x="240" y="155"/>
                </a:cubicBezTo>
                <a:cubicBezTo>
                  <a:pt x="240" y="151"/>
                  <a:pt x="240" y="151"/>
                  <a:pt x="240" y="151"/>
                </a:cubicBezTo>
                <a:cubicBezTo>
                  <a:pt x="240" y="147"/>
                  <a:pt x="238" y="145"/>
                  <a:pt x="234" y="145"/>
                </a:cubicBezTo>
                <a:cubicBezTo>
                  <a:pt x="231" y="145"/>
                  <a:pt x="229" y="147"/>
                  <a:pt x="229" y="151"/>
                </a:cubicBezTo>
                <a:close/>
                <a:moveTo>
                  <a:pt x="229" y="127"/>
                </a:moveTo>
                <a:cubicBezTo>
                  <a:pt x="229" y="131"/>
                  <a:pt x="229" y="131"/>
                  <a:pt x="229" y="131"/>
                </a:cubicBezTo>
                <a:cubicBezTo>
                  <a:pt x="229" y="134"/>
                  <a:pt x="231" y="137"/>
                  <a:pt x="234" y="137"/>
                </a:cubicBezTo>
                <a:cubicBezTo>
                  <a:pt x="238" y="137"/>
                  <a:pt x="240" y="134"/>
                  <a:pt x="240" y="131"/>
                </a:cubicBezTo>
                <a:cubicBezTo>
                  <a:pt x="240" y="127"/>
                  <a:pt x="240" y="127"/>
                  <a:pt x="240" y="127"/>
                </a:cubicBezTo>
                <a:cubicBezTo>
                  <a:pt x="240" y="124"/>
                  <a:pt x="238" y="121"/>
                  <a:pt x="234" y="121"/>
                </a:cubicBezTo>
                <a:cubicBezTo>
                  <a:pt x="231" y="121"/>
                  <a:pt x="229" y="124"/>
                  <a:pt x="229" y="127"/>
                </a:cubicBezTo>
                <a:close/>
                <a:moveTo>
                  <a:pt x="229" y="104"/>
                </a:moveTo>
                <a:cubicBezTo>
                  <a:pt x="229" y="108"/>
                  <a:pt x="229" y="108"/>
                  <a:pt x="229" y="108"/>
                </a:cubicBezTo>
                <a:cubicBezTo>
                  <a:pt x="229" y="111"/>
                  <a:pt x="231" y="114"/>
                  <a:pt x="234" y="114"/>
                </a:cubicBezTo>
                <a:cubicBezTo>
                  <a:pt x="238" y="114"/>
                  <a:pt x="240" y="111"/>
                  <a:pt x="240" y="108"/>
                </a:cubicBezTo>
                <a:cubicBezTo>
                  <a:pt x="240" y="104"/>
                  <a:pt x="240" y="104"/>
                  <a:pt x="240" y="104"/>
                </a:cubicBezTo>
                <a:cubicBezTo>
                  <a:pt x="240" y="101"/>
                  <a:pt x="238" y="98"/>
                  <a:pt x="234" y="98"/>
                </a:cubicBezTo>
                <a:cubicBezTo>
                  <a:pt x="231" y="98"/>
                  <a:pt x="229" y="101"/>
                  <a:pt x="229" y="104"/>
                </a:cubicBezTo>
                <a:close/>
                <a:moveTo>
                  <a:pt x="229" y="81"/>
                </a:moveTo>
                <a:cubicBezTo>
                  <a:pt x="229" y="84"/>
                  <a:pt x="229" y="84"/>
                  <a:pt x="229" y="84"/>
                </a:cubicBezTo>
                <a:cubicBezTo>
                  <a:pt x="229" y="88"/>
                  <a:pt x="231" y="90"/>
                  <a:pt x="234" y="90"/>
                </a:cubicBezTo>
                <a:cubicBezTo>
                  <a:pt x="238" y="90"/>
                  <a:pt x="240" y="88"/>
                  <a:pt x="240" y="84"/>
                </a:cubicBezTo>
                <a:cubicBezTo>
                  <a:pt x="240" y="81"/>
                  <a:pt x="240" y="81"/>
                  <a:pt x="240" y="81"/>
                </a:cubicBezTo>
                <a:cubicBezTo>
                  <a:pt x="240" y="77"/>
                  <a:pt x="238" y="75"/>
                  <a:pt x="234" y="75"/>
                </a:cubicBezTo>
                <a:cubicBezTo>
                  <a:pt x="231" y="75"/>
                  <a:pt x="229" y="77"/>
                  <a:pt x="229" y="81"/>
                </a:cubicBezTo>
                <a:close/>
                <a:moveTo>
                  <a:pt x="229" y="57"/>
                </a:moveTo>
                <a:cubicBezTo>
                  <a:pt x="229" y="61"/>
                  <a:pt x="229" y="61"/>
                  <a:pt x="229" y="61"/>
                </a:cubicBezTo>
                <a:cubicBezTo>
                  <a:pt x="229" y="64"/>
                  <a:pt x="231" y="67"/>
                  <a:pt x="234" y="67"/>
                </a:cubicBezTo>
                <a:cubicBezTo>
                  <a:pt x="238" y="67"/>
                  <a:pt x="240" y="64"/>
                  <a:pt x="240" y="61"/>
                </a:cubicBezTo>
                <a:cubicBezTo>
                  <a:pt x="240" y="57"/>
                  <a:pt x="240" y="57"/>
                  <a:pt x="240" y="57"/>
                </a:cubicBezTo>
                <a:cubicBezTo>
                  <a:pt x="240" y="54"/>
                  <a:pt x="238" y="51"/>
                  <a:pt x="234" y="51"/>
                </a:cubicBezTo>
                <a:cubicBezTo>
                  <a:pt x="231" y="51"/>
                  <a:pt x="229" y="54"/>
                  <a:pt x="229" y="57"/>
                </a:cubicBezTo>
                <a:close/>
                <a:moveTo>
                  <a:pt x="229" y="34"/>
                </a:moveTo>
                <a:cubicBezTo>
                  <a:pt x="229" y="38"/>
                  <a:pt x="229" y="38"/>
                  <a:pt x="229" y="38"/>
                </a:cubicBezTo>
                <a:cubicBezTo>
                  <a:pt x="229" y="41"/>
                  <a:pt x="231" y="43"/>
                  <a:pt x="234" y="43"/>
                </a:cubicBezTo>
                <a:cubicBezTo>
                  <a:pt x="238" y="43"/>
                  <a:pt x="240" y="41"/>
                  <a:pt x="240" y="38"/>
                </a:cubicBezTo>
                <a:cubicBezTo>
                  <a:pt x="240" y="34"/>
                  <a:pt x="240" y="34"/>
                  <a:pt x="240" y="34"/>
                </a:cubicBezTo>
                <a:cubicBezTo>
                  <a:pt x="240" y="31"/>
                  <a:pt x="238" y="28"/>
                  <a:pt x="234" y="28"/>
                </a:cubicBezTo>
                <a:cubicBezTo>
                  <a:pt x="231" y="28"/>
                  <a:pt x="229" y="31"/>
                  <a:pt x="229" y="34"/>
                </a:cubicBezTo>
                <a:close/>
                <a:moveTo>
                  <a:pt x="229" y="10"/>
                </a:moveTo>
                <a:cubicBezTo>
                  <a:pt x="229" y="14"/>
                  <a:pt x="229" y="14"/>
                  <a:pt x="229" y="14"/>
                </a:cubicBezTo>
                <a:cubicBezTo>
                  <a:pt x="229" y="17"/>
                  <a:pt x="231" y="20"/>
                  <a:pt x="234" y="20"/>
                </a:cubicBezTo>
                <a:cubicBezTo>
                  <a:pt x="238" y="20"/>
                  <a:pt x="240" y="17"/>
                  <a:pt x="240" y="14"/>
                </a:cubicBezTo>
                <a:cubicBezTo>
                  <a:pt x="240" y="10"/>
                  <a:pt x="240" y="10"/>
                  <a:pt x="240" y="10"/>
                </a:cubicBezTo>
                <a:cubicBezTo>
                  <a:pt x="240" y="7"/>
                  <a:pt x="238" y="5"/>
                  <a:pt x="234" y="5"/>
                </a:cubicBezTo>
                <a:cubicBezTo>
                  <a:pt x="231" y="5"/>
                  <a:pt x="229" y="7"/>
                  <a:pt x="229" y="10"/>
                </a:cubicBezTo>
                <a:close/>
                <a:moveTo>
                  <a:pt x="215" y="12"/>
                </a:moveTo>
                <a:cubicBezTo>
                  <a:pt x="219" y="12"/>
                  <a:pt x="219" y="12"/>
                  <a:pt x="219" y="12"/>
                </a:cubicBezTo>
                <a:cubicBezTo>
                  <a:pt x="222" y="12"/>
                  <a:pt x="225" y="9"/>
                  <a:pt x="225" y="6"/>
                </a:cubicBezTo>
                <a:cubicBezTo>
                  <a:pt x="225" y="3"/>
                  <a:pt x="222" y="0"/>
                  <a:pt x="219" y="0"/>
                </a:cubicBezTo>
                <a:cubicBezTo>
                  <a:pt x="215" y="0"/>
                  <a:pt x="215" y="0"/>
                  <a:pt x="215" y="0"/>
                </a:cubicBezTo>
                <a:cubicBezTo>
                  <a:pt x="212" y="0"/>
                  <a:pt x="209" y="3"/>
                  <a:pt x="209" y="6"/>
                </a:cubicBezTo>
                <a:cubicBezTo>
                  <a:pt x="209" y="9"/>
                  <a:pt x="212" y="12"/>
                  <a:pt x="215" y="12"/>
                </a:cubicBezTo>
                <a:close/>
                <a:moveTo>
                  <a:pt x="192" y="12"/>
                </a:moveTo>
                <a:cubicBezTo>
                  <a:pt x="196" y="12"/>
                  <a:pt x="196" y="12"/>
                  <a:pt x="196" y="12"/>
                </a:cubicBezTo>
                <a:cubicBezTo>
                  <a:pt x="199" y="12"/>
                  <a:pt x="202" y="9"/>
                  <a:pt x="202" y="6"/>
                </a:cubicBezTo>
                <a:cubicBezTo>
                  <a:pt x="202" y="3"/>
                  <a:pt x="199" y="0"/>
                  <a:pt x="196" y="0"/>
                </a:cubicBezTo>
                <a:cubicBezTo>
                  <a:pt x="192" y="0"/>
                  <a:pt x="192" y="0"/>
                  <a:pt x="192" y="0"/>
                </a:cubicBezTo>
                <a:cubicBezTo>
                  <a:pt x="189" y="0"/>
                  <a:pt x="186" y="3"/>
                  <a:pt x="186" y="6"/>
                </a:cubicBezTo>
                <a:cubicBezTo>
                  <a:pt x="186" y="9"/>
                  <a:pt x="189" y="12"/>
                  <a:pt x="192" y="12"/>
                </a:cubicBezTo>
                <a:close/>
                <a:moveTo>
                  <a:pt x="168" y="12"/>
                </a:moveTo>
                <a:cubicBezTo>
                  <a:pt x="172" y="12"/>
                  <a:pt x="172" y="12"/>
                  <a:pt x="172" y="12"/>
                </a:cubicBezTo>
                <a:cubicBezTo>
                  <a:pt x="176" y="12"/>
                  <a:pt x="178" y="9"/>
                  <a:pt x="178" y="6"/>
                </a:cubicBezTo>
                <a:cubicBezTo>
                  <a:pt x="178" y="3"/>
                  <a:pt x="176" y="0"/>
                  <a:pt x="172" y="0"/>
                </a:cubicBezTo>
                <a:cubicBezTo>
                  <a:pt x="168" y="0"/>
                  <a:pt x="168" y="0"/>
                  <a:pt x="168" y="0"/>
                </a:cubicBezTo>
                <a:cubicBezTo>
                  <a:pt x="165" y="0"/>
                  <a:pt x="163" y="3"/>
                  <a:pt x="163" y="6"/>
                </a:cubicBezTo>
                <a:cubicBezTo>
                  <a:pt x="163" y="9"/>
                  <a:pt x="165" y="12"/>
                  <a:pt x="168" y="12"/>
                </a:cubicBezTo>
                <a:close/>
                <a:moveTo>
                  <a:pt x="145" y="12"/>
                </a:moveTo>
                <a:cubicBezTo>
                  <a:pt x="149" y="12"/>
                  <a:pt x="149" y="12"/>
                  <a:pt x="149" y="12"/>
                </a:cubicBezTo>
                <a:cubicBezTo>
                  <a:pt x="152" y="12"/>
                  <a:pt x="155" y="9"/>
                  <a:pt x="155" y="6"/>
                </a:cubicBezTo>
                <a:cubicBezTo>
                  <a:pt x="155" y="3"/>
                  <a:pt x="152" y="0"/>
                  <a:pt x="149" y="0"/>
                </a:cubicBezTo>
                <a:cubicBezTo>
                  <a:pt x="145" y="0"/>
                  <a:pt x="145" y="0"/>
                  <a:pt x="145" y="0"/>
                </a:cubicBezTo>
                <a:cubicBezTo>
                  <a:pt x="142" y="0"/>
                  <a:pt x="139" y="3"/>
                  <a:pt x="139" y="6"/>
                </a:cubicBezTo>
                <a:cubicBezTo>
                  <a:pt x="139" y="9"/>
                  <a:pt x="142" y="12"/>
                  <a:pt x="145" y="12"/>
                </a:cubicBezTo>
                <a:close/>
                <a:moveTo>
                  <a:pt x="122" y="12"/>
                </a:moveTo>
                <a:cubicBezTo>
                  <a:pt x="126" y="12"/>
                  <a:pt x="126" y="12"/>
                  <a:pt x="126" y="12"/>
                </a:cubicBezTo>
                <a:cubicBezTo>
                  <a:pt x="129" y="12"/>
                  <a:pt x="131" y="9"/>
                  <a:pt x="131" y="6"/>
                </a:cubicBezTo>
                <a:cubicBezTo>
                  <a:pt x="131" y="3"/>
                  <a:pt x="129" y="0"/>
                  <a:pt x="126" y="0"/>
                </a:cubicBezTo>
                <a:cubicBezTo>
                  <a:pt x="122" y="0"/>
                  <a:pt x="122" y="0"/>
                  <a:pt x="122" y="0"/>
                </a:cubicBezTo>
                <a:cubicBezTo>
                  <a:pt x="118" y="0"/>
                  <a:pt x="116" y="3"/>
                  <a:pt x="116" y="6"/>
                </a:cubicBezTo>
                <a:cubicBezTo>
                  <a:pt x="116" y="9"/>
                  <a:pt x="118" y="12"/>
                  <a:pt x="122" y="12"/>
                </a:cubicBezTo>
                <a:close/>
                <a:moveTo>
                  <a:pt x="98" y="12"/>
                </a:moveTo>
                <a:cubicBezTo>
                  <a:pt x="102" y="12"/>
                  <a:pt x="102" y="12"/>
                  <a:pt x="102" y="12"/>
                </a:cubicBezTo>
                <a:cubicBezTo>
                  <a:pt x="105" y="12"/>
                  <a:pt x="108" y="9"/>
                  <a:pt x="108" y="6"/>
                </a:cubicBezTo>
                <a:cubicBezTo>
                  <a:pt x="108" y="3"/>
                  <a:pt x="105" y="0"/>
                  <a:pt x="102" y="0"/>
                </a:cubicBezTo>
                <a:cubicBezTo>
                  <a:pt x="98" y="0"/>
                  <a:pt x="98" y="0"/>
                  <a:pt x="98" y="0"/>
                </a:cubicBezTo>
                <a:cubicBezTo>
                  <a:pt x="95" y="0"/>
                  <a:pt x="92" y="3"/>
                  <a:pt x="92" y="6"/>
                </a:cubicBezTo>
                <a:cubicBezTo>
                  <a:pt x="92" y="9"/>
                  <a:pt x="95" y="12"/>
                  <a:pt x="98" y="12"/>
                </a:cubicBezTo>
                <a:close/>
                <a:moveTo>
                  <a:pt x="75" y="12"/>
                </a:moveTo>
                <a:cubicBezTo>
                  <a:pt x="79" y="12"/>
                  <a:pt x="79" y="12"/>
                  <a:pt x="79" y="12"/>
                </a:cubicBezTo>
                <a:cubicBezTo>
                  <a:pt x="82" y="12"/>
                  <a:pt x="85" y="9"/>
                  <a:pt x="85" y="6"/>
                </a:cubicBezTo>
                <a:cubicBezTo>
                  <a:pt x="85" y="3"/>
                  <a:pt x="82" y="0"/>
                  <a:pt x="79" y="0"/>
                </a:cubicBezTo>
                <a:cubicBezTo>
                  <a:pt x="75" y="0"/>
                  <a:pt x="75" y="0"/>
                  <a:pt x="75" y="0"/>
                </a:cubicBezTo>
                <a:cubicBezTo>
                  <a:pt x="72" y="0"/>
                  <a:pt x="69" y="3"/>
                  <a:pt x="69" y="6"/>
                </a:cubicBezTo>
                <a:cubicBezTo>
                  <a:pt x="69" y="9"/>
                  <a:pt x="72" y="12"/>
                  <a:pt x="75" y="12"/>
                </a:cubicBezTo>
                <a:close/>
                <a:moveTo>
                  <a:pt x="51" y="12"/>
                </a:moveTo>
                <a:cubicBezTo>
                  <a:pt x="55" y="12"/>
                  <a:pt x="55" y="12"/>
                  <a:pt x="55" y="12"/>
                </a:cubicBezTo>
                <a:cubicBezTo>
                  <a:pt x="59" y="12"/>
                  <a:pt x="61" y="9"/>
                  <a:pt x="61" y="6"/>
                </a:cubicBezTo>
                <a:cubicBezTo>
                  <a:pt x="61" y="3"/>
                  <a:pt x="59" y="0"/>
                  <a:pt x="55" y="0"/>
                </a:cubicBezTo>
                <a:cubicBezTo>
                  <a:pt x="51" y="0"/>
                  <a:pt x="51" y="0"/>
                  <a:pt x="51" y="0"/>
                </a:cubicBezTo>
                <a:cubicBezTo>
                  <a:pt x="48" y="0"/>
                  <a:pt x="46" y="3"/>
                  <a:pt x="46" y="6"/>
                </a:cubicBezTo>
                <a:cubicBezTo>
                  <a:pt x="46" y="9"/>
                  <a:pt x="48" y="12"/>
                  <a:pt x="51" y="12"/>
                </a:cubicBezTo>
                <a:close/>
                <a:moveTo>
                  <a:pt x="28" y="12"/>
                </a:moveTo>
                <a:cubicBezTo>
                  <a:pt x="32" y="12"/>
                  <a:pt x="32" y="12"/>
                  <a:pt x="32" y="12"/>
                </a:cubicBezTo>
                <a:cubicBezTo>
                  <a:pt x="35" y="12"/>
                  <a:pt x="38" y="9"/>
                  <a:pt x="38" y="6"/>
                </a:cubicBezTo>
                <a:cubicBezTo>
                  <a:pt x="38" y="3"/>
                  <a:pt x="35" y="0"/>
                  <a:pt x="32" y="0"/>
                </a:cubicBezTo>
                <a:cubicBezTo>
                  <a:pt x="28" y="0"/>
                  <a:pt x="28" y="0"/>
                  <a:pt x="28" y="0"/>
                </a:cubicBezTo>
                <a:cubicBezTo>
                  <a:pt x="25" y="0"/>
                  <a:pt x="22" y="3"/>
                  <a:pt x="22" y="6"/>
                </a:cubicBezTo>
                <a:cubicBezTo>
                  <a:pt x="22" y="9"/>
                  <a:pt x="25" y="12"/>
                  <a:pt x="28" y="12"/>
                </a:cubicBezTo>
                <a:close/>
                <a:moveTo>
                  <a:pt x="12" y="8"/>
                </a:moveTo>
                <a:cubicBezTo>
                  <a:pt x="12" y="6"/>
                  <a:pt x="12" y="6"/>
                  <a:pt x="12" y="6"/>
                </a:cubicBezTo>
                <a:cubicBezTo>
                  <a:pt x="6" y="6"/>
                  <a:pt x="6" y="6"/>
                  <a:pt x="6" y="6"/>
                </a:cubicBezTo>
                <a:cubicBezTo>
                  <a:pt x="6" y="12"/>
                  <a:pt x="6" y="12"/>
                  <a:pt x="6" y="12"/>
                </a:cubicBezTo>
                <a:cubicBezTo>
                  <a:pt x="9" y="12"/>
                  <a:pt x="9" y="12"/>
                  <a:pt x="9" y="12"/>
                </a:cubicBezTo>
                <a:cubicBezTo>
                  <a:pt x="12" y="12"/>
                  <a:pt x="14" y="9"/>
                  <a:pt x="14" y="6"/>
                </a:cubicBezTo>
                <a:cubicBezTo>
                  <a:pt x="14" y="3"/>
                  <a:pt x="12" y="0"/>
                  <a:pt x="9" y="0"/>
                </a:cubicBezTo>
                <a:cubicBezTo>
                  <a:pt x="6" y="0"/>
                  <a:pt x="6" y="0"/>
                  <a:pt x="6" y="0"/>
                </a:cubicBezTo>
                <a:cubicBezTo>
                  <a:pt x="5" y="0"/>
                  <a:pt x="3" y="1"/>
                  <a:pt x="2" y="2"/>
                </a:cubicBezTo>
                <a:cubicBezTo>
                  <a:pt x="1" y="3"/>
                  <a:pt x="0" y="5"/>
                  <a:pt x="0" y="6"/>
                </a:cubicBezTo>
                <a:cubicBezTo>
                  <a:pt x="0" y="8"/>
                  <a:pt x="0" y="8"/>
                  <a:pt x="0" y="8"/>
                </a:cubicBezTo>
                <a:cubicBezTo>
                  <a:pt x="0" y="11"/>
                  <a:pt x="3" y="14"/>
                  <a:pt x="6" y="14"/>
                </a:cubicBezTo>
                <a:cubicBezTo>
                  <a:pt x="9" y="14"/>
                  <a:pt x="12" y="11"/>
                  <a:pt x="12" y="8"/>
                </a:cubicBezTo>
                <a:close/>
                <a:moveTo>
                  <a:pt x="12" y="31"/>
                </a:moveTo>
                <a:cubicBezTo>
                  <a:pt x="12" y="27"/>
                  <a:pt x="12" y="27"/>
                  <a:pt x="12" y="27"/>
                </a:cubicBezTo>
                <a:cubicBezTo>
                  <a:pt x="12" y="24"/>
                  <a:pt x="9" y="21"/>
                  <a:pt x="6" y="21"/>
                </a:cubicBezTo>
                <a:cubicBezTo>
                  <a:pt x="3" y="21"/>
                  <a:pt x="0" y="24"/>
                  <a:pt x="0" y="27"/>
                </a:cubicBezTo>
                <a:cubicBezTo>
                  <a:pt x="0" y="31"/>
                  <a:pt x="0" y="31"/>
                  <a:pt x="0" y="31"/>
                </a:cubicBezTo>
                <a:cubicBezTo>
                  <a:pt x="0" y="34"/>
                  <a:pt x="3" y="37"/>
                  <a:pt x="6" y="37"/>
                </a:cubicBezTo>
                <a:cubicBezTo>
                  <a:pt x="9" y="37"/>
                  <a:pt x="12" y="34"/>
                  <a:pt x="12" y="31"/>
                </a:cubicBezTo>
                <a:close/>
                <a:moveTo>
                  <a:pt x="12" y="54"/>
                </a:moveTo>
                <a:cubicBezTo>
                  <a:pt x="12" y="51"/>
                  <a:pt x="12" y="51"/>
                  <a:pt x="12" y="51"/>
                </a:cubicBezTo>
                <a:cubicBezTo>
                  <a:pt x="12" y="47"/>
                  <a:pt x="9" y="45"/>
                  <a:pt x="6" y="45"/>
                </a:cubicBezTo>
                <a:cubicBezTo>
                  <a:pt x="3" y="45"/>
                  <a:pt x="0" y="47"/>
                  <a:pt x="0" y="51"/>
                </a:cubicBezTo>
                <a:cubicBezTo>
                  <a:pt x="0" y="54"/>
                  <a:pt x="0" y="54"/>
                  <a:pt x="0" y="54"/>
                </a:cubicBezTo>
                <a:cubicBezTo>
                  <a:pt x="0" y="58"/>
                  <a:pt x="3" y="60"/>
                  <a:pt x="6" y="60"/>
                </a:cubicBezTo>
                <a:cubicBezTo>
                  <a:pt x="9" y="60"/>
                  <a:pt x="12" y="58"/>
                  <a:pt x="12" y="54"/>
                </a:cubicBezTo>
                <a:close/>
                <a:moveTo>
                  <a:pt x="12" y="78"/>
                </a:moveTo>
                <a:cubicBezTo>
                  <a:pt x="12" y="74"/>
                  <a:pt x="12" y="74"/>
                  <a:pt x="12" y="74"/>
                </a:cubicBezTo>
                <a:cubicBezTo>
                  <a:pt x="12" y="71"/>
                  <a:pt x="9" y="68"/>
                  <a:pt x="6" y="68"/>
                </a:cubicBezTo>
                <a:cubicBezTo>
                  <a:pt x="3" y="68"/>
                  <a:pt x="0" y="71"/>
                  <a:pt x="0" y="74"/>
                </a:cubicBezTo>
                <a:cubicBezTo>
                  <a:pt x="0" y="78"/>
                  <a:pt x="0" y="78"/>
                  <a:pt x="0" y="78"/>
                </a:cubicBezTo>
                <a:cubicBezTo>
                  <a:pt x="0" y="81"/>
                  <a:pt x="3" y="84"/>
                  <a:pt x="6" y="84"/>
                </a:cubicBezTo>
                <a:cubicBezTo>
                  <a:pt x="9" y="84"/>
                  <a:pt x="12" y="81"/>
                  <a:pt x="12" y="78"/>
                </a:cubicBezTo>
                <a:close/>
                <a:moveTo>
                  <a:pt x="12" y="101"/>
                </a:moveTo>
                <a:cubicBezTo>
                  <a:pt x="12" y="97"/>
                  <a:pt x="12" y="97"/>
                  <a:pt x="12" y="97"/>
                </a:cubicBezTo>
                <a:cubicBezTo>
                  <a:pt x="12" y="94"/>
                  <a:pt x="9" y="91"/>
                  <a:pt x="6" y="91"/>
                </a:cubicBezTo>
                <a:cubicBezTo>
                  <a:pt x="3" y="91"/>
                  <a:pt x="0" y="94"/>
                  <a:pt x="0" y="97"/>
                </a:cubicBezTo>
                <a:cubicBezTo>
                  <a:pt x="0" y="101"/>
                  <a:pt x="0" y="101"/>
                  <a:pt x="0" y="101"/>
                </a:cubicBezTo>
                <a:cubicBezTo>
                  <a:pt x="0" y="104"/>
                  <a:pt x="3" y="107"/>
                  <a:pt x="6" y="107"/>
                </a:cubicBezTo>
                <a:cubicBezTo>
                  <a:pt x="9" y="107"/>
                  <a:pt x="12" y="104"/>
                  <a:pt x="12" y="101"/>
                </a:cubicBezTo>
                <a:close/>
                <a:moveTo>
                  <a:pt x="12" y="125"/>
                </a:moveTo>
                <a:cubicBezTo>
                  <a:pt x="12" y="121"/>
                  <a:pt x="12" y="121"/>
                  <a:pt x="12" y="121"/>
                </a:cubicBezTo>
                <a:cubicBezTo>
                  <a:pt x="12" y="117"/>
                  <a:pt x="9" y="115"/>
                  <a:pt x="6" y="115"/>
                </a:cubicBezTo>
                <a:cubicBezTo>
                  <a:pt x="3" y="115"/>
                  <a:pt x="0" y="117"/>
                  <a:pt x="0" y="121"/>
                </a:cubicBezTo>
                <a:cubicBezTo>
                  <a:pt x="0" y="125"/>
                  <a:pt x="0" y="125"/>
                  <a:pt x="0" y="125"/>
                </a:cubicBezTo>
                <a:cubicBezTo>
                  <a:pt x="0" y="128"/>
                  <a:pt x="3" y="130"/>
                  <a:pt x="6" y="130"/>
                </a:cubicBezTo>
                <a:cubicBezTo>
                  <a:pt x="9" y="130"/>
                  <a:pt x="12" y="128"/>
                  <a:pt x="12" y="125"/>
                </a:cubicBezTo>
                <a:close/>
                <a:moveTo>
                  <a:pt x="12" y="148"/>
                </a:moveTo>
                <a:cubicBezTo>
                  <a:pt x="12" y="144"/>
                  <a:pt x="12" y="144"/>
                  <a:pt x="12" y="144"/>
                </a:cubicBezTo>
                <a:cubicBezTo>
                  <a:pt x="12" y="141"/>
                  <a:pt x="9" y="138"/>
                  <a:pt x="6" y="138"/>
                </a:cubicBezTo>
                <a:cubicBezTo>
                  <a:pt x="3" y="138"/>
                  <a:pt x="0" y="141"/>
                  <a:pt x="0" y="144"/>
                </a:cubicBezTo>
                <a:cubicBezTo>
                  <a:pt x="0" y="148"/>
                  <a:pt x="0" y="148"/>
                  <a:pt x="0" y="148"/>
                </a:cubicBezTo>
                <a:cubicBezTo>
                  <a:pt x="0" y="151"/>
                  <a:pt x="3" y="154"/>
                  <a:pt x="6" y="154"/>
                </a:cubicBezTo>
                <a:cubicBezTo>
                  <a:pt x="9" y="154"/>
                  <a:pt x="12" y="151"/>
                  <a:pt x="12" y="148"/>
                </a:cubicBezTo>
                <a:close/>
                <a:moveTo>
                  <a:pt x="12" y="171"/>
                </a:moveTo>
                <a:cubicBezTo>
                  <a:pt x="12" y="168"/>
                  <a:pt x="12" y="168"/>
                  <a:pt x="12" y="168"/>
                </a:cubicBezTo>
                <a:cubicBezTo>
                  <a:pt x="12" y="164"/>
                  <a:pt x="9" y="162"/>
                  <a:pt x="6" y="162"/>
                </a:cubicBezTo>
                <a:cubicBezTo>
                  <a:pt x="3" y="162"/>
                  <a:pt x="0" y="164"/>
                  <a:pt x="0" y="168"/>
                </a:cubicBezTo>
                <a:cubicBezTo>
                  <a:pt x="0" y="171"/>
                  <a:pt x="0" y="171"/>
                  <a:pt x="0" y="171"/>
                </a:cubicBezTo>
                <a:cubicBezTo>
                  <a:pt x="0" y="175"/>
                  <a:pt x="3" y="177"/>
                  <a:pt x="6" y="177"/>
                </a:cubicBezTo>
                <a:cubicBezTo>
                  <a:pt x="9" y="177"/>
                  <a:pt x="12" y="175"/>
                  <a:pt x="12" y="171"/>
                </a:cubicBezTo>
                <a:close/>
                <a:moveTo>
                  <a:pt x="12" y="195"/>
                </a:moveTo>
                <a:cubicBezTo>
                  <a:pt x="12" y="191"/>
                  <a:pt x="12" y="191"/>
                  <a:pt x="12" y="191"/>
                </a:cubicBezTo>
                <a:cubicBezTo>
                  <a:pt x="12" y="188"/>
                  <a:pt x="9" y="185"/>
                  <a:pt x="6" y="185"/>
                </a:cubicBezTo>
                <a:cubicBezTo>
                  <a:pt x="3" y="185"/>
                  <a:pt x="0" y="188"/>
                  <a:pt x="0" y="191"/>
                </a:cubicBezTo>
                <a:cubicBezTo>
                  <a:pt x="0" y="195"/>
                  <a:pt x="0" y="195"/>
                  <a:pt x="0" y="195"/>
                </a:cubicBezTo>
                <a:cubicBezTo>
                  <a:pt x="0" y="198"/>
                  <a:pt x="3" y="201"/>
                  <a:pt x="6" y="201"/>
                </a:cubicBezTo>
                <a:cubicBezTo>
                  <a:pt x="9" y="201"/>
                  <a:pt x="12" y="198"/>
                  <a:pt x="12" y="195"/>
                </a:cubicBezTo>
                <a:close/>
                <a:moveTo>
                  <a:pt x="12" y="218"/>
                </a:moveTo>
                <a:cubicBezTo>
                  <a:pt x="12" y="214"/>
                  <a:pt x="12" y="214"/>
                  <a:pt x="12" y="214"/>
                </a:cubicBezTo>
                <a:cubicBezTo>
                  <a:pt x="12" y="211"/>
                  <a:pt x="9" y="208"/>
                  <a:pt x="6" y="208"/>
                </a:cubicBezTo>
                <a:cubicBezTo>
                  <a:pt x="3" y="208"/>
                  <a:pt x="0" y="211"/>
                  <a:pt x="0" y="214"/>
                </a:cubicBezTo>
                <a:cubicBezTo>
                  <a:pt x="0" y="218"/>
                  <a:pt x="0" y="218"/>
                  <a:pt x="0" y="218"/>
                </a:cubicBezTo>
                <a:cubicBezTo>
                  <a:pt x="0" y="221"/>
                  <a:pt x="3" y="224"/>
                  <a:pt x="6" y="224"/>
                </a:cubicBezTo>
                <a:cubicBezTo>
                  <a:pt x="9" y="224"/>
                  <a:pt x="12" y="221"/>
                  <a:pt x="12" y="218"/>
                </a:cubicBezTo>
                <a:close/>
                <a:moveTo>
                  <a:pt x="12" y="242"/>
                </a:moveTo>
                <a:cubicBezTo>
                  <a:pt x="12" y="238"/>
                  <a:pt x="12" y="238"/>
                  <a:pt x="12" y="238"/>
                </a:cubicBezTo>
                <a:cubicBezTo>
                  <a:pt x="12" y="234"/>
                  <a:pt x="9" y="232"/>
                  <a:pt x="6" y="232"/>
                </a:cubicBezTo>
                <a:cubicBezTo>
                  <a:pt x="3" y="232"/>
                  <a:pt x="0" y="234"/>
                  <a:pt x="0" y="238"/>
                </a:cubicBezTo>
                <a:cubicBezTo>
                  <a:pt x="0" y="242"/>
                  <a:pt x="0" y="242"/>
                  <a:pt x="0" y="242"/>
                </a:cubicBezTo>
                <a:cubicBezTo>
                  <a:pt x="0" y="245"/>
                  <a:pt x="3" y="247"/>
                  <a:pt x="6" y="247"/>
                </a:cubicBezTo>
                <a:cubicBezTo>
                  <a:pt x="9" y="247"/>
                  <a:pt x="12" y="245"/>
                  <a:pt x="12" y="242"/>
                </a:cubicBezTo>
                <a:close/>
                <a:moveTo>
                  <a:pt x="12" y="265"/>
                </a:moveTo>
                <a:cubicBezTo>
                  <a:pt x="12" y="261"/>
                  <a:pt x="12" y="261"/>
                  <a:pt x="12" y="261"/>
                </a:cubicBezTo>
                <a:cubicBezTo>
                  <a:pt x="12" y="258"/>
                  <a:pt x="9" y="255"/>
                  <a:pt x="6" y="255"/>
                </a:cubicBezTo>
                <a:cubicBezTo>
                  <a:pt x="3" y="255"/>
                  <a:pt x="0" y="258"/>
                  <a:pt x="0" y="261"/>
                </a:cubicBezTo>
                <a:cubicBezTo>
                  <a:pt x="0" y="265"/>
                  <a:pt x="0" y="265"/>
                  <a:pt x="0" y="265"/>
                </a:cubicBezTo>
                <a:cubicBezTo>
                  <a:pt x="0" y="268"/>
                  <a:pt x="3" y="271"/>
                  <a:pt x="6" y="271"/>
                </a:cubicBezTo>
                <a:cubicBezTo>
                  <a:pt x="9" y="271"/>
                  <a:pt x="12" y="268"/>
                  <a:pt x="12" y="265"/>
                </a:cubicBezTo>
                <a:close/>
                <a:moveTo>
                  <a:pt x="12" y="288"/>
                </a:moveTo>
                <a:cubicBezTo>
                  <a:pt x="12" y="284"/>
                  <a:pt x="12" y="284"/>
                  <a:pt x="12" y="284"/>
                </a:cubicBezTo>
                <a:cubicBezTo>
                  <a:pt x="12" y="281"/>
                  <a:pt x="9" y="279"/>
                  <a:pt x="6" y="279"/>
                </a:cubicBezTo>
                <a:cubicBezTo>
                  <a:pt x="3" y="279"/>
                  <a:pt x="0" y="281"/>
                  <a:pt x="0" y="284"/>
                </a:cubicBezTo>
                <a:cubicBezTo>
                  <a:pt x="0" y="288"/>
                  <a:pt x="0" y="288"/>
                  <a:pt x="0" y="288"/>
                </a:cubicBezTo>
                <a:cubicBezTo>
                  <a:pt x="0" y="292"/>
                  <a:pt x="3" y="294"/>
                  <a:pt x="6" y="294"/>
                </a:cubicBezTo>
                <a:cubicBezTo>
                  <a:pt x="9" y="294"/>
                  <a:pt x="12" y="292"/>
                  <a:pt x="12" y="288"/>
                </a:cubicBezTo>
                <a:close/>
                <a:moveTo>
                  <a:pt x="12" y="312"/>
                </a:moveTo>
                <a:cubicBezTo>
                  <a:pt x="12" y="308"/>
                  <a:pt x="12" y="308"/>
                  <a:pt x="12" y="308"/>
                </a:cubicBezTo>
                <a:cubicBezTo>
                  <a:pt x="12" y="305"/>
                  <a:pt x="9" y="302"/>
                  <a:pt x="6" y="302"/>
                </a:cubicBezTo>
                <a:cubicBezTo>
                  <a:pt x="3" y="302"/>
                  <a:pt x="0" y="305"/>
                  <a:pt x="0" y="308"/>
                </a:cubicBezTo>
                <a:cubicBezTo>
                  <a:pt x="0" y="312"/>
                  <a:pt x="0" y="312"/>
                  <a:pt x="0" y="312"/>
                </a:cubicBezTo>
                <a:cubicBezTo>
                  <a:pt x="0" y="315"/>
                  <a:pt x="3" y="318"/>
                  <a:pt x="6" y="318"/>
                </a:cubicBezTo>
                <a:cubicBezTo>
                  <a:pt x="9" y="318"/>
                  <a:pt x="12" y="315"/>
                  <a:pt x="12" y="312"/>
                </a:cubicBezTo>
                <a:close/>
                <a:moveTo>
                  <a:pt x="12" y="335"/>
                </a:moveTo>
                <a:cubicBezTo>
                  <a:pt x="12" y="331"/>
                  <a:pt x="12" y="331"/>
                  <a:pt x="12" y="331"/>
                </a:cubicBezTo>
                <a:cubicBezTo>
                  <a:pt x="12" y="328"/>
                  <a:pt x="9" y="325"/>
                  <a:pt x="6" y="325"/>
                </a:cubicBezTo>
                <a:cubicBezTo>
                  <a:pt x="3" y="325"/>
                  <a:pt x="0" y="328"/>
                  <a:pt x="0" y="331"/>
                </a:cubicBezTo>
                <a:cubicBezTo>
                  <a:pt x="0" y="335"/>
                  <a:pt x="0" y="335"/>
                  <a:pt x="0" y="335"/>
                </a:cubicBezTo>
                <a:cubicBezTo>
                  <a:pt x="0" y="338"/>
                  <a:pt x="3" y="341"/>
                  <a:pt x="6" y="341"/>
                </a:cubicBezTo>
                <a:cubicBezTo>
                  <a:pt x="9" y="341"/>
                  <a:pt x="12" y="338"/>
                  <a:pt x="12" y="335"/>
                </a:cubicBezTo>
                <a:close/>
                <a:moveTo>
                  <a:pt x="12" y="359"/>
                </a:moveTo>
                <a:cubicBezTo>
                  <a:pt x="12" y="355"/>
                  <a:pt x="12" y="355"/>
                  <a:pt x="12" y="355"/>
                </a:cubicBezTo>
                <a:cubicBezTo>
                  <a:pt x="12" y="351"/>
                  <a:pt x="9" y="349"/>
                  <a:pt x="6" y="349"/>
                </a:cubicBezTo>
                <a:cubicBezTo>
                  <a:pt x="3" y="349"/>
                  <a:pt x="0" y="351"/>
                  <a:pt x="0" y="355"/>
                </a:cubicBezTo>
                <a:cubicBezTo>
                  <a:pt x="0" y="359"/>
                  <a:pt x="0" y="359"/>
                  <a:pt x="0" y="359"/>
                </a:cubicBezTo>
                <a:cubicBezTo>
                  <a:pt x="0" y="362"/>
                  <a:pt x="3" y="364"/>
                  <a:pt x="6" y="364"/>
                </a:cubicBezTo>
                <a:cubicBezTo>
                  <a:pt x="9" y="364"/>
                  <a:pt x="12" y="362"/>
                  <a:pt x="12" y="359"/>
                </a:cubicBezTo>
                <a:close/>
                <a:moveTo>
                  <a:pt x="12" y="382"/>
                </a:moveTo>
                <a:cubicBezTo>
                  <a:pt x="12" y="378"/>
                  <a:pt x="12" y="378"/>
                  <a:pt x="12" y="378"/>
                </a:cubicBezTo>
                <a:cubicBezTo>
                  <a:pt x="12" y="375"/>
                  <a:pt x="9" y="372"/>
                  <a:pt x="6" y="372"/>
                </a:cubicBezTo>
                <a:cubicBezTo>
                  <a:pt x="3" y="372"/>
                  <a:pt x="0" y="375"/>
                  <a:pt x="0" y="378"/>
                </a:cubicBezTo>
                <a:cubicBezTo>
                  <a:pt x="0" y="382"/>
                  <a:pt x="0" y="382"/>
                  <a:pt x="0" y="382"/>
                </a:cubicBezTo>
                <a:cubicBezTo>
                  <a:pt x="0" y="385"/>
                  <a:pt x="3" y="388"/>
                  <a:pt x="6" y="388"/>
                </a:cubicBezTo>
                <a:cubicBezTo>
                  <a:pt x="9" y="388"/>
                  <a:pt x="12" y="385"/>
                  <a:pt x="12" y="382"/>
                </a:cubicBezTo>
                <a:close/>
                <a:moveTo>
                  <a:pt x="12" y="405"/>
                </a:moveTo>
                <a:cubicBezTo>
                  <a:pt x="12" y="401"/>
                  <a:pt x="12" y="401"/>
                  <a:pt x="12" y="401"/>
                </a:cubicBezTo>
                <a:cubicBezTo>
                  <a:pt x="12" y="398"/>
                  <a:pt x="9" y="396"/>
                  <a:pt x="6" y="396"/>
                </a:cubicBezTo>
                <a:cubicBezTo>
                  <a:pt x="3" y="396"/>
                  <a:pt x="0" y="398"/>
                  <a:pt x="0" y="401"/>
                </a:cubicBezTo>
                <a:cubicBezTo>
                  <a:pt x="0" y="405"/>
                  <a:pt x="0" y="405"/>
                  <a:pt x="0" y="405"/>
                </a:cubicBezTo>
                <a:cubicBezTo>
                  <a:pt x="0" y="409"/>
                  <a:pt x="3" y="411"/>
                  <a:pt x="6" y="411"/>
                </a:cubicBezTo>
                <a:cubicBezTo>
                  <a:pt x="9" y="411"/>
                  <a:pt x="12" y="409"/>
                  <a:pt x="12" y="405"/>
                </a:cubicBezTo>
                <a:close/>
                <a:moveTo>
                  <a:pt x="12" y="429"/>
                </a:moveTo>
                <a:cubicBezTo>
                  <a:pt x="12" y="425"/>
                  <a:pt x="12" y="425"/>
                  <a:pt x="12" y="425"/>
                </a:cubicBezTo>
                <a:cubicBezTo>
                  <a:pt x="12" y="422"/>
                  <a:pt x="9" y="419"/>
                  <a:pt x="6" y="419"/>
                </a:cubicBezTo>
                <a:cubicBezTo>
                  <a:pt x="3" y="419"/>
                  <a:pt x="0" y="422"/>
                  <a:pt x="0" y="425"/>
                </a:cubicBezTo>
                <a:cubicBezTo>
                  <a:pt x="0" y="429"/>
                  <a:pt x="0" y="429"/>
                  <a:pt x="0" y="429"/>
                </a:cubicBezTo>
                <a:cubicBezTo>
                  <a:pt x="0" y="432"/>
                  <a:pt x="3" y="435"/>
                  <a:pt x="6" y="435"/>
                </a:cubicBezTo>
                <a:cubicBezTo>
                  <a:pt x="9" y="435"/>
                  <a:pt x="12" y="432"/>
                  <a:pt x="12" y="429"/>
                </a:cubicBezTo>
                <a:close/>
                <a:moveTo>
                  <a:pt x="12" y="452"/>
                </a:moveTo>
                <a:cubicBezTo>
                  <a:pt x="12" y="448"/>
                  <a:pt x="12" y="448"/>
                  <a:pt x="12" y="448"/>
                </a:cubicBezTo>
                <a:cubicBezTo>
                  <a:pt x="12" y="445"/>
                  <a:pt x="9" y="442"/>
                  <a:pt x="6" y="442"/>
                </a:cubicBezTo>
                <a:cubicBezTo>
                  <a:pt x="3" y="442"/>
                  <a:pt x="0" y="445"/>
                  <a:pt x="0" y="448"/>
                </a:cubicBezTo>
                <a:cubicBezTo>
                  <a:pt x="0" y="452"/>
                  <a:pt x="0" y="452"/>
                  <a:pt x="0" y="452"/>
                </a:cubicBezTo>
                <a:cubicBezTo>
                  <a:pt x="0" y="455"/>
                  <a:pt x="3" y="458"/>
                  <a:pt x="6" y="458"/>
                </a:cubicBezTo>
                <a:cubicBezTo>
                  <a:pt x="9" y="458"/>
                  <a:pt x="12" y="455"/>
                  <a:pt x="12" y="452"/>
                </a:cubicBezTo>
                <a:close/>
                <a:moveTo>
                  <a:pt x="12" y="476"/>
                </a:moveTo>
                <a:cubicBezTo>
                  <a:pt x="12" y="472"/>
                  <a:pt x="12" y="472"/>
                  <a:pt x="12" y="472"/>
                </a:cubicBezTo>
                <a:cubicBezTo>
                  <a:pt x="12" y="468"/>
                  <a:pt x="9" y="466"/>
                  <a:pt x="6" y="466"/>
                </a:cubicBezTo>
                <a:cubicBezTo>
                  <a:pt x="3" y="466"/>
                  <a:pt x="0" y="468"/>
                  <a:pt x="0" y="472"/>
                </a:cubicBezTo>
                <a:cubicBezTo>
                  <a:pt x="0" y="476"/>
                  <a:pt x="0" y="476"/>
                  <a:pt x="0" y="476"/>
                </a:cubicBezTo>
                <a:cubicBezTo>
                  <a:pt x="0" y="479"/>
                  <a:pt x="3" y="481"/>
                  <a:pt x="6" y="481"/>
                </a:cubicBezTo>
                <a:cubicBezTo>
                  <a:pt x="9" y="481"/>
                  <a:pt x="12" y="479"/>
                  <a:pt x="12" y="476"/>
                </a:cubicBezTo>
                <a:close/>
                <a:moveTo>
                  <a:pt x="12" y="499"/>
                </a:moveTo>
                <a:cubicBezTo>
                  <a:pt x="12" y="495"/>
                  <a:pt x="12" y="495"/>
                  <a:pt x="12" y="495"/>
                </a:cubicBezTo>
                <a:cubicBezTo>
                  <a:pt x="12" y="492"/>
                  <a:pt x="9" y="489"/>
                  <a:pt x="6" y="489"/>
                </a:cubicBezTo>
                <a:cubicBezTo>
                  <a:pt x="3" y="489"/>
                  <a:pt x="0" y="492"/>
                  <a:pt x="0" y="495"/>
                </a:cubicBezTo>
                <a:cubicBezTo>
                  <a:pt x="0" y="499"/>
                  <a:pt x="0" y="499"/>
                  <a:pt x="0" y="499"/>
                </a:cubicBezTo>
                <a:cubicBezTo>
                  <a:pt x="0" y="502"/>
                  <a:pt x="3" y="505"/>
                  <a:pt x="6" y="505"/>
                </a:cubicBezTo>
                <a:cubicBezTo>
                  <a:pt x="9" y="505"/>
                  <a:pt x="12" y="502"/>
                  <a:pt x="12" y="499"/>
                </a:cubicBezTo>
                <a:close/>
                <a:moveTo>
                  <a:pt x="12" y="522"/>
                </a:moveTo>
                <a:cubicBezTo>
                  <a:pt x="12" y="518"/>
                  <a:pt x="12" y="518"/>
                  <a:pt x="12" y="518"/>
                </a:cubicBezTo>
                <a:cubicBezTo>
                  <a:pt x="12" y="515"/>
                  <a:pt x="9" y="513"/>
                  <a:pt x="6" y="513"/>
                </a:cubicBezTo>
                <a:cubicBezTo>
                  <a:pt x="3" y="513"/>
                  <a:pt x="0" y="515"/>
                  <a:pt x="0" y="518"/>
                </a:cubicBezTo>
                <a:cubicBezTo>
                  <a:pt x="0" y="522"/>
                  <a:pt x="0" y="522"/>
                  <a:pt x="0" y="522"/>
                </a:cubicBezTo>
                <a:cubicBezTo>
                  <a:pt x="0" y="526"/>
                  <a:pt x="3" y="528"/>
                  <a:pt x="6" y="528"/>
                </a:cubicBezTo>
                <a:cubicBezTo>
                  <a:pt x="9" y="528"/>
                  <a:pt x="12" y="526"/>
                  <a:pt x="12" y="522"/>
                </a:cubicBezTo>
                <a:close/>
                <a:moveTo>
                  <a:pt x="12" y="546"/>
                </a:moveTo>
                <a:cubicBezTo>
                  <a:pt x="12" y="542"/>
                  <a:pt x="12" y="542"/>
                  <a:pt x="12" y="542"/>
                </a:cubicBezTo>
                <a:cubicBezTo>
                  <a:pt x="12" y="539"/>
                  <a:pt x="9" y="536"/>
                  <a:pt x="6" y="536"/>
                </a:cubicBezTo>
                <a:cubicBezTo>
                  <a:pt x="3" y="536"/>
                  <a:pt x="0" y="539"/>
                  <a:pt x="0" y="542"/>
                </a:cubicBezTo>
                <a:cubicBezTo>
                  <a:pt x="0" y="546"/>
                  <a:pt x="0" y="546"/>
                  <a:pt x="0" y="546"/>
                </a:cubicBezTo>
                <a:cubicBezTo>
                  <a:pt x="0" y="549"/>
                  <a:pt x="3" y="552"/>
                  <a:pt x="6" y="552"/>
                </a:cubicBezTo>
                <a:cubicBezTo>
                  <a:pt x="9" y="552"/>
                  <a:pt x="12" y="549"/>
                  <a:pt x="12" y="546"/>
                </a:cubicBezTo>
                <a:close/>
                <a:moveTo>
                  <a:pt x="12" y="569"/>
                </a:moveTo>
                <a:cubicBezTo>
                  <a:pt x="12" y="565"/>
                  <a:pt x="12" y="565"/>
                  <a:pt x="12" y="565"/>
                </a:cubicBezTo>
                <a:cubicBezTo>
                  <a:pt x="12" y="562"/>
                  <a:pt x="9" y="559"/>
                  <a:pt x="6" y="559"/>
                </a:cubicBezTo>
                <a:cubicBezTo>
                  <a:pt x="3" y="559"/>
                  <a:pt x="0" y="562"/>
                  <a:pt x="0" y="565"/>
                </a:cubicBezTo>
                <a:cubicBezTo>
                  <a:pt x="0" y="569"/>
                  <a:pt x="0" y="569"/>
                  <a:pt x="0" y="569"/>
                </a:cubicBezTo>
                <a:cubicBezTo>
                  <a:pt x="0" y="572"/>
                  <a:pt x="3" y="575"/>
                  <a:pt x="6" y="575"/>
                </a:cubicBezTo>
                <a:cubicBezTo>
                  <a:pt x="9" y="575"/>
                  <a:pt x="12" y="572"/>
                  <a:pt x="12" y="569"/>
                </a:cubicBezTo>
                <a:close/>
                <a:moveTo>
                  <a:pt x="12" y="592"/>
                </a:moveTo>
                <a:cubicBezTo>
                  <a:pt x="12" y="589"/>
                  <a:pt x="12" y="589"/>
                  <a:pt x="12" y="589"/>
                </a:cubicBezTo>
                <a:cubicBezTo>
                  <a:pt x="12" y="585"/>
                  <a:pt x="9" y="583"/>
                  <a:pt x="6" y="583"/>
                </a:cubicBezTo>
                <a:cubicBezTo>
                  <a:pt x="3" y="583"/>
                  <a:pt x="0" y="585"/>
                  <a:pt x="0" y="589"/>
                </a:cubicBezTo>
                <a:cubicBezTo>
                  <a:pt x="0" y="592"/>
                  <a:pt x="0" y="592"/>
                  <a:pt x="0" y="592"/>
                </a:cubicBezTo>
                <a:cubicBezTo>
                  <a:pt x="0" y="596"/>
                  <a:pt x="3" y="598"/>
                  <a:pt x="6" y="598"/>
                </a:cubicBezTo>
                <a:cubicBezTo>
                  <a:pt x="9" y="598"/>
                  <a:pt x="12" y="596"/>
                  <a:pt x="12" y="592"/>
                </a:cubicBezTo>
                <a:close/>
                <a:moveTo>
                  <a:pt x="12" y="616"/>
                </a:moveTo>
                <a:cubicBezTo>
                  <a:pt x="12" y="612"/>
                  <a:pt x="12" y="612"/>
                  <a:pt x="12" y="612"/>
                </a:cubicBezTo>
                <a:cubicBezTo>
                  <a:pt x="12" y="609"/>
                  <a:pt x="9" y="606"/>
                  <a:pt x="6" y="606"/>
                </a:cubicBezTo>
                <a:cubicBezTo>
                  <a:pt x="3" y="606"/>
                  <a:pt x="0" y="609"/>
                  <a:pt x="0" y="612"/>
                </a:cubicBezTo>
                <a:cubicBezTo>
                  <a:pt x="0" y="616"/>
                  <a:pt x="0" y="616"/>
                  <a:pt x="0" y="616"/>
                </a:cubicBezTo>
                <a:cubicBezTo>
                  <a:pt x="0" y="619"/>
                  <a:pt x="3" y="622"/>
                  <a:pt x="6" y="622"/>
                </a:cubicBezTo>
                <a:cubicBezTo>
                  <a:pt x="9" y="622"/>
                  <a:pt x="12" y="619"/>
                  <a:pt x="12" y="616"/>
                </a:cubicBezTo>
                <a:close/>
                <a:moveTo>
                  <a:pt x="12" y="639"/>
                </a:moveTo>
                <a:cubicBezTo>
                  <a:pt x="12" y="635"/>
                  <a:pt x="12" y="635"/>
                  <a:pt x="12" y="635"/>
                </a:cubicBezTo>
                <a:cubicBezTo>
                  <a:pt x="12" y="632"/>
                  <a:pt x="9" y="630"/>
                  <a:pt x="6" y="630"/>
                </a:cubicBezTo>
                <a:cubicBezTo>
                  <a:pt x="3" y="630"/>
                  <a:pt x="0" y="632"/>
                  <a:pt x="0" y="635"/>
                </a:cubicBezTo>
                <a:cubicBezTo>
                  <a:pt x="0" y="639"/>
                  <a:pt x="0" y="639"/>
                  <a:pt x="0" y="639"/>
                </a:cubicBezTo>
                <a:cubicBezTo>
                  <a:pt x="0" y="643"/>
                  <a:pt x="3" y="645"/>
                  <a:pt x="6" y="645"/>
                </a:cubicBezTo>
                <a:cubicBezTo>
                  <a:pt x="9" y="645"/>
                  <a:pt x="12" y="643"/>
                  <a:pt x="12" y="639"/>
                </a:cubicBezTo>
                <a:close/>
                <a:moveTo>
                  <a:pt x="12" y="663"/>
                </a:moveTo>
                <a:cubicBezTo>
                  <a:pt x="12" y="659"/>
                  <a:pt x="12" y="659"/>
                  <a:pt x="12" y="659"/>
                </a:cubicBezTo>
                <a:cubicBezTo>
                  <a:pt x="12" y="656"/>
                  <a:pt x="9" y="653"/>
                  <a:pt x="6" y="653"/>
                </a:cubicBezTo>
                <a:cubicBezTo>
                  <a:pt x="3" y="653"/>
                  <a:pt x="0" y="656"/>
                  <a:pt x="0" y="659"/>
                </a:cubicBezTo>
                <a:cubicBezTo>
                  <a:pt x="0" y="663"/>
                  <a:pt x="0" y="663"/>
                  <a:pt x="0" y="663"/>
                </a:cubicBezTo>
                <a:cubicBezTo>
                  <a:pt x="0" y="666"/>
                  <a:pt x="3" y="669"/>
                  <a:pt x="6" y="669"/>
                </a:cubicBezTo>
                <a:cubicBezTo>
                  <a:pt x="9" y="669"/>
                  <a:pt x="12" y="666"/>
                  <a:pt x="12" y="663"/>
                </a:cubicBezTo>
                <a:close/>
                <a:moveTo>
                  <a:pt x="12" y="686"/>
                </a:moveTo>
                <a:cubicBezTo>
                  <a:pt x="12" y="682"/>
                  <a:pt x="12" y="682"/>
                  <a:pt x="12" y="682"/>
                </a:cubicBezTo>
                <a:cubicBezTo>
                  <a:pt x="12" y="679"/>
                  <a:pt x="9" y="676"/>
                  <a:pt x="6" y="676"/>
                </a:cubicBezTo>
                <a:cubicBezTo>
                  <a:pt x="3" y="676"/>
                  <a:pt x="0" y="679"/>
                  <a:pt x="0" y="682"/>
                </a:cubicBezTo>
                <a:cubicBezTo>
                  <a:pt x="0" y="686"/>
                  <a:pt x="0" y="686"/>
                  <a:pt x="0" y="686"/>
                </a:cubicBezTo>
                <a:cubicBezTo>
                  <a:pt x="0" y="689"/>
                  <a:pt x="3" y="692"/>
                  <a:pt x="6" y="692"/>
                </a:cubicBezTo>
                <a:cubicBezTo>
                  <a:pt x="9" y="692"/>
                  <a:pt x="12" y="689"/>
                  <a:pt x="12" y="686"/>
                </a:cubicBezTo>
                <a:close/>
                <a:moveTo>
                  <a:pt x="12" y="709"/>
                </a:moveTo>
                <a:cubicBezTo>
                  <a:pt x="12" y="706"/>
                  <a:pt x="12" y="706"/>
                  <a:pt x="12" y="706"/>
                </a:cubicBezTo>
                <a:cubicBezTo>
                  <a:pt x="12" y="702"/>
                  <a:pt x="9" y="700"/>
                  <a:pt x="6" y="700"/>
                </a:cubicBezTo>
                <a:cubicBezTo>
                  <a:pt x="3" y="700"/>
                  <a:pt x="0" y="702"/>
                  <a:pt x="0" y="706"/>
                </a:cubicBezTo>
                <a:cubicBezTo>
                  <a:pt x="0" y="709"/>
                  <a:pt x="0" y="709"/>
                  <a:pt x="0" y="709"/>
                </a:cubicBezTo>
                <a:cubicBezTo>
                  <a:pt x="0" y="713"/>
                  <a:pt x="3" y="715"/>
                  <a:pt x="6" y="715"/>
                </a:cubicBezTo>
                <a:cubicBezTo>
                  <a:pt x="9" y="715"/>
                  <a:pt x="12" y="713"/>
                  <a:pt x="12" y="709"/>
                </a:cubicBezTo>
                <a:close/>
                <a:moveTo>
                  <a:pt x="12" y="733"/>
                </a:moveTo>
                <a:cubicBezTo>
                  <a:pt x="12" y="729"/>
                  <a:pt x="12" y="729"/>
                  <a:pt x="12" y="729"/>
                </a:cubicBezTo>
                <a:cubicBezTo>
                  <a:pt x="12" y="726"/>
                  <a:pt x="9" y="723"/>
                  <a:pt x="6" y="723"/>
                </a:cubicBezTo>
                <a:cubicBezTo>
                  <a:pt x="3" y="723"/>
                  <a:pt x="0" y="726"/>
                  <a:pt x="0" y="729"/>
                </a:cubicBezTo>
                <a:cubicBezTo>
                  <a:pt x="0" y="733"/>
                  <a:pt x="0" y="733"/>
                  <a:pt x="0" y="733"/>
                </a:cubicBezTo>
                <a:cubicBezTo>
                  <a:pt x="0" y="736"/>
                  <a:pt x="3" y="739"/>
                  <a:pt x="6" y="739"/>
                </a:cubicBezTo>
                <a:cubicBezTo>
                  <a:pt x="9" y="739"/>
                  <a:pt x="12" y="736"/>
                  <a:pt x="12" y="733"/>
                </a:cubicBezTo>
                <a:close/>
                <a:moveTo>
                  <a:pt x="12" y="756"/>
                </a:moveTo>
                <a:cubicBezTo>
                  <a:pt x="12" y="752"/>
                  <a:pt x="12" y="752"/>
                  <a:pt x="12" y="752"/>
                </a:cubicBezTo>
                <a:cubicBezTo>
                  <a:pt x="12" y="749"/>
                  <a:pt x="9" y="747"/>
                  <a:pt x="6" y="747"/>
                </a:cubicBezTo>
                <a:cubicBezTo>
                  <a:pt x="3" y="747"/>
                  <a:pt x="0" y="749"/>
                  <a:pt x="0" y="752"/>
                </a:cubicBezTo>
                <a:cubicBezTo>
                  <a:pt x="0" y="756"/>
                  <a:pt x="0" y="756"/>
                  <a:pt x="0" y="756"/>
                </a:cubicBezTo>
                <a:cubicBezTo>
                  <a:pt x="0" y="759"/>
                  <a:pt x="3" y="762"/>
                  <a:pt x="6" y="762"/>
                </a:cubicBezTo>
                <a:cubicBezTo>
                  <a:pt x="9" y="762"/>
                  <a:pt x="12" y="759"/>
                  <a:pt x="12" y="756"/>
                </a:cubicBezTo>
                <a:close/>
                <a:moveTo>
                  <a:pt x="12" y="780"/>
                </a:moveTo>
                <a:cubicBezTo>
                  <a:pt x="12" y="776"/>
                  <a:pt x="12" y="776"/>
                  <a:pt x="12" y="776"/>
                </a:cubicBezTo>
                <a:cubicBezTo>
                  <a:pt x="12" y="773"/>
                  <a:pt x="9" y="770"/>
                  <a:pt x="6" y="770"/>
                </a:cubicBezTo>
                <a:cubicBezTo>
                  <a:pt x="3" y="770"/>
                  <a:pt x="0" y="773"/>
                  <a:pt x="0" y="776"/>
                </a:cubicBezTo>
                <a:cubicBezTo>
                  <a:pt x="0" y="780"/>
                  <a:pt x="0" y="780"/>
                  <a:pt x="0" y="780"/>
                </a:cubicBezTo>
                <a:cubicBezTo>
                  <a:pt x="0" y="783"/>
                  <a:pt x="3" y="785"/>
                  <a:pt x="6" y="785"/>
                </a:cubicBezTo>
                <a:cubicBezTo>
                  <a:pt x="9" y="785"/>
                  <a:pt x="12" y="783"/>
                  <a:pt x="12" y="780"/>
                </a:cubicBezTo>
                <a:close/>
                <a:moveTo>
                  <a:pt x="12" y="803"/>
                </a:moveTo>
                <a:cubicBezTo>
                  <a:pt x="12" y="799"/>
                  <a:pt x="12" y="799"/>
                  <a:pt x="12" y="799"/>
                </a:cubicBezTo>
                <a:cubicBezTo>
                  <a:pt x="12" y="796"/>
                  <a:pt x="9" y="793"/>
                  <a:pt x="6" y="793"/>
                </a:cubicBezTo>
                <a:cubicBezTo>
                  <a:pt x="3" y="793"/>
                  <a:pt x="0" y="796"/>
                  <a:pt x="0" y="799"/>
                </a:cubicBezTo>
                <a:cubicBezTo>
                  <a:pt x="0" y="803"/>
                  <a:pt x="0" y="803"/>
                  <a:pt x="0" y="803"/>
                </a:cubicBezTo>
                <a:cubicBezTo>
                  <a:pt x="0" y="806"/>
                  <a:pt x="3" y="809"/>
                  <a:pt x="6" y="809"/>
                </a:cubicBezTo>
                <a:cubicBezTo>
                  <a:pt x="9" y="809"/>
                  <a:pt x="12" y="806"/>
                  <a:pt x="12" y="803"/>
                </a:cubicBezTo>
                <a:close/>
                <a:moveTo>
                  <a:pt x="12" y="826"/>
                </a:moveTo>
                <a:cubicBezTo>
                  <a:pt x="12" y="823"/>
                  <a:pt x="12" y="823"/>
                  <a:pt x="12" y="823"/>
                </a:cubicBezTo>
                <a:cubicBezTo>
                  <a:pt x="12" y="819"/>
                  <a:pt x="9" y="817"/>
                  <a:pt x="6" y="817"/>
                </a:cubicBezTo>
                <a:cubicBezTo>
                  <a:pt x="3" y="817"/>
                  <a:pt x="0" y="819"/>
                  <a:pt x="0" y="823"/>
                </a:cubicBezTo>
                <a:cubicBezTo>
                  <a:pt x="0" y="826"/>
                  <a:pt x="0" y="826"/>
                  <a:pt x="0" y="826"/>
                </a:cubicBezTo>
                <a:cubicBezTo>
                  <a:pt x="0" y="830"/>
                  <a:pt x="3" y="832"/>
                  <a:pt x="6" y="832"/>
                </a:cubicBezTo>
                <a:cubicBezTo>
                  <a:pt x="9" y="832"/>
                  <a:pt x="12" y="830"/>
                  <a:pt x="12" y="826"/>
                </a:cubicBezTo>
                <a:close/>
                <a:moveTo>
                  <a:pt x="12" y="850"/>
                </a:moveTo>
                <a:cubicBezTo>
                  <a:pt x="12" y="846"/>
                  <a:pt x="12" y="846"/>
                  <a:pt x="12" y="846"/>
                </a:cubicBezTo>
                <a:cubicBezTo>
                  <a:pt x="12" y="843"/>
                  <a:pt x="9" y="840"/>
                  <a:pt x="6" y="840"/>
                </a:cubicBezTo>
                <a:cubicBezTo>
                  <a:pt x="3" y="840"/>
                  <a:pt x="0" y="843"/>
                  <a:pt x="0" y="846"/>
                </a:cubicBezTo>
                <a:cubicBezTo>
                  <a:pt x="0" y="850"/>
                  <a:pt x="0" y="850"/>
                  <a:pt x="0" y="850"/>
                </a:cubicBezTo>
                <a:cubicBezTo>
                  <a:pt x="0" y="853"/>
                  <a:pt x="3" y="856"/>
                  <a:pt x="6" y="856"/>
                </a:cubicBezTo>
                <a:cubicBezTo>
                  <a:pt x="9" y="856"/>
                  <a:pt x="12" y="853"/>
                  <a:pt x="12" y="850"/>
                </a:cubicBezTo>
                <a:close/>
                <a:moveTo>
                  <a:pt x="12" y="873"/>
                </a:moveTo>
                <a:cubicBezTo>
                  <a:pt x="12" y="869"/>
                  <a:pt x="12" y="869"/>
                  <a:pt x="12" y="869"/>
                </a:cubicBezTo>
                <a:cubicBezTo>
                  <a:pt x="12" y="866"/>
                  <a:pt x="9" y="863"/>
                  <a:pt x="6" y="863"/>
                </a:cubicBezTo>
                <a:cubicBezTo>
                  <a:pt x="3" y="863"/>
                  <a:pt x="0" y="866"/>
                  <a:pt x="0" y="869"/>
                </a:cubicBezTo>
                <a:cubicBezTo>
                  <a:pt x="0" y="873"/>
                  <a:pt x="0" y="873"/>
                  <a:pt x="0" y="873"/>
                </a:cubicBezTo>
                <a:cubicBezTo>
                  <a:pt x="0" y="876"/>
                  <a:pt x="3" y="879"/>
                  <a:pt x="6" y="879"/>
                </a:cubicBezTo>
                <a:cubicBezTo>
                  <a:pt x="9" y="879"/>
                  <a:pt x="12" y="876"/>
                  <a:pt x="12" y="873"/>
                </a:cubicBezTo>
                <a:close/>
                <a:moveTo>
                  <a:pt x="12" y="897"/>
                </a:moveTo>
                <a:cubicBezTo>
                  <a:pt x="12" y="893"/>
                  <a:pt x="12" y="893"/>
                  <a:pt x="12" y="893"/>
                </a:cubicBezTo>
                <a:cubicBezTo>
                  <a:pt x="12" y="889"/>
                  <a:pt x="9" y="887"/>
                  <a:pt x="6" y="887"/>
                </a:cubicBezTo>
                <a:cubicBezTo>
                  <a:pt x="3" y="887"/>
                  <a:pt x="0" y="889"/>
                  <a:pt x="0" y="893"/>
                </a:cubicBezTo>
                <a:cubicBezTo>
                  <a:pt x="0" y="897"/>
                  <a:pt x="0" y="897"/>
                  <a:pt x="0" y="897"/>
                </a:cubicBezTo>
                <a:cubicBezTo>
                  <a:pt x="0" y="900"/>
                  <a:pt x="3" y="902"/>
                  <a:pt x="6" y="902"/>
                </a:cubicBezTo>
                <a:cubicBezTo>
                  <a:pt x="9" y="902"/>
                  <a:pt x="12" y="900"/>
                  <a:pt x="12" y="897"/>
                </a:cubicBezTo>
                <a:close/>
                <a:moveTo>
                  <a:pt x="12" y="920"/>
                </a:moveTo>
                <a:cubicBezTo>
                  <a:pt x="12" y="916"/>
                  <a:pt x="12" y="916"/>
                  <a:pt x="12" y="916"/>
                </a:cubicBezTo>
                <a:cubicBezTo>
                  <a:pt x="12" y="913"/>
                  <a:pt x="9" y="910"/>
                  <a:pt x="6" y="910"/>
                </a:cubicBezTo>
                <a:cubicBezTo>
                  <a:pt x="3" y="910"/>
                  <a:pt x="0" y="913"/>
                  <a:pt x="0" y="916"/>
                </a:cubicBezTo>
                <a:cubicBezTo>
                  <a:pt x="0" y="920"/>
                  <a:pt x="0" y="920"/>
                  <a:pt x="0" y="920"/>
                </a:cubicBezTo>
                <a:cubicBezTo>
                  <a:pt x="0" y="923"/>
                  <a:pt x="3" y="926"/>
                  <a:pt x="6" y="926"/>
                </a:cubicBezTo>
                <a:cubicBezTo>
                  <a:pt x="9" y="926"/>
                  <a:pt x="12" y="923"/>
                  <a:pt x="12" y="920"/>
                </a:cubicBezTo>
                <a:close/>
                <a:moveTo>
                  <a:pt x="12" y="943"/>
                </a:moveTo>
                <a:cubicBezTo>
                  <a:pt x="12" y="940"/>
                  <a:pt x="12" y="940"/>
                  <a:pt x="12" y="940"/>
                </a:cubicBezTo>
                <a:cubicBezTo>
                  <a:pt x="12" y="936"/>
                  <a:pt x="9" y="934"/>
                  <a:pt x="6" y="934"/>
                </a:cubicBezTo>
                <a:cubicBezTo>
                  <a:pt x="3" y="934"/>
                  <a:pt x="0" y="936"/>
                  <a:pt x="0" y="940"/>
                </a:cubicBezTo>
                <a:cubicBezTo>
                  <a:pt x="0" y="943"/>
                  <a:pt x="0" y="943"/>
                  <a:pt x="0" y="943"/>
                </a:cubicBezTo>
                <a:cubicBezTo>
                  <a:pt x="0" y="947"/>
                  <a:pt x="3" y="949"/>
                  <a:pt x="6" y="949"/>
                </a:cubicBezTo>
                <a:cubicBezTo>
                  <a:pt x="9" y="949"/>
                  <a:pt x="12" y="947"/>
                  <a:pt x="12" y="943"/>
                </a:cubicBezTo>
                <a:close/>
                <a:moveTo>
                  <a:pt x="12" y="967"/>
                </a:moveTo>
                <a:cubicBezTo>
                  <a:pt x="12" y="963"/>
                  <a:pt x="12" y="963"/>
                  <a:pt x="12" y="963"/>
                </a:cubicBezTo>
                <a:cubicBezTo>
                  <a:pt x="12" y="960"/>
                  <a:pt x="9" y="957"/>
                  <a:pt x="6" y="957"/>
                </a:cubicBezTo>
                <a:cubicBezTo>
                  <a:pt x="3" y="957"/>
                  <a:pt x="0" y="960"/>
                  <a:pt x="0" y="963"/>
                </a:cubicBezTo>
                <a:cubicBezTo>
                  <a:pt x="0" y="967"/>
                  <a:pt x="0" y="967"/>
                  <a:pt x="0" y="967"/>
                </a:cubicBezTo>
                <a:cubicBezTo>
                  <a:pt x="0" y="970"/>
                  <a:pt x="3" y="973"/>
                  <a:pt x="6" y="973"/>
                </a:cubicBezTo>
                <a:cubicBezTo>
                  <a:pt x="9" y="973"/>
                  <a:pt x="12" y="970"/>
                  <a:pt x="12" y="967"/>
                </a:cubicBezTo>
                <a:close/>
                <a:moveTo>
                  <a:pt x="12" y="990"/>
                </a:moveTo>
                <a:cubicBezTo>
                  <a:pt x="12" y="986"/>
                  <a:pt x="12" y="986"/>
                  <a:pt x="12" y="986"/>
                </a:cubicBezTo>
                <a:cubicBezTo>
                  <a:pt x="12" y="983"/>
                  <a:pt x="9" y="980"/>
                  <a:pt x="6" y="980"/>
                </a:cubicBezTo>
                <a:cubicBezTo>
                  <a:pt x="3" y="980"/>
                  <a:pt x="0" y="983"/>
                  <a:pt x="0" y="986"/>
                </a:cubicBezTo>
                <a:cubicBezTo>
                  <a:pt x="0" y="990"/>
                  <a:pt x="0" y="990"/>
                  <a:pt x="0" y="990"/>
                </a:cubicBezTo>
                <a:cubicBezTo>
                  <a:pt x="0" y="993"/>
                  <a:pt x="3" y="996"/>
                  <a:pt x="6" y="996"/>
                </a:cubicBezTo>
                <a:cubicBezTo>
                  <a:pt x="9" y="996"/>
                  <a:pt x="12" y="993"/>
                  <a:pt x="12" y="990"/>
                </a:cubicBezTo>
                <a:close/>
                <a:moveTo>
                  <a:pt x="12" y="1014"/>
                </a:moveTo>
                <a:cubicBezTo>
                  <a:pt x="12" y="1010"/>
                  <a:pt x="12" y="1010"/>
                  <a:pt x="12" y="1010"/>
                </a:cubicBezTo>
                <a:cubicBezTo>
                  <a:pt x="12" y="1006"/>
                  <a:pt x="9" y="1004"/>
                  <a:pt x="6" y="1004"/>
                </a:cubicBezTo>
                <a:cubicBezTo>
                  <a:pt x="3" y="1004"/>
                  <a:pt x="0" y="1006"/>
                  <a:pt x="0" y="1010"/>
                </a:cubicBezTo>
                <a:cubicBezTo>
                  <a:pt x="0" y="1014"/>
                  <a:pt x="0" y="1014"/>
                  <a:pt x="0" y="1014"/>
                </a:cubicBezTo>
                <a:cubicBezTo>
                  <a:pt x="0" y="1017"/>
                  <a:pt x="3" y="1019"/>
                  <a:pt x="6" y="1019"/>
                </a:cubicBezTo>
                <a:cubicBezTo>
                  <a:pt x="9" y="1019"/>
                  <a:pt x="12" y="1017"/>
                  <a:pt x="12" y="1014"/>
                </a:cubicBezTo>
                <a:close/>
                <a:moveTo>
                  <a:pt x="12" y="1037"/>
                </a:moveTo>
                <a:cubicBezTo>
                  <a:pt x="12" y="1033"/>
                  <a:pt x="12" y="1033"/>
                  <a:pt x="12" y="1033"/>
                </a:cubicBezTo>
                <a:cubicBezTo>
                  <a:pt x="12" y="1030"/>
                  <a:pt x="9" y="1027"/>
                  <a:pt x="6" y="1027"/>
                </a:cubicBezTo>
                <a:cubicBezTo>
                  <a:pt x="3" y="1027"/>
                  <a:pt x="0" y="1030"/>
                  <a:pt x="0" y="1033"/>
                </a:cubicBezTo>
                <a:cubicBezTo>
                  <a:pt x="0" y="1037"/>
                  <a:pt x="0" y="1037"/>
                  <a:pt x="0" y="1037"/>
                </a:cubicBezTo>
                <a:cubicBezTo>
                  <a:pt x="0" y="1040"/>
                  <a:pt x="3" y="1043"/>
                  <a:pt x="6" y="1043"/>
                </a:cubicBezTo>
                <a:cubicBezTo>
                  <a:pt x="9" y="1043"/>
                  <a:pt x="12" y="1040"/>
                  <a:pt x="12" y="1037"/>
                </a:cubicBezTo>
                <a:close/>
                <a:moveTo>
                  <a:pt x="12" y="1060"/>
                </a:moveTo>
                <a:cubicBezTo>
                  <a:pt x="12" y="1056"/>
                  <a:pt x="12" y="1056"/>
                  <a:pt x="12" y="1056"/>
                </a:cubicBezTo>
                <a:cubicBezTo>
                  <a:pt x="12" y="1053"/>
                  <a:pt x="9" y="1051"/>
                  <a:pt x="6" y="1051"/>
                </a:cubicBezTo>
                <a:cubicBezTo>
                  <a:pt x="3" y="1051"/>
                  <a:pt x="0" y="1053"/>
                  <a:pt x="0" y="1056"/>
                </a:cubicBezTo>
                <a:cubicBezTo>
                  <a:pt x="0" y="1060"/>
                  <a:pt x="0" y="1060"/>
                  <a:pt x="0" y="1060"/>
                </a:cubicBezTo>
                <a:cubicBezTo>
                  <a:pt x="0" y="1064"/>
                  <a:pt x="3" y="1066"/>
                  <a:pt x="6" y="1066"/>
                </a:cubicBezTo>
                <a:cubicBezTo>
                  <a:pt x="9" y="1066"/>
                  <a:pt x="12" y="1064"/>
                  <a:pt x="12" y="1060"/>
                </a:cubicBezTo>
                <a:close/>
                <a:moveTo>
                  <a:pt x="12" y="1084"/>
                </a:moveTo>
                <a:cubicBezTo>
                  <a:pt x="12" y="1080"/>
                  <a:pt x="12" y="1080"/>
                  <a:pt x="12" y="1080"/>
                </a:cubicBezTo>
                <a:cubicBezTo>
                  <a:pt x="12" y="1077"/>
                  <a:pt x="9" y="1074"/>
                  <a:pt x="6" y="1074"/>
                </a:cubicBezTo>
                <a:cubicBezTo>
                  <a:pt x="3" y="1074"/>
                  <a:pt x="0" y="1077"/>
                  <a:pt x="0" y="1080"/>
                </a:cubicBezTo>
                <a:cubicBezTo>
                  <a:pt x="0" y="1084"/>
                  <a:pt x="0" y="1084"/>
                  <a:pt x="0" y="1084"/>
                </a:cubicBezTo>
                <a:cubicBezTo>
                  <a:pt x="0" y="1087"/>
                  <a:pt x="3" y="1090"/>
                  <a:pt x="6" y="1090"/>
                </a:cubicBezTo>
                <a:cubicBezTo>
                  <a:pt x="9" y="1090"/>
                  <a:pt x="12" y="1087"/>
                  <a:pt x="12" y="1084"/>
                </a:cubicBezTo>
                <a:close/>
                <a:moveTo>
                  <a:pt x="12" y="1107"/>
                </a:moveTo>
                <a:cubicBezTo>
                  <a:pt x="12" y="1103"/>
                  <a:pt x="12" y="1103"/>
                  <a:pt x="12" y="1103"/>
                </a:cubicBezTo>
                <a:cubicBezTo>
                  <a:pt x="12" y="1100"/>
                  <a:pt x="9" y="1097"/>
                  <a:pt x="6" y="1097"/>
                </a:cubicBezTo>
                <a:cubicBezTo>
                  <a:pt x="3" y="1097"/>
                  <a:pt x="0" y="1100"/>
                  <a:pt x="0" y="1103"/>
                </a:cubicBezTo>
                <a:cubicBezTo>
                  <a:pt x="0" y="1107"/>
                  <a:pt x="0" y="1107"/>
                  <a:pt x="0" y="1107"/>
                </a:cubicBezTo>
                <a:cubicBezTo>
                  <a:pt x="0" y="1110"/>
                  <a:pt x="3" y="1113"/>
                  <a:pt x="6" y="1113"/>
                </a:cubicBezTo>
                <a:cubicBezTo>
                  <a:pt x="9" y="1113"/>
                  <a:pt x="12" y="1110"/>
                  <a:pt x="12" y="1107"/>
                </a:cubicBezTo>
                <a:close/>
                <a:moveTo>
                  <a:pt x="12" y="1131"/>
                </a:moveTo>
                <a:cubicBezTo>
                  <a:pt x="12" y="1127"/>
                  <a:pt x="12" y="1127"/>
                  <a:pt x="12" y="1127"/>
                </a:cubicBezTo>
                <a:cubicBezTo>
                  <a:pt x="12" y="1123"/>
                  <a:pt x="9" y="1121"/>
                  <a:pt x="6" y="1121"/>
                </a:cubicBezTo>
                <a:cubicBezTo>
                  <a:pt x="3" y="1121"/>
                  <a:pt x="0" y="1123"/>
                  <a:pt x="0" y="1127"/>
                </a:cubicBezTo>
                <a:cubicBezTo>
                  <a:pt x="0" y="1131"/>
                  <a:pt x="0" y="1131"/>
                  <a:pt x="0" y="1131"/>
                </a:cubicBezTo>
                <a:cubicBezTo>
                  <a:pt x="0" y="1134"/>
                  <a:pt x="3" y="1136"/>
                  <a:pt x="6" y="1136"/>
                </a:cubicBezTo>
                <a:cubicBezTo>
                  <a:pt x="9" y="1136"/>
                  <a:pt x="12" y="1134"/>
                  <a:pt x="12" y="1131"/>
                </a:cubicBezTo>
                <a:close/>
                <a:moveTo>
                  <a:pt x="12" y="1154"/>
                </a:moveTo>
                <a:cubicBezTo>
                  <a:pt x="12" y="1150"/>
                  <a:pt x="12" y="1150"/>
                  <a:pt x="12" y="1150"/>
                </a:cubicBezTo>
                <a:cubicBezTo>
                  <a:pt x="12" y="1147"/>
                  <a:pt x="9" y="1144"/>
                  <a:pt x="6" y="1144"/>
                </a:cubicBezTo>
                <a:cubicBezTo>
                  <a:pt x="3" y="1144"/>
                  <a:pt x="0" y="1147"/>
                  <a:pt x="0" y="1150"/>
                </a:cubicBezTo>
                <a:cubicBezTo>
                  <a:pt x="0" y="1154"/>
                  <a:pt x="0" y="1154"/>
                  <a:pt x="0" y="1154"/>
                </a:cubicBezTo>
                <a:cubicBezTo>
                  <a:pt x="0" y="1157"/>
                  <a:pt x="3" y="1160"/>
                  <a:pt x="6" y="1160"/>
                </a:cubicBezTo>
                <a:cubicBezTo>
                  <a:pt x="9" y="1160"/>
                  <a:pt x="12" y="1157"/>
                  <a:pt x="12" y="1154"/>
                </a:cubicBezTo>
                <a:close/>
                <a:moveTo>
                  <a:pt x="12" y="1177"/>
                </a:moveTo>
                <a:cubicBezTo>
                  <a:pt x="12" y="1173"/>
                  <a:pt x="12" y="1173"/>
                  <a:pt x="12" y="1173"/>
                </a:cubicBezTo>
                <a:cubicBezTo>
                  <a:pt x="12" y="1170"/>
                  <a:pt x="9" y="1168"/>
                  <a:pt x="6" y="1168"/>
                </a:cubicBezTo>
                <a:cubicBezTo>
                  <a:pt x="3" y="1168"/>
                  <a:pt x="0" y="1170"/>
                  <a:pt x="0" y="1173"/>
                </a:cubicBezTo>
                <a:cubicBezTo>
                  <a:pt x="0" y="1177"/>
                  <a:pt x="0" y="1177"/>
                  <a:pt x="0" y="1177"/>
                </a:cubicBezTo>
                <a:cubicBezTo>
                  <a:pt x="0" y="1181"/>
                  <a:pt x="3" y="1183"/>
                  <a:pt x="6" y="1183"/>
                </a:cubicBezTo>
                <a:cubicBezTo>
                  <a:pt x="9" y="1183"/>
                  <a:pt x="12" y="1181"/>
                  <a:pt x="12" y="1177"/>
                </a:cubicBezTo>
                <a:close/>
                <a:moveTo>
                  <a:pt x="12" y="1201"/>
                </a:moveTo>
                <a:cubicBezTo>
                  <a:pt x="12" y="1197"/>
                  <a:pt x="12" y="1197"/>
                  <a:pt x="12" y="1197"/>
                </a:cubicBezTo>
                <a:cubicBezTo>
                  <a:pt x="12" y="1194"/>
                  <a:pt x="9" y="1191"/>
                  <a:pt x="6" y="1191"/>
                </a:cubicBezTo>
                <a:cubicBezTo>
                  <a:pt x="3" y="1191"/>
                  <a:pt x="0" y="1194"/>
                  <a:pt x="0" y="1197"/>
                </a:cubicBezTo>
                <a:cubicBezTo>
                  <a:pt x="0" y="1201"/>
                  <a:pt x="0" y="1201"/>
                  <a:pt x="0" y="1201"/>
                </a:cubicBezTo>
                <a:cubicBezTo>
                  <a:pt x="0" y="1204"/>
                  <a:pt x="3" y="1207"/>
                  <a:pt x="6" y="1207"/>
                </a:cubicBezTo>
                <a:cubicBezTo>
                  <a:pt x="9" y="1207"/>
                  <a:pt x="12" y="1204"/>
                  <a:pt x="12" y="1201"/>
                </a:cubicBezTo>
                <a:close/>
                <a:moveTo>
                  <a:pt x="12" y="1224"/>
                </a:moveTo>
                <a:cubicBezTo>
                  <a:pt x="12" y="1220"/>
                  <a:pt x="12" y="1220"/>
                  <a:pt x="12" y="1220"/>
                </a:cubicBezTo>
                <a:cubicBezTo>
                  <a:pt x="12" y="1217"/>
                  <a:pt x="9" y="1214"/>
                  <a:pt x="6" y="1214"/>
                </a:cubicBezTo>
                <a:cubicBezTo>
                  <a:pt x="3" y="1214"/>
                  <a:pt x="0" y="1217"/>
                  <a:pt x="0" y="1220"/>
                </a:cubicBezTo>
                <a:cubicBezTo>
                  <a:pt x="0" y="1224"/>
                  <a:pt x="0" y="1224"/>
                  <a:pt x="0" y="1224"/>
                </a:cubicBezTo>
                <a:cubicBezTo>
                  <a:pt x="0" y="1227"/>
                  <a:pt x="3" y="1230"/>
                  <a:pt x="6" y="1230"/>
                </a:cubicBezTo>
                <a:cubicBezTo>
                  <a:pt x="9" y="1230"/>
                  <a:pt x="12" y="1227"/>
                  <a:pt x="12" y="1224"/>
                </a:cubicBezTo>
                <a:close/>
                <a:moveTo>
                  <a:pt x="12" y="1248"/>
                </a:moveTo>
                <a:cubicBezTo>
                  <a:pt x="12" y="1244"/>
                  <a:pt x="12" y="1244"/>
                  <a:pt x="12" y="1244"/>
                </a:cubicBezTo>
                <a:cubicBezTo>
                  <a:pt x="12" y="1240"/>
                  <a:pt x="9" y="1238"/>
                  <a:pt x="6" y="1238"/>
                </a:cubicBezTo>
                <a:cubicBezTo>
                  <a:pt x="3" y="1238"/>
                  <a:pt x="0" y="1240"/>
                  <a:pt x="0" y="1244"/>
                </a:cubicBezTo>
                <a:cubicBezTo>
                  <a:pt x="0" y="1248"/>
                  <a:pt x="0" y="1248"/>
                  <a:pt x="0" y="1248"/>
                </a:cubicBezTo>
                <a:cubicBezTo>
                  <a:pt x="0" y="1251"/>
                  <a:pt x="3" y="1253"/>
                  <a:pt x="6" y="1253"/>
                </a:cubicBezTo>
                <a:cubicBezTo>
                  <a:pt x="9" y="1253"/>
                  <a:pt x="12" y="1251"/>
                  <a:pt x="12" y="1248"/>
                </a:cubicBezTo>
                <a:close/>
                <a:moveTo>
                  <a:pt x="12" y="1271"/>
                </a:moveTo>
                <a:cubicBezTo>
                  <a:pt x="12" y="1267"/>
                  <a:pt x="12" y="1267"/>
                  <a:pt x="12" y="1267"/>
                </a:cubicBezTo>
                <a:cubicBezTo>
                  <a:pt x="12" y="1264"/>
                  <a:pt x="9" y="1261"/>
                  <a:pt x="6" y="1261"/>
                </a:cubicBezTo>
                <a:cubicBezTo>
                  <a:pt x="3" y="1261"/>
                  <a:pt x="0" y="1264"/>
                  <a:pt x="0" y="1267"/>
                </a:cubicBezTo>
                <a:cubicBezTo>
                  <a:pt x="0" y="1271"/>
                  <a:pt x="0" y="1271"/>
                  <a:pt x="0" y="1271"/>
                </a:cubicBezTo>
                <a:cubicBezTo>
                  <a:pt x="0" y="1274"/>
                  <a:pt x="3" y="1277"/>
                  <a:pt x="6" y="1277"/>
                </a:cubicBezTo>
                <a:cubicBezTo>
                  <a:pt x="9" y="1277"/>
                  <a:pt x="12" y="1274"/>
                  <a:pt x="12" y="1271"/>
                </a:cubicBezTo>
                <a:close/>
                <a:moveTo>
                  <a:pt x="12" y="1294"/>
                </a:moveTo>
                <a:cubicBezTo>
                  <a:pt x="12" y="1290"/>
                  <a:pt x="12" y="1290"/>
                  <a:pt x="12" y="1290"/>
                </a:cubicBezTo>
                <a:cubicBezTo>
                  <a:pt x="12" y="1287"/>
                  <a:pt x="9" y="1285"/>
                  <a:pt x="6" y="1285"/>
                </a:cubicBezTo>
                <a:cubicBezTo>
                  <a:pt x="3" y="1285"/>
                  <a:pt x="0" y="1287"/>
                  <a:pt x="0" y="1290"/>
                </a:cubicBezTo>
                <a:cubicBezTo>
                  <a:pt x="0" y="1294"/>
                  <a:pt x="0" y="1294"/>
                  <a:pt x="0" y="1294"/>
                </a:cubicBezTo>
                <a:cubicBezTo>
                  <a:pt x="0" y="1298"/>
                  <a:pt x="3" y="1300"/>
                  <a:pt x="6" y="1300"/>
                </a:cubicBezTo>
                <a:cubicBezTo>
                  <a:pt x="9" y="1300"/>
                  <a:pt x="12" y="1298"/>
                  <a:pt x="12" y="1294"/>
                </a:cubicBezTo>
                <a:close/>
                <a:moveTo>
                  <a:pt x="24" y="1294"/>
                </a:moveTo>
                <a:cubicBezTo>
                  <a:pt x="20" y="1294"/>
                  <a:pt x="20" y="1294"/>
                  <a:pt x="20" y="1294"/>
                </a:cubicBezTo>
                <a:cubicBezTo>
                  <a:pt x="17" y="1294"/>
                  <a:pt x="14" y="1297"/>
                  <a:pt x="14" y="1300"/>
                </a:cubicBezTo>
                <a:cubicBezTo>
                  <a:pt x="14" y="1303"/>
                  <a:pt x="17" y="1306"/>
                  <a:pt x="20" y="1306"/>
                </a:cubicBezTo>
                <a:cubicBezTo>
                  <a:pt x="24" y="1306"/>
                  <a:pt x="24" y="1306"/>
                  <a:pt x="24" y="1306"/>
                </a:cubicBezTo>
                <a:cubicBezTo>
                  <a:pt x="27" y="1306"/>
                  <a:pt x="30" y="1303"/>
                  <a:pt x="30" y="1300"/>
                </a:cubicBezTo>
                <a:cubicBezTo>
                  <a:pt x="30" y="1297"/>
                  <a:pt x="27" y="1294"/>
                  <a:pt x="24" y="1294"/>
                </a:cubicBezTo>
                <a:close/>
                <a:moveTo>
                  <a:pt x="47" y="1294"/>
                </a:moveTo>
                <a:cubicBezTo>
                  <a:pt x="43" y="1294"/>
                  <a:pt x="43" y="1294"/>
                  <a:pt x="43" y="1294"/>
                </a:cubicBezTo>
                <a:cubicBezTo>
                  <a:pt x="40" y="1294"/>
                  <a:pt x="38" y="1297"/>
                  <a:pt x="38" y="1300"/>
                </a:cubicBezTo>
                <a:cubicBezTo>
                  <a:pt x="38" y="1303"/>
                  <a:pt x="40" y="1306"/>
                  <a:pt x="43" y="1306"/>
                </a:cubicBezTo>
                <a:cubicBezTo>
                  <a:pt x="47" y="1306"/>
                  <a:pt x="47" y="1306"/>
                  <a:pt x="47" y="1306"/>
                </a:cubicBezTo>
                <a:cubicBezTo>
                  <a:pt x="51" y="1306"/>
                  <a:pt x="53" y="1303"/>
                  <a:pt x="53" y="1300"/>
                </a:cubicBezTo>
                <a:cubicBezTo>
                  <a:pt x="53" y="1297"/>
                  <a:pt x="51" y="1294"/>
                  <a:pt x="47" y="1294"/>
                </a:cubicBezTo>
                <a:close/>
                <a:moveTo>
                  <a:pt x="71" y="1294"/>
                </a:moveTo>
                <a:cubicBezTo>
                  <a:pt x="67" y="1294"/>
                  <a:pt x="67" y="1294"/>
                  <a:pt x="67" y="1294"/>
                </a:cubicBezTo>
                <a:cubicBezTo>
                  <a:pt x="64" y="1294"/>
                  <a:pt x="61" y="1297"/>
                  <a:pt x="61" y="1300"/>
                </a:cubicBezTo>
                <a:cubicBezTo>
                  <a:pt x="61" y="1303"/>
                  <a:pt x="64" y="1306"/>
                  <a:pt x="67" y="1306"/>
                </a:cubicBezTo>
                <a:cubicBezTo>
                  <a:pt x="71" y="1306"/>
                  <a:pt x="71" y="1306"/>
                  <a:pt x="71" y="1306"/>
                </a:cubicBezTo>
                <a:cubicBezTo>
                  <a:pt x="74" y="1306"/>
                  <a:pt x="77" y="1303"/>
                  <a:pt x="77" y="1300"/>
                </a:cubicBezTo>
                <a:cubicBezTo>
                  <a:pt x="77" y="1297"/>
                  <a:pt x="74" y="1294"/>
                  <a:pt x="71" y="1294"/>
                </a:cubicBezTo>
                <a:close/>
                <a:moveTo>
                  <a:pt x="94" y="1294"/>
                </a:moveTo>
                <a:cubicBezTo>
                  <a:pt x="90" y="1294"/>
                  <a:pt x="90" y="1294"/>
                  <a:pt x="90" y="1294"/>
                </a:cubicBezTo>
                <a:cubicBezTo>
                  <a:pt x="87" y="1294"/>
                  <a:pt x="84" y="1297"/>
                  <a:pt x="84" y="1300"/>
                </a:cubicBezTo>
                <a:cubicBezTo>
                  <a:pt x="84" y="1303"/>
                  <a:pt x="87" y="1306"/>
                  <a:pt x="90" y="1306"/>
                </a:cubicBezTo>
                <a:cubicBezTo>
                  <a:pt x="94" y="1306"/>
                  <a:pt x="94" y="1306"/>
                  <a:pt x="94" y="1306"/>
                </a:cubicBezTo>
                <a:cubicBezTo>
                  <a:pt x="97" y="1306"/>
                  <a:pt x="100" y="1303"/>
                  <a:pt x="100" y="1300"/>
                </a:cubicBezTo>
                <a:cubicBezTo>
                  <a:pt x="100" y="1297"/>
                  <a:pt x="97" y="1294"/>
                  <a:pt x="94" y="1294"/>
                </a:cubicBezTo>
                <a:close/>
                <a:moveTo>
                  <a:pt x="117" y="1294"/>
                </a:moveTo>
                <a:cubicBezTo>
                  <a:pt x="114" y="1294"/>
                  <a:pt x="114" y="1294"/>
                  <a:pt x="114" y="1294"/>
                </a:cubicBezTo>
                <a:cubicBezTo>
                  <a:pt x="110" y="1294"/>
                  <a:pt x="108" y="1297"/>
                  <a:pt x="108" y="1300"/>
                </a:cubicBezTo>
                <a:cubicBezTo>
                  <a:pt x="108" y="1303"/>
                  <a:pt x="110" y="1306"/>
                  <a:pt x="114" y="1306"/>
                </a:cubicBezTo>
                <a:cubicBezTo>
                  <a:pt x="117" y="1306"/>
                  <a:pt x="117" y="1306"/>
                  <a:pt x="117" y="1306"/>
                </a:cubicBezTo>
                <a:cubicBezTo>
                  <a:pt x="121" y="1306"/>
                  <a:pt x="123" y="1303"/>
                  <a:pt x="123" y="1300"/>
                </a:cubicBezTo>
                <a:cubicBezTo>
                  <a:pt x="123" y="1297"/>
                  <a:pt x="121" y="1294"/>
                  <a:pt x="117" y="1294"/>
                </a:cubicBezTo>
                <a:close/>
                <a:moveTo>
                  <a:pt x="141" y="1294"/>
                </a:moveTo>
                <a:cubicBezTo>
                  <a:pt x="137" y="1294"/>
                  <a:pt x="137" y="1294"/>
                  <a:pt x="137" y="1294"/>
                </a:cubicBezTo>
                <a:cubicBezTo>
                  <a:pt x="134" y="1294"/>
                  <a:pt x="131" y="1297"/>
                  <a:pt x="131" y="1300"/>
                </a:cubicBezTo>
                <a:cubicBezTo>
                  <a:pt x="131" y="1303"/>
                  <a:pt x="134" y="1306"/>
                  <a:pt x="137" y="1306"/>
                </a:cubicBezTo>
                <a:cubicBezTo>
                  <a:pt x="141" y="1306"/>
                  <a:pt x="141" y="1306"/>
                  <a:pt x="141" y="1306"/>
                </a:cubicBezTo>
                <a:cubicBezTo>
                  <a:pt x="144" y="1306"/>
                  <a:pt x="147" y="1303"/>
                  <a:pt x="147" y="1300"/>
                </a:cubicBezTo>
                <a:cubicBezTo>
                  <a:pt x="147" y="1297"/>
                  <a:pt x="144" y="1294"/>
                  <a:pt x="141" y="1294"/>
                </a:cubicBezTo>
                <a:close/>
                <a:moveTo>
                  <a:pt x="164" y="1294"/>
                </a:moveTo>
                <a:cubicBezTo>
                  <a:pt x="160" y="1294"/>
                  <a:pt x="160" y="1294"/>
                  <a:pt x="160" y="1294"/>
                </a:cubicBezTo>
                <a:cubicBezTo>
                  <a:pt x="157" y="1294"/>
                  <a:pt x="155" y="1297"/>
                  <a:pt x="155" y="1300"/>
                </a:cubicBezTo>
                <a:cubicBezTo>
                  <a:pt x="155" y="1303"/>
                  <a:pt x="157" y="1306"/>
                  <a:pt x="160" y="1306"/>
                </a:cubicBezTo>
                <a:cubicBezTo>
                  <a:pt x="164" y="1306"/>
                  <a:pt x="164" y="1306"/>
                  <a:pt x="164" y="1306"/>
                </a:cubicBezTo>
                <a:cubicBezTo>
                  <a:pt x="168" y="1306"/>
                  <a:pt x="170" y="1303"/>
                  <a:pt x="170" y="1300"/>
                </a:cubicBezTo>
                <a:cubicBezTo>
                  <a:pt x="170" y="1297"/>
                  <a:pt x="168" y="1294"/>
                  <a:pt x="164" y="1294"/>
                </a:cubicBezTo>
                <a:close/>
                <a:moveTo>
                  <a:pt x="188" y="1294"/>
                </a:moveTo>
                <a:cubicBezTo>
                  <a:pt x="184" y="1294"/>
                  <a:pt x="184" y="1294"/>
                  <a:pt x="184" y="1294"/>
                </a:cubicBezTo>
                <a:cubicBezTo>
                  <a:pt x="181" y="1294"/>
                  <a:pt x="178" y="1297"/>
                  <a:pt x="178" y="1300"/>
                </a:cubicBezTo>
                <a:cubicBezTo>
                  <a:pt x="178" y="1303"/>
                  <a:pt x="181" y="1306"/>
                  <a:pt x="184" y="1306"/>
                </a:cubicBezTo>
                <a:cubicBezTo>
                  <a:pt x="188" y="1306"/>
                  <a:pt x="188" y="1306"/>
                  <a:pt x="188" y="1306"/>
                </a:cubicBezTo>
                <a:cubicBezTo>
                  <a:pt x="191" y="1306"/>
                  <a:pt x="194" y="1303"/>
                  <a:pt x="194" y="1300"/>
                </a:cubicBezTo>
                <a:cubicBezTo>
                  <a:pt x="194" y="1297"/>
                  <a:pt x="191" y="1294"/>
                  <a:pt x="188" y="1294"/>
                </a:cubicBezTo>
                <a:close/>
                <a:moveTo>
                  <a:pt x="211" y="1294"/>
                </a:moveTo>
                <a:cubicBezTo>
                  <a:pt x="207" y="1294"/>
                  <a:pt x="207" y="1294"/>
                  <a:pt x="207" y="1294"/>
                </a:cubicBezTo>
                <a:cubicBezTo>
                  <a:pt x="204" y="1294"/>
                  <a:pt x="201" y="1297"/>
                  <a:pt x="201" y="1300"/>
                </a:cubicBezTo>
                <a:cubicBezTo>
                  <a:pt x="201" y="1303"/>
                  <a:pt x="204" y="1306"/>
                  <a:pt x="207" y="1306"/>
                </a:cubicBezTo>
                <a:cubicBezTo>
                  <a:pt x="211" y="1306"/>
                  <a:pt x="211" y="1306"/>
                  <a:pt x="211" y="1306"/>
                </a:cubicBezTo>
                <a:cubicBezTo>
                  <a:pt x="214" y="1306"/>
                  <a:pt x="217" y="1303"/>
                  <a:pt x="217" y="1300"/>
                </a:cubicBezTo>
                <a:cubicBezTo>
                  <a:pt x="217" y="1297"/>
                  <a:pt x="214" y="1294"/>
                  <a:pt x="211" y="1294"/>
                </a:cubicBez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61"/>
          <p:cNvSpPr>
            <a:spLocks/>
          </p:cNvSpPr>
          <p:nvPr/>
        </p:nvSpPr>
        <p:spPr bwMode="auto">
          <a:xfrm>
            <a:off x="8337114" y="6221925"/>
            <a:ext cx="160947" cy="89078"/>
          </a:xfrm>
          <a:custGeom>
            <a:avLst/>
            <a:gdLst>
              <a:gd name="T0" fmla="*/ 6 w 67"/>
              <a:gd name="T1" fmla="*/ 36 h 37"/>
              <a:gd name="T2" fmla="*/ 65 w 67"/>
              <a:gd name="T3" fmla="*/ 8 h 37"/>
              <a:gd name="T4" fmla="*/ 66 w 67"/>
              <a:gd name="T5" fmla="*/ 2 h 37"/>
              <a:gd name="T6" fmla="*/ 61 w 67"/>
              <a:gd name="T7" fmla="*/ 1 h 37"/>
              <a:gd name="T8" fmla="*/ 3 w 67"/>
              <a:gd name="T9" fmla="*/ 29 h 37"/>
              <a:gd name="T10" fmla="*/ 1 w 67"/>
              <a:gd name="T11" fmla="*/ 35 h 37"/>
              <a:gd name="T12" fmla="*/ 6 w 67"/>
              <a:gd name="T13" fmla="*/ 36 h 37"/>
            </a:gdLst>
            <a:ahLst/>
            <a:cxnLst>
              <a:cxn ang="0">
                <a:pos x="T0" y="T1"/>
              </a:cxn>
              <a:cxn ang="0">
                <a:pos x="T2" y="T3"/>
              </a:cxn>
              <a:cxn ang="0">
                <a:pos x="T4" y="T5"/>
              </a:cxn>
              <a:cxn ang="0">
                <a:pos x="T6" y="T7"/>
              </a:cxn>
              <a:cxn ang="0">
                <a:pos x="T8" y="T9"/>
              </a:cxn>
              <a:cxn ang="0">
                <a:pos x="T10" y="T11"/>
              </a:cxn>
              <a:cxn ang="0">
                <a:pos x="T12" y="T13"/>
              </a:cxn>
            </a:cxnLst>
            <a:rect l="0" t="0" r="r" b="b"/>
            <a:pathLst>
              <a:path w="67" h="37">
                <a:moveTo>
                  <a:pt x="6" y="36"/>
                </a:moveTo>
                <a:cubicBezTo>
                  <a:pt x="65" y="8"/>
                  <a:pt x="65" y="8"/>
                  <a:pt x="65" y="8"/>
                </a:cubicBezTo>
                <a:cubicBezTo>
                  <a:pt x="66" y="7"/>
                  <a:pt x="67" y="4"/>
                  <a:pt x="66" y="2"/>
                </a:cubicBezTo>
                <a:cubicBezTo>
                  <a:pt x="65" y="1"/>
                  <a:pt x="63" y="0"/>
                  <a:pt x="61" y="1"/>
                </a:cubicBezTo>
                <a:cubicBezTo>
                  <a:pt x="3" y="29"/>
                  <a:pt x="3" y="29"/>
                  <a:pt x="3" y="29"/>
                </a:cubicBezTo>
                <a:cubicBezTo>
                  <a:pt x="1" y="30"/>
                  <a:pt x="0" y="33"/>
                  <a:pt x="1" y="35"/>
                </a:cubicBezTo>
                <a:cubicBezTo>
                  <a:pt x="2" y="37"/>
                  <a:pt x="4" y="37"/>
                  <a:pt x="6" y="36"/>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62"/>
          <p:cNvSpPr>
            <a:spLocks/>
          </p:cNvSpPr>
          <p:nvPr/>
        </p:nvSpPr>
        <p:spPr bwMode="auto">
          <a:xfrm>
            <a:off x="8041538" y="3276289"/>
            <a:ext cx="369470" cy="194351"/>
          </a:xfrm>
          <a:custGeom>
            <a:avLst/>
            <a:gdLst>
              <a:gd name="T0" fmla="*/ 6 w 154"/>
              <a:gd name="T1" fmla="*/ 80 h 81"/>
              <a:gd name="T2" fmla="*/ 151 w 154"/>
              <a:gd name="T3" fmla="*/ 8 h 81"/>
              <a:gd name="T4" fmla="*/ 153 w 154"/>
              <a:gd name="T5" fmla="*/ 3 h 81"/>
              <a:gd name="T6" fmla="*/ 147 w 154"/>
              <a:gd name="T7" fmla="*/ 1 h 81"/>
              <a:gd name="T8" fmla="*/ 2 w 154"/>
              <a:gd name="T9" fmla="*/ 73 h 81"/>
              <a:gd name="T10" fmla="*/ 1 w 154"/>
              <a:gd name="T11" fmla="*/ 78 h 81"/>
              <a:gd name="T12" fmla="*/ 6 w 154"/>
              <a:gd name="T13" fmla="*/ 80 h 81"/>
            </a:gdLst>
            <a:ahLst/>
            <a:cxnLst>
              <a:cxn ang="0">
                <a:pos x="T0" y="T1"/>
              </a:cxn>
              <a:cxn ang="0">
                <a:pos x="T2" y="T3"/>
              </a:cxn>
              <a:cxn ang="0">
                <a:pos x="T4" y="T5"/>
              </a:cxn>
              <a:cxn ang="0">
                <a:pos x="T6" y="T7"/>
              </a:cxn>
              <a:cxn ang="0">
                <a:pos x="T8" y="T9"/>
              </a:cxn>
              <a:cxn ang="0">
                <a:pos x="T10" y="T11"/>
              </a:cxn>
              <a:cxn ang="0">
                <a:pos x="T12" y="T13"/>
              </a:cxn>
            </a:cxnLst>
            <a:rect l="0" t="0" r="r" b="b"/>
            <a:pathLst>
              <a:path w="154" h="81">
                <a:moveTo>
                  <a:pt x="6" y="80"/>
                </a:moveTo>
                <a:cubicBezTo>
                  <a:pt x="151" y="8"/>
                  <a:pt x="151" y="8"/>
                  <a:pt x="151" y="8"/>
                </a:cubicBezTo>
                <a:cubicBezTo>
                  <a:pt x="153" y="7"/>
                  <a:pt x="154" y="5"/>
                  <a:pt x="153" y="3"/>
                </a:cubicBezTo>
                <a:cubicBezTo>
                  <a:pt x="152" y="1"/>
                  <a:pt x="149" y="0"/>
                  <a:pt x="147" y="1"/>
                </a:cubicBezTo>
                <a:cubicBezTo>
                  <a:pt x="2" y="73"/>
                  <a:pt x="2" y="73"/>
                  <a:pt x="2" y="73"/>
                </a:cubicBezTo>
                <a:cubicBezTo>
                  <a:pt x="0" y="74"/>
                  <a:pt x="0" y="76"/>
                  <a:pt x="1" y="78"/>
                </a:cubicBezTo>
                <a:cubicBezTo>
                  <a:pt x="2" y="80"/>
                  <a:pt x="4" y="81"/>
                  <a:pt x="6" y="80"/>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63"/>
          <p:cNvSpPr>
            <a:spLocks/>
          </p:cNvSpPr>
          <p:nvPr/>
        </p:nvSpPr>
        <p:spPr bwMode="auto">
          <a:xfrm>
            <a:off x="8127579" y="6150055"/>
            <a:ext cx="370482" cy="191314"/>
          </a:xfrm>
          <a:custGeom>
            <a:avLst/>
            <a:gdLst>
              <a:gd name="T0" fmla="*/ 7 w 154"/>
              <a:gd name="T1" fmla="*/ 79 h 80"/>
              <a:gd name="T2" fmla="*/ 152 w 154"/>
              <a:gd name="T3" fmla="*/ 8 h 80"/>
              <a:gd name="T4" fmla="*/ 153 w 154"/>
              <a:gd name="T5" fmla="*/ 2 h 80"/>
              <a:gd name="T6" fmla="*/ 148 w 154"/>
              <a:gd name="T7" fmla="*/ 1 h 80"/>
              <a:gd name="T8" fmla="*/ 3 w 154"/>
              <a:gd name="T9" fmla="*/ 72 h 80"/>
              <a:gd name="T10" fmla="*/ 1 w 154"/>
              <a:gd name="T11" fmla="*/ 77 h 80"/>
              <a:gd name="T12" fmla="*/ 7 w 154"/>
              <a:gd name="T13" fmla="*/ 79 h 80"/>
            </a:gdLst>
            <a:ahLst/>
            <a:cxnLst>
              <a:cxn ang="0">
                <a:pos x="T0" y="T1"/>
              </a:cxn>
              <a:cxn ang="0">
                <a:pos x="T2" y="T3"/>
              </a:cxn>
              <a:cxn ang="0">
                <a:pos x="T4" y="T5"/>
              </a:cxn>
              <a:cxn ang="0">
                <a:pos x="T6" y="T7"/>
              </a:cxn>
              <a:cxn ang="0">
                <a:pos x="T8" y="T9"/>
              </a:cxn>
              <a:cxn ang="0">
                <a:pos x="T10" y="T11"/>
              </a:cxn>
              <a:cxn ang="0">
                <a:pos x="T12" y="T13"/>
              </a:cxn>
            </a:cxnLst>
            <a:rect l="0" t="0" r="r" b="b"/>
            <a:pathLst>
              <a:path w="154" h="80">
                <a:moveTo>
                  <a:pt x="7" y="79"/>
                </a:moveTo>
                <a:cubicBezTo>
                  <a:pt x="152" y="8"/>
                  <a:pt x="152" y="8"/>
                  <a:pt x="152" y="8"/>
                </a:cubicBezTo>
                <a:cubicBezTo>
                  <a:pt x="153" y="7"/>
                  <a:pt x="154" y="4"/>
                  <a:pt x="153" y="2"/>
                </a:cubicBezTo>
                <a:cubicBezTo>
                  <a:pt x="152" y="0"/>
                  <a:pt x="150" y="0"/>
                  <a:pt x="148" y="1"/>
                </a:cubicBezTo>
                <a:cubicBezTo>
                  <a:pt x="3" y="72"/>
                  <a:pt x="3" y="72"/>
                  <a:pt x="3" y="72"/>
                </a:cubicBezTo>
                <a:cubicBezTo>
                  <a:pt x="1" y="73"/>
                  <a:pt x="0" y="75"/>
                  <a:pt x="1" y="77"/>
                </a:cubicBezTo>
                <a:cubicBezTo>
                  <a:pt x="2" y="79"/>
                  <a:pt x="5" y="80"/>
                  <a:pt x="7" y="7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64"/>
          <p:cNvSpPr>
            <a:spLocks/>
          </p:cNvSpPr>
          <p:nvPr/>
        </p:nvSpPr>
        <p:spPr bwMode="auto">
          <a:xfrm>
            <a:off x="8036477" y="3295522"/>
            <a:ext cx="163984" cy="91102"/>
          </a:xfrm>
          <a:custGeom>
            <a:avLst/>
            <a:gdLst>
              <a:gd name="T0" fmla="*/ 6 w 68"/>
              <a:gd name="T1" fmla="*/ 37 h 38"/>
              <a:gd name="T2" fmla="*/ 65 w 68"/>
              <a:gd name="T3" fmla="*/ 8 h 38"/>
              <a:gd name="T4" fmla="*/ 67 w 68"/>
              <a:gd name="T5" fmla="*/ 3 h 38"/>
              <a:gd name="T6" fmla="*/ 61 w 68"/>
              <a:gd name="T7" fmla="*/ 1 h 38"/>
              <a:gd name="T8" fmla="*/ 3 w 68"/>
              <a:gd name="T9" fmla="*/ 30 h 38"/>
              <a:gd name="T10" fmla="*/ 1 w 68"/>
              <a:gd name="T11" fmla="*/ 35 h 38"/>
              <a:gd name="T12" fmla="*/ 6 w 68"/>
              <a:gd name="T13" fmla="*/ 37 h 38"/>
            </a:gdLst>
            <a:ahLst/>
            <a:cxnLst>
              <a:cxn ang="0">
                <a:pos x="T0" y="T1"/>
              </a:cxn>
              <a:cxn ang="0">
                <a:pos x="T2" y="T3"/>
              </a:cxn>
              <a:cxn ang="0">
                <a:pos x="T4" y="T5"/>
              </a:cxn>
              <a:cxn ang="0">
                <a:pos x="T6" y="T7"/>
              </a:cxn>
              <a:cxn ang="0">
                <a:pos x="T8" y="T9"/>
              </a:cxn>
              <a:cxn ang="0">
                <a:pos x="T10" y="T11"/>
              </a:cxn>
              <a:cxn ang="0">
                <a:pos x="T12" y="T13"/>
              </a:cxn>
            </a:cxnLst>
            <a:rect l="0" t="0" r="r" b="b"/>
            <a:pathLst>
              <a:path w="68" h="38">
                <a:moveTo>
                  <a:pt x="6" y="37"/>
                </a:moveTo>
                <a:cubicBezTo>
                  <a:pt x="65" y="8"/>
                  <a:pt x="65" y="8"/>
                  <a:pt x="65" y="8"/>
                </a:cubicBezTo>
                <a:cubicBezTo>
                  <a:pt x="67" y="7"/>
                  <a:pt x="68" y="5"/>
                  <a:pt x="67" y="3"/>
                </a:cubicBezTo>
                <a:cubicBezTo>
                  <a:pt x="66" y="1"/>
                  <a:pt x="63" y="0"/>
                  <a:pt x="61" y="1"/>
                </a:cubicBezTo>
                <a:cubicBezTo>
                  <a:pt x="3" y="30"/>
                  <a:pt x="3" y="30"/>
                  <a:pt x="3" y="30"/>
                </a:cubicBezTo>
                <a:cubicBezTo>
                  <a:pt x="1" y="31"/>
                  <a:pt x="0" y="33"/>
                  <a:pt x="1" y="35"/>
                </a:cubicBezTo>
                <a:cubicBezTo>
                  <a:pt x="2" y="37"/>
                  <a:pt x="4" y="38"/>
                  <a:pt x="6" y="37"/>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65"/>
          <p:cNvSpPr>
            <a:spLocks/>
          </p:cNvSpPr>
          <p:nvPr/>
        </p:nvSpPr>
        <p:spPr bwMode="auto">
          <a:xfrm>
            <a:off x="8036477" y="3312730"/>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66"/>
          <p:cNvSpPr>
            <a:spLocks/>
          </p:cNvSpPr>
          <p:nvPr/>
        </p:nvSpPr>
        <p:spPr bwMode="auto">
          <a:xfrm>
            <a:off x="8036477" y="33866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67"/>
          <p:cNvSpPr>
            <a:spLocks/>
          </p:cNvSpPr>
          <p:nvPr/>
        </p:nvSpPr>
        <p:spPr bwMode="auto">
          <a:xfrm>
            <a:off x="8036477" y="3463555"/>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68"/>
          <p:cNvSpPr>
            <a:spLocks/>
          </p:cNvSpPr>
          <p:nvPr/>
        </p:nvSpPr>
        <p:spPr bwMode="auto">
          <a:xfrm>
            <a:off x="8036477" y="3540486"/>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2"/>
                  <a:pt x="3" y="92"/>
                  <a:pt x="3" y="92"/>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69"/>
          <p:cNvSpPr>
            <a:spLocks/>
          </p:cNvSpPr>
          <p:nvPr/>
        </p:nvSpPr>
        <p:spPr bwMode="auto">
          <a:xfrm>
            <a:off x="8036477" y="3617416"/>
            <a:ext cx="461584" cy="237878"/>
          </a:xfrm>
          <a:custGeom>
            <a:avLst/>
            <a:gdLst>
              <a:gd name="T0" fmla="*/ 6 w 192"/>
              <a:gd name="T1" fmla="*/ 98 h 99"/>
              <a:gd name="T2" fmla="*/ 190 w 192"/>
              <a:gd name="T3" fmla="*/ 8 h 99"/>
              <a:gd name="T4" fmla="*/ 191 w 192"/>
              <a:gd name="T5" fmla="*/ 2 h 99"/>
              <a:gd name="T6" fmla="*/ 186 w 192"/>
              <a:gd name="T7" fmla="*/ 0 h 99"/>
              <a:gd name="T8" fmla="*/ 3 w 192"/>
              <a:gd name="T9" fmla="*/ 91 h 99"/>
              <a:gd name="T10" fmla="*/ 1 w 192"/>
              <a:gd name="T11" fmla="*/ 96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0"/>
                </a:cubicBezTo>
                <a:cubicBezTo>
                  <a:pt x="3" y="91"/>
                  <a:pt x="3" y="91"/>
                  <a:pt x="3" y="91"/>
                </a:cubicBezTo>
                <a:cubicBezTo>
                  <a:pt x="1" y="92"/>
                  <a:pt x="0" y="95"/>
                  <a:pt x="1" y="96"/>
                </a:cubicBezTo>
                <a:cubicBezTo>
                  <a:pt x="2" y="98"/>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70"/>
          <p:cNvSpPr>
            <a:spLocks/>
          </p:cNvSpPr>
          <p:nvPr/>
        </p:nvSpPr>
        <p:spPr bwMode="auto">
          <a:xfrm>
            <a:off x="8036477" y="369232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71"/>
          <p:cNvSpPr>
            <a:spLocks/>
          </p:cNvSpPr>
          <p:nvPr/>
        </p:nvSpPr>
        <p:spPr bwMode="auto">
          <a:xfrm>
            <a:off x="8036477" y="376925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72"/>
          <p:cNvSpPr>
            <a:spLocks/>
          </p:cNvSpPr>
          <p:nvPr/>
        </p:nvSpPr>
        <p:spPr bwMode="auto">
          <a:xfrm>
            <a:off x="8036477" y="3846184"/>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73"/>
          <p:cNvSpPr>
            <a:spLocks/>
          </p:cNvSpPr>
          <p:nvPr/>
        </p:nvSpPr>
        <p:spPr bwMode="auto">
          <a:xfrm>
            <a:off x="8036477" y="392007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74"/>
          <p:cNvSpPr>
            <a:spLocks/>
          </p:cNvSpPr>
          <p:nvPr/>
        </p:nvSpPr>
        <p:spPr bwMode="auto">
          <a:xfrm>
            <a:off x="8036477" y="399700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75"/>
          <p:cNvSpPr>
            <a:spLocks/>
          </p:cNvSpPr>
          <p:nvPr/>
        </p:nvSpPr>
        <p:spPr bwMode="auto">
          <a:xfrm>
            <a:off x="8036477" y="407393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176"/>
          <p:cNvSpPr>
            <a:spLocks/>
          </p:cNvSpPr>
          <p:nvPr/>
        </p:nvSpPr>
        <p:spPr bwMode="auto">
          <a:xfrm>
            <a:off x="8036477" y="4148845"/>
            <a:ext cx="461584" cy="239902"/>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77"/>
          <p:cNvSpPr>
            <a:spLocks/>
          </p:cNvSpPr>
          <p:nvPr/>
        </p:nvSpPr>
        <p:spPr bwMode="auto">
          <a:xfrm>
            <a:off x="8036477" y="422577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78"/>
          <p:cNvSpPr>
            <a:spLocks/>
          </p:cNvSpPr>
          <p:nvPr/>
        </p:nvSpPr>
        <p:spPr bwMode="auto">
          <a:xfrm>
            <a:off x="8036477" y="4302707"/>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79"/>
          <p:cNvSpPr>
            <a:spLocks/>
          </p:cNvSpPr>
          <p:nvPr/>
        </p:nvSpPr>
        <p:spPr bwMode="auto">
          <a:xfrm>
            <a:off x="8036477" y="4378625"/>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180"/>
          <p:cNvSpPr>
            <a:spLocks/>
          </p:cNvSpPr>
          <p:nvPr/>
        </p:nvSpPr>
        <p:spPr bwMode="auto">
          <a:xfrm>
            <a:off x="8036477" y="4453531"/>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81"/>
          <p:cNvSpPr>
            <a:spLocks/>
          </p:cNvSpPr>
          <p:nvPr/>
        </p:nvSpPr>
        <p:spPr bwMode="auto">
          <a:xfrm>
            <a:off x="8036477" y="453046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82"/>
          <p:cNvSpPr>
            <a:spLocks/>
          </p:cNvSpPr>
          <p:nvPr/>
        </p:nvSpPr>
        <p:spPr bwMode="auto">
          <a:xfrm>
            <a:off x="8036477" y="460739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83"/>
          <p:cNvSpPr>
            <a:spLocks/>
          </p:cNvSpPr>
          <p:nvPr/>
        </p:nvSpPr>
        <p:spPr bwMode="auto">
          <a:xfrm>
            <a:off x="8036477" y="4681287"/>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84"/>
          <p:cNvSpPr>
            <a:spLocks/>
          </p:cNvSpPr>
          <p:nvPr/>
        </p:nvSpPr>
        <p:spPr bwMode="auto">
          <a:xfrm>
            <a:off x="8036477" y="4758217"/>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85"/>
          <p:cNvSpPr>
            <a:spLocks/>
          </p:cNvSpPr>
          <p:nvPr/>
        </p:nvSpPr>
        <p:spPr bwMode="auto">
          <a:xfrm>
            <a:off x="8036477" y="4835148"/>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86"/>
          <p:cNvSpPr>
            <a:spLocks/>
          </p:cNvSpPr>
          <p:nvPr/>
        </p:nvSpPr>
        <p:spPr bwMode="auto">
          <a:xfrm>
            <a:off x="8036477" y="4912079"/>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87"/>
          <p:cNvSpPr>
            <a:spLocks/>
          </p:cNvSpPr>
          <p:nvPr/>
        </p:nvSpPr>
        <p:spPr bwMode="auto">
          <a:xfrm>
            <a:off x="8036477" y="498698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88"/>
          <p:cNvSpPr>
            <a:spLocks/>
          </p:cNvSpPr>
          <p:nvPr/>
        </p:nvSpPr>
        <p:spPr bwMode="auto">
          <a:xfrm>
            <a:off x="8036477" y="506391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89"/>
          <p:cNvSpPr>
            <a:spLocks/>
          </p:cNvSpPr>
          <p:nvPr/>
        </p:nvSpPr>
        <p:spPr bwMode="auto">
          <a:xfrm>
            <a:off x="8036477" y="514084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90"/>
          <p:cNvSpPr>
            <a:spLocks/>
          </p:cNvSpPr>
          <p:nvPr/>
        </p:nvSpPr>
        <p:spPr bwMode="auto">
          <a:xfrm>
            <a:off x="8036477" y="5214740"/>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91"/>
          <p:cNvSpPr>
            <a:spLocks/>
          </p:cNvSpPr>
          <p:nvPr/>
        </p:nvSpPr>
        <p:spPr bwMode="auto">
          <a:xfrm>
            <a:off x="8036477" y="529167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92"/>
          <p:cNvSpPr>
            <a:spLocks/>
          </p:cNvSpPr>
          <p:nvPr/>
        </p:nvSpPr>
        <p:spPr bwMode="auto">
          <a:xfrm>
            <a:off x="8036477" y="536860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93"/>
          <p:cNvSpPr>
            <a:spLocks/>
          </p:cNvSpPr>
          <p:nvPr/>
        </p:nvSpPr>
        <p:spPr bwMode="auto">
          <a:xfrm>
            <a:off x="8036477" y="5445532"/>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94"/>
          <p:cNvSpPr>
            <a:spLocks/>
          </p:cNvSpPr>
          <p:nvPr/>
        </p:nvSpPr>
        <p:spPr bwMode="auto">
          <a:xfrm>
            <a:off x="8036477" y="552043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95"/>
          <p:cNvSpPr>
            <a:spLocks/>
          </p:cNvSpPr>
          <p:nvPr/>
        </p:nvSpPr>
        <p:spPr bwMode="auto">
          <a:xfrm>
            <a:off x="8036477" y="559736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96"/>
          <p:cNvSpPr>
            <a:spLocks/>
          </p:cNvSpPr>
          <p:nvPr/>
        </p:nvSpPr>
        <p:spPr bwMode="auto">
          <a:xfrm>
            <a:off x="8036477" y="5674300"/>
            <a:ext cx="461584" cy="237878"/>
          </a:xfrm>
          <a:custGeom>
            <a:avLst/>
            <a:gdLst>
              <a:gd name="T0" fmla="*/ 6 w 192"/>
              <a:gd name="T1" fmla="*/ 99 h 99"/>
              <a:gd name="T2" fmla="*/ 190 w 192"/>
              <a:gd name="T3" fmla="*/ 8 h 99"/>
              <a:gd name="T4" fmla="*/ 191 w 192"/>
              <a:gd name="T5" fmla="*/ 3 h 99"/>
              <a:gd name="T6" fmla="*/ 186 w 192"/>
              <a:gd name="T7" fmla="*/ 1 h 99"/>
              <a:gd name="T8" fmla="*/ 3 w 192"/>
              <a:gd name="T9" fmla="*/ 91 h 99"/>
              <a:gd name="T10" fmla="*/ 1 w 192"/>
              <a:gd name="T11" fmla="*/ 97 h 99"/>
              <a:gd name="T12" fmla="*/ 6 w 192"/>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99"/>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97"/>
          <p:cNvSpPr>
            <a:spLocks/>
          </p:cNvSpPr>
          <p:nvPr/>
        </p:nvSpPr>
        <p:spPr bwMode="auto">
          <a:xfrm>
            <a:off x="8036477" y="574819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98"/>
          <p:cNvSpPr>
            <a:spLocks/>
          </p:cNvSpPr>
          <p:nvPr/>
        </p:nvSpPr>
        <p:spPr bwMode="auto">
          <a:xfrm>
            <a:off x="8036477" y="58251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99"/>
          <p:cNvSpPr>
            <a:spLocks/>
          </p:cNvSpPr>
          <p:nvPr/>
        </p:nvSpPr>
        <p:spPr bwMode="auto">
          <a:xfrm>
            <a:off x="8036477" y="590205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00"/>
          <p:cNvSpPr>
            <a:spLocks/>
          </p:cNvSpPr>
          <p:nvPr/>
        </p:nvSpPr>
        <p:spPr bwMode="auto">
          <a:xfrm>
            <a:off x="8036477" y="5978986"/>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01"/>
          <p:cNvSpPr>
            <a:spLocks/>
          </p:cNvSpPr>
          <p:nvPr/>
        </p:nvSpPr>
        <p:spPr bwMode="auto">
          <a:xfrm>
            <a:off x="8036477" y="605389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202"/>
          <p:cNvSpPr>
            <a:spLocks/>
          </p:cNvSpPr>
          <p:nvPr/>
        </p:nvSpPr>
        <p:spPr bwMode="auto">
          <a:xfrm>
            <a:off x="7325880" y="4168078"/>
            <a:ext cx="713633" cy="712621"/>
          </a:xfrm>
          <a:custGeom>
            <a:avLst/>
            <a:gdLst>
              <a:gd name="T0" fmla="*/ 297 w 297"/>
              <a:gd name="T1" fmla="*/ 167 h 297"/>
              <a:gd name="T2" fmla="*/ 297 w 297"/>
              <a:gd name="T3" fmla="*/ 127 h 297"/>
              <a:gd name="T4" fmla="*/ 273 w 297"/>
              <a:gd name="T5" fmla="*/ 122 h 297"/>
              <a:gd name="T6" fmla="*/ 268 w 297"/>
              <a:gd name="T7" fmla="*/ 107 h 297"/>
              <a:gd name="T8" fmla="*/ 286 w 297"/>
              <a:gd name="T9" fmla="*/ 91 h 297"/>
              <a:gd name="T10" fmla="*/ 266 w 297"/>
              <a:gd name="T11" fmla="*/ 56 h 297"/>
              <a:gd name="T12" fmla="*/ 241 w 297"/>
              <a:gd name="T13" fmla="*/ 64 h 297"/>
              <a:gd name="T14" fmla="*/ 231 w 297"/>
              <a:gd name="T15" fmla="*/ 54 h 297"/>
              <a:gd name="T16" fmla="*/ 239 w 297"/>
              <a:gd name="T17" fmla="*/ 30 h 297"/>
              <a:gd name="T18" fmla="*/ 204 w 297"/>
              <a:gd name="T19" fmla="*/ 9 h 297"/>
              <a:gd name="T20" fmla="*/ 186 w 297"/>
              <a:gd name="T21" fmla="*/ 29 h 297"/>
              <a:gd name="T22" fmla="*/ 173 w 297"/>
              <a:gd name="T23" fmla="*/ 26 h 297"/>
              <a:gd name="T24" fmla="*/ 167 w 297"/>
              <a:gd name="T25" fmla="*/ 0 h 297"/>
              <a:gd name="T26" fmla="*/ 127 w 297"/>
              <a:gd name="T27" fmla="*/ 0 h 297"/>
              <a:gd name="T28" fmla="*/ 121 w 297"/>
              <a:gd name="T29" fmla="*/ 26 h 297"/>
              <a:gd name="T30" fmla="*/ 107 w 297"/>
              <a:gd name="T31" fmla="*/ 29 h 297"/>
              <a:gd name="T32" fmla="*/ 91 w 297"/>
              <a:gd name="T33" fmla="*/ 11 h 297"/>
              <a:gd name="T34" fmla="*/ 56 w 297"/>
              <a:gd name="T35" fmla="*/ 31 h 297"/>
              <a:gd name="T36" fmla="*/ 63 w 297"/>
              <a:gd name="T37" fmla="*/ 54 h 297"/>
              <a:gd name="T38" fmla="*/ 51 w 297"/>
              <a:gd name="T39" fmla="*/ 65 h 297"/>
              <a:gd name="T40" fmla="*/ 30 w 297"/>
              <a:gd name="T41" fmla="*/ 58 h 297"/>
              <a:gd name="T42" fmla="*/ 9 w 297"/>
              <a:gd name="T43" fmla="*/ 93 h 297"/>
              <a:gd name="T44" fmla="*/ 25 w 297"/>
              <a:gd name="T45" fmla="*/ 108 h 297"/>
              <a:gd name="T46" fmla="*/ 20 w 297"/>
              <a:gd name="T47" fmla="*/ 126 h 297"/>
              <a:gd name="T48" fmla="*/ 0 w 297"/>
              <a:gd name="T49" fmla="*/ 130 h 297"/>
              <a:gd name="T50" fmla="*/ 0 w 297"/>
              <a:gd name="T51" fmla="*/ 170 h 297"/>
              <a:gd name="T52" fmla="*/ 19 w 297"/>
              <a:gd name="T53" fmla="*/ 174 h 297"/>
              <a:gd name="T54" fmla="*/ 24 w 297"/>
              <a:gd name="T55" fmla="*/ 194 h 297"/>
              <a:gd name="T56" fmla="*/ 11 w 297"/>
              <a:gd name="T57" fmla="*/ 206 h 297"/>
              <a:gd name="T58" fmla="*/ 31 w 297"/>
              <a:gd name="T59" fmla="*/ 241 h 297"/>
              <a:gd name="T60" fmla="*/ 48 w 297"/>
              <a:gd name="T61" fmla="*/ 236 h 297"/>
              <a:gd name="T62" fmla="*/ 64 w 297"/>
              <a:gd name="T63" fmla="*/ 252 h 297"/>
              <a:gd name="T64" fmla="*/ 58 w 297"/>
              <a:gd name="T65" fmla="*/ 267 h 297"/>
              <a:gd name="T66" fmla="*/ 93 w 297"/>
              <a:gd name="T67" fmla="*/ 288 h 297"/>
              <a:gd name="T68" fmla="*/ 105 w 297"/>
              <a:gd name="T69" fmla="*/ 275 h 297"/>
              <a:gd name="T70" fmla="*/ 126 w 297"/>
              <a:gd name="T71" fmla="*/ 280 h 297"/>
              <a:gd name="T72" fmla="*/ 130 w 297"/>
              <a:gd name="T73" fmla="*/ 297 h 297"/>
              <a:gd name="T74" fmla="*/ 170 w 297"/>
              <a:gd name="T75" fmla="*/ 297 h 297"/>
              <a:gd name="T76" fmla="*/ 174 w 297"/>
              <a:gd name="T77" fmla="*/ 279 h 297"/>
              <a:gd name="T78" fmla="*/ 195 w 297"/>
              <a:gd name="T79" fmla="*/ 273 h 297"/>
              <a:gd name="T80" fmla="*/ 206 w 297"/>
              <a:gd name="T81" fmla="*/ 286 h 297"/>
              <a:gd name="T82" fmla="*/ 241 w 297"/>
              <a:gd name="T83" fmla="*/ 266 h 297"/>
              <a:gd name="T84" fmla="*/ 235 w 297"/>
              <a:gd name="T85" fmla="*/ 247 h 297"/>
              <a:gd name="T86" fmla="*/ 249 w 297"/>
              <a:gd name="T87" fmla="*/ 233 h 297"/>
              <a:gd name="T88" fmla="*/ 267 w 297"/>
              <a:gd name="T89" fmla="*/ 239 h 297"/>
              <a:gd name="T90" fmla="*/ 288 w 297"/>
              <a:gd name="T91" fmla="*/ 204 h 297"/>
              <a:gd name="T92" fmla="*/ 271 w 297"/>
              <a:gd name="T93" fmla="*/ 189 h 297"/>
              <a:gd name="T94" fmla="*/ 275 w 297"/>
              <a:gd name="T95" fmla="*/ 172 h 297"/>
              <a:gd name="T96" fmla="*/ 297 w 297"/>
              <a:gd name="T97"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7" h="297">
                <a:moveTo>
                  <a:pt x="297" y="167"/>
                </a:moveTo>
                <a:cubicBezTo>
                  <a:pt x="297" y="127"/>
                  <a:pt x="297" y="127"/>
                  <a:pt x="297" y="127"/>
                </a:cubicBezTo>
                <a:cubicBezTo>
                  <a:pt x="273" y="122"/>
                  <a:pt x="273" y="122"/>
                  <a:pt x="273" y="122"/>
                </a:cubicBezTo>
                <a:cubicBezTo>
                  <a:pt x="271" y="117"/>
                  <a:pt x="270" y="112"/>
                  <a:pt x="268" y="107"/>
                </a:cubicBezTo>
                <a:cubicBezTo>
                  <a:pt x="286" y="91"/>
                  <a:pt x="286" y="91"/>
                  <a:pt x="286" y="91"/>
                </a:cubicBezTo>
                <a:cubicBezTo>
                  <a:pt x="266" y="56"/>
                  <a:pt x="266" y="56"/>
                  <a:pt x="266" y="56"/>
                </a:cubicBezTo>
                <a:cubicBezTo>
                  <a:pt x="241" y="64"/>
                  <a:pt x="241" y="64"/>
                  <a:pt x="241" y="64"/>
                </a:cubicBezTo>
                <a:cubicBezTo>
                  <a:pt x="238" y="60"/>
                  <a:pt x="234" y="57"/>
                  <a:pt x="231" y="54"/>
                </a:cubicBezTo>
                <a:cubicBezTo>
                  <a:pt x="239" y="30"/>
                  <a:pt x="239" y="30"/>
                  <a:pt x="239" y="30"/>
                </a:cubicBezTo>
                <a:cubicBezTo>
                  <a:pt x="204" y="9"/>
                  <a:pt x="204" y="9"/>
                  <a:pt x="204" y="9"/>
                </a:cubicBezTo>
                <a:cubicBezTo>
                  <a:pt x="186" y="29"/>
                  <a:pt x="186" y="29"/>
                  <a:pt x="186" y="29"/>
                </a:cubicBezTo>
                <a:cubicBezTo>
                  <a:pt x="181" y="28"/>
                  <a:pt x="177" y="27"/>
                  <a:pt x="173" y="26"/>
                </a:cubicBezTo>
                <a:cubicBezTo>
                  <a:pt x="167" y="0"/>
                  <a:pt x="167" y="0"/>
                  <a:pt x="167" y="0"/>
                </a:cubicBezTo>
                <a:cubicBezTo>
                  <a:pt x="127" y="0"/>
                  <a:pt x="127" y="0"/>
                  <a:pt x="127" y="0"/>
                </a:cubicBezTo>
                <a:cubicBezTo>
                  <a:pt x="121" y="26"/>
                  <a:pt x="121" y="26"/>
                  <a:pt x="121" y="26"/>
                </a:cubicBezTo>
                <a:cubicBezTo>
                  <a:pt x="116" y="27"/>
                  <a:pt x="112" y="28"/>
                  <a:pt x="107" y="29"/>
                </a:cubicBezTo>
                <a:cubicBezTo>
                  <a:pt x="91" y="11"/>
                  <a:pt x="91" y="11"/>
                  <a:pt x="91" y="11"/>
                </a:cubicBezTo>
                <a:cubicBezTo>
                  <a:pt x="56" y="31"/>
                  <a:pt x="56" y="31"/>
                  <a:pt x="56" y="31"/>
                </a:cubicBezTo>
                <a:cubicBezTo>
                  <a:pt x="63" y="54"/>
                  <a:pt x="63" y="54"/>
                  <a:pt x="63" y="54"/>
                </a:cubicBezTo>
                <a:cubicBezTo>
                  <a:pt x="59" y="58"/>
                  <a:pt x="55" y="61"/>
                  <a:pt x="51" y="65"/>
                </a:cubicBezTo>
                <a:cubicBezTo>
                  <a:pt x="30" y="58"/>
                  <a:pt x="30" y="58"/>
                  <a:pt x="30" y="58"/>
                </a:cubicBezTo>
                <a:cubicBezTo>
                  <a:pt x="9" y="93"/>
                  <a:pt x="9" y="93"/>
                  <a:pt x="9" y="93"/>
                </a:cubicBezTo>
                <a:cubicBezTo>
                  <a:pt x="25" y="108"/>
                  <a:pt x="25" y="108"/>
                  <a:pt x="25" y="108"/>
                </a:cubicBezTo>
                <a:cubicBezTo>
                  <a:pt x="23" y="114"/>
                  <a:pt x="22" y="120"/>
                  <a:pt x="20" y="126"/>
                </a:cubicBezTo>
                <a:cubicBezTo>
                  <a:pt x="0" y="130"/>
                  <a:pt x="0" y="130"/>
                  <a:pt x="0" y="130"/>
                </a:cubicBezTo>
                <a:cubicBezTo>
                  <a:pt x="0" y="170"/>
                  <a:pt x="0" y="170"/>
                  <a:pt x="0" y="170"/>
                </a:cubicBezTo>
                <a:cubicBezTo>
                  <a:pt x="19" y="174"/>
                  <a:pt x="19" y="174"/>
                  <a:pt x="19" y="174"/>
                </a:cubicBezTo>
                <a:cubicBezTo>
                  <a:pt x="21" y="181"/>
                  <a:pt x="22" y="188"/>
                  <a:pt x="24" y="194"/>
                </a:cubicBezTo>
                <a:cubicBezTo>
                  <a:pt x="11" y="206"/>
                  <a:pt x="11" y="206"/>
                  <a:pt x="11" y="206"/>
                </a:cubicBezTo>
                <a:cubicBezTo>
                  <a:pt x="31" y="241"/>
                  <a:pt x="31" y="241"/>
                  <a:pt x="31" y="241"/>
                </a:cubicBezTo>
                <a:cubicBezTo>
                  <a:pt x="48" y="236"/>
                  <a:pt x="48" y="236"/>
                  <a:pt x="48" y="236"/>
                </a:cubicBezTo>
                <a:cubicBezTo>
                  <a:pt x="53" y="242"/>
                  <a:pt x="58" y="247"/>
                  <a:pt x="64" y="252"/>
                </a:cubicBezTo>
                <a:cubicBezTo>
                  <a:pt x="58" y="267"/>
                  <a:pt x="58" y="267"/>
                  <a:pt x="58" y="267"/>
                </a:cubicBezTo>
                <a:cubicBezTo>
                  <a:pt x="93" y="288"/>
                  <a:pt x="93" y="288"/>
                  <a:pt x="93" y="288"/>
                </a:cubicBezTo>
                <a:cubicBezTo>
                  <a:pt x="105" y="275"/>
                  <a:pt x="105" y="275"/>
                  <a:pt x="105" y="275"/>
                </a:cubicBezTo>
                <a:cubicBezTo>
                  <a:pt x="112" y="277"/>
                  <a:pt x="119" y="279"/>
                  <a:pt x="126" y="280"/>
                </a:cubicBezTo>
                <a:cubicBezTo>
                  <a:pt x="130" y="297"/>
                  <a:pt x="130" y="297"/>
                  <a:pt x="130" y="297"/>
                </a:cubicBezTo>
                <a:cubicBezTo>
                  <a:pt x="170" y="297"/>
                  <a:pt x="170" y="297"/>
                  <a:pt x="170" y="297"/>
                </a:cubicBezTo>
                <a:cubicBezTo>
                  <a:pt x="174" y="279"/>
                  <a:pt x="174" y="279"/>
                  <a:pt x="174" y="279"/>
                </a:cubicBezTo>
                <a:cubicBezTo>
                  <a:pt x="181" y="278"/>
                  <a:pt x="188" y="275"/>
                  <a:pt x="195" y="273"/>
                </a:cubicBezTo>
                <a:cubicBezTo>
                  <a:pt x="206" y="286"/>
                  <a:pt x="206" y="286"/>
                  <a:pt x="206" y="286"/>
                </a:cubicBezTo>
                <a:cubicBezTo>
                  <a:pt x="241" y="266"/>
                  <a:pt x="241" y="266"/>
                  <a:pt x="241" y="266"/>
                </a:cubicBezTo>
                <a:cubicBezTo>
                  <a:pt x="235" y="247"/>
                  <a:pt x="235" y="247"/>
                  <a:pt x="235" y="247"/>
                </a:cubicBezTo>
                <a:cubicBezTo>
                  <a:pt x="240" y="243"/>
                  <a:pt x="245" y="238"/>
                  <a:pt x="249" y="233"/>
                </a:cubicBezTo>
                <a:cubicBezTo>
                  <a:pt x="267" y="239"/>
                  <a:pt x="267" y="239"/>
                  <a:pt x="267" y="239"/>
                </a:cubicBezTo>
                <a:cubicBezTo>
                  <a:pt x="288" y="204"/>
                  <a:pt x="288" y="204"/>
                  <a:pt x="288" y="204"/>
                </a:cubicBezTo>
                <a:cubicBezTo>
                  <a:pt x="271" y="189"/>
                  <a:pt x="271" y="189"/>
                  <a:pt x="271" y="189"/>
                </a:cubicBezTo>
                <a:cubicBezTo>
                  <a:pt x="273" y="183"/>
                  <a:pt x="274" y="178"/>
                  <a:pt x="275" y="172"/>
                </a:cubicBezTo>
                <a:lnTo>
                  <a:pt x="29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203"/>
          <p:cNvSpPr>
            <a:spLocks/>
          </p:cNvSpPr>
          <p:nvPr/>
        </p:nvSpPr>
        <p:spPr bwMode="auto">
          <a:xfrm>
            <a:off x="7311708" y="4152894"/>
            <a:ext cx="741976" cy="742988"/>
          </a:xfrm>
          <a:custGeom>
            <a:avLst/>
            <a:gdLst>
              <a:gd name="T0" fmla="*/ 304 w 309"/>
              <a:gd name="T1" fmla="*/ 127 h 309"/>
              <a:gd name="T2" fmla="*/ 280 w 309"/>
              <a:gd name="T3" fmla="*/ 111 h 309"/>
              <a:gd name="T4" fmla="*/ 297 w 309"/>
              <a:gd name="T5" fmla="*/ 94 h 309"/>
              <a:gd name="T6" fmla="*/ 247 w 309"/>
              <a:gd name="T7" fmla="*/ 70 h 309"/>
              <a:gd name="T8" fmla="*/ 242 w 309"/>
              <a:gd name="T9" fmla="*/ 62 h 309"/>
              <a:gd name="T10" fmla="*/ 205 w 309"/>
              <a:gd name="T11" fmla="*/ 11 h 309"/>
              <a:gd name="T12" fmla="*/ 180 w 309"/>
              <a:gd name="T13" fmla="*/ 26 h 309"/>
              <a:gd name="T14" fmla="*/ 173 w 309"/>
              <a:gd name="T15" fmla="*/ 0 h 309"/>
              <a:gd name="T16" fmla="*/ 127 w 309"/>
              <a:gd name="T17" fmla="*/ 32 h 309"/>
              <a:gd name="T18" fmla="*/ 118 w 309"/>
              <a:gd name="T19" fmla="*/ 31 h 309"/>
              <a:gd name="T20" fmla="*/ 56 w 309"/>
              <a:gd name="T21" fmla="*/ 39 h 309"/>
              <a:gd name="T22" fmla="*/ 53 w 309"/>
              <a:gd name="T23" fmla="*/ 67 h 309"/>
              <a:gd name="T24" fmla="*/ 30 w 309"/>
              <a:gd name="T25" fmla="*/ 61 h 309"/>
              <a:gd name="T26" fmla="*/ 31 w 309"/>
              <a:gd name="T27" fmla="*/ 114 h 309"/>
              <a:gd name="T28" fmla="*/ 25 w 309"/>
              <a:gd name="T29" fmla="*/ 126 h 309"/>
              <a:gd name="T30" fmla="*/ 5 w 309"/>
              <a:gd name="T31" fmla="*/ 182 h 309"/>
              <a:gd name="T32" fmla="*/ 25 w 309"/>
              <a:gd name="T33" fmla="*/ 202 h 309"/>
              <a:gd name="T34" fmla="*/ 12 w 309"/>
              <a:gd name="T35" fmla="*/ 215 h 309"/>
              <a:gd name="T36" fmla="*/ 54 w 309"/>
              <a:gd name="T37" fmla="*/ 242 h 309"/>
              <a:gd name="T38" fmla="*/ 64 w 309"/>
              <a:gd name="T39" fmla="*/ 256 h 309"/>
              <a:gd name="T40" fmla="*/ 104 w 309"/>
              <a:gd name="T41" fmla="*/ 298 h 309"/>
              <a:gd name="T42" fmla="*/ 131 w 309"/>
              <a:gd name="T43" fmla="*/ 292 h 309"/>
              <a:gd name="T44" fmla="*/ 136 w 309"/>
              <a:gd name="T45" fmla="*/ 309 h 309"/>
              <a:gd name="T46" fmla="*/ 180 w 309"/>
              <a:gd name="T47" fmla="*/ 285 h 309"/>
              <a:gd name="T48" fmla="*/ 196 w 309"/>
              <a:gd name="T49" fmla="*/ 283 h 309"/>
              <a:gd name="T50" fmla="*/ 253 w 309"/>
              <a:gd name="T51" fmla="*/ 270 h 309"/>
              <a:gd name="T52" fmla="*/ 259 w 309"/>
              <a:gd name="T53" fmla="*/ 242 h 309"/>
              <a:gd name="T54" fmla="*/ 279 w 309"/>
              <a:gd name="T55" fmla="*/ 248 h 309"/>
              <a:gd name="T56" fmla="*/ 277 w 309"/>
              <a:gd name="T57" fmla="*/ 195 h 309"/>
              <a:gd name="T58" fmla="*/ 282 w 309"/>
              <a:gd name="T59" fmla="*/ 184 h 309"/>
              <a:gd name="T60" fmla="*/ 301 w 309"/>
              <a:gd name="T61" fmla="*/ 167 h 309"/>
              <a:gd name="T62" fmla="*/ 273 w 309"/>
              <a:gd name="T63" fmla="*/ 199 h 309"/>
              <a:gd name="T64" fmla="*/ 250 w 309"/>
              <a:gd name="T65" fmla="*/ 235 h 309"/>
              <a:gd name="T66" fmla="*/ 214 w 309"/>
              <a:gd name="T67" fmla="*/ 284 h 309"/>
              <a:gd name="T68" fmla="*/ 174 w 309"/>
              <a:gd name="T69" fmla="*/ 284 h 309"/>
              <a:gd name="T70" fmla="*/ 133 w 309"/>
              <a:gd name="T71" fmla="*/ 280 h 309"/>
              <a:gd name="T72" fmla="*/ 72 w 309"/>
              <a:gd name="T73" fmla="*/ 271 h 309"/>
              <a:gd name="T74" fmla="*/ 52 w 309"/>
              <a:gd name="T75" fmla="*/ 236 h 309"/>
              <a:gd name="T76" fmla="*/ 36 w 309"/>
              <a:gd name="T77" fmla="*/ 198 h 309"/>
              <a:gd name="T78" fmla="*/ 12 w 309"/>
              <a:gd name="T79" fmla="*/ 141 h 309"/>
              <a:gd name="T80" fmla="*/ 35 w 309"/>
              <a:gd name="T81" fmla="*/ 109 h 309"/>
              <a:gd name="T82" fmla="*/ 62 w 309"/>
              <a:gd name="T83" fmla="*/ 75 h 309"/>
              <a:gd name="T84" fmla="*/ 95 w 309"/>
              <a:gd name="T85" fmla="*/ 25 h 309"/>
              <a:gd name="T86" fmla="*/ 133 w 309"/>
              <a:gd name="T87" fmla="*/ 33 h 309"/>
              <a:gd name="T88" fmla="*/ 177 w 309"/>
              <a:gd name="T89" fmla="*/ 38 h 309"/>
              <a:gd name="T90" fmla="*/ 237 w 309"/>
              <a:gd name="T91" fmla="*/ 38 h 309"/>
              <a:gd name="T92" fmla="*/ 249 w 309"/>
              <a:gd name="T93" fmla="*/ 75 h 309"/>
              <a:gd name="T94" fmla="*/ 268 w 309"/>
              <a:gd name="T95" fmla="*/ 115 h 309"/>
              <a:gd name="T96" fmla="*/ 297 w 309"/>
              <a:gd name="T97" fmla="*/ 17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9" h="309">
                <a:moveTo>
                  <a:pt x="303" y="173"/>
                </a:moveTo>
                <a:cubicBezTo>
                  <a:pt x="309" y="173"/>
                  <a:pt x="309" y="173"/>
                  <a:pt x="309" y="173"/>
                </a:cubicBezTo>
                <a:cubicBezTo>
                  <a:pt x="309" y="133"/>
                  <a:pt x="309" y="133"/>
                  <a:pt x="309" y="133"/>
                </a:cubicBezTo>
                <a:cubicBezTo>
                  <a:pt x="309" y="130"/>
                  <a:pt x="307" y="127"/>
                  <a:pt x="304" y="127"/>
                </a:cubicBezTo>
                <a:cubicBezTo>
                  <a:pt x="280" y="122"/>
                  <a:pt x="280" y="122"/>
                  <a:pt x="280" y="122"/>
                </a:cubicBezTo>
                <a:cubicBezTo>
                  <a:pt x="279" y="128"/>
                  <a:pt x="279" y="128"/>
                  <a:pt x="279" y="128"/>
                </a:cubicBezTo>
                <a:cubicBezTo>
                  <a:pt x="284" y="126"/>
                  <a:pt x="284" y="126"/>
                  <a:pt x="284" y="126"/>
                </a:cubicBezTo>
                <a:cubicBezTo>
                  <a:pt x="283" y="121"/>
                  <a:pt x="282" y="116"/>
                  <a:pt x="280" y="111"/>
                </a:cubicBezTo>
                <a:cubicBezTo>
                  <a:pt x="274" y="113"/>
                  <a:pt x="274" y="113"/>
                  <a:pt x="274" y="113"/>
                </a:cubicBezTo>
                <a:cubicBezTo>
                  <a:pt x="278" y="117"/>
                  <a:pt x="278" y="117"/>
                  <a:pt x="278" y="117"/>
                </a:cubicBezTo>
                <a:cubicBezTo>
                  <a:pt x="296" y="101"/>
                  <a:pt x="296" y="101"/>
                  <a:pt x="296" y="101"/>
                </a:cubicBezTo>
                <a:cubicBezTo>
                  <a:pt x="298" y="99"/>
                  <a:pt x="299" y="96"/>
                  <a:pt x="297" y="94"/>
                </a:cubicBezTo>
                <a:cubicBezTo>
                  <a:pt x="277" y="59"/>
                  <a:pt x="277" y="59"/>
                  <a:pt x="277" y="59"/>
                </a:cubicBezTo>
                <a:cubicBezTo>
                  <a:pt x="276" y="56"/>
                  <a:pt x="273" y="55"/>
                  <a:pt x="270" y="56"/>
                </a:cubicBezTo>
                <a:cubicBezTo>
                  <a:pt x="245" y="64"/>
                  <a:pt x="245" y="64"/>
                  <a:pt x="245" y="64"/>
                </a:cubicBezTo>
                <a:cubicBezTo>
                  <a:pt x="247" y="70"/>
                  <a:pt x="247" y="70"/>
                  <a:pt x="247" y="70"/>
                </a:cubicBezTo>
                <a:cubicBezTo>
                  <a:pt x="251" y="65"/>
                  <a:pt x="251" y="65"/>
                  <a:pt x="251" y="65"/>
                </a:cubicBezTo>
                <a:cubicBezTo>
                  <a:pt x="248" y="62"/>
                  <a:pt x="244" y="59"/>
                  <a:pt x="241" y="55"/>
                </a:cubicBezTo>
                <a:cubicBezTo>
                  <a:pt x="237" y="60"/>
                  <a:pt x="237" y="60"/>
                  <a:pt x="237" y="60"/>
                </a:cubicBezTo>
                <a:cubicBezTo>
                  <a:pt x="242" y="62"/>
                  <a:pt x="242" y="62"/>
                  <a:pt x="242" y="62"/>
                </a:cubicBezTo>
                <a:cubicBezTo>
                  <a:pt x="250" y="37"/>
                  <a:pt x="250" y="37"/>
                  <a:pt x="250" y="37"/>
                </a:cubicBezTo>
                <a:cubicBezTo>
                  <a:pt x="251" y="35"/>
                  <a:pt x="250" y="32"/>
                  <a:pt x="248" y="30"/>
                </a:cubicBezTo>
                <a:cubicBezTo>
                  <a:pt x="213" y="10"/>
                  <a:pt x="213" y="10"/>
                  <a:pt x="213" y="10"/>
                </a:cubicBezTo>
                <a:cubicBezTo>
                  <a:pt x="210" y="9"/>
                  <a:pt x="207" y="9"/>
                  <a:pt x="205" y="11"/>
                </a:cubicBezTo>
                <a:cubicBezTo>
                  <a:pt x="187" y="31"/>
                  <a:pt x="187" y="31"/>
                  <a:pt x="187" y="31"/>
                </a:cubicBezTo>
                <a:cubicBezTo>
                  <a:pt x="192" y="35"/>
                  <a:pt x="192" y="35"/>
                  <a:pt x="192" y="35"/>
                </a:cubicBezTo>
                <a:cubicBezTo>
                  <a:pt x="194" y="29"/>
                  <a:pt x="194" y="29"/>
                  <a:pt x="194" y="29"/>
                </a:cubicBezTo>
                <a:cubicBezTo>
                  <a:pt x="189" y="28"/>
                  <a:pt x="184" y="27"/>
                  <a:pt x="180" y="26"/>
                </a:cubicBezTo>
                <a:cubicBezTo>
                  <a:pt x="179" y="32"/>
                  <a:pt x="179" y="32"/>
                  <a:pt x="179" y="32"/>
                </a:cubicBezTo>
                <a:cubicBezTo>
                  <a:pt x="184" y="30"/>
                  <a:pt x="184" y="30"/>
                  <a:pt x="184" y="30"/>
                </a:cubicBezTo>
                <a:cubicBezTo>
                  <a:pt x="179" y="5"/>
                  <a:pt x="179" y="5"/>
                  <a:pt x="179" y="5"/>
                </a:cubicBezTo>
                <a:cubicBezTo>
                  <a:pt x="178" y="2"/>
                  <a:pt x="176" y="0"/>
                  <a:pt x="173" y="0"/>
                </a:cubicBezTo>
                <a:cubicBezTo>
                  <a:pt x="133" y="0"/>
                  <a:pt x="133" y="0"/>
                  <a:pt x="133" y="0"/>
                </a:cubicBezTo>
                <a:cubicBezTo>
                  <a:pt x="130" y="0"/>
                  <a:pt x="127" y="2"/>
                  <a:pt x="127" y="5"/>
                </a:cubicBezTo>
                <a:cubicBezTo>
                  <a:pt x="121" y="30"/>
                  <a:pt x="121" y="30"/>
                  <a:pt x="121" y="30"/>
                </a:cubicBezTo>
                <a:cubicBezTo>
                  <a:pt x="127" y="32"/>
                  <a:pt x="127" y="32"/>
                  <a:pt x="127" y="32"/>
                </a:cubicBezTo>
                <a:cubicBezTo>
                  <a:pt x="126" y="26"/>
                  <a:pt x="126" y="26"/>
                  <a:pt x="126" y="26"/>
                </a:cubicBezTo>
                <a:cubicBezTo>
                  <a:pt x="121" y="27"/>
                  <a:pt x="116" y="28"/>
                  <a:pt x="111" y="30"/>
                </a:cubicBezTo>
                <a:cubicBezTo>
                  <a:pt x="113" y="35"/>
                  <a:pt x="113" y="35"/>
                  <a:pt x="113" y="35"/>
                </a:cubicBezTo>
                <a:cubicBezTo>
                  <a:pt x="118" y="31"/>
                  <a:pt x="118" y="31"/>
                  <a:pt x="118" y="31"/>
                </a:cubicBezTo>
                <a:cubicBezTo>
                  <a:pt x="101" y="13"/>
                  <a:pt x="101" y="13"/>
                  <a:pt x="101" y="13"/>
                </a:cubicBezTo>
                <a:cubicBezTo>
                  <a:pt x="99" y="11"/>
                  <a:pt x="96" y="10"/>
                  <a:pt x="94" y="12"/>
                </a:cubicBezTo>
                <a:cubicBezTo>
                  <a:pt x="59" y="32"/>
                  <a:pt x="59" y="32"/>
                  <a:pt x="59" y="32"/>
                </a:cubicBezTo>
                <a:cubicBezTo>
                  <a:pt x="56" y="33"/>
                  <a:pt x="55" y="36"/>
                  <a:pt x="56" y="39"/>
                </a:cubicBezTo>
                <a:cubicBezTo>
                  <a:pt x="63" y="62"/>
                  <a:pt x="63" y="62"/>
                  <a:pt x="63" y="62"/>
                </a:cubicBezTo>
                <a:cubicBezTo>
                  <a:pt x="69" y="60"/>
                  <a:pt x="69" y="60"/>
                  <a:pt x="69" y="60"/>
                </a:cubicBezTo>
                <a:cubicBezTo>
                  <a:pt x="65" y="55"/>
                  <a:pt x="65" y="55"/>
                  <a:pt x="65" y="55"/>
                </a:cubicBezTo>
                <a:cubicBezTo>
                  <a:pt x="61" y="59"/>
                  <a:pt x="57" y="63"/>
                  <a:pt x="53" y="67"/>
                </a:cubicBezTo>
                <a:cubicBezTo>
                  <a:pt x="57" y="71"/>
                  <a:pt x="57" y="71"/>
                  <a:pt x="57" y="71"/>
                </a:cubicBezTo>
                <a:cubicBezTo>
                  <a:pt x="59" y="66"/>
                  <a:pt x="59" y="66"/>
                  <a:pt x="59" y="66"/>
                </a:cubicBezTo>
                <a:cubicBezTo>
                  <a:pt x="37" y="59"/>
                  <a:pt x="37" y="59"/>
                  <a:pt x="37" y="59"/>
                </a:cubicBezTo>
                <a:cubicBezTo>
                  <a:pt x="35" y="58"/>
                  <a:pt x="32" y="59"/>
                  <a:pt x="30" y="61"/>
                </a:cubicBezTo>
                <a:cubicBezTo>
                  <a:pt x="10" y="96"/>
                  <a:pt x="10" y="96"/>
                  <a:pt x="10" y="96"/>
                </a:cubicBezTo>
                <a:cubicBezTo>
                  <a:pt x="9" y="99"/>
                  <a:pt x="9" y="102"/>
                  <a:pt x="11" y="104"/>
                </a:cubicBezTo>
                <a:cubicBezTo>
                  <a:pt x="27" y="118"/>
                  <a:pt x="27" y="118"/>
                  <a:pt x="27" y="118"/>
                </a:cubicBezTo>
                <a:cubicBezTo>
                  <a:pt x="31" y="114"/>
                  <a:pt x="31" y="114"/>
                  <a:pt x="31" y="114"/>
                </a:cubicBezTo>
                <a:cubicBezTo>
                  <a:pt x="26" y="112"/>
                  <a:pt x="26" y="112"/>
                  <a:pt x="26" y="112"/>
                </a:cubicBezTo>
                <a:cubicBezTo>
                  <a:pt x="24" y="118"/>
                  <a:pt x="22" y="124"/>
                  <a:pt x="20" y="130"/>
                </a:cubicBezTo>
                <a:cubicBezTo>
                  <a:pt x="26" y="132"/>
                  <a:pt x="26" y="132"/>
                  <a:pt x="26" y="132"/>
                </a:cubicBezTo>
                <a:cubicBezTo>
                  <a:pt x="25" y="126"/>
                  <a:pt x="25" y="126"/>
                  <a:pt x="25" y="126"/>
                </a:cubicBezTo>
                <a:cubicBezTo>
                  <a:pt x="5" y="130"/>
                  <a:pt x="5" y="130"/>
                  <a:pt x="5" y="130"/>
                </a:cubicBezTo>
                <a:cubicBezTo>
                  <a:pt x="2" y="131"/>
                  <a:pt x="0" y="133"/>
                  <a:pt x="0" y="136"/>
                </a:cubicBezTo>
                <a:cubicBezTo>
                  <a:pt x="0" y="176"/>
                  <a:pt x="0" y="176"/>
                  <a:pt x="0" y="176"/>
                </a:cubicBezTo>
                <a:cubicBezTo>
                  <a:pt x="0" y="179"/>
                  <a:pt x="2" y="182"/>
                  <a:pt x="5" y="182"/>
                </a:cubicBezTo>
                <a:cubicBezTo>
                  <a:pt x="24" y="186"/>
                  <a:pt x="24" y="186"/>
                  <a:pt x="24" y="186"/>
                </a:cubicBezTo>
                <a:cubicBezTo>
                  <a:pt x="25" y="180"/>
                  <a:pt x="25" y="180"/>
                  <a:pt x="25" y="180"/>
                </a:cubicBezTo>
                <a:cubicBezTo>
                  <a:pt x="19" y="181"/>
                  <a:pt x="19" y="181"/>
                  <a:pt x="19" y="181"/>
                </a:cubicBezTo>
                <a:cubicBezTo>
                  <a:pt x="21" y="189"/>
                  <a:pt x="22" y="196"/>
                  <a:pt x="25" y="202"/>
                </a:cubicBezTo>
                <a:cubicBezTo>
                  <a:pt x="30" y="200"/>
                  <a:pt x="30" y="200"/>
                  <a:pt x="30" y="200"/>
                </a:cubicBezTo>
                <a:cubicBezTo>
                  <a:pt x="26" y="196"/>
                  <a:pt x="26" y="196"/>
                  <a:pt x="26" y="196"/>
                </a:cubicBezTo>
                <a:cubicBezTo>
                  <a:pt x="13" y="208"/>
                  <a:pt x="13" y="208"/>
                  <a:pt x="13" y="208"/>
                </a:cubicBezTo>
                <a:cubicBezTo>
                  <a:pt x="11" y="210"/>
                  <a:pt x="10" y="213"/>
                  <a:pt x="12" y="215"/>
                </a:cubicBezTo>
                <a:cubicBezTo>
                  <a:pt x="32" y="250"/>
                  <a:pt x="32" y="250"/>
                  <a:pt x="32" y="250"/>
                </a:cubicBezTo>
                <a:cubicBezTo>
                  <a:pt x="33" y="253"/>
                  <a:pt x="36" y="254"/>
                  <a:pt x="39" y="253"/>
                </a:cubicBezTo>
                <a:cubicBezTo>
                  <a:pt x="56" y="248"/>
                  <a:pt x="56" y="248"/>
                  <a:pt x="56" y="248"/>
                </a:cubicBezTo>
                <a:cubicBezTo>
                  <a:pt x="54" y="242"/>
                  <a:pt x="54" y="242"/>
                  <a:pt x="54" y="242"/>
                </a:cubicBezTo>
                <a:cubicBezTo>
                  <a:pt x="49" y="246"/>
                  <a:pt x="49" y="246"/>
                  <a:pt x="49" y="246"/>
                </a:cubicBezTo>
                <a:cubicBezTo>
                  <a:pt x="54" y="252"/>
                  <a:pt x="60" y="257"/>
                  <a:pt x="66" y="262"/>
                </a:cubicBezTo>
                <a:cubicBezTo>
                  <a:pt x="70" y="258"/>
                  <a:pt x="70" y="258"/>
                  <a:pt x="70" y="258"/>
                </a:cubicBezTo>
                <a:cubicBezTo>
                  <a:pt x="64" y="256"/>
                  <a:pt x="64" y="256"/>
                  <a:pt x="64" y="256"/>
                </a:cubicBezTo>
                <a:cubicBezTo>
                  <a:pt x="59" y="272"/>
                  <a:pt x="59" y="272"/>
                  <a:pt x="59" y="272"/>
                </a:cubicBezTo>
                <a:cubicBezTo>
                  <a:pt x="58" y="274"/>
                  <a:pt x="59" y="277"/>
                  <a:pt x="61" y="279"/>
                </a:cubicBezTo>
                <a:cubicBezTo>
                  <a:pt x="96" y="299"/>
                  <a:pt x="96" y="299"/>
                  <a:pt x="96" y="299"/>
                </a:cubicBezTo>
                <a:cubicBezTo>
                  <a:pt x="99" y="300"/>
                  <a:pt x="102" y="300"/>
                  <a:pt x="104" y="298"/>
                </a:cubicBezTo>
                <a:cubicBezTo>
                  <a:pt x="115" y="285"/>
                  <a:pt x="115" y="285"/>
                  <a:pt x="115" y="285"/>
                </a:cubicBezTo>
                <a:cubicBezTo>
                  <a:pt x="111" y="281"/>
                  <a:pt x="111" y="281"/>
                  <a:pt x="111" y="281"/>
                </a:cubicBezTo>
                <a:cubicBezTo>
                  <a:pt x="109" y="287"/>
                  <a:pt x="109" y="287"/>
                  <a:pt x="109" y="287"/>
                </a:cubicBezTo>
                <a:cubicBezTo>
                  <a:pt x="116" y="289"/>
                  <a:pt x="124" y="291"/>
                  <a:pt x="131" y="292"/>
                </a:cubicBezTo>
                <a:cubicBezTo>
                  <a:pt x="132" y="286"/>
                  <a:pt x="132" y="286"/>
                  <a:pt x="132" y="286"/>
                </a:cubicBezTo>
                <a:cubicBezTo>
                  <a:pt x="127" y="288"/>
                  <a:pt x="127" y="288"/>
                  <a:pt x="127" y="288"/>
                </a:cubicBezTo>
                <a:cubicBezTo>
                  <a:pt x="130" y="304"/>
                  <a:pt x="130" y="304"/>
                  <a:pt x="130" y="304"/>
                </a:cubicBezTo>
                <a:cubicBezTo>
                  <a:pt x="131" y="307"/>
                  <a:pt x="133" y="309"/>
                  <a:pt x="136" y="309"/>
                </a:cubicBezTo>
                <a:cubicBezTo>
                  <a:pt x="176" y="309"/>
                  <a:pt x="176" y="309"/>
                  <a:pt x="176" y="309"/>
                </a:cubicBezTo>
                <a:cubicBezTo>
                  <a:pt x="179" y="309"/>
                  <a:pt x="182" y="307"/>
                  <a:pt x="182" y="304"/>
                </a:cubicBezTo>
                <a:cubicBezTo>
                  <a:pt x="186" y="286"/>
                  <a:pt x="186" y="286"/>
                  <a:pt x="186" y="286"/>
                </a:cubicBezTo>
                <a:cubicBezTo>
                  <a:pt x="180" y="285"/>
                  <a:pt x="180" y="285"/>
                  <a:pt x="180" y="285"/>
                </a:cubicBezTo>
                <a:cubicBezTo>
                  <a:pt x="181" y="291"/>
                  <a:pt x="181" y="291"/>
                  <a:pt x="181" y="291"/>
                </a:cubicBezTo>
                <a:cubicBezTo>
                  <a:pt x="189" y="289"/>
                  <a:pt x="196" y="287"/>
                  <a:pt x="203" y="284"/>
                </a:cubicBezTo>
                <a:cubicBezTo>
                  <a:pt x="201" y="279"/>
                  <a:pt x="201" y="279"/>
                  <a:pt x="201" y="279"/>
                </a:cubicBezTo>
                <a:cubicBezTo>
                  <a:pt x="196" y="283"/>
                  <a:pt x="196" y="283"/>
                  <a:pt x="196" y="283"/>
                </a:cubicBezTo>
                <a:cubicBezTo>
                  <a:pt x="208" y="296"/>
                  <a:pt x="208" y="296"/>
                  <a:pt x="208" y="296"/>
                </a:cubicBezTo>
                <a:cubicBezTo>
                  <a:pt x="210" y="298"/>
                  <a:pt x="213" y="299"/>
                  <a:pt x="215" y="297"/>
                </a:cubicBezTo>
                <a:cubicBezTo>
                  <a:pt x="250" y="277"/>
                  <a:pt x="250" y="277"/>
                  <a:pt x="250" y="277"/>
                </a:cubicBezTo>
                <a:cubicBezTo>
                  <a:pt x="253" y="276"/>
                  <a:pt x="254" y="273"/>
                  <a:pt x="253" y="270"/>
                </a:cubicBezTo>
                <a:cubicBezTo>
                  <a:pt x="247" y="251"/>
                  <a:pt x="247" y="251"/>
                  <a:pt x="247" y="251"/>
                </a:cubicBezTo>
                <a:cubicBezTo>
                  <a:pt x="241" y="253"/>
                  <a:pt x="241" y="253"/>
                  <a:pt x="241" y="253"/>
                </a:cubicBezTo>
                <a:cubicBezTo>
                  <a:pt x="245" y="257"/>
                  <a:pt x="245" y="257"/>
                  <a:pt x="245" y="257"/>
                </a:cubicBezTo>
                <a:cubicBezTo>
                  <a:pt x="250" y="253"/>
                  <a:pt x="255" y="248"/>
                  <a:pt x="259" y="242"/>
                </a:cubicBezTo>
                <a:cubicBezTo>
                  <a:pt x="255" y="239"/>
                  <a:pt x="255" y="239"/>
                  <a:pt x="255" y="239"/>
                </a:cubicBezTo>
                <a:cubicBezTo>
                  <a:pt x="253" y="244"/>
                  <a:pt x="253" y="244"/>
                  <a:pt x="253" y="244"/>
                </a:cubicBezTo>
                <a:cubicBezTo>
                  <a:pt x="272" y="250"/>
                  <a:pt x="272" y="250"/>
                  <a:pt x="272" y="250"/>
                </a:cubicBezTo>
                <a:cubicBezTo>
                  <a:pt x="274" y="251"/>
                  <a:pt x="277" y="250"/>
                  <a:pt x="279" y="248"/>
                </a:cubicBezTo>
                <a:cubicBezTo>
                  <a:pt x="299" y="213"/>
                  <a:pt x="299" y="213"/>
                  <a:pt x="299" y="213"/>
                </a:cubicBezTo>
                <a:cubicBezTo>
                  <a:pt x="300" y="210"/>
                  <a:pt x="300" y="207"/>
                  <a:pt x="298" y="205"/>
                </a:cubicBezTo>
                <a:cubicBezTo>
                  <a:pt x="281" y="190"/>
                  <a:pt x="281" y="190"/>
                  <a:pt x="281" y="190"/>
                </a:cubicBezTo>
                <a:cubicBezTo>
                  <a:pt x="277" y="195"/>
                  <a:pt x="277" y="195"/>
                  <a:pt x="277" y="195"/>
                </a:cubicBezTo>
                <a:cubicBezTo>
                  <a:pt x="283" y="196"/>
                  <a:pt x="283" y="196"/>
                  <a:pt x="283" y="196"/>
                </a:cubicBezTo>
                <a:cubicBezTo>
                  <a:pt x="285" y="191"/>
                  <a:pt x="286" y="185"/>
                  <a:pt x="287" y="179"/>
                </a:cubicBezTo>
                <a:cubicBezTo>
                  <a:pt x="281" y="178"/>
                  <a:pt x="281" y="178"/>
                  <a:pt x="281" y="178"/>
                </a:cubicBezTo>
                <a:cubicBezTo>
                  <a:pt x="282" y="184"/>
                  <a:pt x="282" y="184"/>
                  <a:pt x="282" y="184"/>
                </a:cubicBezTo>
                <a:cubicBezTo>
                  <a:pt x="304" y="179"/>
                  <a:pt x="304" y="179"/>
                  <a:pt x="304" y="179"/>
                </a:cubicBezTo>
                <a:cubicBezTo>
                  <a:pt x="307" y="178"/>
                  <a:pt x="309" y="176"/>
                  <a:pt x="309" y="173"/>
                </a:cubicBezTo>
                <a:cubicBezTo>
                  <a:pt x="303" y="173"/>
                  <a:pt x="303" y="173"/>
                  <a:pt x="303" y="173"/>
                </a:cubicBezTo>
                <a:cubicBezTo>
                  <a:pt x="301" y="167"/>
                  <a:pt x="301" y="167"/>
                  <a:pt x="301" y="167"/>
                </a:cubicBezTo>
                <a:cubicBezTo>
                  <a:pt x="280" y="172"/>
                  <a:pt x="280" y="172"/>
                  <a:pt x="280" y="172"/>
                </a:cubicBezTo>
                <a:cubicBezTo>
                  <a:pt x="277" y="172"/>
                  <a:pt x="275" y="174"/>
                  <a:pt x="275" y="177"/>
                </a:cubicBezTo>
                <a:cubicBezTo>
                  <a:pt x="274" y="182"/>
                  <a:pt x="273" y="188"/>
                  <a:pt x="271" y="193"/>
                </a:cubicBezTo>
                <a:cubicBezTo>
                  <a:pt x="271" y="195"/>
                  <a:pt x="271" y="198"/>
                  <a:pt x="273" y="199"/>
                </a:cubicBezTo>
                <a:cubicBezTo>
                  <a:pt x="286" y="211"/>
                  <a:pt x="286" y="211"/>
                  <a:pt x="286" y="211"/>
                </a:cubicBezTo>
                <a:cubicBezTo>
                  <a:pt x="271" y="237"/>
                  <a:pt x="271" y="237"/>
                  <a:pt x="271" y="237"/>
                </a:cubicBezTo>
                <a:cubicBezTo>
                  <a:pt x="256" y="233"/>
                  <a:pt x="256" y="233"/>
                  <a:pt x="256" y="233"/>
                </a:cubicBezTo>
                <a:cubicBezTo>
                  <a:pt x="254" y="232"/>
                  <a:pt x="251" y="233"/>
                  <a:pt x="250" y="235"/>
                </a:cubicBezTo>
                <a:cubicBezTo>
                  <a:pt x="246" y="240"/>
                  <a:pt x="242" y="244"/>
                  <a:pt x="237" y="249"/>
                </a:cubicBezTo>
                <a:cubicBezTo>
                  <a:pt x="236" y="250"/>
                  <a:pt x="235" y="253"/>
                  <a:pt x="236" y="255"/>
                </a:cubicBezTo>
                <a:cubicBezTo>
                  <a:pt x="240" y="269"/>
                  <a:pt x="240" y="269"/>
                  <a:pt x="240" y="269"/>
                </a:cubicBezTo>
                <a:cubicBezTo>
                  <a:pt x="214" y="284"/>
                  <a:pt x="214" y="284"/>
                  <a:pt x="214" y="284"/>
                </a:cubicBezTo>
                <a:cubicBezTo>
                  <a:pt x="205" y="275"/>
                  <a:pt x="205" y="275"/>
                  <a:pt x="205" y="275"/>
                </a:cubicBezTo>
                <a:cubicBezTo>
                  <a:pt x="203" y="273"/>
                  <a:pt x="201" y="272"/>
                  <a:pt x="198" y="273"/>
                </a:cubicBezTo>
                <a:cubicBezTo>
                  <a:pt x="192" y="276"/>
                  <a:pt x="186" y="278"/>
                  <a:pt x="179" y="279"/>
                </a:cubicBezTo>
                <a:cubicBezTo>
                  <a:pt x="177" y="280"/>
                  <a:pt x="175" y="282"/>
                  <a:pt x="174" y="284"/>
                </a:cubicBezTo>
                <a:cubicBezTo>
                  <a:pt x="171" y="297"/>
                  <a:pt x="171" y="297"/>
                  <a:pt x="171" y="297"/>
                </a:cubicBezTo>
                <a:cubicBezTo>
                  <a:pt x="141" y="297"/>
                  <a:pt x="141" y="297"/>
                  <a:pt x="141" y="297"/>
                </a:cubicBezTo>
                <a:cubicBezTo>
                  <a:pt x="138" y="285"/>
                  <a:pt x="138" y="285"/>
                  <a:pt x="138" y="285"/>
                </a:cubicBezTo>
                <a:cubicBezTo>
                  <a:pt x="138" y="283"/>
                  <a:pt x="136" y="281"/>
                  <a:pt x="133" y="280"/>
                </a:cubicBezTo>
                <a:cubicBezTo>
                  <a:pt x="126" y="279"/>
                  <a:pt x="119" y="278"/>
                  <a:pt x="113" y="275"/>
                </a:cubicBezTo>
                <a:cubicBezTo>
                  <a:pt x="111" y="274"/>
                  <a:pt x="108" y="275"/>
                  <a:pt x="106" y="277"/>
                </a:cubicBezTo>
                <a:cubicBezTo>
                  <a:pt x="98" y="286"/>
                  <a:pt x="98" y="286"/>
                  <a:pt x="98" y="286"/>
                </a:cubicBezTo>
                <a:cubicBezTo>
                  <a:pt x="72" y="271"/>
                  <a:pt x="72" y="271"/>
                  <a:pt x="72" y="271"/>
                </a:cubicBezTo>
                <a:cubicBezTo>
                  <a:pt x="75" y="259"/>
                  <a:pt x="75" y="259"/>
                  <a:pt x="75" y="259"/>
                </a:cubicBezTo>
                <a:cubicBezTo>
                  <a:pt x="76" y="257"/>
                  <a:pt x="75" y="254"/>
                  <a:pt x="73" y="253"/>
                </a:cubicBezTo>
                <a:cubicBezTo>
                  <a:pt x="68" y="248"/>
                  <a:pt x="63" y="243"/>
                  <a:pt x="59" y="238"/>
                </a:cubicBezTo>
                <a:cubicBezTo>
                  <a:pt x="57" y="236"/>
                  <a:pt x="54" y="236"/>
                  <a:pt x="52" y="236"/>
                </a:cubicBezTo>
                <a:cubicBezTo>
                  <a:pt x="40" y="240"/>
                  <a:pt x="40" y="240"/>
                  <a:pt x="40" y="240"/>
                </a:cubicBezTo>
                <a:cubicBezTo>
                  <a:pt x="25" y="214"/>
                  <a:pt x="25" y="214"/>
                  <a:pt x="25" y="214"/>
                </a:cubicBezTo>
                <a:cubicBezTo>
                  <a:pt x="34" y="205"/>
                  <a:pt x="34" y="205"/>
                  <a:pt x="34" y="205"/>
                </a:cubicBezTo>
                <a:cubicBezTo>
                  <a:pt x="36" y="203"/>
                  <a:pt x="37" y="201"/>
                  <a:pt x="36" y="198"/>
                </a:cubicBezTo>
                <a:cubicBezTo>
                  <a:pt x="34" y="192"/>
                  <a:pt x="32" y="186"/>
                  <a:pt x="31" y="179"/>
                </a:cubicBezTo>
                <a:cubicBezTo>
                  <a:pt x="31" y="177"/>
                  <a:pt x="29" y="175"/>
                  <a:pt x="27" y="175"/>
                </a:cubicBezTo>
                <a:cubicBezTo>
                  <a:pt x="12" y="171"/>
                  <a:pt x="12" y="171"/>
                  <a:pt x="12" y="171"/>
                </a:cubicBezTo>
                <a:cubicBezTo>
                  <a:pt x="12" y="141"/>
                  <a:pt x="12" y="141"/>
                  <a:pt x="12" y="141"/>
                </a:cubicBezTo>
                <a:cubicBezTo>
                  <a:pt x="28" y="138"/>
                  <a:pt x="28" y="138"/>
                  <a:pt x="28" y="138"/>
                </a:cubicBezTo>
                <a:cubicBezTo>
                  <a:pt x="30" y="137"/>
                  <a:pt x="32" y="135"/>
                  <a:pt x="32" y="133"/>
                </a:cubicBezTo>
                <a:cubicBezTo>
                  <a:pt x="33" y="127"/>
                  <a:pt x="35" y="121"/>
                  <a:pt x="37" y="116"/>
                </a:cubicBezTo>
                <a:cubicBezTo>
                  <a:pt x="38" y="114"/>
                  <a:pt x="37" y="111"/>
                  <a:pt x="35" y="109"/>
                </a:cubicBezTo>
                <a:cubicBezTo>
                  <a:pt x="23" y="98"/>
                  <a:pt x="23" y="98"/>
                  <a:pt x="23" y="98"/>
                </a:cubicBezTo>
                <a:cubicBezTo>
                  <a:pt x="38" y="72"/>
                  <a:pt x="38" y="72"/>
                  <a:pt x="38" y="72"/>
                </a:cubicBezTo>
                <a:cubicBezTo>
                  <a:pt x="55" y="77"/>
                  <a:pt x="55" y="77"/>
                  <a:pt x="55" y="77"/>
                </a:cubicBezTo>
                <a:cubicBezTo>
                  <a:pt x="58" y="78"/>
                  <a:pt x="60" y="77"/>
                  <a:pt x="62" y="75"/>
                </a:cubicBezTo>
                <a:cubicBezTo>
                  <a:pt x="65" y="72"/>
                  <a:pt x="69" y="68"/>
                  <a:pt x="73" y="65"/>
                </a:cubicBezTo>
                <a:cubicBezTo>
                  <a:pt x="75" y="63"/>
                  <a:pt x="75" y="61"/>
                  <a:pt x="75" y="58"/>
                </a:cubicBezTo>
                <a:cubicBezTo>
                  <a:pt x="69" y="40"/>
                  <a:pt x="69" y="40"/>
                  <a:pt x="69" y="40"/>
                </a:cubicBezTo>
                <a:cubicBezTo>
                  <a:pt x="95" y="25"/>
                  <a:pt x="95" y="25"/>
                  <a:pt x="95" y="25"/>
                </a:cubicBezTo>
                <a:cubicBezTo>
                  <a:pt x="109" y="39"/>
                  <a:pt x="109" y="39"/>
                  <a:pt x="109" y="39"/>
                </a:cubicBezTo>
                <a:cubicBezTo>
                  <a:pt x="110" y="41"/>
                  <a:pt x="113" y="42"/>
                  <a:pt x="115" y="41"/>
                </a:cubicBezTo>
                <a:cubicBezTo>
                  <a:pt x="119" y="40"/>
                  <a:pt x="124" y="38"/>
                  <a:pt x="128" y="38"/>
                </a:cubicBezTo>
                <a:cubicBezTo>
                  <a:pt x="131" y="37"/>
                  <a:pt x="133" y="35"/>
                  <a:pt x="133" y="33"/>
                </a:cubicBezTo>
                <a:cubicBezTo>
                  <a:pt x="138" y="12"/>
                  <a:pt x="138" y="12"/>
                  <a:pt x="138" y="12"/>
                </a:cubicBezTo>
                <a:cubicBezTo>
                  <a:pt x="168" y="12"/>
                  <a:pt x="168" y="12"/>
                  <a:pt x="168" y="12"/>
                </a:cubicBezTo>
                <a:cubicBezTo>
                  <a:pt x="173" y="33"/>
                  <a:pt x="173" y="33"/>
                  <a:pt x="173" y="33"/>
                </a:cubicBezTo>
                <a:cubicBezTo>
                  <a:pt x="173" y="35"/>
                  <a:pt x="175" y="37"/>
                  <a:pt x="177" y="38"/>
                </a:cubicBezTo>
                <a:cubicBezTo>
                  <a:pt x="182" y="38"/>
                  <a:pt x="186" y="39"/>
                  <a:pt x="190" y="41"/>
                </a:cubicBezTo>
                <a:cubicBezTo>
                  <a:pt x="192" y="42"/>
                  <a:pt x="195" y="41"/>
                  <a:pt x="196" y="39"/>
                </a:cubicBezTo>
                <a:cubicBezTo>
                  <a:pt x="211" y="23"/>
                  <a:pt x="211" y="23"/>
                  <a:pt x="211" y="23"/>
                </a:cubicBezTo>
                <a:cubicBezTo>
                  <a:pt x="237" y="38"/>
                  <a:pt x="237" y="38"/>
                  <a:pt x="237" y="38"/>
                </a:cubicBezTo>
                <a:cubicBezTo>
                  <a:pt x="231" y="58"/>
                  <a:pt x="231" y="58"/>
                  <a:pt x="231" y="58"/>
                </a:cubicBezTo>
                <a:cubicBezTo>
                  <a:pt x="230" y="60"/>
                  <a:pt x="231" y="63"/>
                  <a:pt x="233" y="65"/>
                </a:cubicBezTo>
                <a:cubicBezTo>
                  <a:pt x="236" y="67"/>
                  <a:pt x="239" y="71"/>
                  <a:pt x="243" y="74"/>
                </a:cubicBezTo>
                <a:cubicBezTo>
                  <a:pt x="244" y="75"/>
                  <a:pt x="247" y="76"/>
                  <a:pt x="249" y="75"/>
                </a:cubicBezTo>
                <a:cubicBezTo>
                  <a:pt x="269" y="69"/>
                  <a:pt x="269" y="69"/>
                  <a:pt x="269" y="69"/>
                </a:cubicBezTo>
                <a:cubicBezTo>
                  <a:pt x="284" y="95"/>
                  <a:pt x="284" y="95"/>
                  <a:pt x="284" y="95"/>
                </a:cubicBezTo>
                <a:cubicBezTo>
                  <a:pt x="270" y="108"/>
                  <a:pt x="270" y="108"/>
                  <a:pt x="270" y="108"/>
                </a:cubicBezTo>
                <a:cubicBezTo>
                  <a:pt x="268" y="110"/>
                  <a:pt x="268" y="113"/>
                  <a:pt x="268" y="115"/>
                </a:cubicBezTo>
                <a:cubicBezTo>
                  <a:pt x="270" y="120"/>
                  <a:pt x="272" y="124"/>
                  <a:pt x="273" y="129"/>
                </a:cubicBezTo>
                <a:cubicBezTo>
                  <a:pt x="273" y="131"/>
                  <a:pt x="275" y="133"/>
                  <a:pt x="277" y="133"/>
                </a:cubicBezTo>
                <a:cubicBezTo>
                  <a:pt x="297" y="138"/>
                  <a:pt x="297" y="138"/>
                  <a:pt x="297" y="138"/>
                </a:cubicBezTo>
                <a:cubicBezTo>
                  <a:pt x="297" y="173"/>
                  <a:pt x="297" y="173"/>
                  <a:pt x="297" y="173"/>
                </a:cubicBezTo>
                <a:cubicBezTo>
                  <a:pt x="303" y="173"/>
                  <a:pt x="303" y="173"/>
                  <a:pt x="303" y="173"/>
                </a:cubicBezTo>
                <a:cubicBezTo>
                  <a:pt x="301" y="167"/>
                  <a:pt x="301" y="167"/>
                  <a:pt x="301" y="167"/>
                </a:cubicBezTo>
                <a:lnTo>
                  <a:pt x="303" y="17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Rectangle 204"/>
          <p:cNvSpPr>
            <a:spLocks noChangeArrowheads="1"/>
          </p:cNvSpPr>
          <p:nvPr/>
        </p:nvSpPr>
        <p:spPr bwMode="auto">
          <a:xfrm>
            <a:off x="5922907" y="5217777"/>
            <a:ext cx="2239088" cy="1174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206"/>
          <p:cNvSpPr>
            <a:spLocks/>
          </p:cNvSpPr>
          <p:nvPr/>
        </p:nvSpPr>
        <p:spPr bwMode="auto">
          <a:xfrm>
            <a:off x="5908735" y="5203605"/>
            <a:ext cx="2267431" cy="145763"/>
          </a:xfrm>
          <a:custGeom>
            <a:avLst/>
            <a:gdLst>
              <a:gd name="T0" fmla="*/ 938 w 944"/>
              <a:gd name="T1" fmla="*/ 55 h 61"/>
              <a:gd name="T2" fmla="*/ 938 w 944"/>
              <a:gd name="T3" fmla="*/ 49 h 61"/>
              <a:gd name="T4" fmla="*/ 12 w 944"/>
              <a:gd name="T5" fmla="*/ 49 h 61"/>
              <a:gd name="T6" fmla="*/ 12 w 944"/>
              <a:gd name="T7" fmla="*/ 12 h 61"/>
              <a:gd name="T8" fmla="*/ 932 w 944"/>
              <a:gd name="T9" fmla="*/ 12 h 61"/>
              <a:gd name="T10" fmla="*/ 932 w 944"/>
              <a:gd name="T11" fmla="*/ 55 h 61"/>
              <a:gd name="T12" fmla="*/ 938 w 944"/>
              <a:gd name="T13" fmla="*/ 55 h 61"/>
              <a:gd name="T14" fmla="*/ 938 w 944"/>
              <a:gd name="T15" fmla="*/ 49 h 61"/>
              <a:gd name="T16" fmla="*/ 938 w 944"/>
              <a:gd name="T17" fmla="*/ 55 h 61"/>
              <a:gd name="T18" fmla="*/ 944 w 944"/>
              <a:gd name="T19" fmla="*/ 55 h 61"/>
              <a:gd name="T20" fmla="*/ 944 w 944"/>
              <a:gd name="T21" fmla="*/ 6 h 61"/>
              <a:gd name="T22" fmla="*/ 943 w 944"/>
              <a:gd name="T23" fmla="*/ 2 h 61"/>
              <a:gd name="T24" fmla="*/ 938 w 944"/>
              <a:gd name="T25" fmla="*/ 0 h 61"/>
              <a:gd name="T26" fmla="*/ 6 w 944"/>
              <a:gd name="T27" fmla="*/ 0 h 61"/>
              <a:gd name="T28" fmla="*/ 2 w 944"/>
              <a:gd name="T29" fmla="*/ 2 h 61"/>
              <a:gd name="T30" fmla="*/ 0 w 944"/>
              <a:gd name="T31" fmla="*/ 6 h 61"/>
              <a:gd name="T32" fmla="*/ 0 w 944"/>
              <a:gd name="T33" fmla="*/ 55 h 61"/>
              <a:gd name="T34" fmla="*/ 2 w 944"/>
              <a:gd name="T35" fmla="*/ 60 h 61"/>
              <a:gd name="T36" fmla="*/ 6 w 944"/>
              <a:gd name="T37" fmla="*/ 61 h 61"/>
              <a:gd name="T38" fmla="*/ 938 w 944"/>
              <a:gd name="T39" fmla="*/ 61 h 61"/>
              <a:gd name="T40" fmla="*/ 943 w 944"/>
              <a:gd name="T41" fmla="*/ 60 h 61"/>
              <a:gd name="T42" fmla="*/ 944 w 944"/>
              <a:gd name="T43" fmla="*/ 55 h 61"/>
              <a:gd name="T44" fmla="*/ 938 w 944"/>
              <a:gd name="T45" fmla="*/ 5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61">
                <a:moveTo>
                  <a:pt x="938" y="55"/>
                </a:moveTo>
                <a:cubicBezTo>
                  <a:pt x="938" y="49"/>
                  <a:pt x="938" y="49"/>
                  <a:pt x="938" y="49"/>
                </a:cubicBezTo>
                <a:cubicBezTo>
                  <a:pt x="12" y="49"/>
                  <a:pt x="12" y="49"/>
                  <a:pt x="12" y="49"/>
                </a:cubicBezTo>
                <a:cubicBezTo>
                  <a:pt x="12" y="12"/>
                  <a:pt x="12" y="12"/>
                  <a:pt x="12" y="12"/>
                </a:cubicBezTo>
                <a:cubicBezTo>
                  <a:pt x="932" y="12"/>
                  <a:pt x="932" y="12"/>
                  <a:pt x="932" y="12"/>
                </a:cubicBezTo>
                <a:cubicBezTo>
                  <a:pt x="932" y="55"/>
                  <a:pt x="932" y="55"/>
                  <a:pt x="932" y="55"/>
                </a:cubicBezTo>
                <a:cubicBezTo>
                  <a:pt x="938" y="55"/>
                  <a:pt x="938" y="55"/>
                  <a:pt x="938" y="55"/>
                </a:cubicBezTo>
                <a:cubicBezTo>
                  <a:pt x="938" y="49"/>
                  <a:pt x="938" y="49"/>
                  <a:pt x="938" y="49"/>
                </a:cubicBezTo>
                <a:cubicBezTo>
                  <a:pt x="938" y="55"/>
                  <a:pt x="938" y="55"/>
                  <a:pt x="938" y="55"/>
                </a:cubicBezTo>
                <a:cubicBezTo>
                  <a:pt x="944" y="55"/>
                  <a:pt x="944" y="55"/>
                  <a:pt x="944" y="55"/>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55"/>
                  <a:pt x="0" y="55"/>
                  <a:pt x="0" y="55"/>
                </a:cubicBezTo>
                <a:cubicBezTo>
                  <a:pt x="0" y="57"/>
                  <a:pt x="1" y="59"/>
                  <a:pt x="2" y="60"/>
                </a:cubicBezTo>
                <a:cubicBezTo>
                  <a:pt x="3" y="61"/>
                  <a:pt x="5" y="61"/>
                  <a:pt x="6" y="61"/>
                </a:cubicBezTo>
                <a:cubicBezTo>
                  <a:pt x="938" y="61"/>
                  <a:pt x="938" y="61"/>
                  <a:pt x="938" y="61"/>
                </a:cubicBezTo>
                <a:cubicBezTo>
                  <a:pt x="940" y="61"/>
                  <a:pt x="942" y="61"/>
                  <a:pt x="943" y="60"/>
                </a:cubicBezTo>
                <a:cubicBezTo>
                  <a:pt x="944" y="59"/>
                  <a:pt x="944" y="57"/>
                  <a:pt x="944" y="55"/>
                </a:cubicBezTo>
                <a:lnTo>
                  <a:pt x="938" y="55"/>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207"/>
          <p:cNvSpPr>
            <a:spLocks/>
          </p:cNvSpPr>
          <p:nvPr/>
        </p:nvSpPr>
        <p:spPr bwMode="auto">
          <a:xfrm>
            <a:off x="6050450" y="54455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208"/>
          <p:cNvSpPr>
            <a:spLocks/>
          </p:cNvSpPr>
          <p:nvPr/>
        </p:nvSpPr>
        <p:spPr bwMode="auto">
          <a:xfrm>
            <a:off x="6036278" y="5431361"/>
            <a:ext cx="333029"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4"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Rectangle 209"/>
          <p:cNvSpPr>
            <a:spLocks noChangeArrowheads="1"/>
          </p:cNvSpPr>
          <p:nvPr/>
        </p:nvSpPr>
        <p:spPr bwMode="auto">
          <a:xfrm>
            <a:off x="6055511" y="53351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10"/>
          <p:cNvSpPr>
            <a:spLocks/>
          </p:cNvSpPr>
          <p:nvPr/>
        </p:nvSpPr>
        <p:spPr bwMode="auto">
          <a:xfrm>
            <a:off x="6040327"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1" y="0"/>
                  <a:pt x="130" y="0"/>
                </a:cubicBezTo>
                <a:cubicBezTo>
                  <a:pt x="6" y="0"/>
                  <a:pt x="6" y="0"/>
                  <a:pt x="6" y="0"/>
                </a:cubicBezTo>
                <a:cubicBezTo>
                  <a:pt x="4" y="0"/>
                  <a:pt x="2" y="1"/>
                  <a:pt x="1" y="2"/>
                </a:cubicBezTo>
                <a:cubicBezTo>
                  <a:pt x="0" y="3"/>
                  <a:pt x="0" y="5"/>
                  <a:pt x="0" y="6"/>
                </a:cubicBezTo>
                <a:cubicBezTo>
                  <a:pt x="0" y="56"/>
                  <a:pt x="0" y="56"/>
                  <a:pt x="0" y="56"/>
                </a:cubicBezTo>
                <a:cubicBezTo>
                  <a:pt x="0" y="57"/>
                  <a:pt x="0" y="59"/>
                  <a:pt x="1" y="60"/>
                </a:cubicBezTo>
                <a:cubicBezTo>
                  <a:pt x="2" y="61"/>
                  <a:pt x="4" y="62"/>
                  <a:pt x="6" y="62"/>
                </a:cubicBezTo>
                <a:cubicBezTo>
                  <a:pt x="130" y="62"/>
                  <a:pt x="130" y="62"/>
                  <a:pt x="130" y="62"/>
                </a:cubicBezTo>
                <a:cubicBezTo>
                  <a:pt x="131"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Rectangle 211"/>
          <p:cNvSpPr>
            <a:spLocks noChangeArrowheads="1"/>
          </p:cNvSpPr>
          <p:nvPr/>
        </p:nvSpPr>
        <p:spPr bwMode="auto">
          <a:xfrm>
            <a:off x="6009960" y="5933435"/>
            <a:ext cx="386678"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12"/>
          <p:cNvSpPr>
            <a:spLocks/>
          </p:cNvSpPr>
          <p:nvPr/>
        </p:nvSpPr>
        <p:spPr bwMode="auto">
          <a:xfrm>
            <a:off x="5994776" y="5919263"/>
            <a:ext cx="416033" cy="166008"/>
          </a:xfrm>
          <a:custGeom>
            <a:avLst/>
            <a:gdLst>
              <a:gd name="T0" fmla="*/ 6 w 173"/>
              <a:gd name="T1" fmla="*/ 6 h 69"/>
              <a:gd name="T2" fmla="*/ 6 w 173"/>
              <a:gd name="T3" fmla="*/ 12 h 69"/>
              <a:gd name="T4" fmla="*/ 161 w 173"/>
              <a:gd name="T5" fmla="*/ 12 h 69"/>
              <a:gd name="T6" fmla="*/ 161 w 173"/>
              <a:gd name="T7" fmla="*/ 57 h 69"/>
              <a:gd name="T8" fmla="*/ 12 w 173"/>
              <a:gd name="T9" fmla="*/ 57 h 69"/>
              <a:gd name="T10" fmla="*/ 12 w 173"/>
              <a:gd name="T11" fmla="*/ 6 h 69"/>
              <a:gd name="T12" fmla="*/ 6 w 173"/>
              <a:gd name="T13" fmla="*/ 6 h 69"/>
              <a:gd name="T14" fmla="*/ 6 w 173"/>
              <a:gd name="T15" fmla="*/ 12 h 69"/>
              <a:gd name="T16" fmla="*/ 6 w 173"/>
              <a:gd name="T17" fmla="*/ 6 h 69"/>
              <a:gd name="T18" fmla="*/ 0 w 173"/>
              <a:gd name="T19" fmla="*/ 6 h 69"/>
              <a:gd name="T20" fmla="*/ 0 w 173"/>
              <a:gd name="T21" fmla="*/ 63 h 69"/>
              <a:gd name="T22" fmla="*/ 2 w 173"/>
              <a:gd name="T23" fmla="*/ 68 h 69"/>
              <a:gd name="T24" fmla="*/ 6 w 173"/>
              <a:gd name="T25" fmla="*/ 69 h 69"/>
              <a:gd name="T26" fmla="*/ 167 w 173"/>
              <a:gd name="T27" fmla="*/ 69 h 69"/>
              <a:gd name="T28" fmla="*/ 171 w 173"/>
              <a:gd name="T29" fmla="*/ 68 h 69"/>
              <a:gd name="T30" fmla="*/ 173 w 173"/>
              <a:gd name="T31" fmla="*/ 63 h 69"/>
              <a:gd name="T32" fmla="*/ 173 w 173"/>
              <a:gd name="T33" fmla="*/ 6 h 69"/>
              <a:gd name="T34" fmla="*/ 171 w 173"/>
              <a:gd name="T35" fmla="*/ 2 h 69"/>
              <a:gd name="T36" fmla="*/ 167 w 173"/>
              <a:gd name="T37" fmla="*/ 0 h 69"/>
              <a:gd name="T38" fmla="*/ 6 w 173"/>
              <a:gd name="T39" fmla="*/ 0 h 69"/>
              <a:gd name="T40" fmla="*/ 2 w 173"/>
              <a:gd name="T41" fmla="*/ 2 h 69"/>
              <a:gd name="T42" fmla="*/ 0 w 173"/>
              <a:gd name="T43" fmla="*/ 6 h 69"/>
              <a:gd name="T44" fmla="*/ 6 w 173"/>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3" h="69">
                <a:moveTo>
                  <a:pt x="6" y="6"/>
                </a:moveTo>
                <a:cubicBezTo>
                  <a:pt x="6" y="12"/>
                  <a:pt x="6" y="12"/>
                  <a:pt x="6" y="12"/>
                </a:cubicBezTo>
                <a:cubicBezTo>
                  <a:pt x="161" y="12"/>
                  <a:pt x="161" y="12"/>
                  <a:pt x="161" y="12"/>
                </a:cubicBezTo>
                <a:cubicBezTo>
                  <a:pt x="161" y="57"/>
                  <a:pt x="161" y="57"/>
                  <a:pt x="161"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1" y="66"/>
                  <a:pt x="2" y="68"/>
                </a:cubicBezTo>
                <a:cubicBezTo>
                  <a:pt x="3" y="69"/>
                  <a:pt x="5" y="69"/>
                  <a:pt x="6" y="69"/>
                </a:cubicBezTo>
                <a:cubicBezTo>
                  <a:pt x="167" y="69"/>
                  <a:pt x="167" y="69"/>
                  <a:pt x="167" y="69"/>
                </a:cubicBezTo>
                <a:cubicBezTo>
                  <a:pt x="169" y="69"/>
                  <a:pt x="170" y="69"/>
                  <a:pt x="171" y="68"/>
                </a:cubicBezTo>
                <a:cubicBezTo>
                  <a:pt x="172" y="66"/>
                  <a:pt x="173" y="65"/>
                  <a:pt x="173" y="63"/>
                </a:cubicBezTo>
                <a:cubicBezTo>
                  <a:pt x="173" y="6"/>
                  <a:pt x="173" y="6"/>
                  <a:pt x="173" y="6"/>
                </a:cubicBezTo>
                <a:cubicBezTo>
                  <a:pt x="173" y="4"/>
                  <a:pt x="172" y="3"/>
                  <a:pt x="171" y="2"/>
                </a:cubicBezTo>
                <a:cubicBezTo>
                  <a:pt x="170" y="1"/>
                  <a:pt x="169" y="0"/>
                  <a:pt x="167" y="0"/>
                </a:cubicBezTo>
                <a:cubicBezTo>
                  <a:pt x="6" y="0"/>
                  <a:pt x="6" y="0"/>
                  <a:pt x="6" y="0"/>
                </a:cubicBezTo>
                <a:cubicBezTo>
                  <a:pt x="5" y="0"/>
                  <a:pt x="3" y="1"/>
                  <a:pt x="2" y="2"/>
                </a:cubicBezTo>
                <a:cubicBezTo>
                  <a:pt x="1"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13"/>
          <p:cNvSpPr>
            <a:spLocks/>
          </p:cNvSpPr>
          <p:nvPr/>
        </p:nvSpPr>
        <p:spPr bwMode="auto">
          <a:xfrm>
            <a:off x="6610222" y="54455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14"/>
          <p:cNvSpPr>
            <a:spLocks/>
          </p:cNvSpPr>
          <p:nvPr/>
        </p:nvSpPr>
        <p:spPr bwMode="auto">
          <a:xfrm>
            <a:off x="6595038" y="54313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Rectangle 215"/>
          <p:cNvSpPr>
            <a:spLocks noChangeArrowheads="1"/>
          </p:cNvSpPr>
          <p:nvPr/>
        </p:nvSpPr>
        <p:spPr bwMode="auto">
          <a:xfrm>
            <a:off x="6614271" y="5335197"/>
            <a:ext cx="298613"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216"/>
          <p:cNvSpPr>
            <a:spLocks/>
          </p:cNvSpPr>
          <p:nvPr/>
        </p:nvSpPr>
        <p:spPr bwMode="auto">
          <a:xfrm>
            <a:off x="6600099"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Rectangle 217"/>
          <p:cNvSpPr>
            <a:spLocks noChangeArrowheads="1"/>
          </p:cNvSpPr>
          <p:nvPr/>
        </p:nvSpPr>
        <p:spPr bwMode="auto">
          <a:xfrm>
            <a:off x="6571757" y="5933435"/>
            <a:ext cx="383641"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218"/>
          <p:cNvSpPr>
            <a:spLocks/>
          </p:cNvSpPr>
          <p:nvPr/>
        </p:nvSpPr>
        <p:spPr bwMode="auto">
          <a:xfrm>
            <a:off x="6557585"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19"/>
          <p:cNvSpPr>
            <a:spLocks/>
          </p:cNvSpPr>
          <p:nvPr/>
        </p:nvSpPr>
        <p:spPr bwMode="auto">
          <a:xfrm>
            <a:off x="7169994" y="5445532"/>
            <a:ext cx="304686" cy="489927"/>
          </a:xfrm>
          <a:custGeom>
            <a:avLst/>
            <a:gdLst>
              <a:gd name="T0" fmla="*/ 33 w 301"/>
              <a:gd name="T1" fmla="*/ 0 h 484"/>
              <a:gd name="T2" fmla="*/ 0 w 301"/>
              <a:gd name="T3" fmla="*/ 484 h 484"/>
              <a:gd name="T4" fmla="*/ 151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1" y="484"/>
                </a:lnTo>
                <a:lnTo>
                  <a:pt x="301" y="484"/>
                </a:lnTo>
                <a:lnTo>
                  <a:pt x="268" y="0"/>
                </a:lnTo>
                <a:lnTo>
                  <a:pt x="33"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20"/>
          <p:cNvSpPr>
            <a:spLocks/>
          </p:cNvSpPr>
          <p:nvPr/>
        </p:nvSpPr>
        <p:spPr bwMode="auto">
          <a:xfrm>
            <a:off x="7154810" y="54313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221"/>
          <p:cNvSpPr>
            <a:spLocks noChangeArrowheads="1"/>
          </p:cNvSpPr>
          <p:nvPr/>
        </p:nvSpPr>
        <p:spPr bwMode="auto">
          <a:xfrm>
            <a:off x="7174043" y="5335197"/>
            <a:ext cx="298613"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22"/>
          <p:cNvSpPr>
            <a:spLocks/>
          </p:cNvSpPr>
          <p:nvPr/>
        </p:nvSpPr>
        <p:spPr bwMode="auto">
          <a:xfrm>
            <a:off x="7159872"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Rectangle 223"/>
          <p:cNvSpPr>
            <a:spLocks noChangeArrowheads="1"/>
          </p:cNvSpPr>
          <p:nvPr/>
        </p:nvSpPr>
        <p:spPr bwMode="auto">
          <a:xfrm>
            <a:off x="7131529" y="5933435"/>
            <a:ext cx="383641"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24"/>
          <p:cNvSpPr>
            <a:spLocks/>
          </p:cNvSpPr>
          <p:nvPr/>
        </p:nvSpPr>
        <p:spPr bwMode="auto">
          <a:xfrm>
            <a:off x="7116345"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5"/>
          <p:cNvSpPr>
            <a:spLocks/>
          </p:cNvSpPr>
          <p:nvPr/>
        </p:nvSpPr>
        <p:spPr bwMode="auto">
          <a:xfrm>
            <a:off x="7731790" y="5445532"/>
            <a:ext cx="302662" cy="489927"/>
          </a:xfrm>
          <a:custGeom>
            <a:avLst/>
            <a:gdLst>
              <a:gd name="T0" fmla="*/ 31 w 299"/>
              <a:gd name="T1" fmla="*/ 0 h 484"/>
              <a:gd name="T2" fmla="*/ 0 w 299"/>
              <a:gd name="T3" fmla="*/ 484 h 484"/>
              <a:gd name="T4" fmla="*/ 149 w 299"/>
              <a:gd name="T5" fmla="*/ 484 h 484"/>
              <a:gd name="T6" fmla="*/ 299 w 299"/>
              <a:gd name="T7" fmla="*/ 484 h 484"/>
              <a:gd name="T8" fmla="*/ 266 w 299"/>
              <a:gd name="T9" fmla="*/ 0 h 484"/>
              <a:gd name="T10" fmla="*/ 31 w 299"/>
              <a:gd name="T11" fmla="*/ 0 h 484"/>
            </a:gdLst>
            <a:ahLst/>
            <a:cxnLst>
              <a:cxn ang="0">
                <a:pos x="T0" y="T1"/>
              </a:cxn>
              <a:cxn ang="0">
                <a:pos x="T2" y="T3"/>
              </a:cxn>
              <a:cxn ang="0">
                <a:pos x="T4" y="T5"/>
              </a:cxn>
              <a:cxn ang="0">
                <a:pos x="T6" y="T7"/>
              </a:cxn>
              <a:cxn ang="0">
                <a:pos x="T8" y="T9"/>
              </a:cxn>
              <a:cxn ang="0">
                <a:pos x="T10" y="T11"/>
              </a:cxn>
            </a:cxnLst>
            <a:rect l="0" t="0" r="r" b="b"/>
            <a:pathLst>
              <a:path w="299" h="484">
                <a:moveTo>
                  <a:pt x="31" y="0"/>
                </a:moveTo>
                <a:lnTo>
                  <a:pt x="0" y="484"/>
                </a:lnTo>
                <a:lnTo>
                  <a:pt x="149" y="484"/>
                </a:lnTo>
                <a:lnTo>
                  <a:pt x="299" y="484"/>
                </a:lnTo>
                <a:lnTo>
                  <a:pt x="266" y="0"/>
                </a:lnTo>
                <a:lnTo>
                  <a:pt x="31"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26"/>
          <p:cNvSpPr>
            <a:spLocks/>
          </p:cNvSpPr>
          <p:nvPr/>
        </p:nvSpPr>
        <p:spPr bwMode="auto">
          <a:xfrm>
            <a:off x="7714582" y="5431361"/>
            <a:ext cx="334041" cy="519282"/>
          </a:xfrm>
          <a:custGeom>
            <a:avLst/>
            <a:gdLst>
              <a:gd name="T0" fmla="*/ 20 w 139"/>
              <a:gd name="T1" fmla="*/ 6 h 216"/>
              <a:gd name="T2" fmla="*/ 14 w 139"/>
              <a:gd name="T3" fmla="*/ 6 h 216"/>
              <a:gd name="T4" fmla="*/ 1 w 139"/>
              <a:gd name="T5" fmla="*/ 209 h 216"/>
              <a:gd name="T6" fmla="*/ 2 w 139"/>
              <a:gd name="T7" fmla="*/ 214 h 216"/>
              <a:gd name="T8" fmla="*/ 7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1" y="209"/>
                  <a:pt x="1" y="209"/>
                  <a:pt x="1" y="209"/>
                </a:cubicBezTo>
                <a:cubicBezTo>
                  <a:pt x="0" y="211"/>
                  <a:pt x="1" y="213"/>
                  <a:pt x="2" y="214"/>
                </a:cubicBezTo>
                <a:cubicBezTo>
                  <a:pt x="3" y="215"/>
                  <a:pt x="5" y="216"/>
                  <a:pt x="7"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3"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Rectangle 227"/>
          <p:cNvSpPr>
            <a:spLocks noChangeArrowheads="1"/>
          </p:cNvSpPr>
          <p:nvPr/>
        </p:nvSpPr>
        <p:spPr bwMode="auto">
          <a:xfrm>
            <a:off x="7733815" y="53351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28"/>
          <p:cNvSpPr>
            <a:spLocks/>
          </p:cNvSpPr>
          <p:nvPr/>
        </p:nvSpPr>
        <p:spPr bwMode="auto">
          <a:xfrm>
            <a:off x="7719644"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2 w 136"/>
              <a:gd name="T29" fmla="*/ 2 h 62"/>
              <a:gd name="T30" fmla="*/ 0 w 136"/>
              <a:gd name="T31" fmla="*/ 6 h 62"/>
              <a:gd name="T32" fmla="*/ 0 w 136"/>
              <a:gd name="T33" fmla="*/ 56 h 62"/>
              <a:gd name="T34" fmla="*/ 2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2" y="2"/>
                </a:cubicBezTo>
                <a:cubicBezTo>
                  <a:pt x="0" y="3"/>
                  <a:pt x="0" y="5"/>
                  <a:pt x="0" y="6"/>
                </a:cubicBezTo>
                <a:cubicBezTo>
                  <a:pt x="0" y="56"/>
                  <a:pt x="0" y="56"/>
                  <a:pt x="0" y="56"/>
                </a:cubicBezTo>
                <a:cubicBezTo>
                  <a:pt x="0" y="57"/>
                  <a:pt x="0" y="59"/>
                  <a:pt x="2"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Rectangle 229"/>
          <p:cNvSpPr>
            <a:spLocks noChangeArrowheads="1"/>
          </p:cNvSpPr>
          <p:nvPr/>
        </p:nvSpPr>
        <p:spPr bwMode="auto">
          <a:xfrm>
            <a:off x="7690288" y="5933435"/>
            <a:ext cx="384653"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30"/>
          <p:cNvSpPr>
            <a:spLocks/>
          </p:cNvSpPr>
          <p:nvPr/>
        </p:nvSpPr>
        <p:spPr bwMode="auto">
          <a:xfrm>
            <a:off x="7676117"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3" y="69"/>
                  <a:pt x="4" y="69"/>
                  <a:pt x="6" y="69"/>
                </a:cubicBezTo>
                <a:cubicBezTo>
                  <a:pt x="166" y="69"/>
                  <a:pt x="166" y="69"/>
                  <a:pt x="166" y="69"/>
                </a:cubicBezTo>
                <a:cubicBezTo>
                  <a:pt x="168" y="69"/>
                  <a:pt x="169" y="69"/>
                  <a:pt x="170" y="68"/>
                </a:cubicBezTo>
                <a:cubicBezTo>
                  <a:pt x="172" y="66"/>
                  <a:pt x="172" y="65"/>
                  <a:pt x="172" y="63"/>
                </a:cubicBezTo>
                <a:cubicBezTo>
                  <a:pt x="172" y="6"/>
                  <a:pt x="172" y="6"/>
                  <a:pt x="172" y="6"/>
                </a:cubicBezTo>
                <a:cubicBezTo>
                  <a:pt x="172" y="4"/>
                  <a:pt x="172" y="3"/>
                  <a:pt x="170" y="2"/>
                </a:cubicBezTo>
                <a:cubicBezTo>
                  <a:pt x="169" y="1"/>
                  <a:pt x="168" y="0"/>
                  <a:pt x="166" y="0"/>
                </a:cubicBezTo>
                <a:cubicBezTo>
                  <a:pt x="6" y="0"/>
                  <a:pt x="6" y="0"/>
                  <a:pt x="6" y="0"/>
                </a:cubicBezTo>
                <a:cubicBezTo>
                  <a:pt x="4" y="0"/>
                  <a:pt x="3"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Rectangle 231"/>
          <p:cNvSpPr>
            <a:spLocks noChangeArrowheads="1"/>
          </p:cNvSpPr>
          <p:nvPr/>
        </p:nvSpPr>
        <p:spPr bwMode="auto">
          <a:xfrm>
            <a:off x="5922907" y="6073124"/>
            <a:ext cx="2239088" cy="290515"/>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32"/>
          <p:cNvSpPr>
            <a:spLocks/>
          </p:cNvSpPr>
          <p:nvPr/>
        </p:nvSpPr>
        <p:spPr bwMode="auto">
          <a:xfrm>
            <a:off x="5908735" y="6057941"/>
            <a:ext cx="2267431" cy="319870"/>
          </a:xfrm>
          <a:custGeom>
            <a:avLst/>
            <a:gdLst>
              <a:gd name="T0" fmla="*/ 938 w 944"/>
              <a:gd name="T1" fmla="*/ 127 h 133"/>
              <a:gd name="T2" fmla="*/ 938 w 944"/>
              <a:gd name="T3" fmla="*/ 121 h 133"/>
              <a:gd name="T4" fmla="*/ 12 w 944"/>
              <a:gd name="T5" fmla="*/ 121 h 133"/>
              <a:gd name="T6" fmla="*/ 12 w 944"/>
              <a:gd name="T7" fmla="*/ 12 h 133"/>
              <a:gd name="T8" fmla="*/ 932 w 944"/>
              <a:gd name="T9" fmla="*/ 12 h 133"/>
              <a:gd name="T10" fmla="*/ 932 w 944"/>
              <a:gd name="T11" fmla="*/ 127 h 133"/>
              <a:gd name="T12" fmla="*/ 938 w 944"/>
              <a:gd name="T13" fmla="*/ 127 h 133"/>
              <a:gd name="T14" fmla="*/ 938 w 944"/>
              <a:gd name="T15" fmla="*/ 121 h 133"/>
              <a:gd name="T16" fmla="*/ 938 w 944"/>
              <a:gd name="T17" fmla="*/ 127 h 133"/>
              <a:gd name="T18" fmla="*/ 944 w 944"/>
              <a:gd name="T19" fmla="*/ 127 h 133"/>
              <a:gd name="T20" fmla="*/ 944 w 944"/>
              <a:gd name="T21" fmla="*/ 6 h 133"/>
              <a:gd name="T22" fmla="*/ 943 w 944"/>
              <a:gd name="T23" fmla="*/ 2 h 133"/>
              <a:gd name="T24" fmla="*/ 938 w 944"/>
              <a:gd name="T25" fmla="*/ 0 h 133"/>
              <a:gd name="T26" fmla="*/ 6 w 944"/>
              <a:gd name="T27" fmla="*/ 0 h 133"/>
              <a:gd name="T28" fmla="*/ 2 w 944"/>
              <a:gd name="T29" fmla="*/ 2 h 133"/>
              <a:gd name="T30" fmla="*/ 0 w 944"/>
              <a:gd name="T31" fmla="*/ 6 h 133"/>
              <a:gd name="T32" fmla="*/ 0 w 944"/>
              <a:gd name="T33" fmla="*/ 127 h 133"/>
              <a:gd name="T34" fmla="*/ 2 w 944"/>
              <a:gd name="T35" fmla="*/ 131 h 133"/>
              <a:gd name="T36" fmla="*/ 6 w 944"/>
              <a:gd name="T37" fmla="*/ 133 h 133"/>
              <a:gd name="T38" fmla="*/ 938 w 944"/>
              <a:gd name="T39" fmla="*/ 133 h 133"/>
              <a:gd name="T40" fmla="*/ 943 w 944"/>
              <a:gd name="T41" fmla="*/ 131 h 133"/>
              <a:gd name="T42" fmla="*/ 944 w 944"/>
              <a:gd name="T43" fmla="*/ 127 h 133"/>
              <a:gd name="T44" fmla="*/ 938 w 944"/>
              <a:gd name="T45" fmla="*/ 12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133">
                <a:moveTo>
                  <a:pt x="938" y="127"/>
                </a:moveTo>
                <a:cubicBezTo>
                  <a:pt x="938" y="121"/>
                  <a:pt x="938" y="121"/>
                  <a:pt x="938" y="121"/>
                </a:cubicBezTo>
                <a:cubicBezTo>
                  <a:pt x="12" y="121"/>
                  <a:pt x="12" y="121"/>
                  <a:pt x="12" y="121"/>
                </a:cubicBezTo>
                <a:cubicBezTo>
                  <a:pt x="12" y="12"/>
                  <a:pt x="12" y="12"/>
                  <a:pt x="12" y="12"/>
                </a:cubicBezTo>
                <a:cubicBezTo>
                  <a:pt x="932" y="12"/>
                  <a:pt x="932" y="12"/>
                  <a:pt x="932" y="12"/>
                </a:cubicBezTo>
                <a:cubicBezTo>
                  <a:pt x="932" y="127"/>
                  <a:pt x="932" y="127"/>
                  <a:pt x="932" y="127"/>
                </a:cubicBezTo>
                <a:cubicBezTo>
                  <a:pt x="938" y="127"/>
                  <a:pt x="938" y="127"/>
                  <a:pt x="938" y="127"/>
                </a:cubicBezTo>
                <a:cubicBezTo>
                  <a:pt x="938" y="121"/>
                  <a:pt x="938" y="121"/>
                  <a:pt x="938" y="121"/>
                </a:cubicBezTo>
                <a:cubicBezTo>
                  <a:pt x="938" y="127"/>
                  <a:pt x="938" y="127"/>
                  <a:pt x="938" y="127"/>
                </a:cubicBezTo>
                <a:cubicBezTo>
                  <a:pt x="944" y="127"/>
                  <a:pt x="944" y="127"/>
                  <a:pt x="944" y="127"/>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127"/>
                  <a:pt x="0" y="127"/>
                  <a:pt x="0" y="127"/>
                </a:cubicBezTo>
                <a:cubicBezTo>
                  <a:pt x="0" y="128"/>
                  <a:pt x="1" y="130"/>
                  <a:pt x="2" y="131"/>
                </a:cubicBezTo>
                <a:cubicBezTo>
                  <a:pt x="3" y="132"/>
                  <a:pt x="5" y="133"/>
                  <a:pt x="6" y="133"/>
                </a:cubicBezTo>
                <a:cubicBezTo>
                  <a:pt x="938" y="133"/>
                  <a:pt x="938" y="133"/>
                  <a:pt x="938" y="133"/>
                </a:cubicBezTo>
                <a:cubicBezTo>
                  <a:pt x="940" y="133"/>
                  <a:pt x="942" y="132"/>
                  <a:pt x="943" y="131"/>
                </a:cubicBezTo>
                <a:cubicBezTo>
                  <a:pt x="944" y="130"/>
                  <a:pt x="944" y="128"/>
                  <a:pt x="944" y="127"/>
                </a:cubicBezTo>
                <a:lnTo>
                  <a:pt x="938" y="12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33"/>
          <p:cNvSpPr>
            <a:spLocks/>
          </p:cNvSpPr>
          <p:nvPr/>
        </p:nvSpPr>
        <p:spPr bwMode="auto">
          <a:xfrm>
            <a:off x="6463446" y="6214839"/>
            <a:ext cx="1158009" cy="0"/>
          </a:xfrm>
          <a:custGeom>
            <a:avLst/>
            <a:gdLst>
              <a:gd name="T0" fmla="*/ 1144 w 1144"/>
              <a:gd name="T1" fmla="*/ 0 w 1144"/>
              <a:gd name="T2" fmla="*/ 1144 w 1144"/>
            </a:gdLst>
            <a:ahLst/>
            <a:cxnLst>
              <a:cxn ang="0">
                <a:pos x="T0" y="0"/>
              </a:cxn>
              <a:cxn ang="0">
                <a:pos x="T1" y="0"/>
              </a:cxn>
              <a:cxn ang="0">
                <a:pos x="T2" y="0"/>
              </a:cxn>
            </a:cxnLst>
            <a:rect l="0" t="0" r="r" b="b"/>
            <a:pathLst>
              <a:path w="1144">
                <a:moveTo>
                  <a:pt x="1144" y="0"/>
                </a:moveTo>
                <a:lnTo>
                  <a:pt x="0" y="0"/>
                </a:lnTo>
                <a:lnTo>
                  <a:pt x="1144"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234"/>
          <p:cNvSpPr>
            <a:spLocks noChangeShapeType="1"/>
          </p:cNvSpPr>
          <p:nvPr/>
        </p:nvSpPr>
        <p:spPr bwMode="auto">
          <a:xfrm flipH="1">
            <a:off x="6463446" y="6214839"/>
            <a:ext cx="1158009"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Freeform 235"/>
          <p:cNvSpPr>
            <a:spLocks/>
          </p:cNvSpPr>
          <p:nvPr/>
        </p:nvSpPr>
        <p:spPr bwMode="auto">
          <a:xfrm>
            <a:off x="6449275" y="6199655"/>
            <a:ext cx="1186352" cy="29355"/>
          </a:xfrm>
          <a:custGeom>
            <a:avLst/>
            <a:gdLst>
              <a:gd name="T0" fmla="*/ 488 w 494"/>
              <a:gd name="T1" fmla="*/ 0 h 12"/>
              <a:gd name="T2" fmla="*/ 6 w 494"/>
              <a:gd name="T3" fmla="*/ 0 h 12"/>
              <a:gd name="T4" fmla="*/ 0 w 494"/>
              <a:gd name="T5" fmla="*/ 6 h 12"/>
              <a:gd name="T6" fmla="*/ 6 w 494"/>
              <a:gd name="T7" fmla="*/ 12 h 12"/>
              <a:gd name="T8" fmla="*/ 488 w 494"/>
              <a:gd name="T9" fmla="*/ 12 h 12"/>
              <a:gd name="T10" fmla="*/ 494 w 494"/>
              <a:gd name="T11" fmla="*/ 6 h 12"/>
              <a:gd name="T12" fmla="*/ 488 w 49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94" h="12">
                <a:moveTo>
                  <a:pt x="488" y="0"/>
                </a:moveTo>
                <a:cubicBezTo>
                  <a:pt x="6" y="0"/>
                  <a:pt x="6" y="0"/>
                  <a:pt x="6" y="0"/>
                </a:cubicBezTo>
                <a:cubicBezTo>
                  <a:pt x="3" y="0"/>
                  <a:pt x="0" y="2"/>
                  <a:pt x="0" y="6"/>
                </a:cubicBezTo>
                <a:cubicBezTo>
                  <a:pt x="0" y="9"/>
                  <a:pt x="3" y="12"/>
                  <a:pt x="6" y="12"/>
                </a:cubicBezTo>
                <a:cubicBezTo>
                  <a:pt x="488" y="12"/>
                  <a:pt x="488" y="12"/>
                  <a:pt x="488" y="12"/>
                </a:cubicBezTo>
                <a:cubicBezTo>
                  <a:pt x="492" y="12"/>
                  <a:pt x="494" y="9"/>
                  <a:pt x="494" y="6"/>
                </a:cubicBezTo>
                <a:cubicBezTo>
                  <a:pt x="494" y="2"/>
                  <a:pt x="492" y="0"/>
                  <a:pt x="488" y="0"/>
                </a:cubicBezTo>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236"/>
          <p:cNvSpPr>
            <a:spLocks/>
          </p:cNvSpPr>
          <p:nvPr/>
        </p:nvSpPr>
        <p:spPr bwMode="auto">
          <a:xfrm>
            <a:off x="5868246" y="4448470"/>
            <a:ext cx="2350435" cy="769307"/>
          </a:xfrm>
          <a:custGeom>
            <a:avLst/>
            <a:gdLst>
              <a:gd name="T0" fmla="*/ 1160 w 2322"/>
              <a:gd name="T1" fmla="*/ 0 h 760"/>
              <a:gd name="T2" fmla="*/ 1741 w 2322"/>
              <a:gd name="T3" fmla="*/ 380 h 760"/>
              <a:gd name="T4" fmla="*/ 2322 w 2322"/>
              <a:gd name="T5" fmla="*/ 760 h 760"/>
              <a:gd name="T6" fmla="*/ 1160 w 2322"/>
              <a:gd name="T7" fmla="*/ 760 h 760"/>
              <a:gd name="T8" fmla="*/ 0 w 2322"/>
              <a:gd name="T9" fmla="*/ 760 h 760"/>
              <a:gd name="T10" fmla="*/ 581 w 2322"/>
              <a:gd name="T11" fmla="*/ 380 h 760"/>
              <a:gd name="T12" fmla="*/ 1160 w 2322"/>
              <a:gd name="T13" fmla="*/ 0 h 760"/>
            </a:gdLst>
            <a:ahLst/>
            <a:cxnLst>
              <a:cxn ang="0">
                <a:pos x="T0" y="T1"/>
              </a:cxn>
              <a:cxn ang="0">
                <a:pos x="T2" y="T3"/>
              </a:cxn>
              <a:cxn ang="0">
                <a:pos x="T4" y="T5"/>
              </a:cxn>
              <a:cxn ang="0">
                <a:pos x="T6" y="T7"/>
              </a:cxn>
              <a:cxn ang="0">
                <a:pos x="T8" y="T9"/>
              </a:cxn>
              <a:cxn ang="0">
                <a:pos x="T10" y="T11"/>
              </a:cxn>
              <a:cxn ang="0">
                <a:pos x="T12" y="T13"/>
              </a:cxn>
            </a:cxnLst>
            <a:rect l="0" t="0" r="r" b="b"/>
            <a:pathLst>
              <a:path w="2322" h="760">
                <a:moveTo>
                  <a:pt x="1160" y="0"/>
                </a:moveTo>
                <a:lnTo>
                  <a:pt x="1741" y="380"/>
                </a:lnTo>
                <a:lnTo>
                  <a:pt x="2322" y="760"/>
                </a:lnTo>
                <a:lnTo>
                  <a:pt x="1160" y="760"/>
                </a:lnTo>
                <a:lnTo>
                  <a:pt x="0" y="760"/>
                </a:lnTo>
                <a:lnTo>
                  <a:pt x="581" y="380"/>
                </a:lnTo>
                <a:lnTo>
                  <a:pt x="1160" y="0"/>
                </a:lnTo>
                <a:close/>
              </a:path>
            </a:pathLst>
          </a:custGeom>
          <a:solidFill>
            <a:srgbClr val="FFFFFF"/>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37"/>
          <p:cNvSpPr>
            <a:spLocks/>
          </p:cNvSpPr>
          <p:nvPr/>
        </p:nvSpPr>
        <p:spPr bwMode="auto">
          <a:xfrm>
            <a:off x="5851037" y="4432274"/>
            <a:ext cx="2382827" cy="799674"/>
          </a:xfrm>
          <a:custGeom>
            <a:avLst/>
            <a:gdLst>
              <a:gd name="T0" fmla="*/ 496 w 992"/>
              <a:gd name="T1" fmla="*/ 7 h 333"/>
              <a:gd name="T2" fmla="*/ 493 w 992"/>
              <a:gd name="T3" fmla="*/ 12 h 333"/>
              <a:gd name="T4" fmla="*/ 738 w 992"/>
              <a:gd name="T5" fmla="*/ 172 h 333"/>
              <a:gd name="T6" fmla="*/ 966 w 992"/>
              <a:gd name="T7" fmla="*/ 321 h 333"/>
              <a:gd name="T8" fmla="*/ 496 w 992"/>
              <a:gd name="T9" fmla="*/ 321 h 333"/>
              <a:gd name="T10" fmla="*/ 27 w 992"/>
              <a:gd name="T11" fmla="*/ 321 h 333"/>
              <a:gd name="T12" fmla="*/ 255 w 992"/>
              <a:gd name="T13" fmla="*/ 172 h 333"/>
              <a:gd name="T14" fmla="*/ 500 w 992"/>
              <a:gd name="T15" fmla="*/ 12 h 333"/>
              <a:gd name="T16" fmla="*/ 496 w 992"/>
              <a:gd name="T17" fmla="*/ 7 h 333"/>
              <a:gd name="T18" fmla="*/ 493 w 992"/>
              <a:gd name="T19" fmla="*/ 12 h 333"/>
              <a:gd name="T20" fmla="*/ 496 w 992"/>
              <a:gd name="T21" fmla="*/ 7 h 333"/>
              <a:gd name="T22" fmla="*/ 493 w 992"/>
              <a:gd name="T23" fmla="*/ 2 h 333"/>
              <a:gd name="T24" fmla="*/ 248 w 992"/>
              <a:gd name="T25" fmla="*/ 162 h 333"/>
              <a:gd name="T26" fmla="*/ 4 w 992"/>
              <a:gd name="T27" fmla="*/ 322 h 333"/>
              <a:gd name="T28" fmla="*/ 1 w 992"/>
              <a:gd name="T29" fmla="*/ 329 h 333"/>
              <a:gd name="T30" fmla="*/ 7 w 992"/>
              <a:gd name="T31" fmla="*/ 333 h 333"/>
              <a:gd name="T32" fmla="*/ 496 w 992"/>
              <a:gd name="T33" fmla="*/ 333 h 333"/>
              <a:gd name="T34" fmla="*/ 986 w 992"/>
              <a:gd name="T35" fmla="*/ 333 h 333"/>
              <a:gd name="T36" fmla="*/ 992 w 992"/>
              <a:gd name="T37" fmla="*/ 329 h 333"/>
              <a:gd name="T38" fmla="*/ 989 w 992"/>
              <a:gd name="T39" fmla="*/ 322 h 333"/>
              <a:gd name="T40" fmla="*/ 744 w 992"/>
              <a:gd name="T41" fmla="*/ 162 h 333"/>
              <a:gd name="T42" fmla="*/ 500 w 992"/>
              <a:gd name="T43" fmla="*/ 2 h 333"/>
              <a:gd name="T44" fmla="*/ 493 w 992"/>
              <a:gd name="T45" fmla="*/ 2 h 333"/>
              <a:gd name="T46" fmla="*/ 496 w 992"/>
              <a:gd name="T47" fmla="*/ 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2" h="333">
                <a:moveTo>
                  <a:pt x="496" y="7"/>
                </a:moveTo>
                <a:cubicBezTo>
                  <a:pt x="493" y="12"/>
                  <a:pt x="493" y="12"/>
                  <a:pt x="493" y="12"/>
                </a:cubicBezTo>
                <a:cubicBezTo>
                  <a:pt x="738" y="172"/>
                  <a:pt x="738" y="172"/>
                  <a:pt x="738" y="172"/>
                </a:cubicBezTo>
                <a:cubicBezTo>
                  <a:pt x="966" y="321"/>
                  <a:pt x="966" y="321"/>
                  <a:pt x="966" y="321"/>
                </a:cubicBezTo>
                <a:cubicBezTo>
                  <a:pt x="496" y="321"/>
                  <a:pt x="496" y="321"/>
                  <a:pt x="496" y="321"/>
                </a:cubicBezTo>
                <a:cubicBezTo>
                  <a:pt x="27" y="321"/>
                  <a:pt x="27" y="321"/>
                  <a:pt x="27" y="321"/>
                </a:cubicBezTo>
                <a:cubicBezTo>
                  <a:pt x="255" y="172"/>
                  <a:pt x="255" y="172"/>
                  <a:pt x="255" y="172"/>
                </a:cubicBezTo>
                <a:cubicBezTo>
                  <a:pt x="500" y="12"/>
                  <a:pt x="500" y="12"/>
                  <a:pt x="500" y="12"/>
                </a:cubicBezTo>
                <a:cubicBezTo>
                  <a:pt x="496" y="7"/>
                  <a:pt x="496" y="7"/>
                  <a:pt x="496" y="7"/>
                </a:cubicBezTo>
                <a:cubicBezTo>
                  <a:pt x="493" y="12"/>
                  <a:pt x="493" y="12"/>
                  <a:pt x="493" y="12"/>
                </a:cubicBezTo>
                <a:cubicBezTo>
                  <a:pt x="496" y="7"/>
                  <a:pt x="496" y="7"/>
                  <a:pt x="496" y="7"/>
                </a:cubicBezTo>
                <a:cubicBezTo>
                  <a:pt x="493" y="2"/>
                  <a:pt x="493" y="2"/>
                  <a:pt x="493" y="2"/>
                </a:cubicBezTo>
                <a:cubicBezTo>
                  <a:pt x="248" y="162"/>
                  <a:pt x="248" y="162"/>
                  <a:pt x="248" y="162"/>
                </a:cubicBezTo>
                <a:cubicBezTo>
                  <a:pt x="4" y="322"/>
                  <a:pt x="4" y="322"/>
                  <a:pt x="4" y="322"/>
                </a:cubicBezTo>
                <a:cubicBezTo>
                  <a:pt x="1" y="324"/>
                  <a:pt x="0" y="326"/>
                  <a:pt x="1" y="329"/>
                </a:cubicBezTo>
                <a:cubicBezTo>
                  <a:pt x="2" y="332"/>
                  <a:pt x="4" y="333"/>
                  <a:pt x="7" y="333"/>
                </a:cubicBezTo>
                <a:cubicBezTo>
                  <a:pt x="496" y="333"/>
                  <a:pt x="496" y="333"/>
                  <a:pt x="496" y="333"/>
                </a:cubicBezTo>
                <a:cubicBezTo>
                  <a:pt x="986" y="333"/>
                  <a:pt x="986" y="333"/>
                  <a:pt x="986" y="333"/>
                </a:cubicBezTo>
                <a:cubicBezTo>
                  <a:pt x="988" y="333"/>
                  <a:pt x="991" y="332"/>
                  <a:pt x="992" y="329"/>
                </a:cubicBezTo>
                <a:cubicBezTo>
                  <a:pt x="992" y="326"/>
                  <a:pt x="991" y="324"/>
                  <a:pt x="989" y="322"/>
                </a:cubicBezTo>
                <a:cubicBezTo>
                  <a:pt x="744" y="162"/>
                  <a:pt x="744" y="162"/>
                  <a:pt x="744" y="162"/>
                </a:cubicBezTo>
                <a:cubicBezTo>
                  <a:pt x="500" y="2"/>
                  <a:pt x="500" y="2"/>
                  <a:pt x="500" y="2"/>
                </a:cubicBezTo>
                <a:cubicBezTo>
                  <a:pt x="498" y="0"/>
                  <a:pt x="495" y="0"/>
                  <a:pt x="493" y="2"/>
                </a:cubicBezTo>
                <a:lnTo>
                  <a:pt x="496" y="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38"/>
          <p:cNvSpPr>
            <a:spLocks noEditPoints="1"/>
          </p:cNvSpPr>
          <p:nvPr/>
        </p:nvSpPr>
        <p:spPr bwMode="auto">
          <a:xfrm>
            <a:off x="6180017" y="45588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close/>
                <a:moveTo>
                  <a:pt x="852" y="0"/>
                </a:moveTo>
                <a:lnTo>
                  <a:pt x="0" y="558"/>
                </a:lnTo>
                <a:lnTo>
                  <a:pt x="1706" y="558"/>
                </a:lnTo>
                <a:lnTo>
                  <a:pt x="852"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39"/>
          <p:cNvSpPr>
            <a:spLocks noEditPoints="1"/>
          </p:cNvSpPr>
          <p:nvPr/>
        </p:nvSpPr>
        <p:spPr bwMode="auto">
          <a:xfrm>
            <a:off x="6180017" y="45588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moveTo>
                  <a:pt x="852" y="0"/>
                </a:moveTo>
                <a:lnTo>
                  <a:pt x="0" y="558"/>
                </a:lnTo>
                <a:lnTo>
                  <a:pt x="1706" y="558"/>
                </a:lnTo>
                <a:lnTo>
                  <a:pt x="852"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Freeform 240"/>
          <p:cNvSpPr>
            <a:spLocks noEditPoints="1"/>
          </p:cNvSpPr>
          <p:nvPr/>
        </p:nvSpPr>
        <p:spPr bwMode="auto">
          <a:xfrm>
            <a:off x="6165846" y="4544633"/>
            <a:ext cx="1755235" cy="593176"/>
          </a:xfrm>
          <a:custGeom>
            <a:avLst/>
            <a:gdLst>
              <a:gd name="T0" fmla="*/ 362 w 731"/>
              <a:gd name="T1" fmla="*/ 46 h 247"/>
              <a:gd name="T2" fmla="*/ 607 w 731"/>
              <a:gd name="T3" fmla="*/ 206 h 247"/>
              <a:gd name="T4" fmla="*/ 124 w 731"/>
              <a:gd name="T5" fmla="*/ 206 h 247"/>
              <a:gd name="T6" fmla="*/ 369 w 731"/>
              <a:gd name="T7" fmla="*/ 46 h 247"/>
              <a:gd name="T8" fmla="*/ 370 w 731"/>
              <a:gd name="T9" fmla="*/ 38 h 247"/>
              <a:gd name="T10" fmla="*/ 362 w 731"/>
              <a:gd name="T11" fmla="*/ 36 h 247"/>
              <a:gd name="T12" fmla="*/ 101 w 731"/>
              <a:gd name="T13" fmla="*/ 207 h 247"/>
              <a:gd name="T14" fmla="*/ 98 w 731"/>
              <a:gd name="T15" fmla="*/ 214 h 247"/>
              <a:gd name="T16" fmla="*/ 104 w 731"/>
              <a:gd name="T17" fmla="*/ 218 h 247"/>
              <a:gd name="T18" fmla="*/ 627 w 731"/>
              <a:gd name="T19" fmla="*/ 218 h 247"/>
              <a:gd name="T20" fmla="*/ 632 w 731"/>
              <a:gd name="T21" fmla="*/ 214 h 247"/>
              <a:gd name="T22" fmla="*/ 630 w 731"/>
              <a:gd name="T23" fmla="*/ 207 h 247"/>
              <a:gd name="T24" fmla="*/ 369 w 731"/>
              <a:gd name="T25" fmla="*/ 36 h 247"/>
              <a:gd name="T26" fmla="*/ 360 w 731"/>
              <a:gd name="T27" fmla="*/ 38 h 247"/>
              <a:gd name="T28" fmla="*/ 362 w 731"/>
              <a:gd name="T29" fmla="*/ 46 h 247"/>
              <a:gd name="T30" fmla="*/ 365 w 731"/>
              <a:gd name="T31" fmla="*/ 6 h 247"/>
              <a:gd name="T32" fmla="*/ 362 w 731"/>
              <a:gd name="T33" fmla="*/ 1 h 247"/>
              <a:gd name="T34" fmla="*/ 3 w 731"/>
              <a:gd name="T35" fmla="*/ 236 h 247"/>
              <a:gd name="T36" fmla="*/ 0 w 731"/>
              <a:gd name="T37" fmla="*/ 243 h 247"/>
              <a:gd name="T38" fmla="*/ 6 w 731"/>
              <a:gd name="T39" fmla="*/ 247 h 247"/>
              <a:gd name="T40" fmla="*/ 725 w 731"/>
              <a:gd name="T41" fmla="*/ 247 h 247"/>
              <a:gd name="T42" fmla="*/ 730 w 731"/>
              <a:gd name="T43" fmla="*/ 243 h 247"/>
              <a:gd name="T44" fmla="*/ 728 w 731"/>
              <a:gd name="T45" fmla="*/ 236 h 247"/>
              <a:gd name="T46" fmla="*/ 369 w 731"/>
              <a:gd name="T47" fmla="*/ 1 h 247"/>
              <a:gd name="T48" fmla="*/ 362 w 731"/>
              <a:gd name="T49" fmla="*/ 1 h 247"/>
              <a:gd name="T50" fmla="*/ 365 w 731"/>
              <a:gd name="T51" fmla="*/ 6 h 247"/>
              <a:gd name="T52" fmla="*/ 362 w 731"/>
              <a:gd name="T53" fmla="*/ 11 h 247"/>
              <a:gd name="T54" fmla="*/ 704 w 731"/>
              <a:gd name="T55" fmla="*/ 235 h 247"/>
              <a:gd name="T56" fmla="*/ 26 w 731"/>
              <a:gd name="T57" fmla="*/ 235 h 247"/>
              <a:gd name="T58" fmla="*/ 369 w 731"/>
              <a:gd name="T59" fmla="*/ 11 h 247"/>
              <a:gd name="T60" fmla="*/ 365 w 731"/>
              <a:gd name="T61" fmla="*/ 6 h 247"/>
              <a:gd name="T62" fmla="*/ 362 w 731"/>
              <a:gd name="T63" fmla="*/ 11 h 247"/>
              <a:gd name="T64" fmla="*/ 365 w 731"/>
              <a:gd name="T65"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1" h="247">
                <a:moveTo>
                  <a:pt x="362" y="46"/>
                </a:moveTo>
                <a:cubicBezTo>
                  <a:pt x="607" y="206"/>
                  <a:pt x="607" y="206"/>
                  <a:pt x="607" y="206"/>
                </a:cubicBezTo>
                <a:cubicBezTo>
                  <a:pt x="124" y="206"/>
                  <a:pt x="124" y="206"/>
                  <a:pt x="124" y="206"/>
                </a:cubicBezTo>
                <a:cubicBezTo>
                  <a:pt x="369" y="46"/>
                  <a:pt x="369" y="46"/>
                  <a:pt x="369" y="46"/>
                </a:cubicBezTo>
                <a:cubicBezTo>
                  <a:pt x="371" y="44"/>
                  <a:pt x="372" y="41"/>
                  <a:pt x="370" y="38"/>
                </a:cubicBezTo>
                <a:cubicBezTo>
                  <a:pt x="369" y="35"/>
                  <a:pt x="365" y="34"/>
                  <a:pt x="362" y="36"/>
                </a:cubicBezTo>
                <a:cubicBezTo>
                  <a:pt x="101" y="207"/>
                  <a:pt x="101" y="207"/>
                  <a:pt x="101" y="207"/>
                </a:cubicBezTo>
                <a:cubicBezTo>
                  <a:pt x="99" y="209"/>
                  <a:pt x="97" y="211"/>
                  <a:pt x="98" y="214"/>
                </a:cubicBezTo>
                <a:cubicBezTo>
                  <a:pt x="99" y="216"/>
                  <a:pt x="101" y="218"/>
                  <a:pt x="104" y="218"/>
                </a:cubicBezTo>
                <a:cubicBezTo>
                  <a:pt x="627" y="218"/>
                  <a:pt x="627" y="218"/>
                  <a:pt x="627" y="218"/>
                </a:cubicBezTo>
                <a:cubicBezTo>
                  <a:pt x="629" y="218"/>
                  <a:pt x="632" y="216"/>
                  <a:pt x="632" y="214"/>
                </a:cubicBezTo>
                <a:cubicBezTo>
                  <a:pt x="633" y="211"/>
                  <a:pt x="632" y="209"/>
                  <a:pt x="630" y="207"/>
                </a:cubicBezTo>
                <a:cubicBezTo>
                  <a:pt x="369" y="36"/>
                  <a:pt x="369" y="36"/>
                  <a:pt x="369" y="36"/>
                </a:cubicBezTo>
                <a:cubicBezTo>
                  <a:pt x="366" y="34"/>
                  <a:pt x="362" y="35"/>
                  <a:pt x="360" y="38"/>
                </a:cubicBezTo>
                <a:cubicBezTo>
                  <a:pt x="359" y="41"/>
                  <a:pt x="359" y="44"/>
                  <a:pt x="362" y="46"/>
                </a:cubicBezTo>
                <a:close/>
                <a:moveTo>
                  <a:pt x="365" y="6"/>
                </a:moveTo>
                <a:cubicBezTo>
                  <a:pt x="362" y="1"/>
                  <a:pt x="362" y="1"/>
                  <a:pt x="362" y="1"/>
                </a:cubicBezTo>
                <a:cubicBezTo>
                  <a:pt x="3" y="236"/>
                  <a:pt x="3" y="236"/>
                  <a:pt x="3" y="236"/>
                </a:cubicBezTo>
                <a:cubicBezTo>
                  <a:pt x="1" y="238"/>
                  <a:pt x="0" y="241"/>
                  <a:pt x="0" y="243"/>
                </a:cubicBezTo>
                <a:cubicBezTo>
                  <a:pt x="1" y="246"/>
                  <a:pt x="3" y="247"/>
                  <a:pt x="6" y="247"/>
                </a:cubicBezTo>
                <a:cubicBezTo>
                  <a:pt x="725" y="247"/>
                  <a:pt x="725" y="247"/>
                  <a:pt x="725" y="247"/>
                </a:cubicBezTo>
                <a:cubicBezTo>
                  <a:pt x="727" y="247"/>
                  <a:pt x="730" y="246"/>
                  <a:pt x="730" y="243"/>
                </a:cubicBezTo>
                <a:cubicBezTo>
                  <a:pt x="731" y="241"/>
                  <a:pt x="730" y="238"/>
                  <a:pt x="728" y="236"/>
                </a:cubicBezTo>
                <a:cubicBezTo>
                  <a:pt x="369" y="1"/>
                  <a:pt x="369" y="1"/>
                  <a:pt x="369" y="1"/>
                </a:cubicBezTo>
                <a:cubicBezTo>
                  <a:pt x="367" y="0"/>
                  <a:pt x="364" y="0"/>
                  <a:pt x="362" y="1"/>
                </a:cubicBezTo>
                <a:cubicBezTo>
                  <a:pt x="365" y="6"/>
                  <a:pt x="365" y="6"/>
                  <a:pt x="365" y="6"/>
                </a:cubicBezTo>
                <a:cubicBezTo>
                  <a:pt x="362" y="11"/>
                  <a:pt x="362" y="11"/>
                  <a:pt x="362" y="11"/>
                </a:cubicBezTo>
                <a:cubicBezTo>
                  <a:pt x="704" y="235"/>
                  <a:pt x="704" y="235"/>
                  <a:pt x="704" y="235"/>
                </a:cubicBezTo>
                <a:cubicBezTo>
                  <a:pt x="26" y="235"/>
                  <a:pt x="26" y="235"/>
                  <a:pt x="26" y="235"/>
                </a:cubicBezTo>
                <a:cubicBezTo>
                  <a:pt x="369" y="11"/>
                  <a:pt x="369" y="11"/>
                  <a:pt x="369" y="11"/>
                </a:cubicBezTo>
                <a:cubicBezTo>
                  <a:pt x="365" y="6"/>
                  <a:pt x="365" y="6"/>
                  <a:pt x="365" y="6"/>
                </a:cubicBezTo>
                <a:cubicBezTo>
                  <a:pt x="362" y="11"/>
                  <a:pt x="362" y="11"/>
                  <a:pt x="362" y="11"/>
                </a:cubicBezTo>
                <a:lnTo>
                  <a:pt x="365"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41"/>
          <p:cNvSpPr>
            <a:spLocks/>
          </p:cNvSpPr>
          <p:nvPr/>
        </p:nvSpPr>
        <p:spPr bwMode="auto">
          <a:xfrm>
            <a:off x="5156637" y="4880699"/>
            <a:ext cx="1294663" cy="1488001"/>
          </a:xfrm>
          <a:custGeom>
            <a:avLst/>
            <a:gdLst>
              <a:gd name="T0" fmla="*/ 539 w 539"/>
              <a:gd name="T1" fmla="*/ 120 h 619"/>
              <a:gd name="T2" fmla="*/ 501 w 539"/>
              <a:gd name="T3" fmla="*/ 82 h 619"/>
              <a:gd name="T4" fmla="*/ 287 w 539"/>
              <a:gd name="T5" fmla="*/ 9 h 619"/>
              <a:gd name="T6" fmla="*/ 255 w 539"/>
              <a:gd name="T7" fmla="*/ 8 h 619"/>
              <a:gd name="T8" fmla="*/ 26 w 539"/>
              <a:gd name="T9" fmla="*/ 82 h 619"/>
              <a:gd name="T10" fmla="*/ 1 w 539"/>
              <a:gd name="T11" fmla="*/ 109 h 619"/>
              <a:gd name="T12" fmla="*/ 39 w 539"/>
              <a:gd name="T13" fmla="*/ 379 h 619"/>
              <a:gd name="T14" fmla="*/ 243 w 539"/>
              <a:gd name="T15" fmla="*/ 612 h 619"/>
              <a:gd name="T16" fmla="*/ 297 w 539"/>
              <a:gd name="T17" fmla="*/ 613 h 619"/>
              <a:gd name="T18" fmla="*/ 475 w 539"/>
              <a:gd name="T19" fmla="*/ 445 h 619"/>
              <a:gd name="T20" fmla="*/ 539 w 539"/>
              <a:gd name="T21" fmla="*/ 140 h 619"/>
              <a:gd name="T22" fmla="*/ 539 w 539"/>
              <a:gd name="T23" fmla="*/ 12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9" h="619">
                <a:moveTo>
                  <a:pt x="539" y="120"/>
                </a:moveTo>
                <a:cubicBezTo>
                  <a:pt x="538" y="84"/>
                  <a:pt x="538" y="84"/>
                  <a:pt x="501" y="82"/>
                </a:cubicBezTo>
                <a:cubicBezTo>
                  <a:pt x="423" y="78"/>
                  <a:pt x="351" y="54"/>
                  <a:pt x="287" y="9"/>
                </a:cubicBezTo>
                <a:cubicBezTo>
                  <a:pt x="275" y="1"/>
                  <a:pt x="267" y="0"/>
                  <a:pt x="255" y="8"/>
                </a:cubicBezTo>
                <a:cubicBezTo>
                  <a:pt x="186" y="56"/>
                  <a:pt x="109" y="81"/>
                  <a:pt x="26" y="82"/>
                </a:cubicBezTo>
                <a:cubicBezTo>
                  <a:pt x="4" y="82"/>
                  <a:pt x="1" y="91"/>
                  <a:pt x="1" y="109"/>
                </a:cubicBezTo>
                <a:cubicBezTo>
                  <a:pt x="0" y="201"/>
                  <a:pt x="9" y="292"/>
                  <a:pt x="39" y="379"/>
                </a:cubicBezTo>
                <a:cubicBezTo>
                  <a:pt x="74" y="485"/>
                  <a:pt x="136" y="569"/>
                  <a:pt x="243" y="612"/>
                </a:cubicBezTo>
                <a:cubicBezTo>
                  <a:pt x="259" y="618"/>
                  <a:pt x="281" y="619"/>
                  <a:pt x="297" y="613"/>
                </a:cubicBezTo>
                <a:cubicBezTo>
                  <a:pt x="378" y="581"/>
                  <a:pt x="436" y="522"/>
                  <a:pt x="475" y="445"/>
                </a:cubicBezTo>
                <a:cubicBezTo>
                  <a:pt x="523" y="349"/>
                  <a:pt x="536" y="245"/>
                  <a:pt x="539" y="140"/>
                </a:cubicBezTo>
                <a:cubicBezTo>
                  <a:pt x="539" y="133"/>
                  <a:pt x="539" y="127"/>
                  <a:pt x="539" y="1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42"/>
          <p:cNvSpPr>
            <a:spLocks/>
          </p:cNvSpPr>
          <p:nvPr/>
        </p:nvSpPr>
        <p:spPr bwMode="auto">
          <a:xfrm>
            <a:off x="5144490" y="4871589"/>
            <a:ext cx="1320981" cy="1506222"/>
          </a:xfrm>
          <a:custGeom>
            <a:avLst/>
            <a:gdLst>
              <a:gd name="T0" fmla="*/ 544 w 550"/>
              <a:gd name="T1" fmla="*/ 124 h 627"/>
              <a:gd name="T2" fmla="*/ 550 w 550"/>
              <a:gd name="T3" fmla="*/ 124 h 627"/>
              <a:gd name="T4" fmla="*/ 549 w 550"/>
              <a:gd name="T5" fmla="*/ 103 h 627"/>
              <a:gd name="T6" fmla="*/ 545 w 550"/>
              <a:gd name="T7" fmla="*/ 91 h 627"/>
              <a:gd name="T8" fmla="*/ 539 w 550"/>
              <a:gd name="T9" fmla="*/ 85 h 627"/>
              <a:gd name="T10" fmla="*/ 526 w 550"/>
              <a:gd name="T11" fmla="*/ 81 h 627"/>
              <a:gd name="T12" fmla="*/ 506 w 550"/>
              <a:gd name="T13" fmla="*/ 80 h 627"/>
              <a:gd name="T14" fmla="*/ 295 w 550"/>
              <a:gd name="T15" fmla="*/ 8 h 627"/>
              <a:gd name="T16" fmla="*/ 286 w 550"/>
              <a:gd name="T17" fmla="*/ 2 h 627"/>
              <a:gd name="T18" fmla="*/ 275 w 550"/>
              <a:gd name="T19" fmla="*/ 0 h 627"/>
              <a:gd name="T20" fmla="*/ 266 w 550"/>
              <a:gd name="T21" fmla="*/ 2 h 627"/>
              <a:gd name="T22" fmla="*/ 256 w 550"/>
              <a:gd name="T23" fmla="*/ 7 h 627"/>
              <a:gd name="T24" fmla="*/ 31 w 550"/>
              <a:gd name="T25" fmla="*/ 80 h 627"/>
              <a:gd name="T26" fmla="*/ 16 w 550"/>
              <a:gd name="T27" fmla="*/ 82 h 627"/>
              <a:gd name="T28" fmla="*/ 8 w 550"/>
              <a:gd name="T29" fmla="*/ 87 h 627"/>
              <a:gd name="T30" fmla="*/ 1 w 550"/>
              <a:gd name="T31" fmla="*/ 99 h 627"/>
              <a:gd name="T32" fmla="*/ 0 w 550"/>
              <a:gd name="T33" fmla="*/ 113 h 627"/>
              <a:gd name="T34" fmla="*/ 0 w 550"/>
              <a:gd name="T35" fmla="*/ 118 h 627"/>
              <a:gd name="T36" fmla="*/ 38 w 550"/>
              <a:gd name="T37" fmla="*/ 385 h 627"/>
              <a:gd name="T38" fmla="*/ 115 w 550"/>
              <a:gd name="T39" fmla="*/ 527 h 627"/>
              <a:gd name="T40" fmla="*/ 246 w 550"/>
              <a:gd name="T41" fmla="*/ 621 h 627"/>
              <a:gd name="T42" fmla="*/ 277 w 550"/>
              <a:gd name="T43" fmla="*/ 627 h 627"/>
              <a:gd name="T44" fmla="*/ 304 w 550"/>
              <a:gd name="T45" fmla="*/ 622 h 627"/>
              <a:gd name="T46" fmla="*/ 485 w 550"/>
              <a:gd name="T47" fmla="*/ 451 h 627"/>
              <a:gd name="T48" fmla="*/ 550 w 550"/>
              <a:gd name="T49" fmla="*/ 144 h 627"/>
              <a:gd name="T50" fmla="*/ 550 w 550"/>
              <a:gd name="T51" fmla="*/ 144 h 627"/>
              <a:gd name="T52" fmla="*/ 550 w 550"/>
              <a:gd name="T53" fmla="*/ 144 h 627"/>
              <a:gd name="T54" fmla="*/ 550 w 550"/>
              <a:gd name="T55" fmla="*/ 131 h 627"/>
              <a:gd name="T56" fmla="*/ 550 w 550"/>
              <a:gd name="T57" fmla="*/ 124 h 627"/>
              <a:gd name="T58" fmla="*/ 544 w 550"/>
              <a:gd name="T59" fmla="*/ 124 h 627"/>
              <a:gd name="T60" fmla="*/ 538 w 550"/>
              <a:gd name="T61" fmla="*/ 124 h 627"/>
              <a:gd name="T62" fmla="*/ 538 w 550"/>
              <a:gd name="T63" fmla="*/ 131 h 627"/>
              <a:gd name="T64" fmla="*/ 538 w 550"/>
              <a:gd name="T65" fmla="*/ 144 h 627"/>
              <a:gd name="T66" fmla="*/ 544 w 550"/>
              <a:gd name="T67" fmla="*/ 144 h 627"/>
              <a:gd name="T68" fmla="*/ 538 w 550"/>
              <a:gd name="T69" fmla="*/ 143 h 627"/>
              <a:gd name="T70" fmla="*/ 474 w 550"/>
              <a:gd name="T71" fmla="*/ 446 h 627"/>
              <a:gd name="T72" fmla="*/ 299 w 550"/>
              <a:gd name="T73" fmla="*/ 611 h 627"/>
              <a:gd name="T74" fmla="*/ 277 w 550"/>
              <a:gd name="T75" fmla="*/ 615 h 627"/>
              <a:gd name="T76" fmla="*/ 251 w 550"/>
              <a:gd name="T77" fmla="*/ 610 h 627"/>
              <a:gd name="T78" fmla="*/ 124 w 550"/>
              <a:gd name="T79" fmla="*/ 519 h 627"/>
              <a:gd name="T80" fmla="*/ 49 w 550"/>
              <a:gd name="T81" fmla="*/ 381 h 627"/>
              <a:gd name="T82" fmla="*/ 12 w 550"/>
              <a:gd name="T83" fmla="*/ 118 h 627"/>
              <a:gd name="T84" fmla="*/ 12 w 550"/>
              <a:gd name="T85" fmla="*/ 113 h 627"/>
              <a:gd name="T86" fmla="*/ 13 w 550"/>
              <a:gd name="T87" fmla="*/ 102 h 627"/>
              <a:gd name="T88" fmla="*/ 14 w 550"/>
              <a:gd name="T89" fmla="*/ 98 h 627"/>
              <a:gd name="T90" fmla="*/ 19 w 550"/>
              <a:gd name="T91" fmla="*/ 94 h 627"/>
              <a:gd name="T92" fmla="*/ 31 w 550"/>
              <a:gd name="T93" fmla="*/ 92 h 627"/>
              <a:gd name="T94" fmla="*/ 263 w 550"/>
              <a:gd name="T95" fmla="*/ 17 h 627"/>
              <a:gd name="T96" fmla="*/ 270 w 550"/>
              <a:gd name="T97" fmla="*/ 13 h 627"/>
              <a:gd name="T98" fmla="*/ 275 w 550"/>
              <a:gd name="T99" fmla="*/ 12 h 627"/>
              <a:gd name="T100" fmla="*/ 281 w 550"/>
              <a:gd name="T101" fmla="*/ 14 h 627"/>
              <a:gd name="T102" fmla="*/ 288 w 550"/>
              <a:gd name="T103" fmla="*/ 18 h 627"/>
              <a:gd name="T104" fmla="*/ 506 w 550"/>
              <a:gd name="T105" fmla="*/ 92 h 627"/>
              <a:gd name="T106" fmla="*/ 526 w 550"/>
              <a:gd name="T107" fmla="*/ 94 h 627"/>
              <a:gd name="T108" fmla="*/ 533 w 550"/>
              <a:gd name="T109" fmla="*/ 96 h 627"/>
              <a:gd name="T110" fmla="*/ 535 w 550"/>
              <a:gd name="T111" fmla="*/ 98 h 627"/>
              <a:gd name="T112" fmla="*/ 537 w 550"/>
              <a:gd name="T113" fmla="*/ 106 h 627"/>
              <a:gd name="T114" fmla="*/ 538 w 550"/>
              <a:gd name="T115" fmla="*/ 124 h 627"/>
              <a:gd name="T116" fmla="*/ 544 w 550"/>
              <a:gd name="T117" fmla="*/ 12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0" h="627">
                <a:moveTo>
                  <a:pt x="544" y="124"/>
                </a:moveTo>
                <a:cubicBezTo>
                  <a:pt x="550" y="124"/>
                  <a:pt x="550" y="124"/>
                  <a:pt x="550" y="124"/>
                </a:cubicBezTo>
                <a:cubicBezTo>
                  <a:pt x="550" y="115"/>
                  <a:pt x="549" y="108"/>
                  <a:pt x="549" y="103"/>
                </a:cubicBezTo>
                <a:cubicBezTo>
                  <a:pt x="548" y="98"/>
                  <a:pt x="547" y="95"/>
                  <a:pt x="545" y="91"/>
                </a:cubicBezTo>
                <a:cubicBezTo>
                  <a:pt x="543" y="89"/>
                  <a:pt x="541" y="87"/>
                  <a:pt x="539" y="85"/>
                </a:cubicBezTo>
                <a:cubicBezTo>
                  <a:pt x="535" y="83"/>
                  <a:pt x="531" y="82"/>
                  <a:pt x="526" y="81"/>
                </a:cubicBezTo>
                <a:cubicBezTo>
                  <a:pt x="520" y="81"/>
                  <a:pt x="514" y="80"/>
                  <a:pt x="506" y="80"/>
                </a:cubicBezTo>
                <a:cubicBezTo>
                  <a:pt x="429" y="76"/>
                  <a:pt x="359" y="52"/>
                  <a:pt x="295" y="8"/>
                </a:cubicBezTo>
                <a:cubicBezTo>
                  <a:pt x="292" y="6"/>
                  <a:pt x="289" y="4"/>
                  <a:pt x="286" y="2"/>
                </a:cubicBezTo>
                <a:cubicBezTo>
                  <a:pt x="282" y="1"/>
                  <a:pt x="279" y="0"/>
                  <a:pt x="275" y="0"/>
                </a:cubicBezTo>
                <a:cubicBezTo>
                  <a:pt x="272" y="0"/>
                  <a:pt x="269" y="1"/>
                  <a:pt x="266" y="2"/>
                </a:cubicBezTo>
                <a:cubicBezTo>
                  <a:pt x="262" y="3"/>
                  <a:pt x="259" y="5"/>
                  <a:pt x="256" y="7"/>
                </a:cubicBezTo>
                <a:cubicBezTo>
                  <a:pt x="189" y="55"/>
                  <a:pt x="113" y="79"/>
                  <a:pt x="31" y="80"/>
                </a:cubicBezTo>
                <a:cubicBezTo>
                  <a:pt x="25" y="80"/>
                  <a:pt x="20" y="81"/>
                  <a:pt x="16" y="82"/>
                </a:cubicBezTo>
                <a:cubicBezTo>
                  <a:pt x="13" y="83"/>
                  <a:pt x="10" y="85"/>
                  <a:pt x="8" y="87"/>
                </a:cubicBezTo>
                <a:cubicBezTo>
                  <a:pt x="4" y="90"/>
                  <a:pt x="2" y="94"/>
                  <a:pt x="1" y="99"/>
                </a:cubicBezTo>
                <a:cubicBezTo>
                  <a:pt x="0" y="103"/>
                  <a:pt x="0" y="108"/>
                  <a:pt x="0" y="113"/>
                </a:cubicBezTo>
                <a:cubicBezTo>
                  <a:pt x="0" y="115"/>
                  <a:pt x="0" y="117"/>
                  <a:pt x="0" y="118"/>
                </a:cubicBezTo>
                <a:cubicBezTo>
                  <a:pt x="0" y="209"/>
                  <a:pt x="8" y="298"/>
                  <a:pt x="38" y="385"/>
                </a:cubicBezTo>
                <a:cubicBezTo>
                  <a:pt x="56" y="438"/>
                  <a:pt x="81" y="486"/>
                  <a:pt x="115" y="527"/>
                </a:cubicBezTo>
                <a:cubicBezTo>
                  <a:pt x="148" y="567"/>
                  <a:pt x="192" y="600"/>
                  <a:pt x="246" y="621"/>
                </a:cubicBezTo>
                <a:cubicBezTo>
                  <a:pt x="255" y="625"/>
                  <a:pt x="266" y="627"/>
                  <a:pt x="277" y="627"/>
                </a:cubicBezTo>
                <a:cubicBezTo>
                  <a:pt x="286" y="627"/>
                  <a:pt x="296" y="625"/>
                  <a:pt x="304" y="622"/>
                </a:cubicBezTo>
                <a:cubicBezTo>
                  <a:pt x="387" y="590"/>
                  <a:pt x="446" y="530"/>
                  <a:pt x="485" y="451"/>
                </a:cubicBezTo>
                <a:cubicBezTo>
                  <a:pt x="534" y="354"/>
                  <a:pt x="547" y="250"/>
                  <a:pt x="550" y="144"/>
                </a:cubicBezTo>
                <a:cubicBezTo>
                  <a:pt x="550" y="144"/>
                  <a:pt x="550" y="144"/>
                  <a:pt x="550" y="144"/>
                </a:cubicBezTo>
                <a:cubicBezTo>
                  <a:pt x="550" y="144"/>
                  <a:pt x="550" y="144"/>
                  <a:pt x="550" y="144"/>
                </a:cubicBezTo>
                <a:cubicBezTo>
                  <a:pt x="550" y="140"/>
                  <a:pt x="550" y="135"/>
                  <a:pt x="550" y="131"/>
                </a:cubicBezTo>
                <a:cubicBezTo>
                  <a:pt x="550" y="129"/>
                  <a:pt x="550" y="126"/>
                  <a:pt x="550" y="124"/>
                </a:cubicBezTo>
                <a:cubicBezTo>
                  <a:pt x="544" y="124"/>
                  <a:pt x="544" y="124"/>
                  <a:pt x="544" y="124"/>
                </a:cubicBezTo>
                <a:cubicBezTo>
                  <a:pt x="538" y="124"/>
                  <a:pt x="538" y="124"/>
                  <a:pt x="538" y="124"/>
                </a:cubicBezTo>
                <a:cubicBezTo>
                  <a:pt x="538" y="127"/>
                  <a:pt x="538" y="129"/>
                  <a:pt x="538" y="131"/>
                </a:cubicBezTo>
                <a:cubicBezTo>
                  <a:pt x="538" y="135"/>
                  <a:pt x="538" y="139"/>
                  <a:pt x="538" y="144"/>
                </a:cubicBezTo>
                <a:cubicBezTo>
                  <a:pt x="544" y="144"/>
                  <a:pt x="544" y="144"/>
                  <a:pt x="544" y="144"/>
                </a:cubicBezTo>
                <a:cubicBezTo>
                  <a:pt x="538" y="143"/>
                  <a:pt x="538" y="143"/>
                  <a:pt x="538" y="143"/>
                </a:cubicBezTo>
                <a:cubicBezTo>
                  <a:pt x="535" y="249"/>
                  <a:pt x="522" y="351"/>
                  <a:pt x="474" y="446"/>
                </a:cubicBezTo>
                <a:cubicBezTo>
                  <a:pt x="436" y="523"/>
                  <a:pt x="380" y="580"/>
                  <a:pt x="299" y="611"/>
                </a:cubicBezTo>
                <a:cubicBezTo>
                  <a:pt x="293" y="613"/>
                  <a:pt x="285" y="615"/>
                  <a:pt x="277" y="615"/>
                </a:cubicBezTo>
                <a:cubicBezTo>
                  <a:pt x="268" y="615"/>
                  <a:pt x="258" y="613"/>
                  <a:pt x="251" y="610"/>
                </a:cubicBezTo>
                <a:cubicBezTo>
                  <a:pt x="198" y="589"/>
                  <a:pt x="157" y="558"/>
                  <a:pt x="124" y="519"/>
                </a:cubicBezTo>
                <a:cubicBezTo>
                  <a:pt x="91" y="480"/>
                  <a:pt x="67" y="433"/>
                  <a:pt x="49" y="381"/>
                </a:cubicBezTo>
                <a:cubicBezTo>
                  <a:pt x="20" y="296"/>
                  <a:pt x="12" y="208"/>
                  <a:pt x="12" y="118"/>
                </a:cubicBezTo>
                <a:cubicBezTo>
                  <a:pt x="12" y="117"/>
                  <a:pt x="12" y="115"/>
                  <a:pt x="12" y="113"/>
                </a:cubicBezTo>
                <a:cubicBezTo>
                  <a:pt x="12" y="109"/>
                  <a:pt x="12" y="105"/>
                  <a:pt x="13" y="102"/>
                </a:cubicBezTo>
                <a:cubicBezTo>
                  <a:pt x="13" y="100"/>
                  <a:pt x="14" y="99"/>
                  <a:pt x="14" y="98"/>
                </a:cubicBezTo>
                <a:cubicBezTo>
                  <a:pt x="15" y="96"/>
                  <a:pt x="16" y="95"/>
                  <a:pt x="19" y="94"/>
                </a:cubicBezTo>
                <a:cubicBezTo>
                  <a:pt x="21" y="93"/>
                  <a:pt x="25" y="92"/>
                  <a:pt x="31" y="92"/>
                </a:cubicBezTo>
                <a:cubicBezTo>
                  <a:pt x="116" y="91"/>
                  <a:pt x="194" y="66"/>
                  <a:pt x="263" y="17"/>
                </a:cubicBezTo>
                <a:cubicBezTo>
                  <a:pt x="266" y="15"/>
                  <a:pt x="268" y="14"/>
                  <a:pt x="270" y="13"/>
                </a:cubicBezTo>
                <a:cubicBezTo>
                  <a:pt x="272" y="13"/>
                  <a:pt x="274" y="12"/>
                  <a:pt x="275" y="12"/>
                </a:cubicBezTo>
                <a:cubicBezTo>
                  <a:pt x="277" y="12"/>
                  <a:pt x="279" y="13"/>
                  <a:pt x="281" y="14"/>
                </a:cubicBezTo>
                <a:cubicBezTo>
                  <a:pt x="283" y="14"/>
                  <a:pt x="286" y="16"/>
                  <a:pt x="288" y="18"/>
                </a:cubicBezTo>
                <a:cubicBezTo>
                  <a:pt x="354" y="63"/>
                  <a:pt x="426" y="88"/>
                  <a:pt x="506" y="92"/>
                </a:cubicBezTo>
                <a:cubicBezTo>
                  <a:pt x="515" y="93"/>
                  <a:pt x="522" y="93"/>
                  <a:pt x="526" y="94"/>
                </a:cubicBezTo>
                <a:cubicBezTo>
                  <a:pt x="530" y="94"/>
                  <a:pt x="532" y="95"/>
                  <a:pt x="533" y="96"/>
                </a:cubicBezTo>
                <a:cubicBezTo>
                  <a:pt x="534" y="96"/>
                  <a:pt x="534" y="97"/>
                  <a:pt x="535" y="98"/>
                </a:cubicBezTo>
                <a:cubicBezTo>
                  <a:pt x="536" y="99"/>
                  <a:pt x="537" y="102"/>
                  <a:pt x="537" y="106"/>
                </a:cubicBezTo>
                <a:cubicBezTo>
                  <a:pt x="537" y="111"/>
                  <a:pt x="538" y="117"/>
                  <a:pt x="538" y="124"/>
                </a:cubicBezTo>
                <a:lnTo>
                  <a:pt x="544" y="124"/>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43"/>
          <p:cNvSpPr>
            <a:spLocks/>
          </p:cNvSpPr>
          <p:nvPr/>
        </p:nvSpPr>
        <p:spPr bwMode="auto">
          <a:xfrm>
            <a:off x="5445127" y="5359491"/>
            <a:ext cx="720719" cy="687315"/>
          </a:xfrm>
          <a:custGeom>
            <a:avLst/>
            <a:gdLst>
              <a:gd name="T0" fmla="*/ 254 w 300"/>
              <a:gd name="T1" fmla="*/ 0 h 286"/>
              <a:gd name="T2" fmla="*/ 46 w 300"/>
              <a:gd name="T3" fmla="*/ 0 h 286"/>
              <a:gd name="T4" fmla="*/ 0 w 300"/>
              <a:gd name="T5" fmla="*/ 41 h 286"/>
              <a:gd name="T6" fmla="*/ 0 w 300"/>
              <a:gd name="T7" fmla="*/ 167 h 286"/>
              <a:gd name="T8" fmla="*/ 4 w 300"/>
              <a:gd name="T9" fmla="*/ 196 h 286"/>
              <a:gd name="T10" fmla="*/ 150 w 300"/>
              <a:gd name="T11" fmla="*/ 286 h 286"/>
              <a:gd name="T12" fmla="*/ 295 w 300"/>
              <a:gd name="T13" fmla="*/ 196 h 286"/>
              <a:gd name="T14" fmla="*/ 300 w 300"/>
              <a:gd name="T15" fmla="*/ 167 h 286"/>
              <a:gd name="T16" fmla="*/ 300 w 300"/>
              <a:gd name="T17" fmla="*/ 41 h 286"/>
              <a:gd name="T18" fmla="*/ 254 w 300"/>
              <a:gd name="T19"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286">
                <a:moveTo>
                  <a:pt x="254" y="0"/>
                </a:moveTo>
                <a:cubicBezTo>
                  <a:pt x="46" y="0"/>
                  <a:pt x="46" y="0"/>
                  <a:pt x="46" y="0"/>
                </a:cubicBezTo>
                <a:cubicBezTo>
                  <a:pt x="21" y="0"/>
                  <a:pt x="0" y="18"/>
                  <a:pt x="0" y="41"/>
                </a:cubicBezTo>
                <a:cubicBezTo>
                  <a:pt x="0" y="167"/>
                  <a:pt x="0" y="167"/>
                  <a:pt x="0" y="167"/>
                </a:cubicBezTo>
                <a:cubicBezTo>
                  <a:pt x="0" y="177"/>
                  <a:pt x="1" y="187"/>
                  <a:pt x="4" y="196"/>
                </a:cubicBezTo>
                <a:cubicBezTo>
                  <a:pt x="21" y="248"/>
                  <a:pt x="80" y="286"/>
                  <a:pt x="150" y="286"/>
                </a:cubicBezTo>
                <a:cubicBezTo>
                  <a:pt x="220" y="286"/>
                  <a:pt x="279" y="248"/>
                  <a:pt x="295" y="196"/>
                </a:cubicBezTo>
                <a:cubicBezTo>
                  <a:pt x="299" y="187"/>
                  <a:pt x="300" y="177"/>
                  <a:pt x="300" y="167"/>
                </a:cubicBezTo>
                <a:cubicBezTo>
                  <a:pt x="300" y="41"/>
                  <a:pt x="300" y="41"/>
                  <a:pt x="300" y="41"/>
                </a:cubicBezTo>
                <a:cubicBezTo>
                  <a:pt x="300" y="18"/>
                  <a:pt x="279" y="0"/>
                  <a:pt x="2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44"/>
          <p:cNvSpPr>
            <a:spLocks/>
          </p:cNvSpPr>
          <p:nvPr/>
        </p:nvSpPr>
        <p:spPr bwMode="auto">
          <a:xfrm>
            <a:off x="5430955" y="5345320"/>
            <a:ext cx="749062" cy="715658"/>
          </a:xfrm>
          <a:custGeom>
            <a:avLst/>
            <a:gdLst>
              <a:gd name="T0" fmla="*/ 260 w 312"/>
              <a:gd name="T1" fmla="*/ 6 h 298"/>
              <a:gd name="T2" fmla="*/ 260 w 312"/>
              <a:gd name="T3" fmla="*/ 0 h 298"/>
              <a:gd name="T4" fmla="*/ 52 w 312"/>
              <a:gd name="T5" fmla="*/ 0 h 298"/>
              <a:gd name="T6" fmla="*/ 15 w 312"/>
              <a:gd name="T7" fmla="*/ 13 h 298"/>
              <a:gd name="T8" fmla="*/ 0 w 312"/>
              <a:gd name="T9" fmla="*/ 47 h 298"/>
              <a:gd name="T10" fmla="*/ 0 w 312"/>
              <a:gd name="T11" fmla="*/ 173 h 298"/>
              <a:gd name="T12" fmla="*/ 5 w 312"/>
              <a:gd name="T13" fmla="*/ 204 h 298"/>
              <a:gd name="T14" fmla="*/ 60 w 312"/>
              <a:gd name="T15" fmla="*/ 272 h 298"/>
              <a:gd name="T16" fmla="*/ 156 w 312"/>
              <a:gd name="T17" fmla="*/ 298 h 298"/>
              <a:gd name="T18" fmla="*/ 252 w 312"/>
              <a:gd name="T19" fmla="*/ 272 h 298"/>
              <a:gd name="T20" fmla="*/ 307 w 312"/>
              <a:gd name="T21" fmla="*/ 204 h 298"/>
              <a:gd name="T22" fmla="*/ 312 w 312"/>
              <a:gd name="T23" fmla="*/ 173 h 298"/>
              <a:gd name="T24" fmla="*/ 312 w 312"/>
              <a:gd name="T25" fmla="*/ 47 h 298"/>
              <a:gd name="T26" fmla="*/ 296 w 312"/>
              <a:gd name="T27" fmla="*/ 13 h 298"/>
              <a:gd name="T28" fmla="*/ 260 w 312"/>
              <a:gd name="T29" fmla="*/ 0 h 298"/>
              <a:gd name="T30" fmla="*/ 260 w 312"/>
              <a:gd name="T31" fmla="*/ 6 h 298"/>
              <a:gd name="T32" fmla="*/ 260 w 312"/>
              <a:gd name="T33" fmla="*/ 12 h 298"/>
              <a:gd name="T34" fmla="*/ 288 w 312"/>
              <a:gd name="T35" fmla="*/ 22 h 298"/>
              <a:gd name="T36" fmla="*/ 300 w 312"/>
              <a:gd name="T37" fmla="*/ 47 h 298"/>
              <a:gd name="T38" fmla="*/ 300 w 312"/>
              <a:gd name="T39" fmla="*/ 173 h 298"/>
              <a:gd name="T40" fmla="*/ 296 w 312"/>
              <a:gd name="T41" fmla="*/ 200 h 298"/>
              <a:gd name="T42" fmla="*/ 246 w 312"/>
              <a:gd name="T43" fmla="*/ 261 h 298"/>
              <a:gd name="T44" fmla="*/ 156 w 312"/>
              <a:gd name="T45" fmla="*/ 286 h 298"/>
              <a:gd name="T46" fmla="*/ 66 w 312"/>
              <a:gd name="T47" fmla="*/ 261 h 298"/>
              <a:gd name="T48" fmla="*/ 16 w 312"/>
              <a:gd name="T49" fmla="*/ 200 h 298"/>
              <a:gd name="T50" fmla="*/ 12 w 312"/>
              <a:gd name="T51" fmla="*/ 173 h 298"/>
              <a:gd name="T52" fmla="*/ 12 w 312"/>
              <a:gd name="T53" fmla="*/ 47 h 298"/>
              <a:gd name="T54" fmla="*/ 23 w 312"/>
              <a:gd name="T55" fmla="*/ 22 h 298"/>
              <a:gd name="T56" fmla="*/ 52 w 312"/>
              <a:gd name="T57" fmla="*/ 12 h 298"/>
              <a:gd name="T58" fmla="*/ 260 w 312"/>
              <a:gd name="T59" fmla="*/ 12 h 298"/>
              <a:gd name="T60" fmla="*/ 260 w 312"/>
              <a:gd name="T61" fmla="*/ 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 h="298">
                <a:moveTo>
                  <a:pt x="260" y="6"/>
                </a:moveTo>
                <a:cubicBezTo>
                  <a:pt x="260" y="0"/>
                  <a:pt x="260" y="0"/>
                  <a:pt x="260" y="0"/>
                </a:cubicBezTo>
                <a:cubicBezTo>
                  <a:pt x="52" y="0"/>
                  <a:pt x="52" y="0"/>
                  <a:pt x="52" y="0"/>
                </a:cubicBezTo>
                <a:cubicBezTo>
                  <a:pt x="38" y="0"/>
                  <a:pt x="25" y="5"/>
                  <a:pt x="15" y="13"/>
                </a:cubicBezTo>
                <a:cubicBezTo>
                  <a:pt x="6" y="22"/>
                  <a:pt x="0" y="34"/>
                  <a:pt x="0" y="47"/>
                </a:cubicBezTo>
                <a:cubicBezTo>
                  <a:pt x="0" y="173"/>
                  <a:pt x="0" y="173"/>
                  <a:pt x="0" y="173"/>
                </a:cubicBezTo>
                <a:cubicBezTo>
                  <a:pt x="0" y="183"/>
                  <a:pt x="1" y="194"/>
                  <a:pt x="5" y="204"/>
                </a:cubicBezTo>
                <a:cubicBezTo>
                  <a:pt x="13" y="231"/>
                  <a:pt x="33" y="255"/>
                  <a:pt x="60" y="272"/>
                </a:cubicBezTo>
                <a:cubicBezTo>
                  <a:pt x="86" y="288"/>
                  <a:pt x="120" y="298"/>
                  <a:pt x="156" y="298"/>
                </a:cubicBezTo>
                <a:cubicBezTo>
                  <a:pt x="192" y="298"/>
                  <a:pt x="225" y="288"/>
                  <a:pt x="252" y="272"/>
                </a:cubicBezTo>
                <a:cubicBezTo>
                  <a:pt x="279" y="255"/>
                  <a:pt x="298" y="231"/>
                  <a:pt x="307" y="204"/>
                </a:cubicBezTo>
                <a:cubicBezTo>
                  <a:pt x="310" y="194"/>
                  <a:pt x="312" y="183"/>
                  <a:pt x="312" y="173"/>
                </a:cubicBezTo>
                <a:cubicBezTo>
                  <a:pt x="312" y="47"/>
                  <a:pt x="312" y="47"/>
                  <a:pt x="312" y="47"/>
                </a:cubicBezTo>
                <a:cubicBezTo>
                  <a:pt x="312" y="34"/>
                  <a:pt x="306" y="22"/>
                  <a:pt x="296" y="13"/>
                </a:cubicBezTo>
                <a:cubicBezTo>
                  <a:pt x="287" y="5"/>
                  <a:pt x="274" y="0"/>
                  <a:pt x="260" y="0"/>
                </a:cubicBezTo>
                <a:cubicBezTo>
                  <a:pt x="260" y="6"/>
                  <a:pt x="260" y="6"/>
                  <a:pt x="260" y="6"/>
                </a:cubicBezTo>
                <a:cubicBezTo>
                  <a:pt x="260" y="12"/>
                  <a:pt x="260" y="12"/>
                  <a:pt x="260" y="12"/>
                </a:cubicBezTo>
                <a:cubicBezTo>
                  <a:pt x="271" y="12"/>
                  <a:pt x="281" y="16"/>
                  <a:pt x="288" y="22"/>
                </a:cubicBezTo>
                <a:cubicBezTo>
                  <a:pt x="296" y="29"/>
                  <a:pt x="300" y="38"/>
                  <a:pt x="300" y="47"/>
                </a:cubicBezTo>
                <a:cubicBezTo>
                  <a:pt x="300" y="173"/>
                  <a:pt x="300" y="173"/>
                  <a:pt x="300" y="173"/>
                </a:cubicBezTo>
                <a:cubicBezTo>
                  <a:pt x="300" y="182"/>
                  <a:pt x="299" y="191"/>
                  <a:pt x="296" y="200"/>
                </a:cubicBezTo>
                <a:cubicBezTo>
                  <a:pt x="288" y="225"/>
                  <a:pt x="270" y="246"/>
                  <a:pt x="246" y="261"/>
                </a:cubicBezTo>
                <a:cubicBezTo>
                  <a:pt x="221" y="277"/>
                  <a:pt x="190" y="286"/>
                  <a:pt x="156" y="286"/>
                </a:cubicBezTo>
                <a:cubicBezTo>
                  <a:pt x="122" y="286"/>
                  <a:pt x="91" y="277"/>
                  <a:pt x="66" y="261"/>
                </a:cubicBezTo>
                <a:cubicBezTo>
                  <a:pt x="42" y="246"/>
                  <a:pt x="24" y="225"/>
                  <a:pt x="16" y="200"/>
                </a:cubicBezTo>
                <a:cubicBezTo>
                  <a:pt x="13" y="191"/>
                  <a:pt x="12" y="182"/>
                  <a:pt x="12" y="173"/>
                </a:cubicBezTo>
                <a:cubicBezTo>
                  <a:pt x="12" y="47"/>
                  <a:pt x="12" y="47"/>
                  <a:pt x="12" y="47"/>
                </a:cubicBezTo>
                <a:cubicBezTo>
                  <a:pt x="12" y="38"/>
                  <a:pt x="16" y="29"/>
                  <a:pt x="23" y="22"/>
                </a:cubicBezTo>
                <a:cubicBezTo>
                  <a:pt x="31" y="16"/>
                  <a:pt x="41" y="12"/>
                  <a:pt x="52" y="12"/>
                </a:cubicBezTo>
                <a:cubicBezTo>
                  <a:pt x="260" y="12"/>
                  <a:pt x="260" y="12"/>
                  <a:pt x="260" y="12"/>
                </a:cubicBezTo>
                <a:lnTo>
                  <a:pt x="260" y="6"/>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45"/>
          <p:cNvSpPr>
            <a:spLocks/>
          </p:cNvSpPr>
          <p:nvPr/>
        </p:nvSpPr>
        <p:spPr bwMode="auto">
          <a:xfrm>
            <a:off x="5627331" y="5179311"/>
            <a:ext cx="355298" cy="175119"/>
          </a:xfrm>
          <a:custGeom>
            <a:avLst/>
            <a:gdLst>
              <a:gd name="T0" fmla="*/ 148 w 148"/>
              <a:gd name="T1" fmla="*/ 73 h 73"/>
              <a:gd name="T2" fmla="*/ 148 w 148"/>
              <a:gd name="T3" fmla="*/ 73 h 73"/>
              <a:gd name="T4" fmla="*/ 74 w 148"/>
              <a:gd name="T5" fmla="*/ 0 h 73"/>
              <a:gd name="T6" fmla="*/ 0 w 148"/>
              <a:gd name="T7" fmla="*/ 73 h 73"/>
              <a:gd name="T8" fmla="*/ 0 w 148"/>
              <a:gd name="T9" fmla="*/ 73 h 73"/>
              <a:gd name="T10" fmla="*/ 148 w 148"/>
              <a:gd name="T11" fmla="*/ 73 h 73"/>
            </a:gdLst>
            <a:ahLst/>
            <a:cxnLst>
              <a:cxn ang="0">
                <a:pos x="T0" y="T1"/>
              </a:cxn>
              <a:cxn ang="0">
                <a:pos x="T2" y="T3"/>
              </a:cxn>
              <a:cxn ang="0">
                <a:pos x="T4" y="T5"/>
              </a:cxn>
              <a:cxn ang="0">
                <a:pos x="T6" y="T7"/>
              </a:cxn>
              <a:cxn ang="0">
                <a:pos x="T8" y="T9"/>
              </a:cxn>
              <a:cxn ang="0">
                <a:pos x="T10" y="T11"/>
              </a:cxn>
            </a:cxnLst>
            <a:rect l="0" t="0" r="r" b="b"/>
            <a:pathLst>
              <a:path w="148" h="73">
                <a:moveTo>
                  <a:pt x="148" y="73"/>
                </a:moveTo>
                <a:cubicBezTo>
                  <a:pt x="148" y="73"/>
                  <a:pt x="148" y="73"/>
                  <a:pt x="148" y="73"/>
                </a:cubicBezTo>
                <a:cubicBezTo>
                  <a:pt x="148" y="33"/>
                  <a:pt x="115" y="0"/>
                  <a:pt x="74" y="0"/>
                </a:cubicBezTo>
                <a:cubicBezTo>
                  <a:pt x="33" y="0"/>
                  <a:pt x="0" y="33"/>
                  <a:pt x="0" y="73"/>
                </a:cubicBezTo>
                <a:cubicBezTo>
                  <a:pt x="0" y="73"/>
                  <a:pt x="0" y="73"/>
                  <a:pt x="0" y="73"/>
                </a:cubicBezTo>
                <a:lnTo>
                  <a:pt x="148" y="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46"/>
          <p:cNvSpPr>
            <a:spLocks/>
          </p:cNvSpPr>
          <p:nvPr/>
        </p:nvSpPr>
        <p:spPr bwMode="auto">
          <a:xfrm>
            <a:off x="5613160" y="5165140"/>
            <a:ext cx="384653" cy="203461"/>
          </a:xfrm>
          <a:custGeom>
            <a:avLst/>
            <a:gdLst>
              <a:gd name="T0" fmla="*/ 154 w 160"/>
              <a:gd name="T1" fmla="*/ 79 h 85"/>
              <a:gd name="T2" fmla="*/ 160 w 160"/>
              <a:gd name="T3" fmla="*/ 80 h 85"/>
              <a:gd name="T4" fmla="*/ 160 w 160"/>
              <a:gd name="T5" fmla="*/ 79 h 85"/>
              <a:gd name="T6" fmla="*/ 160 w 160"/>
              <a:gd name="T7" fmla="*/ 79 h 85"/>
              <a:gd name="T8" fmla="*/ 160 w 160"/>
              <a:gd name="T9" fmla="*/ 79 h 85"/>
              <a:gd name="T10" fmla="*/ 80 w 160"/>
              <a:gd name="T11" fmla="*/ 0 h 85"/>
              <a:gd name="T12" fmla="*/ 0 w 160"/>
              <a:gd name="T13" fmla="*/ 79 h 85"/>
              <a:gd name="T14" fmla="*/ 0 w 160"/>
              <a:gd name="T15" fmla="*/ 79 h 85"/>
              <a:gd name="T16" fmla="*/ 0 w 160"/>
              <a:gd name="T17" fmla="*/ 80 h 85"/>
              <a:gd name="T18" fmla="*/ 0 w 160"/>
              <a:gd name="T19" fmla="*/ 85 h 85"/>
              <a:gd name="T20" fmla="*/ 159 w 160"/>
              <a:gd name="T21" fmla="*/ 85 h 85"/>
              <a:gd name="T22" fmla="*/ 160 w 160"/>
              <a:gd name="T23" fmla="*/ 80 h 85"/>
              <a:gd name="T24" fmla="*/ 154 w 160"/>
              <a:gd name="T25" fmla="*/ 79 h 85"/>
              <a:gd name="T26" fmla="*/ 154 w 160"/>
              <a:gd name="T27" fmla="*/ 73 h 85"/>
              <a:gd name="T28" fmla="*/ 6 w 160"/>
              <a:gd name="T29" fmla="*/ 73 h 85"/>
              <a:gd name="T30" fmla="*/ 6 w 160"/>
              <a:gd name="T31" fmla="*/ 79 h 85"/>
              <a:gd name="T32" fmla="*/ 12 w 160"/>
              <a:gd name="T33" fmla="*/ 79 h 85"/>
              <a:gd name="T34" fmla="*/ 12 w 160"/>
              <a:gd name="T35" fmla="*/ 79 h 85"/>
              <a:gd name="T36" fmla="*/ 6 w 160"/>
              <a:gd name="T37" fmla="*/ 79 h 85"/>
              <a:gd name="T38" fmla="*/ 12 w 160"/>
              <a:gd name="T39" fmla="*/ 79 h 85"/>
              <a:gd name="T40" fmla="*/ 32 w 160"/>
              <a:gd name="T41" fmla="*/ 31 h 85"/>
              <a:gd name="T42" fmla="*/ 80 w 160"/>
              <a:gd name="T43" fmla="*/ 12 h 85"/>
              <a:gd name="T44" fmla="*/ 128 w 160"/>
              <a:gd name="T45" fmla="*/ 31 h 85"/>
              <a:gd name="T46" fmla="*/ 148 w 160"/>
              <a:gd name="T47" fmla="*/ 79 h 85"/>
              <a:gd name="T48" fmla="*/ 154 w 160"/>
              <a:gd name="T49" fmla="*/ 79 h 85"/>
              <a:gd name="T50" fmla="*/ 148 w 160"/>
              <a:gd name="T51" fmla="*/ 79 h 85"/>
              <a:gd name="T52" fmla="*/ 148 w 160"/>
              <a:gd name="T53" fmla="*/ 79 h 85"/>
              <a:gd name="T54" fmla="*/ 154 w 160"/>
              <a:gd name="T55" fmla="*/ 79 h 85"/>
              <a:gd name="T56" fmla="*/ 154 w 160"/>
              <a:gd name="T57" fmla="*/ 73 h 85"/>
              <a:gd name="T58" fmla="*/ 154 w 160"/>
              <a:gd name="T59"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85">
                <a:moveTo>
                  <a:pt x="154" y="79"/>
                </a:moveTo>
                <a:cubicBezTo>
                  <a:pt x="160" y="80"/>
                  <a:pt x="160" y="80"/>
                  <a:pt x="160" y="80"/>
                </a:cubicBezTo>
                <a:cubicBezTo>
                  <a:pt x="160" y="79"/>
                  <a:pt x="160" y="79"/>
                  <a:pt x="160" y="79"/>
                </a:cubicBezTo>
                <a:cubicBezTo>
                  <a:pt x="160" y="79"/>
                  <a:pt x="160" y="79"/>
                  <a:pt x="160" y="79"/>
                </a:cubicBezTo>
                <a:cubicBezTo>
                  <a:pt x="160" y="79"/>
                  <a:pt x="160" y="79"/>
                  <a:pt x="160" y="79"/>
                </a:cubicBezTo>
                <a:cubicBezTo>
                  <a:pt x="160" y="35"/>
                  <a:pt x="124" y="0"/>
                  <a:pt x="80" y="0"/>
                </a:cubicBezTo>
                <a:cubicBezTo>
                  <a:pt x="36" y="0"/>
                  <a:pt x="0" y="35"/>
                  <a:pt x="0" y="79"/>
                </a:cubicBezTo>
                <a:cubicBezTo>
                  <a:pt x="0" y="79"/>
                  <a:pt x="0" y="79"/>
                  <a:pt x="0" y="79"/>
                </a:cubicBezTo>
                <a:cubicBezTo>
                  <a:pt x="0" y="80"/>
                  <a:pt x="0" y="80"/>
                  <a:pt x="0" y="80"/>
                </a:cubicBezTo>
                <a:cubicBezTo>
                  <a:pt x="0" y="85"/>
                  <a:pt x="0" y="85"/>
                  <a:pt x="0" y="85"/>
                </a:cubicBezTo>
                <a:cubicBezTo>
                  <a:pt x="159" y="85"/>
                  <a:pt x="159" y="85"/>
                  <a:pt x="159" y="85"/>
                </a:cubicBezTo>
                <a:cubicBezTo>
                  <a:pt x="160" y="80"/>
                  <a:pt x="160" y="80"/>
                  <a:pt x="160" y="80"/>
                </a:cubicBezTo>
                <a:cubicBezTo>
                  <a:pt x="154" y="79"/>
                  <a:pt x="154" y="79"/>
                  <a:pt x="154" y="79"/>
                </a:cubicBezTo>
                <a:cubicBezTo>
                  <a:pt x="154" y="73"/>
                  <a:pt x="154" y="73"/>
                  <a:pt x="154" y="73"/>
                </a:cubicBezTo>
                <a:cubicBezTo>
                  <a:pt x="6" y="73"/>
                  <a:pt x="6" y="73"/>
                  <a:pt x="6" y="73"/>
                </a:cubicBezTo>
                <a:cubicBezTo>
                  <a:pt x="6" y="79"/>
                  <a:pt x="6" y="79"/>
                  <a:pt x="6" y="79"/>
                </a:cubicBezTo>
                <a:cubicBezTo>
                  <a:pt x="12" y="79"/>
                  <a:pt x="12" y="79"/>
                  <a:pt x="12" y="79"/>
                </a:cubicBezTo>
                <a:cubicBezTo>
                  <a:pt x="12" y="79"/>
                  <a:pt x="12" y="79"/>
                  <a:pt x="12" y="79"/>
                </a:cubicBezTo>
                <a:cubicBezTo>
                  <a:pt x="6" y="79"/>
                  <a:pt x="6" y="79"/>
                  <a:pt x="6" y="79"/>
                </a:cubicBezTo>
                <a:cubicBezTo>
                  <a:pt x="12" y="79"/>
                  <a:pt x="12" y="79"/>
                  <a:pt x="12" y="79"/>
                </a:cubicBezTo>
                <a:cubicBezTo>
                  <a:pt x="12" y="61"/>
                  <a:pt x="20" y="44"/>
                  <a:pt x="32" y="31"/>
                </a:cubicBezTo>
                <a:cubicBezTo>
                  <a:pt x="44" y="19"/>
                  <a:pt x="61" y="12"/>
                  <a:pt x="80" y="12"/>
                </a:cubicBezTo>
                <a:cubicBezTo>
                  <a:pt x="99" y="12"/>
                  <a:pt x="115" y="19"/>
                  <a:pt x="128" y="31"/>
                </a:cubicBezTo>
                <a:cubicBezTo>
                  <a:pt x="140" y="44"/>
                  <a:pt x="148" y="61"/>
                  <a:pt x="148" y="79"/>
                </a:cubicBezTo>
                <a:cubicBezTo>
                  <a:pt x="154" y="79"/>
                  <a:pt x="154" y="79"/>
                  <a:pt x="154" y="79"/>
                </a:cubicBezTo>
                <a:cubicBezTo>
                  <a:pt x="148" y="79"/>
                  <a:pt x="148" y="79"/>
                  <a:pt x="148" y="79"/>
                </a:cubicBezTo>
                <a:cubicBezTo>
                  <a:pt x="148" y="79"/>
                  <a:pt x="148" y="79"/>
                  <a:pt x="148" y="79"/>
                </a:cubicBezTo>
                <a:cubicBezTo>
                  <a:pt x="154" y="79"/>
                  <a:pt x="154" y="79"/>
                  <a:pt x="154" y="79"/>
                </a:cubicBezTo>
                <a:cubicBezTo>
                  <a:pt x="154" y="73"/>
                  <a:pt x="154" y="73"/>
                  <a:pt x="154" y="73"/>
                </a:cubicBezTo>
                <a:lnTo>
                  <a:pt x="154" y="79"/>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247"/>
          <p:cNvSpPr>
            <a:spLocks noChangeArrowheads="1"/>
          </p:cNvSpPr>
          <p:nvPr/>
        </p:nvSpPr>
        <p:spPr bwMode="auto">
          <a:xfrm>
            <a:off x="5690090" y="5525499"/>
            <a:ext cx="227755" cy="2277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48"/>
          <p:cNvSpPr>
            <a:spLocks/>
          </p:cNvSpPr>
          <p:nvPr/>
        </p:nvSpPr>
        <p:spPr bwMode="auto">
          <a:xfrm>
            <a:off x="5675919" y="5510316"/>
            <a:ext cx="257110" cy="257110"/>
          </a:xfrm>
          <a:custGeom>
            <a:avLst/>
            <a:gdLst>
              <a:gd name="T0" fmla="*/ 101 w 107"/>
              <a:gd name="T1" fmla="*/ 53 h 107"/>
              <a:gd name="T2" fmla="*/ 95 w 107"/>
              <a:gd name="T3" fmla="*/ 53 h 107"/>
              <a:gd name="T4" fmla="*/ 83 w 107"/>
              <a:gd name="T5" fmla="*/ 82 h 107"/>
              <a:gd name="T6" fmla="*/ 54 w 107"/>
              <a:gd name="T7" fmla="*/ 95 h 107"/>
              <a:gd name="T8" fmla="*/ 25 w 107"/>
              <a:gd name="T9" fmla="*/ 82 h 107"/>
              <a:gd name="T10" fmla="*/ 12 w 107"/>
              <a:gd name="T11" fmla="*/ 53 h 107"/>
              <a:gd name="T12" fmla="*/ 25 w 107"/>
              <a:gd name="T13" fmla="*/ 24 h 107"/>
              <a:gd name="T14" fmla="*/ 54 w 107"/>
              <a:gd name="T15" fmla="*/ 12 h 107"/>
              <a:gd name="T16" fmla="*/ 83 w 107"/>
              <a:gd name="T17" fmla="*/ 24 h 107"/>
              <a:gd name="T18" fmla="*/ 95 w 107"/>
              <a:gd name="T19" fmla="*/ 53 h 107"/>
              <a:gd name="T20" fmla="*/ 101 w 107"/>
              <a:gd name="T21" fmla="*/ 53 h 107"/>
              <a:gd name="T22" fmla="*/ 107 w 107"/>
              <a:gd name="T23" fmla="*/ 53 h 107"/>
              <a:gd name="T24" fmla="*/ 54 w 107"/>
              <a:gd name="T25" fmla="*/ 0 h 107"/>
              <a:gd name="T26" fmla="*/ 0 w 107"/>
              <a:gd name="T27" fmla="*/ 53 h 107"/>
              <a:gd name="T28" fmla="*/ 54 w 107"/>
              <a:gd name="T29" fmla="*/ 107 h 107"/>
              <a:gd name="T30" fmla="*/ 107 w 107"/>
              <a:gd name="T31" fmla="*/ 53 h 107"/>
              <a:gd name="T32" fmla="*/ 101 w 107"/>
              <a:gd name="T33"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101" y="53"/>
                </a:moveTo>
                <a:cubicBezTo>
                  <a:pt x="95" y="53"/>
                  <a:pt x="95" y="53"/>
                  <a:pt x="95" y="53"/>
                </a:cubicBezTo>
                <a:cubicBezTo>
                  <a:pt x="95" y="65"/>
                  <a:pt x="91" y="75"/>
                  <a:pt x="83" y="82"/>
                </a:cubicBezTo>
                <a:cubicBezTo>
                  <a:pt x="76" y="90"/>
                  <a:pt x="65" y="95"/>
                  <a:pt x="54" y="95"/>
                </a:cubicBezTo>
                <a:cubicBezTo>
                  <a:pt x="42" y="95"/>
                  <a:pt x="32" y="90"/>
                  <a:pt x="25" y="82"/>
                </a:cubicBezTo>
                <a:cubicBezTo>
                  <a:pt x="17" y="75"/>
                  <a:pt x="12" y="65"/>
                  <a:pt x="12" y="53"/>
                </a:cubicBezTo>
                <a:cubicBezTo>
                  <a:pt x="12" y="42"/>
                  <a:pt x="17" y="31"/>
                  <a:pt x="25" y="24"/>
                </a:cubicBezTo>
                <a:cubicBezTo>
                  <a:pt x="32" y="16"/>
                  <a:pt x="42" y="12"/>
                  <a:pt x="54" y="12"/>
                </a:cubicBezTo>
                <a:cubicBezTo>
                  <a:pt x="65" y="12"/>
                  <a:pt x="76" y="16"/>
                  <a:pt x="83" y="24"/>
                </a:cubicBezTo>
                <a:cubicBezTo>
                  <a:pt x="91" y="31"/>
                  <a:pt x="95" y="42"/>
                  <a:pt x="95" y="53"/>
                </a:cubicBezTo>
                <a:cubicBezTo>
                  <a:pt x="101" y="53"/>
                  <a:pt x="101" y="53"/>
                  <a:pt x="101" y="53"/>
                </a:cubicBezTo>
                <a:cubicBezTo>
                  <a:pt x="107" y="53"/>
                  <a:pt x="107" y="53"/>
                  <a:pt x="107" y="53"/>
                </a:cubicBezTo>
                <a:cubicBezTo>
                  <a:pt x="107" y="23"/>
                  <a:pt x="83" y="0"/>
                  <a:pt x="54" y="0"/>
                </a:cubicBezTo>
                <a:cubicBezTo>
                  <a:pt x="24" y="0"/>
                  <a:pt x="0" y="23"/>
                  <a:pt x="0" y="53"/>
                </a:cubicBezTo>
                <a:cubicBezTo>
                  <a:pt x="0" y="83"/>
                  <a:pt x="24" y="107"/>
                  <a:pt x="54" y="107"/>
                </a:cubicBezTo>
                <a:cubicBezTo>
                  <a:pt x="83" y="107"/>
                  <a:pt x="107" y="83"/>
                  <a:pt x="107" y="53"/>
                </a:cubicBezTo>
                <a:lnTo>
                  <a:pt x="101" y="53"/>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9"/>
          <p:cNvSpPr>
            <a:spLocks/>
          </p:cNvSpPr>
          <p:nvPr/>
        </p:nvSpPr>
        <p:spPr bwMode="auto">
          <a:xfrm>
            <a:off x="5805486" y="5753255"/>
            <a:ext cx="0" cy="132604"/>
          </a:xfrm>
          <a:custGeom>
            <a:avLst/>
            <a:gdLst>
              <a:gd name="T0" fmla="*/ 0 h 131"/>
              <a:gd name="T1" fmla="*/ 131 h 131"/>
              <a:gd name="T2" fmla="*/ 0 h 131"/>
            </a:gdLst>
            <a:ahLst/>
            <a:cxnLst>
              <a:cxn ang="0">
                <a:pos x="0" y="T0"/>
              </a:cxn>
              <a:cxn ang="0">
                <a:pos x="0" y="T1"/>
              </a:cxn>
              <a:cxn ang="0">
                <a:pos x="0" y="T2"/>
              </a:cxn>
            </a:cxnLst>
            <a:rect l="0" t="0" r="r" b="b"/>
            <a:pathLst>
              <a:path h="131">
                <a:moveTo>
                  <a:pt x="0" y="0"/>
                </a:moveTo>
                <a:lnTo>
                  <a:pt x="0" y="131"/>
                </a:lnTo>
                <a:lnTo>
                  <a:pt x="0"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Line 250"/>
          <p:cNvSpPr>
            <a:spLocks noChangeShapeType="1"/>
          </p:cNvSpPr>
          <p:nvPr/>
        </p:nvSpPr>
        <p:spPr bwMode="auto">
          <a:xfrm>
            <a:off x="5805486" y="5753255"/>
            <a:ext cx="0" cy="13260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Freeform 251"/>
          <p:cNvSpPr>
            <a:spLocks/>
          </p:cNvSpPr>
          <p:nvPr/>
        </p:nvSpPr>
        <p:spPr bwMode="auto">
          <a:xfrm>
            <a:off x="5791315" y="5739083"/>
            <a:ext cx="28343" cy="160947"/>
          </a:xfrm>
          <a:custGeom>
            <a:avLst/>
            <a:gdLst>
              <a:gd name="T0" fmla="*/ 0 w 12"/>
              <a:gd name="T1" fmla="*/ 6 h 67"/>
              <a:gd name="T2" fmla="*/ 0 w 12"/>
              <a:gd name="T3" fmla="*/ 61 h 67"/>
              <a:gd name="T4" fmla="*/ 6 w 12"/>
              <a:gd name="T5" fmla="*/ 67 h 67"/>
              <a:gd name="T6" fmla="*/ 12 w 12"/>
              <a:gd name="T7" fmla="*/ 61 h 67"/>
              <a:gd name="T8" fmla="*/ 12 w 12"/>
              <a:gd name="T9" fmla="*/ 6 h 67"/>
              <a:gd name="T10" fmla="*/ 6 w 12"/>
              <a:gd name="T11" fmla="*/ 0 h 67"/>
              <a:gd name="T12" fmla="*/ 0 w 12"/>
              <a:gd name="T13" fmla="*/ 6 h 67"/>
            </a:gdLst>
            <a:ahLst/>
            <a:cxnLst>
              <a:cxn ang="0">
                <a:pos x="T0" y="T1"/>
              </a:cxn>
              <a:cxn ang="0">
                <a:pos x="T2" y="T3"/>
              </a:cxn>
              <a:cxn ang="0">
                <a:pos x="T4" y="T5"/>
              </a:cxn>
              <a:cxn ang="0">
                <a:pos x="T6" y="T7"/>
              </a:cxn>
              <a:cxn ang="0">
                <a:pos x="T8" y="T9"/>
              </a:cxn>
              <a:cxn ang="0">
                <a:pos x="T10" y="T11"/>
              </a:cxn>
              <a:cxn ang="0">
                <a:pos x="T12" y="T13"/>
              </a:cxn>
            </a:cxnLst>
            <a:rect l="0" t="0" r="r" b="b"/>
            <a:pathLst>
              <a:path w="12" h="67">
                <a:moveTo>
                  <a:pt x="0" y="6"/>
                </a:moveTo>
                <a:cubicBezTo>
                  <a:pt x="0" y="61"/>
                  <a:pt x="0" y="61"/>
                  <a:pt x="0" y="61"/>
                </a:cubicBezTo>
                <a:cubicBezTo>
                  <a:pt x="0" y="64"/>
                  <a:pt x="3" y="67"/>
                  <a:pt x="6" y="67"/>
                </a:cubicBezTo>
                <a:cubicBezTo>
                  <a:pt x="9" y="67"/>
                  <a:pt x="12" y="64"/>
                  <a:pt x="12" y="61"/>
                </a:cubicBezTo>
                <a:cubicBezTo>
                  <a:pt x="12" y="6"/>
                  <a:pt x="12" y="6"/>
                  <a:pt x="12" y="6"/>
                </a:cubicBezTo>
                <a:cubicBezTo>
                  <a:pt x="12" y="2"/>
                  <a:pt x="9" y="0"/>
                  <a:pt x="6" y="0"/>
                </a:cubicBezTo>
                <a:cubicBezTo>
                  <a:pt x="3" y="0"/>
                  <a:pt x="0" y="2"/>
                  <a:pt x="0" y="6"/>
                </a:cubicBezTo>
              </a:path>
            </a:pathLst>
          </a:custGeom>
          <a:solidFill>
            <a:srgbClr val="7BB62D"/>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52"/>
          <p:cNvSpPr>
            <a:spLocks/>
          </p:cNvSpPr>
          <p:nvPr/>
        </p:nvSpPr>
        <p:spPr bwMode="auto">
          <a:xfrm>
            <a:off x="3338643" y="5828161"/>
            <a:ext cx="862434" cy="352262"/>
          </a:xfrm>
          <a:custGeom>
            <a:avLst/>
            <a:gdLst>
              <a:gd name="T0" fmla="*/ 0 w 852"/>
              <a:gd name="T1" fmla="*/ 0 h 348"/>
              <a:gd name="T2" fmla="*/ 0 w 852"/>
              <a:gd name="T3" fmla="*/ 348 h 348"/>
              <a:gd name="T4" fmla="*/ 852 w 852"/>
              <a:gd name="T5" fmla="*/ 348 h 348"/>
              <a:gd name="T6" fmla="*/ 852 w 852"/>
              <a:gd name="T7" fmla="*/ 329 h 348"/>
              <a:gd name="T8" fmla="*/ 19 w 852"/>
              <a:gd name="T9" fmla="*/ 329 h 348"/>
              <a:gd name="T10" fmla="*/ 19 w 852"/>
              <a:gd name="T11" fmla="*/ 0 h 348"/>
              <a:gd name="T12" fmla="*/ 0 w 852"/>
              <a:gd name="T13" fmla="*/ 0 h 348"/>
              <a:gd name="T14" fmla="*/ 0 w 852"/>
              <a:gd name="T15" fmla="*/ 0 h 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2" h="348">
                <a:moveTo>
                  <a:pt x="0" y="0"/>
                </a:moveTo>
                <a:lnTo>
                  <a:pt x="0" y="348"/>
                </a:lnTo>
                <a:lnTo>
                  <a:pt x="852" y="348"/>
                </a:lnTo>
                <a:lnTo>
                  <a:pt x="852" y="329"/>
                </a:lnTo>
                <a:lnTo>
                  <a:pt x="19" y="329"/>
                </a:lnTo>
                <a:lnTo>
                  <a:pt x="19" y="0"/>
                </a:lnTo>
                <a:lnTo>
                  <a:pt x="0" y="0"/>
                </a:lnTo>
                <a:lnTo>
                  <a:pt x="0" y="0"/>
                </a:ln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53"/>
          <p:cNvSpPr>
            <a:spLocks noEditPoints="1"/>
          </p:cNvSpPr>
          <p:nvPr/>
        </p:nvSpPr>
        <p:spPr bwMode="auto">
          <a:xfrm>
            <a:off x="2584520" y="5639883"/>
            <a:ext cx="1330091" cy="505111"/>
          </a:xfrm>
          <a:custGeom>
            <a:avLst/>
            <a:gdLst>
              <a:gd name="T0" fmla="*/ 550 w 554"/>
              <a:gd name="T1" fmla="*/ 0 h 210"/>
              <a:gd name="T2" fmla="*/ 522 w 554"/>
              <a:gd name="T3" fmla="*/ 8 h 210"/>
              <a:gd name="T4" fmla="*/ 522 w 554"/>
              <a:gd name="T5" fmla="*/ 0 h 210"/>
              <a:gd name="T6" fmla="*/ 502 w 554"/>
              <a:gd name="T7" fmla="*/ 8 h 210"/>
              <a:gd name="T8" fmla="*/ 494 w 554"/>
              <a:gd name="T9" fmla="*/ 4 h 210"/>
              <a:gd name="T10" fmla="*/ 482 w 554"/>
              <a:gd name="T11" fmla="*/ 4 h 210"/>
              <a:gd name="T12" fmla="*/ 474 w 554"/>
              <a:gd name="T13" fmla="*/ 8 h 210"/>
              <a:gd name="T14" fmla="*/ 454 w 554"/>
              <a:gd name="T15" fmla="*/ 0 h 210"/>
              <a:gd name="T16" fmla="*/ 426 w 554"/>
              <a:gd name="T17" fmla="*/ 8 h 210"/>
              <a:gd name="T18" fmla="*/ 426 w 554"/>
              <a:gd name="T19" fmla="*/ 0 h 210"/>
              <a:gd name="T20" fmla="*/ 406 w 554"/>
              <a:gd name="T21" fmla="*/ 8 h 210"/>
              <a:gd name="T22" fmla="*/ 398 w 554"/>
              <a:gd name="T23" fmla="*/ 4 h 210"/>
              <a:gd name="T24" fmla="*/ 386 w 554"/>
              <a:gd name="T25" fmla="*/ 4 h 210"/>
              <a:gd name="T26" fmla="*/ 378 w 554"/>
              <a:gd name="T27" fmla="*/ 8 h 210"/>
              <a:gd name="T28" fmla="*/ 358 w 554"/>
              <a:gd name="T29" fmla="*/ 0 h 210"/>
              <a:gd name="T30" fmla="*/ 330 w 554"/>
              <a:gd name="T31" fmla="*/ 8 h 210"/>
              <a:gd name="T32" fmla="*/ 330 w 554"/>
              <a:gd name="T33" fmla="*/ 0 h 210"/>
              <a:gd name="T34" fmla="*/ 310 w 554"/>
              <a:gd name="T35" fmla="*/ 8 h 210"/>
              <a:gd name="T36" fmla="*/ 302 w 554"/>
              <a:gd name="T37" fmla="*/ 4 h 210"/>
              <a:gd name="T38" fmla="*/ 290 w 554"/>
              <a:gd name="T39" fmla="*/ 4 h 210"/>
              <a:gd name="T40" fmla="*/ 282 w 554"/>
              <a:gd name="T41" fmla="*/ 8 h 210"/>
              <a:gd name="T42" fmla="*/ 262 w 554"/>
              <a:gd name="T43" fmla="*/ 0 h 210"/>
              <a:gd name="T44" fmla="*/ 234 w 554"/>
              <a:gd name="T45" fmla="*/ 8 h 210"/>
              <a:gd name="T46" fmla="*/ 234 w 554"/>
              <a:gd name="T47" fmla="*/ 0 h 210"/>
              <a:gd name="T48" fmla="*/ 214 w 554"/>
              <a:gd name="T49" fmla="*/ 8 h 210"/>
              <a:gd name="T50" fmla="*/ 206 w 554"/>
              <a:gd name="T51" fmla="*/ 4 h 210"/>
              <a:gd name="T52" fmla="*/ 194 w 554"/>
              <a:gd name="T53" fmla="*/ 4 h 210"/>
              <a:gd name="T54" fmla="*/ 186 w 554"/>
              <a:gd name="T55" fmla="*/ 8 h 210"/>
              <a:gd name="T56" fmla="*/ 180 w 554"/>
              <a:gd name="T57" fmla="*/ 22 h 210"/>
              <a:gd name="T58" fmla="*/ 188 w 554"/>
              <a:gd name="T59" fmla="*/ 50 h 210"/>
              <a:gd name="T60" fmla="*/ 180 w 554"/>
              <a:gd name="T61" fmla="*/ 50 h 210"/>
              <a:gd name="T62" fmla="*/ 188 w 554"/>
              <a:gd name="T63" fmla="*/ 70 h 210"/>
              <a:gd name="T64" fmla="*/ 184 w 554"/>
              <a:gd name="T65" fmla="*/ 78 h 210"/>
              <a:gd name="T66" fmla="*/ 184 w 554"/>
              <a:gd name="T67" fmla="*/ 90 h 210"/>
              <a:gd name="T68" fmla="*/ 188 w 554"/>
              <a:gd name="T69" fmla="*/ 98 h 210"/>
              <a:gd name="T70" fmla="*/ 180 w 554"/>
              <a:gd name="T71" fmla="*/ 118 h 210"/>
              <a:gd name="T72" fmla="*/ 188 w 554"/>
              <a:gd name="T73" fmla="*/ 146 h 210"/>
              <a:gd name="T74" fmla="*/ 180 w 554"/>
              <a:gd name="T75" fmla="*/ 146 h 210"/>
              <a:gd name="T76" fmla="*/ 188 w 554"/>
              <a:gd name="T77" fmla="*/ 166 h 210"/>
              <a:gd name="T78" fmla="*/ 184 w 554"/>
              <a:gd name="T79" fmla="*/ 174 h 210"/>
              <a:gd name="T80" fmla="*/ 184 w 554"/>
              <a:gd name="T81" fmla="*/ 186 h 210"/>
              <a:gd name="T82" fmla="*/ 188 w 554"/>
              <a:gd name="T83" fmla="*/ 194 h 210"/>
              <a:gd name="T84" fmla="*/ 176 w 554"/>
              <a:gd name="T85" fmla="*/ 202 h 210"/>
              <a:gd name="T86" fmla="*/ 148 w 554"/>
              <a:gd name="T87" fmla="*/ 210 h 210"/>
              <a:gd name="T88" fmla="*/ 148 w 554"/>
              <a:gd name="T89" fmla="*/ 202 h 210"/>
              <a:gd name="T90" fmla="*/ 128 w 554"/>
              <a:gd name="T91" fmla="*/ 210 h 210"/>
              <a:gd name="T92" fmla="*/ 120 w 554"/>
              <a:gd name="T93" fmla="*/ 206 h 210"/>
              <a:gd name="T94" fmla="*/ 108 w 554"/>
              <a:gd name="T95" fmla="*/ 206 h 210"/>
              <a:gd name="T96" fmla="*/ 100 w 554"/>
              <a:gd name="T97" fmla="*/ 210 h 210"/>
              <a:gd name="T98" fmla="*/ 80 w 554"/>
              <a:gd name="T99" fmla="*/ 202 h 210"/>
              <a:gd name="T100" fmla="*/ 52 w 554"/>
              <a:gd name="T101" fmla="*/ 210 h 210"/>
              <a:gd name="T102" fmla="*/ 52 w 554"/>
              <a:gd name="T103" fmla="*/ 202 h 210"/>
              <a:gd name="T104" fmla="*/ 32 w 554"/>
              <a:gd name="T105" fmla="*/ 210 h 210"/>
              <a:gd name="T106" fmla="*/ 24 w 554"/>
              <a:gd name="T107" fmla="*/ 206 h 210"/>
              <a:gd name="T108" fmla="*/ 12 w 554"/>
              <a:gd name="T109" fmla="*/ 206 h 210"/>
              <a:gd name="T110" fmla="*/ 4 w 554"/>
              <a:gd name="T111"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4" h="210">
                <a:moveTo>
                  <a:pt x="546" y="8"/>
                </a:moveTo>
                <a:cubicBezTo>
                  <a:pt x="550" y="8"/>
                  <a:pt x="550" y="8"/>
                  <a:pt x="550" y="8"/>
                </a:cubicBezTo>
                <a:cubicBezTo>
                  <a:pt x="552" y="8"/>
                  <a:pt x="554" y="6"/>
                  <a:pt x="554" y="4"/>
                </a:cubicBezTo>
                <a:cubicBezTo>
                  <a:pt x="554" y="2"/>
                  <a:pt x="552" y="0"/>
                  <a:pt x="550" y="0"/>
                </a:cubicBezTo>
                <a:cubicBezTo>
                  <a:pt x="546" y="0"/>
                  <a:pt x="546" y="0"/>
                  <a:pt x="546" y="0"/>
                </a:cubicBezTo>
                <a:cubicBezTo>
                  <a:pt x="544" y="0"/>
                  <a:pt x="542" y="2"/>
                  <a:pt x="542" y="4"/>
                </a:cubicBezTo>
                <a:cubicBezTo>
                  <a:pt x="542" y="6"/>
                  <a:pt x="544" y="8"/>
                  <a:pt x="546" y="8"/>
                </a:cubicBezTo>
                <a:close/>
                <a:moveTo>
                  <a:pt x="522" y="8"/>
                </a:moveTo>
                <a:cubicBezTo>
                  <a:pt x="526" y="8"/>
                  <a:pt x="526" y="8"/>
                  <a:pt x="526" y="8"/>
                </a:cubicBezTo>
                <a:cubicBezTo>
                  <a:pt x="528" y="8"/>
                  <a:pt x="530" y="6"/>
                  <a:pt x="530" y="4"/>
                </a:cubicBezTo>
                <a:cubicBezTo>
                  <a:pt x="530" y="2"/>
                  <a:pt x="528" y="0"/>
                  <a:pt x="526" y="0"/>
                </a:cubicBezTo>
                <a:cubicBezTo>
                  <a:pt x="522" y="0"/>
                  <a:pt x="522" y="0"/>
                  <a:pt x="522" y="0"/>
                </a:cubicBezTo>
                <a:cubicBezTo>
                  <a:pt x="520" y="0"/>
                  <a:pt x="518" y="2"/>
                  <a:pt x="518" y="4"/>
                </a:cubicBezTo>
                <a:cubicBezTo>
                  <a:pt x="518" y="6"/>
                  <a:pt x="520" y="8"/>
                  <a:pt x="522" y="8"/>
                </a:cubicBezTo>
                <a:close/>
                <a:moveTo>
                  <a:pt x="498" y="8"/>
                </a:moveTo>
                <a:cubicBezTo>
                  <a:pt x="502" y="8"/>
                  <a:pt x="502" y="8"/>
                  <a:pt x="502" y="8"/>
                </a:cubicBezTo>
                <a:cubicBezTo>
                  <a:pt x="504" y="8"/>
                  <a:pt x="506" y="6"/>
                  <a:pt x="506" y="4"/>
                </a:cubicBezTo>
                <a:cubicBezTo>
                  <a:pt x="506" y="2"/>
                  <a:pt x="504" y="0"/>
                  <a:pt x="502" y="0"/>
                </a:cubicBezTo>
                <a:cubicBezTo>
                  <a:pt x="498" y="0"/>
                  <a:pt x="498" y="0"/>
                  <a:pt x="498" y="0"/>
                </a:cubicBezTo>
                <a:cubicBezTo>
                  <a:pt x="496" y="0"/>
                  <a:pt x="494" y="2"/>
                  <a:pt x="494" y="4"/>
                </a:cubicBezTo>
                <a:cubicBezTo>
                  <a:pt x="494" y="6"/>
                  <a:pt x="496" y="8"/>
                  <a:pt x="498" y="8"/>
                </a:cubicBezTo>
                <a:close/>
                <a:moveTo>
                  <a:pt x="474" y="8"/>
                </a:moveTo>
                <a:cubicBezTo>
                  <a:pt x="478" y="8"/>
                  <a:pt x="478" y="8"/>
                  <a:pt x="478" y="8"/>
                </a:cubicBezTo>
                <a:cubicBezTo>
                  <a:pt x="480" y="8"/>
                  <a:pt x="482" y="6"/>
                  <a:pt x="482" y="4"/>
                </a:cubicBezTo>
                <a:cubicBezTo>
                  <a:pt x="482" y="2"/>
                  <a:pt x="480" y="0"/>
                  <a:pt x="478" y="0"/>
                </a:cubicBezTo>
                <a:cubicBezTo>
                  <a:pt x="474" y="0"/>
                  <a:pt x="474" y="0"/>
                  <a:pt x="474" y="0"/>
                </a:cubicBezTo>
                <a:cubicBezTo>
                  <a:pt x="472" y="0"/>
                  <a:pt x="470" y="2"/>
                  <a:pt x="470" y="4"/>
                </a:cubicBezTo>
                <a:cubicBezTo>
                  <a:pt x="470" y="6"/>
                  <a:pt x="472" y="8"/>
                  <a:pt x="474" y="8"/>
                </a:cubicBezTo>
                <a:close/>
                <a:moveTo>
                  <a:pt x="450" y="8"/>
                </a:moveTo>
                <a:cubicBezTo>
                  <a:pt x="454" y="8"/>
                  <a:pt x="454" y="8"/>
                  <a:pt x="454" y="8"/>
                </a:cubicBezTo>
                <a:cubicBezTo>
                  <a:pt x="456" y="8"/>
                  <a:pt x="458" y="6"/>
                  <a:pt x="458" y="4"/>
                </a:cubicBezTo>
                <a:cubicBezTo>
                  <a:pt x="458" y="2"/>
                  <a:pt x="456" y="0"/>
                  <a:pt x="454" y="0"/>
                </a:cubicBezTo>
                <a:cubicBezTo>
                  <a:pt x="450" y="0"/>
                  <a:pt x="450" y="0"/>
                  <a:pt x="450" y="0"/>
                </a:cubicBezTo>
                <a:cubicBezTo>
                  <a:pt x="448" y="0"/>
                  <a:pt x="446" y="2"/>
                  <a:pt x="446" y="4"/>
                </a:cubicBezTo>
                <a:cubicBezTo>
                  <a:pt x="446" y="6"/>
                  <a:pt x="448" y="8"/>
                  <a:pt x="450" y="8"/>
                </a:cubicBezTo>
                <a:close/>
                <a:moveTo>
                  <a:pt x="426" y="8"/>
                </a:moveTo>
                <a:cubicBezTo>
                  <a:pt x="430" y="8"/>
                  <a:pt x="430" y="8"/>
                  <a:pt x="430" y="8"/>
                </a:cubicBezTo>
                <a:cubicBezTo>
                  <a:pt x="432" y="8"/>
                  <a:pt x="434" y="6"/>
                  <a:pt x="434" y="4"/>
                </a:cubicBezTo>
                <a:cubicBezTo>
                  <a:pt x="434" y="2"/>
                  <a:pt x="432" y="0"/>
                  <a:pt x="430" y="0"/>
                </a:cubicBezTo>
                <a:cubicBezTo>
                  <a:pt x="426" y="0"/>
                  <a:pt x="426" y="0"/>
                  <a:pt x="426" y="0"/>
                </a:cubicBezTo>
                <a:cubicBezTo>
                  <a:pt x="424" y="0"/>
                  <a:pt x="422" y="2"/>
                  <a:pt x="422" y="4"/>
                </a:cubicBezTo>
                <a:cubicBezTo>
                  <a:pt x="422" y="6"/>
                  <a:pt x="424" y="8"/>
                  <a:pt x="426" y="8"/>
                </a:cubicBezTo>
                <a:close/>
                <a:moveTo>
                  <a:pt x="402" y="8"/>
                </a:moveTo>
                <a:cubicBezTo>
                  <a:pt x="406" y="8"/>
                  <a:pt x="406" y="8"/>
                  <a:pt x="406" y="8"/>
                </a:cubicBezTo>
                <a:cubicBezTo>
                  <a:pt x="408" y="8"/>
                  <a:pt x="410" y="6"/>
                  <a:pt x="410" y="4"/>
                </a:cubicBezTo>
                <a:cubicBezTo>
                  <a:pt x="410" y="2"/>
                  <a:pt x="408" y="0"/>
                  <a:pt x="406" y="0"/>
                </a:cubicBezTo>
                <a:cubicBezTo>
                  <a:pt x="402" y="0"/>
                  <a:pt x="402" y="0"/>
                  <a:pt x="402" y="0"/>
                </a:cubicBezTo>
                <a:cubicBezTo>
                  <a:pt x="400" y="0"/>
                  <a:pt x="398" y="2"/>
                  <a:pt x="398" y="4"/>
                </a:cubicBezTo>
                <a:cubicBezTo>
                  <a:pt x="398" y="6"/>
                  <a:pt x="400" y="8"/>
                  <a:pt x="402" y="8"/>
                </a:cubicBezTo>
                <a:close/>
                <a:moveTo>
                  <a:pt x="378" y="8"/>
                </a:moveTo>
                <a:cubicBezTo>
                  <a:pt x="382" y="8"/>
                  <a:pt x="382" y="8"/>
                  <a:pt x="382" y="8"/>
                </a:cubicBezTo>
                <a:cubicBezTo>
                  <a:pt x="384" y="8"/>
                  <a:pt x="386" y="6"/>
                  <a:pt x="386" y="4"/>
                </a:cubicBezTo>
                <a:cubicBezTo>
                  <a:pt x="386" y="2"/>
                  <a:pt x="384" y="0"/>
                  <a:pt x="382" y="0"/>
                </a:cubicBezTo>
                <a:cubicBezTo>
                  <a:pt x="378" y="0"/>
                  <a:pt x="378" y="0"/>
                  <a:pt x="378" y="0"/>
                </a:cubicBezTo>
                <a:cubicBezTo>
                  <a:pt x="376" y="0"/>
                  <a:pt x="374" y="2"/>
                  <a:pt x="374" y="4"/>
                </a:cubicBezTo>
                <a:cubicBezTo>
                  <a:pt x="374" y="6"/>
                  <a:pt x="376" y="8"/>
                  <a:pt x="378" y="8"/>
                </a:cubicBezTo>
                <a:close/>
                <a:moveTo>
                  <a:pt x="354" y="8"/>
                </a:moveTo>
                <a:cubicBezTo>
                  <a:pt x="358" y="8"/>
                  <a:pt x="358" y="8"/>
                  <a:pt x="358" y="8"/>
                </a:cubicBezTo>
                <a:cubicBezTo>
                  <a:pt x="360" y="8"/>
                  <a:pt x="362" y="6"/>
                  <a:pt x="362" y="4"/>
                </a:cubicBezTo>
                <a:cubicBezTo>
                  <a:pt x="362" y="2"/>
                  <a:pt x="360" y="0"/>
                  <a:pt x="358" y="0"/>
                </a:cubicBezTo>
                <a:cubicBezTo>
                  <a:pt x="354" y="0"/>
                  <a:pt x="354" y="0"/>
                  <a:pt x="354" y="0"/>
                </a:cubicBezTo>
                <a:cubicBezTo>
                  <a:pt x="352" y="0"/>
                  <a:pt x="350" y="2"/>
                  <a:pt x="350" y="4"/>
                </a:cubicBezTo>
                <a:cubicBezTo>
                  <a:pt x="350" y="6"/>
                  <a:pt x="352" y="8"/>
                  <a:pt x="354" y="8"/>
                </a:cubicBezTo>
                <a:close/>
                <a:moveTo>
                  <a:pt x="330" y="8"/>
                </a:moveTo>
                <a:cubicBezTo>
                  <a:pt x="334" y="8"/>
                  <a:pt x="334" y="8"/>
                  <a:pt x="334" y="8"/>
                </a:cubicBezTo>
                <a:cubicBezTo>
                  <a:pt x="336" y="8"/>
                  <a:pt x="338" y="6"/>
                  <a:pt x="338" y="4"/>
                </a:cubicBezTo>
                <a:cubicBezTo>
                  <a:pt x="338" y="2"/>
                  <a:pt x="336" y="0"/>
                  <a:pt x="334" y="0"/>
                </a:cubicBezTo>
                <a:cubicBezTo>
                  <a:pt x="330" y="0"/>
                  <a:pt x="330" y="0"/>
                  <a:pt x="330" y="0"/>
                </a:cubicBezTo>
                <a:cubicBezTo>
                  <a:pt x="328" y="0"/>
                  <a:pt x="326" y="2"/>
                  <a:pt x="326" y="4"/>
                </a:cubicBezTo>
                <a:cubicBezTo>
                  <a:pt x="326" y="6"/>
                  <a:pt x="328" y="8"/>
                  <a:pt x="330" y="8"/>
                </a:cubicBezTo>
                <a:close/>
                <a:moveTo>
                  <a:pt x="306" y="8"/>
                </a:moveTo>
                <a:cubicBezTo>
                  <a:pt x="310" y="8"/>
                  <a:pt x="310" y="8"/>
                  <a:pt x="310" y="8"/>
                </a:cubicBezTo>
                <a:cubicBezTo>
                  <a:pt x="312" y="8"/>
                  <a:pt x="314" y="6"/>
                  <a:pt x="314" y="4"/>
                </a:cubicBezTo>
                <a:cubicBezTo>
                  <a:pt x="314" y="2"/>
                  <a:pt x="312" y="0"/>
                  <a:pt x="310" y="0"/>
                </a:cubicBezTo>
                <a:cubicBezTo>
                  <a:pt x="306" y="0"/>
                  <a:pt x="306" y="0"/>
                  <a:pt x="306" y="0"/>
                </a:cubicBezTo>
                <a:cubicBezTo>
                  <a:pt x="304" y="0"/>
                  <a:pt x="302" y="2"/>
                  <a:pt x="302" y="4"/>
                </a:cubicBezTo>
                <a:cubicBezTo>
                  <a:pt x="302" y="6"/>
                  <a:pt x="304" y="8"/>
                  <a:pt x="306" y="8"/>
                </a:cubicBezTo>
                <a:close/>
                <a:moveTo>
                  <a:pt x="282" y="8"/>
                </a:moveTo>
                <a:cubicBezTo>
                  <a:pt x="286" y="8"/>
                  <a:pt x="286" y="8"/>
                  <a:pt x="286" y="8"/>
                </a:cubicBezTo>
                <a:cubicBezTo>
                  <a:pt x="288" y="8"/>
                  <a:pt x="290" y="6"/>
                  <a:pt x="290" y="4"/>
                </a:cubicBezTo>
                <a:cubicBezTo>
                  <a:pt x="290" y="2"/>
                  <a:pt x="288" y="0"/>
                  <a:pt x="286" y="0"/>
                </a:cubicBezTo>
                <a:cubicBezTo>
                  <a:pt x="282" y="0"/>
                  <a:pt x="282" y="0"/>
                  <a:pt x="282" y="0"/>
                </a:cubicBezTo>
                <a:cubicBezTo>
                  <a:pt x="280" y="0"/>
                  <a:pt x="278" y="2"/>
                  <a:pt x="278" y="4"/>
                </a:cubicBezTo>
                <a:cubicBezTo>
                  <a:pt x="278" y="6"/>
                  <a:pt x="280" y="8"/>
                  <a:pt x="282" y="8"/>
                </a:cubicBezTo>
                <a:close/>
                <a:moveTo>
                  <a:pt x="258" y="8"/>
                </a:moveTo>
                <a:cubicBezTo>
                  <a:pt x="262" y="8"/>
                  <a:pt x="262" y="8"/>
                  <a:pt x="262" y="8"/>
                </a:cubicBezTo>
                <a:cubicBezTo>
                  <a:pt x="264" y="8"/>
                  <a:pt x="266" y="6"/>
                  <a:pt x="266" y="4"/>
                </a:cubicBezTo>
                <a:cubicBezTo>
                  <a:pt x="266" y="2"/>
                  <a:pt x="264" y="0"/>
                  <a:pt x="262" y="0"/>
                </a:cubicBezTo>
                <a:cubicBezTo>
                  <a:pt x="258" y="0"/>
                  <a:pt x="258" y="0"/>
                  <a:pt x="258" y="0"/>
                </a:cubicBezTo>
                <a:cubicBezTo>
                  <a:pt x="256" y="0"/>
                  <a:pt x="254" y="2"/>
                  <a:pt x="254" y="4"/>
                </a:cubicBezTo>
                <a:cubicBezTo>
                  <a:pt x="254" y="6"/>
                  <a:pt x="256" y="8"/>
                  <a:pt x="258" y="8"/>
                </a:cubicBezTo>
                <a:close/>
                <a:moveTo>
                  <a:pt x="234" y="8"/>
                </a:moveTo>
                <a:cubicBezTo>
                  <a:pt x="238" y="8"/>
                  <a:pt x="238" y="8"/>
                  <a:pt x="238" y="8"/>
                </a:cubicBezTo>
                <a:cubicBezTo>
                  <a:pt x="240" y="8"/>
                  <a:pt x="242" y="6"/>
                  <a:pt x="242" y="4"/>
                </a:cubicBezTo>
                <a:cubicBezTo>
                  <a:pt x="242" y="2"/>
                  <a:pt x="240" y="0"/>
                  <a:pt x="238" y="0"/>
                </a:cubicBezTo>
                <a:cubicBezTo>
                  <a:pt x="234" y="0"/>
                  <a:pt x="234" y="0"/>
                  <a:pt x="234" y="0"/>
                </a:cubicBezTo>
                <a:cubicBezTo>
                  <a:pt x="232" y="0"/>
                  <a:pt x="230" y="2"/>
                  <a:pt x="230" y="4"/>
                </a:cubicBezTo>
                <a:cubicBezTo>
                  <a:pt x="230" y="6"/>
                  <a:pt x="232" y="8"/>
                  <a:pt x="234" y="8"/>
                </a:cubicBezTo>
                <a:close/>
                <a:moveTo>
                  <a:pt x="210" y="8"/>
                </a:moveTo>
                <a:cubicBezTo>
                  <a:pt x="214" y="8"/>
                  <a:pt x="214" y="8"/>
                  <a:pt x="214" y="8"/>
                </a:cubicBezTo>
                <a:cubicBezTo>
                  <a:pt x="216" y="8"/>
                  <a:pt x="218" y="6"/>
                  <a:pt x="218" y="4"/>
                </a:cubicBezTo>
                <a:cubicBezTo>
                  <a:pt x="218" y="2"/>
                  <a:pt x="216" y="0"/>
                  <a:pt x="214" y="0"/>
                </a:cubicBezTo>
                <a:cubicBezTo>
                  <a:pt x="210" y="0"/>
                  <a:pt x="210" y="0"/>
                  <a:pt x="210" y="0"/>
                </a:cubicBezTo>
                <a:cubicBezTo>
                  <a:pt x="208" y="0"/>
                  <a:pt x="206" y="2"/>
                  <a:pt x="206" y="4"/>
                </a:cubicBezTo>
                <a:cubicBezTo>
                  <a:pt x="206" y="6"/>
                  <a:pt x="208" y="8"/>
                  <a:pt x="210" y="8"/>
                </a:cubicBezTo>
                <a:close/>
                <a:moveTo>
                  <a:pt x="186" y="8"/>
                </a:moveTo>
                <a:cubicBezTo>
                  <a:pt x="190" y="8"/>
                  <a:pt x="190" y="8"/>
                  <a:pt x="190" y="8"/>
                </a:cubicBezTo>
                <a:cubicBezTo>
                  <a:pt x="192" y="8"/>
                  <a:pt x="194" y="6"/>
                  <a:pt x="194" y="4"/>
                </a:cubicBezTo>
                <a:cubicBezTo>
                  <a:pt x="194" y="2"/>
                  <a:pt x="192" y="0"/>
                  <a:pt x="190" y="0"/>
                </a:cubicBezTo>
                <a:cubicBezTo>
                  <a:pt x="186" y="0"/>
                  <a:pt x="186" y="0"/>
                  <a:pt x="186" y="0"/>
                </a:cubicBezTo>
                <a:cubicBezTo>
                  <a:pt x="184" y="0"/>
                  <a:pt x="182" y="2"/>
                  <a:pt x="182" y="4"/>
                </a:cubicBezTo>
                <a:cubicBezTo>
                  <a:pt x="182" y="6"/>
                  <a:pt x="184" y="8"/>
                  <a:pt x="186" y="8"/>
                </a:cubicBezTo>
                <a:close/>
                <a:moveTo>
                  <a:pt x="188" y="26"/>
                </a:moveTo>
                <a:cubicBezTo>
                  <a:pt x="188" y="22"/>
                  <a:pt x="188" y="22"/>
                  <a:pt x="188" y="22"/>
                </a:cubicBezTo>
                <a:cubicBezTo>
                  <a:pt x="188" y="20"/>
                  <a:pt x="187" y="18"/>
                  <a:pt x="184" y="18"/>
                </a:cubicBezTo>
                <a:cubicBezTo>
                  <a:pt x="182" y="18"/>
                  <a:pt x="180" y="20"/>
                  <a:pt x="180" y="22"/>
                </a:cubicBezTo>
                <a:cubicBezTo>
                  <a:pt x="180" y="26"/>
                  <a:pt x="180" y="26"/>
                  <a:pt x="180" y="26"/>
                </a:cubicBezTo>
                <a:cubicBezTo>
                  <a:pt x="180" y="29"/>
                  <a:pt x="182" y="30"/>
                  <a:pt x="184" y="30"/>
                </a:cubicBezTo>
                <a:cubicBezTo>
                  <a:pt x="187" y="30"/>
                  <a:pt x="188" y="29"/>
                  <a:pt x="188" y="26"/>
                </a:cubicBezTo>
                <a:close/>
                <a:moveTo>
                  <a:pt x="188" y="50"/>
                </a:moveTo>
                <a:cubicBezTo>
                  <a:pt x="188" y="46"/>
                  <a:pt x="188" y="46"/>
                  <a:pt x="188" y="46"/>
                </a:cubicBezTo>
                <a:cubicBezTo>
                  <a:pt x="188" y="44"/>
                  <a:pt x="187" y="42"/>
                  <a:pt x="184" y="42"/>
                </a:cubicBezTo>
                <a:cubicBezTo>
                  <a:pt x="182" y="42"/>
                  <a:pt x="180" y="44"/>
                  <a:pt x="180" y="46"/>
                </a:cubicBezTo>
                <a:cubicBezTo>
                  <a:pt x="180" y="50"/>
                  <a:pt x="180" y="50"/>
                  <a:pt x="180" y="50"/>
                </a:cubicBezTo>
                <a:cubicBezTo>
                  <a:pt x="180" y="53"/>
                  <a:pt x="182" y="54"/>
                  <a:pt x="184" y="54"/>
                </a:cubicBezTo>
                <a:cubicBezTo>
                  <a:pt x="187" y="54"/>
                  <a:pt x="188" y="53"/>
                  <a:pt x="188" y="50"/>
                </a:cubicBezTo>
                <a:close/>
                <a:moveTo>
                  <a:pt x="188" y="74"/>
                </a:moveTo>
                <a:cubicBezTo>
                  <a:pt x="188" y="70"/>
                  <a:pt x="188" y="70"/>
                  <a:pt x="188" y="70"/>
                </a:cubicBezTo>
                <a:cubicBezTo>
                  <a:pt x="188" y="68"/>
                  <a:pt x="187" y="66"/>
                  <a:pt x="184" y="66"/>
                </a:cubicBezTo>
                <a:cubicBezTo>
                  <a:pt x="182" y="66"/>
                  <a:pt x="180" y="68"/>
                  <a:pt x="180" y="70"/>
                </a:cubicBezTo>
                <a:cubicBezTo>
                  <a:pt x="180" y="74"/>
                  <a:pt x="180" y="74"/>
                  <a:pt x="180" y="74"/>
                </a:cubicBezTo>
                <a:cubicBezTo>
                  <a:pt x="180" y="77"/>
                  <a:pt x="182" y="78"/>
                  <a:pt x="184" y="78"/>
                </a:cubicBezTo>
                <a:cubicBezTo>
                  <a:pt x="187" y="78"/>
                  <a:pt x="188" y="77"/>
                  <a:pt x="188" y="74"/>
                </a:cubicBezTo>
                <a:close/>
                <a:moveTo>
                  <a:pt x="188" y="98"/>
                </a:moveTo>
                <a:cubicBezTo>
                  <a:pt x="188" y="94"/>
                  <a:pt x="188" y="94"/>
                  <a:pt x="188" y="94"/>
                </a:cubicBezTo>
                <a:cubicBezTo>
                  <a:pt x="188" y="92"/>
                  <a:pt x="187" y="90"/>
                  <a:pt x="184" y="90"/>
                </a:cubicBezTo>
                <a:cubicBezTo>
                  <a:pt x="182" y="90"/>
                  <a:pt x="180" y="92"/>
                  <a:pt x="180" y="94"/>
                </a:cubicBezTo>
                <a:cubicBezTo>
                  <a:pt x="180" y="98"/>
                  <a:pt x="180" y="98"/>
                  <a:pt x="180" y="98"/>
                </a:cubicBezTo>
                <a:cubicBezTo>
                  <a:pt x="180" y="101"/>
                  <a:pt x="182" y="102"/>
                  <a:pt x="184" y="102"/>
                </a:cubicBezTo>
                <a:cubicBezTo>
                  <a:pt x="187" y="102"/>
                  <a:pt x="188" y="101"/>
                  <a:pt x="188" y="98"/>
                </a:cubicBezTo>
                <a:close/>
                <a:moveTo>
                  <a:pt x="188" y="122"/>
                </a:moveTo>
                <a:cubicBezTo>
                  <a:pt x="188" y="118"/>
                  <a:pt x="188" y="118"/>
                  <a:pt x="188" y="118"/>
                </a:cubicBezTo>
                <a:cubicBezTo>
                  <a:pt x="188" y="116"/>
                  <a:pt x="187" y="114"/>
                  <a:pt x="184" y="114"/>
                </a:cubicBezTo>
                <a:cubicBezTo>
                  <a:pt x="182" y="114"/>
                  <a:pt x="180" y="116"/>
                  <a:pt x="180" y="118"/>
                </a:cubicBezTo>
                <a:cubicBezTo>
                  <a:pt x="180" y="122"/>
                  <a:pt x="180" y="122"/>
                  <a:pt x="180" y="122"/>
                </a:cubicBezTo>
                <a:cubicBezTo>
                  <a:pt x="180" y="125"/>
                  <a:pt x="182" y="126"/>
                  <a:pt x="184" y="126"/>
                </a:cubicBezTo>
                <a:cubicBezTo>
                  <a:pt x="187" y="126"/>
                  <a:pt x="188" y="125"/>
                  <a:pt x="188" y="122"/>
                </a:cubicBezTo>
                <a:close/>
                <a:moveTo>
                  <a:pt x="188" y="146"/>
                </a:moveTo>
                <a:cubicBezTo>
                  <a:pt x="188" y="142"/>
                  <a:pt x="188" y="142"/>
                  <a:pt x="188" y="142"/>
                </a:cubicBezTo>
                <a:cubicBezTo>
                  <a:pt x="188" y="140"/>
                  <a:pt x="187" y="138"/>
                  <a:pt x="184" y="138"/>
                </a:cubicBezTo>
                <a:cubicBezTo>
                  <a:pt x="182" y="138"/>
                  <a:pt x="180" y="140"/>
                  <a:pt x="180" y="142"/>
                </a:cubicBezTo>
                <a:cubicBezTo>
                  <a:pt x="180" y="146"/>
                  <a:pt x="180" y="146"/>
                  <a:pt x="180" y="146"/>
                </a:cubicBezTo>
                <a:cubicBezTo>
                  <a:pt x="180" y="149"/>
                  <a:pt x="182" y="150"/>
                  <a:pt x="184" y="150"/>
                </a:cubicBezTo>
                <a:cubicBezTo>
                  <a:pt x="187" y="150"/>
                  <a:pt x="188" y="149"/>
                  <a:pt x="188" y="146"/>
                </a:cubicBezTo>
                <a:close/>
                <a:moveTo>
                  <a:pt x="188" y="170"/>
                </a:moveTo>
                <a:cubicBezTo>
                  <a:pt x="188" y="166"/>
                  <a:pt x="188" y="166"/>
                  <a:pt x="188" y="166"/>
                </a:cubicBezTo>
                <a:cubicBezTo>
                  <a:pt x="188" y="164"/>
                  <a:pt x="187" y="162"/>
                  <a:pt x="184" y="162"/>
                </a:cubicBezTo>
                <a:cubicBezTo>
                  <a:pt x="182" y="162"/>
                  <a:pt x="180" y="164"/>
                  <a:pt x="180" y="166"/>
                </a:cubicBezTo>
                <a:cubicBezTo>
                  <a:pt x="180" y="170"/>
                  <a:pt x="180" y="170"/>
                  <a:pt x="180" y="170"/>
                </a:cubicBezTo>
                <a:cubicBezTo>
                  <a:pt x="180" y="173"/>
                  <a:pt x="182" y="174"/>
                  <a:pt x="184" y="174"/>
                </a:cubicBezTo>
                <a:cubicBezTo>
                  <a:pt x="187" y="174"/>
                  <a:pt x="188" y="173"/>
                  <a:pt x="188" y="170"/>
                </a:cubicBezTo>
                <a:close/>
                <a:moveTo>
                  <a:pt x="188" y="194"/>
                </a:moveTo>
                <a:cubicBezTo>
                  <a:pt x="188" y="190"/>
                  <a:pt x="188" y="190"/>
                  <a:pt x="188" y="190"/>
                </a:cubicBezTo>
                <a:cubicBezTo>
                  <a:pt x="188" y="188"/>
                  <a:pt x="187" y="186"/>
                  <a:pt x="184" y="186"/>
                </a:cubicBezTo>
                <a:cubicBezTo>
                  <a:pt x="182" y="186"/>
                  <a:pt x="180" y="188"/>
                  <a:pt x="180" y="190"/>
                </a:cubicBezTo>
                <a:cubicBezTo>
                  <a:pt x="180" y="194"/>
                  <a:pt x="180" y="194"/>
                  <a:pt x="180" y="194"/>
                </a:cubicBezTo>
                <a:cubicBezTo>
                  <a:pt x="180" y="197"/>
                  <a:pt x="182" y="198"/>
                  <a:pt x="184" y="198"/>
                </a:cubicBezTo>
                <a:cubicBezTo>
                  <a:pt x="187" y="198"/>
                  <a:pt x="188" y="197"/>
                  <a:pt x="188" y="194"/>
                </a:cubicBezTo>
                <a:close/>
                <a:moveTo>
                  <a:pt x="172" y="210"/>
                </a:moveTo>
                <a:cubicBezTo>
                  <a:pt x="176" y="210"/>
                  <a:pt x="176" y="210"/>
                  <a:pt x="176" y="210"/>
                </a:cubicBezTo>
                <a:cubicBezTo>
                  <a:pt x="179" y="210"/>
                  <a:pt x="180" y="209"/>
                  <a:pt x="180" y="206"/>
                </a:cubicBezTo>
                <a:cubicBezTo>
                  <a:pt x="180" y="204"/>
                  <a:pt x="179" y="202"/>
                  <a:pt x="176" y="202"/>
                </a:cubicBezTo>
                <a:cubicBezTo>
                  <a:pt x="172" y="202"/>
                  <a:pt x="172" y="202"/>
                  <a:pt x="172" y="202"/>
                </a:cubicBezTo>
                <a:cubicBezTo>
                  <a:pt x="170" y="202"/>
                  <a:pt x="168" y="204"/>
                  <a:pt x="168" y="206"/>
                </a:cubicBezTo>
                <a:cubicBezTo>
                  <a:pt x="168" y="209"/>
                  <a:pt x="170" y="210"/>
                  <a:pt x="172" y="210"/>
                </a:cubicBezTo>
                <a:close/>
                <a:moveTo>
                  <a:pt x="148" y="210"/>
                </a:moveTo>
                <a:cubicBezTo>
                  <a:pt x="152" y="210"/>
                  <a:pt x="152" y="210"/>
                  <a:pt x="152" y="210"/>
                </a:cubicBezTo>
                <a:cubicBezTo>
                  <a:pt x="155" y="210"/>
                  <a:pt x="156" y="209"/>
                  <a:pt x="156" y="206"/>
                </a:cubicBezTo>
                <a:cubicBezTo>
                  <a:pt x="156" y="204"/>
                  <a:pt x="155" y="202"/>
                  <a:pt x="152" y="202"/>
                </a:cubicBezTo>
                <a:cubicBezTo>
                  <a:pt x="148" y="202"/>
                  <a:pt x="148" y="202"/>
                  <a:pt x="148" y="202"/>
                </a:cubicBezTo>
                <a:cubicBezTo>
                  <a:pt x="146" y="202"/>
                  <a:pt x="144" y="204"/>
                  <a:pt x="144" y="206"/>
                </a:cubicBezTo>
                <a:cubicBezTo>
                  <a:pt x="144" y="209"/>
                  <a:pt x="146" y="210"/>
                  <a:pt x="148" y="210"/>
                </a:cubicBezTo>
                <a:close/>
                <a:moveTo>
                  <a:pt x="124" y="210"/>
                </a:moveTo>
                <a:cubicBezTo>
                  <a:pt x="128" y="210"/>
                  <a:pt x="128" y="210"/>
                  <a:pt x="128" y="210"/>
                </a:cubicBezTo>
                <a:cubicBezTo>
                  <a:pt x="131" y="210"/>
                  <a:pt x="132" y="209"/>
                  <a:pt x="132" y="206"/>
                </a:cubicBezTo>
                <a:cubicBezTo>
                  <a:pt x="132" y="204"/>
                  <a:pt x="131" y="202"/>
                  <a:pt x="128" y="202"/>
                </a:cubicBezTo>
                <a:cubicBezTo>
                  <a:pt x="124" y="202"/>
                  <a:pt x="124" y="202"/>
                  <a:pt x="124" y="202"/>
                </a:cubicBezTo>
                <a:cubicBezTo>
                  <a:pt x="122" y="202"/>
                  <a:pt x="120" y="204"/>
                  <a:pt x="120" y="206"/>
                </a:cubicBezTo>
                <a:cubicBezTo>
                  <a:pt x="120" y="209"/>
                  <a:pt x="122" y="210"/>
                  <a:pt x="124" y="210"/>
                </a:cubicBezTo>
                <a:close/>
                <a:moveTo>
                  <a:pt x="100" y="210"/>
                </a:moveTo>
                <a:cubicBezTo>
                  <a:pt x="104" y="210"/>
                  <a:pt x="104" y="210"/>
                  <a:pt x="104" y="210"/>
                </a:cubicBezTo>
                <a:cubicBezTo>
                  <a:pt x="107" y="210"/>
                  <a:pt x="108" y="209"/>
                  <a:pt x="108" y="206"/>
                </a:cubicBezTo>
                <a:cubicBezTo>
                  <a:pt x="108" y="204"/>
                  <a:pt x="107" y="202"/>
                  <a:pt x="104" y="202"/>
                </a:cubicBezTo>
                <a:cubicBezTo>
                  <a:pt x="100" y="202"/>
                  <a:pt x="100" y="202"/>
                  <a:pt x="100" y="202"/>
                </a:cubicBezTo>
                <a:cubicBezTo>
                  <a:pt x="98" y="202"/>
                  <a:pt x="96" y="204"/>
                  <a:pt x="96" y="206"/>
                </a:cubicBezTo>
                <a:cubicBezTo>
                  <a:pt x="96" y="209"/>
                  <a:pt x="98" y="210"/>
                  <a:pt x="100" y="210"/>
                </a:cubicBezTo>
                <a:close/>
                <a:moveTo>
                  <a:pt x="76" y="210"/>
                </a:moveTo>
                <a:cubicBezTo>
                  <a:pt x="80" y="210"/>
                  <a:pt x="80" y="210"/>
                  <a:pt x="80" y="210"/>
                </a:cubicBezTo>
                <a:cubicBezTo>
                  <a:pt x="83" y="210"/>
                  <a:pt x="84" y="209"/>
                  <a:pt x="84" y="206"/>
                </a:cubicBezTo>
                <a:cubicBezTo>
                  <a:pt x="84" y="204"/>
                  <a:pt x="83" y="202"/>
                  <a:pt x="80" y="202"/>
                </a:cubicBezTo>
                <a:cubicBezTo>
                  <a:pt x="76" y="202"/>
                  <a:pt x="76" y="202"/>
                  <a:pt x="76" y="202"/>
                </a:cubicBezTo>
                <a:cubicBezTo>
                  <a:pt x="74" y="202"/>
                  <a:pt x="72" y="204"/>
                  <a:pt x="72" y="206"/>
                </a:cubicBezTo>
                <a:cubicBezTo>
                  <a:pt x="72" y="209"/>
                  <a:pt x="74" y="210"/>
                  <a:pt x="76" y="210"/>
                </a:cubicBezTo>
                <a:close/>
                <a:moveTo>
                  <a:pt x="52" y="210"/>
                </a:moveTo>
                <a:cubicBezTo>
                  <a:pt x="56" y="210"/>
                  <a:pt x="56" y="210"/>
                  <a:pt x="56" y="210"/>
                </a:cubicBezTo>
                <a:cubicBezTo>
                  <a:pt x="59" y="210"/>
                  <a:pt x="60" y="209"/>
                  <a:pt x="60" y="206"/>
                </a:cubicBezTo>
                <a:cubicBezTo>
                  <a:pt x="60" y="204"/>
                  <a:pt x="59" y="202"/>
                  <a:pt x="56" y="202"/>
                </a:cubicBezTo>
                <a:cubicBezTo>
                  <a:pt x="52" y="202"/>
                  <a:pt x="52" y="202"/>
                  <a:pt x="52" y="202"/>
                </a:cubicBezTo>
                <a:cubicBezTo>
                  <a:pt x="50" y="202"/>
                  <a:pt x="48" y="204"/>
                  <a:pt x="48" y="206"/>
                </a:cubicBezTo>
                <a:cubicBezTo>
                  <a:pt x="48" y="209"/>
                  <a:pt x="50" y="210"/>
                  <a:pt x="52" y="210"/>
                </a:cubicBezTo>
                <a:close/>
                <a:moveTo>
                  <a:pt x="28" y="210"/>
                </a:moveTo>
                <a:cubicBezTo>
                  <a:pt x="32" y="210"/>
                  <a:pt x="32" y="210"/>
                  <a:pt x="32" y="210"/>
                </a:cubicBezTo>
                <a:cubicBezTo>
                  <a:pt x="35" y="210"/>
                  <a:pt x="36" y="209"/>
                  <a:pt x="36" y="206"/>
                </a:cubicBezTo>
                <a:cubicBezTo>
                  <a:pt x="36" y="204"/>
                  <a:pt x="35" y="202"/>
                  <a:pt x="32" y="202"/>
                </a:cubicBezTo>
                <a:cubicBezTo>
                  <a:pt x="28" y="202"/>
                  <a:pt x="28" y="202"/>
                  <a:pt x="28" y="202"/>
                </a:cubicBezTo>
                <a:cubicBezTo>
                  <a:pt x="26" y="202"/>
                  <a:pt x="24" y="204"/>
                  <a:pt x="24" y="206"/>
                </a:cubicBezTo>
                <a:cubicBezTo>
                  <a:pt x="24" y="209"/>
                  <a:pt x="26" y="210"/>
                  <a:pt x="28" y="210"/>
                </a:cubicBezTo>
                <a:close/>
                <a:moveTo>
                  <a:pt x="4" y="210"/>
                </a:moveTo>
                <a:cubicBezTo>
                  <a:pt x="8" y="210"/>
                  <a:pt x="8" y="210"/>
                  <a:pt x="8" y="210"/>
                </a:cubicBezTo>
                <a:cubicBezTo>
                  <a:pt x="11" y="210"/>
                  <a:pt x="12" y="209"/>
                  <a:pt x="12" y="206"/>
                </a:cubicBezTo>
                <a:cubicBezTo>
                  <a:pt x="12" y="204"/>
                  <a:pt x="11" y="202"/>
                  <a:pt x="8" y="202"/>
                </a:cubicBezTo>
                <a:cubicBezTo>
                  <a:pt x="4" y="202"/>
                  <a:pt x="4" y="202"/>
                  <a:pt x="4" y="202"/>
                </a:cubicBezTo>
                <a:cubicBezTo>
                  <a:pt x="2" y="202"/>
                  <a:pt x="0" y="204"/>
                  <a:pt x="0" y="206"/>
                </a:cubicBezTo>
                <a:cubicBezTo>
                  <a:pt x="0" y="209"/>
                  <a:pt x="2" y="210"/>
                  <a:pt x="4" y="210"/>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54"/>
          <p:cNvSpPr>
            <a:spLocks/>
          </p:cNvSpPr>
          <p:nvPr/>
        </p:nvSpPr>
        <p:spPr bwMode="auto">
          <a:xfrm>
            <a:off x="8564869" y="5924324"/>
            <a:ext cx="759184" cy="432229"/>
          </a:xfrm>
          <a:custGeom>
            <a:avLst/>
            <a:gdLst>
              <a:gd name="T0" fmla="*/ 750 w 750"/>
              <a:gd name="T1" fmla="*/ 408 h 427"/>
              <a:gd name="T2" fmla="*/ 302 w 750"/>
              <a:gd name="T3" fmla="*/ 408 h 427"/>
              <a:gd name="T4" fmla="*/ 302 w 750"/>
              <a:gd name="T5" fmla="*/ 0 h 427"/>
              <a:gd name="T6" fmla="*/ 0 w 750"/>
              <a:gd name="T7" fmla="*/ 0 h 427"/>
              <a:gd name="T8" fmla="*/ 0 w 750"/>
              <a:gd name="T9" fmla="*/ 16 h 427"/>
              <a:gd name="T10" fmla="*/ 283 w 750"/>
              <a:gd name="T11" fmla="*/ 16 h 427"/>
              <a:gd name="T12" fmla="*/ 283 w 750"/>
              <a:gd name="T13" fmla="*/ 427 h 427"/>
              <a:gd name="T14" fmla="*/ 750 w 750"/>
              <a:gd name="T15" fmla="*/ 427 h 427"/>
              <a:gd name="T16" fmla="*/ 750 w 750"/>
              <a:gd name="T17" fmla="*/ 408 h 427"/>
              <a:gd name="T18" fmla="*/ 750 w 750"/>
              <a:gd name="T19" fmla="*/ 408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0" h="427">
                <a:moveTo>
                  <a:pt x="750" y="408"/>
                </a:moveTo>
                <a:lnTo>
                  <a:pt x="302" y="408"/>
                </a:lnTo>
                <a:lnTo>
                  <a:pt x="302" y="0"/>
                </a:lnTo>
                <a:lnTo>
                  <a:pt x="0" y="0"/>
                </a:lnTo>
                <a:lnTo>
                  <a:pt x="0" y="16"/>
                </a:lnTo>
                <a:lnTo>
                  <a:pt x="283" y="16"/>
                </a:lnTo>
                <a:lnTo>
                  <a:pt x="283" y="427"/>
                </a:lnTo>
                <a:lnTo>
                  <a:pt x="750" y="427"/>
                </a:lnTo>
                <a:lnTo>
                  <a:pt x="750" y="408"/>
                </a:lnTo>
                <a:lnTo>
                  <a:pt x="750" y="408"/>
                </a:ln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55" name="Freeform 255"/>
          <p:cNvSpPr>
            <a:spLocks noEditPoints="1"/>
          </p:cNvSpPr>
          <p:nvPr/>
        </p:nvSpPr>
        <p:spPr bwMode="auto">
          <a:xfrm>
            <a:off x="8543612" y="6000243"/>
            <a:ext cx="948474" cy="279380"/>
          </a:xfrm>
          <a:custGeom>
            <a:avLst/>
            <a:gdLst>
              <a:gd name="T0" fmla="*/ 4 w 395"/>
              <a:gd name="T1" fmla="*/ 8 h 116"/>
              <a:gd name="T2" fmla="*/ 26 w 395"/>
              <a:gd name="T3" fmla="*/ 0 h 116"/>
              <a:gd name="T4" fmla="*/ 26 w 395"/>
              <a:gd name="T5" fmla="*/ 8 h 116"/>
              <a:gd name="T6" fmla="*/ 41 w 395"/>
              <a:gd name="T7" fmla="*/ 0 h 116"/>
              <a:gd name="T8" fmla="*/ 48 w 395"/>
              <a:gd name="T9" fmla="*/ 4 h 116"/>
              <a:gd name="T10" fmla="*/ 55 w 395"/>
              <a:gd name="T11" fmla="*/ 4 h 116"/>
              <a:gd name="T12" fmla="*/ 62 w 395"/>
              <a:gd name="T13" fmla="*/ 0 h 116"/>
              <a:gd name="T14" fmla="*/ 77 w 395"/>
              <a:gd name="T15" fmla="*/ 8 h 116"/>
              <a:gd name="T16" fmla="*/ 98 w 395"/>
              <a:gd name="T17" fmla="*/ 0 h 116"/>
              <a:gd name="T18" fmla="*/ 98 w 395"/>
              <a:gd name="T19" fmla="*/ 8 h 116"/>
              <a:gd name="T20" fmla="*/ 114 w 395"/>
              <a:gd name="T21" fmla="*/ 0 h 116"/>
              <a:gd name="T22" fmla="*/ 121 w 395"/>
              <a:gd name="T23" fmla="*/ 4 h 116"/>
              <a:gd name="T24" fmla="*/ 128 w 395"/>
              <a:gd name="T25" fmla="*/ 4 h 116"/>
              <a:gd name="T26" fmla="*/ 135 w 395"/>
              <a:gd name="T27" fmla="*/ 0 h 116"/>
              <a:gd name="T28" fmla="*/ 150 w 395"/>
              <a:gd name="T29" fmla="*/ 8 h 116"/>
              <a:gd name="T30" fmla="*/ 171 w 395"/>
              <a:gd name="T31" fmla="*/ 0 h 116"/>
              <a:gd name="T32" fmla="*/ 171 w 395"/>
              <a:gd name="T33" fmla="*/ 8 h 116"/>
              <a:gd name="T34" fmla="*/ 186 w 395"/>
              <a:gd name="T35" fmla="*/ 0 h 116"/>
              <a:gd name="T36" fmla="*/ 194 w 395"/>
              <a:gd name="T37" fmla="*/ 4 h 116"/>
              <a:gd name="T38" fmla="*/ 201 w 395"/>
              <a:gd name="T39" fmla="*/ 4 h 116"/>
              <a:gd name="T40" fmla="*/ 208 w 395"/>
              <a:gd name="T41" fmla="*/ 0 h 116"/>
              <a:gd name="T42" fmla="*/ 223 w 395"/>
              <a:gd name="T43" fmla="*/ 8 h 116"/>
              <a:gd name="T44" fmla="*/ 248 w 395"/>
              <a:gd name="T45" fmla="*/ 4 h 116"/>
              <a:gd name="T46" fmla="*/ 241 w 395"/>
              <a:gd name="T47" fmla="*/ 0 h 116"/>
              <a:gd name="T48" fmla="*/ 244 w 395"/>
              <a:gd name="T49" fmla="*/ 4 h 116"/>
              <a:gd name="T50" fmla="*/ 248 w 395"/>
              <a:gd name="T51" fmla="*/ 4 h 116"/>
              <a:gd name="T52" fmla="*/ 240 w 395"/>
              <a:gd name="T53" fmla="*/ 19 h 116"/>
              <a:gd name="T54" fmla="*/ 248 w 395"/>
              <a:gd name="T55" fmla="*/ 41 h 116"/>
              <a:gd name="T56" fmla="*/ 240 w 395"/>
              <a:gd name="T57" fmla="*/ 41 h 116"/>
              <a:gd name="T58" fmla="*/ 248 w 395"/>
              <a:gd name="T59" fmla="*/ 56 h 116"/>
              <a:gd name="T60" fmla="*/ 244 w 395"/>
              <a:gd name="T61" fmla="*/ 63 h 116"/>
              <a:gd name="T62" fmla="*/ 244 w 395"/>
              <a:gd name="T63" fmla="*/ 70 h 116"/>
              <a:gd name="T64" fmla="*/ 248 w 395"/>
              <a:gd name="T65" fmla="*/ 77 h 116"/>
              <a:gd name="T66" fmla="*/ 240 w 395"/>
              <a:gd name="T67" fmla="*/ 92 h 116"/>
              <a:gd name="T68" fmla="*/ 245 w 395"/>
              <a:gd name="T69" fmla="*/ 108 h 116"/>
              <a:gd name="T70" fmla="*/ 248 w 395"/>
              <a:gd name="T71" fmla="*/ 110 h 116"/>
              <a:gd name="T72" fmla="*/ 241 w 395"/>
              <a:gd name="T73" fmla="*/ 114 h 116"/>
              <a:gd name="T74" fmla="*/ 245 w 395"/>
              <a:gd name="T75" fmla="*/ 108 h 116"/>
              <a:gd name="T76" fmla="*/ 261 w 395"/>
              <a:gd name="T77" fmla="*/ 116 h 116"/>
              <a:gd name="T78" fmla="*/ 282 w 395"/>
              <a:gd name="T79" fmla="*/ 108 h 116"/>
              <a:gd name="T80" fmla="*/ 282 w 395"/>
              <a:gd name="T81" fmla="*/ 116 h 116"/>
              <a:gd name="T82" fmla="*/ 297 w 395"/>
              <a:gd name="T83" fmla="*/ 108 h 116"/>
              <a:gd name="T84" fmla="*/ 304 w 395"/>
              <a:gd name="T85" fmla="*/ 112 h 116"/>
              <a:gd name="T86" fmla="*/ 311 w 395"/>
              <a:gd name="T87" fmla="*/ 112 h 116"/>
              <a:gd name="T88" fmla="*/ 318 w 395"/>
              <a:gd name="T89" fmla="*/ 108 h 116"/>
              <a:gd name="T90" fmla="*/ 334 w 395"/>
              <a:gd name="T91" fmla="*/ 116 h 116"/>
              <a:gd name="T92" fmla="*/ 355 w 395"/>
              <a:gd name="T93" fmla="*/ 108 h 116"/>
              <a:gd name="T94" fmla="*/ 355 w 395"/>
              <a:gd name="T95" fmla="*/ 116 h 116"/>
              <a:gd name="T96" fmla="*/ 370 w 395"/>
              <a:gd name="T97" fmla="*/ 108 h 116"/>
              <a:gd name="T98" fmla="*/ 377 w 395"/>
              <a:gd name="T99" fmla="*/ 112 h 116"/>
              <a:gd name="T100" fmla="*/ 384 w 395"/>
              <a:gd name="T101" fmla="*/ 112 h 116"/>
              <a:gd name="T102" fmla="*/ 391 w 395"/>
              <a:gd name="T103"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5" h="116">
                <a:moveTo>
                  <a:pt x="7" y="0"/>
                </a:moveTo>
                <a:cubicBezTo>
                  <a:pt x="4" y="0"/>
                  <a:pt x="4" y="0"/>
                  <a:pt x="4" y="0"/>
                </a:cubicBezTo>
                <a:cubicBezTo>
                  <a:pt x="2" y="0"/>
                  <a:pt x="0" y="1"/>
                  <a:pt x="0" y="4"/>
                </a:cubicBezTo>
                <a:cubicBezTo>
                  <a:pt x="0" y="6"/>
                  <a:pt x="2" y="8"/>
                  <a:pt x="4" y="8"/>
                </a:cubicBezTo>
                <a:cubicBezTo>
                  <a:pt x="7" y="8"/>
                  <a:pt x="7" y="8"/>
                  <a:pt x="7" y="8"/>
                </a:cubicBezTo>
                <a:cubicBezTo>
                  <a:pt x="10" y="8"/>
                  <a:pt x="11" y="6"/>
                  <a:pt x="11" y="4"/>
                </a:cubicBezTo>
                <a:cubicBezTo>
                  <a:pt x="11" y="1"/>
                  <a:pt x="10" y="0"/>
                  <a:pt x="7" y="0"/>
                </a:cubicBezTo>
                <a:close/>
                <a:moveTo>
                  <a:pt x="26" y="0"/>
                </a:moveTo>
                <a:cubicBezTo>
                  <a:pt x="23" y="0"/>
                  <a:pt x="23" y="0"/>
                  <a:pt x="23" y="0"/>
                </a:cubicBezTo>
                <a:cubicBezTo>
                  <a:pt x="20" y="0"/>
                  <a:pt x="19" y="1"/>
                  <a:pt x="19" y="4"/>
                </a:cubicBezTo>
                <a:cubicBezTo>
                  <a:pt x="19" y="6"/>
                  <a:pt x="20" y="8"/>
                  <a:pt x="23" y="8"/>
                </a:cubicBezTo>
                <a:cubicBezTo>
                  <a:pt x="26" y="8"/>
                  <a:pt x="26" y="8"/>
                  <a:pt x="26" y="8"/>
                </a:cubicBezTo>
                <a:cubicBezTo>
                  <a:pt x="28" y="8"/>
                  <a:pt x="30" y="6"/>
                  <a:pt x="30" y="4"/>
                </a:cubicBezTo>
                <a:cubicBezTo>
                  <a:pt x="30" y="1"/>
                  <a:pt x="28" y="0"/>
                  <a:pt x="26" y="0"/>
                </a:cubicBezTo>
                <a:close/>
                <a:moveTo>
                  <a:pt x="44" y="0"/>
                </a:moveTo>
                <a:cubicBezTo>
                  <a:pt x="41" y="0"/>
                  <a:pt x="41" y="0"/>
                  <a:pt x="41" y="0"/>
                </a:cubicBezTo>
                <a:cubicBezTo>
                  <a:pt x="39" y="0"/>
                  <a:pt x="37" y="1"/>
                  <a:pt x="37" y="4"/>
                </a:cubicBezTo>
                <a:cubicBezTo>
                  <a:pt x="37" y="6"/>
                  <a:pt x="39" y="8"/>
                  <a:pt x="41" y="8"/>
                </a:cubicBezTo>
                <a:cubicBezTo>
                  <a:pt x="44" y="8"/>
                  <a:pt x="44" y="8"/>
                  <a:pt x="44" y="8"/>
                </a:cubicBezTo>
                <a:cubicBezTo>
                  <a:pt x="46" y="8"/>
                  <a:pt x="48" y="6"/>
                  <a:pt x="48" y="4"/>
                </a:cubicBezTo>
                <a:cubicBezTo>
                  <a:pt x="48" y="1"/>
                  <a:pt x="46" y="0"/>
                  <a:pt x="44" y="0"/>
                </a:cubicBezTo>
                <a:close/>
                <a:moveTo>
                  <a:pt x="62" y="0"/>
                </a:moveTo>
                <a:cubicBezTo>
                  <a:pt x="59" y="0"/>
                  <a:pt x="59" y="0"/>
                  <a:pt x="59" y="0"/>
                </a:cubicBezTo>
                <a:cubicBezTo>
                  <a:pt x="57" y="0"/>
                  <a:pt x="55" y="1"/>
                  <a:pt x="55" y="4"/>
                </a:cubicBezTo>
                <a:cubicBezTo>
                  <a:pt x="55" y="6"/>
                  <a:pt x="57" y="8"/>
                  <a:pt x="59" y="8"/>
                </a:cubicBezTo>
                <a:cubicBezTo>
                  <a:pt x="62" y="8"/>
                  <a:pt x="62" y="8"/>
                  <a:pt x="62" y="8"/>
                </a:cubicBezTo>
                <a:cubicBezTo>
                  <a:pt x="64" y="8"/>
                  <a:pt x="66" y="6"/>
                  <a:pt x="66" y="4"/>
                </a:cubicBezTo>
                <a:cubicBezTo>
                  <a:pt x="66" y="1"/>
                  <a:pt x="64" y="0"/>
                  <a:pt x="62" y="0"/>
                </a:cubicBezTo>
                <a:close/>
                <a:moveTo>
                  <a:pt x="80" y="0"/>
                </a:moveTo>
                <a:cubicBezTo>
                  <a:pt x="77" y="0"/>
                  <a:pt x="77" y="0"/>
                  <a:pt x="77" y="0"/>
                </a:cubicBezTo>
                <a:cubicBezTo>
                  <a:pt x="75" y="0"/>
                  <a:pt x="73" y="1"/>
                  <a:pt x="73" y="4"/>
                </a:cubicBezTo>
                <a:cubicBezTo>
                  <a:pt x="73" y="6"/>
                  <a:pt x="75" y="8"/>
                  <a:pt x="77" y="8"/>
                </a:cubicBezTo>
                <a:cubicBezTo>
                  <a:pt x="80" y="8"/>
                  <a:pt x="80" y="8"/>
                  <a:pt x="80" y="8"/>
                </a:cubicBezTo>
                <a:cubicBezTo>
                  <a:pt x="82" y="8"/>
                  <a:pt x="84" y="6"/>
                  <a:pt x="84" y="4"/>
                </a:cubicBezTo>
                <a:cubicBezTo>
                  <a:pt x="84" y="1"/>
                  <a:pt x="82" y="0"/>
                  <a:pt x="80" y="0"/>
                </a:cubicBezTo>
                <a:close/>
                <a:moveTo>
                  <a:pt x="98" y="0"/>
                </a:moveTo>
                <a:cubicBezTo>
                  <a:pt x="95" y="0"/>
                  <a:pt x="95" y="0"/>
                  <a:pt x="95" y="0"/>
                </a:cubicBezTo>
                <a:cubicBezTo>
                  <a:pt x="93" y="0"/>
                  <a:pt x="91" y="1"/>
                  <a:pt x="91" y="4"/>
                </a:cubicBezTo>
                <a:cubicBezTo>
                  <a:pt x="91" y="6"/>
                  <a:pt x="93" y="8"/>
                  <a:pt x="95" y="8"/>
                </a:cubicBezTo>
                <a:cubicBezTo>
                  <a:pt x="98" y="8"/>
                  <a:pt x="98" y="8"/>
                  <a:pt x="98" y="8"/>
                </a:cubicBezTo>
                <a:cubicBezTo>
                  <a:pt x="101" y="8"/>
                  <a:pt x="102" y="6"/>
                  <a:pt x="102" y="4"/>
                </a:cubicBezTo>
                <a:cubicBezTo>
                  <a:pt x="102" y="1"/>
                  <a:pt x="101" y="0"/>
                  <a:pt x="98" y="0"/>
                </a:cubicBezTo>
                <a:close/>
                <a:moveTo>
                  <a:pt x="117" y="0"/>
                </a:moveTo>
                <a:cubicBezTo>
                  <a:pt x="114" y="0"/>
                  <a:pt x="114" y="0"/>
                  <a:pt x="114" y="0"/>
                </a:cubicBezTo>
                <a:cubicBezTo>
                  <a:pt x="111" y="0"/>
                  <a:pt x="110" y="1"/>
                  <a:pt x="110" y="4"/>
                </a:cubicBezTo>
                <a:cubicBezTo>
                  <a:pt x="110" y="6"/>
                  <a:pt x="111" y="8"/>
                  <a:pt x="114" y="8"/>
                </a:cubicBezTo>
                <a:cubicBezTo>
                  <a:pt x="117" y="8"/>
                  <a:pt x="117" y="8"/>
                  <a:pt x="117" y="8"/>
                </a:cubicBezTo>
                <a:cubicBezTo>
                  <a:pt x="119" y="8"/>
                  <a:pt x="121" y="6"/>
                  <a:pt x="121" y="4"/>
                </a:cubicBezTo>
                <a:cubicBezTo>
                  <a:pt x="121" y="1"/>
                  <a:pt x="119" y="0"/>
                  <a:pt x="117" y="0"/>
                </a:cubicBezTo>
                <a:close/>
                <a:moveTo>
                  <a:pt x="135" y="0"/>
                </a:moveTo>
                <a:cubicBezTo>
                  <a:pt x="132" y="0"/>
                  <a:pt x="132" y="0"/>
                  <a:pt x="132" y="0"/>
                </a:cubicBezTo>
                <a:cubicBezTo>
                  <a:pt x="130" y="0"/>
                  <a:pt x="128" y="1"/>
                  <a:pt x="128" y="4"/>
                </a:cubicBezTo>
                <a:cubicBezTo>
                  <a:pt x="128" y="6"/>
                  <a:pt x="130" y="8"/>
                  <a:pt x="132" y="8"/>
                </a:cubicBezTo>
                <a:cubicBezTo>
                  <a:pt x="135" y="8"/>
                  <a:pt x="135" y="8"/>
                  <a:pt x="135" y="8"/>
                </a:cubicBezTo>
                <a:cubicBezTo>
                  <a:pt x="137" y="8"/>
                  <a:pt x="139" y="6"/>
                  <a:pt x="139" y="4"/>
                </a:cubicBezTo>
                <a:cubicBezTo>
                  <a:pt x="139" y="1"/>
                  <a:pt x="137" y="0"/>
                  <a:pt x="135" y="0"/>
                </a:cubicBezTo>
                <a:close/>
                <a:moveTo>
                  <a:pt x="153" y="0"/>
                </a:moveTo>
                <a:cubicBezTo>
                  <a:pt x="150" y="0"/>
                  <a:pt x="150" y="0"/>
                  <a:pt x="150" y="0"/>
                </a:cubicBezTo>
                <a:cubicBezTo>
                  <a:pt x="148" y="0"/>
                  <a:pt x="146" y="1"/>
                  <a:pt x="146" y="4"/>
                </a:cubicBezTo>
                <a:cubicBezTo>
                  <a:pt x="146" y="6"/>
                  <a:pt x="148" y="8"/>
                  <a:pt x="150" y="8"/>
                </a:cubicBezTo>
                <a:cubicBezTo>
                  <a:pt x="153" y="8"/>
                  <a:pt x="153" y="8"/>
                  <a:pt x="153" y="8"/>
                </a:cubicBezTo>
                <a:cubicBezTo>
                  <a:pt x="155" y="8"/>
                  <a:pt x="157" y="6"/>
                  <a:pt x="157" y="4"/>
                </a:cubicBezTo>
                <a:cubicBezTo>
                  <a:pt x="157" y="1"/>
                  <a:pt x="155" y="0"/>
                  <a:pt x="153" y="0"/>
                </a:cubicBezTo>
                <a:close/>
                <a:moveTo>
                  <a:pt x="171" y="0"/>
                </a:moveTo>
                <a:cubicBezTo>
                  <a:pt x="168" y="0"/>
                  <a:pt x="168" y="0"/>
                  <a:pt x="168" y="0"/>
                </a:cubicBezTo>
                <a:cubicBezTo>
                  <a:pt x="166" y="0"/>
                  <a:pt x="164" y="1"/>
                  <a:pt x="164" y="4"/>
                </a:cubicBezTo>
                <a:cubicBezTo>
                  <a:pt x="164" y="6"/>
                  <a:pt x="166" y="8"/>
                  <a:pt x="168" y="8"/>
                </a:cubicBezTo>
                <a:cubicBezTo>
                  <a:pt x="171" y="8"/>
                  <a:pt x="171" y="8"/>
                  <a:pt x="171" y="8"/>
                </a:cubicBezTo>
                <a:cubicBezTo>
                  <a:pt x="173" y="8"/>
                  <a:pt x="175" y="6"/>
                  <a:pt x="175" y="4"/>
                </a:cubicBezTo>
                <a:cubicBezTo>
                  <a:pt x="175" y="1"/>
                  <a:pt x="173" y="0"/>
                  <a:pt x="171" y="0"/>
                </a:cubicBezTo>
                <a:close/>
                <a:moveTo>
                  <a:pt x="190" y="0"/>
                </a:moveTo>
                <a:cubicBezTo>
                  <a:pt x="186" y="0"/>
                  <a:pt x="186" y="0"/>
                  <a:pt x="186" y="0"/>
                </a:cubicBezTo>
                <a:cubicBezTo>
                  <a:pt x="184" y="0"/>
                  <a:pt x="182" y="1"/>
                  <a:pt x="182" y="4"/>
                </a:cubicBezTo>
                <a:cubicBezTo>
                  <a:pt x="182" y="6"/>
                  <a:pt x="184" y="8"/>
                  <a:pt x="186" y="8"/>
                </a:cubicBezTo>
                <a:cubicBezTo>
                  <a:pt x="190" y="8"/>
                  <a:pt x="190" y="8"/>
                  <a:pt x="190" y="8"/>
                </a:cubicBezTo>
                <a:cubicBezTo>
                  <a:pt x="192" y="8"/>
                  <a:pt x="194" y="6"/>
                  <a:pt x="194" y="4"/>
                </a:cubicBezTo>
                <a:cubicBezTo>
                  <a:pt x="194" y="1"/>
                  <a:pt x="192" y="0"/>
                  <a:pt x="190" y="0"/>
                </a:cubicBezTo>
                <a:close/>
                <a:moveTo>
                  <a:pt x="208" y="0"/>
                </a:moveTo>
                <a:cubicBezTo>
                  <a:pt x="205" y="0"/>
                  <a:pt x="205" y="0"/>
                  <a:pt x="205" y="0"/>
                </a:cubicBezTo>
                <a:cubicBezTo>
                  <a:pt x="202" y="0"/>
                  <a:pt x="201" y="1"/>
                  <a:pt x="201" y="4"/>
                </a:cubicBezTo>
                <a:cubicBezTo>
                  <a:pt x="201" y="6"/>
                  <a:pt x="202" y="8"/>
                  <a:pt x="205" y="8"/>
                </a:cubicBezTo>
                <a:cubicBezTo>
                  <a:pt x="208" y="8"/>
                  <a:pt x="208" y="8"/>
                  <a:pt x="208" y="8"/>
                </a:cubicBezTo>
                <a:cubicBezTo>
                  <a:pt x="210" y="8"/>
                  <a:pt x="212" y="6"/>
                  <a:pt x="212" y="4"/>
                </a:cubicBezTo>
                <a:cubicBezTo>
                  <a:pt x="212" y="1"/>
                  <a:pt x="210" y="0"/>
                  <a:pt x="208" y="0"/>
                </a:cubicBezTo>
                <a:close/>
                <a:moveTo>
                  <a:pt x="226" y="0"/>
                </a:moveTo>
                <a:cubicBezTo>
                  <a:pt x="223" y="0"/>
                  <a:pt x="223" y="0"/>
                  <a:pt x="223" y="0"/>
                </a:cubicBezTo>
                <a:cubicBezTo>
                  <a:pt x="221" y="0"/>
                  <a:pt x="219" y="1"/>
                  <a:pt x="219" y="4"/>
                </a:cubicBezTo>
                <a:cubicBezTo>
                  <a:pt x="219" y="6"/>
                  <a:pt x="221" y="8"/>
                  <a:pt x="223" y="8"/>
                </a:cubicBezTo>
                <a:cubicBezTo>
                  <a:pt x="226" y="8"/>
                  <a:pt x="226" y="8"/>
                  <a:pt x="226" y="8"/>
                </a:cubicBezTo>
                <a:cubicBezTo>
                  <a:pt x="228" y="8"/>
                  <a:pt x="230" y="6"/>
                  <a:pt x="230" y="4"/>
                </a:cubicBezTo>
                <a:cubicBezTo>
                  <a:pt x="230" y="1"/>
                  <a:pt x="228" y="0"/>
                  <a:pt x="226" y="0"/>
                </a:cubicBezTo>
                <a:close/>
                <a:moveTo>
                  <a:pt x="248" y="4"/>
                </a:moveTo>
                <a:cubicBezTo>
                  <a:pt x="248" y="4"/>
                  <a:pt x="248" y="4"/>
                  <a:pt x="248" y="4"/>
                </a:cubicBezTo>
                <a:cubicBezTo>
                  <a:pt x="248" y="2"/>
                  <a:pt x="247" y="1"/>
                  <a:pt x="246" y="1"/>
                </a:cubicBezTo>
                <a:cubicBezTo>
                  <a:pt x="246" y="0"/>
                  <a:pt x="245" y="0"/>
                  <a:pt x="244" y="0"/>
                </a:cubicBezTo>
                <a:cubicBezTo>
                  <a:pt x="241" y="0"/>
                  <a:pt x="241" y="0"/>
                  <a:pt x="241" y="0"/>
                </a:cubicBezTo>
                <a:cubicBezTo>
                  <a:pt x="239" y="0"/>
                  <a:pt x="237" y="1"/>
                  <a:pt x="237" y="4"/>
                </a:cubicBezTo>
                <a:cubicBezTo>
                  <a:pt x="237" y="6"/>
                  <a:pt x="239" y="8"/>
                  <a:pt x="241" y="8"/>
                </a:cubicBezTo>
                <a:cubicBezTo>
                  <a:pt x="244" y="8"/>
                  <a:pt x="244" y="8"/>
                  <a:pt x="244" y="8"/>
                </a:cubicBezTo>
                <a:cubicBezTo>
                  <a:pt x="244" y="4"/>
                  <a:pt x="244" y="4"/>
                  <a:pt x="244" y="4"/>
                </a:cubicBezTo>
                <a:cubicBezTo>
                  <a:pt x="240" y="4"/>
                  <a:pt x="240" y="4"/>
                  <a:pt x="240" y="4"/>
                </a:cubicBezTo>
                <a:cubicBezTo>
                  <a:pt x="240" y="4"/>
                  <a:pt x="240" y="4"/>
                  <a:pt x="240" y="4"/>
                </a:cubicBezTo>
                <a:cubicBezTo>
                  <a:pt x="240" y="6"/>
                  <a:pt x="241" y="8"/>
                  <a:pt x="244" y="8"/>
                </a:cubicBezTo>
                <a:cubicBezTo>
                  <a:pt x="246" y="8"/>
                  <a:pt x="248" y="6"/>
                  <a:pt x="248" y="4"/>
                </a:cubicBezTo>
                <a:close/>
                <a:moveTo>
                  <a:pt x="248" y="22"/>
                </a:moveTo>
                <a:cubicBezTo>
                  <a:pt x="248" y="19"/>
                  <a:pt x="248" y="19"/>
                  <a:pt x="248" y="19"/>
                </a:cubicBezTo>
                <a:cubicBezTo>
                  <a:pt x="248" y="17"/>
                  <a:pt x="246" y="15"/>
                  <a:pt x="244" y="15"/>
                </a:cubicBezTo>
                <a:cubicBezTo>
                  <a:pt x="241" y="15"/>
                  <a:pt x="240" y="17"/>
                  <a:pt x="240" y="19"/>
                </a:cubicBezTo>
                <a:cubicBezTo>
                  <a:pt x="240" y="22"/>
                  <a:pt x="240" y="22"/>
                  <a:pt x="240" y="22"/>
                </a:cubicBezTo>
                <a:cubicBezTo>
                  <a:pt x="240" y="25"/>
                  <a:pt x="241" y="26"/>
                  <a:pt x="244" y="26"/>
                </a:cubicBezTo>
                <a:cubicBezTo>
                  <a:pt x="246" y="26"/>
                  <a:pt x="248" y="25"/>
                  <a:pt x="248" y="22"/>
                </a:cubicBezTo>
                <a:close/>
                <a:moveTo>
                  <a:pt x="248" y="41"/>
                </a:moveTo>
                <a:cubicBezTo>
                  <a:pt x="248" y="38"/>
                  <a:pt x="248" y="38"/>
                  <a:pt x="248" y="38"/>
                </a:cubicBezTo>
                <a:cubicBezTo>
                  <a:pt x="248" y="35"/>
                  <a:pt x="246" y="34"/>
                  <a:pt x="244" y="34"/>
                </a:cubicBezTo>
                <a:cubicBezTo>
                  <a:pt x="241" y="34"/>
                  <a:pt x="240" y="35"/>
                  <a:pt x="240" y="38"/>
                </a:cubicBezTo>
                <a:cubicBezTo>
                  <a:pt x="240" y="41"/>
                  <a:pt x="240" y="41"/>
                  <a:pt x="240" y="41"/>
                </a:cubicBezTo>
                <a:cubicBezTo>
                  <a:pt x="240" y="43"/>
                  <a:pt x="241" y="45"/>
                  <a:pt x="244" y="45"/>
                </a:cubicBezTo>
                <a:cubicBezTo>
                  <a:pt x="246" y="45"/>
                  <a:pt x="248" y="43"/>
                  <a:pt x="248" y="41"/>
                </a:cubicBezTo>
                <a:close/>
                <a:moveTo>
                  <a:pt x="248" y="59"/>
                </a:moveTo>
                <a:cubicBezTo>
                  <a:pt x="248" y="56"/>
                  <a:pt x="248" y="56"/>
                  <a:pt x="248" y="56"/>
                </a:cubicBezTo>
                <a:cubicBezTo>
                  <a:pt x="248" y="54"/>
                  <a:pt x="246" y="52"/>
                  <a:pt x="244" y="52"/>
                </a:cubicBezTo>
                <a:cubicBezTo>
                  <a:pt x="241" y="52"/>
                  <a:pt x="240" y="54"/>
                  <a:pt x="240" y="56"/>
                </a:cubicBezTo>
                <a:cubicBezTo>
                  <a:pt x="240" y="59"/>
                  <a:pt x="240" y="59"/>
                  <a:pt x="240" y="59"/>
                </a:cubicBezTo>
                <a:cubicBezTo>
                  <a:pt x="240" y="61"/>
                  <a:pt x="241" y="63"/>
                  <a:pt x="244" y="63"/>
                </a:cubicBezTo>
                <a:cubicBezTo>
                  <a:pt x="246" y="63"/>
                  <a:pt x="248" y="61"/>
                  <a:pt x="248" y="59"/>
                </a:cubicBezTo>
                <a:close/>
                <a:moveTo>
                  <a:pt x="248" y="77"/>
                </a:moveTo>
                <a:cubicBezTo>
                  <a:pt x="248" y="74"/>
                  <a:pt x="248" y="74"/>
                  <a:pt x="248" y="74"/>
                </a:cubicBezTo>
                <a:cubicBezTo>
                  <a:pt x="248" y="72"/>
                  <a:pt x="246" y="70"/>
                  <a:pt x="244" y="70"/>
                </a:cubicBezTo>
                <a:cubicBezTo>
                  <a:pt x="241" y="70"/>
                  <a:pt x="240" y="72"/>
                  <a:pt x="240" y="74"/>
                </a:cubicBezTo>
                <a:cubicBezTo>
                  <a:pt x="240" y="77"/>
                  <a:pt x="240" y="77"/>
                  <a:pt x="240" y="77"/>
                </a:cubicBezTo>
                <a:cubicBezTo>
                  <a:pt x="240" y="79"/>
                  <a:pt x="241" y="81"/>
                  <a:pt x="244" y="81"/>
                </a:cubicBezTo>
                <a:cubicBezTo>
                  <a:pt x="246" y="81"/>
                  <a:pt x="248" y="79"/>
                  <a:pt x="248" y="77"/>
                </a:cubicBezTo>
                <a:close/>
                <a:moveTo>
                  <a:pt x="248" y="95"/>
                </a:moveTo>
                <a:cubicBezTo>
                  <a:pt x="248" y="92"/>
                  <a:pt x="248" y="92"/>
                  <a:pt x="248" y="92"/>
                </a:cubicBezTo>
                <a:cubicBezTo>
                  <a:pt x="248" y="90"/>
                  <a:pt x="246" y="88"/>
                  <a:pt x="244" y="88"/>
                </a:cubicBezTo>
                <a:cubicBezTo>
                  <a:pt x="241" y="88"/>
                  <a:pt x="240" y="90"/>
                  <a:pt x="240" y="92"/>
                </a:cubicBezTo>
                <a:cubicBezTo>
                  <a:pt x="240" y="95"/>
                  <a:pt x="240" y="95"/>
                  <a:pt x="240" y="95"/>
                </a:cubicBezTo>
                <a:cubicBezTo>
                  <a:pt x="240" y="97"/>
                  <a:pt x="241" y="99"/>
                  <a:pt x="244" y="99"/>
                </a:cubicBezTo>
                <a:cubicBezTo>
                  <a:pt x="246" y="99"/>
                  <a:pt x="248" y="97"/>
                  <a:pt x="248" y="95"/>
                </a:cubicBezTo>
                <a:close/>
                <a:moveTo>
                  <a:pt x="245" y="108"/>
                </a:moveTo>
                <a:cubicBezTo>
                  <a:pt x="244" y="108"/>
                  <a:pt x="244" y="108"/>
                  <a:pt x="244" y="108"/>
                </a:cubicBezTo>
                <a:cubicBezTo>
                  <a:pt x="244" y="112"/>
                  <a:pt x="244" y="112"/>
                  <a:pt x="244" y="112"/>
                </a:cubicBezTo>
                <a:cubicBezTo>
                  <a:pt x="248" y="112"/>
                  <a:pt x="248" y="112"/>
                  <a:pt x="248" y="112"/>
                </a:cubicBezTo>
                <a:cubicBezTo>
                  <a:pt x="248" y="110"/>
                  <a:pt x="248" y="110"/>
                  <a:pt x="248" y="110"/>
                </a:cubicBezTo>
                <a:cubicBezTo>
                  <a:pt x="248" y="108"/>
                  <a:pt x="246" y="106"/>
                  <a:pt x="244" y="106"/>
                </a:cubicBezTo>
                <a:cubicBezTo>
                  <a:pt x="241" y="106"/>
                  <a:pt x="240" y="108"/>
                  <a:pt x="240" y="110"/>
                </a:cubicBezTo>
                <a:cubicBezTo>
                  <a:pt x="240" y="112"/>
                  <a:pt x="240" y="112"/>
                  <a:pt x="240" y="112"/>
                </a:cubicBezTo>
                <a:cubicBezTo>
                  <a:pt x="240" y="113"/>
                  <a:pt x="240" y="114"/>
                  <a:pt x="241" y="114"/>
                </a:cubicBezTo>
                <a:cubicBezTo>
                  <a:pt x="241" y="115"/>
                  <a:pt x="242" y="116"/>
                  <a:pt x="244" y="116"/>
                </a:cubicBezTo>
                <a:cubicBezTo>
                  <a:pt x="245" y="116"/>
                  <a:pt x="245" y="116"/>
                  <a:pt x="245" y="116"/>
                </a:cubicBezTo>
                <a:cubicBezTo>
                  <a:pt x="248" y="116"/>
                  <a:pt x="249" y="114"/>
                  <a:pt x="249" y="112"/>
                </a:cubicBezTo>
                <a:cubicBezTo>
                  <a:pt x="249" y="109"/>
                  <a:pt x="248" y="108"/>
                  <a:pt x="245" y="108"/>
                </a:cubicBezTo>
                <a:close/>
                <a:moveTo>
                  <a:pt x="264" y="108"/>
                </a:moveTo>
                <a:cubicBezTo>
                  <a:pt x="261" y="108"/>
                  <a:pt x="261" y="108"/>
                  <a:pt x="261" y="108"/>
                </a:cubicBezTo>
                <a:cubicBezTo>
                  <a:pt x="258" y="108"/>
                  <a:pt x="257" y="109"/>
                  <a:pt x="257" y="112"/>
                </a:cubicBezTo>
                <a:cubicBezTo>
                  <a:pt x="257" y="114"/>
                  <a:pt x="258" y="116"/>
                  <a:pt x="261" y="116"/>
                </a:cubicBezTo>
                <a:cubicBezTo>
                  <a:pt x="264" y="116"/>
                  <a:pt x="264" y="116"/>
                  <a:pt x="264" y="116"/>
                </a:cubicBezTo>
                <a:cubicBezTo>
                  <a:pt x="266" y="116"/>
                  <a:pt x="268" y="114"/>
                  <a:pt x="268" y="112"/>
                </a:cubicBezTo>
                <a:cubicBezTo>
                  <a:pt x="268" y="109"/>
                  <a:pt x="266" y="108"/>
                  <a:pt x="264" y="108"/>
                </a:cubicBezTo>
                <a:close/>
                <a:moveTo>
                  <a:pt x="282" y="108"/>
                </a:moveTo>
                <a:cubicBezTo>
                  <a:pt x="279" y="108"/>
                  <a:pt x="279" y="108"/>
                  <a:pt x="279" y="108"/>
                </a:cubicBezTo>
                <a:cubicBezTo>
                  <a:pt x="277" y="108"/>
                  <a:pt x="275" y="109"/>
                  <a:pt x="275" y="112"/>
                </a:cubicBezTo>
                <a:cubicBezTo>
                  <a:pt x="275" y="114"/>
                  <a:pt x="277" y="116"/>
                  <a:pt x="279" y="116"/>
                </a:cubicBezTo>
                <a:cubicBezTo>
                  <a:pt x="282" y="116"/>
                  <a:pt x="282" y="116"/>
                  <a:pt x="282" y="116"/>
                </a:cubicBezTo>
                <a:cubicBezTo>
                  <a:pt x="284" y="116"/>
                  <a:pt x="286" y="114"/>
                  <a:pt x="286" y="112"/>
                </a:cubicBezTo>
                <a:cubicBezTo>
                  <a:pt x="286" y="109"/>
                  <a:pt x="284" y="108"/>
                  <a:pt x="282" y="108"/>
                </a:cubicBezTo>
                <a:close/>
                <a:moveTo>
                  <a:pt x="300" y="108"/>
                </a:moveTo>
                <a:cubicBezTo>
                  <a:pt x="297" y="108"/>
                  <a:pt x="297" y="108"/>
                  <a:pt x="297" y="108"/>
                </a:cubicBezTo>
                <a:cubicBezTo>
                  <a:pt x="295" y="108"/>
                  <a:pt x="293" y="109"/>
                  <a:pt x="293" y="112"/>
                </a:cubicBezTo>
                <a:cubicBezTo>
                  <a:pt x="293" y="114"/>
                  <a:pt x="295" y="116"/>
                  <a:pt x="297" y="116"/>
                </a:cubicBezTo>
                <a:cubicBezTo>
                  <a:pt x="300" y="116"/>
                  <a:pt x="300" y="116"/>
                  <a:pt x="300" y="116"/>
                </a:cubicBezTo>
                <a:cubicBezTo>
                  <a:pt x="302" y="116"/>
                  <a:pt x="304" y="114"/>
                  <a:pt x="304" y="112"/>
                </a:cubicBezTo>
                <a:cubicBezTo>
                  <a:pt x="304" y="109"/>
                  <a:pt x="302" y="108"/>
                  <a:pt x="300" y="108"/>
                </a:cubicBezTo>
                <a:close/>
                <a:moveTo>
                  <a:pt x="318" y="108"/>
                </a:moveTo>
                <a:cubicBezTo>
                  <a:pt x="315" y="108"/>
                  <a:pt x="315" y="108"/>
                  <a:pt x="315" y="108"/>
                </a:cubicBezTo>
                <a:cubicBezTo>
                  <a:pt x="313" y="108"/>
                  <a:pt x="311" y="109"/>
                  <a:pt x="311" y="112"/>
                </a:cubicBezTo>
                <a:cubicBezTo>
                  <a:pt x="311" y="114"/>
                  <a:pt x="313" y="116"/>
                  <a:pt x="315" y="116"/>
                </a:cubicBezTo>
                <a:cubicBezTo>
                  <a:pt x="318" y="116"/>
                  <a:pt x="318" y="116"/>
                  <a:pt x="318" y="116"/>
                </a:cubicBezTo>
                <a:cubicBezTo>
                  <a:pt x="321" y="116"/>
                  <a:pt x="322" y="114"/>
                  <a:pt x="322" y="112"/>
                </a:cubicBezTo>
                <a:cubicBezTo>
                  <a:pt x="322" y="109"/>
                  <a:pt x="321" y="108"/>
                  <a:pt x="318" y="108"/>
                </a:cubicBezTo>
                <a:close/>
                <a:moveTo>
                  <a:pt x="337" y="108"/>
                </a:moveTo>
                <a:cubicBezTo>
                  <a:pt x="334" y="108"/>
                  <a:pt x="334" y="108"/>
                  <a:pt x="334" y="108"/>
                </a:cubicBezTo>
                <a:cubicBezTo>
                  <a:pt x="331" y="108"/>
                  <a:pt x="330" y="109"/>
                  <a:pt x="330" y="112"/>
                </a:cubicBezTo>
                <a:cubicBezTo>
                  <a:pt x="330" y="114"/>
                  <a:pt x="331" y="116"/>
                  <a:pt x="334" y="116"/>
                </a:cubicBezTo>
                <a:cubicBezTo>
                  <a:pt x="337" y="116"/>
                  <a:pt x="337" y="116"/>
                  <a:pt x="337" y="116"/>
                </a:cubicBezTo>
                <a:cubicBezTo>
                  <a:pt x="339" y="116"/>
                  <a:pt x="341" y="114"/>
                  <a:pt x="341" y="112"/>
                </a:cubicBezTo>
                <a:cubicBezTo>
                  <a:pt x="341" y="109"/>
                  <a:pt x="339" y="108"/>
                  <a:pt x="337" y="108"/>
                </a:cubicBezTo>
                <a:close/>
                <a:moveTo>
                  <a:pt x="355" y="108"/>
                </a:moveTo>
                <a:cubicBezTo>
                  <a:pt x="352" y="108"/>
                  <a:pt x="352" y="108"/>
                  <a:pt x="352" y="108"/>
                </a:cubicBezTo>
                <a:cubicBezTo>
                  <a:pt x="350" y="108"/>
                  <a:pt x="348" y="109"/>
                  <a:pt x="348" y="112"/>
                </a:cubicBezTo>
                <a:cubicBezTo>
                  <a:pt x="348" y="114"/>
                  <a:pt x="350" y="116"/>
                  <a:pt x="352" y="116"/>
                </a:cubicBezTo>
                <a:cubicBezTo>
                  <a:pt x="355" y="116"/>
                  <a:pt x="355" y="116"/>
                  <a:pt x="355" y="116"/>
                </a:cubicBezTo>
                <a:cubicBezTo>
                  <a:pt x="357" y="116"/>
                  <a:pt x="359" y="114"/>
                  <a:pt x="359" y="112"/>
                </a:cubicBezTo>
                <a:cubicBezTo>
                  <a:pt x="359" y="109"/>
                  <a:pt x="357" y="108"/>
                  <a:pt x="355" y="108"/>
                </a:cubicBezTo>
                <a:close/>
                <a:moveTo>
                  <a:pt x="373" y="108"/>
                </a:moveTo>
                <a:cubicBezTo>
                  <a:pt x="370" y="108"/>
                  <a:pt x="370" y="108"/>
                  <a:pt x="370" y="108"/>
                </a:cubicBezTo>
                <a:cubicBezTo>
                  <a:pt x="368" y="108"/>
                  <a:pt x="366" y="109"/>
                  <a:pt x="366" y="112"/>
                </a:cubicBezTo>
                <a:cubicBezTo>
                  <a:pt x="366" y="114"/>
                  <a:pt x="368" y="116"/>
                  <a:pt x="370" y="116"/>
                </a:cubicBezTo>
                <a:cubicBezTo>
                  <a:pt x="373" y="116"/>
                  <a:pt x="373" y="116"/>
                  <a:pt x="373" y="116"/>
                </a:cubicBezTo>
                <a:cubicBezTo>
                  <a:pt x="375" y="116"/>
                  <a:pt x="377" y="114"/>
                  <a:pt x="377" y="112"/>
                </a:cubicBezTo>
                <a:cubicBezTo>
                  <a:pt x="377" y="109"/>
                  <a:pt x="375" y="108"/>
                  <a:pt x="373" y="108"/>
                </a:cubicBezTo>
                <a:close/>
                <a:moveTo>
                  <a:pt x="391" y="108"/>
                </a:moveTo>
                <a:cubicBezTo>
                  <a:pt x="388" y="108"/>
                  <a:pt x="388" y="108"/>
                  <a:pt x="388" y="108"/>
                </a:cubicBezTo>
                <a:cubicBezTo>
                  <a:pt x="386" y="108"/>
                  <a:pt x="384" y="109"/>
                  <a:pt x="384" y="112"/>
                </a:cubicBezTo>
                <a:cubicBezTo>
                  <a:pt x="384" y="114"/>
                  <a:pt x="386" y="116"/>
                  <a:pt x="388" y="116"/>
                </a:cubicBezTo>
                <a:cubicBezTo>
                  <a:pt x="391" y="116"/>
                  <a:pt x="391" y="116"/>
                  <a:pt x="391" y="116"/>
                </a:cubicBezTo>
                <a:cubicBezTo>
                  <a:pt x="393" y="116"/>
                  <a:pt x="395" y="114"/>
                  <a:pt x="395" y="112"/>
                </a:cubicBezTo>
                <a:cubicBezTo>
                  <a:pt x="395" y="109"/>
                  <a:pt x="393" y="108"/>
                  <a:pt x="391" y="108"/>
                </a:cubicBez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56" name="Freeform 256"/>
          <p:cNvSpPr>
            <a:spLocks/>
          </p:cNvSpPr>
          <p:nvPr/>
        </p:nvSpPr>
        <p:spPr bwMode="auto">
          <a:xfrm>
            <a:off x="8550697" y="5604455"/>
            <a:ext cx="456523" cy="175119"/>
          </a:xfrm>
          <a:custGeom>
            <a:avLst/>
            <a:gdLst>
              <a:gd name="T0" fmla="*/ 432 w 451"/>
              <a:gd name="T1" fmla="*/ 0 h 173"/>
              <a:gd name="T2" fmla="*/ 432 w 451"/>
              <a:gd name="T3" fmla="*/ 154 h 173"/>
              <a:gd name="T4" fmla="*/ 0 w 451"/>
              <a:gd name="T5" fmla="*/ 154 h 173"/>
              <a:gd name="T6" fmla="*/ 0 w 451"/>
              <a:gd name="T7" fmla="*/ 173 h 173"/>
              <a:gd name="T8" fmla="*/ 451 w 451"/>
              <a:gd name="T9" fmla="*/ 173 h 173"/>
              <a:gd name="T10" fmla="*/ 451 w 451"/>
              <a:gd name="T11" fmla="*/ 0 h 173"/>
              <a:gd name="T12" fmla="*/ 432 w 451"/>
              <a:gd name="T13" fmla="*/ 0 h 173"/>
              <a:gd name="T14" fmla="*/ 432 w 451"/>
              <a:gd name="T15" fmla="*/ 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173">
                <a:moveTo>
                  <a:pt x="432" y="0"/>
                </a:moveTo>
                <a:lnTo>
                  <a:pt x="432" y="154"/>
                </a:lnTo>
                <a:lnTo>
                  <a:pt x="0" y="154"/>
                </a:lnTo>
                <a:lnTo>
                  <a:pt x="0" y="173"/>
                </a:lnTo>
                <a:lnTo>
                  <a:pt x="451" y="173"/>
                </a:lnTo>
                <a:lnTo>
                  <a:pt x="451" y="0"/>
                </a:lnTo>
                <a:lnTo>
                  <a:pt x="432" y="0"/>
                </a:lnTo>
                <a:lnTo>
                  <a:pt x="432" y="0"/>
                </a:ln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57" name="Freeform 257"/>
          <p:cNvSpPr>
            <a:spLocks noEditPoints="1"/>
          </p:cNvSpPr>
          <p:nvPr/>
        </p:nvSpPr>
        <p:spPr bwMode="auto">
          <a:xfrm>
            <a:off x="8540575" y="5354430"/>
            <a:ext cx="1163071" cy="353274"/>
          </a:xfrm>
          <a:custGeom>
            <a:avLst/>
            <a:gdLst>
              <a:gd name="T0" fmla="*/ 484 w 484"/>
              <a:gd name="T1" fmla="*/ 143 h 147"/>
              <a:gd name="T2" fmla="*/ 472 w 484"/>
              <a:gd name="T3" fmla="*/ 143 h 147"/>
              <a:gd name="T4" fmla="*/ 457 w 484"/>
              <a:gd name="T5" fmla="*/ 147 h 147"/>
              <a:gd name="T6" fmla="*/ 453 w 484"/>
              <a:gd name="T7" fmla="*/ 139 h 147"/>
              <a:gd name="T8" fmla="*/ 429 w 484"/>
              <a:gd name="T9" fmla="*/ 147 h 147"/>
              <a:gd name="T10" fmla="*/ 433 w 484"/>
              <a:gd name="T11" fmla="*/ 139 h 147"/>
              <a:gd name="T12" fmla="*/ 429 w 484"/>
              <a:gd name="T13" fmla="*/ 147 h 147"/>
              <a:gd name="T14" fmla="*/ 414 w 484"/>
              <a:gd name="T15" fmla="*/ 143 h 147"/>
              <a:gd name="T16" fmla="*/ 402 w 484"/>
              <a:gd name="T17" fmla="*/ 143 h 147"/>
              <a:gd name="T18" fmla="*/ 386 w 484"/>
              <a:gd name="T19" fmla="*/ 147 h 147"/>
              <a:gd name="T20" fmla="*/ 382 w 484"/>
              <a:gd name="T21" fmla="*/ 139 h 147"/>
              <a:gd name="T22" fmla="*/ 359 w 484"/>
              <a:gd name="T23" fmla="*/ 147 h 147"/>
              <a:gd name="T24" fmla="*/ 363 w 484"/>
              <a:gd name="T25" fmla="*/ 139 h 147"/>
              <a:gd name="T26" fmla="*/ 359 w 484"/>
              <a:gd name="T27" fmla="*/ 147 h 147"/>
              <a:gd name="T28" fmla="*/ 344 w 484"/>
              <a:gd name="T29" fmla="*/ 142 h 147"/>
              <a:gd name="T30" fmla="*/ 344 w 484"/>
              <a:gd name="T31" fmla="*/ 130 h 147"/>
              <a:gd name="T32" fmla="*/ 340 w 484"/>
              <a:gd name="T33" fmla="*/ 115 h 147"/>
              <a:gd name="T34" fmla="*/ 348 w 484"/>
              <a:gd name="T35" fmla="*/ 111 h 147"/>
              <a:gd name="T36" fmla="*/ 340 w 484"/>
              <a:gd name="T37" fmla="*/ 87 h 147"/>
              <a:gd name="T38" fmla="*/ 348 w 484"/>
              <a:gd name="T39" fmla="*/ 91 h 147"/>
              <a:gd name="T40" fmla="*/ 340 w 484"/>
              <a:gd name="T41" fmla="*/ 87 h 147"/>
              <a:gd name="T42" fmla="*/ 344 w 484"/>
              <a:gd name="T43" fmla="*/ 72 h 147"/>
              <a:gd name="T44" fmla="*/ 344 w 484"/>
              <a:gd name="T45" fmla="*/ 60 h 147"/>
              <a:gd name="T46" fmla="*/ 340 w 484"/>
              <a:gd name="T47" fmla="*/ 44 h 147"/>
              <a:gd name="T48" fmla="*/ 348 w 484"/>
              <a:gd name="T49" fmla="*/ 40 h 147"/>
              <a:gd name="T50" fmla="*/ 340 w 484"/>
              <a:gd name="T51" fmla="*/ 17 h 147"/>
              <a:gd name="T52" fmla="*/ 348 w 484"/>
              <a:gd name="T53" fmla="*/ 21 h 147"/>
              <a:gd name="T54" fmla="*/ 340 w 484"/>
              <a:gd name="T55" fmla="*/ 17 h 147"/>
              <a:gd name="T56" fmla="*/ 341 w 484"/>
              <a:gd name="T57" fmla="*/ 4 h 147"/>
              <a:gd name="T58" fmla="*/ 330 w 484"/>
              <a:gd name="T59" fmla="*/ 4 h 147"/>
              <a:gd name="T60" fmla="*/ 314 w 484"/>
              <a:gd name="T61" fmla="*/ 8 h 147"/>
              <a:gd name="T62" fmla="*/ 310 w 484"/>
              <a:gd name="T63" fmla="*/ 0 h 147"/>
              <a:gd name="T64" fmla="*/ 286 w 484"/>
              <a:gd name="T65" fmla="*/ 8 h 147"/>
              <a:gd name="T66" fmla="*/ 290 w 484"/>
              <a:gd name="T67" fmla="*/ 0 h 147"/>
              <a:gd name="T68" fmla="*/ 286 w 484"/>
              <a:gd name="T69" fmla="*/ 8 h 147"/>
              <a:gd name="T70" fmla="*/ 271 w 484"/>
              <a:gd name="T71" fmla="*/ 4 h 147"/>
              <a:gd name="T72" fmla="*/ 259 w 484"/>
              <a:gd name="T73" fmla="*/ 4 h 147"/>
              <a:gd name="T74" fmla="*/ 243 w 484"/>
              <a:gd name="T75" fmla="*/ 8 h 147"/>
              <a:gd name="T76" fmla="*/ 239 w 484"/>
              <a:gd name="T77" fmla="*/ 0 h 147"/>
              <a:gd name="T78" fmla="*/ 216 w 484"/>
              <a:gd name="T79" fmla="*/ 8 h 147"/>
              <a:gd name="T80" fmla="*/ 220 w 484"/>
              <a:gd name="T81" fmla="*/ 0 h 147"/>
              <a:gd name="T82" fmla="*/ 216 w 484"/>
              <a:gd name="T83" fmla="*/ 8 h 147"/>
              <a:gd name="T84" fmla="*/ 200 w 484"/>
              <a:gd name="T85" fmla="*/ 4 h 147"/>
              <a:gd name="T86" fmla="*/ 188 w 484"/>
              <a:gd name="T87" fmla="*/ 4 h 147"/>
              <a:gd name="T88" fmla="*/ 173 w 484"/>
              <a:gd name="T89" fmla="*/ 8 h 147"/>
              <a:gd name="T90" fmla="*/ 169 w 484"/>
              <a:gd name="T91" fmla="*/ 0 h 147"/>
              <a:gd name="T92" fmla="*/ 145 w 484"/>
              <a:gd name="T93" fmla="*/ 8 h 147"/>
              <a:gd name="T94" fmla="*/ 149 w 484"/>
              <a:gd name="T95" fmla="*/ 0 h 147"/>
              <a:gd name="T96" fmla="*/ 145 w 484"/>
              <a:gd name="T97" fmla="*/ 8 h 147"/>
              <a:gd name="T98" fmla="*/ 130 w 484"/>
              <a:gd name="T99" fmla="*/ 4 h 147"/>
              <a:gd name="T100" fmla="*/ 118 w 484"/>
              <a:gd name="T101" fmla="*/ 4 h 147"/>
              <a:gd name="T102" fmla="*/ 102 w 484"/>
              <a:gd name="T103" fmla="*/ 8 h 147"/>
              <a:gd name="T104" fmla="*/ 98 w 484"/>
              <a:gd name="T105" fmla="*/ 0 h 147"/>
              <a:gd name="T106" fmla="*/ 75 w 484"/>
              <a:gd name="T107" fmla="*/ 8 h 147"/>
              <a:gd name="T108" fmla="*/ 79 w 484"/>
              <a:gd name="T109" fmla="*/ 0 h 147"/>
              <a:gd name="T110" fmla="*/ 75 w 484"/>
              <a:gd name="T111" fmla="*/ 8 h 147"/>
              <a:gd name="T112" fmla="*/ 59 w 484"/>
              <a:gd name="T113" fmla="*/ 4 h 147"/>
              <a:gd name="T114" fmla="*/ 47 w 484"/>
              <a:gd name="T115" fmla="*/ 4 h 147"/>
              <a:gd name="T116" fmla="*/ 32 w 484"/>
              <a:gd name="T117" fmla="*/ 8 h 147"/>
              <a:gd name="T118" fmla="*/ 28 w 484"/>
              <a:gd name="T119" fmla="*/ 0 h 147"/>
              <a:gd name="T120" fmla="*/ 4 w 484"/>
              <a:gd name="T121" fmla="*/ 8 h 147"/>
              <a:gd name="T122" fmla="*/ 8 w 484"/>
              <a:gd name="T123" fmla="*/ 0 h 147"/>
              <a:gd name="T124" fmla="*/ 4 w 484"/>
              <a:gd name="T125" fmla="*/ 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4" h="147">
                <a:moveTo>
                  <a:pt x="476" y="147"/>
                </a:moveTo>
                <a:cubicBezTo>
                  <a:pt x="480" y="147"/>
                  <a:pt x="480" y="147"/>
                  <a:pt x="480" y="147"/>
                </a:cubicBezTo>
                <a:cubicBezTo>
                  <a:pt x="482" y="147"/>
                  <a:pt x="484" y="145"/>
                  <a:pt x="484" y="143"/>
                </a:cubicBezTo>
                <a:cubicBezTo>
                  <a:pt x="484" y="141"/>
                  <a:pt x="482" y="139"/>
                  <a:pt x="480" y="139"/>
                </a:cubicBezTo>
                <a:cubicBezTo>
                  <a:pt x="476" y="139"/>
                  <a:pt x="476" y="139"/>
                  <a:pt x="476" y="139"/>
                </a:cubicBezTo>
                <a:cubicBezTo>
                  <a:pt x="474" y="139"/>
                  <a:pt x="472" y="141"/>
                  <a:pt x="472" y="143"/>
                </a:cubicBezTo>
                <a:cubicBezTo>
                  <a:pt x="472" y="145"/>
                  <a:pt x="474" y="147"/>
                  <a:pt x="476" y="147"/>
                </a:cubicBezTo>
                <a:close/>
                <a:moveTo>
                  <a:pt x="453" y="147"/>
                </a:moveTo>
                <a:cubicBezTo>
                  <a:pt x="457" y="147"/>
                  <a:pt x="457" y="147"/>
                  <a:pt x="457" y="147"/>
                </a:cubicBezTo>
                <a:cubicBezTo>
                  <a:pt x="459" y="147"/>
                  <a:pt x="461" y="145"/>
                  <a:pt x="461" y="143"/>
                </a:cubicBezTo>
                <a:cubicBezTo>
                  <a:pt x="461" y="141"/>
                  <a:pt x="459" y="139"/>
                  <a:pt x="457" y="139"/>
                </a:cubicBezTo>
                <a:cubicBezTo>
                  <a:pt x="453" y="139"/>
                  <a:pt x="453" y="139"/>
                  <a:pt x="453" y="139"/>
                </a:cubicBezTo>
                <a:cubicBezTo>
                  <a:pt x="450" y="139"/>
                  <a:pt x="449" y="141"/>
                  <a:pt x="449" y="143"/>
                </a:cubicBezTo>
                <a:cubicBezTo>
                  <a:pt x="449" y="145"/>
                  <a:pt x="450" y="147"/>
                  <a:pt x="453" y="147"/>
                </a:cubicBezTo>
                <a:close/>
                <a:moveTo>
                  <a:pt x="429" y="147"/>
                </a:moveTo>
                <a:cubicBezTo>
                  <a:pt x="433" y="147"/>
                  <a:pt x="433" y="147"/>
                  <a:pt x="433" y="147"/>
                </a:cubicBezTo>
                <a:cubicBezTo>
                  <a:pt x="435" y="147"/>
                  <a:pt x="437" y="145"/>
                  <a:pt x="437" y="143"/>
                </a:cubicBezTo>
                <a:cubicBezTo>
                  <a:pt x="437" y="141"/>
                  <a:pt x="435" y="139"/>
                  <a:pt x="433" y="139"/>
                </a:cubicBezTo>
                <a:cubicBezTo>
                  <a:pt x="429" y="139"/>
                  <a:pt x="429" y="139"/>
                  <a:pt x="429" y="139"/>
                </a:cubicBezTo>
                <a:cubicBezTo>
                  <a:pt x="427" y="139"/>
                  <a:pt x="425" y="141"/>
                  <a:pt x="425" y="143"/>
                </a:cubicBezTo>
                <a:cubicBezTo>
                  <a:pt x="425" y="145"/>
                  <a:pt x="427" y="147"/>
                  <a:pt x="429" y="147"/>
                </a:cubicBezTo>
                <a:close/>
                <a:moveTo>
                  <a:pt x="406" y="147"/>
                </a:moveTo>
                <a:cubicBezTo>
                  <a:pt x="410" y="147"/>
                  <a:pt x="410" y="147"/>
                  <a:pt x="410" y="147"/>
                </a:cubicBezTo>
                <a:cubicBezTo>
                  <a:pt x="412" y="147"/>
                  <a:pt x="414" y="145"/>
                  <a:pt x="414" y="143"/>
                </a:cubicBezTo>
                <a:cubicBezTo>
                  <a:pt x="414" y="141"/>
                  <a:pt x="412" y="139"/>
                  <a:pt x="410" y="139"/>
                </a:cubicBezTo>
                <a:cubicBezTo>
                  <a:pt x="406" y="139"/>
                  <a:pt x="406" y="139"/>
                  <a:pt x="406" y="139"/>
                </a:cubicBezTo>
                <a:cubicBezTo>
                  <a:pt x="403" y="139"/>
                  <a:pt x="402" y="141"/>
                  <a:pt x="402" y="143"/>
                </a:cubicBezTo>
                <a:cubicBezTo>
                  <a:pt x="402" y="145"/>
                  <a:pt x="403" y="147"/>
                  <a:pt x="406" y="147"/>
                </a:cubicBezTo>
                <a:close/>
                <a:moveTo>
                  <a:pt x="382" y="147"/>
                </a:moveTo>
                <a:cubicBezTo>
                  <a:pt x="386" y="147"/>
                  <a:pt x="386" y="147"/>
                  <a:pt x="386" y="147"/>
                </a:cubicBezTo>
                <a:cubicBezTo>
                  <a:pt x="388" y="147"/>
                  <a:pt x="390" y="145"/>
                  <a:pt x="390" y="143"/>
                </a:cubicBezTo>
                <a:cubicBezTo>
                  <a:pt x="390" y="141"/>
                  <a:pt x="388" y="139"/>
                  <a:pt x="386" y="139"/>
                </a:cubicBezTo>
                <a:cubicBezTo>
                  <a:pt x="382" y="139"/>
                  <a:pt x="382" y="139"/>
                  <a:pt x="382" y="139"/>
                </a:cubicBezTo>
                <a:cubicBezTo>
                  <a:pt x="380" y="139"/>
                  <a:pt x="378" y="141"/>
                  <a:pt x="378" y="143"/>
                </a:cubicBezTo>
                <a:cubicBezTo>
                  <a:pt x="378" y="145"/>
                  <a:pt x="380" y="147"/>
                  <a:pt x="382" y="147"/>
                </a:cubicBezTo>
                <a:close/>
                <a:moveTo>
                  <a:pt x="359" y="147"/>
                </a:moveTo>
                <a:cubicBezTo>
                  <a:pt x="363" y="147"/>
                  <a:pt x="363" y="147"/>
                  <a:pt x="363" y="147"/>
                </a:cubicBezTo>
                <a:cubicBezTo>
                  <a:pt x="365" y="147"/>
                  <a:pt x="367" y="145"/>
                  <a:pt x="367" y="143"/>
                </a:cubicBezTo>
                <a:cubicBezTo>
                  <a:pt x="367" y="141"/>
                  <a:pt x="365" y="139"/>
                  <a:pt x="363" y="139"/>
                </a:cubicBezTo>
                <a:cubicBezTo>
                  <a:pt x="359" y="139"/>
                  <a:pt x="359" y="139"/>
                  <a:pt x="359" y="139"/>
                </a:cubicBezTo>
                <a:cubicBezTo>
                  <a:pt x="356" y="139"/>
                  <a:pt x="355" y="141"/>
                  <a:pt x="355" y="143"/>
                </a:cubicBezTo>
                <a:cubicBezTo>
                  <a:pt x="355" y="145"/>
                  <a:pt x="356" y="147"/>
                  <a:pt x="359" y="147"/>
                </a:cubicBezTo>
                <a:close/>
                <a:moveTo>
                  <a:pt x="340" y="134"/>
                </a:moveTo>
                <a:cubicBezTo>
                  <a:pt x="340" y="138"/>
                  <a:pt x="340" y="138"/>
                  <a:pt x="340" y="138"/>
                </a:cubicBezTo>
                <a:cubicBezTo>
                  <a:pt x="340" y="140"/>
                  <a:pt x="342" y="142"/>
                  <a:pt x="344" y="142"/>
                </a:cubicBezTo>
                <a:cubicBezTo>
                  <a:pt x="346" y="142"/>
                  <a:pt x="348" y="140"/>
                  <a:pt x="348" y="138"/>
                </a:cubicBezTo>
                <a:cubicBezTo>
                  <a:pt x="348" y="134"/>
                  <a:pt x="348" y="134"/>
                  <a:pt x="348" y="134"/>
                </a:cubicBezTo>
                <a:cubicBezTo>
                  <a:pt x="348" y="132"/>
                  <a:pt x="346" y="130"/>
                  <a:pt x="344" y="130"/>
                </a:cubicBezTo>
                <a:cubicBezTo>
                  <a:pt x="342" y="130"/>
                  <a:pt x="340" y="132"/>
                  <a:pt x="340" y="134"/>
                </a:cubicBezTo>
                <a:close/>
                <a:moveTo>
                  <a:pt x="340" y="111"/>
                </a:moveTo>
                <a:cubicBezTo>
                  <a:pt x="340" y="115"/>
                  <a:pt x="340" y="115"/>
                  <a:pt x="340" y="115"/>
                </a:cubicBezTo>
                <a:cubicBezTo>
                  <a:pt x="340" y="117"/>
                  <a:pt x="342" y="119"/>
                  <a:pt x="344" y="119"/>
                </a:cubicBezTo>
                <a:cubicBezTo>
                  <a:pt x="346" y="119"/>
                  <a:pt x="348" y="117"/>
                  <a:pt x="348" y="115"/>
                </a:cubicBezTo>
                <a:cubicBezTo>
                  <a:pt x="348" y="111"/>
                  <a:pt x="348" y="111"/>
                  <a:pt x="348" y="111"/>
                </a:cubicBezTo>
                <a:cubicBezTo>
                  <a:pt x="348" y="109"/>
                  <a:pt x="346" y="107"/>
                  <a:pt x="344" y="107"/>
                </a:cubicBezTo>
                <a:cubicBezTo>
                  <a:pt x="342" y="107"/>
                  <a:pt x="340" y="109"/>
                  <a:pt x="340" y="111"/>
                </a:cubicBezTo>
                <a:close/>
                <a:moveTo>
                  <a:pt x="340" y="87"/>
                </a:moveTo>
                <a:cubicBezTo>
                  <a:pt x="340" y="91"/>
                  <a:pt x="340" y="91"/>
                  <a:pt x="340" y="91"/>
                </a:cubicBezTo>
                <a:cubicBezTo>
                  <a:pt x="340" y="93"/>
                  <a:pt x="342" y="95"/>
                  <a:pt x="344" y="95"/>
                </a:cubicBezTo>
                <a:cubicBezTo>
                  <a:pt x="346" y="95"/>
                  <a:pt x="348" y="93"/>
                  <a:pt x="348" y="91"/>
                </a:cubicBezTo>
                <a:cubicBezTo>
                  <a:pt x="348" y="87"/>
                  <a:pt x="348" y="87"/>
                  <a:pt x="348" y="87"/>
                </a:cubicBezTo>
                <a:cubicBezTo>
                  <a:pt x="348" y="85"/>
                  <a:pt x="346" y="83"/>
                  <a:pt x="344" y="83"/>
                </a:cubicBezTo>
                <a:cubicBezTo>
                  <a:pt x="342" y="83"/>
                  <a:pt x="340" y="85"/>
                  <a:pt x="340" y="87"/>
                </a:cubicBezTo>
                <a:close/>
                <a:moveTo>
                  <a:pt x="340" y="64"/>
                </a:moveTo>
                <a:cubicBezTo>
                  <a:pt x="340" y="68"/>
                  <a:pt x="340" y="68"/>
                  <a:pt x="340" y="68"/>
                </a:cubicBezTo>
                <a:cubicBezTo>
                  <a:pt x="340" y="70"/>
                  <a:pt x="342" y="72"/>
                  <a:pt x="344" y="72"/>
                </a:cubicBezTo>
                <a:cubicBezTo>
                  <a:pt x="346" y="72"/>
                  <a:pt x="348" y="70"/>
                  <a:pt x="348" y="68"/>
                </a:cubicBezTo>
                <a:cubicBezTo>
                  <a:pt x="348" y="64"/>
                  <a:pt x="348" y="64"/>
                  <a:pt x="348" y="64"/>
                </a:cubicBezTo>
                <a:cubicBezTo>
                  <a:pt x="348" y="61"/>
                  <a:pt x="346" y="60"/>
                  <a:pt x="344" y="60"/>
                </a:cubicBezTo>
                <a:cubicBezTo>
                  <a:pt x="342" y="60"/>
                  <a:pt x="340" y="61"/>
                  <a:pt x="340" y="64"/>
                </a:cubicBezTo>
                <a:close/>
                <a:moveTo>
                  <a:pt x="340" y="40"/>
                </a:moveTo>
                <a:cubicBezTo>
                  <a:pt x="340" y="44"/>
                  <a:pt x="340" y="44"/>
                  <a:pt x="340" y="44"/>
                </a:cubicBezTo>
                <a:cubicBezTo>
                  <a:pt x="340" y="46"/>
                  <a:pt x="342" y="48"/>
                  <a:pt x="344" y="48"/>
                </a:cubicBezTo>
                <a:cubicBezTo>
                  <a:pt x="346" y="48"/>
                  <a:pt x="348" y="46"/>
                  <a:pt x="348" y="44"/>
                </a:cubicBezTo>
                <a:cubicBezTo>
                  <a:pt x="348" y="40"/>
                  <a:pt x="348" y="40"/>
                  <a:pt x="348" y="40"/>
                </a:cubicBezTo>
                <a:cubicBezTo>
                  <a:pt x="348" y="38"/>
                  <a:pt x="346" y="36"/>
                  <a:pt x="344" y="36"/>
                </a:cubicBezTo>
                <a:cubicBezTo>
                  <a:pt x="342" y="36"/>
                  <a:pt x="340" y="38"/>
                  <a:pt x="340" y="40"/>
                </a:cubicBezTo>
                <a:close/>
                <a:moveTo>
                  <a:pt x="340" y="17"/>
                </a:moveTo>
                <a:cubicBezTo>
                  <a:pt x="340" y="21"/>
                  <a:pt x="340" y="21"/>
                  <a:pt x="340" y="21"/>
                </a:cubicBezTo>
                <a:cubicBezTo>
                  <a:pt x="340" y="23"/>
                  <a:pt x="342" y="25"/>
                  <a:pt x="344" y="25"/>
                </a:cubicBezTo>
                <a:cubicBezTo>
                  <a:pt x="346" y="25"/>
                  <a:pt x="348" y="23"/>
                  <a:pt x="348" y="21"/>
                </a:cubicBezTo>
                <a:cubicBezTo>
                  <a:pt x="348" y="17"/>
                  <a:pt x="348" y="17"/>
                  <a:pt x="348" y="17"/>
                </a:cubicBezTo>
                <a:cubicBezTo>
                  <a:pt x="348" y="14"/>
                  <a:pt x="346" y="13"/>
                  <a:pt x="344" y="13"/>
                </a:cubicBezTo>
                <a:cubicBezTo>
                  <a:pt x="342" y="13"/>
                  <a:pt x="340" y="14"/>
                  <a:pt x="340" y="17"/>
                </a:cubicBezTo>
                <a:close/>
                <a:moveTo>
                  <a:pt x="334" y="8"/>
                </a:moveTo>
                <a:cubicBezTo>
                  <a:pt x="337" y="8"/>
                  <a:pt x="337" y="8"/>
                  <a:pt x="337" y="8"/>
                </a:cubicBezTo>
                <a:cubicBezTo>
                  <a:pt x="340" y="8"/>
                  <a:pt x="341" y="6"/>
                  <a:pt x="341" y="4"/>
                </a:cubicBezTo>
                <a:cubicBezTo>
                  <a:pt x="341" y="2"/>
                  <a:pt x="340" y="0"/>
                  <a:pt x="337" y="0"/>
                </a:cubicBezTo>
                <a:cubicBezTo>
                  <a:pt x="334" y="0"/>
                  <a:pt x="334" y="0"/>
                  <a:pt x="334" y="0"/>
                </a:cubicBezTo>
                <a:cubicBezTo>
                  <a:pt x="331" y="0"/>
                  <a:pt x="330" y="2"/>
                  <a:pt x="330" y="4"/>
                </a:cubicBezTo>
                <a:cubicBezTo>
                  <a:pt x="330" y="6"/>
                  <a:pt x="331" y="8"/>
                  <a:pt x="334" y="8"/>
                </a:cubicBezTo>
                <a:close/>
                <a:moveTo>
                  <a:pt x="310" y="8"/>
                </a:moveTo>
                <a:cubicBezTo>
                  <a:pt x="314" y="8"/>
                  <a:pt x="314" y="8"/>
                  <a:pt x="314" y="8"/>
                </a:cubicBezTo>
                <a:cubicBezTo>
                  <a:pt x="316" y="8"/>
                  <a:pt x="318" y="6"/>
                  <a:pt x="318" y="4"/>
                </a:cubicBezTo>
                <a:cubicBezTo>
                  <a:pt x="318" y="2"/>
                  <a:pt x="316" y="0"/>
                  <a:pt x="314" y="0"/>
                </a:cubicBezTo>
                <a:cubicBezTo>
                  <a:pt x="310" y="0"/>
                  <a:pt x="310" y="0"/>
                  <a:pt x="310" y="0"/>
                </a:cubicBezTo>
                <a:cubicBezTo>
                  <a:pt x="308" y="0"/>
                  <a:pt x="306" y="2"/>
                  <a:pt x="306" y="4"/>
                </a:cubicBezTo>
                <a:cubicBezTo>
                  <a:pt x="306" y="6"/>
                  <a:pt x="308" y="8"/>
                  <a:pt x="310" y="8"/>
                </a:cubicBezTo>
                <a:close/>
                <a:moveTo>
                  <a:pt x="286" y="8"/>
                </a:moveTo>
                <a:cubicBezTo>
                  <a:pt x="290" y="8"/>
                  <a:pt x="290" y="8"/>
                  <a:pt x="290" y="8"/>
                </a:cubicBezTo>
                <a:cubicBezTo>
                  <a:pt x="293" y="8"/>
                  <a:pt x="294" y="6"/>
                  <a:pt x="294" y="4"/>
                </a:cubicBezTo>
                <a:cubicBezTo>
                  <a:pt x="294" y="2"/>
                  <a:pt x="293" y="0"/>
                  <a:pt x="290" y="0"/>
                </a:cubicBezTo>
                <a:cubicBezTo>
                  <a:pt x="286" y="0"/>
                  <a:pt x="286" y="0"/>
                  <a:pt x="286" y="0"/>
                </a:cubicBezTo>
                <a:cubicBezTo>
                  <a:pt x="284" y="0"/>
                  <a:pt x="282" y="2"/>
                  <a:pt x="282" y="4"/>
                </a:cubicBezTo>
                <a:cubicBezTo>
                  <a:pt x="282" y="6"/>
                  <a:pt x="284" y="8"/>
                  <a:pt x="286" y="8"/>
                </a:cubicBezTo>
                <a:close/>
                <a:moveTo>
                  <a:pt x="263" y="8"/>
                </a:moveTo>
                <a:cubicBezTo>
                  <a:pt x="267" y="8"/>
                  <a:pt x="267" y="8"/>
                  <a:pt x="267" y="8"/>
                </a:cubicBezTo>
                <a:cubicBezTo>
                  <a:pt x="269" y="8"/>
                  <a:pt x="271" y="6"/>
                  <a:pt x="271" y="4"/>
                </a:cubicBezTo>
                <a:cubicBezTo>
                  <a:pt x="271" y="2"/>
                  <a:pt x="269" y="0"/>
                  <a:pt x="267" y="0"/>
                </a:cubicBezTo>
                <a:cubicBezTo>
                  <a:pt x="263" y="0"/>
                  <a:pt x="263" y="0"/>
                  <a:pt x="263" y="0"/>
                </a:cubicBezTo>
                <a:cubicBezTo>
                  <a:pt x="261" y="0"/>
                  <a:pt x="259" y="2"/>
                  <a:pt x="259" y="4"/>
                </a:cubicBezTo>
                <a:cubicBezTo>
                  <a:pt x="259" y="6"/>
                  <a:pt x="261" y="8"/>
                  <a:pt x="263" y="8"/>
                </a:cubicBezTo>
                <a:close/>
                <a:moveTo>
                  <a:pt x="239" y="8"/>
                </a:moveTo>
                <a:cubicBezTo>
                  <a:pt x="243" y="8"/>
                  <a:pt x="243" y="8"/>
                  <a:pt x="243" y="8"/>
                </a:cubicBezTo>
                <a:cubicBezTo>
                  <a:pt x="246" y="8"/>
                  <a:pt x="247" y="6"/>
                  <a:pt x="247" y="4"/>
                </a:cubicBezTo>
                <a:cubicBezTo>
                  <a:pt x="247" y="2"/>
                  <a:pt x="246" y="0"/>
                  <a:pt x="243" y="0"/>
                </a:cubicBezTo>
                <a:cubicBezTo>
                  <a:pt x="239" y="0"/>
                  <a:pt x="239" y="0"/>
                  <a:pt x="239" y="0"/>
                </a:cubicBezTo>
                <a:cubicBezTo>
                  <a:pt x="237" y="0"/>
                  <a:pt x="235" y="2"/>
                  <a:pt x="235" y="4"/>
                </a:cubicBezTo>
                <a:cubicBezTo>
                  <a:pt x="235" y="6"/>
                  <a:pt x="237" y="8"/>
                  <a:pt x="239" y="8"/>
                </a:cubicBezTo>
                <a:close/>
                <a:moveTo>
                  <a:pt x="216" y="8"/>
                </a:moveTo>
                <a:cubicBezTo>
                  <a:pt x="220" y="8"/>
                  <a:pt x="220" y="8"/>
                  <a:pt x="220" y="8"/>
                </a:cubicBezTo>
                <a:cubicBezTo>
                  <a:pt x="222" y="8"/>
                  <a:pt x="224" y="6"/>
                  <a:pt x="224" y="4"/>
                </a:cubicBezTo>
                <a:cubicBezTo>
                  <a:pt x="224" y="2"/>
                  <a:pt x="222" y="0"/>
                  <a:pt x="220" y="0"/>
                </a:cubicBezTo>
                <a:cubicBezTo>
                  <a:pt x="216" y="0"/>
                  <a:pt x="216" y="0"/>
                  <a:pt x="216" y="0"/>
                </a:cubicBezTo>
                <a:cubicBezTo>
                  <a:pt x="214" y="0"/>
                  <a:pt x="212" y="2"/>
                  <a:pt x="212" y="4"/>
                </a:cubicBezTo>
                <a:cubicBezTo>
                  <a:pt x="212" y="6"/>
                  <a:pt x="214" y="8"/>
                  <a:pt x="216" y="8"/>
                </a:cubicBezTo>
                <a:close/>
                <a:moveTo>
                  <a:pt x="192" y="8"/>
                </a:moveTo>
                <a:cubicBezTo>
                  <a:pt x="196" y="8"/>
                  <a:pt x="196" y="8"/>
                  <a:pt x="196" y="8"/>
                </a:cubicBezTo>
                <a:cubicBezTo>
                  <a:pt x="199" y="8"/>
                  <a:pt x="200" y="6"/>
                  <a:pt x="200" y="4"/>
                </a:cubicBezTo>
                <a:cubicBezTo>
                  <a:pt x="200" y="2"/>
                  <a:pt x="199" y="0"/>
                  <a:pt x="196" y="0"/>
                </a:cubicBezTo>
                <a:cubicBezTo>
                  <a:pt x="192" y="0"/>
                  <a:pt x="192" y="0"/>
                  <a:pt x="192" y="0"/>
                </a:cubicBezTo>
                <a:cubicBezTo>
                  <a:pt x="190" y="0"/>
                  <a:pt x="188" y="2"/>
                  <a:pt x="188" y="4"/>
                </a:cubicBezTo>
                <a:cubicBezTo>
                  <a:pt x="188" y="6"/>
                  <a:pt x="190" y="8"/>
                  <a:pt x="192" y="8"/>
                </a:cubicBezTo>
                <a:close/>
                <a:moveTo>
                  <a:pt x="169" y="8"/>
                </a:moveTo>
                <a:cubicBezTo>
                  <a:pt x="173" y="8"/>
                  <a:pt x="173" y="8"/>
                  <a:pt x="173" y="8"/>
                </a:cubicBezTo>
                <a:cubicBezTo>
                  <a:pt x="175" y="8"/>
                  <a:pt x="177" y="6"/>
                  <a:pt x="177" y="4"/>
                </a:cubicBezTo>
                <a:cubicBezTo>
                  <a:pt x="177" y="2"/>
                  <a:pt x="175" y="0"/>
                  <a:pt x="173" y="0"/>
                </a:cubicBezTo>
                <a:cubicBezTo>
                  <a:pt x="169" y="0"/>
                  <a:pt x="169" y="0"/>
                  <a:pt x="169" y="0"/>
                </a:cubicBezTo>
                <a:cubicBezTo>
                  <a:pt x="167" y="0"/>
                  <a:pt x="165" y="2"/>
                  <a:pt x="165" y="4"/>
                </a:cubicBezTo>
                <a:cubicBezTo>
                  <a:pt x="165" y="6"/>
                  <a:pt x="167" y="8"/>
                  <a:pt x="169" y="8"/>
                </a:cubicBezTo>
                <a:close/>
                <a:moveTo>
                  <a:pt x="145" y="8"/>
                </a:moveTo>
                <a:cubicBezTo>
                  <a:pt x="149" y="8"/>
                  <a:pt x="149" y="8"/>
                  <a:pt x="149" y="8"/>
                </a:cubicBezTo>
                <a:cubicBezTo>
                  <a:pt x="152" y="8"/>
                  <a:pt x="153" y="6"/>
                  <a:pt x="153" y="4"/>
                </a:cubicBezTo>
                <a:cubicBezTo>
                  <a:pt x="153" y="2"/>
                  <a:pt x="152" y="0"/>
                  <a:pt x="149" y="0"/>
                </a:cubicBezTo>
                <a:cubicBezTo>
                  <a:pt x="145" y="0"/>
                  <a:pt x="145" y="0"/>
                  <a:pt x="145" y="0"/>
                </a:cubicBezTo>
                <a:cubicBezTo>
                  <a:pt x="143" y="0"/>
                  <a:pt x="141" y="2"/>
                  <a:pt x="141" y="4"/>
                </a:cubicBezTo>
                <a:cubicBezTo>
                  <a:pt x="141" y="6"/>
                  <a:pt x="143" y="8"/>
                  <a:pt x="145" y="8"/>
                </a:cubicBezTo>
                <a:close/>
                <a:moveTo>
                  <a:pt x="122" y="8"/>
                </a:moveTo>
                <a:cubicBezTo>
                  <a:pt x="126" y="8"/>
                  <a:pt x="126" y="8"/>
                  <a:pt x="126" y="8"/>
                </a:cubicBezTo>
                <a:cubicBezTo>
                  <a:pt x="128" y="8"/>
                  <a:pt x="130" y="6"/>
                  <a:pt x="130" y="4"/>
                </a:cubicBezTo>
                <a:cubicBezTo>
                  <a:pt x="130" y="2"/>
                  <a:pt x="128" y="0"/>
                  <a:pt x="126" y="0"/>
                </a:cubicBezTo>
                <a:cubicBezTo>
                  <a:pt x="122" y="0"/>
                  <a:pt x="122" y="0"/>
                  <a:pt x="122" y="0"/>
                </a:cubicBezTo>
                <a:cubicBezTo>
                  <a:pt x="120" y="0"/>
                  <a:pt x="118" y="2"/>
                  <a:pt x="118" y="4"/>
                </a:cubicBezTo>
                <a:cubicBezTo>
                  <a:pt x="118" y="6"/>
                  <a:pt x="120" y="8"/>
                  <a:pt x="122" y="8"/>
                </a:cubicBezTo>
                <a:close/>
                <a:moveTo>
                  <a:pt x="98" y="8"/>
                </a:moveTo>
                <a:cubicBezTo>
                  <a:pt x="102" y="8"/>
                  <a:pt x="102" y="8"/>
                  <a:pt x="102" y="8"/>
                </a:cubicBezTo>
                <a:cubicBezTo>
                  <a:pt x="105" y="8"/>
                  <a:pt x="106" y="6"/>
                  <a:pt x="106" y="4"/>
                </a:cubicBezTo>
                <a:cubicBezTo>
                  <a:pt x="106" y="2"/>
                  <a:pt x="105" y="0"/>
                  <a:pt x="102" y="0"/>
                </a:cubicBezTo>
                <a:cubicBezTo>
                  <a:pt x="98" y="0"/>
                  <a:pt x="98" y="0"/>
                  <a:pt x="98" y="0"/>
                </a:cubicBezTo>
                <a:cubicBezTo>
                  <a:pt x="96" y="0"/>
                  <a:pt x="94" y="2"/>
                  <a:pt x="94" y="4"/>
                </a:cubicBezTo>
                <a:cubicBezTo>
                  <a:pt x="94" y="6"/>
                  <a:pt x="96" y="8"/>
                  <a:pt x="98" y="8"/>
                </a:cubicBezTo>
                <a:close/>
                <a:moveTo>
                  <a:pt x="75" y="8"/>
                </a:moveTo>
                <a:cubicBezTo>
                  <a:pt x="79" y="8"/>
                  <a:pt x="79" y="8"/>
                  <a:pt x="79" y="8"/>
                </a:cubicBezTo>
                <a:cubicBezTo>
                  <a:pt x="81" y="8"/>
                  <a:pt x="83" y="6"/>
                  <a:pt x="83" y="4"/>
                </a:cubicBezTo>
                <a:cubicBezTo>
                  <a:pt x="83" y="2"/>
                  <a:pt x="81" y="0"/>
                  <a:pt x="79" y="0"/>
                </a:cubicBezTo>
                <a:cubicBezTo>
                  <a:pt x="75" y="0"/>
                  <a:pt x="75" y="0"/>
                  <a:pt x="75" y="0"/>
                </a:cubicBezTo>
                <a:cubicBezTo>
                  <a:pt x="73" y="0"/>
                  <a:pt x="71" y="2"/>
                  <a:pt x="71" y="4"/>
                </a:cubicBezTo>
                <a:cubicBezTo>
                  <a:pt x="71" y="6"/>
                  <a:pt x="73" y="8"/>
                  <a:pt x="75" y="8"/>
                </a:cubicBezTo>
                <a:close/>
                <a:moveTo>
                  <a:pt x="51" y="8"/>
                </a:moveTo>
                <a:cubicBezTo>
                  <a:pt x="55" y="8"/>
                  <a:pt x="55" y="8"/>
                  <a:pt x="55" y="8"/>
                </a:cubicBezTo>
                <a:cubicBezTo>
                  <a:pt x="58" y="8"/>
                  <a:pt x="59" y="6"/>
                  <a:pt x="59" y="4"/>
                </a:cubicBezTo>
                <a:cubicBezTo>
                  <a:pt x="59" y="2"/>
                  <a:pt x="58" y="0"/>
                  <a:pt x="55" y="0"/>
                </a:cubicBezTo>
                <a:cubicBezTo>
                  <a:pt x="51" y="0"/>
                  <a:pt x="51" y="0"/>
                  <a:pt x="51" y="0"/>
                </a:cubicBezTo>
                <a:cubicBezTo>
                  <a:pt x="49" y="0"/>
                  <a:pt x="47" y="2"/>
                  <a:pt x="47" y="4"/>
                </a:cubicBezTo>
                <a:cubicBezTo>
                  <a:pt x="47" y="6"/>
                  <a:pt x="49" y="8"/>
                  <a:pt x="51" y="8"/>
                </a:cubicBezTo>
                <a:close/>
                <a:moveTo>
                  <a:pt x="28" y="8"/>
                </a:moveTo>
                <a:cubicBezTo>
                  <a:pt x="32" y="8"/>
                  <a:pt x="32" y="8"/>
                  <a:pt x="32" y="8"/>
                </a:cubicBezTo>
                <a:cubicBezTo>
                  <a:pt x="34" y="8"/>
                  <a:pt x="36" y="6"/>
                  <a:pt x="36" y="4"/>
                </a:cubicBezTo>
                <a:cubicBezTo>
                  <a:pt x="36" y="2"/>
                  <a:pt x="34" y="0"/>
                  <a:pt x="32" y="0"/>
                </a:cubicBezTo>
                <a:cubicBezTo>
                  <a:pt x="28" y="0"/>
                  <a:pt x="28" y="0"/>
                  <a:pt x="28" y="0"/>
                </a:cubicBezTo>
                <a:cubicBezTo>
                  <a:pt x="26" y="0"/>
                  <a:pt x="24" y="2"/>
                  <a:pt x="24" y="4"/>
                </a:cubicBezTo>
                <a:cubicBezTo>
                  <a:pt x="24" y="6"/>
                  <a:pt x="26" y="8"/>
                  <a:pt x="28" y="8"/>
                </a:cubicBezTo>
                <a:close/>
                <a:moveTo>
                  <a:pt x="4" y="8"/>
                </a:moveTo>
                <a:cubicBezTo>
                  <a:pt x="8" y="8"/>
                  <a:pt x="8" y="8"/>
                  <a:pt x="8" y="8"/>
                </a:cubicBezTo>
                <a:cubicBezTo>
                  <a:pt x="11" y="8"/>
                  <a:pt x="12" y="6"/>
                  <a:pt x="12" y="4"/>
                </a:cubicBezTo>
                <a:cubicBezTo>
                  <a:pt x="12" y="2"/>
                  <a:pt x="11" y="0"/>
                  <a:pt x="8" y="0"/>
                </a:cubicBezTo>
                <a:cubicBezTo>
                  <a:pt x="4" y="0"/>
                  <a:pt x="4" y="0"/>
                  <a:pt x="4" y="0"/>
                </a:cubicBezTo>
                <a:cubicBezTo>
                  <a:pt x="2" y="0"/>
                  <a:pt x="0" y="2"/>
                  <a:pt x="0" y="4"/>
                </a:cubicBezTo>
                <a:cubicBezTo>
                  <a:pt x="0" y="6"/>
                  <a:pt x="2" y="8"/>
                  <a:pt x="4" y="8"/>
                </a:cubicBez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58" name="Freeform 258"/>
          <p:cNvSpPr>
            <a:spLocks/>
          </p:cNvSpPr>
          <p:nvPr/>
        </p:nvSpPr>
        <p:spPr bwMode="auto">
          <a:xfrm>
            <a:off x="7164933" y="499699"/>
            <a:ext cx="2598435" cy="2481015"/>
          </a:xfrm>
          <a:custGeom>
            <a:avLst/>
            <a:gdLst>
              <a:gd name="T0" fmla="*/ 1082 w 1082"/>
              <a:gd name="T1" fmla="*/ 515 h 1033"/>
              <a:gd name="T2" fmla="*/ 930 w 1082"/>
              <a:gd name="T3" fmla="*/ 150 h 1033"/>
              <a:gd name="T4" fmla="*/ 564 w 1082"/>
              <a:gd name="T5" fmla="*/ 0 h 1033"/>
              <a:gd name="T6" fmla="*/ 200 w 1082"/>
              <a:gd name="T7" fmla="*/ 152 h 1033"/>
              <a:gd name="T8" fmla="*/ 202 w 1082"/>
              <a:gd name="T9" fmla="*/ 882 h 1033"/>
              <a:gd name="T10" fmla="*/ 569 w 1082"/>
              <a:gd name="T11" fmla="*/ 1032 h 1033"/>
              <a:gd name="T12" fmla="*/ 932 w 1082"/>
              <a:gd name="T13" fmla="*/ 880 h 1033"/>
              <a:gd name="T14" fmla="*/ 1082 w 1082"/>
              <a:gd name="T15" fmla="*/ 515 h 10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2" h="1033">
                <a:moveTo>
                  <a:pt x="1082" y="515"/>
                </a:moveTo>
                <a:cubicBezTo>
                  <a:pt x="1082" y="377"/>
                  <a:pt x="1028" y="247"/>
                  <a:pt x="930" y="150"/>
                </a:cubicBezTo>
                <a:cubicBezTo>
                  <a:pt x="832" y="53"/>
                  <a:pt x="702" y="0"/>
                  <a:pt x="564" y="0"/>
                </a:cubicBezTo>
                <a:cubicBezTo>
                  <a:pt x="426" y="1"/>
                  <a:pt x="297" y="55"/>
                  <a:pt x="200" y="152"/>
                </a:cubicBezTo>
                <a:cubicBezTo>
                  <a:pt x="0" y="354"/>
                  <a:pt x="0" y="681"/>
                  <a:pt x="202" y="882"/>
                </a:cubicBezTo>
                <a:cubicBezTo>
                  <a:pt x="300" y="979"/>
                  <a:pt x="430" y="1033"/>
                  <a:pt x="569" y="1032"/>
                </a:cubicBezTo>
                <a:cubicBezTo>
                  <a:pt x="706" y="1031"/>
                  <a:pt x="835" y="977"/>
                  <a:pt x="932" y="880"/>
                </a:cubicBezTo>
                <a:cubicBezTo>
                  <a:pt x="1029" y="783"/>
                  <a:pt x="1082" y="653"/>
                  <a:pt x="1082" y="5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59"/>
          <p:cNvSpPr>
            <a:spLocks/>
          </p:cNvSpPr>
          <p:nvPr/>
        </p:nvSpPr>
        <p:spPr bwMode="auto">
          <a:xfrm>
            <a:off x="7270206" y="484515"/>
            <a:ext cx="2507333" cy="2508345"/>
          </a:xfrm>
          <a:custGeom>
            <a:avLst/>
            <a:gdLst>
              <a:gd name="T0" fmla="*/ 1038 w 1044"/>
              <a:gd name="T1" fmla="*/ 521 h 1044"/>
              <a:gd name="T2" fmla="*/ 1044 w 1044"/>
              <a:gd name="T3" fmla="*/ 521 h 1044"/>
              <a:gd name="T4" fmla="*/ 890 w 1044"/>
              <a:gd name="T5" fmla="*/ 152 h 1044"/>
              <a:gd name="T6" fmla="*/ 522 w 1044"/>
              <a:gd name="T7" fmla="*/ 0 h 1044"/>
              <a:gd name="T8" fmla="*/ 520 w 1044"/>
              <a:gd name="T9" fmla="*/ 0 h 1044"/>
              <a:gd name="T10" fmla="*/ 152 w 1044"/>
              <a:gd name="T11" fmla="*/ 154 h 1044"/>
              <a:gd name="T12" fmla="*/ 0 w 1044"/>
              <a:gd name="T13" fmla="*/ 522 h 1044"/>
              <a:gd name="T14" fmla="*/ 154 w 1044"/>
              <a:gd name="T15" fmla="*/ 892 h 1044"/>
              <a:gd name="T16" fmla="*/ 523 w 1044"/>
              <a:gd name="T17" fmla="*/ 1044 h 1044"/>
              <a:gd name="T18" fmla="*/ 525 w 1044"/>
              <a:gd name="T19" fmla="*/ 1044 h 1044"/>
              <a:gd name="T20" fmla="*/ 525 w 1044"/>
              <a:gd name="T21" fmla="*/ 1044 h 1044"/>
              <a:gd name="T22" fmla="*/ 892 w 1044"/>
              <a:gd name="T23" fmla="*/ 890 h 1044"/>
              <a:gd name="T24" fmla="*/ 1044 w 1044"/>
              <a:gd name="T25" fmla="*/ 522 h 1044"/>
              <a:gd name="T26" fmla="*/ 1044 w 1044"/>
              <a:gd name="T27" fmla="*/ 521 h 1044"/>
              <a:gd name="T28" fmla="*/ 1038 w 1044"/>
              <a:gd name="T29" fmla="*/ 521 h 1044"/>
              <a:gd name="T30" fmla="*/ 1032 w 1044"/>
              <a:gd name="T31" fmla="*/ 521 h 1044"/>
              <a:gd name="T32" fmla="*/ 1032 w 1044"/>
              <a:gd name="T33" fmla="*/ 522 h 1044"/>
              <a:gd name="T34" fmla="*/ 884 w 1044"/>
              <a:gd name="T35" fmla="*/ 882 h 1044"/>
              <a:gd name="T36" fmla="*/ 525 w 1044"/>
              <a:gd name="T37" fmla="*/ 1032 h 1044"/>
              <a:gd name="T38" fmla="*/ 525 w 1044"/>
              <a:gd name="T39" fmla="*/ 1032 h 1044"/>
              <a:gd name="T40" fmla="*/ 523 w 1044"/>
              <a:gd name="T41" fmla="*/ 1032 h 1044"/>
              <a:gd name="T42" fmla="*/ 162 w 1044"/>
              <a:gd name="T43" fmla="*/ 884 h 1044"/>
              <a:gd name="T44" fmla="*/ 12 w 1044"/>
              <a:gd name="T45" fmla="*/ 522 h 1044"/>
              <a:gd name="T46" fmla="*/ 161 w 1044"/>
              <a:gd name="T47" fmla="*/ 162 h 1044"/>
              <a:gd name="T48" fmla="*/ 520 w 1044"/>
              <a:gd name="T49" fmla="*/ 12 h 1044"/>
              <a:gd name="T50" fmla="*/ 522 w 1044"/>
              <a:gd name="T51" fmla="*/ 12 h 1044"/>
              <a:gd name="T52" fmla="*/ 882 w 1044"/>
              <a:gd name="T53" fmla="*/ 161 h 1044"/>
              <a:gd name="T54" fmla="*/ 1032 w 1044"/>
              <a:gd name="T55" fmla="*/ 521 h 1044"/>
              <a:gd name="T56" fmla="*/ 1038 w 1044"/>
              <a:gd name="T57" fmla="*/ 521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4" h="1044">
                <a:moveTo>
                  <a:pt x="1038" y="521"/>
                </a:moveTo>
                <a:cubicBezTo>
                  <a:pt x="1044" y="521"/>
                  <a:pt x="1044" y="521"/>
                  <a:pt x="1044" y="521"/>
                </a:cubicBezTo>
                <a:cubicBezTo>
                  <a:pt x="1044" y="381"/>
                  <a:pt x="989" y="250"/>
                  <a:pt x="890" y="152"/>
                </a:cubicBezTo>
                <a:cubicBezTo>
                  <a:pt x="792" y="54"/>
                  <a:pt x="661" y="0"/>
                  <a:pt x="522" y="0"/>
                </a:cubicBezTo>
                <a:cubicBezTo>
                  <a:pt x="522" y="0"/>
                  <a:pt x="521" y="0"/>
                  <a:pt x="520" y="0"/>
                </a:cubicBezTo>
                <a:cubicBezTo>
                  <a:pt x="381" y="1"/>
                  <a:pt x="250" y="55"/>
                  <a:pt x="152" y="154"/>
                </a:cubicBezTo>
                <a:cubicBezTo>
                  <a:pt x="51" y="256"/>
                  <a:pt x="0" y="389"/>
                  <a:pt x="0" y="522"/>
                </a:cubicBezTo>
                <a:cubicBezTo>
                  <a:pt x="0" y="656"/>
                  <a:pt x="52" y="790"/>
                  <a:pt x="154" y="892"/>
                </a:cubicBezTo>
                <a:cubicBezTo>
                  <a:pt x="252" y="990"/>
                  <a:pt x="383" y="1044"/>
                  <a:pt x="523" y="1044"/>
                </a:cubicBezTo>
                <a:cubicBezTo>
                  <a:pt x="523" y="1044"/>
                  <a:pt x="524" y="1044"/>
                  <a:pt x="525" y="1044"/>
                </a:cubicBezTo>
                <a:cubicBezTo>
                  <a:pt x="525" y="1044"/>
                  <a:pt x="525" y="1044"/>
                  <a:pt x="525" y="1044"/>
                </a:cubicBezTo>
                <a:cubicBezTo>
                  <a:pt x="664" y="1043"/>
                  <a:pt x="794" y="989"/>
                  <a:pt x="892" y="890"/>
                </a:cubicBezTo>
                <a:cubicBezTo>
                  <a:pt x="990" y="792"/>
                  <a:pt x="1044" y="661"/>
                  <a:pt x="1044" y="522"/>
                </a:cubicBezTo>
                <a:cubicBezTo>
                  <a:pt x="1044" y="522"/>
                  <a:pt x="1044" y="521"/>
                  <a:pt x="1044" y="521"/>
                </a:cubicBezTo>
                <a:cubicBezTo>
                  <a:pt x="1038" y="521"/>
                  <a:pt x="1038" y="521"/>
                  <a:pt x="1038" y="521"/>
                </a:cubicBezTo>
                <a:cubicBezTo>
                  <a:pt x="1032" y="521"/>
                  <a:pt x="1032" y="521"/>
                  <a:pt x="1032" y="521"/>
                </a:cubicBezTo>
                <a:cubicBezTo>
                  <a:pt x="1032" y="521"/>
                  <a:pt x="1032" y="522"/>
                  <a:pt x="1032" y="522"/>
                </a:cubicBezTo>
                <a:cubicBezTo>
                  <a:pt x="1032" y="658"/>
                  <a:pt x="979" y="786"/>
                  <a:pt x="884" y="882"/>
                </a:cubicBezTo>
                <a:cubicBezTo>
                  <a:pt x="788" y="978"/>
                  <a:pt x="661" y="1031"/>
                  <a:pt x="525" y="1032"/>
                </a:cubicBezTo>
                <a:cubicBezTo>
                  <a:pt x="525" y="1032"/>
                  <a:pt x="525" y="1032"/>
                  <a:pt x="525" y="1032"/>
                </a:cubicBezTo>
                <a:cubicBezTo>
                  <a:pt x="524" y="1032"/>
                  <a:pt x="523" y="1032"/>
                  <a:pt x="523" y="1032"/>
                </a:cubicBezTo>
                <a:cubicBezTo>
                  <a:pt x="387" y="1032"/>
                  <a:pt x="259" y="979"/>
                  <a:pt x="162" y="884"/>
                </a:cubicBezTo>
                <a:cubicBezTo>
                  <a:pt x="62" y="784"/>
                  <a:pt x="12" y="653"/>
                  <a:pt x="12" y="522"/>
                </a:cubicBezTo>
                <a:cubicBezTo>
                  <a:pt x="12" y="392"/>
                  <a:pt x="62" y="262"/>
                  <a:pt x="161" y="162"/>
                </a:cubicBezTo>
                <a:cubicBezTo>
                  <a:pt x="256" y="66"/>
                  <a:pt x="384" y="13"/>
                  <a:pt x="520" y="12"/>
                </a:cubicBezTo>
                <a:cubicBezTo>
                  <a:pt x="521" y="12"/>
                  <a:pt x="522" y="12"/>
                  <a:pt x="522" y="12"/>
                </a:cubicBezTo>
                <a:cubicBezTo>
                  <a:pt x="658" y="12"/>
                  <a:pt x="786" y="65"/>
                  <a:pt x="882" y="161"/>
                </a:cubicBezTo>
                <a:cubicBezTo>
                  <a:pt x="978" y="257"/>
                  <a:pt x="1032" y="385"/>
                  <a:pt x="1032" y="521"/>
                </a:cubicBezTo>
                <a:lnTo>
                  <a:pt x="1038" y="521"/>
                </a:ln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60"/>
          <p:cNvSpPr>
            <a:spLocks/>
          </p:cNvSpPr>
          <p:nvPr/>
        </p:nvSpPr>
        <p:spPr bwMode="auto">
          <a:xfrm>
            <a:off x="7495937" y="701136"/>
            <a:ext cx="2073080" cy="2073080"/>
          </a:xfrm>
          <a:custGeom>
            <a:avLst/>
            <a:gdLst>
              <a:gd name="T0" fmla="*/ 733 w 863"/>
              <a:gd name="T1" fmla="*/ 731 h 863"/>
              <a:gd name="T2" fmla="*/ 729 w 863"/>
              <a:gd name="T3" fmla="*/ 727 h 863"/>
              <a:gd name="T4" fmla="*/ 432 w 863"/>
              <a:gd name="T5" fmla="*/ 851 h 863"/>
              <a:gd name="T6" fmla="*/ 136 w 863"/>
              <a:gd name="T7" fmla="*/ 728 h 863"/>
              <a:gd name="T8" fmla="*/ 12 w 863"/>
              <a:gd name="T9" fmla="*/ 431 h 863"/>
              <a:gd name="T10" fmla="*/ 135 w 863"/>
              <a:gd name="T11" fmla="*/ 135 h 863"/>
              <a:gd name="T12" fmla="*/ 432 w 863"/>
              <a:gd name="T13" fmla="*/ 12 h 863"/>
              <a:gd name="T14" fmla="*/ 728 w 863"/>
              <a:gd name="T15" fmla="*/ 134 h 863"/>
              <a:gd name="T16" fmla="*/ 851 w 863"/>
              <a:gd name="T17" fmla="*/ 431 h 863"/>
              <a:gd name="T18" fmla="*/ 729 w 863"/>
              <a:gd name="T19" fmla="*/ 727 h 863"/>
              <a:gd name="T20" fmla="*/ 733 w 863"/>
              <a:gd name="T21" fmla="*/ 731 h 863"/>
              <a:gd name="T22" fmla="*/ 738 w 863"/>
              <a:gd name="T23" fmla="*/ 736 h 863"/>
              <a:gd name="T24" fmla="*/ 863 w 863"/>
              <a:gd name="T25" fmla="*/ 431 h 863"/>
              <a:gd name="T26" fmla="*/ 736 w 863"/>
              <a:gd name="T27" fmla="*/ 126 h 863"/>
              <a:gd name="T28" fmla="*/ 432 w 863"/>
              <a:gd name="T29" fmla="*/ 0 h 863"/>
              <a:gd name="T30" fmla="*/ 126 w 863"/>
              <a:gd name="T31" fmla="*/ 127 h 863"/>
              <a:gd name="T32" fmla="*/ 0 w 863"/>
              <a:gd name="T33" fmla="*/ 431 h 863"/>
              <a:gd name="T34" fmla="*/ 127 w 863"/>
              <a:gd name="T35" fmla="*/ 737 h 863"/>
              <a:gd name="T36" fmla="*/ 432 w 863"/>
              <a:gd name="T37" fmla="*/ 863 h 863"/>
              <a:gd name="T38" fmla="*/ 738 w 863"/>
              <a:gd name="T39" fmla="*/ 736 h 863"/>
              <a:gd name="T40" fmla="*/ 733 w 863"/>
              <a:gd name="T41" fmla="*/ 731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3" h="863">
                <a:moveTo>
                  <a:pt x="733" y="731"/>
                </a:moveTo>
                <a:cubicBezTo>
                  <a:pt x="729" y="727"/>
                  <a:pt x="729" y="727"/>
                  <a:pt x="729" y="727"/>
                </a:cubicBezTo>
                <a:cubicBezTo>
                  <a:pt x="647" y="809"/>
                  <a:pt x="539" y="851"/>
                  <a:pt x="432" y="851"/>
                </a:cubicBezTo>
                <a:cubicBezTo>
                  <a:pt x="325" y="851"/>
                  <a:pt x="218" y="810"/>
                  <a:pt x="136" y="728"/>
                </a:cubicBezTo>
                <a:cubicBezTo>
                  <a:pt x="54" y="647"/>
                  <a:pt x="12" y="539"/>
                  <a:pt x="12" y="431"/>
                </a:cubicBezTo>
                <a:cubicBezTo>
                  <a:pt x="12" y="324"/>
                  <a:pt x="53" y="217"/>
                  <a:pt x="135" y="135"/>
                </a:cubicBezTo>
                <a:cubicBezTo>
                  <a:pt x="216" y="53"/>
                  <a:pt x="324" y="12"/>
                  <a:pt x="432" y="12"/>
                </a:cubicBezTo>
                <a:cubicBezTo>
                  <a:pt x="539" y="12"/>
                  <a:pt x="646" y="53"/>
                  <a:pt x="728" y="134"/>
                </a:cubicBezTo>
                <a:cubicBezTo>
                  <a:pt x="810" y="216"/>
                  <a:pt x="851" y="324"/>
                  <a:pt x="851" y="431"/>
                </a:cubicBezTo>
                <a:cubicBezTo>
                  <a:pt x="851" y="538"/>
                  <a:pt x="811" y="645"/>
                  <a:pt x="729" y="727"/>
                </a:cubicBezTo>
                <a:cubicBezTo>
                  <a:pt x="733" y="731"/>
                  <a:pt x="733" y="731"/>
                  <a:pt x="733" y="731"/>
                </a:cubicBezTo>
                <a:cubicBezTo>
                  <a:pt x="738" y="736"/>
                  <a:pt x="738" y="736"/>
                  <a:pt x="738" y="736"/>
                </a:cubicBezTo>
                <a:cubicBezTo>
                  <a:pt x="821" y="652"/>
                  <a:pt x="863" y="541"/>
                  <a:pt x="863" y="431"/>
                </a:cubicBezTo>
                <a:cubicBezTo>
                  <a:pt x="863" y="321"/>
                  <a:pt x="821" y="210"/>
                  <a:pt x="736" y="126"/>
                </a:cubicBezTo>
                <a:cubicBezTo>
                  <a:pt x="652" y="42"/>
                  <a:pt x="542" y="0"/>
                  <a:pt x="432" y="0"/>
                </a:cubicBezTo>
                <a:cubicBezTo>
                  <a:pt x="321" y="0"/>
                  <a:pt x="210" y="42"/>
                  <a:pt x="126" y="127"/>
                </a:cubicBezTo>
                <a:cubicBezTo>
                  <a:pt x="42" y="211"/>
                  <a:pt x="0" y="321"/>
                  <a:pt x="0" y="431"/>
                </a:cubicBezTo>
                <a:cubicBezTo>
                  <a:pt x="0" y="542"/>
                  <a:pt x="43" y="653"/>
                  <a:pt x="127" y="737"/>
                </a:cubicBezTo>
                <a:cubicBezTo>
                  <a:pt x="212" y="821"/>
                  <a:pt x="322" y="863"/>
                  <a:pt x="432" y="863"/>
                </a:cubicBezTo>
                <a:cubicBezTo>
                  <a:pt x="543" y="863"/>
                  <a:pt x="653" y="820"/>
                  <a:pt x="738" y="736"/>
                </a:cubicBezTo>
                <a:lnTo>
                  <a:pt x="733" y="731"/>
                </a:lnTo>
                <a:close/>
              </a:path>
            </a:pathLst>
          </a:custGeom>
          <a:solidFill>
            <a:srgbClr val="5EA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61"/>
          <p:cNvSpPr>
            <a:spLocks/>
          </p:cNvSpPr>
          <p:nvPr/>
        </p:nvSpPr>
        <p:spPr bwMode="auto">
          <a:xfrm>
            <a:off x="7747986" y="2089937"/>
            <a:ext cx="704523" cy="504098"/>
          </a:xfrm>
          <a:custGeom>
            <a:avLst/>
            <a:gdLst>
              <a:gd name="T0" fmla="*/ 7 w 293"/>
              <a:gd name="T1" fmla="*/ 6 h 210"/>
              <a:gd name="T2" fmla="*/ 1 w 293"/>
              <a:gd name="T3" fmla="*/ 9 h 210"/>
              <a:gd name="T4" fmla="*/ 286 w 293"/>
              <a:gd name="T5" fmla="*/ 209 h 210"/>
              <a:gd name="T6" fmla="*/ 292 w 293"/>
              <a:gd name="T7" fmla="*/ 204 h 210"/>
              <a:gd name="T8" fmla="*/ 287 w 293"/>
              <a:gd name="T9" fmla="*/ 197 h 210"/>
              <a:gd name="T10" fmla="*/ 12 w 293"/>
              <a:gd name="T11" fmla="*/ 4 h 210"/>
              <a:gd name="T12" fmla="*/ 4 w 293"/>
              <a:gd name="T13" fmla="*/ 1 h 210"/>
              <a:gd name="T14" fmla="*/ 1 w 293"/>
              <a:gd name="T15" fmla="*/ 9 h 210"/>
              <a:gd name="T16" fmla="*/ 7 w 293"/>
              <a:gd name="T17" fmla="*/ 6 h 210"/>
              <a:gd name="T18" fmla="*/ 1 w 293"/>
              <a:gd name="T19" fmla="*/ 9 h 210"/>
              <a:gd name="T20" fmla="*/ 286 w 293"/>
              <a:gd name="T21" fmla="*/ 209 h 210"/>
              <a:gd name="T22" fmla="*/ 290 w 293"/>
              <a:gd name="T23" fmla="*/ 208 h 210"/>
              <a:gd name="T24" fmla="*/ 292 w 293"/>
              <a:gd name="T25" fmla="*/ 204 h 210"/>
              <a:gd name="T26" fmla="*/ 291 w 293"/>
              <a:gd name="T27" fmla="*/ 199 h 210"/>
              <a:gd name="T28" fmla="*/ 287 w 293"/>
              <a:gd name="T29" fmla="*/ 197 h 210"/>
              <a:gd name="T30" fmla="*/ 12 w 293"/>
              <a:gd name="T31" fmla="*/ 4 h 210"/>
              <a:gd name="T32" fmla="*/ 9 w 293"/>
              <a:gd name="T33" fmla="*/ 1 h 210"/>
              <a:gd name="T34" fmla="*/ 4 w 293"/>
              <a:gd name="T35" fmla="*/ 1 h 210"/>
              <a:gd name="T36" fmla="*/ 1 w 293"/>
              <a:gd name="T37" fmla="*/ 4 h 210"/>
              <a:gd name="T38" fmla="*/ 1 w 293"/>
              <a:gd name="T39" fmla="*/ 9 h 210"/>
              <a:gd name="T40" fmla="*/ 7 w 293"/>
              <a:gd name="T41" fmla="*/ 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3" h="210">
                <a:moveTo>
                  <a:pt x="7" y="6"/>
                </a:moveTo>
                <a:cubicBezTo>
                  <a:pt x="1" y="9"/>
                  <a:pt x="1" y="9"/>
                  <a:pt x="1" y="9"/>
                </a:cubicBezTo>
                <a:cubicBezTo>
                  <a:pt x="55" y="122"/>
                  <a:pt x="161" y="197"/>
                  <a:pt x="286" y="209"/>
                </a:cubicBezTo>
                <a:cubicBezTo>
                  <a:pt x="289" y="210"/>
                  <a:pt x="292" y="207"/>
                  <a:pt x="292" y="204"/>
                </a:cubicBezTo>
                <a:cubicBezTo>
                  <a:pt x="293" y="201"/>
                  <a:pt x="290" y="198"/>
                  <a:pt x="287" y="197"/>
                </a:cubicBezTo>
                <a:cubicBezTo>
                  <a:pt x="166" y="185"/>
                  <a:pt x="63" y="109"/>
                  <a:pt x="12" y="4"/>
                </a:cubicBezTo>
                <a:cubicBezTo>
                  <a:pt x="11" y="1"/>
                  <a:pt x="7" y="0"/>
                  <a:pt x="4" y="1"/>
                </a:cubicBezTo>
                <a:cubicBezTo>
                  <a:pt x="1" y="2"/>
                  <a:pt x="0" y="6"/>
                  <a:pt x="1" y="9"/>
                </a:cubicBezTo>
                <a:cubicBezTo>
                  <a:pt x="7" y="6"/>
                  <a:pt x="7" y="6"/>
                  <a:pt x="7" y="6"/>
                </a:cubicBezTo>
                <a:cubicBezTo>
                  <a:pt x="1" y="9"/>
                  <a:pt x="1" y="9"/>
                  <a:pt x="1" y="9"/>
                </a:cubicBezTo>
                <a:cubicBezTo>
                  <a:pt x="54" y="118"/>
                  <a:pt x="160" y="196"/>
                  <a:pt x="286" y="209"/>
                </a:cubicBezTo>
                <a:cubicBezTo>
                  <a:pt x="287" y="209"/>
                  <a:pt x="289" y="209"/>
                  <a:pt x="290" y="208"/>
                </a:cubicBezTo>
                <a:cubicBezTo>
                  <a:pt x="292" y="207"/>
                  <a:pt x="292" y="205"/>
                  <a:pt x="292" y="204"/>
                </a:cubicBezTo>
                <a:cubicBezTo>
                  <a:pt x="293" y="202"/>
                  <a:pt x="292" y="201"/>
                  <a:pt x="291" y="199"/>
                </a:cubicBezTo>
                <a:cubicBezTo>
                  <a:pt x="290" y="198"/>
                  <a:pt x="289" y="197"/>
                  <a:pt x="287" y="197"/>
                </a:cubicBezTo>
                <a:cubicBezTo>
                  <a:pt x="166" y="185"/>
                  <a:pt x="64" y="113"/>
                  <a:pt x="12" y="4"/>
                </a:cubicBezTo>
                <a:cubicBezTo>
                  <a:pt x="12" y="2"/>
                  <a:pt x="10" y="1"/>
                  <a:pt x="9" y="1"/>
                </a:cubicBezTo>
                <a:cubicBezTo>
                  <a:pt x="7" y="0"/>
                  <a:pt x="6" y="0"/>
                  <a:pt x="4" y="1"/>
                </a:cubicBezTo>
                <a:cubicBezTo>
                  <a:pt x="3" y="2"/>
                  <a:pt x="2" y="3"/>
                  <a:pt x="1" y="4"/>
                </a:cubicBezTo>
                <a:cubicBezTo>
                  <a:pt x="1" y="6"/>
                  <a:pt x="1" y="8"/>
                  <a:pt x="1" y="9"/>
                </a:cubicBezTo>
                <a:lnTo>
                  <a:pt x="7" y="6"/>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62"/>
          <p:cNvSpPr>
            <a:spLocks/>
          </p:cNvSpPr>
          <p:nvPr/>
        </p:nvSpPr>
        <p:spPr bwMode="auto">
          <a:xfrm>
            <a:off x="9074029" y="1186001"/>
            <a:ext cx="307723" cy="610384"/>
          </a:xfrm>
          <a:custGeom>
            <a:avLst/>
            <a:gdLst>
              <a:gd name="T0" fmla="*/ 42 w 128"/>
              <a:gd name="T1" fmla="*/ 7 h 254"/>
              <a:gd name="T2" fmla="*/ 37 w 128"/>
              <a:gd name="T3" fmla="*/ 11 h 254"/>
              <a:gd name="T4" fmla="*/ 50 w 128"/>
              <a:gd name="T5" fmla="*/ 27 h 254"/>
              <a:gd name="T6" fmla="*/ 55 w 128"/>
              <a:gd name="T7" fmla="*/ 24 h 254"/>
              <a:gd name="T8" fmla="*/ 52 w 128"/>
              <a:gd name="T9" fmla="*/ 19 h 254"/>
              <a:gd name="T10" fmla="*/ 3 w 128"/>
              <a:gd name="T11" fmla="*/ 54 h 254"/>
              <a:gd name="T12" fmla="*/ 1 w 128"/>
              <a:gd name="T13" fmla="*/ 58 h 254"/>
              <a:gd name="T14" fmla="*/ 2 w 128"/>
              <a:gd name="T15" fmla="*/ 63 h 254"/>
              <a:gd name="T16" fmla="*/ 56 w 128"/>
              <a:gd name="T17" fmla="*/ 230 h 254"/>
              <a:gd name="T18" fmla="*/ 62 w 128"/>
              <a:gd name="T19" fmla="*/ 236 h 254"/>
              <a:gd name="T20" fmla="*/ 122 w 128"/>
              <a:gd name="T21" fmla="*/ 236 h 254"/>
              <a:gd name="T22" fmla="*/ 122 w 128"/>
              <a:gd name="T23" fmla="*/ 230 h 254"/>
              <a:gd name="T24" fmla="*/ 116 w 128"/>
              <a:gd name="T25" fmla="*/ 230 h 254"/>
              <a:gd name="T26" fmla="*/ 116 w 128"/>
              <a:gd name="T27" fmla="*/ 230 h 254"/>
              <a:gd name="T28" fmla="*/ 116 w 128"/>
              <a:gd name="T29" fmla="*/ 248 h 254"/>
              <a:gd name="T30" fmla="*/ 121 w 128"/>
              <a:gd name="T31" fmla="*/ 254 h 254"/>
              <a:gd name="T32" fmla="*/ 128 w 128"/>
              <a:gd name="T33" fmla="*/ 248 h 254"/>
              <a:gd name="T34" fmla="*/ 128 w 128"/>
              <a:gd name="T35" fmla="*/ 230 h 254"/>
              <a:gd name="T36" fmla="*/ 47 w 128"/>
              <a:gd name="T37" fmla="*/ 3 h 254"/>
              <a:gd name="T38" fmla="*/ 38 w 128"/>
              <a:gd name="T39" fmla="*/ 2 h 254"/>
              <a:gd name="T40" fmla="*/ 37 w 128"/>
              <a:gd name="T41" fmla="*/ 11 h 254"/>
              <a:gd name="T42" fmla="*/ 42 w 128"/>
              <a:gd name="T43" fmla="*/ 7 h 254"/>
              <a:gd name="T44" fmla="*/ 37 w 128"/>
              <a:gd name="T45" fmla="*/ 11 h 254"/>
              <a:gd name="T46" fmla="*/ 116 w 128"/>
              <a:gd name="T47" fmla="*/ 230 h 254"/>
              <a:gd name="T48" fmla="*/ 116 w 128"/>
              <a:gd name="T49" fmla="*/ 248 h 254"/>
              <a:gd name="T50" fmla="*/ 117 w 128"/>
              <a:gd name="T51" fmla="*/ 252 h 254"/>
              <a:gd name="T52" fmla="*/ 121 w 128"/>
              <a:gd name="T53" fmla="*/ 254 h 254"/>
              <a:gd name="T54" fmla="*/ 126 w 128"/>
              <a:gd name="T55" fmla="*/ 252 h 254"/>
              <a:gd name="T56" fmla="*/ 128 w 128"/>
              <a:gd name="T57" fmla="*/ 248 h 254"/>
              <a:gd name="T58" fmla="*/ 128 w 128"/>
              <a:gd name="T59" fmla="*/ 230 h 254"/>
              <a:gd name="T60" fmla="*/ 128 w 128"/>
              <a:gd name="T61" fmla="*/ 230 h 254"/>
              <a:gd name="T62" fmla="*/ 127 w 128"/>
              <a:gd name="T63" fmla="*/ 226 h 254"/>
              <a:gd name="T64" fmla="*/ 122 w 128"/>
              <a:gd name="T65" fmla="*/ 224 h 254"/>
              <a:gd name="T66" fmla="*/ 62 w 128"/>
              <a:gd name="T67" fmla="*/ 224 h 254"/>
              <a:gd name="T68" fmla="*/ 62 w 128"/>
              <a:gd name="T69" fmla="*/ 230 h 254"/>
              <a:gd name="T70" fmla="*/ 68 w 128"/>
              <a:gd name="T71" fmla="*/ 230 h 254"/>
              <a:gd name="T72" fmla="*/ 11 w 128"/>
              <a:gd name="T73" fmla="*/ 56 h 254"/>
              <a:gd name="T74" fmla="*/ 6 w 128"/>
              <a:gd name="T75" fmla="*/ 59 h 254"/>
              <a:gd name="T76" fmla="*/ 10 w 128"/>
              <a:gd name="T77" fmla="*/ 64 h 254"/>
              <a:gd name="T78" fmla="*/ 59 w 128"/>
              <a:gd name="T79" fmla="*/ 29 h 254"/>
              <a:gd name="T80" fmla="*/ 60 w 128"/>
              <a:gd name="T81" fmla="*/ 20 h 254"/>
              <a:gd name="T82" fmla="*/ 47 w 128"/>
              <a:gd name="T83" fmla="*/ 3 h 254"/>
              <a:gd name="T84" fmla="*/ 43 w 128"/>
              <a:gd name="T85" fmla="*/ 1 h 254"/>
              <a:gd name="T86" fmla="*/ 38 w 128"/>
              <a:gd name="T87" fmla="*/ 2 h 254"/>
              <a:gd name="T88" fmla="*/ 36 w 128"/>
              <a:gd name="T89" fmla="*/ 6 h 254"/>
              <a:gd name="T90" fmla="*/ 37 w 128"/>
              <a:gd name="T91" fmla="*/ 11 h 254"/>
              <a:gd name="T92" fmla="*/ 42 w 128"/>
              <a:gd name="T93" fmla="*/ 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254">
                <a:moveTo>
                  <a:pt x="42" y="7"/>
                </a:moveTo>
                <a:cubicBezTo>
                  <a:pt x="37" y="11"/>
                  <a:pt x="37" y="11"/>
                  <a:pt x="37" y="11"/>
                </a:cubicBezTo>
                <a:cubicBezTo>
                  <a:pt x="42" y="16"/>
                  <a:pt x="46" y="22"/>
                  <a:pt x="50" y="27"/>
                </a:cubicBezTo>
                <a:cubicBezTo>
                  <a:pt x="55" y="24"/>
                  <a:pt x="55" y="24"/>
                  <a:pt x="55" y="24"/>
                </a:cubicBezTo>
                <a:cubicBezTo>
                  <a:pt x="52" y="19"/>
                  <a:pt x="52" y="19"/>
                  <a:pt x="52" y="19"/>
                </a:cubicBezTo>
                <a:cubicBezTo>
                  <a:pt x="3" y="54"/>
                  <a:pt x="3" y="54"/>
                  <a:pt x="3" y="54"/>
                </a:cubicBezTo>
                <a:cubicBezTo>
                  <a:pt x="2" y="55"/>
                  <a:pt x="1" y="57"/>
                  <a:pt x="1" y="58"/>
                </a:cubicBezTo>
                <a:cubicBezTo>
                  <a:pt x="0" y="60"/>
                  <a:pt x="1" y="61"/>
                  <a:pt x="2" y="63"/>
                </a:cubicBezTo>
                <a:cubicBezTo>
                  <a:pt x="36" y="110"/>
                  <a:pt x="56" y="168"/>
                  <a:pt x="56" y="230"/>
                </a:cubicBezTo>
                <a:cubicBezTo>
                  <a:pt x="56" y="233"/>
                  <a:pt x="59" y="236"/>
                  <a:pt x="62" y="236"/>
                </a:cubicBezTo>
                <a:cubicBezTo>
                  <a:pt x="122" y="236"/>
                  <a:pt x="122" y="236"/>
                  <a:pt x="122" y="236"/>
                </a:cubicBezTo>
                <a:cubicBezTo>
                  <a:pt x="122" y="230"/>
                  <a:pt x="122" y="230"/>
                  <a:pt x="122" y="230"/>
                </a:cubicBezTo>
                <a:cubicBezTo>
                  <a:pt x="116" y="230"/>
                  <a:pt x="116" y="230"/>
                  <a:pt x="116" y="230"/>
                </a:cubicBezTo>
                <a:cubicBezTo>
                  <a:pt x="116" y="230"/>
                  <a:pt x="116" y="230"/>
                  <a:pt x="116" y="230"/>
                </a:cubicBezTo>
                <a:cubicBezTo>
                  <a:pt x="116" y="236"/>
                  <a:pt x="116" y="242"/>
                  <a:pt x="116" y="248"/>
                </a:cubicBezTo>
                <a:cubicBezTo>
                  <a:pt x="116" y="251"/>
                  <a:pt x="118" y="254"/>
                  <a:pt x="121" y="254"/>
                </a:cubicBezTo>
                <a:cubicBezTo>
                  <a:pt x="125" y="254"/>
                  <a:pt x="128" y="252"/>
                  <a:pt x="128" y="248"/>
                </a:cubicBezTo>
                <a:cubicBezTo>
                  <a:pt x="128" y="242"/>
                  <a:pt x="128" y="236"/>
                  <a:pt x="128" y="230"/>
                </a:cubicBezTo>
                <a:cubicBezTo>
                  <a:pt x="128" y="144"/>
                  <a:pt x="98" y="65"/>
                  <a:pt x="47" y="3"/>
                </a:cubicBezTo>
                <a:cubicBezTo>
                  <a:pt x="45" y="0"/>
                  <a:pt x="41" y="0"/>
                  <a:pt x="38" y="2"/>
                </a:cubicBezTo>
                <a:cubicBezTo>
                  <a:pt x="36" y="4"/>
                  <a:pt x="35" y="8"/>
                  <a:pt x="37" y="11"/>
                </a:cubicBezTo>
                <a:cubicBezTo>
                  <a:pt x="42" y="7"/>
                  <a:pt x="42" y="7"/>
                  <a:pt x="42" y="7"/>
                </a:cubicBezTo>
                <a:cubicBezTo>
                  <a:pt x="37" y="11"/>
                  <a:pt x="37" y="11"/>
                  <a:pt x="37" y="11"/>
                </a:cubicBezTo>
                <a:cubicBezTo>
                  <a:pt x="87" y="70"/>
                  <a:pt x="116" y="147"/>
                  <a:pt x="116" y="230"/>
                </a:cubicBezTo>
                <a:cubicBezTo>
                  <a:pt x="116" y="236"/>
                  <a:pt x="116" y="242"/>
                  <a:pt x="116" y="248"/>
                </a:cubicBezTo>
                <a:cubicBezTo>
                  <a:pt x="116" y="249"/>
                  <a:pt x="116" y="251"/>
                  <a:pt x="117" y="252"/>
                </a:cubicBezTo>
                <a:cubicBezTo>
                  <a:pt x="118" y="253"/>
                  <a:pt x="120" y="254"/>
                  <a:pt x="121" y="254"/>
                </a:cubicBezTo>
                <a:cubicBezTo>
                  <a:pt x="123" y="254"/>
                  <a:pt x="125" y="253"/>
                  <a:pt x="126" y="252"/>
                </a:cubicBezTo>
                <a:cubicBezTo>
                  <a:pt x="127" y="251"/>
                  <a:pt x="128" y="250"/>
                  <a:pt x="128" y="248"/>
                </a:cubicBezTo>
                <a:cubicBezTo>
                  <a:pt x="128" y="242"/>
                  <a:pt x="128" y="236"/>
                  <a:pt x="128" y="230"/>
                </a:cubicBezTo>
                <a:cubicBezTo>
                  <a:pt x="128" y="230"/>
                  <a:pt x="128" y="230"/>
                  <a:pt x="128" y="230"/>
                </a:cubicBezTo>
                <a:cubicBezTo>
                  <a:pt x="128" y="229"/>
                  <a:pt x="128" y="227"/>
                  <a:pt x="127" y="226"/>
                </a:cubicBezTo>
                <a:cubicBezTo>
                  <a:pt x="125" y="225"/>
                  <a:pt x="124" y="224"/>
                  <a:pt x="122" y="224"/>
                </a:cubicBezTo>
                <a:cubicBezTo>
                  <a:pt x="62" y="224"/>
                  <a:pt x="62" y="224"/>
                  <a:pt x="62" y="224"/>
                </a:cubicBezTo>
                <a:cubicBezTo>
                  <a:pt x="62" y="230"/>
                  <a:pt x="62" y="230"/>
                  <a:pt x="62" y="230"/>
                </a:cubicBezTo>
                <a:cubicBezTo>
                  <a:pt x="68" y="230"/>
                  <a:pt x="68" y="230"/>
                  <a:pt x="68" y="230"/>
                </a:cubicBezTo>
                <a:cubicBezTo>
                  <a:pt x="68" y="165"/>
                  <a:pt x="47" y="105"/>
                  <a:pt x="11" y="56"/>
                </a:cubicBezTo>
                <a:cubicBezTo>
                  <a:pt x="6" y="59"/>
                  <a:pt x="6" y="59"/>
                  <a:pt x="6" y="59"/>
                </a:cubicBezTo>
                <a:cubicBezTo>
                  <a:pt x="10" y="64"/>
                  <a:pt x="10" y="64"/>
                  <a:pt x="10" y="64"/>
                </a:cubicBezTo>
                <a:cubicBezTo>
                  <a:pt x="59" y="29"/>
                  <a:pt x="59" y="29"/>
                  <a:pt x="59" y="29"/>
                </a:cubicBezTo>
                <a:cubicBezTo>
                  <a:pt x="61" y="27"/>
                  <a:pt x="62" y="23"/>
                  <a:pt x="60" y="20"/>
                </a:cubicBezTo>
                <a:cubicBezTo>
                  <a:pt x="56" y="14"/>
                  <a:pt x="51" y="9"/>
                  <a:pt x="47" y="3"/>
                </a:cubicBezTo>
                <a:cubicBezTo>
                  <a:pt x="46" y="2"/>
                  <a:pt x="44" y="1"/>
                  <a:pt x="43" y="1"/>
                </a:cubicBezTo>
                <a:cubicBezTo>
                  <a:pt x="41" y="1"/>
                  <a:pt x="40" y="1"/>
                  <a:pt x="38" y="2"/>
                </a:cubicBezTo>
                <a:cubicBezTo>
                  <a:pt x="37" y="3"/>
                  <a:pt x="36" y="5"/>
                  <a:pt x="36" y="6"/>
                </a:cubicBezTo>
                <a:cubicBezTo>
                  <a:pt x="36" y="8"/>
                  <a:pt x="36" y="9"/>
                  <a:pt x="37" y="11"/>
                </a:cubicBezTo>
                <a:lnTo>
                  <a:pt x="42" y="7"/>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63"/>
          <p:cNvSpPr>
            <a:spLocks/>
          </p:cNvSpPr>
          <p:nvPr/>
        </p:nvSpPr>
        <p:spPr bwMode="auto">
          <a:xfrm>
            <a:off x="7667007" y="921805"/>
            <a:ext cx="1368557" cy="1674255"/>
          </a:xfrm>
          <a:custGeom>
            <a:avLst/>
            <a:gdLst>
              <a:gd name="T0" fmla="*/ 357 w 570"/>
              <a:gd name="T1" fmla="*/ 625 h 697"/>
              <a:gd name="T2" fmla="*/ 72 w 570"/>
              <a:gd name="T3" fmla="*/ 340 h 697"/>
              <a:gd name="T4" fmla="*/ 273 w 570"/>
              <a:gd name="T5" fmla="*/ 66 h 697"/>
              <a:gd name="T6" fmla="*/ 254 w 570"/>
              <a:gd name="T7" fmla="*/ 4 h 697"/>
              <a:gd name="T8" fmla="*/ 244 w 570"/>
              <a:gd name="T9" fmla="*/ 2 h 697"/>
              <a:gd name="T10" fmla="*/ 231 w 570"/>
              <a:gd name="T11" fmla="*/ 6 h 697"/>
              <a:gd name="T12" fmla="*/ 227 w 570"/>
              <a:gd name="T13" fmla="*/ 8 h 697"/>
              <a:gd name="T14" fmla="*/ 0 w 570"/>
              <a:gd name="T15" fmla="*/ 326 h 697"/>
              <a:gd name="T16" fmla="*/ 0 w 570"/>
              <a:gd name="T17" fmla="*/ 336 h 697"/>
              <a:gd name="T18" fmla="*/ 0 w 570"/>
              <a:gd name="T19" fmla="*/ 340 h 697"/>
              <a:gd name="T20" fmla="*/ 6 w 570"/>
              <a:gd name="T21" fmla="*/ 341 h 697"/>
              <a:gd name="T22" fmla="*/ 1 w 570"/>
              <a:gd name="T23" fmla="*/ 355 h 697"/>
              <a:gd name="T24" fmla="*/ 2 w 570"/>
              <a:gd name="T25" fmla="*/ 371 h 697"/>
              <a:gd name="T26" fmla="*/ 2 w 570"/>
              <a:gd name="T27" fmla="*/ 378 h 697"/>
              <a:gd name="T28" fmla="*/ 3 w 570"/>
              <a:gd name="T29" fmla="*/ 385 h 697"/>
              <a:gd name="T30" fmla="*/ 5 w 570"/>
              <a:gd name="T31" fmla="*/ 397 h 697"/>
              <a:gd name="T32" fmla="*/ 11 w 570"/>
              <a:gd name="T33" fmla="*/ 397 h 697"/>
              <a:gd name="T34" fmla="*/ 31 w 570"/>
              <a:gd name="T35" fmla="*/ 485 h 697"/>
              <a:gd name="T36" fmla="*/ 35 w 570"/>
              <a:gd name="T37" fmla="*/ 495 h 697"/>
              <a:gd name="T38" fmla="*/ 35 w 570"/>
              <a:gd name="T39" fmla="*/ 495 h 697"/>
              <a:gd name="T40" fmla="*/ 320 w 570"/>
              <a:gd name="T41" fmla="*/ 695 h 697"/>
              <a:gd name="T42" fmla="*/ 322 w 570"/>
              <a:gd name="T43" fmla="*/ 695 h 697"/>
              <a:gd name="T44" fmla="*/ 335 w 570"/>
              <a:gd name="T45" fmla="*/ 696 h 697"/>
              <a:gd name="T46" fmla="*/ 341 w 570"/>
              <a:gd name="T47" fmla="*/ 697 h 697"/>
              <a:gd name="T48" fmla="*/ 350 w 570"/>
              <a:gd name="T49" fmla="*/ 697 h 697"/>
              <a:gd name="T50" fmla="*/ 357 w 570"/>
              <a:gd name="T51" fmla="*/ 697 h 697"/>
              <a:gd name="T52" fmla="*/ 568 w 570"/>
              <a:gd name="T53" fmla="*/ 621 h 697"/>
              <a:gd name="T54" fmla="*/ 529 w 570"/>
              <a:gd name="T55" fmla="*/ 569 h 697"/>
              <a:gd name="T56" fmla="*/ 357 w 570"/>
              <a:gd name="T57" fmla="*/ 625 h 697"/>
              <a:gd name="T58" fmla="*/ 357 w 570"/>
              <a:gd name="T59" fmla="*/ 637 h 697"/>
              <a:gd name="T60" fmla="*/ 528 w 570"/>
              <a:gd name="T61" fmla="*/ 575 h 697"/>
              <a:gd name="T62" fmla="*/ 559 w 570"/>
              <a:gd name="T63" fmla="*/ 628 h 697"/>
              <a:gd name="T64" fmla="*/ 560 w 570"/>
              <a:gd name="T65" fmla="*/ 619 h 697"/>
              <a:gd name="T66" fmla="*/ 350 w 570"/>
              <a:gd name="T67" fmla="*/ 685 h 697"/>
              <a:gd name="T68" fmla="*/ 342 w 570"/>
              <a:gd name="T69" fmla="*/ 685 h 697"/>
              <a:gd name="T70" fmla="*/ 335 w 570"/>
              <a:gd name="T71" fmla="*/ 684 h 697"/>
              <a:gd name="T72" fmla="*/ 323 w 570"/>
              <a:gd name="T73" fmla="*/ 683 h 697"/>
              <a:gd name="T74" fmla="*/ 321 w 570"/>
              <a:gd name="T75" fmla="*/ 683 h 697"/>
              <a:gd name="T76" fmla="*/ 321 w 570"/>
              <a:gd name="T77" fmla="*/ 683 h 697"/>
              <a:gd name="T78" fmla="*/ 41 w 570"/>
              <a:gd name="T79" fmla="*/ 492 h 697"/>
              <a:gd name="T80" fmla="*/ 46 w 570"/>
              <a:gd name="T81" fmla="*/ 490 h 697"/>
              <a:gd name="T82" fmla="*/ 42 w 570"/>
              <a:gd name="T83" fmla="*/ 480 h 697"/>
              <a:gd name="T84" fmla="*/ 17 w 570"/>
              <a:gd name="T85" fmla="*/ 396 h 697"/>
              <a:gd name="T86" fmla="*/ 17 w 570"/>
              <a:gd name="T87" fmla="*/ 395 h 697"/>
              <a:gd name="T88" fmla="*/ 17 w 570"/>
              <a:gd name="T89" fmla="*/ 395 h 697"/>
              <a:gd name="T90" fmla="*/ 15 w 570"/>
              <a:gd name="T91" fmla="*/ 383 h 697"/>
              <a:gd name="T92" fmla="*/ 14 w 570"/>
              <a:gd name="T93" fmla="*/ 370 h 697"/>
              <a:gd name="T94" fmla="*/ 13 w 570"/>
              <a:gd name="T95" fmla="*/ 359 h 697"/>
              <a:gd name="T96" fmla="*/ 12 w 570"/>
              <a:gd name="T97" fmla="*/ 341 h 697"/>
              <a:gd name="T98" fmla="*/ 12 w 570"/>
              <a:gd name="T99" fmla="*/ 340 h 697"/>
              <a:gd name="T100" fmla="*/ 12 w 570"/>
              <a:gd name="T101" fmla="*/ 340 h 697"/>
              <a:gd name="T102" fmla="*/ 12 w 570"/>
              <a:gd name="T103" fmla="*/ 336 h 697"/>
              <a:gd name="T104" fmla="*/ 232 w 570"/>
              <a:gd name="T105" fmla="*/ 19 h 697"/>
              <a:gd name="T106" fmla="*/ 235 w 570"/>
              <a:gd name="T107" fmla="*/ 17 h 697"/>
              <a:gd name="T108" fmla="*/ 248 w 570"/>
              <a:gd name="T109" fmla="*/ 13 h 697"/>
              <a:gd name="T110" fmla="*/ 248 w 570"/>
              <a:gd name="T111" fmla="*/ 13 h 697"/>
              <a:gd name="T112" fmla="*/ 249 w 570"/>
              <a:gd name="T113" fmla="*/ 6 h 697"/>
              <a:gd name="T114" fmla="*/ 262 w 570"/>
              <a:gd name="T115" fmla="*/ 65 h 697"/>
              <a:gd name="T116" fmla="*/ 266 w 570"/>
              <a:gd name="T117" fmla="*/ 58 h 697"/>
              <a:gd name="T118" fmla="*/ 357 w 570"/>
              <a:gd name="T119" fmla="*/ 63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0" h="697">
                <a:moveTo>
                  <a:pt x="357" y="631"/>
                </a:moveTo>
                <a:cubicBezTo>
                  <a:pt x="357" y="625"/>
                  <a:pt x="357" y="625"/>
                  <a:pt x="357" y="625"/>
                </a:cubicBezTo>
                <a:cubicBezTo>
                  <a:pt x="279" y="625"/>
                  <a:pt x="207" y="593"/>
                  <a:pt x="156" y="541"/>
                </a:cubicBezTo>
                <a:cubicBezTo>
                  <a:pt x="104" y="490"/>
                  <a:pt x="72" y="419"/>
                  <a:pt x="72" y="340"/>
                </a:cubicBezTo>
                <a:cubicBezTo>
                  <a:pt x="72" y="214"/>
                  <a:pt x="155" y="106"/>
                  <a:pt x="269" y="69"/>
                </a:cubicBezTo>
                <a:cubicBezTo>
                  <a:pt x="271" y="69"/>
                  <a:pt x="272" y="68"/>
                  <a:pt x="273" y="66"/>
                </a:cubicBezTo>
                <a:cubicBezTo>
                  <a:pt x="273" y="65"/>
                  <a:pt x="274" y="63"/>
                  <a:pt x="273" y="62"/>
                </a:cubicBezTo>
                <a:cubicBezTo>
                  <a:pt x="254" y="4"/>
                  <a:pt x="254" y="4"/>
                  <a:pt x="254" y="4"/>
                </a:cubicBezTo>
                <a:cubicBezTo>
                  <a:pt x="253" y="1"/>
                  <a:pt x="250" y="0"/>
                  <a:pt x="247" y="1"/>
                </a:cubicBezTo>
                <a:cubicBezTo>
                  <a:pt x="246" y="1"/>
                  <a:pt x="245" y="1"/>
                  <a:pt x="244" y="2"/>
                </a:cubicBezTo>
                <a:cubicBezTo>
                  <a:pt x="244" y="2"/>
                  <a:pt x="244" y="2"/>
                  <a:pt x="244" y="2"/>
                </a:cubicBezTo>
                <a:cubicBezTo>
                  <a:pt x="240" y="3"/>
                  <a:pt x="235" y="5"/>
                  <a:pt x="231" y="6"/>
                </a:cubicBezTo>
                <a:cubicBezTo>
                  <a:pt x="231" y="6"/>
                  <a:pt x="231" y="6"/>
                  <a:pt x="231" y="6"/>
                </a:cubicBezTo>
                <a:cubicBezTo>
                  <a:pt x="230" y="7"/>
                  <a:pt x="228" y="7"/>
                  <a:pt x="227" y="8"/>
                </a:cubicBezTo>
                <a:cubicBezTo>
                  <a:pt x="227" y="8"/>
                  <a:pt x="227" y="8"/>
                  <a:pt x="227" y="8"/>
                </a:cubicBezTo>
                <a:cubicBezTo>
                  <a:pt x="93" y="59"/>
                  <a:pt x="6" y="181"/>
                  <a:pt x="0" y="326"/>
                </a:cubicBezTo>
                <a:cubicBezTo>
                  <a:pt x="0" y="329"/>
                  <a:pt x="0" y="332"/>
                  <a:pt x="0" y="336"/>
                </a:cubicBezTo>
                <a:cubicBezTo>
                  <a:pt x="0" y="336"/>
                  <a:pt x="0" y="336"/>
                  <a:pt x="0" y="336"/>
                </a:cubicBezTo>
                <a:cubicBezTo>
                  <a:pt x="0" y="337"/>
                  <a:pt x="0" y="338"/>
                  <a:pt x="0" y="340"/>
                </a:cubicBezTo>
                <a:cubicBezTo>
                  <a:pt x="0" y="340"/>
                  <a:pt x="0" y="340"/>
                  <a:pt x="0" y="340"/>
                </a:cubicBezTo>
                <a:cubicBezTo>
                  <a:pt x="0" y="341"/>
                  <a:pt x="0" y="341"/>
                  <a:pt x="0" y="341"/>
                </a:cubicBezTo>
                <a:cubicBezTo>
                  <a:pt x="6" y="341"/>
                  <a:pt x="6" y="341"/>
                  <a:pt x="6" y="341"/>
                </a:cubicBezTo>
                <a:cubicBezTo>
                  <a:pt x="0" y="341"/>
                  <a:pt x="0" y="341"/>
                  <a:pt x="0" y="341"/>
                </a:cubicBezTo>
                <a:cubicBezTo>
                  <a:pt x="0" y="346"/>
                  <a:pt x="0" y="351"/>
                  <a:pt x="1" y="355"/>
                </a:cubicBezTo>
                <a:cubicBezTo>
                  <a:pt x="1" y="357"/>
                  <a:pt x="1" y="358"/>
                  <a:pt x="1" y="360"/>
                </a:cubicBezTo>
                <a:cubicBezTo>
                  <a:pt x="1" y="363"/>
                  <a:pt x="1" y="367"/>
                  <a:pt x="2" y="371"/>
                </a:cubicBezTo>
                <a:cubicBezTo>
                  <a:pt x="2" y="371"/>
                  <a:pt x="2" y="371"/>
                  <a:pt x="2" y="371"/>
                </a:cubicBezTo>
                <a:cubicBezTo>
                  <a:pt x="2" y="373"/>
                  <a:pt x="2" y="376"/>
                  <a:pt x="2" y="378"/>
                </a:cubicBezTo>
                <a:cubicBezTo>
                  <a:pt x="3" y="381"/>
                  <a:pt x="3" y="383"/>
                  <a:pt x="3" y="385"/>
                </a:cubicBezTo>
                <a:cubicBezTo>
                  <a:pt x="3" y="385"/>
                  <a:pt x="3" y="385"/>
                  <a:pt x="3" y="385"/>
                </a:cubicBezTo>
                <a:cubicBezTo>
                  <a:pt x="4" y="389"/>
                  <a:pt x="4" y="393"/>
                  <a:pt x="5" y="397"/>
                </a:cubicBezTo>
                <a:cubicBezTo>
                  <a:pt x="5" y="397"/>
                  <a:pt x="5" y="397"/>
                  <a:pt x="5" y="397"/>
                </a:cubicBezTo>
                <a:cubicBezTo>
                  <a:pt x="5" y="398"/>
                  <a:pt x="5" y="398"/>
                  <a:pt x="5" y="398"/>
                </a:cubicBezTo>
                <a:cubicBezTo>
                  <a:pt x="11" y="397"/>
                  <a:pt x="11" y="397"/>
                  <a:pt x="11" y="397"/>
                </a:cubicBezTo>
                <a:cubicBezTo>
                  <a:pt x="5" y="398"/>
                  <a:pt x="5" y="398"/>
                  <a:pt x="5" y="398"/>
                </a:cubicBezTo>
                <a:cubicBezTo>
                  <a:pt x="10" y="428"/>
                  <a:pt x="19" y="457"/>
                  <a:pt x="31" y="485"/>
                </a:cubicBezTo>
                <a:cubicBezTo>
                  <a:pt x="31" y="485"/>
                  <a:pt x="31" y="485"/>
                  <a:pt x="31" y="485"/>
                </a:cubicBezTo>
                <a:cubicBezTo>
                  <a:pt x="32" y="488"/>
                  <a:pt x="34" y="491"/>
                  <a:pt x="35" y="495"/>
                </a:cubicBezTo>
                <a:cubicBezTo>
                  <a:pt x="35" y="495"/>
                  <a:pt x="35" y="495"/>
                  <a:pt x="35" y="495"/>
                </a:cubicBezTo>
                <a:cubicBezTo>
                  <a:pt x="35" y="495"/>
                  <a:pt x="35" y="495"/>
                  <a:pt x="35" y="495"/>
                </a:cubicBezTo>
                <a:cubicBezTo>
                  <a:pt x="35" y="495"/>
                  <a:pt x="35" y="495"/>
                  <a:pt x="35" y="495"/>
                </a:cubicBezTo>
                <a:cubicBezTo>
                  <a:pt x="88" y="604"/>
                  <a:pt x="194" y="682"/>
                  <a:pt x="320" y="695"/>
                </a:cubicBezTo>
                <a:cubicBezTo>
                  <a:pt x="320" y="695"/>
                  <a:pt x="320" y="695"/>
                  <a:pt x="320" y="695"/>
                </a:cubicBezTo>
                <a:cubicBezTo>
                  <a:pt x="321" y="695"/>
                  <a:pt x="321" y="695"/>
                  <a:pt x="322" y="695"/>
                </a:cubicBezTo>
                <a:cubicBezTo>
                  <a:pt x="322" y="695"/>
                  <a:pt x="322" y="695"/>
                  <a:pt x="322" y="695"/>
                </a:cubicBezTo>
                <a:cubicBezTo>
                  <a:pt x="326" y="696"/>
                  <a:pt x="331" y="696"/>
                  <a:pt x="335" y="696"/>
                </a:cubicBezTo>
                <a:cubicBezTo>
                  <a:pt x="335" y="696"/>
                  <a:pt x="335" y="696"/>
                  <a:pt x="335" y="696"/>
                </a:cubicBezTo>
                <a:cubicBezTo>
                  <a:pt x="337" y="697"/>
                  <a:pt x="339" y="697"/>
                  <a:pt x="341" y="697"/>
                </a:cubicBezTo>
                <a:cubicBezTo>
                  <a:pt x="341" y="697"/>
                  <a:pt x="341" y="697"/>
                  <a:pt x="341" y="697"/>
                </a:cubicBezTo>
                <a:cubicBezTo>
                  <a:pt x="344" y="697"/>
                  <a:pt x="347" y="697"/>
                  <a:pt x="350" y="697"/>
                </a:cubicBezTo>
                <a:cubicBezTo>
                  <a:pt x="350" y="697"/>
                  <a:pt x="350" y="697"/>
                  <a:pt x="350" y="697"/>
                </a:cubicBezTo>
                <a:cubicBezTo>
                  <a:pt x="352" y="697"/>
                  <a:pt x="355" y="697"/>
                  <a:pt x="357" y="697"/>
                </a:cubicBezTo>
                <a:cubicBezTo>
                  <a:pt x="436" y="697"/>
                  <a:pt x="508" y="672"/>
                  <a:pt x="567" y="629"/>
                </a:cubicBezTo>
                <a:cubicBezTo>
                  <a:pt x="570" y="627"/>
                  <a:pt x="570" y="623"/>
                  <a:pt x="568" y="621"/>
                </a:cubicBezTo>
                <a:cubicBezTo>
                  <a:pt x="533" y="572"/>
                  <a:pt x="533" y="572"/>
                  <a:pt x="533" y="572"/>
                </a:cubicBezTo>
                <a:cubicBezTo>
                  <a:pt x="532" y="571"/>
                  <a:pt x="531" y="570"/>
                  <a:pt x="529" y="569"/>
                </a:cubicBezTo>
                <a:cubicBezTo>
                  <a:pt x="527" y="569"/>
                  <a:pt x="526" y="570"/>
                  <a:pt x="525" y="570"/>
                </a:cubicBezTo>
                <a:cubicBezTo>
                  <a:pt x="478" y="605"/>
                  <a:pt x="420" y="625"/>
                  <a:pt x="357" y="625"/>
                </a:cubicBezTo>
                <a:cubicBezTo>
                  <a:pt x="357" y="631"/>
                  <a:pt x="357" y="631"/>
                  <a:pt x="357" y="631"/>
                </a:cubicBezTo>
                <a:cubicBezTo>
                  <a:pt x="357" y="637"/>
                  <a:pt x="357" y="637"/>
                  <a:pt x="357" y="637"/>
                </a:cubicBezTo>
                <a:cubicBezTo>
                  <a:pt x="422" y="637"/>
                  <a:pt x="483" y="616"/>
                  <a:pt x="532" y="580"/>
                </a:cubicBezTo>
                <a:cubicBezTo>
                  <a:pt x="528" y="575"/>
                  <a:pt x="528" y="575"/>
                  <a:pt x="528" y="575"/>
                </a:cubicBezTo>
                <a:cubicBezTo>
                  <a:pt x="523" y="579"/>
                  <a:pt x="523" y="579"/>
                  <a:pt x="523" y="579"/>
                </a:cubicBezTo>
                <a:cubicBezTo>
                  <a:pt x="559" y="628"/>
                  <a:pt x="559" y="628"/>
                  <a:pt x="559" y="628"/>
                </a:cubicBezTo>
                <a:cubicBezTo>
                  <a:pt x="564" y="624"/>
                  <a:pt x="564" y="624"/>
                  <a:pt x="564" y="624"/>
                </a:cubicBezTo>
                <a:cubicBezTo>
                  <a:pt x="560" y="619"/>
                  <a:pt x="560" y="619"/>
                  <a:pt x="560" y="619"/>
                </a:cubicBezTo>
                <a:cubicBezTo>
                  <a:pt x="503" y="661"/>
                  <a:pt x="433" y="685"/>
                  <a:pt x="357" y="685"/>
                </a:cubicBezTo>
                <a:cubicBezTo>
                  <a:pt x="355" y="685"/>
                  <a:pt x="353" y="685"/>
                  <a:pt x="350" y="685"/>
                </a:cubicBezTo>
                <a:cubicBezTo>
                  <a:pt x="350" y="685"/>
                  <a:pt x="350" y="685"/>
                  <a:pt x="350" y="685"/>
                </a:cubicBezTo>
                <a:cubicBezTo>
                  <a:pt x="347" y="685"/>
                  <a:pt x="344" y="685"/>
                  <a:pt x="342" y="685"/>
                </a:cubicBezTo>
                <a:cubicBezTo>
                  <a:pt x="342" y="685"/>
                  <a:pt x="342" y="685"/>
                  <a:pt x="342" y="685"/>
                </a:cubicBezTo>
                <a:cubicBezTo>
                  <a:pt x="340" y="685"/>
                  <a:pt x="338" y="685"/>
                  <a:pt x="335" y="684"/>
                </a:cubicBezTo>
                <a:cubicBezTo>
                  <a:pt x="335" y="684"/>
                  <a:pt x="335" y="684"/>
                  <a:pt x="335" y="684"/>
                </a:cubicBezTo>
                <a:cubicBezTo>
                  <a:pt x="331" y="684"/>
                  <a:pt x="327" y="684"/>
                  <a:pt x="323" y="683"/>
                </a:cubicBezTo>
                <a:cubicBezTo>
                  <a:pt x="323" y="683"/>
                  <a:pt x="323" y="683"/>
                  <a:pt x="323" y="683"/>
                </a:cubicBezTo>
                <a:cubicBezTo>
                  <a:pt x="322" y="683"/>
                  <a:pt x="322" y="683"/>
                  <a:pt x="321" y="683"/>
                </a:cubicBezTo>
                <a:cubicBezTo>
                  <a:pt x="321" y="689"/>
                  <a:pt x="321" y="689"/>
                  <a:pt x="321" y="689"/>
                </a:cubicBezTo>
                <a:cubicBezTo>
                  <a:pt x="321" y="683"/>
                  <a:pt x="321" y="683"/>
                  <a:pt x="321" y="683"/>
                </a:cubicBezTo>
                <a:cubicBezTo>
                  <a:pt x="200" y="671"/>
                  <a:pt x="97" y="595"/>
                  <a:pt x="46" y="490"/>
                </a:cubicBezTo>
                <a:cubicBezTo>
                  <a:pt x="41" y="492"/>
                  <a:pt x="41" y="492"/>
                  <a:pt x="41" y="492"/>
                </a:cubicBezTo>
                <a:cubicBezTo>
                  <a:pt x="46" y="490"/>
                  <a:pt x="46" y="490"/>
                  <a:pt x="46" y="490"/>
                </a:cubicBezTo>
                <a:cubicBezTo>
                  <a:pt x="46" y="490"/>
                  <a:pt x="46" y="490"/>
                  <a:pt x="46" y="490"/>
                </a:cubicBezTo>
                <a:cubicBezTo>
                  <a:pt x="46" y="490"/>
                  <a:pt x="46" y="490"/>
                  <a:pt x="46" y="490"/>
                </a:cubicBezTo>
                <a:cubicBezTo>
                  <a:pt x="45" y="486"/>
                  <a:pt x="43" y="483"/>
                  <a:pt x="42" y="480"/>
                </a:cubicBezTo>
                <a:cubicBezTo>
                  <a:pt x="42" y="480"/>
                  <a:pt x="42" y="480"/>
                  <a:pt x="42" y="480"/>
                </a:cubicBezTo>
                <a:cubicBezTo>
                  <a:pt x="30" y="453"/>
                  <a:pt x="22" y="425"/>
                  <a:pt x="17" y="396"/>
                </a:cubicBezTo>
                <a:cubicBezTo>
                  <a:pt x="17" y="396"/>
                  <a:pt x="17" y="396"/>
                  <a:pt x="17" y="396"/>
                </a:cubicBezTo>
                <a:cubicBezTo>
                  <a:pt x="17" y="395"/>
                  <a:pt x="17" y="395"/>
                  <a:pt x="17" y="395"/>
                </a:cubicBezTo>
                <a:cubicBezTo>
                  <a:pt x="11" y="396"/>
                  <a:pt x="11" y="396"/>
                  <a:pt x="11" y="396"/>
                </a:cubicBezTo>
                <a:cubicBezTo>
                  <a:pt x="17" y="395"/>
                  <a:pt x="17" y="395"/>
                  <a:pt x="17" y="395"/>
                </a:cubicBezTo>
                <a:cubicBezTo>
                  <a:pt x="16" y="391"/>
                  <a:pt x="15" y="387"/>
                  <a:pt x="15" y="383"/>
                </a:cubicBezTo>
                <a:cubicBezTo>
                  <a:pt x="15" y="383"/>
                  <a:pt x="15" y="383"/>
                  <a:pt x="15" y="383"/>
                </a:cubicBezTo>
                <a:cubicBezTo>
                  <a:pt x="15" y="381"/>
                  <a:pt x="14" y="379"/>
                  <a:pt x="14" y="377"/>
                </a:cubicBezTo>
                <a:cubicBezTo>
                  <a:pt x="14" y="375"/>
                  <a:pt x="14" y="372"/>
                  <a:pt x="14" y="370"/>
                </a:cubicBezTo>
                <a:cubicBezTo>
                  <a:pt x="14" y="370"/>
                  <a:pt x="14" y="370"/>
                  <a:pt x="14" y="370"/>
                </a:cubicBezTo>
                <a:cubicBezTo>
                  <a:pt x="13" y="366"/>
                  <a:pt x="13" y="362"/>
                  <a:pt x="13" y="359"/>
                </a:cubicBezTo>
                <a:cubicBezTo>
                  <a:pt x="13" y="358"/>
                  <a:pt x="13" y="356"/>
                  <a:pt x="13" y="355"/>
                </a:cubicBezTo>
                <a:cubicBezTo>
                  <a:pt x="12" y="350"/>
                  <a:pt x="12" y="346"/>
                  <a:pt x="12" y="341"/>
                </a:cubicBezTo>
                <a:cubicBezTo>
                  <a:pt x="12" y="341"/>
                  <a:pt x="12" y="341"/>
                  <a:pt x="12" y="341"/>
                </a:cubicBezTo>
                <a:cubicBezTo>
                  <a:pt x="12" y="340"/>
                  <a:pt x="12" y="340"/>
                  <a:pt x="12" y="340"/>
                </a:cubicBezTo>
                <a:cubicBezTo>
                  <a:pt x="6" y="340"/>
                  <a:pt x="6" y="340"/>
                  <a:pt x="6" y="340"/>
                </a:cubicBezTo>
                <a:cubicBezTo>
                  <a:pt x="12" y="340"/>
                  <a:pt x="12" y="340"/>
                  <a:pt x="12" y="340"/>
                </a:cubicBezTo>
                <a:cubicBezTo>
                  <a:pt x="12" y="339"/>
                  <a:pt x="12" y="337"/>
                  <a:pt x="12" y="336"/>
                </a:cubicBezTo>
                <a:cubicBezTo>
                  <a:pt x="12" y="336"/>
                  <a:pt x="12" y="336"/>
                  <a:pt x="12" y="336"/>
                </a:cubicBezTo>
                <a:cubicBezTo>
                  <a:pt x="12" y="332"/>
                  <a:pt x="12" y="329"/>
                  <a:pt x="12" y="326"/>
                </a:cubicBezTo>
                <a:cubicBezTo>
                  <a:pt x="18" y="186"/>
                  <a:pt x="102" y="69"/>
                  <a:pt x="232" y="19"/>
                </a:cubicBezTo>
                <a:cubicBezTo>
                  <a:pt x="232" y="19"/>
                  <a:pt x="232" y="19"/>
                  <a:pt x="232" y="19"/>
                </a:cubicBezTo>
                <a:cubicBezTo>
                  <a:pt x="233" y="18"/>
                  <a:pt x="234" y="18"/>
                  <a:pt x="235" y="17"/>
                </a:cubicBezTo>
                <a:cubicBezTo>
                  <a:pt x="235" y="17"/>
                  <a:pt x="235" y="17"/>
                  <a:pt x="235" y="17"/>
                </a:cubicBezTo>
                <a:cubicBezTo>
                  <a:pt x="239" y="16"/>
                  <a:pt x="244" y="14"/>
                  <a:pt x="248" y="13"/>
                </a:cubicBezTo>
                <a:cubicBezTo>
                  <a:pt x="246" y="7"/>
                  <a:pt x="246" y="7"/>
                  <a:pt x="246" y="7"/>
                </a:cubicBezTo>
                <a:cubicBezTo>
                  <a:pt x="248" y="13"/>
                  <a:pt x="248" y="13"/>
                  <a:pt x="248" y="13"/>
                </a:cubicBezTo>
                <a:cubicBezTo>
                  <a:pt x="249" y="13"/>
                  <a:pt x="250" y="12"/>
                  <a:pt x="251" y="12"/>
                </a:cubicBezTo>
                <a:cubicBezTo>
                  <a:pt x="249" y="6"/>
                  <a:pt x="249" y="6"/>
                  <a:pt x="249" y="6"/>
                </a:cubicBezTo>
                <a:cubicBezTo>
                  <a:pt x="243" y="8"/>
                  <a:pt x="243" y="8"/>
                  <a:pt x="243" y="8"/>
                </a:cubicBezTo>
                <a:cubicBezTo>
                  <a:pt x="262" y="65"/>
                  <a:pt x="262" y="65"/>
                  <a:pt x="262" y="65"/>
                </a:cubicBezTo>
                <a:cubicBezTo>
                  <a:pt x="267" y="64"/>
                  <a:pt x="267" y="64"/>
                  <a:pt x="267" y="64"/>
                </a:cubicBezTo>
                <a:cubicBezTo>
                  <a:pt x="266" y="58"/>
                  <a:pt x="266" y="58"/>
                  <a:pt x="266" y="58"/>
                </a:cubicBezTo>
                <a:cubicBezTo>
                  <a:pt x="147" y="97"/>
                  <a:pt x="61" y="208"/>
                  <a:pt x="60" y="340"/>
                </a:cubicBezTo>
                <a:cubicBezTo>
                  <a:pt x="60" y="504"/>
                  <a:pt x="193" y="637"/>
                  <a:pt x="357" y="637"/>
                </a:cubicBezTo>
                <a:lnTo>
                  <a:pt x="357" y="631"/>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64"/>
          <p:cNvSpPr>
            <a:spLocks/>
          </p:cNvSpPr>
          <p:nvPr/>
        </p:nvSpPr>
        <p:spPr bwMode="auto">
          <a:xfrm>
            <a:off x="8240950" y="881315"/>
            <a:ext cx="981879" cy="463609"/>
          </a:xfrm>
          <a:custGeom>
            <a:avLst/>
            <a:gdLst>
              <a:gd name="T0" fmla="*/ 389 w 409"/>
              <a:gd name="T1" fmla="*/ 134 h 193"/>
              <a:gd name="T2" fmla="*/ 394 w 409"/>
              <a:gd name="T3" fmla="*/ 130 h 193"/>
              <a:gd name="T4" fmla="*/ 137 w 409"/>
              <a:gd name="T5" fmla="*/ 1 h 193"/>
              <a:gd name="T6" fmla="*/ 137 w 409"/>
              <a:gd name="T7" fmla="*/ 1 h 193"/>
              <a:gd name="T8" fmla="*/ 118 w 409"/>
              <a:gd name="T9" fmla="*/ 0 h 193"/>
              <a:gd name="T10" fmla="*/ 118 w 409"/>
              <a:gd name="T11" fmla="*/ 0 h 193"/>
              <a:gd name="T12" fmla="*/ 118 w 409"/>
              <a:gd name="T13" fmla="*/ 0 h 193"/>
              <a:gd name="T14" fmla="*/ 8 w 409"/>
              <a:gd name="T15" fmla="*/ 18 h 193"/>
              <a:gd name="T16" fmla="*/ 8 w 409"/>
              <a:gd name="T17" fmla="*/ 18 h 193"/>
              <a:gd name="T18" fmla="*/ 5 w 409"/>
              <a:gd name="T19" fmla="*/ 19 h 193"/>
              <a:gd name="T20" fmla="*/ 1 w 409"/>
              <a:gd name="T21" fmla="*/ 26 h 193"/>
              <a:gd name="T22" fmla="*/ 9 w 409"/>
              <a:gd name="T23" fmla="*/ 30 h 193"/>
              <a:gd name="T24" fmla="*/ 12 w 409"/>
              <a:gd name="T25" fmla="*/ 29 h 193"/>
              <a:gd name="T26" fmla="*/ 10 w 409"/>
              <a:gd name="T27" fmla="*/ 23 h 193"/>
              <a:gd name="T28" fmla="*/ 4 w 409"/>
              <a:gd name="T29" fmla="*/ 25 h 193"/>
              <a:gd name="T30" fmla="*/ 23 w 409"/>
              <a:gd name="T31" fmla="*/ 82 h 193"/>
              <a:gd name="T32" fmla="*/ 30 w 409"/>
              <a:gd name="T33" fmla="*/ 86 h 193"/>
              <a:gd name="T34" fmla="*/ 118 w 409"/>
              <a:gd name="T35" fmla="*/ 72 h 193"/>
              <a:gd name="T36" fmla="*/ 118 w 409"/>
              <a:gd name="T37" fmla="*/ 72 h 193"/>
              <a:gd name="T38" fmla="*/ 349 w 409"/>
              <a:gd name="T39" fmla="*/ 190 h 193"/>
              <a:gd name="T40" fmla="*/ 357 w 409"/>
              <a:gd name="T41" fmla="*/ 191 h 193"/>
              <a:gd name="T42" fmla="*/ 406 w 409"/>
              <a:gd name="T43" fmla="*/ 156 h 193"/>
              <a:gd name="T44" fmla="*/ 407 w 409"/>
              <a:gd name="T45" fmla="*/ 147 h 193"/>
              <a:gd name="T46" fmla="*/ 394 w 409"/>
              <a:gd name="T47" fmla="*/ 130 h 193"/>
              <a:gd name="T48" fmla="*/ 389 w 409"/>
              <a:gd name="T49" fmla="*/ 134 h 193"/>
              <a:gd name="T50" fmla="*/ 384 w 409"/>
              <a:gd name="T51" fmla="*/ 138 h 193"/>
              <a:gd name="T52" fmla="*/ 397 w 409"/>
              <a:gd name="T53" fmla="*/ 154 h 193"/>
              <a:gd name="T54" fmla="*/ 402 w 409"/>
              <a:gd name="T55" fmla="*/ 151 h 193"/>
              <a:gd name="T56" fmla="*/ 399 w 409"/>
              <a:gd name="T57" fmla="*/ 146 h 193"/>
              <a:gd name="T58" fmla="*/ 350 w 409"/>
              <a:gd name="T59" fmla="*/ 181 h 193"/>
              <a:gd name="T60" fmla="*/ 353 w 409"/>
              <a:gd name="T61" fmla="*/ 186 h 193"/>
              <a:gd name="T62" fmla="*/ 358 w 409"/>
              <a:gd name="T63" fmla="*/ 183 h 193"/>
              <a:gd name="T64" fmla="*/ 118 w 409"/>
              <a:gd name="T65" fmla="*/ 60 h 193"/>
              <a:gd name="T66" fmla="*/ 118 w 409"/>
              <a:gd name="T67" fmla="*/ 60 h 193"/>
              <a:gd name="T68" fmla="*/ 27 w 409"/>
              <a:gd name="T69" fmla="*/ 75 h 193"/>
              <a:gd name="T70" fmla="*/ 28 w 409"/>
              <a:gd name="T71" fmla="*/ 81 h 193"/>
              <a:gd name="T72" fmla="*/ 34 w 409"/>
              <a:gd name="T73" fmla="*/ 79 h 193"/>
              <a:gd name="T74" fmla="*/ 15 w 409"/>
              <a:gd name="T75" fmla="*/ 21 h 193"/>
              <a:gd name="T76" fmla="*/ 8 w 409"/>
              <a:gd name="T77" fmla="*/ 18 h 193"/>
              <a:gd name="T78" fmla="*/ 5 w 409"/>
              <a:gd name="T79" fmla="*/ 19 h 193"/>
              <a:gd name="T80" fmla="*/ 2 w 409"/>
              <a:gd name="T81" fmla="*/ 22 h 193"/>
              <a:gd name="T82" fmla="*/ 1 w 409"/>
              <a:gd name="T83" fmla="*/ 26 h 193"/>
              <a:gd name="T84" fmla="*/ 4 w 409"/>
              <a:gd name="T85" fmla="*/ 30 h 193"/>
              <a:gd name="T86" fmla="*/ 9 w 409"/>
              <a:gd name="T87" fmla="*/ 30 h 193"/>
              <a:gd name="T88" fmla="*/ 12 w 409"/>
              <a:gd name="T89" fmla="*/ 29 h 193"/>
              <a:gd name="T90" fmla="*/ 12 w 409"/>
              <a:gd name="T91" fmla="*/ 29 h 193"/>
              <a:gd name="T92" fmla="*/ 118 w 409"/>
              <a:gd name="T93" fmla="*/ 12 h 193"/>
              <a:gd name="T94" fmla="*/ 118 w 409"/>
              <a:gd name="T95" fmla="*/ 12 h 193"/>
              <a:gd name="T96" fmla="*/ 118 w 409"/>
              <a:gd name="T97" fmla="*/ 12 h 193"/>
              <a:gd name="T98" fmla="*/ 137 w 409"/>
              <a:gd name="T99" fmla="*/ 13 h 193"/>
              <a:gd name="T100" fmla="*/ 137 w 409"/>
              <a:gd name="T101" fmla="*/ 13 h 193"/>
              <a:gd name="T102" fmla="*/ 384 w 409"/>
              <a:gd name="T103" fmla="*/ 138 h 193"/>
              <a:gd name="T104" fmla="*/ 389 w 409"/>
              <a:gd name="T105" fmla="*/ 13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9" h="193">
                <a:moveTo>
                  <a:pt x="389" y="134"/>
                </a:moveTo>
                <a:cubicBezTo>
                  <a:pt x="394" y="130"/>
                  <a:pt x="394" y="130"/>
                  <a:pt x="394" y="130"/>
                </a:cubicBezTo>
                <a:cubicBezTo>
                  <a:pt x="329" y="50"/>
                  <a:pt x="240" y="6"/>
                  <a:pt x="137" y="1"/>
                </a:cubicBezTo>
                <a:cubicBezTo>
                  <a:pt x="137" y="1"/>
                  <a:pt x="137" y="1"/>
                  <a:pt x="137" y="1"/>
                </a:cubicBezTo>
                <a:cubicBezTo>
                  <a:pt x="131" y="0"/>
                  <a:pt x="125" y="0"/>
                  <a:pt x="118" y="0"/>
                </a:cubicBezTo>
                <a:cubicBezTo>
                  <a:pt x="118" y="0"/>
                  <a:pt x="118" y="0"/>
                  <a:pt x="118" y="0"/>
                </a:cubicBezTo>
                <a:cubicBezTo>
                  <a:pt x="118" y="0"/>
                  <a:pt x="118" y="0"/>
                  <a:pt x="118" y="0"/>
                </a:cubicBezTo>
                <a:cubicBezTo>
                  <a:pt x="79" y="0"/>
                  <a:pt x="45" y="5"/>
                  <a:pt x="8" y="18"/>
                </a:cubicBezTo>
                <a:cubicBezTo>
                  <a:pt x="8" y="18"/>
                  <a:pt x="8" y="18"/>
                  <a:pt x="8" y="18"/>
                </a:cubicBezTo>
                <a:cubicBezTo>
                  <a:pt x="7" y="18"/>
                  <a:pt x="6" y="18"/>
                  <a:pt x="5" y="19"/>
                </a:cubicBezTo>
                <a:cubicBezTo>
                  <a:pt x="2" y="20"/>
                  <a:pt x="0" y="23"/>
                  <a:pt x="1" y="26"/>
                </a:cubicBezTo>
                <a:cubicBezTo>
                  <a:pt x="2" y="29"/>
                  <a:pt x="6" y="31"/>
                  <a:pt x="9" y="30"/>
                </a:cubicBezTo>
                <a:cubicBezTo>
                  <a:pt x="10" y="30"/>
                  <a:pt x="11" y="29"/>
                  <a:pt x="12" y="29"/>
                </a:cubicBezTo>
                <a:cubicBezTo>
                  <a:pt x="10" y="23"/>
                  <a:pt x="10" y="23"/>
                  <a:pt x="10" y="23"/>
                </a:cubicBezTo>
                <a:cubicBezTo>
                  <a:pt x="4" y="25"/>
                  <a:pt x="4" y="25"/>
                  <a:pt x="4" y="25"/>
                </a:cubicBezTo>
                <a:cubicBezTo>
                  <a:pt x="23" y="82"/>
                  <a:pt x="23" y="82"/>
                  <a:pt x="23" y="82"/>
                </a:cubicBezTo>
                <a:cubicBezTo>
                  <a:pt x="24" y="86"/>
                  <a:pt x="27" y="87"/>
                  <a:pt x="30" y="86"/>
                </a:cubicBezTo>
                <a:cubicBezTo>
                  <a:pt x="58" y="77"/>
                  <a:pt x="88" y="72"/>
                  <a:pt x="118" y="72"/>
                </a:cubicBezTo>
                <a:cubicBezTo>
                  <a:pt x="118" y="72"/>
                  <a:pt x="118" y="72"/>
                  <a:pt x="118" y="72"/>
                </a:cubicBezTo>
                <a:cubicBezTo>
                  <a:pt x="213" y="72"/>
                  <a:pt x="297" y="119"/>
                  <a:pt x="349" y="190"/>
                </a:cubicBezTo>
                <a:cubicBezTo>
                  <a:pt x="351" y="192"/>
                  <a:pt x="354" y="193"/>
                  <a:pt x="357" y="191"/>
                </a:cubicBezTo>
                <a:cubicBezTo>
                  <a:pt x="406" y="156"/>
                  <a:pt x="406" y="156"/>
                  <a:pt x="406" y="156"/>
                </a:cubicBezTo>
                <a:cubicBezTo>
                  <a:pt x="408" y="154"/>
                  <a:pt x="409" y="150"/>
                  <a:pt x="407" y="147"/>
                </a:cubicBezTo>
                <a:cubicBezTo>
                  <a:pt x="403" y="141"/>
                  <a:pt x="398" y="136"/>
                  <a:pt x="394" y="130"/>
                </a:cubicBezTo>
                <a:cubicBezTo>
                  <a:pt x="389" y="134"/>
                  <a:pt x="389" y="134"/>
                  <a:pt x="389" y="134"/>
                </a:cubicBezTo>
                <a:cubicBezTo>
                  <a:pt x="384" y="138"/>
                  <a:pt x="384" y="138"/>
                  <a:pt x="384" y="138"/>
                </a:cubicBezTo>
                <a:cubicBezTo>
                  <a:pt x="389" y="143"/>
                  <a:pt x="393" y="149"/>
                  <a:pt x="397" y="154"/>
                </a:cubicBezTo>
                <a:cubicBezTo>
                  <a:pt x="402" y="151"/>
                  <a:pt x="402" y="151"/>
                  <a:pt x="402" y="151"/>
                </a:cubicBezTo>
                <a:cubicBezTo>
                  <a:pt x="399" y="146"/>
                  <a:pt x="399" y="146"/>
                  <a:pt x="399" y="146"/>
                </a:cubicBezTo>
                <a:cubicBezTo>
                  <a:pt x="350" y="181"/>
                  <a:pt x="350" y="181"/>
                  <a:pt x="350" y="181"/>
                </a:cubicBezTo>
                <a:cubicBezTo>
                  <a:pt x="353" y="186"/>
                  <a:pt x="353" y="186"/>
                  <a:pt x="353" y="186"/>
                </a:cubicBezTo>
                <a:cubicBezTo>
                  <a:pt x="358" y="183"/>
                  <a:pt x="358" y="183"/>
                  <a:pt x="358" y="183"/>
                </a:cubicBezTo>
                <a:cubicBezTo>
                  <a:pt x="304" y="109"/>
                  <a:pt x="217" y="60"/>
                  <a:pt x="118" y="60"/>
                </a:cubicBezTo>
                <a:cubicBezTo>
                  <a:pt x="118" y="60"/>
                  <a:pt x="118" y="60"/>
                  <a:pt x="118" y="60"/>
                </a:cubicBezTo>
                <a:cubicBezTo>
                  <a:pt x="86" y="60"/>
                  <a:pt x="55" y="65"/>
                  <a:pt x="27" y="75"/>
                </a:cubicBezTo>
                <a:cubicBezTo>
                  <a:pt x="28" y="81"/>
                  <a:pt x="28" y="81"/>
                  <a:pt x="28" y="81"/>
                </a:cubicBezTo>
                <a:cubicBezTo>
                  <a:pt x="34" y="79"/>
                  <a:pt x="34" y="79"/>
                  <a:pt x="34" y="79"/>
                </a:cubicBezTo>
                <a:cubicBezTo>
                  <a:pt x="15" y="21"/>
                  <a:pt x="15" y="21"/>
                  <a:pt x="15" y="21"/>
                </a:cubicBezTo>
                <a:cubicBezTo>
                  <a:pt x="14" y="18"/>
                  <a:pt x="11" y="17"/>
                  <a:pt x="8" y="18"/>
                </a:cubicBezTo>
                <a:cubicBezTo>
                  <a:pt x="7" y="18"/>
                  <a:pt x="6" y="18"/>
                  <a:pt x="5" y="19"/>
                </a:cubicBezTo>
                <a:cubicBezTo>
                  <a:pt x="4" y="19"/>
                  <a:pt x="2" y="20"/>
                  <a:pt x="2" y="22"/>
                </a:cubicBezTo>
                <a:cubicBezTo>
                  <a:pt x="1" y="23"/>
                  <a:pt x="1" y="25"/>
                  <a:pt x="1" y="26"/>
                </a:cubicBezTo>
                <a:cubicBezTo>
                  <a:pt x="2" y="28"/>
                  <a:pt x="3" y="29"/>
                  <a:pt x="4" y="30"/>
                </a:cubicBezTo>
                <a:cubicBezTo>
                  <a:pt x="6" y="30"/>
                  <a:pt x="7" y="30"/>
                  <a:pt x="9" y="30"/>
                </a:cubicBezTo>
                <a:cubicBezTo>
                  <a:pt x="10" y="30"/>
                  <a:pt x="11" y="29"/>
                  <a:pt x="12" y="29"/>
                </a:cubicBezTo>
                <a:cubicBezTo>
                  <a:pt x="12" y="29"/>
                  <a:pt x="12" y="29"/>
                  <a:pt x="12" y="29"/>
                </a:cubicBezTo>
                <a:cubicBezTo>
                  <a:pt x="48" y="17"/>
                  <a:pt x="80" y="12"/>
                  <a:pt x="118" y="12"/>
                </a:cubicBezTo>
                <a:cubicBezTo>
                  <a:pt x="118" y="12"/>
                  <a:pt x="118" y="12"/>
                  <a:pt x="118" y="12"/>
                </a:cubicBezTo>
                <a:cubicBezTo>
                  <a:pt x="118" y="12"/>
                  <a:pt x="118" y="12"/>
                  <a:pt x="118" y="12"/>
                </a:cubicBezTo>
                <a:cubicBezTo>
                  <a:pt x="125" y="12"/>
                  <a:pt x="131" y="12"/>
                  <a:pt x="137" y="13"/>
                </a:cubicBezTo>
                <a:cubicBezTo>
                  <a:pt x="137" y="13"/>
                  <a:pt x="137" y="13"/>
                  <a:pt x="137" y="13"/>
                </a:cubicBezTo>
                <a:cubicBezTo>
                  <a:pt x="236" y="17"/>
                  <a:pt x="322" y="60"/>
                  <a:pt x="384" y="138"/>
                </a:cubicBezTo>
                <a:lnTo>
                  <a:pt x="389" y="134"/>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65"/>
          <p:cNvSpPr>
            <a:spLocks/>
          </p:cNvSpPr>
          <p:nvPr/>
        </p:nvSpPr>
        <p:spPr bwMode="auto">
          <a:xfrm>
            <a:off x="8918143" y="1724516"/>
            <a:ext cx="463609" cy="710597"/>
          </a:xfrm>
          <a:custGeom>
            <a:avLst/>
            <a:gdLst>
              <a:gd name="T0" fmla="*/ 187 w 193"/>
              <a:gd name="T1" fmla="*/ 0 h 296"/>
              <a:gd name="T2" fmla="*/ 123 w 193"/>
              <a:gd name="T3" fmla="*/ 2 h 296"/>
              <a:gd name="T4" fmla="*/ 121 w 193"/>
              <a:gd name="T5" fmla="*/ 6 h 296"/>
              <a:gd name="T6" fmla="*/ 4 w 193"/>
              <a:gd name="T7" fmla="*/ 236 h 296"/>
              <a:gd name="T8" fmla="*/ 38 w 193"/>
              <a:gd name="T9" fmla="*/ 294 h 296"/>
              <a:gd name="T10" fmla="*/ 46 w 193"/>
              <a:gd name="T11" fmla="*/ 295 h 296"/>
              <a:gd name="T12" fmla="*/ 43 w 193"/>
              <a:gd name="T13" fmla="*/ 290 h 296"/>
              <a:gd name="T14" fmla="*/ 63 w 193"/>
              <a:gd name="T15" fmla="*/ 282 h 296"/>
              <a:gd name="T16" fmla="*/ 191 w 193"/>
              <a:gd name="T17" fmla="*/ 43 h 296"/>
              <a:gd name="T18" fmla="*/ 191 w 193"/>
              <a:gd name="T19" fmla="*/ 43 h 296"/>
              <a:gd name="T20" fmla="*/ 192 w 193"/>
              <a:gd name="T21" fmla="*/ 41 h 296"/>
              <a:gd name="T22" fmla="*/ 193 w 193"/>
              <a:gd name="T23" fmla="*/ 26 h 296"/>
              <a:gd name="T24" fmla="*/ 193 w 193"/>
              <a:gd name="T25" fmla="*/ 25 h 296"/>
              <a:gd name="T26" fmla="*/ 193 w 193"/>
              <a:gd name="T27" fmla="*/ 24 h 296"/>
              <a:gd name="T28" fmla="*/ 193 w 193"/>
              <a:gd name="T29" fmla="*/ 6 h 296"/>
              <a:gd name="T30" fmla="*/ 187 w 193"/>
              <a:gd name="T31" fmla="*/ 0 h 296"/>
              <a:gd name="T32" fmla="*/ 181 w 193"/>
              <a:gd name="T33" fmla="*/ 6 h 296"/>
              <a:gd name="T34" fmla="*/ 181 w 193"/>
              <a:gd name="T35" fmla="*/ 24 h 296"/>
              <a:gd name="T36" fmla="*/ 181 w 193"/>
              <a:gd name="T37" fmla="*/ 25 h 296"/>
              <a:gd name="T38" fmla="*/ 181 w 193"/>
              <a:gd name="T39" fmla="*/ 26 h 296"/>
              <a:gd name="T40" fmla="*/ 181 w 193"/>
              <a:gd name="T41" fmla="*/ 25 h 296"/>
              <a:gd name="T42" fmla="*/ 180 w 193"/>
              <a:gd name="T43" fmla="*/ 40 h 296"/>
              <a:gd name="T44" fmla="*/ 179 w 193"/>
              <a:gd name="T45" fmla="*/ 42 h 296"/>
              <a:gd name="T46" fmla="*/ 55 w 193"/>
              <a:gd name="T47" fmla="*/ 273 h 296"/>
              <a:gd name="T48" fmla="*/ 39 w 193"/>
              <a:gd name="T49" fmla="*/ 285 h 296"/>
              <a:gd name="T50" fmla="*/ 43 w 193"/>
              <a:gd name="T51" fmla="*/ 290 h 296"/>
              <a:gd name="T52" fmla="*/ 12 w 193"/>
              <a:gd name="T53" fmla="*/ 238 h 296"/>
              <a:gd name="T54" fmla="*/ 11 w 193"/>
              <a:gd name="T55" fmla="*/ 246 h 296"/>
              <a:gd name="T56" fmla="*/ 133 w 193"/>
              <a:gd name="T57" fmla="*/ 6 h 296"/>
              <a:gd name="T58" fmla="*/ 127 w 193"/>
              <a:gd name="T59" fmla="*/ 6 h 296"/>
              <a:gd name="T60" fmla="*/ 187 w 193"/>
              <a:gd name="T61" fmla="*/ 12 h 296"/>
              <a:gd name="T62" fmla="*/ 181 w 193"/>
              <a:gd name="T63" fmla="*/ 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3" h="296">
                <a:moveTo>
                  <a:pt x="187" y="6"/>
                </a:moveTo>
                <a:cubicBezTo>
                  <a:pt x="187" y="0"/>
                  <a:pt x="187" y="0"/>
                  <a:pt x="187" y="0"/>
                </a:cubicBezTo>
                <a:cubicBezTo>
                  <a:pt x="127" y="0"/>
                  <a:pt x="127" y="0"/>
                  <a:pt x="127" y="0"/>
                </a:cubicBezTo>
                <a:cubicBezTo>
                  <a:pt x="125" y="0"/>
                  <a:pt x="124" y="1"/>
                  <a:pt x="123" y="2"/>
                </a:cubicBezTo>
                <a:cubicBezTo>
                  <a:pt x="122" y="3"/>
                  <a:pt x="121" y="5"/>
                  <a:pt x="121" y="6"/>
                </a:cubicBezTo>
                <a:cubicBezTo>
                  <a:pt x="121" y="6"/>
                  <a:pt x="121" y="6"/>
                  <a:pt x="121" y="6"/>
                </a:cubicBezTo>
                <a:cubicBezTo>
                  <a:pt x="121" y="65"/>
                  <a:pt x="103" y="120"/>
                  <a:pt x="72" y="166"/>
                </a:cubicBezTo>
                <a:cubicBezTo>
                  <a:pt x="53" y="193"/>
                  <a:pt x="30" y="217"/>
                  <a:pt x="4" y="236"/>
                </a:cubicBezTo>
                <a:cubicBezTo>
                  <a:pt x="1" y="238"/>
                  <a:pt x="0" y="242"/>
                  <a:pt x="2" y="245"/>
                </a:cubicBezTo>
                <a:cubicBezTo>
                  <a:pt x="38" y="294"/>
                  <a:pt x="38" y="294"/>
                  <a:pt x="38" y="294"/>
                </a:cubicBezTo>
                <a:cubicBezTo>
                  <a:pt x="39" y="295"/>
                  <a:pt x="40" y="296"/>
                  <a:pt x="42" y="296"/>
                </a:cubicBezTo>
                <a:cubicBezTo>
                  <a:pt x="43" y="296"/>
                  <a:pt x="45" y="296"/>
                  <a:pt x="46" y="295"/>
                </a:cubicBezTo>
                <a:cubicBezTo>
                  <a:pt x="46" y="295"/>
                  <a:pt x="46" y="295"/>
                  <a:pt x="46" y="295"/>
                </a:cubicBezTo>
                <a:cubicBezTo>
                  <a:pt x="43" y="290"/>
                  <a:pt x="43" y="290"/>
                  <a:pt x="43" y="290"/>
                </a:cubicBezTo>
                <a:cubicBezTo>
                  <a:pt x="46" y="295"/>
                  <a:pt x="46" y="295"/>
                  <a:pt x="46" y="295"/>
                </a:cubicBezTo>
                <a:cubicBezTo>
                  <a:pt x="52" y="291"/>
                  <a:pt x="57" y="287"/>
                  <a:pt x="63" y="282"/>
                </a:cubicBezTo>
                <a:cubicBezTo>
                  <a:pt x="63" y="282"/>
                  <a:pt x="63" y="282"/>
                  <a:pt x="63" y="282"/>
                </a:cubicBezTo>
                <a:cubicBezTo>
                  <a:pt x="138" y="221"/>
                  <a:pt x="182" y="138"/>
                  <a:pt x="191" y="43"/>
                </a:cubicBezTo>
                <a:cubicBezTo>
                  <a:pt x="185" y="42"/>
                  <a:pt x="185" y="42"/>
                  <a:pt x="185" y="42"/>
                </a:cubicBezTo>
                <a:cubicBezTo>
                  <a:pt x="191" y="43"/>
                  <a:pt x="191" y="43"/>
                  <a:pt x="191" y="43"/>
                </a:cubicBezTo>
                <a:cubicBezTo>
                  <a:pt x="191" y="42"/>
                  <a:pt x="192" y="41"/>
                  <a:pt x="192" y="41"/>
                </a:cubicBezTo>
                <a:cubicBezTo>
                  <a:pt x="192" y="41"/>
                  <a:pt x="192" y="41"/>
                  <a:pt x="192" y="41"/>
                </a:cubicBezTo>
                <a:cubicBezTo>
                  <a:pt x="192" y="36"/>
                  <a:pt x="192" y="31"/>
                  <a:pt x="193" y="26"/>
                </a:cubicBezTo>
                <a:cubicBezTo>
                  <a:pt x="193" y="26"/>
                  <a:pt x="193" y="26"/>
                  <a:pt x="193" y="26"/>
                </a:cubicBezTo>
                <a:cubicBezTo>
                  <a:pt x="193" y="25"/>
                  <a:pt x="193" y="25"/>
                  <a:pt x="193" y="25"/>
                </a:cubicBezTo>
                <a:cubicBezTo>
                  <a:pt x="193" y="25"/>
                  <a:pt x="193" y="25"/>
                  <a:pt x="193" y="25"/>
                </a:cubicBezTo>
                <a:cubicBezTo>
                  <a:pt x="193" y="24"/>
                  <a:pt x="193" y="24"/>
                  <a:pt x="193" y="24"/>
                </a:cubicBezTo>
                <a:cubicBezTo>
                  <a:pt x="193" y="24"/>
                  <a:pt x="193" y="24"/>
                  <a:pt x="193" y="24"/>
                </a:cubicBezTo>
                <a:cubicBezTo>
                  <a:pt x="193" y="18"/>
                  <a:pt x="193" y="12"/>
                  <a:pt x="193" y="6"/>
                </a:cubicBezTo>
                <a:cubicBezTo>
                  <a:pt x="193" y="6"/>
                  <a:pt x="193" y="6"/>
                  <a:pt x="193" y="6"/>
                </a:cubicBezTo>
                <a:cubicBezTo>
                  <a:pt x="193" y="5"/>
                  <a:pt x="193" y="3"/>
                  <a:pt x="192" y="2"/>
                </a:cubicBezTo>
                <a:cubicBezTo>
                  <a:pt x="190" y="1"/>
                  <a:pt x="189" y="0"/>
                  <a:pt x="187" y="0"/>
                </a:cubicBezTo>
                <a:cubicBezTo>
                  <a:pt x="187" y="6"/>
                  <a:pt x="187" y="6"/>
                  <a:pt x="187" y="6"/>
                </a:cubicBezTo>
                <a:cubicBezTo>
                  <a:pt x="181" y="6"/>
                  <a:pt x="181" y="6"/>
                  <a:pt x="181" y="6"/>
                </a:cubicBezTo>
                <a:cubicBezTo>
                  <a:pt x="181" y="6"/>
                  <a:pt x="181" y="6"/>
                  <a:pt x="181" y="6"/>
                </a:cubicBezTo>
                <a:cubicBezTo>
                  <a:pt x="181" y="12"/>
                  <a:pt x="181" y="18"/>
                  <a:pt x="181" y="24"/>
                </a:cubicBezTo>
                <a:cubicBezTo>
                  <a:pt x="181" y="24"/>
                  <a:pt x="181" y="24"/>
                  <a:pt x="181" y="24"/>
                </a:cubicBezTo>
                <a:cubicBezTo>
                  <a:pt x="181" y="25"/>
                  <a:pt x="181" y="25"/>
                  <a:pt x="181" y="25"/>
                </a:cubicBezTo>
                <a:cubicBezTo>
                  <a:pt x="181" y="25"/>
                  <a:pt x="181" y="25"/>
                  <a:pt x="181" y="25"/>
                </a:cubicBezTo>
                <a:cubicBezTo>
                  <a:pt x="181" y="26"/>
                  <a:pt x="181" y="26"/>
                  <a:pt x="181" y="26"/>
                </a:cubicBezTo>
                <a:cubicBezTo>
                  <a:pt x="187" y="26"/>
                  <a:pt x="187" y="26"/>
                  <a:pt x="187" y="26"/>
                </a:cubicBezTo>
                <a:cubicBezTo>
                  <a:pt x="181" y="25"/>
                  <a:pt x="181" y="25"/>
                  <a:pt x="181" y="25"/>
                </a:cubicBezTo>
                <a:cubicBezTo>
                  <a:pt x="180" y="30"/>
                  <a:pt x="180" y="35"/>
                  <a:pt x="180" y="40"/>
                </a:cubicBezTo>
                <a:cubicBezTo>
                  <a:pt x="180" y="40"/>
                  <a:pt x="180" y="40"/>
                  <a:pt x="180" y="40"/>
                </a:cubicBezTo>
                <a:cubicBezTo>
                  <a:pt x="180" y="40"/>
                  <a:pt x="180" y="41"/>
                  <a:pt x="179" y="42"/>
                </a:cubicBezTo>
                <a:cubicBezTo>
                  <a:pt x="179" y="42"/>
                  <a:pt x="179" y="42"/>
                  <a:pt x="179" y="42"/>
                </a:cubicBezTo>
                <a:cubicBezTo>
                  <a:pt x="171" y="134"/>
                  <a:pt x="128" y="214"/>
                  <a:pt x="55" y="273"/>
                </a:cubicBezTo>
                <a:cubicBezTo>
                  <a:pt x="55" y="273"/>
                  <a:pt x="55" y="273"/>
                  <a:pt x="55" y="273"/>
                </a:cubicBezTo>
                <a:cubicBezTo>
                  <a:pt x="50" y="277"/>
                  <a:pt x="45" y="281"/>
                  <a:pt x="39" y="285"/>
                </a:cubicBezTo>
                <a:cubicBezTo>
                  <a:pt x="39" y="285"/>
                  <a:pt x="39" y="285"/>
                  <a:pt x="39" y="285"/>
                </a:cubicBezTo>
                <a:cubicBezTo>
                  <a:pt x="39" y="285"/>
                  <a:pt x="39" y="285"/>
                  <a:pt x="39" y="285"/>
                </a:cubicBezTo>
                <a:cubicBezTo>
                  <a:pt x="43" y="290"/>
                  <a:pt x="43" y="290"/>
                  <a:pt x="43" y="290"/>
                </a:cubicBezTo>
                <a:cubicBezTo>
                  <a:pt x="47" y="287"/>
                  <a:pt x="47" y="287"/>
                  <a:pt x="47" y="287"/>
                </a:cubicBezTo>
                <a:cubicBezTo>
                  <a:pt x="12" y="238"/>
                  <a:pt x="12" y="238"/>
                  <a:pt x="12" y="238"/>
                </a:cubicBezTo>
                <a:cubicBezTo>
                  <a:pt x="7" y="241"/>
                  <a:pt x="7" y="241"/>
                  <a:pt x="7" y="241"/>
                </a:cubicBezTo>
                <a:cubicBezTo>
                  <a:pt x="11" y="246"/>
                  <a:pt x="11" y="246"/>
                  <a:pt x="11" y="246"/>
                </a:cubicBezTo>
                <a:cubicBezTo>
                  <a:pt x="38" y="226"/>
                  <a:pt x="63" y="201"/>
                  <a:pt x="82" y="173"/>
                </a:cubicBezTo>
                <a:cubicBezTo>
                  <a:pt x="114" y="125"/>
                  <a:pt x="133" y="68"/>
                  <a:pt x="133" y="6"/>
                </a:cubicBezTo>
                <a:cubicBezTo>
                  <a:pt x="133" y="6"/>
                  <a:pt x="133" y="6"/>
                  <a:pt x="133" y="6"/>
                </a:cubicBezTo>
                <a:cubicBezTo>
                  <a:pt x="127" y="6"/>
                  <a:pt x="127" y="6"/>
                  <a:pt x="127" y="6"/>
                </a:cubicBezTo>
                <a:cubicBezTo>
                  <a:pt x="127" y="12"/>
                  <a:pt x="127" y="12"/>
                  <a:pt x="127" y="12"/>
                </a:cubicBezTo>
                <a:cubicBezTo>
                  <a:pt x="187" y="12"/>
                  <a:pt x="187" y="12"/>
                  <a:pt x="187" y="12"/>
                </a:cubicBezTo>
                <a:cubicBezTo>
                  <a:pt x="187" y="6"/>
                  <a:pt x="187" y="6"/>
                  <a:pt x="187" y="6"/>
                </a:cubicBezTo>
                <a:cubicBezTo>
                  <a:pt x="181" y="6"/>
                  <a:pt x="181" y="6"/>
                  <a:pt x="181" y="6"/>
                </a:cubicBezTo>
                <a:lnTo>
                  <a:pt x="187" y="6"/>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66"/>
          <p:cNvSpPr>
            <a:spLocks/>
          </p:cNvSpPr>
          <p:nvPr/>
        </p:nvSpPr>
        <p:spPr bwMode="auto">
          <a:xfrm>
            <a:off x="79048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67"/>
          <p:cNvSpPr>
            <a:spLocks/>
          </p:cNvSpPr>
          <p:nvPr/>
        </p:nvSpPr>
        <p:spPr bwMode="auto">
          <a:xfrm>
            <a:off x="79048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68"/>
          <p:cNvSpPr>
            <a:spLocks/>
          </p:cNvSpPr>
          <p:nvPr/>
        </p:nvSpPr>
        <p:spPr bwMode="auto">
          <a:xfrm>
            <a:off x="7904885" y="1296336"/>
            <a:ext cx="1241014" cy="884703"/>
          </a:xfrm>
          <a:custGeom>
            <a:avLst/>
            <a:gdLst>
              <a:gd name="T0" fmla="*/ 258 w 517"/>
              <a:gd name="T1" fmla="*/ 6 h 368"/>
              <a:gd name="T2" fmla="*/ 258 w 517"/>
              <a:gd name="T3" fmla="*/ 0 h 368"/>
              <a:gd name="T4" fmla="*/ 107 w 517"/>
              <a:gd name="T5" fmla="*/ 50 h 368"/>
              <a:gd name="T6" fmla="*/ 1 w 517"/>
              <a:gd name="T7" fmla="*/ 182 h 368"/>
              <a:gd name="T8" fmla="*/ 1 w 517"/>
              <a:gd name="T9" fmla="*/ 187 h 368"/>
              <a:gd name="T10" fmla="*/ 107 w 517"/>
              <a:gd name="T11" fmla="*/ 318 h 368"/>
              <a:gd name="T12" fmla="*/ 258 w 517"/>
              <a:gd name="T13" fmla="*/ 368 h 368"/>
              <a:gd name="T14" fmla="*/ 410 w 517"/>
              <a:gd name="T15" fmla="*/ 318 h 368"/>
              <a:gd name="T16" fmla="*/ 516 w 517"/>
              <a:gd name="T17" fmla="*/ 187 h 368"/>
              <a:gd name="T18" fmla="*/ 516 w 517"/>
              <a:gd name="T19" fmla="*/ 182 h 368"/>
              <a:gd name="T20" fmla="*/ 410 w 517"/>
              <a:gd name="T21" fmla="*/ 50 h 368"/>
              <a:gd name="T22" fmla="*/ 258 w 517"/>
              <a:gd name="T23" fmla="*/ 0 h 368"/>
              <a:gd name="T24" fmla="*/ 258 w 517"/>
              <a:gd name="T25" fmla="*/ 6 h 368"/>
              <a:gd name="T26" fmla="*/ 258 w 517"/>
              <a:gd name="T27" fmla="*/ 12 h 368"/>
              <a:gd name="T28" fmla="*/ 403 w 517"/>
              <a:gd name="T29" fmla="*/ 60 h 368"/>
              <a:gd name="T30" fmla="*/ 505 w 517"/>
              <a:gd name="T31" fmla="*/ 187 h 368"/>
              <a:gd name="T32" fmla="*/ 510 w 517"/>
              <a:gd name="T33" fmla="*/ 184 h 368"/>
              <a:gd name="T34" fmla="*/ 505 w 517"/>
              <a:gd name="T35" fmla="*/ 182 h 368"/>
              <a:gd name="T36" fmla="*/ 403 w 517"/>
              <a:gd name="T37" fmla="*/ 308 h 368"/>
              <a:gd name="T38" fmla="*/ 258 w 517"/>
              <a:gd name="T39" fmla="*/ 356 h 368"/>
              <a:gd name="T40" fmla="*/ 114 w 517"/>
              <a:gd name="T41" fmla="*/ 308 h 368"/>
              <a:gd name="T42" fmla="*/ 12 w 517"/>
              <a:gd name="T43" fmla="*/ 182 h 368"/>
              <a:gd name="T44" fmla="*/ 6 w 517"/>
              <a:gd name="T45" fmla="*/ 184 h 368"/>
              <a:gd name="T46" fmla="*/ 12 w 517"/>
              <a:gd name="T47" fmla="*/ 187 h 368"/>
              <a:gd name="T48" fmla="*/ 114 w 517"/>
              <a:gd name="T49" fmla="*/ 60 h 368"/>
              <a:gd name="T50" fmla="*/ 258 w 517"/>
              <a:gd name="T51" fmla="*/ 12 h 368"/>
              <a:gd name="T52" fmla="*/ 258 w 517"/>
              <a:gd name="T53" fmla="*/ 6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368">
                <a:moveTo>
                  <a:pt x="258" y="6"/>
                </a:moveTo>
                <a:cubicBezTo>
                  <a:pt x="258" y="0"/>
                  <a:pt x="258" y="0"/>
                  <a:pt x="258" y="0"/>
                </a:cubicBezTo>
                <a:cubicBezTo>
                  <a:pt x="203" y="0"/>
                  <a:pt x="151" y="18"/>
                  <a:pt x="107" y="50"/>
                </a:cubicBezTo>
                <a:cubicBezTo>
                  <a:pt x="62" y="82"/>
                  <a:pt x="26" y="128"/>
                  <a:pt x="1" y="182"/>
                </a:cubicBezTo>
                <a:cubicBezTo>
                  <a:pt x="0" y="183"/>
                  <a:pt x="0" y="185"/>
                  <a:pt x="1" y="187"/>
                </a:cubicBezTo>
                <a:cubicBezTo>
                  <a:pt x="26" y="241"/>
                  <a:pt x="62" y="286"/>
                  <a:pt x="107" y="318"/>
                </a:cubicBezTo>
                <a:cubicBezTo>
                  <a:pt x="151" y="350"/>
                  <a:pt x="203" y="368"/>
                  <a:pt x="258" y="368"/>
                </a:cubicBezTo>
                <a:cubicBezTo>
                  <a:pt x="314" y="368"/>
                  <a:pt x="366" y="350"/>
                  <a:pt x="410" y="318"/>
                </a:cubicBezTo>
                <a:cubicBezTo>
                  <a:pt x="454" y="286"/>
                  <a:pt x="491" y="241"/>
                  <a:pt x="516" y="187"/>
                </a:cubicBezTo>
                <a:cubicBezTo>
                  <a:pt x="517" y="185"/>
                  <a:pt x="517" y="183"/>
                  <a:pt x="516" y="182"/>
                </a:cubicBezTo>
                <a:cubicBezTo>
                  <a:pt x="491" y="128"/>
                  <a:pt x="454" y="82"/>
                  <a:pt x="410" y="50"/>
                </a:cubicBezTo>
                <a:cubicBezTo>
                  <a:pt x="366" y="18"/>
                  <a:pt x="314" y="0"/>
                  <a:pt x="258" y="0"/>
                </a:cubicBezTo>
                <a:cubicBezTo>
                  <a:pt x="258" y="6"/>
                  <a:pt x="258" y="6"/>
                  <a:pt x="258" y="6"/>
                </a:cubicBezTo>
                <a:cubicBezTo>
                  <a:pt x="258" y="12"/>
                  <a:pt x="258" y="12"/>
                  <a:pt x="258" y="12"/>
                </a:cubicBezTo>
                <a:cubicBezTo>
                  <a:pt x="311" y="12"/>
                  <a:pt x="360" y="30"/>
                  <a:pt x="403" y="60"/>
                </a:cubicBezTo>
                <a:cubicBezTo>
                  <a:pt x="445" y="91"/>
                  <a:pt x="481" y="134"/>
                  <a:pt x="505" y="187"/>
                </a:cubicBezTo>
                <a:cubicBezTo>
                  <a:pt x="510" y="184"/>
                  <a:pt x="510" y="184"/>
                  <a:pt x="510" y="184"/>
                </a:cubicBezTo>
                <a:cubicBezTo>
                  <a:pt x="505" y="182"/>
                  <a:pt x="505" y="182"/>
                  <a:pt x="505" y="182"/>
                </a:cubicBezTo>
                <a:cubicBezTo>
                  <a:pt x="481" y="234"/>
                  <a:pt x="445" y="278"/>
                  <a:pt x="403" y="308"/>
                </a:cubicBezTo>
                <a:cubicBezTo>
                  <a:pt x="360" y="339"/>
                  <a:pt x="311" y="356"/>
                  <a:pt x="258" y="356"/>
                </a:cubicBezTo>
                <a:cubicBezTo>
                  <a:pt x="205" y="356"/>
                  <a:pt x="156" y="339"/>
                  <a:pt x="114" y="308"/>
                </a:cubicBezTo>
                <a:cubicBezTo>
                  <a:pt x="71" y="278"/>
                  <a:pt x="36" y="234"/>
                  <a:pt x="12" y="182"/>
                </a:cubicBezTo>
                <a:cubicBezTo>
                  <a:pt x="6" y="184"/>
                  <a:pt x="6" y="184"/>
                  <a:pt x="6" y="184"/>
                </a:cubicBezTo>
                <a:cubicBezTo>
                  <a:pt x="12" y="187"/>
                  <a:pt x="12" y="187"/>
                  <a:pt x="12" y="187"/>
                </a:cubicBezTo>
                <a:cubicBezTo>
                  <a:pt x="36" y="134"/>
                  <a:pt x="71" y="91"/>
                  <a:pt x="114" y="60"/>
                </a:cubicBezTo>
                <a:cubicBezTo>
                  <a:pt x="156" y="30"/>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69"/>
          <p:cNvSpPr>
            <a:spLocks/>
          </p:cNvSpPr>
          <p:nvPr/>
        </p:nvSpPr>
        <p:spPr bwMode="auto">
          <a:xfrm>
            <a:off x="79048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70"/>
          <p:cNvSpPr>
            <a:spLocks/>
          </p:cNvSpPr>
          <p:nvPr/>
        </p:nvSpPr>
        <p:spPr bwMode="auto">
          <a:xfrm>
            <a:off x="8286501" y="1794361"/>
            <a:ext cx="96163" cy="129567"/>
          </a:xfrm>
          <a:custGeom>
            <a:avLst/>
            <a:gdLst>
              <a:gd name="T0" fmla="*/ 0 w 40"/>
              <a:gd name="T1" fmla="*/ 6 h 54"/>
              <a:gd name="T2" fmla="*/ 0 w 40"/>
              <a:gd name="T3" fmla="*/ 6 h 54"/>
              <a:gd name="T4" fmla="*/ 0 w 40"/>
              <a:gd name="T5" fmla="*/ 8 h 54"/>
              <a:gd name="T6" fmla="*/ 15 w 40"/>
              <a:gd name="T7" fmla="*/ 37 h 54"/>
              <a:gd name="T8" fmla="*/ 15 w 40"/>
              <a:gd name="T9" fmla="*/ 37 h 54"/>
              <a:gd name="T10" fmla="*/ 29 w 40"/>
              <a:gd name="T11" fmla="*/ 52 h 54"/>
              <a:gd name="T12" fmla="*/ 38 w 40"/>
              <a:gd name="T13" fmla="*/ 52 h 54"/>
              <a:gd name="T14" fmla="*/ 37 w 40"/>
              <a:gd name="T15" fmla="*/ 43 h 54"/>
              <a:gd name="T16" fmla="*/ 25 w 40"/>
              <a:gd name="T17" fmla="*/ 29 h 54"/>
              <a:gd name="T18" fmla="*/ 25 w 40"/>
              <a:gd name="T19" fmla="*/ 29 h 54"/>
              <a:gd name="T20" fmla="*/ 11 w 40"/>
              <a:gd name="T21" fmla="*/ 4 h 54"/>
              <a:gd name="T22" fmla="*/ 6 w 40"/>
              <a:gd name="T23" fmla="*/ 6 h 54"/>
              <a:gd name="T24" fmla="*/ 12 w 40"/>
              <a:gd name="T25" fmla="*/ 6 h 54"/>
              <a:gd name="T26" fmla="*/ 12 w 40"/>
              <a:gd name="T27" fmla="*/ 6 h 54"/>
              <a:gd name="T28" fmla="*/ 6 w 40"/>
              <a:gd name="T29" fmla="*/ 0 h 54"/>
              <a:gd name="T30" fmla="*/ 0 w 40"/>
              <a:gd name="T31"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4">
                <a:moveTo>
                  <a:pt x="0" y="6"/>
                </a:moveTo>
                <a:cubicBezTo>
                  <a:pt x="0" y="6"/>
                  <a:pt x="0" y="6"/>
                  <a:pt x="0" y="6"/>
                </a:cubicBezTo>
                <a:cubicBezTo>
                  <a:pt x="0" y="6"/>
                  <a:pt x="0" y="7"/>
                  <a:pt x="0" y="8"/>
                </a:cubicBezTo>
                <a:cubicBezTo>
                  <a:pt x="3" y="18"/>
                  <a:pt x="9" y="28"/>
                  <a:pt x="15" y="37"/>
                </a:cubicBezTo>
                <a:cubicBezTo>
                  <a:pt x="15" y="37"/>
                  <a:pt x="15" y="37"/>
                  <a:pt x="15" y="37"/>
                </a:cubicBezTo>
                <a:cubicBezTo>
                  <a:pt x="19" y="42"/>
                  <a:pt x="24" y="47"/>
                  <a:pt x="29" y="52"/>
                </a:cubicBezTo>
                <a:cubicBezTo>
                  <a:pt x="32" y="54"/>
                  <a:pt x="35" y="54"/>
                  <a:pt x="38" y="52"/>
                </a:cubicBezTo>
                <a:cubicBezTo>
                  <a:pt x="40" y="49"/>
                  <a:pt x="40" y="45"/>
                  <a:pt x="37" y="43"/>
                </a:cubicBezTo>
                <a:cubicBezTo>
                  <a:pt x="33" y="39"/>
                  <a:pt x="28" y="34"/>
                  <a:pt x="25" y="29"/>
                </a:cubicBezTo>
                <a:cubicBezTo>
                  <a:pt x="25" y="29"/>
                  <a:pt x="25" y="29"/>
                  <a:pt x="25" y="29"/>
                </a:cubicBezTo>
                <a:cubicBezTo>
                  <a:pt x="19" y="22"/>
                  <a:pt x="14" y="13"/>
                  <a:pt x="11" y="4"/>
                </a:cubicBezTo>
                <a:cubicBezTo>
                  <a:pt x="6" y="6"/>
                  <a:pt x="6" y="6"/>
                  <a:pt x="6" y="6"/>
                </a:cubicBezTo>
                <a:cubicBezTo>
                  <a:pt x="12" y="6"/>
                  <a:pt x="12" y="6"/>
                  <a:pt x="12" y="6"/>
                </a:cubicBezTo>
                <a:cubicBezTo>
                  <a:pt x="12" y="6"/>
                  <a:pt x="12" y="6"/>
                  <a:pt x="12" y="6"/>
                </a:cubicBezTo>
                <a:cubicBezTo>
                  <a:pt x="12" y="2"/>
                  <a:pt x="9" y="0"/>
                  <a:pt x="6" y="0"/>
                </a:cubicBezTo>
                <a:cubicBezTo>
                  <a:pt x="2" y="0"/>
                  <a:pt x="0" y="2"/>
                  <a:pt x="0" y="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71"/>
          <p:cNvSpPr>
            <a:spLocks/>
          </p:cNvSpPr>
          <p:nvPr/>
        </p:nvSpPr>
        <p:spPr bwMode="auto">
          <a:xfrm>
            <a:off x="8387726" y="1918867"/>
            <a:ext cx="264196" cy="62759"/>
          </a:xfrm>
          <a:custGeom>
            <a:avLst/>
            <a:gdLst>
              <a:gd name="T0" fmla="*/ 4 w 110"/>
              <a:gd name="T1" fmla="*/ 12 h 26"/>
              <a:gd name="T2" fmla="*/ 25 w 110"/>
              <a:gd name="T3" fmla="*/ 21 h 26"/>
              <a:gd name="T4" fmla="*/ 27 w 110"/>
              <a:gd name="T5" fmla="*/ 22 h 26"/>
              <a:gd name="T6" fmla="*/ 27 w 110"/>
              <a:gd name="T7" fmla="*/ 22 h 26"/>
              <a:gd name="T8" fmla="*/ 27 w 110"/>
              <a:gd name="T9" fmla="*/ 16 h 26"/>
              <a:gd name="T10" fmla="*/ 25 w 110"/>
              <a:gd name="T11" fmla="*/ 21 h 26"/>
              <a:gd name="T12" fmla="*/ 55 w 110"/>
              <a:gd name="T13" fmla="*/ 26 h 26"/>
              <a:gd name="T14" fmla="*/ 85 w 110"/>
              <a:gd name="T15" fmla="*/ 21 h 26"/>
              <a:gd name="T16" fmla="*/ 83 w 110"/>
              <a:gd name="T17" fmla="*/ 16 h 26"/>
              <a:gd name="T18" fmla="*/ 83 w 110"/>
              <a:gd name="T19" fmla="*/ 22 h 26"/>
              <a:gd name="T20" fmla="*/ 83 w 110"/>
              <a:gd name="T21" fmla="*/ 22 h 26"/>
              <a:gd name="T22" fmla="*/ 85 w 110"/>
              <a:gd name="T23" fmla="*/ 21 h 26"/>
              <a:gd name="T24" fmla="*/ 106 w 110"/>
              <a:gd name="T25" fmla="*/ 12 h 26"/>
              <a:gd name="T26" fmla="*/ 108 w 110"/>
              <a:gd name="T27" fmla="*/ 4 h 26"/>
              <a:gd name="T28" fmla="*/ 100 w 110"/>
              <a:gd name="T29" fmla="*/ 2 h 26"/>
              <a:gd name="T30" fmla="*/ 82 w 110"/>
              <a:gd name="T31" fmla="*/ 10 h 26"/>
              <a:gd name="T32" fmla="*/ 83 w 110"/>
              <a:gd name="T33" fmla="*/ 16 h 26"/>
              <a:gd name="T34" fmla="*/ 83 w 110"/>
              <a:gd name="T35" fmla="*/ 10 h 26"/>
              <a:gd name="T36" fmla="*/ 83 w 110"/>
              <a:gd name="T37" fmla="*/ 10 h 26"/>
              <a:gd name="T38" fmla="*/ 82 w 110"/>
              <a:gd name="T39" fmla="*/ 10 h 26"/>
              <a:gd name="T40" fmla="*/ 55 w 110"/>
              <a:gd name="T41" fmla="*/ 14 h 26"/>
              <a:gd name="T42" fmla="*/ 29 w 110"/>
              <a:gd name="T43" fmla="*/ 10 h 26"/>
              <a:gd name="T44" fmla="*/ 27 w 110"/>
              <a:gd name="T45" fmla="*/ 10 h 26"/>
              <a:gd name="T46" fmla="*/ 27 w 110"/>
              <a:gd name="T47" fmla="*/ 10 h 26"/>
              <a:gd name="T48" fmla="*/ 27 w 110"/>
              <a:gd name="T49" fmla="*/ 16 h 26"/>
              <a:gd name="T50" fmla="*/ 29 w 110"/>
              <a:gd name="T51" fmla="*/ 10 h 26"/>
              <a:gd name="T52" fmla="*/ 10 w 110"/>
              <a:gd name="T53" fmla="*/ 2 h 26"/>
              <a:gd name="T54" fmla="*/ 2 w 110"/>
              <a:gd name="T55" fmla="*/ 4 h 26"/>
              <a:gd name="T56" fmla="*/ 4 w 110"/>
              <a:gd name="T5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26">
                <a:moveTo>
                  <a:pt x="4" y="12"/>
                </a:moveTo>
                <a:cubicBezTo>
                  <a:pt x="11" y="16"/>
                  <a:pt x="18" y="19"/>
                  <a:pt x="25" y="21"/>
                </a:cubicBezTo>
                <a:cubicBezTo>
                  <a:pt x="26" y="22"/>
                  <a:pt x="26" y="22"/>
                  <a:pt x="27" y="22"/>
                </a:cubicBezTo>
                <a:cubicBezTo>
                  <a:pt x="27" y="22"/>
                  <a:pt x="27" y="22"/>
                  <a:pt x="27" y="22"/>
                </a:cubicBezTo>
                <a:cubicBezTo>
                  <a:pt x="27" y="16"/>
                  <a:pt x="27" y="16"/>
                  <a:pt x="27" y="16"/>
                </a:cubicBezTo>
                <a:cubicBezTo>
                  <a:pt x="25" y="21"/>
                  <a:pt x="25" y="21"/>
                  <a:pt x="25" y="21"/>
                </a:cubicBezTo>
                <a:cubicBezTo>
                  <a:pt x="35" y="24"/>
                  <a:pt x="45" y="26"/>
                  <a:pt x="55" y="26"/>
                </a:cubicBezTo>
                <a:cubicBezTo>
                  <a:pt x="66" y="26"/>
                  <a:pt x="76" y="24"/>
                  <a:pt x="85" y="21"/>
                </a:cubicBezTo>
                <a:cubicBezTo>
                  <a:pt x="83" y="16"/>
                  <a:pt x="83" y="16"/>
                  <a:pt x="83" y="16"/>
                </a:cubicBezTo>
                <a:cubicBezTo>
                  <a:pt x="83" y="22"/>
                  <a:pt x="83" y="22"/>
                  <a:pt x="83" y="22"/>
                </a:cubicBezTo>
                <a:cubicBezTo>
                  <a:pt x="83" y="22"/>
                  <a:pt x="83" y="22"/>
                  <a:pt x="83" y="22"/>
                </a:cubicBezTo>
                <a:cubicBezTo>
                  <a:pt x="84" y="22"/>
                  <a:pt x="85" y="22"/>
                  <a:pt x="85" y="21"/>
                </a:cubicBezTo>
                <a:cubicBezTo>
                  <a:pt x="92" y="19"/>
                  <a:pt x="99" y="16"/>
                  <a:pt x="106" y="12"/>
                </a:cubicBezTo>
                <a:cubicBezTo>
                  <a:pt x="109" y="11"/>
                  <a:pt x="110" y="7"/>
                  <a:pt x="108" y="4"/>
                </a:cubicBezTo>
                <a:cubicBezTo>
                  <a:pt x="106" y="1"/>
                  <a:pt x="103" y="0"/>
                  <a:pt x="100" y="2"/>
                </a:cubicBezTo>
                <a:cubicBezTo>
                  <a:pt x="94" y="5"/>
                  <a:pt x="88" y="8"/>
                  <a:pt x="82" y="10"/>
                </a:cubicBezTo>
                <a:cubicBezTo>
                  <a:pt x="83" y="16"/>
                  <a:pt x="83" y="16"/>
                  <a:pt x="83" y="16"/>
                </a:cubicBezTo>
                <a:cubicBezTo>
                  <a:pt x="83" y="10"/>
                  <a:pt x="83" y="10"/>
                  <a:pt x="83" y="10"/>
                </a:cubicBezTo>
                <a:cubicBezTo>
                  <a:pt x="83" y="10"/>
                  <a:pt x="83" y="10"/>
                  <a:pt x="83" y="10"/>
                </a:cubicBezTo>
                <a:cubicBezTo>
                  <a:pt x="83" y="10"/>
                  <a:pt x="82" y="10"/>
                  <a:pt x="82" y="10"/>
                </a:cubicBezTo>
                <a:cubicBezTo>
                  <a:pt x="73" y="13"/>
                  <a:pt x="64" y="14"/>
                  <a:pt x="55" y="14"/>
                </a:cubicBezTo>
                <a:cubicBezTo>
                  <a:pt x="46" y="14"/>
                  <a:pt x="37" y="13"/>
                  <a:pt x="29" y="10"/>
                </a:cubicBezTo>
                <a:cubicBezTo>
                  <a:pt x="28" y="10"/>
                  <a:pt x="27" y="10"/>
                  <a:pt x="27" y="10"/>
                </a:cubicBezTo>
                <a:cubicBezTo>
                  <a:pt x="27" y="10"/>
                  <a:pt x="27" y="10"/>
                  <a:pt x="27" y="10"/>
                </a:cubicBezTo>
                <a:cubicBezTo>
                  <a:pt x="27" y="16"/>
                  <a:pt x="27" y="16"/>
                  <a:pt x="27" y="16"/>
                </a:cubicBezTo>
                <a:cubicBezTo>
                  <a:pt x="29" y="10"/>
                  <a:pt x="29" y="10"/>
                  <a:pt x="29" y="10"/>
                </a:cubicBezTo>
                <a:cubicBezTo>
                  <a:pt x="22" y="8"/>
                  <a:pt x="16" y="5"/>
                  <a:pt x="10" y="2"/>
                </a:cubicBezTo>
                <a:cubicBezTo>
                  <a:pt x="7" y="0"/>
                  <a:pt x="4" y="1"/>
                  <a:pt x="2" y="4"/>
                </a:cubicBezTo>
                <a:cubicBezTo>
                  <a:pt x="0" y="7"/>
                  <a:pt x="1" y="11"/>
                  <a:pt x="4" y="12"/>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72"/>
          <p:cNvSpPr>
            <a:spLocks/>
          </p:cNvSpPr>
          <p:nvPr/>
        </p:nvSpPr>
        <p:spPr bwMode="auto">
          <a:xfrm>
            <a:off x="8274354" y="1491700"/>
            <a:ext cx="489927" cy="237878"/>
          </a:xfrm>
          <a:custGeom>
            <a:avLst/>
            <a:gdLst>
              <a:gd name="T0" fmla="*/ 12 w 204"/>
              <a:gd name="T1" fmla="*/ 93 h 99"/>
              <a:gd name="T2" fmla="*/ 30 w 204"/>
              <a:gd name="T3" fmla="*/ 48 h 99"/>
              <a:gd name="T4" fmla="*/ 83 w 204"/>
              <a:gd name="T5" fmla="*/ 14 h 99"/>
              <a:gd name="T6" fmla="*/ 102 w 204"/>
              <a:gd name="T7" fmla="*/ 12 h 99"/>
              <a:gd name="T8" fmla="*/ 121 w 204"/>
              <a:gd name="T9" fmla="*/ 14 h 99"/>
              <a:gd name="T10" fmla="*/ 175 w 204"/>
              <a:gd name="T11" fmla="*/ 48 h 99"/>
              <a:gd name="T12" fmla="*/ 192 w 204"/>
              <a:gd name="T13" fmla="*/ 93 h 99"/>
              <a:gd name="T14" fmla="*/ 198 w 204"/>
              <a:gd name="T15" fmla="*/ 98 h 99"/>
              <a:gd name="T16" fmla="*/ 204 w 204"/>
              <a:gd name="T17" fmla="*/ 92 h 99"/>
              <a:gd name="T18" fmla="*/ 184 w 204"/>
              <a:gd name="T19" fmla="*/ 41 h 99"/>
              <a:gd name="T20" fmla="*/ 123 w 204"/>
              <a:gd name="T21" fmla="*/ 2 h 99"/>
              <a:gd name="T22" fmla="*/ 102 w 204"/>
              <a:gd name="T23" fmla="*/ 0 h 99"/>
              <a:gd name="T24" fmla="*/ 81 w 204"/>
              <a:gd name="T25" fmla="*/ 2 h 99"/>
              <a:gd name="T26" fmla="*/ 20 w 204"/>
              <a:gd name="T27" fmla="*/ 41 h 99"/>
              <a:gd name="T28" fmla="*/ 0 w 204"/>
              <a:gd name="T29" fmla="*/ 92 h 99"/>
              <a:gd name="T30" fmla="*/ 6 w 204"/>
              <a:gd name="T31" fmla="*/ 98 h 99"/>
              <a:gd name="T32" fmla="*/ 12 w 204"/>
              <a:gd name="T33"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 h="99">
                <a:moveTo>
                  <a:pt x="12" y="93"/>
                </a:moveTo>
                <a:cubicBezTo>
                  <a:pt x="14" y="76"/>
                  <a:pt x="20" y="61"/>
                  <a:pt x="30" y="48"/>
                </a:cubicBezTo>
                <a:cubicBezTo>
                  <a:pt x="42" y="31"/>
                  <a:pt x="61" y="18"/>
                  <a:pt x="83" y="14"/>
                </a:cubicBezTo>
                <a:cubicBezTo>
                  <a:pt x="89" y="12"/>
                  <a:pt x="96" y="12"/>
                  <a:pt x="102" y="12"/>
                </a:cubicBezTo>
                <a:cubicBezTo>
                  <a:pt x="109" y="12"/>
                  <a:pt x="115" y="12"/>
                  <a:pt x="121" y="14"/>
                </a:cubicBezTo>
                <a:cubicBezTo>
                  <a:pt x="143" y="18"/>
                  <a:pt x="162" y="31"/>
                  <a:pt x="175" y="48"/>
                </a:cubicBezTo>
                <a:cubicBezTo>
                  <a:pt x="184" y="61"/>
                  <a:pt x="190" y="76"/>
                  <a:pt x="192" y="93"/>
                </a:cubicBezTo>
                <a:cubicBezTo>
                  <a:pt x="192" y="96"/>
                  <a:pt x="195" y="99"/>
                  <a:pt x="198" y="98"/>
                </a:cubicBezTo>
                <a:cubicBezTo>
                  <a:pt x="202" y="98"/>
                  <a:pt x="204" y="95"/>
                  <a:pt x="204" y="92"/>
                </a:cubicBezTo>
                <a:cubicBezTo>
                  <a:pt x="202" y="73"/>
                  <a:pt x="195" y="56"/>
                  <a:pt x="184" y="41"/>
                </a:cubicBezTo>
                <a:cubicBezTo>
                  <a:pt x="170" y="21"/>
                  <a:pt x="148" y="7"/>
                  <a:pt x="123" y="2"/>
                </a:cubicBezTo>
                <a:cubicBezTo>
                  <a:pt x="117" y="0"/>
                  <a:pt x="109" y="0"/>
                  <a:pt x="102" y="0"/>
                </a:cubicBezTo>
                <a:cubicBezTo>
                  <a:pt x="95" y="0"/>
                  <a:pt x="88" y="0"/>
                  <a:pt x="81" y="2"/>
                </a:cubicBezTo>
                <a:cubicBezTo>
                  <a:pt x="56" y="7"/>
                  <a:pt x="35" y="21"/>
                  <a:pt x="20" y="41"/>
                </a:cubicBezTo>
                <a:cubicBezTo>
                  <a:pt x="9" y="56"/>
                  <a:pt x="2" y="73"/>
                  <a:pt x="0" y="92"/>
                </a:cubicBezTo>
                <a:cubicBezTo>
                  <a:pt x="0" y="95"/>
                  <a:pt x="3" y="98"/>
                  <a:pt x="6" y="98"/>
                </a:cubicBezTo>
                <a:cubicBezTo>
                  <a:pt x="9" y="99"/>
                  <a:pt x="12" y="96"/>
                  <a:pt x="12" y="93"/>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73"/>
          <p:cNvSpPr>
            <a:spLocks/>
          </p:cNvSpPr>
          <p:nvPr/>
        </p:nvSpPr>
        <p:spPr bwMode="auto">
          <a:xfrm>
            <a:off x="8655971" y="1794361"/>
            <a:ext cx="96163" cy="129567"/>
          </a:xfrm>
          <a:custGeom>
            <a:avLst/>
            <a:gdLst>
              <a:gd name="T0" fmla="*/ 28 w 40"/>
              <a:gd name="T1" fmla="*/ 6 h 54"/>
              <a:gd name="T2" fmla="*/ 28 w 40"/>
              <a:gd name="T3" fmla="*/ 6 h 54"/>
              <a:gd name="T4" fmla="*/ 34 w 40"/>
              <a:gd name="T5" fmla="*/ 6 h 54"/>
              <a:gd name="T6" fmla="*/ 29 w 40"/>
              <a:gd name="T7" fmla="*/ 4 h 54"/>
              <a:gd name="T8" fmla="*/ 16 w 40"/>
              <a:gd name="T9" fmla="*/ 29 h 54"/>
              <a:gd name="T10" fmla="*/ 16 w 40"/>
              <a:gd name="T11" fmla="*/ 29 h 54"/>
              <a:gd name="T12" fmla="*/ 3 w 40"/>
              <a:gd name="T13" fmla="*/ 43 h 54"/>
              <a:gd name="T14" fmla="*/ 3 w 40"/>
              <a:gd name="T15" fmla="*/ 52 h 54"/>
              <a:gd name="T16" fmla="*/ 11 w 40"/>
              <a:gd name="T17" fmla="*/ 52 h 54"/>
              <a:gd name="T18" fmla="*/ 25 w 40"/>
              <a:gd name="T19" fmla="*/ 37 h 54"/>
              <a:gd name="T20" fmla="*/ 25 w 40"/>
              <a:gd name="T21" fmla="*/ 37 h 54"/>
              <a:gd name="T22" fmla="*/ 40 w 40"/>
              <a:gd name="T23" fmla="*/ 8 h 54"/>
              <a:gd name="T24" fmla="*/ 40 w 40"/>
              <a:gd name="T25" fmla="*/ 6 h 54"/>
              <a:gd name="T26" fmla="*/ 40 w 40"/>
              <a:gd name="T27" fmla="*/ 6 h 54"/>
              <a:gd name="T28" fmla="*/ 34 w 40"/>
              <a:gd name="T29" fmla="*/ 0 h 54"/>
              <a:gd name="T30" fmla="*/ 28 w 40"/>
              <a:gd name="T31"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4">
                <a:moveTo>
                  <a:pt x="28" y="6"/>
                </a:moveTo>
                <a:cubicBezTo>
                  <a:pt x="28" y="6"/>
                  <a:pt x="28" y="6"/>
                  <a:pt x="28" y="6"/>
                </a:cubicBezTo>
                <a:cubicBezTo>
                  <a:pt x="34" y="6"/>
                  <a:pt x="34" y="6"/>
                  <a:pt x="34" y="6"/>
                </a:cubicBezTo>
                <a:cubicBezTo>
                  <a:pt x="29" y="4"/>
                  <a:pt x="29" y="4"/>
                  <a:pt x="29" y="4"/>
                </a:cubicBezTo>
                <a:cubicBezTo>
                  <a:pt x="26" y="13"/>
                  <a:pt x="21" y="22"/>
                  <a:pt x="16" y="29"/>
                </a:cubicBezTo>
                <a:cubicBezTo>
                  <a:pt x="16" y="29"/>
                  <a:pt x="16" y="29"/>
                  <a:pt x="16" y="29"/>
                </a:cubicBezTo>
                <a:cubicBezTo>
                  <a:pt x="12" y="34"/>
                  <a:pt x="8" y="39"/>
                  <a:pt x="3" y="43"/>
                </a:cubicBezTo>
                <a:cubicBezTo>
                  <a:pt x="1" y="45"/>
                  <a:pt x="0" y="49"/>
                  <a:pt x="3" y="52"/>
                </a:cubicBezTo>
                <a:cubicBezTo>
                  <a:pt x="5" y="54"/>
                  <a:pt x="9" y="54"/>
                  <a:pt x="11" y="52"/>
                </a:cubicBezTo>
                <a:cubicBezTo>
                  <a:pt x="16" y="47"/>
                  <a:pt x="21" y="42"/>
                  <a:pt x="25" y="37"/>
                </a:cubicBezTo>
                <a:cubicBezTo>
                  <a:pt x="25" y="37"/>
                  <a:pt x="25" y="37"/>
                  <a:pt x="25" y="37"/>
                </a:cubicBezTo>
                <a:cubicBezTo>
                  <a:pt x="32" y="28"/>
                  <a:pt x="37" y="18"/>
                  <a:pt x="40" y="8"/>
                </a:cubicBezTo>
                <a:cubicBezTo>
                  <a:pt x="40" y="7"/>
                  <a:pt x="40" y="6"/>
                  <a:pt x="40" y="6"/>
                </a:cubicBezTo>
                <a:cubicBezTo>
                  <a:pt x="40" y="6"/>
                  <a:pt x="40" y="6"/>
                  <a:pt x="40" y="6"/>
                </a:cubicBezTo>
                <a:cubicBezTo>
                  <a:pt x="40" y="2"/>
                  <a:pt x="38" y="0"/>
                  <a:pt x="34" y="0"/>
                </a:cubicBezTo>
                <a:cubicBezTo>
                  <a:pt x="31" y="0"/>
                  <a:pt x="28" y="2"/>
                  <a:pt x="28" y="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74"/>
          <p:cNvSpPr>
            <a:spLocks/>
          </p:cNvSpPr>
          <p:nvPr/>
        </p:nvSpPr>
        <p:spPr bwMode="auto">
          <a:xfrm>
            <a:off x="8505146" y="1491700"/>
            <a:ext cx="28343" cy="489927"/>
          </a:xfrm>
          <a:custGeom>
            <a:avLst/>
            <a:gdLst>
              <a:gd name="T0" fmla="*/ 12 w 12"/>
              <a:gd name="T1" fmla="*/ 198 h 204"/>
              <a:gd name="T2" fmla="*/ 12 w 12"/>
              <a:gd name="T3" fmla="*/ 143 h 204"/>
              <a:gd name="T4" fmla="*/ 12 w 12"/>
              <a:gd name="T5" fmla="*/ 106 h 204"/>
              <a:gd name="T6" fmla="*/ 12 w 12"/>
              <a:gd name="T7" fmla="*/ 61 h 204"/>
              <a:gd name="T8" fmla="*/ 12 w 12"/>
              <a:gd name="T9" fmla="*/ 6 h 204"/>
              <a:gd name="T10" fmla="*/ 6 w 12"/>
              <a:gd name="T11" fmla="*/ 0 h 204"/>
              <a:gd name="T12" fmla="*/ 0 w 12"/>
              <a:gd name="T13" fmla="*/ 6 h 204"/>
              <a:gd name="T14" fmla="*/ 0 w 12"/>
              <a:gd name="T15" fmla="*/ 61 h 204"/>
              <a:gd name="T16" fmla="*/ 0 w 12"/>
              <a:gd name="T17" fmla="*/ 106 h 204"/>
              <a:gd name="T18" fmla="*/ 0 w 12"/>
              <a:gd name="T19" fmla="*/ 143 h 204"/>
              <a:gd name="T20" fmla="*/ 0 w 12"/>
              <a:gd name="T21" fmla="*/ 198 h 204"/>
              <a:gd name="T22" fmla="*/ 6 w 12"/>
              <a:gd name="T23" fmla="*/ 204 h 204"/>
              <a:gd name="T24" fmla="*/ 12 w 12"/>
              <a:gd name="T25" fmla="*/ 19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204">
                <a:moveTo>
                  <a:pt x="12" y="198"/>
                </a:moveTo>
                <a:cubicBezTo>
                  <a:pt x="12" y="143"/>
                  <a:pt x="12" y="143"/>
                  <a:pt x="12" y="143"/>
                </a:cubicBezTo>
                <a:cubicBezTo>
                  <a:pt x="12" y="106"/>
                  <a:pt x="12" y="106"/>
                  <a:pt x="12" y="106"/>
                </a:cubicBezTo>
                <a:cubicBezTo>
                  <a:pt x="12" y="61"/>
                  <a:pt x="12" y="61"/>
                  <a:pt x="12" y="61"/>
                </a:cubicBezTo>
                <a:cubicBezTo>
                  <a:pt x="12" y="6"/>
                  <a:pt x="12" y="6"/>
                  <a:pt x="12" y="6"/>
                </a:cubicBezTo>
                <a:cubicBezTo>
                  <a:pt x="12" y="2"/>
                  <a:pt x="9" y="0"/>
                  <a:pt x="6" y="0"/>
                </a:cubicBezTo>
                <a:cubicBezTo>
                  <a:pt x="3" y="0"/>
                  <a:pt x="0" y="2"/>
                  <a:pt x="0" y="6"/>
                </a:cubicBezTo>
                <a:cubicBezTo>
                  <a:pt x="0" y="61"/>
                  <a:pt x="0" y="61"/>
                  <a:pt x="0" y="61"/>
                </a:cubicBezTo>
                <a:cubicBezTo>
                  <a:pt x="0" y="106"/>
                  <a:pt x="0" y="106"/>
                  <a:pt x="0" y="106"/>
                </a:cubicBezTo>
                <a:cubicBezTo>
                  <a:pt x="0" y="143"/>
                  <a:pt x="0" y="143"/>
                  <a:pt x="0" y="143"/>
                </a:cubicBezTo>
                <a:cubicBezTo>
                  <a:pt x="0" y="198"/>
                  <a:pt x="0" y="198"/>
                  <a:pt x="0" y="198"/>
                </a:cubicBezTo>
                <a:cubicBezTo>
                  <a:pt x="0" y="201"/>
                  <a:pt x="3" y="204"/>
                  <a:pt x="6" y="204"/>
                </a:cubicBezTo>
                <a:cubicBezTo>
                  <a:pt x="9" y="204"/>
                  <a:pt x="12" y="201"/>
                  <a:pt x="12" y="198"/>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75"/>
          <p:cNvSpPr>
            <a:spLocks/>
          </p:cNvSpPr>
          <p:nvPr/>
        </p:nvSpPr>
        <p:spPr bwMode="auto">
          <a:xfrm>
            <a:off x="8550697" y="1493724"/>
            <a:ext cx="115396" cy="477780"/>
          </a:xfrm>
          <a:custGeom>
            <a:avLst/>
            <a:gdLst>
              <a:gd name="T0" fmla="*/ 15 w 48"/>
              <a:gd name="T1" fmla="*/ 199 h 199"/>
              <a:gd name="T2" fmla="*/ 15 w 48"/>
              <a:gd name="T3" fmla="*/ 199 h 199"/>
              <a:gd name="T4" fmla="*/ 20 w 48"/>
              <a:gd name="T5" fmla="*/ 196 h 199"/>
              <a:gd name="T6" fmla="*/ 35 w 48"/>
              <a:gd name="T7" fmla="*/ 170 h 199"/>
              <a:gd name="T8" fmla="*/ 35 w 48"/>
              <a:gd name="T9" fmla="*/ 170 h 199"/>
              <a:gd name="T10" fmla="*/ 42 w 48"/>
              <a:gd name="T11" fmla="*/ 150 h 199"/>
              <a:gd name="T12" fmla="*/ 42 w 48"/>
              <a:gd name="T13" fmla="*/ 150 h 199"/>
              <a:gd name="T14" fmla="*/ 48 w 48"/>
              <a:gd name="T15" fmla="*/ 105 h 199"/>
              <a:gd name="T16" fmla="*/ 39 w 48"/>
              <a:gd name="T17" fmla="*/ 52 h 199"/>
              <a:gd name="T18" fmla="*/ 39 w 48"/>
              <a:gd name="T19" fmla="*/ 52 h 199"/>
              <a:gd name="T20" fmla="*/ 35 w 48"/>
              <a:gd name="T21" fmla="*/ 41 h 199"/>
              <a:gd name="T22" fmla="*/ 12 w 48"/>
              <a:gd name="T23" fmla="*/ 3 h 199"/>
              <a:gd name="T24" fmla="*/ 3 w 48"/>
              <a:gd name="T25" fmla="*/ 2 h 199"/>
              <a:gd name="T26" fmla="*/ 2 w 48"/>
              <a:gd name="T27" fmla="*/ 11 h 199"/>
              <a:gd name="T28" fmla="*/ 24 w 48"/>
              <a:gd name="T29" fmla="*/ 46 h 199"/>
              <a:gd name="T30" fmla="*/ 28 w 48"/>
              <a:gd name="T31" fmla="*/ 56 h 199"/>
              <a:gd name="T32" fmla="*/ 28 w 48"/>
              <a:gd name="T33" fmla="*/ 56 h 199"/>
              <a:gd name="T34" fmla="*/ 36 w 48"/>
              <a:gd name="T35" fmla="*/ 105 h 199"/>
              <a:gd name="T36" fmla="*/ 30 w 48"/>
              <a:gd name="T37" fmla="*/ 147 h 199"/>
              <a:gd name="T38" fmla="*/ 30 w 48"/>
              <a:gd name="T39" fmla="*/ 147 h 199"/>
              <a:gd name="T40" fmla="*/ 24 w 48"/>
              <a:gd name="T41" fmla="*/ 165 h 199"/>
              <a:gd name="T42" fmla="*/ 24 w 48"/>
              <a:gd name="T43" fmla="*/ 165 h 199"/>
              <a:gd name="T44" fmla="*/ 10 w 48"/>
              <a:gd name="T45" fmla="*/ 189 h 199"/>
              <a:gd name="T46" fmla="*/ 15 w 48"/>
              <a:gd name="T47" fmla="*/ 193 h 199"/>
              <a:gd name="T48" fmla="*/ 15 w 48"/>
              <a:gd name="T49" fmla="*/ 187 h 199"/>
              <a:gd name="T50" fmla="*/ 15 w 48"/>
              <a:gd name="T51" fmla="*/ 187 h 199"/>
              <a:gd name="T52" fmla="*/ 9 w 48"/>
              <a:gd name="T53" fmla="*/ 193 h 199"/>
              <a:gd name="T54" fmla="*/ 15 w 48"/>
              <a:gd name="T5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99">
                <a:moveTo>
                  <a:pt x="15" y="199"/>
                </a:moveTo>
                <a:cubicBezTo>
                  <a:pt x="15" y="199"/>
                  <a:pt x="15" y="199"/>
                  <a:pt x="15" y="199"/>
                </a:cubicBezTo>
                <a:cubicBezTo>
                  <a:pt x="17" y="199"/>
                  <a:pt x="19" y="198"/>
                  <a:pt x="20" y="196"/>
                </a:cubicBezTo>
                <a:cubicBezTo>
                  <a:pt x="26" y="188"/>
                  <a:pt x="31" y="179"/>
                  <a:pt x="35" y="170"/>
                </a:cubicBezTo>
                <a:cubicBezTo>
                  <a:pt x="35" y="170"/>
                  <a:pt x="35" y="170"/>
                  <a:pt x="35" y="170"/>
                </a:cubicBezTo>
                <a:cubicBezTo>
                  <a:pt x="38" y="163"/>
                  <a:pt x="40" y="157"/>
                  <a:pt x="42" y="150"/>
                </a:cubicBezTo>
                <a:cubicBezTo>
                  <a:pt x="42" y="150"/>
                  <a:pt x="42" y="150"/>
                  <a:pt x="42" y="150"/>
                </a:cubicBezTo>
                <a:cubicBezTo>
                  <a:pt x="46" y="135"/>
                  <a:pt x="48" y="120"/>
                  <a:pt x="48" y="105"/>
                </a:cubicBezTo>
                <a:cubicBezTo>
                  <a:pt x="48" y="87"/>
                  <a:pt x="45" y="69"/>
                  <a:pt x="39" y="52"/>
                </a:cubicBezTo>
                <a:cubicBezTo>
                  <a:pt x="39" y="52"/>
                  <a:pt x="39" y="52"/>
                  <a:pt x="39" y="52"/>
                </a:cubicBezTo>
                <a:cubicBezTo>
                  <a:pt x="38" y="48"/>
                  <a:pt x="36" y="45"/>
                  <a:pt x="35" y="41"/>
                </a:cubicBezTo>
                <a:cubicBezTo>
                  <a:pt x="29" y="28"/>
                  <a:pt x="21" y="15"/>
                  <a:pt x="12" y="3"/>
                </a:cubicBezTo>
                <a:cubicBezTo>
                  <a:pt x="10" y="0"/>
                  <a:pt x="6" y="0"/>
                  <a:pt x="3" y="2"/>
                </a:cubicBezTo>
                <a:cubicBezTo>
                  <a:pt x="1" y="4"/>
                  <a:pt x="0" y="8"/>
                  <a:pt x="2" y="11"/>
                </a:cubicBezTo>
                <a:cubicBezTo>
                  <a:pt x="11" y="21"/>
                  <a:pt x="18" y="33"/>
                  <a:pt x="24" y="46"/>
                </a:cubicBezTo>
                <a:cubicBezTo>
                  <a:pt x="25" y="49"/>
                  <a:pt x="26" y="53"/>
                  <a:pt x="28" y="56"/>
                </a:cubicBezTo>
                <a:cubicBezTo>
                  <a:pt x="28" y="56"/>
                  <a:pt x="28" y="56"/>
                  <a:pt x="28" y="56"/>
                </a:cubicBezTo>
                <a:cubicBezTo>
                  <a:pt x="33" y="72"/>
                  <a:pt x="36" y="89"/>
                  <a:pt x="36" y="105"/>
                </a:cubicBezTo>
                <a:cubicBezTo>
                  <a:pt x="36" y="119"/>
                  <a:pt x="34" y="133"/>
                  <a:pt x="30" y="147"/>
                </a:cubicBezTo>
                <a:cubicBezTo>
                  <a:pt x="30" y="147"/>
                  <a:pt x="30" y="147"/>
                  <a:pt x="30" y="147"/>
                </a:cubicBezTo>
                <a:cubicBezTo>
                  <a:pt x="29" y="153"/>
                  <a:pt x="26" y="159"/>
                  <a:pt x="24" y="165"/>
                </a:cubicBezTo>
                <a:cubicBezTo>
                  <a:pt x="24" y="165"/>
                  <a:pt x="24" y="165"/>
                  <a:pt x="24" y="165"/>
                </a:cubicBezTo>
                <a:cubicBezTo>
                  <a:pt x="20" y="173"/>
                  <a:pt x="16" y="182"/>
                  <a:pt x="10" y="189"/>
                </a:cubicBezTo>
                <a:cubicBezTo>
                  <a:pt x="15" y="193"/>
                  <a:pt x="15" y="193"/>
                  <a:pt x="15" y="193"/>
                </a:cubicBezTo>
                <a:cubicBezTo>
                  <a:pt x="15" y="187"/>
                  <a:pt x="15" y="187"/>
                  <a:pt x="15" y="187"/>
                </a:cubicBezTo>
                <a:cubicBezTo>
                  <a:pt x="15" y="187"/>
                  <a:pt x="15" y="187"/>
                  <a:pt x="15" y="187"/>
                </a:cubicBezTo>
                <a:cubicBezTo>
                  <a:pt x="12" y="187"/>
                  <a:pt x="9" y="189"/>
                  <a:pt x="9" y="193"/>
                </a:cubicBezTo>
                <a:cubicBezTo>
                  <a:pt x="9" y="196"/>
                  <a:pt x="12" y="199"/>
                  <a:pt x="15" y="199"/>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76"/>
          <p:cNvSpPr>
            <a:spLocks/>
          </p:cNvSpPr>
          <p:nvPr/>
        </p:nvSpPr>
        <p:spPr bwMode="auto">
          <a:xfrm>
            <a:off x="8293587" y="1731602"/>
            <a:ext cx="454498" cy="29355"/>
          </a:xfrm>
          <a:custGeom>
            <a:avLst/>
            <a:gdLst>
              <a:gd name="T0" fmla="*/ 183 w 189"/>
              <a:gd name="T1" fmla="*/ 0 h 12"/>
              <a:gd name="T2" fmla="*/ 149 w 189"/>
              <a:gd name="T3" fmla="*/ 0 h 12"/>
              <a:gd name="T4" fmla="*/ 94 w 189"/>
              <a:gd name="T5" fmla="*/ 0 h 12"/>
              <a:gd name="T6" fmla="*/ 39 w 189"/>
              <a:gd name="T7" fmla="*/ 0 h 12"/>
              <a:gd name="T8" fmla="*/ 6 w 189"/>
              <a:gd name="T9" fmla="*/ 0 h 12"/>
              <a:gd name="T10" fmla="*/ 0 w 189"/>
              <a:gd name="T11" fmla="*/ 6 h 12"/>
              <a:gd name="T12" fmla="*/ 6 w 189"/>
              <a:gd name="T13" fmla="*/ 12 h 12"/>
              <a:gd name="T14" fmla="*/ 39 w 189"/>
              <a:gd name="T15" fmla="*/ 12 h 12"/>
              <a:gd name="T16" fmla="*/ 94 w 189"/>
              <a:gd name="T17" fmla="*/ 12 h 12"/>
              <a:gd name="T18" fmla="*/ 149 w 189"/>
              <a:gd name="T19" fmla="*/ 12 h 12"/>
              <a:gd name="T20" fmla="*/ 183 w 189"/>
              <a:gd name="T21" fmla="*/ 12 h 12"/>
              <a:gd name="T22" fmla="*/ 189 w 189"/>
              <a:gd name="T23" fmla="*/ 6 h 12"/>
              <a:gd name="T24" fmla="*/ 183 w 189"/>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12">
                <a:moveTo>
                  <a:pt x="183" y="0"/>
                </a:moveTo>
                <a:cubicBezTo>
                  <a:pt x="149" y="0"/>
                  <a:pt x="149" y="0"/>
                  <a:pt x="149" y="0"/>
                </a:cubicBezTo>
                <a:cubicBezTo>
                  <a:pt x="94" y="0"/>
                  <a:pt x="94" y="0"/>
                  <a:pt x="94" y="0"/>
                </a:cubicBezTo>
                <a:cubicBezTo>
                  <a:pt x="39" y="0"/>
                  <a:pt x="39" y="0"/>
                  <a:pt x="39" y="0"/>
                </a:cubicBezTo>
                <a:cubicBezTo>
                  <a:pt x="6" y="0"/>
                  <a:pt x="6" y="0"/>
                  <a:pt x="6" y="0"/>
                </a:cubicBezTo>
                <a:cubicBezTo>
                  <a:pt x="2" y="0"/>
                  <a:pt x="0" y="3"/>
                  <a:pt x="0" y="6"/>
                </a:cubicBezTo>
                <a:cubicBezTo>
                  <a:pt x="0" y="10"/>
                  <a:pt x="2" y="12"/>
                  <a:pt x="6" y="12"/>
                </a:cubicBezTo>
                <a:cubicBezTo>
                  <a:pt x="39" y="12"/>
                  <a:pt x="39" y="12"/>
                  <a:pt x="39" y="12"/>
                </a:cubicBezTo>
                <a:cubicBezTo>
                  <a:pt x="94" y="12"/>
                  <a:pt x="94" y="12"/>
                  <a:pt x="94" y="12"/>
                </a:cubicBezTo>
                <a:cubicBezTo>
                  <a:pt x="149" y="12"/>
                  <a:pt x="149" y="12"/>
                  <a:pt x="149" y="12"/>
                </a:cubicBezTo>
                <a:cubicBezTo>
                  <a:pt x="183" y="12"/>
                  <a:pt x="183" y="12"/>
                  <a:pt x="183" y="12"/>
                </a:cubicBezTo>
                <a:cubicBezTo>
                  <a:pt x="186" y="12"/>
                  <a:pt x="189" y="10"/>
                  <a:pt x="189" y="6"/>
                </a:cubicBezTo>
                <a:cubicBezTo>
                  <a:pt x="189" y="3"/>
                  <a:pt x="186" y="0"/>
                  <a:pt x="183" y="0"/>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77"/>
          <p:cNvSpPr>
            <a:spLocks/>
          </p:cNvSpPr>
          <p:nvPr/>
        </p:nvSpPr>
        <p:spPr bwMode="auto">
          <a:xfrm>
            <a:off x="8372542" y="1493724"/>
            <a:ext cx="115396" cy="477780"/>
          </a:xfrm>
          <a:custGeom>
            <a:avLst/>
            <a:gdLst>
              <a:gd name="T0" fmla="*/ 36 w 48"/>
              <a:gd name="T1" fmla="*/ 3 h 199"/>
              <a:gd name="T2" fmla="*/ 14 w 48"/>
              <a:gd name="T3" fmla="*/ 41 h 199"/>
              <a:gd name="T4" fmla="*/ 9 w 48"/>
              <a:gd name="T5" fmla="*/ 52 h 199"/>
              <a:gd name="T6" fmla="*/ 9 w 48"/>
              <a:gd name="T7" fmla="*/ 52 h 199"/>
              <a:gd name="T8" fmla="*/ 0 w 48"/>
              <a:gd name="T9" fmla="*/ 105 h 199"/>
              <a:gd name="T10" fmla="*/ 6 w 48"/>
              <a:gd name="T11" fmla="*/ 150 h 199"/>
              <a:gd name="T12" fmla="*/ 6 w 48"/>
              <a:gd name="T13" fmla="*/ 150 h 199"/>
              <a:gd name="T14" fmla="*/ 14 w 48"/>
              <a:gd name="T15" fmla="*/ 170 h 199"/>
              <a:gd name="T16" fmla="*/ 14 w 48"/>
              <a:gd name="T17" fmla="*/ 170 h 199"/>
              <a:gd name="T18" fmla="*/ 28 w 48"/>
              <a:gd name="T19" fmla="*/ 196 h 199"/>
              <a:gd name="T20" fmla="*/ 33 w 48"/>
              <a:gd name="T21" fmla="*/ 199 h 199"/>
              <a:gd name="T22" fmla="*/ 33 w 48"/>
              <a:gd name="T23" fmla="*/ 199 h 199"/>
              <a:gd name="T24" fmla="*/ 39 w 48"/>
              <a:gd name="T25" fmla="*/ 193 h 199"/>
              <a:gd name="T26" fmla="*/ 33 w 48"/>
              <a:gd name="T27" fmla="*/ 187 h 199"/>
              <a:gd name="T28" fmla="*/ 33 w 48"/>
              <a:gd name="T29" fmla="*/ 187 h 199"/>
              <a:gd name="T30" fmla="*/ 33 w 48"/>
              <a:gd name="T31" fmla="*/ 193 h 199"/>
              <a:gd name="T32" fmla="*/ 38 w 48"/>
              <a:gd name="T33" fmla="*/ 189 h 199"/>
              <a:gd name="T34" fmla="*/ 25 w 48"/>
              <a:gd name="T35" fmla="*/ 165 h 199"/>
              <a:gd name="T36" fmla="*/ 25 w 48"/>
              <a:gd name="T37" fmla="*/ 165 h 199"/>
              <a:gd name="T38" fmla="*/ 18 w 48"/>
              <a:gd name="T39" fmla="*/ 147 h 199"/>
              <a:gd name="T40" fmla="*/ 18 w 48"/>
              <a:gd name="T41" fmla="*/ 147 h 199"/>
              <a:gd name="T42" fmla="*/ 12 w 48"/>
              <a:gd name="T43" fmla="*/ 105 h 199"/>
              <a:gd name="T44" fmla="*/ 21 w 48"/>
              <a:gd name="T45" fmla="*/ 56 h 199"/>
              <a:gd name="T46" fmla="*/ 21 w 48"/>
              <a:gd name="T47" fmla="*/ 56 h 199"/>
              <a:gd name="T48" fmla="*/ 25 w 48"/>
              <a:gd name="T49" fmla="*/ 46 h 199"/>
              <a:gd name="T50" fmla="*/ 46 w 48"/>
              <a:gd name="T51" fmla="*/ 11 h 199"/>
              <a:gd name="T52" fmla="*/ 45 w 48"/>
              <a:gd name="T53" fmla="*/ 2 h 199"/>
              <a:gd name="T54" fmla="*/ 36 w 48"/>
              <a:gd name="T55" fmla="*/ 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99">
                <a:moveTo>
                  <a:pt x="36" y="3"/>
                </a:moveTo>
                <a:cubicBezTo>
                  <a:pt x="27" y="15"/>
                  <a:pt x="19" y="28"/>
                  <a:pt x="14" y="41"/>
                </a:cubicBezTo>
                <a:cubicBezTo>
                  <a:pt x="12" y="45"/>
                  <a:pt x="11" y="48"/>
                  <a:pt x="9" y="52"/>
                </a:cubicBezTo>
                <a:cubicBezTo>
                  <a:pt x="9" y="52"/>
                  <a:pt x="9" y="52"/>
                  <a:pt x="9" y="52"/>
                </a:cubicBezTo>
                <a:cubicBezTo>
                  <a:pt x="3" y="69"/>
                  <a:pt x="0" y="87"/>
                  <a:pt x="0" y="105"/>
                </a:cubicBezTo>
                <a:cubicBezTo>
                  <a:pt x="0" y="120"/>
                  <a:pt x="2" y="135"/>
                  <a:pt x="6" y="150"/>
                </a:cubicBezTo>
                <a:cubicBezTo>
                  <a:pt x="6" y="150"/>
                  <a:pt x="6" y="150"/>
                  <a:pt x="6" y="150"/>
                </a:cubicBezTo>
                <a:cubicBezTo>
                  <a:pt x="8" y="157"/>
                  <a:pt x="11" y="163"/>
                  <a:pt x="14" y="170"/>
                </a:cubicBezTo>
                <a:cubicBezTo>
                  <a:pt x="14" y="170"/>
                  <a:pt x="14" y="170"/>
                  <a:pt x="14" y="170"/>
                </a:cubicBezTo>
                <a:cubicBezTo>
                  <a:pt x="17" y="179"/>
                  <a:pt x="22" y="188"/>
                  <a:pt x="28" y="196"/>
                </a:cubicBezTo>
                <a:cubicBezTo>
                  <a:pt x="29" y="198"/>
                  <a:pt x="31" y="199"/>
                  <a:pt x="33" y="199"/>
                </a:cubicBezTo>
                <a:cubicBezTo>
                  <a:pt x="33" y="199"/>
                  <a:pt x="33" y="199"/>
                  <a:pt x="33" y="199"/>
                </a:cubicBezTo>
                <a:cubicBezTo>
                  <a:pt x="36" y="199"/>
                  <a:pt x="39" y="196"/>
                  <a:pt x="39" y="193"/>
                </a:cubicBezTo>
                <a:cubicBezTo>
                  <a:pt x="39" y="189"/>
                  <a:pt x="36" y="187"/>
                  <a:pt x="33" y="187"/>
                </a:cubicBezTo>
                <a:cubicBezTo>
                  <a:pt x="33" y="187"/>
                  <a:pt x="33" y="187"/>
                  <a:pt x="33" y="187"/>
                </a:cubicBezTo>
                <a:cubicBezTo>
                  <a:pt x="33" y="193"/>
                  <a:pt x="33" y="193"/>
                  <a:pt x="33" y="193"/>
                </a:cubicBezTo>
                <a:cubicBezTo>
                  <a:pt x="38" y="189"/>
                  <a:pt x="38" y="189"/>
                  <a:pt x="38" y="189"/>
                </a:cubicBezTo>
                <a:cubicBezTo>
                  <a:pt x="33" y="182"/>
                  <a:pt x="28" y="173"/>
                  <a:pt x="25" y="165"/>
                </a:cubicBezTo>
                <a:cubicBezTo>
                  <a:pt x="25" y="165"/>
                  <a:pt x="25" y="165"/>
                  <a:pt x="25" y="165"/>
                </a:cubicBezTo>
                <a:cubicBezTo>
                  <a:pt x="22" y="159"/>
                  <a:pt x="20" y="153"/>
                  <a:pt x="18" y="147"/>
                </a:cubicBezTo>
                <a:cubicBezTo>
                  <a:pt x="18" y="147"/>
                  <a:pt x="18" y="147"/>
                  <a:pt x="18" y="147"/>
                </a:cubicBezTo>
                <a:cubicBezTo>
                  <a:pt x="14" y="133"/>
                  <a:pt x="12" y="119"/>
                  <a:pt x="12" y="105"/>
                </a:cubicBezTo>
                <a:cubicBezTo>
                  <a:pt x="12" y="89"/>
                  <a:pt x="15" y="72"/>
                  <a:pt x="21" y="56"/>
                </a:cubicBezTo>
                <a:cubicBezTo>
                  <a:pt x="21" y="56"/>
                  <a:pt x="21" y="56"/>
                  <a:pt x="21" y="56"/>
                </a:cubicBezTo>
                <a:cubicBezTo>
                  <a:pt x="22" y="53"/>
                  <a:pt x="23" y="49"/>
                  <a:pt x="25" y="46"/>
                </a:cubicBezTo>
                <a:cubicBezTo>
                  <a:pt x="30" y="33"/>
                  <a:pt x="37" y="21"/>
                  <a:pt x="46" y="11"/>
                </a:cubicBezTo>
                <a:cubicBezTo>
                  <a:pt x="48" y="8"/>
                  <a:pt x="47" y="4"/>
                  <a:pt x="45" y="2"/>
                </a:cubicBezTo>
                <a:cubicBezTo>
                  <a:pt x="42" y="0"/>
                  <a:pt x="39" y="0"/>
                  <a:pt x="36" y="3"/>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78"/>
          <p:cNvSpPr>
            <a:spLocks/>
          </p:cNvSpPr>
          <p:nvPr/>
        </p:nvSpPr>
        <p:spPr bwMode="auto">
          <a:xfrm>
            <a:off x="8317881" y="1582802"/>
            <a:ext cx="402874" cy="69845"/>
          </a:xfrm>
          <a:custGeom>
            <a:avLst/>
            <a:gdLst>
              <a:gd name="T0" fmla="*/ 4 w 168"/>
              <a:gd name="T1" fmla="*/ 12 h 29"/>
              <a:gd name="T2" fmla="*/ 33 w 168"/>
              <a:gd name="T3" fmla="*/ 22 h 29"/>
              <a:gd name="T4" fmla="*/ 33 w 168"/>
              <a:gd name="T5" fmla="*/ 22 h 29"/>
              <a:gd name="T6" fmla="*/ 37 w 168"/>
              <a:gd name="T7" fmla="*/ 23 h 29"/>
              <a:gd name="T8" fmla="*/ 38 w 168"/>
              <a:gd name="T9" fmla="*/ 17 h 29"/>
              <a:gd name="T10" fmla="*/ 36 w 168"/>
              <a:gd name="T11" fmla="*/ 23 h 29"/>
              <a:gd name="T12" fmla="*/ 84 w 168"/>
              <a:gd name="T13" fmla="*/ 29 h 29"/>
              <a:gd name="T14" fmla="*/ 132 w 168"/>
              <a:gd name="T15" fmla="*/ 23 h 29"/>
              <a:gd name="T16" fmla="*/ 130 w 168"/>
              <a:gd name="T17" fmla="*/ 17 h 29"/>
              <a:gd name="T18" fmla="*/ 131 w 168"/>
              <a:gd name="T19" fmla="*/ 23 h 29"/>
              <a:gd name="T20" fmla="*/ 135 w 168"/>
              <a:gd name="T21" fmla="*/ 22 h 29"/>
              <a:gd name="T22" fmla="*/ 135 w 168"/>
              <a:gd name="T23" fmla="*/ 22 h 29"/>
              <a:gd name="T24" fmla="*/ 164 w 168"/>
              <a:gd name="T25" fmla="*/ 12 h 29"/>
              <a:gd name="T26" fmla="*/ 167 w 168"/>
              <a:gd name="T27" fmla="*/ 4 h 29"/>
              <a:gd name="T28" fmla="*/ 159 w 168"/>
              <a:gd name="T29" fmla="*/ 1 h 29"/>
              <a:gd name="T30" fmla="*/ 132 w 168"/>
              <a:gd name="T31" fmla="*/ 10 h 29"/>
              <a:gd name="T32" fmla="*/ 132 w 168"/>
              <a:gd name="T33" fmla="*/ 10 h 29"/>
              <a:gd name="T34" fmla="*/ 129 w 168"/>
              <a:gd name="T35" fmla="*/ 11 h 29"/>
              <a:gd name="T36" fmla="*/ 129 w 168"/>
              <a:gd name="T37" fmla="*/ 11 h 29"/>
              <a:gd name="T38" fmla="*/ 84 w 168"/>
              <a:gd name="T39" fmla="*/ 17 h 29"/>
              <a:gd name="T40" fmla="*/ 39 w 168"/>
              <a:gd name="T41" fmla="*/ 11 h 29"/>
              <a:gd name="T42" fmla="*/ 39 w 168"/>
              <a:gd name="T43" fmla="*/ 11 h 29"/>
              <a:gd name="T44" fmla="*/ 36 w 168"/>
              <a:gd name="T45" fmla="*/ 10 h 29"/>
              <a:gd name="T46" fmla="*/ 36 w 168"/>
              <a:gd name="T47" fmla="*/ 10 h 29"/>
              <a:gd name="T48" fmla="*/ 9 w 168"/>
              <a:gd name="T49" fmla="*/ 1 h 29"/>
              <a:gd name="T50" fmla="*/ 1 w 168"/>
              <a:gd name="T51" fmla="*/ 4 h 29"/>
              <a:gd name="T52" fmla="*/ 4 w 168"/>
              <a:gd name="T53"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29">
                <a:moveTo>
                  <a:pt x="4" y="12"/>
                </a:moveTo>
                <a:cubicBezTo>
                  <a:pt x="14" y="16"/>
                  <a:pt x="23" y="19"/>
                  <a:pt x="33" y="22"/>
                </a:cubicBezTo>
                <a:cubicBezTo>
                  <a:pt x="33" y="22"/>
                  <a:pt x="33" y="22"/>
                  <a:pt x="33" y="22"/>
                </a:cubicBezTo>
                <a:cubicBezTo>
                  <a:pt x="34" y="22"/>
                  <a:pt x="35" y="23"/>
                  <a:pt x="37" y="23"/>
                </a:cubicBezTo>
                <a:cubicBezTo>
                  <a:pt x="38" y="17"/>
                  <a:pt x="38" y="17"/>
                  <a:pt x="38" y="17"/>
                </a:cubicBezTo>
                <a:cubicBezTo>
                  <a:pt x="36" y="23"/>
                  <a:pt x="36" y="23"/>
                  <a:pt x="36" y="23"/>
                </a:cubicBezTo>
                <a:cubicBezTo>
                  <a:pt x="52" y="27"/>
                  <a:pt x="68" y="29"/>
                  <a:pt x="84" y="29"/>
                </a:cubicBezTo>
                <a:cubicBezTo>
                  <a:pt x="100" y="29"/>
                  <a:pt x="116" y="27"/>
                  <a:pt x="132" y="23"/>
                </a:cubicBezTo>
                <a:cubicBezTo>
                  <a:pt x="130" y="17"/>
                  <a:pt x="130" y="17"/>
                  <a:pt x="130" y="17"/>
                </a:cubicBezTo>
                <a:cubicBezTo>
                  <a:pt x="131" y="23"/>
                  <a:pt x="131" y="23"/>
                  <a:pt x="131" y="23"/>
                </a:cubicBezTo>
                <a:cubicBezTo>
                  <a:pt x="133" y="23"/>
                  <a:pt x="134" y="22"/>
                  <a:pt x="135" y="22"/>
                </a:cubicBezTo>
                <a:cubicBezTo>
                  <a:pt x="135" y="22"/>
                  <a:pt x="135" y="22"/>
                  <a:pt x="135" y="22"/>
                </a:cubicBezTo>
                <a:cubicBezTo>
                  <a:pt x="145" y="19"/>
                  <a:pt x="154" y="16"/>
                  <a:pt x="164" y="12"/>
                </a:cubicBezTo>
                <a:cubicBezTo>
                  <a:pt x="167" y="11"/>
                  <a:pt x="168" y="7"/>
                  <a:pt x="167" y="4"/>
                </a:cubicBezTo>
                <a:cubicBezTo>
                  <a:pt x="166" y="1"/>
                  <a:pt x="162" y="0"/>
                  <a:pt x="159" y="1"/>
                </a:cubicBezTo>
                <a:cubicBezTo>
                  <a:pt x="150" y="5"/>
                  <a:pt x="141" y="8"/>
                  <a:pt x="132" y="10"/>
                </a:cubicBezTo>
                <a:cubicBezTo>
                  <a:pt x="132" y="10"/>
                  <a:pt x="132" y="10"/>
                  <a:pt x="132" y="10"/>
                </a:cubicBezTo>
                <a:cubicBezTo>
                  <a:pt x="131" y="11"/>
                  <a:pt x="130" y="11"/>
                  <a:pt x="129" y="11"/>
                </a:cubicBezTo>
                <a:cubicBezTo>
                  <a:pt x="129" y="11"/>
                  <a:pt x="129" y="11"/>
                  <a:pt x="129" y="11"/>
                </a:cubicBezTo>
                <a:cubicBezTo>
                  <a:pt x="114" y="15"/>
                  <a:pt x="99" y="17"/>
                  <a:pt x="84" y="17"/>
                </a:cubicBezTo>
                <a:cubicBezTo>
                  <a:pt x="69" y="17"/>
                  <a:pt x="54" y="15"/>
                  <a:pt x="39" y="11"/>
                </a:cubicBezTo>
                <a:cubicBezTo>
                  <a:pt x="39" y="11"/>
                  <a:pt x="39" y="11"/>
                  <a:pt x="39" y="11"/>
                </a:cubicBezTo>
                <a:cubicBezTo>
                  <a:pt x="38" y="11"/>
                  <a:pt x="37" y="11"/>
                  <a:pt x="36" y="10"/>
                </a:cubicBezTo>
                <a:cubicBezTo>
                  <a:pt x="36" y="10"/>
                  <a:pt x="36" y="10"/>
                  <a:pt x="36" y="10"/>
                </a:cubicBezTo>
                <a:cubicBezTo>
                  <a:pt x="27" y="8"/>
                  <a:pt x="18" y="5"/>
                  <a:pt x="9" y="1"/>
                </a:cubicBezTo>
                <a:cubicBezTo>
                  <a:pt x="6" y="0"/>
                  <a:pt x="3" y="1"/>
                  <a:pt x="1" y="4"/>
                </a:cubicBezTo>
                <a:cubicBezTo>
                  <a:pt x="0" y="7"/>
                  <a:pt x="1" y="11"/>
                  <a:pt x="4" y="12"/>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79"/>
          <p:cNvSpPr>
            <a:spLocks/>
          </p:cNvSpPr>
          <p:nvPr/>
        </p:nvSpPr>
        <p:spPr bwMode="auto">
          <a:xfrm>
            <a:off x="8317881" y="1820680"/>
            <a:ext cx="402874" cy="69845"/>
          </a:xfrm>
          <a:custGeom>
            <a:avLst/>
            <a:gdLst>
              <a:gd name="T0" fmla="*/ 164 w 168"/>
              <a:gd name="T1" fmla="*/ 16 h 29"/>
              <a:gd name="T2" fmla="*/ 135 w 168"/>
              <a:gd name="T3" fmla="*/ 7 h 29"/>
              <a:gd name="T4" fmla="*/ 134 w 168"/>
              <a:gd name="T5" fmla="*/ 12 h 29"/>
              <a:gd name="T6" fmla="*/ 135 w 168"/>
              <a:gd name="T7" fmla="*/ 7 h 29"/>
              <a:gd name="T8" fmla="*/ 135 w 168"/>
              <a:gd name="T9" fmla="*/ 6 h 29"/>
              <a:gd name="T10" fmla="*/ 135 w 168"/>
              <a:gd name="T11" fmla="*/ 6 h 29"/>
              <a:gd name="T12" fmla="*/ 84 w 168"/>
              <a:gd name="T13" fmla="*/ 0 h 29"/>
              <a:gd name="T14" fmla="*/ 34 w 168"/>
              <a:gd name="T15" fmla="*/ 6 h 29"/>
              <a:gd name="T16" fmla="*/ 34 w 168"/>
              <a:gd name="T17" fmla="*/ 6 h 29"/>
              <a:gd name="T18" fmla="*/ 33 w 168"/>
              <a:gd name="T19" fmla="*/ 7 h 29"/>
              <a:gd name="T20" fmla="*/ 35 w 168"/>
              <a:gd name="T21" fmla="*/ 12 h 29"/>
              <a:gd name="T22" fmla="*/ 33 w 168"/>
              <a:gd name="T23" fmla="*/ 7 h 29"/>
              <a:gd name="T24" fmla="*/ 4 w 168"/>
              <a:gd name="T25" fmla="*/ 16 h 29"/>
              <a:gd name="T26" fmla="*/ 1 w 168"/>
              <a:gd name="T27" fmla="*/ 24 h 29"/>
              <a:gd name="T28" fmla="*/ 9 w 168"/>
              <a:gd name="T29" fmla="*/ 27 h 29"/>
              <a:gd name="T30" fmla="*/ 36 w 168"/>
              <a:gd name="T31" fmla="*/ 18 h 29"/>
              <a:gd name="T32" fmla="*/ 36 w 168"/>
              <a:gd name="T33" fmla="*/ 18 h 29"/>
              <a:gd name="T34" fmla="*/ 37 w 168"/>
              <a:gd name="T35" fmla="*/ 18 h 29"/>
              <a:gd name="T36" fmla="*/ 35 w 168"/>
              <a:gd name="T37" fmla="*/ 12 h 29"/>
              <a:gd name="T38" fmla="*/ 37 w 168"/>
              <a:gd name="T39" fmla="*/ 18 h 29"/>
              <a:gd name="T40" fmla="*/ 84 w 168"/>
              <a:gd name="T41" fmla="*/ 12 h 29"/>
              <a:gd name="T42" fmla="*/ 132 w 168"/>
              <a:gd name="T43" fmla="*/ 18 h 29"/>
              <a:gd name="T44" fmla="*/ 133 w 168"/>
              <a:gd name="T45" fmla="*/ 12 h 29"/>
              <a:gd name="T46" fmla="*/ 131 w 168"/>
              <a:gd name="T47" fmla="*/ 18 h 29"/>
              <a:gd name="T48" fmla="*/ 132 w 168"/>
              <a:gd name="T49" fmla="*/ 18 h 29"/>
              <a:gd name="T50" fmla="*/ 132 w 168"/>
              <a:gd name="T51" fmla="*/ 18 h 29"/>
              <a:gd name="T52" fmla="*/ 159 w 168"/>
              <a:gd name="T53" fmla="*/ 27 h 29"/>
              <a:gd name="T54" fmla="*/ 167 w 168"/>
              <a:gd name="T55" fmla="*/ 24 h 29"/>
              <a:gd name="T56" fmla="*/ 164 w 168"/>
              <a:gd name="T57"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29">
                <a:moveTo>
                  <a:pt x="164" y="16"/>
                </a:moveTo>
                <a:cubicBezTo>
                  <a:pt x="154" y="12"/>
                  <a:pt x="145" y="9"/>
                  <a:pt x="135" y="7"/>
                </a:cubicBezTo>
                <a:cubicBezTo>
                  <a:pt x="134" y="12"/>
                  <a:pt x="134" y="12"/>
                  <a:pt x="134" y="12"/>
                </a:cubicBezTo>
                <a:cubicBezTo>
                  <a:pt x="135" y="7"/>
                  <a:pt x="135" y="7"/>
                  <a:pt x="135" y="7"/>
                </a:cubicBezTo>
                <a:cubicBezTo>
                  <a:pt x="135" y="6"/>
                  <a:pt x="135" y="6"/>
                  <a:pt x="135" y="6"/>
                </a:cubicBezTo>
                <a:cubicBezTo>
                  <a:pt x="135" y="6"/>
                  <a:pt x="135" y="6"/>
                  <a:pt x="135" y="6"/>
                </a:cubicBezTo>
                <a:cubicBezTo>
                  <a:pt x="118" y="2"/>
                  <a:pt x="101" y="0"/>
                  <a:pt x="84" y="0"/>
                </a:cubicBezTo>
                <a:cubicBezTo>
                  <a:pt x="67" y="0"/>
                  <a:pt x="50" y="2"/>
                  <a:pt x="34" y="6"/>
                </a:cubicBezTo>
                <a:cubicBezTo>
                  <a:pt x="34" y="6"/>
                  <a:pt x="34" y="6"/>
                  <a:pt x="34" y="6"/>
                </a:cubicBezTo>
                <a:cubicBezTo>
                  <a:pt x="33" y="7"/>
                  <a:pt x="33" y="7"/>
                  <a:pt x="33" y="7"/>
                </a:cubicBezTo>
                <a:cubicBezTo>
                  <a:pt x="35" y="12"/>
                  <a:pt x="35" y="12"/>
                  <a:pt x="35" y="12"/>
                </a:cubicBezTo>
                <a:cubicBezTo>
                  <a:pt x="33" y="7"/>
                  <a:pt x="33" y="7"/>
                  <a:pt x="33" y="7"/>
                </a:cubicBezTo>
                <a:cubicBezTo>
                  <a:pt x="23" y="9"/>
                  <a:pt x="14" y="12"/>
                  <a:pt x="4" y="16"/>
                </a:cubicBezTo>
                <a:cubicBezTo>
                  <a:pt x="1" y="18"/>
                  <a:pt x="0" y="21"/>
                  <a:pt x="1" y="24"/>
                </a:cubicBezTo>
                <a:cubicBezTo>
                  <a:pt x="3" y="27"/>
                  <a:pt x="6" y="29"/>
                  <a:pt x="9" y="27"/>
                </a:cubicBezTo>
                <a:cubicBezTo>
                  <a:pt x="18" y="24"/>
                  <a:pt x="27" y="21"/>
                  <a:pt x="36" y="18"/>
                </a:cubicBezTo>
                <a:cubicBezTo>
                  <a:pt x="36" y="18"/>
                  <a:pt x="36" y="18"/>
                  <a:pt x="36" y="18"/>
                </a:cubicBezTo>
                <a:cubicBezTo>
                  <a:pt x="37" y="18"/>
                  <a:pt x="37" y="18"/>
                  <a:pt x="37" y="18"/>
                </a:cubicBezTo>
                <a:cubicBezTo>
                  <a:pt x="35" y="12"/>
                  <a:pt x="35" y="12"/>
                  <a:pt x="35" y="12"/>
                </a:cubicBezTo>
                <a:cubicBezTo>
                  <a:pt x="37" y="18"/>
                  <a:pt x="37" y="18"/>
                  <a:pt x="37" y="18"/>
                </a:cubicBezTo>
                <a:cubicBezTo>
                  <a:pt x="52" y="14"/>
                  <a:pt x="68" y="12"/>
                  <a:pt x="84" y="12"/>
                </a:cubicBezTo>
                <a:cubicBezTo>
                  <a:pt x="100" y="12"/>
                  <a:pt x="116" y="14"/>
                  <a:pt x="132" y="18"/>
                </a:cubicBezTo>
                <a:cubicBezTo>
                  <a:pt x="133" y="12"/>
                  <a:pt x="133" y="12"/>
                  <a:pt x="133" y="12"/>
                </a:cubicBezTo>
                <a:cubicBezTo>
                  <a:pt x="131" y="18"/>
                  <a:pt x="131" y="18"/>
                  <a:pt x="131" y="18"/>
                </a:cubicBezTo>
                <a:cubicBezTo>
                  <a:pt x="132" y="18"/>
                  <a:pt x="132" y="18"/>
                  <a:pt x="132" y="18"/>
                </a:cubicBezTo>
                <a:cubicBezTo>
                  <a:pt x="132" y="18"/>
                  <a:pt x="132" y="18"/>
                  <a:pt x="132" y="18"/>
                </a:cubicBezTo>
                <a:cubicBezTo>
                  <a:pt x="141" y="21"/>
                  <a:pt x="150" y="24"/>
                  <a:pt x="159" y="27"/>
                </a:cubicBezTo>
                <a:cubicBezTo>
                  <a:pt x="162" y="29"/>
                  <a:pt x="166" y="27"/>
                  <a:pt x="167" y="24"/>
                </a:cubicBezTo>
                <a:cubicBezTo>
                  <a:pt x="168" y="21"/>
                  <a:pt x="167" y="18"/>
                  <a:pt x="164" y="1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80"/>
          <p:cNvSpPr>
            <a:spLocks/>
          </p:cNvSpPr>
          <p:nvPr/>
        </p:nvSpPr>
        <p:spPr bwMode="auto">
          <a:xfrm>
            <a:off x="7443300" y="4285498"/>
            <a:ext cx="477780" cy="477780"/>
          </a:xfrm>
          <a:custGeom>
            <a:avLst/>
            <a:gdLst>
              <a:gd name="T0" fmla="*/ 195 w 199"/>
              <a:gd name="T1" fmla="*/ 99 h 199"/>
              <a:gd name="T2" fmla="*/ 191 w 199"/>
              <a:gd name="T3" fmla="*/ 99 h 199"/>
              <a:gd name="T4" fmla="*/ 164 w 199"/>
              <a:gd name="T5" fmla="*/ 164 h 199"/>
              <a:gd name="T6" fmla="*/ 100 w 199"/>
              <a:gd name="T7" fmla="*/ 191 h 199"/>
              <a:gd name="T8" fmla="*/ 35 w 199"/>
              <a:gd name="T9" fmla="*/ 164 h 199"/>
              <a:gd name="T10" fmla="*/ 8 w 199"/>
              <a:gd name="T11" fmla="*/ 99 h 199"/>
              <a:gd name="T12" fmla="*/ 35 w 199"/>
              <a:gd name="T13" fmla="*/ 35 h 199"/>
              <a:gd name="T14" fmla="*/ 100 w 199"/>
              <a:gd name="T15" fmla="*/ 8 h 199"/>
              <a:gd name="T16" fmla="*/ 164 w 199"/>
              <a:gd name="T17" fmla="*/ 35 h 199"/>
              <a:gd name="T18" fmla="*/ 191 w 199"/>
              <a:gd name="T19" fmla="*/ 99 h 199"/>
              <a:gd name="T20" fmla="*/ 195 w 199"/>
              <a:gd name="T21" fmla="*/ 99 h 199"/>
              <a:gd name="T22" fmla="*/ 199 w 199"/>
              <a:gd name="T23" fmla="*/ 99 h 199"/>
              <a:gd name="T24" fmla="*/ 100 w 199"/>
              <a:gd name="T25" fmla="*/ 0 h 199"/>
              <a:gd name="T26" fmla="*/ 0 w 199"/>
              <a:gd name="T27" fmla="*/ 99 h 199"/>
              <a:gd name="T28" fmla="*/ 100 w 199"/>
              <a:gd name="T29" fmla="*/ 199 h 199"/>
              <a:gd name="T30" fmla="*/ 199 w 199"/>
              <a:gd name="T31" fmla="*/ 99 h 199"/>
              <a:gd name="T32" fmla="*/ 195 w 199"/>
              <a:gd name="T33" fmla="*/ 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9" h="199">
                <a:moveTo>
                  <a:pt x="195" y="99"/>
                </a:moveTo>
                <a:cubicBezTo>
                  <a:pt x="191" y="99"/>
                  <a:pt x="191" y="99"/>
                  <a:pt x="191" y="99"/>
                </a:cubicBezTo>
                <a:cubicBezTo>
                  <a:pt x="191" y="125"/>
                  <a:pt x="180" y="147"/>
                  <a:pt x="164" y="164"/>
                </a:cubicBezTo>
                <a:cubicBezTo>
                  <a:pt x="147" y="180"/>
                  <a:pt x="125" y="191"/>
                  <a:pt x="100" y="191"/>
                </a:cubicBezTo>
                <a:cubicBezTo>
                  <a:pt x="74" y="191"/>
                  <a:pt x="52" y="180"/>
                  <a:pt x="35" y="164"/>
                </a:cubicBezTo>
                <a:cubicBezTo>
                  <a:pt x="19" y="147"/>
                  <a:pt x="8" y="125"/>
                  <a:pt x="8" y="99"/>
                </a:cubicBezTo>
                <a:cubicBezTo>
                  <a:pt x="8" y="74"/>
                  <a:pt x="19" y="52"/>
                  <a:pt x="35" y="35"/>
                </a:cubicBezTo>
                <a:cubicBezTo>
                  <a:pt x="52" y="19"/>
                  <a:pt x="74" y="8"/>
                  <a:pt x="100" y="8"/>
                </a:cubicBezTo>
                <a:cubicBezTo>
                  <a:pt x="125" y="8"/>
                  <a:pt x="147" y="19"/>
                  <a:pt x="164" y="35"/>
                </a:cubicBezTo>
                <a:cubicBezTo>
                  <a:pt x="180" y="52"/>
                  <a:pt x="191" y="74"/>
                  <a:pt x="191" y="99"/>
                </a:cubicBezTo>
                <a:cubicBezTo>
                  <a:pt x="195" y="99"/>
                  <a:pt x="195" y="99"/>
                  <a:pt x="195" y="99"/>
                </a:cubicBezTo>
                <a:cubicBezTo>
                  <a:pt x="199" y="99"/>
                  <a:pt x="199" y="99"/>
                  <a:pt x="199" y="99"/>
                </a:cubicBezTo>
                <a:cubicBezTo>
                  <a:pt x="199" y="45"/>
                  <a:pt x="154" y="0"/>
                  <a:pt x="100" y="0"/>
                </a:cubicBezTo>
                <a:cubicBezTo>
                  <a:pt x="45" y="0"/>
                  <a:pt x="0" y="45"/>
                  <a:pt x="0" y="99"/>
                </a:cubicBezTo>
                <a:cubicBezTo>
                  <a:pt x="0" y="154"/>
                  <a:pt x="45" y="199"/>
                  <a:pt x="100" y="199"/>
                </a:cubicBezTo>
                <a:cubicBezTo>
                  <a:pt x="154" y="199"/>
                  <a:pt x="199" y="154"/>
                  <a:pt x="199" y="99"/>
                </a:cubicBezTo>
                <a:lnTo>
                  <a:pt x="195" y="99"/>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81" name="Freeform 281"/>
          <p:cNvSpPr>
            <a:spLocks/>
          </p:cNvSpPr>
          <p:nvPr/>
        </p:nvSpPr>
        <p:spPr bwMode="auto">
          <a:xfrm>
            <a:off x="7498974" y="4340160"/>
            <a:ext cx="367445" cy="368458"/>
          </a:xfrm>
          <a:custGeom>
            <a:avLst/>
            <a:gdLst>
              <a:gd name="T0" fmla="*/ 149 w 153"/>
              <a:gd name="T1" fmla="*/ 76 h 153"/>
              <a:gd name="T2" fmla="*/ 145 w 153"/>
              <a:gd name="T3" fmla="*/ 76 h 153"/>
              <a:gd name="T4" fmla="*/ 125 w 153"/>
              <a:gd name="T5" fmla="*/ 125 h 153"/>
              <a:gd name="T6" fmla="*/ 77 w 153"/>
              <a:gd name="T7" fmla="*/ 145 h 153"/>
              <a:gd name="T8" fmla="*/ 28 w 153"/>
              <a:gd name="T9" fmla="*/ 125 h 153"/>
              <a:gd name="T10" fmla="*/ 8 w 153"/>
              <a:gd name="T11" fmla="*/ 76 h 153"/>
              <a:gd name="T12" fmla="*/ 28 w 153"/>
              <a:gd name="T13" fmla="*/ 28 h 153"/>
              <a:gd name="T14" fmla="*/ 77 w 153"/>
              <a:gd name="T15" fmla="*/ 8 h 153"/>
              <a:gd name="T16" fmla="*/ 125 w 153"/>
              <a:gd name="T17" fmla="*/ 28 h 153"/>
              <a:gd name="T18" fmla="*/ 145 w 153"/>
              <a:gd name="T19" fmla="*/ 76 h 153"/>
              <a:gd name="T20" fmla="*/ 149 w 153"/>
              <a:gd name="T21" fmla="*/ 76 h 153"/>
              <a:gd name="T22" fmla="*/ 153 w 153"/>
              <a:gd name="T23" fmla="*/ 76 h 153"/>
              <a:gd name="T24" fmla="*/ 77 w 153"/>
              <a:gd name="T25" fmla="*/ 0 h 153"/>
              <a:gd name="T26" fmla="*/ 0 w 153"/>
              <a:gd name="T27" fmla="*/ 76 h 153"/>
              <a:gd name="T28" fmla="*/ 77 w 153"/>
              <a:gd name="T29" fmla="*/ 153 h 153"/>
              <a:gd name="T30" fmla="*/ 153 w 153"/>
              <a:gd name="T31" fmla="*/ 76 h 153"/>
              <a:gd name="T32" fmla="*/ 149 w 153"/>
              <a:gd name="T33"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153">
                <a:moveTo>
                  <a:pt x="149" y="76"/>
                </a:moveTo>
                <a:cubicBezTo>
                  <a:pt x="145" y="76"/>
                  <a:pt x="145" y="76"/>
                  <a:pt x="145" y="76"/>
                </a:cubicBezTo>
                <a:cubicBezTo>
                  <a:pt x="145" y="95"/>
                  <a:pt x="137" y="113"/>
                  <a:pt x="125" y="125"/>
                </a:cubicBezTo>
                <a:cubicBezTo>
                  <a:pt x="113" y="137"/>
                  <a:pt x="95" y="145"/>
                  <a:pt x="77" y="145"/>
                </a:cubicBezTo>
                <a:cubicBezTo>
                  <a:pt x="58" y="145"/>
                  <a:pt x="40" y="137"/>
                  <a:pt x="28" y="125"/>
                </a:cubicBezTo>
                <a:cubicBezTo>
                  <a:pt x="16" y="113"/>
                  <a:pt x="8" y="95"/>
                  <a:pt x="8" y="76"/>
                </a:cubicBezTo>
                <a:cubicBezTo>
                  <a:pt x="8" y="58"/>
                  <a:pt x="16" y="40"/>
                  <a:pt x="28" y="28"/>
                </a:cubicBezTo>
                <a:cubicBezTo>
                  <a:pt x="40" y="16"/>
                  <a:pt x="58" y="8"/>
                  <a:pt x="77" y="8"/>
                </a:cubicBezTo>
                <a:cubicBezTo>
                  <a:pt x="95" y="8"/>
                  <a:pt x="113" y="16"/>
                  <a:pt x="125" y="28"/>
                </a:cubicBezTo>
                <a:cubicBezTo>
                  <a:pt x="137" y="40"/>
                  <a:pt x="145" y="58"/>
                  <a:pt x="145" y="76"/>
                </a:cubicBezTo>
                <a:cubicBezTo>
                  <a:pt x="149" y="76"/>
                  <a:pt x="149" y="76"/>
                  <a:pt x="149" y="76"/>
                </a:cubicBezTo>
                <a:cubicBezTo>
                  <a:pt x="153" y="76"/>
                  <a:pt x="153" y="76"/>
                  <a:pt x="153" y="76"/>
                </a:cubicBezTo>
                <a:cubicBezTo>
                  <a:pt x="153" y="34"/>
                  <a:pt x="119" y="0"/>
                  <a:pt x="77" y="0"/>
                </a:cubicBezTo>
                <a:cubicBezTo>
                  <a:pt x="34" y="0"/>
                  <a:pt x="0" y="34"/>
                  <a:pt x="0" y="76"/>
                </a:cubicBezTo>
                <a:cubicBezTo>
                  <a:pt x="0" y="119"/>
                  <a:pt x="34" y="153"/>
                  <a:pt x="77" y="153"/>
                </a:cubicBezTo>
                <a:cubicBezTo>
                  <a:pt x="119" y="153"/>
                  <a:pt x="153" y="119"/>
                  <a:pt x="153" y="76"/>
                </a:cubicBezTo>
                <a:lnTo>
                  <a:pt x="149" y="76"/>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82" name="Freeform 282"/>
          <p:cNvSpPr>
            <a:spLocks/>
          </p:cNvSpPr>
          <p:nvPr/>
        </p:nvSpPr>
        <p:spPr bwMode="auto">
          <a:xfrm>
            <a:off x="7618419" y="4405956"/>
            <a:ext cx="125519" cy="133616"/>
          </a:xfrm>
          <a:custGeom>
            <a:avLst/>
            <a:gdLst>
              <a:gd name="T0" fmla="*/ 52 w 52"/>
              <a:gd name="T1" fmla="*/ 24 h 56"/>
              <a:gd name="T2" fmla="*/ 52 w 52"/>
              <a:gd name="T3" fmla="*/ 19 h 56"/>
              <a:gd name="T4" fmla="*/ 32 w 52"/>
              <a:gd name="T5" fmla="*/ 0 h 56"/>
              <a:gd name="T6" fmla="*/ 20 w 52"/>
              <a:gd name="T7" fmla="*/ 0 h 56"/>
              <a:gd name="T8" fmla="*/ 0 w 52"/>
              <a:gd name="T9" fmla="*/ 19 h 56"/>
              <a:gd name="T10" fmla="*/ 0 w 52"/>
              <a:gd name="T11" fmla="*/ 30 h 56"/>
              <a:gd name="T12" fmla="*/ 4 w 52"/>
              <a:gd name="T13" fmla="*/ 39 h 56"/>
              <a:gd name="T14" fmla="*/ 11 w 52"/>
              <a:gd name="T15" fmla="*/ 45 h 56"/>
              <a:gd name="T16" fmla="*/ 12 w 52"/>
              <a:gd name="T17" fmla="*/ 46 h 56"/>
              <a:gd name="T18" fmla="*/ 35 w 52"/>
              <a:gd name="T19" fmla="*/ 55 h 56"/>
              <a:gd name="T20" fmla="*/ 40 w 52"/>
              <a:gd name="T21" fmla="*/ 52 h 56"/>
              <a:gd name="T22" fmla="*/ 38 w 52"/>
              <a:gd name="T23" fmla="*/ 47 h 56"/>
              <a:gd name="T24" fmla="*/ 15 w 52"/>
              <a:gd name="T25" fmla="*/ 38 h 56"/>
              <a:gd name="T26" fmla="*/ 13 w 52"/>
              <a:gd name="T27" fmla="*/ 42 h 56"/>
              <a:gd name="T28" fmla="*/ 15 w 52"/>
              <a:gd name="T29" fmla="*/ 39 h 56"/>
              <a:gd name="T30" fmla="*/ 10 w 52"/>
              <a:gd name="T31" fmla="*/ 34 h 56"/>
              <a:gd name="T32" fmla="*/ 8 w 52"/>
              <a:gd name="T33" fmla="*/ 30 h 56"/>
              <a:gd name="T34" fmla="*/ 8 w 52"/>
              <a:gd name="T35" fmla="*/ 19 h 56"/>
              <a:gd name="T36" fmla="*/ 20 w 52"/>
              <a:gd name="T37" fmla="*/ 8 h 56"/>
              <a:gd name="T38" fmla="*/ 32 w 52"/>
              <a:gd name="T39" fmla="*/ 8 h 56"/>
              <a:gd name="T40" fmla="*/ 44 w 52"/>
              <a:gd name="T41" fmla="*/ 19 h 56"/>
              <a:gd name="T42" fmla="*/ 44 w 52"/>
              <a:gd name="T43" fmla="*/ 24 h 56"/>
              <a:gd name="T44" fmla="*/ 48 w 52"/>
              <a:gd name="T45" fmla="*/ 28 h 56"/>
              <a:gd name="T46" fmla="*/ 52 w 52"/>
              <a:gd name="T4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6">
                <a:moveTo>
                  <a:pt x="52" y="24"/>
                </a:moveTo>
                <a:cubicBezTo>
                  <a:pt x="52" y="19"/>
                  <a:pt x="52" y="19"/>
                  <a:pt x="52" y="19"/>
                </a:cubicBezTo>
                <a:cubicBezTo>
                  <a:pt x="52" y="9"/>
                  <a:pt x="43" y="0"/>
                  <a:pt x="32" y="0"/>
                </a:cubicBezTo>
                <a:cubicBezTo>
                  <a:pt x="20" y="0"/>
                  <a:pt x="20" y="0"/>
                  <a:pt x="20" y="0"/>
                </a:cubicBezTo>
                <a:cubicBezTo>
                  <a:pt x="9" y="0"/>
                  <a:pt x="0" y="9"/>
                  <a:pt x="0" y="19"/>
                </a:cubicBezTo>
                <a:cubicBezTo>
                  <a:pt x="0" y="30"/>
                  <a:pt x="0" y="30"/>
                  <a:pt x="0" y="30"/>
                </a:cubicBezTo>
                <a:cubicBezTo>
                  <a:pt x="0" y="33"/>
                  <a:pt x="2" y="37"/>
                  <a:pt x="4" y="39"/>
                </a:cubicBezTo>
                <a:cubicBezTo>
                  <a:pt x="6" y="42"/>
                  <a:pt x="8" y="44"/>
                  <a:pt x="11" y="45"/>
                </a:cubicBezTo>
                <a:cubicBezTo>
                  <a:pt x="12" y="46"/>
                  <a:pt x="12" y="46"/>
                  <a:pt x="12" y="46"/>
                </a:cubicBezTo>
                <a:cubicBezTo>
                  <a:pt x="35" y="55"/>
                  <a:pt x="35" y="55"/>
                  <a:pt x="35" y="55"/>
                </a:cubicBezTo>
                <a:cubicBezTo>
                  <a:pt x="37" y="56"/>
                  <a:pt x="40" y="55"/>
                  <a:pt x="40" y="52"/>
                </a:cubicBezTo>
                <a:cubicBezTo>
                  <a:pt x="41" y="50"/>
                  <a:pt x="40" y="48"/>
                  <a:pt x="38" y="47"/>
                </a:cubicBezTo>
                <a:cubicBezTo>
                  <a:pt x="15" y="38"/>
                  <a:pt x="15" y="38"/>
                  <a:pt x="15" y="38"/>
                </a:cubicBezTo>
                <a:cubicBezTo>
                  <a:pt x="13" y="42"/>
                  <a:pt x="13" y="42"/>
                  <a:pt x="13" y="42"/>
                </a:cubicBezTo>
                <a:cubicBezTo>
                  <a:pt x="15" y="39"/>
                  <a:pt x="15" y="39"/>
                  <a:pt x="15" y="39"/>
                </a:cubicBezTo>
                <a:cubicBezTo>
                  <a:pt x="13" y="37"/>
                  <a:pt x="11" y="36"/>
                  <a:pt x="10" y="34"/>
                </a:cubicBezTo>
                <a:cubicBezTo>
                  <a:pt x="9" y="33"/>
                  <a:pt x="8" y="31"/>
                  <a:pt x="8" y="30"/>
                </a:cubicBezTo>
                <a:cubicBezTo>
                  <a:pt x="8" y="19"/>
                  <a:pt x="8" y="19"/>
                  <a:pt x="8" y="19"/>
                </a:cubicBezTo>
                <a:cubicBezTo>
                  <a:pt x="8" y="13"/>
                  <a:pt x="14" y="8"/>
                  <a:pt x="20" y="8"/>
                </a:cubicBezTo>
                <a:cubicBezTo>
                  <a:pt x="32" y="8"/>
                  <a:pt x="32" y="8"/>
                  <a:pt x="32" y="8"/>
                </a:cubicBezTo>
                <a:cubicBezTo>
                  <a:pt x="39" y="8"/>
                  <a:pt x="44" y="13"/>
                  <a:pt x="44" y="19"/>
                </a:cubicBezTo>
                <a:cubicBezTo>
                  <a:pt x="44" y="24"/>
                  <a:pt x="44" y="24"/>
                  <a:pt x="44" y="24"/>
                </a:cubicBezTo>
                <a:cubicBezTo>
                  <a:pt x="44" y="27"/>
                  <a:pt x="46" y="28"/>
                  <a:pt x="48" y="28"/>
                </a:cubicBezTo>
                <a:cubicBezTo>
                  <a:pt x="50" y="28"/>
                  <a:pt x="52" y="27"/>
                  <a:pt x="52" y="24"/>
                </a:cubicBez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83" name="Freeform 283"/>
          <p:cNvSpPr>
            <a:spLocks/>
          </p:cNvSpPr>
          <p:nvPr/>
        </p:nvSpPr>
        <p:spPr bwMode="auto">
          <a:xfrm>
            <a:off x="7618419" y="4499082"/>
            <a:ext cx="125519" cy="132604"/>
          </a:xfrm>
          <a:custGeom>
            <a:avLst/>
            <a:gdLst>
              <a:gd name="T0" fmla="*/ 0 w 52"/>
              <a:gd name="T1" fmla="*/ 31 h 55"/>
              <a:gd name="T2" fmla="*/ 0 w 52"/>
              <a:gd name="T3" fmla="*/ 36 h 55"/>
              <a:gd name="T4" fmla="*/ 20 w 52"/>
              <a:gd name="T5" fmla="*/ 55 h 55"/>
              <a:gd name="T6" fmla="*/ 32 w 52"/>
              <a:gd name="T7" fmla="*/ 55 h 55"/>
              <a:gd name="T8" fmla="*/ 52 w 52"/>
              <a:gd name="T9" fmla="*/ 36 h 55"/>
              <a:gd name="T10" fmla="*/ 52 w 52"/>
              <a:gd name="T11" fmla="*/ 25 h 55"/>
              <a:gd name="T12" fmla="*/ 48 w 52"/>
              <a:gd name="T13" fmla="*/ 16 h 55"/>
              <a:gd name="T14" fmla="*/ 41 w 52"/>
              <a:gd name="T15" fmla="*/ 9 h 55"/>
              <a:gd name="T16" fmla="*/ 40 w 52"/>
              <a:gd name="T17" fmla="*/ 9 h 55"/>
              <a:gd name="T18" fmla="*/ 18 w 52"/>
              <a:gd name="T19" fmla="*/ 0 h 55"/>
              <a:gd name="T20" fmla="*/ 12 w 52"/>
              <a:gd name="T21" fmla="*/ 3 h 55"/>
              <a:gd name="T22" fmla="*/ 15 w 52"/>
              <a:gd name="T23" fmla="*/ 8 h 55"/>
              <a:gd name="T24" fmla="*/ 37 w 52"/>
              <a:gd name="T25" fmla="*/ 17 h 55"/>
              <a:gd name="T26" fmla="*/ 39 w 52"/>
              <a:gd name="T27" fmla="*/ 13 h 55"/>
              <a:gd name="T28" fmla="*/ 37 w 52"/>
              <a:gd name="T29" fmla="*/ 16 h 55"/>
              <a:gd name="T30" fmla="*/ 42 w 52"/>
              <a:gd name="T31" fmla="*/ 21 h 55"/>
              <a:gd name="T32" fmla="*/ 44 w 52"/>
              <a:gd name="T33" fmla="*/ 25 h 55"/>
              <a:gd name="T34" fmla="*/ 44 w 52"/>
              <a:gd name="T35" fmla="*/ 36 h 55"/>
              <a:gd name="T36" fmla="*/ 32 w 52"/>
              <a:gd name="T37" fmla="*/ 47 h 55"/>
              <a:gd name="T38" fmla="*/ 20 w 52"/>
              <a:gd name="T39" fmla="*/ 47 h 55"/>
              <a:gd name="T40" fmla="*/ 8 w 52"/>
              <a:gd name="T41" fmla="*/ 36 h 55"/>
              <a:gd name="T42" fmla="*/ 8 w 52"/>
              <a:gd name="T43" fmla="*/ 31 h 55"/>
              <a:gd name="T44" fmla="*/ 4 w 52"/>
              <a:gd name="T45" fmla="*/ 27 h 55"/>
              <a:gd name="T46" fmla="*/ 0 w 52"/>
              <a:gd name="T47" fmla="*/ 3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5">
                <a:moveTo>
                  <a:pt x="0" y="31"/>
                </a:moveTo>
                <a:cubicBezTo>
                  <a:pt x="0" y="36"/>
                  <a:pt x="0" y="36"/>
                  <a:pt x="0" y="36"/>
                </a:cubicBezTo>
                <a:cubicBezTo>
                  <a:pt x="0" y="47"/>
                  <a:pt x="9" y="55"/>
                  <a:pt x="20" y="55"/>
                </a:cubicBezTo>
                <a:cubicBezTo>
                  <a:pt x="32" y="55"/>
                  <a:pt x="32" y="55"/>
                  <a:pt x="32" y="55"/>
                </a:cubicBezTo>
                <a:cubicBezTo>
                  <a:pt x="43" y="55"/>
                  <a:pt x="52" y="47"/>
                  <a:pt x="52" y="36"/>
                </a:cubicBezTo>
                <a:cubicBezTo>
                  <a:pt x="52" y="25"/>
                  <a:pt x="52" y="25"/>
                  <a:pt x="52" y="25"/>
                </a:cubicBezTo>
                <a:cubicBezTo>
                  <a:pt x="52" y="22"/>
                  <a:pt x="50" y="18"/>
                  <a:pt x="48" y="16"/>
                </a:cubicBezTo>
                <a:cubicBezTo>
                  <a:pt x="46" y="13"/>
                  <a:pt x="44" y="11"/>
                  <a:pt x="41" y="9"/>
                </a:cubicBezTo>
                <a:cubicBezTo>
                  <a:pt x="40" y="9"/>
                  <a:pt x="40" y="9"/>
                  <a:pt x="40" y="9"/>
                </a:cubicBezTo>
                <a:cubicBezTo>
                  <a:pt x="18" y="0"/>
                  <a:pt x="18" y="0"/>
                  <a:pt x="18" y="0"/>
                </a:cubicBezTo>
                <a:cubicBezTo>
                  <a:pt x="16" y="0"/>
                  <a:pt x="13" y="1"/>
                  <a:pt x="12" y="3"/>
                </a:cubicBezTo>
                <a:cubicBezTo>
                  <a:pt x="12" y="5"/>
                  <a:pt x="13" y="7"/>
                  <a:pt x="15" y="8"/>
                </a:cubicBezTo>
                <a:cubicBezTo>
                  <a:pt x="37" y="17"/>
                  <a:pt x="37" y="17"/>
                  <a:pt x="37" y="17"/>
                </a:cubicBezTo>
                <a:cubicBezTo>
                  <a:pt x="39" y="13"/>
                  <a:pt x="39" y="13"/>
                  <a:pt x="39" y="13"/>
                </a:cubicBezTo>
                <a:cubicBezTo>
                  <a:pt x="37" y="16"/>
                  <a:pt x="37" y="16"/>
                  <a:pt x="37" y="16"/>
                </a:cubicBezTo>
                <a:cubicBezTo>
                  <a:pt x="39" y="18"/>
                  <a:pt x="41" y="19"/>
                  <a:pt x="42" y="21"/>
                </a:cubicBezTo>
                <a:cubicBezTo>
                  <a:pt x="43" y="22"/>
                  <a:pt x="44" y="24"/>
                  <a:pt x="44" y="25"/>
                </a:cubicBezTo>
                <a:cubicBezTo>
                  <a:pt x="44" y="36"/>
                  <a:pt x="44" y="36"/>
                  <a:pt x="44" y="36"/>
                </a:cubicBezTo>
                <a:cubicBezTo>
                  <a:pt x="44" y="42"/>
                  <a:pt x="39" y="47"/>
                  <a:pt x="32" y="47"/>
                </a:cubicBezTo>
                <a:cubicBezTo>
                  <a:pt x="20" y="47"/>
                  <a:pt x="20" y="47"/>
                  <a:pt x="20" y="47"/>
                </a:cubicBezTo>
                <a:cubicBezTo>
                  <a:pt x="14" y="47"/>
                  <a:pt x="8" y="42"/>
                  <a:pt x="8" y="36"/>
                </a:cubicBezTo>
                <a:cubicBezTo>
                  <a:pt x="8" y="31"/>
                  <a:pt x="8" y="31"/>
                  <a:pt x="8" y="31"/>
                </a:cubicBezTo>
                <a:cubicBezTo>
                  <a:pt x="8" y="29"/>
                  <a:pt x="7" y="27"/>
                  <a:pt x="4" y="27"/>
                </a:cubicBezTo>
                <a:cubicBezTo>
                  <a:pt x="2" y="27"/>
                  <a:pt x="0" y="29"/>
                  <a:pt x="0" y="31"/>
                </a:cubicBezTo>
                <a:close/>
              </a:path>
            </a:pathLst>
          </a:custGeom>
          <a:solidFill>
            <a:schemeClr val="accent6"/>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84"/>
          <p:cNvSpPr>
            <a:spLocks/>
          </p:cNvSpPr>
          <p:nvPr/>
        </p:nvSpPr>
        <p:spPr bwMode="auto">
          <a:xfrm>
            <a:off x="7674092" y="4381662"/>
            <a:ext cx="19233" cy="273306"/>
          </a:xfrm>
          <a:custGeom>
            <a:avLst/>
            <a:gdLst>
              <a:gd name="T0" fmla="*/ 0 w 8"/>
              <a:gd name="T1" fmla="*/ 4 h 114"/>
              <a:gd name="T2" fmla="*/ 0 w 8"/>
              <a:gd name="T3" fmla="*/ 110 h 114"/>
              <a:gd name="T4" fmla="*/ 4 w 8"/>
              <a:gd name="T5" fmla="*/ 114 h 114"/>
              <a:gd name="T6" fmla="*/ 8 w 8"/>
              <a:gd name="T7" fmla="*/ 110 h 114"/>
              <a:gd name="T8" fmla="*/ 8 w 8"/>
              <a:gd name="T9" fmla="*/ 4 h 114"/>
              <a:gd name="T10" fmla="*/ 4 w 8"/>
              <a:gd name="T11" fmla="*/ 0 h 114"/>
              <a:gd name="T12" fmla="*/ 0 w 8"/>
              <a:gd name="T13" fmla="*/ 4 h 114"/>
            </a:gdLst>
            <a:ahLst/>
            <a:cxnLst>
              <a:cxn ang="0">
                <a:pos x="T0" y="T1"/>
              </a:cxn>
              <a:cxn ang="0">
                <a:pos x="T2" y="T3"/>
              </a:cxn>
              <a:cxn ang="0">
                <a:pos x="T4" y="T5"/>
              </a:cxn>
              <a:cxn ang="0">
                <a:pos x="T6" y="T7"/>
              </a:cxn>
              <a:cxn ang="0">
                <a:pos x="T8" y="T9"/>
              </a:cxn>
              <a:cxn ang="0">
                <a:pos x="T10" y="T11"/>
              </a:cxn>
              <a:cxn ang="0">
                <a:pos x="T12" y="T13"/>
              </a:cxn>
            </a:cxnLst>
            <a:rect l="0" t="0" r="r" b="b"/>
            <a:pathLst>
              <a:path w="8" h="114">
                <a:moveTo>
                  <a:pt x="0" y="4"/>
                </a:moveTo>
                <a:cubicBezTo>
                  <a:pt x="0" y="110"/>
                  <a:pt x="0" y="110"/>
                  <a:pt x="0" y="110"/>
                </a:cubicBezTo>
                <a:cubicBezTo>
                  <a:pt x="0" y="113"/>
                  <a:pt x="2" y="114"/>
                  <a:pt x="4" y="114"/>
                </a:cubicBezTo>
                <a:cubicBezTo>
                  <a:pt x="6" y="114"/>
                  <a:pt x="8" y="113"/>
                  <a:pt x="8" y="110"/>
                </a:cubicBezTo>
                <a:cubicBezTo>
                  <a:pt x="8" y="4"/>
                  <a:pt x="8" y="4"/>
                  <a:pt x="8" y="4"/>
                </a:cubicBezTo>
                <a:cubicBezTo>
                  <a:pt x="8" y="2"/>
                  <a:pt x="6" y="0"/>
                  <a:pt x="4" y="0"/>
                </a:cubicBezTo>
                <a:cubicBezTo>
                  <a:pt x="2" y="0"/>
                  <a:pt x="0" y="2"/>
                  <a:pt x="0" y="4"/>
                </a:cubicBezTo>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85" name="Freeform 285"/>
          <p:cNvSpPr>
            <a:spLocks noEditPoints="1"/>
          </p:cNvSpPr>
          <p:nvPr/>
        </p:nvSpPr>
        <p:spPr bwMode="auto">
          <a:xfrm>
            <a:off x="3436831" y="4371539"/>
            <a:ext cx="739952" cy="440327"/>
          </a:xfrm>
          <a:custGeom>
            <a:avLst/>
            <a:gdLst>
              <a:gd name="T0" fmla="*/ 306 w 308"/>
              <a:gd name="T1" fmla="*/ 10 h 183"/>
              <a:gd name="T2" fmla="*/ 297 w 308"/>
              <a:gd name="T3" fmla="*/ 2 h 183"/>
              <a:gd name="T4" fmla="*/ 295 w 308"/>
              <a:gd name="T5" fmla="*/ 14 h 183"/>
              <a:gd name="T6" fmla="*/ 287 w 308"/>
              <a:gd name="T7" fmla="*/ 31 h 183"/>
              <a:gd name="T8" fmla="*/ 289 w 308"/>
              <a:gd name="T9" fmla="*/ 19 h 183"/>
              <a:gd name="T10" fmla="*/ 278 w 308"/>
              <a:gd name="T11" fmla="*/ 23 h 183"/>
              <a:gd name="T12" fmla="*/ 287 w 308"/>
              <a:gd name="T13" fmla="*/ 31 h 183"/>
              <a:gd name="T14" fmla="*/ 273 w 308"/>
              <a:gd name="T15" fmla="*/ 45 h 183"/>
              <a:gd name="T16" fmla="*/ 264 w 308"/>
              <a:gd name="T17" fmla="*/ 37 h 183"/>
              <a:gd name="T18" fmla="*/ 262 w 308"/>
              <a:gd name="T19" fmla="*/ 48 h 183"/>
              <a:gd name="T20" fmla="*/ 254 w 308"/>
              <a:gd name="T21" fmla="*/ 66 h 183"/>
              <a:gd name="T22" fmla="*/ 256 w 308"/>
              <a:gd name="T23" fmla="*/ 54 h 183"/>
              <a:gd name="T24" fmla="*/ 245 w 308"/>
              <a:gd name="T25" fmla="*/ 57 h 183"/>
              <a:gd name="T26" fmla="*/ 254 w 308"/>
              <a:gd name="T27" fmla="*/ 66 h 183"/>
              <a:gd name="T28" fmla="*/ 240 w 308"/>
              <a:gd name="T29" fmla="*/ 80 h 183"/>
              <a:gd name="T30" fmla="*/ 231 w 308"/>
              <a:gd name="T31" fmla="*/ 72 h 183"/>
              <a:gd name="T32" fmla="*/ 229 w 308"/>
              <a:gd name="T33" fmla="*/ 83 h 183"/>
              <a:gd name="T34" fmla="*/ 221 w 308"/>
              <a:gd name="T35" fmla="*/ 101 h 183"/>
              <a:gd name="T36" fmla="*/ 223 w 308"/>
              <a:gd name="T37" fmla="*/ 89 h 183"/>
              <a:gd name="T38" fmla="*/ 212 w 308"/>
              <a:gd name="T39" fmla="*/ 92 h 183"/>
              <a:gd name="T40" fmla="*/ 221 w 308"/>
              <a:gd name="T41" fmla="*/ 101 h 183"/>
              <a:gd name="T42" fmla="*/ 207 w 308"/>
              <a:gd name="T43" fmla="*/ 115 h 183"/>
              <a:gd name="T44" fmla="*/ 198 w 308"/>
              <a:gd name="T45" fmla="*/ 107 h 183"/>
              <a:gd name="T46" fmla="*/ 196 w 308"/>
              <a:gd name="T47" fmla="*/ 118 h 183"/>
              <a:gd name="T48" fmla="*/ 188 w 308"/>
              <a:gd name="T49" fmla="*/ 135 h 183"/>
              <a:gd name="T50" fmla="*/ 190 w 308"/>
              <a:gd name="T51" fmla="*/ 124 h 183"/>
              <a:gd name="T52" fmla="*/ 179 w 308"/>
              <a:gd name="T53" fmla="*/ 127 h 183"/>
              <a:gd name="T54" fmla="*/ 188 w 308"/>
              <a:gd name="T55" fmla="*/ 135 h 183"/>
              <a:gd name="T56" fmla="*/ 174 w 308"/>
              <a:gd name="T57" fmla="*/ 150 h 183"/>
              <a:gd name="T58" fmla="*/ 165 w 308"/>
              <a:gd name="T59" fmla="*/ 142 h 183"/>
              <a:gd name="T60" fmla="*/ 163 w 308"/>
              <a:gd name="T61" fmla="*/ 153 h 183"/>
              <a:gd name="T62" fmla="*/ 155 w 308"/>
              <a:gd name="T63" fmla="*/ 170 h 183"/>
              <a:gd name="T64" fmla="*/ 157 w 308"/>
              <a:gd name="T65" fmla="*/ 159 h 183"/>
              <a:gd name="T66" fmla="*/ 146 w 308"/>
              <a:gd name="T67" fmla="*/ 162 h 183"/>
              <a:gd name="T68" fmla="*/ 155 w 308"/>
              <a:gd name="T69" fmla="*/ 170 h 183"/>
              <a:gd name="T70" fmla="*/ 133 w 308"/>
              <a:gd name="T71" fmla="*/ 181 h 183"/>
              <a:gd name="T72" fmla="*/ 139 w 308"/>
              <a:gd name="T73" fmla="*/ 171 h 183"/>
              <a:gd name="T74" fmla="*/ 127 w 308"/>
              <a:gd name="T75" fmla="*/ 171 h 183"/>
              <a:gd name="T76" fmla="*/ 109 w 308"/>
              <a:gd name="T77" fmla="*/ 168 h 183"/>
              <a:gd name="T78" fmla="*/ 120 w 308"/>
              <a:gd name="T79" fmla="*/ 167 h 183"/>
              <a:gd name="T80" fmla="*/ 114 w 308"/>
              <a:gd name="T81" fmla="*/ 157 h 183"/>
              <a:gd name="T82" fmla="*/ 109 w 308"/>
              <a:gd name="T83" fmla="*/ 168 h 183"/>
              <a:gd name="T84" fmla="*/ 91 w 308"/>
              <a:gd name="T85" fmla="*/ 158 h 183"/>
              <a:gd name="T86" fmla="*/ 97 w 308"/>
              <a:gd name="T87" fmla="*/ 147 h 183"/>
              <a:gd name="T88" fmla="*/ 85 w 308"/>
              <a:gd name="T89" fmla="*/ 148 h 183"/>
              <a:gd name="T90" fmla="*/ 67 w 308"/>
              <a:gd name="T91" fmla="*/ 144 h 183"/>
              <a:gd name="T92" fmla="*/ 78 w 308"/>
              <a:gd name="T93" fmla="*/ 144 h 183"/>
              <a:gd name="T94" fmla="*/ 73 w 308"/>
              <a:gd name="T95" fmla="*/ 134 h 183"/>
              <a:gd name="T96" fmla="*/ 67 w 308"/>
              <a:gd name="T97" fmla="*/ 144 h 183"/>
              <a:gd name="T98" fmla="*/ 49 w 308"/>
              <a:gd name="T99" fmla="*/ 134 h 183"/>
              <a:gd name="T100" fmla="*/ 55 w 308"/>
              <a:gd name="T101" fmla="*/ 124 h 183"/>
              <a:gd name="T102" fmla="*/ 44 w 308"/>
              <a:gd name="T103" fmla="*/ 124 h 183"/>
              <a:gd name="T104" fmla="*/ 25 w 308"/>
              <a:gd name="T105" fmla="*/ 120 h 183"/>
              <a:gd name="T106" fmla="*/ 37 w 308"/>
              <a:gd name="T107" fmla="*/ 120 h 183"/>
              <a:gd name="T108" fmla="*/ 31 w 308"/>
              <a:gd name="T109" fmla="*/ 110 h 183"/>
              <a:gd name="T110" fmla="*/ 25 w 308"/>
              <a:gd name="T111" fmla="*/ 120 h 183"/>
              <a:gd name="T112" fmla="*/ 8 w 308"/>
              <a:gd name="T113" fmla="*/ 111 h 183"/>
              <a:gd name="T114" fmla="*/ 13 w 308"/>
              <a:gd name="T115" fmla="*/ 100 h 183"/>
              <a:gd name="T116" fmla="*/ 2 w 308"/>
              <a:gd name="T117" fmla="*/ 10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8" h="183">
                <a:moveTo>
                  <a:pt x="303" y="13"/>
                </a:moveTo>
                <a:cubicBezTo>
                  <a:pt x="306" y="10"/>
                  <a:pt x="306" y="10"/>
                  <a:pt x="306" y="10"/>
                </a:cubicBezTo>
                <a:cubicBezTo>
                  <a:pt x="308" y="8"/>
                  <a:pt x="308" y="4"/>
                  <a:pt x="306" y="2"/>
                </a:cubicBezTo>
                <a:cubicBezTo>
                  <a:pt x="303" y="0"/>
                  <a:pt x="299" y="0"/>
                  <a:pt x="297" y="2"/>
                </a:cubicBezTo>
                <a:cubicBezTo>
                  <a:pt x="294" y="5"/>
                  <a:pt x="294" y="5"/>
                  <a:pt x="294" y="5"/>
                </a:cubicBezTo>
                <a:cubicBezTo>
                  <a:pt x="292" y="8"/>
                  <a:pt x="292" y="11"/>
                  <a:pt x="295" y="14"/>
                </a:cubicBezTo>
                <a:cubicBezTo>
                  <a:pt x="297" y="16"/>
                  <a:pt x="301" y="16"/>
                  <a:pt x="303" y="13"/>
                </a:cubicBezTo>
                <a:close/>
                <a:moveTo>
                  <a:pt x="287" y="31"/>
                </a:moveTo>
                <a:cubicBezTo>
                  <a:pt x="289" y="28"/>
                  <a:pt x="289" y="28"/>
                  <a:pt x="289" y="28"/>
                </a:cubicBezTo>
                <a:cubicBezTo>
                  <a:pt x="292" y="25"/>
                  <a:pt x="292" y="22"/>
                  <a:pt x="289" y="19"/>
                </a:cubicBezTo>
                <a:cubicBezTo>
                  <a:pt x="287" y="17"/>
                  <a:pt x="283" y="17"/>
                  <a:pt x="281" y="20"/>
                </a:cubicBezTo>
                <a:cubicBezTo>
                  <a:pt x="278" y="23"/>
                  <a:pt x="278" y="23"/>
                  <a:pt x="278" y="23"/>
                </a:cubicBezTo>
                <a:cubicBezTo>
                  <a:pt x="276" y="25"/>
                  <a:pt x="276" y="29"/>
                  <a:pt x="278" y="31"/>
                </a:cubicBezTo>
                <a:cubicBezTo>
                  <a:pt x="281" y="33"/>
                  <a:pt x="284" y="33"/>
                  <a:pt x="287" y="31"/>
                </a:cubicBezTo>
                <a:close/>
                <a:moveTo>
                  <a:pt x="270" y="48"/>
                </a:moveTo>
                <a:cubicBezTo>
                  <a:pt x="273" y="45"/>
                  <a:pt x="273" y="45"/>
                  <a:pt x="273" y="45"/>
                </a:cubicBezTo>
                <a:cubicBezTo>
                  <a:pt x="275" y="43"/>
                  <a:pt x="275" y="39"/>
                  <a:pt x="273" y="37"/>
                </a:cubicBezTo>
                <a:cubicBezTo>
                  <a:pt x="270" y="35"/>
                  <a:pt x="266" y="35"/>
                  <a:pt x="264" y="37"/>
                </a:cubicBezTo>
                <a:cubicBezTo>
                  <a:pt x="261" y="40"/>
                  <a:pt x="261" y="40"/>
                  <a:pt x="261" y="40"/>
                </a:cubicBezTo>
                <a:cubicBezTo>
                  <a:pt x="259" y="42"/>
                  <a:pt x="259" y="46"/>
                  <a:pt x="262" y="48"/>
                </a:cubicBezTo>
                <a:cubicBezTo>
                  <a:pt x="264" y="51"/>
                  <a:pt x="268" y="51"/>
                  <a:pt x="270" y="48"/>
                </a:cubicBezTo>
                <a:close/>
                <a:moveTo>
                  <a:pt x="254" y="66"/>
                </a:moveTo>
                <a:cubicBezTo>
                  <a:pt x="256" y="63"/>
                  <a:pt x="256" y="63"/>
                  <a:pt x="256" y="63"/>
                </a:cubicBezTo>
                <a:cubicBezTo>
                  <a:pt x="259" y="60"/>
                  <a:pt x="259" y="57"/>
                  <a:pt x="256" y="54"/>
                </a:cubicBezTo>
                <a:cubicBezTo>
                  <a:pt x="254" y="52"/>
                  <a:pt x="250" y="52"/>
                  <a:pt x="248" y="55"/>
                </a:cubicBezTo>
                <a:cubicBezTo>
                  <a:pt x="245" y="57"/>
                  <a:pt x="245" y="57"/>
                  <a:pt x="245" y="57"/>
                </a:cubicBezTo>
                <a:cubicBezTo>
                  <a:pt x="243" y="60"/>
                  <a:pt x="243" y="64"/>
                  <a:pt x="245" y="66"/>
                </a:cubicBezTo>
                <a:cubicBezTo>
                  <a:pt x="248" y="68"/>
                  <a:pt x="251" y="68"/>
                  <a:pt x="254" y="66"/>
                </a:cubicBezTo>
                <a:close/>
                <a:moveTo>
                  <a:pt x="237" y="83"/>
                </a:moveTo>
                <a:cubicBezTo>
                  <a:pt x="240" y="80"/>
                  <a:pt x="240" y="80"/>
                  <a:pt x="240" y="80"/>
                </a:cubicBezTo>
                <a:cubicBezTo>
                  <a:pt x="242" y="78"/>
                  <a:pt x="242" y="74"/>
                  <a:pt x="240" y="72"/>
                </a:cubicBezTo>
                <a:cubicBezTo>
                  <a:pt x="237" y="69"/>
                  <a:pt x="233" y="70"/>
                  <a:pt x="231" y="72"/>
                </a:cubicBezTo>
                <a:cubicBezTo>
                  <a:pt x="228" y="75"/>
                  <a:pt x="228" y="75"/>
                  <a:pt x="228" y="75"/>
                </a:cubicBezTo>
                <a:cubicBezTo>
                  <a:pt x="226" y="77"/>
                  <a:pt x="226" y="81"/>
                  <a:pt x="229" y="83"/>
                </a:cubicBezTo>
                <a:cubicBezTo>
                  <a:pt x="231" y="86"/>
                  <a:pt x="235" y="86"/>
                  <a:pt x="237" y="83"/>
                </a:cubicBezTo>
                <a:close/>
                <a:moveTo>
                  <a:pt x="221" y="101"/>
                </a:moveTo>
                <a:cubicBezTo>
                  <a:pt x="223" y="98"/>
                  <a:pt x="223" y="98"/>
                  <a:pt x="223" y="98"/>
                </a:cubicBezTo>
                <a:cubicBezTo>
                  <a:pt x="226" y="95"/>
                  <a:pt x="226" y="91"/>
                  <a:pt x="223" y="89"/>
                </a:cubicBezTo>
                <a:cubicBezTo>
                  <a:pt x="221" y="87"/>
                  <a:pt x="217" y="87"/>
                  <a:pt x="215" y="89"/>
                </a:cubicBezTo>
                <a:cubicBezTo>
                  <a:pt x="212" y="92"/>
                  <a:pt x="212" y="92"/>
                  <a:pt x="212" y="92"/>
                </a:cubicBezTo>
                <a:cubicBezTo>
                  <a:pt x="210" y="95"/>
                  <a:pt x="210" y="99"/>
                  <a:pt x="212" y="101"/>
                </a:cubicBezTo>
                <a:cubicBezTo>
                  <a:pt x="215" y="103"/>
                  <a:pt x="218" y="103"/>
                  <a:pt x="221" y="101"/>
                </a:cubicBezTo>
                <a:close/>
                <a:moveTo>
                  <a:pt x="204" y="118"/>
                </a:moveTo>
                <a:cubicBezTo>
                  <a:pt x="207" y="115"/>
                  <a:pt x="207" y="115"/>
                  <a:pt x="207" y="115"/>
                </a:cubicBezTo>
                <a:cubicBezTo>
                  <a:pt x="209" y="113"/>
                  <a:pt x="209" y="109"/>
                  <a:pt x="207" y="107"/>
                </a:cubicBezTo>
                <a:cubicBezTo>
                  <a:pt x="204" y="104"/>
                  <a:pt x="200" y="104"/>
                  <a:pt x="198" y="107"/>
                </a:cubicBezTo>
                <a:cubicBezTo>
                  <a:pt x="195" y="110"/>
                  <a:pt x="195" y="110"/>
                  <a:pt x="195" y="110"/>
                </a:cubicBezTo>
                <a:cubicBezTo>
                  <a:pt x="193" y="112"/>
                  <a:pt x="193" y="116"/>
                  <a:pt x="196" y="118"/>
                </a:cubicBezTo>
                <a:cubicBezTo>
                  <a:pt x="198" y="121"/>
                  <a:pt x="202" y="120"/>
                  <a:pt x="204" y="118"/>
                </a:cubicBezTo>
                <a:close/>
                <a:moveTo>
                  <a:pt x="188" y="135"/>
                </a:moveTo>
                <a:cubicBezTo>
                  <a:pt x="190" y="133"/>
                  <a:pt x="190" y="133"/>
                  <a:pt x="190" y="133"/>
                </a:cubicBezTo>
                <a:cubicBezTo>
                  <a:pt x="193" y="130"/>
                  <a:pt x="193" y="126"/>
                  <a:pt x="190" y="124"/>
                </a:cubicBezTo>
                <a:cubicBezTo>
                  <a:pt x="188" y="122"/>
                  <a:pt x="184" y="122"/>
                  <a:pt x="182" y="124"/>
                </a:cubicBezTo>
                <a:cubicBezTo>
                  <a:pt x="179" y="127"/>
                  <a:pt x="179" y="127"/>
                  <a:pt x="179" y="127"/>
                </a:cubicBezTo>
                <a:cubicBezTo>
                  <a:pt x="177" y="130"/>
                  <a:pt x="177" y="133"/>
                  <a:pt x="179" y="136"/>
                </a:cubicBezTo>
                <a:cubicBezTo>
                  <a:pt x="182" y="138"/>
                  <a:pt x="185" y="138"/>
                  <a:pt x="188" y="135"/>
                </a:cubicBezTo>
                <a:close/>
                <a:moveTo>
                  <a:pt x="171" y="153"/>
                </a:moveTo>
                <a:cubicBezTo>
                  <a:pt x="174" y="150"/>
                  <a:pt x="174" y="150"/>
                  <a:pt x="174" y="150"/>
                </a:cubicBezTo>
                <a:cubicBezTo>
                  <a:pt x="176" y="148"/>
                  <a:pt x="176" y="144"/>
                  <a:pt x="174" y="141"/>
                </a:cubicBezTo>
                <a:cubicBezTo>
                  <a:pt x="171" y="139"/>
                  <a:pt x="167" y="139"/>
                  <a:pt x="165" y="142"/>
                </a:cubicBezTo>
                <a:cubicBezTo>
                  <a:pt x="162" y="145"/>
                  <a:pt x="162" y="145"/>
                  <a:pt x="162" y="145"/>
                </a:cubicBezTo>
                <a:cubicBezTo>
                  <a:pt x="160" y="147"/>
                  <a:pt x="160" y="151"/>
                  <a:pt x="163" y="153"/>
                </a:cubicBezTo>
                <a:cubicBezTo>
                  <a:pt x="165" y="155"/>
                  <a:pt x="169" y="155"/>
                  <a:pt x="171" y="153"/>
                </a:cubicBezTo>
                <a:close/>
                <a:moveTo>
                  <a:pt x="155" y="170"/>
                </a:moveTo>
                <a:cubicBezTo>
                  <a:pt x="157" y="167"/>
                  <a:pt x="157" y="167"/>
                  <a:pt x="157" y="167"/>
                </a:cubicBezTo>
                <a:cubicBezTo>
                  <a:pt x="160" y="165"/>
                  <a:pt x="160" y="161"/>
                  <a:pt x="157" y="159"/>
                </a:cubicBezTo>
                <a:cubicBezTo>
                  <a:pt x="155" y="157"/>
                  <a:pt x="151" y="157"/>
                  <a:pt x="149" y="159"/>
                </a:cubicBezTo>
                <a:cubicBezTo>
                  <a:pt x="146" y="162"/>
                  <a:pt x="146" y="162"/>
                  <a:pt x="146" y="162"/>
                </a:cubicBezTo>
                <a:cubicBezTo>
                  <a:pt x="144" y="164"/>
                  <a:pt x="144" y="168"/>
                  <a:pt x="146" y="171"/>
                </a:cubicBezTo>
                <a:cubicBezTo>
                  <a:pt x="149" y="173"/>
                  <a:pt x="152" y="173"/>
                  <a:pt x="155" y="170"/>
                </a:cubicBezTo>
                <a:close/>
                <a:moveTo>
                  <a:pt x="129" y="179"/>
                </a:moveTo>
                <a:cubicBezTo>
                  <a:pt x="133" y="181"/>
                  <a:pt x="133" y="181"/>
                  <a:pt x="133" y="181"/>
                </a:cubicBezTo>
                <a:cubicBezTo>
                  <a:pt x="136" y="183"/>
                  <a:pt x="139" y="182"/>
                  <a:pt x="141" y="179"/>
                </a:cubicBezTo>
                <a:cubicBezTo>
                  <a:pt x="143" y="176"/>
                  <a:pt x="142" y="173"/>
                  <a:pt x="139" y="171"/>
                </a:cubicBezTo>
                <a:cubicBezTo>
                  <a:pt x="135" y="169"/>
                  <a:pt x="135" y="169"/>
                  <a:pt x="135" y="169"/>
                </a:cubicBezTo>
                <a:cubicBezTo>
                  <a:pt x="132" y="167"/>
                  <a:pt x="129" y="168"/>
                  <a:pt x="127" y="171"/>
                </a:cubicBezTo>
                <a:cubicBezTo>
                  <a:pt x="126" y="174"/>
                  <a:pt x="127" y="178"/>
                  <a:pt x="129" y="179"/>
                </a:cubicBezTo>
                <a:close/>
                <a:moveTo>
                  <a:pt x="109" y="168"/>
                </a:moveTo>
                <a:cubicBezTo>
                  <a:pt x="112" y="170"/>
                  <a:pt x="112" y="170"/>
                  <a:pt x="112" y="170"/>
                </a:cubicBezTo>
                <a:cubicBezTo>
                  <a:pt x="115" y="171"/>
                  <a:pt x="119" y="170"/>
                  <a:pt x="120" y="167"/>
                </a:cubicBezTo>
                <a:cubicBezTo>
                  <a:pt x="122" y="164"/>
                  <a:pt x="121" y="161"/>
                  <a:pt x="118" y="159"/>
                </a:cubicBezTo>
                <a:cubicBezTo>
                  <a:pt x="114" y="157"/>
                  <a:pt x="114" y="157"/>
                  <a:pt x="114" y="157"/>
                </a:cubicBezTo>
                <a:cubicBezTo>
                  <a:pt x="112" y="156"/>
                  <a:pt x="108" y="157"/>
                  <a:pt x="106" y="159"/>
                </a:cubicBezTo>
                <a:cubicBezTo>
                  <a:pt x="105" y="162"/>
                  <a:pt x="106" y="166"/>
                  <a:pt x="109" y="168"/>
                </a:cubicBezTo>
                <a:close/>
                <a:moveTo>
                  <a:pt x="88" y="156"/>
                </a:moveTo>
                <a:cubicBezTo>
                  <a:pt x="91" y="158"/>
                  <a:pt x="91" y="158"/>
                  <a:pt x="91" y="158"/>
                </a:cubicBezTo>
                <a:cubicBezTo>
                  <a:pt x="94" y="159"/>
                  <a:pt x="98" y="158"/>
                  <a:pt x="99" y="156"/>
                </a:cubicBezTo>
                <a:cubicBezTo>
                  <a:pt x="101" y="153"/>
                  <a:pt x="100" y="149"/>
                  <a:pt x="97" y="147"/>
                </a:cubicBezTo>
                <a:cubicBezTo>
                  <a:pt x="94" y="145"/>
                  <a:pt x="94" y="145"/>
                  <a:pt x="94" y="145"/>
                </a:cubicBezTo>
                <a:cubicBezTo>
                  <a:pt x="91" y="144"/>
                  <a:pt x="87" y="145"/>
                  <a:pt x="85" y="148"/>
                </a:cubicBezTo>
                <a:cubicBezTo>
                  <a:pt x="84" y="151"/>
                  <a:pt x="85" y="154"/>
                  <a:pt x="88" y="156"/>
                </a:cubicBezTo>
                <a:close/>
                <a:moveTo>
                  <a:pt x="67" y="144"/>
                </a:moveTo>
                <a:cubicBezTo>
                  <a:pt x="70" y="146"/>
                  <a:pt x="70" y="146"/>
                  <a:pt x="70" y="146"/>
                </a:cubicBezTo>
                <a:cubicBezTo>
                  <a:pt x="73" y="148"/>
                  <a:pt x="77" y="147"/>
                  <a:pt x="78" y="144"/>
                </a:cubicBezTo>
                <a:cubicBezTo>
                  <a:pt x="80" y="141"/>
                  <a:pt x="79" y="137"/>
                  <a:pt x="76" y="136"/>
                </a:cubicBezTo>
                <a:cubicBezTo>
                  <a:pt x="73" y="134"/>
                  <a:pt x="73" y="134"/>
                  <a:pt x="73" y="134"/>
                </a:cubicBezTo>
                <a:cubicBezTo>
                  <a:pt x="70" y="132"/>
                  <a:pt x="66" y="133"/>
                  <a:pt x="64" y="136"/>
                </a:cubicBezTo>
                <a:cubicBezTo>
                  <a:pt x="63" y="139"/>
                  <a:pt x="64" y="142"/>
                  <a:pt x="67" y="144"/>
                </a:cubicBezTo>
                <a:close/>
                <a:moveTo>
                  <a:pt x="46" y="132"/>
                </a:moveTo>
                <a:cubicBezTo>
                  <a:pt x="49" y="134"/>
                  <a:pt x="49" y="134"/>
                  <a:pt x="49" y="134"/>
                </a:cubicBezTo>
                <a:cubicBezTo>
                  <a:pt x="52" y="136"/>
                  <a:pt x="56" y="135"/>
                  <a:pt x="58" y="132"/>
                </a:cubicBezTo>
                <a:cubicBezTo>
                  <a:pt x="59" y="129"/>
                  <a:pt x="58" y="125"/>
                  <a:pt x="55" y="124"/>
                </a:cubicBezTo>
                <a:cubicBezTo>
                  <a:pt x="52" y="122"/>
                  <a:pt x="52" y="122"/>
                  <a:pt x="52" y="122"/>
                </a:cubicBezTo>
                <a:cubicBezTo>
                  <a:pt x="49" y="120"/>
                  <a:pt x="45" y="121"/>
                  <a:pt x="44" y="124"/>
                </a:cubicBezTo>
                <a:cubicBezTo>
                  <a:pt x="42" y="127"/>
                  <a:pt x="43" y="131"/>
                  <a:pt x="46" y="132"/>
                </a:cubicBezTo>
                <a:close/>
                <a:moveTo>
                  <a:pt x="25" y="120"/>
                </a:moveTo>
                <a:cubicBezTo>
                  <a:pt x="28" y="122"/>
                  <a:pt x="28" y="122"/>
                  <a:pt x="28" y="122"/>
                </a:cubicBezTo>
                <a:cubicBezTo>
                  <a:pt x="31" y="124"/>
                  <a:pt x="35" y="123"/>
                  <a:pt x="37" y="120"/>
                </a:cubicBezTo>
                <a:cubicBezTo>
                  <a:pt x="38" y="117"/>
                  <a:pt x="37" y="114"/>
                  <a:pt x="34" y="112"/>
                </a:cubicBezTo>
                <a:cubicBezTo>
                  <a:pt x="31" y="110"/>
                  <a:pt x="31" y="110"/>
                  <a:pt x="31" y="110"/>
                </a:cubicBezTo>
                <a:cubicBezTo>
                  <a:pt x="28" y="108"/>
                  <a:pt x="24" y="109"/>
                  <a:pt x="23" y="112"/>
                </a:cubicBezTo>
                <a:cubicBezTo>
                  <a:pt x="21" y="115"/>
                  <a:pt x="22" y="119"/>
                  <a:pt x="25" y="120"/>
                </a:cubicBezTo>
                <a:close/>
                <a:moveTo>
                  <a:pt x="4" y="109"/>
                </a:moveTo>
                <a:cubicBezTo>
                  <a:pt x="8" y="111"/>
                  <a:pt x="8" y="111"/>
                  <a:pt x="8" y="111"/>
                </a:cubicBezTo>
                <a:cubicBezTo>
                  <a:pt x="10" y="112"/>
                  <a:pt x="14" y="111"/>
                  <a:pt x="16" y="108"/>
                </a:cubicBezTo>
                <a:cubicBezTo>
                  <a:pt x="17" y="105"/>
                  <a:pt x="16" y="102"/>
                  <a:pt x="13" y="100"/>
                </a:cubicBezTo>
                <a:cubicBezTo>
                  <a:pt x="10" y="98"/>
                  <a:pt x="10" y="98"/>
                  <a:pt x="10" y="98"/>
                </a:cubicBezTo>
                <a:cubicBezTo>
                  <a:pt x="7" y="97"/>
                  <a:pt x="3" y="98"/>
                  <a:pt x="2" y="100"/>
                </a:cubicBezTo>
                <a:cubicBezTo>
                  <a:pt x="0" y="103"/>
                  <a:pt x="1" y="107"/>
                  <a:pt x="4" y="109"/>
                </a:cubicBez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86"/>
          <p:cNvSpPr>
            <a:spLocks/>
          </p:cNvSpPr>
          <p:nvPr/>
        </p:nvSpPr>
        <p:spPr bwMode="auto">
          <a:xfrm>
            <a:off x="4124146" y="4311817"/>
            <a:ext cx="101225" cy="101225"/>
          </a:xfrm>
          <a:custGeom>
            <a:avLst/>
            <a:gdLst>
              <a:gd name="T0" fmla="*/ 31 w 42"/>
              <a:gd name="T1" fmla="*/ 36 h 42"/>
              <a:gd name="T2" fmla="*/ 6 w 42"/>
              <a:gd name="T3" fmla="*/ 31 h 42"/>
              <a:gd name="T4" fmla="*/ 11 w 42"/>
              <a:gd name="T5" fmla="*/ 6 h 42"/>
              <a:gd name="T6" fmla="*/ 37 w 42"/>
              <a:gd name="T7" fmla="*/ 11 h 42"/>
              <a:gd name="T8" fmla="*/ 31 w 42"/>
              <a:gd name="T9" fmla="*/ 36 h 42"/>
            </a:gdLst>
            <a:ahLst/>
            <a:cxnLst>
              <a:cxn ang="0">
                <a:pos x="T0" y="T1"/>
              </a:cxn>
              <a:cxn ang="0">
                <a:pos x="T2" y="T3"/>
              </a:cxn>
              <a:cxn ang="0">
                <a:pos x="T4" y="T5"/>
              </a:cxn>
              <a:cxn ang="0">
                <a:pos x="T6" y="T7"/>
              </a:cxn>
              <a:cxn ang="0">
                <a:pos x="T8" y="T9"/>
              </a:cxn>
            </a:cxnLst>
            <a:rect l="0" t="0" r="r" b="b"/>
            <a:pathLst>
              <a:path w="42" h="42">
                <a:moveTo>
                  <a:pt x="31" y="36"/>
                </a:moveTo>
                <a:cubicBezTo>
                  <a:pt x="22" y="42"/>
                  <a:pt x="11" y="39"/>
                  <a:pt x="6" y="31"/>
                </a:cubicBezTo>
                <a:cubicBezTo>
                  <a:pt x="0" y="22"/>
                  <a:pt x="3" y="11"/>
                  <a:pt x="11" y="6"/>
                </a:cubicBezTo>
                <a:cubicBezTo>
                  <a:pt x="20" y="0"/>
                  <a:pt x="31" y="3"/>
                  <a:pt x="37" y="11"/>
                </a:cubicBezTo>
                <a:cubicBezTo>
                  <a:pt x="42" y="20"/>
                  <a:pt x="39" y="31"/>
                  <a:pt x="31"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87"/>
          <p:cNvSpPr>
            <a:spLocks/>
          </p:cNvSpPr>
          <p:nvPr/>
        </p:nvSpPr>
        <p:spPr bwMode="auto">
          <a:xfrm>
            <a:off x="4121109" y="4309792"/>
            <a:ext cx="106286" cy="105274"/>
          </a:xfrm>
          <a:custGeom>
            <a:avLst/>
            <a:gdLst>
              <a:gd name="T0" fmla="*/ 32 w 44"/>
              <a:gd name="T1" fmla="*/ 37 h 44"/>
              <a:gd name="T2" fmla="*/ 30 w 44"/>
              <a:gd name="T3" fmla="*/ 34 h 44"/>
              <a:gd name="T4" fmla="*/ 22 w 44"/>
              <a:gd name="T5" fmla="*/ 36 h 44"/>
              <a:gd name="T6" fmla="*/ 10 w 44"/>
              <a:gd name="T7" fmla="*/ 30 h 44"/>
              <a:gd name="T8" fmla="*/ 8 w 44"/>
              <a:gd name="T9" fmla="*/ 22 h 44"/>
              <a:gd name="T10" fmla="*/ 15 w 44"/>
              <a:gd name="T11" fmla="*/ 10 h 44"/>
              <a:gd name="T12" fmla="*/ 22 w 44"/>
              <a:gd name="T13" fmla="*/ 8 h 44"/>
              <a:gd name="T14" fmla="*/ 34 w 44"/>
              <a:gd name="T15" fmla="*/ 14 h 44"/>
              <a:gd name="T16" fmla="*/ 36 w 44"/>
              <a:gd name="T17" fmla="*/ 22 h 44"/>
              <a:gd name="T18" fmla="*/ 30 w 44"/>
              <a:gd name="T19" fmla="*/ 34 h 44"/>
              <a:gd name="T20" fmla="*/ 32 w 44"/>
              <a:gd name="T21" fmla="*/ 37 h 44"/>
              <a:gd name="T22" fmla="*/ 34 w 44"/>
              <a:gd name="T23" fmla="*/ 41 h 44"/>
              <a:gd name="T24" fmla="*/ 44 w 44"/>
              <a:gd name="T25" fmla="*/ 22 h 44"/>
              <a:gd name="T26" fmla="*/ 41 w 44"/>
              <a:gd name="T27" fmla="*/ 10 h 44"/>
              <a:gd name="T28" fmla="*/ 22 w 44"/>
              <a:gd name="T29" fmla="*/ 0 h 44"/>
              <a:gd name="T30" fmla="*/ 10 w 44"/>
              <a:gd name="T31" fmla="*/ 3 h 44"/>
              <a:gd name="T32" fmla="*/ 0 w 44"/>
              <a:gd name="T33" fmla="*/ 22 h 44"/>
              <a:gd name="T34" fmla="*/ 3 w 44"/>
              <a:gd name="T35" fmla="*/ 34 h 44"/>
              <a:gd name="T36" fmla="*/ 22 w 44"/>
              <a:gd name="T37" fmla="*/ 44 h 44"/>
              <a:gd name="T38" fmla="*/ 34 w 44"/>
              <a:gd name="T39" fmla="*/ 41 h 44"/>
              <a:gd name="T40" fmla="*/ 32 w 44"/>
              <a:gd name="T41"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44">
                <a:moveTo>
                  <a:pt x="32" y="37"/>
                </a:moveTo>
                <a:cubicBezTo>
                  <a:pt x="30" y="34"/>
                  <a:pt x="30" y="34"/>
                  <a:pt x="30" y="34"/>
                </a:cubicBezTo>
                <a:cubicBezTo>
                  <a:pt x="27" y="35"/>
                  <a:pt x="25" y="36"/>
                  <a:pt x="22" y="36"/>
                </a:cubicBezTo>
                <a:cubicBezTo>
                  <a:pt x="17" y="36"/>
                  <a:pt x="13" y="34"/>
                  <a:pt x="10" y="30"/>
                </a:cubicBezTo>
                <a:cubicBezTo>
                  <a:pt x="9" y="27"/>
                  <a:pt x="8" y="25"/>
                  <a:pt x="8" y="22"/>
                </a:cubicBezTo>
                <a:cubicBezTo>
                  <a:pt x="8" y="17"/>
                  <a:pt x="10" y="13"/>
                  <a:pt x="15" y="10"/>
                </a:cubicBezTo>
                <a:cubicBezTo>
                  <a:pt x="17" y="8"/>
                  <a:pt x="20" y="8"/>
                  <a:pt x="22" y="8"/>
                </a:cubicBezTo>
                <a:cubicBezTo>
                  <a:pt x="27" y="8"/>
                  <a:pt x="31" y="10"/>
                  <a:pt x="34" y="14"/>
                </a:cubicBezTo>
                <a:cubicBezTo>
                  <a:pt x="36" y="17"/>
                  <a:pt x="36" y="19"/>
                  <a:pt x="36" y="22"/>
                </a:cubicBezTo>
                <a:cubicBezTo>
                  <a:pt x="36" y="27"/>
                  <a:pt x="34" y="31"/>
                  <a:pt x="30" y="34"/>
                </a:cubicBezTo>
                <a:cubicBezTo>
                  <a:pt x="32" y="37"/>
                  <a:pt x="32" y="37"/>
                  <a:pt x="32" y="37"/>
                </a:cubicBezTo>
                <a:cubicBezTo>
                  <a:pt x="34" y="41"/>
                  <a:pt x="34" y="41"/>
                  <a:pt x="34" y="41"/>
                </a:cubicBezTo>
                <a:cubicBezTo>
                  <a:pt x="41" y="36"/>
                  <a:pt x="44" y="29"/>
                  <a:pt x="44" y="22"/>
                </a:cubicBezTo>
                <a:cubicBezTo>
                  <a:pt x="44" y="18"/>
                  <a:pt x="43" y="14"/>
                  <a:pt x="41" y="10"/>
                </a:cubicBezTo>
                <a:cubicBezTo>
                  <a:pt x="37" y="3"/>
                  <a:pt x="30" y="0"/>
                  <a:pt x="22" y="0"/>
                </a:cubicBezTo>
                <a:cubicBezTo>
                  <a:pt x="18" y="0"/>
                  <a:pt x="14" y="1"/>
                  <a:pt x="10" y="3"/>
                </a:cubicBezTo>
                <a:cubicBezTo>
                  <a:pt x="4" y="7"/>
                  <a:pt x="0" y="15"/>
                  <a:pt x="0" y="22"/>
                </a:cubicBezTo>
                <a:cubicBezTo>
                  <a:pt x="0" y="26"/>
                  <a:pt x="1" y="30"/>
                  <a:pt x="3" y="34"/>
                </a:cubicBezTo>
                <a:cubicBezTo>
                  <a:pt x="8" y="41"/>
                  <a:pt x="15" y="44"/>
                  <a:pt x="22" y="44"/>
                </a:cubicBezTo>
                <a:cubicBezTo>
                  <a:pt x="26" y="44"/>
                  <a:pt x="30" y="43"/>
                  <a:pt x="34" y="41"/>
                </a:cubicBezTo>
                <a:lnTo>
                  <a:pt x="32" y="37"/>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88"/>
          <p:cNvSpPr>
            <a:spLocks/>
          </p:cNvSpPr>
          <p:nvPr/>
        </p:nvSpPr>
        <p:spPr bwMode="auto">
          <a:xfrm>
            <a:off x="3326496" y="4563866"/>
            <a:ext cx="146776" cy="148800"/>
          </a:xfrm>
          <a:custGeom>
            <a:avLst/>
            <a:gdLst>
              <a:gd name="T0" fmla="*/ 45 w 61"/>
              <a:gd name="T1" fmla="*/ 54 h 62"/>
              <a:gd name="T2" fmla="*/ 8 w 61"/>
              <a:gd name="T3" fmla="*/ 45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5"/>
                </a:cubicBezTo>
                <a:cubicBezTo>
                  <a:pt x="0" y="33"/>
                  <a:pt x="3" y="16"/>
                  <a:pt x="16" y="8"/>
                </a:cubicBezTo>
                <a:cubicBezTo>
                  <a:pt x="28" y="0"/>
                  <a:pt x="45" y="4"/>
                  <a:pt x="53" y="17"/>
                </a:cubicBezTo>
                <a:cubicBezTo>
                  <a:pt x="61" y="29"/>
                  <a:pt x="57"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89"/>
          <p:cNvSpPr>
            <a:spLocks/>
          </p:cNvSpPr>
          <p:nvPr/>
        </p:nvSpPr>
        <p:spPr bwMode="auto">
          <a:xfrm>
            <a:off x="3324472" y="4563866"/>
            <a:ext cx="148800" cy="148800"/>
          </a:xfrm>
          <a:custGeom>
            <a:avLst/>
            <a:gdLst>
              <a:gd name="T0" fmla="*/ 46 w 62"/>
              <a:gd name="T1" fmla="*/ 54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0"/>
                  <a:pt x="44" y="50"/>
                  <a:pt x="44" y="50"/>
                </a:cubicBezTo>
                <a:cubicBezTo>
                  <a:pt x="40" y="53"/>
                  <a:pt x="36"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3"/>
                  <a:pt x="54" y="27"/>
                  <a:pt x="54" y="31"/>
                </a:cubicBezTo>
                <a:cubicBezTo>
                  <a:pt x="54" y="39"/>
                  <a:pt x="50" y="46"/>
                  <a:pt x="44" y="50"/>
                </a:cubicBezTo>
                <a:cubicBezTo>
                  <a:pt x="46" y="54"/>
                  <a:pt x="46" y="54"/>
                  <a:pt x="46" y="54"/>
                </a:cubicBezTo>
                <a:cubicBezTo>
                  <a:pt x="48" y="57"/>
                  <a:pt x="48" y="57"/>
                  <a:pt x="48" y="57"/>
                </a:cubicBezTo>
                <a:cubicBezTo>
                  <a:pt x="57" y="51"/>
                  <a:pt x="62" y="41"/>
                  <a:pt x="62" y="31"/>
                </a:cubicBezTo>
                <a:cubicBezTo>
                  <a:pt x="62" y="25"/>
                  <a:pt x="61" y="20"/>
                  <a:pt x="57" y="14"/>
                </a:cubicBezTo>
                <a:cubicBezTo>
                  <a:pt x="52" y="5"/>
                  <a:pt x="42" y="0"/>
                  <a:pt x="31" y="0"/>
                </a:cubicBezTo>
                <a:cubicBezTo>
                  <a:pt x="26" y="0"/>
                  <a:pt x="20" y="2"/>
                  <a:pt x="15" y="5"/>
                </a:cubicBezTo>
                <a:cubicBezTo>
                  <a:pt x="6" y="11"/>
                  <a:pt x="0" y="21"/>
                  <a:pt x="0" y="31"/>
                </a:cubicBezTo>
                <a:cubicBezTo>
                  <a:pt x="0" y="37"/>
                  <a:pt x="2" y="42"/>
                  <a:pt x="5" y="48"/>
                </a:cubicBezTo>
                <a:cubicBezTo>
                  <a:pt x="11" y="57"/>
                  <a:pt x="21" y="62"/>
                  <a:pt x="31" y="62"/>
                </a:cubicBezTo>
                <a:cubicBezTo>
                  <a:pt x="37" y="62"/>
                  <a:pt x="43" y="60"/>
                  <a:pt x="48" y="57"/>
                </a:cubicBezTo>
                <a:lnTo>
                  <a:pt x="46" y="54"/>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290"/>
          <p:cNvSpPr>
            <a:spLocks/>
          </p:cNvSpPr>
          <p:nvPr/>
        </p:nvSpPr>
        <p:spPr bwMode="auto">
          <a:xfrm>
            <a:off x="3715198" y="4742021"/>
            <a:ext cx="92114" cy="93127"/>
          </a:xfrm>
          <a:custGeom>
            <a:avLst/>
            <a:gdLst>
              <a:gd name="T0" fmla="*/ 28 w 38"/>
              <a:gd name="T1" fmla="*/ 34 h 39"/>
              <a:gd name="T2" fmla="*/ 5 w 38"/>
              <a:gd name="T3" fmla="*/ 29 h 39"/>
              <a:gd name="T4" fmla="*/ 10 w 38"/>
              <a:gd name="T5" fmla="*/ 5 h 39"/>
              <a:gd name="T6" fmla="*/ 33 w 38"/>
              <a:gd name="T7" fmla="*/ 11 h 39"/>
              <a:gd name="T8" fmla="*/ 28 w 38"/>
              <a:gd name="T9" fmla="*/ 34 h 39"/>
            </a:gdLst>
            <a:ahLst/>
            <a:cxnLst>
              <a:cxn ang="0">
                <a:pos x="T0" y="T1"/>
              </a:cxn>
              <a:cxn ang="0">
                <a:pos x="T2" y="T3"/>
              </a:cxn>
              <a:cxn ang="0">
                <a:pos x="T4" y="T5"/>
              </a:cxn>
              <a:cxn ang="0">
                <a:pos x="T6" y="T7"/>
              </a:cxn>
              <a:cxn ang="0">
                <a:pos x="T8" y="T9"/>
              </a:cxn>
            </a:cxnLst>
            <a:rect l="0" t="0" r="r" b="b"/>
            <a:pathLst>
              <a:path w="38" h="39">
                <a:moveTo>
                  <a:pt x="28" y="34"/>
                </a:moveTo>
                <a:cubicBezTo>
                  <a:pt x="20" y="39"/>
                  <a:pt x="10" y="37"/>
                  <a:pt x="5" y="29"/>
                </a:cubicBezTo>
                <a:cubicBezTo>
                  <a:pt x="0" y="21"/>
                  <a:pt x="2" y="10"/>
                  <a:pt x="10" y="5"/>
                </a:cubicBezTo>
                <a:cubicBezTo>
                  <a:pt x="18" y="0"/>
                  <a:pt x="28" y="3"/>
                  <a:pt x="33" y="11"/>
                </a:cubicBezTo>
                <a:cubicBezTo>
                  <a:pt x="38" y="19"/>
                  <a:pt x="36" y="29"/>
                  <a:pt x="28"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91"/>
          <p:cNvSpPr>
            <a:spLocks/>
          </p:cNvSpPr>
          <p:nvPr/>
        </p:nvSpPr>
        <p:spPr bwMode="auto">
          <a:xfrm>
            <a:off x="3711149" y="4738984"/>
            <a:ext cx="100212"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21 w 42"/>
              <a:gd name="T13" fmla="*/ 8 h 42"/>
              <a:gd name="T14" fmla="*/ 32 w 42"/>
              <a:gd name="T15" fmla="*/ 14 h 42"/>
              <a:gd name="T16" fmla="*/ 34 w 42"/>
              <a:gd name="T17" fmla="*/ 21 h 42"/>
              <a:gd name="T18" fmla="*/ 28 w 42"/>
              <a:gd name="T19" fmla="*/ 32 h 42"/>
              <a:gd name="T20" fmla="*/ 30 w 42"/>
              <a:gd name="T21" fmla="*/ 35 h 42"/>
              <a:gd name="T22" fmla="*/ 32 w 42"/>
              <a:gd name="T23" fmla="*/ 38 h 42"/>
              <a:gd name="T24" fmla="*/ 42 w 42"/>
              <a:gd name="T25" fmla="*/ 21 h 42"/>
              <a:gd name="T26" fmla="*/ 39 w 42"/>
              <a:gd name="T27" fmla="*/ 10 h 42"/>
              <a:gd name="T28" fmla="*/ 21 w 42"/>
              <a:gd name="T29" fmla="*/ 0 h 42"/>
              <a:gd name="T30" fmla="*/ 10 w 42"/>
              <a:gd name="T31" fmla="*/ 3 h 42"/>
              <a:gd name="T32" fmla="*/ 0 w 42"/>
              <a:gd name="T33" fmla="*/ 21 h 42"/>
              <a:gd name="T34" fmla="*/ 3 w 42"/>
              <a:gd name="T35" fmla="*/ 32 h 42"/>
              <a:gd name="T36" fmla="*/ 21 w 42"/>
              <a:gd name="T37" fmla="*/ 42 h 42"/>
              <a:gd name="T38" fmla="*/ 32 w 42"/>
              <a:gd name="T39" fmla="*/ 38 h 42"/>
              <a:gd name="T40" fmla="*/ 30 w 42"/>
              <a:gd name="T41"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30" y="35"/>
                </a:moveTo>
                <a:cubicBezTo>
                  <a:pt x="28" y="32"/>
                  <a:pt x="28" y="32"/>
                  <a:pt x="28" y="32"/>
                </a:cubicBezTo>
                <a:cubicBezTo>
                  <a:pt x="26" y="33"/>
                  <a:pt x="24" y="34"/>
                  <a:pt x="21" y="34"/>
                </a:cubicBezTo>
                <a:cubicBezTo>
                  <a:pt x="17" y="34"/>
                  <a:pt x="13" y="32"/>
                  <a:pt x="10" y="28"/>
                </a:cubicBezTo>
                <a:cubicBezTo>
                  <a:pt x="9" y="26"/>
                  <a:pt x="8" y="23"/>
                  <a:pt x="8" y="21"/>
                </a:cubicBezTo>
                <a:cubicBezTo>
                  <a:pt x="8" y="16"/>
                  <a:pt x="10" y="12"/>
                  <a:pt x="14" y="10"/>
                </a:cubicBezTo>
                <a:cubicBezTo>
                  <a:pt x="16" y="8"/>
                  <a:pt x="19" y="8"/>
                  <a:pt x="21" y="8"/>
                </a:cubicBezTo>
                <a:cubicBezTo>
                  <a:pt x="25" y="8"/>
                  <a:pt x="30" y="10"/>
                  <a:pt x="32" y="14"/>
                </a:cubicBezTo>
                <a:cubicBezTo>
                  <a:pt x="33" y="16"/>
                  <a:pt x="34" y="18"/>
                  <a:pt x="34" y="21"/>
                </a:cubicBezTo>
                <a:cubicBezTo>
                  <a:pt x="34" y="25"/>
                  <a:pt x="32" y="29"/>
                  <a:pt x="28" y="32"/>
                </a:cubicBezTo>
                <a:cubicBezTo>
                  <a:pt x="30" y="35"/>
                  <a:pt x="30" y="35"/>
                  <a:pt x="30" y="35"/>
                </a:cubicBezTo>
                <a:cubicBezTo>
                  <a:pt x="32" y="38"/>
                  <a:pt x="32" y="38"/>
                  <a:pt x="32" y="38"/>
                </a:cubicBezTo>
                <a:cubicBezTo>
                  <a:pt x="39" y="34"/>
                  <a:pt x="42" y="28"/>
                  <a:pt x="42" y="21"/>
                </a:cubicBezTo>
                <a:cubicBezTo>
                  <a:pt x="42" y="17"/>
                  <a:pt x="41" y="13"/>
                  <a:pt x="39" y="10"/>
                </a:cubicBezTo>
                <a:cubicBezTo>
                  <a:pt x="35" y="3"/>
                  <a:pt x="28" y="0"/>
                  <a:pt x="21" y="0"/>
                </a:cubicBezTo>
                <a:cubicBezTo>
                  <a:pt x="17" y="0"/>
                  <a:pt x="13" y="1"/>
                  <a:pt x="10" y="3"/>
                </a:cubicBezTo>
                <a:cubicBezTo>
                  <a:pt x="4" y="7"/>
                  <a:pt x="0" y="14"/>
                  <a:pt x="0" y="21"/>
                </a:cubicBezTo>
                <a:cubicBezTo>
                  <a:pt x="0" y="25"/>
                  <a:pt x="1" y="29"/>
                  <a:pt x="3" y="32"/>
                </a:cubicBezTo>
                <a:cubicBezTo>
                  <a:pt x="7" y="38"/>
                  <a:pt x="14" y="42"/>
                  <a:pt x="21" y="42"/>
                </a:cubicBezTo>
                <a:cubicBezTo>
                  <a:pt x="25" y="42"/>
                  <a:pt x="29" y="41"/>
                  <a:pt x="32" y="38"/>
                </a:cubicBezTo>
                <a:lnTo>
                  <a:pt x="30" y="35"/>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92"/>
          <p:cNvSpPr>
            <a:spLocks/>
          </p:cNvSpPr>
          <p:nvPr/>
        </p:nvSpPr>
        <p:spPr bwMode="auto">
          <a:xfrm>
            <a:off x="3221222" y="5753255"/>
            <a:ext cx="1008197" cy="557747"/>
          </a:xfrm>
          <a:custGeom>
            <a:avLst/>
            <a:gdLst>
              <a:gd name="T0" fmla="*/ 4 w 420"/>
              <a:gd name="T1" fmla="*/ 232 h 232"/>
              <a:gd name="T2" fmla="*/ 229 w 420"/>
              <a:gd name="T3" fmla="*/ 232 h 232"/>
              <a:gd name="T4" fmla="*/ 229 w 420"/>
              <a:gd name="T5" fmla="*/ 8 h 232"/>
              <a:gd name="T6" fmla="*/ 416 w 420"/>
              <a:gd name="T7" fmla="*/ 8 h 232"/>
              <a:gd name="T8" fmla="*/ 420 w 420"/>
              <a:gd name="T9" fmla="*/ 4 h 232"/>
              <a:gd name="T10" fmla="*/ 416 w 420"/>
              <a:gd name="T11" fmla="*/ 0 h 232"/>
              <a:gd name="T12" fmla="*/ 221 w 420"/>
              <a:gd name="T13" fmla="*/ 0 h 232"/>
              <a:gd name="T14" fmla="*/ 221 w 420"/>
              <a:gd name="T15" fmla="*/ 224 h 232"/>
              <a:gd name="T16" fmla="*/ 4 w 420"/>
              <a:gd name="T17" fmla="*/ 224 h 232"/>
              <a:gd name="T18" fmla="*/ 0 w 420"/>
              <a:gd name="T19" fmla="*/ 228 h 232"/>
              <a:gd name="T20" fmla="*/ 4 w 420"/>
              <a:gd name="T21"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0" h="232">
                <a:moveTo>
                  <a:pt x="4" y="232"/>
                </a:moveTo>
                <a:cubicBezTo>
                  <a:pt x="229" y="232"/>
                  <a:pt x="229" y="232"/>
                  <a:pt x="229" y="232"/>
                </a:cubicBezTo>
                <a:cubicBezTo>
                  <a:pt x="229" y="8"/>
                  <a:pt x="229" y="8"/>
                  <a:pt x="229" y="8"/>
                </a:cubicBezTo>
                <a:cubicBezTo>
                  <a:pt x="416" y="8"/>
                  <a:pt x="416" y="8"/>
                  <a:pt x="416" y="8"/>
                </a:cubicBezTo>
                <a:cubicBezTo>
                  <a:pt x="418" y="8"/>
                  <a:pt x="420" y="6"/>
                  <a:pt x="420" y="4"/>
                </a:cubicBezTo>
                <a:cubicBezTo>
                  <a:pt x="420" y="2"/>
                  <a:pt x="418" y="0"/>
                  <a:pt x="416" y="0"/>
                </a:cubicBezTo>
                <a:cubicBezTo>
                  <a:pt x="221" y="0"/>
                  <a:pt x="221" y="0"/>
                  <a:pt x="221" y="0"/>
                </a:cubicBezTo>
                <a:cubicBezTo>
                  <a:pt x="221" y="224"/>
                  <a:pt x="221" y="224"/>
                  <a:pt x="221" y="224"/>
                </a:cubicBezTo>
                <a:cubicBezTo>
                  <a:pt x="4" y="224"/>
                  <a:pt x="4" y="224"/>
                  <a:pt x="4" y="224"/>
                </a:cubicBezTo>
                <a:cubicBezTo>
                  <a:pt x="2" y="224"/>
                  <a:pt x="0" y="225"/>
                  <a:pt x="0" y="228"/>
                </a:cubicBezTo>
                <a:cubicBezTo>
                  <a:pt x="0" y="230"/>
                  <a:pt x="2" y="232"/>
                  <a:pt x="4" y="232"/>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3110709104"/>
      </p:ext>
    </p:extLst>
  </p:cSld>
  <p:clrMapOvr>
    <a:masterClrMapping/>
  </p:clrMapOvr>
  <p:transition>
    <p:fade/>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p:cNvGrpSpPr>
            <a:grpSpLocks noChangeAspect="1"/>
          </p:cNvGrpSpPr>
          <p:nvPr/>
        </p:nvGrpSpPr>
        <p:grpSpPr bwMode="auto">
          <a:xfrm>
            <a:off x="1808164" y="491910"/>
            <a:ext cx="8542336" cy="5443635"/>
            <a:chOff x="101" y="-342"/>
            <a:chExt cx="7457" cy="4752"/>
          </a:xfrm>
        </p:grpSpPr>
        <p:grpSp>
          <p:nvGrpSpPr>
            <p:cNvPr id="5" name="Group 205"/>
            <p:cNvGrpSpPr>
              <a:grpSpLocks/>
            </p:cNvGrpSpPr>
            <p:nvPr/>
          </p:nvGrpSpPr>
          <p:grpSpPr bwMode="auto">
            <a:xfrm>
              <a:off x="101" y="-342"/>
              <a:ext cx="7457" cy="4752"/>
              <a:chOff x="101" y="-342"/>
              <a:chExt cx="7457" cy="4752"/>
            </a:xfrm>
          </p:grpSpPr>
          <p:sp>
            <p:nvSpPr>
              <p:cNvPr id="118" name="Freeform 5"/>
              <p:cNvSpPr>
                <a:spLocks/>
              </p:cNvSpPr>
              <p:nvPr/>
            </p:nvSpPr>
            <p:spPr bwMode="auto">
              <a:xfrm>
                <a:off x="1562" y="3045"/>
                <a:ext cx="297" cy="188"/>
              </a:xfrm>
              <a:custGeom>
                <a:avLst/>
                <a:gdLst>
                  <a:gd name="T0" fmla="*/ 297 w 297"/>
                  <a:gd name="T1" fmla="*/ 0 h 188"/>
                  <a:gd name="T2" fmla="*/ 261 w 297"/>
                  <a:gd name="T3" fmla="*/ 0 h 188"/>
                  <a:gd name="T4" fmla="*/ 0 w 297"/>
                  <a:gd name="T5" fmla="*/ 188 h 188"/>
                  <a:gd name="T6" fmla="*/ 36 w 297"/>
                  <a:gd name="T7" fmla="*/ 188 h 188"/>
                  <a:gd name="T8" fmla="*/ 297 w 297"/>
                  <a:gd name="T9" fmla="*/ 0 h 188"/>
                </a:gdLst>
                <a:ahLst/>
                <a:cxnLst>
                  <a:cxn ang="0">
                    <a:pos x="T0" y="T1"/>
                  </a:cxn>
                  <a:cxn ang="0">
                    <a:pos x="T2" y="T3"/>
                  </a:cxn>
                  <a:cxn ang="0">
                    <a:pos x="T4" y="T5"/>
                  </a:cxn>
                  <a:cxn ang="0">
                    <a:pos x="T6" y="T7"/>
                  </a:cxn>
                  <a:cxn ang="0">
                    <a:pos x="T8" y="T9"/>
                  </a:cxn>
                </a:cxnLst>
                <a:rect l="0" t="0" r="r" b="b"/>
                <a:pathLst>
                  <a:path w="297" h="188">
                    <a:moveTo>
                      <a:pt x="297" y="0"/>
                    </a:moveTo>
                    <a:lnTo>
                      <a:pt x="261" y="0"/>
                    </a:lnTo>
                    <a:lnTo>
                      <a:pt x="0" y="188"/>
                    </a:lnTo>
                    <a:lnTo>
                      <a:pt x="36" y="188"/>
                    </a:lnTo>
                    <a:lnTo>
                      <a:pt x="297"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Rectangle 6"/>
              <p:cNvSpPr>
                <a:spLocks noChangeArrowheads="1"/>
              </p:cNvSpPr>
              <p:nvPr/>
            </p:nvSpPr>
            <p:spPr bwMode="auto">
              <a:xfrm>
                <a:off x="1562" y="3351"/>
                <a:ext cx="36" cy="38"/>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Rectangle 7"/>
              <p:cNvSpPr>
                <a:spLocks noChangeArrowheads="1"/>
              </p:cNvSpPr>
              <p:nvPr/>
            </p:nvSpPr>
            <p:spPr bwMode="auto">
              <a:xfrm>
                <a:off x="1562" y="3233"/>
                <a:ext cx="36" cy="118"/>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8"/>
              <p:cNvSpPr>
                <a:spLocks/>
              </p:cNvSpPr>
              <p:nvPr/>
            </p:nvSpPr>
            <p:spPr bwMode="auto">
              <a:xfrm>
                <a:off x="1598" y="3045"/>
                <a:ext cx="610" cy="188"/>
              </a:xfrm>
              <a:custGeom>
                <a:avLst/>
                <a:gdLst>
                  <a:gd name="T0" fmla="*/ 610 w 610"/>
                  <a:gd name="T1" fmla="*/ 188 h 188"/>
                  <a:gd name="T2" fmla="*/ 337 w 610"/>
                  <a:gd name="T3" fmla="*/ 0 h 188"/>
                  <a:gd name="T4" fmla="*/ 261 w 610"/>
                  <a:gd name="T5" fmla="*/ 0 h 188"/>
                  <a:gd name="T6" fmla="*/ 0 w 610"/>
                  <a:gd name="T7" fmla="*/ 188 h 188"/>
                  <a:gd name="T8" fmla="*/ 610 w 610"/>
                  <a:gd name="T9" fmla="*/ 188 h 188"/>
                </a:gdLst>
                <a:ahLst/>
                <a:cxnLst>
                  <a:cxn ang="0">
                    <a:pos x="T0" y="T1"/>
                  </a:cxn>
                  <a:cxn ang="0">
                    <a:pos x="T2" y="T3"/>
                  </a:cxn>
                  <a:cxn ang="0">
                    <a:pos x="T4" y="T5"/>
                  </a:cxn>
                  <a:cxn ang="0">
                    <a:pos x="T6" y="T7"/>
                  </a:cxn>
                  <a:cxn ang="0">
                    <a:pos x="T8" y="T9"/>
                  </a:cxn>
                </a:cxnLst>
                <a:rect l="0" t="0" r="r" b="b"/>
                <a:pathLst>
                  <a:path w="610" h="188">
                    <a:moveTo>
                      <a:pt x="610" y="188"/>
                    </a:moveTo>
                    <a:lnTo>
                      <a:pt x="337" y="0"/>
                    </a:lnTo>
                    <a:lnTo>
                      <a:pt x="261" y="0"/>
                    </a:lnTo>
                    <a:lnTo>
                      <a:pt x="0" y="188"/>
                    </a:lnTo>
                    <a:lnTo>
                      <a:pt x="610" y="188"/>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Rectangle 9"/>
              <p:cNvSpPr>
                <a:spLocks noChangeArrowheads="1"/>
              </p:cNvSpPr>
              <p:nvPr/>
            </p:nvSpPr>
            <p:spPr bwMode="auto">
              <a:xfrm>
                <a:off x="2208" y="3351"/>
                <a:ext cx="33" cy="38"/>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Rectangle 10"/>
              <p:cNvSpPr>
                <a:spLocks noChangeArrowheads="1"/>
              </p:cNvSpPr>
              <p:nvPr/>
            </p:nvSpPr>
            <p:spPr bwMode="auto">
              <a:xfrm>
                <a:off x="1598" y="3351"/>
                <a:ext cx="610" cy="38"/>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Rectangle 11"/>
              <p:cNvSpPr>
                <a:spLocks noChangeArrowheads="1"/>
              </p:cNvSpPr>
              <p:nvPr/>
            </p:nvSpPr>
            <p:spPr bwMode="auto">
              <a:xfrm>
                <a:off x="1598" y="3233"/>
                <a:ext cx="610" cy="118"/>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Rectangle 12"/>
              <p:cNvSpPr>
                <a:spLocks noChangeArrowheads="1"/>
              </p:cNvSpPr>
              <p:nvPr/>
            </p:nvSpPr>
            <p:spPr bwMode="auto">
              <a:xfrm>
                <a:off x="1083" y="3973"/>
                <a:ext cx="1616" cy="69"/>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Rectangle 13"/>
              <p:cNvSpPr>
                <a:spLocks noChangeArrowheads="1"/>
              </p:cNvSpPr>
              <p:nvPr/>
            </p:nvSpPr>
            <p:spPr bwMode="auto">
              <a:xfrm>
                <a:off x="1083" y="3439"/>
                <a:ext cx="26" cy="53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Rectangle 14"/>
              <p:cNvSpPr>
                <a:spLocks noChangeArrowheads="1"/>
              </p:cNvSpPr>
              <p:nvPr/>
            </p:nvSpPr>
            <p:spPr bwMode="auto">
              <a:xfrm>
                <a:off x="1109" y="3439"/>
                <a:ext cx="1561" cy="53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Rectangle 15"/>
              <p:cNvSpPr>
                <a:spLocks noChangeArrowheads="1"/>
              </p:cNvSpPr>
              <p:nvPr/>
            </p:nvSpPr>
            <p:spPr bwMode="auto">
              <a:xfrm>
                <a:off x="1083" y="3439"/>
                <a:ext cx="1587" cy="53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6"/>
              <p:cNvSpPr>
                <a:spLocks/>
              </p:cNvSpPr>
              <p:nvPr/>
            </p:nvSpPr>
            <p:spPr bwMode="auto">
              <a:xfrm>
                <a:off x="1562" y="3045"/>
                <a:ext cx="646" cy="306"/>
              </a:xfrm>
              <a:custGeom>
                <a:avLst/>
                <a:gdLst>
                  <a:gd name="T0" fmla="*/ 496 w 646"/>
                  <a:gd name="T1" fmla="*/ 86 h 306"/>
                  <a:gd name="T2" fmla="*/ 646 w 646"/>
                  <a:gd name="T3" fmla="*/ 188 h 306"/>
                  <a:gd name="T4" fmla="*/ 646 w 646"/>
                  <a:gd name="T5" fmla="*/ 306 h 306"/>
                  <a:gd name="T6" fmla="*/ 0 w 646"/>
                  <a:gd name="T7" fmla="*/ 306 h 306"/>
                  <a:gd name="T8" fmla="*/ 0 w 646"/>
                  <a:gd name="T9" fmla="*/ 188 h 306"/>
                  <a:gd name="T10" fmla="*/ 261 w 646"/>
                  <a:gd name="T11" fmla="*/ 0 h 306"/>
                  <a:gd name="T12" fmla="*/ 373 w 646"/>
                  <a:gd name="T13" fmla="*/ 0 h 306"/>
                  <a:gd name="T14" fmla="*/ 463 w 646"/>
                  <a:gd name="T15" fmla="*/ 64 h 306"/>
                  <a:gd name="T16" fmla="*/ 496 w 646"/>
                  <a:gd name="T17" fmla="*/ 8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306">
                    <a:moveTo>
                      <a:pt x="496" y="86"/>
                    </a:moveTo>
                    <a:lnTo>
                      <a:pt x="646" y="188"/>
                    </a:lnTo>
                    <a:lnTo>
                      <a:pt x="646" y="306"/>
                    </a:lnTo>
                    <a:lnTo>
                      <a:pt x="0" y="306"/>
                    </a:lnTo>
                    <a:lnTo>
                      <a:pt x="0" y="188"/>
                    </a:lnTo>
                    <a:lnTo>
                      <a:pt x="261" y="0"/>
                    </a:lnTo>
                    <a:lnTo>
                      <a:pt x="373" y="0"/>
                    </a:lnTo>
                    <a:lnTo>
                      <a:pt x="463" y="64"/>
                    </a:lnTo>
                    <a:lnTo>
                      <a:pt x="496" y="86"/>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Rectangle 17"/>
              <p:cNvSpPr>
                <a:spLocks noChangeArrowheads="1"/>
              </p:cNvSpPr>
              <p:nvPr/>
            </p:nvSpPr>
            <p:spPr bwMode="auto">
              <a:xfrm>
                <a:off x="1562" y="3233"/>
                <a:ext cx="646" cy="15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Rectangle 18"/>
              <p:cNvSpPr>
                <a:spLocks noChangeArrowheads="1"/>
              </p:cNvSpPr>
              <p:nvPr/>
            </p:nvSpPr>
            <p:spPr bwMode="auto">
              <a:xfrm>
                <a:off x="1465" y="3351"/>
                <a:ext cx="31" cy="119"/>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Rectangle 19"/>
              <p:cNvSpPr>
                <a:spLocks noChangeArrowheads="1"/>
              </p:cNvSpPr>
              <p:nvPr/>
            </p:nvSpPr>
            <p:spPr bwMode="auto">
              <a:xfrm>
                <a:off x="1496" y="3351"/>
                <a:ext cx="809" cy="119"/>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Rectangle 20"/>
              <p:cNvSpPr>
                <a:spLocks noChangeArrowheads="1"/>
              </p:cNvSpPr>
              <p:nvPr/>
            </p:nvSpPr>
            <p:spPr bwMode="auto">
              <a:xfrm>
                <a:off x="1465" y="3351"/>
                <a:ext cx="840" cy="119"/>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1"/>
              <p:cNvSpPr>
                <a:spLocks/>
              </p:cNvSpPr>
              <p:nvPr/>
            </p:nvSpPr>
            <p:spPr bwMode="auto">
              <a:xfrm>
                <a:off x="1169" y="3278"/>
                <a:ext cx="737" cy="294"/>
              </a:xfrm>
              <a:custGeom>
                <a:avLst/>
                <a:gdLst>
                  <a:gd name="T0" fmla="*/ 711 w 737"/>
                  <a:gd name="T1" fmla="*/ 0 h 294"/>
                  <a:gd name="T2" fmla="*/ 0 w 737"/>
                  <a:gd name="T3" fmla="*/ 294 h 294"/>
                  <a:gd name="T4" fmla="*/ 54 w 737"/>
                  <a:gd name="T5" fmla="*/ 294 h 294"/>
                  <a:gd name="T6" fmla="*/ 737 w 737"/>
                  <a:gd name="T7" fmla="*/ 12 h 294"/>
                  <a:gd name="T8" fmla="*/ 711 w 737"/>
                  <a:gd name="T9" fmla="*/ 0 h 294"/>
                </a:gdLst>
                <a:ahLst/>
                <a:cxnLst>
                  <a:cxn ang="0">
                    <a:pos x="T0" y="T1"/>
                  </a:cxn>
                  <a:cxn ang="0">
                    <a:pos x="T2" y="T3"/>
                  </a:cxn>
                  <a:cxn ang="0">
                    <a:pos x="T4" y="T5"/>
                  </a:cxn>
                  <a:cxn ang="0">
                    <a:pos x="T6" y="T7"/>
                  </a:cxn>
                  <a:cxn ang="0">
                    <a:pos x="T8" y="T9"/>
                  </a:cxn>
                </a:cxnLst>
                <a:rect l="0" t="0" r="r" b="b"/>
                <a:pathLst>
                  <a:path w="737" h="294">
                    <a:moveTo>
                      <a:pt x="711" y="0"/>
                    </a:moveTo>
                    <a:lnTo>
                      <a:pt x="0" y="294"/>
                    </a:lnTo>
                    <a:lnTo>
                      <a:pt x="54" y="294"/>
                    </a:lnTo>
                    <a:lnTo>
                      <a:pt x="737" y="12"/>
                    </a:lnTo>
                    <a:lnTo>
                      <a:pt x="711"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22"/>
              <p:cNvSpPr>
                <a:spLocks/>
              </p:cNvSpPr>
              <p:nvPr/>
            </p:nvSpPr>
            <p:spPr bwMode="auto">
              <a:xfrm>
                <a:off x="1223" y="3290"/>
                <a:ext cx="1369" cy="282"/>
              </a:xfrm>
              <a:custGeom>
                <a:avLst/>
                <a:gdLst>
                  <a:gd name="T0" fmla="*/ 0 w 1369"/>
                  <a:gd name="T1" fmla="*/ 282 h 282"/>
                  <a:gd name="T2" fmla="*/ 1369 w 1369"/>
                  <a:gd name="T3" fmla="*/ 282 h 282"/>
                  <a:gd name="T4" fmla="*/ 683 w 1369"/>
                  <a:gd name="T5" fmla="*/ 0 h 282"/>
                  <a:gd name="T6" fmla="*/ 0 w 1369"/>
                  <a:gd name="T7" fmla="*/ 282 h 282"/>
                </a:gdLst>
                <a:ahLst/>
                <a:cxnLst>
                  <a:cxn ang="0">
                    <a:pos x="T0" y="T1"/>
                  </a:cxn>
                  <a:cxn ang="0">
                    <a:pos x="T2" y="T3"/>
                  </a:cxn>
                  <a:cxn ang="0">
                    <a:pos x="T4" y="T5"/>
                  </a:cxn>
                  <a:cxn ang="0">
                    <a:pos x="T6" y="T7"/>
                  </a:cxn>
                </a:cxnLst>
                <a:rect l="0" t="0" r="r" b="b"/>
                <a:pathLst>
                  <a:path w="1369" h="282">
                    <a:moveTo>
                      <a:pt x="0" y="282"/>
                    </a:moveTo>
                    <a:lnTo>
                      <a:pt x="1369" y="282"/>
                    </a:lnTo>
                    <a:lnTo>
                      <a:pt x="683" y="0"/>
                    </a:lnTo>
                    <a:lnTo>
                      <a:pt x="0" y="282"/>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23"/>
              <p:cNvSpPr>
                <a:spLocks/>
              </p:cNvSpPr>
              <p:nvPr/>
            </p:nvSpPr>
            <p:spPr bwMode="auto">
              <a:xfrm>
                <a:off x="1453" y="3337"/>
                <a:ext cx="453" cy="176"/>
              </a:xfrm>
              <a:custGeom>
                <a:avLst/>
                <a:gdLst>
                  <a:gd name="T0" fmla="*/ 427 w 453"/>
                  <a:gd name="T1" fmla="*/ 0 h 176"/>
                  <a:gd name="T2" fmla="*/ 0 w 453"/>
                  <a:gd name="T3" fmla="*/ 176 h 176"/>
                  <a:gd name="T4" fmla="*/ 55 w 453"/>
                  <a:gd name="T5" fmla="*/ 176 h 176"/>
                  <a:gd name="T6" fmla="*/ 453 w 453"/>
                  <a:gd name="T7" fmla="*/ 12 h 176"/>
                  <a:gd name="T8" fmla="*/ 427 w 453"/>
                  <a:gd name="T9" fmla="*/ 0 h 176"/>
                </a:gdLst>
                <a:ahLst/>
                <a:cxnLst>
                  <a:cxn ang="0">
                    <a:pos x="T0" y="T1"/>
                  </a:cxn>
                  <a:cxn ang="0">
                    <a:pos x="T2" y="T3"/>
                  </a:cxn>
                  <a:cxn ang="0">
                    <a:pos x="T4" y="T5"/>
                  </a:cxn>
                  <a:cxn ang="0">
                    <a:pos x="T6" y="T7"/>
                  </a:cxn>
                  <a:cxn ang="0">
                    <a:pos x="T8" y="T9"/>
                  </a:cxn>
                </a:cxnLst>
                <a:rect l="0" t="0" r="r" b="b"/>
                <a:pathLst>
                  <a:path w="453" h="176">
                    <a:moveTo>
                      <a:pt x="427" y="0"/>
                    </a:moveTo>
                    <a:lnTo>
                      <a:pt x="0" y="176"/>
                    </a:lnTo>
                    <a:lnTo>
                      <a:pt x="55" y="176"/>
                    </a:lnTo>
                    <a:lnTo>
                      <a:pt x="453" y="12"/>
                    </a:lnTo>
                    <a:lnTo>
                      <a:pt x="427"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24"/>
              <p:cNvSpPr>
                <a:spLocks/>
              </p:cNvSpPr>
              <p:nvPr/>
            </p:nvSpPr>
            <p:spPr bwMode="auto">
              <a:xfrm>
                <a:off x="1906" y="3337"/>
                <a:ext cx="456" cy="176"/>
              </a:xfrm>
              <a:custGeom>
                <a:avLst/>
                <a:gdLst>
                  <a:gd name="T0" fmla="*/ 29 w 456"/>
                  <a:gd name="T1" fmla="*/ 0 h 176"/>
                  <a:gd name="T2" fmla="*/ 0 w 456"/>
                  <a:gd name="T3" fmla="*/ 12 h 176"/>
                  <a:gd name="T4" fmla="*/ 401 w 456"/>
                  <a:gd name="T5" fmla="*/ 176 h 176"/>
                  <a:gd name="T6" fmla="*/ 456 w 456"/>
                  <a:gd name="T7" fmla="*/ 176 h 176"/>
                  <a:gd name="T8" fmla="*/ 29 w 456"/>
                  <a:gd name="T9" fmla="*/ 0 h 176"/>
                </a:gdLst>
                <a:ahLst/>
                <a:cxnLst>
                  <a:cxn ang="0">
                    <a:pos x="T0" y="T1"/>
                  </a:cxn>
                  <a:cxn ang="0">
                    <a:pos x="T2" y="T3"/>
                  </a:cxn>
                  <a:cxn ang="0">
                    <a:pos x="T4" y="T5"/>
                  </a:cxn>
                  <a:cxn ang="0">
                    <a:pos x="T6" y="T7"/>
                  </a:cxn>
                  <a:cxn ang="0">
                    <a:pos x="T8" y="T9"/>
                  </a:cxn>
                </a:cxnLst>
                <a:rect l="0" t="0" r="r" b="b"/>
                <a:pathLst>
                  <a:path w="456" h="176">
                    <a:moveTo>
                      <a:pt x="29" y="0"/>
                    </a:moveTo>
                    <a:lnTo>
                      <a:pt x="0" y="12"/>
                    </a:lnTo>
                    <a:lnTo>
                      <a:pt x="401" y="176"/>
                    </a:lnTo>
                    <a:lnTo>
                      <a:pt x="456" y="176"/>
                    </a:lnTo>
                    <a:lnTo>
                      <a:pt x="29"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25"/>
              <p:cNvSpPr>
                <a:spLocks/>
              </p:cNvSpPr>
              <p:nvPr/>
            </p:nvSpPr>
            <p:spPr bwMode="auto">
              <a:xfrm>
                <a:off x="1508" y="3349"/>
                <a:ext cx="799" cy="164"/>
              </a:xfrm>
              <a:custGeom>
                <a:avLst/>
                <a:gdLst>
                  <a:gd name="T0" fmla="*/ 0 w 799"/>
                  <a:gd name="T1" fmla="*/ 164 h 164"/>
                  <a:gd name="T2" fmla="*/ 799 w 799"/>
                  <a:gd name="T3" fmla="*/ 164 h 164"/>
                  <a:gd name="T4" fmla="*/ 398 w 799"/>
                  <a:gd name="T5" fmla="*/ 0 h 164"/>
                  <a:gd name="T6" fmla="*/ 0 w 799"/>
                  <a:gd name="T7" fmla="*/ 164 h 164"/>
                </a:gdLst>
                <a:ahLst/>
                <a:cxnLst>
                  <a:cxn ang="0">
                    <a:pos x="T0" y="T1"/>
                  </a:cxn>
                  <a:cxn ang="0">
                    <a:pos x="T2" y="T3"/>
                  </a:cxn>
                  <a:cxn ang="0">
                    <a:pos x="T4" y="T5"/>
                  </a:cxn>
                  <a:cxn ang="0">
                    <a:pos x="T6" y="T7"/>
                  </a:cxn>
                </a:cxnLst>
                <a:rect l="0" t="0" r="r" b="b"/>
                <a:pathLst>
                  <a:path w="799" h="164">
                    <a:moveTo>
                      <a:pt x="0" y="164"/>
                    </a:moveTo>
                    <a:lnTo>
                      <a:pt x="799" y="164"/>
                    </a:lnTo>
                    <a:lnTo>
                      <a:pt x="398" y="0"/>
                    </a:lnTo>
                    <a:lnTo>
                      <a:pt x="0" y="164"/>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26"/>
              <p:cNvSpPr>
                <a:spLocks/>
              </p:cNvSpPr>
              <p:nvPr/>
            </p:nvSpPr>
            <p:spPr bwMode="auto">
              <a:xfrm>
                <a:off x="1453" y="3337"/>
                <a:ext cx="854" cy="176"/>
              </a:xfrm>
              <a:custGeom>
                <a:avLst/>
                <a:gdLst>
                  <a:gd name="T0" fmla="*/ 854 w 854"/>
                  <a:gd name="T1" fmla="*/ 176 h 176"/>
                  <a:gd name="T2" fmla="*/ 0 w 854"/>
                  <a:gd name="T3" fmla="*/ 176 h 176"/>
                  <a:gd name="T4" fmla="*/ 427 w 854"/>
                  <a:gd name="T5" fmla="*/ 0 h 176"/>
                  <a:gd name="T6" fmla="*/ 854 w 854"/>
                  <a:gd name="T7" fmla="*/ 176 h 176"/>
                </a:gdLst>
                <a:ahLst/>
                <a:cxnLst>
                  <a:cxn ang="0">
                    <a:pos x="T0" y="T1"/>
                  </a:cxn>
                  <a:cxn ang="0">
                    <a:pos x="T2" y="T3"/>
                  </a:cxn>
                  <a:cxn ang="0">
                    <a:pos x="T4" y="T5"/>
                  </a:cxn>
                  <a:cxn ang="0">
                    <a:pos x="T6" y="T7"/>
                  </a:cxn>
                </a:cxnLst>
                <a:rect l="0" t="0" r="r" b="b"/>
                <a:pathLst>
                  <a:path w="854" h="176">
                    <a:moveTo>
                      <a:pt x="854" y="176"/>
                    </a:moveTo>
                    <a:lnTo>
                      <a:pt x="0" y="176"/>
                    </a:lnTo>
                    <a:lnTo>
                      <a:pt x="427" y="0"/>
                    </a:lnTo>
                    <a:lnTo>
                      <a:pt x="854" y="176"/>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Rectangle 27"/>
              <p:cNvSpPr>
                <a:spLocks noChangeArrowheads="1"/>
              </p:cNvSpPr>
              <p:nvPr/>
            </p:nvSpPr>
            <p:spPr bwMode="auto">
              <a:xfrm>
                <a:off x="1221" y="3572"/>
                <a:ext cx="24" cy="95"/>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Rectangle 28"/>
              <p:cNvSpPr>
                <a:spLocks noChangeArrowheads="1"/>
              </p:cNvSpPr>
              <p:nvPr/>
            </p:nvSpPr>
            <p:spPr bwMode="auto">
              <a:xfrm>
                <a:off x="1245" y="3572"/>
                <a:ext cx="1290" cy="95"/>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Rectangle 29"/>
              <p:cNvSpPr>
                <a:spLocks noChangeArrowheads="1"/>
              </p:cNvSpPr>
              <p:nvPr/>
            </p:nvSpPr>
            <p:spPr bwMode="auto">
              <a:xfrm>
                <a:off x="1221" y="3572"/>
                <a:ext cx="1314" cy="95"/>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Rectangle 30"/>
              <p:cNvSpPr>
                <a:spLocks noChangeArrowheads="1"/>
              </p:cNvSpPr>
              <p:nvPr/>
            </p:nvSpPr>
            <p:spPr bwMode="auto">
              <a:xfrm>
                <a:off x="1221" y="3667"/>
                <a:ext cx="66"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Rectangle 31"/>
              <p:cNvSpPr>
                <a:spLocks noChangeArrowheads="1"/>
              </p:cNvSpPr>
              <p:nvPr/>
            </p:nvSpPr>
            <p:spPr bwMode="auto">
              <a:xfrm>
                <a:off x="1221" y="3667"/>
                <a:ext cx="24"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Rectangle 32"/>
              <p:cNvSpPr>
                <a:spLocks noChangeArrowheads="1"/>
              </p:cNvSpPr>
              <p:nvPr/>
            </p:nvSpPr>
            <p:spPr bwMode="auto">
              <a:xfrm>
                <a:off x="2469" y="3667"/>
                <a:ext cx="66"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Rectangle 33"/>
              <p:cNvSpPr>
                <a:spLocks noChangeArrowheads="1"/>
              </p:cNvSpPr>
              <p:nvPr/>
            </p:nvSpPr>
            <p:spPr bwMode="auto">
              <a:xfrm>
                <a:off x="2469" y="3667"/>
                <a:ext cx="21"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Rectangle 34"/>
              <p:cNvSpPr>
                <a:spLocks noChangeArrowheads="1"/>
              </p:cNvSpPr>
              <p:nvPr/>
            </p:nvSpPr>
            <p:spPr bwMode="auto">
              <a:xfrm>
                <a:off x="1221" y="3667"/>
                <a:ext cx="66"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Rectangle 35"/>
              <p:cNvSpPr>
                <a:spLocks noChangeArrowheads="1"/>
              </p:cNvSpPr>
              <p:nvPr/>
            </p:nvSpPr>
            <p:spPr bwMode="auto">
              <a:xfrm>
                <a:off x="1491" y="3667"/>
                <a:ext cx="67"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Line 36"/>
              <p:cNvSpPr>
                <a:spLocks noChangeShapeType="1"/>
              </p:cNvSpPr>
              <p:nvPr/>
            </p:nvSpPr>
            <p:spPr bwMode="auto">
              <a:xfrm>
                <a:off x="1755" y="386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Line 37"/>
              <p:cNvSpPr>
                <a:spLocks noChangeShapeType="1"/>
              </p:cNvSpPr>
              <p:nvPr/>
            </p:nvSpPr>
            <p:spPr bwMode="auto">
              <a:xfrm>
                <a:off x="1755" y="3864"/>
                <a:ext cx="0" cy="0"/>
              </a:xfrm>
              <a:prstGeom prst="line">
                <a:avLst/>
              </a:prstGeom>
              <a:noFill/>
              <a:ln w="30163" cap="rnd">
                <a:solidFill>
                  <a:srgbClr val="00A2E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1" name="Freeform 38"/>
              <p:cNvSpPr>
                <a:spLocks/>
              </p:cNvSpPr>
              <p:nvPr/>
            </p:nvSpPr>
            <p:spPr bwMode="auto">
              <a:xfrm>
                <a:off x="1847" y="3667"/>
                <a:ext cx="67" cy="304"/>
              </a:xfrm>
              <a:custGeom>
                <a:avLst/>
                <a:gdLst>
                  <a:gd name="T0" fmla="*/ 0 w 67"/>
                  <a:gd name="T1" fmla="*/ 197 h 304"/>
                  <a:gd name="T2" fmla="*/ 0 w 67"/>
                  <a:gd name="T3" fmla="*/ 0 h 304"/>
                  <a:gd name="T4" fmla="*/ 67 w 67"/>
                  <a:gd name="T5" fmla="*/ 0 h 304"/>
                  <a:gd name="T6" fmla="*/ 67 w 67"/>
                  <a:gd name="T7" fmla="*/ 304 h 304"/>
                  <a:gd name="T8" fmla="*/ 0 w 67"/>
                  <a:gd name="T9" fmla="*/ 304 h 304"/>
                  <a:gd name="T10" fmla="*/ 0 w 67"/>
                  <a:gd name="T11" fmla="*/ 233 h 304"/>
                  <a:gd name="T12" fmla="*/ 0 w 67"/>
                  <a:gd name="T13" fmla="*/ 197 h 304"/>
                </a:gdLst>
                <a:ahLst/>
                <a:cxnLst>
                  <a:cxn ang="0">
                    <a:pos x="T0" y="T1"/>
                  </a:cxn>
                  <a:cxn ang="0">
                    <a:pos x="T2" y="T3"/>
                  </a:cxn>
                  <a:cxn ang="0">
                    <a:pos x="T4" y="T5"/>
                  </a:cxn>
                  <a:cxn ang="0">
                    <a:pos x="T6" y="T7"/>
                  </a:cxn>
                  <a:cxn ang="0">
                    <a:pos x="T8" y="T9"/>
                  </a:cxn>
                  <a:cxn ang="0">
                    <a:pos x="T10" y="T11"/>
                  </a:cxn>
                  <a:cxn ang="0">
                    <a:pos x="T12" y="T13"/>
                  </a:cxn>
                </a:cxnLst>
                <a:rect l="0" t="0" r="r" b="b"/>
                <a:pathLst>
                  <a:path w="67" h="304">
                    <a:moveTo>
                      <a:pt x="0" y="197"/>
                    </a:moveTo>
                    <a:lnTo>
                      <a:pt x="0" y="0"/>
                    </a:lnTo>
                    <a:lnTo>
                      <a:pt x="67" y="0"/>
                    </a:lnTo>
                    <a:lnTo>
                      <a:pt x="67" y="304"/>
                    </a:lnTo>
                    <a:lnTo>
                      <a:pt x="0" y="304"/>
                    </a:lnTo>
                    <a:lnTo>
                      <a:pt x="0" y="233"/>
                    </a:lnTo>
                    <a:lnTo>
                      <a:pt x="0" y="1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39"/>
              <p:cNvSpPr>
                <a:spLocks/>
              </p:cNvSpPr>
              <p:nvPr/>
            </p:nvSpPr>
            <p:spPr bwMode="auto">
              <a:xfrm>
                <a:off x="1847" y="3667"/>
                <a:ext cx="67" cy="304"/>
              </a:xfrm>
              <a:custGeom>
                <a:avLst/>
                <a:gdLst>
                  <a:gd name="T0" fmla="*/ 0 w 67"/>
                  <a:gd name="T1" fmla="*/ 197 h 304"/>
                  <a:gd name="T2" fmla="*/ 0 w 67"/>
                  <a:gd name="T3" fmla="*/ 0 h 304"/>
                  <a:gd name="T4" fmla="*/ 67 w 67"/>
                  <a:gd name="T5" fmla="*/ 0 h 304"/>
                  <a:gd name="T6" fmla="*/ 67 w 67"/>
                  <a:gd name="T7" fmla="*/ 304 h 304"/>
                  <a:gd name="T8" fmla="*/ 0 w 67"/>
                  <a:gd name="T9" fmla="*/ 304 h 304"/>
                  <a:gd name="T10" fmla="*/ 0 w 67"/>
                  <a:gd name="T11" fmla="*/ 233 h 304"/>
                </a:gdLst>
                <a:ahLst/>
                <a:cxnLst>
                  <a:cxn ang="0">
                    <a:pos x="T0" y="T1"/>
                  </a:cxn>
                  <a:cxn ang="0">
                    <a:pos x="T2" y="T3"/>
                  </a:cxn>
                  <a:cxn ang="0">
                    <a:pos x="T4" y="T5"/>
                  </a:cxn>
                  <a:cxn ang="0">
                    <a:pos x="T6" y="T7"/>
                  </a:cxn>
                  <a:cxn ang="0">
                    <a:pos x="T8" y="T9"/>
                  </a:cxn>
                  <a:cxn ang="0">
                    <a:pos x="T10" y="T11"/>
                  </a:cxn>
                </a:cxnLst>
                <a:rect l="0" t="0" r="r" b="b"/>
                <a:pathLst>
                  <a:path w="67" h="304">
                    <a:moveTo>
                      <a:pt x="0" y="197"/>
                    </a:moveTo>
                    <a:lnTo>
                      <a:pt x="0" y="0"/>
                    </a:lnTo>
                    <a:lnTo>
                      <a:pt x="67" y="0"/>
                    </a:lnTo>
                    <a:lnTo>
                      <a:pt x="67" y="304"/>
                    </a:lnTo>
                    <a:lnTo>
                      <a:pt x="0" y="304"/>
                    </a:lnTo>
                    <a:lnTo>
                      <a:pt x="0" y="233"/>
                    </a:lnTo>
                  </a:path>
                </a:pathLst>
              </a:custGeom>
              <a:noFill/>
              <a:ln w="30163" cap="rnd">
                <a:solidFill>
                  <a:srgbClr val="00A2E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3" name="Rectangle 40"/>
              <p:cNvSpPr>
                <a:spLocks noChangeArrowheads="1"/>
              </p:cNvSpPr>
              <p:nvPr/>
            </p:nvSpPr>
            <p:spPr bwMode="auto">
              <a:xfrm>
                <a:off x="2203" y="3667"/>
                <a:ext cx="66"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41"/>
              <p:cNvSpPr>
                <a:spLocks/>
              </p:cNvSpPr>
              <p:nvPr/>
            </p:nvSpPr>
            <p:spPr bwMode="auto">
              <a:xfrm>
                <a:off x="2469" y="3667"/>
                <a:ext cx="66" cy="304"/>
              </a:xfrm>
              <a:custGeom>
                <a:avLst/>
                <a:gdLst>
                  <a:gd name="T0" fmla="*/ 66 w 66"/>
                  <a:gd name="T1" fmla="*/ 171 h 304"/>
                  <a:gd name="T2" fmla="*/ 66 w 66"/>
                  <a:gd name="T3" fmla="*/ 304 h 304"/>
                  <a:gd name="T4" fmla="*/ 0 w 66"/>
                  <a:gd name="T5" fmla="*/ 304 h 304"/>
                  <a:gd name="T6" fmla="*/ 0 w 66"/>
                  <a:gd name="T7" fmla="*/ 0 h 304"/>
                  <a:gd name="T8" fmla="*/ 66 w 66"/>
                  <a:gd name="T9" fmla="*/ 0 h 304"/>
                  <a:gd name="T10" fmla="*/ 66 w 66"/>
                  <a:gd name="T11" fmla="*/ 138 h 304"/>
                  <a:gd name="T12" fmla="*/ 66 w 66"/>
                  <a:gd name="T13" fmla="*/ 171 h 304"/>
                </a:gdLst>
                <a:ahLst/>
                <a:cxnLst>
                  <a:cxn ang="0">
                    <a:pos x="T0" y="T1"/>
                  </a:cxn>
                  <a:cxn ang="0">
                    <a:pos x="T2" y="T3"/>
                  </a:cxn>
                  <a:cxn ang="0">
                    <a:pos x="T4" y="T5"/>
                  </a:cxn>
                  <a:cxn ang="0">
                    <a:pos x="T6" y="T7"/>
                  </a:cxn>
                  <a:cxn ang="0">
                    <a:pos x="T8" y="T9"/>
                  </a:cxn>
                  <a:cxn ang="0">
                    <a:pos x="T10" y="T11"/>
                  </a:cxn>
                  <a:cxn ang="0">
                    <a:pos x="T12" y="T13"/>
                  </a:cxn>
                </a:cxnLst>
                <a:rect l="0" t="0" r="r" b="b"/>
                <a:pathLst>
                  <a:path w="66" h="304">
                    <a:moveTo>
                      <a:pt x="66" y="171"/>
                    </a:moveTo>
                    <a:lnTo>
                      <a:pt x="66" y="304"/>
                    </a:lnTo>
                    <a:lnTo>
                      <a:pt x="0" y="304"/>
                    </a:lnTo>
                    <a:lnTo>
                      <a:pt x="0" y="0"/>
                    </a:lnTo>
                    <a:lnTo>
                      <a:pt x="66" y="0"/>
                    </a:lnTo>
                    <a:lnTo>
                      <a:pt x="66" y="138"/>
                    </a:lnTo>
                    <a:lnTo>
                      <a:pt x="66" y="171"/>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42"/>
              <p:cNvSpPr>
                <a:spLocks/>
              </p:cNvSpPr>
              <p:nvPr/>
            </p:nvSpPr>
            <p:spPr bwMode="auto">
              <a:xfrm>
                <a:off x="1048" y="3620"/>
                <a:ext cx="173" cy="38"/>
              </a:xfrm>
              <a:custGeom>
                <a:avLst/>
                <a:gdLst>
                  <a:gd name="T0" fmla="*/ 35 w 173"/>
                  <a:gd name="T1" fmla="*/ 38 h 38"/>
                  <a:gd name="T2" fmla="*/ 173 w 173"/>
                  <a:gd name="T3" fmla="*/ 38 h 38"/>
                  <a:gd name="T4" fmla="*/ 173 w 173"/>
                  <a:gd name="T5" fmla="*/ 0 h 38"/>
                  <a:gd name="T6" fmla="*/ 0 w 173"/>
                  <a:gd name="T7" fmla="*/ 0 h 38"/>
                  <a:gd name="T8" fmla="*/ 35 w 173"/>
                  <a:gd name="T9" fmla="*/ 38 h 38"/>
                </a:gdLst>
                <a:ahLst/>
                <a:cxnLst>
                  <a:cxn ang="0">
                    <a:pos x="T0" y="T1"/>
                  </a:cxn>
                  <a:cxn ang="0">
                    <a:pos x="T2" y="T3"/>
                  </a:cxn>
                  <a:cxn ang="0">
                    <a:pos x="T4" y="T5"/>
                  </a:cxn>
                  <a:cxn ang="0">
                    <a:pos x="T6" y="T7"/>
                  </a:cxn>
                  <a:cxn ang="0">
                    <a:pos x="T8" y="T9"/>
                  </a:cxn>
                </a:cxnLst>
                <a:rect l="0" t="0" r="r" b="b"/>
                <a:pathLst>
                  <a:path w="173" h="38">
                    <a:moveTo>
                      <a:pt x="35" y="38"/>
                    </a:moveTo>
                    <a:lnTo>
                      <a:pt x="173" y="38"/>
                    </a:lnTo>
                    <a:lnTo>
                      <a:pt x="173" y="0"/>
                    </a:lnTo>
                    <a:lnTo>
                      <a:pt x="0" y="0"/>
                    </a:lnTo>
                    <a:lnTo>
                      <a:pt x="35" y="38"/>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43"/>
              <p:cNvSpPr>
                <a:spLocks/>
              </p:cNvSpPr>
              <p:nvPr/>
            </p:nvSpPr>
            <p:spPr bwMode="auto">
              <a:xfrm>
                <a:off x="2535" y="3620"/>
                <a:ext cx="173" cy="38"/>
              </a:xfrm>
              <a:custGeom>
                <a:avLst/>
                <a:gdLst>
                  <a:gd name="T0" fmla="*/ 138 w 173"/>
                  <a:gd name="T1" fmla="*/ 38 h 38"/>
                  <a:gd name="T2" fmla="*/ 0 w 173"/>
                  <a:gd name="T3" fmla="*/ 38 h 38"/>
                  <a:gd name="T4" fmla="*/ 0 w 173"/>
                  <a:gd name="T5" fmla="*/ 0 h 38"/>
                  <a:gd name="T6" fmla="*/ 173 w 173"/>
                  <a:gd name="T7" fmla="*/ 0 h 38"/>
                  <a:gd name="T8" fmla="*/ 138 w 173"/>
                  <a:gd name="T9" fmla="*/ 38 h 38"/>
                </a:gdLst>
                <a:ahLst/>
                <a:cxnLst>
                  <a:cxn ang="0">
                    <a:pos x="T0" y="T1"/>
                  </a:cxn>
                  <a:cxn ang="0">
                    <a:pos x="T2" y="T3"/>
                  </a:cxn>
                  <a:cxn ang="0">
                    <a:pos x="T4" y="T5"/>
                  </a:cxn>
                  <a:cxn ang="0">
                    <a:pos x="T6" y="T7"/>
                  </a:cxn>
                  <a:cxn ang="0">
                    <a:pos x="T8" y="T9"/>
                  </a:cxn>
                </a:cxnLst>
                <a:rect l="0" t="0" r="r" b="b"/>
                <a:pathLst>
                  <a:path w="173" h="38">
                    <a:moveTo>
                      <a:pt x="138" y="38"/>
                    </a:moveTo>
                    <a:lnTo>
                      <a:pt x="0" y="38"/>
                    </a:lnTo>
                    <a:lnTo>
                      <a:pt x="0" y="0"/>
                    </a:lnTo>
                    <a:lnTo>
                      <a:pt x="173" y="0"/>
                    </a:lnTo>
                    <a:lnTo>
                      <a:pt x="138" y="38"/>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44"/>
              <p:cNvSpPr>
                <a:spLocks/>
              </p:cNvSpPr>
              <p:nvPr/>
            </p:nvSpPr>
            <p:spPr bwMode="auto">
              <a:xfrm>
                <a:off x="1048" y="3620"/>
                <a:ext cx="173" cy="38"/>
              </a:xfrm>
              <a:custGeom>
                <a:avLst/>
                <a:gdLst>
                  <a:gd name="T0" fmla="*/ 35 w 173"/>
                  <a:gd name="T1" fmla="*/ 38 h 38"/>
                  <a:gd name="T2" fmla="*/ 173 w 173"/>
                  <a:gd name="T3" fmla="*/ 38 h 38"/>
                  <a:gd name="T4" fmla="*/ 173 w 173"/>
                  <a:gd name="T5" fmla="*/ 0 h 38"/>
                  <a:gd name="T6" fmla="*/ 0 w 173"/>
                  <a:gd name="T7" fmla="*/ 0 h 38"/>
                  <a:gd name="T8" fmla="*/ 35 w 173"/>
                  <a:gd name="T9" fmla="*/ 38 h 38"/>
                </a:gdLst>
                <a:ahLst/>
                <a:cxnLst>
                  <a:cxn ang="0">
                    <a:pos x="T0" y="T1"/>
                  </a:cxn>
                  <a:cxn ang="0">
                    <a:pos x="T2" y="T3"/>
                  </a:cxn>
                  <a:cxn ang="0">
                    <a:pos x="T4" y="T5"/>
                  </a:cxn>
                  <a:cxn ang="0">
                    <a:pos x="T6" y="T7"/>
                  </a:cxn>
                  <a:cxn ang="0">
                    <a:pos x="T8" y="T9"/>
                  </a:cxn>
                </a:cxnLst>
                <a:rect l="0" t="0" r="r" b="b"/>
                <a:pathLst>
                  <a:path w="173" h="38">
                    <a:moveTo>
                      <a:pt x="35" y="38"/>
                    </a:moveTo>
                    <a:lnTo>
                      <a:pt x="173" y="38"/>
                    </a:lnTo>
                    <a:lnTo>
                      <a:pt x="173" y="0"/>
                    </a:lnTo>
                    <a:lnTo>
                      <a:pt x="0" y="0"/>
                    </a:lnTo>
                    <a:lnTo>
                      <a:pt x="35" y="38"/>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45"/>
              <p:cNvSpPr>
                <a:spLocks/>
              </p:cNvSpPr>
              <p:nvPr/>
            </p:nvSpPr>
            <p:spPr bwMode="auto">
              <a:xfrm>
                <a:off x="2535" y="3620"/>
                <a:ext cx="173" cy="38"/>
              </a:xfrm>
              <a:custGeom>
                <a:avLst/>
                <a:gdLst>
                  <a:gd name="T0" fmla="*/ 138 w 173"/>
                  <a:gd name="T1" fmla="*/ 38 h 38"/>
                  <a:gd name="T2" fmla="*/ 0 w 173"/>
                  <a:gd name="T3" fmla="*/ 38 h 38"/>
                  <a:gd name="T4" fmla="*/ 0 w 173"/>
                  <a:gd name="T5" fmla="*/ 0 h 38"/>
                  <a:gd name="T6" fmla="*/ 173 w 173"/>
                  <a:gd name="T7" fmla="*/ 0 h 38"/>
                  <a:gd name="T8" fmla="*/ 138 w 173"/>
                  <a:gd name="T9" fmla="*/ 38 h 38"/>
                </a:gdLst>
                <a:ahLst/>
                <a:cxnLst>
                  <a:cxn ang="0">
                    <a:pos x="T0" y="T1"/>
                  </a:cxn>
                  <a:cxn ang="0">
                    <a:pos x="T2" y="T3"/>
                  </a:cxn>
                  <a:cxn ang="0">
                    <a:pos x="T4" y="T5"/>
                  </a:cxn>
                  <a:cxn ang="0">
                    <a:pos x="T6" y="T7"/>
                  </a:cxn>
                  <a:cxn ang="0">
                    <a:pos x="T8" y="T9"/>
                  </a:cxn>
                </a:cxnLst>
                <a:rect l="0" t="0" r="r" b="b"/>
                <a:pathLst>
                  <a:path w="173" h="38">
                    <a:moveTo>
                      <a:pt x="138" y="38"/>
                    </a:moveTo>
                    <a:lnTo>
                      <a:pt x="0" y="38"/>
                    </a:lnTo>
                    <a:lnTo>
                      <a:pt x="0" y="0"/>
                    </a:lnTo>
                    <a:lnTo>
                      <a:pt x="173" y="0"/>
                    </a:lnTo>
                    <a:lnTo>
                      <a:pt x="138" y="38"/>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46"/>
              <p:cNvSpPr>
                <a:spLocks/>
              </p:cNvSpPr>
              <p:nvPr/>
            </p:nvSpPr>
            <p:spPr bwMode="auto">
              <a:xfrm>
                <a:off x="1880" y="2965"/>
                <a:ext cx="0" cy="313"/>
              </a:xfrm>
              <a:custGeom>
                <a:avLst/>
                <a:gdLst>
                  <a:gd name="T0" fmla="*/ 313 h 313"/>
                  <a:gd name="T1" fmla="*/ 0 h 313"/>
                  <a:gd name="T2" fmla="*/ 313 h 313"/>
                </a:gdLst>
                <a:ahLst/>
                <a:cxnLst>
                  <a:cxn ang="0">
                    <a:pos x="0" y="T0"/>
                  </a:cxn>
                  <a:cxn ang="0">
                    <a:pos x="0" y="T1"/>
                  </a:cxn>
                  <a:cxn ang="0">
                    <a:pos x="0" y="T2"/>
                  </a:cxn>
                </a:cxnLst>
                <a:rect l="0" t="0" r="r" b="b"/>
                <a:pathLst>
                  <a:path h="313">
                    <a:moveTo>
                      <a:pt x="0" y="313"/>
                    </a:moveTo>
                    <a:lnTo>
                      <a:pt x="0" y="0"/>
                    </a:lnTo>
                    <a:lnTo>
                      <a:pt x="0" y="3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Line 47"/>
              <p:cNvSpPr>
                <a:spLocks noChangeShapeType="1"/>
              </p:cNvSpPr>
              <p:nvPr/>
            </p:nvSpPr>
            <p:spPr bwMode="auto">
              <a:xfrm flipV="1">
                <a:off x="1880" y="2965"/>
                <a:ext cx="0" cy="313"/>
              </a:xfrm>
              <a:prstGeom prst="line">
                <a:avLst/>
              </a:prstGeom>
              <a:noFill/>
              <a:ln w="30163" cap="rnd">
                <a:solidFill>
                  <a:srgbClr val="00A2E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Freeform 48"/>
              <p:cNvSpPr>
                <a:spLocks/>
              </p:cNvSpPr>
              <p:nvPr/>
            </p:nvSpPr>
            <p:spPr bwMode="auto">
              <a:xfrm>
                <a:off x="1847" y="2998"/>
                <a:ext cx="59" cy="0"/>
              </a:xfrm>
              <a:custGeom>
                <a:avLst/>
                <a:gdLst>
                  <a:gd name="T0" fmla="*/ 0 w 59"/>
                  <a:gd name="T1" fmla="*/ 59 w 59"/>
                  <a:gd name="T2" fmla="*/ 0 w 59"/>
                </a:gdLst>
                <a:ahLst/>
                <a:cxnLst>
                  <a:cxn ang="0">
                    <a:pos x="T0" y="0"/>
                  </a:cxn>
                  <a:cxn ang="0">
                    <a:pos x="T1" y="0"/>
                  </a:cxn>
                  <a:cxn ang="0">
                    <a:pos x="T2" y="0"/>
                  </a:cxn>
                </a:cxnLst>
                <a:rect l="0" t="0" r="r" b="b"/>
                <a:pathLst>
                  <a:path w="59">
                    <a:moveTo>
                      <a:pt x="0" y="0"/>
                    </a:moveTo>
                    <a:lnTo>
                      <a:pt x="5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Line 49"/>
              <p:cNvSpPr>
                <a:spLocks noChangeShapeType="1"/>
              </p:cNvSpPr>
              <p:nvPr/>
            </p:nvSpPr>
            <p:spPr bwMode="auto">
              <a:xfrm>
                <a:off x="1847" y="2998"/>
                <a:ext cx="59" cy="0"/>
              </a:xfrm>
              <a:prstGeom prst="line">
                <a:avLst/>
              </a:prstGeom>
              <a:noFill/>
              <a:ln w="30163" cap="rnd">
                <a:solidFill>
                  <a:srgbClr val="00A2E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Rectangle 50"/>
              <p:cNvSpPr>
                <a:spLocks noChangeArrowheads="1"/>
              </p:cNvSpPr>
              <p:nvPr/>
            </p:nvSpPr>
            <p:spPr bwMode="auto">
              <a:xfrm>
                <a:off x="1012" y="3876"/>
                <a:ext cx="28"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Rectangle 51"/>
              <p:cNvSpPr>
                <a:spLocks noChangeArrowheads="1"/>
              </p:cNvSpPr>
              <p:nvPr/>
            </p:nvSpPr>
            <p:spPr bwMode="auto">
              <a:xfrm>
                <a:off x="1147" y="3876"/>
                <a:ext cx="29"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Rectangle 52"/>
              <p:cNvSpPr>
                <a:spLocks noChangeArrowheads="1"/>
              </p:cNvSpPr>
              <p:nvPr/>
            </p:nvSpPr>
            <p:spPr bwMode="auto">
              <a:xfrm>
                <a:off x="1040" y="3876"/>
                <a:ext cx="107"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Rectangle 53"/>
              <p:cNvSpPr>
                <a:spLocks noChangeArrowheads="1"/>
              </p:cNvSpPr>
              <p:nvPr/>
            </p:nvSpPr>
            <p:spPr bwMode="auto">
              <a:xfrm>
                <a:off x="2604" y="3876"/>
                <a:ext cx="26"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Rectangle 54"/>
              <p:cNvSpPr>
                <a:spLocks noChangeArrowheads="1"/>
              </p:cNvSpPr>
              <p:nvPr/>
            </p:nvSpPr>
            <p:spPr bwMode="auto">
              <a:xfrm>
                <a:off x="2630" y="3876"/>
                <a:ext cx="109"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55"/>
              <p:cNvSpPr>
                <a:spLocks/>
              </p:cNvSpPr>
              <p:nvPr/>
            </p:nvSpPr>
            <p:spPr bwMode="auto">
              <a:xfrm>
                <a:off x="1050" y="3769"/>
                <a:ext cx="33" cy="107"/>
              </a:xfrm>
              <a:custGeom>
                <a:avLst/>
                <a:gdLst>
                  <a:gd name="T0" fmla="*/ 0 w 33"/>
                  <a:gd name="T1" fmla="*/ 0 h 107"/>
                  <a:gd name="T2" fmla="*/ 12 w 33"/>
                  <a:gd name="T3" fmla="*/ 107 h 107"/>
                  <a:gd name="T4" fmla="*/ 33 w 33"/>
                  <a:gd name="T5" fmla="*/ 107 h 107"/>
                  <a:gd name="T6" fmla="*/ 19 w 33"/>
                  <a:gd name="T7" fmla="*/ 0 h 107"/>
                  <a:gd name="T8" fmla="*/ 0 w 33"/>
                  <a:gd name="T9" fmla="*/ 0 h 107"/>
                </a:gdLst>
                <a:ahLst/>
                <a:cxnLst>
                  <a:cxn ang="0">
                    <a:pos x="T0" y="T1"/>
                  </a:cxn>
                  <a:cxn ang="0">
                    <a:pos x="T2" y="T3"/>
                  </a:cxn>
                  <a:cxn ang="0">
                    <a:pos x="T4" y="T5"/>
                  </a:cxn>
                  <a:cxn ang="0">
                    <a:pos x="T6" y="T7"/>
                  </a:cxn>
                  <a:cxn ang="0">
                    <a:pos x="T8" y="T9"/>
                  </a:cxn>
                </a:cxnLst>
                <a:rect l="0" t="0" r="r" b="b"/>
                <a:pathLst>
                  <a:path w="33" h="107">
                    <a:moveTo>
                      <a:pt x="0" y="0"/>
                    </a:moveTo>
                    <a:lnTo>
                      <a:pt x="12" y="107"/>
                    </a:lnTo>
                    <a:lnTo>
                      <a:pt x="33" y="107"/>
                    </a:lnTo>
                    <a:lnTo>
                      <a:pt x="19" y="0"/>
                    </a:lnTo>
                    <a:lnTo>
                      <a:pt x="0"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56"/>
              <p:cNvSpPr>
                <a:spLocks/>
              </p:cNvSpPr>
              <p:nvPr/>
            </p:nvSpPr>
            <p:spPr bwMode="auto">
              <a:xfrm>
                <a:off x="1069" y="3769"/>
                <a:ext cx="38" cy="107"/>
              </a:xfrm>
              <a:custGeom>
                <a:avLst/>
                <a:gdLst>
                  <a:gd name="T0" fmla="*/ 0 w 38"/>
                  <a:gd name="T1" fmla="*/ 0 h 107"/>
                  <a:gd name="T2" fmla="*/ 14 w 38"/>
                  <a:gd name="T3" fmla="*/ 107 h 107"/>
                  <a:gd name="T4" fmla="*/ 24 w 38"/>
                  <a:gd name="T5" fmla="*/ 107 h 107"/>
                  <a:gd name="T6" fmla="*/ 38 w 38"/>
                  <a:gd name="T7" fmla="*/ 0 h 107"/>
                  <a:gd name="T8" fmla="*/ 0 w 38"/>
                  <a:gd name="T9" fmla="*/ 0 h 107"/>
                </a:gdLst>
                <a:ahLst/>
                <a:cxnLst>
                  <a:cxn ang="0">
                    <a:pos x="T0" y="T1"/>
                  </a:cxn>
                  <a:cxn ang="0">
                    <a:pos x="T2" y="T3"/>
                  </a:cxn>
                  <a:cxn ang="0">
                    <a:pos x="T4" y="T5"/>
                  </a:cxn>
                  <a:cxn ang="0">
                    <a:pos x="T6" y="T7"/>
                  </a:cxn>
                  <a:cxn ang="0">
                    <a:pos x="T8" y="T9"/>
                  </a:cxn>
                </a:cxnLst>
                <a:rect l="0" t="0" r="r" b="b"/>
                <a:pathLst>
                  <a:path w="38" h="107">
                    <a:moveTo>
                      <a:pt x="0" y="0"/>
                    </a:moveTo>
                    <a:lnTo>
                      <a:pt x="14" y="107"/>
                    </a:lnTo>
                    <a:lnTo>
                      <a:pt x="24" y="107"/>
                    </a:lnTo>
                    <a:lnTo>
                      <a:pt x="38" y="0"/>
                    </a:lnTo>
                    <a:lnTo>
                      <a:pt x="0"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57"/>
              <p:cNvSpPr>
                <a:spLocks/>
              </p:cNvSpPr>
              <p:nvPr/>
            </p:nvSpPr>
            <p:spPr bwMode="auto">
              <a:xfrm>
                <a:off x="1050" y="3769"/>
                <a:ext cx="57" cy="107"/>
              </a:xfrm>
              <a:custGeom>
                <a:avLst/>
                <a:gdLst>
                  <a:gd name="T0" fmla="*/ 43 w 57"/>
                  <a:gd name="T1" fmla="*/ 107 h 107"/>
                  <a:gd name="T2" fmla="*/ 12 w 57"/>
                  <a:gd name="T3" fmla="*/ 107 h 107"/>
                  <a:gd name="T4" fmla="*/ 0 w 57"/>
                  <a:gd name="T5" fmla="*/ 0 h 107"/>
                  <a:gd name="T6" fmla="*/ 57 w 57"/>
                  <a:gd name="T7" fmla="*/ 0 h 107"/>
                  <a:gd name="T8" fmla="*/ 43 w 57"/>
                  <a:gd name="T9" fmla="*/ 107 h 107"/>
                </a:gdLst>
                <a:ahLst/>
                <a:cxnLst>
                  <a:cxn ang="0">
                    <a:pos x="T0" y="T1"/>
                  </a:cxn>
                  <a:cxn ang="0">
                    <a:pos x="T2" y="T3"/>
                  </a:cxn>
                  <a:cxn ang="0">
                    <a:pos x="T4" y="T5"/>
                  </a:cxn>
                  <a:cxn ang="0">
                    <a:pos x="T6" y="T7"/>
                  </a:cxn>
                  <a:cxn ang="0">
                    <a:pos x="T8" y="T9"/>
                  </a:cxn>
                </a:cxnLst>
                <a:rect l="0" t="0" r="r" b="b"/>
                <a:pathLst>
                  <a:path w="57" h="107">
                    <a:moveTo>
                      <a:pt x="43" y="107"/>
                    </a:moveTo>
                    <a:lnTo>
                      <a:pt x="12" y="107"/>
                    </a:lnTo>
                    <a:lnTo>
                      <a:pt x="0" y="0"/>
                    </a:lnTo>
                    <a:lnTo>
                      <a:pt x="57" y="0"/>
                    </a:lnTo>
                    <a:lnTo>
                      <a:pt x="43" y="107"/>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58"/>
              <p:cNvSpPr>
                <a:spLocks/>
              </p:cNvSpPr>
              <p:nvPr/>
            </p:nvSpPr>
            <p:spPr bwMode="auto">
              <a:xfrm>
                <a:off x="2644" y="3769"/>
                <a:ext cx="31" cy="107"/>
              </a:xfrm>
              <a:custGeom>
                <a:avLst/>
                <a:gdLst>
                  <a:gd name="T0" fmla="*/ 0 w 31"/>
                  <a:gd name="T1" fmla="*/ 0 h 107"/>
                  <a:gd name="T2" fmla="*/ 12 w 31"/>
                  <a:gd name="T3" fmla="*/ 107 h 107"/>
                  <a:gd name="T4" fmla="*/ 31 w 31"/>
                  <a:gd name="T5" fmla="*/ 107 h 107"/>
                  <a:gd name="T6" fmla="*/ 19 w 31"/>
                  <a:gd name="T7" fmla="*/ 0 h 107"/>
                  <a:gd name="T8" fmla="*/ 0 w 31"/>
                  <a:gd name="T9" fmla="*/ 0 h 107"/>
                </a:gdLst>
                <a:ahLst/>
                <a:cxnLst>
                  <a:cxn ang="0">
                    <a:pos x="T0" y="T1"/>
                  </a:cxn>
                  <a:cxn ang="0">
                    <a:pos x="T2" y="T3"/>
                  </a:cxn>
                  <a:cxn ang="0">
                    <a:pos x="T4" y="T5"/>
                  </a:cxn>
                  <a:cxn ang="0">
                    <a:pos x="T6" y="T7"/>
                  </a:cxn>
                  <a:cxn ang="0">
                    <a:pos x="T8" y="T9"/>
                  </a:cxn>
                </a:cxnLst>
                <a:rect l="0" t="0" r="r" b="b"/>
                <a:pathLst>
                  <a:path w="31" h="107">
                    <a:moveTo>
                      <a:pt x="0" y="0"/>
                    </a:moveTo>
                    <a:lnTo>
                      <a:pt x="12" y="107"/>
                    </a:lnTo>
                    <a:lnTo>
                      <a:pt x="31" y="107"/>
                    </a:lnTo>
                    <a:lnTo>
                      <a:pt x="19" y="0"/>
                    </a:lnTo>
                    <a:lnTo>
                      <a:pt x="0"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59"/>
              <p:cNvSpPr>
                <a:spLocks/>
              </p:cNvSpPr>
              <p:nvPr/>
            </p:nvSpPr>
            <p:spPr bwMode="auto">
              <a:xfrm>
                <a:off x="2663" y="3769"/>
                <a:ext cx="36" cy="107"/>
              </a:xfrm>
              <a:custGeom>
                <a:avLst/>
                <a:gdLst>
                  <a:gd name="T0" fmla="*/ 0 w 36"/>
                  <a:gd name="T1" fmla="*/ 0 h 107"/>
                  <a:gd name="T2" fmla="*/ 12 w 36"/>
                  <a:gd name="T3" fmla="*/ 107 h 107"/>
                  <a:gd name="T4" fmla="*/ 22 w 36"/>
                  <a:gd name="T5" fmla="*/ 107 h 107"/>
                  <a:gd name="T6" fmla="*/ 36 w 36"/>
                  <a:gd name="T7" fmla="*/ 0 h 107"/>
                  <a:gd name="T8" fmla="*/ 0 w 36"/>
                  <a:gd name="T9" fmla="*/ 0 h 107"/>
                </a:gdLst>
                <a:ahLst/>
                <a:cxnLst>
                  <a:cxn ang="0">
                    <a:pos x="T0" y="T1"/>
                  </a:cxn>
                  <a:cxn ang="0">
                    <a:pos x="T2" y="T3"/>
                  </a:cxn>
                  <a:cxn ang="0">
                    <a:pos x="T4" y="T5"/>
                  </a:cxn>
                  <a:cxn ang="0">
                    <a:pos x="T6" y="T7"/>
                  </a:cxn>
                  <a:cxn ang="0">
                    <a:pos x="T8" y="T9"/>
                  </a:cxn>
                </a:cxnLst>
                <a:rect l="0" t="0" r="r" b="b"/>
                <a:pathLst>
                  <a:path w="36" h="107">
                    <a:moveTo>
                      <a:pt x="0" y="0"/>
                    </a:moveTo>
                    <a:lnTo>
                      <a:pt x="12" y="107"/>
                    </a:lnTo>
                    <a:lnTo>
                      <a:pt x="22" y="107"/>
                    </a:lnTo>
                    <a:lnTo>
                      <a:pt x="36" y="0"/>
                    </a:lnTo>
                    <a:lnTo>
                      <a:pt x="0"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60"/>
              <p:cNvSpPr>
                <a:spLocks/>
              </p:cNvSpPr>
              <p:nvPr/>
            </p:nvSpPr>
            <p:spPr bwMode="auto">
              <a:xfrm>
                <a:off x="2644" y="3769"/>
                <a:ext cx="55" cy="107"/>
              </a:xfrm>
              <a:custGeom>
                <a:avLst/>
                <a:gdLst>
                  <a:gd name="T0" fmla="*/ 41 w 55"/>
                  <a:gd name="T1" fmla="*/ 107 h 107"/>
                  <a:gd name="T2" fmla="*/ 12 w 55"/>
                  <a:gd name="T3" fmla="*/ 107 h 107"/>
                  <a:gd name="T4" fmla="*/ 0 w 55"/>
                  <a:gd name="T5" fmla="*/ 0 h 107"/>
                  <a:gd name="T6" fmla="*/ 55 w 55"/>
                  <a:gd name="T7" fmla="*/ 0 h 107"/>
                  <a:gd name="T8" fmla="*/ 41 w 55"/>
                  <a:gd name="T9" fmla="*/ 107 h 107"/>
                </a:gdLst>
                <a:ahLst/>
                <a:cxnLst>
                  <a:cxn ang="0">
                    <a:pos x="T0" y="T1"/>
                  </a:cxn>
                  <a:cxn ang="0">
                    <a:pos x="T2" y="T3"/>
                  </a:cxn>
                  <a:cxn ang="0">
                    <a:pos x="T4" y="T5"/>
                  </a:cxn>
                  <a:cxn ang="0">
                    <a:pos x="T6" y="T7"/>
                  </a:cxn>
                  <a:cxn ang="0">
                    <a:pos x="T8" y="T9"/>
                  </a:cxn>
                </a:cxnLst>
                <a:rect l="0" t="0" r="r" b="b"/>
                <a:pathLst>
                  <a:path w="55" h="107">
                    <a:moveTo>
                      <a:pt x="41" y="107"/>
                    </a:moveTo>
                    <a:lnTo>
                      <a:pt x="12" y="107"/>
                    </a:lnTo>
                    <a:lnTo>
                      <a:pt x="0" y="0"/>
                    </a:lnTo>
                    <a:lnTo>
                      <a:pt x="55" y="0"/>
                    </a:lnTo>
                    <a:lnTo>
                      <a:pt x="41" y="107"/>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61"/>
              <p:cNvSpPr>
                <a:spLocks/>
              </p:cNvSpPr>
              <p:nvPr/>
            </p:nvSpPr>
            <p:spPr bwMode="auto">
              <a:xfrm>
                <a:off x="1169" y="3278"/>
                <a:ext cx="1423" cy="294"/>
              </a:xfrm>
              <a:custGeom>
                <a:avLst/>
                <a:gdLst>
                  <a:gd name="T0" fmla="*/ 213 w 1423"/>
                  <a:gd name="T1" fmla="*/ 206 h 294"/>
                  <a:gd name="T2" fmla="*/ 711 w 1423"/>
                  <a:gd name="T3" fmla="*/ 0 h 294"/>
                  <a:gd name="T4" fmla="*/ 1423 w 1423"/>
                  <a:gd name="T5" fmla="*/ 294 h 294"/>
                  <a:gd name="T6" fmla="*/ 0 w 1423"/>
                  <a:gd name="T7" fmla="*/ 294 h 294"/>
                  <a:gd name="T8" fmla="*/ 175 w 1423"/>
                  <a:gd name="T9" fmla="*/ 223 h 294"/>
                  <a:gd name="T10" fmla="*/ 213 w 1423"/>
                  <a:gd name="T11" fmla="*/ 206 h 294"/>
                </a:gdLst>
                <a:ahLst/>
                <a:cxnLst>
                  <a:cxn ang="0">
                    <a:pos x="T0" y="T1"/>
                  </a:cxn>
                  <a:cxn ang="0">
                    <a:pos x="T2" y="T3"/>
                  </a:cxn>
                  <a:cxn ang="0">
                    <a:pos x="T4" y="T5"/>
                  </a:cxn>
                  <a:cxn ang="0">
                    <a:pos x="T6" y="T7"/>
                  </a:cxn>
                  <a:cxn ang="0">
                    <a:pos x="T8" y="T9"/>
                  </a:cxn>
                  <a:cxn ang="0">
                    <a:pos x="T10" y="T11"/>
                  </a:cxn>
                </a:cxnLst>
                <a:rect l="0" t="0" r="r" b="b"/>
                <a:pathLst>
                  <a:path w="1423" h="294">
                    <a:moveTo>
                      <a:pt x="213" y="206"/>
                    </a:moveTo>
                    <a:lnTo>
                      <a:pt x="711" y="0"/>
                    </a:lnTo>
                    <a:lnTo>
                      <a:pt x="1423" y="294"/>
                    </a:lnTo>
                    <a:lnTo>
                      <a:pt x="0" y="294"/>
                    </a:lnTo>
                    <a:lnTo>
                      <a:pt x="175" y="223"/>
                    </a:lnTo>
                    <a:lnTo>
                      <a:pt x="213" y="206"/>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Rectangle 62"/>
              <p:cNvSpPr>
                <a:spLocks noChangeArrowheads="1"/>
              </p:cNvSpPr>
              <p:nvPr/>
            </p:nvSpPr>
            <p:spPr bwMode="auto">
              <a:xfrm>
                <a:off x="1012" y="3876"/>
                <a:ext cx="135"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Rectangle 63"/>
              <p:cNvSpPr>
                <a:spLocks noChangeArrowheads="1"/>
              </p:cNvSpPr>
              <p:nvPr/>
            </p:nvSpPr>
            <p:spPr bwMode="auto">
              <a:xfrm>
                <a:off x="2604" y="3876"/>
                <a:ext cx="135"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64"/>
              <p:cNvSpPr>
                <a:spLocks noEditPoints="1"/>
              </p:cNvSpPr>
              <p:nvPr/>
            </p:nvSpPr>
            <p:spPr bwMode="auto">
              <a:xfrm>
                <a:off x="5643" y="2504"/>
                <a:ext cx="1915" cy="1904"/>
              </a:xfrm>
              <a:custGeom>
                <a:avLst/>
                <a:gdLst>
                  <a:gd name="T0" fmla="*/ 643 w 807"/>
                  <a:gd name="T1" fmla="*/ 306 h 802"/>
                  <a:gd name="T2" fmla="*/ 673 w 807"/>
                  <a:gd name="T3" fmla="*/ 306 h 802"/>
                  <a:gd name="T4" fmla="*/ 728 w 807"/>
                  <a:gd name="T5" fmla="*/ 306 h 802"/>
                  <a:gd name="T6" fmla="*/ 735 w 807"/>
                  <a:gd name="T7" fmla="*/ 256 h 802"/>
                  <a:gd name="T8" fmla="*/ 675 w 807"/>
                  <a:gd name="T9" fmla="*/ 256 h 802"/>
                  <a:gd name="T10" fmla="*/ 641 w 807"/>
                  <a:gd name="T11" fmla="*/ 256 h 802"/>
                  <a:gd name="T12" fmla="*/ 625 w 807"/>
                  <a:gd name="T13" fmla="*/ 256 h 802"/>
                  <a:gd name="T14" fmla="*/ 622 w 807"/>
                  <a:gd name="T15" fmla="*/ 162 h 802"/>
                  <a:gd name="T16" fmla="*/ 729 w 807"/>
                  <a:gd name="T17" fmla="*/ 162 h 802"/>
                  <a:gd name="T18" fmla="*/ 735 w 807"/>
                  <a:gd name="T19" fmla="*/ 100 h 802"/>
                  <a:gd name="T20" fmla="*/ 774 w 807"/>
                  <a:gd name="T21" fmla="*/ 100 h 802"/>
                  <a:gd name="T22" fmla="*/ 807 w 807"/>
                  <a:gd name="T23" fmla="*/ 0 h 802"/>
                  <a:gd name="T24" fmla="*/ 727 w 807"/>
                  <a:gd name="T25" fmla="*/ 29 h 802"/>
                  <a:gd name="T26" fmla="*/ 404 w 807"/>
                  <a:gd name="T27" fmla="*/ 66 h 802"/>
                  <a:gd name="T28" fmla="*/ 80 w 807"/>
                  <a:gd name="T29" fmla="*/ 29 h 802"/>
                  <a:gd name="T30" fmla="*/ 0 w 807"/>
                  <a:gd name="T31" fmla="*/ 0 h 802"/>
                  <a:gd name="T32" fmla="*/ 33 w 807"/>
                  <a:gd name="T33" fmla="*/ 100 h 802"/>
                  <a:gd name="T34" fmla="*/ 72 w 807"/>
                  <a:gd name="T35" fmla="*/ 100 h 802"/>
                  <a:gd name="T36" fmla="*/ 78 w 807"/>
                  <a:gd name="T37" fmla="*/ 162 h 802"/>
                  <a:gd name="T38" fmla="*/ 185 w 807"/>
                  <a:gd name="T39" fmla="*/ 162 h 802"/>
                  <a:gd name="T40" fmla="*/ 182 w 807"/>
                  <a:gd name="T41" fmla="*/ 256 h 802"/>
                  <a:gd name="T42" fmla="*/ 166 w 807"/>
                  <a:gd name="T43" fmla="*/ 256 h 802"/>
                  <a:gd name="T44" fmla="*/ 119 w 807"/>
                  <a:gd name="T45" fmla="*/ 256 h 802"/>
                  <a:gd name="T46" fmla="*/ 72 w 807"/>
                  <a:gd name="T47" fmla="*/ 256 h 802"/>
                  <a:gd name="T48" fmla="*/ 79 w 807"/>
                  <a:gd name="T49" fmla="*/ 306 h 802"/>
                  <a:gd name="T50" fmla="*/ 121 w 807"/>
                  <a:gd name="T51" fmla="*/ 306 h 802"/>
                  <a:gd name="T52" fmla="*/ 164 w 807"/>
                  <a:gd name="T53" fmla="*/ 306 h 802"/>
                  <a:gd name="T54" fmla="*/ 180 w 807"/>
                  <a:gd name="T55" fmla="*/ 306 h 802"/>
                  <a:gd name="T56" fmla="*/ 160 w 807"/>
                  <a:gd name="T57" fmla="*/ 802 h 802"/>
                  <a:gd name="T58" fmla="*/ 253 w 807"/>
                  <a:gd name="T59" fmla="*/ 802 h 802"/>
                  <a:gd name="T60" fmla="*/ 241 w 807"/>
                  <a:gd name="T61" fmla="*/ 306 h 802"/>
                  <a:gd name="T62" fmla="*/ 566 w 807"/>
                  <a:gd name="T63" fmla="*/ 306 h 802"/>
                  <a:gd name="T64" fmla="*/ 554 w 807"/>
                  <a:gd name="T65" fmla="*/ 802 h 802"/>
                  <a:gd name="T66" fmla="*/ 647 w 807"/>
                  <a:gd name="T67" fmla="*/ 802 h 802"/>
                  <a:gd name="T68" fmla="*/ 627 w 807"/>
                  <a:gd name="T69" fmla="*/ 306 h 802"/>
                  <a:gd name="T70" fmla="*/ 643 w 807"/>
                  <a:gd name="T71" fmla="*/ 306 h 802"/>
                  <a:gd name="T72" fmla="*/ 240 w 807"/>
                  <a:gd name="T73" fmla="*/ 256 h 802"/>
                  <a:gd name="T74" fmla="*/ 238 w 807"/>
                  <a:gd name="T75" fmla="*/ 162 h 802"/>
                  <a:gd name="T76" fmla="*/ 357 w 807"/>
                  <a:gd name="T77" fmla="*/ 162 h 802"/>
                  <a:gd name="T78" fmla="*/ 357 w 807"/>
                  <a:gd name="T79" fmla="*/ 256 h 802"/>
                  <a:gd name="T80" fmla="*/ 240 w 807"/>
                  <a:gd name="T81" fmla="*/ 256 h 802"/>
                  <a:gd name="T82" fmla="*/ 450 w 807"/>
                  <a:gd name="T83" fmla="*/ 256 h 802"/>
                  <a:gd name="T84" fmla="*/ 450 w 807"/>
                  <a:gd name="T85" fmla="*/ 162 h 802"/>
                  <a:gd name="T86" fmla="*/ 569 w 807"/>
                  <a:gd name="T87" fmla="*/ 162 h 802"/>
                  <a:gd name="T88" fmla="*/ 567 w 807"/>
                  <a:gd name="T89" fmla="*/ 256 h 802"/>
                  <a:gd name="T90" fmla="*/ 450 w 807"/>
                  <a:gd name="T91" fmla="*/ 256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7" h="802">
                    <a:moveTo>
                      <a:pt x="643" y="306"/>
                    </a:moveTo>
                    <a:cubicBezTo>
                      <a:pt x="673" y="306"/>
                      <a:pt x="673" y="306"/>
                      <a:pt x="673" y="306"/>
                    </a:cubicBezTo>
                    <a:cubicBezTo>
                      <a:pt x="728" y="306"/>
                      <a:pt x="728" y="306"/>
                      <a:pt x="728" y="306"/>
                    </a:cubicBezTo>
                    <a:cubicBezTo>
                      <a:pt x="735" y="256"/>
                      <a:pt x="735" y="256"/>
                      <a:pt x="735" y="256"/>
                    </a:cubicBezTo>
                    <a:cubicBezTo>
                      <a:pt x="675" y="256"/>
                      <a:pt x="675" y="256"/>
                      <a:pt x="675" y="256"/>
                    </a:cubicBezTo>
                    <a:cubicBezTo>
                      <a:pt x="641" y="256"/>
                      <a:pt x="641" y="256"/>
                      <a:pt x="641" y="256"/>
                    </a:cubicBezTo>
                    <a:cubicBezTo>
                      <a:pt x="625" y="256"/>
                      <a:pt x="625" y="256"/>
                      <a:pt x="625" y="256"/>
                    </a:cubicBezTo>
                    <a:cubicBezTo>
                      <a:pt x="622" y="162"/>
                      <a:pt x="622" y="162"/>
                      <a:pt x="622" y="162"/>
                    </a:cubicBezTo>
                    <a:cubicBezTo>
                      <a:pt x="729" y="162"/>
                      <a:pt x="729" y="162"/>
                      <a:pt x="729" y="162"/>
                    </a:cubicBezTo>
                    <a:cubicBezTo>
                      <a:pt x="735" y="100"/>
                      <a:pt x="735" y="100"/>
                      <a:pt x="735" y="100"/>
                    </a:cubicBezTo>
                    <a:cubicBezTo>
                      <a:pt x="774" y="100"/>
                      <a:pt x="774" y="100"/>
                      <a:pt x="774" y="100"/>
                    </a:cubicBezTo>
                    <a:cubicBezTo>
                      <a:pt x="807" y="0"/>
                      <a:pt x="807" y="0"/>
                      <a:pt x="807" y="0"/>
                    </a:cubicBezTo>
                    <a:cubicBezTo>
                      <a:pt x="792" y="7"/>
                      <a:pt x="766" y="18"/>
                      <a:pt x="727" y="29"/>
                    </a:cubicBezTo>
                    <a:cubicBezTo>
                      <a:pt x="666" y="46"/>
                      <a:pt x="560" y="66"/>
                      <a:pt x="404" y="66"/>
                    </a:cubicBezTo>
                    <a:cubicBezTo>
                      <a:pt x="247" y="66"/>
                      <a:pt x="141" y="46"/>
                      <a:pt x="80" y="29"/>
                    </a:cubicBezTo>
                    <a:cubicBezTo>
                      <a:pt x="41" y="18"/>
                      <a:pt x="15" y="7"/>
                      <a:pt x="0" y="0"/>
                    </a:cubicBezTo>
                    <a:cubicBezTo>
                      <a:pt x="33" y="100"/>
                      <a:pt x="33" y="100"/>
                      <a:pt x="33" y="100"/>
                    </a:cubicBezTo>
                    <a:cubicBezTo>
                      <a:pt x="72" y="100"/>
                      <a:pt x="72" y="100"/>
                      <a:pt x="72" y="100"/>
                    </a:cubicBezTo>
                    <a:cubicBezTo>
                      <a:pt x="78" y="162"/>
                      <a:pt x="78" y="162"/>
                      <a:pt x="78" y="162"/>
                    </a:cubicBezTo>
                    <a:cubicBezTo>
                      <a:pt x="185" y="162"/>
                      <a:pt x="185" y="162"/>
                      <a:pt x="185" y="162"/>
                    </a:cubicBezTo>
                    <a:cubicBezTo>
                      <a:pt x="182" y="256"/>
                      <a:pt x="182" y="256"/>
                      <a:pt x="182" y="256"/>
                    </a:cubicBezTo>
                    <a:cubicBezTo>
                      <a:pt x="166" y="256"/>
                      <a:pt x="166" y="256"/>
                      <a:pt x="166" y="256"/>
                    </a:cubicBezTo>
                    <a:cubicBezTo>
                      <a:pt x="119" y="256"/>
                      <a:pt x="119" y="256"/>
                      <a:pt x="119" y="256"/>
                    </a:cubicBezTo>
                    <a:cubicBezTo>
                      <a:pt x="72" y="256"/>
                      <a:pt x="72" y="256"/>
                      <a:pt x="72" y="256"/>
                    </a:cubicBezTo>
                    <a:cubicBezTo>
                      <a:pt x="79" y="306"/>
                      <a:pt x="79" y="306"/>
                      <a:pt x="79" y="306"/>
                    </a:cubicBezTo>
                    <a:cubicBezTo>
                      <a:pt x="121" y="306"/>
                      <a:pt x="121" y="306"/>
                      <a:pt x="121" y="306"/>
                    </a:cubicBezTo>
                    <a:cubicBezTo>
                      <a:pt x="164" y="306"/>
                      <a:pt x="164" y="306"/>
                      <a:pt x="164" y="306"/>
                    </a:cubicBezTo>
                    <a:cubicBezTo>
                      <a:pt x="180" y="306"/>
                      <a:pt x="180" y="306"/>
                      <a:pt x="180" y="306"/>
                    </a:cubicBezTo>
                    <a:cubicBezTo>
                      <a:pt x="160" y="802"/>
                      <a:pt x="160" y="802"/>
                      <a:pt x="160" y="802"/>
                    </a:cubicBezTo>
                    <a:cubicBezTo>
                      <a:pt x="253" y="802"/>
                      <a:pt x="253" y="802"/>
                      <a:pt x="253" y="802"/>
                    </a:cubicBezTo>
                    <a:cubicBezTo>
                      <a:pt x="241" y="306"/>
                      <a:pt x="241" y="306"/>
                      <a:pt x="241" y="306"/>
                    </a:cubicBezTo>
                    <a:cubicBezTo>
                      <a:pt x="566" y="306"/>
                      <a:pt x="566" y="306"/>
                      <a:pt x="566" y="306"/>
                    </a:cubicBezTo>
                    <a:cubicBezTo>
                      <a:pt x="554" y="802"/>
                      <a:pt x="554" y="802"/>
                      <a:pt x="554" y="802"/>
                    </a:cubicBezTo>
                    <a:cubicBezTo>
                      <a:pt x="647" y="802"/>
                      <a:pt x="647" y="802"/>
                      <a:pt x="647" y="802"/>
                    </a:cubicBezTo>
                    <a:cubicBezTo>
                      <a:pt x="627" y="306"/>
                      <a:pt x="627" y="306"/>
                      <a:pt x="627" y="306"/>
                    </a:cubicBezTo>
                    <a:lnTo>
                      <a:pt x="643" y="306"/>
                    </a:lnTo>
                    <a:close/>
                    <a:moveTo>
                      <a:pt x="240" y="256"/>
                    </a:moveTo>
                    <a:cubicBezTo>
                      <a:pt x="238" y="162"/>
                      <a:pt x="238" y="162"/>
                      <a:pt x="238" y="162"/>
                    </a:cubicBezTo>
                    <a:cubicBezTo>
                      <a:pt x="357" y="162"/>
                      <a:pt x="357" y="162"/>
                      <a:pt x="357" y="162"/>
                    </a:cubicBezTo>
                    <a:cubicBezTo>
                      <a:pt x="357" y="256"/>
                      <a:pt x="357" y="256"/>
                      <a:pt x="357" y="256"/>
                    </a:cubicBezTo>
                    <a:lnTo>
                      <a:pt x="240" y="256"/>
                    </a:lnTo>
                    <a:close/>
                    <a:moveTo>
                      <a:pt x="450" y="256"/>
                    </a:moveTo>
                    <a:cubicBezTo>
                      <a:pt x="450" y="162"/>
                      <a:pt x="450" y="162"/>
                      <a:pt x="450" y="162"/>
                    </a:cubicBezTo>
                    <a:cubicBezTo>
                      <a:pt x="569" y="162"/>
                      <a:pt x="569" y="162"/>
                      <a:pt x="569" y="162"/>
                    </a:cubicBezTo>
                    <a:cubicBezTo>
                      <a:pt x="567" y="256"/>
                      <a:pt x="567" y="256"/>
                      <a:pt x="567" y="256"/>
                    </a:cubicBezTo>
                    <a:lnTo>
                      <a:pt x="450" y="256"/>
                    </a:lnTo>
                    <a:close/>
                  </a:path>
                </a:pathLst>
              </a:custGeom>
              <a:solidFill>
                <a:srgbClr val="FFFFFF"/>
              </a:solidFill>
              <a:ln w="46038"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65"/>
              <p:cNvSpPr>
                <a:spLocks noEditPoints="1"/>
              </p:cNvSpPr>
              <p:nvPr/>
            </p:nvSpPr>
            <p:spPr bwMode="auto">
              <a:xfrm>
                <a:off x="2770" y="1749"/>
                <a:ext cx="441" cy="2635"/>
              </a:xfrm>
              <a:custGeom>
                <a:avLst/>
                <a:gdLst>
                  <a:gd name="T0" fmla="*/ 439 w 441"/>
                  <a:gd name="T1" fmla="*/ 3 h 2635"/>
                  <a:gd name="T2" fmla="*/ 439 w 441"/>
                  <a:gd name="T3" fmla="*/ 0 h 2635"/>
                  <a:gd name="T4" fmla="*/ 0 w 441"/>
                  <a:gd name="T5" fmla="*/ 0 h 2635"/>
                  <a:gd name="T6" fmla="*/ 0 w 441"/>
                  <a:gd name="T7" fmla="*/ 216 h 2635"/>
                  <a:gd name="T8" fmla="*/ 2 w 441"/>
                  <a:gd name="T9" fmla="*/ 890 h 2635"/>
                  <a:gd name="T10" fmla="*/ 2 w 441"/>
                  <a:gd name="T11" fmla="*/ 2635 h 2635"/>
                  <a:gd name="T12" fmla="*/ 439 w 441"/>
                  <a:gd name="T13" fmla="*/ 2633 h 2635"/>
                  <a:gd name="T14" fmla="*/ 439 w 441"/>
                  <a:gd name="T15" fmla="*/ 2633 h 2635"/>
                  <a:gd name="T16" fmla="*/ 439 w 441"/>
                  <a:gd name="T17" fmla="*/ 2113 h 2635"/>
                  <a:gd name="T18" fmla="*/ 441 w 441"/>
                  <a:gd name="T19" fmla="*/ 1477 h 2635"/>
                  <a:gd name="T20" fmla="*/ 441 w 441"/>
                  <a:gd name="T21" fmla="*/ 743 h 2635"/>
                  <a:gd name="T22" fmla="*/ 439 w 441"/>
                  <a:gd name="T23" fmla="*/ 3 h 2635"/>
                  <a:gd name="T24" fmla="*/ 384 w 441"/>
                  <a:gd name="T25" fmla="*/ 83 h 2635"/>
                  <a:gd name="T26" fmla="*/ 346 w 441"/>
                  <a:gd name="T27" fmla="*/ 304 h 2635"/>
                  <a:gd name="T28" fmla="*/ 93 w 441"/>
                  <a:gd name="T29" fmla="*/ 304 h 2635"/>
                  <a:gd name="T30" fmla="*/ 52 w 441"/>
                  <a:gd name="T31" fmla="*/ 81 h 2635"/>
                  <a:gd name="T32" fmla="*/ 384 w 441"/>
                  <a:gd name="T33" fmla="*/ 81 h 2635"/>
                  <a:gd name="T34" fmla="*/ 384 w 441"/>
                  <a:gd name="T35" fmla="*/ 83 h 2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1" h="2635">
                    <a:moveTo>
                      <a:pt x="439" y="3"/>
                    </a:moveTo>
                    <a:lnTo>
                      <a:pt x="439" y="0"/>
                    </a:lnTo>
                    <a:lnTo>
                      <a:pt x="0" y="0"/>
                    </a:lnTo>
                    <a:lnTo>
                      <a:pt x="0" y="216"/>
                    </a:lnTo>
                    <a:lnTo>
                      <a:pt x="2" y="890"/>
                    </a:lnTo>
                    <a:lnTo>
                      <a:pt x="2" y="2635"/>
                    </a:lnTo>
                    <a:lnTo>
                      <a:pt x="439" y="2633"/>
                    </a:lnTo>
                    <a:lnTo>
                      <a:pt x="439" y="2633"/>
                    </a:lnTo>
                    <a:lnTo>
                      <a:pt x="439" y="2113"/>
                    </a:lnTo>
                    <a:lnTo>
                      <a:pt x="441" y="1477"/>
                    </a:lnTo>
                    <a:lnTo>
                      <a:pt x="441" y="743"/>
                    </a:lnTo>
                    <a:lnTo>
                      <a:pt x="439" y="3"/>
                    </a:lnTo>
                    <a:close/>
                    <a:moveTo>
                      <a:pt x="384" y="83"/>
                    </a:moveTo>
                    <a:lnTo>
                      <a:pt x="346" y="304"/>
                    </a:lnTo>
                    <a:lnTo>
                      <a:pt x="93" y="304"/>
                    </a:lnTo>
                    <a:lnTo>
                      <a:pt x="52" y="81"/>
                    </a:lnTo>
                    <a:lnTo>
                      <a:pt x="384" y="81"/>
                    </a:lnTo>
                    <a:lnTo>
                      <a:pt x="384" y="83"/>
                    </a:lnTo>
                    <a:close/>
                  </a:path>
                </a:pathLst>
              </a:custGeom>
              <a:solidFill>
                <a:srgbClr val="FFFFFF"/>
              </a:solidFill>
              <a:ln w="46038"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66"/>
              <p:cNvSpPr>
                <a:spLocks/>
              </p:cNvSpPr>
              <p:nvPr/>
            </p:nvSpPr>
            <p:spPr bwMode="auto">
              <a:xfrm>
                <a:off x="3216" y="441"/>
                <a:ext cx="693" cy="404"/>
              </a:xfrm>
              <a:custGeom>
                <a:avLst/>
                <a:gdLst>
                  <a:gd name="T0" fmla="*/ 244 w 292"/>
                  <a:gd name="T1" fmla="*/ 66 h 170"/>
                  <a:gd name="T2" fmla="*/ 161 w 292"/>
                  <a:gd name="T3" fmla="*/ 0 h 170"/>
                  <a:gd name="T4" fmla="*/ 80 w 292"/>
                  <a:gd name="T5" fmla="*/ 59 h 170"/>
                  <a:gd name="T6" fmla="*/ 57 w 292"/>
                  <a:gd name="T7" fmla="*/ 54 h 170"/>
                  <a:gd name="T8" fmla="*/ 0 w 292"/>
                  <a:gd name="T9" fmla="*/ 112 h 170"/>
                  <a:gd name="T10" fmla="*/ 17 w 292"/>
                  <a:gd name="T11" fmla="*/ 153 h 170"/>
                  <a:gd name="T12" fmla="*/ 57 w 292"/>
                  <a:gd name="T13" fmla="*/ 170 h 170"/>
                  <a:gd name="T14" fmla="*/ 90 w 292"/>
                  <a:gd name="T15" fmla="*/ 170 h 170"/>
                  <a:gd name="T16" fmla="*/ 90 w 292"/>
                  <a:gd name="T17" fmla="*/ 170 h 170"/>
                  <a:gd name="T18" fmla="*/ 240 w 292"/>
                  <a:gd name="T19" fmla="*/ 170 h 170"/>
                  <a:gd name="T20" fmla="*/ 292 w 292"/>
                  <a:gd name="T21" fmla="*/ 118 h 170"/>
                  <a:gd name="T22" fmla="*/ 244 w 292"/>
                  <a:gd name="T23" fmla="*/ 6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2" h="170">
                    <a:moveTo>
                      <a:pt x="244" y="66"/>
                    </a:moveTo>
                    <a:cubicBezTo>
                      <a:pt x="235" y="28"/>
                      <a:pt x="201" y="0"/>
                      <a:pt x="161" y="0"/>
                    </a:cubicBezTo>
                    <a:cubicBezTo>
                      <a:pt x="123" y="0"/>
                      <a:pt x="91" y="25"/>
                      <a:pt x="80" y="59"/>
                    </a:cubicBezTo>
                    <a:cubicBezTo>
                      <a:pt x="73" y="56"/>
                      <a:pt x="66" y="54"/>
                      <a:pt x="57" y="54"/>
                    </a:cubicBezTo>
                    <a:cubicBezTo>
                      <a:pt x="25" y="54"/>
                      <a:pt x="0" y="80"/>
                      <a:pt x="0" y="112"/>
                    </a:cubicBezTo>
                    <a:cubicBezTo>
                      <a:pt x="0" y="128"/>
                      <a:pt x="6" y="143"/>
                      <a:pt x="17" y="153"/>
                    </a:cubicBezTo>
                    <a:cubicBezTo>
                      <a:pt x="27" y="164"/>
                      <a:pt x="41" y="170"/>
                      <a:pt x="57" y="170"/>
                    </a:cubicBezTo>
                    <a:cubicBezTo>
                      <a:pt x="62" y="170"/>
                      <a:pt x="74" y="170"/>
                      <a:pt x="90" y="170"/>
                    </a:cubicBezTo>
                    <a:cubicBezTo>
                      <a:pt x="90" y="170"/>
                      <a:pt x="90" y="170"/>
                      <a:pt x="90" y="170"/>
                    </a:cubicBezTo>
                    <a:cubicBezTo>
                      <a:pt x="240" y="170"/>
                      <a:pt x="240" y="170"/>
                      <a:pt x="240" y="170"/>
                    </a:cubicBezTo>
                    <a:cubicBezTo>
                      <a:pt x="269" y="170"/>
                      <a:pt x="292" y="147"/>
                      <a:pt x="292" y="118"/>
                    </a:cubicBezTo>
                    <a:cubicBezTo>
                      <a:pt x="292" y="90"/>
                      <a:pt x="271" y="68"/>
                      <a:pt x="244" y="66"/>
                    </a:cubicBezTo>
                    <a:close/>
                  </a:path>
                </a:pathLst>
              </a:custGeom>
              <a:noFill/>
              <a:ln w="46038" cap="flat">
                <a:solidFill>
                  <a:srgbClr val="E4E5E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 name="Freeform 67"/>
              <p:cNvSpPr>
                <a:spLocks/>
              </p:cNvSpPr>
              <p:nvPr/>
            </p:nvSpPr>
            <p:spPr bwMode="auto">
              <a:xfrm>
                <a:off x="1128" y="123"/>
                <a:ext cx="489" cy="283"/>
              </a:xfrm>
              <a:custGeom>
                <a:avLst/>
                <a:gdLst>
                  <a:gd name="T0" fmla="*/ 172 w 206"/>
                  <a:gd name="T1" fmla="*/ 46 h 119"/>
                  <a:gd name="T2" fmla="*/ 114 w 206"/>
                  <a:gd name="T3" fmla="*/ 0 h 119"/>
                  <a:gd name="T4" fmla="*/ 56 w 206"/>
                  <a:gd name="T5" fmla="*/ 41 h 119"/>
                  <a:gd name="T6" fmla="*/ 40 w 206"/>
                  <a:gd name="T7" fmla="*/ 38 h 119"/>
                  <a:gd name="T8" fmla="*/ 0 w 206"/>
                  <a:gd name="T9" fmla="*/ 79 h 119"/>
                  <a:gd name="T10" fmla="*/ 11 w 206"/>
                  <a:gd name="T11" fmla="*/ 107 h 119"/>
                  <a:gd name="T12" fmla="*/ 40 w 206"/>
                  <a:gd name="T13" fmla="*/ 119 h 119"/>
                  <a:gd name="T14" fmla="*/ 64 w 206"/>
                  <a:gd name="T15" fmla="*/ 119 h 119"/>
                  <a:gd name="T16" fmla="*/ 63 w 206"/>
                  <a:gd name="T17" fmla="*/ 119 h 119"/>
                  <a:gd name="T18" fmla="*/ 169 w 206"/>
                  <a:gd name="T19" fmla="*/ 119 h 119"/>
                  <a:gd name="T20" fmla="*/ 206 w 206"/>
                  <a:gd name="T21" fmla="*/ 82 h 119"/>
                  <a:gd name="T22" fmla="*/ 172 w 206"/>
                  <a:gd name="T23" fmla="*/ 4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119">
                    <a:moveTo>
                      <a:pt x="172" y="46"/>
                    </a:moveTo>
                    <a:cubicBezTo>
                      <a:pt x="166" y="19"/>
                      <a:pt x="142" y="0"/>
                      <a:pt x="114" y="0"/>
                    </a:cubicBezTo>
                    <a:cubicBezTo>
                      <a:pt x="87" y="0"/>
                      <a:pt x="64" y="17"/>
                      <a:pt x="56" y="41"/>
                    </a:cubicBezTo>
                    <a:cubicBezTo>
                      <a:pt x="52" y="39"/>
                      <a:pt x="46" y="38"/>
                      <a:pt x="40" y="38"/>
                    </a:cubicBezTo>
                    <a:cubicBezTo>
                      <a:pt x="18" y="38"/>
                      <a:pt x="0" y="56"/>
                      <a:pt x="0" y="79"/>
                    </a:cubicBezTo>
                    <a:cubicBezTo>
                      <a:pt x="0" y="90"/>
                      <a:pt x="4" y="100"/>
                      <a:pt x="11" y="107"/>
                    </a:cubicBezTo>
                    <a:cubicBezTo>
                      <a:pt x="19" y="115"/>
                      <a:pt x="29" y="119"/>
                      <a:pt x="40" y="119"/>
                    </a:cubicBezTo>
                    <a:cubicBezTo>
                      <a:pt x="43" y="119"/>
                      <a:pt x="52" y="119"/>
                      <a:pt x="64" y="119"/>
                    </a:cubicBezTo>
                    <a:cubicBezTo>
                      <a:pt x="63" y="119"/>
                      <a:pt x="63" y="119"/>
                      <a:pt x="63" y="119"/>
                    </a:cubicBezTo>
                    <a:cubicBezTo>
                      <a:pt x="169" y="119"/>
                      <a:pt x="169" y="119"/>
                      <a:pt x="169" y="119"/>
                    </a:cubicBezTo>
                    <a:cubicBezTo>
                      <a:pt x="189" y="119"/>
                      <a:pt x="206" y="103"/>
                      <a:pt x="206" y="82"/>
                    </a:cubicBezTo>
                    <a:cubicBezTo>
                      <a:pt x="206" y="63"/>
                      <a:pt x="191" y="47"/>
                      <a:pt x="172" y="46"/>
                    </a:cubicBezTo>
                    <a:close/>
                  </a:path>
                </a:pathLst>
              </a:custGeom>
              <a:solidFill>
                <a:srgbClr val="FFFFFF"/>
              </a:solidFill>
              <a:ln w="46038" cap="flat">
                <a:solidFill>
                  <a:srgbClr val="E4E5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68"/>
              <p:cNvSpPr>
                <a:spLocks/>
              </p:cNvSpPr>
              <p:nvPr/>
            </p:nvSpPr>
            <p:spPr bwMode="auto">
              <a:xfrm>
                <a:off x="4685" y="-43"/>
                <a:ext cx="607" cy="4453"/>
              </a:xfrm>
              <a:custGeom>
                <a:avLst/>
                <a:gdLst>
                  <a:gd name="T0" fmla="*/ 55 w 256"/>
                  <a:gd name="T1" fmla="*/ 991 h 1876"/>
                  <a:gd name="T2" fmla="*/ 65 w 256"/>
                  <a:gd name="T3" fmla="*/ 1182 h 1876"/>
                  <a:gd name="T4" fmla="*/ 83 w 256"/>
                  <a:gd name="T5" fmla="*/ 1291 h 1876"/>
                  <a:gd name="T6" fmla="*/ 83 w 256"/>
                  <a:gd name="T7" fmla="*/ 1876 h 1876"/>
                  <a:gd name="T8" fmla="*/ 173 w 256"/>
                  <a:gd name="T9" fmla="*/ 1876 h 1876"/>
                  <a:gd name="T10" fmla="*/ 173 w 256"/>
                  <a:gd name="T11" fmla="*/ 1291 h 1876"/>
                  <a:gd name="T12" fmla="*/ 190 w 256"/>
                  <a:gd name="T13" fmla="*/ 1182 h 1876"/>
                  <a:gd name="T14" fmla="*/ 200 w 256"/>
                  <a:gd name="T15" fmla="*/ 991 h 1876"/>
                  <a:gd name="T16" fmla="*/ 237 w 256"/>
                  <a:gd name="T17" fmla="*/ 907 h 1876"/>
                  <a:gd name="T18" fmla="*/ 256 w 256"/>
                  <a:gd name="T19" fmla="*/ 907 h 1876"/>
                  <a:gd name="T20" fmla="*/ 240 w 256"/>
                  <a:gd name="T21" fmla="*/ 862 h 1876"/>
                  <a:gd name="T22" fmla="*/ 205 w 256"/>
                  <a:gd name="T23" fmla="*/ 862 h 1876"/>
                  <a:gd name="T24" fmla="*/ 203 w 256"/>
                  <a:gd name="T25" fmla="*/ 862 h 1876"/>
                  <a:gd name="T26" fmla="*/ 194 w 256"/>
                  <a:gd name="T27" fmla="*/ 827 h 1876"/>
                  <a:gd name="T28" fmla="*/ 184 w 256"/>
                  <a:gd name="T29" fmla="*/ 827 h 1876"/>
                  <a:gd name="T30" fmla="*/ 168 w 256"/>
                  <a:gd name="T31" fmla="*/ 742 h 1876"/>
                  <a:gd name="T32" fmla="*/ 187 w 256"/>
                  <a:gd name="T33" fmla="*/ 742 h 1876"/>
                  <a:gd name="T34" fmla="*/ 187 w 256"/>
                  <a:gd name="T35" fmla="*/ 718 h 1876"/>
                  <a:gd name="T36" fmla="*/ 206 w 256"/>
                  <a:gd name="T37" fmla="*/ 701 h 1876"/>
                  <a:gd name="T38" fmla="*/ 162 w 256"/>
                  <a:gd name="T39" fmla="*/ 678 h 1876"/>
                  <a:gd name="T40" fmla="*/ 151 w 256"/>
                  <a:gd name="T41" fmla="*/ 642 h 1876"/>
                  <a:gd name="T42" fmla="*/ 180 w 256"/>
                  <a:gd name="T43" fmla="*/ 629 h 1876"/>
                  <a:gd name="T44" fmla="*/ 150 w 256"/>
                  <a:gd name="T45" fmla="*/ 616 h 1876"/>
                  <a:gd name="T46" fmla="*/ 150 w 256"/>
                  <a:gd name="T47" fmla="*/ 530 h 1876"/>
                  <a:gd name="T48" fmla="*/ 131 w 256"/>
                  <a:gd name="T49" fmla="*/ 530 h 1876"/>
                  <a:gd name="T50" fmla="*/ 131 w 256"/>
                  <a:gd name="T51" fmla="*/ 379 h 1876"/>
                  <a:gd name="T52" fmla="*/ 146 w 256"/>
                  <a:gd name="T53" fmla="*/ 379 h 1876"/>
                  <a:gd name="T54" fmla="*/ 146 w 256"/>
                  <a:gd name="T55" fmla="*/ 373 h 1876"/>
                  <a:gd name="T56" fmla="*/ 131 w 256"/>
                  <a:gd name="T57" fmla="*/ 373 h 1876"/>
                  <a:gd name="T58" fmla="*/ 131 w 256"/>
                  <a:gd name="T59" fmla="*/ 257 h 1876"/>
                  <a:gd name="T60" fmla="*/ 143 w 256"/>
                  <a:gd name="T61" fmla="*/ 257 h 1876"/>
                  <a:gd name="T62" fmla="*/ 143 w 256"/>
                  <a:gd name="T63" fmla="*/ 251 h 1876"/>
                  <a:gd name="T64" fmla="*/ 131 w 256"/>
                  <a:gd name="T65" fmla="*/ 251 h 1876"/>
                  <a:gd name="T66" fmla="*/ 131 w 256"/>
                  <a:gd name="T67" fmla="*/ 0 h 1876"/>
                  <a:gd name="T68" fmla="*/ 125 w 256"/>
                  <a:gd name="T69" fmla="*/ 0 h 1876"/>
                  <a:gd name="T70" fmla="*/ 125 w 256"/>
                  <a:gd name="T71" fmla="*/ 251 h 1876"/>
                  <a:gd name="T72" fmla="*/ 113 w 256"/>
                  <a:gd name="T73" fmla="*/ 251 h 1876"/>
                  <a:gd name="T74" fmla="*/ 113 w 256"/>
                  <a:gd name="T75" fmla="*/ 257 h 1876"/>
                  <a:gd name="T76" fmla="*/ 125 w 256"/>
                  <a:gd name="T77" fmla="*/ 257 h 1876"/>
                  <a:gd name="T78" fmla="*/ 125 w 256"/>
                  <a:gd name="T79" fmla="*/ 373 h 1876"/>
                  <a:gd name="T80" fmla="*/ 110 w 256"/>
                  <a:gd name="T81" fmla="*/ 373 h 1876"/>
                  <a:gd name="T82" fmla="*/ 110 w 256"/>
                  <a:gd name="T83" fmla="*/ 379 h 1876"/>
                  <a:gd name="T84" fmla="*/ 125 w 256"/>
                  <a:gd name="T85" fmla="*/ 379 h 1876"/>
                  <a:gd name="T86" fmla="*/ 125 w 256"/>
                  <a:gd name="T87" fmla="*/ 530 h 1876"/>
                  <a:gd name="T88" fmla="*/ 106 w 256"/>
                  <a:gd name="T89" fmla="*/ 530 h 1876"/>
                  <a:gd name="T90" fmla="*/ 106 w 256"/>
                  <a:gd name="T91" fmla="*/ 616 h 1876"/>
                  <a:gd name="T92" fmla="*/ 76 w 256"/>
                  <a:gd name="T93" fmla="*/ 629 h 1876"/>
                  <a:gd name="T94" fmla="*/ 105 w 256"/>
                  <a:gd name="T95" fmla="*/ 642 h 1876"/>
                  <a:gd name="T96" fmla="*/ 94 w 256"/>
                  <a:gd name="T97" fmla="*/ 678 h 1876"/>
                  <a:gd name="T98" fmla="*/ 50 w 256"/>
                  <a:gd name="T99" fmla="*/ 701 h 1876"/>
                  <a:gd name="T100" fmla="*/ 69 w 256"/>
                  <a:gd name="T101" fmla="*/ 718 h 1876"/>
                  <a:gd name="T102" fmla="*/ 69 w 256"/>
                  <a:gd name="T103" fmla="*/ 742 h 1876"/>
                  <a:gd name="T104" fmla="*/ 88 w 256"/>
                  <a:gd name="T105" fmla="*/ 742 h 1876"/>
                  <a:gd name="T106" fmla="*/ 72 w 256"/>
                  <a:gd name="T107" fmla="*/ 827 h 1876"/>
                  <a:gd name="T108" fmla="*/ 62 w 256"/>
                  <a:gd name="T109" fmla="*/ 827 h 1876"/>
                  <a:gd name="T110" fmla="*/ 52 w 256"/>
                  <a:gd name="T111" fmla="*/ 862 h 1876"/>
                  <a:gd name="T112" fmla="*/ 16 w 256"/>
                  <a:gd name="T113" fmla="*/ 862 h 1876"/>
                  <a:gd name="T114" fmla="*/ 0 w 256"/>
                  <a:gd name="T115" fmla="*/ 907 h 1876"/>
                  <a:gd name="T116" fmla="*/ 19 w 256"/>
                  <a:gd name="T117" fmla="*/ 907 h 1876"/>
                  <a:gd name="T118" fmla="*/ 55 w 256"/>
                  <a:gd name="T119" fmla="*/ 991 h 1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6" h="1876">
                    <a:moveTo>
                      <a:pt x="55" y="991"/>
                    </a:moveTo>
                    <a:cubicBezTo>
                      <a:pt x="65" y="1182"/>
                      <a:pt x="65" y="1182"/>
                      <a:pt x="65" y="1182"/>
                    </a:cubicBezTo>
                    <a:cubicBezTo>
                      <a:pt x="83" y="1291"/>
                      <a:pt x="83" y="1291"/>
                      <a:pt x="83" y="1291"/>
                    </a:cubicBezTo>
                    <a:cubicBezTo>
                      <a:pt x="83" y="1876"/>
                      <a:pt x="83" y="1876"/>
                      <a:pt x="83" y="1876"/>
                    </a:cubicBezTo>
                    <a:cubicBezTo>
                      <a:pt x="173" y="1876"/>
                      <a:pt x="173" y="1876"/>
                      <a:pt x="173" y="1876"/>
                    </a:cubicBezTo>
                    <a:cubicBezTo>
                      <a:pt x="173" y="1291"/>
                      <a:pt x="173" y="1291"/>
                      <a:pt x="173" y="1291"/>
                    </a:cubicBezTo>
                    <a:cubicBezTo>
                      <a:pt x="190" y="1182"/>
                      <a:pt x="190" y="1182"/>
                      <a:pt x="190" y="1182"/>
                    </a:cubicBezTo>
                    <a:cubicBezTo>
                      <a:pt x="200" y="991"/>
                      <a:pt x="200" y="991"/>
                      <a:pt x="200" y="991"/>
                    </a:cubicBezTo>
                    <a:cubicBezTo>
                      <a:pt x="237" y="907"/>
                      <a:pt x="237" y="907"/>
                      <a:pt x="237" y="907"/>
                    </a:cubicBezTo>
                    <a:cubicBezTo>
                      <a:pt x="256" y="907"/>
                      <a:pt x="256" y="907"/>
                      <a:pt x="256" y="907"/>
                    </a:cubicBezTo>
                    <a:cubicBezTo>
                      <a:pt x="240" y="862"/>
                      <a:pt x="240" y="862"/>
                      <a:pt x="240" y="862"/>
                    </a:cubicBezTo>
                    <a:cubicBezTo>
                      <a:pt x="205" y="862"/>
                      <a:pt x="205" y="862"/>
                      <a:pt x="205" y="862"/>
                    </a:cubicBezTo>
                    <a:cubicBezTo>
                      <a:pt x="203" y="862"/>
                      <a:pt x="203" y="862"/>
                      <a:pt x="203" y="862"/>
                    </a:cubicBezTo>
                    <a:cubicBezTo>
                      <a:pt x="194" y="827"/>
                      <a:pt x="194" y="827"/>
                      <a:pt x="194" y="827"/>
                    </a:cubicBezTo>
                    <a:cubicBezTo>
                      <a:pt x="184" y="827"/>
                      <a:pt x="184" y="827"/>
                      <a:pt x="184" y="827"/>
                    </a:cubicBezTo>
                    <a:cubicBezTo>
                      <a:pt x="168" y="742"/>
                      <a:pt x="168" y="742"/>
                      <a:pt x="168" y="742"/>
                    </a:cubicBezTo>
                    <a:cubicBezTo>
                      <a:pt x="187" y="742"/>
                      <a:pt x="187" y="742"/>
                      <a:pt x="187" y="742"/>
                    </a:cubicBezTo>
                    <a:cubicBezTo>
                      <a:pt x="187" y="718"/>
                      <a:pt x="187" y="718"/>
                      <a:pt x="187" y="718"/>
                    </a:cubicBezTo>
                    <a:cubicBezTo>
                      <a:pt x="199" y="714"/>
                      <a:pt x="206" y="708"/>
                      <a:pt x="206" y="701"/>
                    </a:cubicBezTo>
                    <a:cubicBezTo>
                      <a:pt x="206" y="690"/>
                      <a:pt x="189" y="682"/>
                      <a:pt x="162" y="678"/>
                    </a:cubicBezTo>
                    <a:cubicBezTo>
                      <a:pt x="151" y="642"/>
                      <a:pt x="151" y="642"/>
                      <a:pt x="151" y="642"/>
                    </a:cubicBezTo>
                    <a:cubicBezTo>
                      <a:pt x="180" y="629"/>
                      <a:pt x="180" y="629"/>
                      <a:pt x="180" y="629"/>
                    </a:cubicBezTo>
                    <a:cubicBezTo>
                      <a:pt x="150" y="616"/>
                      <a:pt x="150" y="616"/>
                      <a:pt x="150" y="616"/>
                    </a:cubicBezTo>
                    <a:cubicBezTo>
                      <a:pt x="150" y="530"/>
                      <a:pt x="150" y="530"/>
                      <a:pt x="150" y="530"/>
                    </a:cubicBezTo>
                    <a:cubicBezTo>
                      <a:pt x="131" y="530"/>
                      <a:pt x="131" y="530"/>
                      <a:pt x="131" y="530"/>
                    </a:cubicBezTo>
                    <a:cubicBezTo>
                      <a:pt x="131" y="379"/>
                      <a:pt x="131" y="379"/>
                      <a:pt x="131" y="379"/>
                    </a:cubicBezTo>
                    <a:cubicBezTo>
                      <a:pt x="146" y="379"/>
                      <a:pt x="146" y="379"/>
                      <a:pt x="146" y="379"/>
                    </a:cubicBezTo>
                    <a:cubicBezTo>
                      <a:pt x="146" y="373"/>
                      <a:pt x="146" y="373"/>
                      <a:pt x="146" y="373"/>
                    </a:cubicBezTo>
                    <a:cubicBezTo>
                      <a:pt x="131" y="373"/>
                      <a:pt x="131" y="373"/>
                      <a:pt x="131" y="373"/>
                    </a:cubicBezTo>
                    <a:cubicBezTo>
                      <a:pt x="131" y="257"/>
                      <a:pt x="131" y="257"/>
                      <a:pt x="131" y="257"/>
                    </a:cubicBezTo>
                    <a:cubicBezTo>
                      <a:pt x="143" y="257"/>
                      <a:pt x="143" y="257"/>
                      <a:pt x="143" y="257"/>
                    </a:cubicBezTo>
                    <a:cubicBezTo>
                      <a:pt x="143" y="251"/>
                      <a:pt x="143" y="251"/>
                      <a:pt x="143" y="251"/>
                    </a:cubicBezTo>
                    <a:cubicBezTo>
                      <a:pt x="131" y="251"/>
                      <a:pt x="131" y="251"/>
                      <a:pt x="131" y="251"/>
                    </a:cubicBezTo>
                    <a:cubicBezTo>
                      <a:pt x="131" y="0"/>
                      <a:pt x="131" y="0"/>
                      <a:pt x="131" y="0"/>
                    </a:cubicBezTo>
                    <a:cubicBezTo>
                      <a:pt x="125" y="0"/>
                      <a:pt x="125" y="0"/>
                      <a:pt x="125" y="0"/>
                    </a:cubicBezTo>
                    <a:cubicBezTo>
                      <a:pt x="125" y="251"/>
                      <a:pt x="125" y="251"/>
                      <a:pt x="125" y="251"/>
                    </a:cubicBezTo>
                    <a:cubicBezTo>
                      <a:pt x="113" y="251"/>
                      <a:pt x="113" y="251"/>
                      <a:pt x="113" y="251"/>
                    </a:cubicBezTo>
                    <a:cubicBezTo>
                      <a:pt x="113" y="257"/>
                      <a:pt x="113" y="257"/>
                      <a:pt x="113" y="257"/>
                    </a:cubicBezTo>
                    <a:cubicBezTo>
                      <a:pt x="125" y="257"/>
                      <a:pt x="125" y="257"/>
                      <a:pt x="125" y="257"/>
                    </a:cubicBezTo>
                    <a:cubicBezTo>
                      <a:pt x="125" y="373"/>
                      <a:pt x="125" y="373"/>
                      <a:pt x="125" y="373"/>
                    </a:cubicBezTo>
                    <a:cubicBezTo>
                      <a:pt x="110" y="373"/>
                      <a:pt x="110" y="373"/>
                      <a:pt x="110" y="373"/>
                    </a:cubicBezTo>
                    <a:cubicBezTo>
                      <a:pt x="110" y="379"/>
                      <a:pt x="110" y="379"/>
                      <a:pt x="110" y="379"/>
                    </a:cubicBezTo>
                    <a:cubicBezTo>
                      <a:pt x="125" y="379"/>
                      <a:pt x="125" y="379"/>
                      <a:pt x="125" y="379"/>
                    </a:cubicBezTo>
                    <a:cubicBezTo>
                      <a:pt x="125" y="530"/>
                      <a:pt x="125" y="530"/>
                      <a:pt x="125" y="530"/>
                    </a:cubicBezTo>
                    <a:cubicBezTo>
                      <a:pt x="106" y="530"/>
                      <a:pt x="106" y="530"/>
                      <a:pt x="106" y="530"/>
                    </a:cubicBezTo>
                    <a:cubicBezTo>
                      <a:pt x="106" y="616"/>
                      <a:pt x="106" y="616"/>
                      <a:pt x="106" y="616"/>
                    </a:cubicBezTo>
                    <a:cubicBezTo>
                      <a:pt x="76" y="629"/>
                      <a:pt x="76" y="629"/>
                      <a:pt x="76" y="629"/>
                    </a:cubicBezTo>
                    <a:cubicBezTo>
                      <a:pt x="105" y="642"/>
                      <a:pt x="105" y="642"/>
                      <a:pt x="105" y="642"/>
                    </a:cubicBezTo>
                    <a:cubicBezTo>
                      <a:pt x="94" y="678"/>
                      <a:pt x="94" y="678"/>
                      <a:pt x="94" y="678"/>
                    </a:cubicBezTo>
                    <a:cubicBezTo>
                      <a:pt x="66" y="682"/>
                      <a:pt x="50" y="690"/>
                      <a:pt x="50" y="701"/>
                    </a:cubicBezTo>
                    <a:cubicBezTo>
                      <a:pt x="50" y="708"/>
                      <a:pt x="56" y="714"/>
                      <a:pt x="69" y="718"/>
                    </a:cubicBezTo>
                    <a:cubicBezTo>
                      <a:pt x="69" y="742"/>
                      <a:pt x="69" y="742"/>
                      <a:pt x="69" y="742"/>
                    </a:cubicBezTo>
                    <a:cubicBezTo>
                      <a:pt x="88" y="742"/>
                      <a:pt x="88" y="742"/>
                      <a:pt x="88" y="742"/>
                    </a:cubicBezTo>
                    <a:cubicBezTo>
                      <a:pt x="72" y="827"/>
                      <a:pt x="72" y="827"/>
                      <a:pt x="72" y="827"/>
                    </a:cubicBezTo>
                    <a:cubicBezTo>
                      <a:pt x="62" y="827"/>
                      <a:pt x="62" y="827"/>
                      <a:pt x="62" y="827"/>
                    </a:cubicBezTo>
                    <a:cubicBezTo>
                      <a:pt x="52" y="862"/>
                      <a:pt x="52" y="862"/>
                      <a:pt x="52" y="862"/>
                    </a:cubicBezTo>
                    <a:cubicBezTo>
                      <a:pt x="16" y="862"/>
                      <a:pt x="16" y="862"/>
                      <a:pt x="16" y="862"/>
                    </a:cubicBezTo>
                    <a:cubicBezTo>
                      <a:pt x="0" y="907"/>
                      <a:pt x="0" y="907"/>
                      <a:pt x="0" y="907"/>
                    </a:cubicBezTo>
                    <a:cubicBezTo>
                      <a:pt x="19" y="907"/>
                      <a:pt x="19" y="907"/>
                      <a:pt x="19" y="907"/>
                    </a:cubicBezTo>
                    <a:lnTo>
                      <a:pt x="55" y="991"/>
                    </a:lnTo>
                    <a:close/>
                  </a:path>
                </a:pathLst>
              </a:custGeom>
              <a:solidFill>
                <a:srgbClr val="FFFFFF"/>
              </a:solidFill>
              <a:ln w="46038"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70"/>
              <p:cNvSpPr>
                <a:spLocks/>
              </p:cNvSpPr>
              <p:nvPr/>
            </p:nvSpPr>
            <p:spPr bwMode="auto">
              <a:xfrm>
                <a:off x="6276" y="-342"/>
                <a:ext cx="885" cy="513"/>
              </a:xfrm>
              <a:custGeom>
                <a:avLst/>
                <a:gdLst>
                  <a:gd name="T0" fmla="*/ 311 w 373"/>
                  <a:gd name="T1" fmla="*/ 83 h 216"/>
                  <a:gd name="T2" fmla="*/ 206 w 373"/>
                  <a:gd name="T3" fmla="*/ 0 h 216"/>
                  <a:gd name="T4" fmla="*/ 103 w 373"/>
                  <a:gd name="T5" fmla="*/ 75 h 216"/>
                  <a:gd name="T6" fmla="*/ 74 w 373"/>
                  <a:gd name="T7" fmla="*/ 69 h 216"/>
                  <a:gd name="T8" fmla="*/ 0 w 373"/>
                  <a:gd name="T9" fmla="*/ 143 h 216"/>
                  <a:gd name="T10" fmla="*/ 22 w 373"/>
                  <a:gd name="T11" fmla="*/ 195 h 216"/>
                  <a:gd name="T12" fmla="*/ 74 w 373"/>
                  <a:gd name="T13" fmla="*/ 216 h 216"/>
                  <a:gd name="T14" fmla="*/ 116 w 373"/>
                  <a:gd name="T15" fmla="*/ 216 h 216"/>
                  <a:gd name="T16" fmla="*/ 115 w 373"/>
                  <a:gd name="T17" fmla="*/ 216 h 216"/>
                  <a:gd name="T18" fmla="*/ 306 w 373"/>
                  <a:gd name="T19" fmla="*/ 216 h 216"/>
                  <a:gd name="T20" fmla="*/ 373 w 373"/>
                  <a:gd name="T21" fmla="*/ 150 h 216"/>
                  <a:gd name="T22" fmla="*/ 311 w 373"/>
                  <a:gd name="T23" fmla="*/ 8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3" h="216">
                    <a:moveTo>
                      <a:pt x="311" y="83"/>
                    </a:moveTo>
                    <a:cubicBezTo>
                      <a:pt x="300" y="36"/>
                      <a:pt x="257" y="0"/>
                      <a:pt x="206" y="0"/>
                    </a:cubicBezTo>
                    <a:cubicBezTo>
                      <a:pt x="158" y="0"/>
                      <a:pt x="117" y="32"/>
                      <a:pt x="103" y="75"/>
                    </a:cubicBezTo>
                    <a:cubicBezTo>
                      <a:pt x="94" y="71"/>
                      <a:pt x="84" y="69"/>
                      <a:pt x="74" y="69"/>
                    </a:cubicBezTo>
                    <a:cubicBezTo>
                      <a:pt x="33" y="69"/>
                      <a:pt x="0" y="102"/>
                      <a:pt x="0" y="143"/>
                    </a:cubicBezTo>
                    <a:cubicBezTo>
                      <a:pt x="0" y="163"/>
                      <a:pt x="8" y="181"/>
                      <a:pt x="22" y="195"/>
                    </a:cubicBezTo>
                    <a:cubicBezTo>
                      <a:pt x="35" y="208"/>
                      <a:pt x="53" y="216"/>
                      <a:pt x="74" y="216"/>
                    </a:cubicBezTo>
                    <a:cubicBezTo>
                      <a:pt x="79" y="216"/>
                      <a:pt x="95" y="216"/>
                      <a:pt x="116" y="216"/>
                    </a:cubicBezTo>
                    <a:cubicBezTo>
                      <a:pt x="115" y="216"/>
                      <a:pt x="115" y="216"/>
                      <a:pt x="115" y="216"/>
                    </a:cubicBezTo>
                    <a:cubicBezTo>
                      <a:pt x="306" y="216"/>
                      <a:pt x="306" y="216"/>
                      <a:pt x="306" y="216"/>
                    </a:cubicBezTo>
                    <a:cubicBezTo>
                      <a:pt x="343" y="216"/>
                      <a:pt x="373" y="186"/>
                      <a:pt x="373" y="150"/>
                    </a:cubicBezTo>
                    <a:cubicBezTo>
                      <a:pt x="373" y="115"/>
                      <a:pt x="345" y="86"/>
                      <a:pt x="311" y="83"/>
                    </a:cubicBezTo>
                    <a:close/>
                  </a:path>
                </a:pathLst>
              </a:custGeom>
              <a:noFill/>
              <a:ln w="46038" cap="flat">
                <a:solidFill>
                  <a:srgbClr val="E4E5E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 name="Freeform 71"/>
              <p:cNvSpPr>
                <a:spLocks/>
              </p:cNvSpPr>
              <p:nvPr/>
            </p:nvSpPr>
            <p:spPr bwMode="auto">
              <a:xfrm>
                <a:off x="2528" y="4066"/>
                <a:ext cx="0" cy="344"/>
              </a:xfrm>
              <a:custGeom>
                <a:avLst/>
                <a:gdLst>
                  <a:gd name="T0" fmla="*/ 0 h 344"/>
                  <a:gd name="T1" fmla="*/ 344 h 344"/>
                  <a:gd name="T2" fmla="*/ 0 h 344"/>
                </a:gdLst>
                <a:ahLst/>
                <a:cxnLst>
                  <a:cxn ang="0">
                    <a:pos x="0" y="T0"/>
                  </a:cxn>
                  <a:cxn ang="0">
                    <a:pos x="0" y="T1"/>
                  </a:cxn>
                  <a:cxn ang="0">
                    <a:pos x="0" y="T2"/>
                  </a:cxn>
                </a:cxnLst>
                <a:rect l="0" t="0" r="r" b="b"/>
                <a:pathLst>
                  <a:path h="344">
                    <a:moveTo>
                      <a:pt x="0" y="0"/>
                    </a:moveTo>
                    <a:lnTo>
                      <a:pt x="0" y="34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Line 72"/>
              <p:cNvSpPr>
                <a:spLocks noChangeShapeType="1"/>
              </p:cNvSpPr>
              <p:nvPr/>
            </p:nvSpPr>
            <p:spPr bwMode="auto">
              <a:xfrm>
                <a:off x="2528" y="4066"/>
                <a:ext cx="0" cy="34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 name="Freeform 73"/>
              <p:cNvSpPr>
                <a:spLocks/>
              </p:cNvSpPr>
              <p:nvPr/>
            </p:nvSpPr>
            <p:spPr bwMode="auto">
              <a:xfrm>
                <a:off x="2473" y="4066"/>
                <a:ext cx="0" cy="344"/>
              </a:xfrm>
              <a:custGeom>
                <a:avLst/>
                <a:gdLst>
                  <a:gd name="T0" fmla="*/ 0 h 344"/>
                  <a:gd name="T1" fmla="*/ 344 h 344"/>
                  <a:gd name="T2" fmla="*/ 0 h 344"/>
                </a:gdLst>
                <a:ahLst/>
                <a:cxnLst>
                  <a:cxn ang="0">
                    <a:pos x="0" y="T0"/>
                  </a:cxn>
                  <a:cxn ang="0">
                    <a:pos x="0" y="T1"/>
                  </a:cxn>
                  <a:cxn ang="0">
                    <a:pos x="0" y="T2"/>
                  </a:cxn>
                </a:cxnLst>
                <a:rect l="0" t="0" r="r" b="b"/>
                <a:pathLst>
                  <a:path h="344">
                    <a:moveTo>
                      <a:pt x="0" y="0"/>
                    </a:moveTo>
                    <a:lnTo>
                      <a:pt x="0" y="34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Line 74"/>
              <p:cNvSpPr>
                <a:spLocks noChangeShapeType="1"/>
              </p:cNvSpPr>
              <p:nvPr/>
            </p:nvSpPr>
            <p:spPr bwMode="auto">
              <a:xfrm>
                <a:off x="2473" y="4066"/>
                <a:ext cx="0" cy="34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8" name="Freeform 75"/>
              <p:cNvSpPr>
                <a:spLocks/>
              </p:cNvSpPr>
              <p:nvPr/>
            </p:nvSpPr>
            <p:spPr bwMode="auto">
              <a:xfrm>
                <a:off x="2592" y="4315"/>
                <a:ext cx="0" cy="95"/>
              </a:xfrm>
              <a:custGeom>
                <a:avLst/>
                <a:gdLst>
                  <a:gd name="T0" fmla="*/ 0 h 95"/>
                  <a:gd name="T1" fmla="*/ 95 h 95"/>
                  <a:gd name="T2" fmla="*/ 0 h 95"/>
                </a:gdLst>
                <a:ahLst/>
                <a:cxnLst>
                  <a:cxn ang="0">
                    <a:pos x="0" y="T0"/>
                  </a:cxn>
                  <a:cxn ang="0">
                    <a:pos x="0" y="T1"/>
                  </a:cxn>
                  <a:cxn ang="0">
                    <a:pos x="0" y="T2"/>
                  </a:cxn>
                </a:cxnLst>
                <a:rect l="0" t="0" r="r" b="b"/>
                <a:pathLst>
                  <a:path h="95">
                    <a:moveTo>
                      <a:pt x="0" y="0"/>
                    </a:moveTo>
                    <a:lnTo>
                      <a:pt x="0" y="95"/>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Line 76"/>
              <p:cNvSpPr>
                <a:spLocks noChangeShapeType="1"/>
              </p:cNvSpPr>
              <p:nvPr/>
            </p:nvSpPr>
            <p:spPr bwMode="auto">
              <a:xfrm>
                <a:off x="2592" y="4315"/>
                <a:ext cx="0" cy="95"/>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0" name="Freeform 77"/>
              <p:cNvSpPr>
                <a:spLocks/>
              </p:cNvSpPr>
              <p:nvPr/>
            </p:nvSpPr>
            <p:spPr bwMode="auto">
              <a:xfrm>
                <a:off x="2395" y="4066"/>
                <a:ext cx="0" cy="344"/>
              </a:xfrm>
              <a:custGeom>
                <a:avLst/>
                <a:gdLst>
                  <a:gd name="T0" fmla="*/ 0 h 344"/>
                  <a:gd name="T1" fmla="*/ 344 h 344"/>
                  <a:gd name="T2" fmla="*/ 0 h 344"/>
                </a:gdLst>
                <a:ahLst/>
                <a:cxnLst>
                  <a:cxn ang="0">
                    <a:pos x="0" y="T0"/>
                  </a:cxn>
                  <a:cxn ang="0">
                    <a:pos x="0" y="T1"/>
                  </a:cxn>
                  <a:cxn ang="0">
                    <a:pos x="0" y="T2"/>
                  </a:cxn>
                </a:cxnLst>
                <a:rect l="0" t="0" r="r" b="b"/>
                <a:pathLst>
                  <a:path h="344">
                    <a:moveTo>
                      <a:pt x="0" y="0"/>
                    </a:moveTo>
                    <a:lnTo>
                      <a:pt x="0" y="34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Line 78"/>
              <p:cNvSpPr>
                <a:spLocks noChangeShapeType="1"/>
              </p:cNvSpPr>
              <p:nvPr/>
            </p:nvSpPr>
            <p:spPr bwMode="auto">
              <a:xfrm>
                <a:off x="2395" y="4066"/>
                <a:ext cx="0" cy="34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 name="Freeform 79"/>
              <p:cNvSpPr>
                <a:spLocks/>
              </p:cNvSpPr>
              <p:nvPr/>
            </p:nvSpPr>
            <p:spPr bwMode="auto">
              <a:xfrm>
                <a:off x="2341" y="4066"/>
                <a:ext cx="0" cy="344"/>
              </a:xfrm>
              <a:custGeom>
                <a:avLst/>
                <a:gdLst>
                  <a:gd name="T0" fmla="*/ 0 h 344"/>
                  <a:gd name="T1" fmla="*/ 344 h 344"/>
                  <a:gd name="T2" fmla="*/ 0 h 344"/>
                </a:gdLst>
                <a:ahLst/>
                <a:cxnLst>
                  <a:cxn ang="0">
                    <a:pos x="0" y="T0"/>
                  </a:cxn>
                  <a:cxn ang="0">
                    <a:pos x="0" y="T1"/>
                  </a:cxn>
                  <a:cxn ang="0">
                    <a:pos x="0" y="T2"/>
                  </a:cxn>
                </a:cxnLst>
                <a:rect l="0" t="0" r="r" b="b"/>
                <a:pathLst>
                  <a:path h="344">
                    <a:moveTo>
                      <a:pt x="0" y="0"/>
                    </a:moveTo>
                    <a:lnTo>
                      <a:pt x="0" y="34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Line 80"/>
              <p:cNvSpPr>
                <a:spLocks noChangeShapeType="1"/>
              </p:cNvSpPr>
              <p:nvPr/>
            </p:nvSpPr>
            <p:spPr bwMode="auto">
              <a:xfrm>
                <a:off x="2341" y="4066"/>
                <a:ext cx="0" cy="34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4" name="Freeform 81"/>
              <p:cNvSpPr>
                <a:spLocks/>
              </p:cNvSpPr>
              <p:nvPr/>
            </p:nvSpPr>
            <p:spPr bwMode="auto">
              <a:xfrm>
                <a:off x="298" y="4301"/>
                <a:ext cx="0" cy="104"/>
              </a:xfrm>
              <a:custGeom>
                <a:avLst/>
                <a:gdLst>
                  <a:gd name="T0" fmla="*/ 0 h 104"/>
                  <a:gd name="T1" fmla="*/ 104 h 104"/>
                  <a:gd name="T2" fmla="*/ 0 h 104"/>
                </a:gdLst>
                <a:ahLst/>
                <a:cxnLst>
                  <a:cxn ang="0">
                    <a:pos x="0" y="T0"/>
                  </a:cxn>
                  <a:cxn ang="0">
                    <a:pos x="0" y="T1"/>
                  </a:cxn>
                  <a:cxn ang="0">
                    <a:pos x="0" y="T2"/>
                  </a:cxn>
                </a:cxnLst>
                <a:rect l="0" t="0" r="r" b="b"/>
                <a:pathLst>
                  <a:path h="104">
                    <a:moveTo>
                      <a:pt x="0" y="0"/>
                    </a:moveTo>
                    <a:lnTo>
                      <a:pt x="0"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Line 82"/>
              <p:cNvSpPr>
                <a:spLocks noChangeShapeType="1"/>
              </p:cNvSpPr>
              <p:nvPr/>
            </p:nvSpPr>
            <p:spPr bwMode="auto">
              <a:xfrm>
                <a:off x="298" y="4301"/>
                <a:ext cx="0" cy="10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6" name="Freeform 83"/>
              <p:cNvSpPr>
                <a:spLocks/>
              </p:cNvSpPr>
              <p:nvPr/>
            </p:nvSpPr>
            <p:spPr bwMode="auto">
              <a:xfrm>
                <a:off x="2156" y="4234"/>
                <a:ext cx="97" cy="176"/>
              </a:xfrm>
              <a:custGeom>
                <a:avLst/>
                <a:gdLst>
                  <a:gd name="T0" fmla="*/ 0 w 97"/>
                  <a:gd name="T1" fmla="*/ 0 h 176"/>
                  <a:gd name="T2" fmla="*/ 97 w 97"/>
                  <a:gd name="T3" fmla="*/ 176 h 176"/>
                  <a:gd name="T4" fmla="*/ 0 w 97"/>
                  <a:gd name="T5" fmla="*/ 0 h 176"/>
                </a:gdLst>
                <a:ahLst/>
                <a:cxnLst>
                  <a:cxn ang="0">
                    <a:pos x="T0" y="T1"/>
                  </a:cxn>
                  <a:cxn ang="0">
                    <a:pos x="T2" y="T3"/>
                  </a:cxn>
                  <a:cxn ang="0">
                    <a:pos x="T4" y="T5"/>
                  </a:cxn>
                </a:cxnLst>
                <a:rect l="0" t="0" r="r" b="b"/>
                <a:pathLst>
                  <a:path w="97" h="176">
                    <a:moveTo>
                      <a:pt x="0" y="0"/>
                    </a:moveTo>
                    <a:lnTo>
                      <a:pt x="97" y="17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Line 84"/>
              <p:cNvSpPr>
                <a:spLocks noChangeShapeType="1"/>
              </p:cNvSpPr>
              <p:nvPr/>
            </p:nvSpPr>
            <p:spPr bwMode="auto">
              <a:xfrm>
                <a:off x="2156" y="4234"/>
                <a:ext cx="97" cy="176"/>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8" name="Freeform 85"/>
              <p:cNvSpPr>
                <a:spLocks/>
              </p:cNvSpPr>
              <p:nvPr/>
            </p:nvSpPr>
            <p:spPr bwMode="auto">
              <a:xfrm>
                <a:off x="618" y="4234"/>
                <a:ext cx="97" cy="176"/>
              </a:xfrm>
              <a:custGeom>
                <a:avLst/>
                <a:gdLst>
                  <a:gd name="T0" fmla="*/ 97 w 97"/>
                  <a:gd name="T1" fmla="*/ 0 h 176"/>
                  <a:gd name="T2" fmla="*/ 0 w 97"/>
                  <a:gd name="T3" fmla="*/ 176 h 176"/>
                  <a:gd name="T4" fmla="*/ 97 w 97"/>
                  <a:gd name="T5" fmla="*/ 0 h 176"/>
                </a:gdLst>
                <a:ahLst/>
                <a:cxnLst>
                  <a:cxn ang="0">
                    <a:pos x="T0" y="T1"/>
                  </a:cxn>
                  <a:cxn ang="0">
                    <a:pos x="T2" y="T3"/>
                  </a:cxn>
                  <a:cxn ang="0">
                    <a:pos x="T4" y="T5"/>
                  </a:cxn>
                </a:cxnLst>
                <a:rect l="0" t="0" r="r" b="b"/>
                <a:pathLst>
                  <a:path w="97" h="176">
                    <a:moveTo>
                      <a:pt x="97" y="0"/>
                    </a:moveTo>
                    <a:lnTo>
                      <a:pt x="0" y="176"/>
                    </a:lnTo>
                    <a:lnTo>
                      <a:pt x="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Line 86"/>
              <p:cNvSpPr>
                <a:spLocks noChangeShapeType="1"/>
              </p:cNvSpPr>
              <p:nvPr/>
            </p:nvSpPr>
            <p:spPr bwMode="auto">
              <a:xfrm flipH="1">
                <a:off x="618" y="4234"/>
                <a:ext cx="97" cy="176"/>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Rectangle 87"/>
              <p:cNvSpPr>
                <a:spLocks noChangeArrowheads="1"/>
              </p:cNvSpPr>
              <p:nvPr/>
            </p:nvSpPr>
            <p:spPr bwMode="auto">
              <a:xfrm>
                <a:off x="296" y="3933"/>
                <a:ext cx="16" cy="152"/>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Rectangle 88"/>
              <p:cNvSpPr>
                <a:spLocks noChangeArrowheads="1"/>
              </p:cNvSpPr>
              <p:nvPr/>
            </p:nvSpPr>
            <p:spPr bwMode="auto">
              <a:xfrm>
                <a:off x="312" y="3933"/>
                <a:ext cx="95" cy="152"/>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Rectangle 89"/>
              <p:cNvSpPr>
                <a:spLocks noChangeArrowheads="1"/>
              </p:cNvSpPr>
              <p:nvPr/>
            </p:nvSpPr>
            <p:spPr bwMode="auto">
              <a:xfrm>
                <a:off x="296" y="3933"/>
                <a:ext cx="111" cy="152"/>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Line 90"/>
              <p:cNvSpPr>
                <a:spLocks noChangeShapeType="1"/>
              </p:cNvSpPr>
              <p:nvPr/>
            </p:nvSpPr>
            <p:spPr bwMode="auto">
              <a:xfrm>
                <a:off x="2549" y="437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Line 91"/>
              <p:cNvSpPr>
                <a:spLocks noChangeShapeType="1"/>
              </p:cNvSpPr>
              <p:nvPr/>
            </p:nvSpPr>
            <p:spPr bwMode="auto">
              <a:xfrm>
                <a:off x="2549" y="4377"/>
                <a:ext cx="0" cy="0"/>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5" name="Freeform 92"/>
              <p:cNvSpPr>
                <a:spLocks/>
              </p:cNvSpPr>
              <p:nvPr/>
            </p:nvSpPr>
            <p:spPr bwMode="auto">
              <a:xfrm>
                <a:off x="398" y="3760"/>
                <a:ext cx="2083" cy="444"/>
              </a:xfrm>
              <a:custGeom>
                <a:avLst/>
                <a:gdLst>
                  <a:gd name="T0" fmla="*/ 0 w 878"/>
                  <a:gd name="T1" fmla="*/ 185 h 187"/>
                  <a:gd name="T2" fmla="*/ 438 w 878"/>
                  <a:gd name="T3" fmla="*/ 0 h 187"/>
                  <a:gd name="T4" fmla="*/ 878 w 878"/>
                  <a:gd name="T5" fmla="*/ 187 h 187"/>
                </a:gdLst>
                <a:ahLst/>
                <a:cxnLst>
                  <a:cxn ang="0">
                    <a:pos x="T0" y="T1"/>
                  </a:cxn>
                  <a:cxn ang="0">
                    <a:pos x="T2" y="T3"/>
                  </a:cxn>
                  <a:cxn ang="0">
                    <a:pos x="T4" y="T5"/>
                  </a:cxn>
                </a:cxnLst>
                <a:rect l="0" t="0" r="r" b="b"/>
                <a:pathLst>
                  <a:path w="878" h="187">
                    <a:moveTo>
                      <a:pt x="0" y="185"/>
                    </a:moveTo>
                    <a:cubicBezTo>
                      <a:pt x="66" y="94"/>
                      <a:pt x="237" y="0"/>
                      <a:pt x="438" y="0"/>
                    </a:cubicBezTo>
                    <a:cubicBezTo>
                      <a:pt x="641" y="0"/>
                      <a:pt x="813" y="95"/>
                      <a:pt x="878" y="187"/>
                    </a:cubicBezTo>
                  </a:path>
                </a:pathLst>
              </a:cu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93"/>
              <p:cNvSpPr>
                <a:spLocks/>
              </p:cNvSpPr>
              <p:nvPr/>
            </p:nvSpPr>
            <p:spPr bwMode="auto">
              <a:xfrm>
                <a:off x="398" y="3760"/>
                <a:ext cx="2083" cy="444"/>
              </a:xfrm>
              <a:custGeom>
                <a:avLst/>
                <a:gdLst>
                  <a:gd name="T0" fmla="*/ 0 w 878"/>
                  <a:gd name="T1" fmla="*/ 185 h 187"/>
                  <a:gd name="T2" fmla="*/ 438 w 878"/>
                  <a:gd name="T3" fmla="*/ 0 h 187"/>
                  <a:gd name="T4" fmla="*/ 878 w 878"/>
                  <a:gd name="T5" fmla="*/ 187 h 187"/>
                </a:gdLst>
                <a:ahLst/>
                <a:cxnLst>
                  <a:cxn ang="0">
                    <a:pos x="T0" y="T1"/>
                  </a:cxn>
                  <a:cxn ang="0">
                    <a:pos x="T2" y="T3"/>
                  </a:cxn>
                  <a:cxn ang="0">
                    <a:pos x="T4" y="T5"/>
                  </a:cxn>
                </a:cxnLst>
                <a:rect l="0" t="0" r="r" b="b"/>
                <a:pathLst>
                  <a:path w="878" h="187">
                    <a:moveTo>
                      <a:pt x="0" y="185"/>
                    </a:moveTo>
                    <a:cubicBezTo>
                      <a:pt x="66" y="94"/>
                      <a:pt x="237" y="0"/>
                      <a:pt x="438" y="0"/>
                    </a:cubicBezTo>
                    <a:cubicBezTo>
                      <a:pt x="641" y="0"/>
                      <a:pt x="813" y="95"/>
                      <a:pt x="878" y="187"/>
                    </a:cubicBezTo>
                  </a:path>
                </a:pathLst>
              </a:custGeom>
              <a:noFill/>
              <a:ln w="30163" cap="rnd">
                <a:solidFill>
                  <a:srgbClr val="009E4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Freeform 94"/>
              <p:cNvSpPr>
                <a:spLocks/>
              </p:cNvSpPr>
              <p:nvPr/>
            </p:nvSpPr>
            <p:spPr bwMode="auto">
              <a:xfrm>
                <a:off x="727" y="3871"/>
                <a:ext cx="1424" cy="333"/>
              </a:xfrm>
              <a:custGeom>
                <a:avLst/>
                <a:gdLst>
                  <a:gd name="T0" fmla="*/ 0 w 600"/>
                  <a:gd name="T1" fmla="*/ 139 h 140"/>
                  <a:gd name="T2" fmla="*/ 300 w 600"/>
                  <a:gd name="T3" fmla="*/ 0 h 140"/>
                  <a:gd name="T4" fmla="*/ 600 w 600"/>
                  <a:gd name="T5" fmla="*/ 140 h 140"/>
                </a:gdLst>
                <a:ahLst/>
                <a:cxnLst>
                  <a:cxn ang="0">
                    <a:pos x="T0" y="T1"/>
                  </a:cxn>
                  <a:cxn ang="0">
                    <a:pos x="T2" y="T3"/>
                  </a:cxn>
                  <a:cxn ang="0">
                    <a:pos x="T4" y="T5"/>
                  </a:cxn>
                </a:cxnLst>
                <a:rect l="0" t="0" r="r" b="b"/>
                <a:pathLst>
                  <a:path w="600" h="140">
                    <a:moveTo>
                      <a:pt x="0" y="139"/>
                    </a:moveTo>
                    <a:cubicBezTo>
                      <a:pt x="45" y="70"/>
                      <a:pt x="162" y="0"/>
                      <a:pt x="300" y="0"/>
                    </a:cubicBezTo>
                    <a:cubicBezTo>
                      <a:pt x="438" y="0"/>
                      <a:pt x="555" y="71"/>
                      <a:pt x="600" y="140"/>
                    </a:cubicBezTo>
                  </a:path>
                </a:pathLst>
              </a:cu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95"/>
              <p:cNvSpPr>
                <a:spLocks/>
              </p:cNvSpPr>
              <p:nvPr/>
            </p:nvSpPr>
            <p:spPr bwMode="auto">
              <a:xfrm>
                <a:off x="727" y="3871"/>
                <a:ext cx="1424" cy="333"/>
              </a:xfrm>
              <a:custGeom>
                <a:avLst/>
                <a:gdLst>
                  <a:gd name="T0" fmla="*/ 0 w 600"/>
                  <a:gd name="T1" fmla="*/ 139 h 140"/>
                  <a:gd name="T2" fmla="*/ 300 w 600"/>
                  <a:gd name="T3" fmla="*/ 0 h 140"/>
                  <a:gd name="T4" fmla="*/ 600 w 600"/>
                  <a:gd name="T5" fmla="*/ 140 h 140"/>
                </a:gdLst>
                <a:ahLst/>
                <a:cxnLst>
                  <a:cxn ang="0">
                    <a:pos x="T0" y="T1"/>
                  </a:cxn>
                  <a:cxn ang="0">
                    <a:pos x="T2" y="T3"/>
                  </a:cxn>
                  <a:cxn ang="0">
                    <a:pos x="T4" y="T5"/>
                  </a:cxn>
                </a:cxnLst>
                <a:rect l="0" t="0" r="r" b="b"/>
                <a:pathLst>
                  <a:path w="600" h="140">
                    <a:moveTo>
                      <a:pt x="0" y="139"/>
                    </a:moveTo>
                    <a:cubicBezTo>
                      <a:pt x="45" y="70"/>
                      <a:pt x="162" y="0"/>
                      <a:pt x="300" y="0"/>
                    </a:cubicBezTo>
                    <a:cubicBezTo>
                      <a:pt x="438" y="0"/>
                      <a:pt x="555" y="71"/>
                      <a:pt x="600" y="140"/>
                    </a:cubicBezTo>
                  </a:path>
                </a:pathLst>
              </a:custGeom>
              <a:noFill/>
              <a:ln w="30163" cap="rnd">
                <a:solidFill>
                  <a:srgbClr val="009E4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9" name="Rectangle 96"/>
              <p:cNvSpPr>
                <a:spLocks noChangeArrowheads="1"/>
              </p:cNvSpPr>
              <p:nvPr/>
            </p:nvSpPr>
            <p:spPr bwMode="auto">
              <a:xfrm>
                <a:off x="272" y="3997"/>
                <a:ext cx="19" cy="207"/>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Rectangle 97"/>
              <p:cNvSpPr>
                <a:spLocks noChangeArrowheads="1"/>
              </p:cNvSpPr>
              <p:nvPr/>
            </p:nvSpPr>
            <p:spPr bwMode="auto">
              <a:xfrm>
                <a:off x="291" y="3997"/>
                <a:ext cx="137" cy="207"/>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Line 98"/>
              <p:cNvSpPr>
                <a:spLocks noChangeShapeType="1"/>
              </p:cNvSpPr>
              <p:nvPr/>
            </p:nvSpPr>
            <p:spPr bwMode="auto">
              <a:xfrm>
                <a:off x="329" y="408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Line 99"/>
              <p:cNvSpPr>
                <a:spLocks noChangeShapeType="1"/>
              </p:cNvSpPr>
              <p:nvPr/>
            </p:nvSpPr>
            <p:spPr bwMode="auto">
              <a:xfrm>
                <a:off x="329" y="4085"/>
                <a:ext cx="0" cy="0"/>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3" name="Freeform 100"/>
              <p:cNvSpPr>
                <a:spLocks/>
              </p:cNvSpPr>
              <p:nvPr/>
            </p:nvSpPr>
            <p:spPr bwMode="auto">
              <a:xfrm>
                <a:off x="272" y="3997"/>
                <a:ext cx="156" cy="207"/>
              </a:xfrm>
              <a:custGeom>
                <a:avLst/>
                <a:gdLst>
                  <a:gd name="T0" fmla="*/ 0 w 156"/>
                  <a:gd name="T1" fmla="*/ 88 h 207"/>
                  <a:gd name="T2" fmla="*/ 0 w 156"/>
                  <a:gd name="T3" fmla="*/ 0 h 207"/>
                  <a:gd name="T4" fmla="*/ 156 w 156"/>
                  <a:gd name="T5" fmla="*/ 0 h 207"/>
                  <a:gd name="T6" fmla="*/ 156 w 156"/>
                  <a:gd name="T7" fmla="*/ 207 h 207"/>
                  <a:gd name="T8" fmla="*/ 0 w 156"/>
                  <a:gd name="T9" fmla="*/ 207 h 207"/>
                  <a:gd name="T10" fmla="*/ 0 w 156"/>
                  <a:gd name="T11" fmla="*/ 112 h 207"/>
                  <a:gd name="T12" fmla="*/ 0 w 156"/>
                  <a:gd name="T13" fmla="*/ 88 h 207"/>
                </a:gdLst>
                <a:ahLst/>
                <a:cxnLst>
                  <a:cxn ang="0">
                    <a:pos x="T0" y="T1"/>
                  </a:cxn>
                  <a:cxn ang="0">
                    <a:pos x="T2" y="T3"/>
                  </a:cxn>
                  <a:cxn ang="0">
                    <a:pos x="T4" y="T5"/>
                  </a:cxn>
                  <a:cxn ang="0">
                    <a:pos x="T6" y="T7"/>
                  </a:cxn>
                  <a:cxn ang="0">
                    <a:pos x="T8" y="T9"/>
                  </a:cxn>
                  <a:cxn ang="0">
                    <a:pos x="T10" y="T11"/>
                  </a:cxn>
                  <a:cxn ang="0">
                    <a:pos x="T12" y="T13"/>
                  </a:cxn>
                </a:cxnLst>
                <a:rect l="0" t="0" r="r" b="b"/>
                <a:pathLst>
                  <a:path w="156" h="207">
                    <a:moveTo>
                      <a:pt x="0" y="88"/>
                    </a:moveTo>
                    <a:lnTo>
                      <a:pt x="0" y="0"/>
                    </a:lnTo>
                    <a:lnTo>
                      <a:pt x="156" y="0"/>
                    </a:lnTo>
                    <a:lnTo>
                      <a:pt x="156" y="207"/>
                    </a:lnTo>
                    <a:lnTo>
                      <a:pt x="0" y="207"/>
                    </a:lnTo>
                    <a:lnTo>
                      <a:pt x="0" y="112"/>
                    </a:lnTo>
                    <a:lnTo>
                      <a:pt x="0" y="88"/>
                    </a:lnTo>
                    <a:close/>
                  </a:path>
                </a:pathLst>
              </a:cu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Rectangle 101"/>
              <p:cNvSpPr>
                <a:spLocks noChangeArrowheads="1"/>
              </p:cNvSpPr>
              <p:nvPr/>
            </p:nvSpPr>
            <p:spPr bwMode="auto">
              <a:xfrm>
                <a:off x="2390" y="3997"/>
                <a:ext cx="17" cy="207"/>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102"/>
              <p:cNvSpPr>
                <a:spLocks/>
              </p:cNvSpPr>
              <p:nvPr/>
            </p:nvSpPr>
            <p:spPr bwMode="auto">
              <a:xfrm>
                <a:off x="215" y="4249"/>
                <a:ext cx="116" cy="161"/>
              </a:xfrm>
              <a:custGeom>
                <a:avLst/>
                <a:gdLst>
                  <a:gd name="T0" fmla="*/ 116 w 116"/>
                  <a:gd name="T1" fmla="*/ 0 h 161"/>
                  <a:gd name="T2" fmla="*/ 0 w 116"/>
                  <a:gd name="T3" fmla="*/ 161 h 161"/>
                  <a:gd name="T4" fmla="*/ 116 w 116"/>
                  <a:gd name="T5" fmla="*/ 0 h 161"/>
                </a:gdLst>
                <a:ahLst/>
                <a:cxnLst>
                  <a:cxn ang="0">
                    <a:pos x="T0" y="T1"/>
                  </a:cxn>
                  <a:cxn ang="0">
                    <a:pos x="T2" y="T3"/>
                  </a:cxn>
                  <a:cxn ang="0">
                    <a:pos x="T4" y="T5"/>
                  </a:cxn>
                </a:cxnLst>
                <a:rect l="0" t="0" r="r" b="b"/>
                <a:pathLst>
                  <a:path w="116" h="161">
                    <a:moveTo>
                      <a:pt x="116" y="0"/>
                    </a:moveTo>
                    <a:lnTo>
                      <a:pt x="0" y="161"/>
                    </a:lnTo>
                    <a:lnTo>
                      <a:pt x="1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Line 103"/>
              <p:cNvSpPr>
                <a:spLocks noChangeShapeType="1"/>
              </p:cNvSpPr>
              <p:nvPr/>
            </p:nvSpPr>
            <p:spPr bwMode="auto">
              <a:xfrm flipH="1">
                <a:off x="215" y="4249"/>
                <a:ext cx="116" cy="161"/>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7" name="Freeform 104"/>
              <p:cNvSpPr>
                <a:spLocks/>
              </p:cNvSpPr>
              <p:nvPr/>
            </p:nvSpPr>
            <p:spPr bwMode="auto">
              <a:xfrm>
                <a:off x="2540" y="4249"/>
                <a:ext cx="116" cy="161"/>
              </a:xfrm>
              <a:custGeom>
                <a:avLst/>
                <a:gdLst>
                  <a:gd name="T0" fmla="*/ 0 w 116"/>
                  <a:gd name="T1" fmla="*/ 0 h 161"/>
                  <a:gd name="T2" fmla="*/ 116 w 116"/>
                  <a:gd name="T3" fmla="*/ 161 h 161"/>
                  <a:gd name="T4" fmla="*/ 0 w 116"/>
                  <a:gd name="T5" fmla="*/ 0 h 161"/>
                </a:gdLst>
                <a:ahLst/>
                <a:cxnLst>
                  <a:cxn ang="0">
                    <a:pos x="T0" y="T1"/>
                  </a:cxn>
                  <a:cxn ang="0">
                    <a:pos x="T2" y="T3"/>
                  </a:cxn>
                  <a:cxn ang="0">
                    <a:pos x="T4" y="T5"/>
                  </a:cxn>
                </a:cxnLst>
                <a:rect l="0" t="0" r="r" b="b"/>
                <a:pathLst>
                  <a:path w="116" h="161">
                    <a:moveTo>
                      <a:pt x="0" y="0"/>
                    </a:moveTo>
                    <a:lnTo>
                      <a:pt x="116" y="16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Line 105"/>
              <p:cNvSpPr>
                <a:spLocks noChangeShapeType="1"/>
              </p:cNvSpPr>
              <p:nvPr/>
            </p:nvSpPr>
            <p:spPr bwMode="auto">
              <a:xfrm>
                <a:off x="2540" y="4249"/>
                <a:ext cx="116" cy="161"/>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9" name="Freeform 106"/>
              <p:cNvSpPr>
                <a:spLocks/>
              </p:cNvSpPr>
              <p:nvPr/>
            </p:nvSpPr>
            <p:spPr bwMode="auto">
              <a:xfrm>
                <a:off x="1282" y="3772"/>
                <a:ext cx="0" cy="432"/>
              </a:xfrm>
              <a:custGeom>
                <a:avLst/>
                <a:gdLst>
                  <a:gd name="T0" fmla="*/ 0 h 432"/>
                  <a:gd name="T1" fmla="*/ 432 h 432"/>
                  <a:gd name="T2" fmla="*/ 0 h 432"/>
                </a:gdLst>
                <a:ahLst/>
                <a:cxnLst>
                  <a:cxn ang="0">
                    <a:pos x="0" y="T0"/>
                  </a:cxn>
                  <a:cxn ang="0">
                    <a:pos x="0" y="T1"/>
                  </a:cxn>
                  <a:cxn ang="0">
                    <a:pos x="0" y="T2"/>
                  </a:cxn>
                </a:cxnLst>
                <a:rect l="0" t="0" r="r" b="b"/>
                <a:pathLst>
                  <a:path h="432">
                    <a:moveTo>
                      <a:pt x="0" y="0"/>
                    </a:moveTo>
                    <a:lnTo>
                      <a:pt x="0" y="43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Line 107"/>
              <p:cNvSpPr>
                <a:spLocks noChangeShapeType="1"/>
              </p:cNvSpPr>
              <p:nvPr/>
            </p:nvSpPr>
            <p:spPr bwMode="auto">
              <a:xfrm>
                <a:off x="1282" y="3772"/>
                <a:ext cx="0" cy="432"/>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1" name="Freeform 108"/>
              <p:cNvSpPr>
                <a:spLocks/>
              </p:cNvSpPr>
              <p:nvPr/>
            </p:nvSpPr>
            <p:spPr bwMode="auto">
              <a:xfrm>
                <a:off x="1017" y="3819"/>
                <a:ext cx="0" cy="385"/>
              </a:xfrm>
              <a:custGeom>
                <a:avLst/>
                <a:gdLst>
                  <a:gd name="T0" fmla="*/ 0 h 385"/>
                  <a:gd name="T1" fmla="*/ 385 h 385"/>
                  <a:gd name="T2" fmla="*/ 0 h 385"/>
                </a:gdLst>
                <a:ahLst/>
                <a:cxnLst>
                  <a:cxn ang="0">
                    <a:pos x="0" y="T0"/>
                  </a:cxn>
                  <a:cxn ang="0">
                    <a:pos x="0" y="T1"/>
                  </a:cxn>
                  <a:cxn ang="0">
                    <a:pos x="0" y="T2"/>
                  </a:cxn>
                </a:cxnLst>
                <a:rect l="0" t="0" r="r" b="b"/>
                <a:pathLst>
                  <a:path h="385">
                    <a:moveTo>
                      <a:pt x="0" y="0"/>
                    </a:moveTo>
                    <a:lnTo>
                      <a:pt x="0" y="385"/>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Line 109"/>
              <p:cNvSpPr>
                <a:spLocks noChangeShapeType="1"/>
              </p:cNvSpPr>
              <p:nvPr/>
            </p:nvSpPr>
            <p:spPr bwMode="auto">
              <a:xfrm>
                <a:off x="1017" y="3819"/>
                <a:ext cx="0" cy="385"/>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3" name="Freeform 110"/>
              <p:cNvSpPr>
                <a:spLocks/>
              </p:cNvSpPr>
              <p:nvPr/>
            </p:nvSpPr>
            <p:spPr bwMode="auto">
              <a:xfrm>
                <a:off x="799" y="3900"/>
                <a:ext cx="0" cy="304"/>
              </a:xfrm>
              <a:custGeom>
                <a:avLst/>
                <a:gdLst>
                  <a:gd name="T0" fmla="*/ 0 h 304"/>
                  <a:gd name="T1" fmla="*/ 304 h 304"/>
                  <a:gd name="T2" fmla="*/ 0 h 304"/>
                </a:gdLst>
                <a:ahLst/>
                <a:cxnLst>
                  <a:cxn ang="0">
                    <a:pos x="0" y="T0"/>
                  </a:cxn>
                  <a:cxn ang="0">
                    <a:pos x="0" y="T1"/>
                  </a:cxn>
                  <a:cxn ang="0">
                    <a:pos x="0" y="T2"/>
                  </a:cxn>
                </a:cxnLst>
                <a:rect l="0" t="0" r="r" b="b"/>
                <a:pathLst>
                  <a:path h="304">
                    <a:moveTo>
                      <a:pt x="0" y="0"/>
                    </a:moveTo>
                    <a:lnTo>
                      <a:pt x="0" y="3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Line 111"/>
              <p:cNvSpPr>
                <a:spLocks noChangeShapeType="1"/>
              </p:cNvSpPr>
              <p:nvPr/>
            </p:nvSpPr>
            <p:spPr bwMode="auto">
              <a:xfrm>
                <a:off x="799" y="3900"/>
                <a:ext cx="0" cy="30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5" name="Line 112"/>
              <p:cNvSpPr>
                <a:spLocks noChangeShapeType="1"/>
              </p:cNvSpPr>
              <p:nvPr/>
            </p:nvSpPr>
            <p:spPr bwMode="auto">
              <a:xfrm>
                <a:off x="485" y="420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Line 113"/>
              <p:cNvSpPr>
                <a:spLocks noChangeShapeType="1"/>
              </p:cNvSpPr>
              <p:nvPr/>
            </p:nvSpPr>
            <p:spPr bwMode="auto">
              <a:xfrm>
                <a:off x="485" y="4204"/>
                <a:ext cx="0" cy="0"/>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7" name="Line 114"/>
              <p:cNvSpPr>
                <a:spLocks noChangeShapeType="1"/>
              </p:cNvSpPr>
              <p:nvPr/>
            </p:nvSpPr>
            <p:spPr bwMode="auto">
              <a:xfrm>
                <a:off x="485" y="409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Line 115"/>
              <p:cNvSpPr>
                <a:spLocks noChangeShapeType="1"/>
              </p:cNvSpPr>
              <p:nvPr/>
            </p:nvSpPr>
            <p:spPr bwMode="auto">
              <a:xfrm>
                <a:off x="485" y="4099"/>
                <a:ext cx="0" cy="0"/>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9" name="Freeform 116"/>
              <p:cNvSpPr>
                <a:spLocks/>
              </p:cNvSpPr>
              <p:nvPr/>
            </p:nvSpPr>
            <p:spPr bwMode="auto">
              <a:xfrm>
                <a:off x="533" y="4066"/>
                <a:ext cx="0" cy="344"/>
              </a:xfrm>
              <a:custGeom>
                <a:avLst/>
                <a:gdLst>
                  <a:gd name="T0" fmla="*/ 0 h 344"/>
                  <a:gd name="T1" fmla="*/ 344 h 344"/>
                  <a:gd name="T2" fmla="*/ 0 h 344"/>
                </a:gdLst>
                <a:ahLst/>
                <a:cxnLst>
                  <a:cxn ang="0">
                    <a:pos x="0" y="T0"/>
                  </a:cxn>
                  <a:cxn ang="0">
                    <a:pos x="0" y="T1"/>
                  </a:cxn>
                  <a:cxn ang="0">
                    <a:pos x="0" y="T2"/>
                  </a:cxn>
                </a:cxnLst>
                <a:rect l="0" t="0" r="r" b="b"/>
                <a:pathLst>
                  <a:path h="344">
                    <a:moveTo>
                      <a:pt x="0" y="0"/>
                    </a:moveTo>
                    <a:lnTo>
                      <a:pt x="0" y="34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Line 117"/>
              <p:cNvSpPr>
                <a:spLocks noChangeShapeType="1"/>
              </p:cNvSpPr>
              <p:nvPr/>
            </p:nvSpPr>
            <p:spPr bwMode="auto">
              <a:xfrm>
                <a:off x="533" y="4066"/>
                <a:ext cx="0" cy="34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1" name="Freeform 118"/>
              <p:cNvSpPr>
                <a:spLocks/>
              </p:cNvSpPr>
              <p:nvPr/>
            </p:nvSpPr>
            <p:spPr bwMode="auto">
              <a:xfrm>
                <a:off x="1548" y="3767"/>
                <a:ext cx="0" cy="437"/>
              </a:xfrm>
              <a:custGeom>
                <a:avLst/>
                <a:gdLst>
                  <a:gd name="T0" fmla="*/ 0 h 437"/>
                  <a:gd name="T1" fmla="*/ 437 h 437"/>
                  <a:gd name="T2" fmla="*/ 0 h 437"/>
                </a:gdLst>
                <a:ahLst/>
                <a:cxnLst>
                  <a:cxn ang="0">
                    <a:pos x="0" y="T0"/>
                  </a:cxn>
                  <a:cxn ang="0">
                    <a:pos x="0" y="T1"/>
                  </a:cxn>
                  <a:cxn ang="0">
                    <a:pos x="0" y="T2"/>
                  </a:cxn>
                </a:cxnLst>
                <a:rect l="0" t="0" r="r" b="b"/>
                <a:pathLst>
                  <a:path h="437">
                    <a:moveTo>
                      <a:pt x="0" y="0"/>
                    </a:moveTo>
                    <a:lnTo>
                      <a:pt x="0" y="43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Line 119"/>
              <p:cNvSpPr>
                <a:spLocks noChangeShapeType="1"/>
              </p:cNvSpPr>
              <p:nvPr/>
            </p:nvSpPr>
            <p:spPr bwMode="auto">
              <a:xfrm>
                <a:off x="1548" y="3767"/>
                <a:ext cx="0" cy="437"/>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 name="Freeform 120"/>
              <p:cNvSpPr>
                <a:spLocks/>
              </p:cNvSpPr>
              <p:nvPr/>
            </p:nvSpPr>
            <p:spPr bwMode="auto">
              <a:xfrm>
                <a:off x="1861" y="4118"/>
                <a:ext cx="0" cy="86"/>
              </a:xfrm>
              <a:custGeom>
                <a:avLst/>
                <a:gdLst>
                  <a:gd name="T0" fmla="*/ 0 h 86"/>
                  <a:gd name="T1" fmla="*/ 86 h 86"/>
                  <a:gd name="T2" fmla="*/ 0 h 86"/>
                </a:gdLst>
                <a:ahLst/>
                <a:cxnLst>
                  <a:cxn ang="0">
                    <a:pos x="0" y="T0"/>
                  </a:cxn>
                  <a:cxn ang="0">
                    <a:pos x="0" y="T1"/>
                  </a:cxn>
                  <a:cxn ang="0">
                    <a:pos x="0" y="T2"/>
                  </a:cxn>
                </a:cxnLst>
                <a:rect l="0" t="0" r="r" b="b"/>
                <a:pathLst>
                  <a:path h="86">
                    <a:moveTo>
                      <a:pt x="0" y="0"/>
                    </a:moveTo>
                    <a:lnTo>
                      <a:pt x="0" y="8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Line 121"/>
              <p:cNvSpPr>
                <a:spLocks noChangeShapeType="1"/>
              </p:cNvSpPr>
              <p:nvPr/>
            </p:nvSpPr>
            <p:spPr bwMode="auto">
              <a:xfrm>
                <a:off x="1861" y="4118"/>
                <a:ext cx="0" cy="86"/>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5" name="Freeform 122"/>
              <p:cNvSpPr>
                <a:spLocks/>
              </p:cNvSpPr>
              <p:nvPr/>
            </p:nvSpPr>
            <p:spPr bwMode="auto">
              <a:xfrm>
                <a:off x="1814" y="3807"/>
                <a:ext cx="0" cy="397"/>
              </a:xfrm>
              <a:custGeom>
                <a:avLst/>
                <a:gdLst>
                  <a:gd name="T0" fmla="*/ 0 h 397"/>
                  <a:gd name="T1" fmla="*/ 397 h 397"/>
                  <a:gd name="T2" fmla="*/ 0 h 397"/>
                </a:gdLst>
                <a:ahLst/>
                <a:cxnLst>
                  <a:cxn ang="0">
                    <a:pos x="0" y="T0"/>
                  </a:cxn>
                  <a:cxn ang="0">
                    <a:pos x="0" y="T1"/>
                  </a:cxn>
                  <a:cxn ang="0">
                    <a:pos x="0" y="T2"/>
                  </a:cxn>
                </a:cxnLst>
                <a:rect l="0" t="0" r="r" b="b"/>
                <a:pathLst>
                  <a:path h="397">
                    <a:moveTo>
                      <a:pt x="0" y="0"/>
                    </a:moveTo>
                    <a:lnTo>
                      <a:pt x="0" y="39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Line 123"/>
              <p:cNvSpPr>
                <a:spLocks noChangeShapeType="1"/>
              </p:cNvSpPr>
              <p:nvPr/>
            </p:nvSpPr>
            <p:spPr bwMode="auto">
              <a:xfrm>
                <a:off x="1814" y="3807"/>
                <a:ext cx="0" cy="397"/>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7" name="Freeform 124"/>
              <p:cNvSpPr>
                <a:spLocks/>
              </p:cNvSpPr>
              <p:nvPr/>
            </p:nvSpPr>
            <p:spPr bwMode="auto">
              <a:xfrm>
                <a:off x="1994" y="3864"/>
                <a:ext cx="0" cy="340"/>
              </a:xfrm>
              <a:custGeom>
                <a:avLst/>
                <a:gdLst>
                  <a:gd name="T0" fmla="*/ 0 h 340"/>
                  <a:gd name="T1" fmla="*/ 340 h 340"/>
                  <a:gd name="T2" fmla="*/ 0 h 340"/>
                </a:gdLst>
                <a:ahLst/>
                <a:cxnLst>
                  <a:cxn ang="0">
                    <a:pos x="0" y="T0"/>
                  </a:cxn>
                  <a:cxn ang="0">
                    <a:pos x="0" y="T1"/>
                  </a:cxn>
                  <a:cxn ang="0">
                    <a:pos x="0" y="T2"/>
                  </a:cxn>
                </a:cxnLst>
                <a:rect l="0" t="0" r="r" b="b"/>
                <a:pathLst>
                  <a:path h="340">
                    <a:moveTo>
                      <a:pt x="0" y="0"/>
                    </a:moveTo>
                    <a:lnTo>
                      <a:pt x="0" y="34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Line 125"/>
              <p:cNvSpPr>
                <a:spLocks noChangeShapeType="1"/>
              </p:cNvSpPr>
              <p:nvPr/>
            </p:nvSpPr>
            <p:spPr bwMode="auto">
              <a:xfrm>
                <a:off x="1994" y="3864"/>
                <a:ext cx="0" cy="340"/>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9" name="Freeform 126"/>
              <p:cNvSpPr>
                <a:spLocks/>
              </p:cNvSpPr>
              <p:nvPr/>
            </p:nvSpPr>
            <p:spPr bwMode="auto">
              <a:xfrm>
                <a:off x="1944" y="3848"/>
                <a:ext cx="0" cy="356"/>
              </a:xfrm>
              <a:custGeom>
                <a:avLst/>
                <a:gdLst>
                  <a:gd name="T0" fmla="*/ 0 h 356"/>
                  <a:gd name="T1" fmla="*/ 356 h 356"/>
                  <a:gd name="T2" fmla="*/ 0 h 356"/>
                </a:gdLst>
                <a:ahLst/>
                <a:cxnLst>
                  <a:cxn ang="0">
                    <a:pos x="0" y="T0"/>
                  </a:cxn>
                  <a:cxn ang="0">
                    <a:pos x="0" y="T1"/>
                  </a:cxn>
                  <a:cxn ang="0">
                    <a:pos x="0" y="T2"/>
                  </a:cxn>
                </a:cxnLst>
                <a:rect l="0" t="0" r="r" b="b"/>
                <a:pathLst>
                  <a:path h="356">
                    <a:moveTo>
                      <a:pt x="0" y="0"/>
                    </a:moveTo>
                    <a:lnTo>
                      <a:pt x="0" y="35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Line 127"/>
              <p:cNvSpPr>
                <a:spLocks noChangeShapeType="1"/>
              </p:cNvSpPr>
              <p:nvPr/>
            </p:nvSpPr>
            <p:spPr bwMode="auto">
              <a:xfrm>
                <a:off x="1944" y="3848"/>
                <a:ext cx="0" cy="356"/>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1" name="Freeform 128"/>
              <p:cNvSpPr>
                <a:spLocks/>
              </p:cNvSpPr>
              <p:nvPr/>
            </p:nvSpPr>
            <p:spPr bwMode="auto">
              <a:xfrm>
                <a:off x="2127" y="3926"/>
                <a:ext cx="0" cy="278"/>
              </a:xfrm>
              <a:custGeom>
                <a:avLst/>
                <a:gdLst>
                  <a:gd name="T0" fmla="*/ 0 h 278"/>
                  <a:gd name="T1" fmla="*/ 278 h 278"/>
                  <a:gd name="T2" fmla="*/ 0 h 278"/>
                </a:gdLst>
                <a:ahLst/>
                <a:cxnLst>
                  <a:cxn ang="0">
                    <a:pos x="0" y="T0"/>
                  </a:cxn>
                  <a:cxn ang="0">
                    <a:pos x="0" y="T1"/>
                  </a:cxn>
                  <a:cxn ang="0">
                    <a:pos x="0" y="T2"/>
                  </a:cxn>
                </a:cxnLst>
                <a:rect l="0" t="0" r="r" b="b"/>
                <a:pathLst>
                  <a:path h="278">
                    <a:moveTo>
                      <a:pt x="0" y="0"/>
                    </a:moveTo>
                    <a:lnTo>
                      <a:pt x="0" y="27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Line 129"/>
              <p:cNvSpPr>
                <a:spLocks noChangeShapeType="1"/>
              </p:cNvSpPr>
              <p:nvPr/>
            </p:nvSpPr>
            <p:spPr bwMode="auto">
              <a:xfrm>
                <a:off x="2127" y="3926"/>
                <a:ext cx="0" cy="278"/>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3" name="Freeform 130"/>
              <p:cNvSpPr>
                <a:spLocks/>
              </p:cNvSpPr>
              <p:nvPr/>
            </p:nvSpPr>
            <p:spPr bwMode="auto">
              <a:xfrm>
                <a:off x="2077" y="3900"/>
                <a:ext cx="0" cy="304"/>
              </a:xfrm>
              <a:custGeom>
                <a:avLst/>
                <a:gdLst>
                  <a:gd name="T0" fmla="*/ 0 h 304"/>
                  <a:gd name="T1" fmla="*/ 304 h 304"/>
                  <a:gd name="T2" fmla="*/ 0 h 304"/>
                </a:gdLst>
                <a:ahLst/>
                <a:cxnLst>
                  <a:cxn ang="0">
                    <a:pos x="0" y="T0"/>
                  </a:cxn>
                  <a:cxn ang="0">
                    <a:pos x="0" y="T1"/>
                  </a:cxn>
                  <a:cxn ang="0">
                    <a:pos x="0" y="T2"/>
                  </a:cxn>
                </a:cxnLst>
                <a:rect l="0" t="0" r="r" b="b"/>
                <a:pathLst>
                  <a:path h="304">
                    <a:moveTo>
                      <a:pt x="0" y="0"/>
                    </a:moveTo>
                    <a:lnTo>
                      <a:pt x="0" y="3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Line 131"/>
              <p:cNvSpPr>
                <a:spLocks noChangeShapeType="1"/>
              </p:cNvSpPr>
              <p:nvPr/>
            </p:nvSpPr>
            <p:spPr bwMode="auto">
              <a:xfrm>
                <a:off x="2077" y="3900"/>
                <a:ext cx="0" cy="30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5" name="Freeform 132"/>
              <p:cNvSpPr>
                <a:spLocks/>
              </p:cNvSpPr>
              <p:nvPr/>
            </p:nvSpPr>
            <p:spPr bwMode="auto">
              <a:xfrm>
                <a:off x="2260" y="4002"/>
                <a:ext cx="0" cy="408"/>
              </a:xfrm>
              <a:custGeom>
                <a:avLst/>
                <a:gdLst>
                  <a:gd name="T0" fmla="*/ 0 h 408"/>
                  <a:gd name="T1" fmla="*/ 408 h 408"/>
                  <a:gd name="T2" fmla="*/ 0 h 408"/>
                </a:gdLst>
                <a:ahLst/>
                <a:cxnLst>
                  <a:cxn ang="0">
                    <a:pos x="0" y="T0"/>
                  </a:cxn>
                  <a:cxn ang="0">
                    <a:pos x="0" y="T1"/>
                  </a:cxn>
                  <a:cxn ang="0">
                    <a:pos x="0" y="T2"/>
                  </a:cxn>
                </a:cxnLst>
                <a:rect l="0" t="0" r="r" b="b"/>
                <a:pathLst>
                  <a:path h="408">
                    <a:moveTo>
                      <a:pt x="0" y="0"/>
                    </a:moveTo>
                    <a:lnTo>
                      <a:pt x="0" y="40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Line 133"/>
              <p:cNvSpPr>
                <a:spLocks noChangeShapeType="1"/>
              </p:cNvSpPr>
              <p:nvPr/>
            </p:nvSpPr>
            <p:spPr bwMode="auto">
              <a:xfrm>
                <a:off x="2260" y="4002"/>
                <a:ext cx="0" cy="408"/>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7" name="Freeform 134"/>
              <p:cNvSpPr>
                <a:spLocks/>
              </p:cNvSpPr>
              <p:nvPr/>
            </p:nvSpPr>
            <p:spPr bwMode="auto">
              <a:xfrm>
                <a:off x="2210" y="3973"/>
                <a:ext cx="0" cy="361"/>
              </a:xfrm>
              <a:custGeom>
                <a:avLst/>
                <a:gdLst>
                  <a:gd name="T0" fmla="*/ 0 h 361"/>
                  <a:gd name="T1" fmla="*/ 361 h 361"/>
                  <a:gd name="T2" fmla="*/ 0 h 361"/>
                </a:gdLst>
                <a:ahLst/>
                <a:cxnLst>
                  <a:cxn ang="0">
                    <a:pos x="0" y="T0"/>
                  </a:cxn>
                  <a:cxn ang="0">
                    <a:pos x="0" y="T1"/>
                  </a:cxn>
                  <a:cxn ang="0">
                    <a:pos x="0" y="T2"/>
                  </a:cxn>
                </a:cxnLst>
                <a:rect l="0" t="0" r="r" b="b"/>
                <a:pathLst>
                  <a:path h="361">
                    <a:moveTo>
                      <a:pt x="0" y="0"/>
                    </a:moveTo>
                    <a:lnTo>
                      <a:pt x="0" y="36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Line 135"/>
              <p:cNvSpPr>
                <a:spLocks noChangeShapeType="1"/>
              </p:cNvSpPr>
              <p:nvPr/>
            </p:nvSpPr>
            <p:spPr bwMode="auto">
              <a:xfrm>
                <a:off x="2210" y="3973"/>
                <a:ext cx="0" cy="361"/>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9" name="Freeform 136"/>
              <p:cNvSpPr>
                <a:spLocks/>
              </p:cNvSpPr>
              <p:nvPr/>
            </p:nvSpPr>
            <p:spPr bwMode="auto">
              <a:xfrm>
                <a:off x="101" y="4204"/>
                <a:ext cx="2678" cy="45"/>
              </a:xfrm>
              <a:custGeom>
                <a:avLst/>
                <a:gdLst>
                  <a:gd name="T0" fmla="*/ 2678 w 2678"/>
                  <a:gd name="T1" fmla="*/ 0 h 45"/>
                  <a:gd name="T2" fmla="*/ 2678 w 2678"/>
                  <a:gd name="T3" fmla="*/ 0 h 45"/>
                  <a:gd name="T4" fmla="*/ 0 w 2678"/>
                  <a:gd name="T5" fmla="*/ 0 h 45"/>
                  <a:gd name="T6" fmla="*/ 0 w 2678"/>
                  <a:gd name="T7" fmla="*/ 45 h 45"/>
                  <a:gd name="T8" fmla="*/ 26 w 2678"/>
                  <a:gd name="T9" fmla="*/ 45 h 45"/>
                  <a:gd name="T10" fmla="*/ 26 w 2678"/>
                  <a:gd name="T11" fmla="*/ 0 h 45"/>
                  <a:gd name="T12" fmla="*/ 2678 w 2678"/>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678" h="45">
                    <a:moveTo>
                      <a:pt x="2678" y="0"/>
                    </a:moveTo>
                    <a:lnTo>
                      <a:pt x="2678" y="0"/>
                    </a:lnTo>
                    <a:lnTo>
                      <a:pt x="0" y="0"/>
                    </a:lnTo>
                    <a:lnTo>
                      <a:pt x="0" y="45"/>
                    </a:lnTo>
                    <a:lnTo>
                      <a:pt x="26" y="45"/>
                    </a:lnTo>
                    <a:lnTo>
                      <a:pt x="26" y="0"/>
                    </a:lnTo>
                    <a:lnTo>
                      <a:pt x="2678" y="0"/>
                    </a:lnTo>
                    <a:close/>
                  </a:path>
                </a:pathLst>
              </a:cu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37"/>
              <p:cNvSpPr>
                <a:spLocks/>
              </p:cNvSpPr>
              <p:nvPr/>
            </p:nvSpPr>
            <p:spPr bwMode="auto">
              <a:xfrm>
                <a:off x="127" y="4204"/>
                <a:ext cx="2676" cy="45"/>
              </a:xfrm>
              <a:custGeom>
                <a:avLst/>
                <a:gdLst>
                  <a:gd name="T0" fmla="*/ 2652 w 2676"/>
                  <a:gd name="T1" fmla="*/ 0 h 45"/>
                  <a:gd name="T2" fmla="*/ 2652 w 2676"/>
                  <a:gd name="T3" fmla="*/ 45 h 45"/>
                  <a:gd name="T4" fmla="*/ 0 w 2676"/>
                  <a:gd name="T5" fmla="*/ 45 h 45"/>
                  <a:gd name="T6" fmla="*/ 0 w 2676"/>
                  <a:gd name="T7" fmla="*/ 45 h 45"/>
                  <a:gd name="T8" fmla="*/ 2676 w 2676"/>
                  <a:gd name="T9" fmla="*/ 45 h 45"/>
                  <a:gd name="T10" fmla="*/ 2676 w 2676"/>
                  <a:gd name="T11" fmla="*/ 0 h 45"/>
                  <a:gd name="T12" fmla="*/ 2652 w 2676"/>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676" h="45">
                    <a:moveTo>
                      <a:pt x="2652" y="0"/>
                    </a:moveTo>
                    <a:lnTo>
                      <a:pt x="2652" y="45"/>
                    </a:lnTo>
                    <a:lnTo>
                      <a:pt x="0" y="45"/>
                    </a:lnTo>
                    <a:lnTo>
                      <a:pt x="0" y="45"/>
                    </a:lnTo>
                    <a:lnTo>
                      <a:pt x="2676" y="45"/>
                    </a:lnTo>
                    <a:lnTo>
                      <a:pt x="2676" y="0"/>
                    </a:lnTo>
                    <a:lnTo>
                      <a:pt x="2652" y="0"/>
                    </a:lnTo>
                    <a:close/>
                  </a:path>
                </a:pathLst>
              </a:cu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Rectangle 138"/>
              <p:cNvSpPr>
                <a:spLocks noChangeArrowheads="1"/>
              </p:cNvSpPr>
              <p:nvPr/>
            </p:nvSpPr>
            <p:spPr bwMode="auto">
              <a:xfrm>
                <a:off x="127" y="4204"/>
                <a:ext cx="2652" cy="45"/>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Rectangle 139"/>
              <p:cNvSpPr>
                <a:spLocks noChangeArrowheads="1"/>
              </p:cNvSpPr>
              <p:nvPr/>
            </p:nvSpPr>
            <p:spPr bwMode="auto">
              <a:xfrm>
                <a:off x="101" y="4204"/>
                <a:ext cx="2678" cy="45"/>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40"/>
              <p:cNvSpPr>
                <a:spLocks/>
              </p:cNvSpPr>
              <p:nvPr/>
            </p:nvSpPr>
            <p:spPr bwMode="auto">
              <a:xfrm>
                <a:off x="5304" y="3724"/>
                <a:ext cx="19" cy="55"/>
              </a:xfrm>
              <a:custGeom>
                <a:avLst/>
                <a:gdLst>
                  <a:gd name="T0" fmla="*/ 19 w 19"/>
                  <a:gd name="T1" fmla="*/ 0 h 55"/>
                  <a:gd name="T2" fmla="*/ 0 w 19"/>
                  <a:gd name="T3" fmla="*/ 0 h 55"/>
                  <a:gd name="T4" fmla="*/ 0 w 19"/>
                  <a:gd name="T5" fmla="*/ 55 h 55"/>
                  <a:gd name="T6" fmla="*/ 19 w 19"/>
                  <a:gd name="T7" fmla="*/ 50 h 55"/>
                  <a:gd name="T8" fmla="*/ 19 w 19"/>
                  <a:gd name="T9" fmla="*/ 0 h 55"/>
                </a:gdLst>
                <a:ahLst/>
                <a:cxnLst>
                  <a:cxn ang="0">
                    <a:pos x="T0" y="T1"/>
                  </a:cxn>
                  <a:cxn ang="0">
                    <a:pos x="T2" y="T3"/>
                  </a:cxn>
                  <a:cxn ang="0">
                    <a:pos x="T4" y="T5"/>
                  </a:cxn>
                  <a:cxn ang="0">
                    <a:pos x="T6" y="T7"/>
                  </a:cxn>
                  <a:cxn ang="0">
                    <a:pos x="T8" y="T9"/>
                  </a:cxn>
                </a:cxnLst>
                <a:rect l="0" t="0" r="r" b="b"/>
                <a:pathLst>
                  <a:path w="19" h="55">
                    <a:moveTo>
                      <a:pt x="19" y="0"/>
                    </a:moveTo>
                    <a:lnTo>
                      <a:pt x="0" y="0"/>
                    </a:lnTo>
                    <a:lnTo>
                      <a:pt x="0" y="55"/>
                    </a:lnTo>
                    <a:lnTo>
                      <a:pt x="19" y="50"/>
                    </a:lnTo>
                    <a:lnTo>
                      <a:pt x="19"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41"/>
              <p:cNvSpPr>
                <a:spLocks/>
              </p:cNvSpPr>
              <p:nvPr/>
            </p:nvSpPr>
            <p:spPr bwMode="auto">
              <a:xfrm>
                <a:off x="5323" y="3724"/>
                <a:ext cx="50" cy="50"/>
              </a:xfrm>
              <a:custGeom>
                <a:avLst/>
                <a:gdLst>
                  <a:gd name="T0" fmla="*/ 50 w 50"/>
                  <a:gd name="T1" fmla="*/ 36 h 50"/>
                  <a:gd name="T2" fmla="*/ 50 w 50"/>
                  <a:gd name="T3" fmla="*/ 0 h 50"/>
                  <a:gd name="T4" fmla="*/ 0 w 50"/>
                  <a:gd name="T5" fmla="*/ 0 h 50"/>
                  <a:gd name="T6" fmla="*/ 0 w 50"/>
                  <a:gd name="T7" fmla="*/ 50 h 50"/>
                  <a:gd name="T8" fmla="*/ 50 w 50"/>
                  <a:gd name="T9" fmla="*/ 36 h 50"/>
                </a:gdLst>
                <a:ahLst/>
                <a:cxnLst>
                  <a:cxn ang="0">
                    <a:pos x="T0" y="T1"/>
                  </a:cxn>
                  <a:cxn ang="0">
                    <a:pos x="T2" y="T3"/>
                  </a:cxn>
                  <a:cxn ang="0">
                    <a:pos x="T4" y="T5"/>
                  </a:cxn>
                  <a:cxn ang="0">
                    <a:pos x="T6" y="T7"/>
                  </a:cxn>
                  <a:cxn ang="0">
                    <a:pos x="T8" y="T9"/>
                  </a:cxn>
                </a:cxnLst>
                <a:rect l="0" t="0" r="r" b="b"/>
                <a:pathLst>
                  <a:path w="50" h="50">
                    <a:moveTo>
                      <a:pt x="50" y="36"/>
                    </a:moveTo>
                    <a:lnTo>
                      <a:pt x="50" y="0"/>
                    </a:lnTo>
                    <a:lnTo>
                      <a:pt x="0" y="0"/>
                    </a:lnTo>
                    <a:lnTo>
                      <a:pt x="0" y="50"/>
                    </a:lnTo>
                    <a:lnTo>
                      <a:pt x="50" y="36"/>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Rectangle 142"/>
              <p:cNvSpPr>
                <a:spLocks noChangeArrowheads="1"/>
              </p:cNvSpPr>
              <p:nvPr/>
            </p:nvSpPr>
            <p:spPr bwMode="auto">
              <a:xfrm>
                <a:off x="5304" y="3724"/>
                <a:ext cx="69" cy="83"/>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43"/>
              <p:cNvSpPr>
                <a:spLocks/>
              </p:cNvSpPr>
              <p:nvPr/>
            </p:nvSpPr>
            <p:spPr bwMode="auto">
              <a:xfrm>
                <a:off x="5304" y="3672"/>
                <a:ext cx="0" cy="90"/>
              </a:xfrm>
              <a:custGeom>
                <a:avLst/>
                <a:gdLst>
                  <a:gd name="T0" fmla="*/ 0 h 90"/>
                  <a:gd name="T1" fmla="*/ 90 h 90"/>
                  <a:gd name="T2" fmla="*/ 0 h 90"/>
                </a:gdLst>
                <a:ahLst/>
                <a:cxnLst>
                  <a:cxn ang="0">
                    <a:pos x="0" y="T0"/>
                  </a:cxn>
                  <a:cxn ang="0">
                    <a:pos x="0" y="T1"/>
                  </a:cxn>
                  <a:cxn ang="0">
                    <a:pos x="0" y="T2"/>
                  </a:cxn>
                </a:cxnLst>
                <a:rect l="0" t="0" r="r" b="b"/>
                <a:pathLst>
                  <a:path h="90">
                    <a:moveTo>
                      <a:pt x="0" y="0"/>
                    </a:moveTo>
                    <a:lnTo>
                      <a:pt x="0" y="9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Line 144"/>
              <p:cNvSpPr>
                <a:spLocks noChangeShapeType="1"/>
              </p:cNvSpPr>
              <p:nvPr/>
            </p:nvSpPr>
            <p:spPr bwMode="auto">
              <a:xfrm>
                <a:off x="5304" y="3672"/>
                <a:ext cx="0" cy="9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8" name="Freeform 145"/>
              <p:cNvSpPr>
                <a:spLocks/>
              </p:cNvSpPr>
              <p:nvPr/>
            </p:nvSpPr>
            <p:spPr bwMode="auto">
              <a:xfrm>
                <a:off x="5304" y="3779"/>
                <a:ext cx="19" cy="479"/>
              </a:xfrm>
              <a:custGeom>
                <a:avLst/>
                <a:gdLst>
                  <a:gd name="T0" fmla="*/ 0 w 19"/>
                  <a:gd name="T1" fmla="*/ 28 h 479"/>
                  <a:gd name="T2" fmla="*/ 0 w 19"/>
                  <a:gd name="T3" fmla="*/ 0 h 479"/>
                  <a:gd name="T4" fmla="*/ 0 w 19"/>
                  <a:gd name="T5" fmla="*/ 0 h 479"/>
                  <a:gd name="T6" fmla="*/ 0 w 19"/>
                  <a:gd name="T7" fmla="*/ 479 h 479"/>
                  <a:gd name="T8" fmla="*/ 19 w 19"/>
                  <a:gd name="T9" fmla="*/ 479 h 479"/>
                  <a:gd name="T10" fmla="*/ 19 w 19"/>
                  <a:gd name="T11" fmla="*/ 28 h 479"/>
                  <a:gd name="T12" fmla="*/ 0 w 19"/>
                  <a:gd name="T13" fmla="*/ 28 h 479"/>
                </a:gdLst>
                <a:ahLst/>
                <a:cxnLst>
                  <a:cxn ang="0">
                    <a:pos x="T0" y="T1"/>
                  </a:cxn>
                  <a:cxn ang="0">
                    <a:pos x="T2" y="T3"/>
                  </a:cxn>
                  <a:cxn ang="0">
                    <a:pos x="T4" y="T5"/>
                  </a:cxn>
                  <a:cxn ang="0">
                    <a:pos x="T6" y="T7"/>
                  </a:cxn>
                  <a:cxn ang="0">
                    <a:pos x="T8" y="T9"/>
                  </a:cxn>
                  <a:cxn ang="0">
                    <a:pos x="T10" y="T11"/>
                  </a:cxn>
                  <a:cxn ang="0">
                    <a:pos x="T12" y="T13"/>
                  </a:cxn>
                </a:cxnLst>
                <a:rect l="0" t="0" r="r" b="b"/>
                <a:pathLst>
                  <a:path w="19" h="479">
                    <a:moveTo>
                      <a:pt x="0" y="28"/>
                    </a:moveTo>
                    <a:lnTo>
                      <a:pt x="0" y="0"/>
                    </a:lnTo>
                    <a:lnTo>
                      <a:pt x="0" y="0"/>
                    </a:lnTo>
                    <a:lnTo>
                      <a:pt x="0" y="479"/>
                    </a:lnTo>
                    <a:lnTo>
                      <a:pt x="19" y="479"/>
                    </a:lnTo>
                    <a:lnTo>
                      <a:pt x="19" y="28"/>
                    </a:lnTo>
                    <a:lnTo>
                      <a:pt x="0" y="28"/>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46"/>
              <p:cNvSpPr>
                <a:spLocks/>
              </p:cNvSpPr>
              <p:nvPr/>
            </p:nvSpPr>
            <p:spPr bwMode="auto">
              <a:xfrm>
                <a:off x="5392" y="3738"/>
                <a:ext cx="52" cy="22"/>
              </a:xfrm>
              <a:custGeom>
                <a:avLst/>
                <a:gdLst>
                  <a:gd name="T0" fmla="*/ 52 w 52"/>
                  <a:gd name="T1" fmla="*/ 5 h 22"/>
                  <a:gd name="T2" fmla="*/ 52 w 52"/>
                  <a:gd name="T3" fmla="*/ 0 h 22"/>
                  <a:gd name="T4" fmla="*/ 0 w 52"/>
                  <a:gd name="T5" fmla="*/ 15 h 22"/>
                  <a:gd name="T6" fmla="*/ 0 w 52"/>
                  <a:gd name="T7" fmla="*/ 22 h 22"/>
                  <a:gd name="T8" fmla="*/ 52 w 52"/>
                  <a:gd name="T9" fmla="*/ 5 h 22"/>
                </a:gdLst>
                <a:ahLst/>
                <a:cxnLst>
                  <a:cxn ang="0">
                    <a:pos x="T0" y="T1"/>
                  </a:cxn>
                  <a:cxn ang="0">
                    <a:pos x="T2" y="T3"/>
                  </a:cxn>
                  <a:cxn ang="0">
                    <a:pos x="T4" y="T5"/>
                  </a:cxn>
                  <a:cxn ang="0">
                    <a:pos x="T6" y="T7"/>
                  </a:cxn>
                  <a:cxn ang="0">
                    <a:pos x="T8" y="T9"/>
                  </a:cxn>
                </a:cxnLst>
                <a:rect l="0" t="0" r="r" b="b"/>
                <a:pathLst>
                  <a:path w="52" h="22">
                    <a:moveTo>
                      <a:pt x="52" y="5"/>
                    </a:moveTo>
                    <a:lnTo>
                      <a:pt x="52" y="0"/>
                    </a:lnTo>
                    <a:lnTo>
                      <a:pt x="0" y="15"/>
                    </a:lnTo>
                    <a:lnTo>
                      <a:pt x="0" y="22"/>
                    </a:lnTo>
                    <a:lnTo>
                      <a:pt x="52" y="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47"/>
              <p:cNvSpPr>
                <a:spLocks/>
              </p:cNvSpPr>
              <p:nvPr/>
            </p:nvSpPr>
            <p:spPr bwMode="auto">
              <a:xfrm>
                <a:off x="5304" y="3774"/>
                <a:ext cx="19" cy="33"/>
              </a:xfrm>
              <a:custGeom>
                <a:avLst/>
                <a:gdLst>
                  <a:gd name="T0" fmla="*/ 19 w 19"/>
                  <a:gd name="T1" fmla="*/ 33 h 33"/>
                  <a:gd name="T2" fmla="*/ 19 w 19"/>
                  <a:gd name="T3" fmla="*/ 5 h 33"/>
                  <a:gd name="T4" fmla="*/ 19 w 19"/>
                  <a:gd name="T5" fmla="*/ 5 h 33"/>
                  <a:gd name="T6" fmla="*/ 19 w 19"/>
                  <a:gd name="T7" fmla="*/ 0 h 33"/>
                  <a:gd name="T8" fmla="*/ 0 w 19"/>
                  <a:gd name="T9" fmla="*/ 5 h 33"/>
                  <a:gd name="T10" fmla="*/ 0 w 19"/>
                  <a:gd name="T11" fmla="*/ 33 h 33"/>
                  <a:gd name="T12" fmla="*/ 19 w 19"/>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9" h="33">
                    <a:moveTo>
                      <a:pt x="19" y="33"/>
                    </a:moveTo>
                    <a:lnTo>
                      <a:pt x="19" y="5"/>
                    </a:lnTo>
                    <a:lnTo>
                      <a:pt x="19" y="5"/>
                    </a:lnTo>
                    <a:lnTo>
                      <a:pt x="19" y="0"/>
                    </a:lnTo>
                    <a:lnTo>
                      <a:pt x="0" y="5"/>
                    </a:lnTo>
                    <a:lnTo>
                      <a:pt x="0" y="33"/>
                    </a:lnTo>
                    <a:lnTo>
                      <a:pt x="19" y="33"/>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48"/>
              <p:cNvSpPr>
                <a:spLocks/>
              </p:cNvSpPr>
              <p:nvPr/>
            </p:nvSpPr>
            <p:spPr bwMode="auto">
              <a:xfrm>
                <a:off x="5373" y="3753"/>
                <a:ext cx="19" cy="12"/>
              </a:xfrm>
              <a:custGeom>
                <a:avLst/>
                <a:gdLst>
                  <a:gd name="T0" fmla="*/ 0 w 19"/>
                  <a:gd name="T1" fmla="*/ 12 h 12"/>
                  <a:gd name="T2" fmla="*/ 19 w 19"/>
                  <a:gd name="T3" fmla="*/ 7 h 12"/>
                  <a:gd name="T4" fmla="*/ 19 w 19"/>
                  <a:gd name="T5" fmla="*/ 0 h 12"/>
                  <a:gd name="T6" fmla="*/ 0 w 19"/>
                  <a:gd name="T7" fmla="*/ 7 h 12"/>
                  <a:gd name="T8" fmla="*/ 0 w 19"/>
                  <a:gd name="T9" fmla="*/ 12 h 12"/>
                </a:gdLst>
                <a:ahLst/>
                <a:cxnLst>
                  <a:cxn ang="0">
                    <a:pos x="T0" y="T1"/>
                  </a:cxn>
                  <a:cxn ang="0">
                    <a:pos x="T2" y="T3"/>
                  </a:cxn>
                  <a:cxn ang="0">
                    <a:pos x="T4" y="T5"/>
                  </a:cxn>
                  <a:cxn ang="0">
                    <a:pos x="T6" y="T7"/>
                  </a:cxn>
                  <a:cxn ang="0">
                    <a:pos x="T8" y="T9"/>
                  </a:cxn>
                </a:cxnLst>
                <a:rect l="0" t="0" r="r" b="b"/>
                <a:pathLst>
                  <a:path w="19" h="12">
                    <a:moveTo>
                      <a:pt x="0" y="12"/>
                    </a:moveTo>
                    <a:lnTo>
                      <a:pt x="19" y="7"/>
                    </a:lnTo>
                    <a:lnTo>
                      <a:pt x="19" y="0"/>
                    </a:lnTo>
                    <a:lnTo>
                      <a:pt x="0" y="7"/>
                    </a:lnTo>
                    <a:lnTo>
                      <a:pt x="0" y="12"/>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49"/>
              <p:cNvSpPr>
                <a:spLocks/>
              </p:cNvSpPr>
              <p:nvPr/>
            </p:nvSpPr>
            <p:spPr bwMode="auto">
              <a:xfrm>
                <a:off x="5323" y="3760"/>
                <a:ext cx="50" cy="19"/>
              </a:xfrm>
              <a:custGeom>
                <a:avLst/>
                <a:gdLst>
                  <a:gd name="T0" fmla="*/ 50 w 50"/>
                  <a:gd name="T1" fmla="*/ 0 h 19"/>
                  <a:gd name="T2" fmla="*/ 0 w 50"/>
                  <a:gd name="T3" fmla="*/ 14 h 19"/>
                  <a:gd name="T4" fmla="*/ 0 w 50"/>
                  <a:gd name="T5" fmla="*/ 19 h 19"/>
                  <a:gd name="T6" fmla="*/ 50 w 50"/>
                  <a:gd name="T7" fmla="*/ 5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lnTo>
                      <a:pt x="0" y="14"/>
                    </a:lnTo>
                    <a:lnTo>
                      <a:pt x="0" y="19"/>
                    </a:lnTo>
                    <a:lnTo>
                      <a:pt x="50" y="5"/>
                    </a:lnTo>
                    <a:lnTo>
                      <a:pt x="50"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50"/>
              <p:cNvSpPr>
                <a:spLocks/>
              </p:cNvSpPr>
              <p:nvPr/>
            </p:nvSpPr>
            <p:spPr bwMode="auto">
              <a:xfrm>
                <a:off x="5444" y="3738"/>
                <a:ext cx="16" cy="520"/>
              </a:xfrm>
              <a:custGeom>
                <a:avLst/>
                <a:gdLst>
                  <a:gd name="T0" fmla="*/ 0 w 16"/>
                  <a:gd name="T1" fmla="*/ 5 h 520"/>
                  <a:gd name="T2" fmla="*/ 0 w 16"/>
                  <a:gd name="T3" fmla="*/ 520 h 520"/>
                  <a:gd name="T4" fmla="*/ 16 w 16"/>
                  <a:gd name="T5" fmla="*/ 520 h 520"/>
                  <a:gd name="T6" fmla="*/ 16 w 16"/>
                  <a:gd name="T7" fmla="*/ 0 h 520"/>
                  <a:gd name="T8" fmla="*/ 0 w 16"/>
                  <a:gd name="T9" fmla="*/ 5 h 520"/>
                </a:gdLst>
                <a:ahLst/>
                <a:cxnLst>
                  <a:cxn ang="0">
                    <a:pos x="T0" y="T1"/>
                  </a:cxn>
                  <a:cxn ang="0">
                    <a:pos x="T2" y="T3"/>
                  </a:cxn>
                  <a:cxn ang="0">
                    <a:pos x="T4" y="T5"/>
                  </a:cxn>
                  <a:cxn ang="0">
                    <a:pos x="T6" y="T7"/>
                  </a:cxn>
                  <a:cxn ang="0">
                    <a:pos x="T8" y="T9"/>
                  </a:cxn>
                </a:cxnLst>
                <a:rect l="0" t="0" r="r" b="b"/>
                <a:pathLst>
                  <a:path w="16" h="520">
                    <a:moveTo>
                      <a:pt x="0" y="5"/>
                    </a:moveTo>
                    <a:lnTo>
                      <a:pt x="0" y="520"/>
                    </a:lnTo>
                    <a:lnTo>
                      <a:pt x="16" y="520"/>
                    </a:lnTo>
                    <a:lnTo>
                      <a:pt x="16" y="0"/>
                    </a:lnTo>
                    <a:lnTo>
                      <a:pt x="0" y="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Rectangle 151"/>
              <p:cNvSpPr>
                <a:spLocks noChangeArrowheads="1"/>
              </p:cNvSpPr>
              <p:nvPr/>
            </p:nvSpPr>
            <p:spPr bwMode="auto">
              <a:xfrm>
                <a:off x="5323" y="3779"/>
                <a:ext cx="1" cy="28"/>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52"/>
              <p:cNvSpPr>
                <a:spLocks/>
              </p:cNvSpPr>
              <p:nvPr/>
            </p:nvSpPr>
            <p:spPr bwMode="auto">
              <a:xfrm>
                <a:off x="5323" y="3743"/>
                <a:ext cx="121" cy="515"/>
              </a:xfrm>
              <a:custGeom>
                <a:avLst/>
                <a:gdLst>
                  <a:gd name="T0" fmla="*/ 69 w 121"/>
                  <a:gd name="T1" fmla="*/ 17 h 515"/>
                  <a:gd name="T2" fmla="*/ 50 w 121"/>
                  <a:gd name="T3" fmla="*/ 22 h 515"/>
                  <a:gd name="T4" fmla="*/ 0 w 121"/>
                  <a:gd name="T5" fmla="*/ 36 h 515"/>
                  <a:gd name="T6" fmla="*/ 0 w 121"/>
                  <a:gd name="T7" fmla="*/ 64 h 515"/>
                  <a:gd name="T8" fmla="*/ 0 w 121"/>
                  <a:gd name="T9" fmla="*/ 64 h 515"/>
                  <a:gd name="T10" fmla="*/ 0 w 121"/>
                  <a:gd name="T11" fmla="*/ 515 h 515"/>
                  <a:gd name="T12" fmla="*/ 121 w 121"/>
                  <a:gd name="T13" fmla="*/ 515 h 515"/>
                  <a:gd name="T14" fmla="*/ 121 w 121"/>
                  <a:gd name="T15" fmla="*/ 0 h 515"/>
                  <a:gd name="T16" fmla="*/ 69 w 121"/>
                  <a:gd name="T17" fmla="*/ 1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515">
                    <a:moveTo>
                      <a:pt x="69" y="17"/>
                    </a:moveTo>
                    <a:lnTo>
                      <a:pt x="50" y="22"/>
                    </a:lnTo>
                    <a:lnTo>
                      <a:pt x="0" y="36"/>
                    </a:lnTo>
                    <a:lnTo>
                      <a:pt x="0" y="64"/>
                    </a:lnTo>
                    <a:lnTo>
                      <a:pt x="0" y="64"/>
                    </a:lnTo>
                    <a:lnTo>
                      <a:pt x="0" y="515"/>
                    </a:lnTo>
                    <a:lnTo>
                      <a:pt x="121" y="515"/>
                    </a:lnTo>
                    <a:lnTo>
                      <a:pt x="121" y="0"/>
                    </a:lnTo>
                    <a:lnTo>
                      <a:pt x="69" y="17"/>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53"/>
              <p:cNvSpPr>
                <a:spLocks/>
              </p:cNvSpPr>
              <p:nvPr/>
            </p:nvSpPr>
            <p:spPr bwMode="auto">
              <a:xfrm>
                <a:off x="5555" y="3354"/>
                <a:ext cx="0" cy="102"/>
              </a:xfrm>
              <a:custGeom>
                <a:avLst/>
                <a:gdLst>
                  <a:gd name="T0" fmla="*/ 102 h 102"/>
                  <a:gd name="T1" fmla="*/ 0 h 102"/>
                  <a:gd name="T2" fmla="*/ 102 h 102"/>
                </a:gdLst>
                <a:ahLst/>
                <a:cxnLst>
                  <a:cxn ang="0">
                    <a:pos x="0" y="T0"/>
                  </a:cxn>
                  <a:cxn ang="0">
                    <a:pos x="0" y="T1"/>
                  </a:cxn>
                  <a:cxn ang="0">
                    <a:pos x="0" y="T2"/>
                  </a:cxn>
                </a:cxnLst>
                <a:rect l="0" t="0" r="r" b="b"/>
                <a:pathLst>
                  <a:path h="102">
                    <a:moveTo>
                      <a:pt x="0" y="102"/>
                    </a:moveTo>
                    <a:lnTo>
                      <a:pt x="0" y="0"/>
                    </a:lnTo>
                    <a:lnTo>
                      <a:pt x="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Line 154"/>
              <p:cNvSpPr>
                <a:spLocks noChangeShapeType="1"/>
              </p:cNvSpPr>
              <p:nvPr/>
            </p:nvSpPr>
            <p:spPr bwMode="auto">
              <a:xfrm flipV="1">
                <a:off x="5555" y="3354"/>
                <a:ext cx="0" cy="102"/>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8" name="Freeform 155"/>
              <p:cNvSpPr>
                <a:spLocks/>
              </p:cNvSpPr>
              <p:nvPr/>
            </p:nvSpPr>
            <p:spPr bwMode="auto">
              <a:xfrm>
                <a:off x="5195" y="3634"/>
                <a:ext cx="0" cy="76"/>
              </a:xfrm>
              <a:custGeom>
                <a:avLst/>
                <a:gdLst>
                  <a:gd name="T0" fmla="*/ 76 h 76"/>
                  <a:gd name="T1" fmla="*/ 0 h 76"/>
                  <a:gd name="T2" fmla="*/ 76 h 76"/>
                </a:gdLst>
                <a:ahLst/>
                <a:cxnLst>
                  <a:cxn ang="0">
                    <a:pos x="0" y="T0"/>
                  </a:cxn>
                  <a:cxn ang="0">
                    <a:pos x="0" y="T1"/>
                  </a:cxn>
                  <a:cxn ang="0">
                    <a:pos x="0" y="T2"/>
                  </a:cxn>
                </a:cxnLst>
                <a:rect l="0" t="0" r="r" b="b"/>
                <a:pathLst>
                  <a:path h="76">
                    <a:moveTo>
                      <a:pt x="0" y="76"/>
                    </a:moveTo>
                    <a:lnTo>
                      <a:pt x="0" y="0"/>
                    </a:lnTo>
                    <a:lnTo>
                      <a:pt x="0"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Line 156"/>
              <p:cNvSpPr>
                <a:spLocks noChangeShapeType="1"/>
              </p:cNvSpPr>
              <p:nvPr/>
            </p:nvSpPr>
            <p:spPr bwMode="auto">
              <a:xfrm flipV="1">
                <a:off x="5195" y="3634"/>
                <a:ext cx="0" cy="76"/>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0" name="Freeform 157"/>
              <p:cNvSpPr>
                <a:spLocks/>
              </p:cNvSpPr>
              <p:nvPr/>
            </p:nvSpPr>
            <p:spPr bwMode="auto">
              <a:xfrm>
                <a:off x="5161" y="3691"/>
                <a:ext cx="64" cy="97"/>
              </a:xfrm>
              <a:custGeom>
                <a:avLst/>
                <a:gdLst>
                  <a:gd name="T0" fmla="*/ 16 w 27"/>
                  <a:gd name="T1" fmla="*/ 0 h 41"/>
                  <a:gd name="T2" fmla="*/ 11 w 27"/>
                  <a:gd name="T3" fmla="*/ 0 h 41"/>
                  <a:gd name="T4" fmla="*/ 0 w 27"/>
                  <a:gd name="T5" fmla="*/ 11 h 41"/>
                  <a:gd name="T6" fmla="*/ 0 w 27"/>
                  <a:gd name="T7" fmla="*/ 41 h 41"/>
                  <a:gd name="T8" fmla="*/ 27 w 27"/>
                  <a:gd name="T9" fmla="*/ 41 h 41"/>
                  <a:gd name="T10" fmla="*/ 27 w 27"/>
                  <a:gd name="T11" fmla="*/ 11 h 41"/>
                  <a:gd name="T12" fmla="*/ 16 w 27"/>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7" h="41">
                    <a:moveTo>
                      <a:pt x="16" y="0"/>
                    </a:moveTo>
                    <a:cubicBezTo>
                      <a:pt x="11" y="0"/>
                      <a:pt x="11" y="0"/>
                      <a:pt x="11" y="0"/>
                    </a:cubicBezTo>
                    <a:cubicBezTo>
                      <a:pt x="5" y="0"/>
                      <a:pt x="0" y="5"/>
                      <a:pt x="0" y="11"/>
                    </a:cubicBezTo>
                    <a:cubicBezTo>
                      <a:pt x="0" y="41"/>
                      <a:pt x="0" y="41"/>
                      <a:pt x="0" y="41"/>
                    </a:cubicBezTo>
                    <a:cubicBezTo>
                      <a:pt x="27" y="41"/>
                      <a:pt x="27" y="41"/>
                      <a:pt x="27" y="41"/>
                    </a:cubicBezTo>
                    <a:cubicBezTo>
                      <a:pt x="27" y="11"/>
                      <a:pt x="27" y="11"/>
                      <a:pt x="27" y="11"/>
                    </a:cubicBezTo>
                    <a:cubicBezTo>
                      <a:pt x="27" y="5"/>
                      <a:pt x="22" y="0"/>
                      <a:pt x="16"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58"/>
              <p:cNvSpPr>
                <a:spLocks/>
              </p:cNvSpPr>
              <p:nvPr/>
            </p:nvSpPr>
            <p:spPr bwMode="auto">
              <a:xfrm>
                <a:off x="5161" y="3691"/>
                <a:ext cx="41" cy="97"/>
              </a:xfrm>
              <a:custGeom>
                <a:avLst/>
                <a:gdLst>
                  <a:gd name="T0" fmla="*/ 17 w 17"/>
                  <a:gd name="T1" fmla="*/ 0 h 41"/>
                  <a:gd name="T2" fmla="*/ 14 w 17"/>
                  <a:gd name="T3" fmla="*/ 0 h 41"/>
                  <a:gd name="T4" fmla="*/ 0 w 17"/>
                  <a:gd name="T5" fmla="*/ 13 h 41"/>
                  <a:gd name="T6" fmla="*/ 0 w 17"/>
                  <a:gd name="T7" fmla="*/ 41 h 41"/>
                  <a:gd name="T8" fmla="*/ 7 w 17"/>
                  <a:gd name="T9" fmla="*/ 41 h 41"/>
                  <a:gd name="T10" fmla="*/ 7 w 17"/>
                  <a:gd name="T11" fmla="*/ 13 h 41"/>
                  <a:gd name="T12" fmla="*/ 17 w 17"/>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17" h="41">
                    <a:moveTo>
                      <a:pt x="17" y="0"/>
                    </a:moveTo>
                    <a:cubicBezTo>
                      <a:pt x="16" y="0"/>
                      <a:pt x="15" y="0"/>
                      <a:pt x="14" y="0"/>
                    </a:cubicBezTo>
                    <a:cubicBezTo>
                      <a:pt x="6" y="0"/>
                      <a:pt x="0" y="6"/>
                      <a:pt x="0" y="13"/>
                    </a:cubicBezTo>
                    <a:cubicBezTo>
                      <a:pt x="0" y="41"/>
                      <a:pt x="0" y="41"/>
                      <a:pt x="0" y="41"/>
                    </a:cubicBezTo>
                    <a:cubicBezTo>
                      <a:pt x="7" y="41"/>
                      <a:pt x="7" y="41"/>
                      <a:pt x="7" y="41"/>
                    </a:cubicBezTo>
                    <a:cubicBezTo>
                      <a:pt x="7" y="13"/>
                      <a:pt x="7" y="13"/>
                      <a:pt x="7" y="13"/>
                    </a:cubicBezTo>
                    <a:cubicBezTo>
                      <a:pt x="7" y="7"/>
                      <a:pt x="11" y="2"/>
                      <a:pt x="17"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59"/>
              <p:cNvSpPr>
                <a:spLocks/>
              </p:cNvSpPr>
              <p:nvPr/>
            </p:nvSpPr>
            <p:spPr bwMode="auto">
              <a:xfrm>
                <a:off x="5178" y="3691"/>
                <a:ext cx="47" cy="97"/>
              </a:xfrm>
              <a:custGeom>
                <a:avLst/>
                <a:gdLst>
                  <a:gd name="T0" fmla="*/ 10 w 20"/>
                  <a:gd name="T1" fmla="*/ 0 h 41"/>
                  <a:gd name="T2" fmla="*/ 0 w 20"/>
                  <a:gd name="T3" fmla="*/ 13 h 41"/>
                  <a:gd name="T4" fmla="*/ 0 w 20"/>
                  <a:gd name="T5" fmla="*/ 41 h 41"/>
                  <a:gd name="T6" fmla="*/ 20 w 20"/>
                  <a:gd name="T7" fmla="*/ 41 h 41"/>
                  <a:gd name="T8" fmla="*/ 20 w 20"/>
                  <a:gd name="T9" fmla="*/ 13 h 41"/>
                  <a:gd name="T10" fmla="*/ 10 w 20"/>
                  <a:gd name="T11" fmla="*/ 0 h 41"/>
                </a:gdLst>
                <a:ahLst/>
                <a:cxnLst>
                  <a:cxn ang="0">
                    <a:pos x="T0" y="T1"/>
                  </a:cxn>
                  <a:cxn ang="0">
                    <a:pos x="T2" y="T3"/>
                  </a:cxn>
                  <a:cxn ang="0">
                    <a:pos x="T4" y="T5"/>
                  </a:cxn>
                  <a:cxn ang="0">
                    <a:pos x="T6" y="T7"/>
                  </a:cxn>
                  <a:cxn ang="0">
                    <a:pos x="T8" y="T9"/>
                  </a:cxn>
                  <a:cxn ang="0">
                    <a:pos x="T10" y="T11"/>
                  </a:cxn>
                </a:cxnLst>
                <a:rect l="0" t="0" r="r" b="b"/>
                <a:pathLst>
                  <a:path w="20" h="41">
                    <a:moveTo>
                      <a:pt x="10" y="0"/>
                    </a:moveTo>
                    <a:cubicBezTo>
                      <a:pt x="4" y="2"/>
                      <a:pt x="0" y="7"/>
                      <a:pt x="0" y="13"/>
                    </a:cubicBezTo>
                    <a:cubicBezTo>
                      <a:pt x="0" y="41"/>
                      <a:pt x="0" y="41"/>
                      <a:pt x="0" y="41"/>
                    </a:cubicBezTo>
                    <a:cubicBezTo>
                      <a:pt x="20" y="41"/>
                      <a:pt x="20" y="41"/>
                      <a:pt x="20" y="41"/>
                    </a:cubicBezTo>
                    <a:cubicBezTo>
                      <a:pt x="20" y="13"/>
                      <a:pt x="20" y="13"/>
                      <a:pt x="20" y="13"/>
                    </a:cubicBezTo>
                    <a:cubicBezTo>
                      <a:pt x="20" y="7"/>
                      <a:pt x="16" y="2"/>
                      <a:pt x="10"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60"/>
              <p:cNvSpPr>
                <a:spLocks/>
              </p:cNvSpPr>
              <p:nvPr/>
            </p:nvSpPr>
            <p:spPr bwMode="auto">
              <a:xfrm>
                <a:off x="5161" y="3691"/>
                <a:ext cx="64" cy="97"/>
              </a:xfrm>
              <a:custGeom>
                <a:avLst/>
                <a:gdLst>
                  <a:gd name="T0" fmla="*/ 16 w 27"/>
                  <a:gd name="T1" fmla="*/ 0 h 41"/>
                  <a:gd name="T2" fmla="*/ 11 w 27"/>
                  <a:gd name="T3" fmla="*/ 0 h 41"/>
                  <a:gd name="T4" fmla="*/ 0 w 27"/>
                  <a:gd name="T5" fmla="*/ 11 h 41"/>
                  <a:gd name="T6" fmla="*/ 0 w 27"/>
                  <a:gd name="T7" fmla="*/ 41 h 41"/>
                  <a:gd name="T8" fmla="*/ 27 w 27"/>
                  <a:gd name="T9" fmla="*/ 41 h 41"/>
                  <a:gd name="T10" fmla="*/ 27 w 27"/>
                  <a:gd name="T11" fmla="*/ 11 h 41"/>
                  <a:gd name="T12" fmla="*/ 16 w 27"/>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7" h="41">
                    <a:moveTo>
                      <a:pt x="16" y="0"/>
                    </a:moveTo>
                    <a:cubicBezTo>
                      <a:pt x="11" y="0"/>
                      <a:pt x="11" y="0"/>
                      <a:pt x="11" y="0"/>
                    </a:cubicBezTo>
                    <a:cubicBezTo>
                      <a:pt x="5" y="0"/>
                      <a:pt x="0" y="5"/>
                      <a:pt x="0" y="11"/>
                    </a:cubicBezTo>
                    <a:cubicBezTo>
                      <a:pt x="0" y="41"/>
                      <a:pt x="0" y="41"/>
                      <a:pt x="0" y="41"/>
                    </a:cubicBezTo>
                    <a:cubicBezTo>
                      <a:pt x="27" y="41"/>
                      <a:pt x="27" y="41"/>
                      <a:pt x="27" y="41"/>
                    </a:cubicBezTo>
                    <a:cubicBezTo>
                      <a:pt x="27" y="11"/>
                      <a:pt x="27" y="11"/>
                      <a:pt x="27" y="11"/>
                    </a:cubicBezTo>
                    <a:cubicBezTo>
                      <a:pt x="27" y="5"/>
                      <a:pt x="22" y="0"/>
                      <a:pt x="16"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Rectangle 161"/>
              <p:cNvSpPr>
                <a:spLocks noChangeArrowheads="1"/>
              </p:cNvSpPr>
              <p:nvPr/>
            </p:nvSpPr>
            <p:spPr bwMode="auto">
              <a:xfrm>
                <a:off x="5477" y="3632"/>
                <a:ext cx="159" cy="106"/>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62"/>
              <p:cNvSpPr>
                <a:spLocks/>
              </p:cNvSpPr>
              <p:nvPr/>
            </p:nvSpPr>
            <p:spPr bwMode="auto">
              <a:xfrm>
                <a:off x="5456" y="3427"/>
                <a:ext cx="199" cy="207"/>
              </a:xfrm>
              <a:custGeom>
                <a:avLst/>
                <a:gdLst>
                  <a:gd name="T0" fmla="*/ 84 w 84"/>
                  <a:gd name="T1" fmla="*/ 54 h 87"/>
                  <a:gd name="T2" fmla="*/ 42 w 84"/>
                  <a:gd name="T3" fmla="*/ 0 h 87"/>
                  <a:gd name="T4" fmla="*/ 42 w 84"/>
                  <a:gd name="T5" fmla="*/ 0 h 87"/>
                  <a:gd name="T6" fmla="*/ 0 w 84"/>
                  <a:gd name="T7" fmla="*/ 54 h 87"/>
                  <a:gd name="T8" fmla="*/ 9 w 84"/>
                  <a:gd name="T9" fmla="*/ 79 h 87"/>
                  <a:gd name="T10" fmla="*/ 9 w 84"/>
                  <a:gd name="T11" fmla="*/ 87 h 87"/>
                  <a:gd name="T12" fmla="*/ 75 w 84"/>
                  <a:gd name="T13" fmla="*/ 87 h 87"/>
                  <a:gd name="T14" fmla="*/ 75 w 84"/>
                  <a:gd name="T15" fmla="*/ 79 h 87"/>
                  <a:gd name="T16" fmla="*/ 84 w 84"/>
                  <a:gd name="T17" fmla="*/ 5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87">
                    <a:moveTo>
                      <a:pt x="84" y="54"/>
                    </a:moveTo>
                    <a:cubicBezTo>
                      <a:pt x="84" y="30"/>
                      <a:pt x="53" y="7"/>
                      <a:pt x="42" y="0"/>
                    </a:cubicBezTo>
                    <a:cubicBezTo>
                      <a:pt x="42" y="0"/>
                      <a:pt x="42" y="0"/>
                      <a:pt x="42" y="0"/>
                    </a:cubicBezTo>
                    <a:cubicBezTo>
                      <a:pt x="30" y="7"/>
                      <a:pt x="0" y="27"/>
                      <a:pt x="0" y="54"/>
                    </a:cubicBezTo>
                    <a:cubicBezTo>
                      <a:pt x="0" y="63"/>
                      <a:pt x="3" y="72"/>
                      <a:pt x="9" y="79"/>
                    </a:cubicBezTo>
                    <a:cubicBezTo>
                      <a:pt x="9" y="87"/>
                      <a:pt x="9" y="87"/>
                      <a:pt x="9" y="87"/>
                    </a:cubicBezTo>
                    <a:cubicBezTo>
                      <a:pt x="75" y="87"/>
                      <a:pt x="75" y="87"/>
                      <a:pt x="75" y="87"/>
                    </a:cubicBezTo>
                    <a:cubicBezTo>
                      <a:pt x="75" y="79"/>
                      <a:pt x="75" y="79"/>
                      <a:pt x="75" y="79"/>
                    </a:cubicBezTo>
                    <a:cubicBezTo>
                      <a:pt x="81" y="72"/>
                      <a:pt x="84" y="63"/>
                      <a:pt x="84" y="54"/>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63"/>
              <p:cNvSpPr>
                <a:spLocks/>
              </p:cNvSpPr>
              <p:nvPr/>
            </p:nvSpPr>
            <p:spPr bwMode="auto">
              <a:xfrm>
                <a:off x="6322" y="3354"/>
                <a:ext cx="0" cy="102"/>
              </a:xfrm>
              <a:custGeom>
                <a:avLst/>
                <a:gdLst>
                  <a:gd name="T0" fmla="*/ 102 h 102"/>
                  <a:gd name="T1" fmla="*/ 0 h 102"/>
                  <a:gd name="T2" fmla="*/ 102 h 102"/>
                </a:gdLst>
                <a:ahLst/>
                <a:cxnLst>
                  <a:cxn ang="0">
                    <a:pos x="0" y="T0"/>
                  </a:cxn>
                  <a:cxn ang="0">
                    <a:pos x="0" y="T1"/>
                  </a:cxn>
                  <a:cxn ang="0">
                    <a:pos x="0" y="T2"/>
                  </a:cxn>
                </a:cxnLst>
                <a:rect l="0" t="0" r="r" b="b"/>
                <a:pathLst>
                  <a:path h="102">
                    <a:moveTo>
                      <a:pt x="0" y="102"/>
                    </a:moveTo>
                    <a:lnTo>
                      <a:pt x="0" y="0"/>
                    </a:lnTo>
                    <a:lnTo>
                      <a:pt x="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Line 164"/>
              <p:cNvSpPr>
                <a:spLocks noChangeShapeType="1"/>
              </p:cNvSpPr>
              <p:nvPr/>
            </p:nvSpPr>
            <p:spPr bwMode="auto">
              <a:xfrm flipV="1">
                <a:off x="6322" y="3354"/>
                <a:ext cx="0" cy="102"/>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8" name="Freeform 165"/>
              <p:cNvSpPr>
                <a:spLocks/>
              </p:cNvSpPr>
              <p:nvPr/>
            </p:nvSpPr>
            <p:spPr bwMode="auto">
              <a:xfrm>
                <a:off x="6220" y="3427"/>
                <a:ext cx="201" cy="207"/>
              </a:xfrm>
              <a:custGeom>
                <a:avLst/>
                <a:gdLst>
                  <a:gd name="T0" fmla="*/ 85 w 85"/>
                  <a:gd name="T1" fmla="*/ 54 h 87"/>
                  <a:gd name="T2" fmla="*/ 43 w 85"/>
                  <a:gd name="T3" fmla="*/ 0 h 87"/>
                  <a:gd name="T4" fmla="*/ 42 w 85"/>
                  <a:gd name="T5" fmla="*/ 0 h 87"/>
                  <a:gd name="T6" fmla="*/ 0 w 85"/>
                  <a:gd name="T7" fmla="*/ 54 h 87"/>
                  <a:gd name="T8" fmla="*/ 10 w 85"/>
                  <a:gd name="T9" fmla="*/ 79 h 87"/>
                  <a:gd name="T10" fmla="*/ 10 w 85"/>
                  <a:gd name="T11" fmla="*/ 87 h 87"/>
                  <a:gd name="T12" fmla="*/ 76 w 85"/>
                  <a:gd name="T13" fmla="*/ 87 h 87"/>
                  <a:gd name="T14" fmla="*/ 76 w 85"/>
                  <a:gd name="T15" fmla="*/ 79 h 87"/>
                  <a:gd name="T16" fmla="*/ 85 w 85"/>
                  <a:gd name="T17" fmla="*/ 5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87">
                    <a:moveTo>
                      <a:pt x="85" y="54"/>
                    </a:moveTo>
                    <a:cubicBezTo>
                      <a:pt x="85" y="30"/>
                      <a:pt x="54" y="7"/>
                      <a:pt x="43" y="0"/>
                    </a:cubicBezTo>
                    <a:cubicBezTo>
                      <a:pt x="43" y="0"/>
                      <a:pt x="43" y="0"/>
                      <a:pt x="42" y="0"/>
                    </a:cubicBezTo>
                    <a:cubicBezTo>
                      <a:pt x="31" y="7"/>
                      <a:pt x="0" y="27"/>
                      <a:pt x="0" y="54"/>
                    </a:cubicBezTo>
                    <a:cubicBezTo>
                      <a:pt x="0" y="63"/>
                      <a:pt x="4" y="72"/>
                      <a:pt x="10" y="79"/>
                    </a:cubicBezTo>
                    <a:cubicBezTo>
                      <a:pt x="10" y="87"/>
                      <a:pt x="10" y="87"/>
                      <a:pt x="10" y="87"/>
                    </a:cubicBezTo>
                    <a:cubicBezTo>
                      <a:pt x="76" y="87"/>
                      <a:pt x="76" y="87"/>
                      <a:pt x="76" y="87"/>
                    </a:cubicBezTo>
                    <a:cubicBezTo>
                      <a:pt x="76" y="79"/>
                      <a:pt x="76" y="79"/>
                      <a:pt x="76" y="79"/>
                    </a:cubicBezTo>
                    <a:cubicBezTo>
                      <a:pt x="82" y="72"/>
                      <a:pt x="85" y="63"/>
                      <a:pt x="85" y="54"/>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66"/>
              <p:cNvSpPr>
                <a:spLocks/>
              </p:cNvSpPr>
              <p:nvPr/>
            </p:nvSpPr>
            <p:spPr bwMode="auto">
              <a:xfrm>
                <a:off x="5147" y="3783"/>
                <a:ext cx="93" cy="475"/>
              </a:xfrm>
              <a:custGeom>
                <a:avLst/>
                <a:gdLst>
                  <a:gd name="T0" fmla="*/ 0 w 93"/>
                  <a:gd name="T1" fmla="*/ 475 h 475"/>
                  <a:gd name="T2" fmla="*/ 93 w 93"/>
                  <a:gd name="T3" fmla="*/ 475 h 475"/>
                  <a:gd name="T4" fmla="*/ 81 w 93"/>
                  <a:gd name="T5" fmla="*/ 0 h 475"/>
                  <a:gd name="T6" fmla="*/ 12 w 93"/>
                  <a:gd name="T7" fmla="*/ 0 h 475"/>
                  <a:gd name="T8" fmla="*/ 0 w 93"/>
                  <a:gd name="T9" fmla="*/ 475 h 475"/>
                </a:gdLst>
                <a:ahLst/>
                <a:cxnLst>
                  <a:cxn ang="0">
                    <a:pos x="T0" y="T1"/>
                  </a:cxn>
                  <a:cxn ang="0">
                    <a:pos x="T2" y="T3"/>
                  </a:cxn>
                  <a:cxn ang="0">
                    <a:pos x="T4" y="T5"/>
                  </a:cxn>
                  <a:cxn ang="0">
                    <a:pos x="T6" y="T7"/>
                  </a:cxn>
                  <a:cxn ang="0">
                    <a:pos x="T8" y="T9"/>
                  </a:cxn>
                </a:cxnLst>
                <a:rect l="0" t="0" r="r" b="b"/>
                <a:pathLst>
                  <a:path w="93" h="475">
                    <a:moveTo>
                      <a:pt x="0" y="475"/>
                    </a:moveTo>
                    <a:lnTo>
                      <a:pt x="93" y="475"/>
                    </a:lnTo>
                    <a:lnTo>
                      <a:pt x="81" y="0"/>
                    </a:lnTo>
                    <a:lnTo>
                      <a:pt x="12" y="0"/>
                    </a:lnTo>
                    <a:lnTo>
                      <a:pt x="0" y="47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67"/>
              <p:cNvSpPr>
                <a:spLocks/>
              </p:cNvSpPr>
              <p:nvPr/>
            </p:nvSpPr>
            <p:spPr bwMode="auto">
              <a:xfrm>
                <a:off x="5150" y="3786"/>
                <a:ext cx="28" cy="470"/>
              </a:xfrm>
              <a:custGeom>
                <a:avLst/>
                <a:gdLst>
                  <a:gd name="T0" fmla="*/ 11 w 28"/>
                  <a:gd name="T1" fmla="*/ 0 h 470"/>
                  <a:gd name="T2" fmla="*/ 0 w 28"/>
                  <a:gd name="T3" fmla="*/ 470 h 470"/>
                  <a:gd name="T4" fmla="*/ 16 w 28"/>
                  <a:gd name="T5" fmla="*/ 470 h 470"/>
                  <a:gd name="T6" fmla="*/ 28 w 28"/>
                  <a:gd name="T7" fmla="*/ 0 h 470"/>
                  <a:gd name="T8" fmla="*/ 11 w 28"/>
                  <a:gd name="T9" fmla="*/ 0 h 470"/>
                </a:gdLst>
                <a:ahLst/>
                <a:cxnLst>
                  <a:cxn ang="0">
                    <a:pos x="T0" y="T1"/>
                  </a:cxn>
                  <a:cxn ang="0">
                    <a:pos x="T2" y="T3"/>
                  </a:cxn>
                  <a:cxn ang="0">
                    <a:pos x="T4" y="T5"/>
                  </a:cxn>
                  <a:cxn ang="0">
                    <a:pos x="T6" y="T7"/>
                  </a:cxn>
                  <a:cxn ang="0">
                    <a:pos x="T8" y="T9"/>
                  </a:cxn>
                </a:cxnLst>
                <a:rect l="0" t="0" r="r" b="b"/>
                <a:pathLst>
                  <a:path w="28" h="470">
                    <a:moveTo>
                      <a:pt x="11" y="0"/>
                    </a:moveTo>
                    <a:lnTo>
                      <a:pt x="0" y="470"/>
                    </a:lnTo>
                    <a:lnTo>
                      <a:pt x="16" y="470"/>
                    </a:lnTo>
                    <a:lnTo>
                      <a:pt x="28" y="0"/>
                    </a:lnTo>
                    <a:lnTo>
                      <a:pt x="11"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68"/>
              <p:cNvSpPr>
                <a:spLocks/>
              </p:cNvSpPr>
              <p:nvPr/>
            </p:nvSpPr>
            <p:spPr bwMode="auto">
              <a:xfrm>
                <a:off x="5166" y="3786"/>
                <a:ext cx="71" cy="470"/>
              </a:xfrm>
              <a:custGeom>
                <a:avLst/>
                <a:gdLst>
                  <a:gd name="T0" fmla="*/ 12 w 71"/>
                  <a:gd name="T1" fmla="*/ 0 h 470"/>
                  <a:gd name="T2" fmla="*/ 0 w 71"/>
                  <a:gd name="T3" fmla="*/ 470 h 470"/>
                  <a:gd name="T4" fmla="*/ 71 w 71"/>
                  <a:gd name="T5" fmla="*/ 470 h 470"/>
                  <a:gd name="T6" fmla="*/ 59 w 71"/>
                  <a:gd name="T7" fmla="*/ 0 h 470"/>
                  <a:gd name="T8" fmla="*/ 12 w 71"/>
                  <a:gd name="T9" fmla="*/ 0 h 470"/>
                </a:gdLst>
                <a:ahLst/>
                <a:cxnLst>
                  <a:cxn ang="0">
                    <a:pos x="T0" y="T1"/>
                  </a:cxn>
                  <a:cxn ang="0">
                    <a:pos x="T2" y="T3"/>
                  </a:cxn>
                  <a:cxn ang="0">
                    <a:pos x="T4" y="T5"/>
                  </a:cxn>
                  <a:cxn ang="0">
                    <a:pos x="T6" y="T7"/>
                  </a:cxn>
                  <a:cxn ang="0">
                    <a:pos x="T8" y="T9"/>
                  </a:cxn>
                </a:cxnLst>
                <a:rect l="0" t="0" r="r" b="b"/>
                <a:pathLst>
                  <a:path w="71" h="470">
                    <a:moveTo>
                      <a:pt x="12" y="0"/>
                    </a:moveTo>
                    <a:lnTo>
                      <a:pt x="0" y="470"/>
                    </a:lnTo>
                    <a:lnTo>
                      <a:pt x="71" y="470"/>
                    </a:lnTo>
                    <a:lnTo>
                      <a:pt x="59" y="0"/>
                    </a:lnTo>
                    <a:lnTo>
                      <a:pt x="12"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69"/>
              <p:cNvSpPr>
                <a:spLocks/>
              </p:cNvSpPr>
              <p:nvPr/>
            </p:nvSpPr>
            <p:spPr bwMode="auto">
              <a:xfrm>
                <a:off x="5150" y="3786"/>
                <a:ext cx="87" cy="470"/>
              </a:xfrm>
              <a:custGeom>
                <a:avLst/>
                <a:gdLst>
                  <a:gd name="T0" fmla="*/ 0 w 87"/>
                  <a:gd name="T1" fmla="*/ 470 h 470"/>
                  <a:gd name="T2" fmla="*/ 11 w 87"/>
                  <a:gd name="T3" fmla="*/ 0 h 470"/>
                  <a:gd name="T4" fmla="*/ 75 w 87"/>
                  <a:gd name="T5" fmla="*/ 0 h 470"/>
                  <a:gd name="T6" fmla="*/ 87 w 87"/>
                  <a:gd name="T7" fmla="*/ 470 h 470"/>
                  <a:gd name="T8" fmla="*/ 0 w 87"/>
                  <a:gd name="T9" fmla="*/ 470 h 470"/>
                </a:gdLst>
                <a:ahLst/>
                <a:cxnLst>
                  <a:cxn ang="0">
                    <a:pos x="T0" y="T1"/>
                  </a:cxn>
                  <a:cxn ang="0">
                    <a:pos x="T2" y="T3"/>
                  </a:cxn>
                  <a:cxn ang="0">
                    <a:pos x="T4" y="T5"/>
                  </a:cxn>
                  <a:cxn ang="0">
                    <a:pos x="T6" y="T7"/>
                  </a:cxn>
                  <a:cxn ang="0">
                    <a:pos x="T8" y="T9"/>
                  </a:cxn>
                </a:cxnLst>
                <a:rect l="0" t="0" r="r" b="b"/>
                <a:pathLst>
                  <a:path w="87" h="470">
                    <a:moveTo>
                      <a:pt x="0" y="470"/>
                    </a:moveTo>
                    <a:lnTo>
                      <a:pt x="11" y="0"/>
                    </a:lnTo>
                    <a:lnTo>
                      <a:pt x="75" y="0"/>
                    </a:lnTo>
                    <a:lnTo>
                      <a:pt x="87" y="470"/>
                    </a:lnTo>
                    <a:lnTo>
                      <a:pt x="0" y="47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70"/>
              <p:cNvSpPr>
                <a:spLocks/>
              </p:cNvSpPr>
              <p:nvPr/>
            </p:nvSpPr>
            <p:spPr bwMode="auto">
              <a:xfrm>
                <a:off x="5304" y="3738"/>
                <a:ext cx="140" cy="520"/>
              </a:xfrm>
              <a:custGeom>
                <a:avLst/>
                <a:gdLst>
                  <a:gd name="T0" fmla="*/ 0 w 140"/>
                  <a:gd name="T1" fmla="*/ 342 h 520"/>
                  <a:gd name="T2" fmla="*/ 0 w 140"/>
                  <a:gd name="T3" fmla="*/ 520 h 520"/>
                  <a:gd name="T4" fmla="*/ 140 w 140"/>
                  <a:gd name="T5" fmla="*/ 520 h 520"/>
                  <a:gd name="T6" fmla="*/ 140 w 140"/>
                  <a:gd name="T7" fmla="*/ 0 h 520"/>
                  <a:gd name="T8" fmla="*/ 0 w 140"/>
                  <a:gd name="T9" fmla="*/ 41 h 520"/>
                  <a:gd name="T10" fmla="*/ 0 w 140"/>
                  <a:gd name="T11" fmla="*/ 314 h 520"/>
                  <a:gd name="T12" fmla="*/ 0 w 140"/>
                  <a:gd name="T13" fmla="*/ 342 h 520"/>
                </a:gdLst>
                <a:ahLst/>
                <a:cxnLst>
                  <a:cxn ang="0">
                    <a:pos x="T0" y="T1"/>
                  </a:cxn>
                  <a:cxn ang="0">
                    <a:pos x="T2" y="T3"/>
                  </a:cxn>
                  <a:cxn ang="0">
                    <a:pos x="T4" y="T5"/>
                  </a:cxn>
                  <a:cxn ang="0">
                    <a:pos x="T6" y="T7"/>
                  </a:cxn>
                  <a:cxn ang="0">
                    <a:pos x="T8" y="T9"/>
                  </a:cxn>
                  <a:cxn ang="0">
                    <a:pos x="T10" y="T11"/>
                  </a:cxn>
                  <a:cxn ang="0">
                    <a:pos x="T12" y="T13"/>
                  </a:cxn>
                </a:cxnLst>
                <a:rect l="0" t="0" r="r" b="b"/>
                <a:pathLst>
                  <a:path w="140" h="520">
                    <a:moveTo>
                      <a:pt x="0" y="342"/>
                    </a:moveTo>
                    <a:lnTo>
                      <a:pt x="0" y="520"/>
                    </a:lnTo>
                    <a:lnTo>
                      <a:pt x="140" y="520"/>
                    </a:lnTo>
                    <a:lnTo>
                      <a:pt x="140" y="0"/>
                    </a:lnTo>
                    <a:lnTo>
                      <a:pt x="0" y="41"/>
                    </a:lnTo>
                    <a:lnTo>
                      <a:pt x="0" y="314"/>
                    </a:lnTo>
                    <a:lnTo>
                      <a:pt x="0" y="342"/>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71"/>
              <p:cNvSpPr>
                <a:spLocks/>
              </p:cNvSpPr>
              <p:nvPr/>
            </p:nvSpPr>
            <p:spPr bwMode="auto">
              <a:xfrm>
                <a:off x="5444" y="3734"/>
                <a:ext cx="227" cy="524"/>
              </a:xfrm>
              <a:custGeom>
                <a:avLst/>
                <a:gdLst>
                  <a:gd name="T0" fmla="*/ 19 w 227"/>
                  <a:gd name="T1" fmla="*/ 0 h 524"/>
                  <a:gd name="T2" fmla="*/ 0 w 227"/>
                  <a:gd name="T3" fmla="*/ 0 h 524"/>
                  <a:gd name="T4" fmla="*/ 0 w 227"/>
                  <a:gd name="T5" fmla="*/ 524 h 524"/>
                  <a:gd name="T6" fmla="*/ 227 w 227"/>
                  <a:gd name="T7" fmla="*/ 524 h 524"/>
                  <a:gd name="T8" fmla="*/ 227 w 227"/>
                  <a:gd name="T9" fmla="*/ 524 h 524"/>
                  <a:gd name="T10" fmla="*/ 19 w 227"/>
                  <a:gd name="T11" fmla="*/ 524 h 524"/>
                  <a:gd name="T12" fmla="*/ 19 w 227"/>
                  <a:gd name="T13" fmla="*/ 0 h 524"/>
                </a:gdLst>
                <a:ahLst/>
                <a:cxnLst>
                  <a:cxn ang="0">
                    <a:pos x="T0" y="T1"/>
                  </a:cxn>
                  <a:cxn ang="0">
                    <a:pos x="T2" y="T3"/>
                  </a:cxn>
                  <a:cxn ang="0">
                    <a:pos x="T4" y="T5"/>
                  </a:cxn>
                  <a:cxn ang="0">
                    <a:pos x="T6" y="T7"/>
                  </a:cxn>
                  <a:cxn ang="0">
                    <a:pos x="T8" y="T9"/>
                  </a:cxn>
                  <a:cxn ang="0">
                    <a:pos x="T10" y="T11"/>
                  </a:cxn>
                  <a:cxn ang="0">
                    <a:pos x="T12" y="T13"/>
                  </a:cxn>
                </a:cxnLst>
                <a:rect l="0" t="0" r="r" b="b"/>
                <a:pathLst>
                  <a:path w="227" h="524">
                    <a:moveTo>
                      <a:pt x="19" y="0"/>
                    </a:moveTo>
                    <a:lnTo>
                      <a:pt x="0" y="0"/>
                    </a:lnTo>
                    <a:lnTo>
                      <a:pt x="0" y="524"/>
                    </a:lnTo>
                    <a:lnTo>
                      <a:pt x="227" y="524"/>
                    </a:lnTo>
                    <a:lnTo>
                      <a:pt x="227" y="524"/>
                    </a:lnTo>
                    <a:lnTo>
                      <a:pt x="19" y="524"/>
                    </a:lnTo>
                    <a:lnTo>
                      <a:pt x="19"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72"/>
              <p:cNvSpPr>
                <a:spLocks/>
              </p:cNvSpPr>
              <p:nvPr/>
            </p:nvSpPr>
            <p:spPr bwMode="auto">
              <a:xfrm>
                <a:off x="5463" y="3731"/>
                <a:ext cx="227" cy="527"/>
              </a:xfrm>
              <a:custGeom>
                <a:avLst/>
                <a:gdLst>
                  <a:gd name="T0" fmla="*/ 227 w 227"/>
                  <a:gd name="T1" fmla="*/ 0 h 527"/>
                  <a:gd name="T2" fmla="*/ 0 w 227"/>
                  <a:gd name="T3" fmla="*/ 0 h 527"/>
                  <a:gd name="T4" fmla="*/ 0 w 227"/>
                  <a:gd name="T5" fmla="*/ 3 h 527"/>
                  <a:gd name="T6" fmla="*/ 208 w 227"/>
                  <a:gd name="T7" fmla="*/ 3 h 527"/>
                  <a:gd name="T8" fmla="*/ 208 w 227"/>
                  <a:gd name="T9" fmla="*/ 527 h 527"/>
                  <a:gd name="T10" fmla="*/ 227 w 227"/>
                  <a:gd name="T11" fmla="*/ 527 h 527"/>
                  <a:gd name="T12" fmla="*/ 227 w 227"/>
                  <a:gd name="T13" fmla="*/ 0 h 527"/>
                </a:gdLst>
                <a:ahLst/>
                <a:cxnLst>
                  <a:cxn ang="0">
                    <a:pos x="T0" y="T1"/>
                  </a:cxn>
                  <a:cxn ang="0">
                    <a:pos x="T2" y="T3"/>
                  </a:cxn>
                  <a:cxn ang="0">
                    <a:pos x="T4" y="T5"/>
                  </a:cxn>
                  <a:cxn ang="0">
                    <a:pos x="T6" y="T7"/>
                  </a:cxn>
                  <a:cxn ang="0">
                    <a:pos x="T8" y="T9"/>
                  </a:cxn>
                  <a:cxn ang="0">
                    <a:pos x="T10" y="T11"/>
                  </a:cxn>
                  <a:cxn ang="0">
                    <a:pos x="T12" y="T13"/>
                  </a:cxn>
                </a:cxnLst>
                <a:rect l="0" t="0" r="r" b="b"/>
                <a:pathLst>
                  <a:path w="227" h="527">
                    <a:moveTo>
                      <a:pt x="227" y="0"/>
                    </a:moveTo>
                    <a:lnTo>
                      <a:pt x="0" y="0"/>
                    </a:lnTo>
                    <a:lnTo>
                      <a:pt x="0" y="3"/>
                    </a:lnTo>
                    <a:lnTo>
                      <a:pt x="208" y="3"/>
                    </a:lnTo>
                    <a:lnTo>
                      <a:pt x="208" y="527"/>
                    </a:lnTo>
                    <a:lnTo>
                      <a:pt x="227" y="527"/>
                    </a:lnTo>
                    <a:lnTo>
                      <a:pt x="227"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Rectangle 173"/>
              <p:cNvSpPr>
                <a:spLocks noChangeArrowheads="1"/>
              </p:cNvSpPr>
              <p:nvPr/>
            </p:nvSpPr>
            <p:spPr bwMode="auto">
              <a:xfrm>
                <a:off x="5463" y="3734"/>
                <a:ext cx="208" cy="524"/>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Rectangle 174"/>
              <p:cNvSpPr>
                <a:spLocks noChangeArrowheads="1"/>
              </p:cNvSpPr>
              <p:nvPr/>
            </p:nvSpPr>
            <p:spPr bwMode="auto">
              <a:xfrm>
                <a:off x="5444" y="3738"/>
                <a:ext cx="227" cy="520"/>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75"/>
              <p:cNvSpPr>
                <a:spLocks/>
              </p:cNvSpPr>
              <p:nvPr/>
            </p:nvSpPr>
            <p:spPr bwMode="auto">
              <a:xfrm>
                <a:off x="5491" y="4080"/>
                <a:ext cx="133" cy="173"/>
              </a:xfrm>
              <a:custGeom>
                <a:avLst/>
                <a:gdLst>
                  <a:gd name="T0" fmla="*/ 28 w 56"/>
                  <a:gd name="T1" fmla="*/ 0 h 73"/>
                  <a:gd name="T2" fmla="*/ 0 w 56"/>
                  <a:gd name="T3" fmla="*/ 25 h 73"/>
                  <a:gd name="T4" fmla="*/ 0 w 56"/>
                  <a:gd name="T5" fmla="*/ 73 h 73"/>
                  <a:gd name="T6" fmla="*/ 28 w 56"/>
                  <a:gd name="T7" fmla="*/ 73 h 73"/>
                  <a:gd name="T8" fmla="*/ 56 w 56"/>
                  <a:gd name="T9" fmla="*/ 73 h 73"/>
                  <a:gd name="T10" fmla="*/ 56 w 56"/>
                  <a:gd name="T11" fmla="*/ 25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15" y="0"/>
                      <a:pt x="0" y="16"/>
                      <a:pt x="0" y="25"/>
                    </a:cubicBezTo>
                    <a:cubicBezTo>
                      <a:pt x="0" y="35"/>
                      <a:pt x="0" y="73"/>
                      <a:pt x="0" y="73"/>
                    </a:cubicBezTo>
                    <a:cubicBezTo>
                      <a:pt x="28" y="73"/>
                      <a:pt x="28" y="73"/>
                      <a:pt x="28" y="73"/>
                    </a:cubicBezTo>
                    <a:cubicBezTo>
                      <a:pt x="56" y="73"/>
                      <a:pt x="56" y="73"/>
                      <a:pt x="56" y="73"/>
                    </a:cubicBezTo>
                    <a:cubicBezTo>
                      <a:pt x="56" y="73"/>
                      <a:pt x="56" y="35"/>
                      <a:pt x="56" y="25"/>
                    </a:cubicBezTo>
                    <a:cubicBezTo>
                      <a:pt x="56" y="16"/>
                      <a:pt x="40"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76"/>
              <p:cNvSpPr>
                <a:spLocks/>
              </p:cNvSpPr>
              <p:nvPr/>
            </p:nvSpPr>
            <p:spPr bwMode="auto">
              <a:xfrm>
                <a:off x="5491" y="3848"/>
                <a:ext cx="133" cy="173"/>
              </a:xfrm>
              <a:custGeom>
                <a:avLst/>
                <a:gdLst>
                  <a:gd name="T0" fmla="*/ 28 w 56"/>
                  <a:gd name="T1" fmla="*/ 0 h 73"/>
                  <a:gd name="T2" fmla="*/ 0 w 56"/>
                  <a:gd name="T3" fmla="*/ 26 h 73"/>
                  <a:gd name="T4" fmla="*/ 0 w 56"/>
                  <a:gd name="T5" fmla="*/ 73 h 73"/>
                  <a:gd name="T6" fmla="*/ 28 w 56"/>
                  <a:gd name="T7" fmla="*/ 73 h 73"/>
                  <a:gd name="T8" fmla="*/ 56 w 56"/>
                  <a:gd name="T9" fmla="*/ 73 h 73"/>
                  <a:gd name="T10" fmla="*/ 56 w 56"/>
                  <a:gd name="T11" fmla="*/ 26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15" y="0"/>
                      <a:pt x="0" y="16"/>
                      <a:pt x="0" y="26"/>
                    </a:cubicBezTo>
                    <a:cubicBezTo>
                      <a:pt x="0" y="35"/>
                      <a:pt x="0" y="73"/>
                      <a:pt x="0" y="73"/>
                    </a:cubicBezTo>
                    <a:cubicBezTo>
                      <a:pt x="28" y="73"/>
                      <a:pt x="28" y="73"/>
                      <a:pt x="28" y="73"/>
                    </a:cubicBezTo>
                    <a:cubicBezTo>
                      <a:pt x="56" y="73"/>
                      <a:pt x="56" y="73"/>
                      <a:pt x="56" y="73"/>
                    </a:cubicBezTo>
                    <a:cubicBezTo>
                      <a:pt x="56" y="73"/>
                      <a:pt x="56" y="35"/>
                      <a:pt x="56" y="26"/>
                    </a:cubicBezTo>
                    <a:cubicBezTo>
                      <a:pt x="56" y="16"/>
                      <a:pt x="40"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77"/>
              <p:cNvSpPr>
                <a:spLocks/>
              </p:cNvSpPr>
              <p:nvPr/>
            </p:nvSpPr>
            <p:spPr bwMode="auto">
              <a:xfrm>
                <a:off x="5491" y="3848"/>
                <a:ext cx="133" cy="173"/>
              </a:xfrm>
              <a:custGeom>
                <a:avLst/>
                <a:gdLst>
                  <a:gd name="T0" fmla="*/ 28 w 56"/>
                  <a:gd name="T1" fmla="*/ 0 h 73"/>
                  <a:gd name="T2" fmla="*/ 0 w 56"/>
                  <a:gd name="T3" fmla="*/ 26 h 73"/>
                  <a:gd name="T4" fmla="*/ 0 w 56"/>
                  <a:gd name="T5" fmla="*/ 73 h 73"/>
                  <a:gd name="T6" fmla="*/ 28 w 56"/>
                  <a:gd name="T7" fmla="*/ 73 h 73"/>
                  <a:gd name="T8" fmla="*/ 56 w 56"/>
                  <a:gd name="T9" fmla="*/ 73 h 73"/>
                  <a:gd name="T10" fmla="*/ 56 w 56"/>
                  <a:gd name="T11" fmla="*/ 26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15" y="0"/>
                      <a:pt x="0" y="16"/>
                      <a:pt x="0" y="26"/>
                    </a:cubicBezTo>
                    <a:cubicBezTo>
                      <a:pt x="0" y="35"/>
                      <a:pt x="0" y="73"/>
                      <a:pt x="0" y="73"/>
                    </a:cubicBezTo>
                    <a:cubicBezTo>
                      <a:pt x="28" y="73"/>
                      <a:pt x="28" y="73"/>
                      <a:pt x="28" y="73"/>
                    </a:cubicBezTo>
                    <a:cubicBezTo>
                      <a:pt x="56" y="73"/>
                      <a:pt x="56" y="73"/>
                      <a:pt x="56" y="73"/>
                    </a:cubicBezTo>
                    <a:cubicBezTo>
                      <a:pt x="56" y="73"/>
                      <a:pt x="56" y="35"/>
                      <a:pt x="56" y="26"/>
                    </a:cubicBezTo>
                    <a:cubicBezTo>
                      <a:pt x="56" y="16"/>
                      <a:pt x="40"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78"/>
              <p:cNvSpPr>
                <a:spLocks/>
              </p:cNvSpPr>
              <p:nvPr/>
            </p:nvSpPr>
            <p:spPr bwMode="auto">
              <a:xfrm>
                <a:off x="5154" y="4109"/>
                <a:ext cx="79" cy="0"/>
              </a:xfrm>
              <a:custGeom>
                <a:avLst/>
                <a:gdLst>
                  <a:gd name="T0" fmla="*/ 0 w 79"/>
                  <a:gd name="T1" fmla="*/ 79 w 79"/>
                  <a:gd name="T2" fmla="*/ 0 w 79"/>
                </a:gdLst>
                <a:ahLst/>
                <a:cxnLst>
                  <a:cxn ang="0">
                    <a:pos x="T0" y="0"/>
                  </a:cxn>
                  <a:cxn ang="0">
                    <a:pos x="T1" y="0"/>
                  </a:cxn>
                  <a:cxn ang="0">
                    <a:pos x="T2" y="0"/>
                  </a:cxn>
                </a:cxnLst>
                <a:rect l="0" t="0" r="r" b="b"/>
                <a:pathLst>
                  <a:path w="79">
                    <a:moveTo>
                      <a:pt x="0" y="0"/>
                    </a:moveTo>
                    <a:lnTo>
                      <a:pt x="7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Line 179"/>
              <p:cNvSpPr>
                <a:spLocks noChangeShapeType="1"/>
              </p:cNvSpPr>
              <p:nvPr/>
            </p:nvSpPr>
            <p:spPr bwMode="auto">
              <a:xfrm>
                <a:off x="5154" y="4109"/>
                <a:ext cx="79"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3" name="Freeform 180"/>
              <p:cNvSpPr>
                <a:spLocks/>
              </p:cNvSpPr>
              <p:nvPr/>
            </p:nvSpPr>
            <p:spPr bwMode="auto">
              <a:xfrm>
                <a:off x="5147" y="3727"/>
                <a:ext cx="93" cy="0"/>
              </a:xfrm>
              <a:custGeom>
                <a:avLst/>
                <a:gdLst>
                  <a:gd name="T0" fmla="*/ 0 w 93"/>
                  <a:gd name="T1" fmla="*/ 93 w 93"/>
                  <a:gd name="T2" fmla="*/ 0 w 93"/>
                </a:gdLst>
                <a:ahLst/>
                <a:cxnLst>
                  <a:cxn ang="0">
                    <a:pos x="T0" y="0"/>
                  </a:cxn>
                  <a:cxn ang="0">
                    <a:pos x="T1" y="0"/>
                  </a:cxn>
                  <a:cxn ang="0">
                    <a:pos x="T2" y="0"/>
                  </a:cxn>
                </a:cxnLst>
                <a:rect l="0" t="0" r="r" b="b"/>
                <a:pathLst>
                  <a:path w="93">
                    <a:moveTo>
                      <a:pt x="0" y="0"/>
                    </a:moveTo>
                    <a:lnTo>
                      <a:pt x="9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Line 181"/>
              <p:cNvSpPr>
                <a:spLocks noChangeShapeType="1"/>
              </p:cNvSpPr>
              <p:nvPr/>
            </p:nvSpPr>
            <p:spPr bwMode="auto">
              <a:xfrm>
                <a:off x="5147" y="3727"/>
                <a:ext cx="93"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5" name="Freeform 182"/>
              <p:cNvSpPr>
                <a:spLocks/>
              </p:cNvSpPr>
              <p:nvPr/>
            </p:nvSpPr>
            <p:spPr bwMode="auto">
              <a:xfrm>
                <a:off x="6556" y="3724"/>
                <a:ext cx="17" cy="55"/>
              </a:xfrm>
              <a:custGeom>
                <a:avLst/>
                <a:gdLst>
                  <a:gd name="T0" fmla="*/ 0 w 17"/>
                  <a:gd name="T1" fmla="*/ 0 h 55"/>
                  <a:gd name="T2" fmla="*/ 17 w 17"/>
                  <a:gd name="T3" fmla="*/ 0 h 55"/>
                  <a:gd name="T4" fmla="*/ 17 w 17"/>
                  <a:gd name="T5" fmla="*/ 55 h 55"/>
                  <a:gd name="T6" fmla="*/ 0 w 17"/>
                  <a:gd name="T7" fmla="*/ 50 h 55"/>
                  <a:gd name="T8" fmla="*/ 0 w 17"/>
                  <a:gd name="T9" fmla="*/ 0 h 55"/>
                </a:gdLst>
                <a:ahLst/>
                <a:cxnLst>
                  <a:cxn ang="0">
                    <a:pos x="T0" y="T1"/>
                  </a:cxn>
                  <a:cxn ang="0">
                    <a:pos x="T2" y="T3"/>
                  </a:cxn>
                  <a:cxn ang="0">
                    <a:pos x="T4" y="T5"/>
                  </a:cxn>
                  <a:cxn ang="0">
                    <a:pos x="T6" y="T7"/>
                  </a:cxn>
                  <a:cxn ang="0">
                    <a:pos x="T8" y="T9"/>
                  </a:cxn>
                </a:cxnLst>
                <a:rect l="0" t="0" r="r" b="b"/>
                <a:pathLst>
                  <a:path w="17" h="55">
                    <a:moveTo>
                      <a:pt x="0" y="0"/>
                    </a:moveTo>
                    <a:lnTo>
                      <a:pt x="17" y="0"/>
                    </a:lnTo>
                    <a:lnTo>
                      <a:pt x="17" y="55"/>
                    </a:lnTo>
                    <a:lnTo>
                      <a:pt x="0" y="50"/>
                    </a:lnTo>
                    <a:lnTo>
                      <a:pt x="0"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83"/>
              <p:cNvSpPr>
                <a:spLocks/>
              </p:cNvSpPr>
              <p:nvPr/>
            </p:nvSpPr>
            <p:spPr bwMode="auto">
              <a:xfrm>
                <a:off x="6504" y="3724"/>
                <a:ext cx="52" cy="50"/>
              </a:xfrm>
              <a:custGeom>
                <a:avLst/>
                <a:gdLst>
                  <a:gd name="T0" fmla="*/ 0 w 52"/>
                  <a:gd name="T1" fmla="*/ 36 h 50"/>
                  <a:gd name="T2" fmla="*/ 0 w 52"/>
                  <a:gd name="T3" fmla="*/ 0 h 50"/>
                  <a:gd name="T4" fmla="*/ 52 w 52"/>
                  <a:gd name="T5" fmla="*/ 0 h 50"/>
                  <a:gd name="T6" fmla="*/ 52 w 52"/>
                  <a:gd name="T7" fmla="*/ 50 h 50"/>
                  <a:gd name="T8" fmla="*/ 0 w 52"/>
                  <a:gd name="T9" fmla="*/ 36 h 50"/>
                </a:gdLst>
                <a:ahLst/>
                <a:cxnLst>
                  <a:cxn ang="0">
                    <a:pos x="T0" y="T1"/>
                  </a:cxn>
                  <a:cxn ang="0">
                    <a:pos x="T2" y="T3"/>
                  </a:cxn>
                  <a:cxn ang="0">
                    <a:pos x="T4" y="T5"/>
                  </a:cxn>
                  <a:cxn ang="0">
                    <a:pos x="T6" y="T7"/>
                  </a:cxn>
                  <a:cxn ang="0">
                    <a:pos x="T8" y="T9"/>
                  </a:cxn>
                </a:cxnLst>
                <a:rect l="0" t="0" r="r" b="b"/>
                <a:pathLst>
                  <a:path w="52" h="50">
                    <a:moveTo>
                      <a:pt x="0" y="36"/>
                    </a:moveTo>
                    <a:lnTo>
                      <a:pt x="0" y="0"/>
                    </a:lnTo>
                    <a:lnTo>
                      <a:pt x="52" y="0"/>
                    </a:lnTo>
                    <a:lnTo>
                      <a:pt x="52" y="50"/>
                    </a:lnTo>
                    <a:lnTo>
                      <a:pt x="0" y="36"/>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Rectangle 184"/>
              <p:cNvSpPr>
                <a:spLocks noChangeArrowheads="1"/>
              </p:cNvSpPr>
              <p:nvPr/>
            </p:nvSpPr>
            <p:spPr bwMode="auto">
              <a:xfrm>
                <a:off x="6504" y="3724"/>
                <a:ext cx="69" cy="83"/>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85"/>
              <p:cNvSpPr>
                <a:spLocks/>
              </p:cNvSpPr>
              <p:nvPr/>
            </p:nvSpPr>
            <p:spPr bwMode="auto">
              <a:xfrm>
                <a:off x="6573" y="3672"/>
                <a:ext cx="0" cy="90"/>
              </a:xfrm>
              <a:custGeom>
                <a:avLst/>
                <a:gdLst>
                  <a:gd name="T0" fmla="*/ 0 h 90"/>
                  <a:gd name="T1" fmla="*/ 90 h 90"/>
                  <a:gd name="T2" fmla="*/ 0 h 90"/>
                </a:gdLst>
                <a:ahLst/>
                <a:cxnLst>
                  <a:cxn ang="0">
                    <a:pos x="0" y="T0"/>
                  </a:cxn>
                  <a:cxn ang="0">
                    <a:pos x="0" y="T1"/>
                  </a:cxn>
                  <a:cxn ang="0">
                    <a:pos x="0" y="T2"/>
                  </a:cxn>
                </a:cxnLst>
                <a:rect l="0" t="0" r="r" b="b"/>
                <a:pathLst>
                  <a:path h="90">
                    <a:moveTo>
                      <a:pt x="0" y="0"/>
                    </a:moveTo>
                    <a:lnTo>
                      <a:pt x="0" y="9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Line 186"/>
              <p:cNvSpPr>
                <a:spLocks noChangeShapeType="1"/>
              </p:cNvSpPr>
              <p:nvPr/>
            </p:nvSpPr>
            <p:spPr bwMode="auto">
              <a:xfrm>
                <a:off x="6573" y="3672"/>
                <a:ext cx="0" cy="9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 name="Freeform 187"/>
              <p:cNvSpPr>
                <a:spLocks/>
              </p:cNvSpPr>
              <p:nvPr/>
            </p:nvSpPr>
            <p:spPr bwMode="auto">
              <a:xfrm>
                <a:off x="6556" y="3779"/>
                <a:ext cx="17" cy="479"/>
              </a:xfrm>
              <a:custGeom>
                <a:avLst/>
                <a:gdLst>
                  <a:gd name="T0" fmla="*/ 17 w 17"/>
                  <a:gd name="T1" fmla="*/ 28 h 479"/>
                  <a:gd name="T2" fmla="*/ 17 w 17"/>
                  <a:gd name="T3" fmla="*/ 0 h 479"/>
                  <a:gd name="T4" fmla="*/ 17 w 17"/>
                  <a:gd name="T5" fmla="*/ 0 h 479"/>
                  <a:gd name="T6" fmla="*/ 17 w 17"/>
                  <a:gd name="T7" fmla="*/ 479 h 479"/>
                  <a:gd name="T8" fmla="*/ 0 w 17"/>
                  <a:gd name="T9" fmla="*/ 479 h 479"/>
                  <a:gd name="T10" fmla="*/ 0 w 17"/>
                  <a:gd name="T11" fmla="*/ 28 h 479"/>
                  <a:gd name="T12" fmla="*/ 17 w 17"/>
                  <a:gd name="T13" fmla="*/ 28 h 479"/>
                </a:gdLst>
                <a:ahLst/>
                <a:cxnLst>
                  <a:cxn ang="0">
                    <a:pos x="T0" y="T1"/>
                  </a:cxn>
                  <a:cxn ang="0">
                    <a:pos x="T2" y="T3"/>
                  </a:cxn>
                  <a:cxn ang="0">
                    <a:pos x="T4" y="T5"/>
                  </a:cxn>
                  <a:cxn ang="0">
                    <a:pos x="T6" y="T7"/>
                  </a:cxn>
                  <a:cxn ang="0">
                    <a:pos x="T8" y="T9"/>
                  </a:cxn>
                  <a:cxn ang="0">
                    <a:pos x="T10" y="T11"/>
                  </a:cxn>
                  <a:cxn ang="0">
                    <a:pos x="T12" y="T13"/>
                  </a:cxn>
                </a:cxnLst>
                <a:rect l="0" t="0" r="r" b="b"/>
                <a:pathLst>
                  <a:path w="17" h="479">
                    <a:moveTo>
                      <a:pt x="17" y="28"/>
                    </a:moveTo>
                    <a:lnTo>
                      <a:pt x="17" y="0"/>
                    </a:lnTo>
                    <a:lnTo>
                      <a:pt x="17" y="0"/>
                    </a:lnTo>
                    <a:lnTo>
                      <a:pt x="17" y="479"/>
                    </a:lnTo>
                    <a:lnTo>
                      <a:pt x="0" y="479"/>
                    </a:lnTo>
                    <a:lnTo>
                      <a:pt x="0" y="28"/>
                    </a:lnTo>
                    <a:lnTo>
                      <a:pt x="17" y="28"/>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88"/>
              <p:cNvSpPr>
                <a:spLocks/>
              </p:cNvSpPr>
              <p:nvPr/>
            </p:nvSpPr>
            <p:spPr bwMode="auto">
              <a:xfrm>
                <a:off x="6435" y="3738"/>
                <a:ext cx="53" cy="22"/>
              </a:xfrm>
              <a:custGeom>
                <a:avLst/>
                <a:gdLst>
                  <a:gd name="T0" fmla="*/ 0 w 53"/>
                  <a:gd name="T1" fmla="*/ 5 h 22"/>
                  <a:gd name="T2" fmla="*/ 0 w 53"/>
                  <a:gd name="T3" fmla="*/ 0 h 22"/>
                  <a:gd name="T4" fmla="*/ 53 w 53"/>
                  <a:gd name="T5" fmla="*/ 15 h 22"/>
                  <a:gd name="T6" fmla="*/ 53 w 53"/>
                  <a:gd name="T7" fmla="*/ 22 h 22"/>
                  <a:gd name="T8" fmla="*/ 0 w 53"/>
                  <a:gd name="T9" fmla="*/ 5 h 22"/>
                </a:gdLst>
                <a:ahLst/>
                <a:cxnLst>
                  <a:cxn ang="0">
                    <a:pos x="T0" y="T1"/>
                  </a:cxn>
                  <a:cxn ang="0">
                    <a:pos x="T2" y="T3"/>
                  </a:cxn>
                  <a:cxn ang="0">
                    <a:pos x="T4" y="T5"/>
                  </a:cxn>
                  <a:cxn ang="0">
                    <a:pos x="T6" y="T7"/>
                  </a:cxn>
                  <a:cxn ang="0">
                    <a:pos x="T8" y="T9"/>
                  </a:cxn>
                </a:cxnLst>
                <a:rect l="0" t="0" r="r" b="b"/>
                <a:pathLst>
                  <a:path w="53" h="22">
                    <a:moveTo>
                      <a:pt x="0" y="5"/>
                    </a:moveTo>
                    <a:lnTo>
                      <a:pt x="0" y="0"/>
                    </a:lnTo>
                    <a:lnTo>
                      <a:pt x="53" y="15"/>
                    </a:lnTo>
                    <a:lnTo>
                      <a:pt x="53" y="22"/>
                    </a:lnTo>
                    <a:lnTo>
                      <a:pt x="0" y="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89"/>
              <p:cNvSpPr>
                <a:spLocks/>
              </p:cNvSpPr>
              <p:nvPr/>
            </p:nvSpPr>
            <p:spPr bwMode="auto">
              <a:xfrm>
                <a:off x="6556" y="3774"/>
                <a:ext cx="17" cy="33"/>
              </a:xfrm>
              <a:custGeom>
                <a:avLst/>
                <a:gdLst>
                  <a:gd name="T0" fmla="*/ 0 w 17"/>
                  <a:gd name="T1" fmla="*/ 33 h 33"/>
                  <a:gd name="T2" fmla="*/ 0 w 17"/>
                  <a:gd name="T3" fmla="*/ 5 h 33"/>
                  <a:gd name="T4" fmla="*/ 0 w 17"/>
                  <a:gd name="T5" fmla="*/ 5 h 33"/>
                  <a:gd name="T6" fmla="*/ 0 w 17"/>
                  <a:gd name="T7" fmla="*/ 0 h 33"/>
                  <a:gd name="T8" fmla="*/ 17 w 17"/>
                  <a:gd name="T9" fmla="*/ 5 h 33"/>
                  <a:gd name="T10" fmla="*/ 17 w 17"/>
                  <a:gd name="T11" fmla="*/ 33 h 33"/>
                  <a:gd name="T12" fmla="*/ 0 w 17"/>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7" h="33">
                    <a:moveTo>
                      <a:pt x="0" y="33"/>
                    </a:moveTo>
                    <a:lnTo>
                      <a:pt x="0" y="5"/>
                    </a:lnTo>
                    <a:lnTo>
                      <a:pt x="0" y="5"/>
                    </a:lnTo>
                    <a:lnTo>
                      <a:pt x="0" y="0"/>
                    </a:lnTo>
                    <a:lnTo>
                      <a:pt x="17" y="5"/>
                    </a:lnTo>
                    <a:lnTo>
                      <a:pt x="17" y="33"/>
                    </a:lnTo>
                    <a:lnTo>
                      <a:pt x="0" y="33"/>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90"/>
              <p:cNvSpPr>
                <a:spLocks/>
              </p:cNvSpPr>
              <p:nvPr/>
            </p:nvSpPr>
            <p:spPr bwMode="auto">
              <a:xfrm>
                <a:off x="6488" y="3753"/>
                <a:ext cx="16" cy="12"/>
              </a:xfrm>
              <a:custGeom>
                <a:avLst/>
                <a:gdLst>
                  <a:gd name="T0" fmla="*/ 16 w 16"/>
                  <a:gd name="T1" fmla="*/ 12 h 12"/>
                  <a:gd name="T2" fmla="*/ 0 w 16"/>
                  <a:gd name="T3" fmla="*/ 7 h 12"/>
                  <a:gd name="T4" fmla="*/ 0 w 16"/>
                  <a:gd name="T5" fmla="*/ 0 h 12"/>
                  <a:gd name="T6" fmla="*/ 16 w 16"/>
                  <a:gd name="T7" fmla="*/ 7 h 12"/>
                  <a:gd name="T8" fmla="*/ 16 w 16"/>
                  <a:gd name="T9" fmla="*/ 12 h 12"/>
                </a:gdLst>
                <a:ahLst/>
                <a:cxnLst>
                  <a:cxn ang="0">
                    <a:pos x="T0" y="T1"/>
                  </a:cxn>
                  <a:cxn ang="0">
                    <a:pos x="T2" y="T3"/>
                  </a:cxn>
                  <a:cxn ang="0">
                    <a:pos x="T4" y="T5"/>
                  </a:cxn>
                  <a:cxn ang="0">
                    <a:pos x="T6" y="T7"/>
                  </a:cxn>
                  <a:cxn ang="0">
                    <a:pos x="T8" y="T9"/>
                  </a:cxn>
                </a:cxnLst>
                <a:rect l="0" t="0" r="r" b="b"/>
                <a:pathLst>
                  <a:path w="16" h="12">
                    <a:moveTo>
                      <a:pt x="16" y="12"/>
                    </a:moveTo>
                    <a:lnTo>
                      <a:pt x="0" y="7"/>
                    </a:lnTo>
                    <a:lnTo>
                      <a:pt x="0" y="0"/>
                    </a:lnTo>
                    <a:lnTo>
                      <a:pt x="16" y="7"/>
                    </a:lnTo>
                    <a:lnTo>
                      <a:pt x="16" y="12"/>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91"/>
              <p:cNvSpPr>
                <a:spLocks/>
              </p:cNvSpPr>
              <p:nvPr/>
            </p:nvSpPr>
            <p:spPr bwMode="auto">
              <a:xfrm>
                <a:off x="6504" y="3760"/>
                <a:ext cx="52" cy="19"/>
              </a:xfrm>
              <a:custGeom>
                <a:avLst/>
                <a:gdLst>
                  <a:gd name="T0" fmla="*/ 0 w 52"/>
                  <a:gd name="T1" fmla="*/ 0 h 19"/>
                  <a:gd name="T2" fmla="*/ 52 w 52"/>
                  <a:gd name="T3" fmla="*/ 14 h 19"/>
                  <a:gd name="T4" fmla="*/ 52 w 52"/>
                  <a:gd name="T5" fmla="*/ 19 h 19"/>
                  <a:gd name="T6" fmla="*/ 0 w 52"/>
                  <a:gd name="T7" fmla="*/ 5 h 19"/>
                  <a:gd name="T8" fmla="*/ 0 w 52"/>
                  <a:gd name="T9" fmla="*/ 0 h 19"/>
                </a:gdLst>
                <a:ahLst/>
                <a:cxnLst>
                  <a:cxn ang="0">
                    <a:pos x="T0" y="T1"/>
                  </a:cxn>
                  <a:cxn ang="0">
                    <a:pos x="T2" y="T3"/>
                  </a:cxn>
                  <a:cxn ang="0">
                    <a:pos x="T4" y="T5"/>
                  </a:cxn>
                  <a:cxn ang="0">
                    <a:pos x="T6" y="T7"/>
                  </a:cxn>
                  <a:cxn ang="0">
                    <a:pos x="T8" y="T9"/>
                  </a:cxn>
                </a:cxnLst>
                <a:rect l="0" t="0" r="r" b="b"/>
                <a:pathLst>
                  <a:path w="52" h="19">
                    <a:moveTo>
                      <a:pt x="0" y="0"/>
                    </a:moveTo>
                    <a:lnTo>
                      <a:pt x="52" y="14"/>
                    </a:lnTo>
                    <a:lnTo>
                      <a:pt x="52" y="19"/>
                    </a:lnTo>
                    <a:lnTo>
                      <a:pt x="0" y="5"/>
                    </a:lnTo>
                    <a:lnTo>
                      <a:pt x="0"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92"/>
              <p:cNvSpPr>
                <a:spLocks/>
              </p:cNvSpPr>
              <p:nvPr/>
            </p:nvSpPr>
            <p:spPr bwMode="auto">
              <a:xfrm>
                <a:off x="6416" y="3738"/>
                <a:ext cx="19" cy="520"/>
              </a:xfrm>
              <a:custGeom>
                <a:avLst/>
                <a:gdLst>
                  <a:gd name="T0" fmla="*/ 19 w 19"/>
                  <a:gd name="T1" fmla="*/ 5 h 520"/>
                  <a:gd name="T2" fmla="*/ 19 w 19"/>
                  <a:gd name="T3" fmla="*/ 520 h 520"/>
                  <a:gd name="T4" fmla="*/ 0 w 19"/>
                  <a:gd name="T5" fmla="*/ 520 h 520"/>
                  <a:gd name="T6" fmla="*/ 0 w 19"/>
                  <a:gd name="T7" fmla="*/ 0 h 520"/>
                  <a:gd name="T8" fmla="*/ 19 w 19"/>
                  <a:gd name="T9" fmla="*/ 5 h 520"/>
                </a:gdLst>
                <a:ahLst/>
                <a:cxnLst>
                  <a:cxn ang="0">
                    <a:pos x="T0" y="T1"/>
                  </a:cxn>
                  <a:cxn ang="0">
                    <a:pos x="T2" y="T3"/>
                  </a:cxn>
                  <a:cxn ang="0">
                    <a:pos x="T4" y="T5"/>
                  </a:cxn>
                  <a:cxn ang="0">
                    <a:pos x="T6" y="T7"/>
                  </a:cxn>
                  <a:cxn ang="0">
                    <a:pos x="T8" y="T9"/>
                  </a:cxn>
                </a:cxnLst>
                <a:rect l="0" t="0" r="r" b="b"/>
                <a:pathLst>
                  <a:path w="19" h="520">
                    <a:moveTo>
                      <a:pt x="19" y="5"/>
                    </a:moveTo>
                    <a:lnTo>
                      <a:pt x="19" y="520"/>
                    </a:lnTo>
                    <a:lnTo>
                      <a:pt x="0" y="520"/>
                    </a:lnTo>
                    <a:lnTo>
                      <a:pt x="0" y="0"/>
                    </a:lnTo>
                    <a:lnTo>
                      <a:pt x="19" y="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Rectangle 193"/>
              <p:cNvSpPr>
                <a:spLocks noChangeArrowheads="1"/>
              </p:cNvSpPr>
              <p:nvPr/>
            </p:nvSpPr>
            <p:spPr bwMode="auto">
              <a:xfrm>
                <a:off x="6556" y="3779"/>
                <a:ext cx="1" cy="28"/>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94"/>
              <p:cNvSpPr>
                <a:spLocks/>
              </p:cNvSpPr>
              <p:nvPr/>
            </p:nvSpPr>
            <p:spPr bwMode="auto">
              <a:xfrm>
                <a:off x="6435" y="3743"/>
                <a:ext cx="121" cy="515"/>
              </a:xfrm>
              <a:custGeom>
                <a:avLst/>
                <a:gdLst>
                  <a:gd name="T0" fmla="*/ 53 w 121"/>
                  <a:gd name="T1" fmla="*/ 17 h 515"/>
                  <a:gd name="T2" fmla="*/ 69 w 121"/>
                  <a:gd name="T3" fmla="*/ 22 h 515"/>
                  <a:gd name="T4" fmla="*/ 121 w 121"/>
                  <a:gd name="T5" fmla="*/ 36 h 515"/>
                  <a:gd name="T6" fmla="*/ 121 w 121"/>
                  <a:gd name="T7" fmla="*/ 64 h 515"/>
                  <a:gd name="T8" fmla="*/ 121 w 121"/>
                  <a:gd name="T9" fmla="*/ 64 h 515"/>
                  <a:gd name="T10" fmla="*/ 121 w 121"/>
                  <a:gd name="T11" fmla="*/ 515 h 515"/>
                  <a:gd name="T12" fmla="*/ 0 w 121"/>
                  <a:gd name="T13" fmla="*/ 515 h 515"/>
                  <a:gd name="T14" fmla="*/ 0 w 121"/>
                  <a:gd name="T15" fmla="*/ 0 h 515"/>
                  <a:gd name="T16" fmla="*/ 53 w 121"/>
                  <a:gd name="T17" fmla="*/ 1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515">
                    <a:moveTo>
                      <a:pt x="53" y="17"/>
                    </a:moveTo>
                    <a:lnTo>
                      <a:pt x="69" y="22"/>
                    </a:lnTo>
                    <a:lnTo>
                      <a:pt x="121" y="36"/>
                    </a:lnTo>
                    <a:lnTo>
                      <a:pt x="121" y="64"/>
                    </a:lnTo>
                    <a:lnTo>
                      <a:pt x="121" y="64"/>
                    </a:lnTo>
                    <a:lnTo>
                      <a:pt x="121" y="515"/>
                    </a:lnTo>
                    <a:lnTo>
                      <a:pt x="0" y="515"/>
                    </a:lnTo>
                    <a:lnTo>
                      <a:pt x="0" y="0"/>
                    </a:lnTo>
                    <a:lnTo>
                      <a:pt x="53" y="17"/>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195"/>
              <p:cNvSpPr>
                <a:spLocks/>
              </p:cNvSpPr>
              <p:nvPr/>
            </p:nvSpPr>
            <p:spPr bwMode="auto">
              <a:xfrm>
                <a:off x="6685" y="3634"/>
                <a:ext cx="0" cy="76"/>
              </a:xfrm>
              <a:custGeom>
                <a:avLst/>
                <a:gdLst>
                  <a:gd name="T0" fmla="*/ 76 h 76"/>
                  <a:gd name="T1" fmla="*/ 0 h 76"/>
                  <a:gd name="T2" fmla="*/ 76 h 76"/>
                </a:gdLst>
                <a:ahLst/>
                <a:cxnLst>
                  <a:cxn ang="0">
                    <a:pos x="0" y="T0"/>
                  </a:cxn>
                  <a:cxn ang="0">
                    <a:pos x="0" y="T1"/>
                  </a:cxn>
                  <a:cxn ang="0">
                    <a:pos x="0" y="T2"/>
                  </a:cxn>
                </a:cxnLst>
                <a:rect l="0" t="0" r="r" b="b"/>
                <a:pathLst>
                  <a:path h="76">
                    <a:moveTo>
                      <a:pt x="0" y="76"/>
                    </a:moveTo>
                    <a:lnTo>
                      <a:pt x="0" y="0"/>
                    </a:lnTo>
                    <a:lnTo>
                      <a:pt x="0"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Line 196"/>
              <p:cNvSpPr>
                <a:spLocks noChangeShapeType="1"/>
              </p:cNvSpPr>
              <p:nvPr/>
            </p:nvSpPr>
            <p:spPr bwMode="auto">
              <a:xfrm flipV="1">
                <a:off x="6685" y="3634"/>
                <a:ext cx="0" cy="76"/>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0" name="Freeform 197"/>
              <p:cNvSpPr>
                <a:spLocks/>
              </p:cNvSpPr>
              <p:nvPr/>
            </p:nvSpPr>
            <p:spPr bwMode="auto">
              <a:xfrm>
                <a:off x="6654" y="3691"/>
                <a:ext cx="59" cy="97"/>
              </a:xfrm>
              <a:custGeom>
                <a:avLst/>
                <a:gdLst>
                  <a:gd name="T0" fmla="*/ 12 w 25"/>
                  <a:gd name="T1" fmla="*/ 0 h 41"/>
                  <a:gd name="T2" fmla="*/ 25 w 25"/>
                  <a:gd name="T3" fmla="*/ 13 h 41"/>
                  <a:gd name="T4" fmla="*/ 25 w 25"/>
                  <a:gd name="T5" fmla="*/ 41 h 41"/>
                  <a:gd name="T6" fmla="*/ 0 w 25"/>
                  <a:gd name="T7" fmla="*/ 41 h 41"/>
                  <a:gd name="T8" fmla="*/ 0 w 25"/>
                  <a:gd name="T9" fmla="*/ 13 h 41"/>
                  <a:gd name="T10" fmla="*/ 12 w 25"/>
                  <a:gd name="T11" fmla="*/ 0 h 41"/>
                </a:gdLst>
                <a:ahLst/>
                <a:cxnLst>
                  <a:cxn ang="0">
                    <a:pos x="T0" y="T1"/>
                  </a:cxn>
                  <a:cxn ang="0">
                    <a:pos x="T2" y="T3"/>
                  </a:cxn>
                  <a:cxn ang="0">
                    <a:pos x="T4" y="T5"/>
                  </a:cxn>
                  <a:cxn ang="0">
                    <a:pos x="T6" y="T7"/>
                  </a:cxn>
                  <a:cxn ang="0">
                    <a:pos x="T8" y="T9"/>
                  </a:cxn>
                  <a:cxn ang="0">
                    <a:pos x="T10" y="T11"/>
                  </a:cxn>
                </a:cxnLst>
                <a:rect l="0" t="0" r="r" b="b"/>
                <a:pathLst>
                  <a:path w="25" h="41">
                    <a:moveTo>
                      <a:pt x="12" y="0"/>
                    </a:moveTo>
                    <a:cubicBezTo>
                      <a:pt x="19" y="2"/>
                      <a:pt x="25" y="7"/>
                      <a:pt x="25" y="13"/>
                    </a:cubicBezTo>
                    <a:cubicBezTo>
                      <a:pt x="25" y="41"/>
                      <a:pt x="25" y="41"/>
                      <a:pt x="25" y="41"/>
                    </a:cubicBezTo>
                    <a:cubicBezTo>
                      <a:pt x="0" y="41"/>
                      <a:pt x="0" y="41"/>
                      <a:pt x="0" y="41"/>
                    </a:cubicBezTo>
                    <a:cubicBezTo>
                      <a:pt x="0" y="13"/>
                      <a:pt x="0" y="13"/>
                      <a:pt x="0" y="13"/>
                    </a:cubicBezTo>
                    <a:cubicBezTo>
                      <a:pt x="0" y="7"/>
                      <a:pt x="5" y="2"/>
                      <a:pt x="12"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198"/>
              <p:cNvSpPr>
                <a:spLocks noChangeArrowheads="1"/>
              </p:cNvSpPr>
              <p:nvPr/>
            </p:nvSpPr>
            <p:spPr bwMode="auto">
              <a:xfrm>
                <a:off x="6243" y="3632"/>
                <a:ext cx="159" cy="106"/>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99"/>
              <p:cNvSpPr>
                <a:spLocks/>
              </p:cNvSpPr>
              <p:nvPr/>
            </p:nvSpPr>
            <p:spPr bwMode="auto">
              <a:xfrm>
                <a:off x="6637" y="3783"/>
                <a:ext cx="93" cy="475"/>
              </a:xfrm>
              <a:custGeom>
                <a:avLst/>
                <a:gdLst>
                  <a:gd name="T0" fmla="*/ 93 w 93"/>
                  <a:gd name="T1" fmla="*/ 475 h 475"/>
                  <a:gd name="T2" fmla="*/ 0 w 93"/>
                  <a:gd name="T3" fmla="*/ 475 h 475"/>
                  <a:gd name="T4" fmla="*/ 12 w 93"/>
                  <a:gd name="T5" fmla="*/ 0 h 475"/>
                  <a:gd name="T6" fmla="*/ 81 w 93"/>
                  <a:gd name="T7" fmla="*/ 0 h 475"/>
                  <a:gd name="T8" fmla="*/ 93 w 93"/>
                  <a:gd name="T9" fmla="*/ 475 h 475"/>
                </a:gdLst>
                <a:ahLst/>
                <a:cxnLst>
                  <a:cxn ang="0">
                    <a:pos x="T0" y="T1"/>
                  </a:cxn>
                  <a:cxn ang="0">
                    <a:pos x="T2" y="T3"/>
                  </a:cxn>
                  <a:cxn ang="0">
                    <a:pos x="T4" y="T5"/>
                  </a:cxn>
                  <a:cxn ang="0">
                    <a:pos x="T6" y="T7"/>
                  </a:cxn>
                  <a:cxn ang="0">
                    <a:pos x="T8" y="T9"/>
                  </a:cxn>
                </a:cxnLst>
                <a:rect l="0" t="0" r="r" b="b"/>
                <a:pathLst>
                  <a:path w="93" h="475">
                    <a:moveTo>
                      <a:pt x="93" y="475"/>
                    </a:moveTo>
                    <a:lnTo>
                      <a:pt x="0" y="475"/>
                    </a:lnTo>
                    <a:lnTo>
                      <a:pt x="12" y="0"/>
                    </a:lnTo>
                    <a:lnTo>
                      <a:pt x="81" y="0"/>
                    </a:lnTo>
                    <a:lnTo>
                      <a:pt x="93" y="47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200"/>
              <p:cNvSpPr>
                <a:spLocks/>
              </p:cNvSpPr>
              <p:nvPr/>
            </p:nvSpPr>
            <p:spPr bwMode="auto">
              <a:xfrm>
                <a:off x="6699" y="3786"/>
                <a:ext cx="28" cy="470"/>
              </a:xfrm>
              <a:custGeom>
                <a:avLst/>
                <a:gdLst>
                  <a:gd name="T0" fmla="*/ 16 w 28"/>
                  <a:gd name="T1" fmla="*/ 0 h 470"/>
                  <a:gd name="T2" fmla="*/ 28 w 28"/>
                  <a:gd name="T3" fmla="*/ 470 h 470"/>
                  <a:gd name="T4" fmla="*/ 12 w 28"/>
                  <a:gd name="T5" fmla="*/ 470 h 470"/>
                  <a:gd name="T6" fmla="*/ 0 w 28"/>
                  <a:gd name="T7" fmla="*/ 0 h 470"/>
                  <a:gd name="T8" fmla="*/ 16 w 28"/>
                  <a:gd name="T9" fmla="*/ 0 h 470"/>
                </a:gdLst>
                <a:ahLst/>
                <a:cxnLst>
                  <a:cxn ang="0">
                    <a:pos x="T0" y="T1"/>
                  </a:cxn>
                  <a:cxn ang="0">
                    <a:pos x="T2" y="T3"/>
                  </a:cxn>
                  <a:cxn ang="0">
                    <a:pos x="T4" y="T5"/>
                  </a:cxn>
                  <a:cxn ang="0">
                    <a:pos x="T6" y="T7"/>
                  </a:cxn>
                  <a:cxn ang="0">
                    <a:pos x="T8" y="T9"/>
                  </a:cxn>
                </a:cxnLst>
                <a:rect l="0" t="0" r="r" b="b"/>
                <a:pathLst>
                  <a:path w="28" h="470">
                    <a:moveTo>
                      <a:pt x="16" y="0"/>
                    </a:moveTo>
                    <a:lnTo>
                      <a:pt x="28" y="470"/>
                    </a:lnTo>
                    <a:lnTo>
                      <a:pt x="12" y="470"/>
                    </a:lnTo>
                    <a:lnTo>
                      <a:pt x="0" y="0"/>
                    </a:lnTo>
                    <a:lnTo>
                      <a:pt x="16"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201"/>
              <p:cNvSpPr>
                <a:spLocks/>
              </p:cNvSpPr>
              <p:nvPr/>
            </p:nvSpPr>
            <p:spPr bwMode="auto">
              <a:xfrm>
                <a:off x="6642" y="3786"/>
                <a:ext cx="69" cy="470"/>
              </a:xfrm>
              <a:custGeom>
                <a:avLst/>
                <a:gdLst>
                  <a:gd name="T0" fmla="*/ 57 w 69"/>
                  <a:gd name="T1" fmla="*/ 0 h 470"/>
                  <a:gd name="T2" fmla="*/ 69 w 69"/>
                  <a:gd name="T3" fmla="*/ 470 h 470"/>
                  <a:gd name="T4" fmla="*/ 0 w 69"/>
                  <a:gd name="T5" fmla="*/ 470 h 470"/>
                  <a:gd name="T6" fmla="*/ 12 w 69"/>
                  <a:gd name="T7" fmla="*/ 0 h 470"/>
                  <a:gd name="T8" fmla="*/ 57 w 69"/>
                  <a:gd name="T9" fmla="*/ 0 h 470"/>
                </a:gdLst>
                <a:ahLst/>
                <a:cxnLst>
                  <a:cxn ang="0">
                    <a:pos x="T0" y="T1"/>
                  </a:cxn>
                  <a:cxn ang="0">
                    <a:pos x="T2" y="T3"/>
                  </a:cxn>
                  <a:cxn ang="0">
                    <a:pos x="T4" y="T5"/>
                  </a:cxn>
                  <a:cxn ang="0">
                    <a:pos x="T6" y="T7"/>
                  </a:cxn>
                  <a:cxn ang="0">
                    <a:pos x="T8" y="T9"/>
                  </a:cxn>
                </a:cxnLst>
                <a:rect l="0" t="0" r="r" b="b"/>
                <a:pathLst>
                  <a:path w="69" h="470">
                    <a:moveTo>
                      <a:pt x="57" y="0"/>
                    </a:moveTo>
                    <a:lnTo>
                      <a:pt x="69" y="470"/>
                    </a:lnTo>
                    <a:lnTo>
                      <a:pt x="0" y="470"/>
                    </a:lnTo>
                    <a:lnTo>
                      <a:pt x="12" y="0"/>
                    </a:lnTo>
                    <a:lnTo>
                      <a:pt x="57"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202"/>
              <p:cNvSpPr>
                <a:spLocks/>
              </p:cNvSpPr>
              <p:nvPr/>
            </p:nvSpPr>
            <p:spPr bwMode="auto">
              <a:xfrm>
                <a:off x="6642" y="3786"/>
                <a:ext cx="85" cy="470"/>
              </a:xfrm>
              <a:custGeom>
                <a:avLst/>
                <a:gdLst>
                  <a:gd name="T0" fmla="*/ 85 w 85"/>
                  <a:gd name="T1" fmla="*/ 470 h 470"/>
                  <a:gd name="T2" fmla="*/ 73 w 85"/>
                  <a:gd name="T3" fmla="*/ 0 h 470"/>
                  <a:gd name="T4" fmla="*/ 12 w 85"/>
                  <a:gd name="T5" fmla="*/ 0 h 470"/>
                  <a:gd name="T6" fmla="*/ 0 w 85"/>
                  <a:gd name="T7" fmla="*/ 470 h 470"/>
                  <a:gd name="T8" fmla="*/ 85 w 85"/>
                  <a:gd name="T9" fmla="*/ 470 h 470"/>
                </a:gdLst>
                <a:ahLst/>
                <a:cxnLst>
                  <a:cxn ang="0">
                    <a:pos x="T0" y="T1"/>
                  </a:cxn>
                  <a:cxn ang="0">
                    <a:pos x="T2" y="T3"/>
                  </a:cxn>
                  <a:cxn ang="0">
                    <a:pos x="T4" y="T5"/>
                  </a:cxn>
                  <a:cxn ang="0">
                    <a:pos x="T6" y="T7"/>
                  </a:cxn>
                  <a:cxn ang="0">
                    <a:pos x="T8" y="T9"/>
                  </a:cxn>
                </a:cxnLst>
                <a:rect l="0" t="0" r="r" b="b"/>
                <a:pathLst>
                  <a:path w="85" h="470">
                    <a:moveTo>
                      <a:pt x="85" y="470"/>
                    </a:moveTo>
                    <a:lnTo>
                      <a:pt x="73" y="0"/>
                    </a:lnTo>
                    <a:lnTo>
                      <a:pt x="12" y="0"/>
                    </a:lnTo>
                    <a:lnTo>
                      <a:pt x="0" y="470"/>
                    </a:lnTo>
                    <a:lnTo>
                      <a:pt x="85" y="47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203"/>
              <p:cNvSpPr>
                <a:spLocks/>
              </p:cNvSpPr>
              <p:nvPr/>
            </p:nvSpPr>
            <p:spPr bwMode="auto">
              <a:xfrm>
                <a:off x="6435" y="3738"/>
                <a:ext cx="138" cy="520"/>
              </a:xfrm>
              <a:custGeom>
                <a:avLst/>
                <a:gdLst>
                  <a:gd name="T0" fmla="*/ 0 w 138"/>
                  <a:gd name="T1" fmla="*/ 0 h 520"/>
                  <a:gd name="T2" fmla="*/ 138 w 138"/>
                  <a:gd name="T3" fmla="*/ 41 h 520"/>
                  <a:gd name="T4" fmla="*/ 138 w 138"/>
                  <a:gd name="T5" fmla="*/ 520 h 520"/>
                  <a:gd name="T6" fmla="*/ 0 w 138"/>
                  <a:gd name="T7" fmla="*/ 520 h 520"/>
                  <a:gd name="T8" fmla="*/ 0 w 138"/>
                  <a:gd name="T9" fmla="*/ 0 h 520"/>
                </a:gdLst>
                <a:ahLst/>
                <a:cxnLst>
                  <a:cxn ang="0">
                    <a:pos x="T0" y="T1"/>
                  </a:cxn>
                  <a:cxn ang="0">
                    <a:pos x="T2" y="T3"/>
                  </a:cxn>
                  <a:cxn ang="0">
                    <a:pos x="T4" y="T5"/>
                  </a:cxn>
                  <a:cxn ang="0">
                    <a:pos x="T6" y="T7"/>
                  </a:cxn>
                  <a:cxn ang="0">
                    <a:pos x="T8" y="T9"/>
                  </a:cxn>
                </a:cxnLst>
                <a:rect l="0" t="0" r="r" b="b"/>
                <a:pathLst>
                  <a:path w="138" h="520">
                    <a:moveTo>
                      <a:pt x="0" y="0"/>
                    </a:moveTo>
                    <a:lnTo>
                      <a:pt x="138" y="41"/>
                    </a:lnTo>
                    <a:lnTo>
                      <a:pt x="138" y="520"/>
                    </a:lnTo>
                    <a:lnTo>
                      <a:pt x="0" y="520"/>
                    </a:lnTo>
                    <a:lnTo>
                      <a:pt x="0"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204"/>
              <p:cNvSpPr>
                <a:spLocks/>
              </p:cNvSpPr>
              <p:nvPr/>
            </p:nvSpPr>
            <p:spPr bwMode="auto">
              <a:xfrm>
                <a:off x="6208" y="3734"/>
                <a:ext cx="227" cy="524"/>
              </a:xfrm>
              <a:custGeom>
                <a:avLst/>
                <a:gdLst>
                  <a:gd name="T0" fmla="*/ 206 w 227"/>
                  <a:gd name="T1" fmla="*/ 0 h 524"/>
                  <a:gd name="T2" fmla="*/ 227 w 227"/>
                  <a:gd name="T3" fmla="*/ 0 h 524"/>
                  <a:gd name="T4" fmla="*/ 227 w 227"/>
                  <a:gd name="T5" fmla="*/ 524 h 524"/>
                  <a:gd name="T6" fmla="*/ 0 w 227"/>
                  <a:gd name="T7" fmla="*/ 524 h 524"/>
                  <a:gd name="T8" fmla="*/ 0 w 227"/>
                  <a:gd name="T9" fmla="*/ 524 h 524"/>
                  <a:gd name="T10" fmla="*/ 206 w 227"/>
                  <a:gd name="T11" fmla="*/ 524 h 524"/>
                  <a:gd name="T12" fmla="*/ 206 w 227"/>
                  <a:gd name="T13" fmla="*/ 0 h 524"/>
                </a:gdLst>
                <a:ahLst/>
                <a:cxnLst>
                  <a:cxn ang="0">
                    <a:pos x="T0" y="T1"/>
                  </a:cxn>
                  <a:cxn ang="0">
                    <a:pos x="T2" y="T3"/>
                  </a:cxn>
                  <a:cxn ang="0">
                    <a:pos x="T4" y="T5"/>
                  </a:cxn>
                  <a:cxn ang="0">
                    <a:pos x="T6" y="T7"/>
                  </a:cxn>
                  <a:cxn ang="0">
                    <a:pos x="T8" y="T9"/>
                  </a:cxn>
                  <a:cxn ang="0">
                    <a:pos x="T10" y="T11"/>
                  </a:cxn>
                  <a:cxn ang="0">
                    <a:pos x="T12" y="T13"/>
                  </a:cxn>
                </a:cxnLst>
                <a:rect l="0" t="0" r="r" b="b"/>
                <a:pathLst>
                  <a:path w="227" h="524">
                    <a:moveTo>
                      <a:pt x="206" y="0"/>
                    </a:moveTo>
                    <a:lnTo>
                      <a:pt x="227" y="0"/>
                    </a:lnTo>
                    <a:lnTo>
                      <a:pt x="227" y="524"/>
                    </a:lnTo>
                    <a:lnTo>
                      <a:pt x="0" y="524"/>
                    </a:lnTo>
                    <a:lnTo>
                      <a:pt x="0" y="524"/>
                    </a:lnTo>
                    <a:lnTo>
                      <a:pt x="206" y="524"/>
                    </a:lnTo>
                    <a:lnTo>
                      <a:pt x="206"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 name="Freeform 206"/>
            <p:cNvSpPr>
              <a:spLocks/>
            </p:cNvSpPr>
            <p:nvPr/>
          </p:nvSpPr>
          <p:spPr bwMode="auto">
            <a:xfrm>
              <a:off x="6186" y="3731"/>
              <a:ext cx="228" cy="527"/>
            </a:xfrm>
            <a:custGeom>
              <a:avLst/>
              <a:gdLst>
                <a:gd name="T0" fmla="*/ 0 w 228"/>
                <a:gd name="T1" fmla="*/ 0 h 527"/>
                <a:gd name="T2" fmla="*/ 228 w 228"/>
                <a:gd name="T3" fmla="*/ 0 h 527"/>
                <a:gd name="T4" fmla="*/ 228 w 228"/>
                <a:gd name="T5" fmla="*/ 3 h 527"/>
                <a:gd name="T6" fmla="*/ 22 w 228"/>
                <a:gd name="T7" fmla="*/ 3 h 527"/>
                <a:gd name="T8" fmla="*/ 22 w 228"/>
                <a:gd name="T9" fmla="*/ 527 h 527"/>
                <a:gd name="T10" fmla="*/ 0 w 228"/>
                <a:gd name="T11" fmla="*/ 527 h 527"/>
                <a:gd name="T12" fmla="*/ 0 w 228"/>
                <a:gd name="T13" fmla="*/ 0 h 527"/>
              </a:gdLst>
              <a:ahLst/>
              <a:cxnLst>
                <a:cxn ang="0">
                  <a:pos x="T0" y="T1"/>
                </a:cxn>
                <a:cxn ang="0">
                  <a:pos x="T2" y="T3"/>
                </a:cxn>
                <a:cxn ang="0">
                  <a:pos x="T4" y="T5"/>
                </a:cxn>
                <a:cxn ang="0">
                  <a:pos x="T6" y="T7"/>
                </a:cxn>
                <a:cxn ang="0">
                  <a:pos x="T8" y="T9"/>
                </a:cxn>
                <a:cxn ang="0">
                  <a:pos x="T10" y="T11"/>
                </a:cxn>
                <a:cxn ang="0">
                  <a:pos x="T12" y="T13"/>
                </a:cxn>
              </a:cxnLst>
              <a:rect l="0" t="0" r="r" b="b"/>
              <a:pathLst>
                <a:path w="228" h="527">
                  <a:moveTo>
                    <a:pt x="0" y="0"/>
                  </a:moveTo>
                  <a:lnTo>
                    <a:pt x="228" y="0"/>
                  </a:lnTo>
                  <a:lnTo>
                    <a:pt x="228" y="3"/>
                  </a:lnTo>
                  <a:lnTo>
                    <a:pt x="22" y="3"/>
                  </a:lnTo>
                  <a:lnTo>
                    <a:pt x="22" y="527"/>
                  </a:lnTo>
                  <a:lnTo>
                    <a:pt x="0" y="527"/>
                  </a:lnTo>
                  <a:lnTo>
                    <a:pt x="0"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Rectangle 207"/>
            <p:cNvSpPr>
              <a:spLocks noChangeArrowheads="1"/>
            </p:cNvSpPr>
            <p:nvPr/>
          </p:nvSpPr>
          <p:spPr bwMode="auto">
            <a:xfrm>
              <a:off x="6208" y="3734"/>
              <a:ext cx="206" cy="524"/>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Rectangle 208"/>
            <p:cNvSpPr>
              <a:spLocks noChangeArrowheads="1"/>
            </p:cNvSpPr>
            <p:nvPr/>
          </p:nvSpPr>
          <p:spPr bwMode="auto">
            <a:xfrm>
              <a:off x="6208" y="3738"/>
              <a:ext cx="227" cy="520"/>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209"/>
            <p:cNvSpPr>
              <a:spLocks/>
            </p:cNvSpPr>
            <p:nvPr/>
          </p:nvSpPr>
          <p:spPr bwMode="auto">
            <a:xfrm>
              <a:off x="6255" y="4080"/>
              <a:ext cx="133" cy="173"/>
            </a:xfrm>
            <a:custGeom>
              <a:avLst/>
              <a:gdLst>
                <a:gd name="T0" fmla="*/ 28 w 56"/>
                <a:gd name="T1" fmla="*/ 0 h 73"/>
                <a:gd name="T2" fmla="*/ 56 w 56"/>
                <a:gd name="T3" fmla="*/ 25 h 73"/>
                <a:gd name="T4" fmla="*/ 56 w 56"/>
                <a:gd name="T5" fmla="*/ 73 h 73"/>
                <a:gd name="T6" fmla="*/ 28 w 56"/>
                <a:gd name="T7" fmla="*/ 73 h 73"/>
                <a:gd name="T8" fmla="*/ 0 w 56"/>
                <a:gd name="T9" fmla="*/ 73 h 73"/>
                <a:gd name="T10" fmla="*/ 0 w 56"/>
                <a:gd name="T11" fmla="*/ 25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40" y="0"/>
                    <a:pt x="56" y="16"/>
                    <a:pt x="56" y="25"/>
                  </a:cubicBezTo>
                  <a:cubicBezTo>
                    <a:pt x="56" y="35"/>
                    <a:pt x="56" y="73"/>
                    <a:pt x="56" y="73"/>
                  </a:cubicBezTo>
                  <a:cubicBezTo>
                    <a:pt x="28" y="73"/>
                    <a:pt x="28" y="73"/>
                    <a:pt x="28" y="73"/>
                  </a:cubicBezTo>
                  <a:cubicBezTo>
                    <a:pt x="0" y="73"/>
                    <a:pt x="0" y="73"/>
                    <a:pt x="0" y="73"/>
                  </a:cubicBezTo>
                  <a:cubicBezTo>
                    <a:pt x="0" y="73"/>
                    <a:pt x="0" y="35"/>
                    <a:pt x="0" y="25"/>
                  </a:cubicBezTo>
                  <a:cubicBezTo>
                    <a:pt x="0" y="16"/>
                    <a:pt x="15"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10"/>
            <p:cNvSpPr>
              <a:spLocks/>
            </p:cNvSpPr>
            <p:nvPr/>
          </p:nvSpPr>
          <p:spPr bwMode="auto">
            <a:xfrm>
              <a:off x="6255" y="3848"/>
              <a:ext cx="133" cy="173"/>
            </a:xfrm>
            <a:custGeom>
              <a:avLst/>
              <a:gdLst>
                <a:gd name="T0" fmla="*/ 28 w 56"/>
                <a:gd name="T1" fmla="*/ 0 h 73"/>
                <a:gd name="T2" fmla="*/ 56 w 56"/>
                <a:gd name="T3" fmla="*/ 26 h 73"/>
                <a:gd name="T4" fmla="*/ 56 w 56"/>
                <a:gd name="T5" fmla="*/ 73 h 73"/>
                <a:gd name="T6" fmla="*/ 28 w 56"/>
                <a:gd name="T7" fmla="*/ 73 h 73"/>
                <a:gd name="T8" fmla="*/ 0 w 56"/>
                <a:gd name="T9" fmla="*/ 73 h 73"/>
                <a:gd name="T10" fmla="*/ 0 w 56"/>
                <a:gd name="T11" fmla="*/ 26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40" y="0"/>
                    <a:pt x="56" y="16"/>
                    <a:pt x="56" y="26"/>
                  </a:cubicBezTo>
                  <a:cubicBezTo>
                    <a:pt x="56" y="35"/>
                    <a:pt x="56" y="73"/>
                    <a:pt x="56" y="73"/>
                  </a:cubicBezTo>
                  <a:cubicBezTo>
                    <a:pt x="28" y="73"/>
                    <a:pt x="28" y="73"/>
                    <a:pt x="28" y="73"/>
                  </a:cubicBezTo>
                  <a:cubicBezTo>
                    <a:pt x="0" y="73"/>
                    <a:pt x="0" y="73"/>
                    <a:pt x="0" y="73"/>
                  </a:cubicBezTo>
                  <a:cubicBezTo>
                    <a:pt x="0" y="73"/>
                    <a:pt x="0" y="35"/>
                    <a:pt x="0" y="26"/>
                  </a:cubicBezTo>
                  <a:cubicBezTo>
                    <a:pt x="0" y="16"/>
                    <a:pt x="15"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11"/>
            <p:cNvSpPr>
              <a:spLocks/>
            </p:cNvSpPr>
            <p:nvPr/>
          </p:nvSpPr>
          <p:spPr bwMode="auto">
            <a:xfrm>
              <a:off x="6255" y="3848"/>
              <a:ext cx="133" cy="173"/>
            </a:xfrm>
            <a:custGeom>
              <a:avLst/>
              <a:gdLst>
                <a:gd name="T0" fmla="*/ 28 w 56"/>
                <a:gd name="T1" fmla="*/ 0 h 73"/>
                <a:gd name="T2" fmla="*/ 56 w 56"/>
                <a:gd name="T3" fmla="*/ 26 h 73"/>
                <a:gd name="T4" fmla="*/ 56 w 56"/>
                <a:gd name="T5" fmla="*/ 73 h 73"/>
                <a:gd name="T6" fmla="*/ 28 w 56"/>
                <a:gd name="T7" fmla="*/ 73 h 73"/>
                <a:gd name="T8" fmla="*/ 0 w 56"/>
                <a:gd name="T9" fmla="*/ 73 h 73"/>
                <a:gd name="T10" fmla="*/ 0 w 56"/>
                <a:gd name="T11" fmla="*/ 26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40" y="0"/>
                    <a:pt x="56" y="16"/>
                    <a:pt x="56" y="26"/>
                  </a:cubicBezTo>
                  <a:cubicBezTo>
                    <a:pt x="56" y="35"/>
                    <a:pt x="56" y="73"/>
                    <a:pt x="56" y="73"/>
                  </a:cubicBezTo>
                  <a:cubicBezTo>
                    <a:pt x="28" y="73"/>
                    <a:pt x="28" y="73"/>
                    <a:pt x="28" y="73"/>
                  </a:cubicBezTo>
                  <a:cubicBezTo>
                    <a:pt x="0" y="73"/>
                    <a:pt x="0" y="73"/>
                    <a:pt x="0" y="73"/>
                  </a:cubicBezTo>
                  <a:cubicBezTo>
                    <a:pt x="0" y="73"/>
                    <a:pt x="0" y="35"/>
                    <a:pt x="0" y="26"/>
                  </a:cubicBezTo>
                  <a:cubicBezTo>
                    <a:pt x="0" y="16"/>
                    <a:pt x="15"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12"/>
            <p:cNvSpPr>
              <a:spLocks/>
            </p:cNvSpPr>
            <p:nvPr/>
          </p:nvSpPr>
          <p:spPr bwMode="auto">
            <a:xfrm>
              <a:off x="6644" y="4109"/>
              <a:ext cx="81" cy="0"/>
            </a:xfrm>
            <a:custGeom>
              <a:avLst/>
              <a:gdLst>
                <a:gd name="T0" fmla="*/ 81 w 81"/>
                <a:gd name="T1" fmla="*/ 0 w 81"/>
                <a:gd name="T2" fmla="*/ 81 w 81"/>
              </a:gdLst>
              <a:ahLst/>
              <a:cxnLst>
                <a:cxn ang="0">
                  <a:pos x="T0" y="0"/>
                </a:cxn>
                <a:cxn ang="0">
                  <a:pos x="T1" y="0"/>
                </a:cxn>
                <a:cxn ang="0">
                  <a:pos x="T2" y="0"/>
                </a:cxn>
              </a:cxnLst>
              <a:rect l="0" t="0" r="r" b="b"/>
              <a:pathLst>
                <a:path w="81">
                  <a:moveTo>
                    <a:pt x="81" y="0"/>
                  </a:moveTo>
                  <a:lnTo>
                    <a:pt x="0" y="0"/>
                  </a:lnTo>
                  <a:lnTo>
                    <a:pt x="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Line 213"/>
            <p:cNvSpPr>
              <a:spLocks noChangeShapeType="1"/>
            </p:cNvSpPr>
            <p:nvPr/>
          </p:nvSpPr>
          <p:spPr bwMode="auto">
            <a:xfrm flipH="1">
              <a:off x="6644" y="4109"/>
              <a:ext cx="81"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214"/>
            <p:cNvSpPr>
              <a:spLocks/>
            </p:cNvSpPr>
            <p:nvPr/>
          </p:nvSpPr>
          <p:spPr bwMode="auto">
            <a:xfrm>
              <a:off x="6637" y="3727"/>
              <a:ext cx="95" cy="0"/>
            </a:xfrm>
            <a:custGeom>
              <a:avLst/>
              <a:gdLst>
                <a:gd name="T0" fmla="*/ 95 w 95"/>
                <a:gd name="T1" fmla="*/ 0 w 95"/>
                <a:gd name="T2" fmla="*/ 95 w 95"/>
              </a:gdLst>
              <a:ahLst/>
              <a:cxnLst>
                <a:cxn ang="0">
                  <a:pos x="T0" y="0"/>
                </a:cxn>
                <a:cxn ang="0">
                  <a:pos x="T1" y="0"/>
                </a:cxn>
                <a:cxn ang="0">
                  <a:pos x="T2" y="0"/>
                </a:cxn>
              </a:cxnLst>
              <a:rect l="0" t="0" r="r" b="b"/>
              <a:pathLst>
                <a:path w="95">
                  <a:moveTo>
                    <a:pt x="95" y="0"/>
                  </a:moveTo>
                  <a:lnTo>
                    <a:pt x="0"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215"/>
            <p:cNvSpPr>
              <a:spLocks noChangeShapeType="1"/>
            </p:cNvSpPr>
            <p:nvPr/>
          </p:nvSpPr>
          <p:spPr bwMode="auto">
            <a:xfrm flipH="1">
              <a:off x="6637" y="3727"/>
              <a:ext cx="95"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Rectangle 216"/>
            <p:cNvSpPr>
              <a:spLocks noChangeArrowheads="1"/>
            </p:cNvSpPr>
            <p:nvPr/>
          </p:nvSpPr>
          <p:spPr bwMode="auto">
            <a:xfrm>
              <a:off x="5102" y="4284"/>
              <a:ext cx="1682" cy="126"/>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Rectangle 217"/>
            <p:cNvSpPr>
              <a:spLocks noChangeArrowheads="1"/>
            </p:cNvSpPr>
            <p:nvPr/>
          </p:nvSpPr>
          <p:spPr bwMode="auto">
            <a:xfrm>
              <a:off x="5074" y="4284"/>
              <a:ext cx="1710" cy="126"/>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218"/>
            <p:cNvSpPr>
              <a:spLocks/>
            </p:cNvSpPr>
            <p:nvPr/>
          </p:nvSpPr>
          <p:spPr bwMode="auto">
            <a:xfrm>
              <a:off x="5940" y="2891"/>
              <a:ext cx="0" cy="183"/>
            </a:xfrm>
            <a:custGeom>
              <a:avLst/>
              <a:gdLst>
                <a:gd name="T0" fmla="*/ 183 h 183"/>
                <a:gd name="T1" fmla="*/ 0 h 183"/>
                <a:gd name="T2" fmla="*/ 183 h 183"/>
              </a:gdLst>
              <a:ahLst/>
              <a:cxnLst>
                <a:cxn ang="0">
                  <a:pos x="0" y="T0"/>
                </a:cxn>
                <a:cxn ang="0">
                  <a:pos x="0" y="T1"/>
                </a:cxn>
                <a:cxn ang="0">
                  <a:pos x="0" y="T2"/>
                </a:cxn>
              </a:cxnLst>
              <a:rect l="0" t="0" r="r" b="b"/>
              <a:pathLst>
                <a:path h="183">
                  <a:moveTo>
                    <a:pt x="0" y="183"/>
                  </a:moveTo>
                  <a:lnTo>
                    <a:pt x="0" y="0"/>
                  </a:lnTo>
                  <a:lnTo>
                    <a:pt x="0"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Line 219"/>
            <p:cNvSpPr>
              <a:spLocks noChangeShapeType="1"/>
            </p:cNvSpPr>
            <p:nvPr/>
          </p:nvSpPr>
          <p:spPr bwMode="auto">
            <a:xfrm flipV="1">
              <a:off x="5940" y="2891"/>
              <a:ext cx="0" cy="183"/>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220"/>
            <p:cNvSpPr>
              <a:spLocks/>
            </p:cNvSpPr>
            <p:nvPr/>
          </p:nvSpPr>
          <p:spPr bwMode="auto">
            <a:xfrm>
              <a:off x="5655" y="3041"/>
              <a:ext cx="292" cy="598"/>
            </a:xfrm>
            <a:custGeom>
              <a:avLst/>
              <a:gdLst>
                <a:gd name="T0" fmla="*/ 8 w 123"/>
                <a:gd name="T1" fmla="*/ 159 h 252"/>
                <a:gd name="T2" fmla="*/ 117 w 123"/>
                <a:gd name="T3" fmla="*/ 4 h 252"/>
                <a:gd name="T4" fmla="*/ 123 w 123"/>
                <a:gd name="T5" fmla="*/ 1 h 252"/>
                <a:gd name="T6" fmla="*/ 109 w 123"/>
                <a:gd name="T7" fmla="*/ 4 h 252"/>
                <a:gd name="T8" fmla="*/ 0 w 123"/>
                <a:gd name="T9" fmla="*/ 159 h 252"/>
                <a:gd name="T10" fmla="*/ 24 w 123"/>
                <a:gd name="T11" fmla="*/ 231 h 252"/>
                <a:gd name="T12" fmla="*/ 24 w 123"/>
                <a:gd name="T13" fmla="*/ 252 h 252"/>
                <a:gd name="T14" fmla="*/ 32 w 123"/>
                <a:gd name="T15" fmla="*/ 252 h 252"/>
                <a:gd name="T16" fmla="*/ 32 w 123"/>
                <a:gd name="T17" fmla="*/ 231 h 252"/>
                <a:gd name="T18" fmla="*/ 8 w 123"/>
                <a:gd name="T19" fmla="*/ 15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252">
                  <a:moveTo>
                    <a:pt x="8" y="159"/>
                  </a:moveTo>
                  <a:cubicBezTo>
                    <a:pt x="8" y="81"/>
                    <a:pt x="87" y="23"/>
                    <a:pt x="117" y="4"/>
                  </a:cubicBezTo>
                  <a:cubicBezTo>
                    <a:pt x="119" y="3"/>
                    <a:pt x="121" y="2"/>
                    <a:pt x="123" y="1"/>
                  </a:cubicBezTo>
                  <a:cubicBezTo>
                    <a:pt x="118" y="0"/>
                    <a:pt x="113" y="1"/>
                    <a:pt x="109" y="4"/>
                  </a:cubicBezTo>
                  <a:cubicBezTo>
                    <a:pt x="79" y="23"/>
                    <a:pt x="0" y="81"/>
                    <a:pt x="0" y="159"/>
                  </a:cubicBezTo>
                  <a:cubicBezTo>
                    <a:pt x="0" y="186"/>
                    <a:pt x="9" y="211"/>
                    <a:pt x="24" y="231"/>
                  </a:cubicBezTo>
                  <a:cubicBezTo>
                    <a:pt x="24" y="252"/>
                    <a:pt x="24" y="252"/>
                    <a:pt x="24" y="252"/>
                  </a:cubicBezTo>
                  <a:cubicBezTo>
                    <a:pt x="32" y="252"/>
                    <a:pt x="32" y="252"/>
                    <a:pt x="32" y="252"/>
                  </a:cubicBezTo>
                  <a:cubicBezTo>
                    <a:pt x="32" y="231"/>
                    <a:pt x="32" y="231"/>
                    <a:pt x="32" y="231"/>
                  </a:cubicBezTo>
                  <a:cubicBezTo>
                    <a:pt x="17" y="211"/>
                    <a:pt x="8" y="186"/>
                    <a:pt x="8" y="159"/>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221"/>
            <p:cNvSpPr>
              <a:spLocks/>
            </p:cNvSpPr>
            <p:nvPr/>
          </p:nvSpPr>
          <p:spPr bwMode="auto">
            <a:xfrm>
              <a:off x="5674" y="3043"/>
              <a:ext cx="550" cy="596"/>
            </a:xfrm>
            <a:custGeom>
              <a:avLst/>
              <a:gdLst>
                <a:gd name="T0" fmla="*/ 232 w 232"/>
                <a:gd name="T1" fmla="*/ 158 h 251"/>
                <a:gd name="T2" fmla="*/ 123 w 232"/>
                <a:gd name="T3" fmla="*/ 4 h 251"/>
                <a:gd name="T4" fmla="*/ 115 w 232"/>
                <a:gd name="T5" fmla="*/ 0 h 251"/>
                <a:gd name="T6" fmla="*/ 109 w 232"/>
                <a:gd name="T7" fmla="*/ 3 h 251"/>
                <a:gd name="T8" fmla="*/ 0 w 232"/>
                <a:gd name="T9" fmla="*/ 158 h 251"/>
                <a:gd name="T10" fmla="*/ 24 w 232"/>
                <a:gd name="T11" fmla="*/ 230 h 251"/>
                <a:gd name="T12" fmla="*/ 24 w 232"/>
                <a:gd name="T13" fmla="*/ 251 h 251"/>
                <a:gd name="T14" fmla="*/ 208 w 232"/>
                <a:gd name="T15" fmla="*/ 251 h 251"/>
                <a:gd name="T16" fmla="*/ 208 w 232"/>
                <a:gd name="T17" fmla="*/ 230 h 251"/>
                <a:gd name="T18" fmla="*/ 232 w 232"/>
                <a:gd name="T19" fmla="*/ 158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 h="251">
                  <a:moveTo>
                    <a:pt x="232" y="158"/>
                  </a:moveTo>
                  <a:cubicBezTo>
                    <a:pt x="232" y="90"/>
                    <a:pt x="152" y="25"/>
                    <a:pt x="123" y="4"/>
                  </a:cubicBezTo>
                  <a:cubicBezTo>
                    <a:pt x="121" y="2"/>
                    <a:pt x="118" y="1"/>
                    <a:pt x="115" y="0"/>
                  </a:cubicBezTo>
                  <a:cubicBezTo>
                    <a:pt x="113" y="1"/>
                    <a:pt x="111" y="2"/>
                    <a:pt x="109" y="3"/>
                  </a:cubicBezTo>
                  <a:cubicBezTo>
                    <a:pt x="79" y="22"/>
                    <a:pt x="0" y="80"/>
                    <a:pt x="0" y="158"/>
                  </a:cubicBezTo>
                  <a:cubicBezTo>
                    <a:pt x="0" y="185"/>
                    <a:pt x="9" y="210"/>
                    <a:pt x="24" y="230"/>
                  </a:cubicBezTo>
                  <a:cubicBezTo>
                    <a:pt x="24" y="251"/>
                    <a:pt x="24" y="251"/>
                    <a:pt x="24" y="251"/>
                  </a:cubicBezTo>
                  <a:cubicBezTo>
                    <a:pt x="208" y="251"/>
                    <a:pt x="208" y="251"/>
                    <a:pt x="208" y="251"/>
                  </a:cubicBezTo>
                  <a:cubicBezTo>
                    <a:pt x="208" y="230"/>
                    <a:pt x="208" y="230"/>
                    <a:pt x="208" y="230"/>
                  </a:cubicBezTo>
                  <a:cubicBezTo>
                    <a:pt x="223" y="210"/>
                    <a:pt x="232" y="185"/>
                    <a:pt x="232" y="158"/>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22"/>
            <p:cNvSpPr>
              <a:spLocks/>
            </p:cNvSpPr>
            <p:nvPr/>
          </p:nvSpPr>
          <p:spPr bwMode="auto">
            <a:xfrm>
              <a:off x="5655" y="3041"/>
              <a:ext cx="569" cy="598"/>
            </a:xfrm>
            <a:custGeom>
              <a:avLst/>
              <a:gdLst>
                <a:gd name="T0" fmla="*/ 53 w 240"/>
                <a:gd name="T1" fmla="*/ 49 h 252"/>
                <a:gd name="T2" fmla="*/ 0 w 240"/>
                <a:gd name="T3" fmla="*/ 159 h 252"/>
                <a:gd name="T4" fmla="*/ 24 w 240"/>
                <a:gd name="T5" fmla="*/ 231 h 252"/>
                <a:gd name="T6" fmla="*/ 24 w 240"/>
                <a:gd name="T7" fmla="*/ 252 h 252"/>
                <a:gd name="T8" fmla="*/ 216 w 240"/>
                <a:gd name="T9" fmla="*/ 252 h 252"/>
                <a:gd name="T10" fmla="*/ 216 w 240"/>
                <a:gd name="T11" fmla="*/ 231 h 252"/>
                <a:gd name="T12" fmla="*/ 240 w 240"/>
                <a:gd name="T13" fmla="*/ 159 h 252"/>
                <a:gd name="T14" fmla="*/ 131 w 240"/>
                <a:gd name="T15" fmla="*/ 5 h 252"/>
                <a:gd name="T16" fmla="*/ 109 w 240"/>
                <a:gd name="T17" fmla="*/ 4 h 252"/>
                <a:gd name="T18" fmla="*/ 62 w 240"/>
                <a:gd name="T19" fmla="*/ 41 h 252"/>
                <a:gd name="T20" fmla="*/ 53 w 240"/>
                <a:gd name="T21" fmla="*/ 4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252">
                  <a:moveTo>
                    <a:pt x="53" y="49"/>
                  </a:moveTo>
                  <a:cubicBezTo>
                    <a:pt x="25" y="77"/>
                    <a:pt x="0" y="115"/>
                    <a:pt x="0" y="159"/>
                  </a:cubicBezTo>
                  <a:cubicBezTo>
                    <a:pt x="0" y="186"/>
                    <a:pt x="9" y="211"/>
                    <a:pt x="24" y="231"/>
                  </a:cubicBezTo>
                  <a:cubicBezTo>
                    <a:pt x="24" y="252"/>
                    <a:pt x="24" y="252"/>
                    <a:pt x="24" y="252"/>
                  </a:cubicBezTo>
                  <a:cubicBezTo>
                    <a:pt x="216" y="252"/>
                    <a:pt x="216" y="252"/>
                    <a:pt x="216" y="252"/>
                  </a:cubicBezTo>
                  <a:cubicBezTo>
                    <a:pt x="216" y="231"/>
                    <a:pt x="216" y="231"/>
                    <a:pt x="216" y="231"/>
                  </a:cubicBezTo>
                  <a:cubicBezTo>
                    <a:pt x="231" y="211"/>
                    <a:pt x="240" y="186"/>
                    <a:pt x="240" y="159"/>
                  </a:cubicBezTo>
                  <a:cubicBezTo>
                    <a:pt x="240" y="91"/>
                    <a:pt x="160" y="26"/>
                    <a:pt x="131" y="5"/>
                  </a:cubicBezTo>
                  <a:cubicBezTo>
                    <a:pt x="124" y="0"/>
                    <a:pt x="116" y="0"/>
                    <a:pt x="109" y="4"/>
                  </a:cubicBezTo>
                  <a:cubicBezTo>
                    <a:pt x="98" y="11"/>
                    <a:pt x="80" y="24"/>
                    <a:pt x="62" y="41"/>
                  </a:cubicBezTo>
                  <a:lnTo>
                    <a:pt x="53" y="49"/>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Rectangle 223"/>
            <p:cNvSpPr>
              <a:spLocks noChangeArrowheads="1"/>
            </p:cNvSpPr>
            <p:nvPr/>
          </p:nvSpPr>
          <p:spPr bwMode="auto">
            <a:xfrm>
              <a:off x="5671" y="3646"/>
              <a:ext cx="24" cy="607"/>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Rectangle 224"/>
            <p:cNvSpPr>
              <a:spLocks noChangeArrowheads="1"/>
            </p:cNvSpPr>
            <p:nvPr/>
          </p:nvSpPr>
          <p:spPr bwMode="auto">
            <a:xfrm>
              <a:off x="5695" y="3646"/>
              <a:ext cx="513" cy="607"/>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Rectangle 225"/>
            <p:cNvSpPr>
              <a:spLocks noChangeArrowheads="1"/>
            </p:cNvSpPr>
            <p:nvPr/>
          </p:nvSpPr>
          <p:spPr bwMode="auto">
            <a:xfrm>
              <a:off x="5671" y="3639"/>
              <a:ext cx="537" cy="614"/>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Rectangle 226"/>
            <p:cNvSpPr>
              <a:spLocks noChangeArrowheads="1"/>
            </p:cNvSpPr>
            <p:nvPr/>
          </p:nvSpPr>
          <p:spPr bwMode="auto">
            <a:xfrm>
              <a:off x="5733" y="3710"/>
              <a:ext cx="415" cy="543"/>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27"/>
            <p:cNvSpPr>
              <a:spLocks/>
            </p:cNvSpPr>
            <p:nvPr/>
          </p:nvSpPr>
          <p:spPr bwMode="auto">
            <a:xfrm>
              <a:off x="5800" y="3807"/>
              <a:ext cx="280" cy="446"/>
            </a:xfrm>
            <a:custGeom>
              <a:avLst/>
              <a:gdLst>
                <a:gd name="T0" fmla="*/ 59 w 118"/>
                <a:gd name="T1" fmla="*/ 0 h 188"/>
                <a:gd name="T2" fmla="*/ 0 w 118"/>
                <a:gd name="T3" fmla="*/ 50 h 188"/>
                <a:gd name="T4" fmla="*/ 0 w 118"/>
                <a:gd name="T5" fmla="*/ 100 h 188"/>
                <a:gd name="T6" fmla="*/ 0 w 118"/>
                <a:gd name="T7" fmla="*/ 100 h 188"/>
                <a:gd name="T8" fmla="*/ 0 w 118"/>
                <a:gd name="T9" fmla="*/ 188 h 188"/>
                <a:gd name="T10" fmla="*/ 118 w 118"/>
                <a:gd name="T11" fmla="*/ 188 h 188"/>
                <a:gd name="T12" fmla="*/ 118 w 118"/>
                <a:gd name="T13" fmla="*/ 100 h 188"/>
                <a:gd name="T14" fmla="*/ 118 w 118"/>
                <a:gd name="T15" fmla="*/ 100 h 188"/>
                <a:gd name="T16" fmla="*/ 118 w 118"/>
                <a:gd name="T17" fmla="*/ 50 h 188"/>
                <a:gd name="T18" fmla="*/ 59 w 118"/>
                <a:gd name="T19"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88">
                  <a:moveTo>
                    <a:pt x="59" y="0"/>
                  </a:moveTo>
                  <a:cubicBezTo>
                    <a:pt x="33" y="0"/>
                    <a:pt x="0" y="28"/>
                    <a:pt x="0" y="50"/>
                  </a:cubicBezTo>
                  <a:cubicBezTo>
                    <a:pt x="0" y="66"/>
                    <a:pt x="0" y="98"/>
                    <a:pt x="0" y="100"/>
                  </a:cubicBezTo>
                  <a:cubicBezTo>
                    <a:pt x="0" y="100"/>
                    <a:pt x="0" y="100"/>
                    <a:pt x="0" y="100"/>
                  </a:cubicBezTo>
                  <a:cubicBezTo>
                    <a:pt x="0" y="188"/>
                    <a:pt x="0" y="188"/>
                    <a:pt x="0" y="188"/>
                  </a:cubicBezTo>
                  <a:cubicBezTo>
                    <a:pt x="118" y="188"/>
                    <a:pt x="118" y="188"/>
                    <a:pt x="118" y="188"/>
                  </a:cubicBezTo>
                  <a:cubicBezTo>
                    <a:pt x="118" y="100"/>
                    <a:pt x="118" y="100"/>
                    <a:pt x="118" y="100"/>
                  </a:cubicBezTo>
                  <a:cubicBezTo>
                    <a:pt x="118" y="100"/>
                    <a:pt x="118" y="100"/>
                    <a:pt x="118" y="100"/>
                  </a:cubicBezTo>
                  <a:cubicBezTo>
                    <a:pt x="118" y="98"/>
                    <a:pt x="118" y="66"/>
                    <a:pt x="118" y="50"/>
                  </a:cubicBezTo>
                  <a:cubicBezTo>
                    <a:pt x="118" y="28"/>
                    <a:pt x="85" y="0"/>
                    <a:pt x="59"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Rectangle 228"/>
            <p:cNvSpPr>
              <a:spLocks noChangeArrowheads="1"/>
            </p:cNvSpPr>
            <p:nvPr/>
          </p:nvSpPr>
          <p:spPr bwMode="auto">
            <a:xfrm>
              <a:off x="5062" y="4253"/>
              <a:ext cx="1767" cy="41"/>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Rectangle 229"/>
            <p:cNvSpPr>
              <a:spLocks noChangeArrowheads="1"/>
            </p:cNvSpPr>
            <p:nvPr/>
          </p:nvSpPr>
          <p:spPr bwMode="auto">
            <a:xfrm>
              <a:off x="5033" y="4253"/>
              <a:ext cx="1796" cy="41"/>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30"/>
            <p:cNvSpPr>
              <a:spLocks/>
            </p:cNvSpPr>
            <p:nvPr/>
          </p:nvSpPr>
          <p:spPr bwMode="auto">
            <a:xfrm>
              <a:off x="5800" y="4045"/>
              <a:ext cx="280" cy="0"/>
            </a:xfrm>
            <a:custGeom>
              <a:avLst/>
              <a:gdLst>
                <a:gd name="T0" fmla="*/ 0 w 280"/>
                <a:gd name="T1" fmla="*/ 280 w 280"/>
                <a:gd name="T2" fmla="*/ 0 w 280"/>
              </a:gdLst>
              <a:ahLst/>
              <a:cxnLst>
                <a:cxn ang="0">
                  <a:pos x="T0" y="0"/>
                </a:cxn>
                <a:cxn ang="0">
                  <a:pos x="T1" y="0"/>
                </a:cxn>
                <a:cxn ang="0">
                  <a:pos x="T2" y="0"/>
                </a:cxn>
              </a:cxnLst>
              <a:rect l="0" t="0" r="r" b="b"/>
              <a:pathLst>
                <a:path w="280">
                  <a:moveTo>
                    <a:pt x="0" y="0"/>
                  </a:moveTo>
                  <a:lnTo>
                    <a:pt x="28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Line 231"/>
            <p:cNvSpPr>
              <a:spLocks noChangeShapeType="1"/>
            </p:cNvSpPr>
            <p:nvPr/>
          </p:nvSpPr>
          <p:spPr bwMode="auto">
            <a:xfrm>
              <a:off x="5800" y="4045"/>
              <a:ext cx="280"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232"/>
            <p:cNvSpPr>
              <a:spLocks/>
            </p:cNvSpPr>
            <p:nvPr/>
          </p:nvSpPr>
          <p:spPr bwMode="auto">
            <a:xfrm>
              <a:off x="5712" y="3589"/>
              <a:ext cx="455" cy="0"/>
            </a:xfrm>
            <a:custGeom>
              <a:avLst/>
              <a:gdLst>
                <a:gd name="T0" fmla="*/ 0 w 455"/>
                <a:gd name="T1" fmla="*/ 455 w 455"/>
                <a:gd name="T2" fmla="*/ 0 w 455"/>
              </a:gdLst>
              <a:ahLst/>
              <a:cxnLst>
                <a:cxn ang="0">
                  <a:pos x="T0" y="0"/>
                </a:cxn>
                <a:cxn ang="0">
                  <a:pos x="T1" y="0"/>
                </a:cxn>
                <a:cxn ang="0">
                  <a:pos x="T2" y="0"/>
                </a:cxn>
              </a:cxnLst>
              <a:rect l="0" t="0" r="r" b="b"/>
              <a:pathLst>
                <a:path w="455">
                  <a:moveTo>
                    <a:pt x="0" y="0"/>
                  </a:moveTo>
                  <a:lnTo>
                    <a:pt x="455"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Line 233"/>
            <p:cNvSpPr>
              <a:spLocks noChangeShapeType="1"/>
            </p:cNvSpPr>
            <p:nvPr/>
          </p:nvSpPr>
          <p:spPr bwMode="auto">
            <a:xfrm>
              <a:off x="5712" y="3589"/>
              <a:ext cx="455"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234"/>
            <p:cNvSpPr>
              <a:spLocks/>
            </p:cNvSpPr>
            <p:nvPr/>
          </p:nvSpPr>
          <p:spPr bwMode="auto">
            <a:xfrm>
              <a:off x="3266" y="3888"/>
              <a:ext cx="458" cy="522"/>
            </a:xfrm>
            <a:custGeom>
              <a:avLst/>
              <a:gdLst>
                <a:gd name="T0" fmla="*/ 193 w 193"/>
                <a:gd name="T1" fmla="*/ 0 h 220"/>
                <a:gd name="T2" fmla="*/ 193 w 193"/>
                <a:gd name="T3" fmla="*/ 220 h 220"/>
                <a:gd name="T4" fmla="*/ 160 w 193"/>
                <a:gd name="T5" fmla="*/ 220 h 220"/>
                <a:gd name="T6" fmla="*/ 160 w 193"/>
                <a:gd name="T7" fmla="*/ 107 h 220"/>
                <a:gd name="T8" fmla="*/ 116 w 193"/>
                <a:gd name="T9" fmla="*/ 52 h 220"/>
                <a:gd name="T10" fmla="*/ 104 w 193"/>
                <a:gd name="T11" fmla="*/ 50 h 220"/>
                <a:gd name="T12" fmla="*/ 92 w 193"/>
                <a:gd name="T13" fmla="*/ 52 h 220"/>
                <a:gd name="T14" fmla="*/ 60 w 193"/>
                <a:gd name="T15" fmla="*/ 73 h 220"/>
                <a:gd name="T16" fmla="*/ 49 w 193"/>
                <a:gd name="T17" fmla="*/ 95 h 220"/>
                <a:gd name="T18" fmla="*/ 48 w 193"/>
                <a:gd name="T19" fmla="*/ 107 h 220"/>
                <a:gd name="T20" fmla="*/ 48 w 193"/>
                <a:gd name="T21" fmla="*/ 109 h 220"/>
                <a:gd name="T22" fmla="*/ 48 w 193"/>
                <a:gd name="T23" fmla="*/ 220 h 220"/>
                <a:gd name="T24" fmla="*/ 0 w 193"/>
                <a:gd name="T25" fmla="*/ 220 h 220"/>
                <a:gd name="T26" fmla="*/ 4 w 193"/>
                <a:gd name="T27" fmla="*/ 30 h 220"/>
                <a:gd name="T28" fmla="*/ 4 w 193"/>
                <a:gd name="T29" fmla="*/ 0 h 220"/>
                <a:gd name="T30" fmla="*/ 193 w 193"/>
                <a:gd name="T31"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20">
                  <a:moveTo>
                    <a:pt x="193" y="0"/>
                  </a:moveTo>
                  <a:cubicBezTo>
                    <a:pt x="193" y="220"/>
                    <a:pt x="193" y="220"/>
                    <a:pt x="193" y="220"/>
                  </a:cubicBezTo>
                  <a:cubicBezTo>
                    <a:pt x="160" y="220"/>
                    <a:pt x="160" y="220"/>
                    <a:pt x="160" y="220"/>
                  </a:cubicBezTo>
                  <a:cubicBezTo>
                    <a:pt x="160" y="220"/>
                    <a:pt x="160" y="108"/>
                    <a:pt x="160" y="107"/>
                  </a:cubicBezTo>
                  <a:cubicBezTo>
                    <a:pt x="160" y="80"/>
                    <a:pt x="141" y="57"/>
                    <a:pt x="116" y="52"/>
                  </a:cubicBezTo>
                  <a:cubicBezTo>
                    <a:pt x="112" y="51"/>
                    <a:pt x="108" y="50"/>
                    <a:pt x="104" y="50"/>
                  </a:cubicBezTo>
                  <a:cubicBezTo>
                    <a:pt x="100" y="50"/>
                    <a:pt x="96" y="51"/>
                    <a:pt x="92" y="52"/>
                  </a:cubicBezTo>
                  <a:cubicBezTo>
                    <a:pt x="79" y="54"/>
                    <a:pt x="68" y="62"/>
                    <a:pt x="60" y="73"/>
                  </a:cubicBezTo>
                  <a:cubicBezTo>
                    <a:pt x="55" y="79"/>
                    <a:pt x="51" y="87"/>
                    <a:pt x="49" y="95"/>
                  </a:cubicBezTo>
                  <a:cubicBezTo>
                    <a:pt x="49" y="99"/>
                    <a:pt x="48" y="103"/>
                    <a:pt x="48" y="107"/>
                  </a:cubicBezTo>
                  <a:cubicBezTo>
                    <a:pt x="48" y="108"/>
                    <a:pt x="48" y="109"/>
                    <a:pt x="48" y="109"/>
                  </a:cubicBezTo>
                  <a:cubicBezTo>
                    <a:pt x="48" y="220"/>
                    <a:pt x="48" y="220"/>
                    <a:pt x="48" y="220"/>
                  </a:cubicBezTo>
                  <a:cubicBezTo>
                    <a:pt x="0" y="220"/>
                    <a:pt x="0" y="220"/>
                    <a:pt x="0" y="220"/>
                  </a:cubicBezTo>
                  <a:cubicBezTo>
                    <a:pt x="4" y="30"/>
                    <a:pt x="4" y="30"/>
                    <a:pt x="4" y="30"/>
                  </a:cubicBezTo>
                  <a:cubicBezTo>
                    <a:pt x="4" y="0"/>
                    <a:pt x="4" y="0"/>
                    <a:pt x="4" y="0"/>
                  </a:cubicBezTo>
                  <a:lnTo>
                    <a:pt x="193"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Rectangle 235"/>
            <p:cNvSpPr>
              <a:spLocks noChangeArrowheads="1"/>
            </p:cNvSpPr>
            <p:nvPr/>
          </p:nvSpPr>
          <p:spPr bwMode="auto">
            <a:xfrm>
              <a:off x="3278" y="3755"/>
              <a:ext cx="446" cy="133"/>
            </a:xfrm>
            <a:prstGeom prst="rect">
              <a:avLst/>
            </a:pr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Rectangle 236"/>
            <p:cNvSpPr>
              <a:spLocks noChangeArrowheads="1"/>
            </p:cNvSpPr>
            <p:nvPr/>
          </p:nvSpPr>
          <p:spPr bwMode="auto">
            <a:xfrm>
              <a:off x="4360" y="3755"/>
              <a:ext cx="455" cy="133"/>
            </a:xfrm>
            <a:prstGeom prst="rect">
              <a:avLst/>
            </a:pr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37"/>
            <p:cNvSpPr>
              <a:spLocks/>
            </p:cNvSpPr>
            <p:nvPr/>
          </p:nvSpPr>
          <p:spPr bwMode="auto">
            <a:xfrm>
              <a:off x="4345" y="3446"/>
              <a:ext cx="458" cy="98"/>
            </a:xfrm>
            <a:custGeom>
              <a:avLst/>
              <a:gdLst>
                <a:gd name="T0" fmla="*/ 193 w 193"/>
                <a:gd name="T1" fmla="*/ 0 h 41"/>
                <a:gd name="T2" fmla="*/ 187 w 193"/>
                <a:gd name="T3" fmla="*/ 25 h 41"/>
                <a:gd name="T4" fmla="*/ 174 w 193"/>
                <a:gd name="T5" fmla="*/ 41 h 41"/>
                <a:gd name="T6" fmla="*/ 19 w 193"/>
                <a:gd name="T7" fmla="*/ 41 h 41"/>
                <a:gd name="T8" fmla="*/ 13 w 193"/>
                <a:gd name="T9" fmla="*/ 35 h 41"/>
                <a:gd name="T10" fmla="*/ 13 w 193"/>
                <a:gd name="T11" fmla="*/ 28 h 41"/>
                <a:gd name="T12" fmla="*/ 11 w 193"/>
                <a:gd name="T13" fmla="*/ 28 h 41"/>
                <a:gd name="T14" fmla="*/ 11 w 193"/>
                <a:gd name="T15" fmla="*/ 28 h 41"/>
                <a:gd name="T16" fmla="*/ 12 w 193"/>
                <a:gd name="T17" fmla="*/ 25 h 41"/>
                <a:gd name="T18" fmla="*/ 8 w 193"/>
                <a:gd name="T19" fmla="*/ 19 h 41"/>
                <a:gd name="T20" fmla="*/ 3 w 193"/>
                <a:gd name="T21" fmla="*/ 17 h 41"/>
                <a:gd name="T22" fmla="*/ 0 w 193"/>
                <a:gd name="T23" fmla="*/ 0 h 41"/>
                <a:gd name="T24" fmla="*/ 33 w 193"/>
                <a:gd name="T25" fmla="*/ 24 h 41"/>
                <a:gd name="T26" fmla="*/ 44 w 193"/>
                <a:gd name="T27" fmla="*/ 25 h 41"/>
                <a:gd name="T28" fmla="*/ 91 w 193"/>
                <a:gd name="T29" fmla="*/ 25 h 41"/>
                <a:gd name="T30" fmla="*/ 96 w 193"/>
                <a:gd name="T31" fmla="*/ 25 h 41"/>
                <a:gd name="T32" fmla="*/ 160 w 193"/>
                <a:gd name="T33" fmla="*/ 24 h 41"/>
                <a:gd name="T34" fmla="*/ 173 w 193"/>
                <a:gd name="T35" fmla="*/ 21 h 41"/>
                <a:gd name="T36" fmla="*/ 193 w 193"/>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3" h="41">
                  <a:moveTo>
                    <a:pt x="193" y="0"/>
                  </a:moveTo>
                  <a:cubicBezTo>
                    <a:pt x="191" y="8"/>
                    <a:pt x="191" y="17"/>
                    <a:pt x="187" y="25"/>
                  </a:cubicBezTo>
                  <a:cubicBezTo>
                    <a:pt x="184" y="30"/>
                    <a:pt x="180" y="36"/>
                    <a:pt x="174" y="41"/>
                  </a:cubicBezTo>
                  <a:cubicBezTo>
                    <a:pt x="19" y="41"/>
                    <a:pt x="19" y="41"/>
                    <a:pt x="19" y="41"/>
                  </a:cubicBezTo>
                  <a:cubicBezTo>
                    <a:pt x="17" y="39"/>
                    <a:pt x="14" y="37"/>
                    <a:pt x="13" y="35"/>
                  </a:cubicBezTo>
                  <a:cubicBezTo>
                    <a:pt x="13" y="28"/>
                    <a:pt x="13" y="28"/>
                    <a:pt x="13" y="28"/>
                  </a:cubicBezTo>
                  <a:cubicBezTo>
                    <a:pt x="11" y="28"/>
                    <a:pt x="11" y="28"/>
                    <a:pt x="11" y="28"/>
                  </a:cubicBezTo>
                  <a:cubicBezTo>
                    <a:pt x="11" y="28"/>
                    <a:pt x="11" y="28"/>
                    <a:pt x="11" y="28"/>
                  </a:cubicBezTo>
                  <a:cubicBezTo>
                    <a:pt x="11" y="27"/>
                    <a:pt x="12" y="26"/>
                    <a:pt x="12" y="25"/>
                  </a:cubicBezTo>
                  <a:cubicBezTo>
                    <a:pt x="12" y="23"/>
                    <a:pt x="10" y="21"/>
                    <a:pt x="8" y="19"/>
                  </a:cubicBezTo>
                  <a:cubicBezTo>
                    <a:pt x="7" y="18"/>
                    <a:pt x="5" y="18"/>
                    <a:pt x="3" y="17"/>
                  </a:cubicBezTo>
                  <a:cubicBezTo>
                    <a:pt x="2" y="11"/>
                    <a:pt x="1" y="6"/>
                    <a:pt x="0" y="0"/>
                  </a:cubicBezTo>
                  <a:cubicBezTo>
                    <a:pt x="10" y="11"/>
                    <a:pt x="15" y="24"/>
                    <a:pt x="33" y="24"/>
                  </a:cubicBezTo>
                  <a:cubicBezTo>
                    <a:pt x="37" y="24"/>
                    <a:pt x="41" y="25"/>
                    <a:pt x="44" y="25"/>
                  </a:cubicBezTo>
                  <a:cubicBezTo>
                    <a:pt x="60" y="25"/>
                    <a:pt x="75" y="25"/>
                    <a:pt x="91" y="25"/>
                  </a:cubicBezTo>
                  <a:cubicBezTo>
                    <a:pt x="93" y="25"/>
                    <a:pt x="95" y="25"/>
                    <a:pt x="96" y="25"/>
                  </a:cubicBezTo>
                  <a:cubicBezTo>
                    <a:pt x="118" y="25"/>
                    <a:pt x="139" y="25"/>
                    <a:pt x="160" y="24"/>
                  </a:cubicBezTo>
                  <a:cubicBezTo>
                    <a:pt x="165" y="24"/>
                    <a:pt x="169" y="23"/>
                    <a:pt x="173" y="21"/>
                  </a:cubicBezTo>
                  <a:cubicBezTo>
                    <a:pt x="181" y="16"/>
                    <a:pt x="186" y="8"/>
                    <a:pt x="193"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38"/>
            <p:cNvSpPr>
              <a:spLocks/>
            </p:cNvSpPr>
            <p:nvPr/>
          </p:nvSpPr>
          <p:spPr bwMode="auto">
            <a:xfrm>
              <a:off x="4412" y="3337"/>
              <a:ext cx="325" cy="71"/>
            </a:xfrm>
            <a:custGeom>
              <a:avLst/>
              <a:gdLst>
                <a:gd name="T0" fmla="*/ 137 w 137"/>
                <a:gd name="T1" fmla="*/ 0 h 30"/>
                <a:gd name="T2" fmla="*/ 123 w 137"/>
                <a:gd name="T3" fmla="*/ 30 h 30"/>
                <a:gd name="T4" fmla="*/ 14 w 137"/>
                <a:gd name="T5" fmla="*/ 30 h 30"/>
                <a:gd name="T6" fmla="*/ 5 w 137"/>
                <a:gd name="T7" fmla="*/ 19 h 30"/>
                <a:gd name="T8" fmla="*/ 0 w 137"/>
                <a:gd name="T9" fmla="*/ 0 h 30"/>
                <a:gd name="T10" fmla="*/ 24 w 137"/>
                <a:gd name="T11" fmla="*/ 18 h 30"/>
                <a:gd name="T12" fmla="*/ 32 w 137"/>
                <a:gd name="T13" fmla="*/ 18 h 30"/>
                <a:gd name="T14" fmla="*/ 46 w 137"/>
                <a:gd name="T15" fmla="*/ 18 h 30"/>
                <a:gd name="T16" fmla="*/ 65 w 137"/>
                <a:gd name="T17" fmla="*/ 18 h 30"/>
                <a:gd name="T18" fmla="*/ 68 w 137"/>
                <a:gd name="T19" fmla="*/ 18 h 30"/>
                <a:gd name="T20" fmla="*/ 113 w 137"/>
                <a:gd name="T21" fmla="*/ 18 h 30"/>
                <a:gd name="T22" fmla="*/ 137 w 137"/>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 h="30">
                  <a:moveTo>
                    <a:pt x="137" y="0"/>
                  </a:moveTo>
                  <a:cubicBezTo>
                    <a:pt x="135" y="10"/>
                    <a:pt x="136" y="20"/>
                    <a:pt x="123" y="30"/>
                  </a:cubicBezTo>
                  <a:cubicBezTo>
                    <a:pt x="14" y="30"/>
                    <a:pt x="14" y="30"/>
                    <a:pt x="14" y="30"/>
                  </a:cubicBezTo>
                  <a:cubicBezTo>
                    <a:pt x="9" y="26"/>
                    <a:pt x="6" y="23"/>
                    <a:pt x="5" y="19"/>
                  </a:cubicBezTo>
                  <a:cubicBezTo>
                    <a:pt x="1" y="13"/>
                    <a:pt x="1" y="7"/>
                    <a:pt x="0" y="0"/>
                  </a:cubicBezTo>
                  <a:cubicBezTo>
                    <a:pt x="7" y="9"/>
                    <a:pt x="11" y="18"/>
                    <a:pt x="24" y="18"/>
                  </a:cubicBezTo>
                  <a:cubicBezTo>
                    <a:pt x="26" y="18"/>
                    <a:pt x="29" y="18"/>
                    <a:pt x="32" y="18"/>
                  </a:cubicBezTo>
                  <a:cubicBezTo>
                    <a:pt x="36" y="18"/>
                    <a:pt x="41" y="18"/>
                    <a:pt x="46" y="18"/>
                  </a:cubicBezTo>
                  <a:cubicBezTo>
                    <a:pt x="52" y="18"/>
                    <a:pt x="59" y="18"/>
                    <a:pt x="65" y="18"/>
                  </a:cubicBezTo>
                  <a:cubicBezTo>
                    <a:pt x="68" y="18"/>
                    <a:pt x="68" y="18"/>
                    <a:pt x="68" y="18"/>
                  </a:cubicBezTo>
                  <a:cubicBezTo>
                    <a:pt x="83" y="18"/>
                    <a:pt x="98" y="18"/>
                    <a:pt x="113" y="18"/>
                  </a:cubicBezTo>
                  <a:cubicBezTo>
                    <a:pt x="126" y="18"/>
                    <a:pt x="130" y="9"/>
                    <a:pt x="137"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39"/>
            <p:cNvSpPr>
              <a:spLocks/>
            </p:cNvSpPr>
            <p:nvPr/>
          </p:nvSpPr>
          <p:spPr bwMode="auto">
            <a:xfrm>
              <a:off x="3354" y="3337"/>
              <a:ext cx="327" cy="71"/>
            </a:xfrm>
            <a:custGeom>
              <a:avLst/>
              <a:gdLst>
                <a:gd name="T0" fmla="*/ 138 w 138"/>
                <a:gd name="T1" fmla="*/ 0 h 30"/>
                <a:gd name="T2" fmla="*/ 130 w 138"/>
                <a:gd name="T3" fmla="*/ 24 h 30"/>
                <a:gd name="T4" fmla="*/ 124 w 138"/>
                <a:gd name="T5" fmla="*/ 30 h 30"/>
                <a:gd name="T6" fmla="*/ 14 w 138"/>
                <a:gd name="T7" fmla="*/ 30 h 30"/>
                <a:gd name="T8" fmla="*/ 0 w 138"/>
                <a:gd name="T9" fmla="*/ 0 h 30"/>
                <a:gd name="T10" fmla="*/ 24 w 138"/>
                <a:gd name="T11" fmla="*/ 18 h 30"/>
                <a:gd name="T12" fmla="*/ 58 w 138"/>
                <a:gd name="T13" fmla="*/ 18 h 30"/>
                <a:gd name="T14" fmla="*/ 69 w 138"/>
                <a:gd name="T15" fmla="*/ 18 h 30"/>
                <a:gd name="T16" fmla="*/ 76 w 138"/>
                <a:gd name="T17" fmla="*/ 18 h 30"/>
                <a:gd name="T18" fmla="*/ 111 w 138"/>
                <a:gd name="T19" fmla="*/ 18 h 30"/>
                <a:gd name="T20" fmla="*/ 114 w 138"/>
                <a:gd name="T21" fmla="*/ 18 h 30"/>
                <a:gd name="T22" fmla="*/ 138 w 138"/>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30">
                  <a:moveTo>
                    <a:pt x="138" y="0"/>
                  </a:moveTo>
                  <a:cubicBezTo>
                    <a:pt x="136" y="8"/>
                    <a:pt x="136" y="16"/>
                    <a:pt x="130" y="24"/>
                  </a:cubicBezTo>
                  <a:cubicBezTo>
                    <a:pt x="128" y="26"/>
                    <a:pt x="126" y="28"/>
                    <a:pt x="124" y="30"/>
                  </a:cubicBezTo>
                  <a:cubicBezTo>
                    <a:pt x="14" y="30"/>
                    <a:pt x="14" y="30"/>
                    <a:pt x="14" y="30"/>
                  </a:cubicBezTo>
                  <a:cubicBezTo>
                    <a:pt x="1" y="20"/>
                    <a:pt x="2" y="10"/>
                    <a:pt x="0" y="0"/>
                  </a:cubicBezTo>
                  <a:cubicBezTo>
                    <a:pt x="7" y="9"/>
                    <a:pt x="11" y="18"/>
                    <a:pt x="24" y="18"/>
                  </a:cubicBezTo>
                  <a:cubicBezTo>
                    <a:pt x="35" y="18"/>
                    <a:pt x="47" y="18"/>
                    <a:pt x="58" y="18"/>
                  </a:cubicBezTo>
                  <a:cubicBezTo>
                    <a:pt x="62" y="18"/>
                    <a:pt x="65" y="18"/>
                    <a:pt x="69" y="18"/>
                  </a:cubicBezTo>
                  <a:cubicBezTo>
                    <a:pt x="71" y="18"/>
                    <a:pt x="74" y="18"/>
                    <a:pt x="76" y="18"/>
                  </a:cubicBezTo>
                  <a:cubicBezTo>
                    <a:pt x="88" y="18"/>
                    <a:pt x="100" y="18"/>
                    <a:pt x="111" y="18"/>
                  </a:cubicBezTo>
                  <a:cubicBezTo>
                    <a:pt x="114" y="18"/>
                    <a:pt x="114" y="18"/>
                    <a:pt x="114" y="18"/>
                  </a:cubicBezTo>
                  <a:cubicBezTo>
                    <a:pt x="127" y="18"/>
                    <a:pt x="130" y="9"/>
                    <a:pt x="138"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40"/>
            <p:cNvSpPr>
              <a:spLocks/>
            </p:cNvSpPr>
            <p:nvPr/>
          </p:nvSpPr>
          <p:spPr bwMode="auto">
            <a:xfrm>
              <a:off x="3287" y="3446"/>
              <a:ext cx="458" cy="98"/>
            </a:xfrm>
            <a:custGeom>
              <a:avLst/>
              <a:gdLst>
                <a:gd name="T0" fmla="*/ 193 w 193"/>
                <a:gd name="T1" fmla="*/ 0 h 41"/>
                <a:gd name="T2" fmla="*/ 190 w 193"/>
                <a:gd name="T3" fmla="*/ 17 h 41"/>
                <a:gd name="T4" fmla="*/ 190 w 193"/>
                <a:gd name="T5" fmla="*/ 18 h 41"/>
                <a:gd name="T6" fmla="*/ 185 w 193"/>
                <a:gd name="T7" fmla="*/ 19 h 41"/>
                <a:gd name="T8" fmla="*/ 182 w 193"/>
                <a:gd name="T9" fmla="*/ 25 h 41"/>
                <a:gd name="T10" fmla="*/ 182 w 193"/>
                <a:gd name="T11" fmla="*/ 28 h 41"/>
                <a:gd name="T12" fmla="*/ 182 w 193"/>
                <a:gd name="T13" fmla="*/ 28 h 41"/>
                <a:gd name="T14" fmla="*/ 181 w 193"/>
                <a:gd name="T15" fmla="*/ 28 h 41"/>
                <a:gd name="T16" fmla="*/ 181 w 193"/>
                <a:gd name="T17" fmla="*/ 35 h 41"/>
                <a:gd name="T18" fmla="*/ 174 w 193"/>
                <a:gd name="T19" fmla="*/ 41 h 41"/>
                <a:gd name="T20" fmla="*/ 20 w 193"/>
                <a:gd name="T21" fmla="*/ 41 h 41"/>
                <a:gd name="T22" fmla="*/ 4 w 193"/>
                <a:gd name="T23" fmla="*/ 17 h 41"/>
                <a:gd name="T24" fmla="*/ 0 w 193"/>
                <a:gd name="T25" fmla="*/ 0 h 41"/>
                <a:gd name="T26" fmla="*/ 15 w 193"/>
                <a:gd name="T27" fmla="*/ 17 h 41"/>
                <a:gd name="T28" fmla="*/ 34 w 193"/>
                <a:gd name="T29" fmla="*/ 24 h 41"/>
                <a:gd name="T30" fmla="*/ 38 w 193"/>
                <a:gd name="T31" fmla="*/ 24 h 41"/>
                <a:gd name="T32" fmla="*/ 44 w 193"/>
                <a:gd name="T33" fmla="*/ 25 h 41"/>
                <a:gd name="T34" fmla="*/ 51 w 193"/>
                <a:gd name="T35" fmla="*/ 25 h 41"/>
                <a:gd name="T36" fmla="*/ 97 w 193"/>
                <a:gd name="T37" fmla="*/ 25 h 41"/>
                <a:gd name="T38" fmla="*/ 127 w 193"/>
                <a:gd name="T39" fmla="*/ 25 h 41"/>
                <a:gd name="T40" fmla="*/ 160 w 193"/>
                <a:gd name="T41" fmla="*/ 24 h 41"/>
                <a:gd name="T42" fmla="*/ 178 w 193"/>
                <a:gd name="T43" fmla="*/ 18 h 41"/>
                <a:gd name="T44" fmla="*/ 193 w 193"/>
                <a:gd name="T4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3" h="41">
                  <a:moveTo>
                    <a:pt x="193" y="0"/>
                  </a:moveTo>
                  <a:cubicBezTo>
                    <a:pt x="192" y="6"/>
                    <a:pt x="192" y="11"/>
                    <a:pt x="190" y="17"/>
                  </a:cubicBezTo>
                  <a:cubicBezTo>
                    <a:pt x="190" y="17"/>
                    <a:pt x="190" y="18"/>
                    <a:pt x="190" y="18"/>
                  </a:cubicBezTo>
                  <a:cubicBezTo>
                    <a:pt x="188" y="18"/>
                    <a:pt x="186" y="18"/>
                    <a:pt x="185" y="19"/>
                  </a:cubicBezTo>
                  <a:cubicBezTo>
                    <a:pt x="183" y="21"/>
                    <a:pt x="182" y="23"/>
                    <a:pt x="182" y="25"/>
                  </a:cubicBezTo>
                  <a:cubicBezTo>
                    <a:pt x="182" y="26"/>
                    <a:pt x="182" y="27"/>
                    <a:pt x="182" y="28"/>
                  </a:cubicBezTo>
                  <a:cubicBezTo>
                    <a:pt x="182" y="28"/>
                    <a:pt x="182" y="28"/>
                    <a:pt x="182" y="28"/>
                  </a:cubicBezTo>
                  <a:cubicBezTo>
                    <a:pt x="181" y="28"/>
                    <a:pt x="181" y="28"/>
                    <a:pt x="181" y="28"/>
                  </a:cubicBezTo>
                  <a:cubicBezTo>
                    <a:pt x="181" y="35"/>
                    <a:pt x="181" y="35"/>
                    <a:pt x="181" y="35"/>
                  </a:cubicBezTo>
                  <a:cubicBezTo>
                    <a:pt x="179" y="37"/>
                    <a:pt x="177" y="39"/>
                    <a:pt x="174" y="41"/>
                  </a:cubicBezTo>
                  <a:cubicBezTo>
                    <a:pt x="20" y="41"/>
                    <a:pt x="20" y="41"/>
                    <a:pt x="20" y="41"/>
                  </a:cubicBezTo>
                  <a:cubicBezTo>
                    <a:pt x="10" y="33"/>
                    <a:pt x="6" y="25"/>
                    <a:pt x="4" y="17"/>
                  </a:cubicBezTo>
                  <a:cubicBezTo>
                    <a:pt x="2" y="11"/>
                    <a:pt x="2" y="5"/>
                    <a:pt x="0" y="0"/>
                  </a:cubicBezTo>
                  <a:cubicBezTo>
                    <a:pt x="6" y="6"/>
                    <a:pt x="10" y="12"/>
                    <a:pt x="15" y="17"/>
                  </a:cubicBezTo>
                  <a:cubicBezTo>
                    <a:pt x="20" y="21"/>
                    <a:pt x="26" y="24"/>
                    <a:pt x="34" y="24"/>
                  </a:cubicBezTo>
                  <a:cubicBezTo>
                    <a:pt x="38" y="24"/>
                    <a:pt x="38" y="24"/>
                    <a:pt x="38" y="24"/>
                  </a:cubicBezTo>
                  <a:cubicBezTo>
                    <a:pt x="40" y="25"/>
                    <a:pt x="42" y="25"/>
                    <a:pt x="44" y="25"/>
                  </a:cubicBezTo>
                  <a:cubicBezTo>
                    <a:pt x="47" y="25"/>
                    <a:pt x="49" y="25"/>
                    <a:pt x="51" y="25"/>
                  </a:cubicBezTo>
                  <a:cubicBezTo>
                    <a:pt x="66" y="25"/>
                    <a:pt x="82" y="25"/>
                    <a:pt x="97" y="25"/>
                  </a:cubicBezTo>
                  <a:cubicBezTo>
                    <a:pt x="107" y="25"/>
                    <a:pt x="117" y="25"/>
                    <a:pt x="127" y="25"/>
                  </a:cubicBezTo>
                  <a:cubicBezTo>
                    <a:pt x="138" y="25"/>
                    <a:pt x="149" y="25"/>
                    <a:pt x="160" y="24"/>
                  </a:cubicBezTo>
                  <a:cubicBezTo>
                    <a:pt x="168" y="24"/>
                    <a:pt x="174" y="22"/>
                    <a:pt x="178" y="18"/>
                  </a:cubicBezTo>
                  <a:cubicBezTo>
                    <a:pt x="184" y="13"/>
                    <a:pt x="188" y="6"/>
                    <a:pt x="193"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41"/>
            <p:cNvSpPr>
              <a:spLocks/>
            </p:cNvSpPr>
            <p:nvPr/>
          </p:nvSpPr>
          <p:spPr bwMode="auto">
            <a:xfrm>
              <a:off x="4445" y="3411"/>
              <a:ext cx="259" cy="92"/>
            </a:xfrm>
            <a:custGeom>
              <a:avLst/>
              <a:gdLst>
                <a:gd name="T0" fmla="*/ 109 w 109"/>
                <a:gd name="T1" fmla="*/ 0 h 39"/>
                <a:gd name="T2" fmla="*/ 109 w 109"/>
                <a:gd name="T3" fmla="*/ 39 h 39"/>
                <a:gd name="T4" fmla="*/ 68 w 109"/>
                <a:gd name="T5" fmla="*/ 39 h 39"/>
                <a:gd name="T6" fmla="*/ 68 w 109"/>
                <a:gd name="T7" fmla="*/ 35 h 39"/>
                <a:gd name="T8" fmla="*/ 68 w 109"/>
                <a:gd name="T9" fmla="*/ 35 h 39"/>
                <a:gd name="T10" fmla="*/ 68 w 109"/>
                <a:gd name="T11" fmla="*/ 35 h 39"/>
                <a:gd name="T12" fmla="*/ 54 w 109"/>
                <a:gd name="T13" fmla="*/ 26 h 39"/>
                <a:gd name="T14" fmla="*/ 41 w 109"/>
                <a:gd name="T15" fmla="*/ 35 h 39"/>
                <a:gd name="T16" fmla="*/ 41 w 109"/>
                <a:gd name="T17" fmla="*/ 39 h 39"/>
                <a:gd name="T18" fmla="*/ 0 w 109"/>
                <a:gd name="T19" fmla="*/ 39 h 39"/>
                <a:gd name="T20" fmla="*/ 0 w 109"/>
                <a:gd name="T21" fmla="*/ 0 h 39"/>
                <a:gd name="T22" fmla="*/ 109 w 109"/>
                <a:gd name="T2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39">
                  <a:moveTo>
                    <a:pt x="109" y="0"/>
                  </a:moveTo>
                  <a:cubicBezTo>
                    <a:pt x="109" y="39"/>
                    <a:pt x="109" y="39"/>
                    <a:pt x="109" y="39"/>
                  </a:cubicBezTo>
                  <a:cubicBezTo>
                    <a:pt x="68" y="39"/>
                    <a:pt x="68" y="39"/>
                    <a:pt x="68" y="39"/>
                  </a:cubicBezTo>
                  <a:cubicBezTo>
                    <a:pt x="68" y="35"/>
                    <a:pt x="68" y="35"/>
                    <a:pt x="68" y="35"/>
                  </a:cubicBezTo>
                  <a:cubicBezTo>
                    <a:pt x="68" y="35"/>
                    <a:pt x="68" y="35"/>
                    <a:pt x="68" y="35"/>
                  </a:cubicBezTo>
                  <a:cubicBezTo>
                    <a:pt x="68" y="35"/>
                    <a:pt x="68" y="35"/>
                    <a:pt x="68" y="35"/>
                  </a:cubicBezTo>
                  <a:cubicBezTo>
                    <a:pt x="68" y="30"/>
                    <a:pt x="62" y="26"/>
                    <a:pt x="54" y="26"/>
                  </a:cubicBezTo>
                  <a:cubicBezTo>
                    <a:pt x="47" y="26"/>
                    <a:pt x="41" y="30"/>
                    <a:pt x="41" y="35"/>
                  </a:cubicBezTo>
                  <a:cubicBezTo>
                    <a:pt x="41" y="39"/>
                    <a:pt x="41" y="39"/>
                    <a:pt x="41" y="39"/>
                  </a:cubicBezTo>
                  <a:cubicBezTo>
                    <a:pt x="0" y="39"/>
                    <a:pt x="0" y="39"/>
                    <a:pt x="0" y="39"/>
                  </a:cubicBezTo>
                  <a:cubicBezTo>
                    <a:pt x="0" y="0"/>
                    <a:pt x="0" y="0"/>
                    <a:pt x="0" y="0"/>
                  </a:cubicBezTo>
                  <a:lnTo>
                    <a:pt x="109"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42"/>
            <p:cNvSpPr>
              <a:spLocks/>
            </p:cNvSpPr>
            <p:nvPr/>
          </p:nvSpPr>
          <p:spPr bwMode="auto">
            <a:xfrm>
              <a:off x="4393" y="3546"/>
              <a:ext cx="363" cy="211"/>
            </a:xfrm>
            <a:custGeom>
              <a:avLst/>
              <a:gdLst>
                <a:gd name="T0" fmla="*/ 153 w 153"/>
                <a:gd name="T1" fmla="*/ 0 h 89"/>
                <a:gd name="T2" fmla="*/ 153 w 153"/>
                <a:gd name="T3" fmla="*/ 89 h 89"/>
                <a:gd name="T4" fmla="*/ 96 w 153"/>
                <a:gd name="T5" fmla="*/ 89 h 89"/>
                <a:gd name="T6" fmla="*/ 96 w 153"/>
                <a:gd name="T7" fmla="*/ 49 h 89"/>
                <a:gd name="T8" fmla="*/ 96 w 153"/>
                <a:gd name="T9" fmla="*/ 49 h 89"/>
                <a:gd name="T10" fmla="*/ 96 w 153"/>
                <a:gd name="T11" fmla="*/ 49 h 89"/>
                <a:gd name="T12" fmla="*/ 76 w 153"/>
                <a:gd name="T13" fmla="*/ 36 h 89"/>
                <a:gd name="T14" fmla="*/ 69 w 153"/>
                <a:gd name="T15" fmla="*/ 37 h 89"/>
                <a:gd name="T16" fmla="*/ 57 w 153"/>
                <a:gd name="T17" fmla="*/ 49 h 89"/>
                <a:gd name="T18" fmla="*/ 57 w 153"/>
                <a:gd name="T19" fmla="*/ 49 h 89"/>
                <a:gd name="T20" fmla="*/ 57 w 153"/>
                <a:gd name="T21" fmla="*/ 89 h 89"/>
                <a:gd name="T22" fmla="*/ 0 w 153"/>
                <a:gd name="T23" fmla="*/ 89 h 89"/>
                <a:gd name="T24" fmla="*/ 0 w 153"/>
                <a:gd name="T25" fmla="*/ 0 h 89"/>
                <a:gd name="T26" fmla="*/ 153 w 153"/>
                <a:gd name="T2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89">
                  <a:moveTo>
                    <a:pt x="153" y="0"/>
                  </a:moveTo>
                  <a:cubicBezTo>
                    <a:pt x="153" y="89"/>
                    <a:pt x="153" y="89"/>
                    <a:pt x="153" y="89"/>
                  </a:cubicBezTo>
                  <a:cubicBezTo>
                    <a:pt x="96" y="89"/>
                    <a:pt x="96" y="89"/>
                    <a:pt x="96" y="89"/>
                  </a:cubicBezTo>
                  <a:cubicBezTo>
                    <a:pt x="96" y="49"/>
                    <a:pt x="96" y="49"/>
                    <a:pt x="96" y="49"/>
                  </a:cubicBezTo>
                  <a:cubicBezTo>
                    <a:pt x="96" y="49"/>
                    <a:pt x="96" y="49"/>
                    <a:pt x="96" y="49"/>
                  </a:cubicBezTo>
                  <a:cubicBezTo>
                    <a:pt x="96" y="49"/>
                    <a:pt x="96" y="49"/>
                    <a:pt x="96" y="49"/>
                  </a:cubicBezTo>
                  <a:cubicBezTo>
                    <a:pt x="96" y="42"/>
                    <a:pt x="87" y="36"/>
                    <a:pt x="76" y="36"/>
                  </a:cubicBezTo>
                  <a:cubicBezTo>
                    <a:pt x="74" y="36"/>
                    <a:pt x="72" y="37"/>
                    <a:pt x="69" y="37"/>
                  </a:cubicBezTo>
                  <a:cubicBezTo>
                    <a:pt x="62" y="39"/>
                    <a:pt x="57" y="43"/>
                    <a:pt x="57" y="49"/>
                  </a:cubicBezTo>
                  <a:cubicBezTo>
                    <a:pt x="57" y="49"/>
                    <a:pt x="57" y="49"/>
                    <a:pt x="57" y="49"/>
                  </a:cubicBezTo>
                  <a:cubicBezTo>
                    <a:pt x="57" y="89"/>
                    <a:pt x="57" y="89"/>
                    <a:pt x="57" y="89"/>
                  </a:cubicBezTo>
                  <a:cubicBezTo>
                    <a:pt x="0" y="89"/>
                    <a:pt x="0" y="89"/>
                    <a:pt x="0" y="89"/>
                  </a:cubicBezTo>
                  <a:cubicBezTo>
                    <a:pt x="0" y="0"/>
                    <a:pt x="0" y="0"/>
                    <a:pt x="0" y="0"/>
                  </a:cubicBezTo>
                  <a:lnTo>
                    <a:pt x="153"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43"/>
            <p:cNvSpPr>
              <a:spLocks/>
            </p:cNvSpPr>
            <p:nvPr/>
          </p:nvSpPr>
          <p:spPr bwMode="auto">
            <a:xfrm>
              <a:off x="3337" y="3546"/>
              <a:ext cx="361" cy="211"/>
            </a:xfrm>
            <a:custGeom>
              <a:avLst/>
              <a:gdLst>
                <a:gd name="T0" fmla="*/ 152 w 152"/>
                <a:gd name="T1" fmla="*/ 0 h 89"/>
                <a:gd name="T2" fmla="*/ 152 w 152"/>
                <a:gd name="T3" fmla="*/ 89 h 89"/>
                <a:gd name="T4" fmla="*/ 95 w 152"/>
                <a:gd name="T5" fmla="*/ 89 h 89"/>
                <a:gd name="T6" fmla="*/ 95 w 152"/>
                <a:gd name="T7" fmla="*/ 49 h 89"/>
                <a:gd name="T8" fmla="*/ 95 w 152"/>
                <a:gd name="T9" fmla="*/ 49 h 89"/>
                <a:gd name="T10" fmla="*/ 95 w 152"/>
                <a:gd name="T11" fmla="*/ 48 h 89"/>
                <a:gd name="T12" fmla="*/ 76 w 152"/>
                <a:gd name="T13" fmla="*/ 36 h 89"/>
                <a:gd name="T14" fmla="*/ 57 w 152"/>
                <a:gd name="T15" fmla="*/ 47 h 89"/>
                <a:gd name="T16" fmla="*/ 57 w 152"/>
                <a:gd name="T17" fmla="*/ 49 h 89"/>
                <a:gd name="T18" fmla="*/ 57 w 152"/>
                <a:gd name="T19" fmla="*/ 89 h 89"/>
                <a:gd name="T20" fmla="*/ 0 w 152"/>
                <a:gd name="T21" fmla="*/ 89 h 89"/>
                <a:gd name="T22" fmla="*/ 0 w 152"/>
                <a:gd name="T23" fmla="*/ 0 h 89"/>
                <a:gd name="T24" fmla="*/ 152 w 152"/>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89">
                  <a:moveTo>
                    <a:pt x="152" y="0"/>
                  </a:moveTo>
                  <a:cubicBezTo>
                    <a:pt x="152" y="89"/>
                    <a:pt x="152" y="89"/>
                    <a:pt x="152" y="89"/>
                  </a:cubicBezTo>
                  <a:cubicBezTo>
                    <a:pt x="95" y="89"/>
                    <a:pt x="95" y="89"/>
                    <a:pt x="95" y="89"/>
                  </a:cubicBezTo>
                  <a:cubicBezTo>
                    <a:pt x="95" y="49"/>
                    <a:pt x="95" y="49"/>
                    <a:pt x="95" y="49"/>
                  </a:cubicBezTo>
                  <a:cubicBezTo>
                    <a:pt x="95" y="49"/>
                    <a:pt x="95" y="49"/>
                    <a:pt x="95" y="49"/>
                  </a:cubicBezTo>
                  <a:cubicBezTo>
                    <a:pt x="95" y="48"/>
                    <a:pt x="95" y="48"/>
                    <a:pt x="95" y="48"/>
                  </a:cubicBezTo>
                  <a:cubicBezTo>
                    <a:pt x="94" y="41"/>
                    <a:pt x="86" y="36"/>
                    <a:pt x="76" y="36"/>
                  </a:cubicBezTo>
                  <a:cubicBezTo>
                    <a:pt x="66" y="36"/>
                    <a:pt x="59" y="41"/>
                    <a:pt x="57" y="47"/>
                  </a:cubicBezTo>
                  <a:cubicBezTo>
                    <a:pt x="57" y="47"/>
                    <a:pt x="57" y="48"/>
                    <a:pt x="57" y="49"/>
                  </a:cubicBezTo>
                  <a:cubicBezTo>
                    <a:pt x="57" y="89"/>
                    <a:pt x="57" y="89"/>
                    <a:pt x="57" y="89"/>
                  </a:cubicBezTo>
                  <a:cubicBezTo>
                    <a:pt x="0" y="89"/>
                    <a:pt x="0" y="89"/>
                    <a:pt x="0" y="89"/>
                  </a:cubicBezTo>
                  <a:cubicBezTo>
                    <a:pt x="0" y="0"/>
                    <a:pt x="0" y="0"/>
                    <a:pt x="0" y="0"/>
                  </a:cubicBezTo>
                  <a:lnTo>
                    <a:pt x="152"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44"/>
            <p:cNvSpPr>
              <a:spLocks/>
            </p:cNvSpPr>
            <p:nvPr/>
          </p:nvSpPr>
          <p:spPr bwMode="auto">
            <a:xfrm>
              <a:off x="3389" y="3411"/>
              <a:ext cx="256" cy="92"/>
            </a:xfrm>
            <a:custGeom>
              <a:avLst/>
              <a:gdLst>
                <a:gd name="T0" fmla="*/ 108 w 108"/>
                <a:gd name="T1" fmla="*/ 0 h 39"/>
                <a:gd name="T2" fmla="*/ 108 w 108"/>
                <a:gd name="T3" fmla="*/ 39 h 39"/>
                <a:gd name="T4" fmla="*/ 68 w 108"/>
                <a:gd name="T5" fmla="*/ 39 h 39"/>
                <a:gd name="T6" fmla="*/ 68 w 108"/>
                <a:gd name="T7" fmla="*/ 35 h 39"/>
                <a:gd name="T8" fmla="*/ 58 w 108"/>
                <a:gd name="T9" fmla="*/ 26 h 39"/>
                <a:gd name="T10" fmla="*/ 54 w 108"/>
                <a:gd name="T11" fmla="*/ 26 h 39"/>
                <a:gd name="T12" fmla="*/ 40 w 108"/>
                <a:gd name="T13" fmla="*/ 35 h 39"/>
                <a:gd name="T14" fmla="*/ 40 w 108"/>
                <a:gd name="T15" fmla="*/ 39 h 39"/>
                <a:gd name="T16" fmla="*/ 0 w 108"/>
                <a:gd name="T17" fmla="*/ 39 h 39"/>
                <a:gd name="T18" fmla="*/ 0 w 108"/>
                <a:gd name="T19" fmla="*/ 0 h 39"/>
                <a:gd name="T20" fmla="*/ 108 w 108"/>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9">
                  <a:moveTo>
                    <a:pt x="108" y="0"/>
                  </a:moveTo>
                  <a:cubicBezTo>
                    <a:pt x="108" y="39"/>
                    <a:pt x="108" y="39"/>
                    <a:pt x="108" y="39"/>
                  </a:cubicBezTo>
                  <a:cubicBezTo>
                    <a:pt x="68" y="39"/>
                    <a:pt x="68" y="39"/>
                    <a:pt x="68" y="39"/>
                  </a:cubicBezTo>
                  <a:cubicBezTo>
                    <a:pt x="68" y="35"/>
                    <a:pt x="68" y="35"/>
                    <a:pt x="68" y="35"/>
                  </a:cubicBezTo>
                  <a:cubicBezTo>
                    <a:pt x="68" y="31"/>
                    <a:pt x="63" y="27"/>
                    <a:pt x="58" y="26"/>
                  </a:cubicBezTo>
                  <a:cubicBezTo>
                    <a:pt x="56" y="26"/>
                    <a:pt x="55" y="26"/>
                    <a:pt x="54" y="26"/>
                  </a:cubicBezTo>
                  <a:cubicBezTo>
                    <a:pt x="46" y="26"/>
                    <a:pt x="40" y="30"/>
                    <a:pt x="40" y="35"/>
                  </a:cubicBezTo>
                  <a:cubicBezTo>
                    <a:pt x="40" y="39"/>
                    <a:pt x="40" y="39"/>
                    <a:pt x="40" y="39"/>
                  </a:cubicBezTo>
                  <a:cubicBezTo>
                    <a:pt x="0" y="39"/>
                    <a:pt x="0" y="39"/>
                    <a:pt x="0" y="39"/>
                  </a:cubicBezTo>
                  <a:cubicBezTo>
                    <a:pt x="0" y="0"/>
                    <a:pt x="0" y="0"/>
                    <a:pt x="0" y="0"/>
                  </a:cubicBezTo>
                  <a:lnTo>
                    <a:pt x="108"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45"/>
            <p:cNvSpPr>
              <a:spLocks/>
            </p:cNvSpPr>
            <p:nvPr/>
          </p:nvSpPr>
          <p:spPr bwMode="auto">
            <a:xfrm>
              <a:off x="3724" y="3712"/>
              <a:ext cx="643" cy="698"/>
            </a:xfrm>
            <a:custGeom>
              <a:avLst/>
              <a:gdLst>
                <a:gd name="T0" fmla="*/ 269 w 271"/>
                <a:gd name="T1" fmla="*/ 294 h 294"/>
                <a:gd name="T2" fmla="*/ 207 w 271"/>
                <a:gd name="T3" fmla="*/ 294 h 294"/>
                <a:gd name="T4" fmla="*/ 207 w 271"/>
                <a:gd name="T5" fmla="*/ 146 h 294"/>
                <a:gd name="T6" fmla="*/ 207 w 271"/>
                <a:gd name="T7" fmla="*/ 143 h 294"/>
                <a:gd name="T8" fmla="*/ 184 w 271"/>
                <a:gd name="T9" fmla="*/ 87 h 294"/>
                <a:gd name="T10" fmla="*/ 136 w 271"/>
                <a:gd name="T11" fmla="*/ 67 h 294"/>
                <a:gd name="T12" fmla="*/ 123 w 271"/>
                <a:gd name="T13" fmla="*/ 68 h 294"/>
                <a:gd name="T14" fmla="*/ 113 w 271"/>
                <a:gd name="T15" fmla="*/ 71 h 294"/>
                <a:gd name="T16" fmla="*/ 105 w 271"/>
                <a:gd name="T17" fmla="*/ 75 h 294"/>
                <a:gd name="T18" fmla="*/ 64 w 271"/>
                <a:gd name="T19" fmla="*/ 143 h 294"/>
                <a:gd name="T20" fmla="*/ 64 w 271"/>
                <a:gd name="T21" fmla="*/ 294 h 294"/>
                <a:gd name="T22" fmla="*/ 1 w 271"/>
                <a:gd name="T23" fmla="*/ 294 h 294"/>
                <a:gd name="T24" fmla="*/ 0 w 271"/>
                <a:gd name="T25" fmla="*/ 40 h 294"/>
                <a:gd name="T26" fmla="*/ 0 w 271"/>
                <a:gd name="T27" fmla="*/ 0 h 294"/>
                <a:gd name="T28" fmla="*/ 271 w 271"/>
                <a:gd name="T29" fmla="*/ 0 h 294"/>
                <a:gd name="T30" fmla="*/ 271 w 271"/>
                <a:gd name="T31" fmla="*/ 40 h 294"/>
                <a:gd name="T32" fmla="*/ 269 w 271"/>
                <a:gd name="T33" fmla="*/ 2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294">
                  <a:moveTo>
                    <a:pt x="269" y="294"/>
                  </a:moveTo>
                  <a:cubicBezTo>
                    <a:pt x="207" y="294"/>
                    <a:pt x="207" y="294"/>
                    <a:pt x="207" y="294"/>
                  </a:cubicBezTo>
                  <a:cubicBezTo>
                    <a:pt x="207" y="146"/>
                    <a:pt x="207" y="146"/>
                    <a:pt x="207" y="146"/>
                  </a:cubicBezTo>
                  <a:cubicBezTo>
                    <a:pt x="207" y="146"/>
                    <a:pt x="207" y="144"/>
                    <a:pt x="207" y="143"/>
                  </a:cubicBezTo>
                  <a:cubicBezTo>
                    <a:pt x="207" y="121"/>
                    <a:pt x="198" y="101"/>
                    <a:pt x="184" y="87"/>
                  </a:cubicBezTo>
                  <a:cubicBezTo>
                    <a:pt x="171" y="75"/>
                    <a:pt x="154" y="67"/>
                    <a:pt x="136" y="67"/>
                  </a:cubicBezTo>
                  <a:cubicBezTo>
                    <a:pt x="131" y="67"/>
                    <a:pt x="127" y="68"/>
                    <a:pt x="123" y="68"/>
                  </a:cubicBezTo>
                  <a:cubicBezTo>
                    <a:pt x="119" y="69"/>
                    <a:pt x="116" y="70"/>
                    <a:pt x="113" y="71"/>
                  </a:cubicBezTo>
                  <a:cubicBezTo>
                    <a:pt x="110" y="72"/>
                    <a:pt x="108" y="73"/>
                    <a:pt x="105" y="75"/>
                  </a:cubicBezTo>
                  <a:cubicBezTo>
                    <a:pt x="81" y="87"/>
                    <a:pt x="64" y="113"/>
                    <a:pt x="64" y="143"/>
                  </a:cubicBezTo>
                  <a:cubicBezTo>
                    <a:pt x="64" y="144"/>
                    <a:pt x="64" y="294"/>
                    <a:pt x="64" y="294"/>
                  </a:cubicBezTo>
                  <a:cubicBezTo>
                    <a:pt x="1" y="294"/>
                    <a:pt x="1" y="294"/>
                    <a:pt x="1" y="294"/>
                  </a:cubicBezTo>
                  <a:cubicBezTo>
                    <a:pt x="0" y="40"/>
                    <a:pt x="0" y="40"/>
                    <a:pt x="0" y="40"/>
                  </a:cubicBezTo>
                  <a:cubicBezTo>
                    <a:pt x="0" y="0"/>
                    <a:pt x="0" y="0"/>
                    <a:pt x="0" y="0"/>
                  </a:cubicBezTo>
                  <a:cubicBezTo>
                    <a:pt x="271" y="0"/>
                    <a:pt x="271" y="0"/>
                    <a:pt x="271" y="0"/>
                  </a:cubicBezTo>
                  <a:cubicBezTo>
                    <a:pt x="271" y="40"/>
                    <a:pt x="271" y="40"/>
                    <a:pt x="271" y="40"/>
                  </a:cubicBezTo>
                  <a:lnTo>
                    <a:pt x="269" y="294"/>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46"/>
            <p:cNvSpPr>
              <a:spLocks/>
            </p:cNvSpPr>
            <p:nvPr/>
          </p:nvSpPr>
          <p:spPr bwMode="auto">
            <a:xfrm>
              <a:off x="3721" y="3492"/>
              <a:ext cx="650" cy="80"/>
            </a:xfrm>
            <a:custGeom>
              <a:avLst/>
              <a:gdLst>
                <a:gd name="T0" fmla="*/ 274 w 274"/>
                <a:gd name="T1" fmla="*/ 11 h 34"/>
                <a:gd name="T2" fmla="*/ 274 w 274"/>
                <a:gd name="T3" fmla="*/ 34 h 34"/>
                <a:gd name="T4" fmla="*/ 0 w 274"/>
                <a:gd name="T5" fmla="*/ 34 h 34"/>
                <a:gd name="T6" fmla="*/ 0 w 274"/>
                <a:gd name="T7" fmla="*/ 11 h 34"/>
                <a:gd name="T8" fmla="*/ 4 w 274"/>
                <a:gd name="T9" fmla="*/ 11 h 34"/>
                <a:gd name="T10" fmla="*/ 1 w 274"/>
                <a:gd name="T11" fmla="*/ 6 h 34"/>
                <a:gd name="T12" fmla="*/ 10 w 274"/>
                <a:gd name="T13" fmla="*/ 0 h 34"/>
                <a:gd name="T14" fmla="*/ 19 w 274"/>
                <a:gd name="T15" fmla="*/ 6 h 34"/>
                <a:gd name="T16" fmla="*/ 15 w 274"/>
                <a:gd name="T17" fmla="*/ 11 h 34"/>
                <a:gd name="T18" fmla="*/ 20 w 274"/>
                <a:gd name="T19" fmla="*/ 11 h 34"/>
                <a:gd name="T20" fmla="*/ 20 w 274"/>
                <a:gd name="T21" fmla="*/ 22 h 34"/>
                <a:gd name="T22" fmla="*/ 254 w 274"/>
                <a:gd name="T23" fmla="*/ 22 h 34"/>
                <a:gd name="T24" fmla="*/ 254 w 274"/>
                <a:gd name="T25" fmla="*/ 11 h 34"/>
                <a:gd name="T26" fmla="*/ 258 w 274"/>
                <a:gd name="T27" fmla="*/ 11 h 34"/>
                <a:gd name="T28" fmla="*/ 254 w 274"/>
                <a:gd name="T29" fmla="*/ 6 h 34"/>
                <a:gd name="T30" fmla="*/ 260 w 274"/>
                <a:gd name="T31" fmla="*/ 1 h 34"/>
                <a:gd name="T32" fmla="*/ 264 w 274"/>
                <a:gd name="T33" fmla="*/ 0 h 34"/>
                <a:gd name="T34" fmla="*/ 273 w 274"/>
                <a:gd name="T35" fmla="*/ 6 h 34"/>
                <a:gd name="T36" fmla="*/ 269 w 274"/>
                <a:gd name="T37" fmla="*/ 11 h 34"/>
                <a:gd name="T38" fmla="*/ 274 w 274"/>
                <a:gd name="T3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4" h="34">
                  <a:moveTo>
                    <a:pt x="274" y="11"/>
                  </a:moveTo>
                  <a:cubicBezTo>
                    <a:pt x="274" y="34"/>
                    <a:pt x="274" y="34"/>
                    <a:pt x="274" y="34"/>
                  </a:cubicBezTo>
                  <a:cubicBezTo>
                    <a:pt x="0" y="34"/>
                    <a:pt x="0" y="34"/>
                    <a:pt x="0" y="34"/>
                  </a:cubicBezTo>
                  <a:cubicBezTo>
                    <a:pt x="0" y="11"/>
                    <a:pt x="0" y="11"/>
                    <a:pt x="0" y="11"/>
                  </a:cubicBezTo>
                  <a:cubicBezTo>
                    <a:pt x="4" y="11"/>
                    <a:pt x="4" y="11"/>
                    <a:pt x="4" y="11"/>
                  </a:cubicBezTo>
                  <a:cubicBezTo>
                    <a:pt x="2" y="9"/>
                    <a:pt x="1" y="8"/>
                    <a:pt x="1" y="6"/>
                  </a:cubicBezTo>
                  <a:cubicBezTo>
                    <a:pt x="1" y="3"/>
                    <a:pt x="5" y="0"/>
                    <a:pt x="10" y="0"/>
                  </a:cubicBezTo>
                  <a:cubicBezTo>
                    <a:pt x="15" y="0"/>
                    <a:pt x="19" y="3"/>
                    <a:pt x="19" y="6"/>
                  </a:cubicBezTo>
                  <a:cubicBezTo>
                    <a:pt x="19" y="8"/>
                    <a:pt x="17" y="9"/>
                    <a:pt x="15" y="11"/>
                  </a:cubicBezTo>
                  <a:cubicBezTo>
                    <a:pt x="20" y="11"/>
                    <a:pt x="20" y="11"/>
                    <a:pt x="20" y="11"/>
                  </a:cubicBezTo>
                  <a:cubicBezTo>
                    <a:pt x="20" y="22"/>
                    <a:pt x="20" y="22"/>
                    <a:pt x="20" y="22"/>
                  </a:cubicBezTo>
                  <a:cubicBezTo>
                    <a:pt x="254" y="22"/>
                    <a:pt x="254" y="22"/>
                    <a:pt x="254" y="22"/>
                  </a:cubicBezTo>
                  <a:cubicBezTo>
                    <a:pt x="254" y="11"/>
                    <a:pt x="254" y="11"/>
                    <a:pt x="254" y="11"/>
                  </a:cubicBezTo>
                  <a:cubicBezTo>
                    <a:pt x="258" y="11"/>
                    <a:pt x="258" y="11"/>
                    <a:pt x="258" y="11"/>
                  </a:cubicBezTo>
                  <a:cubicBezTo>
                    <a:pt x="256" y="9"/>
                    <a:pt x="254" y="8"/>
                    <a:pt x="254" y="6"/>
                  </a:cubicBezTo>
                  <a:cubicBezTo>
                    <a:pt x="254" y="4"/>
                    <a:pt x="257" y="2"/>
                    <a:pt x="260" y="1"/>
                  </a:cubicBezTo>
                  <a:cubicBezTo>
                    <a:pt x="261" y="0"/>
                    <a:pt x="262" y="0"/>
                    <a:pt x="264" y="0"/>
                  </a:cubicBezTo>
                  <a:cubicBezTo>
                    <a:pt x="269" y="0"/>
                    <a:pt x="273" y="3"/>
                    <a:pt x="273" y="6"/>
                  </a:cubicBezTo>
                  <a:cubicBezTo>
                    <a:pt x="273" y="8"/>
                    <a:pt x="271" y="9"/>
                    <a:pt x="269" y="11"/>
                  </a:cubicBezTo>
                  <a:lnTo>
                    <a:pt x="274" y="11"/>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47"/>
            <p:cNvSpPr>
              <a:spLocks/>
            </p:cNvSpPr>
            <p:nvPr/>
          </p:nvSpPr>
          <p:spPr bwMode="auto">
            <a:xfrm>
              <a:off x="3724" y="3567"/>
              <a:ext cx="640" cy="145"/>
            </a:xfrm>
            <a:custGeom>
              <a:avLst/>
              <a:gdLst>
                <a:gd name="T0" fmla="*/ 640 w 640"/>
                <a:gd name="T1" fmla="*/ 0 h 145"/>
                <a:gd name="T2" fmla="*/ 640 w 640"/>
                <a:gd name="T3" fmla="*/ 145 h 145"/>
                <a:gd name="T4" fmla="*/ 0 w 640"/>
                <a:gd name="T5" fmla="*/ 145 h 145"/>
                <a:gd name="T6" fmla="*/ 0 w 640"/>
                <a:gd name="T7" fmla="*/ 3 h 145"/>
                <a:gd name="T8" fmla="*/ 289 w 640"/>
                <a:gd name="T9" fmla="*/ 3 h 145"/>
                <a:gd name="T10" fmla="*/ 640 w 640"/>
                <a:gd name="T11" fmla="*/ 0 h 145"/>
              </a:gdLst>
              <a:ahLst/>
              <a:cxnLst>
                <a:cxn ang="0">
                  <a:pos x="T0" y="T1"/>
                </a:cxn>
                <a:cxn ang="0">
                  <a:pos x="T2" y="T3"/>
                </a:cxn>
                <a:cxn ang="0">
                  <a:pos x="T4" y="T5"/>
                </a:cxn>
                <a:cxn ang="0">
                  <a:pos x="T6" y="T7"/>
                </a:cxn>
                <a:cxn ang="0">
                  <a:pos x="T8" y="T9"/>
                </a:cxn>
                <a:cxn ang="0">
                  <a:pos x="T10" y="T11"/>
                </a:cxn>
              </a:cxnLst>
              <a:rect l="0" t="0" r="r" b="b"/>
              <a:pathLst>
                <a:path w="640" h="145">
                  <a:moveTo>
                    <a:pt x="640" y="0"/>
                  </a:moveTo>
                  <a:lnTo>
                    <a:pt x="640" y="145"/>
                  </a:lnTo>
                  <a:lnTo>
                    <a:pt x="0" y="145"/>
                  </a:lnTo>
                  <a:lnTo>
                    <a:pt x="0" y="3"/>
                  </a:lnTo>
                  <a:lnTo>
                    <a:pt x="289" y="3"/>
                  </a:lnTo>
                  <a:lnTo>
                    <a:pt x="640"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48"/>
            <p:cNvSpPr>
              <a:spLocks/>
            </p:cNvSpPr>
            <p:nvPr/>
          </p:nvSpPr>
          <p:spPr bwMode="auto">
            <a:xfrm>
              <a:off x="3830" y="2979"/>
              <a:ext cx="437" cy="92"/>
            </a:xfrm>
            <a:custGeom>
              <a:avLst/>
              <a:gdLst>
                <a:gd name="T0" fmla="*/ 184 w 184"/>
                <a:gd name="T1" fmla="*/ 0 h 39"/>
                <a:gd name="T2" fmla="*/ 166 w 184"/>
                <a:gd name="T3" fmla="*/ 39 h 39"/>
                <a:gd name="T4" fmla="*/ 19 w 184"/>
                <a:gd name="T5" fmla="*/ 39 h 39"/>
                <a:gd name="T6" fmla="*/ 5 w 184"/>
                <a:gd name="T7" fmla="*/ 21 h 39"/>
                <a:gd name="T8" fmla="*/ 0 w 184"/>
                <a:gd name="T9" fmla="*/ 0 h 39"/>
                <a:gd name="T10" fmla="*/ 32 w 184"/>
                <a:gd name="T11" fmla="*/ 24 h 39"/>
                <a:gd name="T12" fmla="*/ 44 w 184"/>
                <a:gd name="T13" fmla="*/ 24 h 39"/>
                <a:gd name="T14" fmla="*/ 80 w 184"/>
                <a:gd name="T15" fmla="*/ 24 h 39"/>
                <a:gd name="T16" fmla="*/ 92 w 184"/>
                <a:gd name="T17" fmla="*/ 24 h 39"/>
                <a:gd name="T18" fmla="*/ 152 w 184"/>
                <a:gd name="T19" fmla="*/ 24 h 39"/>
                <a:gd name="T20" fmla="*/ 184 w 184"/>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39">
                  <a:moveTo>
                    <a:pt x="184" y="0"/>
                  </a:moveTo>
                  <a:cubicBezTo>
                    <a:pt x="181" y="13"/>
                    <a:pt x="183" y="26"/>
                    <a:pt x="166" y="39"/>
                  </a:cubicBezTo>
                  <a:cubicBezTo>
                    <a:pt x="19" y="39"/>
                    <a:pt x="19" y="39"/>
                    <a:pt x="19" y="39"/>
                  </a:cubicBezTo>
                  <a:cubicBezTo>
                    <a:pt x="11" y="33"/>
                    <a:pt x="7" y="27"/>
                    <a:pt x="5" y="21"/>
                  </a:cubicBezTo>
                  <a:cubicBezTo>
                    <a:pt x="2" y="14"/>
                    <a:pt x="2" y="7"/>
                    <a:pt x="0" y="0"/>
                  </a:cubicBezTo>
                  <a:cubicBezTo>
                    <a:pt x="10" y="11"/>
                    <a:pt x="15" y="23"/>
                    <a:pt x="32" y="24"/>
                  </a:cubicBezTo>
                  <a:cubicBezTo>
                    <a:pt x="36" y="24"/>
                    <a:pt x="40" y="24"/>
                    <a:pt x="44" y="24"/>
                  </a:cubicBezTo>
                  <a:cubicBezTo>
                    <a:pt x="56" y="24"/>
                    <a:pt x="68" y="24"/>
                    <a:pt x="80" y="24"/>
                  </a:cubicBezTo>
                  <a:cubicBezTo>
                    <a:pt x="84" y="24"/>
                    <a:pt x="88" y="24"/>
                    <a:pt x="92" y="24"/>
                  </a:cubicBezTo>
                  <a:cubicBezTo>
                    <a:pt x="112" y="24"/>
                    <a:pt x="132" y="24"/>
                    <a:pt x="152" y="24"/>
                  </a:cubicBezTo>
                  <a:cubicBezTo>
                    <a:pt x="169" y="23"/>
                    <a:pt x="174" y="11"/>
                    <a:pt x="184"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49"/>
            <p:cNvSpPr>
              <a:spLocks/>
            </p:cNvSpPr>
            <p:nvPr/>
          </p:nvSpPr>
          <p:spPr bwMode="auto">
            <a:xfrm>
              <a:off x="3743" y="3121"/>
              <a:ext cx="4" cy="7"/>
            </a:xfrm>
            <a:custGeom>
              <a:avLst/>
              <a:gdLst>
                <a:gd name="T0" fmla="*/ 2 w 2"/>
                <a:gd name="T1" fmla="*/ 3 h 3"/>
                <a:gd name="T2" fmla="*/ 1 w 2"/>
                <a:gd name="T3" fmla="*/ 3 h 3"/>
                <a:gd name="T4" fmla="*/ 0 w 2"/>
                <a:gd name="T5" fmla="*/ 0 h 3"/>
                <a:gd name="T6" fmla="*/ 2 w 2"/>
                <a:gd name="T7" fmla="*/ 3 h 3"/>
              </a:gdLst>
              <a:ahLst/>
              <a:cxnLst>
                <a:cxn ang="0">
                  <a:pos x="T0" y="T1"/>
                </a:cxn>
                <a:cxn ang="0">
                  <a:pos x="T2" y="T3"/>
                </a:cxn>
                <a:cxn ang="0">
                  <a:pos x="T4" y="T5"/>
                </a:cxn>
                <a:cxn ang="0">
                  <a:pos x="T6" y="T7"/>
                </a:cxn>
              </a:cxnLst>
              <a:rect l="0" t="0" r="r" b="b"/>
              <a:pathLst>
                <a:path w="2" h="3">
                  <a:moveTo>
                    <a:pt x="2" y="3"/>
                  </a:moveTo>
                  <a:cubicBezTo>
                    <a:pt x="1" y="3"/>
                    <a:pt x="1" y="3"/>
                    <a:pt x="1" y="3"/>
                  </a:cubicBezTo>
                  <a:cubicBezTo>
                    <a:pt x="1" y="2"/>
                    <a:pt x="0" y="1"/>
                    <a:pt x="0" y="0"/>
                  </a:cubicBezTo>
                  <a:cubicBezTo>
                    <a:pt x="1" y="1"/>
                    <a:pt x="2" y="2"/>
                    <a:pt x="2" y="3"/>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50"/>
            <p:cNvSpPr>
              <a:spLocks/>
            </p:cNvSpPr>
            <p:nvPr/>
          </p:nvSpPr>
          <p:spPr bwMode="auto">
            <a:xfrm>
              <a:off x="3745" y="3124"/>
              <a:ext cx="610" cy="128"/>
            </a:xfrm>
            <a:custGeom>
              <a:avLst/>
              <a:gdLst>
                <a:gd name="T0" fmla="*/ 257 w 257"/>
                <a:gd name="T1" fmla="*/ 0 h 54"/>
                <a:gd name="T2" fmla="*/ 252 w 257"/>
                <a:gd name="T3" fmla="*/ 24 h 54"/>
                <a:gd name="T4" fmla="*/ 237 w 257"/>
                <a:gd name="T5" fmla="*/ 49 h 54"/>
                <a:gd name="T6" fmla="*/ 231 w 257"/>
                <a:gd name="T7" fmla="*/ 54 h 54"/>
                <a:gd name="T8" fmla="*/ 25 w 257"/>
                <a:gd name="T9" fmla="*/ 54 h 54"/>
                <a:gd name="T10" fmla="*/ 0 w 257"/>
                <a:gd name="T11" fmla="*/ 2 h 54"/>
                <a:gd name="T12" fmla="*/ 1 w 257"/>
                <a:gd name="T13" fmla="*/ 2 h 54"/>
                <a:gd name="T14" fmla="*/ 44 w 257"/>
                <a:gd name="T15" fmla="*/ 32 h 54"/>
                <a:gd name="T16" fmla="*/ 52 w 257"/>
                <a:gd name="T17" fmla="*/ 33 h 54"/>
                <a:gd name="T18" fmla="*/ 80 w 257"/>
                <a:gd name="T19" fmla="*/ 33 h 54"/>
                <a:gd name="T20" fmla="*/ 110 w 257"/>
                <a:gd name="T21" fmla="*/ 33 h 54"/>
                <a:gd name="T22" fmla="*/ 128 w 257"/>
                <a:gd name="T23" fmla="*/ 33 h 54"/>
                <a:gd name="T24" fmla="*/ 183 w 257"/>
                <a:gd name="T25" fmla="*/ 33 h 54"/>
                <a:gd name="T26" fmla="*/ 212 w 257"/>
                <a:gd name="T27" fmla="*/ 32 h 54"/>
                <a:gd name="T28" fmla="*/ 247 w 257"/>
                <a:gd name="T29" fmla="*/ 12 h 54"/>
                <a:gd name="T30" fmla="*/ 256 w 257"/>
                <a:gd name="T31" fmla="*/ 0 h 54"/>
                <a:gd name="T32" fmla="*/ 257 w 257"/>
                <a:gd name="T3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7" h="54">
                  <a:moveTo>
                    <a:pt x="257" y="0"/>
                  </a:moveTo>
                  <a:cubicBezTo>
                    <a:pt x="255" y="8"/>
                    <a:pt x="255" y="16"/>
                    <a:pt x="252" y="24"/>
                  </a:cubicBezTo>
                  <a:cubicBezTo>
                    <a:pt x="250" y="32"/>
                    <a:pt x="246" y="41"/>
                    <a:pt x="237" y="49"/>
                  </a:cubicBezTo>
                  <a:cubicBezTo>
                    <a:pt x="235" y="51"/>
                    <a:pt x="233" y="52"/>
                    <a:pt x="231" y="54"/>
                  </a:cubicBezTo>
                  <a:cubicBezTo>
                    <a:pt x="25" y="54"/>
                    <a:pt x="25" y="54"/>
                    <a:pt x="25" y="54"/>
                  </a:cubicBezTo>
                  <a:cubicBezTo>
                    <a:pt x="2" y="36"/>
                    <a:pt x="3" y="19"/>
                    <a:pt x="0" y="2"/>
                  </a:cubicBezTo>
                  <a:cubicBezTo>
                    <a:pt x="1" y="2"/>
                    <a:pt x="1" y="2"/>
                    <a:pt x="1" y="2"/>
                  </a:cubicBezTo>
                  <a:cubicBezTo>
                    <a:pt x="13" y="16"/>
                    <a:pt x="21" y="32"/>
                    <a:pt x="44" y="32"/>
                  </a:cubicBezTo>
                  <a:cubicBezTo>
                    <a:pt x="47" y="32"/>
                    <a:pt x="49" y="32"/>
                    <a:pt x="52" y="33"/>
                  </a:cubicBezTo>
                  <a:cubicBezTo>
                    <a:pt x="61" y="33"/>
                    <a:pt x="71" y="33"/>
                    <a:pt x="80" y="33"/>
                  </a:cubicBezTo>
                  <a:cubicBezTo>
                    <a:pt x="90" y="33"/>
                    <a:pt x="100" y="33"/>
                    <a:pt x="110" y="33"/>
                  </a:cubicBezTo>
                  <a:cubicBezTo>
                    <a:pt x="116" y="33"/>
                    <a:pt x="122" y="33"/>
                    <a:pt x="128" y="33"/>
                  </a:cubicBezTo>
                  <a:cubicBezTo>
                    <a:pt x="146" y="33"/>
                    <a:pt x="165" y="33"/>
                    <a:pt x="183" y="33"/>
                  </a:cubicBezTo>
                  <a:cubicBezTo>
                    <a:pt x="193" y="33"/>
                    <a:pt x="203" y="33"/>
                    <a:pt x="212" y="32"/>
                  </a:cubicBezTo>
                  <a:cubicBezTo>
                    <a:pt x="230" y="32"/>
                    <a:pt x="238" y="23"/>
                    <a:pt x="247" y="12"/>
                  </a:cubicBezTo>
                  <a:cubicBezTo>
                    <a:pt x="250" y="8"/>
                    <a:pt x="253" y="4"/>
                    <a:pt x="256" y="0"/>
                  </a:cubicBezTo>
                  <a:lnTo>
                    <a:pt x="257"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51"/>
            <p:cNvSpPr>
              <a:spLocks/>
            </p:cNvSpPr>
            <p:nvPr/>
          </p:nvSpPr>
          <p:spPr bwMode="auto">
            <a:xfrm>
              <a:off x="4352" y="3121"/>
              <a:ext cx="3" cy="3"/>
            </a:xfrm>
            <a:custGeom>
              <a:avLst/>
              <a:gdLst>
                <a:gd name="T0" fmla="*/ 1 w 1"/>
                <a:gd name="T1" fmla="*/ 0 h 1"/>
                <a:gd name="T2" fmla="*/ 1 w 1"/>
                <a:gd name="T3" fmla="*/ 1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1"/>
                    <a:pt x="1" y="1"/>
                    <a:pt x="1" y="1"/>
                  </a:cubicBezTo>
                  <a:cubicBezTo>
                    <a:pt x="0" y="1"/>
                    <a:pt x="0" y="1"/>
                    <a:pt x="0" y="1"/>
                  </a:cubicBezTo>
                  <a:cubicBezTo>
                    <a:pt x="1" y="1"/>
                    <a:pt x="1" y="1"/>
                    <a:pt x="1"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52"/>
            <p:cNvSpPr>
              <a:spLocks/>
            </p:cNvSpPr>
            <p:nvPr/>
          </p:nvSpPr>
          <p:spPr bwMode="auto">
            <a:xfrm>
              <a:off x="3878" y="3076"/>
              <a:ext cx="344" cy="121"/>
            </a:xfrm>
            <a:custGeom>
              <a:avLst/>
              <a:gdLst>
                <a:gd name="T0" fmla="*/ 145 w 145"/>
                <a:gd name="T1" fmla="*/ 0 h 51"/>
                <a:gd name="T2" fmla="*/ 145 w 145"/>
                <a:gd name="T3" fmla="*/ 51 h 51"/>
                <a:gd name="T4" fmla="*/ 91 w 145"/>
                <a:gd name="T5" fmla="*/ 51 h 51"/>
                <a:gd name="T6" fmla="*/ 91 w 145"/>
                <a:gd name="T7" fmla="*/ 47 h 51"/>
                <a:gd name="T8" fmla="*/ 90 w 145"/>
                <a:gd name="T9" fmla="*/ 47 h 51"/>
                <a:gd name="T10" fmla="*/ 90 w 145"/>
                <a:gd name="T11" fmla="*/ 46 h 51"/>
                <a:gd name="T12" fmla="*/ 89 w 145"/>
                <a:gd name="T13" fmla="*/ 42 h 51"/>
                <a:gd name="T14" fmla="*/ 72 w 145"/>
                <a:gd name="T15" fmla="*/ 34 h 51"/>
                <a:gd name="T16" fmla="*/ 70 w 145"/>
                <a:gd name="T17" fmla="*/ 34 h 51"/>
                <a:gd name="T18" fmla="*/ 54 w 145"/>
                <a:gd name="T19" fmla="*/ 46 h 51"/>
                <a:gd name="T20" fmla="*/ 54 w 145"/>
                <a:gd name="T21" fmla="*/ 51 h 51"/>
                <a:gd name="T22" fmla="*/ 0 w 145"/>
                <a:gd name="T23" fmla="*/ 51 h 51"/>
                <a:gd name="T24" fmla="*/ 0 w 145"/>
                <a:gd name="T25" fmla="*/ 0 h 51"/>
                <a:gd name="T26" fmla="*/ 145 w 145"/>
                <a:gd name="T2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5" h="51">
                  <a:moveTo>
                    <a:pt x="145" y="0"/>
                  </a:moveTo>
                  <a:cubicBezTo>
                    <a:pt x="145" y="51"/>
                    <a:pt x="145" y="51"/>
                    <a:pt x="145" y="51"/>
                  </a:cubicBezTo>
                  <a:cubicBezTo>
                    <a:pt x="91" y="51"/>
                    <a:pt x="91" y="51"/>
                    <a:pt x="91" y="51"/>
                  </a:cubicBezTo>
                  <a:cubicBezTo>
                    <a:pt x="91" y="47"/>
                    <a:pt x="91" y="47"/>
                    <a:pt x="91" y="47"/>
                  </a:cubicBezTo>
                  <a:cubicBezTo>
                    <a:pt x="90" y="47"/>
                    <a:pt x="90" y="47"/>
                    <a:pt x="90" y="47"/>
                  </a:cubicBezTo>
                  <a:cubicBezTo>
                    <a:pt x="90" y="46"/>
                    <a:pt x="90" y="46"/>
                    <a:pt x="90" y="46"/>
                  </a:cubicBezTo>
                  <a:cubicBezTo>
                    <a:pt x="90" y="45"/>
                    <a:pt x="90" y="43"/>
                    <a:pt x="89" y="42"/>
                  </a:cubicBezTo>
                  <a:cubicBezTo>
                    <a:pt x="87" y="38"/>
                    <a:pt x="80" y="34"/>
                    <a:pt x="72" y="34"/>
                  </a:cubicBezTo>
                  <a:cubicBezTo>
                    <a:pt x="72" y="34"/>
                    <a:pt x="71" y="34"/>
                    <a:pt x="70" y="34"/>
                  </a:cubicBezTo>
                  <a:cubicBezTo>
                    <a:pt x="61" y="35"/>
                    <a:pt x="54" y="40"/>
                    <a:pt x="54" y="46"/>
                  </a:cubicBezTo>
                  <a:cubicBezTo>
                    <a:pt x="54" y="51"/>
                    <a:pt x="54" y="51"/>
                    <a:pt x="54" y="51"/>
                  </a:cubicBezTo>
                  <a:cubicBezTo>
                    <a:pt x="0" y="51"/>
                    <a:pt x="0" y="51"/>
                    <a:pt x="0" y="51"/>
                  </a:cubicBezTo>
                  <a:cubicBezTo>
                    <a:pt x="0" y="0"/>
                    <a:pt x="0" y="0"/>
                    <a:pt x="0" y="0"/>
                  </a:cubicBezTo>
                  <a:lnTo>
                    <a:pt x="145"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53"/>
            <p:cNvSpPr>
              <a:spLocks/>
            </p:cNvSpPr>
            <p:nvPr/>
          </p:nvSpPr>
          <p:spPr bwMode="auto">
            <a:xfrm>
              <a:off x="3807" y="3257"/>
              <a:ext cx="484" cy="280"/>
            </a:xfrm>
            <a:custGeom>
              <a:avLst/>
              <a:gdLst>
                <a:gd name="T0" fmla="*/ 204 w 204"/>
                <a:gd name="T1" fmla="*/ 0 h 118"/>
                <a:gd name="T2" fmla="*/ 204 w 204"/>
                <a:gd name="T3" fmla="*/ 118 h 118"/>
                <a:gd name="T4" fmla="*/ 128 w 204"/>
                <a:gd name="T5" fmla="*/ 118 h 118"/>
                <a:gd name="T6" fmla="*/ 128 w 204"/>
                <a:gd name="T7" fmla="*/ 65 h 118"/>
                <a:gd name="T8" fmla="*/ 128 w 204"/>
                <a:gd name="T9" fmla="*/ 65 h 118"/>
                <a:gd name="T10" fmla="*/ 128 w 204"/>
                <a:gd name="T11" fmla="*/ 65 h 118"/>
                <a:gd name="T12" fmla="*/ 110 w 204"/>
                <a:gd name="T13" fmla="*/ 49 h 118"/>
                <a:gd name="T14" fmla="*/ 102 w 204"/>
                <a:gd name="T15" fmla="*/ 48 h 118"/>
                <a:gd name="T16" fmla="*/ 76 w 204"/>
                <a:gd name="T17" fmla="*/ 65 h 118"/>
                <a:gd name="T18" fmla="*/ 76 w 204"/>
                <a:gd name="T19" fmla="*/ 118 h 118"/>
                <a:gd name="T20" fmla="*/ 0 w 204"/>
                <a:gd name="T21" fmla="*/ 118 h 118"/>
                <a:gd name="T22" fmla="*/ 0 w 204"/>
                <a:gd name="T23" fmla="*/ 0 h 118"/>
                <a:gd name="T24" fmla="*/ 204 w 204"/>
                <a:gd name="T2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 h="118">
                  <a:moveTo>
                    <a:pt x="204" y="0"/>
                  </a:moveTo>
                  <a:cubicBezTo>
                    <a:pt x="204" y="118"/>
                    <a:pt x="204" y="118"/>
                    <a:pt x="204" y="118"/>
                  </a:cubicBezTo>
                  <a:cubicBezTo>
                    <a:pt x="128" y="118"/>
                    <a:pt x="128" y="118"/>
                    <a:pt x="128" y="118"/>
                  </a:cubicBezTo>
                  <a:cubicBezTo>
                    <a:pt x="128" y="65"/>
                    <a:pt x="128" y="65"/>
                    <a:pt x="128" y="65"/>
                  </a:cubicBezTo>
                  <a:cubicBezTo>
                    <a:pt x="128" y="65"/>
                    <a:pt x="128" y="65"/>
                    <a:pt x="128" y="65"/>
                  </a:cubicBezTo>
                  <a:cubicBezTo>
                    <a:pt x="128" y="65"/>
                    <a:pt x="128" y="65"/>
                    <a:pt x="128" y="65"/>
                  </a:cubicBezTo>
                  <a:cubicBezTo>
                    <a:pt x="128" y="57"/>
                    <a:pt x="120" y="51"/>
                    <a:pt x="110" y="49"/>
                  </a:cubicBezTo>
                  <a:cubicBezTo>
                    <a:pt x="107" y="49"/>
                    <a:pt x="105" y="48"/>
                    <a:pt x="102" y="48"/>
                  </a:cubicBezTo>
                  <a:cubicBezTo>
                    <a:pt x="88" y="48"/>
                    <a:pt x="76" y="56"/>
                    <a:pt x="76" y="65"/>
                  </a:cubicBezTo>
                  <a:cubicBezTo>
                    <a:pt x="76" y="118"/>
                    <a:pt x="76" y="118"/>
                    <a:pt x="76" y="118"/>
                  </a:cubicBezTo>
                  <a:cubicBezTo>
                    <a:pt x="0" y="118"/>
                    <a:pt x="0" y="118"/>
                    <a:pt x="0" y="118"/>
                  </a:cubicBezTo>
                  <a:cubicBezTo>
                    <a:pt x="0" y="0"/>
                    <a:pt x="0" y="0"/>
                    <a:pt x="0" y="0"/>
                  </a:cubicBezTo>
                  <a:lnTo>
                    <a:pt x="204"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Line 254"/>
            <p:cNvSpPr>
              <a:spLocks noChangeShapeType="1"/>
            </p:cNvSpPr>
            <p:nvPr/>
          </p:nvSpPr>
          <p:spPr bwMode="auto">
            <a:xfrm>
              <a:off x="3733" y="414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Line 255"/>
            <p:cNvSpPr>
              <a:spLocks noChangeShapeType="1"/>
            </p:cNvSpPr>
            <p:nvPr/>
          </p:nvSpPr>
          <p:spPr bwMode="auto">
            <a:xfrm>
              <a:off x="3733" y="4140"/>
              <a:ext cx="0" cy="0"/>
            </a:xfrm>
            <a:prstGeom prst="line">
              <a:avLst/>
            </a:prstGeom>
            <a:noFill/>
            <a:ln w="30163" cap="rnd">
              <a:solidFill>
                <a:srgbClr val="13A3A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Freeform 256"/>
            <p:cNvSpPr>
              <a:spLocks/>
            </p:cNvSpPr>
            <p:nvPr/>
          </p:nvSpPr>
          <p:spPr bwMode="auto">
            <a:xfrm>
              <a:off x="4447" y="4142"/>
              <a:ext cx="0" cy="5"/>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cubicBezTo>
                    <a:pt x="0" y="2"/>
                    <a:pt x="0" y="2"/>
                    <a:pt x="0" y="2"/>
                  </a:cubicBezTo>
                  <a:cubicBezTo>
                    <a:pt x="0" y="1"/>
                    <a:pt x="0" y="1"/>
                    <a:pt x="0" y="0"/>
                  </a:cubicBezTo>
                  <a:cubicBezTo>
                    <a:pt x="0" y="0"/>
                    <a:pt x="0" y="0"/>
                    <a:pt x="0"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57"/>
            <p:cNvSpPr>
              <a:spLocks/>
            </p:cNvSpPr>
            <p:nvPr/>
          </p:nvSpPr>
          <p:spPr bwMode="auto">
            <a:xfrm>
              <a:off x="4715" y="4142"/>
              <a:ext cx="0" cy="5"/>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cubicBezTo>
                    <a:pt x="0" y="1"/>
                    <a:pt x="0" y="1"/>
                    <a:pt x="0" y="2"/>
                  </a:cubicBezTo>
                  <a:cubicBezTo>
                    <a:pt x="0" y="0"/>
                    <a:pt x="0" y="0"/>
                    <a:pt x="0" y="0"/>
                  </a:cubicBezTo>
                  <a:cubicBezTo>
                    <a:pt x="0" y="0"/>
                    <a:pt x="0" y="0"/>
                    <a:pt x="0"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58"/>
            <p:cNvSpPr>
              <a:spLocks/>
            </p:cNvSpPr>
            <p:nvPr/>
          </p:nvSpPr>
          <p:spPr bwMode="auto">
            <a:xfrm>
              <a:off x="4367" y="3888"/>
              <a:ext cx="462" cy="522"/>
            </a:xfrm>
            <a:custGeom>
              <a:avLst/>
              <a:gdLst>
                <a:gd name="T0" fmla="*/ 195 w 195"/>
                <a:gd name="T1" fmla="*/ 201 h 220"/>
                <a:gd name="T2" fmla="*/ 195 w 195"/>
                <a:gd name="T3" fmla="*/ 220 h 220"/>
                <a:gd name="T4" fmla="*/ 147 w 195"/>
                <a:gd name="T5" fmla="*/ 220 h 220"/>
                <a:gd name="T6" fmla="*/ 147 w 195"/>
                <a:gd name="T7" fmla="*/ 109 h 220"/>
                <a:gd name="T8" fmla="*/ 147 w 195"/>
                <a:gd name="T9" fmla="*/ 109 h 220"/>
                <a:gd name="T10" fmla="*/ 147 w 195"/>
                <a:gd name="T11" fmla="*/ 107 h 220"/>
                <a:gd name="T12" fmla="*/ 147 w 195"/>
                <a:gd name="T13" fmla="*/ 107 h 220"/>
                <a:gd name="T14" fmla="*/ 146 w 195"/>
                <a:gd name="T15" fmla="*/ 102 h 220"/>
                <a:gd name="T16" fmla="*/ 135 w 195"/>
                <a:gd name="T17" fmla="*/ 73 h 220"/>
                <a:gd name="T18" fmla="*/ 131 w 195"/>
                <a:gd name="T19" fmla="*/ 67 h 220"/>
                <a:gd name="T20" fmla="*/ 116 w 195"/>
                <a:gd name="T21" fmla="*/ 56 h 220"/>
                <a:gd name="T22" fmla="*/ 95 w 195"/>
                <a:gd name="T23" fmla="*/ 51 h 220"/>
                <a:gd name="T24" fmla="*/ 90 w 195"/>
                <a:gd name="T25" fmla="*/ 50 h 220"/>
                <a:gd name="T26" fmla="*/ 42 w 195"/>
                <a:gd name="T27" fmla="*/ 78 h 220"/>
                <a:gd name="T28" fmla="*/ 34 w 195"/>
                <a:gd name="T29" fmla="*/ 107 h 220"/>
                <a:gd name="T30" fmla="*/ 34 w 195"/>
                <a:gd name="T31" fmla="*/ 107 h 220"/>
                <a:gd name="T32" fmla="*/ 34 w 195"/>
                <a:gd name="T33" fmla="*/ 109 h 220"/>
                <a:gd name="T34" fmla="*/ 34 w 195"/>
                <a:gd name="T35" fmla="*/ 220 h 220"/>
                <a:gd name="T36" fmla="*/ 0 w 195"/>
                <a:gd name="T37" fmla="*/ 220 h 220"/>
                <a:gd name="T38" fmla="*/ 0 w 195"/>
                <a:gd name="T39" fmla="*/ 0 h 220"/>
                <a:gd name="T40" fmla="*/ 189 w 195"/>
                <a:gd name="T41" fmla="*/ 0 h 220"/>
                <a:gd name="T42" fmla="*/ 186 w 195"/>
                <a:gd name="T43" fmla="*/ 201 h 220"/>
                <a:gd name="T44" fmla="*/ 195 w 195"/>
                <a:gd name="T45" fmla="*/ 20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 h="220">
                  <a:moveTo>
                    <a:pt x="195" y="201"/>
                  </a:moveTo>
                  <a:cubicBezTo>
                    <a:pt x="195" y="220"/>
                    <a:pt x="195" y="220"/>
                    <a:pt x="195" y="220"/>
                  </a:cubicBezTo>
                  <a:cubicBezTo>
                    <a:pt x="147" y="220"/>
                    <a:pt x="147" y="220"/>
                    <a:pt x="147" y="220"/>
                  </a:cubicBezTo>
                  <a:cubicBezTo>
                    <a:pt x="147" y="109"/>
                    <a:pt x="147" y="109"/>
                    <a:pt x="147" y="109"/>
                  </a:cubicBezTo>
                  <a:cubicBezTo>
                    <a:pt x="147" y="109"/>
                    <a:pt x="147" y="109"/>
                    <a:pt x="147" y="109"/>
                  </a:cubicBezTo>
                  <a:cubicBezTo>
                    <a:pt x="147" y="108"/>
                    <a:pt x="147" y="108"/>
                    <a:pt x="147" y="107"/>
                  </a:cubicBezTo>
                  <a:cubicBezTo>
                    <a:pt x="147" y="107"/>
                    <a:pt x="147" y="107"/>
                    <a:pt x="147" y="107"/>
                  </a:cubicBezTo>
                  <a:cubicBezTo>
                    <a:pt x="147" y="105"/>
                    <a:pt x="146" y="103"/>
                    <a:pt x="146" y="102"/>
                  </a:cubicBezTo>
                  <a:cubicBezTo>
                    <a:pt x="145" y="91"/>
                    <a:pt x="141" y="81"/>
                    <a:pt x="135" y="73"/>
                  </a:cubicBezTo>
                  <a:cubicBezTo>
                    <a:pt x="134" y="71"/>
                    <a:pt x="132" y="69"/>
                    <a:pt x="131" y="67"/>
                  </a:cubicBezTo>
                  <a:cubicBezTo>
                    <a:pt x="126" y="63"/>
                    <a:pt x="121" y="59"/>
                    <a:pt x="116" y="56"/>
                  </a:cubicBezTo>
                  <a:cubicBezTo>
                    <a:pt x="109" y="53"/>
                    <a:pt x="102" y="51"/>
                    <a:pt x="95" y="51"/>
                  </a:cubicBezTo>
                  <a:cubicBezTo>
                    <a:pt x="93" y="50"/>
                    <a:pt x="92" y="50"/>
                    <a:pt x="90" y="50"/>
                  </a:cubicBezTo>
                  <a:cubicBezTo>
                    <a:pt x="70" y="50"/>
                    <a:pt x="52" y="62"/>
                    <a:pt x="42" y="78"/>
                  </a:cubicBezTo>
                  <a:cubicBezTo>
                    <a:pt x="37" y="87"/>
                    <a:pt x="34" y="96"/>
                    <a:pt x="34" y="107"/>
                  </a:cubicBezTo>
                  <a:cubicBezTo>
                    <a:pt x="34" y="107"/>
                    <a:pt x="34" y="107"/>
                    <a:pt x="34" y="107"/>
                  </a:cubicBezTo>
                  <a:cubicBezTo>
                    <a:pt x="34" y="108"/>
                    <a:pt x="34" y="108"/>
                    <a:pt x="34" y="109"/>
                  </a:cubicBezTo>
                  <a:cubicBezTo>
                    <a:pt x="34" y="220"/>
                    <a:pt x="34" y="220"/>
                    <a:pt x="34" y="220"/>
                  </a:cubicBezTo>
                  <a:cubicBezTo>
                    <a:pt x="0" y="220"/>
                    <a:pt x="0" y="220"/>
                    <a:pt x="0" y="220"/>
                  </a:cubicBezTo>
                  <a:cubicBezTo>
                    <a:pt x="0" y="0"/>
                    <a:pt x="0" y="0"/>
                    <a:pt x="0" y="0"/>
                  </a:cubicBezTo>
                  <a:cubicBezTo>
                    <a:pt x="189" y="0"/>
                    <a:pt x="189" y="0"/>
                    <a:pt x="189" y="0"/>
                  </a:cubicBezTo>
                  <a:cubicBezTo>
                    <a:pt x="186" y="201"/>
                    <a:pt x="186" y="201"/>
                    <a:pt x="186" y="201"/>
                  </a:cubicBezTo>
                  <a:lnTo>
                    <a:pt x="195" y="201"/>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59"/>
            <p:cNvSpPr>
              <a:spLocks/>
            </p:cNvSpPr>
            <p:nvPr/>
          </p:nvSpPr>
          <p:spPr bwMode="auto">
            <a:xfrm>
              <a:off x="3021" y="3890"/>
              <a:ext cx="176" cy="404"/>
            </a:xfrm>
            <a:custGeom>
              <a:avLst/>
              <a:gdLst>
                <a:gd name="T0" fmla="*/ 176 w 176"/>
                <a:gd name="T1" fmla="*/ 0 h 404"/>
                <a:gd name="T2" fmla="*/ 0 w 176"/>
                <a:gd name="T3" fmla="*/ 404 h 404"/>
                <a:gd name="T4" fmla="*/ 27 w 176"/>
                <a:gd name="T5" fmla="*/ 404 h 404"/>
                <a:gd name="T6" fmla="*/ 176 w 176"/>
                <a:gd name="T7" fmla="*/ 55 h 404"/>
                <a:gd name="T8" fmla="*/ 176 w 176"/>
                <a:gd name="T9" fmla="*/ 0 h 404"/>
              </a:gdLst>
              <a:ahLst/>
              <a:cxnLst>
                <a:cxn ang="0">
                  <a:pos x="T0" y="T1"/>
                </a:cxn>
                <a:cxn ang="0">
                  <a:pos x="T2" y="T3"/>
                </a:cxn>
                <a:cxn ang="0">
                  <a:pos x="T4" y="T5"/>
                </a:cxn>
                <a:cxn ang="0">
                  <a:pos x="T6" y="T7"/>
                </a:cxn>
                <a:cxn ang="0">
                  <a:pos x="T8" y="T9"/>
                </a:cxn>
              </a:cxnLst>
              <a:rect l="0" t="0" r="r" b="b"/>
              <a:pathLst>
                <a:path w="176" h="404">
                  <a:moveTo>
                    <a:pt x="176" y="0"/>
                  </a:moveTo>
                  <a:lnTo>
                    <a:pt x="0" y="404"/>
                  </a:lnTo>
                  <a:lnTo>
                    <a:pt x="27" y="404"/>
                  </a:lnTo>
                  <a:lnTo>
                    <a:pt x="176" y="55"/>
                  </a:lnTo>
                  <a:lnTo>
                    <a:pt x="176"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60"/>
            <p:cNvSpPr>
              <a:spLocks/>
            </p:cNvSpPr>
            <p:nvPr/>
          </p:nvSpPr>
          <p:spPr bwMode="auto">
            <a:xfrm>
              <a:off x="3048" y="3945"/>
              <a:ext cx="151" cy="349"/>
            </a:xfrm>
            <a:custGeom>
              <a:avLst/>
              <a:gdLst>
                <a:gd name="T0" fmla="*/ 0 w 151"/>
                <a:gd name="T1" fmla="*/ 349 h 349"/>
                <a:gd name="T2" fmla="*/ 151 w 151"/>
                <a:gd name="T3" fmla="*/ 349 h 349"/>
                <a:gd name="T4" fmla="*/ 149 w 151"/>
                <a:gd name="T5" fmla="*/ 0 h 349"/>
                <a:gd name="T6" fmla="*/ 0 w 151"/>
                <a:gd name="T7" fmla="*/ 349 h 349"/>
              </a:gdLst>
              <a:ahLst/>
              <a:cxnLst>
                <a:cxn ang="0">
                  <a:pos x="T0" y="T1"/>
                </a:cxn>
                <a:cxn ang="0">
                  <a:pos x="T2" y="T3"/>
                </a:cxn>
                <a:cxn ang="0">
                  <a:pos x="T4" y="T5"/>
                </a:cxn>
                <a:cxn ang="0">
                  <a:pos x="T6" y="T7"/>
                </a:cxn>
              </a:cxnLst>
              <a:rect l="0" t="0" r="r" b="b"/>
              <a:pathLst>
                <a:path w="151" h="349">
                  <a:moveTo>
                    <a:pt x="0" y="349"/>
                  </a:moveTo>
                  <a:lnTo>
                    <a:pt x="151" y="349"/>
                  </a:lnTo>
                  <a:lnTo>
                    <a:pt x="149" y="0"/>
                  </a:lnTo>
                  <a:lnTo>
                    <a:pt x="0" y="349"/>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61"/>
            <p:cNvSpPr>
              <a:spLocks/>
            </p:cNvSpPr>
            <p:nvPr/>
          </p:nvSpPr>
          <p:spPr bwMode="auto">
            <a:xfrm>
              <a:off x="3021" y="3890"/>
              <a:ext cx="178" cy="404"/>
            </a:xfrm>
            <a:custGeom>
              <a:avLst/>
              <a:gdLst>
                <a:gd name="T0" fmla="*/ 176 w 178"/>
                <a:gd name="T1" fmla="*/ 0 h 404"/>
                <a:gd name="T2" fmla="*/ 178 w 178"/>
                <a:gd name="T3" fmla="*/ 404 h 404"/>
                <a:gd name="T4" fmla="*/ 0 w 178"/>
                <a:gd name="T5" fmla="*/ 404 h 404"/>
                <a:gd name="T6" fmla="*/ 176 w 178"/>
                <a:gd name="T7" fmla="*/ 0 h 404"/>
              </a:gdLst>
              <a:ahLst/>
              <a:cxnLst>
                <a:cxn ang="0">
                  <a:pos x="T0" y="T1"/>
                </a:cxn>
                <a:cxn ang="0">
                  <a:pos x="T2" y="T3"/>
                </a:cxn>
                <a:cxn ang="0">
                  <a:pos x="T4" y="T5"/>
                </a:cxn>
                <a:cxn ang="0">
                  <a:pos x="T6" y="T7"/>
                </a:cxn>
              </a:cxnLst>
              <a:rect l="0" t="0" r="r" b="b"/>
              <a:pathLst>
                <a:path w="178" h="404">
                  <a:moveTo>
                    <a:pt x="176" y="0"/>
                  </a:moveTo>
                  <a:lnTo>
                    <a:pt x="178" y="404"/>
                  </a:lnTo>
                  <a:lnTo>
                    <a:pt x="0" y="404"/>
                  </a:lnTo>
                  <a:lnTo>
                    <a:pt x="176"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62"/>
            <p:cNvSpPr>
              <a:spLocks/>
            </p:cNvSpPr>
            <p:nvPr/>
          </p:nvSpPr>
          <p:spPr bwMode="auto">
            <a:xfrm>
              <a:off x="1778" y="3990"/>
              <a:ext cx="169" cy="233"/>
            </a:xfrm>
            <a:custGeom>
              <a:avLst/>
              <a:gdLst>
                <a:gd name="T0" fmla="*/ 0 w 169"/>
                <a:gd name="T1" fmla="*/ 0 h 233"/>
                <a:gd name="T2" fmla="*/ 145 w 169"/>
                <a:gd name="T3" fmla="*/ 233 h 233"/>
                <a:gd name="T4" fmla="*/ 169 w 169"/>
                <a:gd name="T5" fmla="*/ 233 h 233"/>
                <a:gd name="T6" fmla="*/ 62 w 169"/>
                <a:gd name="T7" fmla="*/ 59 h 233"/>
                <a:gd name="T8" fmla="*/ 0 w 169"/>
                <a:gd name="T9" fmla="*/ 0 h 233"/>
              </a:gdLst>
              <a:ahLst/>
              <a:cxnLst>
                <a:cxn ang="0">
                  <a:pos x="T0" y="T1"/>
                </a:cxn>
                <a:cxn ang="0">
                  <a:pos x="T2" y="T3"/>
                </a:cxn>
                <a:cxn ang="0">
                  <a:pos x="T4" y="T5"/>
                </a:cxn>
                <a:cxn ang="0">
                  <a:pos x="T6" y="T7"/>
                </a:cxn>
                <a:cxn ang="0">
                  <a:pos x="T8" y="T9"/>
                </a:cxn>
              </a:cxnLst>
              <a:rect l="0" t="0" r="r" b="b"/>
              <a:pathLst>
                <a:path w="169" h="233">
                  <a:moveTo>
                    <a:pt x="0" y="0"/>
                  </a:moveTo>
                  <a:lnTo>
                    <a:pt x="145" y="233"/>
                  </a:lnTo>
                  <a:lnTo>
                    <a:pt x="169" y="233"/>
                  </a:lnTo>
                  <a:lnTo>
                    <a:pt x="62" y="59"/>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63"/>
            <p:cNvSpPr>
              <a:spLocks/>
            </p:cNvSpPr>
            <p:nvPr/>
          </p:nvSpPr>
          <p:spPr bwMode="auto">
            <a:xfrm>
              <a:off x="1802" y="3990"/>
              <a:ext cx="240" cy="235"/>
            </a:xfrm>
            <a:custGeom>
              <a:avLst/>
              <a:gdLst>
                <a:gd name="T0" fmla="*/ 240 w 240"/>
                <a:gd name="T1" fmla="*/ 235 h 235"/>
                <a:gd name="T2" fmla="*/ 0 w 240"/>
                <a:gd name="T3" fmla="*/ 0 h 235"/>
                <a:gd name="T4" fmla="*/ 38 w 240"/>
                <a:gd name="T5" fmla="*/ 59 h 235"/>
                <a:gd name="T6" fmla="*/ 214 w 240"/>
                <a:gd name="T7" fmla="*/ 233 h 235"/>
                <a:gd name="T8" fmla="*/ 145 w 240"/>
                <a:gd name="T9" fmla="*/ 233 h 235"/>
                <a:gd name="T10" fmla="*/ 147 w 240"/>
                <a:gd name="T11" fmla="*/ 235 h 235"/>
                <a:gd name="T12" fmla="*/ 240 w 240"/>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240" h="235">
                  <a:moveTo>
                    <a:pt x="240" y="235"/>
                  </a:moveTo>
                  <a:lnTo>
                    <a:pt x="0" y="0"/>
                  </a:lnTo>
                  <a:lnTo>
                    <a:pt x="38" y="59"/>
                  </a:lnTo>
                  <a:lnTo>
                    <a:pt x="214" y="233"/>
                  </a:lnTo>
                  <a:lnTo>
                    <a:pt x="145" y="233"/>
                  </a:lnTo>
                  <a:lnTo>
                    <a:pt x="147" y="235"/>
                  </a:lnTo>
                  <a:lnTo>
                    <a:pt x="240" y="235"/>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64"/>
            <p:cNvSpPr>
              <a:spLocks/>
            </p:cNvSpPr>
            <p:nvPr/>
          </p:nvSpPr>
          <p:spPr bwMode="auto">
            <a:xfrm>
              <a:off x="1840" y="4049"/>
              <a:ext cx="176" cy="174"/>
            </a:xfrm>
            <a:custGeom>
              <a:avLst/>
              <a:gdLst>
                <a:gd name="T0" fmla="*/ 0 w 176"/>
                <a:gd name="T1" fmla="*/ 0 h 174"/>
                <a:gd name="T2" fmla="*/ 107 w 176"/>
                <a:gd name="T3" fmla="*/ 174 h 174"/>
                <a:gd name="T4" fmla="*/ 176 w 176"/>
                <a:gd name="T5" fmla="*/ 174 h 174"/>
                <a:gd name="T6" fmla="*/ 0 w 176"/>
                <a:gd name="T7" fmla="*/ 0 h 174"/>
              </a:gdLst>
              <a:ahLst/>
              <a:cxnLst>
                <a:cxn ang="0">
                  <a:pos x="T0" y="T1"/>
                </a:cxn>
                <a:cxn ang="0">
                  <a:pos x="T2" y="T3"/>
                </a:cxn>
                <a:cxn ang="0">
                  <a:pos x="T4" y="T5"/>
                </a:cxn>
                <a:cxn ang="0">
                  <a:pos x="T6" y="T7"/>
                </a:cxn>
              </a:cxnLst>
              <a:rect l="0" t="0" r="r" b="b"/>
              <a:pathLst>
                <a:path w="176" h="174">
                  <a:moveTo>
                    <a:pt x="0" y="0"/>
                  </a:moveTo>
                  <a:lnTo>
                    <a:pt x="107" y="174"/>
                  </a:lnTo>
                  <a:lnTo>
                    <a:pt x="176" y="174"/>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65"/>
            <p:cNvSpPr>
              <a:spLocks/>
            </p:cNvSpPr>
            <p:nvPr/>
          </p:nvSpPr>
          <p:spPr bwMode="auto">
            <a:xfrm>
              <a:off x="1778" y="3990"/>
              <a:ext cx="238" cy="233"/>
            </a:xfrm>
            <a:custGeom>
              <a:avLst/>
              <a:gdLst>
                <a:gd name="T0" fmla="*/ 145 w 238"/>
                <a:gd name="T1" fmla="*/ 233 h 233"/>
                <a:gd name="T2" fmla="*/ 0 w 238"/>
                <a:gd name="T3" fmla="*/ 0 h 233"/>
                <a:gd name="T4" fmla="*/ 238 w 238"/>
                <a:gd name="T5" fmla="*/ 233 h 233"/>
                <a:gd name="T6" fmla="*/ 145 w 238"/>
                <a:gd name="T7" fmla="*/ 233 h 233"/>
              </a:gdLst>
              <a:ahLst/>
              <a:cxnLst>
                <a:cxn ang="0">
                  <a:pos x="T0" y="T1"/>
                </a:cxn>
                <a:cxn ang="0">
                  <a:pos x="T2" y="T3"/>
                </a:cxn>
                <a:cxn ang="0">
                  <a:pos x="T4" y="T5"/>
                </a:cxn>
                <a:cxn ang="0">
                  <a:pos x="T6" y="T7"/>
                </a:cxn>
              </a:cxnLst>
              <a:rect l="0" t="0" r="r" b="b"/>
              <a:pathLst>
                <a:path w="238" h="233">
                  <a:moveTo>
                    <a:pt x="145" y="233"/>
                  </a:moveTo>
                  <a:lnTo>
                    <a:pt x="0" y="0"/>
                  </a:lnTo>
                  <a:lnTo>
                    <a:pt x="238" y="233"/>
                  </a:lnTo>
                  <a:lnTo>
                    <a:pt x="145" y="233"/>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66"/>
            <p:cNvSpPr>
              <a:spLocks/>
            </p:cNvSpPr>
            <p:nvPr/>
          </p:nvSpPr>
          <p:spPr bwMode="auto">
            <a:xfrm>
              <a:off x="2008" y="3819"/>
              <a:ext cx="24" cy="404"/>
            </a:xfrm>
            <a:custGeom>
              <a:avLst/>
              <a:gdLst>
                <a:gd name="T0" fmla="*/ 3 w 24"/>
                <a:gd name="T1" fmla="*/ 0 h 404"/>
                <a:gd name="T2" fmla="*/ 0 w 24"/>
                <a:gd name="T3" fmla="*/ 404 h 404"/>
                <a:gd name="T4" fmla="*/ 22 w 24"/>
                <a:gd name="T5" fmla="*/ 404 h 404"/>
                <a:gd name="T6" fmla="*/ 24 w 24"/>
                <a:gd name="T7" fmla="*/ 48 h 404"/>
                <a:gd name="T8" fmla="*/ 3 w 24"/>
                <a:gd name="T9" fmla="*/ 0 h 404"/>
              </a:gdLst>
              <a:ahLst/>
              <a:cxnLst>
                <a:cxn ang="0">
                  <a:pos x="T0" y="T1"/>
                </a:cxn>
                <a:cxn ang="0">
                  <a:pos x="T2" y="T3"/>
                </a:cxn>
                <a:cxn ang="0">
                  <a:pos x="T4" y="T5"/>
                </a:cxn>
                <a:cxn ang="0">
                  <a:pos x="T6" y="T7"/>
                </a:cxn>
                <a:cxn ang="0">
                  <a:pos x="T8" y="T9"/>
                </a:cxn>
              </a:cxnLst>
              <a:rect l="0" t="0" r="r" b="b"/>
              <a:pathLst>
                <a:path w="24" h="404">
                  <a:moveTo>
                    <a:pt x="3" y="0"/>
                  </a:moveTo>
                  <a:lnTo>
                    <a:pt x="0" y="404"/>
                  </a:lnTo>
                  <a:lnTo>
                    <a:pt x="22" y="404"/>
                  </a:lnTo>
                  <a:lnTo>
                    <a:pt x="24" y="48"/>
                  </a:lnTo>
                  <a:lnTo>
                    <a:pt x="3"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67"/>
            <p:cNvSpPr>
              <a:spLocks/>
            </p:cNvSpPr>
            <p:nvPr/>
          </p:nvSpPr>
          <p:spPr bwMode="auto">
            <a:xfrm>
              <a:off x="2030" y="3819"/>
              <a:ext cx="180" cy="406"/>
            </a:xfrm>
            <a:custGeom>
              <a:avLst/>
              <a:gdLst>
                <a:gd name="T0" fmla="*/ 180 w 180"/>
                <a:gd name="T1" fmla="*/ 406 h 406"/>
                <a:gd name="T2" fmla="*/ 5 w 180"/>
                <a:gd name="T3" fmla="*/ 0 h 406"/>
                <a:gd name="T4" fmla="*/ 2 w 180"/>
                <a:gd name="T5" fmla="*/ 48 h 406"/>
                <a:gd name="T6" fmla="*/ 156 w 180"/>
                <a:gd name="T7" fmla="*/ 404 h 406"/>
                <a:gd name="T8" fmla="*/ 0 w 180"/>
                <a:gd name="T9" fmla="*/ 404 h 406"/>
                <a:gd name="T10" fmla="*/ 0 w 180"/>
                <a:gd name="T11" fmla="*/ 406 h 406"/>
                <a:gd name="T12" fmla="*/ 180 w 180"/>
                <a:gd name="T13" fmla="*/ 406 h 406"/>
              </a:gdLst>
              <a:ahLst/>
              <a:cxnLst>
                <a:cxn ang="0">
                  <a:pos x="T0" y="T1"/>
                </a:cxn>
                <a:cxn ang="0">
                  <a:pos x="T2" y="T3"/>
                </a:cxn>
                <a:cxn ang="0">
                  <a:pos x="T4" y="T5"/>
                </a:cxn>
                <a:cxn ang="0">
                  <a:pos x="T6" y="T7"/>
                </a:cxn>
                <a:cxn ang="0">
                  <a:pos x="T8" y="T9"/>
                </a:cxn>
                <a:cxn ang="0">
                  <a:pos x="T10" y="T11"/>
                </a:cxn>
                <a:cxn ang="0">
                  <a:pos x="T12" y="T13"/>
                </a:cxn>
              </a:cxnLst>
              <a:rect l="0" t="0" r="r" b="b"/>
              <a:pathLst>
                <a:path w="180" h="406">
                  <a:moveTo>
                    <a:pt x="180" y="406"/>
                  </a:moveTo>
                  <a:lnTo>
                    <a:pt x="5" y="0"/>
                  </a:lnTo>
                  <a:lnTo>
                    <a:pt x="2" y="48"/>
                  </a:lnTo>
                  <a:lnTo>
                    <a:pt x="156" y="404"/>
                  </a:lnTo>
                  <a:lnTo>
                    <a:pt x="0" y="404"/>
                  </a:lnTo>
                  <a:lnTo>
                    <a:pt x="0" y="406"/>
                  </a:lnTo>
                  <a:lnTo>
                    <a:pt x="180" y="406"/>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68"/>
            <p:cNvSpPr>
              <a:spLocks/>
            </p:cNvSpPr>
            <p:nvPr/>
          </p:nvSpPr>
          <p:spPr bwMode="auto">
            <a:xfrm>
              <a:off x="2030" y="3867"/>
              <a:ext cx="156" cy="356"/>
            </a:xfrm>
            <a:custGeom>
              <a:avLst/>
              <a:gdLst>
                <a:gd name="T0" fmla="*/ 2 w 156"/>
                <a:gd name="T1" fmla="*/ 0 h 356"/>
                <a:gd name="T2" fmla="*/ 0 w 156"/>
                <a:gd name="T3" fmla="*/ 356 h 356"/>
                <a:gd name="T4" fmla="*/ 156 w 156"/>
                <a:gd name="T5" fmla="*/ 356 h 356"/>
                <a:gd name="T6" fmla="*/ 2 w 156"/>
                <a:gd name="T7" fmla="*/ 0 h 356"/>
              </a:gdLst>
              <a:ahLst/>
              <a:cxnLst>
                <a:cxn ang="0">
                  <a:pos x="T0" y="T1"/>
                </a:cxn>
                <a:cxn ang="0">
                  <a:pos x="T2" y="T3"/>
                </a:cxn>
                <a:cxn ang="0">
                  <a:pos x="T4" y="T5"/>
                </a:cxn>
                <a:cxn ang="0">
                  <a:pos x="T6" y="T7"/>
                </a:cxn>
              </a:cxnLst>
              <a:rect l="0" t="0" r="r" b="b"/>
              <a:pathLst>
                <a:path w="156" h="356">
                  <a:moveTo>
                    <a:pt x="2" y="0"/>
                  </a:moveTo>
                  <a:lnTo>
                    <a:pt x="0" y="356"/>
                  </a:lnTo>
                  <a:lnTo>
                    <a:pt x="156" y="356"/>
                  </a:lnTo>
                  <a:lnTo>
                    <a:pt x="2"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69"/>
            <p:cNvSpPr>
              <a:spLocks/>
            </p:cNvSpPr>
            <p:nvPr/>
          </p:nvSpPr>
          <p:spPr bwMode="auto">
            <a:xfrm>
              <a:off x="2008" y="3819"/>
              <a:ext cx="178" cy="404"/>
            </a:xfrm>
            <a:custGeom>
              <a:avLst/>
              <a:gdLst>
                <a:gd name="T0" fmla="*/ 3 w 178"/>
                <a:gd name="T1" fmla="*/ 0 h 404"/>
                <a:gd name="T2" fmla="*/ 0 w 178"/>
                <a:gd name="T3" fmla="*/ 404 h 404"/>
                <a:gd name="T4" fmla="*/ 178 w 178"/>
                <a:gd name="T5" fmla="*/ 404 h 404"/>
                <a:gd name="T6" fmla="*/ 3 w 178"/>
                <a:gd name="T7" fmla="*/ 0 h 404"/>
              </a:gdLst>
              <a:ahLst/>
              <a:cxnLst>
                <a:cxn ang="0">
                  <a:pos x="T0" y="T1"/>
                </a:cxn>
                <a:cxn ang="0">
                  <a:pos x="T2" y="T3"/>
                </a:cxn>
                <a:cxn ang="0">
                  <a:pos x="T4" y="T5"/>
                </a:cxn>
                <a:cxn ang="0">
                  <a:pos x="T6" y="T7"/>
                </a:cxn>
              </a:cxnLst>
              <a:rect l="0" t="0" r="r" b="b"/>
              <a:pathLst>
                <a:path w="178" h="404">
                  <a:moveTo>
                    <a:pt x="3" y="0"/>
                  </a:moveTo>
                  <a:lnTo>
                    <a:pt x="0" y="404"/>
                  </a:lnTo>
                  <a:lnTo>
                    <a:pt x="178" y="404"/>
                  </a:lnTo>
                  <a:lnTo>
                    <a:pt x="3"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70"/>
            <p:cNvSpPr>
              <a:spLocks/>
            </p:cNvSpPr>
            <p:nvPr/>
          </p:nvSpPr>
          <p:spPr bwMode="auto">
            <a:xfrm>
              <a:off x="1778" y="3945"/>
              <a:ext cx="247" cy="278"/>
            </a:xfrm>
            <a:custGeom>
              <a:avLst/>
              <a:gdLst>
                <a:gd name="T0" fmla="*/ 58 w 104"/>
                <a:gd name="T1" fmla="*/ 1 h 117"/>
                <a:gd name="T2" fmla="*/ 0 w 104"/>
                <a:gd name="T3" fmla="*/ 19 h 117"/>
                <a:gd name="T4" fmla="*/ 100 w 104"/>
                <a:gd name="T5" fmla="*/ 117 h 117"/>
                <a:gd name="T6" fmla="*/ 104 w 104"/>
                <a:gd name="T7" fmla="*/ 109 h 117"/>
                <a:gd name="T8" fmla="*/ 12 w 104"/>
                <a:gd name="T9" fmla="*/ 19 h 117"/>
                <a:gd name="T10" fmla="*/ 58 w 104"/>
                <a:gd name="T11" fmla="*/ 1 h 117"/>
              </a:gdLst>
              <a:ahLst/>
              <a:cxnLst>
                <a:cxn ang="0">
                  <a:pos x="T0" y="T1"/>
                </a:cxn>
                <a:cxn ang="0">
                  <a:pos x="T2" y="T3"/>
                </a:cxn>
                <a:cxn ang="0">
                  <a:pos x="T4" y="T5"/>
                </a:cxn>
                <a:cxn ang="0">
                  <a:pos x="T6" y="T7"/>
                </a:cxn>
                <a:cxn ang="0">
                  <a:pos x="T8" y="T9"/>
                </a:cxn>
                <a:cxn ang="0">
                  <a:pos x="T10" y="T11"/>
                </a:cxn>
              </a:cxnLst>
              <a:rect l="0" t="0" r="r" b="b"/>
              <a:pathLst>
                <a:path w="104" h="117">
                  <a:moveTo>
                    <a:pt x="58" y="1"/>
                  </a:moveTo>
                  <a:cubicBezTo>
                    <a:pt x="38" y="0"/>
                    <a:pt x="17" y="4"/>
                    <a:pt x="0" y="19"/>
                  </a:cubicBezTo>
                  <a:cubicBezTo>
                    <a:pt x="100" y="117"/>
                    <a:pt x="100" y="117"/>
                    <a:pt x="100" y="117"/>
                  </a:cubicBezTo>
                  <a:cubicBezTo>
                    <a:pt x="104" y="109"/>
                    <a:pt x="104" y="109"/>
                    <a:pt x="104" y="109"/>
                  </a:cubicBezTo>
                  <a:cubicBezTo>
                    <a:pt x="12" y="19"/>
                    <a:pt x="12" y="19"/>
                    <a:pt x="12" y="19"/>
                  </a:cubicBezTo>
                  <a:cubicBezTo>
                    <a:pt x="26" y="7"/>
                    <a:pt x="42" y="2"/>
                    <a:pt x="58" y="1"/>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71"/>
            <p:cNvSpPr>
              <a:spLocks/>
            </p:cNvSpPr>
            <p:nvPr/>
          </p:nvSpPr>
          <p:spPr bwMode="auto">
            <a:xfrm>
              <a:off x="1807" y="3947"/>
              <a:ext cx="294" cy="257"/>
            </a:xfrm>
            <a:custGeom>
              <a:avLst/>
              <a:gdLst>
                <a:gd name="T0" fmla="*/ 46 w 124"/>
                <a:gd name="T1" fmla="*/ 0 h 108"/>
                <a:gd name="T2" fmla="*/ 0 w 124"/>
                <a:gd name="T3" fmla="*/ 18 h 108"/>
                <a:gd name="T4" fmla="*/ 92 w 124"/>
                <a:gd name="T5" fmla="*/ 108 h 108"/>
                <a:gd name="T6" fmla="*/ 124 w 124"/>
                <a:gd name="T7" fmla="*/ 27 h 108"/>
                <a:gd name="T8" fmla="*/ 46 w 124"/>
                <a:gd name="T9" fmla="*/ 0 h 108"/>
              </a:gdLst>
              <a:ahLst/>
              <a:cxnLst>
                <a:cxn ang="0">
                  <a:pos x="T0" y="T1"/>
                </a:cxn>
                <a:cxn ang="0">
                  <a:pos x="T2" y="T3"/>
                </a:cxn>
                <a:cxn ang="0">
                  <a:pos x="T4" y="T5"/>
                </a:cxn>
                <a:cxn ang="0">
                  <a:pos x="T6" y="T7"/>
                </a:cxn>
                <a:cxn ang="0">
                  <a:pos x="T8" y="T9"/>
                </a:cxn>
              </a:cxnLst>
              <a:rect l="0" t="0" r="r" b="b"/>
              <a:pathLst>
                <a:path w="124" h="108">
                  <a:moveTo>
                    <a:pt x="46" y="0"/>
                  </a:moveTo>
                  <a:cubicBezTo>
                    <a:pt x="30" y="1"/>
                    <a:pt x="14" y="6"/>
                    <a:pt x="0" y="18"/>
                  </a:cubicBezTo>
                  <a:cubicBezTo>
                    <a:pt x="92" y="108"/>
                    <a:pt x="92" y="108"/>
                    <a:pt x="92" y="108"/>
                  </a:cubicBezTo>
                  <a:cubicBezTo>
                    <a:pt x="124" y="27"/>
                    <a:pt x="124" y="27"/>
                    <a:pt x="124" y="27"/>
                  </a:cubicBezTo>
                  <a:cubicBezTo>
                    <a:pt x="124" y="27"/>
                    <a:pt x="87" y="3"/>
                    <a:pt x="46" y="0"/>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72"/>
            <p:cNvSpPr>
              <a:spLocks/>
            </p:cNvSpPr>
            <p:nvPr/>
          </p:nvSpPr>
          <p:spPr bwMode="auto">
            <a:xfrm>
              <a:off x="1778" y="3883"/>
              <a:ext cx="323" cy="340"/>
            </a:xfrm>
            <a:custGeom>
              <a:avLst/>
              <a:gdLst>
                <a:gd name="T0" fmla="*/ 100 w 136"/>
                <a:gd name="T1" fmla="*/ 143 h 143"/>
                <a:gd name="T2" fmla="*/ 136 w 136"/>
                <a:gd name="T3" fmla="*/ 54 h 143"/>
                <a:gd name="T4" fmla="*/ 0 w 136"/>
                <a:gd name="T5" fmla="*/ 45 h 143"/>
                <a:gd name="T6" fmla="*/ 100 w 136"/>
                <a:gd name="T7" fmla="*/ 143 h 143"/>
              </a:gdLst>
              <a:ahLst/>
              <a:cxnLst>
                <a:cxn ang="0">
                  <a:pos x="T0" y="T1"/>
                </a:cxn>
                <a:cxn ang="0">
                  <a:pos x="T2" y="T3"/>
                </a:cxn>
                <a:cxn ang="0">
                  <a:pos x="T4" y="T5"/>
                </a:cxn>
                <a:cxn ang="0">
                  <a:pos x="T6" y="T7"/>
                </a:cxn>
              </a:cxnLst>
              <a:rect l="0" t="0" r="r" b="b"/>
              <a:pathLst>
                <a:path w="136" h="143">
                  <a:moveTo>
                    <a:pt x="100" y="143"/>
                  </a:moveTo>
                  <a:cubicBezTo>
                    <a:pt x="136" y="54"/>
                    <a:pt x="136" y="54"/>
                    <a:pt x="136" y="54"/>
                  </a:cubicBezTo>
                  <a:cubicBezTo>
                    <a:pt x="136" y="54"/>
                    <a:pt x="54" y="0"/>
                    <a:pt x="0" y="45"/>
                  </a:cubicBezTo>
                  <a:lnTo>
                    <a:pt x="100" y="143"/>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73"/>
            <p:cNvSpPr>
              <a:spLocks/>
            </p:cNvSpPr>
            <p:nvPr/>
          </p:nvSpPr>
          <p:spPr bwMode="auto">
            <a:xfrm>
              <a:off x="2217" y="3660"/>
              <a:ext cx="24" cy="563"/>
            </a:xfrm>
            <a:custGeom>
              <a:avLst/>
              <a:gdLst>
                <a:gd name="T0" fmla="*/ 0 w 24"/>
                <a:gd name="T1" fmla="*/ 0 h 563"/>
                <a:gd name="T2" fmla="*/ 0 w 24"/>
                <a:gd name="T3" fmla="*/ 563 h 563"/>
                <a:gd name="T4" fmla="*/ 24 w 24"/>
                <a:gd name="T5" fmla="*/ 563 h 563"/>
                <a:gd name="T6" fmla="*/ 24 w 24"/>
                <a:gd name="T7" fmla="*/ 52 h 563"/>
                <a:gd name="T8" fmla="*/ 0 w 24"/>
                <a:gd name="T9" fmla="*/ 0 h 563"/>
              </a:gdLst>
              <a:ahLst/>
              <a:cxnLst>
                <a:cxn ang="0">
                  <a:pos x="T0" y="T1"/>
                </a:cxn>
                <a:cxn ang="0">
                  <a:pos x="T2" y="T3"/>
                </a:cxn>
                <a:cxn ang="0">
                  <a:pos x="T4" y="T5"/>
                </a:cxn>
                <a:cxn ang="0">
                  <a:pos x="T6" y="T7"/>
                </a:cxn>
                <a:cxn ang="0">
                  <a:pos x="T8" y="T9"/>
                </a:cxn>
              </a:cxnLst>
              <a:rect l="0" t="0" r="r" b="b"/>
              <a:pathLst>
                <a:path w="24" h="563">
                  <a:moveTo>
                    <a:pt x="0" y="0"/>
                  </a:moveTo>
                  <a:lnTo>
                    <a:pt x="0" y="563"/>
                  </a:lnTo>
                  <a:lnTo>
                    <a:pt x="24" y="563"/>
                  </a:lnTo>
                  <a:lnTo>
                    <a:pt x="24" y="52"/>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74"/>
            <p:cNvSpPr>
              <a:spLocks/>
            </p:cNvSpPr>
            <p:nvPr/>
          </p:nvSpPr>
          <p:spPr bwMode="auto">
            <a:xfrm>
              <a:off x="2241" y="3662"/>
              <a:ext cx="247" cy="563"/>
            </a:xfrm>
            <a:custGeom>
              <a:avLst/>
              <a:gdLst>
                <a:gd name="T0" fmla="*/ 247 w 247"/>
                <a:gd name="T1" fmla="*/ 563 h 563"/>
                <a:gd name="T2" fmla="*/ 0 w 247"/>
                <a:gd name="T3" fmla="*/ 0 h 563"/>
                <a:gd name="T4" fmla="*/ 0 w 247"/>
                <a:gd name="T5" fmla="*/ 50 h 563"/>
                <a:gd name="T6" fmla="*/ 225 w 247"/>
                <a:gd name="T7" fmla="*/ 561 h 563"/>
                <a:gd name="T8" fmla="*/ 0 w 247"/>
                <a:gd name="T9" fmla="*/ 561 h 563"/>
                <a:gd name="T10" fmla="*/ 0 w 247"/>
                <a:gd name="T11" fmla="*/ 563 h 563"/>
                <a:gd name="T12" fmla="*/ 247 w 247"/>
                <a:gd name="T13" fmla="*/ 563 h 563"/>
              </a:gdLst>
              <a:ahLst/>
              <a:cxnLst>
                <a:cxn ang="0">
                  <a:pos x="T0" y="T1"/>
                </a:cxn>
                <a:cxn ang="0">
                  <a:pos x="T2" y="T3"/>
                </a:cxn>
                <a:cxn ang="0">
                  <a:pos x="T4" y="T5"/>
                </a:cxn>
                <a:cxn ang="0">
                  <a:pos x="T6" y="T7"/>
                </a:cxn>
                <a:cxn ang="0">
                  <a:pos x="T8" y="T9"/>
                </a:cxn>
                <a:cxn ang="0">
                  <a:pos x="T10" y="T11"/>
                </a:cxn>
                <a:cxn ang="0">
                  <a:pos x="T12" y="T13"/>
                </a:cxn>
              </a:cxnLst>
              <a:rect l="0" t="0" r="r" b="b"/>
              <a:pathLst>
                <a:path w="247" h="563">
                  <a:moveTo>
                    <a:pt x="247" y="563"/>
                  </a:moveTo>
                  <a:lnTo>
                    <a:pt x="0" y="0"/>
                  </a:lnTo>
                  <a:lnTo>
                    <a:pt x="0" y="50"/>
                  </a:lnTo>
                  <a:lnTo>
                    <a:pt x="225" y="561"/>
                  </a:lnTo>
                  <a:lnTo>
                    <a:pt x="0" y="561"/>
                  </a:lnTo>
                  <a:lnTo>
                    <a:pt x="0" y="563"/>
                  </a:lnTo>
                  <a:lnTo>
                    <a:pt x="247" y="563"/>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75"/>
            <p:cNvSpPr>
              <a:spLocks/>
            </p:cNvSpPr>
            <p:nvPr/>
          </p:nvSpPr>
          <p:spPr bwMode="auto">
            <a:xfrm>
              <a:off x="2241" y="3712"/>
              <a:ext cx="225" cy="511"/>
            </a:xfrm>
            <a:custGeom>
              <a:avLst/>
              <a:gdLst>
                <a:gd name="T0" fmla="*/ 0 w 225"/>
                <a:gd name="T1" fmla="*/ 0 h 511"/>
                <a:gd name="T2" fmla="*/ 0 w 225"/>
                <a:gd name="T3" fmla="*/ 511 h 511"/>
                <a:gd name="T4" fmla="*/ 225 w 225"/>
                <a:gd name="T5" fmla="*/ 511 h 511"/>
                <a:gd name="T6" fmla="*/ 0 w 225"/>
                <a:gd name="T7" fmla="*/ 0 h 511"/>
              </a:gdLst>
              <a:ahLst/>
              <a:cxnLst>
                <a:cxn ang="0">
                  <a:pos x="T0" y="T1"/>
                </a:cxn>
                <a:cxn ang="0">
                  <a:pos x="T2" y="T3"/>
                </a:cxn>
                <a:cxn ang="0">
                  <a:pos x="T4" y="T5"/>
                </a:cxn>
                <a:cxn ang="0">
                  <a:pos x="T6" y="T7"/>
                </a:cxn>
              </a:cxnLst>
              <a:rect l="0" t="0" r="r" b="b"/>
              <a:pathLst>
                <a:path w="225" h="511">
                  <a:moveTo>
                    <a:pt x="0" y="0"/>
                  </a:moveTo>
                  <a:lnTo>
                    <a:pt x="0" y="511"/>
                  </a:lnTo>
                  <a:lnTo>
                    <a:pt x="225" y="511"/>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76"/>
            <p:cNvSpPr>
              <a:spLocks/>
            </p:cNvSpPr>
            <p:nvPr/>
          </p:nvSpPr>
          <p:spPr bwMode="auto">
            <a:xfrm>
              <a:off x="2217" y="3660"/>
              <a:ext cx="586" cy="634"/>
            </a:xfrm>
            <a:custGeom>
              <a:avLst/>
              <a:gdLst>
                <a:gd name="T0" fmla="*/ 122 w 247"/>
                <a:gd name="T1" fmla="*/ 267 h 267"/>
                <a:gd name="T2" fmla="*/ 131 w 247"/>
                <a:gd name="T3" fmla="*/ 267 h 267"/>
                <a:gd name="T4" fmla="*/ 247 w 247"/>
                <a:gd name="T5" fmla="*/ 154 h 267"/>
                <a:gd name="T6" fmla="*/ 0 w 247"/>
                <a:gd name="T7" fmla="*/ 0 h 267"/>
                <a:gd name="T8" fmla="*/ 105 w 247"/>
                <a:gd name="T9" fmla="*/ 237 h 267"/>
                <a:gd name="T10" fmla="*/ 122 w 247"/>
                <a:gd name="T11" fmla="*/ 237 h 267"/>
                <a:gd name="T12" fmla="*/ 122 w 247"/>
                <a:gd name="T13" fmla="*/ 267 h 267"/>
              </a:gdLst>
              <a:ahLst/>
              <a:cxnLst>
                <a:cxn ang="0">
                  <a:pos x="T0" y="T1"/>
                </a:cxn>
                <a:cxn ang="0">
                  <a:pos x="T2" y="T3"/>
                </a:cxn>
                <a:cxn ang="0">
                  <a:pos x="T4" y="T5"/>
                </a:cxn>
                <a:cxn ang="0">
                  <a:pos x="T6" y="T7"/>
                </a:cxn>
                <a:cxn ang="0">
                  <a:pos x="T8" y="T9"/>
                </a:cxn>
                <a:cxn ang="0">
                  <a:pos x="T10" y="T11"/>
                </a:cxn>
                <a:cxn ang="0">
                  <a:pos x="T12" y="T13"/>
                </a:cxn>
              </a:cxnLst>
              <a:rect l="0" t="0" r="r" b="b"/>
              <a:pathLst>
                <a:path w="247" h="267">
                  <a:moveTo>
                    <a:pt x="122" y="267"/>
                  </a:moveTo>
                  <a:cubicBezTo>
                    <a:pt x="131" y="267"/>
                    <a:pt x="131" y="267"/>
                    <a:pt x="131" y="267"/>
                  </a:cubicBezTo>
                  <a:cubicBezTo>
                    <a:pt x="247" y="154"/>
                    <a:pt x="247" y="154"/>
                    <a:pt x="247" y="154"/>
                  </a:cubicBezTo>
                  <a:cubicBezTo>
                    <a:pt x="247" y="154"/>
                    <a:pt x="188" y="0"/>
                    <a:pt x="0" y="0"/>
                  </a:cubicBezTo>
                  <a:cubicBezTo>
                    <a:pt x="105" y="237"/>
                    <a:pt x="105" y="237"/>
                    <a:pt x="105" y="237"/>
                  </a:cubicBezTo>
                  <a:cubicBezTo>
                    <a:pt x="122" y="237"/>
                    <a:pt x="122" y="237"/>
                    <a:pt x="122" y="237"/>
                  </a:cubicBezTo>
                  <a:lnTo>
                    <a:pt x="122" y="267"/>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77"/>
            <p:cNvSpPr>
              <a:spLocks/>
            </p:cNvSpPr>
            <p:nvPr/>
          </p:nvSpPr>
          <p:spPr bwMode="auto">
            <a:xfrm>
              <a:off x="2217" y="3660"/>
              <a:ext cx="249" cy="563"/>
            </a:xfrm>
            <a:custGeom>
              <a:avLst/>
              <a:gdLst>
                <a:gd name="T0" fmla="*/ 0 w 249"/>
                <a:gd name="T1" fmla="*/ 0 h 563"/>
                <a:gd name="T2" fmla="*/ 249 w 249"/>
                <a:gd name="T3" fmla="*/ 563 h 563"/>
                <a:gd name="T4" fmla="*/ 0 w 249"/>
                <a:gd name="T5" fmla="*/ 563 h 563"/>
                <a:gd name="T6" fmla="*/ 0 w 249"/>
                <a:gd name="T7" fmla="*/ 0 h 563"/>
              </a:gdLst>
              <a:ahLst/>
              <a:cxnLst>
                <a:cxn ang="0">
                  <a:pos x="T0" y="T1"/>
                </a:cxn>
                <a:cxn ang="0">
                  <a:pos x="T2" y="T3"/>
                </a:cxn>
                <a:cxn ang="0">
                  <a:pos x="T4" y="T5"/>
                </a:cxn>
                <a:cxn ang="0">
                  <a:pos x="T6" y="T7"/>
                </a:cxn>
              </a:cxnLst>
              <a:rect l="0" t="0" r="r" b="b"/>
              <a:pathLst>
                <a:path w="249" h="563">
                  <a:moveTo>
                    <a:pt x="0" y="0"/>
                  </a:moveTo>
                  <a:lnTo>
                    <a:pt x="249" y="563"/>
                  </a:lnTo>
                  <a:lnTo>
                    <a:pt x="0" y="563"/>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Line 278"/>
            <p:cNvSpPr>
              <a:spLocks noChangeShapeType="1"/>
            </p:cNvSpPr>
            <p:nvPr/>
          </p:nvSpPr>
          <p:spPr bwMode="auto">
            <a:xfrm>
              <a:off x="2642" y="381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Line 279"/>
            <p:cNvSpPr>
              <a:spLocks noChangeShapeType="1"/>
            </p:cNvSpPr>
            <p:nvPr/>
          </p:nvSpPr>
          <p:spPr bwMode="auto">
            <a:xfrm>
              <a:off x="2642" y="381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Line 280"/>
            <p:cNvSpPr>
              <a:spLocks noChangeShapeType="1"/>
            </p:cNvSpPr>
            <p:nvPr/>
          </p:nvSpPr>
          <p:spPr bwMode="auto">
            <a:xfrm>
              <a:off x="2642" y="3812"/>
              <a:ext cx="0" cy="0"/>
            </a:xfrm>
            <a:prstGeom prst="line">
              <a:avLst/>
            </a:prstGeom>
            <a:noFill/>
            <a:ln w="30163" cap="rnd">
              <a:solidFill>
                <a:srgbClr val="0076B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Freeform 281"/>
            <p:cNvSpPr>
              <a:spLocks/>
            </p:cNvSpPr>
            <p:nvPr/>
          </p:nvSpPr>
          <p:spPr bwMode="auto">
            <a:xfrm>
              <a:off x="2217" y="3660"/>
              <a:ext cx="586" cy="634"/>
            </a:xfrm>
            <a:custGeom>
              <a:avLst/>
              <a:gdLst>
                <a:gd name="T0" fmla="*/ 179 w 247"/>
                <a:gd name="T1" fmla="*/ 64 h 267"/>
                <a:gd name="T2" fmla="*/ 0 w 247"/>
                <a:gd name="T3" fmla="*/ 0 h 267"/>
                <a:gd name="T4" fmla="*/ 105 w 247"/>
                <a:gd name="T5" fmla="*/ 237 h 267"/>
                <a:gd name="T6" fmla="*/ 122 w 247"/>
                <a:gd name="T7" fmla="*/ 237 h 267"/>
                <a:gd name="T8" fmla="*/ 122 w 247"/>
                <a:gd name="T9" fmla="*/ 267 h 267"/>
                <a:gd name="T10" fmla="*/ 131 w 247"/>
                <a:gd name="T11" fmla="*/ 267 h 267"/>
                <a:gd name="T12" fmla="*/ 247 w 247"/>
                <a:gd name="T13" fmla="*/ 154 h 267"/>
                <a:gd name="T14" fmla="*/ 194 w 247"/>
                <a:gd name="T15" fmla="*/ 78 h 267"/>
                <a:gd name="T16" fmla="*/ 179 w 247"/>
                <a:gd name="T17" fmla="*/ 6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267">
                  <a:moveTo>
                    <a:pt x="179" y="64"/>
                  </a:moveTo>
                  <a:cubicBezTo>
                    <a:pt x="141" y="30"/>
                    <a:pt x="83" y="0"/>
                    <a:pt x="0" y="0"/>
                  </a:cubicBezTo>
                  <a:cubicBezTo>
                    <a:pt x="105" y="237"/>
                    <a:pt x="105" y="237"/>
                    <a:pt x="105" y="237"/>
                  </a:cubicBezTo>
                  <a:cubicBezTo>
                    <a:pt x="122" y="237"/>
                    <a:pt x="122" y="237"/>
                    <a:pt x="122" y="237"/>
                  </a:cubicBezTo>
                  <a:cubicBezTo>
                    <a:pt x="122" y="267"/>
                    <a:pt x="122" y="267"/>
                    <a:pt x="122" y="267"/>
                  </a:cubicBezTo>
                  <a:cubicBezTo>
                    <a:pt x="131" y="267"/>
                    <a:pt x="131" y="267"/>
                    <a:pt x="131" y="267"/>
                  </a:cubicBezTo>
                  <a:cubicBezTo>
                    <a:pt x="247" y="154"/>
                    <a:pt x="247" y="154"/>
                    <a:pt x="247" y="154"/>
                  </a:cubicBezTo>
                  <a:cubicBezTo>
                    <a:pt x="247" y="154"/>
                    <a:pt x="232" y="116"/>
                    <a:pt x="194" y="78"/>
                  </a:cubicBezTo>
                  <a:lnTo>
                    <a:pt x="179"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2"/>
            <p:cNvSpPr>
              <a:spLocks/>
            </p:cNvSpPr>
            <p:nvPr/>
          </p:nvSpPr>
          <p:spPr bwMode="auto">
            <a:xfrm>
              <a:off x="2217" y="3660"/>
              <a:ext cx="586" cy="634"/>
            </a:xfrm>
            <a:custGeom>
              <a:avLst/>
              <a:gdLst>
                <a:gd name="T0" fmla="*/ 179 w 247"/>
                <a:gd name="T1" fmla="*/ 64 h 267"/>
                <a:gd name="T2" fmla="*/ 0 w 247"/>
                <a:gd name="T3" fmla="*/ 0 h 267"/>
                <a:gd name="T4" fmla="*/ 105 w 247"/>
                <a:gd name="T5" fmla="*/ 237 h 267"/>
                <a:gd name="T6" fmla="*/ 122 w 247"/>
                <a:gd name="T7" fmla="*/ 237 h 267"/>
                <a:gd name="T8" fmla="*/ 122 w 247"/>
                <a:gd name="T9" fmla="*/ 267 h 267"/>
                <a:gd name="T10" fmla="*/ 131 w 247"/>
                <a:gd name="T11" fmla="*/ 267 h 267"/>
                <a:gd name="T12" fmla="*/ 247 w 247"/>
                <a:gd name="T13" fmla="*/ 154 h 267"/>
                <a:gd name="T14" fmla="*/ 194 w 247"/>
                <a:gd name="T15" fmla="*/ 78 h 267"/>
                <a:gd name="T16" fmla="*/ 179 w 247"/>
                <a:gd name="T17" fmla="*/ 6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267">
                  <a:moveTo>
                    <a:pt x="179" y="64"/>
                  </a:moveTo>
                  <a:cubicBezTo>
                    <a:pt x="141" y="30"/>
                    <a:pt x="83" y="0"/>
                    <a:pt x="0" y="0"/>
                  </a:cubicBezTo>
                  <a:cubicBezTo>
                    <a:pt x="105" y="237"/>
                    <a:pt x="105" y="237"/>
                    <a:pt x="105" y="237"/>
                  </a:cubicBezTo>
                  <a:cubicBezTo>
                    <a:pt x="122" y="237"/>
                    <a:pt x="122" y="237"/>
                    <a:pt x="122" y="237"/>
                  </a:cubicBezTo>
                  <a:cubicBezTo>
                    <a:pt x="122" y="267"/>
                    <a:pt x="122" y="267"/>
                    <a:pt x="122" y="267"/>
                  </a:cubicBezTo>
                  <a:cubicBezTo>
                    <a:pt x="131" y="267"/>
                    <a:pt x="131" y="267"/>
                    <a:pt x="131" y="267"/>
                  </a:cubicBezTo>
                  <a:cubicBezTo>
                    <a:pt x="247" y="154"/>
                    <a:pt x="247" y="154"/>
                    <a:pt x="247" y="154"/>
                  </a:cubicBezTo>
                  <a:cubicBezTo>
                    <a:pt x="247" y="154"/>
                    <a:pt x="232" y="116"/>
                    <a:pt x="194" y="78"/>
                  </a:cubicBezTo>
                  <a:lnTo>
                    <a:pt x="179" y="64"/>
                  </a:lnTo>
                  <a:close/>
                </a:path>
              </a:pathLst>
            </a:custGeom>
            <a:noFill/>
            <a:ln w="30163" cap="rnd">
              <a:solidFill>
                <a:srgbClr val="0076B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Freeform 283"/>
            <p:cNvSpPr>
              <a:spLocks/>
            </p:cNvSpPr>
            <p:nvPr/>
          </p:nvSpPr>
          <p:spPr bwMode="auto">
            <a:xfrm>
              <a:off x="2528" y="4026"/>
              <a:ext cx="508" cy="268"/>
            </a:xfrm>
            <a:custGeom>
              <a:avLst/>
              <a:gdLst>
                <a:gd name="T0" fmla="*/ 38 w 508"/>
                <a:gd name="T1" fmla="*/ 268 h 268"/>
                <a:gd name="T2" fmla="*/ 292 w 508"/>
                <a:gd name="T3" fmla="*/ 21 h 268"/>
                <a:gd name="T4" fmla="*/ 275 w 508"/>
                <a:gd name="T5" fmla="*/ 0 h 268"/>
                <a:gd name="T6" fmla="*/ 0 w 508"/>
                <a:gd name="T7" fmla="*/ 268 h 268"/>
                <a:gd name="T8" fmla="*/ 508 w 508"/>
                <a:gd name="T9" fmla="*/ 268 h 268"/>
                <a:gd name="T10" fmla="*/ 508 w 508"/>
                <a:gd name="T11" fmla="*/ 268 h 268"/>
                <a:gd name="T12" fmla="*/ 38 w 508"/>
                <a:gd name="T13" fmla="*/ 268 h 268"/>
              </a:gdLst>
              <a:ahLst/>
              <a:cxnLst>
                <a:cxn ang="0">
                  <a:pos x="T0" y="T1"/>
                </a:cxn>
                <a:cxn ang="0">
                  <a:pos x="T2" y="T3"/>
                </a:cxn>
                <a:cxn ang="0">
                  <a:pos x="T4" y="T5"/>
                </a:cxn>
                <a:cxn ang="0">
                  <a:pos x="T6" y="T7"/>
                </a:cxn>
                <a:cxn ang="0">
                  <a:pos x="T8" y="T9"/>
                </a:cxn>
                <a:cxn ang="0">
                  <a:pos x="T10" y="T11"/>
                </a:cxn>
                <a:cxn ang="0">
                  <a:pos x="T12" y="T13"/>
                </a:cxn>
              </a:cxnLst>
              <a:rect l="0" t="0" r="r" b="b"/>
              <a:pathLst>
                <a:path w="508" h="268">
                  <a:moveTo>
                    <a:pt x="38" y="268"/>
                  </a:moveTo>
                  <a:lnTo>
                    <a:pt x="292" y="21"/>
                  </a:lnTo>
                  <a:lnTo>
                    <a:pt x="275" y="0"/>
                  </a:lnTo>
                  <a:lnTo>
                    <a:pt x="0" y="268"/>
                  </a:lnTo>
                  <a:lnTo>
                    <a:pt x="508" y="268"/>
                  </a:lnTo>
                  <a:lnTo>
                    <a:pt x="508" y="268"/>
                  </a:lnTo>
                  <a:lnTo>
                    <a:pt x="38" y="268"/>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84"/>
            <p:cNvSpPr>
              <a:spLocks/>
            </p:cNvSpPr>
            <p:nvPr/>
          </p:nvSpPr>
          <p:spPr bwMode="auto">
            <a:xfrm>
              <a:off x="2820" y="4026"/>
              <a:ext cx="251" cy="268"/>
            </a:xfrm>
            <a:custGeom>
              <a:avLst/>
              <a:gdLst>
                <a:gd name="T0" fmla="*/ 251 w 251"/>
                <a:gd name="T1" fmla="*/ 268 h 268"/>
                <a:gd name="T2" fmla="*/ 19 w 251"/>
                <a:gd name="T3" fmla="*/ 0 h 268"/>
                <a:gd name="T4" fmla="*/ 0 w 251"/>
                <a:gd name="T5" fmla="*/ 21 h 268"/>
                <a:gd name="T6" fmla="*/ 216 w 251"/>
                <a:gd name="T7" fmla="*/ 268 h 268"/>
                <a:gd name="T8" fmla="*/ 251 w 251"/>
                <a:gd name="T9" fmla="*/ 268 h 268"/>
              </a:gdLst>
              <a:ahLst/>
              <a:cxnLst>
                <a:cxn ang="0">
                  <a:pos x="T0" y="T1"/>
                </a:cxn>
                <a:cxn ang="0">
                  <a:pos x="T2" y="T3"/>
                </a:cxn>
                <a:cxn ang="0">
                  <a:pos x="T4" y="T5"/>
                </a:cxn>
                <a:cxn ang="0">
                  <a:pos x="T6" y="T7"/>
                </a:cxn>
                <a:cxn ang="0">
                  <a:pos x="T8" y="T9"/>
                </a:cxn>
              </a:cxnLst>
              <a:rect l="0" t="0" r="r" b="b"/>
              <a:pathLst>
                <a:path w="251" h="268">
                  <a:moveTo>
                    <a:pt x="251" y="268"/>
                  </a:moveTo>
                  <a:lnTo>
                    <a:pt x="19" y="0"/>
                  </a:lnTo>
                  <a:lnTo>
                    <a:pt x="0" y="21"/>
                  </a:lnTo>
                  <a:lnTo>
                    <a:pt x="216" y="268"/>
                  </a:lnTo>
                  <a:lnTo>
                    <a:pt x="251" y="268"/>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85"/>
            <p:cNvSpPr>
              <a:spLocks/>
            </p:cNvSpPr>
            <p:nvPr/>
          </p:nvSpPr>
          <p:spPr bwMode="auto">
            <a:xfrm>
              <a:off x="2566" y="4047"/>
              <a:ext cx="470" cy="247"/>
            </a:xfrm>
            <a:custGeom>
              <a:avLst/>
              <a:gdLst>
                <a:gd name="T0" fmla="*/ 470 w 470"/>
                <a:gd name="T1" fmla="*/ 247 h 247"/>
                <a:gd name="T2" fmla="*/ 254 w 470"/>
                <a:gd name="T3" fmla="*/ 0 h 247"/>
                <a:gd name="T4" fmla="*/ 0 w 470"/>
                <a:gd name="T5" fmla="*/ 247 h 247"/>
                <a:gd name="T6" fmla="*/ 470 w 470"/>
                <a:gd name="T7" fmla="*/ 247 h 247"/>
              </a:gdLst>
              <a:ahLst/>
              <a:cxnLst>
                <a:cxn ang="0">
                  <a:pos x="T0" y="T1"/>
                </a:cxn>
                <a:cxn ang="0">
                  <a:pos x="T2" y="T3"/>
                </a:cxn>
                <a:cxn ang="0">
                  <a:pos x="T4" y="T5"/>
                </a:cxn>
                <a:cxn ang="0">
                  <a:pos x="T6" y="T7"/>
                </a:cxn>
              </a:cxnLst>
              <a:rect l="0" t="0" r="r" b="b"/>
              <a:pathLst>
                <a:path w="470" h="247">
                  <a:moveTo>
                    <a:pt x="470" y="247"/>
                  </a:moveTo>
                  <a:lnTo>
                    <a:pt x="254" y="0"/>
                  </a:lnTo>
                  <a:lnTo>
                    <a:pt x="0" y="247"/>
                  </a:lnTo>
                  <a:lnTo>
                    <a:pt x="470" y="247"/>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86"/>
            <p:cNvSpPr>
              <a:spLocks/>
            </p:cNvSpPr>
            <p:nvPr/>
          </p:nvSpPr>
          <p:spPr bwMode="auto">
            <a:xfrm>
              <a:off x="2803" y="3848"/>
              <a:ext cx="394" cy="446"/>
            </a:xfrm>
            <a:custGeom>
              <a:avLst/>
              <a:gdLst>
                <a:gd name="T0" fmla="*/ 98 w 166"/>
                <a:gd name="T1" fmla="*/ 188 h 188"/>
                <a:gd name="T2" fmla="*/ 166 w 166"/>
                <a:gd name="T3" fmla="*/ 17 h 188"/>
                <a:gd name="T4" fmla="*/ 0 w 166"/>
                <a:gd name="T5" fmla="*/ 75 h 188"/>
                <a:gd name="T6" fmla="*/ 98 w 166"/>
                <a:gd name="T7" fmla="*/ 188 h 188"/>
              </a:gdLst>
              <a:ahLst/>
              <a:cxnLst>
                <a:cxn ang="0">
                  <a:pos x="T0" y="T1"/>
                </a:cxn>
                <a:cxn ang="0">
                  <a:pos x="T2" y="T3"/>
                </a:cxn>
                <a:cxn ang="0">
                  <a:pos x="T4" y="T5"/>
                </a:cxn>
                <a:cxn ang="0">
                  <a:pos x="T6" y="T7"/>
                </a:cxn>
              </a:cxnLst>
              <a:rect l="0" t="0" r="r" b="b"/>
              <a:pathLst>
                <a:path w="166" h="188">
                  <a:moveTo>
                    <a:pt x="98" y="188"/>
                  </a:moveTo>
                  <a:cubicBezTo>
                    <a:pt x="166" y="17"/>
                    <a:pt x="166" y="17"/>
                    <a:pt x="166" y="17"/>
                  </a:cubicBezTo>
                  <a:cubicBezTo>
                    <a:pt x="63" y="0"/>
                    <a:pt x="0" y="75"/>
                    <a:pt x="0" y="75"/>
                  </a:cubicBezTo>
                  <a:lnTo>
                    <a:pt x="98" y="188"/>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87"/>
            <p:cNvSpPr>
              <a:spLocks/>
            </p:cNvSpPr>
            <p:nvPr/>
          </p:nvSpPr>
          <p:spPr bwMode="auto">
            <a:xfrm>
              <a:off x="2528" y="4026"/>
              <a:ext cx="508" cy="268"/>
            </a:xfrm>
            <a:custGeom>
              <a:avLst/>
              <a:gdLst>
                <a:gd name="T0" fmla="*/ 508 w 508"/>
                <a:gd name="T1" fmla="*/ 268 h 268"/>
                <a:gd name="T2" fmla="*/ 0 w 508"/>
                <a:gd name="T3" fmla="*/ 268 h 268"/>
                <a:gd name="T4" fmla="*/ 275 w 508"/>
                <a:gd name="T5" fmla="*/ 0 h 268"/>
                <a:gd name="T6" fmla="*/ 410 w 508"/>
                <a:gd name="T7" fmla="*/ 156 h 268"/>
                <a:gd name="T8" fmla="*/ 508 w 508"/>
                <a:gd name="T9" fmla="*/ 268 h 268"/>
              </a:gdLst>
              <a:ahLst/>
              <a:cxnLst>
                <a:cxn ang="0">
                  <a:pos x="T0" y="T1"/>
                </a:cxn>
                <a:cxn ang="0">
                  <a:pos x="T2" y="T3"/>
                </a:cxn>
                <a:cxn ang="0">
                  <a:pos x="T4" y="T5"/>
                </a:cxn>
                <a:cxn ang="0">
                  <a:pos x="T6" y="T7"/>
                </a:cxn>
                <a:cxn ang="0">
                  <a:pos x="T8" y="T9"/>
                </a:cxn>
              </a:cxnLst>
              <a:rect l="0" t="0" r="r" b="b"/>
              <a:pathLst>
                <a:path w="508" h="268">
                  <a:moveTo>
                    <a:pt x="508" y="268"/>
                  </a:moveTo>
                  <a:lnTo>
                    <a:pt x="0" y="268"/>
                  </a:lnTo>
                  <a:lnTo>
                    <a:pt x="275" y="0"/>
                  </a:lnTo>
                  <a:lnTo>
                    <a:pt x="410" y="156"/>
                  </a:lnTo>
                  <a:lnTo>
                    <a:pt x="508" y="2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88"/>
            <p:cNvSpPr>
              <a:spLocks/>
            </p:cNvSpPr>
            <p:nvPr/>
          </p:nvSpPr>
          <p:spPr bwMode="auto">
            <a:xfrm>
              <a:off x="2528" y="4026"/>
              <a:ext cx="508" cy="268"/>
            </a:xfrm>
            <a:custGeom>
              <a:avLst/>
              <a:gdLst>
                <a:gd name="T0" fmla="*/ 508 w 508"/>
                <a:gd name="T1" fmla="*/ 268 h 268"/>
                <a:gd name="T2" fmla="*/ 0 w 508"/>
                <a:gd name="T3" fmla="*/ 268 h 268"/>
                <a:gd name="T4" fmla="*/ 275 w 508"/>
                <a:gd name="T5" fmla="*/ 0 h 268"/>
                <a:gd name="T6" fmla="*/ 410 w 508"/>
                <a:gd name="T7" fmla="*/ 156 h 268"/>
              </a:gdLst>
              <a:ahLst/>
              <a:cxnLst>
                <a:cxn ang="0">
                  <a:pos x="T0" y="T1"/>
                </a:cxn>
                <a:cxn ang="0">
                  <a:pos x="T2" y="T3"/>
                </a:cxn>
                <a:cxn ang="0">
                  <a:pos x="T4" y="T5"/>
                </a:cxn>
                <a:cxn ang="0">
                  <a:pos x="T6" y="T7"/>
                </a:cxn>
              </a:cxnLst>
              <a:rect l="0" t="0" r="r" b="b"/>
              <a:pathLst>
                <a:path w="508" h="268">
                  <a:moveTo>
                    <a:pt x="508" y="268"/>
                  </a:moveTo>
                  <a:lnTo>
                    <a:pt x="0" y="268"/>
                  </a:lnTo>
                  <a:lnTo>
                    <a:pt x="275" y="0"/>
                  </a:lnTo>
                  <a:lnTo>
                    <a:pt x="410" y="1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89"/>
            <p:cNvSpPr>
              <a:spLocks/>
            </p:cNvSpPr>
            <p:nvPr/>
          </p:nvSpPr>
          <p:spPr bwMode="auto">
            <a:xfrm>
              <a:off x="2528" y="4026"/>
              <a:ext cx="508" cy="268"/>
            </a:xfrm>
            <a:custGeom>
              <a:avLst/>
              <a:gdLst>
                <a:gd name="T0" fmla="*/ 508 w 508"/>
                <a:gd name="T1" fmla="*/ 268 h 268"/>
                <a:gd name="T2" fmla="*/ 0 w 508"/>
                <a:gd name="T3" fmla="*/ 268 h 268"/>
                <a:gd name="T4" fmla="*/ 275 w 508"/>
                <a:gd name="T5" fmla="*/ 0 h 268"/>
                <a:gd name="T6" fmla="*/ 410 w 508"/>
                <a:gd name="T7" fmla="*/ 156 h 268"/>
              </a:gdLst>
              <a:ahLst/>
              <a:cxnLst>
                <a:cxn ang="0">
                  <a:pos x="T0" y="T1"/>
                </a:cxn>
                <a:cxn ang="0">
                  <a:pos x="T2" y="T3"/>
                </a:cxn>
                <a:cxn ang="0">
                  <a:pos x="T4" y="T5"/>
                </a:cxn>
                <a:cxn ang="0">
                  <a:pos x="T6" y="T7"/>
                </a:cxn>
              </a:cxnLst>
              <a:rect l="0" t="0" r="r" b="b"/>
              <a:pathLst>
                <a:path w="508" h="268">
                  <a:moveTo>
                    <a:pt x="508" y="268"/>
                  </a:moveTo>
                  <a:lnTo>
                    <a:pt x="0" y="268"/>
                  </a:lnTo>
                  <a:lnTo>
                    <a:pt x="275" y="0"/>
                  </a:lnTo>
                  <a:lnTo>
                    <a:pt x="410" y="156"/>
                  </a:lnTo>
                </a:path>
              </a:pathLst>
            </a:custGeom>
            <a:noFill/>
            <a:ln w="30163" cap="rnd">
              <a:solidFill>
                <a:srgbClr val="0076B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290"/>
            <p:cNvSpPr>
              <a:spLocks noChangeShapeType="1"/>
            </p:cNvSpPr>
            <p:nvPr/>
          </p:nvSpPr>
          <p:spPr bwMode="auto">
            <a:xfrm>
              <a:off x="2955" y="420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Line 291"/>
            <p:cNvSpPr>
              <a:spLocks noChangeShapeType="1"/>
            </p:cNvSpPr>
            <p:nvPr/>
          </p:nvSpPr>
          <p:spPr bwMode="auto">
            <a:xfrm>
              <a:off x="2955" y="420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Line 292"/>
            <p:cNvSpPr>
              <a:spLocks noChangeShapeType="1"/>
            </p:cNvSpPr>
            <p:nvPr/>
          </p:nvSpPr>
          <p:spPr bwMode="auto">
            <a:xfrm>
              <a:off x="2955" y="4204"/>
              <a:ext cx="0" cy="0"/>
            </a:xfrm>
            <a:prstGeom prst="line">
              <a:avLst/>
            </a:prstGeom>
            <a:noFill/>
            <a:ln w="30163" cap="rnd">
              <a:solidFill>
                <a:srgbClr val="0076B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293"/>
            <p:cNvSpPr>
              <a:spLocks noChangeShapeType="1"/>
            </p:cNvSpPr>
            <p:nvPr/>
          </p:nvSpPr>
          <p:spPr bwMode="auto">
            <a:xfrm>
              <a:off x="2938" y="418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Line 294"/>
            <p:cNvSpPr>
              <a:spLocks noChangeShapeType="1"/>
            </p:cNvSpPr>
            <p:nvPr/>
          </p:nvSpPr>
          <p:spPr bwMode="auto">
            <a:xfrm>
              <a:off x="2938" y="418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Line 295"/>
            <p:cNvSpPr>
              <a:spLocks noChangeShapeType="1"/>
            </p:cNvSpPr>
            <p:nvPr/>
          </p:nvSpPr>
          <p:spPr bwMode="auto">
            <a:xfrm>
              <a:off x="2938" y="4182"/>
              <a:ext cx="0" cy="0"/>
            </a:xfrm>
            <a:prstGeom prst="line">
              <a:avLst/>
            </a:prstGeom>
            <a:noFill/>
            <a:ln w="30163" cap="rnd">
              <a:solidFill>
                <a:srgbClr val="0076B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Freeform 296"/>
            <p:cNvSpPr>
              <a:spLocks/>
            </p:cNvSpPr>
            <p:nvPr/>
          </p:nvSpPr>
          <p:spPr bwMode="auto">
            <a:xfrm>
              <a:off x="2803" y="3848"/>
              <a:ext cx="394" cy="446"/>
            </a:xfrm>
            <a:custGeom>
              <a:avLst/>
              <a:gdLst>
                <a:gd name="T0" fmla="*/ 64 w 166"/>
                <a:gd name="T1" fmla="*/ 150 h 188"/>
                <a:gd name="T2" fmla="*/ 98 w 166"/>
                <a:gd name="T3" fmla="*/ 188 h 188"/>
                <a:gd name="T4" fmla="*/ 166 w 166"/>
                <a:gd name="T5" fmla="*/ 17 h 188"/>
                <a:gd name="T6" fmla="*/ 0 w 166"/>
                <a:gd name="T7" fmla="*/ 75 h 188"/>
                <a:gd name="T8" fmla="*/ 54 w 166"/>
                <a:gd name="T9" fmla="*/ 138 h 188"/>
                <a:gd name="T10" fmla="*/ 64 w 166"/>
                <a:gd name="T11" fmla="*/ 150 h 188"/>
              </a:gdLst>
              <a:ahLst/>
              <a:cxnLst>
                <a:cxn ang="0">
                  <a:pos x="T0" y="T1"/>
                </a:cxn>
                <a:cxn ang="0">
                  <a:pos x="T2" y="T3"/>
                </a:cxn>
                <a:cxn ang="0">
                  <a:pos x="T4" y="T5"/>
                </a:cxn>
                <a:cxn ang="0">
                  <a:pos x="T6" y="T7"/>
                </a:cxn>
                <a:cxn ang="0">
                  <a:pos x="T8" y="T9"/>
                </a:cxn>
                <a:cxn ang="0">
                  <a:pos x="T10" y="T11"/>
                </a:cxn>
              </a:cxnLst>
              <a:rect l="0" t="0" r="r" b="b"/>
              <a:pathLst>
                <a:path w="166" h="188">
                  <a:moveTo>
                    <a:pt x="64" y="150"/>
                  </a:moveTo>
                  <a:cubicBezTo>
                    <a:pt x="98" y="188"/>
                    <a:pt x="98" y="188"/>
                    <a:pt x="98" y="188"/>
                  </a:cubicBezTo>
                  <a:cubicBezTo>
                    <a:pt x="166" y="17"/>
                    <a:pt x="166" y="17"/>
                    <a:pt x="166" y="17"/>
                  </a:cubicBezTo>
                  <a:cubicBezTo>
                    <a:pt x="63" y="0"/>
                    <a:pt x="0" y="75"/>
                    <a:pt x="0" y="75"/>
                  </a:cubicBezTo>
                  <a:cubicBezTo>
                    <a:pt x="54" y="138"/>
                    <a:pt x="54" y="138"/>
                    <a:pt x="54" y="138"/>
                  </a:cubicBezTo>
                  <a:lnTo>
                    <a:pt x="64"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297"/>
            <p:cNvSpPr>
              <a:spLocks/>
            </p:cNvSpPr>
            <p:nvPr/>
          </p:nvSpPr>
          <p:spPr bwMode="auto">
            <a:xfrm>
              <a:off x="2803" y="3848"/>
              <a:ext cx="394" cy="446"/>
            </a:xfrm>
            <a:custGeom>
              <a:avLst/>
              <a:gdLst>
                <a:gd name="T0" fmla="*/ 64 w 166"/>
                <a:gd name="T1" fmla="*/ 150 h 188"/>
                <a:gd name="T2" fmla="*/ 98 w 166"/>
                <a:gd name="T3" fmla="*/ 188 h 188"/>
                <a:gd name="T4" fmla="*/ 166 w 166"/>
                <a:gd name="T5" fmla="*/ 17 h 188"/>
                <a:gd name="T6" fmla="*/ 0 w 166"/>
                <a:gd name="T7" fmla="*/ 75 h 188"/>
                <a:gd name="T8" fmla="*/ 54 w 166"/>
                <a:gd name="T9" fmla="*/ 138 h 188"/>
                <a:gd name="T10" fmla="*/ 64 w 166"/>
                <a:gd name="T11" fmla="*/ 150 h 188"/>
              </a:gdLst>
              <a:ahLst/>
              <a:cxnLst>
                <a:cxn ang="0">
                  <a:pos x="T0" y="T1"/>
                </a:cxn>
                <a:cxn ang="0">
                  <a:pos x="T2" y="T3"/>
                </a:cxn>
                <a:cxn ang="0">
                  <a:pos x="T4" y="T5"/>
                </a:cxn>
                <a:cxn ang="0">
                  <a:pos x="T6" y="T7"/>
                </a:cxn>
                <a:cxn ang="0">
                  <a:pos x="T8" y="T9"/>
                </a:cxn>
                <a:cxn ang="0">
                  <a:pos x="T10" y="T11"/>
                </a:cxn>
              </a:cxnLst>
              <a:rect l="0" t="0" r="r" b="b"/>
              <a:pathLst>
                <a:path w="166" h="188">
                  <a:moveTo>
                    <a:pt x="64" y="150"/>
                  </a:moveTo>
                  <a:cubicBezTo>
                    <a:pt x="98" y="188"/>
                    <a:pt x="98" y="188"/>
                    <a:pt x="98" y="188"/>
                  </a:cubicBezTo>
                  <a:cubicBezTo>
                    <a:pt x="166" y="17"/>
                    <a:pt x="166" y="17"/>
                    <a:pt x="166" y="17"/>
                  </a:cubicBezTo>
                  <a:cubicBezTo>
                    <a:pt x="63" y="0"/>
                    <a:pt x="0" y="75"/>
                    <a:pt x="0" y="75"/>
                  </a:cubicBezTo>
                  <a:cubicBezTo>
                    <a:pt x="54" y="138"/>
                    <a:pt x="54" y="138"/>
                    <a:pt x="54" y="138"/>
                  </a:cubicBezTo>
                  <a:lnTo>
                    <a:pt x="64" y="150"/>
                  </a:lnTo>
                  <a:close/>
                </a:path>
              </a:pathLst>
            </a:custGeom>
            <a:noFill/>
            <a:ln w="30163" cap="rnd">
              <a:solidFill>
                <a:srgbClr val="0076B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Freeform 298"/>
            <p:cNvSpPr>
              <a:spLocks/>
            </p:cNvSpPr>
            <p:nvPr/>
          </p:nvSpPr>
          <p:spPr bwMode="auto">
            <a:xfrm>
              <a:off x="3021" y="4035"/>
              <a:ext cx="105" cy="259"/>
            </a:xfrm>
            <a:custGeom>
              <a:avLst/>
              <a:gdLst>
                <a:gd name="T0" fmla="*/ 0 w 105"/>
                <a:gd name="T1" fmla="*/ 0 h 259"/>
                <a:gd name="T2" fmla="*/ 15 w 105"/>
                <a:gd name="T3" fmla="*/ 259 h 259"/>
                <a:gd name="T4" fmla="*/ 105 w 105"/>
                <a:gd name="T5" fmla="*/ 259 h 259"/>
                <a:gd name="T6" fmla="*/ 0 w 105"/>
                <a:gd name="T7" fmla="*/ 0 h 259"/>
              </a:gdLst>
              <a:ahLst/>
              <a:cxnLst>
                <a:cxn ang="0">
                  <a:pos x="T0" y="T1"/>
                </a:cxn>
                <a:cxn ang="0">
                  <a:pos x="T2" y="T3"/>
                </a:cxn>
                <a:cxn ang="0">
                  <a:pos x="T4" y="T5"/>
                </a:cxn>
                <a:cxn ang="0">
                  <a:pos x="T6" y="T7"/>
                </a:cxn>
              </a:cxnLst>
              <a:rect l="0" t="0" r="r" b="b"/>
              <a:pathLst>
                <a:path w="105" h="259">
                  <a:moveTo>
                    <a:pt x="0" y="0"/>
                  </a:moveTo>
                  <a:lnTo>
                    <a:pt x="15" y="259"/>
                  </a:lnTo>
                  <a:lnTo>
                    <a:pt x="105" y="259"/>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99"/>
            <p:cNvSpPr>
              <a:spLocks/>
            </p:cNvSpPr>
            <p:nvPr/>
          </p:nvSpPr>
          <p:spPr bwMode="auto">
            <a:xfrm>
              <a:off x="3043" y="4035"/>
              <a:ext cx="104" cy="259"/>
            </a:xfrm>
            <a:custGeom>
              <a:avLst/>
              <a:gdLst>
                <a:gd name="T0" fmla="*/ 0 w 104"/>
                <a:gd name="T1" fmla="*/ 0 h 259"/>
                <a:gd name="T2" fmla="*/ 12 w 104"/>
                <a:gd name="T3" fmla="*/ 259 h 259"/>
                <a:gd name="T4" fmla="*/ 104 w 104"/>
                <a:gd name="T5" fmla="*/ 259 h 259"/>
                <a:gd name="T6" fmla="*/ 0 w 104"/>
                <a:gd name="T7" fmla="*/ 0 h 259"/>
              </a:gdLst>
              <a:ahLst/>
              <a:cxnLst>
                <a:cxn ang="0">
                  <a:pos x="T0" y="T1"/>
                </a:cxn>
                <a:cxn ang="0">
                  <a:pos x="T2" y="T3"/>
                </a:cxn>
                <a:cxn ang="0">
                  <a:pos x="T4" y="T5"/>
                </a:cxn>
                <a:cxn ang="0">
                  <a:pos x="T6" y="T7"/>
                </a:cxn>
              </a:cxnLst>
              <a:rect l="0" t="0" r="r" b="b"/>
              <a:pathLst>
                <a:path w="104" h="259">
                  <a:moveTo>
                    <a:pt x="0" y="0"/>
                  </a:moveTo>
                  <a:lnTo>
                    <a:pt x="12" y="259"/>
                  </a:lnTo>
                  <a:lnTo>
                    <a:pt x="104" y="259"/>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300"/>
            <p:cNvSpPr>
              <a:spLocks/>
            </p:cNvSpPr>
            <p:nvPr/>
          </p:nvSpPr>
          <p:spPr bwMode="auto">
            <a:xfrm>
              <a:off x="3021" y="4035"/>
              <a:ext cx="136" cy="259"/>
            </a:xfrm>
            <a:custGeom>
              <a:avLst/>
              <a:gdLst>
                <a:gd name="T0" fmla="*/ 11 w 57"/>
                <a:gd name="T1" fmla="*/ 0 h 109"/>
                <a:gd name="T2" fmla="*/ 0 w 57"/>
                <a:gd name="T3" fmla="*/ 0 h 109"/>
                <a:gd name="T4" fmla="*/ 44 w 57"/>
                <a:gd name="T5" fmla="*/ 109 h 109"/>
                <a:gd name="T6" fmla="*/ 57 w 57"/>
                <a:gd name="T7" fmla="*/ 109 h 109"/>
                <a:gd name="T8" fmla="*/ 57 w 57"/>
                <a:gd name="T9" fmla="*/ 109 h 109"/>
                <a:gd name="T10" fmla="*/ 55 w 57"/>
                <a:gd name="T11" fmla="*/ 109 h 109"/>
                <a:gd name="T12" fmla="*/ 11 w 57"/>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57" h="109">
                  <a:moveTo>
                    <a:pt x="11" y="0"/>
                  </a:moveTo>
                  <a:cubicBezTo>
                    <a:pt x="5" y="0"/>
                    <a:pt x="0" y="0"/>
                    <a:pt x="0" y="0"/>
                  </a:cubicBezTo>
                  <a:cubicBezTo>
                    <a:pt x="44" y="109"/>
                    <a:pt x="44" y="109"/>
                    <a:pt x="44" y="109"/>
                  </a:cubicBezTo>
                  <a:cubicBezTo>
                    <a:pt x="57" y="109"/>
                    <a:pt x="57" y="109"/>
                    <a:pt x="57" y="109"/>
                  </a:cubicBezTo>
                  <a:cubicBezTo>
                    <a:pt x="57" y="109"/>
                    <a:pt x="57" y="109"/>
                    <a:pt x="57" y="109"/>
                  </a:cubicBezTo>
                  <a:cubicBezTo>
                    <a:pt x="55" y="109"/>
                    <a:pt x="55" y="109"/>
                    <a:pt x="55" y="109"/>
                  </a:cubicBezTo>
                  <a:lnTo>
                    <a:pt x="11"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301"/>
            <p:cNvSpPr>
              <a:spLocks/>
            </p:cNvSpPr>
            <p:nvPr/>
          </p:nvSpPr>
          <p:spPr bwMode="auto">
            <a:xfrm>
              <a:off x="3048" y="4035"/>
              <a:ext cx="201" cy="259"/>
            </a:xfrm>
            <a:custGeom>
              <a:avLst/>
              <a:gdLst>
                <a:gd name="T0" fmla="*/ 0 w 85"/>
                <a:gd name="T1" fmla="*/ 0 h 109"/>
                <a:gd name="T2" fmla="*/ 44 w 85"/>
                <a:gd name="T3" fmla="*/ 109 h 109"/>
                <a:gd name="T4" fmla="*/ 46 w 85"/>
                <a:gd name="T5" fmla="*/ 109 h 109"/>
                <a:gd name="T6" fmla="*/ 85 w 85"/>
                <a:gd name="T7" fmla="*/ 58 h 109"/>
                <a:gd name="T8" fmla="*/ 0 w 85"/>
                <a:gd name="T9" fmla="*/ 0 h 109"/>
              </a:gdLst>
              <a:ahLst/>
              <a:cxnLst>
                <a:cxn ang="0">
                  <a:pos x="T0" y="T1"/>
                </a:cxn>
                <a:cxn ang="0">
                  <a:pos x="T2" y="T3"/>
                </a:cxn>
                <a:cxn ang="0">
                  <a:pos x="T4" y="T5"/>
                </a:cxn>
                <a:cxn ang="0">
                  <a:pos x="T6" y="T7"/>
                </a:cxn>
                <a:cxn ang="0">
                  <a:pos x="T8" y="T9"/>
                </a:cxn>
              </a:cxnLst>
              <a:rect l="0" t="0" r="r" b="b"/>
              <a:pathLst>
                <a:path w="85" h="109">
                  <a:moveTo>
                    <a:pt x="0" y="0"/>
                  </a:moveTo>
                  <a:cubicBezTo>
                    <a:pt x="44" y="109"/>
                    <a:pt x="44" y="109"/>
                    <a:pt x="44" y="109"/>
                  </a:cubicBezTo>
                  <a:cubicBezTo>
                    <a:pt x="46" y="109"/>
                    <a:pt x="46" y="109"/>
                    <a:pt x="46" y="109"/>
                  </a:cubicBezTo>
                  <a:cubicBezTo>
                    <a:pt x="85" y="58"/>
                    <a:pt x="85" y="58"/>
                    <a:pt x="85" y="58"/>
                  </a:cubicBezTo>
                  <a:cubicBezTo>
                    <a:pt x="67" y="12"/>
                    <a:pt x="21" y="2"/>
                    <a:pt x="0" y="0"/>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302"/>
            <p:cNvSpPr>
              <a:spLocks/>
            </p:cNvSpPr>
            <p:nvPr/>
          </p:nvSpPr>
          <p:spPr bwMode="auto">
            <a:xfrm>
              <a:off x="3021" y="4035"/>
              <a:ext cx="105" cy="259"/>
            </a:xfrm>
            <a:custGeom>
              <a:avLst/>
              <a:gdLst>
                <a:gd name="T0" fmla="*/ 0 w 105"/>
                <a:gd name="T1" fmla="*/ 0 h 259"/>
                <a:gd name="T2" fmla="*/ 15 w 105"/>
                <a:gd name="T3" fmla="*/ 259 h 259"/>
                <a:gd name="T4" fmla="*/ 105 w 105"/>
                <a:gd name="T5" fmla="*/ 259 h 259"/>
                <a:gd name="T6" fmla="*/ 0 w 105"/>
                <a:gd name="T7" fmla="*/ 0 h 259"/>
              </a:gdLst>
              <a:ahLst/>
              <a:cxnLst>
                <a:cxn ang="0">
                  <a:pos x="T0" y="T1"/>
                </a:cxn>
                <a:cxn ang="0">
                  <a:pos x="T2" y="T3"/>
                </a:cxn>
                <a:cxn ang="0">
                  <a:pos x="T4" y="T5"/>
                </a:cxn>
                <a:cxn ang="0">
                  <a:pos x="T6" y="T7"/>
                </a:cxn>
              </a:cxnLst>
              <a:rect l="0" t="0" r="r" b="b"/>
              <a:pathLst>
                <a:path w="105" h="259">
                  <a:moveTo>
                    <a:pt x="0" y="0"/>
                  </a:moveTo>
                  <a:lnTo>
                    <a:pt x="15" y="259"/>
                  </a:lnTo>
                  <a:lnTo>
                    <a:pt x="105" y="259"/>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303"/>
            <p:cNvSpPr>
              <a:spLocks/>
            </p:cNvSpPr>
            <p:nvPr/>
          </p:nvSpPr>
          <p:spPr bwMode="auto">
            <a:xfrm>
              <a:off x="3021" y="4030"/>
              <a:ext cx="228" cy="264"/>
            </a:xfrm>
            <a:custGeom>
              <a:avLst/>
              <a:gdLst>
                <a:gd name="T0" fmla="*/ 0 w 96"/>
                <a:gd name="T1" fmla="*/ 2 h 111"/>
                <a:gd name="T2" fmla="*/ 96 w 96"/>
                <a:gd name="T3" fmla="*/ 60 h 111"/>
                <a:gd name="T4" fmla="*/ 57 w 96"/>
                <a:gd name="T5" fmla="*/ 111 h 111"/>
                <a:gd name="T6" fmla="*/ 44 w 96"/>
                <a:gd name="T7" fmla="*/ 111 h 111"/>
                <a:gd name="T8" fmla="*/ 0 w 96"/>
                <a:gd name="T9" fmla="*/ 2 h 111"/>
              </a:gdLst>
              <a:ahLst/>
              <a:cxnLst>
                <a:cxn ang="0">
                  <a:pos x="T0" y="T1"/>
                </a:cxn>
                <a:cxn ang="0">
                  <a:pos x="T2" y="T3"/>
                </a:cxn>
                <a:cxn ang="0">
                  <a:pos x="T4" y="T5"/>
                </a:cxn>
                <a:cxn ang="0">
                  <a:pos x="T6" y="T7"/>
                </a:cxn>
                <a:cxn ang="0">
                  <a:pos x="T8" y="T9"/>
                </a:cxn>
              </a:cxnLst>
              <a:rect l="0" t="0" r="r" b="b"/>
              <a:pathLst>
                <a:path w="96" h="111">
                  <a:moveTo>
                    <a:pt x="0" y="2"/>
                  </a:moveTo>
                  <a:cubicBezTo>
                    <a:pt x="0" y="2"/>
                    <a:pt x="73" y="0"/>
                    <a:pt x="96" y="60"/>
                  </a:cubicBezTo>
                  <a:cubicBezTo>
                    <a:pt x="57" y="111"/>
                    <a:pt x="57" y="111"/>
                    <a:pt x="57" y="111"/>
                  </a:cubicBezTo>
                  <a:cubicBezTo>
                    <a:pt x="44" y="111"/>
                    <a:pt x="44" y="111"/>
                    <a:pt x="44" y="111"/>
                  </a:cubicBezTo>
                  <a:lnTo>
                    <a:pt x="0" y="2"/>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304"/>
            <p:cNvSpPr>
              <a:spLocks/>
            </p:cNvSpPr>
            <p:nvPr/>
          </p:nvSpPr>
          <p:spPr bwMode="auto">
            <a:xfrm>
              <a:off x="3157" y="4173"/>
              <a:ext cx="180" cy="121"/>
            </a:xfrm>
            <a:custGeom>
              <a:avLst/>
              <a:gdLst>
                <a:gd name="T0" fmla="*/ 92 w 180"/>
                <a:gd name="T1" fmla="*/ 0 h 121"/>
                <a:gd name="T2" fmla="*/ 180 w 180"/>
                <a:gd name="T3" fmla="*/ 121 h 121"/>
                <a:gd name="T4" fmla="*/ 0 w 180"/>
                <a:gd name="T5" fmla="*/ 121 h 121"/>
                <a:gd name="T6" fmla="*/ 92 w 180"/>
                <a:gd name="T7" fmla="*/ 0 h 121"/>
              </a:gdLst>
              <a:ahLst/>
              <a:cxnLst>
                <a:cxn ang="0">
                  <a:pos x="T0" y="T1"/>
                </a:cxn>
                <a:cxn ang="0">
                  <a:pos x="T2" y="T3"/>
                </a:cxn>
                <a:cxn ang="0">
                  <a:pos x="T4" y="T5"/>
                </a:cxn>
                <a:cxn ang="0">
                  <a:pos x="T6" y="T7"/>
                </a:cxn>
              </a:cxnLst>
              <a:rect l="0" t="0" r="r" b="b"/>
              <a:pathLst>
                <a:path w="180" h="121">
                  <a:moveTo>
                    <a:pt x="92" y="0"/>
                  </a:moveTo>
                  <a:lnTo>
                    <a:pt x="180" y="121"/>
                  </a:lnTo>
                  <a:lnTo>
                    <a:pt x="0" y="121"/>
                  </a:lnTo>
                  <a:lnTo>
                    <a:pt x="92"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305"/>
            <p:cNvSpPr>
              <a:spLocks/>
            </p:cNvSpPr>
            <p:nvPr/>
          </p:nvSpPr>
          <p:spPr bwMode="auto">
            <a:xfrm>
              <a:off x="3180" y="4173"/>
              <a:ext cx="183" cy="121"/>
            </a:xfrm>
            <a:custGeom>
              <a:avLst/>
              <a:gdLst>
                <a:gd name="T0" fmla="*/ 95 w 183"/>
                <a:gd name="T1" fmla="*/ 0 h 121"/>
                <a:gd name="T2" fmla="*/ 183 w 183"/>
                <a:gd name="T3" fmla="*/ 121 h 121"/>
                <a:gd name="T4" fmla="*/ 0 w 183"/>
                <a:gd name="T5" fmla="*/ 121 h 121"/>
                <a:gd name="T6" fmla="*/ 95 w 183"/>
                <a:gd name="T7" fmla="*/ 0 h 121"/>
              </a:gdLst>
              <a:ahLst/>
              <a:cxnLst>
                <a:cxn ang="0">
                  <a:pos x="T0" y="T1"/>
                </a:cxn>
                <a:cxn ang="0">
                  <a:pos x="T2" y="T3"/>
                </a:cxn>
                <a:cxn ang="0">
                  <a:pos x="T4" y="T5"/>
                </a:cxn>
                <a:cxn ang="0">
                  <a:pos x="T6" y="T7"/>
                </a:cxn>
              </a:cxnLst>
              <a:rect l="0" t="0" r="r" b="b"/>
              <a:pathLst>
                <a:path w="183" h="121">
                  <a:moveTo>
                    <a:pt x="95" y="0"/>
                  </a:moveTo>
                  <a:lnTo>
                    <a:pt x="183" y="121"/>
                  </a:lnTo>
                  <a:lnTo>
                    <a:pt x="0" y="121"/>
                  </a:lnTo>
                  <a:lnTo>
                    <a:pt x="95"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306"/>
            <p:cNvSpPr>
              <a:spLocks/>
            </p:cNvSpPr>
            <p:nvPr/>
          </p:nvSpPr>
          <p:spPr bwMode="auto">
            <a:xfrm>
              <a:off x="3249" y="4056"/>
              <a:ext cx="242" cy="238"/>
            </a:xfrm>
            <a:custGeom>
              <a:avLst/>
              <a:gdLst>
                <a:gd name="T0" fmla="*/ 12 w 102"/>
                <a:gd name="T1" fmla="*/ 49 h 100"/>
                <a:gd name="T2" fmla="*/ 102 w 102"/>
                <a:gd name="T3" fmla="*/ 2 h 100"/>
                <a:gd name="T4" fmla="*/ 0 w 102"/>
                <a:gd name="T5" fmla="*/ 49 h 100"/>
                <a:gd name="T6" fmla="*/ 37 w 102"/>
                <a:gd name="T7" fmla="*/ 100 h 100"/>
                <a:gd name="T8" fmla="*/ 52 w 102"/>
                <a:gd name="T9" fmla="*/ 100 h 100"/>
                <a:gd name="T10" fmla="*/ 52 w 102"/>
                <a:gd name="T11" fmla="*/ 100 h 100"/>
                <a:gd name="T12" fmla="*/ 48 w 102"/>
                <a:gd name="T13" fmla="*/ 100 h 100"/>
                <a:gd name="T14" fmla="*/ 12 w 102"/>
                <a:gd name="T15" fmla="*/ 49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00">
                  <a:moveTo>
                    <a:pt x="12" y="49"/>
                  </a:moveTo>
                  <a:cubicBezTo>
                    <a:pt x="40" y="14"/>
                    <a:pt x="73" y="3"/>
                    <a:pt x="102" y="2"/>
                  </a:cubicBezTo>
                  <a:cubicBezTo>
                    <a:pt x="71" y="0"/>
                    <a:pt x="32" y="9"/>
                    <a:pt x="0" y="49"/>
                  </a:cubicBezTo>
                  <a:cubicBezTo>
                    <a:pt x="37" y="100"/>
                    <a:pt x="37" y="100"/>
                    <a:pt x="37" y="100"/>
                  </a:cubicBezTo>
                  <a:cubicBezTo>
                    <a:pt x="52" y="100"/>
                    <a:pt x="52" y="100"/>
                    <a:pt x="52" y="100"/>
                  </a:cubicBezTo>
                  <a:cubicBezTo>
                    <a:pt x="52" y="100"/>
                    <a:pt x="52" y="100"/>
                    <a:pt x="52" y="100"/>
                  </a:cubicBezTo>
                  <a:cubicBezTo>
                    <a:pt x="48" y="100"/>
                    <a:pt x="48" y="100"/>
                    <a:pt x="48" y="100"/>
                  </a:cubicBezTo>
                  <a:lnTo>
                    <a:pt x="12" y="49"/>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307"/>
            <p:cNvSpPr>
              <a:spLocks/>
            </p:cNvSpPr>
            <p:nvPr/>
          </p:nvSpPr>
          <p:spPr bwMode="auto">
            <a:xfrm>
              <a:off x="3278" y="4061"/>
              <a:ext cx="334" cy="233"/>
            </a:xfrm>
            <a:custGeom>
              <a:avLst/>
              <a:gdLst>
                <a:gd name="T0" fmla="*/ 90 w 141"/>
                <a:gd name="T1" fmla="*/ 0 h 98"/>
                <a:gd name="T2" fmla="*/ 0 w 141"/>
                <a:gd name="T3" fmla="*/ 47 h 98"/>
                <a:gd name="T4" fmla="*/ 36 w 141"/>
                <a:gd name="T5" fmla="*/ 98 h 98"/>
                <a:gd name="T6" fmla="*/ 40 w 141"/>
                <a:gd name="T7" fmla="*/ 98 h 98"/>
                <a:gd name="T8" fmla="*/ 141 w 141"/>
                <a:gd name="T9" fmla="*/ 11 h 98"/>
                <a:gd name="T10" fmla="*/ 90 w 141"/>
                <a:gd name="T11" fmla="*/ 0 h 98"/>
              </a:gdLst>
              <a:ahLst/>
              <a:cxnLst>
                <a:cxn ang="0">
                  <a:pos x="T0" y="T1"/>
                </a:cxn>
                <a:cxn ang="0">
                  <a:pos x="T2" y="T3"/>
                </a:cxn>
                <a:cxn ang="0">
                  <a:pos x="T4" y="T5"/>
                </a:cxn>
                <a:cxn ang="0">
                  <a:pos x="T6" y="T7"/>
                </a:cxn>
                <a:cxn ang="0">
                  <a:pos x="T8" y="T9"/>
                </a:cxn>
                <a:cxn ang="0">
                  <a:pos x="T10" y="T11"/>
                </a:cxn>
              </a:cxnLst>
              <a:rect l="0" t="0" r="r" b="b"/>
              <a:pathLst>
                <a:path w="141" h="98">
                  <a:moveTo>
                    <a:pt x="90" y="0"/>
                  </a:moveTo>
                  <a:cubicBezTo>
                    <a:pt x="61" y="1"/>
                    <a:pt x="28" y="12"/>
                    <a:pt x="0" y="47"/>
                  </a:cubicBezTo>
                  <a:cubicBezTo>
                    <a:pt x="36" y="98"/>
                    <a:pt x="36" y="98"/>
                    <a:pt x="36" y="98"/>
                  </a:cubicBezTo>
                  <a:cubicBezTo>
                    <a:pt x="40" y="98"/>
                    <a:pt x="40" y="98"/>
                    <a:pt x="40" y="98"/>
                  </a:cubicBezTo>
                  <a:cubicBezTo>
                    <a:pt x="141" y="11"/>
                    <a:pt x="141" y="11"/>
                    <a:pt x="141" y="11"/>
                  </a:cubicBezTo>
                  <a:cubicBezTo>
                    <a:pt x="141" y="11"/>
                    <a:pt x="119" y="1"/>
                    <a:pt x="90" y="0"/>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308"/>
            <p:cNvSpPr>
              <a:spLocks/>
            </p:cNvSpPr>
            <p:nvPr/>
          </p:nvSpPr>
          <p:spPr bwMode="auto">
            <a:xfrm>
              <a:off x="3157" y="4173"/>
              <a:ext cx="180" cy="121"/>
            </a:xfrm>
            <a:custGeom>
              <a:avLst/>
              <a:gdLst>
                <a:gd name="T0" fmla="*/ 92 w 180"/>
                <a:gd name="T1" fmla="*/ 0 h 121"/>
                <a:gd name="T2" fmla="*/ 180 w 180"/>
                <a:gd name="T3" fmla="*/ 121 h 121"/>
                <a:gd name="T4" fmla="*/ 0 w 180"/>
                <a:gd name="T5" fmla="*/ 121 h 121"/>
                <a:gd name="T6" fmla="*/ 92 w 180"/>
                <a:gd name="T7" fmla="*/ 0 h 121"/>
              </a:gdLst>
              <a:ahLst/>
              <a:cxnLst>
                <a:cxn ang="0">
                  <a:pos x="T0" y="T1"/>
                </a:cxn>
                <a:cxn ang="0">
                  <a:pos x="T2" y="T3"/>
                </a:cxn>
                <a:cxn ang="0">
                  <a:pos x="T4" y="T5"/>
                </a:cxn>
                <a:cxn ang="0">
                  <a:pos x="T6" y="T7"/>
                </a:cxn>
              </a:cxnLst>
              <a:rect l="0" t="0" r="r" b="b"/>
              <a:pathLst>
                <a:path w="180" h="121">
                  <a:moveTo>
                    <a:pt x="92" y="0"/>
                  </a:moveTo>
                  <a:lnTo>
                    <a:pt x="180" y="121"/>
                  </a:lnTo>
                  <a:lnTo>
                    <a:pt x="0" y="121"/>
                  </a:lnTo>
                  <a:lnTo>
                    <a:pt x="92"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309"/>
            <p:cNvSpPr>
              <a:spLocks/>
            </p:cNvSpPr>
            <p:nvPr/>
          </p:nvSpPr>
          <p:spPr bwMode="auto">
            <a:xfrm>
              <a:off x="3249" y="3985"/>
              <a:ext cx="363" cy="309"/>
            </a:xfrm>
            <a:custGeom>
              <a:avLst/>
              <a:gdLst>
                <a:gd name="T0" fmla="*/ 0 w 153"/>
                <a:gd name="T1" fmla="*/ 79 h 130"/>
                <a:gd name="T2" fmla="*/ 37 w 153"/>
                <a:gd name="T3" fmla="*/ 130 h 130"/>
                <a:gd name="T4" fmla="*/ 52 w 153"/>
                <a:gd name="T5" fmla="*/ 130 h 130"/>
                <a:gd name="T6" fmla="*/ 153 w 153"/>
                <a:gd name="T7" fmla="*/ 43 h 130"/>
                <a:gd name="T8" fmla="*/ 0 w 153"/>
                <a:gd name="T9" fmla="*/ 79 h 130"/>
              </a:gdLst>
              <a:ahLst/>
              <a:cxnLst>
                <a:cxn ang="0">
                  <a:pos x="T0" y="T1"/>
                </a:cxn>
                <a:cxn ang="0">
                  <a:pos x="T2" y="T3"/>
                </a:cxn>
                <a:cxn ang="0">
                  <a:pos x="T4" y="T5"/>
                </a:cxn>
                <a:cxn ang="0">
                  <a:pos x="T6" y="T7"/>
                </a:cxn>
                <a:cxn ang="0">
                  <a:pos x="T8" y="T9"/>
                </a:cxn>
              </a:cxnLst>
              <a:rect l="0" t="0" r="r" b="b"/>
              <a:pathLst>
                <a:path w="153" h="130">
                  <a:moveTo>
                    <a:pt x="0" y="79"/>
                  </a:moveTo>
                  <a:cubicBezTo>
                    <a:pt x="37" y="130"/>
                    <a:pt x="37" y="130"/>
                    <a:pt x="37" y="130"/>
                  </a:cubicBezTo>
                  <a:cubicBezTo>
                    <a:pt x="52" y="130"/>
                    <a:pt x="52" y="130"/>
                    <a:pt x="52" y="130"/>
                  </a:cubicBezTo>
                  <a:cubicBezTo>
                    <a:pt x="153" y="43"/>
                    <a:pt x="153" y="43"/>
                    <a:pt x="153" y="43"/>
                  </a:cubicBezTo>
                  <a:cubicBezTo>
                    <a:pt x="153" y="43"/>
                    <a:pt x="64" y="0"/>
                    <a:pt x="0" y="79"/>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310"/>
            <p:cNvSpPr>
              <a:spLocks/>
            </p:cNvSpPr>
            <p:nvPr/>
          </p:nvSpPr>
          <p:spPr bwMode="auto">
            <a:xfrm>
              <a:off x="2011" y="3800"/>
              <a:ext cx="199" cy="423"/>
            </a:xfrm>
            <a:custGeom>
              <a:avLst/>
              <a:gdLst>
                <a:gd name="T0" fmla="*/ 49 w 84"/>
                <a:gd name="T1" fmla="*/ 1 h 178"/>
                <a:gd name="T2" fmla="*/ 0 w 84"/>
                <a:gd name="T3" fmla="*/ 8 h 178"/>
                <a:gd name="T4" fmla="*/ 74 w 84"/>
                <a:gd name="T5" fmla="*/ 178 h 178"/>
                <a:gd name="T6" fmla="*/ 84 w 84"/>
                <a:gd name="T7" fmla="*/ 178 h 178"/>
                <a:gd name="T8" fmla="*/ 9 w 84"/>
                <a:gd name="T9" fmla="*/ 8 h 178"/>
                <a:gd name="T10" fmla="*/ 49 w 84"/>
                <a:gd name="T11" fmla="*/ 1 h 178"/>
              </a:gdLst>
              <a:ahLst/>
              <a:cxnLst>
                <a:cxn ang="0">
                  <a:pos x="T0" y="T1"/>
                </a:cxn>
                <a:cxn ang="0">
                  <a:pos x="T2" y="T3"/>
                </a:cxn>
                <a:cxn ang="0">
                  <a:pos x="T4" y="T5"/>
                </a:cxn>
                <a:cxn ang="0">
                  <a:pos x="T6" y="T7"/>
                </a:cxn>
                <a:cxn ang="0">
                  <a:pos x="T8" y="T9"/>
                </a:cxn>
                <a:cxn ang="0">
                  <a:pos x="T10" y="T11"/>
                </a:cxn>
              </a:cxnLst>
              <a:rect l="0" t="0" r="r" b="b"/>
              <a:pathLst>
                <a:path w="84" h="178">
                  <a:moveTo>
                    <a:pt x="49" y="1"/>
                  </a:moveTo>
                  <a:cubicBezTo>
                    <a:pt x="33" y="0"/>
                    <a:pt x="15" y="1"/>
                    <a:pt x="0" y="8"/>
                  </a:cubicBezTo>
                  <a:cubicBezTo>
                    <a:pt x="74" y="178"/>
                    <a:pt x="74" y="178"/>
                    <a:pt x="74" y="178"/>
                  </a:cubicBezTo>
                  <a:cubicBezTo>
                    <a:pt x="84" y="178"/>
                    <a:pt x="84" y="178"/>
                    <a:pt x="84" y="178"/>
                  </a:cubicBezTo>
                  <a:cubicBezTo>
                    <a:pt x="9" y="8"/>
                    <a:pt x="9" y="8"/>
                    <a:pt x="9" y="8"/>
                  </a:cubicBezTo>
                  <a:cubicBezTo>
                    <a:pt x="22" y="3"/>
                    <a:pt x="36" y="1"/>
                    <a:pt x="49" y="1"/>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311"/>
            <p:cNvSpPr>
              <a:spLocks/>
            </p:cNvSpPr>
            <p:nvPr/>
          </p:nvSpPr>
          <p:spPr bwMode="auto">
            <a:xfrm>
              <a:off x="2032" y="3802"/>
              <a:ext cx="316" cy="421"/>
            </a:xfrm>
            <a:custGeom>
              <a:avLst/>
              <a:gdLst>
                <a:gd name="T0" fmla="*/ 133 w 133"/>
                <a:gd name="T1" fmla="*/ 32 h 177"/>
                <a:gd name="T2" fmla="*/ 40 w 133"/>
                <a:gd name="T3" fmla="*/ 0 h 177"/>
                <a:gd name="T4" fmla="*/ 0 w 133"/>
                <a:gd name="T5" fmla="*/ 7 h 177"/>
                <a:gd name="T6" fmla="*/ 75 w 133"/>
                <a:gd name="T7" fmla="*/ 177 h 177"/>
                <a:gd name="T8" fmla="*/ 87 w 133"/>
                <a:gd name="T9" fmla="*/ 177 h 177"/>
                <a:gd name="T10" fmla="*/ 133 w 133"/>
                <a:gd name="T11" fmla="*/ 32 h 177"/>
              </a:gdLst>
              <a:ahLst/>
              <a:cxnLst>
                <a:cxn ang="0">
                  <a:pos x="T0" y="T1"/>
                </a:cxn>
                <a:cxn ang="0">
                  <a:pos x="T2" y="T3"/>
                </a:cxn>
                <a:cxn ang="0">
                  <a:pos x="T4" y="T5"/>
                </a:cxn>
                <a:cxn ang="0">
                  <a:pos x="T6" y="T7"/>
                </a:cxn>
                <a:cxn ang="0">
                  <a:pos x="T8" y="T9"/>
                </a:cxn>
                <a:cxn ang="0">
                  <a:pos x="T10" y="T11"/>
                </a:cxn>
              </a:cxnLst>
              <a:rect l="0" t="0" r="r" b="b"/>
              <a:pathLst>
                <a:path w="133" h="177">
                  <a:moveTo>
                    <a:pt x="133" y="32"/>
                  </a:moveTo>
                  <a:cubicBezTo>
                    <a:pt x="133" y="32"/>
                    <a:pt x="89" y="4"/>
                    <a:pt x="40" y="0"/>
                  </a:cubicBezTo>
                  <a:cubicBezTo>
                    <a:pt x="27" y="0"/>
                    <a:pt x="13" y="2"/>
                    <a:pt x="0" y="7"/>
                  </a:cubicBezTo>
                  <a:cubicBezTo>
                    <a:pt x="75" y="177"/>
                    <a:pt x="75" y="177"/>
                    <a:pt x="75" y="177"/>
                  </a:cubicBezTo>
                  <a:cubicBezTo>
                    <a:pt x="87" y="177"/>
                    <a:pt x="87" y="177"/>
                    <a:pt x="87" y="177"/>
                  </a:cubicBezTo>
                  <a:lnTo>
                    <a:pt x="133" y="32"/>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312"/>
            <p:cNvSpPr>
              <a:spLocks/>
            </p:cNvSpPr>
            <p:nvPr/>
          </p:nvSpPr>
          <p:spPr bwMode="auto">
            <a:xfrm>
              <a:off x="2011" y="3757"/>
              <a:ext cx="337" cy="466"/>
            </a:xfrm>
            <a:custGeom>
              <a:avLst/>
              <a:gdLst>
                <a:gd name="T0" fmla="*/ 0 w 142"/>
                <a:gd name="T1" fmla="*/ 26 h 196"/>
                <a:gd name="T2" fmla="*/ 74 w 142"/>
                <a:gd name="T3" fmla="*/ 196 h 196"/>
                <a:gd name="T4" fmla="*/ 96 w 142"/>
                <a:gd name="T5" fmla="*/ 196 h 196"/>
                <a:gd name="T6" fmla="*/ 142 w 142"/>
                <a:gd name="T7" fmla="*/ 51 h 196"/>
                <a:gd name="T8" fmla="*/ 0 w 142"/>
                <a:gd name="T9" fmla="*/ 26 h 196"/>
              </a:gdLst>
              <a:ahLst/>
              <a:cxnLst>
                <a:cxn ang="0">
                  <a:pos x="T0" y="T1"/>
                </a:cxn>
                <a:cxn ang="0">
                  <a:pos x="T2" y="T3"/>
                </a:cxn>
                <a:cxn ang="0">
                  <a:pos x="T4" y="T5"/>
                </a:cxn>
                <a:cxn ang="0">
                  <a:pos x="T6" y="T7"/>
                </a:cxn>
                <a:cxn ang="0">
                  <a:pos x="T8" y="T9"/>
                </a:cxn>
              </a:cxnLst>
              <a:rect l="0" t="0" r="r" b="b"/>
              <a:pathLst>
                <a:path w="142" h="196">
                  <a:moveTo>
                    <a:pt x="0" y="26"/>
                  </a:moveTo>
                  <a:cubicBezTo>
                    <a:pt x="74" y="196"/>
                    <a:pt x="74" y="196"/>
                    <a:pt x="74" y="196"/>
                  </a:cubicBezTo>
                  <a:cubicBezTo>
                    <a:pt x="96" y="196"/>
                    <a:pt x="96" y="196"/>
                    <a:pt x="96" y="196"/>
                  </a:cubicBezTo>
                  <a:cubicBezTo>
                    <a:pt x="142" y="51"/>
                    <a:pt x="142" y="51"/>
                    <a:pt x="142" y="51"/>
                  </a:cubicBezTo>
                  <a:cubicBezTo>
                    <a:pt x="142" y="51"/>
                    <a:pt x="62" y="0"/>
                    <a:pt x="0" y="26"/>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Rectangle 313"/>
            <p:cNvSpPr>
              <a:spLocks noChangeArrowheads="1"/>
            </p:cNvSpPr>
            <p:nvPr/>
          </p:nvSpPr>
          <p:spPr bwMode="auto">
            <a:xfrm>
              <a:off x="2507" y="4294"/>
              <a:ext cx="28" cy="116"/>
            </a:xfrm>
            <a:prstGeom prst="rect">
              <a:avLst/>
            </a:pr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Rectangle 314"/>
            <p:cNvSpPr>
              <a:spLocks noChangeArrowheads="1"/>
            </p:cNvSpPr>
            <p:nvPr/>
          </p:nvSpPr>
          <p:spPr bwMode="auto">
            <a:xfrm>
              <a:off x="2535" y="4294"/>
              <a:ext cx="1004" cy="116"/>
            </a:xfrm>
            <a:prstGeom prst="rect">
              <a:avLst/>
            </a:pr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315"/>
            <p:cNvSpPr>
              <a:spLocks/>
            </p:cNvSpPr>
            <p:nvPr/>
          </p:nvSpPr>
          <p:spPr bwMode="auto">
            <a:xfrm>
              <a:off x="1831" y="4223"/>
              <a:ext cx="676" cy="187"/>
            </a:xfrm>
            <a:custGeom>
              <a:avLst/>
              <a:gdLst>
                <a:gd name="T0" fmla="*/ 0 w 676"/>
                <a:gd name="T1" fmla="*/ 54 h 187"/>
                <a:gd name="T2" fmla="*/ 0 w 676"/>
                <a:gd name="T3" fmla="*/ 0 h 187"/>
                <a:gd name="T4" fmla="*/ 676 w 676"/>
                <a:gd name="T5" fmla="*/ 0 h 187"/>
                <a:gd name="T6" fmla="*/ 676 w 676"/>
                <a:gd name="T7" fmla="*/ 187 h 187"/>
                <a:gd name="T8" fmla="*/ 0 w 676"/>
                <a:gd name="T9" fmla="*/ 187 h 187"/>
                <a:gd name="T10" fmla="*/ 0 w 676"/>
                <a:gd name="T11" fmla="*/ 95 h 187"/>
                <a:gd name="T12" fmla="*/ 0 w 676"/>
                <a:gd name="T13" fmla="*/ 54 h 187"/>
              </a:gdLst>
              <a:ahLst/>
              <a:cxnLst>
                <a:cxn ang="0">
                  <a:pos x="T0" y="T1"/>
                </a:cxn>
                <a:cxn ang="0">
                  <a:pos x="T2" y="T3"/>
                </a:cxn>
                <a:cxn ang="0">
                  <a:pos x="T4" y="T5"/>
                </a:cxn>
                <a:cxn ang="0">
                  <a:pos x="T6" y="T7"/>
                </a:cxn>
                <a:cxn ang="0">
                  <a:pos x="T8" y="T9"/>
                </a:cxn>
                <a:cxn ang="0">
                  <a:pos x="T10" y="T11"/>
                </a:cxn>
                <a:cxn ang="0">
                  <a:pos x="T12" y="T13"/>
                </a:cxn>
              </a:cxnLst>
              <a:rect l="0" t="0" r="r" b="b"/>
              <a:pathLst>
                <a:path w="676" h="187">
                  <a:moveTo>
                    <a:pt x="0" y="54"/>
                  </a:moveTo>
                  <a:lnTo>
                    <a:pt x="0" y="0"/>
                  </a:lnTo>
                  <a:lnTo>
                    <a:pt x="676" y="0"/>
                  </a:lnTo>
                  <a:lnTo>
                    <a:pt x="676" y="187"/>
                  </a:lnTo>
                  <a:lnTo>
                    <a:pt x="0" y="187"/>
                  </a:lnTo>
                  <a:lnTo>
                    <a:pt x="0" y="95"/>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316"/>
            <p:cNvSpPr>
              <a:spLocks/>
            </p:cNvSpPr>
            <p:nvPr/>
          </p:nvSpPr>
          <p:spPr bwMode="auto">
            <a:xfrm>
              <a:off x="1831" y="4223"/>
              <a:ext cx="676" cy="187"/>
            </a:xfrm>
            <a:custGeom>
              <a:avLst/>
              <a:gdLst>
                <a:gd name="T0" fmla="*/ 0 w 676"/>
                <a:gd name="T1" fmla="*/ 54 h 187"/>
                <a:gd name="T2" fmla="*/ 0 w 676"/>
                <a:gd name="T3" fmla="*/ 0 h 187"/>
                <a:gd name="T4" fmla="*/ 676 w 676"/>
                <a:gd name="T5" fmla="*/ 0 h 187"/>
                <a:gd name="T6" fmla="*/ 676 w 676"/>
                <a:gd name="T7" fmla="*/ 187 h 187"/>
                <a:gd name="T8" fmla="*/ 0 w 676"/>
                <a:gd name="T9" fmla="*/ 187 h 187"/>
                <a:gd name="T10" fmla="*/ 0 w 676"/>
                <a:gd name="T11" fmla="*/ 95 h 187"/>
                <a:gd name="T12" fmla="*/ 0 w 676"/>
                <a:gd name="T13" fmla="*/ 54 h 187"/>
              </a:gdLst>
              <a:ahLst/>
              <a:cxnLst>
                <a:cxn ang="0">
                  <a:pos x="T0" y="T1"/>
                </a:cxn>
                <a:cxn ang="0">
                  <a:pos x="T2" y="T3"/>
                </a:cxn>
                <a:cxn ang="0">
                  <a:pos x="T4" y="T5"/>
                </a:cxn>
                <a:cxn ang="0">
                  <a:pos x="T6" y="T7"/>
                </a:cxn>
                <a:cxn ang="0">
                  <a:pos x="T8" y="T9"/>
                </a:cxn>
                <a:cxn ang="0">
                  <a:pos x="T10" y="T11"/>
                </a:cxn>
                <a:cxn ang="0">
                  <a:pos x="T12" y="T13"/>
                </a:cxn>
              </a:cxnLst>
              <a:rect l="0" t="0" r="r" b="b"/>
              <a:pathLst>
                <a:path w="676" h="187">
                  <a:moveTo>
                    <a:pt x="0" y="54"/>
                  </a:moveTo>
                  <a:lnTo>
                    <a:pt x="0" y="0"/>
                  </a:lnTo>
                  <a:lnTo>
                    <a:pt x="676" y="0"/>
                  </a:lnTo>
                  <a:lnTo>
                    <a:pt x="676" y="187"/>
                  </a:lnTo>
                  <a:lnTo>
                    <a:pt x="0" y="187"/>
                  </a:lnTo>
                  <a:lnTo>
                    <a:pt x="0" y="95"/>
                  </a:lnTo>
                  <a:lnTo>
                    <a:pt x="0" y="54"/>
                  </a:lnTo>
                  <a:close/>
                </a:path>
              </a:pathLst>
            </a:custGeom>
            <a:noFill/>
            <a:ln w="30163" cap="rnd">
              <a:solidFill>
                <a:srgbClr val="0076B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 name="Rectangle 317"/>
            <p:cNvSpPr>
              <a:spLocks noChangeArrowheads="1"/>
            </p:cNvSpPr>
            <p:nvPr/>
          </p:nvSpPr>
          <p:spPr bwMode="auto">
            <a:xfrm>
              <a:off x="2507" y="4294"/>
              <a:ext cx="1032" cy="116"/>
            </a:xfrm>
            <a:prstGeom prst="rect">
              <a:avLst/>
            </a:pr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477988015"/>
      </p:ext>
    </p:extLst>
  </p:cSld>
  <p:clrMapOvr>
    <a:masterClrMapping/>
  </p:clrMapOvr>
  <p:transition>
    <p:fade/>
  </p:transition>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1" name="Group 160">
            <a:extLst>
              <a:ext uri="{FF2B5EF4-FFF2-40B4-BE49-F238E27FC236}">
                <a16:creationId xmlns:a16="http://schemas.microsoft.com/office/drawing/2014/main" id="{989664B1-9D91-8344-BA91-ADA77E632C30}"/>
              </a:ext>
            </a:extLst>
          </p:cNvPr>
          <p:cNvGrpSpPr/>
          <p:nvPr/>
        </p:nvGrpSpPr>
        <p:grpSpPr>
          <a:xfrm>
            <a:off x="1898650" y="401639"/>
            <a:ext cx="3565526" cy="2265363"/>
            <a:chOff x="374650" y="401638"/>
            <a:chExt cx="3565526" cy="2265363"/>
          </a:xfrm>
        </p:grpSpPr>
        <p:sp>
          <p:nvSpPr>
            <p:cNvPr id="162" name="Freeform 6">
              <a:extLst>
                <a:ext uri="{FF2B5EF4-FFF2-40B4-BE49-F238E27FC236}">
                  <a16:creationId xmlns:a16="http://schemas.microsoft.com/office/drawing/2014/main" id="{DA662022-23AE-6044-8B48-BF7617557AAA}"/>
                </a:ext>
              </a:extLst>
            </p:cNvPr>
            <p:cNvSpPr>
              <a:spLocks/>
            </p:cNvSpPr>
            <p:nvPr/>
          </p:nvSpPr>
          <p:spPr bwMode="auto">
            <a:xfrm>
              <a:off x="3367088" y="857250"/>
              <a:ext cx="573088" cy="1222375"/>
            </a:xfrm>
            <a:custGeom>
              <a:avLst/>
              <a:gdLst>
                <a:gd name="T0" fmla="*/ 25 w 722"/>
                <a:gd name="T1" fmla="*/ 1 h 1538"/>
                <a:gd name="T2" fmla="*/ 37 w 722"/>
                <a:gd name="T3" fmla="*/ 8 h 1538"/>
                <a:gd name="T4" fmla="*/ 41 w 722"/>
                <a:gd name="T5" fmla="*/ 11 h 1538"/>
                <a:gd name="T6" fmla="*/ 69 w 722"/>
                <a:gd name="T7" fmla="*/ 30 h 1538"/>
                <a:gd name="T8" fmla="*/ 104 w 722"/>
                <a:gd name="T9" fmla="*/ 65 h 1538"/>
                <a:gd name="T10" fmla="*/ 145 w 722"/>
                <a:gd name="T11" fmla="*/ 110 h 1538"/>
                <a:gd name="T12" fmla="*/ 187 w 722"/>
                <a:gd name="T13" fmla="*/ 158 h 1538"/>
                <a:gd name="T14" fmla="*/ 227 w 722"/>
                <a:gd name="T15" fmla="*/ 206 h 1538"/>
                <a:gd name="T16" fmla="*/ 261 w 722"/>
                <a:gd name="T17" fmla="*/ 248 h 1538"/>
                <a:gd name="T18" fmla="*/ 284 w 722"/>
                <a:gd name="T19" fmla="*/ 277 h 1538"/>
                <a:gd name="T20" fmla="*/ 292 w 722"/>
                <a:gd name="T21" fmla="*/ 286 h 1538"/>
                <a:gd name="T22" fmla="*/ 478 w 722"/>
                <a:gd name="T23" fmla="*/ 250 h 1538"/>
                <a:gd name="T24" fmla="*/ 489 w 722"/>
                <a:gd name="T25" fmla="*/ 207 h 1538"/>
                <a:gd name="T26" fmla="*/ 512 w 722"/>
                <a:gd name="T27" fmla="*/ 179 h 1538"/>
                <a:gd name="T28" fmla="*/ 538 w 722"/>
                <a:gd name="T29" fmla="*/ 164 h 1538"/>
                <a:gd name="T30" fmla="*/ 558 w 722"/>
                <a:gd name="T31" fmla="*/ 157 h 1538"/>
                <a:gd name="T32" fmla="*/ 568 w 722"/>
                <a:gd name="T33" fmla="*/ 155 h 1538"/>
                <a:gd name="T34" fmla="*/ 628 w 722"/>
                <a:gd name="T35" fmla="*/ 168 h 1538"/>
                <a:gd name="T36" fmla="*/ 670 w 722"/>
                <a:gd name="T37" fmla="*/ 190 h 1538"/>
                <a:gd name="T38" fmla="*/ 697 w 722"/>
                <a:gd name="T39" fmla="*/ 218 h 1538"/>
                <a:gd name="T40" fmla="*/ 712 w 722"/>
                <a:gd name="T41" fmla="*/ 247 h 1538"/>
                <a:gd name="T42" fmla="*/ 719 w 722"/>
                <a:gd name="T43" fmla="*/ 270 h 1538"/>
                <a:gd name="T44" fmla="*/ 722 w 722"/>
                <a:gd name="T45" fmla="*/ 285 h 1538"/>
                <a:gd name="T46" fmla="*/ 715 w 722"/>
                <a:gd name="T47" fmla="*/ 331 h 1538"/>
                <a:gd name="T48" fmla="*/ 692 w 722"/>
                <a:gd name="T49" fmla="*/ 401 h 1538"/>
                <a:gd name="T50" fmla="*/ 659 w 722"/>
                <a:gd name="T51" fmla="*/ 449 h 1538"/>
                <a:gd name="T52" fmla="*/ 618 w 722"/>
                <a:gd name="T53" fmla="*/ 480 h 1538"/>
                <a:gd name="T54" fmla="*/ 573 w 722"/>
                <a:gd name="T55" fmla="*/ 495 h 1538"/>
                <a:gd name="T56" fmla="*/ 527 w 722"/>
                <a:gd name="T57" fmla="*/ 499 h 1538"/>
                <a:gd name="T58" fmla="*/ 482 w 722"/>
                <a:gd name="T59" fmla="*/ 495 h 1538"/>
                <a:gd name="T60" fmla="*/ 441 w 722"/>
                <a:gd name="T61" fmla="*/ 485 h 1538"/>
                <a:gd name="T62" fmla="*/ 408 w 722"/>
                <a:gd name="T63" fmla="*/ 476 h 1538"/>
                <a:gd name="T64" fmla="*/ 386 w 722"/>
                <a:gd name="T65" fmla="*/ 466 h 1538"/>
                <a:gd name="T66" fmla="*/ 378 w 722"/>
                <a:gd name="T67" fmla="*/ 464 h 1538"/>
                <a:gd name="T68" fmla="*/ 416 w 722"/>
                <a:gd name="T69" fmla="*/ 611 h 1538"/>
                <a:gd name="T70" fmla="*/ 427 w 722"/>
                <a:gd name="T71" fmla="*/ 753 h 1538"/>
                <a:gd name="T72" fmla="*/ 415 w 722"/>
                <a:gd name="T73" fmla="*/ 885 h 1538"/>
                <a:gd name="T74" fmla="*/ 385 w 722"/>
                <a:gd name="T75" fmla="*/ 1008 h 1538"/>
                <a:gd name="T76" fmla="*/ 341 w 722"/>
                <a:gd name="T77" fmla="*/ 1120 h 1538"/>
                <a:gd name="T78" fmla="*/ 290 w 722"/>
                <a:gd name="T79" fmla="*/ 1221 h 1538"/>
                <a:gd name="T80" fmla="*/ 232 w 722"/>
                <a:gd name="T81" fmla="*/ 1309 h 1538"/>
                <a:gd name="T82" fmla="*/ 176 w 722"/>
                <a:gd name="T83" fmla="*/ 1384 h 1538"/>
                <a:gd name="T84" fmla="*/ 125 w 722"/>
                <a:gd name="T85" fmla="*/ 1444 h 1538"/>
                <a:gd name="T86" fmla="*/ 81 w 722"/>
                <a:gd name="T87" fmla="*/ 1488 h 1538"/>
                <a:gd name="T88" fmla="*/ 52 w 722"/>
                <a:gd name="T89" fmla="*/ 1515 h 1538"/>
                <a:gd name="T90" fmla="*/ 41 w 722"/>
                <a:gd name="T91" fmla="*/ 1525 h 1538"/>
                <a:gd name="T92" fmla="*/ 21 w 722"/>
                <a:gd name="T93" fmla="*/ 1538 h 1538"/>
                <a:gd name="T94" fmla="*/ 7 w 722"/>
                <a:gd name="T95" fmla="*/ 1534 h 1538"/>
                <a:gd name="T96" fmla="*/ 0 w 722"/>
                <a:gd name="T97" fmla="*/ 1526 h 1538"/>
                <a:gd name="T98" fmla="*/ 0 w 722"/>
                <a:gd name="T99" fmla="*/ 30 h 1538"/>
                <a:gd name="T100" fmla="*/ 6 w 722"/>
                <a:gd name="T101" fmla="*/ 7 h 1538"/>
                <a:gd name="T102" fmla="*/ 18 w 722"/>
                <a:gd name="T103" fmla="*/ 0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2" h="1538">
                  <a:moveTo>
                    <a:pt x="18" y="0"/>
                  </a:moveTo>
                  <a:lnTo>
                    <a:pt x="25" y="1"/>
                  </a:lnTo>
                  <a:lnTo>
                    <a:pt x="32" y="4"/>
                  </a:lnTo>
                  <a:lnTo>
                    <a:pt x="37" y="8"/>
                  </a:lnTo>
                  <a:lnTo>
                    <a:pt x="40" y="9"/>
                  </a:lnTo>
                  <a:lnTo>
                    <a:pt x="41" y="11"/>
                  </a:lnTo>
                  <a:lnTo>
                    <a:pt x="54" y="19"/>
                  </a:lnTo>
                  <a:lnTo>
                    <a:pt x="69" y="30"/>
                  </a:lnTo>
                  <a:lnTo>
                    <a:pt x="85" y="46"/>
                  </a:lnTo>
                  <a:lnTo>
                    <a:pt x="104" y="65"/>
                  </a:lnTo>
                  <a:lnTo>
                    <a:pt x="125" y="87"/>
                  </a:lnTo>
                  <a:lnTo>
                    <a:pt x="145" y="110"/>
                  </a:lnTo>
                  <a:lnTo>
                    <a:pt x="167" y="134"/>
                  </a:lnTo>
                  <a:lnTo>
                    <a:pt x="187" y="158"/>
                  </a:lnTo>
                  <a:lnTo>
                    <a:pt x="208" y="183"/>
                  </a:lnTo>
                  <a:lnTo>
                    <a:pt x="227" y="206"/>
                  </a:lnTo>
                  <a:lnTo>
                    <a:pt x="245" y="228"/>
                  </a:lnTo>
                  <a:lnTo>
                    <a:pt x="261" y="248"/>
                  </a:lnTo>
                  <a:lnTo>
                    <a:pt x="273" y="263"/>
                  </a:lnTo>
                  <a:lnTo>
                    <a:pt x="284" y="277"/>
                  </a:lnTo>
                  <a:lnTo>
                    <a:pt x="290" y="284"/>
                  </a:lnTo>
                  <a:lnTo>
                    <a:pt x="292" y="286"/>
                  </a:lnTo>
                  <a:lnTo>
                    <a:pt x="478" y="277"/>
                  </a:lnTo>
                  <a:lnTo>
                    <a:pt x="478" y="250"/>
                  </a:lnTo>
                  <a:lnTo>
                    <a:pt x="480" y="226"/>
                  </a:lnTo>
                  <a:lnTo>
                    <a:pt x="489" y="207"/>
                  </a:lnTo>
                  <a:lnTo>
                    <a:pt x="500" y="191"/>
                  </a:lnTo>
                  <a:lnTo>
                    <a:pt x="512" y="179"/>
                  </a:lnTo>
                  <a:lnTo>
                    <a:pt x="524" y="170"/>
                  </a:lnTo>
                  <a:lnTo>
                    <a:pt x="538" y="164"/>
                  </a:lnTo>
                  <a:lnTo>
                    <a:pt x="549" y="160"/>
                  </a:lnTo>
                  <a:lnTo>
                    <a:pt x="558" y="157"/>
                  </a:lnTo>
                  <a:lnTo>
                    <a:pt x="565" y="155"/>
                  </a:lnTo>
                  <a:lnTo>
                    <a:pt x="568" y="155"/>
                  </a:lnTo>
                  <a:lnTo>
                    <a:pt x="600" y="160"/>
                  </a:lnTo>
                  <a:lnTo>
                    <a:pt x="628" y="168"/>
                  </a:lnTo>
                  <a:lnTo>
                    <a:pt x="651" y="177"/>
                  </a:lnTo>
                  <a:lnTo>
                    <a:pt x="670" y="190"/>
                  </a:lnTo>
                  <a:lnTo>
                    <a:pt x="685" y="203"/>
                  </a:lnTo>
                  <a:lnTo>
                    <a:pt x="697" y="218"/>
                  </a:lnTo>
                  <a:lnTo>
                    <a:pt x="707" y="232"/>
                  </a:lnTo>
                  <a:lnTo>
                    <a:pt x="712" y="247"/>
                  </a:lnTo>
                  <a:lnTo>
                    <a:pt x="716" y="259"/>
                  </a:lnTo>
                  <a:lnTo>
                    <a:pt x="719" y="270"/>
                  </a:lnTo>
                  <a:lnTo>
                    <a:pt x="720" y="280"/>
                  </a:lnTo>
                  <a:lnTo>
                    <a:pt x="722" y="285"/>
                  </a:lnTo>
                  <a:lnTo>
                    <a:pt x="722" y="286"/>
                  </a:lnTo>
                  <a:lnTo>
                    <a:pt x="715" y="331"/>
                  </a:lnTo>
                  <a:lnTo>
                    <a:pt x="705" y="368"/>
                  </a:lnTo>
                  <a:lnTo>
                    <a:pt x="692" y="401"/>
                  </a:lnTo>
                  <a:lnTo>
                    <a:pt x="677" y="427"/>
                  </a:lnTo>
                  <a:lnTo>
                    <a:pt x="659" y="449"/>
                  </a:lnTo>
                  <a:lnTo>
                    <a:pt x="640" y="466"/>
                  </a:lnTo>
                  <a:lnTo>
                    <a:pt x="618" y="480"/>
                  </a:lnTo>
                  <a:lnTo>
                    <a:pt x="596" y="488"/>
                  </a:lnTo>
                  <a:lnTo>
                    <a:pt x="573" y="495"/>
                  </a:lnTo>
                  <a:lnTo>
                    <a:pt x="550" y="498"/>
                  </a:lnTo>
                  <a:lnTo>
                    <a:pt x="527" y="499"/>
                  </a:lnTo>
                  <a:lnTo>
                    <a:pt x="504" y="498"/>
                  </a:lnTo>
                  <a:lnTo>
                    <a:pt x="482" y="495"/>
                  </a:lnTo>
                  <a:lnTo>
                    <a:pt x="460" y="491"/>
                  </a:lnTo>
                  <a:lnTo>
                    <a:pt x="441" y="485"/>
                  </a:lnTo>
                  <a:lnTo>
                    <a:pt x="423" y="481"/>
                  </a:lnTo>
                  <a:lnTo>
                    <a:pt x="408" y="476"/>
                  </a:lnTo>
                  <a:lnTo>
                    <a:pt x="396" y="470"/>
                  </a:lnTo>
                  <a:lnTo>
                    <a:pt x="386" y="466"/>
                  </a:lnTo>
                  <a:lnTo>
                    <a:pt x="381" y="464"/>
                  </a:lnTo>
                  <a:lnTo>
                    <a:pt x="378" y="464"/>
                  </a:lnTo>
                  <a:lnTo>
                    <a:pt x="401" y="539"/>
                  </a:lnTo>
                  <a:lnTo>
                    <a:pt x="416" y="611"/>
                  </a:lnTo>
                  <a:lnTo>
                    <a:pt x="425" y="683"/>
                  </a:lnTo>
                  <a:lnTo>
                    <a:pt x="427" y="753"/>
                  </a:lnTo>
                  <a:lnTo>
                    <a:pt x="423" y="820"/>
                  </a:lnTo>
                  <a:lnTo>
                    <a:pt x="415" y="885"/>
                  </a:lnTo>
                  <a:lnTo>
                    <a:pt x="403" y="948"/>
                  </a:lnTo>
                  <a:lnTo>
                    <a:pt x="385" y="1008"/>
                  </a:lnTo>
                  <a:lnTo>
                    <a:pt x="365" y="1065"/>
                  </a:lnTo>
                  <a:lnTo>
                    <a:pt x="341" y="1120"/>
                  </a:lnTo>
                  <a:lnTo>
                    <a:pt x="317" y="1172"/>
                  </a:lnTo>
                  <a:lnTo>
                    <a:pt x="290" y="1221"/>
                  </a:lnTo>
                  <a:lnTo>
                    <a:pt x="261" y="1267"/>
                  </a:lnTo>
                  <a:lnTo>
                    <a:pt x="232" y="1309"/>
                  </a:lnTo>
                  <a:lnTo>
                    <a:pt x="204" y="1349"/>
                  </a:lnTo>
                  <a:lnTo>
                    <a:pt x="176" y="1384"/>
                  </a:lnTo>
                  <a:lnTo>
                    <a:pt x="149" y="1416"/>
                  </a:lnTo>
                  <a:lnTo>
                    <a:pt x="125" y="1444"/>
                  </a:lnTo>
                  <a:lnTo>
                    <a:pt x="101" y="1467"/>
                  </a:lnTo>
                  <a:lnTo>
                    <a:pt x="81" y="1488"/>
                  </a:lnTo>
                  <a:lnTo>
                    <a:pt x="65" y="1504"/>
                  </a:lnTo>
                  <a:lnTo>
                    <a:pt x="52" y="1515"/>
                  </a:lnTo>
                  <a:lnTo>
                    <a:pt x="44" y="1522"/>
                  </a:lnTo>
                  <a:lnTo>
                    <a:pt x="41" y="1525"/>
                  </a:lnTo>
                  <a:lnTo>
                    <a:pt x="30" y="1534"/>
                  </a:lnTo>
                  <a:lnTo>
                    <a:pt x="21" y="1538"/>
                  </a:lnTo>
                  <a:lnTo>
                    <a:pt x="14" y="1538"/>
                  </a:lnTo>
                  <a:lnTo>
                    <a:pt x="7" y="1534"/>
                  </a:lnTo>
                  <a:lnTo>
                    <a:pt x="3" y="1530"/>
                  </a:lnTo>
                  <a:lnTo>
                    <a:pt x="0" y="1526"/>
                  </a:lnTo>
                  <a:lnTo>
                    <a:pt x="0" y="1525"/>
                  </a:lnTo>
                  <a:lnTo>
                    <a:pt x="0" y="30"/>
                  </a:lnTo>
                  <a:lnTo>
                    <a:pt x="2" y="15"/>
                  </a:lnTo>
                  <a:lnTo>
                    <a:pt x="6" y="7"/>
                  </a:lnTo>
                  <a:lnTo>
                    <a:pt x="11" y="1"/>
                  </a:lnTo>
                  <a:lnTo>
                    <a:pt x="18"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7">
              <a:extLst>
                <a:ext uri="{FF2B5EF4-FFF2-40B4-BE49-F238E27FC236}">
                  <a16:creationId xmlns:a16="http://schemas.microsoft.com/office/drawing/2014/main" id="{7A00C317-4DE9-2645-83BB-D6AB3403F34D}"/>
                </a:ext>
              </a:extLst>
            </p:cNvPr>
            <p:cNvSpPr>
              <a:spLocks/>
            </p:cNvSpPr>
            <p:nvPr/>
          </p:nvSpPr>
          <p:spPr bwMode="auto">
            <a:xfrm>
              <a:off x="2771775" y="619125"/>
              <a:ext cx="557213" cy="2047875"/>
            </a:xfrm>
            <a:custGeom>
              <a:avLst/>
              <a:gdLst>
                <a:gd name="T0" fmla="*/ 52 w 703"/>
                <a:gd name="T1" fmla="*/ 0 h 2579"/>
                <a:gd name="T2" fmla="*/ 85 w 703"/>
                <a:gd name="T3" fmla="*/ 5 h 2579"/>
                <a:gd name="T4" fmla="*/ 156 w 703"/>
                <a:gd name="T5" fmla="*/ 24 h 2579"/>
                <a:gd name="T6" fmla="*/ 236 w 703"/>
                <a:gd name="T7" fmla="*/ 50 h 2579"/>
                <a:gd name="T8" fmla="*/ 322 w 703"/>
                <a:gd name="T9" fmla="*/ 80 h 2579"/>
                <a:gd name="T10" fmla="*/ 405 w 703"/>
                <a:gd name="T11" fmla="*/ 113 h 2579"/>
                <a:gd name="T12" fmla="*/ 483 w 703"/>
                <a:gd name="T13" fmla="*/ 143 h 2579"/>
                <a:gd name="T14" fmla="*/ 549 w 703"/>
                <a:gd name="T15" fmla="*/ 172 h 2579"/>
                <a:gd name="T16" fmla="*/ 598 w 703"/>
                <a:gd name="T17" fmla="*/ 192 h 2579"/>
                <a:gd name="T18" fmla="*/ 625 w 703"/>
                <a:gd name="T19" fmla="*/ 204 h 2579"/>
                <a:gd name="T20" fmla="*/ 654 w 703"/>
                <a:gd name="T21" fmla="*/ 221 h 2579"/>
                <a:gd name="T22" fmla="*/ 686 w 703"/>
                <a:gd name="T23" fmla="*/ 254 h 2579"/>
                <a:gd name="T24" fmla="*/ 700 w 703"/>
                <a:gd name="T25" fmla="*/ 284 h 2579"/>
                <a:gd name="T26" fmla="*/ 703 w 703"/>
                <a:gd name="T27" fmla="*/ 305 h 2579"/>
                <a:gd name="T28" fmla="*/ 703 w 703"/>
                <a:gd name="T29" fmla="*/ 315 h 2579"/>
                <a:gd name="T30" fmla="*/ 699 w 703"/>
                <a:gd name="T31" fmla="*/ 1877 h 2579"/>
                <a:gd name="T32" fmla="*/ 678 w 703"/>
                <a:gd name="T33" fmla="*/ 1915 h 2579"/>
                <a:gd name="T34" fmla="*/ 648 w 703"/>
                <a:gd name="T35" fmla="*/ 1941 h 2579"/>
                <a:gd name="T36" fmla="*/ 621 w 703"/>
                <a:gd name="T37" fmla="*/ 1957 h 2579"/>
                <a:gd name="T38" fmla="*/ 609 w 703"/>
                <a:gd name="T39" fmla="*/ 1963 h 2579"/>
                <a:gd name="T40" fmla="*/ 595 w 703"/>
                <a:gd name="T41" fmla="*/ 2533 h 2579"/>
                <a:gd name="T42" fmla="*/ 568 w 703"/>
                <a:gd name="T43" fmla="*/ 2565 h 2579"/>
                <a:gd name="T44" fmla="*/ 543 w 703"/>
                <a:gd name="T45" fmla="*/ 2578 h 2579"/>
                <a:gd name="T46" fmla="*/ 528 w 703"/>
                <a:gd name="T47" fmla="*/ 2578 h 2579"/>
                <a:gd name="T48" fmla="*/ 119 w 703"/>
                <a:gd name="T49" fmla="*/ 2578 h 2579"/>
                <a:gd name="T50" fmla="*/ 86 w 703"/>
                <a:gd name="T51" fmla="*/ 2563 h 2579"/>
                <a:gd name="T52" fmla="*/ 69 w 703"/>
                <a:gd name="T53" fmla="*/ 2538 h 2579"/>
                <a:gd name="T54" fmla="*/ 60 w 703"/>
                <a:gd name="T55" fmla="*/ 2514 h 2579"/>
                <a:gd name="T56" fmla="*/ 58 w 703"/>
                <a:gd name="T57" fmla="*/ 2497 h 2579"/>
                <a:gd name="T58" fmla="*/ 58 w 703"/>
                <a:gd name="T59" fmla="*/ 2122 h 2579"/>
                <a:gd name="T60" fmla="*/ 28 w 703"/>
                <a:gd name="T61" fmla="*/ 2126 h 2579"/>
                <a:gd name="T62" fmla="*/ 10 w 703"/>
                <a:gd name="T63" fmla="*/ 2117 h 2579"/>
                <a:gd name="T64" fmla="*/ 2 w 703"/>
                <a:gd name="T65" fmla="*/ 2103 h 2579"/>
                <a:gd name="T66" fmla="*/ 0 w 703"/>
                <a:gd name="T67" fmla="*/ 2098 h 2579"/>
                <a:gd name="T68" fmla="*/ 3 w 703"/>
                <a:gd name="T69" fmla="*/ 26 h 2579"/>
                <a:gd name="T70" fmla="*/ 18 w 703"/>
                <a:gd name="T71" fmla="*/ 7 h 2579"/>
                <a:gd name="T72" fmla="*/ 37 w 703"/>
                <a:gd name="T73" fmla="*/ 0 h 2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3" h="2579">
                  <a:moveTo>
                    <a:pt x="47" y="0"/>
                  </a:moveTo>
                  <a:lnTo>
                    <a:pt x="52" y="0"/>
                  </a:lnTo>
                  <a:lnTo>
                    <a:pt x="55" y="0"/>
                  </a:lnTo>
                  <a:lnTo>
                    <a:pt x="85" y="5"/>
                  </a:lnTo>
                  <a:lnTo>
                    <a:pt x="119" y="14"/>
                  </a:lnTo>
                  <a:lnTo>
                    <a:pt x="156" y="24"/>
                  </a:lnTo>
                  <a:lnTo>
                    <a:pt x="195" y="37"/>
                  </a:lnTo>
                  <a:lnTo>
                    <a:pt x="236" y="50"/>
                  </a:lnTo>
                  <a:lnTo>
                    <a:pt x="279" y="65"/>
                  </a:lnTo>
                  <a:lnTo>
                    <a:pt x="322" y="80"/>
                  </a:lnTo>
                  <a:lnTo>
                    <a:pt x="365" y="97"/>
                  </a:lnTo>
                  <a:lnTo>
                    <a:pt x="405" y="113"/>
                  </a:lnTo>
                  <a:lnTo>
                    <a:pt x="445" y="128"/>
                  </a:lnTo>
                  <a:lnTo>
                    <a:pt x="483" y="143"/>
                  </a:lnTo>
                  <a:lnTo>
                    <a:pt x="517" y="158"/>
                  </a:lnTo>
                  <a:lnTo>
                    <a:pt x="549" y="172"/>
                  </a:lnTo>
                  <a:lnTo>
                    <a:pt x="576" y="183"/>
                  </a:lnTo>
                  <a:lnTo>
                    <a:pt x="598" y="192"/>
                  </a:lnTo>
                  <a:lnTo>
                    <a:pt x="614" y="199"/>
                  </a:lnTo>
                  <a:lnTo>
                    <a:pt x="625" y="204"/>
                  </a:lnTo>
                  <a:lnTo>
                    <a:pt x="629" y="206"/>
                  </a:lnTo>
                  <a:lnTo>
                    <a:pt x="654" y="221"/>
                  </a:lnTo>
                  <a:lnTo>
                    <a:pt x="673" y="237"/>
                  </a:lnTo>
                  <a:lnTo>
                    <a:pt x="686" y="254"/>
                  </a:lnTo>
                  <a:lnTo>
                    <a:pt x="695" y="270"/>
                  </a:lnTo>
                  <a:lnTo>
                    <a:pt x="700" y="284"/>
                  </a:lnTo>
                  <a:lnTo>
                    <a:pt x="703" y="296"/>
                  </a:lnTo>
                  <a:lnTo>
                    <a:pt x="703" y="305"/>
                  </a:lnTo>
                  <a:lnTo>
                    <a:pt x="703" y="312"/>
                  </a:lnTo>
                  <a:lnTo>
                    <a:pt x="703" y="315"/>
                  </a:lnTo>
                  <a:lnTo>
                    <a:pt x="703" y="1853"/>
                  </a:lnTo>
                  <a:lnTo>
                    <a:pt x="699" y="1877"/>
                  </a:lnTo>
                  <a:lnTo>
                    <a:pt x="690" y="1897"/>
                  </a:lnTo>
                  <a:lnTo>
                    <a:pt x="678" y="1915"/>
                  </a:lnTo>
                  <a:lnTo>
                    <a:pt x="663" y="1928"/>
                  </a:lnTo>
                  <a:lnTo>
                    <a:pt x="648" y="1941"/>
                  </a:lnTo>
                  <a:lnTo>
                    <a:pt x="633" y="1950"/>
                  </a:lnTo>
                  <a:lnTo>
                    <a:pt x="621" y="1957"/>
                  </a:lnTo>
                  <a:lnTo>
                    <a:pt x="613" y="1961"/>
                  </a:lnTo>
                  <a:lnTo>
                    <a:pt x="609" y="1963"/>
                  </a:lnTo>
                  <a:lnTo>
                    <a:pt x="609" y="2504"/>
                  </a:lnTo>
                  <a:lnTo>
                    <a:pt x="595" y="2533"/>
                  </a:lnTo>
                  <a:lnTo>
                    <a:pt x="581" y="2552"/>
                  </a:lnTo>
                  <a:lnTo>
                    <a:pt x="568" y="2565"/>
                  </a:lnTo>
                  <a:lnTo>
                    <a:pt x="554" y="2574"/>
                  </a:lnTo>
                  <a:lnTo>
                    <a:pt x="543" y="2578"/>
                  </a:lnTo>
                  <a:lnTo>
                    <a:pt x="534" y="2579"/>
                  </a:lnTo>
                  <a:lnTo>
                    <a:pt x="528" y="2578"/>
                  </a:lnTo>
                  <a:lnTo>
                    <a:pt x="525" y="2578"/>
                  </a:lnTo>
                  <a:lnTo>
                    <a:pt x="119" y="2578"/>
                  </a:lnTo>
                  <a:lnTo>
                    <a:pt x="101" y="2572"/>
                  </a:lnTo>
                  <a:lnTo>
                    <a:pt x="86" y="2563"/>
                  </a:lnTo>
                  <a:lnTo>
                    <a:pt x="75" y="2550"/>
                  </a:lnTo>
                  <a:lnTo>
                    <a:pt x="69" y="2538"/>
                  </a:lnTo>
                  <a:lnTo>
                    <a:pt x="63" y="2524"/>
                  </a:lnTo>
                  <a:lnTo>
                    <a:pt x="60" y="2514"/>
                  </a:lnTo>
                  <a:lnTo>
                    <a:pt x="59" y="2504"/>
                  </a:lnTo>
                  <a:lnTo>
                    <a:pt x="58" y="2497"/>
                  </a:lnTo>
                  <a:lnTo>
                    <a:pt x="58" y="2494"/>
                  </a:lnTo>
                  <a:lnTo>
                    <a:pt x="58" y="2122"/>
                  </a:lnTo>
                  <a:lnTo>
                    <a:pt x="41" y="2128"/>
                  </a:lnTo>
                  <a:lnTo>
                    <a:pt x="28" y="2126"/>
                  </a:lnTo>
                  <a:lnTo>
                    <a:pt x="17" y="2123"/>
                  </a:lnTo>
                  <a:lnTo>
                    <a:pt x="10" y="2117"/>
                  </a:lnTo>
                  <a:lnTo>
                    <a:pt x="5" y="2110"/>
                  </a:lnTo>
                  <a:lnTo>
                    <a:pt x="2" y="2103"/>
                  </a:lnTo>
                  <a:lnTo>
                    <a:pt x="0" y="2099"/>
                  </a:lnTo>
                  <a:lnTo>
                    <a:pt x="0" y="2098"/>
                  </a:lnTo>
                  <a:lnTo>
                    <a:pt x="0" y="42"/>
                  </a:lnTo>
                  <a:lnTo>
                    <a:pt x="3" y="26"/>
                  </a:lnTo>
                  <a:lnTo>
                    <a:pt x="9" y="14"/>
                  </a:lnTo>
                  <a:lnTo>
                    <a:pt x="18" y="7"/>
                  </a:lnTo>
                  <a:lnTo>
                    <a:pt x="28" y="3"/>
                  </a:lnTo>
                  <a:lnTo>
                    <a:pt x="37" y="0"/>
                  </a:lnTo>
                  <a:lnTo>
                    <a:pt x="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8">
              <a:extLst>
                <a:ext uri="{FF2B5EF4-FFF2-40B4-BE49-F238E27FC236}">
                  <a16:creationId xmlns:a16="http://schemas.microsoft.com/office/drawing/2014/main" id="{7F4049AB-EEEF-3C42-A0BD-2D3A62A017BC}"/>
                </a:ext>
              </a:extLst>
            </p:cNvPr>
            <p:cNvSpPr>
              <a:spLocks/>
            </p:cNvSpPr>
            <p:nvPr/>
          </p:nvSpPr>
          <p:spPr bwMode="auto">
            <a:xfrm>
              <a:off x="2179638" y="571500"/>
              <a:ext cx="552450" cy="1793875"/>
            </a:xfrm>
            <a:custGeom>
              <a:avLst/>
              <a:gdLst>
                <a:gd name="T0" fmla="*/ 52 w 697"/>
                <a:gd name="T1" fmla="*/ 0 h 2260"/>
                <a:gd name="T2" fmla="*/ 593 w 697"/>
                <a:gd name="T3" fmla="*/ 31 h 2260"/>
                <a:gd name="T4" fmla="*/ 621 w 697"/>
                <a:gd name="T5" fmla="*/ 31 h 2260"/>
                <a:gd name="T6" fmla="*/ 642 w 697"/>
                <a:gd name="T7" fmla="*/ 35 h 2260"/>
                <a:gd name="T8" fmla="*/ 660 w 697"/>
                <a:gd name="T9" fmla="*/ 41 h 2260"/>
                <a:gd name="T10" fmla="*/ 672 w 697"/>
                <a:gd name="T11" fmla="*/ 48 h 2260"/>
                <a:gd name="T12" fmla="*/ 682 w 697"/>
                <a:gd name="T13" fmla="*/ 57 h 2260"/>
                <a:gd name="T14" fmla="*/ 689 w 697"/>
                <a:gd name="T15" fmla="*/ 65 h 2260"/>
                <a:gd name="T16" fmla="*/ 693 w 697"/>
                <a:gd name="T17" fmla="*/ 75 h 2260"/>
                <a:gd name="T18" fmla="*/ 696 w 697"/>
                <a:gd name="T19" fmla="*/ 84 h 2260"/>
                <a:gd name="T20" fmla="*/ 697 w 697"/>
                <a:gd name="T21" fmla="*/ 93 h 2260"/>
                <a:gd name="T22" fmla="*/ 697 w 697"/>
                <a:gd name="T23" fmla="*/ 99 h 2260"/>
                <a:gd name="T24" fmla="*/ 696 w 697"/>
                <a:gd name="T25" fmla="*/ 104 h 2260"/>
                <a:gd name="T26" fmla="*/ 696 w 697"/>
                <a:gd name="T27" fmla="*/ 105 h 2260"/>
                <a:gd name="T28" fmla="*/ 696 w 697"/>
                <a:gd name="T29" fmla="*/ 2158 h 2260"/>
                <a:gd name="T30" fmla="*/ 692 w 697"/>
                <a:gd name="T31" fmla="*/ 2177 h 2260"/>
                <a:gd name="T32" fmla="*/ 682 w 697"/>
                <a:gd name="T33" fmla="*/ 2192 h 2260"/>
                <a:gd name="T34" fmla="*/ 668 w 697"/>
                <a:gd name="T35" fmla="*/ 2204 h 2260"/>
                <a:gd name="T36" fmla="*/ 652 w 697"/>
                <a:gd name="T37" fmla="*/ 2213 h 2260"/>
                <a:gd name="T38" fmla="*/ 634 w 697"/>
                <a:gd name="T39" fmla="*/ 2222 h 2260"/>
                <a:gd name="T40" fmla="*/ 615 w 697"/>
                <a:gd name="T41" fmla="*/ 2227 h 2260"/>
                <a:gd name="T42" fmla="*/ 597 w 697"/>
                <a:gd name="T43" fmla="*/ 2230 h 2260"/>
                <a:gd name="T44" fmla="*/ 582 w 697"/>
                <a:gd name="T45" fmla="*/ 2233 h 2260"/>
                <a:gd name="T46" fmla="*/ 570 w 697"/>
                <a:gd name="T47" fmla="*/ 2234 h 2260"/>
                <a:gd name="T48" fmla="*/ 561 w 697"/>
                <a:gd name="T49" fmla="*/ 2234 h 2260"/>
                <a:gd name="T50" fmla="*/ 558 w 697"/>
                <a:gd name="T51" fmla="*/ 2234 h 2260"/>
                <a:gd name="T52" fmla="*/ 540 w 697"/>
                <a:gd name="T53" fmla="*/ 2239 h 2260"/>
                <a:gd name="T54" fmla="*/ 514 w 697"/>
                <a:gd name="T55" fmla="*/ 2243 h 2260"/>
                <a:gd name="T56" fmla="*/ 483 w 697"/>
                <a:gd name="T57" fmla="*/ 2248 h 2260"/>
                <a:gd name="T58" fmla="*/ 447 w 697"/>
                <a:gd name="T59" fmla="*/ 2250 h 2260"/>
                <a:gd name="T60" fmla="*/ 408 w 697"/>
                <a:gd name="T61" fmla="*/ 2253 h 2260"/>
                <a:gd name="T62" fmla="*/ 366 w 697"/>
                <a:gd name="T63" fmla="*/ 2254 h 2260"/>
                <a:gd name="T64" fmla="*/ 322 w 697"/>
                <a:gd name="T65" fmla="*/ 2256 h 2260"/>
                <a:gd name="T66" fmla="*/ 278 w 697"/>
                <a:gd name="T67" fmla="*/ 2257 h 2260"/>
                <a:gd name="T68" fmla="*/ 235 w 697"/>
                <a:gd name="T69" fmla="*/ 2258 h 2260"/>
                <a:gd name="T70" fmla="*/ 194 w 697"/>
                <a:gd name="T71" fmla="*/ 2258 h 2260"/>
                <a:gd name="T72" fmla="*/ 156 w 697"/>
                <a:gd name="T73" fmla="*/ 2260 h 2260"/>
                <a:gd name="T74" fmla="*/ 123 w 697"/>
                <a:gd name="T75" fmla="*/ 2260 h 2260"/>
                <a:gd name="T76" fmla="*/ 94 w 697"/>
                <a:gd name="T77" fmla="*/ 2260 h 2260"/>
                <a:gd name="T78" fmla="*/ 74 w 697"/>
                <a:gd name="T79" fmla="*/ 2260 h 2260"/>
                <a:gd name="T80" fmla="*/ 60 w 697"/>
                <a:gd name="T81" fmla="*/ 2260 h 2260"/>
                <a:gd name="T82" fmla="*/ 55 w 697"/>
                <a:gd name="T83" fmla="*/ 2260 h 2260"/>
                <a:gd name="T84" fmla="*/ 38 w 697"/>
                <a:gd name="T85" fmla="*/ 2258 h 2260"/>
                <a:gd name="T86" fmla="*/ 26 w 697"/>
                <a:gd name="T87" fmla="*/ 2254 h 2260"/>
                <a:gd name="T88" fmla="*/ 17 w 697"/>
                <a:gd name="T89" fmla="*/ 2246 h 2260"/>
                <a:gd name="T90" fmla="*/ 10 w 697"/>
                <a:gd name="T91" fmla="*/ 2237 h 2260"/>
                <a:gd name="T92" fmla="*/ 4 w 697"/>
                <a:gd name="T93" fmla="*/ 2224 h 2260"/>
                <a:gd name="T94" fmla="*/ 2 w 697"/>
                <a:gd name="T95" fmla="*/ 2213 h 2260"/>
                <a:gd name="T96" fmla="*/ 0 w 697"/>
                <a:gd name="T97" fmla="*/ 2203 h 2260"/>
                <a:gd name="T98" fmla="*/ 0 w 697"/>
                <a:gd name="T99" fmla="*/ 2194 h 2260"/>
                <a:gd name="T100" fmla="*/ 0 w 697"/>
                <a:gd name="T101" fmla="*/ 2188 h 2260"/>
                <a:gd name="T102" fmla="*/ 0 w 697"/>
                <a:gd name="T103" fmla="*/ 2186 h 2260"/>
                <a:gd name="T104" fmla="*/ 0 w 697"/>
                <a:gd name="T105" fmla="*/ 60 h 2260"/>
                <a:gd name="T106" fmla="*/ 3 w 697"/>
                <a:gd name="T107" fmla="*/ 41 h 2260"/>
                <a:gd name="T108" fmla="*/ 8 w 697"/>
                <a:gd name="T109" fmla="*/ 26 h 2260"/>
                <a:gd name="T110" fmla="*/ 17 w 697"/>
                <a:gd name="T111" fmla="*/ 15 h 2260"/>
                <a:gd name="T112" fmla="*/ 26 w 697"/>
                <a:gd name="T113" fmla="*/ 8 h 2260"/>
                <a:gd name="T114" fmla="*/ 36 w 697"/>
                <a:gd name="T115" fmla="*/ 3 h 2260"/>
                <a:gd name="T116" fmla="*/ 44 w 697"/>
                <a:gd name="T117" fmla="*/ 1 h 2260"/>
                <a:gd name="T118" fmla="*/ 49 w 697"/>
                <a:gd name="T119" fmla="*/ 0 h 2260"/>
                <a:gd name="T120" fmla="*/ 52 w 697"/>
                <a:gd name="T121" fmla="*/ 0 h 2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7" h="2260">
                  <a:moveTo>
                    <a:pt x="52" y="0"/>
                  </a:moveTo>
                  <a:lnTo>
                    <a:pt x="593" y="31"/>
                  </a:lnTo>
                  <a:lnTo>
                    <a:pt x="621" y="31"/>
                  </a:lnTo>
                  <a:lnTo>
                    <a:pt x="642" y="35"/>
                  </a:lnTo>
                  <a:lnTo>
                    <a:pt x="660" y="41"/>
                  </a:lnTo>
                  <a:lnTo>
                    <a:pt x="672" y="48"/>
                  </a:lnTo>
                  <a:lnTo>
                    <a:pt x="682" y="57"/>
                  </a:lnTo>
                  <a:lnTo>
                    <a:pt x="689" y="65"/>
                  </a:lnTo>
                  <a:lnTo>
                    <a:pt x="693" y="75"/>
                  </a:lnTo>
                  <a:lnTo>
                    <a:pt x="696" y="84"/>
                  </a:lnTo>
                  <a:lnTo>
                    <a:pt x="697" y="93"/>
                  </a:lnTo>
                  <a:lnTo>
                    <a:pt x="697" y="99"/>
                  </a:lnTo>
                  <a:lnTo>
                    <a:pt x="696" y="104"/>
                  </a:lnTo>
                  <a:lnTo>
                    <a:pt x="696" y="105"/>
                  </a:lnTo>
                  <a:lnTo>
                    <a:pt x="696" y="2158"/>
                  </a:lnTo>
                  <a:lnTo>
                    <a:pt x="692" y="2177"/>
                  </a:lnTo>
                  <a:lnTo>
                    <a:pt x="682" y="2192"/>
                  </a:lnTo>
                  <a:lnTo>
                    <a:pt x="668" y="2204"/>
                  </a:lnTo>
                  <a:lnTo>
                    <a:pt x="652" y="2213"/>
                  </a:lnTo>
                  <a:lnTo>
                    <a:pt x="634" y="2222"/>
                  </a:lnTo>
                  <a:lnTo>
                    <a:pt x="615" y="2227"/>
                  </a:lnTo>
                  <a:lnTo>
                    <a:pt x="597" y="2230"/>
                  </a:lnTo>
                  <a:lnTo>
                    <a:pt x="582" y="2233"/>
                  </a:lnTo>
                  <a:lnTo>
                    <a:pt x="570" y="2234"/>
                  </a:lnTo>
                  <a:lnTo>
                    <a:pt x="561" y="2234"/>
                  </a:lnTo>
                  <a:lnTo>
                    <a:pt x="558" y="2234"/>
                  </a:lnTo>
                  <a:lnTo>
                    <a:pt x="540" y="2239"/>
                  </a:lnTo>
                  <a:lnTo>
                    <a:pt x="514" y="2243"/>
                  </a:lnTo>
                  <a:lnTo>
                    <a:pt x="483" y="2248"/>
                  </a:lnTo>
                  <a:lnTo>
                    <a:pt x="447" y="2250"/>
                  </a:lnTo>
                  <a:lnTo>
                    <a:pt x="408" y="2253"/>
                  </a:lnTo>
                  <a:lnTo>
                    <a:pt x="366" y="2254"/>
                  </a:lnTo>
                  <a:lnTo>
                    <a:pt x="322" y="2256"/>
                  </a:lnTo>
                  <a:lnTo>
                    <a:pt x="278" y="2257"/>
                  </a:lnTo>
                  <a:lnTo>
                    <a:pt x="235" y="2258"/>
                  </a:lnTo>
                  <a:lnTo>
                    <a:pt x="194" y="2258"/>
                  </a:lnTo>
                  <a:lnTo>
                    <a:pt x="156" y="2260"/>
                  </a:lnTo>
                  <a:lnTo>
                    <a:pt x="123" y="2260"/>
                  </a:lnTo>
                  <a:lnTo>
                    <a:pt x="94" y="2260"/>
                  </a:lnTo>
                  <a:lnTo>
                    <a:pt x="74" y="2260"/>
                  </a:lnTo>
                  <a:lnTo>
                    <a:pt x="60" y="2260"/>
                  </a:lnTo>
                  <a:lnTo>
                    <a:pt x="55" y="2260"/>
                  </a:lnTo>
                  <a:lnTo>
                    <a:pt x="38" y="2258"/>
                  </a:lnTo>
                  <a:lnTo>
                    <a:pt x="26" y="2254"/>
                  </a:lnTo>
                  <a:lnTo>
                    <a:pt x="17" y="2246"/>
                  </a:lnTo>
                  <a:lnTo>
                    <a:pt x="10" y="2237"/>
                  </a:lnTo>
                  <a:lnTo>
                    <a:pt x="4" y="2224"/>
                  </a:lnTo>
                  <a:lnTo>
                    <a:pt x="2" y="2213"/>
                  </a:lnTo>
                  <a:lnTo>
                    <a:pt x="0" y="2203"/>
                  </a:lnTo>
                  <a:lnTo>
                    <a:pt x="0" y="2194"/>
                  </a:lnTo>
                  <a:lnTo>
                    <a:pt x="0" y="2188"/>
                  </a:lnTo>
                  <a:lnTo>
                    <a:pt x="0" y="2186"/>
                  </a:lnTo>
                  <a:lnTo>
                    <a:pt x="0" y="60"/>
                  </a:lnTo>
                  <a:lnTo>
                    <a:pt x="3" y="41"/>
                  </a:lnTo>
                  <a:lnTo>
                    <a:pt x="8" y="26"/>
                  </a:lnTo>
                  <a:lnTo>
                    <a:pt x="17" y="15"/>
                  </a:lnTo>
                  <a:lnTo>
                    <a:pt x="26" y="8"/>
                  </a:lnTo>
                  <a:lnTo>
                    <a:pt x="36" y="3"/>
                  </a:lnTo>
                  <a:lnTo>
                    <a:pt x="44" y="1"/>
                  </a:lnTo>
                  <a:lnTo>
                    <a:pt x="49" y="0"/>
                  </a:lnTo>
                  <a:lnTo>
                    <a:pt x="52"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9">
              <a:extLst>
                <a:ext uri="{FF2B5EF4-FFF2-40B4-BE49-F238E27FC236}">
                  <a16:creationId xmlns:a16="http://schemas.microsoft.com/office/drawing/2014/main" id="{A8F11F84-7FE6-2A4A-BF53-980F00ADAA26}"/>
                </a:ext>
              </a:extLst>
            </p:cNvPr>
            <p:cNvSpPr>
              <a:spLocks/>
            </p:cNvSpPr>
            <p:nvPr/>
          </p:nvSpPr>
          <p:spPr bwMode="auto">
            <a:xfrm>
              <a:off x="1581150" y="571500"/>
              <a:ext cx="560388" cy="1793875"/>
            </a:xfrm>
            <a:custGeom>
              <a:avLst/>
              <a:gdLst>
                <a:gd name="T0" fmla="*/ 629 w 707"/>
                <a:gd name="T1" fmla="*/ 0 h 2260"/>
                <a:gd name="T2" fmla="*/ 652 w 707"/>
                <a:gd name="T3" fmla="*/ 0 h 2260"/>
                <a:gd name="T4" fmla="*/ 670 w 707"/>
                <a:gd name="T5" fmla="*/ 4 h 2260"/>
                <a:gd name="T6" fmla="*/ 684 w 707"/>
                <a:gd name="T7" fmla="*/ 11 h 2260"/>
                <a:gd name="T8" fmla="*/ 693 w 707"/>
                <a:gd name="T9" fmla="*/ 19 h 2260"/>
                <a:gd name="T10" fmla="*/ 700 w 707"/>
                <a:gd name="T11" fmla="*/ 29 h 2260"/>
                <a:gd name="T12" fmla="*/ 704 w 707"/>
                <a:gd name="T13" fmla="*/ 38 h 2260"/>
                <a:gd name="T14" fmla="*/ 707 w 707"/>
                <a:gd name="T15" fmla="*/ 46 h 2260"/>
                <a:gd name="T16" fmla="*/ 707 w 707"/>
                <a:gd name="T17" fmla="*/ 53 h 2260"/>
                <a:gd name="T18" fmla="*/ 707 w 707"/>
                <a:gd name="T19" fmla="*/ 59 h 2260"/>
                <a:gd name="T20" fmla="*/ 707 w 707"/>
                <a:gd name="T21" fmla="*/ 60 h 2260"/>
                <a:gd name="T22" fmla="*/ 705 w 707"/>
                <a:gd name="T23" fmla="*/ 2196 h 2260"/>
                <a:gd name="T24" fmla="*/ 707 w 707"/>
                <a:gd name="T25" fmla="*/ 2213 h 2260"/>
                <a:gd name="T26" fmla="*/ 703 w 707"/>
                <a:gd name="T27" fmla="*/ 2228 h 2260"/>
                <a:gd name="T28" fmla="*/ 695 w 707"/>
                <a:gd name="T29" fmla="*/ 2239 h 2260"/>
                <a:gd name="T30" fmla="*/ 684 w 707"/>
                <a:gd name="T31" fmla="*/ 2248 h 2260"/>
                <a:gd name="T32" fmla="*/ 673 w 707"/>
                <a:gd name="T33" fmla="*/ 2253 h 2260"/>
                <a:gd name="T34" fmla="*/ 660 w 707"/>
                <a:gd name="T35" fmla="*/ 2257 h 2260"/>
                <a:gd name="T36" fmla="*/ 651 w 707"/>
                <a:gd name="T37" fmla="*/ 2258 h 2260"/>
                <a:gd name="T38" fmla="*/ 644 w 707"/>
                <a:gd name="T39" fmla="*/ 2260 h 2260"/>
                <a:gd name="T40" fmla="*/ 641 w 707"/>
                <a:gd name="T41" fmla="*/ 2260 h 2260"/>
                <a:gd name="T42" fmla="*/ 48 w 707"/>
                <a:gd name="T43" fmla="*/ 2222 h 2260"/>
                <a:gd name="T44" fmla="*/ 33 w 707"/>
                <a:gd name="T45" fmla="*/ 2218 h 2260"/>
                <a:gd name="T46" fmla="*/ 22 w 707"/>
                <a:gd name="T47" fmla="*/ 2211 h 2260"/>
                <a:gd name="T48" fmla="*/ 13 w 707"/>
                <a:gd name="T49" fmla="*/ 2200 h 2260"/>
                <a:gd name="T50" fmla="*/ 7 w 707"/>
                <a:gd name="T51" fmla="*/ 2189 h 2260"/>
                <a:gd name="T52" fmla="*/ 3 w 707"/>
                <a:gd name="T53" fmla="*/ 2177 h 2260"/>
                <a:gd name="T54" fmla="*/ 2 w 707"/>
                <a:gd name="T55" fmla="*/ 2166 h 2260"/>
                <a:gd name="T56" fmla="*/ 0 w 707"/>
                <a:gd name="T57" fmla="*/ 2156 h 2260"/>
                <a:gd name="T58" fmla="*/ 0 w 707"/>
                <a:gd name="T59" fmla="*/ 2149 h 2260"/>
                <a:gd name="T60" fmla="*/ 0 w 707"/>
                <a:gd name="T61" fmla="*/ 2147 h 2260"/>
                <a:gd name="T62" fmla="*/ 0 w 707"/>
                <a:gd name="T63" fmla="*/ 195 h 2260"/>
                <a:gd name="T64" fmla="*/ 2 w 707"/>
                <a:gd name="T65" fmla="*/ 176 h 2260"/>
                <a:gd name="T66" fmla="*/ 7 w 707"/>
                <a:gd name="T67" fmla="*/ 161 h 2260"/>
                <a:gd name="T68" fmla="*/ 14 w 707"/>
                <a:gd name="T69" fmla="*/ 150 h 2260"/>
                <a:gd name="T70" fmla="*/ 22 w 707"/>
                <a:gd name="T71" fmla="*/ 143 h 2260"/>
                <a:gd name="T72" fmla="*/ 30 w 707"/>
                <a:gd name="T73" fmla="*/ 138 h 2260"/>
                <a:gd name="T74" fmla="*/ 39 w 707"/>
                <a:gd name="T75" fmla="*/ 135 h 2260"/>
                <a:gd name="T76" fmla="*/ 43 w 707"/>
                <a:gd name="T77" fmla="*/ 135 h 2260"/>
                <a:gd name="T78" fmla="*/ 45 w 707"/>
                <a:gd name="T79" fmla="*/ 134 h 2260"/>
                <a:gd name="T80" fmla="*/ 629 w 707"/>
                <a:gd name="T81" fmla="*/ 0 h 2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7" h="2260">
                  <a:moveTo>
                    <a:pt x="629" y="0"/>
                  </a:moveTo>
                  <a:lnTo>
                    <a:pt x="652" y="0"/>
                  </a:lnTo>
                  <a:lnTo>
                    <a:pt x="670" y="4"/>
                  </a:lnTo>
                  <a:lnTo>
                    <a:pt x="684" y="11"/>
                  </a:lnTo>
                  <a:lnTo>
                    <a:pt x="693" y="19"/>
                  </a:lnTo>
                  <a:lnTo>
                    <a:pt x="700" y="29"/>
                  </a:lnTo>
                  <a:lnTo>
                    <a:pt x="704" y="38"/>
                  </a:lnTo>
                  <a:lnTo>
                    <a:pt x="707" y="46"/>
                  </a:lnTo>
                  <a:lnTo>
                    <a:pt x="707" y="53"/>
                  </a:lnTo>
                  <a:lnTo>
                    <a:pt x="707" y="59"/>
                  </a:lnTo>
                  <a:lnTo>
                    <a:pt x="707" y="60"/>
                  </a:lnTo>
                  <a:lnTo>
                    <a:pt x="705" y="2196"/>
                  </a:lnTo>
                  <a:lnTo>
                    <a:pt x="707" y="2213"/>
                  </a:lnTo>
                  <a:lnTo>
                    <a:pt x="703" y="2228"/>
                  </a:lnTo>
                  <a:lnTo>
                    <a:pt x="695" y="2239"/>
                  </a:lnTo>
                  <a:lnTo>
                    <a:pt x="684" y="2248"/>
                  </a:lnTo>
                  <a:lnTo>
                    <a:pt x="673" y="2253"/>
                  </a:lnTo>
                  <a:lnTo>
                    <a:pt x="660" y="2257"/>
                  </a:lnTo>
                  <a:lnTo>
                    <a:pt x="651" y="2258"/>
                  </a:lnTo>
                  <a:lnTo>
                    <a:pt x="644" y="2260"/>
                  </a:lnTo>
                  <a:lnTo>
                    <a:pt x="641" y="2260"/>
                  </a:lnTo>
                  <a:lnTo>
                    <a:pt x="48" y="2222"/>
                  </a:lnTo>
                  <a:lnTo>
                    <a:pt x="33" y="2218"/>
                  </a:lnTo>
                  <a:lnTo>
                    <a:pt x="22" y="2211"/>
                  </a:lnTo>
                  <a:lnTo>
                    <a:pt x="13" y="2200"/>
                  </a:lnTo>
                  <a:lnTo>
                    <a:pt x="7" y="2189"/>
                  </a:lnTo>
                  <a:lnTo>
                    <a:pt x="3" y="2177"/>
                  </a:lnTo>
                  <a:lnTo>
                    <a:pt x="2" y="2166"/>
                  </a:lnTo>
                  <a:lnTo>
                    <a:pt x="0" y="2156"/>
                  </a:lnTo>
                  <a:lnTo>
                    <a:pt x="0" y="2149"/>
                  </a:lnTo>
                  <a:lnTo>
                    <a:pt x="0" y="2147"/>
                  </a:lnTo>
                  <a:lnTo>
                    <a:pt x="0" y="195"/>
                  </a:lnTo>
                  <a:lnTo>
                    <a:pt x="2" y="176"/>
                  </a:lnTo>
                  <a:lnTo>
                    <a:pt x="7" y="161"/>
                  </a:lnTo>
                  <a:lnTo>
                    <a:pt x="14" y="150"/>
                  </a:lnTo>
                  <a:lnTo>
                    <a:pt x="22" y="143"/>
                  </a:lnTo>
                  <a:lnTo>
                    <a:pt x="30" y="138"/>
                  </a:lnTo>
                  <a:lnTo>
                    <a:pt x="39" y="135"/>
                  </a:lnTo>
                  <a:lnTo>
                    <a:pt x="43" y="135"/>
                  </a:lnTo>
                  <a:lnTo>
                    <a:pt x="45" y="134"/>
                  </a:lnTo>
                  <a:lnTo>
                    <a:pt x="629"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10">
              <a:extLst>
                <a:ext uri="{FF2B5EF4-FFF2-40B4-BE49-F238E27FC236}">
                  <a16:creationId xmlns:a16="http://schemas.microsoft.com/office/drawing/2014/main" id="{6B27B61F-555F-994F-8F1B-2DE471B581EA}"/>
                </a:ext>
              </a:extLst>
            </p:cNvPr>
            <p:cNvSpPr>
              <a:spLocks/>
            </p:cNvSpPr>
            <p:nvPr/>
          </p:nvSpPr>
          <p:spPr bwMode="auto">
            <a:xfrm>
              <a:off x="985838" y="401638"/>
              <a:ext cx="557213" cy="2265363"/>
            </a:xfrm>
            <a:custGeom>
              <a:avLst/>
              <a:gdLst>
                <a:gd name="T0" fmla="*/ 456 w 703"/>
                <a:gd name="T1" fmla="*/ 21 h 2855"/>
                <a:gd name="T2" fmla="*/ 524 w 703"/>
                <a:gd name="T3" fmla="*/ 73 h 2855"/>
                <a:gd name="T4" fmla="*/ 573 w 703"/>
                <a:gd name="T5" fmla="*/ 134 h 2855"/>
                <a:gd name="T6" fmla="*/ 607 w 703"/>
                <a:gd name="T7" fmla="*/ 199 h 2855"/>
                <a:gd name="T8" fmla="*/ 628 w 703"/>
                <a:gd name="T9" fmla="*/ 262 h 2855"/>
                <a:gd name="T10" fmla="*/ 640 w 703"/>
                <a:gd name="T11" fmla="*/ 318 h 2855"/>
                <a:gd name="T12" fmla="*/ 644 w 703"/>
                <a:gd name="T13" fmla="*/ 362 h 2855"/>
                <a:gd name="T14" fmla="*/ 644 w 703"/>
                <a:gd name="T15" fmla="*/ 385 h 2855"/>
                <a:gd name="T16" fmla="*/ 659 w 703"/>
                <a:gd name="T17" fmla="*/ 380 h 2855"/>
                <a:gd name="T18" fmla="*/ 681 w 703"/>
                <a:gd name="T19" fmla="*/ 378 h 2855"/>
                <a:gd name="T20" fmla="*/ 695 w 703"/>
                <a:gd name="T21" fmla="*/ 390 h 2855"/>
                <a:gd name="T22" fmla="*/ 700 w 703"/>
                <a:gd name="T23" fmla="*/ 404 h 2855"/>
                <a:gd name="T24" fmla="*/ 703 w 703"/>
                <a:gd name="T25" fmla="*/ 411 h 2855"/>
                <a:gd name="T26" fmla="*/ 696 w 703"/>
                <a:gd name="T27" fmla="*/ 2405 h 2855"/>
                <a:gd name="T28" fmla="*/ 678 w 703"/>
                <a:gd name="T29" fmla="*/ 2425 h 2855"/>
                <a:gd name="T30" fmla="*/ 658 w 703"/>
                <a:gd name="T31" fmla="*/ 2429 h 2855"/>
                <a:gd name="T32" fmla="*/ 639 w 703"/>
                <a:gd name="T33" fmla="*/ 2423 h 2855"/>
                <a:gd name="T34" fmla="*/ 626 w 703"/>
                <a:gd name="T35" fmla="*/ 2416 h 2855"/>
                <a:gd name="T36" fmla="*/ 625 w 703"/>
                <a:gd name="T37" fmla="*/ 2792 h 2855"/>
                <a:gd name="T38" fmla="*/ 602 w 703"/>
                <a:gd name="T39" fmla="*/ 2833 h 2855"/>
                <a:gd name="T40" fmla="*/ 576 w 703"/>
                <a:gd name="T41" fmla="*/ 2851 h 2855"/>
                <a:gd name="T42" fmla="*/ 554 w 703"/>
                <a:gd name="T43" fmla="*/ 2855 h 2855"/>
                <a:gd name="T44" fmla="*/ 545 w 703"/>
                <a:gd name="T45" fmla="*/ 2855 h 2855"/>
                <a:gd name="T46" fmla="*/ 160 w 703"/>
                <a:gd name="T47" fmla="*/ 2848 h 2855"/>
                <a:gd name="T48" fmla="*/ 140 w 703"/>
                <a:gd name="T49" fmla="*/ 2826 h 2855"/>
                <a:gd name="T50" fmla="*/ 129 w 703"/>
                <a:gd name="T51" fmla="*/ 2802 h 2855"/>
                <a:gd name="T52" fmla="*/ 126 w 703"/>
                <a:gd name="T53" fmla="*/ 2783 h 2855"/>
                <a:gd name="T54" fmla="*/ 126 w 703"/>
                <a:gd name="T55" fmla="*/ 2303 h 2855"/>
                <a:gd name="T56" fmla="*/ 22 w 703"/>
                <a:gd name="T57" fmla="*/ 2162 h 2855"/>
                <a:gd name="T58" fmla="*/ 5 w 703"/>
                <a:gd name="T59" fmla="*/ 2123 h 2855"/>
                <a:gd name="T60" fmla="*/ 0 w 703"/>
                <a:gd name="T61" fmla="*/ 2095 h 2855"/>
                <a:gd name="T62" fmla="*/ 0 w 703"/>
                <a:gd name="T63" fmla="*/ 729 h 2855"/>
                <a:gd name="T64" fmla="*/ 11 w 703"/>
                <a:gd name="T65" fmla="*/ 686 h 2855"/>
                <a:gd name="T66" fmla="*/ 37 w 703"/>
                <a:gd name="T67" fmla="*/ 656 h 2855"/>
                <a:gd name="T68" fmla="*/ 62 w 703"/>
                <a:gd name="T69" fmla="*/ 639 h 2855"/>
                <a:gd name="T70" fmla="*/ 74 w 703"/>
                <a:gd name="T71" fmla="*/ 632 h 2855"/>
                <a:gd name="T72" fmla="*/ 149 w 703"/>
                <a:gd name="T73" fmla="*/ 506 h 2855"/>
                <a:gd name="T74" fmla="*/ 114 w 703"/>
                <a:gd name="T75" fmla="*/ 414 h 2855"/>
                <a:gd name="T76" fmla="*/ 100 w 703"/>
                <a:gd name="T77" fmla="*/ 332 h 2855"/>
                <a:gd name="T78" fmla="*/ 101 w 703"/>
                <a:gd name="T79" fmla="*/ 262 h 2855"/>
                <a:gd name="T80" fmla="*/ 114 w 703"/>
                <a:gd name="T81" fmla="*/ 206 h 2855"/>
                <a:gd name="T82" fmla="*/ 133 w 703"/>
                <a:gd name="T83" fmla="*/ 163 h 2855"/>
                <a:gd name="T84" fmla="*/ 152 w 703"/>
                <a:gd name="T85" fmla="*/ 131 h 2855"/>
                <a:gd name="T86" fmla="*/ 167 w 703"/>
                <a:gd name="T87" fmla="*/ 112 h 2855"/>
                <a:gd name="T88" fmla="*/ 174 w 703"/>
                <a:gd name="T89" fmla="*/ 107 h 2855"/>
                <a:gd name="T90" fmla="*/ 219 w 703"/>
                <a:gd name="T91" fmla="*/ 124 h 2855"/>
                <a:gd name="T92" fmla="*/ 262 w 703"/>
                <a:gd name="T93" fmla="*/ 157 h 2855"/>
                <a:gd name="T94" fmla="*/ 302 w 703"/>
                <a:gd name="T95" fmla="*/ 198 h 2855"/>
                <a:gd name="T96" fmla="*/ 333 w 703"/>
                <a:gd name="T97" fmla="*/ 239 h 2855"/>
                <a:gd name="T98" fmla="*/ 358 w 703"/>
                <a:gd name="T99" fmla="*/ 272 h 2855"/>
                <a:gd name="T100" fmla="*/ 370 w 703"/>
                <a:gd name="T101" fmla="*/ 292 h 2855"/>
                <a:gd name="T102" fmla="*/ 365 w 703"/>
                <a:gd name="T103" fmla="*/ 249 h 2855"/>
                <a:gd name="T104" fmla="*/ 359 w 703"/>
                <a:gd name="T105" fmla="*/ 168 h 2855"/>
                <a:gd name="T106" fmla="*/ 366 w 703"/>
                <a:gd name="T107" fmla="*/ 104 h 2855"/>
                <a:gd name="T108" fmla="*/ 380 w 703"/>
                <a:gd name="T109" fmla="*/ 58 h 2855"/>
                <a:gd name="T110" fmla="*/ 396 w 703"/>
                <a:gd name="T111" fmla="*/ 25 h 2855"/>
                <a:gd name="T112" fmla="*/ 408 w 703"/>
                <a:gd name="T113" fmla="*/ 7 h 2855"/>
                <a:gd name="T114" fmla="*/ 414 w 703"/>
                <a:gd name="T115" fmla="*/ 0 h 2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3" h="2855">
                  <a:moveTo>
                    <a:pt x="414" y="0"/>
                  </a:moveTo>
                  <a:lnTo>
                    <a:pt x="456" y="21"/>
                  </a:lnTo>
                  <a:lnTo>
                    <a:pt x="493" y="45"/>
                  </a:lnTo>
                  <a:lnTo>
                    <a:pt x="524" y="73"/>
                  </a:lnTo>
                  <a:lnTo>
                    <a:pt x="551" y="103"/>
                  </a:lnTo>
                  <a:lnTo>
                    <a:pt x="573" y="134"/>
                  </a:lnTo>
                  <a:lnTo>
                    <a:pt x="592" y="167"/>
                  </a:lnTo>
                  <a:lnTo>
                    <a:pt x="607" y="199"/>
                  </a:lnTo>
                  <a:lnTo>
                    <a:pt x="620" y="232"/>
                  </a:lnTo>
                  <a:lnTo>
                    <a:pt x="628" y="262"/>
                  </a:lnTo>
                  <a:lnTo>
                    <a:pt x="635" y="292"/>
                  </a:lnTo>
                  <a:lnTo>
                    <a:pt x="640" y="318"/>
                  </a:lnTo>
                  <a:lnTo>
                    <a:pt x="643" y="341"/>
                  </a:lnTo>
                  <a:lnTo>
                    <a:pt x="644" y="362"/>
                  </a:lnTo>
                  <a:lnTo>
                    <a:pt x="644" y="375"/>
                  </a:lnTo>
                  <a:lnTo>
                    <a:pt x="644" y="385"/>
                  </a:lnTo>
                  <a:lnTo>
                    <a:pt x="644" y="389"/>
                  </a:lnTo>
                  <a:lnTo>
                    <a:pt x="659" y="380"/>
                  </a:lnTo>
                  <a:lnTo>
                    <a:pt x="671" y="377"/>
                  </a:lnTo>
                  <a:lnTo>
                    <a:pt x="681" y="378"/>
                  </a:lnTo>
                  <a:lnTo>
                    <a:pt x="688" y="384"/>
                  </a:lnTo>
                  <a:lnTo>
                    <a:pt x="695" y="390"/>
                  </a:lnTo>
                  <a:lnTo>
                    <a:pt x="697" y="397"/>
                  </a:lnTo>
                  <a:lnTo>
                    <a:pt x="700" y="404"/>
                  </a:lnTo>
                  <a:lnTo>
                    <a:pt x="701" y="410"/>
                  </a:lnTo>
                  <a:lnTo>
                    <a:pt x="703" y="411"/>
                  </a:lnTo>
                  <a:lnTo>
                    <a:pt x="703" y="2386"/>
                  </a:lnTo>
                  <a:lnTo>
                    <a:pt x="696" y="2405"/>
                  </a:lnTo>
                  <a:lnTo>
                    <a:pt x="688" y="2419"/>
                  </a:lnTo>
                  <a:lnTo>
                    <a:pt x="678" y="2425"/>
                  </a:lnTo>
                  <a:lnTo>
                    <a:pt x="669" y="2429"/>
                  </a:lnTo>
                  <a:lnTo>
                    <a:pt x="658" y="2429"/>
                  </a:lnTo>
                  <a:lnTo>
                    <a:pt x="648" y="2427"/>
                  </a:lnTo>
                  <a:lnTo>
                    <a:pt x="639" y="2423"/>
                  </a:lnTo>
                  <a:lnTo>
                    <a:pt x="632" y="2419"/>
                  </a:lnTo>
                  <a:lnTo>
                    <a:pt x="626" y="2416"/>
                  </a:lnTo>
                  <a:lnTo>
                    <a:pt x="625" y="2414"/>
                  </a:lnTo>
                  <a:lnTo>
                    <a:pt x="625" y="2792"/>
                  </a:lnTo>
                  <a:lnTo>
                    <a:pt x="614" y="2817"/>
                  </a:lnTo>
                  <a:lnTo>
                    <a:pt x="602" y="2833"/>
                  </a:lnTo>
                  <a:lnTo>
                    <a:pt x="588" y="2844"/>
                  </a:lnTo>
                  <a:lnTo>
                    <a:pt x="576" y="2851"/>
                  </a:lnTo>
                  <a:lnTo>
                    <a:pt x="564" y="2855"/>
                  </a:lnTo>
                  <a:lnTo>
                    <a:pt x="554" y="2855"/>
                  </a:lnTo>
                  <a:lnTo>
                    <a:pt x="547" y="2855"/>
                  </a:lnTo>
                  <a:lnTo>
                    <a:pt x="545" y="2855"/>
                  </a:lnTo>
                  <a:lnTo>
                    <a:pt x="176" y="2855"/>
                  </a:lnTo>
                  <a:lnTo>
                    <a:pt x="160" y="2848"/>
                  </a:lnTo>
                  <a:lnTo>
                    <a:pt x="148" y="2839"/>
                  </a:lnTo>
                  <a:lnTo>
                    <a:pt x="140" y="2826"/>
                  </a:lnTo>
                  <a:lnTo>
                    <a:pt x="133" y="2814"/>
                  </a:lnTo>
                  <a:lnTo>
                    <a:pt x="129" y="2802"/>
                  </a:lnTo>
                  <a:lnTo>
                    <a:pt x="126" y="2791"/>
                  </a:lnTo>
                  <a:lnTo>
                    <a:pt x="126" y="2783"/>
                  </a:lnTo>
                  <a:lnTo>
                    <a:pt x="126" y="2780"/>
                  </a:lnTo>
                  <a:lnTo>
                    <a:pt x="126" y="2303"/>
                  </a:lnTo>
                  <a:lnTo>
                    <a:pt x="39" y="2180"/>
                  </a:lnTo>
                  <a:lnTo>
                    <a:pt x="22" y="2162"/>
                  </a:lnTo>
                  <a:lnTo>
                    <a:pt x="11" y="2142"/>
                  </a:lnTo>
                  <a:lnTo>
                    <a:pt x="5" y="2123"/>
                  </a:lnTo>
                  <a:lnTo>
                    <a:pt x="2" y="2106"/>
                  </a:lnTo>
                  <a:lnTo>
                    <a:pt x="0" y="2095"/>
                  </a:lnTo>
                  <a:lnTo>
                    <a:pt x="0" y="2091"/>
                  </a:lnTo>
                  <a:lnTo>
                    <a:pt x="0" y="729"/>
                  </a:lnTo>
                  <a:lnTo>
                    <a:pt x="3" y="705"/>
                  </a:lnTo>
                  <a:lnTo>
                    <a:pt x="11" y="686"/>
                  </a:lnTo>
                  <a:lnTo>
                    <a:pt x="24" y="670"/>
                  </a:lnTo>
                  <a:lnTo>
                    <a:pt x="37" y="656"/>
                  </a:lnTo>
                  <a:lnTo>
                    <a:pt x="51" y="645"/>
                  </a:lnTo>
                  <a:lnTo>
                    <a:pt x="62" y="639"/>
                  </a:lnTo>
                  <a:lnTo>
                    <a:pt x="71" y="633"/>
                  </a:lnTo>
                  <a:lnTo>
                    <a:pt x="74" y="632"/>
                  </a:lnTo>
                  <a:lnTo>
                    <a:pt x="176" y="558"/>
                  </a:lnTo>
                  <a:lnTo>
                    <a:pt x="149" y="506"/>
                  </a:lnTo>
                  <a:lnTo>
                    <a:pt x="129" y="459"/>
                  </a:lnTo>
                  <a:lnTo>
                    <a:pt x="114" y="414"/>
                  </a:lnTo>
                  <a:lnTo>
                    <a:pt x="104" y="371"/>
                  </a:lnTo>
                  <a:lnTo>
                    <a:pt x="100" y="332"/>
                  </a:lnTo>
                  <a:lnTo>
                    <a:pt x="99" y="296"/>
                  </a:lnTo>
                  <a:lnTo>
                    <a:pt x="101" y="262"/>
                  </a:lnTo>
                  <a:lnTo>
                    <a:pt x="107" y="234"/>
                  </a:lnTo>
                  <a:lnTo>
                    <a:pt x="114" y="206"/>
                  </a:lnTo>
                  <a:lnTo>
                    <a:pt x="123" y="183"/>
                  </a:lnTo>
                  <a:lnTo>
                    <a:pt x="133" y="163"/>
                  </a:lnTo>
                  <a:lnTo>
                    <a:pt x="142" y="145"/>
                  </a:lnTo>
                  <a:lnTo>
                    <a:pt x="152" y="131"/>
                  </a:lnTo>
                  <a:lnTo>
                    <a:pt x="160" y="120"/>
                  </a:lnTo>
                  <a:lnTo>
                    <a:pt x="167" y="112"/>
                  </a:lnTo>
                  <a:lnTo>
                    <a:pt x="172" y="108"/>
                  </a:lnTo>
                  <a:lnTo>
                    <a:pt x="174" y="107"/>
                  </a:lnTo>
                  <a:lnTo>
                    <a:pt x="197" y="114"/>
                  </a:lnTo>
                  <a:lnTo>
                    <a:pt x="219" y="124"/>
                  </a:lnTo>
                  <a:lnTo>
                    <a:pt x="240" y="139"/>
                  </a:lnTo>
                  <a:lnTo>
                    <a:pt x="262" y="157"/>
                  </a:lnTo>
                  <a:lnTo>
                    <a:pt x="283" y="178"/>
                  </a:lnTo>
                  <a:lnTo>
                    <a:pt x="302" y="198"/>
                  </a:lnTo>
                  <a:lnTo>
                    <a:pt x="318" y="219"/>
                  </a:lnTo>
                  <a:lnTo>
                    <a:pt x="333" y="239"/>
                  </a:lnTo>
                  <a:lnTo>
                    <a:pt x="347" y="257"/>
                  </a:lnTo>
                  <a:lnTo>
                    <a:pt x="358" y="272"/>
                  </a:lnTo>
                  <a:lnTo>
                    <a:pt x="366" y="284"/>
                  </a:lnTo>
                  <a:lnTo>
                    <a:pt x="370" y="292"/>
                  </a:lnTo>
                  <a:lnTo>
                    <a:pt x="373" y="295"/>
                  </a:lnTo>
                  <a:lnTo>
                    <a:pt x="365" y="249"/>
                  </a:lnTo>
                  <a:lnTo>
                    <a:pt x="360" y="206"/>
                  </a:lnTo>
                  <a:lnTo>
                    <a:pt x="359" y="168"/>
                  </a:lnTo>
                  <a:lnTo>
                    <a:pt x="362" y="134"/>
                  </a:lnTo>
                  <a:lnTo>
                    <a:pt x="366" y="104"/>
                  </a:lnTo>
                  <a:lnTo>
                    <a:pt x="373" y="79"/>
                  </a:lnTo>
                  <a:lnTo>
                    <a:pt x="380" y="58"/>
                  </a:lnTo>
                  <a:lnTo>
                    <a:pt x="388" y="40"/>
                  </a:lnTo>
                  <a:lnTo>
                    <a:pt x="396" y="25"/>
                  </a:lnTo>
                  <a:lnTo>
                    <a:pt x="403" y="14"/>
                  </a:lnTo>
                  <a:lnTo>
                    <a:pt x="408" y="7"/>
                  </a:lnTo>
                  <a:lnTo>
                    <a:pt x="412" y="2"/>
                  </a:lnTo>
                  <a:lnTo>
                    <a:pt x="41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11">
              <a:extLst>
                <a:ext uri="{FF2B5EF4-FFF2-40B4-BE49-F238E27FC236}">
                  <a16:creationId xmlns:a16="http://schemas.microsoft.com/office/drawing/2014/main" id="{56F76615-1B8F-1942-A2E1-DE7A18B711FE}"/>
                </a:ext>
              </a:extLst>
            </p:cNvPr>
            <p:cNvSpPr>
              <a:spLocks/>
            </p:cNvSpPr>
            <p:nvPr/>
          </p:nvSpPr>
          <p:spPr bwMode="auto">
            <a:xfrm>
              <a:off x="374650" y="982663"/>
              <a:ext cx="576263" cy="1054100"/>
            </a:xfrm>
            <a:custGeom>
              <a:avLst/>
              <a:gdLst>
                <a:gd name="T0" fmla="*/ 715 w 725"/>
                <a:gd name="T1" fmla="*/ 0 h 1328"/>
                <a:gd name="T2" fmla="*/ 724 w 725"/>
                <a:gd name="T3" fmla="*/ 13 h 1328"/>
                <a:gd name="T4" fmla="*/ 725 w 725"/>
                <a:gd name="T5" fmla="*/ 1308 h 1328"/>
                <a:gd name="T6" fmla="*/ 724 w 725"/>
                <a:gd name="T7" fmla="*/ 1315 h 1328"/>
                <a:gd name="T8" fmla="*/ 721 w 725"/>
                <a:gd name="T9" fmla="*/ 1325 h 1328"/>
                <a:gd name="T10" fmla="*/ 713 w 725"/>
                <a:gd name="T11" fmla="*/ 1327 h 1328"/>
                <a:gd name="T12" fmla="*/ 698 w 725"/>
                <a:gd name="T13" fmla="*/ 1308 h 1328"/>
                <a:gd name="T14" fmla="*/ 536 w 725"/>
                <a:gd name="T15" fmla="*/ 1105 h 1328"/>
                <a:gd name="T16" fmla="*/ 518 w 725"/>
                <a:gd name="T17" fmla="*/ 1090 h 1328"/>
                <a:gd name="T18" fmla="*/ 487 w 725"/>
                <a:gd name="T19" fmla="*/ 1068 h 1328"/>
                <a:gd name="T20" fmla="*/ 447 w 725"/>
                <a:gd name="T21" fmla="*/ 1045 h 1328"/>
                <a:gd name="T22" fmla="*/ 404 w 725"/>
                <a:gd name="T23" fmla="*/ 1025 h 1328"/>
                <a:gd name="T24" fmla="*/ 376 w 725"/>
                <a:gd name="T25" fmla="*/ 1019 h 1328"/>
                <a:gd name="T26" fmla="*/ 348 w 725"/>
                <a:gd name="T27" fmla="*/ 1012 h 1328"/>
                <a:gd name="T28" fmla="*/ 297 w 725"/>
                <a:gd name="T29" fmla="*/ 1001 h 1328"/>
                <a:gd name="T30" fmla="*/ 233 w 725"/>
                <a:gd name="T31" fmla="*/ 990 h 1328"/>
                <a:gd name="T32" fmla="*/ 162 w 725"/>
                <a:gd name="T33" fmla="*/ 979 h 1328"/>
                <a:gd name="T34" fmla="*/ 94 w 725"/>
                <a:gd name="T35" fmla="*/ 974 h 1328"/>
                <a:gd name="T36" fmla="*/ 37 w 725"/>
                <a:gd name="T37" fmla="*/ 975 h 1328"/>
                <a:gd name="T38" fmla="*/ 31 w 725"/>
                <a:gd name="T39" fmla="*/ 960 h 1328"/>
                <a:gd name="T40" fmla="*/ 22 w 725"/>
                <a:gd name="T41" fmla="*/ 919 h 1328"/>
                <a:gd name="T42" fmla="*/ 11 w 725"/>
                <a:gd name="T43" fmla="*/ 856 h 1328"/>
                <a:gd name="T44" fmla="*/ 1 w 725"/>
                <a:gd name="T45" fmla="*/ 777 h 1328"/>
                <a:gd name="T46" fmla="*/ 0 w 725"/>
                <a:gd name="T47" fmla="*/ 687 h 1328"/>
                <a:gd name="T48" fmla="*/ 11 w 725"/>
                <a:gd name="T49" fmla="*/ 590 h 1328"/>
                <a:gd name="T50" fmla="*/ 37 w 725"/>
                <a:gd name="T51" fmla="*/ 492 h 1328"/>
                <a:gd name="T52" fmla="*/ 53 w 725"/>
                <a:gd name="T53" fmla="*/ 488 h 1328"/>
                <a:gd name="T54" fmla="*/ 98 w 725"/>
                <a:gd name="T55" fmla="*/ 477 h 1328"/>
                <a:gd name="T56" fmla="*/ 164 w 725"/>
                <a:gd name="T57" fmla="*/ 457 h 1328"/>
                <a:gd name="T58" fmla="*/ 240 w 725"/>
                <a:gd name="T59" fmla="*/ 427 h 1328"/>
                <a:gd name="T60" fmla="*/ 320 w 725"/>
                <a:gd name="T61" fmla="*/ 386 h 1328"/>
                <a:gd name="T62" fmla="*/ 331 w 725"/>
                <a:gd name="T63" fmla="*/ 379 h 1328"/>
                <a:gd name="T64" fmla="*/ 360 w 725"/>
                <a:gd name="T65" fmla="*/ 358 h 1328"/>
                <a:gd name="T66" fmla="*/ 398 w 725"/>
                <a:gd name="T67" fmla="*/ 333 h 1328"/>
                <a:gd name="T68" fmla="*/ 438 w 725"/>
                <a:gd name="T69" fmla="*/ 303 h 1328"/>
                <a:gd name="T70" fmla="*/ 470 w 725"/>
                <a:gd name="T71" fmla="*/ 275 h 1328"/>
                <a:gd name="T72" fmla="*/ 479 w 725"/>
                <a:gd name="T73" fmla="*/ 266 h 1328"/>
                <a:gd name="T74" fmla="*/ 500 w 725"/>
                <a:gd name="T75" fmla="*/ 238 h 1328"/>
                <a:gd name="T76" fmla="*/ 530 w 725"/>
                <a:gd name="T77" fmla="*/ 199 h 1328"/>
                <a:gd name="T78" fmla="*/ 567 w 725"/>
                <a:gd name="T79" fmla="*/ 154 h 1328"/>
                <a:gd name="T80" fmla="*/ 604 w 725"/>
                <a:gd name="T81" fmla="*/ 108 h 1328"/>
                <a:gd name="T82" fmla="*/ 640 w 725"/>
                <a:gd name="T83" fmla="*/ 65 h 1328"/>
                <a:gd name="T84" fmla="*/ 668 w 725"/>
                <a:gd name="T85" fmla="*/ 34 h 1328"/>
                <a:gd name="T86" fmla="*/ 686 w 725"/>
                <a:gd name="T87" fmla="*/ 16 h 1328"/>
                <a:gd name="T88" fmla="*/ 690 w 725"/>
                <a:gd name="T89" fmla="*/ 11 h 1328"/>
                <a:gd name="T90" fmla="*/ 702 w 725"/>
                <a:gd name="T91" fmla="*/ 3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5" h="1328">
                  <a:moveTo>
                    <a:pt x="709" y="0"/>
                  </a:moveTo>
                  <a:lnTo>
                    <a:pt x="715" y="0"/>
                  </a:lnTo>
                  <a:lnTo>
                    <a:pt x="720" y="4"/>
                  </a:lnTo>
                  <a:lnTo>
                    <a:pt x="724" y="13"/>
                  </a:lnTo>
                  <a:lnTo>
                    <a:pt x="725" y="28"/>
                  </a:lnTo>
                  <a:lnTo>
                    <a:pt x="725" y="1308"/>
                  </a:lnTo>
                  <a:lnTo>
                    <a:pt x="725" y="1310"/>
                  </a:lnTo>
                  <a:lnTo>
                    <a:pt x="724" y="1315"/>
                  </a:lnTo>
                  <a:lnTo>
                    <a:pt x="723" y="1320"/>
                  </a:lnTo>
                  <a:lnTo>
                    <a:pt x="721" y="1325"/>
                  </a:lnTo>
                  <a:lnTo>
                    <a:pt x="717" y="1328"/>
                  </a:lnTo>
                  <a:lnTo>
                    <a:pt x="713" y="1327"/>
                  </a:lnTo>
                  <a:lnTo>
                    <a:pt x="706" y="1321"/>
                  </a:lnTo>
                  <a:lnTo>
                    <a:pt x="698" y="1308"/>
                  </a:lnTo>
                  <a:lnTo>
                    <a:pt x="537" y="1106"/>
                  </a:lnTo>
                  <a:lnTo>
                    <a:pt x="536" y="1105"/>
                  </a:lnTo>
                  <a:lnTo>
                    <a:pt x="529" y="1098"/>
                  </a:lnTo>
                  <a:lnTo>
                    <a:pt x="518" y="1090"/>
                  </a:lnTo>
                  <a:lnTo>
                    <a:pt x="505" y="1080"/>
                  </a:lnTo>
                  <a:lnTo>
                    <a:pt x="487" y="1068"/>
                  </a:lnTo>
                  <a:lnTo>
                    <a:pt x="468" y="1055"/>
                  </a:lnTo>
                  <a:lnTo>
                    <a:pt x="447" y="1045"/>
                  </a:lnTo>
                  <a:lnTo>
                    <a:pt x="425" y="1034"/>
                  </a:lnTo>
                  <a:lnTo>
                    <a:pt x="404" y="1025"/>
                  </a:lnTo>
                  <a:lnTo>
                    <a:pt x="380" y="1020"/>
                  </a:lnTo>
                  <a:lnTo>
                    <a:pt x="376" y="1019"/>
                  </a:lnTo>
                  <a:lnTo>
                    <a:pt x="365" y="1016"/>
                  </a:lnTo>
                  <a:lnTo>
                    <a:pt x="348" y="1012"/>
                  </a:lnTo>
                  <a:lnTo>
                    <a:pt x="325" y="1006"/>
                  </a:lnTo>
                  <a:lnTo>
                    <a:pt x="297" y="1001"/>
                  </a:lnTo>
                  <a:lnTo>
                    <a:pt x="266" y="995"/>
                  </a:lnTo>
                  <a:lnTo>
                    <a:pt x="233" y="990"/>
                  </a:lnTo>
                  <a:lnTo>
                    <a:pt x="198" y="985"/>
                  </a:lnTo>
                  <a:lnTo>
                    <a:pt x="162" y="979"/>
                  </a:lnTo>
                  <a:lnTo>
                    <a:pt x="128" y="975"/>
                  </a:lnTo>
                  <a:lnTo>
                    <a:pt x="94" y="974"/>
                  </a:lnTo>
                  <a:lnTo>
                    <a:pt x="64" y="974"/>
                  </a:lnTo>
                  <a:lnTo>
                    <a:pt x="37" y="975"/>
                  </a:lnTo>
                  <a:lnTo>
                    <a:pt x="35" y="971"/>
                  </a:lnTo>
                  <a:lnTo>
                    <a:pt x="31" y="960"/>
                  </a:lnTo>
                  <a:lnTo>
                    <a:pt x="27" y="942"/>
                  </a:lnTo>
                  <a:lnTo>
                    <a:pt x="22" y="919"/>
                  </a:lnTo>
                  <a:lnTo>
                    <a:pt x="16" y="889"/>
                  </a:lnTo>
                  <a:lnTo>
                    <a:pt x="11" y="856"/>
                  </a:lnTo>
                  <a:lnTo>
                    <a:pt x="5" y="818"/>
                  </a:lnTo>
                  <a:lnTo>
                    <a:pt x="1" y="777"/>
                  </a:lnTo>
                  <a:lnTo>
                    <a:pt x="0" y="734"/>
                  </a:lnTo>
                  <a:lnTo>
                    <a:pt x="0" y="687"/>
                  </a:lnTo>
                  <a:lnTo>
                    <a:pt x="4" y="639"/>
                  </a:lnTo>
                  <a:lnTo>
                    <a:pt x="11" y="590"/>
                  </a:lnTo>
                  <a:lnTo>
                    <a:pt x="22" y="541"/>
                  </a:lnTo>
                  <a:lnTo>
                    <a:pt x="37" y="492"/>
                  </a:lnTo>
                  <a:lnTo>
                    <a:pt x="41" y="491"/>
                  </a:lnTo>
                  <a:lnTo>
                    <a:pt x="53" y="488"/>
                  </a:lnTo>
                  <a:lnTo>
                    <a:pt x="72" y="484"/>
                  </a:lnTo>
                  <a:lnTo>
                    <a:pt x="98" y="477"/>
                  </a:lnTo>
                  <a:lnTo>
                    <a:pt x="130" y="468"/>
                  </a:lnTo>
                  <a:lnTo>
                    <a:pt x="164" y="457"/>
                  </a:lnTo>
                  <a:lnTo>
                    <a:pt x="200" y="443"/>
                  </a:lnTo>
                  <a:lnTo>
                    <a:pt x="240" y="427"/>
                  </a:lnTo>
                  <a:lnTo>
                    <a:pt x="280" y="408"/>
                  </a:lnTo>
                  <a:lnTo>
                    <a:pt x="320" y="386"/>
                  </a:lnTo>
                  <a:lnTo>
                    <a:pt x="323" y="384"/>
                  </a:lnTo>
                  <a:lnTo>
                    <a:pt x="331" y="379"/>
                  </a:lnTo>
                  <a:lnTo>
                    <a:pt x="344" y="371"/>
                  </a:lnTo>
                  <a:lnTo>
                    <a:pt x="360" y="358"/>
                  </a:lnTo>
                  <a:lnTo>
                    <a:pt x="378" y="346"/>
                  </a:lnTo>
                  <a:lnTo>
                    <a:pt x="398" y="333"/>
                  </a:lnTo>
                  <a:lnTo>
                    <a:pt x="417" y="318"/>
                  </a:lnTo>
                  <a:lnTo>
                    <a:pt x="438" y="303"/>
                  </a:lnTo>
                  <a:lnTo>
                    <a:pt x="455" y="289"/>
                  </a:lnTo>
                  <a:lnTo>
                    <a:pt x="470" y="275"/>
                  </a:lnTo>
                  <a:lnTo>
                    <a:pt x="473" y="273"/>
                  </a:lnTo>
                  <a:lnTo>
                    <a:pt x="479" y="266"/>
                  </a:lnTo>
                  <a:lnTo>
                    <a:pt x="488" y="253"/>
                  </a:lnTo>
                  <a:lnTo>
                    <a:pt x="500" y="238"/>
                  </a:lnTo>
                  <a:lnTo>
                    <a:pt x="514" y="219"/>
                  </a:lnTo>
                  <a:lnTo>
                    <a:pt x="530" y="199"/>
                  </a:lnTo>
                  <a:lnTo>
                    <a:pt x="548" y="177"/>
                  </a:lnTo>
                  <a:lnTo>
                    <a:pt x="567" y="154"/>
                  </a:lnTo>
                  <a:lnTo>
                    <a:pt x="586" y="131"/>
                  </a:lnTo>
                  <a:lnTo>
                    <a:pt x="604" y="108"/>
                  </a:lnTo>
                  <a:lnTo>
                    <a:pt x="623" y="86"/>
                  </a:lnTo>
                  <a:lnTo>
                    <a:pt x="640" y="65"/>
                  </a:lnTo>
                  <a:lnTo>
                    <a:pt x="655" y="48"/>
                  </a:lnTo>
                  <a:lnTo>
                    <a:pt x="668" y="34"/>
                  </a:lnTo>
                  <a:lnTo>
                    <a:pt x="678" y="23"/>
                  </a:lnTo>
                  <a:lnTo>
                    <a:pt x="686" y="16"/>
                  </a:lnTo>
                  <a:lnTo>
                    <a:pt x="687" y="15"/>
                  </a:lnTo>
                  <a:lnTo>
                    <a:pt x="690" y="11"/>
                  </a:lnTo>
                  <a:lnTo>
                    <a:pt x="695" y="7"/>
                  </a:lnTo>
                  <a:lnTo>
                    <a:pt x="702" y="3"/>
                  </a:lnTo>
                  <a:lnTo>
                    <a:pt x="70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12">
              <a:extLst>
                <a:ext uri="{FF2B5EF4-FFF2-40B4-BE49-F238E27FC236}">
                  <a16:creationId xmlns:a16="http://schemas.microsoft.com/office/drawing/2014/main" id="{4EE955D8-5E4C-8E40-8FD3-8E22B6872653}"/>
                </a:ext>
              </a:extLst>
            </p:cNvPr>
            <p:cNvSpPr>
              <a:spLocks/>
            </p:cNvSpPr>
            <p:nvPr/>
          </p:nvSpPr>
          <p:spPr bwMode="auto">
            <a:xfrm>
              <a:off x="741363" y="1304925"/>
              <a:ext cx="127000" cy="127000"/>
            </a:xfrm>
            <a:custGeom>
              <a:avLst/>
              <a:gdLst>
                <a:gd name="T0" fmla="*/ 81 w 160"/>
                <a:gd name="T1" fmla="*/ 0 h 160"/>
                <a:gd name="T2" fmla="*/ 105 w 160"/>
                <a:gd name="T3" fmla="*/ 4 h 160"/>
                <a:gd name="T4" fmla="*/ 127 w 160"/>
                <a:gd name="T5" fmla="*/ 15 h 160"/>
                <a:gd name="T6" fmla="*/ 143 w 160"/>
                <a:gd name="T7" fmla="*/ 33 h 160"/>
                <a:gd name="T8" fmla="*/ 156 w 160"/>
                <a:gd name="T9" fmla="*/ 55 h 160"/>
                <a:gd name="T10" fmla="*/ 160 w 160"/>
                <a:gd name="T11" fmla="*/ 79 h 160"/>
                <a:gd name="T12" fmla="*/ 156 w 160"/>
                <a:gd name="T13" fmla="*/ 105 h 160"/>
                <a:gd name="T14" fmla="*/ 143 w 160"/>
                <a:gd name="T15" fmla="*/ 127 h 160"/>
                <a:gd name="T16" fmla="*/ 127 w 160"/>
                <a:gd name="T17" fmla="*/ 143 h 160"/>
                <a:gd name="T18" fmla="*/ 105 w 160"/>
                <a:gd name="T19" fmla="*/ 156 h 160"/>
                <a:gd name="T20" fmla="*/ 81 w 160"/>
                <a:gd name="T21" fmla="*/ 160 h 160"/>
                <a:gd name="T22" fmla="*/ 55 w 160"/>
                <a:gd name="T23" fmla="*/ 156 h 160"/>
                <a:gd name="T24" fmla="*/ 33 w 160"/>
                <a:gd name="T25" fmla="*/ 143 h 160"/>
                <a:gd name="T26" fmla="*/ 17 w 160"/>
                <a:gd name="T27" fmla="*/ 127 h 160"/>
                <a:gd name="T28" fmla="*/ 4 w 160"/>
                <a:gd name="T29" fmla="*/ 105 h 160"/>
                <a:gd name="T30" fmla="*/ 0 w 160"/>
                <a:gd name="T31" fmla="*/ 79 h 160"/>
                <a:gd name="T32" fmla="*/ 4 w 160"/>
                <a:gd name="T33" fmla="*/ 55 h 160"/>
                <a:gd name="T34" fmla="*/ 17 w 160"/>
                <a:gd name="T35" fmla="*/ 33 h 160"/>
                <a:gd name="T36" fmla="*/ 33 w 160"/>
                <a:gd name="T37" fmla="*/ 15 h 160"/>
                <a:gd name="T38" fmla="*/ 55 w 160"/>
                <a:gd name="T39" fmla="*/ 4 h 160"/>
                <a:gd name="T40" fmla="*/ 81 w 160"/>
                <a:gd name="T4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160">
                  <a:moveTo>
                    <a:pt x="81" y="0"/>
                  </a:moveTo>
                  <a:lnTo>
                    <a:pt x="105" y="4"/>
                  </a:lnTo>
                  <a:lnTo>
                    <a:pt x="127" y="15"/>
                  </a:lnTo>
                  <a:lnTo>
                    <a:pt x="143" y="33"/>
                  </a:lnTo>
                  <a:lnTo>
                    <a:pt x="156" y="55"/>
                  </a:lnTo>
                  <a:lnTo>
                    <a:pt x="160" y="79"/>
                  </a:lnTo>
                  <a:lnTo>
                    <a:pt x="156" y="105"/>
                  </a:lnTo>
                  <a:lnTo>
                    <a:pt x="143" y="127"/>
                  </a:lnTo>
                  <a:lnTo>
                    <a:pt x="127" y="143"/>
                  </a:lnTo>
                  <a:lnTo>
                    <a:pt x="105" y="156"/>
                  </a:lnTo>
                  <a:lnTo>
                    <a:pt x="81" y="160"/>
                  </a:lnTo>
                  <a:lnTo>
                    <a:pt x="55" y="156"/>
                  </a:lnTo>
                  <a:lnTo>
                    <a:pt x="33" y="143"/>
                  </a:lnTo>
                  <a:lnTo>
                    <a:pt x="17" y="127"/>
                  </a:lnTo>
                  <a:lnTo>
                    <a:pt x="4" y="105"/>
                  </a:lnTo>
                  <a:lnTo>
                    <a:pt x="0" y="79"/>
                  </a:lnTo>
                  <a:lnTo>
                    <a:pt x="4" y="55"/>
                  </a:lnTo>
                  <a:lnTo>
                    <a:pt x="17" y="33"/>
                  </a:lnTo>
                  <a:lnTo>
                    <a:pt x="33" y="15"/>
                  </a:lnTo>
                  <a:lnTo>
                    <a:pt x="55" y="4"/>
                  </a:lnTo>
                  <a:lnTo>
                    <a:pt x="8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C405FC23-4600-B845-88B8-2580F10268AA}"/>
              </a:ext>
            </a:extLst>
          </p:cNvPr>
          <p:cNvGrpSpPr/>
          <p:nvPr/>
        </p:nvGrpSpPr>
        <p:grpSpPr>
          <a:xfrm>
            <a:off x="2140030" y="2995935"/>
            <a:ext cx="2774950" cy="1347787"/>
            <a:chOff x="2140030" y="2995935"/>
            <a:chExt cx="2774950" cy="1347787"/>
          </a:xfrm>
        </p:grpSpPr>
        <p:sp>
          <p:nvSpPr>
            <p:cNvPr id="170" name="Freeform 17">
              <a:extLst>
                <a:ext uri="{FF2B5EF4-FFF2-40B4-BE49-F238E27FC236}">
                  <a16:creationId xmlns:a16="http://schemas.microsoft.com/office/drawing/2014/main" id="{AED02DCB-161B-0E4B-9CB8-6176A7B1B9DA}"/>
                </a:ext>
              </a:extLst>
            </p:cNvPr>
            <p:cNvSpPr>
              <a:spLocks/>
            </p:cNvSpPr>
            <p:nvPr/>
          </p:nvSpPr>
          <p:spPr bwMode="auto">
            <a:xfrm>
              <a:off x="2141618" y="3996060"/>
              <a:ext cx="384175" cy="125412"/>
            </a:xfrm>
            <a:custGeom>
              <a:avLst/>
              <a:gdLst>
                <a:gd name="T0" fmla="*/ 0 w 485"/>
                <a:gd name="T1" fmla="*/ 0 h 160"/>
                <a:gd name="T2" fmla="*/ 6 w 485"/>
                <a:gd name="T3" fmla="*/ 6 h 160"/>
                <a:gd name="T4" fmla="*/ 28 w 485"/>
                <a:gd name="T5" fmla="*/ 18 h 160"/>
                <a:gd name="T6" fmla="*/ 57 w 485"/>
                <a:gd name="T7" fmla="*/ 33 h 160"/>
                <a:gd name="T8" fmla="*/ 92 w 485"/>
                <a:gd name="T9" fmla="*/ 46 h 160"/>
                <a:gd name="T10" fmla="*/ 131 w 485"/>
                <a:gd name="T11" fmla="*/ 56 h 160"/>
                <a:gd name="T12" fmla="*/ 145 w 485"/>
                <a:gd name="T13" fmla="*/ 59 h 160"/>
                <a:gd name="T14" fmla="*/ 192 w 485"/>
                <a:gd name="T15" fmla="*/ 65 h 160"/>
                <a:gd name="T16" fmla="*/ 242 w 485"/>
                <a:gd name="T17" fmla="*/ 67 h 160"/>
                <a:gd name="T18" fmla="*/ 292 w 485"/>
                <a:gd name="T19" fmla="*/ 65 h 160"/>
                <a:gd name="T20" fmla="*/ 340 w 485"/>
                <a:gd name="T21" fmla="*/ 59 h 160"/>
                <a:gd name="T22" fmla="*/ 355 w 485"/>
                <a:gd name="T23" fmla="*/ 56 h 160"/>
                <a:gd name="T24" fmla="*/ 393 w 485"/>
                <a:gd name="T25" fmla="*/ 46 h 160"/>
                <a:gd name="T26" fmla="*/ 427 w 485"/>
                <a:gd name="T27" fmla="*/ 33 h 160"/>
                <a:gd name="T28" fmla="*/ 457 w 485"/>
                <a:gd name="T29" fmla="*/ 18 h 160"/>
                <a:gd name="T30" fmla="*/ 478 w 485"/>
                <a:gd name="T31" fmla="*/ 6 h 160"/>
                <a:gd name="T32" fmla="*/ 485 w 485"/>
                <a:gd name="T33" fmla="*/ 0 h 160"/>
                <a:gd name="T34" fmla="*/ 485 w 485"/>
                <a:gd name="T35" fmla="*/ 54 h 160"/>
                <a:gd name="T36" fmla="*/ 485 w 485"/>
                <a:gd name="T37" fmla="*/ 56 h 160"/>
                <a:gd name="T38" fmla="*/ 485 w 485"/>
                <a:gd name="T39" fmla="*/ 56 h 160"/>
                <a:gd name="T40" fmla="*/ 483 w 485"/>
                <a:gd name="T41" fmla="*/ 67 h 160"/>
                <a:gd name="T42" fmla="*/ 477 w 485"/>
                <a:gd name="T43" fmla="*/ 79 h 160"/>
                <a:gd name="T44" fmla="*/ 469 w 485"/>
                <a:gd name="T45" fmla="*/ 90 h 160"/>
                <a:gd name="T46" fmla="*/ 459 w 485"/>
                <a:gd name="T47" fmla="*/ 99 h 160"/>
                <a:gd name="T48" fmla="*/ 455 w 485"/>
                <a:gd name="T49" fmla="*/ 102 h 160"/>
                <a:gd name="T50" fmla="*/ 438 w 485"/>
                <a:gd name="T51" fmla="*/ 114 h 160"/>
                <a:gd name="T52" fmla="*/ 413 w 485"/>
                <a:gd name="T53" fmla="*/ 128 h 160"/>
                <a:gd name="T54" fmla="*/ 385 w 485"/>
                <a:gd name="T55" fmla="*/ 138 h 160"/>
                <a:gd name="T56" fmla="*/ 355 w 485"/>
                <a:gd name="T57" fmla="*/ 147 h 160"/>
                <a:gd name="T58" fmla="*/ 319 w 485"/>
                <a:gd name="T59" fmla="*/ 154 h 160"/>
                <a:gd name="T60" fmla="*/ 282 w 485"/>
                <a:gd name="T61" fmla="*/ 159 h 160"/>
                <a:gd name="T62" fmla="*/ 242 w 485"/>
                <a:gd name="T63" fmla="*/ 160 h 160"/>
                <a:gd name="T64" fmla="*/ 203 w 485"/>
                <a:gd name="T65" fmla="*/ 159 h 160"/>
                <a:gd name="T66" fmla="*/ 165 w 485"/>
                <a:gd name="T67" fmla="*/ 154 h 160"/>
                <a:gd name="T68" fmla="*/ 131 w 485"/>
                <a:gd name="T69" fmla="*/ 147 h 160"/>
                <a:gd name="T70" fmla="*/ 100 w 485"/>
                <a:gd name="T71" fmla="*/ 138 h 160"/>
                <a:gd name="T72" fmla="*/ 72 w 485"/>
                <a:gd name="T73" fmla="*/ 128 h 160"/>
                <a:gd name="T74" fmla="*/ 47 w 485"/>
                <a:gd name="T75" fmla="*/ 114 h 160"/>
                <a:gd name="T76" fmla="*/ 29 w 485"/>
                <a:gd name="T77" fmla="*/ 102 h 160"/>
                <a:gd name="T78" fmla="*/ 26 w 485"/>
                <a:gd name="T79" fmla="*/ 99 h 160"/>
                <a:gd name="T80" fmla="*/ 16 w 485"/>
                <a:gd name="T81" fmla="*/ 90 h 160"/>
                <a:gd name="T82" fmla="*/ 7 w 485"/>
                <a:gd name="T83" fmla="*/ 79 h 160"/>
                <a:gd name="T84" fmla="*/ 2 w 485"/>
                <a:gd name="T85" fmla="*/ 67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6" y="6"/>
                  </a:lnTo>
                  <a:lnTo>
                    <a:pt x="28" y="18"/>
                  </a:lnTo>
                  <a:lnTo>
                    <a:pt x="57" y="33"/>
                  </a:lnTo>
                  <a:lnTo>
                    <a:pt x="92" y="46"/>
                  </a:lnTo>
                  <a:lnTo>
                    <a:pt x="131" y="56"/>
                  </a:lnTo>
                  <a:lnTo>
                    <a:pt x="145" y="59"/>
                  </a:lnTo>
                  <a:lnTo>
                    <a:pt x="192" y="65"/>
                  </a:lnTo>
                  <a:lnTo>
                    <a:pt x="242" y="67"/>
                  </a:lnTo>
                  <a:lnTo>
                    <a:pt x="292" y="65"/>
                  </a:lnTo>
                  <a:lnTo>
                    <a:pt x="340" y="59"/>
                  </a:lnTo>
                  <a:lnTo>
                    <a:pt x="355" y="56"/>
                  </a:lnTo>
                  <a:lnTo>
                    <a:pt x="393" y="46"/>
                  </a:lnTo>
                  <a:lnTo>
                    <a:pt x="427" y="33"/>
                  </a:lnTo>
                  <a:lnTo>
                    <a:pt x="457" y="18"/>
                  </a:lnTo>
                  <a:lnTo>
                    <a:pt x="478" y="6"/>
                  </a:lnTo>
                  <a:lnTo>
                    <a:pt x="485" y="0"/>
                  </a:lnTo>
                  <a:lnTo>
                    <a:pt x="485" y="54"/>
                  </a:lnTo>
                  <a:lnTo>
                    <a:pt x="485" y="56"/>
                  </a:lnTo>
                  <a:lnTo>
                    <a:pt x="485" y="56"/>
                  </a:lnTo>
                  <a:lnTo>
                    <a:pt x="483" y="67"/>
                  </a:lnTo>
                  <a:lnTo>
                    <a:pt x="477" y="79"/>
                  </a:lnTo>
                  <a:lnTo>
                    <a:pt x="469" y="90"/>
                  </a:lnTo>
                  <a:lnTo>
                    <a:pt x="459" y="99"/>
                  </a:lnTo>
                  <a:lnTo>
                    <a:pt x="455" y="102"/>
                  </a:lnTo>
                  <a:lnTo>
                    <a:pt x="438" y="114"/>
                  </a:lnTo>
                  <a:lnTo>
                    <a:pt x="413" y="128"/>
                  </a:lnTo>
                  <a:lnTo>
                    <a:pt x="385" y="138"/>
                  </a:lnTo>
                  <a:lnTo>
                    <a:pt x="355" y="147"/>
                  </a:lnTo>
                  <a:lnTo>
                    <a:pt x="319" y="154"/>
                  </a:lnTo>
                  <a:lnTo>
                    <a:pt x="282" y="159"/>
                  </a:lnTo>
                  <a:lnTo>
                    <a:pt x="242" y="160"/>
                  </a:lnTo>
                  <a:lnTo>
                    <a:pt x="203" y="159"/>
                  </a:lnTo>
                  <a:lnTo>
                    <a:pt x="165" y="154"/>
                  </a:lnTo>
                  <a:lnTo>
                    <a:pt x="131" y="147"/>
                  </a:lnTo>
                  <a:lnTo>
                    <a:pt x="100" y="138"/>
                  </a:lnTo>
                  <a:lnTo>
                    <a:pt x="72" y="128"/>
                  </a:lnTo>
                  <a:lnTo>
                    <a:pt x="47" y="114"/>
                  </a:lnTo>
                  <a:lnTo>
                    <a:pt x="29" y="102"/>
                  </a:lnTo>
                  <a:lnTo>
                    <a:pt x="26" y="99"/>
                  </a:lnTo>
                  <a:lnTo>
                    <a:pt x="16" y="90"/>
                  </a:lnTo>
                  <a:lnTo>
                    <a:pt x="7" y="79"/>
                  </a:lnTo>
                  <a:lnTo>
                    <a:pt x="2" y="67"/>
                  </a:lnTo>
                  <a:lnTo>
                    <a:pt x="0" y="56"/>
                  </a:lnTo>
                  <a:lnTo>
                    <a:pt x="0" y="56"/>
                  </a:lnTo>
                  <a:lnTo>
                    <a:pt x="0" y="54"/>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18">
              <a:extLst>
                <a:ext uri="{FF2B5EF4-FFF2-40B4-BE49-F238E27FC236}">
                  <a16:creationId xmlns:a16="http://schemas.microsoft.com/office/drawing/2014/main" id="{17855393-EFB7-6B41-89E2-8A9C6EDD4CF6}"/>
                </a:ext>
              </a:extLst>
            </p:cNvPr>
            <p:cNvSpPr>
              <a:spLocks/>
            </p:cNvSpPr>
            <p:nvPr/>
          </p:nvSpPr>
          <p:spPr bwMode="auto">
            <a:xfrm>
              <a:off x="2140030" y="3846835"/>
              <a:ext cx="387350" cy="165100"/>
            </a:xfrm>
            <a:custGeom>
              <a:avLst/>
              <a:gdLst>
                <a:gd name="T0" fmla="*/ 243 w 487"/>
                <a:gd name="T1" fmla="*/ 0 h 207"/>
                <a:gd name="T2" fmla="*/ 292 w 487"/>
                <a:gd name="T3" fmla="*/ 2 h 207"/>
                <a:gd name="T4" fmla="*/ 336 w 487"/>
                <a:gd name="T5" fmla="*/ 9 h 207"/>
                <a:gd name="T6" fmla="*/ 377 w 487"/>
                <a:gd name="T7" fmla="*/ 18 h 207"/>
                <a:gd name="T8" fmla="*/ 411 w 487"/>
                <a:gd name="T9" fmla="*/ 31 h 207"/>
                <a:gd name="T10" fmla="*/ 439 w 487"/>
                <a:gd name="T11" fmla="*/ 45 h 207"/>
                <a:gd name="T12" fmla="*/ 462 w 487"/>
                <a:gd name="T13" fmla="*/ 61 h 207"/>
                <a:gd name="T14" fmla="*/ 478 w 487"/>
                <a:gd name="T15" fmla="*/ 78 h 207"/>
                <a:gd name="T16" fmla="*/ 486 w 487"/>
                <a:gd name="T17" fmla="*/ 95 h 207"/>
                <a:gd name="T18" fmla="*/ 486 w 487"/>
                <a:gd name="T19" fmla="*/ 100 h 207"/>
                <a:gd name="T20" fmla="*/ 487 w 487"/>
                <a:gd name="T21" fmla="*/ 104 h 207"/>
                <a:gd name="T22" fmla="*/ 486 w 487"/>
                <a:gd name="T23" fmla="*/ 111 h 207"/>
                <a:gd name="T24" fmla="*/ 484 w 487"/>
                <a:gd name="T25" fmla="*/ 118 h 207"/>
                <a:gd name="T26" fmla="*/ 478 w 487"/>
                <a:gd name="T27" fmla="*/ 130 h 207"/>
                <a:gd name="T28" fmla="*/ 468 w 487"/>
                <a:gd name="T29" fmla="*/ 142 h 207"/>
                <a:gd name="T30" fmla="*/ 464 w 487"/>
                <a:gd name="T31" fmla="*/ 146 h 207"/>
                <a:gd name="T32" fmla="*/ 458 w 487"/>
                <a:gd name="T33" fmla="*/ 150 h 207"/>
                <a:gd name="T34" fmla="*/ 437 w 487"/>
                <a:gd name="T35" fmla="*/ 165 h 207"/>
                <a:gd name="T36" fmla="*/ 410 w 487"/>
                <a:gd name="T37" fmla="*/ 178 h 207"/>
                <a:gd name="T38" fmla="*/ 376 w 487"/>
                <a:gd name="T39" fmla="*/ 190 h 207"/>
                <a:gd name="T40" fmla="*/ 336 w 487"/>
                <a:gd name="T41" fmla="*/ 199 h 207"/>
                <a:gd name="T42" fmla="*/ 292 w 487"/>
                <a:gd name="T43" fmla="*/ 205 h 207"/>
                <a:gd name="T44" fmla="*/ 243 w 487"/>
                <a:gd name="T45" fmla="*/ 207 h 207"/>
                <a:gd name="T46" fmla="*/ 195 w 487"/>
                <a:gd name="T47" fmla="*/ 205 h 207"/>
                <a:gd name="T48" fmla="*/ 151 w 487"/>
                <a:gd name="T49" fmla="*/ 199 h 207"/>
                <a:gd name="T50" fmla="*/ 111 w 487"/>
                <a:gd name="T51" fmla="*/ 190 h 207"/>
                <a:gd name="T52" fmla="*/ 76 w 487"/>
                <a:gd name="T53" fmla="*/ 178 h 207"/>
                <a:gd name="T54" fmla="*/ 50 w 487"/>
                <a:gd name="T55" fmla="*/ 165 h 207"/>
                <a:gd name="T56" fmla="*/ 29 w 487"/>
                <a:gd name="T57" fmla="*/ 150 h 207"/>
                <a:gd name="T58" fmla="*/ 23 w 487"/>
                <a:gd name="T59" fmla="*/ 146 h 207"/>
                <a:gd name="T60" fmla="*/ 18 w 487"/>
                <a:gd name="T61" fmla="*/ 142 h 207"/>
                <a:gd name="T62" fmla="*/ 10 w 487"/>
                <a:gd name="T63" fmla="*/ 130 h 207"/>
                <a:gd name="T64" fmla="*/ 3 w 487"/>
                <a:gd name="T65" fmla="*/ 118 h 207"/>
                <a:gd name="T66" fmla="*/ 1 w 487"/>
                <a:gd name="T67" fmla="*/ 111 h 207"/>
                <a:gd name="T68" fmla="*/ 0 w 487"/>
                <a:gd name="T69" fmla="*/ 104 h 207"/>
                <a:gd name="T70" fmla="*/ 0 w 487"/>
                <a:gd name="T71" fmla="*/ 100 h 207"/>
                <a:gd name="T72" fmla="*/ 1 w 487"/>
                <a:gd name="T73" fmla="*/ 95 h 207"/>
                <a:gd name="T74" fmla="*/ 10 w 487"/>
                <a:gd name="T75" fmla="*/ 78 h 207"/>
                <a:gd name="T76" fmla="*/ 24 w 487"/>
                <a:gd name="T77" fmla="*/ 61 h 207"/>
                <a:gd name="T78" fmla="*/ 47 w 487"/>
                <a:gd name="T79" fmla="*/ 45 h 207"/>
                <a:gd name="T80" fmla="*/ 76 w 487"/>
                <a:gd name="T81" fmla="*/ 31 h 207"/>
                <a:gd name="T82" fmla="*/ 110 w 487"/>
                <a:gd name="T83" fmla="*/ 18 h 207"/>
                <a:gd name="T84" fmla="*/ 151 w 487"/>
                <a:gd name="T85" fmla="*/ 9 h 207"/>
                <a:gd name="T86" fmla="*/ 195 w 487"/>
                <a:gd name="T87" fmla="*/ 2 h 207"/>
                <a:gd name="T88" fmla="*/ 243 w 487"/>
                <a:gd name="T89"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7" h="207">
                  <a:moveTo>
                    <a:pt x="243" y="0"/>
                  </a:moveTo>
                  <a:lnTo>
                    <a:pt x="292" y="2"/>
                  </a:lnTo>
                  <a:lnTo>
                    <a:pt x="336" y="9"/>
                  </a:lnTo>
                  <a:lnTo>
                    <a:pt x="377" y="18"/>
                  </a:lnTo>
                  <a:lnTo>
                    <a:pt x="411" y="31"/>
                  </a:lnTo>
                  <a:lnTo>
                    <a:pt x="439" y="45"/>
                  </a:lnTo>
                  <a:lnTo>
                    <a:pt x="462" y="61"/>
                  </a:lnTo>
                  <a:lnTo>
                    <a:pt x="478" y="78"/>
                  </a:lnTo>
                  <a:lnTo>
                    <a:pt x="486" y="95"/>
                  </a:lnTo>
                  <a:lnTo>
                    <a:pt x="486" y="100"/>
                  </a:lnTo>
                  <a:lnTo>
                    <a:pt x="487" y="104"/>
                  </a:lnTo>
                  <a:lnTo>
                    <a:pt x="486" y="111"/>
                  </a:lnTo>
                  <a:lnTo>
                    <a:pt x="484" y="118"/>
                  </a:lnTo>
                  <a:lnTo>
                    <a:pt x="478" y="130"/>
                  </a:lnTo>
                  <a:lnTo>
                    <a:pt x="468" y="142"/>
                  </a:lnTo>
                  <a:lnTo>
                    <a:pt x="464" y="146"/>
                  </a:lnTo>
                  <a:lnTo>
                    <a:pt x="458" y="150"/>
                  </a:lnTo>
                  <a:lnTo>
                    <a:pt x="437" y="165"/>
                  </a:lnTo>
                  <a:lnTo>
                    <a:pt x="410" y="178"/>
                  </a:lnTo>
                  <a:lnTo>
                    <a:pt x="376" y="190"/>
                  </a:lnTo>
                  <a:lnTo>
                    <a:pt x="336" y="199"/>
                  </a:lnTo>
                  <a:lnTo>
                    <a:pt x="292" y="205"/>
                  </a:lnTo>
                  <a:lnTo>
                    <a:pt x="243" y="207"/>
                  </a:lnTo>
                  <a:lnTo>
                    <a:pt x="195" y="205"/>
                  </a:lnTo>
                  <a:lnTo>
                    <a:pt x="151" y="199"/>
                  </a:lnTo>
                  <a:lnTo>
                    <a:pt x="111" y="190"/>
                  </a:lnTo>
                  <a:lnTo>
                    <a:pt x="76" y="178"/>
                  </a:lnTo>
                  <a:lnTo>
                    <a:pt x="50" y="165"/>
                  </a:lnTo>
                  <a:lnTo>
                    <a:pt x="29" y="150"/>
                  </a:lnTo>
                  <a:lnTo>
                    <a:pt x="23" y="146"/>
                  </a:lnTo>
                  <a:lnTo>
                    <a:pt x="18" y="142"/>
                  </a:lnTo>
                  <a:lnTo>
                    <a:pt x="10" y="130"/>
                  </a:lnTo>
                  <a:lnTo>
                    <a:pt x="3" y="118"/>
                  </a:lnTo>
                  <a:lnTo>
                    <a:pt x="1" y="111"/>
                  </a:lnTo>
                  <a:lnTo>
                    <a:pt x="0" y="104"/>
                  </a:lnTo>
                  <a:lnTo>
                    <a:pt x="0" y="100"/>
                  </a:lnTo>
                  <a:lnTo>
                    <a:pt x="1" y="95"/>
                  </a:lnTo>
                  <a:lnTo>
                    <a:pt x="10" y="78"/>
                  </a:lnTo>
                  <a:lnTo>
                    <a:pt x="24" y="61"/>
                  </a:lnTo>
                  <a:lnTo>
                    <a:pt x="47" y="45"/>
                  </a:lnTo>
                  <a:lnTo>
                    <a:pt x="76" y="31"/>
                  </a:lnTo>
                  <a:lnTo>
                    <a:pt x="110" y="18"/>
                  </a:lnTo>
                  <a:lnTo>
                    <a:pt x="151" y="9"/>
                  </a:lnTo>
                  <a:lnTo>
                    <a:pt x="195" y="2"/>
                  </a:lnTo>
                  <a:lnTo>
                    <a:pt x="24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19">
              <a:extLst>
                <a:ext uri="{FF2B5EF4-FFF2-40B4-BE49-F238E27FC236}">
                  <a16:creationId xmlns:a16="http://schemas.microsoft.com/office/drawing/2014/main" id="{610BA583-3EA5-E847-8179-7D1123A2F3C9}"/>
                </a:ext>
              </a:extLst>
            </p:cNvPr>
            <p:cNvSpPr>
              <a:spLocks/>
            </p:cNvSpPr>
            <p:nvPr/>
          </p:nvSpPr>
          <p:spPr bwMode="auto">
            <a:xfrm>
              <a:off x="2141618" y="4105597"/>
              <a:ext cx="384175" cy="127000"/>
            </a:xfrm>
            <a:custGeom>
              <a:avLst/>
              <a:gdLst>
                <a:gd name="T0" fmla="*/ 0 w 485"/>
                <a:gd name="T1" fmla="*/ 0 h 161"/>
                <a:gd name="T2" fmla="*/ 6 w 485"/>
                <a:gd name="T3" fmla="*/ 6 h 161"/>
                <a:gd name="T4" fmla="*/ 28 w 485"/>
                <a:gd name="T5" fmla="*/ 20 h 161"/>
                <a:gd name="T6" fmla="*/ 57 w 485"/>
                <a:gd name="T7" fmla="*/ 34 h 161"/>
                <a:gd name="T8" fmla="*/ 92 w 485"/>
                <a:gd name="T9" fmla="*/ 47 h 161"/>
                <a:gd name="T10" fmla="*/ 131 w 485"/>
                <a:gd name="T11" fmla="*/ 57 h 161"/>
                <a:gd name="T12" fmla="*/ 145 w 485"/>
                <a:gd name="T13" fmla="*/ 59 h 161"/>
                <a:gd name="T14" fmla="*/ 192 w 485"/>
                <a:gd name="T15" fmla="*/ 65 h 161"/>
                <a:gd name="T16" fmla="*/ 242 w 485"/>
                <a:gd name="T17" fmla="*/ 67 h 161"/>
                <a:gd name="T18" fmla="*/ 292 w 485"/>
                <a:gd name="T19" fmla="*/ 65 h 161"/>
                <a:gd name="T20" fmla="*/ 340 w 485"/>
                <a:gd name="T21" fmla="*/ 59 h 161"/>
                <a:gd name="T22" fmla="*/ 355 w 485"/>
                <a:gd name="T23" fmla="*/ 57 h 161"/>
                <a:gd name="T24" fmla="*/ 393 w 485"/>
                <a:gd name="T25" fmla="*/ 47 h 161"/>
                <a:gd name="T26" fmla="*/ 427 w 485"/>
                <a:gd name="T27" fmla="*/ 34 h 161"/>
                <a:gd name="T28" fmla="*/ 457 w 485"/>
                <a:gd name="T29" fmla="*/ 20 h 161"/>
                <a:gd name="T30" fmla="*/ 478 w 485"/>
                <a:gd name="T31" fmla="*/ 6 h 161"/>
                <a:gd name="T32" fmla="*/ 485 w 485"/>
                <a:gd name="T33" fmla="*/ 0 h 161"/>
                <a:gd name="T34" fmla="*/ 485 w 485"/>
                <a:gd name="T35" fmla="*/ 55 h 161"/>
                <a:gd name="T36" fmla="*/ 485 w 485"/>
                <a:gd name="T37" fmla="*/ 57 h 161"/>
                <a:gd name="T38" fmla="*/ 485 w 485"/>
                <a:gd name="T39" fmla="*/ 57 h 161"/>
                <a:gd name="T40" fmla="*/ 483 w 485"/>
                <a:gd name="T41" fmla="*/ 68 h 161"/>
                <a:gd name="T42" fmla="*/ 477 w 485"/>
                <a:gd name="T43" fmla="*/ 80 h 161"/>
                <a:gd name="T44" fmla="*/ 469 w 485"/>
                <a:gd name="T45" fmla="*/ 90 h 161"/>
                <a:gd name="T46" fmla="*/ 459 w 485"/>
                <a:gd name="T47" fmla="*/ 100 h 161"/>
                <a:gd name="T48" fmla="*/ 455 w 485"/>
                <a:gd name="T49" fmla="*/ 102 h 161"/>
                <a:gd name="T50" fmla="*/ 438 w 485"/>
                <a:gd name="T51" fmla="*/ 115 h 161"/>
                <a:gd name="T52" fmla="*/ 413 w 485"/>
                <a:gd name="T53" fmla="*/ 129 h 161"/>
                <a:gd name="T54" fmla="*/ 385 w 485"/>
                <a:gd name="T55" fmla="*/ 140 h 161"/>
                <a:gd name="T56" fmla="*/ 355 w 485"/>
                <a:gd name="T57" fmla="*/ 148 h 161"/>
                <a:gd name="T58" fmla="*/ 319 w 485"/>
                <a:gd name="T59" fmla="*/ 154 h 161"/>
                <a:gd name="T60" fmla="*/ 282 w 485"/>
                <a:gd name="T61" fmla="*/ 159 h 161"/>
                <a:gd name="T62" fmla="*/ 242 w 485"/>
                <a:gd name="T63" fmla="*/ 161 h 161"/>
                <a:gd name="T64" fmla="*/ 203 w 485"/>
                <a:gd name="T65" fmla="*/ 159 h 161"/>
                <a:gd name="T66" fmla="*/ 165 w 485"/>
                <a:gd name="T67" fmla="*/ 154 h 161"/>
                <a:gd name="T68" fmla="*/ 131 w 485"/>
                <a:gd name="T69" fmla="*/ 148 h 161"/>
                <a:gd name="T70" fmla="*/ 100 w 485"/>
                <a:gd name="T71" fmla="*/ 140 h 161"/>
                <a:gd name="T72" fmla="*/ 72 w 485"/>
                <a:gd name="T73" fmla="*/ 129 h 161"/>
                <a:gd name="T74" fmla="*/ 47 w 485"/>
                <a:gd name="T75" fmla="*/ 115 h 161"/>
                <a:gd name="T76" fmla="*/ 29 w 485"/>
                <a:gd name="T77" fmla="*/ 102 h 161"/>
                <a:gd name="T78" fmla="*/ 26 w 485"/>
                <a:gd name="T79" fmla="*/ 100 h 161"/>
                <a:gd name="T80" fmla="*/ 16 w 485"/>
                <a:gd name="T81" fmla="*/ 90 h 161"/>
                <a:gd name="T82" fmla="*/ 7 w 485"/>
                <a:gd name="T83" fmla="*/ 80 h 161"/>
                <a:gd name="T84" fmla="*/ 2 w 485"/>
                <a:gd name="T85" fmla="*/ 68 h 161"/>
                <a:gd name="T86" fmla="*/ 0 w 485"/>
                <a:gd name="T87" fmla="*/ 57 h 161"/>
                <a:gd name="T88" fmla="*/ 0 w 485"/>
                <a:gd name="T89" fmla="*/ 57 h 161"/>
                <a:gd name="T90" fmla="*/ 0 w 485"/>
                <a:gd name="T91" fmla="*/ 55 h 161"/>
                <a:gd name="T92" fmla="*/ 0 w 485"/>
                <a:gd name="T93"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1">
                  <a:moveTo>
                    <a:pt x="0" y="0"/>
                  </a:moveTo>
                  <a:lnTo>
                    <a:pt x="6" y="6"/>
                  </a:lnTo>
                  <a:lnTo>
                    <a:pt x="28" y="20"/>
                  </a:lnTo>
                  <a:lnTo>
                    <a:pt x="57" y="34"/>
                  </a:lnTo>
                  <a:lnTo>
                    <a:pt x="92" y="47"/>
                  </a:lnTo>
                  <a:lnTo>
                    <a:pt x="131" y="57"/>
                  </a:lnTo>
                  <a:lnTo>
                    <a:pt x="145" y="59"/>
                  </a:lnTo>
                  <a:lnTo>
                    <a:pt x="192" y="65"/>
                  </a:lnTo>
                  <a:lnTo>
                    <a:pt x="242" y="67"/>
                  </a:lnTo>
                  <a:lnTo>
                    <a:pt x="292" y="65"/>
                  </a:lnTo>
                  <a:lnTo>
                    <a:pt x="340" y="59"/>
                  </a:lnTo>
                  <a:lnTo>
                    <a:pt x="355" y="57"/>
                  </a:lnTo>
                  <a:lnTo>
                    <a:pt x="393" y="47"/>
                  </a:lnTo>
                  <a:lnTo>
                    <a:pt x="427" y="34"/>
                  </a:lnTo>
                  <a:lnTo>
                    <a:pt x="457" y="20"/>
                  </a:lnTo>
                  <a:lnTo>
                    <a:pt x="478" y="6"/>
                  </a:lnTo>
                  <a:lnTo>
                    <a:pt x="485" y="0"/>
                  </a:lnTo>
                  <a:lnTo>
                    <a:pt x="485" y="55"/>
                  </a:lnTo>
                  <a:lnTo>
                    <a:pt x="485" y="57"/>
                  </a:lnTo>
                  <a:lnTo>
                    <a:pt x="485" y="57"/>
                  </a:lnTo>
                  <a:lnTo>
                    <a:pt x="483" y="68"/>
                  </a:lnTo>
                  <a:lnTo>
                    <a:pt x="477" y="80"/>
                  </a:lnTo>
                  <a:lnTo>
                    <a:pt x="469" y="90"/>
                  </a:lnTo>
                  <a:lnTo>
                    <a:pt x="459" y="100"/>
                  </a:lnTo>
                  <a:lnTo>
                    <a:pt x="455" y="102"/>
                  </a:lnTo>
                  <a:lnTo>
                    <a:pt x="438" y="115"/>
                  </a:lnTo>
                  <a:lnTo>
                    <a:pt x="413" y="129"/>
                  </a:lnTo>
                  <a:lnTo>
                    <a:pt x="385" y="140"/>
                  </a:lnTo>
                  <a:lnTo>
                    <a:pt x="355" y="148"/>
                  </a:lnTo>
                  <a:lnTo>
                    <a:pt x="319" y="154"/>
                  </a:lnTo>
                  <a:lnTo>
                    <a:pt x="282" y="159"/>
                  </a:lnTo>
                  <a:lnTo>
                    <a:pt x="242" y="161"/>
                  </a:lnTo>
                  <a:lnTo>
                    <a:pt x="203" y="159"/>
                  </a:lnTo>
                  <a:lnTo>
                    <a:pt x="165" y="154"/>
                  </a:lnTo>
                  <a:lnTo>
                    <a:pt x="131" y="148"/>
                  </a:lnTo>
                  <a:lnTo>
                    <a:pt x="100" y="140"/>
                  </a:lnTo>
                  <a:lnTo>
                    <a:pt x="72" y="129"/>
                  </a:lnTo>
                  <a:lnTo>
                    <a:pt x="47" y="115"/>
                  </a:lnTo>
                  <a:lnTo>
                    <a:pt x="29" y="102"/>
                  </a:lnTo>
                  <a:lnTo>
                    <a:pt x="26" y="100"/>
                  </a:lnTo>
                  <a:lnTo>
                    <a:pt x="16" y="90"/>
                  </a:lnTo>
                  <a:lnTo>
                    <a:pt x="7" y="80"/>
                  </a:lnTo>
                  <a:lnTo>
                    <a:pt x="2" y="68"/>
                  </a:lnTo>
                  <a:lnTo>
                    <a:pt x="0" y="57"/>
                  </a:lnTo>
                  <a:lnTo>
                    <a:pt x="0" y="57"/>
                  </a:lnTo>
                  <a:lnTo>
                    <a:pt x="0" y="55"/>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20">
              <a:extLst>
                <a:ext uri="{FF2B5EF4-FFF2-40B4-BE49-F238E27FC236}">
                  <a16:creationId xmlns:a16="http://schemas.microsoft.com/office/drawing/2014/main" id="{664AF589-D787-5E4F-B2E3-72AE67A2D894}"/>
                </a:ext>
              </a:extLst>
            </p:cNvPr>
            <p:cNvSpPr>
              <a:spLocks/>
            </p:cNvSpPr>
            <p:nvPr/>
          </p:nvSpPr>
          <p:spPr bwMode="auto">
            <a:xfrm>
              <a:off x="2141618" y="4216722"/>
              <a:ext cx="384175" cy="127000"/>
            </a:xfrm>
            <a:custGeom>
              <a:avLst/>
              <a:gdLst>
                <a:gd name="T0" fmla="*/ 0 w 485"/>
                <a:gd name="T1" fmla="*/ 0 h 159"/>
                <a:gd name="T2" fmla="*/ 6 w 485"/>
                <a:gd name="T3" fmla="*/ 5 h 159"/>
                <a:gd name="T4" fmla="*/ 28 w 485"/>
                <a:gd name="T5" fmla="*/ 18 h 159"/>
                <a:gd name="T6" fmla="*/ 57 w 485"/>
                <a:gd name="T7" fmla="*/ 33 h 159"/>
                <a:gd name="T8" fmla="*/ 92 w 485"/>
                <a:gd name="T9" fmla="*/ 45 h 159"/>
                <a:gd name="T10" fmla="*/ 131 w 485"/>
                <a:gd name="T11" fmla="*/ 55 h 159"/>
                <a:gd name="T12" fmla="*/ 145 w 485"/>
                <a:gd name="T13" fmla="*/ 58 h 159"/>
                <a:gd name="T14" fmla="*/ 192 w 485"/>
                <a:gd name="T15" fmla="*/ 64 h 159"/>
                <a:gd name="T16" fmla="*/ 242 w 485"/>
                <a:gd name="T17" fmla="*/ 67 h 159"/>
                <a:gd name="T18" fmla="*/ 292 w 485"/>
                <a:gd name="T19" fmla="*/ 64 h 159"/>
                <a:gd name="T20" fmla="*/ 340 w 485"/>
                <a:gd name="T21" fmla="*/ 58 h 159"/>
                <a:gd name="T22" fmla="*/ 355 w 485"/>
                <a:gd name="T23" fmla="*/ 55 h 159"/>
                <a:gd name="T24" fmla="*/ 393 w 485"/>
                <a:gd name="T25" fmla="*/ 45 h 159"/>
                <a:gd name="T26" fmla="*/ 427 w 485"/>
                <a:gd name="T27" fmla="*/ 33 h 159"/>
                <a:gd name="T28" fmla="*/ 457 w 485"/>
                <a:gd name="T29" fmla="*/ 18 h 159"/>
                <a:gd name="T30" fmla="*/ 478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7 h 159"/>
                <a:gd name="T42" fmla="*/ 477 w 485"/>
                <a:gd name="T43" fmla="*/ 78 h 159"/>
                <a:gd name="T44" fmla="*/ 469 w 485"/>
                <a:gd name="T45" fmla="*/ 89 h 159"/>
                <a:gd name="T46" fmla="*/ 459 w 485"/>
                <a:gd name="T47" fmla="*/ 100 h 159"/>
                <a:gd name="T48" fmla="*/ 455 w 485"/>
                <a:gd name="T49" fmla="*/ 102 h 159"/>
                <a:gd name="T50" fmla="*/ 438 w 485"/>
                <a:gd name="T51" fmla="*/ 113 h 159"/>
                <a:gd name="T52" fmla="*/ 413 w 485"/>
                <a:gd name="T53" fmla="*/ 127 h 159"/>
                <a:gd name="T54" fmla="*/ 385 w 485"/>
                <a:gd name="T55" fmla="*/ 138 h 159"/>
                <a:gd name="T56" fmla="*/ 355 w 485"/>
                <a:gd name="T57" fmla="*/ 146 h 159"/>
                <a:gd name="T58" fmla="*/ 319 w 485"/>
                <a:gd name="T59" fmla="*/ 154 h 159"/>
                <a:gd name="T60" fmla="*/ 282 w 485"/>
                <a:gd name="T61" fmla="*/ 158 h 159"/>
                <a:gd name="T62" fmla="*/ 242 w 485"/>
                <a:gd name="T63" fmla="*/ 159 h 159"/>
                <a:gd name="T64" fmla="*/ 203 w 485"/>
                <a:gd name="T65" fmla="*/ 158 h 159"/>
                <a:gd name="T66" fmla="*/ 165 w 485"/>
                <a:gd name="T67" fmla="*/ 154 h 159"/>
                <a:gd name="T68" fmla="*/ 131 w 485"/>
                <a:gd name="T69" fmla="*/ 146 h 159"/>
                <a:gd name="T70" fmla="*/ 100 w 485"/>
                <a:gd name="T71" fmla="*/ 138 h 159"/>
                <a:gd name="T72" fmla="*/ 72 w 485"/>
                <a:gd name="T73" fmla="*/ 127 h 159"/>
                <a:gd name="T74" fmla="*/ 47 w 485"/>
                <a:gd name="T75" fmla="*/ 113 h 159"/>
                <a:gd name="T76" fmla="*/ 29 w 485"/>
                <a:gd name="T77" fmla="*/ 102 h 159"/>
                <a:gd name="T78" fmla="*/ 26 w 485"/>
                <a:gd name="T79" fmla="*/ 100 h 159"/>
                <a:gd name="T80" fmla="*/ 16 w 485"/>
                <a:gd name="T81" fmla="*/ 89 h 159"/>
                <a:gd name="T82" fmla="*/ 7 w 485"/>
                <a:gd name="T83" fmla="*/ 78 h 159"/>
                <a:gd name="T84" fmla="*/ 2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6" y="5"/>
                  </a:lnTo>
                  <a:lnTo>
                    <a:pt x="28" y="18"/>
                  </a:lnTo>
                  <a:lnTo>
                    <a:pt x="57" y="33"/>
                  </a:lnTo>
                  <a:lnTo>
                    <a:pt x="92" y="45"/>
                  </a:lnTo>
                  <a:lnTo>
                    <a:pt x="131" y="55"/>
                  </a:lnTo>
                  <a:lnTo>
                    <a:pt x="145" y="58"/>
                  </a:lnTo>
                  <a:lnTo>
                    <a:pt x="192" y="64"/>
                  </a:lnTo>
                  <a:lnTo>
                    <a:pt x="242" y="67"/>
                  </a:lnTo>
                  <a:lnTo>
                    <a:pt x="292" y="64"/>
                  </a:lnTo>
                  <a:lnTo>
                    <a:pt x="340" y="58"/>
                  </a:lnTo>
                  <a:lnTo>
                    <a:pt x="355" y="55"/>
                  </a:lnTo>
                  <a:lnTo>
                    <a:pt x="393" y="45"/>
                  </a:lnTo>
                  <a:lnTo>
                    <a:pt x="427" y="33"/>
                  </a:lnTo>
                  <a:lnTo>
                    <a:pt x="457" y="18"/>
                  </a:lnTo>
                  <a:lnTo>
                    <a:pt x="478" y="5"/>
                  </a:lnTo>
                  <a:lnTo>
                    <a:pt x="485" y="0"/>
                  </a:lnTo>
                  <a:lnTo>
                    <a:pt x="485" y="54"/>
                  </a:lnTo>
                  <a:lnTo>
                    <a:pt x="485" y="55"/>
                  </a:lnTo>
                  <a:lnTo>
                    <a:pt x="485" y="55"/>
                  </a:lnTo>
                  <a:lnTo>
                    <a:pt x="483" y="67"/>
                  </a:lnTo>
                  <a:lnTo>
                    <a:pt x="477" y="78"/>
                  </a:lnTo>
                  <a:lnTo>
                    <a:pt x="469" y="89"/>
                  </a:lnTo>
                  <a:lnTo>
                    <a:pt x="459" y="100"/>
                  </a:lnTo>
                  <a:lnTo>
                    <a:pt x="455" y="102"/>
                  </a:lnTo>
                  <a:lnTo>
                    <a:pt x="438" y="113"/>
                  </a:lnTo>
                  <a:lnTo>
                    <a:pt x="413" y="127"/>
                  </a:lnTo>
                  <a:lnTo>
                    <a:pt x="385" y="138"/>
                  </a:lnTo>
                  <a:lnTo>
                    <a:pt x="355" y="146"/>
                  </a:lnTo>
                  <a:lnTo>
                    <a:pt x="319" y="154"/>
                  </a:lnTo>
                  <a:lnTo>
                    <a:pt x="282" y="158"/>
                  </a:lnTo>
                  <a:lnTo>
                    <a:pt x="242" y="159"/>
                  </a:lnTo>
                  <a:lnTo>
                    <a:pt x="203" y="158"/>
                  </a:lnTo>
                  <a:lnTo>
                    <a:pt x="165" y="154"/>
                  </a:lnTo>
                  <a:lnTo>
                    <a:pt x="131" y="146"/>
                  </a:lnTo>
                  <a:lnTo>
                    <a:pt x="100" y="138"/>
                  </a:lnTo>
                  <a:lnTo>
                    <a:pt x="72" y="127"/>
                  </a:lnTo>
                  <a:lnTo>
                    <a:pt x="47" y="113"/>
                  </a:lnTo>
                  <a:lnTo>
                    <a:pt x="29" y="102"/>
                  </a:lnTo>
                  <a:lnTo>
                    <a:pt x="26" y="100"/>
                  </a:lnTo>
                  <a:lnTo>
                    <a:pt x="16" y="89"/>
                  </a:lnTo>
                  <a:lnTo>
                    <a:pt x="7" y="78"/>
                  </a:lnTo>
                  <a:lnTo>
                    <a:pt x="2" y="67"/>
                  </a:lnTo>
                  <a:lnTo>
                    <a:pt x="0" y="55"/>
                  </a:lnTo>
                  <a:lnTo>
                    <a:pt x="0" y="55"/>
                  </a:lnTo>
                  <a:lnTo>
                    <a:pt x="0" y="54"/>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21">
              <a:extLst>
                <a:ext uri="{FF2B5EF4-FFF2-40B4-BE49-F238E27FC236}">
                  <a16:creationId xmlns:a16="http://schemas.microsoft.com/office/drawing/2014/main" id="{4D376873-B508-1544-8297-D468E1A7DD61}"/>
                </a:ext>
              </a:extLst>
            </p:cNvPr>
            <p:cNvSpPr>
              <a:spLocks/>
            </p:cNvSpPr>
            <p:nvPr/>
          </p:nvSpPr>
          <p:spPr bwMode="auto">
            <a:xfrm>
              <a:off x="2738518" y="3773810"/>
              <a:ext cx="384175" cy="127000"/>
            </a:xfrm>
            <a:custGeom>
              <a:avLst/>
              <a:gdLst>
                <a:gd name="T0" fmla="*/ 0 w 485"/>
                <a:gd name="T1" fmla="*/ 0 h 159"/>
                <a:gd name="T2" fmla="*/ 7 w 485"/>
                <a:gd name="T3" fmla="*/ 5 h 159"/>
                <a:gd name="T4" fmla="*/ 27 w 485"/>
                <a:gd name="T5" fmla="*/ 18 h 159"/>
                <a:gd name="T6" fmla="*/ 58 w 485"/>
                <a:gd name="T7" fmla="*/ 33 h 159"/>
                <a:gd name="T8" fmla="*/ 93 w 485"/>
                <a:gd name="T9" fmla="*/ 46 h 159"/>
                <a:gd name="T10" fmla="*/ 131 w 485"/>
                <a:gd name="T11" fmla="*/ 55 h 159"/>
                <a:gd name="T12" fmla="*/ 146 w 485"/>
                <a:gd name="T13" fmla="*/ 58 h 159"/>
                <a:gd name="T14" fmla="*/ 193 w 485"/>
                <a:gd name="T15" fmla="*/ 64 h 159"/>
                <a:gd name="T16" fmla="*/ 242 w 485"/>
                <a:gd name="T17" fmla="*/ 66 h 159"/>
                <a:gd name="T18" fmla="*/ 292 w 485"/>
                <a:gd name="T19" fmla="*/ 64 h 159"/>
                <a:gd name="T20" fmla="*/ 339 w 485"/>
                <a:gd name="T21" fmla="*/ 58 h 159"/>
                <a:gd name="T22" fmla="*/ 354 w 485"/>
                <a:gd name="T23" fmla="*/ 55 h 159"/>
                <a:gd name="T24" fmla="*/ 392 w 485"/>
                <a:gd name="T25" fmla="*/ 46 h 159"/>
                <a:gd name="T26" fmla="*/ 427 w 485"/>
                <a:gd name="T27" fmla="*/ 33 h 159"/>
                <a:gd name="T28" fmla="*/ 458 w 485"/>
                <a:gd name="T29" fmla="*/ 18 h 159"/>
                <a:gd name="T30" fmla="*/ 478 w 485"/>
                <a:gd name="T31" fmla="*/ 5 h 159"/>
                <a:gd name="T32" fmla="*/ 485 w 485"/>
                <a:gd name="T33" fmla="*/ 0 h 159"/>
                <a:gd name="T34" fmla="*/ 485 w 485"/>
                <a:gd name="T35" fmla="*/ 53 h 159"/>
                <a:gd name="T36" fmla="*/ 484 w 485"/>
                <a:gd name="T37" fmla="*/ 55 h 159"/>
                <a:gd name="T38" fmla="*/ 484 w 485"/>
                <a:gd name="T39" fmla="*/ 55 h 159"/>
                <a:gd name="T40" fmla="*/ 482 w 485"/>
                <a:gd name="T41" fmla="*/ 67 h 159"/>
                <a:gd name="T42" fmla="*/ 477 w 485"/>
                <a:gd name="T43" fmla="*/ 79 h 159"/>
                <a:gd name="T44" fmla="*/ 470 w 485"/>
                <a:gd name="T45" fmla="*/ 89 h 159"/>
                <a:gd name="T46" fmla="*/ 459 w 485"/>
                <a:gd name="T47" fmla="*/ 99 h 159"/>
                <a:gd name="T48" fmla="*/ 456 w 485"/>
                <a:gd name="T49" fmla="*/ 102 h 159"/>
                <a:gd name="T50" fmla="*/ 439 w 485"/>
                <a:gd name="T51" fmla="*/ 114 h 159"/>
                <a:gd name="T52" fmla="*/ 412 w 485"/>
                <a:gd name="T53" fmla="*/ 127 h 159"/>
                <a:gd name="T54" fmla="*/ 386 w 485"/>
                <a:gd name="T55" fmla="*/ 138 h 159"/>
                <a:gd name="T56" fmla="*/ 354 w 485"/>
                <a:gd name="T57" fmla="*/ 147 h 159"/>
                <a:gd name="T58" fmla="*/ 320 w 485"/>
                <a:gd name="T59" fmla="*/ 153 h 159"/>
                <a:gd name="T60" fmla="*/ 283 w 485"/>
                <a:gd name="T61" fmla="*/ 157 h 159"/>
                <a:gd name="T62" fmla="*/ 242 w 485"/>
                <a:gd name="T63" fmla="*/ 159 h 159"/>
                <a:gd name="T64" fmla="*/ 202 w 485"/>
                <a:gd name="T65" fmla="*/ 157 h 159"/>
                <a:gd name="T66" fmla="*/ 165 w 485"/>
                <a:gd name="T67" fmla="*/ 153 h 159"/>
                <a:gd name="T68" fmla="*/ 131 w 485"/>
                <a:gd name="T69" fmla="*/ 147 h 159"/>
                <a:gd name="T70" fmla="*/ 100 w 485"/>
                <a:gd name="T71" fmla="*/ 138 h 159"/>
                <a:gd name="T72" fmla="*/ 73 w 485"/>
                <a:gd name="T73" fmla="*/ 127 h 159"/>
                <a:gd name="T74" fmla="*/ 47 w 485"/>
                <a:gd name="T75" fmla="*/ 114 h 159"/>
                <a:gd name="T76" fmla="*/ 29 w 485"/>
                <a:gd name="T77" fmla="*/ 102 h 159"/>
                <a:gd name="T78" fmla="*/ 26 w 485"/>
                <a:gd name="T79" fmla="*/ 99 h 159"/>
                <a:gd name="T80" fmla="*/ 16 w 485"/>
                <a:gd name="T81" fmla="*/ 89 h 159"/>
                <a:gd name="T82" fmla="*/ 8 w 485"/>
                <a:gd name="T83" fmla="*/ 79 h 159"/>
                <a:gd name="T84" fmla="*/ 3 w 485"/>
                <a:gd name="T85" fmla="*/ 67 h 159"/>
                <a:gd name="T86" fmla="*/ 0 w 485"/>
                <a:gd name="T87" fmla="*/ 55 h 159"/>
                <a:gd name="T88" fmla="*/ 0 w 485"/>
                <a:gd name="T89" fmla="*/ 55 h 159"/>
                <a:gd name="T90" fmla="*/ 0 w 485"/>
                <a:gd name="T91" fmla="*/ 53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3" y="46"/>
                  </a:lnTo>
                  <a:lnTo>
                    <a:pt x="131" y="55"/>
                  </a:lnTo>
                  <a:lnTo>
                    <a:pt x="146" y="58"/>
                  </a:lnTo>
                  <a:lnTo>
                    <a:pt x="193" y="64"/>
                  </a:lnTo>
                  <a:lnTo>
                    <a:pt x="242" y="66"/>
                  </a:lnTo>
                  <a:lnTo>
                    <a:pt x="292" y="64"/>
                  </a:lnTo>
                  <a:lnTo>
                    <a:pt x="339" y="58"/>
                  </a:lnTo>
                  <a:lnTo>
                    <a:pt x="354" y="55"/>
                  </a:lnTo>
                  <a:lnTo>
                    <a:pt x="392" y="46"/>
                  </a:lnTo>
                  <a:lnTo>
                    <a:pt x="427" y="33"/>
                  </a:lnTo>
                  <a:lnTo>
                    <a:pt x="458" y="18"/>
                  </a:lnTo>
                  <a:lnTo>
                    <a:pt x="478" y="5"/>
                  </a:lnTo>
                  <a:lnTo>
                    <a:pt x="485" y="0"/>
                  </a:lnTo>
                  <a:lnTo>
                    <a:pt x="485" y="53"/>
                  </a:lnTo>
                  <a:lnTo>
                    <a:pt x="484" y="55"/>
                  </a:lnTo>
                  <a:lnTo>
                    <a:pt x="484" y="55"/>
                  </a:lnTo>
                  <a:lnTo>
                    <a:pt x="482" y="67"/>
                  </a:lnTo>
                  <a:lnTo>
                    <a:pt x="477" y="79"/>
                  </a:lnTo>
                  <a:lnTo>
                    <a:pt x="470" y="89"/>
                  </a:lnTo>
                  <a:lnTo>
                    <a:pt x="459" y="99"/>
                  </a:lnTo>
                  <a:lnTo>
                    <a:pt x="456" y="102"/>
                  </a:lnTo>
                  <a:lnTo>
                    <a:pt x="439" y="114"/>
                  </a:lnTo>
                  <a:lnTo>
                    <a:pt x="412" y="127"/>
                  </a:lnTo>
                  <a:lnTo>
                    <a:pt x="386" y="138"/>
                  </a:lnTo>
                  <a:lnTo>
                    <a:pt x="354" y="147"/>
                  </a:lnTo>
                  <a:lnTo>
                    <a:pt x="320" y="153"/>
                  </a:lnTo>
                  <a:lnTo>
                    <a:pt x="283" y="157"/>
                  </a:lnTo>
                  <a:lnTo>
                    <a:pt x="242" y="159"/>
                  </a:lnTo>
                  <a:lnTo>
                    <a:pt x="202" y="157"/>
                  </a:lnTo>
                  <a:lnTo>
                    <a:pt x="165" y="153"/>
                  </a:lnTo>
                  <a:lnTo>
                    <a:pt x="131" y="147"/>
                  </a:lnTo>
                  <a:lnTo>
                    <a:pt x="100" y="138"/>
                  </a:lnTo>
                  <a:lnTo>
                    <a:pt x="73" y="127"/>
                  </a:lnTo>
                  <a:lnTo>
                    <a:pt x="47" y="114"/>
                  </a:lnTo>
                  <a:lnTo>
                    <a:pt x="29" y="102"/>
                  </a:lnTo>
                  <a:lnTo>
                    <a:pt x="26" y="99"/>
                  </a:lnTo>
                  <a:lnTo>
                    <a:pt x="16" y="89"/>
                  </a:lnTo>
                  <a:lnTo>
                    <a:pt x="8" y="79"/>
                  </a:lnTo>
                  <a:lnTo>
                    <a:pt x="3" y="67"/>
                  </a:lnTo>
                  <a:lnTo>
                    <a:pt x="0" y="55"/>
                  </a:lnTo>
                  <a:lnTo>
                    <a:pt x="0" y="55"/>
                  </a:lnTo>
                  <a:lnTo>
                    <a:pt x="0" y="53"/>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22">
              <a:extLst>
                <a:ext uri="{FF2B5EF4-FFF2-40B4-BE49-F238E27FC236}">
                  <a16:creationId xmlns:a16="http://schemas.microsoft.com/office/drawing/2014/main" id="{33D0198B-AAF3-0D40-824F-0EE775477722}"/>
                </a:ext>
              </a:extLst>
            </p:cNvPr>
            <p:cNvSpPr>
              <a:spLocks/>
            </p:cNvSpPr>
            <p:nvPr/>
          </p:nvSpPr>
          <p:spPr bwMode="auto">
            <a:xfrm>
              <a:off x="2736930" y="3626172"/>
              <a:ext cx="385763" cy="165100"/>
            </a:xfrm>
            <a:custGeom>
              <a:avLst/>
              <a:gdLst>
                <a:gd name="T0" fmla="*/ 243 w 486"/>
                <a:gd name="T1" fmla="*/ 0 h 207"/>
                <a:gd name="T2" fmla="*/ 292 w 486"/>
                <a:gd name="T3" fmla="*/ 2 h 207"/>
                <a:gd name="T4" fmla="*/ 337 w 486"/>
                <a:gd name="T5" fmla="*/ 9 h 207"/>
                <a:gd name="T6" fmla="*/ 376 w 486"/>
                <a:gd name="T7" fmla="*/ 18 h 207"/>
                <a:gd name="T8" fmla="*/ 411 w 486"/>
                <a:gd name="T9" fmla="*/ 30 h 207"/>
                <a:gd name="T10" fmla="*/ 440 w 486"/>
                <a:gd name="T11" fmla="*/ 45 h 207"/>
                <a:gd name="T12" fmla="*/ 462 w 486"/>
                <a:gd name="T13" fmla="*/ 61 h 207"/>
                <a:gd name="T14" fmla="*/ 478 w 486"/>
                <a:gd name="T15" fmla="*/ 78 h 207"/>
                <a:gd name="T16" fmla="*/ 485 w 486"/>
                <a:gd name="T17" fmla="*/ 95 h 207"/>
                <a:gd name="T18" fmla="*/ 486 w 486"/>
                <a:gd name="T19" fmla="*/ 99 h 207"/>
                <a:gd name="T20" fmla="*/ 486 w 486"/>
                <a:gd name="T21" fmla="*/ 104 h 207"/>
                <a:gd name="T22" fmla="*/ 486 w 486"/>
                <a:gd name="T23" fmla="*/ 110 h 207"/>
                <a:gd name="T24" fmla="*/ 484 w 486"/>
                <a:gd name="T25" fmla="*/ 118 h 207"/>
                <a:gd name="T26" fmla="*/ 478 w 486"/>
                <a:gd name="T27" fmla="*/ 130 h 207"/>
                <a:gd name="T28" fmla="*/ 468 w 486"/>
                <a:gd name="T29" fmla="*/ 141 h 207"/>
                <a:gd name="T30" fmla="*/ 464 w 486"/>
                <a:gd name="T31" fmla="*/ 146 h 207"/>
                <a:gd name="T32" fmla="*/ 459 w 486"/>
                <a:gd name="T33" fmla="*/ 150 h 207"/>
                <a:gd name="T34" fmla="*/ 438 w 486"/>
                <a:gd name="T35" fmla="*/ 165 h 207"/>
                <a:gd name="T36" fmla="*/ 410 w 486"/>
                <a:gd name="T37" fmla="*/ 177 h 207"/>
                <a:gd name="T38" fmla="*/ 376 w 486"/>
                <a:gd name="T39" fmla="*/ 189 h 207"/>
                <a:gd name="T40" fmla="*/ 336 w 486"/>
                <a:gd name="T41" fmla="*/ 199 h 207"/>
                <a:gd name="T42" fmla="*/ 292 w 486"/>
                <a:gd name="T43" fmla="*/ 205 h 207"/>
                <a:gd name="T44" fmla="*/ 243 w 486"/>
                <a:gd name="T45" fmla="*/ 207 h 207"/>
                <a:gd name="T46" fmla="*/ 196 w 486"/>
                <a:gd name="T47" fmla="*/ 205 h 207"/>
                <a:gd name="T48" fmla="*/ 151 w 486"/>
                <a:gd name="T49" fmla="*/ 199 h 207"/>
                <a:gd name="T50" fmla="*/ 112 w 486"/>
                <a:gd name="T51" fmla="*/ 189 h 207"/>
                <a:gd name="T52" fmla="*/ 77 w 486"/>
                <a:gd name="T53" fmla="*/ 177 h 207"/>
                <a:gd name="T54" fmla="*/ 50 w 486"/>
                <a:gd name="T55" fmla="*/ 165 h 207"/>
                <a:gd name="T56" fmla="*/ 28 w 486"/>
                <a:gd name="T57" fmla="*/ 150 h 207"/>
                <a:gd name="T58" fmla="*/ 24 w 486"/>
                <a:gd name="T59" fmla="*/ 146 h 207"/>
                <a:gd name="T60" fmla="*/ 18 w 486"/>
                <a:gd name="T61" fmla="*/ 141 h 207"/>
                <a:gd name="T62" fmla="*/ 9 w 486"/>
                <a:gd name="T63" fmla="*/ 130 h 207"/>
                <a:gd name="T64" fmla="*/ 4 w 486"/>
                <a:gd name="T65" fmla="*/ 118 h 207"/>
                <a:gd name="T66" fmla="*/ 1 w 486"/>
                <a:gd name="T67" fmla="*/ 110 h 207"/>
                <a:gd name="T68" fmla="*/ 0 w 486"/>
                <a:gd name="T69" fmla="*/ 104 h 207"/>
                <a:gd name="T70" fmla="*/ 0 w 486"/>
                <a:gd name="T71" fmla="*/ 99 h 207"/>
                <a:gd name="T72" fmla="*/ 1 w 486"/>
                <a:gd name="T73" fmla="*/ 95 h 207"/>
                <a:gd name="T74" fmla="*/ 9 w 486"/>
                <a:gd name="T75" fmla="*/ 78 h 207"/>
                <a:gd name="T76" fmla="*/ 25 w 486"/>
                <a:gd name="T77" fmla="*/ 61 h 207"/>
                <a:gd name="T78" fmla="*/ 47 w 486"/>
                <a:gd name="T79" fmla="*/ 45 h 207"/>
                <a:gd name="T80" fmla="*/ 76 w 486"/>
                <a:gd name="T81" fmla="*/ 30 h 207"/>
                <a:gd name="T82" fmla="*/ 111 w 486"/>
                <a:gd name="T83" fmla="*/ 18 h 207"/>
                <a:gd name="T84" fmla="*/ 150 w 486"/>
                <a:gd name="T85" fmla="*/ 9 h 207"/>
                <a:gd name="T86" fmla="*/ 195 w 486"/>
                <a:gd name="T87" fmla="*/ 2 h 207"/>
                <a:gd name="T88" fmla="*/ 243 w 486"/>
                <a:gd name="T89"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6" h="207">
                  <a:moveTo>
                    <a:pt x="243" y="0"/>
                  </a:moveTo>
                  <a:lnTo>
                    <a:pt x="292" y="2"/>
                  </a:lnTo>
                  <a:lnTo>
                    <a:pt x="337" y="9"/>
                  </a:lnTo>
                  <a:lnTo>
                    <a:pt x="376" y="18"/>
                  </a:lnTo>
                  <a:lnTo>
                    <a:pt x="411" y="30"/>
                  </a:lnTo>
                  <a:lnTo>
                    <a:pt x="440" y="45"/>
                  </a:lnTo>
                  <a:lnTo>
                    <a:pt x="462" y="61"/>
                  </a:lnTo>
                  <a:lnTo>
                    <a:pt x="478" y="78"/>
                  </a:lnTo>
                  <a:lnTo>
                    <a:pt x="485" y="95"/>
                  </a:lnTo>
                  <a:lnTo>
                    <a:pt x="486" y="99"/>
                  </a:lnTo>
                  <a:lnTo>
                    <a:pt x="486" y="104"/>
                  </a:lnTo>
                  <a:lnTo>
                    <a:pt x="486" y="110"/>
                  </a:lnTo>
                  <a:lnTo>
                    <a:pt x="484" y="118"/>
                  </a:lnTo>
                  <a:lnTo>
                    <a:pt x="478" y="130"/>
                  </a:lnTo>
                  <a:lnTo>
                    <a:pt x="468" y="141"/>
                  </a:lnTo>
                  <a:lnTo>
                    <a:pt x="464" y="146"/>
                  </a:lnTo>
                  <a:lnTo>
                    <a:pt x="459" y="150"/>
                  </a:lnTo>
                  <a:lnTo>
                    <a:pt x="438" y="165"/>
                  </a:lnTo>
                  <a:lnTo>
                    <a:pt x="410" y="177"/>
                  </a:lnTo>
                  <a:lnTo>
                    <a:pt x="376" y="189"/>
                  </a:lnTo>
                  <a:lnTo>
                    <a:pt x="336" y="199"/>
                  </a:lnTo>
                  <a:lnTo>
                    <a:pt x="292" y="205"/>
                  </a:lnTo>
                  <a:lnTo>
                    <a:pt x="243" y="207"/>
                  </a:lnTo>
                  <a:lnTo>
                    <a:pt x="196" y="205"/>
                  </a:lnTo>
                  <a:lnTo>
                    <a:pt x="151" y="199"/>
                  </a:lnTo>
                  <a:lnTo>
                    <a:pt x="112" y="189"/>
                  </a:lnTo>
                  <a:lnTo>
                    <a:pt x="77" y="177"/>
                  </a:lnTo>
                  <a:lnTo>
                    <a:pt x="50" y="165"/>
                  </a:lnTo>
                  <a:lnTo>
                    <a:pt x="28" y="150"/>
                  </a:lnTo>
                  <a:lnTo>
                    <a:pt x="24" y="146"/>
                  </a:lnTo>
                  <a:lnTo>
                    <a:pt x="18" y="141"/>
                  </a:lnTo>
                  <a:lnTo>
                    <a:pt x="9" y="130"/>
                  </a:lnTo>
                  <a:lnTo>
                    <a:pt x="4" y="118"/>
                  </a:lnTo>
                  <a:lnTo>
                    <a:pt x="1" y="110"/>
                  </a:lnTo>
                  <a:lnTo>
                    <a:pt x="0" y="104"/>
                  </a:lnTo>
                  <a:lnTo>
                    <a:pt x="0" y="99"/>
                  </a:lnTo>
                  <a:lnTo>
                    <a:pt x="1" y="95"/>
                  </a:lnTo>
                  <a:lnTo>
                    <a:pt x="9" y="78"/>
                  </a:lnTo>
                  <a:lnTo>
                    <a:pt x="25" y="61"/>
                  </a:lnTo>
                  <a:lnTo>
                    <a:pt x="47" y="45"/>
                  </a:lnTo>
                  <a:lnTo>
                    <a:pt x="76" y="30"/>
                  </a:lnTo>
                  <a:lnTo>
                    <a:pt x="111" y="18"/>
                  </a:lnTo>
                  <a:lnTo>
                    <a:pt x="150" y="9"/>
                  </a:lnTo>
                  <a:lnTo>
                    <a:pt x="195" y="2"/>
                  </a:lnTo>
                  <a:lnTo>
                    <a:pt x="243"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23">
              <a:extLst>
                <a:ext uri="{FF2B5EF4-FFF2-40B4-BE49-F238E27FC236}">
                  <a16:creationId xmlns:a16="http://schemas.microsoft.com/office/drawing/2014/main" id="{D7BD1F51-865D-AE47-A1A3-C3B3436633EC}"/>
                </a:ext>
              </a:extLst>
            </p:cNvPr>
            <p:cNvSpPr>
              <a:spLocks/>
            </p:cNvSpPr>
            <p:nvPr/>
          </p:nvSpPr>
          <p:spPr bwMode="auto">
            <a:xfrm>
              <a:off x="2738518" y="3884935"/>
              <a:ext cx="384175" cy="127000"/>
            </a:xfrm>
            <a:custGeom>
              <a:avLst/>
              <a:gdLst>
                <a:gd name="T0" fmla="*/ 0 w 485"/>
                <a:gd name="T1" fmla="*/ 0 h 159"/>
                <a:gd name="T2" fmla="*/ 7 w 485"/>
                <a:gd name="T3" fmla="*/ 5 h 159"/>
                <a:gd name="T4" fmla="*/ 27 w 485"/>
                <a:gd name="T5" fmla="*/ 18 h 159"/>
                <a:gd name="T6" fmla="*/ 58 w 485"/>
                <a:gd name="T7" fmla="*/ 33 h 159"/>
                <a:gd name="T8" fmla="*/ 93 w 485"/>
                <a:gd name="T9" fmla="*/ 46 h 159"/>
                <a:gd name="T10" fmla="*/ 131 w 485"/>
                <a:gd name="T11" fmla="*/ 55 h 159"/>
                <a:gd name="T12" fmla="*/ 146 w 485"/>
                <a:gd name="T13" fmla="*/ 59 h 159"/>
                <a:gd name="T14" fmla="*/ 193 w 485"/>
                <a:gd name="T15" fmla="*/ 65 h 159"/>
                <a:gd name="T16" fmla="*/ 242 w 485"/>
                <a:gd name="T17" fmla="*/ 67 h 159"/>
                <a:gd name="T18" fmla="*/ 292 w 485"/>
                <a:gd name="T19" fmla="*/ 65 h 159"/>
                <a:gd name="T20" fmla="*/ 339 w 485"/>
                <a:gd name="T21" fmla="*/ 59 h 159"/>
                <a:gd name="T22" fmla="*/ 354 w 485"/>
                <a:gd name="T23" fmla="*/ 55 h 159"/>
                <a:gd name="T24" fmla="*/ 392 w 485"/>
                <a:gd name="T25" fmla="*/ 46 h 159"/>
                <a:gd name="T26" fmla="*/ 427 w 485"/>
                <a:gd name="T27" fmla="*/ 33 h 159"/>
                <a:gd name="T28" fmla="*/ 458 w 485"/>
                <a:gd name="T29" fmla="*/ 18 h 159"/>
                <a:gd name="T30" fmla="*/ 478 w 485"/>
                <a:gd name="T31" fmla="*/ 5 h 159"/>
                <a:gd name="T32" fmla="*/ 485 w 485"/>
                <a:gd name="T33" fmla="*/ 0 h 159"/>
                <a:gd name="T34" fmla="*/ 485 w 485"/>
                <a:gd name="T35" fmla="*/ 54 h 159"/>
                <a:gd name="T36" fmla="*/ 484 w 485"/>
                <a:gd name="T37" fmla="*/ 55 h 159"/>
                <a:gd name="T38" fmla="*/ 484 w 485"/>
                <a:gd name="T39" fmla="*/ 55 h 159"/>
                <a:gd name="T40" fmla="*/ 482 w 485"/>
                <a:gd name="T41" fmla="*/ 67 h 159"/>
                <a:gd name="T42" fmla="*/ 477 w 485"/>
                <a:gd name="T43" fmla="*/ 79 h 159"/>
                <a:gd name="T44" fmla="*/ 470 w 485"/>
                <a:gd name="T45" fmla="*/ 89 h 159"/>
                <a:gd name="T46" fmla="*/ 459 w 485"/>
                <a:gd name="T47" fmla="*/ 99 h 159"/>
                <a:gd name="T48" fmla="*/ 456 w 485"/>
                <a:gd name="T49" fmla="*/ 102 h 159"/>
                <a:gd name="T50" fmla="*/ 439 w 485"/>
                <a:gd name="T51" fmla="*/ 114 h 159"/>
                <a:gd name="T52" fmla="*/ 412 w 485"/>
                <a:gd name="T53" fmla="*/ 128 h 159"/>
                <a:gd name="T54" fmla="*/ 386 w 485"/>
                <a:gd name="T55" fmla="*/ 138 h 159"/>
                <a:gd name="T56" fmla="*/ 354 w 485"/>
                <a:gd name="T57" fmla="*/ 147 h 159"/>
                <a:gd name="T58" fmla="*/ 320 w 485"/>
                <a:gd name="T59" fmla="*/ 154 h 159"/>
                <a:gd name="T60" fmla="*/ 283 w 485"/>
                <a:gd name="T61" fmla="*/ 158 h 159"/>
                <a:gd name="T62" fmla="*/ 242 w 485"/>
                <a:gd name="T63" fmla="*/ 159 h 159"/>
                <a:gd name="T64" fmla="*/ 202 w 485"/>
                <a:gd name="T65" fmla="*/ 158 h 159"/>
                <a:gd name="T66" fmla="*/ 165 w 485"/>
                <a:gd name="T67" fmla="*/ 154 h 159"/>
                <a:gd name="T68" fmla="*/ 131 w 485"/>
                <a:gd name="T69" fmla="*/ 147 h 159"/>
                <a:gd name="T70" fmla="*/ 100 w 485"/>
                <a:gd name="T71" fmla="*/ 138 h 159"/>
                <a:gd name="T72" fmla="*/ 73 w 485"/>
                <a:gd name="T73" fmla="*/ 128 h 159"/>
                <a:gd name="T74" fmla="*/ 47 w 485"/>
                <a:gd name="T75" fmla="*/ 114 h 159"/>
                <a:gd name="T76" fmla="*/ 29 w 485"/>
                <a:gd name="T77" fmla="*/ 102 h 159"/>
                <a:gd name="T78" fmla="*/ 26 w 485"/>
                <a:gd name="T79" fmla="*/ 99 h 159"/>
                <a:gd name="T80" fmla="*/ 16 w 485"/>
                <a:gd name="T81" fmla="*/ 89 h 159"/>
                <a:gd name="T82" fmla="*/ 8 w 485"/>
                <a:gd name="T83" fmla="*/ 79 h 159"/>
                <a:gd name="T84" fmla="*/ 3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3" y="46"/>
                  </a:lnTo>
                  <a:lnTo>
                    <a:pt x="131" y="55"/>
                  </a:lnTo>
                  <a:lnTo>
                    <a:pt x="146" y="59"/>
                  </a:lnTo>
                  <a:lnTo>
                    <a:pt x="193" y="65"/>
                  </a:lnTo>
                  <a:lnTo>
                    <a:pt x="242" y="67"/>
                  </a:lnTo>
                  <a:lnTo>
                    <a:pt x="292" y="65"/>
                  </a:lnTo>
                  <a:lnTo>
                    <a:pt x="339" y="59"/>
                  </a:lnTo>
                  <a:lnTo>
                    <a:pt x="354" y="55"/>
                  </a:lnTo>
                  <a:lnTo>
                    <a:pt x="392" y="46"/>
                  </a:lnTo>
                  <a:lnTo>
                    <a:pt x="427" y="33"/>
                  </a:lnTo>
                  <a:lnTo>
                    <a:pt x="458" y="18"/>
                  </a:lnTo>
                  <a:lnTo>
                    <a:pt x="478" y="5"/>
                  </a:lnTo>
                  <a:lnTo>
                    <a:pt x="485" y="0"/>
                  </a:lnTo>
                  <a:lnTo>
                    <a:pt x="485" y="54"/>
                  </a:lnTo>
                  <a:lnTo>
                    <a:pt x="484" y="55"/>
                  </a:lnTo>
                  <a:lnTo>
                    <a:pt x="484" y="55"/>
                  </a:lnTo>
                  <a:lnTo>
                    <a:pt x="482" y="67"/>
                  </a:lnTo>
                  <a:lnTo>
                    <a:pt x="477" y="79"/>
                  </a:lnTo>
                  <a:lnTo>
                    <a:pt x="470" y="89"/>
                  </a:lnTo>
                  <a:lnTo>
                    <a:pt x="459" y="99"/>
                  </a:lnTo>
                  <a:lnTo>
                    <a:pt x="456" y="102"/>
                  </a:lnTo>
                  <a:lnTo>
                    <a:pt x="439" y="114"/>
                  </a:lnTo>
                  <a:lnTo>
                    <a:pt x="412" y="128"/>
                  </a:lnTo>
                  <a:lnTo>
                    <a:pt x="386" y="138"/>
                  </a:lnTo>
                  <a:lnTo>
                    <a:pt x="354" y="147"/>
                  </a:lnTo>
                  <a:lnTo>
                    <a:pt x="320" y="154"/>
                  </a:lnTo>
                  <a:lnTo>
                    <a:pt x="283" y="158"/>
                  </a:lnTo>
                  <a:lnTo>
                    <a:pt x="242" y="159"/>
                  </a:lnTo>
                  <a:lnTo>
                    <a:pt x="202" y="158"/>
                  </a:lnTo>
                  <a:lnTo>
                    <a:pt x="165" y="154"/>
                  </a:lnTo>
                  <a:lnTo>
                    <a:pt x="131" y="147"/>
                  </a:lnTo>
                  <a:lnTo>
                    <a:pt x="100" y="138"/>
                  </a:lnTo>
                  <a:lnTo>
                    <a:pt x="73" y="128"/>
                  </a:lnTo>
                  <a:lnTo>
                    <a:pt x="47" y="114"/>
                  </a:lnTo>
                  <a:lnTo>
                    <a:pt x="29" y="102"/>
                  </a:lnTo>
                  <a:lnTo>
                    <a:pt x="26" y="99"/>
                  </a:lnTo>
                  <a:lnTo>
                    <a:pt x="16" y="89"/>
                  </a:lnTo>
                  <a:lnTo>
                    <a:pt x="8" y="79"/>
                  </a:lnTo>
                  <a:lnTo>
                    <a:pt x="3" y="67"/>
                  </a:lnTo>
                  <a:lnTo>
                    <a:pt x="0" y="55"/>
                  </a:lnTo>
                  <a:lnTo>
                    <a:pt x="0" y="55"/>
                  </a:lnTo>
                  <a:lnTo>
                    <a:pt x="0" y="54"/>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24">
              <a:extLst>
                <a:ext uri="{FF2B5EF4-FFF2-40B4-BE49-F238E27FC236}">
                  <a16:creationId xmlns:a16="http://schemas.microsoft.com/office/drawing/2014/main" id="{F6BBFA9E-BC9B-6D4C-80CE-37F370086279}"/>
                </a:ext>
              </a:extLst>
            </p:cNvPr>
            <p:cNvSpPr>
              <a:spLocks/>
            </p:cNvSpPr>
            <p:nvPr/>
          </p:nvSpPr>
          <p:spPr bwMode="auto">
            <a:xfrm>
              <a:off x="2738518" y="3996060"/>
              <a:ext cx="384175" cy="127000"/>
            </a:xfrm>
            <a:custGeom>
              <a:avLst/>
              <a:gdLst>
                <a:gd name="T0" fmla="*/ 0 w 485"/>
                <a:gd name="T1" fmla="*/ 0 h 161"/>
                <a:gd name="T2" fmla="*/ 7 w 485"/>
                <a:gd name="T3" fmla="*/ 6 h 161"/>
                <a:gd name="T4" fmla="*/ 27 w 485"/>
                <a:gd name="T5" fmla="*/ 19 h 161"/>
                <a:gd name="T6" fmla="*/ 58 w 485"/>
                <a:gd name="T7" fmla="*/ 34 h 161"/>
                <a:gd name="T8" fmla="*/ 93 w 485"/>
                <a:gd name="T9" fmla="*/ 46 h 161"/>
                <a:gd name="T10" fmla="*/ 131 w 485"/>
                <a:gd name="T11" fmla="*/ 57 h 161"/>
                <a:gd name="T12" fmla="*/ 146 w 485"/>
                <a:gd name="T13" fmla="*/ 59 h 161"/>
                <a:gd name="T14" fmla="*/ 193 w 485"/>
                <a:gd name="T15" fmla="*/ 65 h 161"/>
                <a:gd name="T16" fmla="*/ 242 w 485"/>
                <a:gd name="T17" fmla="*/ 67 h 161"/>
                <a:gd name="T18" fmla="*/ 292 w 485"/>
                <a:gd name="T19" fmla="*/ 65 h 161"/>
                <a:gd name="T20" fmla="*/ 339 w 485"/>
                <a:gd name="T21" fmla="*/ 59 h 161"/>
                <a:gd name="T22" fmla="*/ 354 w 485"/>
                <a:gd name="T23" fmla="*/ 57 h 161"/>
                <a:gd name="T24" fmla="*/ 392 w 485"/>
                <a:gd name="T25" fmla="*/ 46 h 161"/>
                <a:gd name="T26" fmla="*/ 427 w 485"/>
                <a:gd name="T27" fmla="*/ 34 h 161"/>
                <a:gd name="T28" fmla="*/ 458 w 485"/>
                <a:gd name="T29" fmla="*/ 19 h 161"/>
                <a:gd name="T30" fmla="*/ 478 w 485"/>
                <a:gd name="T31" fmla="*/ 6 h 161"/>
                <a:gd name="T32" fmla="*/ 485 w 485"/>
                <a:gd name="T33" fmla="*/ 0 h 161"/>
                <a:gd name="T34" fmla="*/ 485 w 485"/>
                <a:gd name="T35" fmla="*/ 54 h 161"/>
                <a:gd name="T36" fmla="*/ 484 w 485"/>
                <a:gd name="T37" fmla="*/ 57 h 161"/>
                <a:gd name="T38" fmla="*/ 484 w 485"/>
                <a:gd name="T39" fmla="*/ 57 h 161"/>
                <a:gd name="T40" fmla="*/ 482 w 485"/>
                <a:gd name="T41" fmla="*/ 68 h 161"/>
                <a:gd name="T42" fmla="*/ 477 w 485"/>
                <a:gd name="T43" fmla="*/ 79 h 161"/>
                <a:gd name="T44" fmla="*/ 470 w 485"/>
                <a:gd name="T45" fmla="*/ 90 h 161"/>
                <a:gd name="T46" fmla="*/ 459 w 485"/>
                <a:gd name="T47" fmla="*/ 100 h 161"/>
                <a:gd name="T48" fmla="*/ 456 w 485"/>
                <a:gd name="T49" fmla="*/ 102 h 161"/>
                <a:gd name="T50" fmla="*/ 439 w 485"/>
                <a:gd name="T51" fmla="*/ 115 h 161"/>
                <a:gd name="T52" fmla="*/ 412 w 485"/>
                <a:gd name="T53" fmla="*/ 128 h 161"/>
                <a:gd name="T54" fmla="*/ 386 w 485"/>
                <a:gd name="T55" fmla="*/ 138 h 161"/>
                <a:gd name="T56" fmla="*/ 354 w 485"/>
                <a:gd name="T57" fmla="*/ 148 h 161"/>
                <a:gd name="T58" fmla="*/ 320 w 485"/>
                <a:gd name="T59" fmla="*/ 154 h 161"/>
                <a:gd name="T60" fmla="*/ 283 w 485"/>
                <a:gd name="T61" fmla="*/ 159 h 161"/>
                <a:gd name="T62" fmla="*/ 242 w 485"/>
                <a:gd name="T63" fmla="*/ 161 h 161"/>
                <a:gd name="T64" fmla="*/ 202 w 485"/>
                <a:gd name="T65" fmla="*/ 159 h 161"/>
                <a:gd name="T66" fmla="*/ 165 w 485"/>
                <a:gd name="T67" fmla="*/ 154 h 161"/>
                <a:gd name="T68" fmla="*/ 131 w 485"/>
                <a:gd name="T69" fmla="*/ 148 h 161"/>
                <a:gd name="T70" fmla="*/ 100 w 485"/>
                <a:gd name="T71" fmla="*/ 138 h 161"/>
                <a:gd name="T72" fmla="*/ 73 w 485"/>
                <a:gd name="T73" fmla="*/ 128 h 161"/>
                <a:gd name="T74" fmla="*/ 47 w 485"/>
                <a:gd name="T75" fmla="*/ 115 h 161"/>
                <a:gd name="T76" fmla="*/ 29 w 485"/>
                <a:gd name="T77" fmla="*/ 102 h 161"/>
                <a:gd name="T78" fmla="*/ 26 w 485"/>
                <a:gd name="T79" fmla="*/ 100 h 161"/>
                <a:gd name="T80" fmla="*/ 16 w 485"/>
                <a:gd name="T81" fmla="*/ 90 h 161"/>
                <a:gd name="T82" fmla="*/ 8 w 485"/>
                <a:gd name="T83" fmla="*/ 79 h 161"/>
                <a:gd name="T84" fmla="*/ 3 w 485"/>
                <a:gd name="T85" fmla="*/ 68 h 161"/>
                <a:gd name="T86" fmla="*/ 0 w 485"/>
                <a:gd name="T87" fmla="*/ 57 h 161"/>
                <a:gd name="T88" fmla="*/ 0 w 485"/>
                <a:gd name="T89" fmla="*/ 57 h 161"/>
                <a:gd name="T90" fmla="*/ 0 w 485"/>
                <a:gd name="T91" fmla="*/ 54 h 161"/>
                <a:gd name="T92" fmla="*/ 0 w 485"/>
                <a:gd name="T93"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1">
                  <a:moveTo>
                    <a:pt x="0" y="0"/>
                  </a:moveTo>
                  <a:lnTo>
                    <a:pt x="7" y="6"/>
                  </a:lnTo>
                  <a:lnTo>
                    <a:pt x="27" y="19"/>
                  </a:lnTo>
                  <a:lnTo>
                    <a:pt x="58" y="34"/>
                  </a:lnTo>
                  <a:lnTo>
                    <a:pt x="93" y="46"/>
                  </a:lnTo>
                  <a:lnTo>
                    <a:pt x="131" y="57"/>
                  </a:lnTo>
                  <a:lnTo>
                    <a:pt x="146" y="59"/>
                  </a:lnTo>
                  <a:lnTo>
                    <a:pt x="193" y="65"/>
                  </a:lnTo>
                  <a:lnTo>
                    <a:pt x="242" y="67"/>
                  </a:lnTo>
                  <a:lnTo>
                    <a:pt x="292" y="65"/>
                  </a:lnTo>
                  <a:lnTo>
                    <a:pt x="339" y="59"/>
                  </a:lnTo>
                  <a:lnTo>
                    <a:pt x="354" y="57"/>
                  </a:lnTo>
                  <a:lnTo>
                    <a:pt x="392" y="46"/>
                  </a:lnTo>
                  <a:lnTo>
                    <a:pt x="427" y="34"/>
                  </a:lnTo>
                  <a:lnTo>
                    <a:pt x="458" y="19"/>
                  </a:lnTo>
                  <a:lnTo>
                    <a:pt x="478" y="6"/>
                  </a:lnTo>
                  <a:lnTo>
                    <a:pt x="485" y="0"/>
                  </a:lnTo>
                  <a:lnTo>
                    <a:pt x="485" y="54"/>
                  </a:lnTo>
                  <a:lnTo>
                    <a:pt x="484" y="57"/>
                  </a:lnTo>
                  <a:lnTo>
                    <a:pt x="484" y="57"/>
                  </a:lnTo>
                  <a:lnTo>
                    <a:pt x="482" y="68"/>
                  </a:lnTo>
                  <a:lnTo>
                    <a:pt x="477" y="79"/>
                  </a:lnTo>
                  <a:lnTo>
                    <a:pt x="470" y="90"/>
                  </a:lnTo>
                  <a:lnTo>
                    <a:pt x="459" y="100"/>
                  </a:lnTo>
                  <a:lnTo>
                    <a:pt x="456" y="102"/>
                  </a:lnTo>
                  <a:lnTo>
                    <a:pt x="439" y="115"/>
                  </a:lnTo>
                  <a:lnTo>
                    <a:pt x="412" y="128"/>
                  </a:lnTo>
                  <a:lnTo>
                    <a:pt x="386" y="138"/>
                  </a:lnTo>
                  <a:lnTo>
                    <a:pt x="354" y="148"/>
                  </a:lnTo>
                  <a:lnTo>
                    <a:pt x="320" y="154"/>
                  </a:lnTo>
                  <a:lnTo>
                    <a:pt x="283" y="159"/>
                  </a:lnTo>
                  <a:lnTo>
                    <a:pt x="242" y="161"/>
                  </a:lnTo>
                  <a:lnTo>
                    <a:pt x="202" y="159"/>
                  </a:lnTo>
                  <a:lnTo>
                    <a:pt x="165" y="154"/>
                  </a:lnTo>
                  <a:lnTo>
                    <a:pt x="131" y="148"/>
                  </a:lnTo>
                  <a:lnTo>
                    <a:pt x="100" y="138"/>
                  </a:lnTo>
                  <a:lnTo>
                    <a:pt x="73" y="128"/>
                  </a:lnTo>
                  <a:lnTo>
                    <a:pt x="47" y="115"/>
                  </a:lnTo>
                  <a:lnTo>
                    <a:pt x="29" y="102"/>
                  </a:lnTo>
                  <a:lnTo>
                    <a:pt x="26" y="100"/>
                  </a:lnTo>
                  <a:lnTo>
                    <a:pt x="16" y="90"/>
                  </a:lnTo>
                  <a:lnTo>
                    <a:pt x="8" y="79"/>
                  </a:lnTo>
                  <a:lnTo>
                    <a:pt x="3" y="68"/>
                  </a:lnTo>
                  <a:lnTo>
                    <a:pt x="0" y="57"/>
                  </a:lnTo>
                  <a:lnTo>
                    <a:pt x="0" y="57"/>
                  </a:lnTo>
                  <a:lnTo>
                    <a:pt x="0" y="54"/>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25">
              <a:extLst>
                <a:ext uri="{FF2B5EF4-FFF2-40B4-BE49-F238E27FC236}">
                  <a16:creationId xmlns:a16="http://schemas.microsoft.com/office/drawing/2014/main" id="{B7873438-7EDD-BB45-9982-089550F41D6F}"/>
                </a:ext>
              </a:extLst>
            </p:cNvPr>
            <p:cNvSpPr>
              <a:spLocks/>
            </p:cNvSpPr>
            <p:nvPr/>
          </p:nvSpPr>
          <p:spPr bwMode="auto">
            <a:xfrm>
              <a:off x="2738518" y="4107185"/>
              <a:ext cx="384175" cy="125412"/>
            </a:xfrm>
            <a:custGeom>
              <a:avLst/>
              <a:gdLst>
                <a:gd name="T0" fmla="*/ 0 w 485"/>
                <a:gd name="T1" fmla="*/ 0 h 159"/>
                <a:gd name="T2" fmla="*/ 7 w 485"/>
                <a:gd name="T3" fmla="*/ 5 h 159"/>
                <a:gd name="T4" fmla="*/ 27 w 485"/>
                <a:gd name="T5" fmla="*/ 18 h 159"/>
                <a:gd name="T6" fmla="*/ 58 w 485"/>
                <a:gd name="T7" fmla="*/ 32 h 159"/>
                <a:gd name="T8" fmla="*/ 93 w 485"/>
                <a:gd name="T9" fmla="*/ 45 h 159"/>
                <a:gd name="T10" fmla="*/ 131 w 485"/>
                <a:gd name="T11" fmla="*/ 55 h 159"/>
                <a:gd name="T12" fmla="*/ 146 w 485"/>
                <a:gd name="T13" fmla="*/ 58 h 159"/>
                <a:gd name="T14" fmla="*/ 193 w 485"/>
                <a:gd name="T15" fmla="*/ 63 h 159"/>
                <a:gd name="T16" fmla="*/ 242 w 485"/>
                <a:gd name="T17" fmla="*/ 65 h 159"/>
                <a:gd name="T18" fmla="*/ 292 w 485"/>
                <a:gd name="T19" fmla="*/ 63 h 159"/>
                <a:gd name="T20" fmla="*/ 339 w 485"/>
                <a:gd name="T21" fmla="*/ 58 h 159"/>
                <a:gd name="T22" fmla="*/ 354 w 485"/>
                <a:gd name="T23" fmla="*/ 55 h 159"/>
                <a:gd name="T24" fmla="*/ 392 w 485"/>
                <a:gd name="T25" fmla="*/ 45 h 159"/>
                <a:gd name="T26" fmla="*/ 427 w 485"/>
                <a:gd name="T27" fmla="*/ 32 h 159"/>
                <a:gd name="T28" fmla="*/ 458 w 485"/>
                <a:gd name="T29" fmla="*/ 18 h 159"/>
                <a:gd name="T30" fmla="*/ 478 w 485"/>
                <a:gd name="T31" fmla="*/ 5 h 159"/>
                <a:gd name="T32" fmla="*/ 485 w 485"/>
                <a:gd name="T33" fmla="*/ 0 h 159"/>
                <a:gd name="T34" fmla="*/ 485 w 485"/>
                <a:gd name="T35" fmla="*/ 54 h 159"/>
                <a:gd name="T36" fmla="*/ 484 w 485"/>
                <a:gd name="T37" fmla="*/ 55 h 159"/>
                <a:gd name="T38" fmla="*/ 484 w 485"/>
                <a:gd name="T39" fmla="*/ 55 h 159"/>
                <a:gd name="T40" fmla="*/ 482 w 485"/>
                <a:gd name="T41" fmla="*/ 66 h 159"/>
                <a:gd name="T42" fmla="*/ 477 w 485"/>
                <a:gd name="T43" fmla="*/ 78 h 159"/>
                <a:gd name="T44" fmla="*/ 470 w 485"/>
                <a:gd name="T45" fmla="*/ 89 h 159"/>
                <a:gd name="T46" fmla="*/ 459 w 485"/>
                <a:gd name="T47" fmla="*/ 98 h 159"/>
                <a:gd name="T48" fmla="*/ 456 w 485"/>
                <a:gd name="T49" fmla="*/ 101 h 159"/>
                <a:gd name="T50" fmla="*/ 439 w 485"/>
                <a:gd name="T51" fmla="*/ 113 h 159"/>
                <a:gd name="T52" fmla="*/ 412 w 485"/>
                <a:gd name="T53" fmla="*/ 127 h 159"/>
                <a:gd name="T54" fmla="*/ 386 w 485"/>
                <a:gd name="T55" fmla="*/ 138 h 159"/>
                <a:gd name="T56" fmla="*/ 354 w 485"/>
                <a:gd name="T57" fmla="*/ 146 h 159"/>
                <a:gd name="T58" fmla="*/ 320 w 485"/>
                <a:gd name="T59" fmla="*/ 152 h 159"/>
                <a:gd name="T60" fmla="*/ 283 w 485"/>
                <a:gd name="T61" fmla="*/ 157 h 159"/>
                <a:gd name="T62" fmla="*/ 242 w 485"/>
                <a:gd name="T63" fmla="*/ 159 h 159"/>
                <a:gd name="T64" fmla="*/ 202 w 485"/>
                <a:gd name="T65" fmla="*/ 157 h 159"/>
                <a:gd name="T66" fmla="*/ 165 w 485"/>
                <a:gd name="T67" fmla="*/ 152 h 159"/>
                <a:gd name="T68" fmla="*/ 131 w 485"/>
                <a:gd name="T69" fmla="*/ 146 h 159"/>
                <a:gd name="T70" fmla="*/ 100 w 485"/>
                <a:gd name="T71" fmla="*/ 138 h 159"/>
                <a:gd name="T72" fmla="*/ 73 w 485"/>
                <a:gd name="T73" fmla="*/ 127 h 159"/>
                <a:gd name="T74" fmla="*/ 47 w 485"/>
                <a:gd name="T75" fmla="*/ 113 h 159"/>
                <a:gd name="T76" fmla="*/ 29 w 485"/>
                <a:gd name="T77" fmla="*/ 101 h 159"/>
                <a:gd name="T78" fmla="*/ 26 w 485"/>
                <a:gd name="T79" fmla="*/ 98 h 159"/>
                <a:gd name="T80" fmla="*/ 16 w 485"/>
                <a:gd name="T81" fmla="*/ 89 h 159"/>
                <a:gd name="T82" fmla="*/ 8 w 485"/>
                <a:gd name="T83" fmla="*/ 78 h 159"/>
                <a:gd name="T84" fmla="*/ 3 w 485"/>
                <a:gd name="T85" fmla="*/ 66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2"/>
                  </a:lnTo>
                  <a:lnTo>
                    <a:pt x="93" y="45"/>
                  </a:lnTo>
                  <a:lnTo>
                    <a:pt x="131" y="55"/>
                  </a:lnTo>
                  <a:lnTo>
                    <a:pt x="146" y="58"/>
                  </a:lnTo>
                  <a:lnTo>
                    <a:pt x="193" y="63"/>
                  </a:lnTo>
                  <a:lnTo>
                    <a:pt x="242" y="65"/>
                  </a:lnTo>
                  <a:lnTo>
                    <a:pt x="292" y="63"/>
                  </a:lnTo>
                  <a:lnTo>
                    <a:pt x="339" y="58"/>
                  </a:lnTo>
                  <a:lnTo>
                    <a:pt x="354" y="55"/>
                  </a:lnTo>
                  <a:lnTo>
                    <a:pt x="392" y="45"/>
                  </a:lnTo>
                  <a:lnTo>
                    <a:pt x="427" y="32"/>
                  </a:lnTo>
                  <a:lnTo>
                    <a:pt x="458" y="18"/>
                  </a:lnTo>
                  <a:lnTo>
                    <a:pt x="478" y="5"/>
                  </a:lnTo>
                  <a:lnTo>
                    <a:pt x="485" y="0"/>
                  </a:lnTo>
                  <a:lnTo>
                    <a:pt x="485" y="54"/>
                  </a:lnTo>
                  <a:lnTo>
                    <a:pt x="484" y="55"/>
                  </a:lnTo>
                  <a:lnTo>
                    <a:pt x="484" y="55"/>
                  </a:lnTo>
                  <a:lnTo>
                    <a:pt x="482" y="66"/>
                  </a:lnTo>
                  <a:lnTo>
                    <a:pt x="477" y="78"/>
                  </a:lnTo>
                  <a:lnTo>
                    <a:pt x="470" y="89"/>
                  </a:lnTo>
                  <a:lnTo>
                    <a:pt x="459" y="98"/>
                  </a:lnTo>
                  <a:lnTo>
                    <a:pt x="456" y="101"/>
                  </a:lnTo>
                  <a:lnTo>
                    <a:pt x="439" y="113"/>
                  </a:lnTo>
                  <a:lnTo>
                    <a:pt x="412" y="127"/>
                  </a:lnTo>
                  <a:lnTo>
                    <a:pt x="386" y="138"/>
                  </a:lnTo>
                  <a:lnTo>
                    <a:pt x="354" y="146"/>
                  </a:lnTo>
                  <a:lnTo>
                    <a:pt x="320" y="152"/>
                  </a:lnTo>
                  <a:lnTo>
                    <a:pt x="283" y="157"/>
                  </a:lnTo>
                  <a:lnTo>
                    <a:pt x="242" y="159"/>
                  </a:lnTo>
                  <a:lnTo>
                    <a:pt x="202" y="157"/>
                  </a:lnTo>
                  <a:lnTo>
                    <a:pt x="165" y="152"/>
                  </a:lnTo>
                  <a:lnTo>
                    <a:pt x="131" y="146"/>
                  </a:lnTo>
                  <a:lnTo>
                    <a:pt x="100" y="138"/>
                  </a:lnTo>
                  <a:lnTo>
                    <a:pt x="73" y="127"/>
                  </a:lnTo>
                  <a:lnTo>
                    <a:pt x="47" y="113"/>
                  </a:lnTo>
                  <a:lnTo>
                    <a:pt x="29" y="101"/>
                  </a:lnTo>
                  <a:lnTo>
                    <a:pt x="26" y="98"/>
                  </a:lnTo>
                  <a:lnTo>
                    <a:pt x="16" y="89"/>
                  </a:lnTo>
                  <a:lnTo>
                    <a:pt x="8" y="78"/>
                  </a:lnTo>
                  <a:lnTo>
                    <a:pt x="3" y="66"/>
                  </a:lnTo>
                  <a:lnTo>
                    <a:pt x="0" y="55"/>
                  </a:lnTo>
                  <a:lnTo>
                    <a:pt x="0" y="55"/>
                  </a:lnTo>
                  <a:lnTo>
                    <a:pt x="0" y="54"/>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26">
              <a:extLst>
                <a:ext uri="{FF2B5EF4-FFF2-40B4-BE49-F238E27FC236}">
                  <a16:creationId xmlns:a16="http://schemas.microsoft.com/office/drawing/2014/main" id="{63A1E9CE-93D5-2946-8556-7EFD0C90920F}"/>
                </a:ext>
              </a:extLst>
            </p:cNvPr>
            <p:cNvSpPr>
              <a:spLocks/>
            </p:cNvSpPr>
            <p:nvPr/>
          </p:nvSpPr>
          <p:spPr bwMode="auto">
            <a:xfrm>
              <a:off x="2738518" y="4216722"/>
              <a:ext cx="384175" cy="127000"/>
            </a:xfrm>
            <a:custGeom>
              <a:avLst/>
              <a:gdLst>
                <a:gd name="T0" fmla="*/ 0 w 485"/>
                <a:gd name="T1" fmla="*/ 0 h 159"/>
                <a:gd name="T2" fmla="*/ 7 w 485"/>
                <a:gd name="T3" fmla="*/ 5 h 159"/>
                <a:gd name="T4" fmla="*/ 27 w 485"/>
                <a:gd name="T5" fmla="*/ 18 h 159"/>
                <a:gd name="T6" fmla="*/ 58 w 485"/>
                <a:gd name="T7" fmla="*/ 33 h 159"/>
                <a:gd name="T8" fmla="*/ 93 w 485"/>
                <a:gd name="T9" fmla="*/ 45 h 159"/>
                <a:gd name="T10" fmla="*/ 131 w 485"/>
                <a:gd name="T11" fmla="*/ 55 h 159"/>
                <a:gd name="T12" fmla="*/ 146 w 485"/>
                <a:gd name="T13" fmla="*/ 58 h 159"/>
                <a:gd name="T14" fmla="*/ 193 w 485"/>
                <a:gd name="T15" fmla="*/ 64 h 159"/>
                <a:gd name="T16" fmla="*/ 242 w 485"/>
                <a:gd name="T17" fmla="*/ 67 h 159"/>
                <a:gd name="T18" fmla="*/ 292 w 485"/>
                <a:gd name="T19" fmla="*/ 64 h 159"/>
                <a:gd name="T20" fmla="*/ 339 w 485"/>
                <a:gd name="T21" fmla="*/ 58 h 159"/>
                <a:gd name="T22" fmla="*/ 354 w 485"/>
                <a:gd name="T23" fmla="*/ 55 h 159"/>
                <a:gd name="T24" fmla="*/ 392 w 485"/>
                <a:gd name="T25" fmla="*/ 45 h 159"/>
                <a:gd name="T26" fmla="*/ 427 w 485"/>
                <a:gd name="T27" fmla="*/ 33 h 159"/>
                <a:gd name="T28" fmla="*/ 458 w 485"/>
                <a:gd name="T29" fmla="*/ 18 h 159"/>
                <a:gd name="T30" fmla="*/ 478 w 485"/>
                <a:gd name="T31" fmla="*/ 5 h 159"/>
                <a:gd name="T32" fmla="*/ 485 w 485"/>
                <a:gd name="T33" fmla="*/ 0 h 159"/>
                <a:gd name="T34" fmla="*/ 485 w 485"/>
                <a:gd name="T35" fmla="*/ 54 h 159"/>
                <a:gd name="T36" fmla="*/ 484 w 485"/>
                <a:gd name="T37" fmla="*/ 55 h 159"/>
                <a:gd name="T38" fmla="*/ 484 w 485"/>
                <a:gd name="T39" fmla="*/ 55 h 159"/>
                <a:gd name="T40" fmla="*/ 482 w 485"/>
                <a:gd name="T41" fmla="*/ 67 h 159"/>
                <a:gd name="T42" fmla="*/ 477 w 485"/>
                <a:gd name="T43" fmla="*/ 78 h 159"/>
                <a:gd name="T44" fmla="*/ 470 w 485"/>
                <a:gd name="T45" fmla="*/ 89 h 159"/>
                <a:gd name="T46" fmla="*/ 459 w 485"/>
                <a:gd name="T47" fmla="*/ 100 h 159"/>
                <a:gd name="T48" fmla="*/ 456 w 485"/>
                <a:gd name="T49" fmla="*/ 102 h 159"/>
                <a:gd name="T50" fmla="*/ 439 w 485"/>
                <a:gd name="T51" fmla="*/ 113 h 159"/>
                <a:gd name="T52" fmla="*/ 412 w 485"/>
                <a:gd name="T53" fmla="*/ 127 h 159"/>
                <a:gd name="T54" fmla="*/ 386 w 485"/>
                <a:gd name="T55" fmla="*/ 138 h 159"/>
                <a:gd name="T56" fmla="*/ 354 w 485"/>
                <a:gd name="T57" fmla="*/ 146 h 159"/>
                <a:gd name="T58" fmla="*/ 320 w 485"/>
                <a:gd name="T59" fmla="*/ 154 h 159"/>
                <a:gd name="T60" fmla="*/ 283 w 485"/>
                <a:gd name="T61" fmla="*/ 158 h 159"/>
                <a:gd name="T62" fmla="*/ 242 w 485"/>
                <a:gd name="T63" fmla="*/ 159 h 159"/>
                <a:gd name="T64" fmla="*/ 202 w 485"/>
                <a:gd name="T65" fmla="*/ 158 h 159"/>
                <a:gd name="T66" fmla="*/ 165 w 485"/>
                <a:gd name="T67" fmla="*/ 154 h 159"/>
                <a:gd name="T68" fmla="*/ 131 w 485"/>
                <a:gd name="T69" fmla="*/ 146 h 159"/>
                <a:gd name="T70" fmla="*/ 100 w 485"/>
                <a:gd name="T71" fmla="*/ 138 h 159"/>
                <a:gd name="T72" fmla="*/ 73 w 485"/>
                <a:gd name="T73" fmla="*/ 127 h 159"/>
                <a:gd name="T74" fmla="*/ 47 w 485"/>
                <a:gd name="T75" fmla="*/ 113 h 159"/>
                <a:gd name="T76" fmla="*/ 29 w 485"/>
                <a:gd name="T77" fmla="*/ 102 h 159"/>
                <a:gd name="T78" fmla="*/ 26 w 485"/>
                <a:gd name="T79" fmla="*/ 100 h 159"/>
                <a:gd name="T80" fmla="*/ 16 w 485"/>
                <a:gd name="T81" fmla="*/ 89 h 159"/>
                <a:gd name="T82" fmla="*/ 8 w 485"/>
                <a:gd name="T83" fmla="*/ 78 h 159"/>
                <a:gd name="T84" fmla="*/ 3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3" y="45"/>
                  </a:lnTo>
                  <a:lnTo>
                    <a:pt x="131" y="55"/>
                  </a:lnTo>
                  <a:lnTo>
                    <a:pt x="146" y="58"/>
                  </a:lnTo>
                  <a:lnTo>
                    <a:pt x="193" y="64"/>
                  </a:lnTo>
                  <a:lnTo>
                    <a:pt x="242" y="67"/>
                  </a:lnTo>
                  <a:lnTo>
                    <a:pt x="292" y="64"/>
                  </a:lnTo>
                  <a:lnTo>
                    <a:pt x="339" y="58"/>
                  </a:lnTo>
                  <a:lnTo>
                    <a:pt x="354" y="55"/>
                  </a:lnTo>
                  <a:lnTo>
                    <a:pt x="392" y="45"/>
                  </a:lnTo>
                  <a:lnTo>
                    <a:pt x="427" y="33"/>
                  </a:lnTo>
                  <a:lnTo>
                    <a:pt x="458" y="18"/>
                  </a:lnTo>
                  <a:lnTo>
                    <a:pt x="478" y="5"/>
                  </a:lnTo>
                  <a:lnTo>
                    <a:pt x="485" y="0"/>
                  </a:lnTo>
                  <a:lnTo>
                    <a:pt x="485" y="54"/>
                  </a:lnTo>
                  <a:lnTo>
                    <a:pt x="484" y="55"/>
                  </a:lnTo>
                  <a:lnTo>
                    <a:pt x="484" y="55"/>
                  </a:lnTo>
                  <a:lnTo>
                    <a:pt x="482" y="67"/>
                  </a:lnTo>
                  <a:lnTo>
                    <a:pt x="477" y="78"/>
                  </a:lnTo>
                  <a:lnTo>
                    <a:pt x="470" y="89"/>
                  </a:lnTo>
                  <a:lnTo>
                    <a:pt x="459" y="100"/>
                  </a:lnTo>
                  <a:lnTo>
                    <a:pt x="456" y="102"/>
                  </a:lnTo>
                  <a:lnTo>
                    <a:pt x="439" y="113"/>
                  </a:lnTo>
                  <a:lnTo>
                    <a:pt x="412" y="127"/>
                  </a:lnTo>
                  <a:lnTo>
                    <a:pt x="386" y="138"/>
                  </a:lnTo>
                  <a:lnTo>
                    <a:pt x="354" y="146"/>
                  </a:lnTo>
                  <a:lnTo>
                    <a:pt x="320" y="154"/>
                  </a:lnTo>
                  <a:lnTo>
                    <a:pt x="283" y="158"/>
                  </a:lnTo>
                  <a:lnTo>
                    <a:pt x="242" y="159"/>
                  </a:lnTo>
                  <a:lnTo>
                    <a:pt x="202" y="158"/>
                  </a:lnTo>
                  <a:lnTo>
                    <a:pt x="165" y="154"/>
                  </a:lnTo>
                  <a:lnTo>
                    <a:pt x="131" y="146"/>
                  </a:lnTo>
                  <a:lnTo>
                    <a:pt x="100" y="138"/>
                  </a:lnTo>
                  <a:lnTo>
                    <a:pt x="73" y="127"/>
                  </a:lnTo>
                  <a:lnTo>
                    <a:pt x="47" y="113"/>
                  </a:lnTo>
                  <a:lnTo>
                    <a:pt x="29" y="102"/>
                  </a:lnTo>
                  <a:lnTo>
                    <a:pt x="26" y="100"/>
                  </a:lnTo>
                  <a:lnTo>
                    <a:pt x="16" y="89"/>
                  </a:lnTo>
                  <a:lnTo>
                    <a:pt x="8" y="78"/>
                  </a:lnTo>
                  <a:lnTo>
                    <a:pt x="3" y="67"/>
                  </a:lnTo>
                  <a:lnTo>
                    <a:pt x="0" y="55"/>
                  </a:lnTo>
                  <a:lnTo>
                    <a:pt x="0" y="55"/>
                  </a:lnTo>
                  <a:lnTo>
                    <a:pt x="0" y="54"/>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27">
              <a:extLst>
                <a:ext uri="{FF2B5EF4-FFF2-40B4-BE49-F238E27FC236}">
                  <a16:creationId xmlns:a16="http://schemas.microsoft.com/office/drawing/2014/main" id="{17288E2A-5D9A-CB4C-8286-8D42577D5267}"/>
                </a:ext>
              </a:extLst>
            </p:cNvPr>
            <p:cNvSpPr>
              <a:spLocks/>
            </p:cNvSpPr>
            <p:nvPr/>
          </p:nvSpPr>
          <p:spPr bwMode="auto">
            <a:xfrm>
              <a:off x="3333830" y="3669035"/>
              <a:ext cx="385763" cy="127000"/>
            </a:xfrm>
            <a:custGeom>
              <a:avLst/>
              <a:gdLst>
                <a:gd name="T0" fmla="*/ 0 w 485"/>
                <a:gd name="T1" fmla="*/ 0 h 160"/>
                <a:gd name="T2" fmla="*/ 7 w 485"/>
                <a:gd name="T3" fmla="*/ 5 h 160"/>
                <a:gd name="T4" fmla="*/ 27 w 485"/>
                <a:gd name="T5" fmla="*/ 18 h 160"/>
                <a:gd name="T6" fmla="*/ 58 w 485"/>
                <a:gd name="T7" fmla="*/ 33 h 160"/>
                <a:gd name="T8" fmla="*/ 93 w 485"/>
                <a:gd name="T9" fmla="*/ 46 h 160"/>
                <a:gd name="T10" fmla="*/ 131 w 485"/>
                <a:gd name="T11" fmla="*/ 55 h 160"/>
                <a:gd name="T12" fmla="*/ 146 w 485"/>
                <a:gd name="T13" fmla="*/ 59 h 160"/>
                <a:gd name="T14" fmla="*/ 193 w 485"/>
                <a:gd name="T15" fmla="*/ 65 h 160"/>
                <a:gd name="T16" fmla="*/ 243 w 485"/>
                <a:gd name="T17" fmla="*/ 67 h 160"/>
                <a:gd name="T18" fmla="*/ 293 w 485"/>
                <a:gd name="T19" fmla="*/ 65 h 160"/>
                <a:gd name="T20" fmla="*/ 339 w 485"/>
                <a:gd name="T21" fmla="*/ 59 h 160"/>
                <a:gd name="T22" fmla="*/ 354 w 485"/>
                <a:gd name="T23" fmla="*/ 55 h 160"/>
                <a:gd name="T24" fmla="*/ 392 w 485"/>
                <a:gd name="T25" fmla="*/ 46 h 160"/>
                <a:gd name="T26" fmla="*/ 427 w 485"/>
                <a:gd name="T27" fmla="*/ 33 h 160"/>
                <a:gd name="T28" fmla="*/ 458 w 485"/>
                <a:gd name="T29" fmla="*/ 18 h 160"/>
                <a:gd name="T30" fmla="*/ 478 w 485"/>
                <a:gd name="T31" fmla="*/ 5 h 160"/>
                <a:gd name="T32" fmla="*/ 485 w 485"/>
                <a:gd name="T33" fmla="*/ 0 h 160"/>
                <a:gd name="T34" fmla="*/ 485 w 485"/>
                <a:gd name="T35" fmla="*/ 54 h 160"/>
                <a:gd name="T36" fmla="*/ 485 w 485"/>
                <a:gd name="T37" fmla="*/ 55 h 160"/>
                <a:gd name="T38" fmla="*/ 485 w 485"/>
                <a:gd name="T39" fmla="*/ 55 h 160"/>
                <a:gd name="T40" fmla="*/ 483 w 485"/>
                <a:gd name="T41" fmla="*/ 67 h 160"/>
                <a:gd name="T42" fmla="*/ 477 w 485"/>
                <a:gd name="T43" fmla="*/ 79 h 160"/>
                <a:gd name="T44" fmla="*/ 469 w 485"/>
                <a:gd name="T45" fmla="*/ 89 h 160"/>
                <a:gd name="T46" fmla="*/ 459 w 485"/>
                <a:gd name="T47" fmla="*/ 100 h 160"/>
                <a:gd name="T48" fmla="*/ 456 w 485"/>
                <a:gd name="T49" fmla="*/ 102 h 160"/>
                <a:gd name="T50" fmla="*/ 438 w 485"/>
                <a:gd name="T51" fmla="*/ 114 h 160"/>
                <a:gd name="T52" fmla="*/ 413 w 485"/>
                <a:gd name="T53" fmla="*/ 128 h 160"/>
                <a:gd name="T54" fmla="*/ 385 w 485"/>
                <a:gd name="T55" fmla="*/ 138 h 160"/>
                <a:gd name="T56" fmla="*/ 354 w 485"/>
                <a:gd name="T57" fmla="*/ 148 h 160"/>
                <a:gd name="T58" fmla="*/ 320 w 485"/>
                <a:gd name="T59" fmla="*/ 154 h 160"/>
                <a:gd name="T60" fmla="*/ 283 w 485"/>
                <a:gd name="T61" fmla="*/ 158 h 160"/>
                <a:gd name="T62" fmla="*/ 243 w 485"/>
                <a:gd name="T63" fmla="*/ 160 h 160"/>
                <a:gd name="T64" fmla="*/ 202 w 485"/>
                <a:gd name="T65" fmla="*/ 158 h 160"/>
                <a:gd name="T66" fmla="*/ 165 w 485"/>
                <a:gd name="T67" fmla="*/ 154 h 160"/>
                <a:gd name="T68" fmla="*/ 131 w 485"/>
                <a:gd name="T69" fmla="*/ 148 h 160"/>
                <a:gd name="T70" fmla="*/ 100 w 485"/>
                <a:gd name="T71" fmla="*/ 138 h 160"/>
                <a:gd name="T72" fmla="*/ 73 w 485"/>
                <a:gd name="T73" fmla="*/ 128 h 160"/>
                <a:gd name="T74" fmla="*/ 46 w 485"/>
                <a:gd name="T75" fmla="*/ 114 h 160"/>
                <a:gd name="T76" fmla="*/ 30 w 485"/>
                <a:gd name="T77" fmla="*/ 102 h 160"/>
                <a:gd name="T78" fmla="*/ 26 w 485"/>
                <a:gd name="T79" fmla="*/ 100 h 160"/>
                <a:gd name="T80" fmla="*/ 16 w 485"/>
                <a:gd name="T81" fmla="*/ 89 h 160"/>
                <a:gd name="T82" fmla="*/ 8 w 485"/>
                <a:gd name="T83" fmla="*/ 79 h 160"/>
                <a:gd name="T84" fmla="*/ 3 w 485"/>
                <a:gd name="T85" fmla="*/ 67 h 160"/>
                <a:gd name="T86" fmla="*/ 1 w 485"/>
                <a:gd name="T87" fmla="*/ 55 h 160"/>
                <a:gd name="T88" fmla="*/ 1 w 485"/>
                <a:gd name="T89" fmla="*/ 55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5"/>
                  </a:lnTo>
                  <a:lnTo>
                    <a:pt x="27" y="18"/>
                  </a:lnTo>
                  <a:lnTo>
                    <a:pt x="58" y="33"/>
                  </a:lnTo>
                  <a:lnTo>
                    <a:pt x="93" y="46"/>
                  </a:lnTo>
                  <a:lnTo>
                    <a:pt x="131" y="55"/>
                  </a:lnTo>
                  <a:lnTo>
                    <a:pt x="146" y="59"/>
                  </a:lnTo>
                  <a:lnTo>
                    <a:pt x="193" y="65"/>
                  </a:lnTo>
                  <a:lnTo>
                    <a:pt x="243" y="67"/>
                  </a:lnTo>
                  <a:lnTo>
                    <a:pt x="293" y="65"/>
                  </a:lnTo>
                  <a:lnTo>
                    <a:pt x="339" y="59"/>
                  </a:lnTo>
                  <a:lnTo>
                    <a:pt x="354" y="55"/>
                  </a:lnTo>
                  <a:lnTo>
                    <a:pt x="392" y="46"/>
                  </a:lnTo>
                  <a:lnTo>
                    <a:pt x="427" y="33"/>
                  </a:lnTo>
                  <a:lnTo>
                    <a:pt x="458" y="18"/>
                  </a:lnTo>
                  <a:lnTo>
                    <a:pt x="478" y="5"/>
                  </a:lnTo>
                  <a:lnTo>
                    <a:pt x="485" y="0"/>
                  </a:lnTo>
                  <a:lnTo>
                    <a:pt x="485" y="54"/>
                  </a:lnTo>
                  <a:lnTo>
                    <a:pt x="485" y="55"/>
                  </a:lnTo>
                  <a:lnTo>
                    <a:pt x="485" y="55"/>
                  </a:lnTo>
                  <a:lnTo>
                    <a:pt x="483" y="67"/>
                  </a:lnTo>
                  <a:lnTo>
                    <a:pt x="477" y="79"/>
                  </a:lnTo>
                  <a:lnTo>
                    <a:pt x="469" y="89"/>
                  </a:lnTo>
                  <a:lnTo>
                    <a:pt x="459" y="100"/>
                  </a:lnTo>
                  <a:lnTo>
                    <a:pt x="456" y="102"/>
                  </a:lnTo>
                  <a:lnTo>
                    <a:pt x="438" y="114"/>
                  </a:lnTo>
                  <a:lnTo>
                    <a:pt x="413" y="128"/>
                  </a:lnTo>
                  <a:lnTo>
                    <a:pt x="385" y="138"/>
                  </a:lnTo>
                  <a:lnTo>
                    <a:pt x="354" y="148"/>
                  </a:lnTo>
                  <a:lnTo>
                    <a:pt x="320" y="154"/>
                  </a:lnTo>
                  <a:lnTo>
                    <a:pt x="283" y="158"/>
                  </a:lnTo>
                  <a:lnTo>
                    <a:pt x="243" y="160"/>
                  </a:lnTo>
                  <a:lnTo>
                    <a:pt x="202" y="158"/>
                  </a:lnTo>
                  <a:lnTo>
                    <a:pt x="165" y="154"/>
                  </a:lnTo>
                  <a:lnTo>
                    <a:pt x="131" y="148"/>
                  </a:lnTo>
                  <a:lnTo>
                    <a:pt x="100" y="138"/>
                  </a:lnTo>
                  <a:lnTo>
                    <a:pt x="73" y="128"/>
                  </a:lnTo>
                  <a:lnTo>
                    <a:pt x="46" y="114"/>
                  </a:lnTo>
                  <a:lnTo>
                    <a:pt x="30" y="102"/>
                  </a:lnTo>
                  <a:lnTo>
                    <a:pt x="26" y="100"/>
                  </a:lnTo>
                  <a:lnTo>
                    <a:pt x="16" y="89"/>
                  </a:lnTo>
                  <a:lnTo>
                    <a:pt x="8" y="79"/>
                  </a:lnTo>
                  <a:lnTo>
                    <a:pt x="3" y="67"/>
                  </a:lnTo>
                  <a:lnTo>
                    <a:pt x="1" y="55"/>
                  </a:lnTo>
                  <a:lnTo>
                    <a:pt x="1" y="55"/>
                  </a:lnTo>
                  <a:lnTo>
                    <a:pt x="0" y="54"/>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28">
              <a:extLst>
                <a:ext uri="{FF2B5EF4-FFF2-40B4-BE49-F238E27FC236}">
                  <a16:creationId xmlns:a16="http://schemas.microsoft.com/office/drawing/2014/main" id="{C401780F-CF81-3242-A1D4-C839BBA9718D}"/>
                </a:ext>
              </a:extLst>
            </p:cNvPr>
            <p:cNvSpPr>
              <a:spLocks/>
            </p:cNvSpPr>
            <p:nvPr/>
          </p:nvSpPr>
          <p:spPr bwMode="auto">
            <a:xfrm>
              <a:off x="3333830" y="3521397"/>
              <a:ext cx="385763" cy="163512"/>
            </a:xfrm>
            <a:custGeom>
              <a:avLst/>
              <a:gdLst>
                <a:gd name="T0" fmla="*/ 243 w 486"/>
                <a:gd name="T1" fmla="*/ 0 h 206"/>
                <a:gd name="T2" fmla="*/ 292 w 486"/>
                <a:gd name="T3" fmla="*/ 2 h 206"/>
                <a:gd name="T4" fmla="*/ 336 w 486"/>
                <a:gd name="T5" fmla="*/ 8 h 206"/>
                <a:gd name="T6" fmla="*/ 375 w 486"/>
                <a:gd name="T7" fmla="*/ 17 h 206"/>
                <a:gd name="T8" fmla="*/ 410 w 486"/>
                <a:gd name="T9" fmla="*/ 30 h 206"/>
                <a:gd name="T10" fmla="*/ 439 w 486"/>
                <a:gd name="T11" fmla="*/ 44 h 206"/>
                <a:gd name="T12" fmla="*/ 461 w 486"/>
                <a:gd name="T13" fmla="*/ 60 h 206"/>
                <a:gd name="T14" fmla="*/ 477 w 486"/>
                <a:gd name="T15" fmla="*/ 77 h 206"/>
                <a:gd name="T16" fmla="*/ 485 w 486"/>
                <a:gd name="T17" fmla="*/ 95 h 206"/>
                <a:gd name="T18" fmla="*/ 486 w 486"/>
                <a:gd name="T19" fmla="*/ 99 h 206"/>
                <a:gd name="T20" fmla="*/ 486 w 486"/>
                <a:gd name="T21" fmla="*/ 103 h 206"/>
                <a:gd name="T22" fmla="*/ 485 w 486"/>
                <a:gd name="T23" fmla="*/ 111 h 206"/>
                <a:gd name="T24" fmla="*/ 483 w 486"/>
                <a:gd name="T25" fmla="*/ 117 h 206"/>
                <a:gd name="T26" fmla="*/ 477 w 486"/>
                <a:gd name="T27" fmla="*/ 129 h 206"/>
                <a:gd name="T28" fmla="*/ 468 w 486"/>
                <a:gd name="T29" fmla="*/ 141 h 206"/>
                <a:gd name="T30" fmla="*/ 462 w 486"/>
                <a:gd name="T31" fmla="*/ 145 h 206"/>
                <a:gd name="T32" fmla="*/ 458 w 486"/>
                <a:gd name="T33" fmla="*/ 150 h 206"/>
                <a:gd name="T34" fmla="*/ 436 w 486"/>
                <a:gd name="T35" fmla="*/ 164 h 206"/>
                <a:gd name="T36" fmla="*/ 409 w 486"/>
                <a:gd name="T37" fmla="*/ 177 h 206"/>
                <a:gd name="T38" fmla="*/ 375 w 486"/>
                <a:gd name="T39" fmla="*/ 189 h 206"/>
                <a:gd name="T40" fmla="*/ 335 w 486"/>
                <a:gd name="T41" fmla="*/ 199 h 206"/>
                <a:gd name="T42" fmla="*/ 292 w 486"/>
                <a:gd name="T43" fmla="*/ 204 h 206"/>
                <a:gd name="T44" fmla="*/ 243 w 486"/>
                <a:gd name="T45" fmla="*/ 206 h 206"/>
                <a:gd name="T46" fmla="*/ 194 w 486"/>
                <a:gd name="T47" fmla="*/ 204 h 206"/>
                <a:gd name="T48" fmla="*/ 150 w 486"/>
                <a:gd name="T49" fmla="*/ 199 h 206"/>
                <a:gd name="T50" fmla="*/ 110 w 486"/>
                <a:gd name="T51" fmla="*/ 189 h 206"/>
                <a:gd name="T52" fmla="*/ 76 w 486"/>
                <a:gd name="T53" fmla="*/ 177 h 206"/>
                <a:gd name="T54" fmla="*/ 49 w 486"/>
                <a:gd name="T55" fmla="*/ 164 h 206"/>
                <a:gd name="T56" fmla="*/ 27 w 486"/>
                <a:gd name="T57" fmla="*/ 150 h 206"/>
                <a:gd name="T58" fmla="*/ 22 w 486"/>
                <a:gd name="T59" fmla="*/ 145 h 206"/>
                <a:gd name="T60" fmla="*/ 18 w 486"/>
                <a:gd name="T61" fmla="*/ 141 h 206"/>
                <a:gd name="T62" fmla="*/ 8 w 486"/>
                <a:gd name="T63" fmla="*/ 129 h 206"/>
                <a:gd name="T64" fmla="*/ 2 w 486"/>
                <a:gd name="T65" fmla="*/ 117 h 206"/>
                <a:gd name="T66" fmla="*/ 0 w 486"/>
                <a:gd name="T67" fmla="*/ 111 h 206"/>
                <a:gd name="T68" fmla="*/ 0 w 486"/>
                <a:gd name="T69" fmla="*/ 103 h 206"/>
                <a:gd name="T70" fmla="*/ 0 w 486"/>
                <a:gd name="T71" fmla="*/ 99 h 206"/>
                <a:gd name="T72" fmla="*/ 1 w 486"/>
                <a:gd name="T73" fmla="*/ 95 h 206"/>
                <a:gd name="T74" fmla="*/ 8 w 486"/>
                <a:gd name="T75" fmla="*/ 77 h 206"/>
                <a:gd name="T76" fmla="*/ 24 w 486"/>
                <a:gd name="T77" fmla="*/ 60 h 206"/>
                <a:gd name="T78" fmla="*/ 46 w 486"/>
                <a:gd name="T79" fmla="*/ 44 h 206"/>
                <a:gd name="T80" fmla="*/ 75 w 486"/>
                <a:gd name="T81" fmla="*/ 30 h 206"/>
                <a:gd name="T82" fmla="*/ 110 w 486"/>
                <a:gd name="T83" fmla="*/ 17 h 206"/>
                <a:gd name="T84" fmla="*/ 149 w 486"/>
                <a:gd name="T85" fmla="*/ 8 h 206"/>
                <a:gd name="T86" fmla="*/ 194 w 486"/>
                <a:gd name="T87" fmla="*/ 2 h 206"/>
                <a:gd name="T88" fmla="*/ 243 w 486"/>
                <a:gd name="T8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6" h="206">
                  <a:moveTo>
                    <a:pt x="243" y="0"/>
                  </a:moveTo>
                  <a:lnTo>
                    <a:pt x="292" y="2"/>
                  </a:lnTo>
                  <a:lnTo>
                    <a:pt x="336" y="8"/>
                  </a:lnTo>
                  <a:lnTo>
                    <a:pt x="375" y="17"/>
                  </a:lnTo>
                  <a:lnTo>
                    <a:pt x="410" y="30"/>
                  </a:lnTo>
                  <a:lnTo>
                    <a:pt x="439" y="44"/>
                  </a:lnTo>
                  <a:lnTo>
                    <a:pt x="461" y="60"/>
                  </a:lnTo>
                  <a:lnTo>
                    <a:pt x="477" y="77"/>
                  </a:lnTo>
                  <a:lnTo>
                    <a:pt x="485" y="95"/>
                  </a:lnTo>
                  <a:lnTo>
                    <a:pt x="486" y="99"/>
                  </a:lnTo>
                  <a:lnTo>
                    <a:pt x="486" y="103"/>
                  </a:lnTo>
                  <a:lnTo>
                    <a:pt x="485" y="111"/>
                  </a:lnTo>
                  <a:lnTo>
                    <a:pt x="483" y="117"/>
                  </a:lnTo>
                  <a:lnTo>
                    <a:pt x="477" y="129"/>
                  </a:lnTo>
                  <a:lnTo>
                    <a:pt x="468" y="141"/>
                  </a:lnTo>
                  <a:lnTo>
                    <a:pt x="462" y="145"/>
                  </a:lnTo>
                  <a:lnTo>
                    <a:pt x="458" y="150"/>
                  </a:lnTo>
                  <a:lnTo>
                    <a:pt x="436" y="164"/>
                  </a:lnTo>
                  <a:lnTo>
                    <a:pt x="409" y="177"/>
                  </a:lnTo>
                  <a:lnTo>
                    <a:pt x="375" y="189"/>
                  </a:lnTo>
                  <a:lnTo>
                    <a:pt x="335" y="199"/>
                  </a:lnTo>
                  <a:lnTo>
                    <a:pt x="292" y="204"/>
                  </a:lnTo>
                  <a:lnTo>
                    <a:pt x="243" y="206"/>
                  </a:lnTo>
                  <a:lnTo>
                    <a:pt x="194" y="204"/>
                  </a:lnTo>
                  <a:lnTo>
                    <a:pt x="150" y="199"/>
                  </a:lnTo>
                  <a:lnTo>
                    <a:pt x="110" y="189"/>
                  </a:lnTo>
                  <a:lnTo>
                    <a:pt x="76" y="177"/>
                  </a:lnTo>
                  <a:lnTo>
                    <a:pt x="49" y="164"/>
                  </a:lnTo>
                  <a:lnTo>
                    <a:pt x="27" y="150"/>
                  </a:lnTo>
                  <a:lnTo>
                    <a:pt x="22" y="145"/>
                  </a:lnTo>
                  <a:lnTo>
                    <a:pt x="18" y="141"/>
                  </a:lnTo>
                  <a:lnTo>
                    <a:pt x="8" y="129"/>
                  </a:lnTo>
                  <a:lnTo>
                    <a:pt x="2" y="117"/>
                  </a:lnTo>
                  <a:lnTo>
                    <a:pt x="0" y="111"/>
                  </a:lnTo>
                  <a:lnTo>
                    <a:pt x="0" y="103"/>
                  </a:lnTo>
                  <a:lnTo>
                    <a:pt x="0" y="99"/>
                  </a:lnTo>
                  <a:lnTo>
                    <a:pt x="1" y="95"/>
                  </a:lnTo>
                  <a:lnTo>
                    <a:pt x="8" y="77"/>
                  </a:lnTo>
                  <a:lnTo>
                    <a:pt x="24" y="60"/>
                  </a:lnTo>
                  <a:lnTo>
                    <a:pt x="46" y="44"/>
                  </a:lnTo>
                  <a:lnTo>
                    <a:pt x="75" y="30"/>
                  </a:lnTo>
                  <a:lnTo>
                    <a:pt x="110" y="17"/>
                  </a:lnTo>
                  <a:lnTo>
                    <a:pt x="149" y="8"/>
                  </a:lnTo>
                  <a:lnTo>
                    <a:pt x="194" y="2"/>
                  </a:lnTo>
                  <a:lnTo>
                    <a:pt x="24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29">
              <a:extLst>
                <a:ext uri="{FF2B5EF4-FFF2-40B4-BE49-F238E27FC236}">
                  <a16:creationId xmlns:a16="http://schemas.microsoft.com/office/drawing/2014/main" id="{FD552B59-470B-3947-9DF2-4EDCB27EFCA6}"/>
                </a:ext>
              </a:extLst>
            </p:cNvPr>
            <p:cNvSpPr>
              <a:spLocks/>
            </p:cNvSpPr>
            <p:nvPr/>
          </p:nvSpPr>
          <p:spPr bwMode="auto">
            <a:xfrm>
              <a:off x="3333830" y="3778572"/>
              <a:ext cx="385763" cy="127000"/>
            </a:xfrm>
            <a:custGeom>
              <a:avLst/>
              <a:gdLst>
                <a:gd name="T0" fmla="*/ 0 w 485"/>
                <a:gd name="T1" fmla="*/ 0 h 160"/>
                <a:gd name="T2" fmla="*/ 7 w 485"/>
                <a:gd name="T3" fmla="*/ 6 h 160"/>
                <a:gd name="T4" fmla="*/ 27 w 485"/>
                <a:gd name="T5" fmla="*/ 18 h 160"/>
                <a:gd name="T6" fmla="*/ 58 w 485"/>
                <a:gd name="T7" fmla="*/ 33 h 160"/>
                <a:gd name="T8" fmla="*/ 93 w 485"/>
                <a:gd name="T9" fmla="*/ 46 h 160"/>
                <a:gd name="T10" fmla="*/ 131 w 485"/>
                <a:gd name="T11" fmla="*/ 56 h 160"/>
                <a:gd name="T12" fmla="*/ 146 w 485"/>
                <a:gd name="T13" fmla="*/ 59 h 160"/>
                <a:gd name="T14" fmla="*/ 193 w 485"/>
                <a:gd name="T15" fmla="*/ 65 h 160"/>
                <a:gd name="T16" fmla="*/ 243 w 485"/>
                <a:gd name="T17" fmla="*/ 67 h 160"/>
                <a:gd name="T18" fmla="*/ 293 w 485"/>
                <a:gd name="T19" fmla="*/ 65 h 160"/>
                <a:gd name="T20" fmla="*/ 339 w 485"/>
                <a:gd name="T21" fmla="*/ 59 h 160"/>
                <a:gd name="T22" fmla="*/ 354 w 485"/>
                <a:gd name="T23" fmla="*/ 56 h 160"/>
                <a:gd name="T24" fmla="*/ 392 w 485"/>
                <a:gd name="T25" fmla="*/ 46 h 160"/>
                <a:gd name="T26" fmla="*/ 427 w 485"/>
                <a:gd name="T27" fmla="*/ 33 h 160"/>
                <a:gd name="T28" fmla="*/ 458 w 485"/>
                <a:gd name="T29" fmla="*/ 18 h 160"/>
                <a:gd name="T30" fmla="*/ 478 w 485"/>
                <a:gd name="T31" fmla="*/ 6 h 160"/>
                <a:gd name="T32" fmla="*/ 485 w 485"/>
                <a:gd name="T33" fmla="*/ 0 h 160"/>
                <a:gd name="T34" fmla="*/ 485 w 485"/>
                <a:gd name="T35" fmla="*/ 54 h 160"/>
                <a:gd name="T36" fmla="*/ 485 w 485"/>
                <a:gd name="T37" fmla="*/ 56 h 160"/>
                <a:gd name="T38" fmla="*/ 485 w 485"/>
                <a:gd name="T39" fmla="*/ 56 h 160"/>
                <a:gd name="T40" fmla="*/ 483 w 485"/>
                <a:gd name="T41" fmla="*/ 67 h 160"/>
                <a:gd name="T42" fmla="*/ 477 w 485"/>
                <a:gd name="T43" fmla="*/ 79 h 160"/>
                <a:gd name="T44" fmla="*/ 469 w 485"/>
                <a:gd name="T45" fmla="*/ 90 h 160"/>
                <a:gd name="T46" fmla="*/ 459 w 485"/>
                <a:gd name="T47" fmla="*/ 100 h 160"/>
                <a:gd name="T48" fmla="*/ 456 w 485"/>
                <a:gd name="T49" fmla="*/ 102 h 160"/>
                <a:gd name="T50" fmla="*/ 438 w 485"/>
                <a:gd name="T51" fmla="*/ 114 h 160"/>
                <a:gd name="T52" fmla="*/ 413 w 485"/>
                <a:gd name="T53" fmla="*/ 128 h 160"/>
                <a:gd name="T54" fmla="*/ 385 w 485"/>
                <a:gd name="T55" fmla="*/ 138 h 160"/>
                <a:gd name="T56" fmla="*/ 354 w 485"/>
                <a:gd name="T57" fmla="*/ 147 h 160"/>
                <a:gd name="T58" fmla="*/ 320 w 485"/>
                <a:gd name="T59" fmla="*/ 154 h 160"/>
                <a:gd name="T60" fmla="*/ 283 w 485"/>
                <a:gd name="T61" fmla="*/ 159 h 160"/>
                <a:gd name="T62" fmla="*/ 243 w 485"/>
                <a:gd name="T63" fmla="*/ 160 h 160"/>
                <a:gd name="T64" fmla="*/ 202 w 485"/>
                <a:gd name="T65" fmla="*/ 159 h 160"/>
                <a:gd name="T66" fmla="*/ 165 w 485"/>
                <a:gd name="T67" fmla="*/ 154 h 160"/>
                <a:gd name="T68" fmla="*/ 131 w 485"/>
                <a:gd name="T69" fmla="*/ 147 h 160"/>
                <a:gd name="T70" fmla="*/ 100 w 485"/>
                <a:gd name="T71" fmla="*/ 138 h 160"/>
                <a:gd name="T72" fmla="*/ 73 w 485"/>
                <a:gd name="T73" fmla="*/ 128 h 160"/>
                <a:gd name="T74" fmla="*/ 46 w 485"/>
                <a:gd name="T75" fmla="*/ 114 h 160"/>
                <a:gd name="T76" fmla="*/ 30 w 485"/>
                <a:gd name="T77" fmla="*/ 102 h 160"/>
                <a:gd name="T78" fmla="*/ 26 w 485"/>
                <a:gd name="T79" fmla="*/ 100 h 160"/>
                <a:gd name="T80" fmla="*/ 16 w 485"/>
                <a:gd name="T81" fmla="*/ 90 h 160"/>
                <a:gd name="T82" fmla="*/ 8 w 485"/>
                <a:gd name="T83" fmla="*/ 79 h 160"/>
                <a:gd name="T84" fmla="*/ 3 w 485"/>
                <a:gd name="T85" fmla="*/ 67 h 160"/>
                <a:gd name="T86" fmla="*/ 1 w 485"/>
                <a:gd name="T87" fmla="*/ 56 h 160"/>
                <a:gd name="T88" fmla="*/ 1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6"/>
                  </a:lnTo>
                  <a:lnTo>
                    <a:pt x="27" y="18"/>
                  </a:lnTo>
                  <a:lnTo>
                    <a:pt x="58" y="33"/>
                  </a:lnTo>
                  <a:lnTo>
                    <a:pt x="93" y="46"/>
                  </a:lnTo>
                  <a:lnTo>
                    <a:pt x="131" y="56"/>
                  </a:lnTo>
                  <a:lnTo>
                    <a:pt x="146" y="59"/>
                  </a:lnTo>
                  <a:lnTo>
                    <a:pt x="193" y="65"/>
                  </a:lnTo>
                  <a:lnTo>
                    <a:pt x="243" y="67"/>
                  </a:lnTo>
                  <a:lnTo>
                    <a:pt x="293" y="65"/>
                  </a:lnTo>
                  <a:lnTo>
                    <a:pt x="339" y="59"/>
                  </a:lnTo>
                  <a:lnTo>
                    <a:pt x="354" y="56"/>
                  </a:lnTo>
                  <a:lnTo>
                    <a:pt x="392" y="46"/>
                  </a:lnTo>
                  <a:lnTo>
                    <a:pt x="427" y="33"/>
                  </a:lnTo>
                  <a:lnTo>
                    <a:pt x="458" y="18"/>
                  </a:lnTo>
                  <a:lnTo>
                    <a:pt x="478" y="6"/>
                  </a:lnTo>
                  <a:lnTo>
                    <a:pt x="485" y="0"/>
                  </a:lnTo>
                  <a:lnTo>
                    <a:pt x="485" y="54"/>
                  </a:lnTo>
                  <a:lnTo>
                    <a:pt x="485" y="56"/>
                  </a:lnTo>
                  <a:lnTo>
                    <a:pt x="485" y="56"/>
                  </a:lnTo>
                  <a:lnTo>
                    <a:pt x="483" y="67"/>
                  </a:lnTo>
                  <a:lnTo>
                    <a:pt x="477" y="79"/>
                  </a:lnTo>
                  <a:lnTo>
                    <a:pt x="469" y="90"/>
                  </a:lnTo>
                  <a:lnTo>
                    <a:pt x="459" y="100"/>
                  </a:lnTo>
                  <a:lnTo>
                    <a:pt x="456" y="102"/>
                  </a:lnTo>
                  <a:lnTo>
                    <a:pt x="438" y="114"/>
                  </a:lnTo>
                  <a:lnTo>
                    <a:pt x="413" y="128"/>
                  </a:lnTo>
                  <a:lnTo>
                    <a:pt x="385" y="138"/>
                  </a:lnTo>
                  <a:lnTo>
                    <a:pt x="354" y="147"/>
                  </a:lnTo>
                  <a:lnTo>
                    <a:pt x="320" y="154"/>
                  </a:lnTo>
                  <a:lnTo>
                    <a:pt x="283" y="159"/>
                  </a:lnTo>
                  <a:lnTo>
                    <a:pt x="243" y="160"/>
                  </a:lnTo>
                  <a:lnTo>
                    <a:pt x="202" y="159"/>
                  </a:lnTo>
                  <a:lnTo>
                    <a:pt x="165" y="154"/>
                  </a:lnTo>
                  <a:lnTo>
                    <a:pt x="131" y="147"/>
                  </a:lnTo>
                  <a:lnTo>
                    <a:pt x="100" y="138"/>
                  </a:lnTo>
                  <a:lnTo>
                    <a:pt x="73" y="128"/>
                  </a:lnTo>
                  <a:lnTo>
                    <a:pt x="46" y="114"/>
                  </a:lnTo>
                  <a:lnTo>
                    <a:pt x="30" y="102"/>
                  </a:lnTo>
                  <a:lnTo>
                    <a:pt x="26" y="100"/>
                  </a:lnTo>
                  <a:lnTo>
                    <a:pt x="16" y="90"/>
                  </a:lnTo>
                  <a:lnTo>
                    <a:pt x="8" y="79"/>
                  </a:lnTo>
                  <a:lnTo>
                    <a:pt x="3" y="67"/>
                  </a:lnTo>
                  <a:lnTo>
                    <a:pt x="1" y="56"/>
                  </a:lnTo>
                  <a:lnTo>
                    <a:pt x="1" y="56"/>
                  </a:lnTo>
                  <a:lnTo>
                    <a:pt x="0" y="54"/>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30">
              <a:extLst>
                <a:ext uri="{FF2B5EF4-FFF2-40B4-BE49-F238E27FC236}">
                  <a16:creationId xmlns:a16="http://schemas.microsoft.com/office/drawing/2014/main" id="{0E87A50A-7DD7-C64D-86E8-E3CB4F0D2471}"/>
                </a:ext>
              </a:extLst>
            </p:cNvPr>
            <p:cNvSpPr>
              <a:spLocks/>
            </p:cNvSpPr>
            <p:nvPr/>
          </p:nvSpPr>
          <p:spPr bwMode="auto">
            <a:xfrm>
              <a:off x="3333830" y="3888110"/>
              <a:ext cx="385763" cy="127000"/>
            </a:xfrm>
            <a:custGeom>
              <a:avLst/>
              <a:gdLst>
                <a:gd name="T0" fmla="*/ 0 w 485"/>
                <a:gd name="T1" fmla="*/ 0 h 160"/>
                <a:gd name="T2" fmla="*/ 7 w 485"/>
                <a:gd name="T3" fmla="*/ 6 h 160"/>
                <a:gd name="T4" fmla="*/ 27 w 485"/>
                <a:gd name="T5" fmla="*/ 18 h 160"/>
                <a:gd name="T6" fmla="*/ 58 w 485"/>
                <a:gd name="T7" fmla="*/ 33 h 160"/>
                <a:gd name="T8" fmla="*/ 93 w 485"/>
                <a:gd name="T9" fmla="*/ 46 h 160"/>
                <a:gd name="T10" fmla="*/ 131 w 485"/>
                <a:gd name="T11" fmla="*/ 56 h 160"/>
                <a:gd name="T12" fmla="*/ 146 w 485"/>
                <a:gd name="T13" fmla="*/ 59 h 160"/>
                <a:gd name="T14" fmla="*/ 193 w 485"/>
                <a:gd name="T15" fmla="*/ 65 h 160"/>
                <a:gd name="T16" fmla="*/ 243 w 485"/>
                <a:gd name="T17" fmla="*/ 67 h 160"/>
                <a:gd name="T18" fmla="*/ 293 w 485"/>
                <a:gd name="T19" fmla="*/ 65 h 160"/>
                <a:gd name="T20" fmla="*/ 339 w 485"/>
                <a:gd name="T21" fmla="*/ 59 h 160"/>
                <a:gd name="T22" fmla="*/ 354 w 485"/>
                <a:gd name="T23" fmla="*/ 56 h 160"/>
                <a:gd name="T24" fmla="*/ 392 w 485"/>
                <a:gd name="T25" fmla="*/ 46 h 160"/>
                <a:gd name="T26" fmla="*/ 427 w 485"/>
                <a:gd name="T27" fmla="*/ 33 h 160"/>
                <a:gd name="T28" fmla="*/ 458 w 485"/>
                <a:gd name="T29" fmla="*/ 18 h 160"/>
                <a:gd name="T30" fmla="*/ 478 w 485"/>
                <a:gd name="T31" fmla="*/ 6 h 160"/>
                <a:gd name="T32" fmla="*/ 485 w 485"/>
                <a:gd name="T33" fmla="*/ 0 h 160"/>
                <a:gd name="T34" fmla="*/ 485 w 485"/>
                <a:gd name="T35" fmla="*/ 55 h 160"/>
                <a:gd name="T36" fmla="*/ 485 w 485"/>
                <a:gd name="T37" fmla="*/ 56 h 160"/>
                <a:gd name="T38" fmla="*/ 485 w 485"/>
                <a:gd name="T39" fmla="*/ 56 h 160"/>
                <a:gd name="T40" fmla="*/ 483 w 485"/>
                <a:gd name="T41" fmla="*/ 67 h 160"/>
                <a:gd name="T42" fmla="*/ 477 w 485"/>
                <a:gd name="T43" fmla="*/ 79 h 160"/>
                <a:gd name="T44" fmla="*/ 469 w 485"/>
                <a:gd name="T45" fmla="*/ 90 h 160"/>
                <a:gd name="T46" fmla="*/ 459 w 485"/>
                <a:gd name="T47" fmla="*/ 100 h 160"/>
                <a:gd name="T48" fmla="*/ 456 w 485"/>
                <a:gd name="T49" fmla="*/ 102 h 160"/>
                <a:gd name="T50" fmla="*/ 438 w 485"/>
                <a:gd name="T51" fmla="*/ 114 h 160"/>
                <a:gd name="T52" fmla="*/ 413 w 485"/>
                <a:gd name="T53" fmla="*/ 128 h 160"/>
                <a:gd name="T54" fmla="*/ 385 w 485"/>
                <a:gd name="T55" fmla="*/ 138 h 160"/>
                <a:gd name="T56" fmla="*/ 354 w 485"/>
                <a:gd name="T57" fmla="*/ 147 h 160"/>
                <a:gd name="T58" fmla="*/ 320 w 485"/>
                <a:gd name="T59" fmla="*/ 154 h 160"/>
                <a:gd name="T60" fmla="*/ 283 w 485"/>
                <a:gd name="T61" fmla="*/ 159 h 160"/>
                <a:gd name="T62" fmla="*/ 243 w 485"/>
                <a:gd name="T63" fmla="*/ 160 h 160"/>
                <a:gd name="T64" fmla="*/ 202 w 485"/>
                <a:gd name="T65" fmla="*/ 159 h 160"/>
                <a:gd name="T66" fmla="*/ 165 w 485"/>
                <a:gd name="T67" fmla="*/ 154 h 160"/>
                <a:gd name="T68" fmla="*/ 131 w 485"/>
                <a:gd name="T69" fmla="*/ 147 h 160"/>
                <a:gd name="T70" fmla="*/ 100 w 485"/>
                <a:gd name="T71" fmla="*/ 138 h 160"/>
                <a:gd name="T72" fmla="*/ 73 w 485"/>
                <a:gd name="T73" fmla="*/ 128 h 160"/>
                <a:gd name="T74" fmla="*/ 46 w 485"/>
                <a:gd name="T75" fmla="*/ 114 h 160"/>
                <a:gd name="T76" fmla="*/ 30 w 485"/>
                <a:gd name="T77" fmla="*/ 102 h 160"/>
                <a:gd name="T78" fmla="*/ 26 w 485"/>
                <a:gd name="T79" fmla="*/ 100 h 160"/>
                <a:gd name="T80" fmla="*/ 16 w 485"/>
                <a:gd name="T81" fmla="*/ 90 h 160"/>
                <a:gd name="T82" fmla="*/ 8 w 485"/>
                <a:gd name="T83" fmla="*/ 79 h 160"/>
                <a:gd name="T84" fmla="*/ 3 w 485"/>
                <a:gd name="T85" fmla="*/ 67 h 160"/>
                <a:gd name="T86" fmla="*/ 1 w 485"/>
                <a:gd name="T87" fmla="*/ 56 h 160"/>
                <a:gd name="T88" fmla="*/ 1 w 485"/>
                <a:gd name="T89" fmla="*/ 56 h 160"/>
                <a:gd name="T90" fmla="*/ 0 w 485"/>
                <a:gd name="T91" fmla="*/ 55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6"/>
                  </a:lnTo>
                  <a:lnTo>
                    <a:pt x="27" y="18"/>
                  </a:lnTo>
                  <a:lnTo>
                    <a:pt x="58" y="33"/>
                  </a:lnTo>
                  <a:lnTo>
                    <a:pt x="93" y="46"/>
                  </a:lnTo>
                  <a:lnTo>
                    <a:pt x="131" y="56"/>
                  </a:lnTo>
                  <a:lnTo>
                    <a:pt x="146" y="59"/>
                  </a:lnTo>
                  <a:lnTo>
                    <a:pt x="193" y="65"/>
                  </a:lnTo>
                  <a:lnTo>
                    <a:pt x="243" y="67"/>
                  </a:lnTo>
                  <a:lnTo>
                    <a:pt x="293" y="65"/>
                  </a:lnTo>
                  <a:lnTo>
                    <a:pt x="339" y="59"/>
                  </a:lnTo>
                  <a:lnTo>
                    <a:pt x="354" y="56"/>
                  </a:lnTo>
                  <a:lnTo>
                    <a:pt x="392" y="46"/>
                  </a:lnTo>
                  <a:lnTo>
                    <a:pt x="427" y="33"/>
                  </a:lnTo>
                  <a:lnTo>
                    <a:pt x="458" y="18"/>
                  </a:lnTo>
                  <a:lnTo>
                    <a:pt x="478" y="6"/>
                  </a:lnTo>
                  <a:lnTo>
                    <a:pt x="485" y="0"/>
                  </a:lnTo>
                  <a:lnTo>
                    <a:pt x="485" y="55"/>
                  </a:lnTo>
                  <a:lnTo>
                    <a:pt x="485" y="56"/>
                  </a:lnTo>
                  <a:lnTo>
                    <a:pt x="485" y="56"/>
                  </a:lnTo>
                  <a:lnTo>
                    <a:pt x="483" y="67"/>
                  </a:lnTo>
                  <a:lnTo>
                    <a:pt x="477" y="79"/>
                  </a:lnTo>
                  <a:lnTo>
                    <a:pt x="469" y="90"/>
                  </a:lnTo>
                  <a:lnTo>
                    <a:pt x="459" y="100"/>
                  </a:lnTo>
                  <a:lnTo>
                    <a:pt x="456" y="102"/>
                  </a:lnTo>
                  <a:lnTo>
                    <a:pt x="438" y="114"/>
                  </a:lnTo>
                  <a:lnTo>
                    <a:pt x="413" y="128"/>
                  </a:lnTo>
                  <a:lnTo>
                    <a:pt x="385" y="138"/>
                  </a:lnTo>
                  <a:lnTo>
                    <a:pt x="354" y="147"/>
                  </a:lnTo>
                  <a:lnTo>
                    <a:pt x="320" y="154"/>
                  </a:lnTo>
                  <a:lnTo>
                    <a:pt x="283" y="159"/>
                  </a:lnTo>
                  <a:lnTo>
                    <a:pt x="243" y="160"/>
                  </a:lnTo>
                  <a:lnTo>
                    <a:pt x="202" y="159"/>
                  </a:lnTo>
                  <a:lnTo>
                    <a:pt x="165" y="154"/>
                  </a:lnTo>
                  <a:lnTo>
                    <a:pt x="131" y="147"/>
                  </a:lnTo>
                  <a:lnTo>
                    <a:pt x="100" y="138"/>
                  </a:lnTo>
                  <a:lnTo>
                    <a:pt x="73" y="128"/>
                  </a:lnTo>
                  <a:lnTo>
                    <a:pt x="46" y="114"/>
                  </a:lnTo>
                  <a:lnTo>
                    <a:pt x="30" y="102"/>
                  </a:lnTo>
                  <a:lnTo>
                    <a:pt x="26" y="100"/>
                  </a:lnTo>
                  <a:lnTo>
                    <a:pt x="16" y="90"/>
                  </a:lnTo>
                  <a:lnTo>
                    <a:pt x="8" y="79"/>
                  </a:lnTo>
                  <a:lnTo>
                    <a:pt x="3" y="67"/>
                  </a:lnTo>
                  <a:lnTo>
                    <a:pt x="1" y="56"/>
                  </a:lnTo>
                  <a:lnTo>
                    <a:pt x="1" y="56"/>
                  </a:lnTo>
                  <a:lnTo>
                    <a:pt x="0" y="55"/>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31">
              <a:extLst>
                <a:ext uri="{FF2B5EF4-FFF2-40B4-BE49-F238E27FC236}">
                  <a16:creationId xmlns:a16="http://schemas.microsoft.com/office/drawing/2014/main" id="{078D9C59-F023-7941-8C94-2F133304043E}"/>
                </a:ext>
              </a:extLst>
            </p:cNvPr>
            <p:cNvSpPr>
              <a:spLocks/>
            </p:cNvSpPr>
            <p:nvPr/>
          </p:nvSpPr>
          <p:spPr bwMode="auto">
            <a:xfrm>
              <a:off x="3333830" y="3997647"/>
              <a:ext cx="385763" cy="127000"/>
            </a:xfrm>
            <a:custGeom>
              <a:avLst/>
              <a:gdLst>
                <a:gd name="T0" fmla="*/ 0 w 485"/>
                <a:gd name="T1" fmla="*/ 0 h 160"/>
                <a:gd name="T2" fmla="*/ 7 w 485"/>
                <a:gd name="T3" fmla="*/ 6 h 160"/>
                <a:gd name="T4" fmla="*/ 27 w 485"/>
                <a:gd name="T5" fmla="*/ 19 h 160"/>
                <a:gd name="T6" fmla="*/ 58 w 485"/>
                <a:gd name="T7" fmla="*/ 33 h 160"/>
                <a:gd name="T8" fmla="*/ 93 w 485"/>
                <a:gd name="T9" fmla="*/ 46 h 160"/>
                <a:gd name="T10" fmla="*/ 131 w 485"/>
                <a:gd name="T11" fmla="*/ 56 h 160"/>
                <a:gd name="T12" fmla="*/ 146 w 485"/>
                <a:gd name="T13" fmla="*/ 59 h 160"/>
                <a:gd name="T14" fmla="*/ 193 w 485"/>
                <a:gd name="T15" fmla="*/ 65 h 160"/>
                <a:gd name="T16" fmla="*/ 243 w 485"/>
                <a:gd name="T17" fmla="*/ 67 h 160"/>
                <a:gd name="T18" fmla="*/ 293 w 485"/>
                <a:gd name="T19" fmla="*/ 65 h 160"/>
                <a:gd name="T20" fmla="*/ 339 w 485"/>
                <a:gd name="T21" fmla="*/ 59 h 160"/>
                <a:gd name="T22" fmla="*/ 354 w 485"/>
                <a:gd name="T23" fmla="*/ 56 h 160"/>
                <a:gd name="T24" fmla="*/ 392 w 485"/>
                <a:gd name="T25" fmla="*/ 46 h 160"/>
                <a:gd name="T26" fmla="*/ 427 w 485"/>
                <a:gd name="T27" fmla="*/ 33 h 160"/>
                <a:gd name="T28" fmla="*/ 458 w 485"/>
                <a:gd name="T29" fmla="*/ 19 h 160"/>
                <a:gd name="T30" fmla="*/ 478 w 485"/>
                <a:gd name="T31" fmla="*/ 6 h 160"/>
                <a:gd name="T32" fmla="*/ 485 w 485"/>
                <a:gd name="T33" fmla="*/ 0 h 160"/>
                <a:gd name="T34" fmla="*/ 485 w 485"/>
                <a:gd name="T35" fmla="*/ 55 h 160"/>
                <a:gd name="T36" fmla="*/ 485 w 485"/>
                <a:gd name="T37" fmla="*/ 56 h 160"/>
                <a:gd name="T38" fmla="*/ 485 w 485"/>
                <a:gd name="T39" fmla="*/ 56 h 160"/>
                <a:gd name="T40" fmla="*/ 483 w 485"/>
                <a:gd name="T41" fmla="*/ 67 h 160"/>
                <a:gd name="T42" fmla="*/ 477 w 485"/>
                <a:gd name="T43" fmla="*/ 79 h 160"/>
                <a:gd name="T44" fmla="*/ 469 w 485"/>
                <a:gd name="T45" fmla="*/ 90 h 160"/>
                <a:gd name="T46" fmla="*/ 459 w 485"/>
                <a:gd name="T47" fmla="*/ 100 h 160"/>
                <a:gd name="T48" fmla="*/ 456 w 485"/>
                <a:gd name="T49" fmla="*/ 102 h 160"/>
                <a:gd name="T50" fmla="*/ 438 w 485"/>
                <a:gd name="T51" fmla="*/ 114 h 160"/>
                <a:gd name="T52" fmla="*/ 413 w 485"/>
                <a:gd name="T53" fmla="*/ 128 h 160"/>
                <a:gd name="T54" fmla="*/ 385 w 485"/>
                <a:gd name="T55" fmla="*/ 139 h 160"/>
                <a:gd name="T56" fmla="*/ 354 w 485"/>
                <a:gd name="T57" fmla="*/ 147 h 160"/>
                <a:gd name="T58" fmla="*/ 320 w 485"/>
                <a:gd name="T59" fmla="*/ 154 h 160"/>
                <a:gd name="T60" fmla="*/ 283 w 485"/>
                <a:gd name="T61" fmla="*/ 159 h 160"/>
                <a:gd name="T62" fmla="*/ 243 w 485"/>
                <a:gd name="T63" fmla="*/ 160 h 160"/>
                <a:gd name="T64" fmla="*/ 202 w 485"/>
                <a:gd name="T65" fmla="*/ 159 h 160"/>
                <a:gd name="T66" fmla="*/ 165 w 485"/>
                <a:gd name="T67" fmla="*/ 154 h 160"/>
                <a:gd name="T68" fmla="*/ 131 w 485"/>
                <a:gd name="T69" fmla="*/ 147 h 160"/>
                <a:gd name="T70" fmla="*/ 100 w 485"/>
                <a:gd name="T71" fmla="*/ 139 h 160"/>
                <a:gd name="T72" fmla="*/ 73 w 485"/>
                <a:gd name="T73" fmla="*/ 128 h 160"/>
                <a:gd name="T74" fmla="*/ 46 w 485"/>
                <a:gd name="T75" fmla="*/ 114 h 160"/>
                <a:gd name="T76" fmla="*/ 30 w 485"/>
                <a:gd name="T77" fmla="*/ 102 h 160"/>
                <a:gd name="T78" fmla="*/ 26 w 485"/>
                <a:gd name="T79" fmla="*/ 100 h 160"/>
                <a:gd name="T80" fmla="*/ 16 w 485"/>
                <a:gd name="T81" fmla="*/ 90 h 160"/>
                <a:gd name="T82" fmla="*/ 8 w 485"/>
                <a:gd name="T83" fmla="*/ 79 h 160"/>
                <a:gd name="T84" fmla="*/ 3 w 485"/>
                <a:gd name="T85" fmla="*/ 67 h 160"/>
                <a:gd name="T86" fmla="*/ 1 w 485"/>
                <a:gd name="T87" fmla="*/ 56 h 160"/>
                <a:gd name="T88" fmla="*/ 1 w 485"/>
                <a:gd name="T89" fmla="*/ 56 h 160"/>
                <a:gd name="T90" fmla="*/ 0 w 485"/>
                <a:gd name="T91" fmla="*/ 55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6"/>
                  </a:lnTo>
                  <a:lnTo>
                    <a:pt x="27" y="19"/>
                  </a:lnTo>
                  <a:lnTo>
                    <a:pt x="58" y="33"/>
                  </a:lnTo>
                  <a:lnTo>
                    <a:pt x="93" y="46"/>
                  </a:lnTo>
                  <a:lnTo>
                    <a:pt x="131" y="56"/>
                  </a:lnTo>
                  <a:lnTo>
                    <a:pt x="146" y="59"/>
                  </a:lnTo>
                  <a:lnTo>
                    <a:pt x="193" y="65"/>
                  </a:lnTo>
                  <a:lnTo>
                    <a:pt x="243" y="67"/>
                  </a:lnTo>
                  <a:lnTo>
                    <a:pt x="293" y="65"/>
                  </a:lnTo>
                  <a:lnTo>
                    <a:pt x="339" y="59"/>
                  </a:lnTo>
                  <a:lnTo>
                    <a:pt x="354" y="56"/>
                  </a:lnTo>
                  <a:lnTo>
                    <a:pt x="392" y="46"/>
                  </a:lnTo>
                  <a:lnTo>
                    <a:pt x="427" y="33"/>
                  </a:lnTo>
                  <a:lnTo>
                    <a:pt x="458" y="19"/>
                  </a:lnTo>
                  <a:lnTo>
                    <a:pt x="478" y="6"/>
                  </a:lnTo>
                  <a:lnTo>
                    <a:pt x="485" y="0"/>
                  </a:lnTo>
                  <a:lnTo>
                    <a:pt x="485" y="55"/>
                  </a:lnTo>
                  <a:lnTo>
                    <a:pt x="485" y="56"/>
                  </a:lnTo>
                  <a:lnTo>
                    <a:pt x="485" y="56"/>
                  </a:lnTo>
                  <a:lnTo>
                    <a:pt x="483" y="67"/>
                  </a:lnTo>
                  <a:lnTo>
                    <a:pt x="477" y="79"/>
                  </a:lnTo>
                  <a:lnTo>
                    <a:pt x="469" y="90"/>
                  </a:lnTo>
                  <a:lnTo>
                    <a:pt x="459" y="100"/>
                  </a:lnTo>
                  <a:lnTo>
                    <a:pt x="456" y="102"/>
                  </a:lnTo>
                  <a:lnTo>
                    <a:pt x="438" y="114"/>
                  </a:lnTo>
                  <a:lnTo>
                    <a:pt x="413" y="128"/>
                  </a:lnTo>
                  <a:lnTo>
                    <a:pt x="385" y="139"/>
                  </a:lnTo>
                  <a:lnTo>
                    <a:pt x="354" y="147"/>
                  </a:lnTo>
                  <a:lnTo>
                    <a:pt x="320" y="154"/>
                  </a:lnTo>
                  <a:lnTo>
                    <a:pt x="283" y="159"/>
                  </a:lnTo>
                  <a:lnTo>
                    <a:pt x="243" y="160"/>
                  </a:lnTo>
                  <a:lnTo>
                    <a:pt x="202" y="159"/>
                  </a:lnTo>
                  <a:lnTo>
                    <a:pt x="165" y="154"/>
                  </a:lnTo>
                  <a:lnTo>
                    <a:pt x="131" y="147"/>
                  </a:lnTo>
                  <a:lnTo>
                    <a:pt x="100" y="139"/>
                  </a:lnTo>
                  <a:lnTo>
                    <a:pt x="73" y="128"/>
                  </a:lnTo>
                  <a:lnTo>
                    <a:pt x="46" y="114"/>
                  </a:lnTo>
                  <a:lnTo>
                    <a:pt x="30" y="102"/>
                  </a:lnTo>
                  <a:lnTo>
                    <a:pt x="26" y="100"/>
                  </a:lnTo>
                  <a:lnTo>
                    <a:pt x="16" y="90"/>
                  </a:lnTo>
                  <a:lnTo>
                    <a:pt x="8" y="79"/>
                  </a:lnTo>
                  <a:lnTo>
                    <a:pt x="3" y="67"/>
                  </a:lnTo>
                  <a:lnTo>
                    <a:pt x="1" y="56"/>
                  </a:lnTo>
                  <a:lnTo>
                    <a:pt x="1" y="56"/>
                  </a:lnTo>
                  <a:lnTo>
                    <a:pt x="0" y="55"/>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32">
              <a:extLst>
                <a:ext uri="{FF2B5EF4-FFF2-40B4-BE49-F238E27FC236}">
                  <a16:creationId xmlns:a16="http://schemas.microsoft.com/office/drawing/2014/main" id="{35919E90-5953-3145-95C6-D1819A167AEA}"/>
                </a:ext>
              </a:extLst>
            </p:cNvPr>
            <p:cNvSpPr>
              <a:spLocks/>
            </p:cNvSpPr>
            <p:nvPr/>
          </p:nvSpPr>
          <p:spPr bwMode="auto">
            <a:xfrm>
              <a:off x="3333830" y="4107185"/>
              <a:ext cx="385763" cy="127000"/>
            </a:xfrm>
            <a:custGeom>
              <a:avLst/>
              <a:gdLst>
                <a:gd name="T0" fmla="*/ 0 w 485"/>
                <a:gd name="T1" fmla="*/ 0 h 159"/>
                <a:gd name="T2" fmla="*/ 7 w 485"/>
                <a:gd name="T3" fmla="*/ 5 h 159"/>
                <a:gd name="T4" fmla="*/ 27 w 485"/>
                <a:gd name="T5" fmla="*/ 18 h 159"/>
                <a:gd name="T6" fmla="*/ 58 w 485"/>
                <a:gd name="T7" fmla="*/ 32 h 159"/>
                <a:gd name="T8" fmla="*/ 93 w 485"/>
                <a:gd name="T9" fmla="*/ 45 h 159"/>
                <a:gd name="T10" fmla="*/ 131 w 485"/>
                <a:gd name="T11" fmla="*/ 55 h 159"/>
                <a:gd name="T12" fmla="*/ 146 w 485"/>
                <a:gd name="T13" fmla="*/ 58 h 159"/>
                <a:gd name="T14" fmla="*/ 193 w 485"/>
                <a:gd name="T15" fmla="*/ 64 h 159"/>
                <a:gd name="T16" fmla="*/ 243 w 485"/>
                <a:gd name="T17" fmla="*/ 66 h 159"/>
                <a:gd name="T18" fmla="*/ 293 w 485"/>
                <a:gd name="T19" fmla="*/ 64 h 159"/>
                <a:gd name="T20" fmla="*/ 339 w 485"/>
                <a:gd name="T21" fmla="*/ 58 h 159"/>
                <a:gd name="T22" fmla="*/ 354 w 485"/>
                <a:gd name="T23" fmla="*/ 55 h 159"/>
                <a:gd name="T24" fmla="*/ 392 w 485"/>
                <a:gd name="T25" fmla="*/ 45 h 159"/>
                <a:gd name="T26" fmla="*/ 427 w 485"/>
                <a:gd name="T27" fmla="*/ 32 h 159"/>
                <a:gd name="T28" fmla="*/ 458 w 485"/>
                <a:gd name="T29" fmla="*/ 18 h 159"/>
                <a:gd name="T30" fmla="*/ 478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6 h 159"/>
                <a:gd name="T42" fmla="*/ 477 w 485"/>
                <a:gd name="T43" fmla="*/ 78 h 159"/>
                <a:gd name="T44" fmla="*/ 469 w 485"/>
                <a:gd name="T45" fmla="*/ 89 h 159"/>
                <a:gd name="T46" fmla="*/ 459 w 485"/>
                <a:gd name="T47" fmla="*/ 99 h 159"/>
                <a:gd name="T48" fmla="*/ 456 w 485"/>
                <a:gd name="T49" fmla="*/ 102 h 159"/>
                <a:gd name="T50" fmla="*/ 438 w 485"/>
                <a:gd name="T51" fmla="*/ 113 h 159"/>
                <a:gd name="T52" fmla="*/ 413 w 485"/>
                <a:gd name="T53" fmla="*/ 127 h 159"/>
                <a:gd name="T54" fmla="*/ 385 w 485"/>
                <a:gd name="T55" fmla="*/ 138 h 159"/>
                <a:gd name="T56" fmla="*/ 354 w 485"/>
                <a:gd name="T57" fmla="*/ 146 h 159"/>
                <a:gd name="T58" fmla="*/ 320 w 485"/>
                <a:gd name="T59" fmla="*/ 154 h 159"/>
                <a:gd name="T60" fmla="*/ 283 w 485"/>
                <a:gd name="T61" fmla="*/ 158 h 159"/>
                <a:gd name="T62" fmla="*/ 243 w 485"/>
                <a:gd name="T63" fmla="*/ 159 h 159"/>
                <a:gd name="T64" fmla="*/ 202 w 485"/>
                <a:gd name="T65" fmla="*/ 158 h 159"/>
                <a:gd name="T66" fmla="*/ 165 w 485"/>
                <a:gd name="T67" fmla="*/ 154 h 159"/>
                <a:gd name="T68" fmla="*/ 131 w 485"/>
                <a:gd name="T69" fmla="*/ 146 h 159"/>
                <a:gd name="T70" fmla="*/ 100 w 485"/>
                <a:gd name="T71" fmla="*/ 138 h 159"/>
                <a:gd name="T72" fmla="*/ 73 w 485"/>
                <a:gd name="T73" fmla="*/ 127 h 159"/>
                <a:gd name="T74" fmla="*/ 46 w 485"/>
                <a:gd name="T75" fmla="*/ 113 h 159"/>
                <a:gd name="T76" fmla="*/ 30 w 485"/>
                <a:gd name="T77" fmla="*/ 102 h 159"/>
                <a:gd name="T78" fmla="*/ 26 w 485"/>
                <a:gd name="T79" fmla="*/ 99 h 159"/>
                <a:gd name="T80" fmla="*/ 16 w 485"/>
                <a:gd name="T81" fmla="*/ 89 h 159"/>
                <a:gd name="T82" fmla="*/ 8 w 485"/>
                <a:gd name="T83" fmla="*/ 78 h 159"/>
                <a:gd name="T84" fmla="*/ 3 w 485"/>
                <a:gd name="T85" fmla="*/ 66 h 159"/>
                <a:gd name="T86" fmla="*/ 1 w 485"/>
                <a:gd name="T87" fmla="*/ 55 h 159"/>
                <a:gd name="T88" fmla="*/ 1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2"/>
                  </a:lnTo>
                  <a:lnTo>
                    <a:pt x="93" y="45"/>
                  </a:lnTo>
                  <a:lnTo>
                    <a:pt x="131" y="55"/>
                  </a:lnTo>
                  <a:lnTo>
                    <a:pt x="146" y="58"/>
                  </a:lnTo>
                  <a:lnTo>
                    <a:pt x="193" y="64"/>
                  </a:lnTo>
                  <a:lnTo>
                    <a:pt x="243" y="66"/>
                  </a:lnTo>
                  <a:lnTo>
                    <a:pt x="293" y="64"/>
                  </a:lnTo>
                  <a:lnTo>
                    <a:pt x="339" y="58"/>
                  </a:lnTo>
                  <a:lnTo>
                    <a:pt x="354" y="55"/>
                  </a:lnTo>
                  <a:lnTo>
                    <a:pt x="392" y="45"/>
                  </a:lnTo>
                  <a:lnTo>
                    <a:pt x="427" y="32"/>
                  </a:lnTo>
                  <a:lnTo>
                    <a:pt x="458" y="18"/>
                  </a:lnTo>
                  <a:lnTo>
                    <a:pt x="478" y="5"/>
                  </a:lnTo>
                  <a:lnTo>
                    <a:pt x="485" y="0"/>
                  </a:lnTo>
                  <a:lnTo>
                    <a:pt x="485" y="54"/>
                  </a:lnTo>
                  <a:lnTo>
                    <a:pt x="485" y="55"/>
                  </a:lnTo>
                  <a:lnTo>
                    <a:pt x="485" y="55"/>
                  </a:lnTo>
                  <a:lnTo>
                    <a:pt x="483" y="66"/>
                  </a:lnTo>
                  <a:lnTo>
                    <a:pt x="477" y="78"/>
                  </a:lnTo>
                  <a:lnTo>
                    <a:pt x="469" y="89"/>
                  </a:lnTo>
                  <a:lnTo>
                    <a:pt x="459" y="99"/>
                  </a:lnTo>
                  <a:lnTo>
                    <a:pt x="456" y="102"/>
                  </a:lnTo>
                  <a:lnTo>
                    <a:pt x="438" y="113"/>
                  </a:lnTo>
                  <a:lnTo>
                    <a:pt x="413" y="127"/>
                  </a:lnTo>
                  <a:lnTo>
                    <a:pt x="385" y="138"/>
                  </a:lnTo>
                  <a:lnTo>
                    <a:pt x="354" y="146"/>
                  </a:lnTo>
                  <a:lnTo>
                    <a:pt x="320" y="154"/>
                  </a:lnTo>
                  <a:lnTo>
                    <a:pt x="283" y="158"/>
                  </a:lnTo>
                  <a:lnTo>
                    <a:pt x="243" y="159"/>
                  </a:lnTo>
                  <a:lnTo>
                    <a:pt x="202" y="158"/>
                  </a:lnTo>
                  <a:lnTo>
                    <a:pt x="165" y="154"/>
                  </a:lnTo>
                  <a:lnTo>
                    <a:pt x="131" y="146"/>
                  </a:lnTo>
                  <a:lnTo>
                    <a:pt x="100" y="138"/>
                  </a:lnTo>
                  <a:lnTo>
                    <a:pt x="73" y="127"/>
                  </a:lnTo>
                  <a:lnTo>
                    <a:pt x="46" y="113"/>
                  </a:lnTo>
                  <a:lnTo>
                    <a:pt x="30" y="102"/>
                  </a:lnTo>
                  <a:lnTo>
                    <a:pt x="26" y="99"/>
                  </a:lnTo>
                  <a:lnTo>
                    <a:pt x="16" y="89"/>
                  </a:lnTo>
                  <a:lnTo>
                    <a:pt x="8" y="78"/>
                  </a:lnTo>
                  <a:lnTo>
                    <a:pt x="3" y="66"/>
                  </a:lnTo>
                  <a:lnTo>
                    <a:pt x="1" y="55"/>
                  </a:lnTo>
                  <a:lnTo>
                    <a:pt x="1" y="55"/>
                  </a:lnTo>
                  <a:lnTo>
                    <a:pt x="0" y="54"/>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33">
              <a:extLst>
                <a:ext uri="{FF2B5EF4-FFF2-40B4-BE49-F238E27FC236}">
                  <a16:creationId xmlns:a16="http://schemas.microsoft.com/office/drawing/2014/main" id="{C831DBB1-9BB1-3849-B1EA-43D1BD0449F0}"/>
                </a:ext>
              </a:extLst>
            </p:cNvPr>
            <p:cNvSpPr>
              <a:spLocks/>
            </p:cNvSpPr>
            <p:nvPr/>
          </p:nvSpPr>
          <p:spPr bwMode="auto">
            <a:xfrm>
              <a:off x="3333830" y="4216722"/>
              <a:ext cx="385763" cy="127000"/>
            </a:xfrm>
            <a:custGeom>
              <a:avLst/>
              <a:gdLst>
                <a:gd name="T0" fmla="*/ 0 w 485"/>
                <a:gd name="T1" fmla="*/ 0 h 159"/>
                <a:gd name="T2" fmla="*/ 7 w 485"/>
                <a:gd name="T3" fmla="*/ 5 h 159"/>
                <a:gd name="T4" fmla="*/ 27 w 485"/>
                <a:gd name="T5" fmla="*/ 18 h 159"/>
                <a:gd name="T6" fmla="*/ 58 w 485"/>
                <a:gd name="T7" fmla="*/ 33 h 159"/>
                <a:gd name="T8" fmla="*/ 93 w 485"/>
                <a:gd name="T9" fmla="*/ 45 h 159"/>
                <a:gd name="T10" fmla="*/ 131 w 485"/>
                <a:gd name="T11" fmla="*/ 55 h 159"/>
                <a:gd name="T12" fmla="*/ 146 w 485"/>
                <a:gd name="T13" fmla="*/ 58 h 159"/>
                <a:gd name="T14" fmla="*/ 193 w 485"/>
                <a:gd name="T15" fmla="*/ 64 h 159"/>
                <a:gd name="T16" fmla="*/ 243 w 485"/>
                <a:gd name="T17" fmla="*/ 67 h 159"/>
                <a:gd name="T18" fmla="*/ 293 w 485"/>
                <a:gd name="T19" fmla="*/ 64 h 159"/>
                <a:gd name="T20" fmla="*/ 339 w 485"/>
                <a:gd name="T21" fmla="*/ 58 h 159"/>
                <a:gd name="T22" fmla="*/ 354 w 485"/>
                <a:gd name="T23" fmla="*/ 55 h 159"/>
                <a:gd name="T24" fmla="*/ 392 w 485"/>
                <a:gd name="T25" fmla="*/ 45 h 159"/>
                <a:gd name="T26" fmla="*/ 427 w 485"/>
                <a:gd name="T27" fmla="*/ 33 h 159"/>
                <a:gd name="T28" fmla="*/ 458 w 485"/>
                <a:gd name="T29" fmla="*/ 18 h 159"/>
                <a:gd name="T30" fmla="*/ 478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7 h 159"/>
                <a:gd name="T42" fmla="*/ 477 w 485"/>
                <a:gd name="T43" fmla="*/ 78 h 159"/>
                <a:gd name="T44" fmla="*/ 469 w 485"/>
                <a:gd name="T45" fmla="*/ 89 h 159"/>
                <a:gd name="T46" fmla="*/ 459 w 485"/>
                <a:gd name="T47" fmla="*/ 100 h 159"/>
                <a:gd name="T48" fmla="*/ 456 w 485"/>
                <a:gd name="T49" fmla="*/ 102 h 159"/>
                <a:gd name="T50" fmla="*/ 438 w 485"/>
                <a:gd name="T51" fmla="*/ 113 h 159"/>
                <a:gd name="T52" fmla="*/ 413 w 485"/>
                <a:gd name="T53" fmla="*/ 127 h 159"/>
                <a:gd name="T54" fmla="*/ 385 w 485"/>
                <a:gd name="T55" fmla="*/ 138 h 159"/>
                <a:gd name="T56" fmla="*/ 354 w 485"/>
                <a:gd name="T57" fmla="*/ 146 h 159"/>
                <a:gd name="T58" fmla="*/ 320 w 485"/>
                <a:gd name="T59" fmla="*/ 154 h 159"/>
                <a:gd name="T60" fmla="*/ 283 w 485"/>
                <a:gd name="T61" fmla="*/ 158 h 159"/>
                <a:gd name="T62" fmla="*/ 243 w 485"/>
                <a:gd name="T63" fmla="*/ 159 h 159"/>
                <a:gd name="T64" fmla="*/ 202 w 485"/>
                <a:gd name="T65" fmla="*/ 158 h 159"/>
                <a:gd name="T66" fmla="*/ 165 w 485"/>
                <a:gd name="T67" fmla="*/ 154 h 159"/>
                <a:gd name="T68" fmla="*/ 131 w 485"/>
                <a:gd name="T69" fmla="*/ 146 h 159"/>
                <a:gd name="T70" fmla="*/ 100 w 485"/>
                <a:gd name="T71" fmla="*/ 138 h 159"/>
                <a:gd name="T72" fmla="*/ 73 w 485"/>
                <a:gd name="T73" fmla="*/ 127 h 159"/>
                <a:gd name="T74" fmla="*/ 46 w 485"/>
                <a:gd name="T75" fmla="*/ 113 h 159"/>
                <a:gd name="T76" fmla="*/ 30 w 485"/>
                <a:gd name="T77" fmla="*/ 102 h 159"/>
                <a:gd name="T78" fmla="*/ 26 w 485"/>
                <a:gd name="T79" fmla="*/ 100 h 159"/>
                <a:gd name="T80" fmla="*/ 16 w 485"/>
                <a:gd name="T81" fmla="*/ 89 h 159"/>
                <a:gd name="T82" fmla="*/ 8 w 485"/>
                <a:gd name="T83" fmla="*/ 78 h 159"/>
                <a:gd name="T84" fmla="*/ 3 w 485"/>
                <a:gd name="T85" fmla="*/ 67 h 159"/>
                <a:gd name="T86" fmla="*/ 1 w 485"/>
                <a:gd name="T87" fmla="*/ 55 h 159"/>
                <a:gd name="T88" fmla="*/ 1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3" y="45"/>
                  </a:lnTo>
                  <a:lnTo>
                    <a:pt x="131" y="55"/>
                  </a:lnTo>
                  <a:lnTo>
                    <a:pt x="146" y="58"/>
                  </a:lnTo>
                  <a:lnTo>
                    <a:pt x="193" y="64"/>
                  </a:lnTo>
                  <a:lnTo>
                    <a:pt x="243" y="67"/>
                  </a:lnTo>
                  <a:lnTo>
                    <a:pt x="293" y="64"/>
                  </a:lnTo>
                  <a:lnTo>
                    <a:pt x="339" y="58"/>
                  </a:lnTo>
                  <a:lnTo>
                    <a:pt x="354" y="55"/>
                  </a:lnTo>
                  <a:lnTo>
                    <a:pt x="392" y="45"/>
                  </a:lnTo>
                  <a:lnTo>
                    <a:pt x="427" y="33"/>
                  </a:lnTo>
                  <a:lnTo>
                    <a:pt x="458" y="18"/>
                  </a:lnTo>
                  <a:lnTo>
                    <a:pt x="478" y="5"/>
                  </a:lnTo>
                  <a:lnTo>
                    <a:pt x="485" y="0"/>
                  </a:lnTo>
                  <a:lnTo>
                    <a:pt x="485" y="54"/>
                  </a:lnTo>
                  <a:lnTo>
                    <a:pt x="485" y="55"/>
                  </a:lnTo>
                  <a:lnTo>
                    <a:pt x="485" y="55"/>
                  </a:lnTo>
                  <a:lnTo>
                    <a:pt x="483" y="67"/>
                  </a:lnTo>
                  <a:lnTo>
                    <a:pt x="477" y="78"/>
                  </a:lnTo>
                  <a:lnTo>
                    <a:pt x="469" y="89"/>
                  </a:lnTo>
                  <a:lnTo>
                    <a:pt x="459" y="100"/>
                  </a:lnTo>
                  <a:lnTo>
                    <a:pt x="456" y="102"/>
                  </a:lnTo>
                  <a:lnTo>
                    <a:pt x="438" y="113"/>
                  </a:lnTo>
                  <a:lnTo>
                    <a:pt x="413" y="127"/>
                  </a:lnTo>
                  <a:lnTo>
                    <a:pt x="385" y="138"/>
                  </a:lnTo>
                  <a:lnTo>
                    <a:pt x="354" y="146"/>
                  </a:lnTo>
                  <a:lnTo>
                    <a:pt x="320" y="154"/>
                  </a:lnTo>
                  <a:lnTo>
                    <a:pt x="283" y="158"/>
                  </a:lnTo>
                  <a:lnTo>
                    <a:pt x="243" y="159"/>
                  </a:lnTo>
                  <a:lnTo>
                    <a:pt x="202" y="158"/>
                  </a:lnTo>
                  <a:lnTo>
                    <a:pt x="165" y="154"/>
                  </a:lnTo>
                  <a:lnTo>
                    <a:pt x="131" y="146"/>
                  </a:lnTo>
                  <a:lnTo>
                    <a:pt x="100" y="138"/>
                  </a:lnTo>
                  <a:lnTo>
                    <a:pt x="73" y="127"/>
                  </a:lnTo>
                  <a:lnTo>
                    <a:pt x="46" y="113"/>
                  </a:lnTo>
                  <a:lnTo>
                    <a:pt x="30" y="102"/>
                  </a:lnTo>
                  <a:lnTo>
                    <a:pt x="26" y="100"/>
                  </a:lnTo>
                  <a:lnTo>
                    <a:pt x="16" y="89"/>
                  </a:lnTo>
                  <a:lnTo>
                    <a:pt x="8" y="78"/>
                  </a:lnTo>
                  <a:lnTo>
                    <a:pt x="3" y="67"/>
                  </a:lnTo>
                  <a:lnTo>
                    <a:pt x="1" y="55"/>
                  </a:lnTo>
                  <a:lnTo>
                    <a:pt x="1" y="55"/>
                  </a:lnTo>
                  <a:lnTo>
                    <a:pt x="0" y="54"/>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34">
              <a:extLst>
                <a:ext uri="{FF2B5EF4-FFF2-40B4-BE49-F238E27FC236}">
                  <a16:creationId xmlns:a16="http://schemas.microsoft.com/office/drawing/2014/main" id="{5FAE7070-3934-C44B-B769-2FB88C82FB56}"/>
                </a:ext>
              </a:extLst>
            </p:cNvPr>
            <p:cNvSpPr>
              <a:spLocks/>
            </p:cNvSpPr>
            <p:nvPr/>
          </p:nvSpPr>
          <p:spPr bwMode="auto">
            <a:xfrm>
              <a:off x="3932318" y="3564260"/>
              <a:ext cx="384175" cy="127000"/>
            </a:xfrm>
            <a:custGeom>
              <a:avLst/>
              <a:gdLst>
                <a:gd name="T0" fmla="*/ 0 w 485"/>
                <a:gd name="T1" fmla="*/ 0 h 160"/>
                <a:gd name="T2" fmla="*/ 8 w 485"/>
                <a:gd name="T3" fmla="*/ 5 h 160"/>
                <a:gd name="T4" fmla="*/ 28 w 485"/>
                <a:gd name="T5" fmla="*/ 19 h 160"/>
                <a:gd name="T6" fmla="*/ 59 w 485"/>
                <a:gd name="T7" fmla="*/ 33 h 160"/>
                <a:gd name="T8" fmla="*/ 93 w 485"/>
                <a:gd name="T9" fmla="*/ 46 h 160"/>
                <a:gd name="T10" fmla="*/ 131 w 485"/>
                <a:gd name="T11" fmla="*/ 56 h 160"/>
                <a:gd name="T12" fmla="*/ 146 w 485"/>
                <a:gd name="T13" fmla="*/ 59 h 160"/>
                <a:gd name="T14" fmla="*/ 193 w 485"/>
                <a:gd name="T15" fmla="*/ 64 h 160"/>
                <a:gd name="T16" fmla="*/ 243 w 485"/>
                <a:gd name="T17" fmla="*/ 66 h 160"/>
                <a:gd name="T18" fmla="*/ 293 w 485"/>
                <a:gd name="T19" fmla="*/ 64 h 160"/>
                <a:gd name="T20" fmla="*/ 340 w 485"/>
                <a:gd name="T21" fmla="*/ 59 h 160"/>
                <a:gd name="T22" fmla="*/ 355 w 485"/>
                <a:gd name="T23" fmla="*/ 56 h 160"/>
                <a:gd name="T24" fmla="*/ 393 w 485"/>
                <a:gd name="T25" fmla="*/ 46 h 160"/>
                <a:gd name="T26" fmla="*/ 428 w 485"/>
                <a:gd name="T27" fmla="*/ 33 h 160"/>
                <a:gd name="T28" fmla="*/ 458 w 485"/>
                <a:gd name="T29" fmla="*/ 19 h 160"/>
                <a:gd name="T30" fmla="*/ 479 w 485"/>
                <a:gd name="T31" fmla="*/ 5 h 160"/>
                <a:gd name="T32" fmla="*/ 485 w 485"/>
                <a:gd name="T33" fmla="*/ 0 h 160"/>
                <a:gd name="T34" fmla="*/ 485 w 485"/>
                <a:gd name="T35" fmla="*/ 54 h 160"/>
                <a:gd name="T36" fmla="*/ 485 w 485"/>
                <a:gd name="T37" fmla="*/ 56 h 160"/>
                <a:gd name="T38" fmla="*/ 485 w 485"/>
                <a:gd name="T39" fmla="*/ 56 h 160"/>
                <a:gd name="T40" fmla="*/ 483 w 485"/>
                <a:gd name="T41" fmla="*/ 67 h 160"/>
                <a:gd name="T42" fmla="*/ 478 w 485"/>
                <a:gd name="T43" fmla="*/ 79 h 160"/>
                <a:gd name="T44" fmla="*/ 469 w 485"/>
                <a:gd name="T45" fmla="*/ 90 h 160"/>
                <a:gd name="T46" fmla="*/ 460 w 485"/>
                <a:gd name="T47" fmla="*/ 99 h 160"/>
                <a:gd name="T48" fmla="*/ 457 w 485"/>
                <a:gd name="T49" fmla="*/ 101 h 160"/>
                <a:gd name="T50" fmla="*/ 438 w 485"/>
                <a:gd name="T51" fmla="*/ 114 h 160"/>
                <a:gd name="T52" fmla="*/ 413 w 485"/>
                <a:gd name="T53" fmla="*/ 128 h 160"/>
                <a:gd name="T54" fmla="*/ 385 w 485"/>
                <a:gd name="T55" fmla="*/ 139 h 160"/>
                <a:gd name="T56" fmla="*/ 355 w 485"/>
                <a:gd name="T57" fmla="*/ 147 h 160"/>
                <a:gd name="T58" fmla="*/ 321 w 485"/>
                <a:gd name="T59" fmla="*/ 153 h 160"/>
                <a:gd name="T60" fmla="*/ 282 w 485"/>
                <a:gd name="T61" fmla="*/ 158 h 160"/>
                <a:gd name="T62" fmla="*/ 243 w 485"/>
                <a:gd name="T63" fmla="*/ 160 h 160"/>
                <a:gd name="T64" fmla="*/ 203 w 485"/>
                <a:gd name="T65" fmla="*/ 158 h 160"/>
                <a:gd name="T66" fmla="*/ 166 w 485"/>
                <a:gd name="T67" fmla="*/ 153 h 160"/>
                <a:gd name="T68" fmla="*/ 131 w 485"/>
                <a:gd name="T69" fmla="*/ 147 h 160"/>
                <a:gd name="T70" fmla="*/ 100 w 485"/>
                <a:gd name="T71" fmla="*/ 139 h 160"/>
                <a:gd name="T72" fmla="*/ 72 w 485"/>
                <a:gd name="T73" fmla="*/ 128 h 160"/>
                <a:gd name="T74" fmla="*/ 47 w 485"/>
                <a:gd name="T75" fmla="*/ 114 h 160"/>
                <a:gd name="T76" fmla="*/ 30 w 485"/>
                <a:gd name="T77" fmla="*/ 101 h 160"/>
                <a:gd name="T78" fmla="*/ 27 w 485"/>
                <a:gd name="T79" fmla="*/ 99 h 160"/>
                <a:gd name="T80" fmla="*/ 16 w 485"/>
                <a:gd name="T81" fmla="*/ 90 h 160"/>
                <a:gd name="T82" fmla="*/ 9 w 485"/>
                <a:gd name="T83" fmla="*/ 79 h 160"/>
                <a:gd name="T84" fmla="*/ 3 w 485"/>
                <a:gd name="T85" fmla="*/ 67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8" y="5"/>
                  </a:lnTo>
                  <a:lnTo>
                    <a:pt x="28" y="19"/>
                  </a:lnTo>
                  <a:lnTo>
                    <a:pt x="59" y="33"/>
                  </a:lnTo>
                  <a:lnTo>
                    <a:pt x="93" y="46"/>
                  </a:lnTo>
                  <a:lnTo>
                    <a:pt x="131" y="56"/>
                  </a:lnTo>
                  <a:lnTo>
                    <a:pt x="146" y="59"/>
                  </a:lnTo>
                  <a:lnTo>
                    <a:pt x="193" y="64"/>
                  </a:lnTo>
                  <a:lnTo>
                    <a:pt x="243" y="66"/>
                  </a:lnTo>
                  <a:lnTo>
                    <a:pt x="293" y="64"/>
                  </a:lnTo>
                  <a:lnTo>
                    <a:pt x="340" y="59"/>
                  </a:lnTo>
                  <a:lnTo>
                    <a:pt x="355" y="56"/>
                  </a:lnTo>
                  <a:lnTo>
                    <a:pt x="393" y="46"/>
                  </a:lnTo>
                  <a:lnTo>
                    <a:pt x="428" y="33"/>
                  </a:lnTo>
                  <a:lnTo>
                    <a:pt x="458" y="19"/>
                  </a:lnTo>
                  <a:lnTo>
                    <a:pt x="479" y="5"/>
                  </a:lnTo>
                  <a:lnTo>
                    <a:pt x="485" y="0"/>
                  </a:lnTo>
                  <a:lnTo>
                    <a:pt x="485" y="54"/>
                  </a:lnTo>
                  <a:lnTo>
                    <a:pt x="485" y="56"/>
                  </a:lnTo>
                  <a:lnTo>
                    <a:pt x="485" y="56"/>
                  </a:lnTo>
                  <a:lnTo>
                    <a:pt x="483" y="67"/>
                  </a:lnTo>
                  <a:lnTo>
                    <a:pt x="478" y="79"/>
                  </a:lnTo>
                  <a:lnTo>
                    <a:pt x="469" y="90"/>
                  </a:lnTo>
                  <a:lnTo>
                    <a:pt x="460" y="99"/>
                  </a:lnTo>
                  <a:lnTo>
                    <a:pt x="457" y="101"/>
                  </a:lnTo>
                  <a:lnTo>
                    <a:pt x="438" y="114"/>
                  </a:lnTo>
                  <a:lnTo>
                    <a:pt x="413" y="128"/>
                  </a:lnTo>
                  <a:lnTo>
                    <a:pt x="385" y="139"/>
                  </a:lnTo>
                  <a:lnTo>
                    <a:pt x="355" y="147"/>
                  </a:lnTo>
                  <a:lnTo>
                    <a:pt x="321" y="153"/>
                  </a:lnTo>
                  <a:lnTo>
                    <a:pt x="282" y="158"/>
                  </a:lnTo>
                  <a:lnTo>
                    <a:pt x="243" y="160"/>
                  </a:lnTo>
                  <a:lnTo>
                    <a:pt x="203" y="158"/>
                  </a:lnTo>
                  <a:lnTo>
                    <a:pt x="166" y="153"/>
                  </a:lnTo>
                  <a:lnTo>
                    <a:pt x="131" y="147"/>
                  </a:lnTo>
                  <a:lnTo>
                    <a:pt x="100" y="139"/>
                  </a:lnTo>
                  <a:lnTo>
                    <a:pt x="72" y="128"/>
                  </a:lnTo>
                  <a:lnTo>
                    <a:pt x="47" y="114"/>
                  </a:lnTo>
                  <a:lnTo>
                    <a:pt x="30" y="101"/>
                  </a:lnTo>
                  <a:lnTo>
                    <a:pt x="27" y="99"/>
                  </a:lnTo>
                  <a:lnTo>
                    <a:pt x="16" y="90"/>
                  </a:lnTo>
                  <a:lnTo>
                    <a:pt x="9" y="79"/>
                  </a:lnTo>
                  <a:lnTo>
                    <a:pt x="3" y="67"/>
                  </a:lnTo>
                  <a:lnTo>
                    <a:pt x="0" y="56"/>
                  </a:lnTo>
                  <a:lnTo>
                    <a:pt x="0" y="56"/>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35">
              <a:extLst>
                <a:ext uri="{FF2B5EF4-FFF2-40B4-BE49-F238E27FC236}">
                  <a16:creationId xmlns:a16="http://schemas.microsoft.com/office/drawing/2014/main" id="{C85651A9-D4A5-8448-BB72-739A5F9FF1B4}"/>
                </a:ext>
              </a:extLst>
            </p:cNvPr>
            <p:cNvSpPr>
              <a:spLocks/>
            </p:cNvSpPr>
            <p:nvPr/>
          </p:nvSpPr>
          <p:spPr bwMode="auto">
            <a:xfrm>
              <a:off x="3930730" y="3416622"/>
              <a:ext cx="387350" cy="163512"/>
            </a:xfrm>
            <a:custGeom>
              <a:avLst/>
              <a:gdLst>
                <a:gd name="T0" fmla="*/ 244 w 487"/>
                <a:gd name="T1" fmla="*/ 0 h 207"/>
                <a:gd name="T2" fmla="*/ 292 w 487"/>
                <a:gd name="T3" fmla="*/ 2 h 207"/>
                <a:gd name="T4" fmla="*/ 337 w 487"/>
                <a:gd name="T5" fmla="*/ 8 h 207"/>
                <a:gd name="T6" fmla="*/ 377 w 487"/>
                <a:gd name="T7" fmla="*/ 18 h 207"/>
                <a:gd name="T8" fmla="*/ 411 w 487"/>
                <a:gd name="T9" fmla="*/ 29 h 207"/>
                <a:gd name="T10" fmla="*/ 441 w 487"/>
                <a:gd name="T11" fmla="*/ 44 h 207"/>
                <a:gd name="T12" fmla="*/ 463 w 487"/>
                <a:gd name="T13" fmla="*/ 60 h 207"/>
                <a:gd name="T14" fmla="*/ 478 w 487"/>
                <a:gd name="T15" fmla="*/ 77 h 207"/>
                <a:gd name="T16" fmla="*/ 486 w 487"/>
                <a:gd name="T17" fmla="*/ 94 h 207"/>
                <a:gd name="T18" fmla="*/ 487 w 487"/>
                <a:gd name="T19" fmla="*/ 98 h 207"/>
                <a:gd name="T20" fmla="*/ 487 w 487"/>
                <a:gd name="T21" fmla="*/ 103 h 207"/>
                <a:gd name="T22" fmla="*/ 486 w 487"/>
                <a:gd name="T23" fmla="*/ 110 h 207"/>
                <a:gd name="T24" fmla="*/ 484 w 487"/>
                <a:gd name="T25" fmla="*/ 117 h 207"/>
                <a:gd name="T26" fmla="*/ 478 w 487"/>
                <a:gd name="T27" fmla="*/ 129 h 207"/>
                <a:gd name="T28" fmla="*/ 469 w 487"/>
                <a:gd name="T29" fmla="*/ 141 h 207"/>
                <a:gd name="T30" fmla="*/ 464 w 487"/>
                <a:gd name="T31" fmla="*/ 145 h 207"/>
                <a:gd name="T32" fmla="*/ 459 w 487"/>
                <a:gd name="T33" fmla="*/ 149 h 207"/>
                <a:gd name="T34" fmla="*/ 437 w 487"/>
                <a:gd name="T35" fmla="*/ 164 h 207"/>
                <a:gd name="T36" fmla="*/ 411 w 487"/>
                <a:gd name="T37" fmla="*/ 177 h 207"/>
                <a:gd name="T38" fmla="*/ 376 w 487"/>
                <a:gd name="T39" fmla="*/ 189 h 207"/>
                <a:gd name="T40" fmla="*/ 337 w 487"/>
                <a:gd name="T41" fmla="*/ 198 h 207"/>
                <a:gd name="T42" fmla="*/ 292 w 487"/>
                <a:gd name="T43" fmla="*/ 205 h 207"/>
                <a:gd name="T44" fmla="*/ 244 w 487"/>
                <a:gd name="T45" fmla="*/ 207 h 207"/>
                <a:gd name="T46" fmla="*/ 195 w 487"/>
                <a:gd name="T47" fmla="*/ 205 h 207"/>
                <a:gd name="T48" fmla="*/ 151 w 487"/>
                <a:gd name="T49" fmla="*/ 198 h 207"/>
                <a:gd name="T50" fmla="*/ 112 w 487"/>
                <a:gd name="T51" fmla="*/ 189 h 207"/>
                <a:gd name="T52" fmla="*/ 78 w 487"/>
                <a:gd name="T53" fmla="*/ 177 h 207"/>
                <a:gd name="T54" fmla="*/ 50 w 487"/>
                <a:gd name="T55" fmla="*/ 164 h 207"/>
                <a:gd name="T56" fmla="*/ 29 w 487"/>
                <a:gd name="T57" fmla="*/ 149 h 207"/>
                <a:gd name="T58" fmla="*/ 23 w 487"/>
                <a:gd name="T59" fmla="*/ 145 h 207"/>
                <a:gd name="T60" fmla="*/ 19 w 487"/>
                <a:gd name="T61" fmla="*/ 141 h 207"/>
                <a:gd name="T62" fmla="*/ 10 w 487"/>
                <a:gd name="T63" fmla="*/ 129 h 207"/>
                <a:gd name="T64" fmla="*/ 3 w 487"/>
                <a:gd name="T65" fmla="*/ 117 h 207"/>
                <a:gd name="T66" fmla="*/ 1 w 487"/>
                <a:gd name="T67" fmla="*/ 110 h 207"/>
                <a:gd name="T68" fmla="*/ 0 w 487"/>
                <a:gd name="T69" fmla="*/ 103 h 207"/>
                <a:gd name="T70" fmla="*/ 1 w 487"/>
                <a:gd name="T71" fmla="*/ 98 h 207"/>
                <a:gd name="T72" fmla="*/ 1 w 487"/>
                <a:gd name="T73" fmla="*/ 94 h 207"/>
                <a:gd name="T74" fmla="*/ 10 w 487"/>
                <a:gd name="T75" fmla="*/ 77 h 207"/>
                <a:gd name="T76" fmla="*/ 26 w 487"/>
                <a:gd name="T77" fmla="*/ 60 h 207"/>
                <a:gd name="T78" fmla="*/ 48 w 487"/>
                <a:gd name="T79" fmla="*/ 44 h 207"/>
                <a:gd name="T80" fmla="*/ 77 w 487"/>
                <a:gd name="T81" fmla="*/ 29 h 207"/>
                <a:gd name="T82" fmla="*/ 111 w 487"/>
                <a:gd name="T83" fmla="*/ 18 h 207"/>
                <a:gd name="T84" fmla="*/ 151 w 487"/>
                <a:gd name="T85" fmla="*/ 8 h 207"/>
                <a:gd name="T86" fmla="*/ 195 w 487"/>
                <a:gd name="T87" fmla="*/ 2 h 207"/>
                <a:gd name="T88" fmla="*/ 244 w 487"/>
                <a:gd name="T89"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7" h="207">
                  <a:moveTo>
                    <a:pt x="244" y="0"/>
                  </a:moveTo>
                  <a:lnTo>
                    <a:pt x="292" y="2"/>
                  </a:lnTo>
                  <a:lnTo>
                    <a:pt x="337" y="8"/>
                  </a:lnTo>
                  <a:lnTo>
                    <a:pt x="377" y="18"/>
                  </a:lnTo>
                  <a:lnTo>
                    <a:pt x="411" y="29"/>
                  </a:lnTo>
                  <a:lnTo>
                    <a:pt x="441" y="44"/>
                  </a:lnTo>
                  <a:lnTo>
                    <a:pt x="463" y="60"/>
                  </a:lnTo>
                  <a:lnTo>
                    <a:pt x="478" y="77"/>
                  </a:lnTo>
                  <a:lnTo>
                    <a:pt x="486" y="94"/>
                  </a:lnTo>
                  <a:lnTo>
                    <a:pt x="487" y="98"/>
                  </a:lnTo>
                  <a:lnTo>
                    <a:pt x="487" y="103"/>
                  </a:lnTo>
                  <a:lnTo>
                    <a:pt x="486" y="110"/>
                  </a:lnTo>
                  <a:lnTo>
                    <a:pt x="484" y="117"/>
                  </a:lnTo>
                  <a:lnTo>
                    <a:pt x="478" y="129"/>
                  </a:lnTo>
                  <a:lnTo>
                    <a:pt x="469" y="141"/>
                  </a:lnTo>
                  <a:lnTo>
                    <a:pt x="464" y="145"/>
                  </a:lnTo>
                  <a:lnTo>
                    <a:pt x="459" y="149"/>
                  </a:lnTo>
                  <a:lnTo>
                    <a:pt x="437" y="164"/>
                  </a:lnTo>
                  <a:lnTo>
                    <a:pt x="411" y="177"/>
                  </a:lnTo>
                  <a:lnTo>
                    <a:pt x="376" y="189"/>
                  </a:lnTo>
                  <a:lnTo>
                    <a:pt x="337" y="198"/>
                  </a:lnTo>
                  <a:lnTo>
                    <a:pt x="292" y="205"/>
                  </a:lnTo>
                  <a:lnTo>
                    <a:pt x="244" y="207"/>
                  </a:lnTo>
                  <a:lnTo>
                    <a:pt x="195" y="205"/>
                  </a:lnTo>
                  <a:lnTo>
                    <a:pt x="151" y="198"/>
                  </a:lnTo>
                  <a:lnTo>
                    <a:pt x="112" y="189"/>
                  </a:lnTo>
                  <a:lnTo>
                    <a:pt x="78" y="177"/>
                  </a:lnTo>
                  <a:lnTo>
                    <a:pt x="50" y="164"/>
                  </a:lnTo>
                  <a:lnTo>
                    <a:pt x="29" y="149"/>
                  </a:lnTo>
                  <a:lnTo>
                    <a:pt x="23" y="145"/>
                  </a:lnTo>
                  <a:lnTo>
                    <a:pt x="19" y="141"/>
                  </a:lnTo>
                  <a:lnTo>
                    <a:pt x="10" y="129"/>
                  </a:lnTo>
                  <a:lnTo>
                    <a:pt x="3" y="117"/>
                  </a:lnTo>
                  <a:lnTo>
                    <a:pt x="1" y="110"/>
                  </a:lnTo>
                  <a:lnTo>
                    <a:pt x="0" y="103"/>
                  </a:lnTo>
                  <a:lnTo>
                    <a:pt x="1" y="98"/>
                  </a:lnTo>
                  <a:lnTo>
                    <a:pt x="1" y="94"/>
                  </a:lnTo>
                  <a:lnTo>
                    <a:pt x="10" y="77"/>
                  </a:lnTo>
                  <a:lnTo>
                    <a:pt x="26" y="60"/>
                  </a:lnTo>
                  <a:lnTo>
                    <a:pt x="48" y="44"/>
                  </a:lnTo>
                  <a:lnTo>
                    <a:pt x="77" y="29"/>
                  </a:lnTo>
                  <a:lnTo>
                    <a:pt x="111" y="18"/>
                  </a:lnTo>
                  <a:lnTo>
                    <a:pt x="151" y="8"/>
                  </a:lnTo>
                  <a:lnTo>
                    <a:pt x="195" y="2"/>
                  </a:lnTo>
                  <a:lnTo>
                    <a:pt x="244"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36">
              <a:extLst>
                <a:ext uri="{FF2B5EF4-FFF2-40B4-BE49-F238E27FC236}">
                  <a16:creationId xmlns:a16="http://schemas.microsoft.com/office/drawing/2014/main" id="{2D05F26F-A663-2645-97BB-E7B34EFA2EE1}"/>
                </a:ext>
              </a:extLst>
            </p:cNvPr>
            <p:cNvSpPr>
              <a:spLocks/>
            </p:cNvSpPr>
            <p:nvPr/>
          </p:nvSpPr>
          <p:spPr bwMode="auto">
            <a:xfrm>
              <a:off x="3932318" y="3673797"/>
              <a:ext cx="384175" cy="125412"/>
            </a:xfrm>
            <a:custGeom>
              <a:avLst/>
              <a:gdLst>
                <a:gd name="T0" fmla="*/ 0 w 485"/>
                <a:gd name="T1" fmla="*/ 0 h 160"/>
                <a:gd name="T2" fmla="*/ 8 w 485"/>
                <a:gd name="T3" fmla="*/ 6 h 160"/>
                <a:gd name="T4" fmla="*/ 28 w 485"/>
                <a:gd name="T5" fmla="*/ 19 h 160"/>
                <a:gd name="T6" fmla="*/ 59 w 485"/>
                <a:gd name="T7" fmla="*/ 33 h 160"/>
                <a:gd name="T8" fmla="*/ 93 w 485"/>
                <a:gd name="T9" fmla="*/ 46 h 160"/>
                <a:gd name="T10" fmla="*/ 131 w 485"/>
                <a:gd name="T11" fmla="*/ 56 h 160"/>
                <a:gd name="T12" fmla="*/ 146 w 485"/>
                <a:gd name="T13" fmla="*/ 59 h 160"/>
                <a:gd name="T14" fmla="*/ 193 w 485"/>
                <a:gd name="T15" fmla="*/ 64 h 160"/>
                <a:gd name="T16" fmla="*/ 243 w 485"/>
                <a:gd name="T17" fmla="*/ 66 h 160"/>
                <a:gd name="T18" fmla="*/ 293 w 485"/>
                <a:gd name="T19" fmla="*/ 64 h 160"/>
                <a:gd name="T20" fmla="*/ 340 w 485"/>
                <a:gd name="T21" fmla="*/ 59 h 160"/>
                <a:gd name="T22" fmla="*/ 355 w 485"/>
                <a:gd name="T23" fmla="*/ 56 h 160"/>
                <a:gd name="T24" fmla="*/ 393 w 485"/>
                <a:gd name="T25" fmla="*/ 46 h 160"/>
                <a:gd name="T26" fmla="*/ 428 w 485"/>
                <a:gd name="T27" fmla="*/ 33 h 160"/>
                <a:gd name="T28" fmla="*/ 458 w 485"/>
                <a:gd name="T29" fmla="*/ 19 h 160"/>
                <a:gd name="T30" fmla="*/ 479 w 485"/>
                <a:gd name="T31" fmla="*/ 6 h 160"/>
                <a:gd name="T32" fmla="*/ 485 w 485"/>
                <a:gd name="T33" fmla="*/ 0 h 160"/>
                <a:gd name="T34" fmla="*/ 485 w 485"/>
                <a:gd name="T35" fmla="*/ 54 h 160"/>
                <a:gd name="T36" fmla="*/ 485 w 485"/>
                <a:gd name="T37" fmla="*/ 56 h 160"/>
                <a:gd name="T38" fmla="*/ 485 w 485"/>
                <a:gd name="T39" fmla="*/ 56 h 160"/>
                <a:gd name="T40" fmla="*/ 483 w 485"/>
                <a:gd name="T41" fmla="*/ 67 h 160"/>
                <a:gd name="T42" fmla="*/ 478 w 485"/>
                <a:gd name="T43" fmla="*/ 79 h 160"/>
                <a:gd name="T44" fmla="*/ 469 w 485"/>
                <a:gd name="T45" fmla="*/ 90 h 160"/>
                <a:gd name="T46" fmla="*/ 460 w 485"/>
                <a:gd name="T47" fmla="*/ 99 h 160"/>
                <a:gd name="T48" fmla="*/ 457 w 485"/>
                <a:gd name="T49" fmla="*/ 102 h 160"/>
                <a:gd name="T50" fmla="*/ 438 w 485"/>
                <a:gd name="T51" fmla="*/ 114 h 160"/>
                <a:gd name="T52" fmla="*/ 413 w 485"/>
                <a:gd name="T53" fmla="*/ 128 h 160"/>
                <a:gd name="T54" fmla="*/ 385 w 485"/>
                <a:gd name="T55" fmla="*/ 139 h 160"/>
                <a:gd name="T56" fmla="*/ 355 w 485"/>
                <a:gd name="T57" fmla="*/ 147 h 160"/>
                <a:gd name="T58" fmla="*/ 321 w 485"/>
                <a:gd name="T59" fmla="*/ 153 h 160"/>
                <a:gd name="T60" fmla="*/ 282 w 485"/>
                <a:gd name="T61" fmla="*/ 158 h 160"/>
                <a:gd name="T62" fmla="*/ 243 w 485"/>
                <a:gd name="T63" fmla="*/ 160 h 160"/>
                <a:gd name="T64" fmla="*/ 203 w 485"/>
                <a:gd name="T65" fmla="*/ 158 h 160"/>
                <a:gd name="T66" fmla="*/ 166 w 485"/>
                <a:gd name="T67" fmla="*/ 153 h 160"/>
                <a:gd name="T68" fmla="*/ 131 w 485"/>
                <a:gd name="T69" fmla="*/ 147 h 160"/>
                <a:gd name="T70" fmla="*/ 100 w 485"/>
                <a:gd name="T71" fmla="*/ 139 h 160"/>
                <a:gd name="T72" fmla="*/ 72 w 485"/>
                <a:gd name="T73" fmla="*/ 128 h 160"/>
                <a:gd name="T74" fmla="*/ 47 w 485"/>
                <a:gd name="T75" fmla="*/ 114 h 160"/>
                <a:gd name="T76" fmla="*/ 30 w 485"/>
                <a:gd name="T77" fmla="*/ 102 h 160"/>
                <a:gd name="T78" fmla="*/ 27 w 485"/>
                <a:gd name="T79" fmla="*/ 99 h 160"/>
                <a:gd name="T80" fmla="*/ 16 w 485"/>
                <a:gd name="T81" fmla="*/ 90 h 160"/>
                <a:gd name="T82" fmla="*/ 9 w 485"/>
                <a:gd name="T83" fmla="*/ 79 h 160"/>
                <a:gd name="T84" fmla="*/ 3 w 485"/>
                <a:gd name="T85" fmla="*/ 67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8" y="6"/>
                  </a:lnTo>
                  <a:lnTo>
                    <a:pt x="28" y="19"/>
                  </a:lnTo>
                  <a:lnTo>
                    <a:pt x="59" y="33"/>
                  </a:lnTo>
                  <a:lnTo>
                    <a:pt x="93" y="46"/>
                  </a:lnTo>
                  <a:lnTo>
                    <a:pt x="131" y="56"/>
                  </a:lnTo>
                  <a:lnTo>
                    <a:pt x="146" y="59"/>
                  </a:lnTo>
                  <a:lnTo>
                    <a:pt x="193" y="64"/>
                  </a:lnTo>
                  <a:lnTo>
                    <a:pt x="243" y="66"/>
                  </a:lnTo>
                  <a:lnTo>
                    <a:pt x="293" y="64"/>
                  </a:lnTo>
                  <a:lnTo>
                    <a:pt x="340" y="59"/>
                  </a:lnTo>
                  <a:lnTo>
                    <a:pt x="355" y="56"/>
                  </a:lnTo>
                  <a:lnTo>
                    <a:pt x="393" y="46"/>
                  </a:lnTo>
                  <a:lnTo>
                    <a:pt x="428" y="33"/>
                  </a:lnTo>
                  <a:lnTo>
                    <a:pt x="458" y="19"/>
                  </a:lnTo>
                  <a:lnTo>
                    <a:pt x="479" y="6"/>
                  </a:lnTo>
                  <a:lnTo>
                    <a:pt x="485" y="0"/>
                  </a:lnTo>
                  <a:lnTo>
                    <a:pt x="485" y="54"/>
                  </a:lnTo>
                  <a:lnTo>
                    <a:pt x="485" y="56"/>
                  </a:lnTo>
                  <a:lnTo>
                    <a:pt x="485" y="56"/>
                  </a:lnTo>
                  <a:lnTo>
                    <a:pt x="483" y="67"/>
                  </a:lnTo>
                  <a:lnTo>
                    <a:pt x="478" y="79"/>
                  </a:lnTo>
                  <a:lnTo>
                    <a:pt x="469" y="90"/>
                  </a:lnTo>
                  <a:lnTo>
                    <a:pt x="460" y="99"/>
                  </a:lnTo>
                  <a:lnTo>
                    <a:pt x="457" y="102"/>
                  </a:lnTo>
                  <a:lnTo>
                    <a:pt x="438" y="114"/>
                  </a:lnTo>
                  <a:lnTo>
                    <a:pt x="413" y="128"/>
                  </a:lnTo>
                  <a:lnTo>
                    <a:pt x="385" y="139"/>
                  </a:lnTo>
                  <a:lnTo>
                    <a:pt x="355" y="147"/>
                  </a:lnTo>
                  <a:lnTo>
                    <a:pt x="321" y="153"/>
                  </a:lnTo>
                  <a:lnTo>
                    <a:pt x="282" y="158"/>
                  </a:lnTo>
                  <a:lnTo>
                    <a:pt x="243" y="160"/>
                  </a:lnTo>
                  <a:lnTo>
                    <a:pt x="203" y="158"/>
                  </a:lnTo>
                  <a:lnTo>
                    <a:pt x="166" y="153"/>
                  </a:lnTo>
                  <a:lnTo>
                    <a:pt x="131" y="147"/>
                  </a:lnTo>
                  <a:lnTo>
                    <a:pt x="100" y="139"/>
                  </a:lnTo>
                  <a:lnTo>
                    <a:pt x="72" y="128"/>
                  </a:lnTo>
                  <a:lnTo>
                    <a:pt x="47" y="114"/>
                  </a:lnTo>
                  <a:lnTo>
                    <a:pt x="30" y="102"/>
                  </a:lnTo>
                  <a:lnTo>
                    <a:pt x="27" y="99"/>
                  </a:lnTo>
                  <a:lnTo>
                    <a:pt x="16" y="90"/>
                  </a:lnTo>
                  <a:lnTo>
                    <a:pt x="9" y="79"/>
                  </a:lnTo>
                  <a:lnTo>
                    <a:pt x="3" y="67"/>
                  </a:lnTo>
                  <a:lnTo>
                    <a:pt x="0" y="56"/>
                  </a:lnTo>
                  <a:lnTo>
                    <a:pt x="0" y="56"/>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37">
              <a:extLst>
                <a:ext uri="{FF2B5EF4-FFF2-40B4-BE49-F238E27FC236}">
                  <a16:creationId xmlns:a16="http://schemas.microsoft.com/office/drawing/2014/main" id="{FFC817FA-D67E-E048-90B3-2B26DEB5AA9F}"/>
                </a:ext>
              </a:extLst>
            </p:cNvPr>
            <p:cNvSpPr>
              <a:spLocks/>
            </p:cNvSpPr>
            <p:nvPr/>
          </p:nvSpPr>
          <p:spPr bwMode="auto">
            <a:xfrm>
              <a:off x="3932318" y="3781747"/>
              <a:ext cx="384175" cy="127000"/>
            </a:xfrm>
            <a:custGeom>
              <a:avLst/>
              <a:gdLst>
                <a:gd name="T0" fmla="*/ 0 w 485"/>
                <a:gd name="T1" fmla="*/ 0 h 159"/>
                <a:gd name="T2" fmla="*/ 8 w 485"/>
                <a:gd name="T3" fmla="*/ 5 h 159"/>
                <a:gd name="T4" fmla="*/ 28 w 485"/>
                <a:gd name="T5" fmla="*/ 18 h 159"/>
                <a:gd name="T6" fmla="*/ 59 w 485"/>
                <a:gd name="T7" fmla="*/ 32 h 159"/>
                <a:gd name="T8" fmla="*/ 93 w 485"/>
                <a:gd name="T9" fmla="*/ 45 h 159"/>
                <a:gd name="T10" fmla="*/ 131 w 485"/>
                <a:gd name="T11" fmla="*/ 55 h 159"/>
                <a:gd name="T12" fmla="*/ 146 w 485"/>
                <a:gd name="T13" fmla="*/ 58 h 159"/>
                <a:gd name="T14" fmla="*/ 193 w 485"/>
                <a:gd name="T15" fmla="*/ 64 h 159"/>
                <a:gd name="T16" fmla="*/ 243 w 485"/>
                <a:gd name="T17" fmla="*/ 66 h 159"/>
                <a:gd name="T18" fmla="*/ 293 w 485"/>
                <a:gd name="T19" fmla="*/ 64 h 159"/>
                <a:gd name="T20" fmla="*/ 340 w 485"/>
                <a:gd name="T21" fmla="*/ 58 h 159"/>
                <a:gd name="T22" fmla="*/ 355 w 485"/>
                <a:gd name="T23" fmla="*/ 55 h 159"/>
                <a:gd name="T24" fmla="*/ 393 w 485"/>
                <a:gd name="T25" fmla="*/ 45 h 159"/>
                <a:gd name="T26" fmla="*/ 428 w 485"/>
                <a:gd name="T27" fmla="*/ 32 h 159"/>
                <a:gd name="T28" fmla="*/ 458 w 485"/>
                <a:gd name="T29" fmla="*/ 18 h 159"/>
                <a:gd name="T30" fmla="*/ 479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6 h 159"/>
                <a:gd name="T42" fmla="*/ 478 w 485"/>
                <a:gd name="T43" fmla="*/ 78 h 159"/>
                <a:gd name="T44" fmla="*/ 469 w 485"/>
                <a:gd name="T45" fmla="*/ 89 h 159"/>
                <a:gd name="T46" fmla="*/ 460 w 485"/>
                <a:gd name="T47" fmla="*/ 98 h 159"/>
                <a:gd name="T48" fmla="*/ 457 w 485"/>
                <a:gd name="T49" fmla="*/ 102 h 159"/>
                <a:gd name="T50" fmla="*/ 438 w 485"/>
                <a:gd name="T51" fmla="*/ 113 h 159"/>
                <a:gd name="T52" fmla="*/ 413 w 485"/>
                <a:gd name="T53" fmla="*/ 127 h 159"/>
                <a:gd name="T54" fmla="*/ 385 w 485"/>
                <a:gd name="T55" fmla="*/ 138 h 159"/>
                <a:gd name="T56" fmla="*/ 355 w 485"/>
                <a:gd name="T57" fmla="*/ 146 h 159"/>
                <a:gd name="T58" fmla="*/ 321 w 485"/>
                <a:gd name="T59" fmla="*/ 152 h 159"/>
                <a:gd name="T60" fmla="*/ 282 w 485"/>
                <a:gd name="T61" fmla="*/ 158 h 159"/>
                <a:gd name="T62" fmla="*/ 243 w 485"/>
                <a:gd name="T63" fmla="*/ 159 h 159"/>
                <a:gd name="T64" fmla="*/ 203 w 485"/>
                <a:gd name="T65" fmla="*/ 158 h 159"/>
                <a:gd name="T66" fmla="*/ 166 w 485"/>
                <a:gd name="T67" fmla="*/ 152 h 159"/>
                <a:gd name="T68" fmla="*/ 131 w 485"/>
                <a:gd name="T69" fmla="*/ 146 h 159"/>
                <a:gd name="T70" fmla="*/ 100 w 485"/>
                <a:gd name="T71" fmla="*/ 138 h 159"/>
                <a:gd name="T72" fmla="*/ 72 w 485"/>
                <a:gd name="T73" fmla="*/ 127 h 159"/>
                <a:gd name="T74" fmla="*/ 47 w 485"/>
                <a:gd name="T75" fmla="*/ 113 h 159"/>
                <a:gd name="T76" fmla="*/ 30 w 485"/>
                <a:gd name="T77" fmla="*/ 102 h 159"/>
                <a:gd name="T78" fmla="*/ 27 w 485"/>
                <a:gd name="T79" fmla="*/ 98 h 159"/>
                <a:gd name="T80" fmla="*/ 16 w 485"/>
                <a:gd name="T81" fmla="*/ 89 h 159"/>
                <a:gd name="T82" fmla="*/ 9 w 485"/>
                <a:gd name="T83" fmla="*/ 78 h 159"/>
                <a:gd name="T84" fmla="*/ 3 w 485"/>
                <a:gd name="T85" fmla="*/ 66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8" y="5"/>
                  </a:lnTo>
                  <a:lnTo>
                    <a:pt x="28" y="18"/>
                  </a:lnTo>
                  <a:lnTo>
                    <a:pt x="59" y="32"/>
                  </a:lnTo>
                  <a:lnTo>
                    <a:pt x="93" y="45"/>
                  </a:lnTo>
                  <a:lnTo>
                    <a:pt x="131" y="55"/>
                  </a:lnTo>
                  <a:lnTo>
                    <a:pt x="146" y="58"/>
                  </a:lnTo>
                  <a:lnTo>
                    <a:pt x="193" y="64"/>
                  </a:lnTo>
                  <a:lnTo>
                    <a:pt x="243" y="66"/>
                  </a:lnTo>
                  <a:lnTo>
                    <a:pt x="293" y="64"/>
                  </a:lnTo>
                  <a:lnTo>
                    <a:pt x="340" y="58"/>
                  </a:lnTo>
                  <a:lnTo>
                    <a:pt x="355" y="55"/>
                  </a:lnTo>
                  <a:lnTo>
                    <a:pt x="393" y="45"/>
                  </a:lnTo>
                  <a:lnTo>
                    <a:pt x="428" y="32"/>
                  </a:lnTo>
                  <a:lnTo>
                    <a:pt x="458" y="18"/>
                  </a:lnTo>
                  <a:lnTo>
                    <a:pt x="479" y="5"/>
                  </a:lnTo>
                  <a:lnTo>
                    <a:pt x="485" y="0"/>
                  </a:lnTo>
                  <a:lnTo>
                    <a:pt x="485" y="54"/>
                  </a:lnTo>
                  <a:lnTo>
                    <a:pt x="485" y="55"/>
                  </a:lnTo>
                  <a:lnTo>
                    <a:pt x="485" y="55"/>
                  </a:lnTo>
                  <a:lnTo>
                    <a:pt x="483" y="66"/>
                  </a:lnTo>
                  <a:lnTo>
                    <a:pt x="478" y="78"/>
                  </a:lnTo>
                  <a:lnTo>
                    <a:pt x="469" y="89"/>
                  </a:lnTo>
                  <a:lnTo>
                    <a:pt x="460" y="98"/>
                  </a:lnTo>
                  <a:lnTo>
                    <a:pt x="457" y="102"/>
                  </a:lnTo>
                  <a:lnTo>
                    <a:pt x="438" y="113"/>
                  </a:lnTo>
                  <a:lnTo>
                    <a:pt x="413" y="127"/>
                  </a:lnTo>
                  <a:lnTo>
                    <a:pt x="385" y="138"/>
                  </a:lnTo>
                  <a:lnTo>
                    <a:pt x="355" y="146"/>
                  </a:lnTo>
                  <a:lnTo>
                    <a:pt x="321" y="152"/>
                  </a:lnTo>
                  <a:lnTo>
                    <a:pt x="282" y="158"/>
                  </a:lnTo>
                  <a:lnTo>
                    <a:pt x="243" y="159"/>
                  </a:lnTo>
                  <a:lnTo>
                    <a:pt x="203" y="158"/>
                  </a:lnTo>
                  <a:lnTo>
                    <a:pt x="166" y="152"/>
                  </a:lnTo>
                  <a:lnTo>
                    <a:pt x="131" y="146"/>
                  </a:lnTo>
                  <a:lnTo>
                    <a:pt x="100" y="138"/>
                  </a:lnTo>
                  <a:lnTo>
                    <a:pt x="72" y="127"/>
                  </a:lnTo>
                  <a:lnTo>
                    <a:pt x="47" y="113"/>
                  </a:lnTo>
                  <a:lnTo>
                    <a:pt x="30" y="102"/>
                  </a:lnTo>
                  <a:lnTo>
                    <a:pt x="27" y="98"/>
                  </a:lnTo>
                  <a:lnTo>
                    <a:pt x="16" y="89"/>
                  </a:lnTo>
                  <a:lnTo>
                    <a:pt x="9" y="78"/>
                  </a:lnTo>
                  <a:lnTo>
                    <a:pt x="3" y="66"/>
                  </a:lnTo>
                  <a:lnTo>
                    <a:pt x="0" y="55"/>
                  </a:lnTo>
                  <a:lnTo>
                    <a:pt x="0" y="55"/>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38">
              <a:extLst>
                <a:ext uri="{FF2B5EF4-FFF2-40B4-BE49-F238E27FC236}">
                  <a16:creationId xmlns:a16="http://schemas.microsoft.com/office/drawing/2014/main" id="{3935E7BF-C4CD-074A-9320-589AB0CD6D16}"/>
                </a:ext>
              </a:extLst>
            </p:cNvPr>
            <p:cNvSpPr>
              <a:spLocks/>
            </p:cNvSpPr>
            <p:nvPr/>
          </p:nvSpPr>
          <p:spPr bwMode="auto">
            <a:xfrm>
              <a:off x="3932318" y="3891285"/>
              <a:ext cx="384175" cy="125412"/>
            </a:xfrm>
            <a:custGeom>
              <a:avLst/>
              <a:gdLst>
                <a:gd name="T0" fmla="*/ 0 w 485"/>
                <a:gd name="T1" fmla="*/ 0 h 159"/>
                <a:gd name="T2" fmla="*/ 8 w 485"/>
                <a:gd name="T3" fmla="*/ 5 h 159"/>
                <a:gd name="T4" fmla="*/ 28 w 485"/>
                <a:gd name="T5" fmla="*/ 18 h 159"/>
                <a:gd name="T6" fmla="*/ 59 w 485"/>
                <a:gd name="T7" fmla="*/ 32 h 159"/>
                <a:gd name="T8" fmla="*/ 93 w 485"/>
                <a:gd name="T9" fmla="*/ 45 h 159"/>
                <a:gd name="T10" fmla="*/ 131 w 485"/>
                <a:gd name="T11" fmla="*/ 55 h 159"/>
                <a:gd name="T12" fmla="*/ 146 w 485"/>
                <a:gd name="T13" fmla="*/ 58 h 159"/>
                <a:gd name="T14" fmla="*/ 193 w 485"/>
                <a:gd name="T15" fmla="*/ 64 h 159"/>
                <a:gd name="T16" fmla="*/ 243 w 485"/>
                <a:gd name="T17" fmla="*/ 66 h 159"/>
                <a:gd name="T18" fmla="*/ 293 w 485"/>
                <a:gd name="T19" fmla="*/ 64 h 159"/>
                <a:gd name="T20" fmla="*/ 340 w 485"/>
                <a:gd name="T21" fmla="*/ 58 h 159"/>
                <a:gd name="T22" fmla="*/ 355 w 485"/>
                <a:gd name="T23" fmla="*/ 55 h 159"/>
                <a:gd name="T24" fmla="*/ 393 w 485"/>
                <a:gd name="T25" fmla="*/ 45 h 159"/>
                <a:gd name="T26" fmla="*/ 428 w 485"/>
                <a:gd name="T27" fmla="*/ 32 h 159"/>
                <a:gd name="T28" fmla="*/ 458 w 485"/>
                <a:gd name="T29" fmla="*/ 18 h 159"/>
                <a:gd name="T30" fmla="*/ 479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6 h 159"/>
                <a:gd name="T42" fmla="*/ 478 w 485"/>
                <a:gd name="T43" fmla="*/ 78 h 159"/>
                <a:gd name="T44" fmla="*/ 469 w 485"/>
                <a:gd name="T45" fmla="*/ 89 h 159"/>
                <a:gd name="T46" fmla="*/ 460 w 485"/>
                <a:gd name="T47" fmla="*/ 98 h 159"/>
                <a:gd name="T48" fmla="*/ 457 w 485"/>
                <a:gd name="T49" fmla="*/ 102 h 159"/>
                <a:gd name="T50" fmla="*/ 438 w 485"/>
                <a:gd name="T51" fmla="*/ 113 h 159"/>
                <a:gd name="T52" fmla="*/ 413 w 485"/>
                <a:gd name="T53" fmla="*/ 127 h 159"/>
                <a:gd name="T54" fmla="*/ 385 w 485"/>
                <a:gd name="T55" fmla="*/ 138 h 159"/>
                <a:gd name="T56" fmla="*/ 355 w 485"/>
                <a:gd name="T57" fmla="*/ 146 h 159"/>
                <a:gd name="T58" fmla="*/ 321 w 485"/>
                <a:gd name="T59" fmla="*/ 154 h 159"/>
                <a:gd name="T60" fmla="*/ 282 w 485"/>
                <a:gd name="T61" fmla="*/ 158 h 159"/>
                <a:gd name="T62" fmla="*/ 243 w 485"/>
                <a:gd name="T63" fmla="*/ 159 h 159"/>
                <a:gd name="T64" fmla="*/ 203 w 485"/>
                <a:gd name="T65" fmla="*/ 158 h 159"/>
                <a:gd name="T66" fmla="*/ 166 w 485"/>
                <a:gd name="T67" fmla="*/ 154 h 159"/>
                <a:gd name="T68" fmla="*/ 131 w 485"/>
                <a:gd name="T69" fmla="*/ 146 h 159"/>
                <a:gd name="T70" fmla="*/ 100 w 485"/>
                <a:gd name="T71" fmla="*/ 138 h 159"/>
                <a:gd name="T72" fmla="*/ 72 w 485"/>
                <a:gd name="T73" fmla="*/ 127 h 159"/>
                <a:gd name="T74" fmla="*/ 47 w 485"/>
                <a:gd name="T75" fmla="*/ 113 h 159"/>
                <a:gd name="T76" fmla="*/ 30 w 485"/>
                <a:gd name="T77" fmla="*/ 102 h 159"/>
                <a:gd name="T78" fmla="*/ 27 w 485"/>
                <a:gd name="T79" fmla="*/ 98 h 159"/>
                <a:gd name="T80" fmla="*/ 16 w 485"/>
                <a:gd name="T81" fmla="*/ 89 h 159"/>
                <a:gd name="T82" fmla="*/ 9 w 485"/>
                <a:gd name="T83" fmla="*/ 78 h 159"/>
                <a:gd name="T84" fmla="*/ 3 w 485"/>
                <a:gd name="T85" fmla="*/ 66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8" y="5"/>
                  </a:lnTo>
                  <a:lnTo>
                    <a:pt x="28" y="18"/>
                  </a:lnTo>
                  <a:lnTo>
                    <a:pt x="59" y="32"/>
                  </a:lnTo>
                  <a:lnTo>
                    <a:pt x="93" y="45"/>
                  </a:lnTo>
                  <a:lnTo>
                    <a:pt x="131" y="55"/>
                  </a:lnTo>
                  <a:lnTo>
                    <a:pt x="146" y="58"/>
                  </a:lnTo>
                  <a:lnTo>
                    <a:pt x="193" y="64"/>
                  </a:lnTo>
                  <a:lnTo>
                    <a:pt x="243" y="66"/>
                  </a:lnTo>
                  <a:lnTo>
                    <a:pt x="293" y="64"/>
                  </a:lnTo>
                  <a:lnTo>
                    <a:pt x="340" y="58"/>
                  </a:lnTo>
                  <a:lnTo>
                    <a:pt x="355" y="55"/>
                  </a:lnTo>
                  <a:lnTo>
                    <a:pt x="393" y="45"/>
                  </a:lnTo>
                  <a:lnTo>
                    <a:pt x="428" y="32"/>
                  </a:lnTo>
                  <a:lnTo>
                    <a:pt x="458" y="18"/>
                  </a:lnTo>
                  <a:lnTo>
                    <a:pt x="479" y="5"/>
                  </a:lnTo>
                  <a:lnTo>
                    <a:pt x="485" y="0"/>
                  </a:lnTo>
                  <a:lnTo>
                    <a:pt x="485" y="54"/>
                  </a:lnTo>
                  <a:lnTo>
                    <a:pt x="485" y="55"/>
                  </a:lnTo>
                  <a:lnTo>
                    <a:pt x="485" y="55"/>
                  </a:lnTo>
                  <a:lnTo>
                    <a:pt x="483" y="66"/>
                  </a:lnTo>
                  <a:lnTo>
                    <a:pt x="478" y="78"/>
                  </a:lnTo>
                  <a:lnTo>
                    <a:pt x="469" y="89"/>
                  </a:lnTo>
                  <a:lnTo>
                    <a:pt x="460" y="98"/>
                  </a:lnTo>
                  <a:lnTo>
                    <a:pt x="457" y="102"/>
                  </a:lnTo>
                  <a:lnTo>
                    <a:pt x="438" y="113"/>
                  </a:lnTo>
                  <a:lnTo>
                    <a:pt x="413" y="127"/>
                  </a:lnTo>
                  <a:lnTo>
                    <a:pt x="385" y="138"/>
                  </a:lnTo>
                  <a:lnTo>
                    <a:pt x="355" y="146"/>
                  </a:lnTo>
                  <a:lnTo>
                    <a:pt x="321" y="154"/>
                  </a:lnTo>
                  <a:lnTo>
                    <a:pt x="282" y="158"/>
                  </a:lnTo>
                  <a:lnTo>
                    <a:pt x="243" y="159"/>
                  </a:lnTo>
                  <a:lnTo>
                    <a:pt x="203" y="158"/>
                  </a:lnTo>
                  <a:lnTo>
                    <a:pt x="166" y="154"/>
                  </a:lnTo>
                  <a:lnTo>
                    <a:pt x="131" y="146"/>
                  </a:lnTo>
                  <a:lnTo>
                    <a:pt x="100" y="138"/>
                  </a:lnTo>
                  <a:lnTo>
                    <a:pt x="72" y="127"/>
                  </a:lnTo>
                  <a:lnTo>
                    <a:pt x="47" y="113"/>
                  </a:lnTo>
                  <a:lnTo>
                    <a:pt x="30" y="102"/>
                  </a:lnTo>
                  <a:lnTo>
                    <a:pt x="27" y="98"/>
                  </a:lnTo>
                  <a:lnTo>
                    <a:pt x="16" y="89"/>
                  </a:lnTo>
                  <a:lnTo>
                    <a:pt x="9" y="78"/>
                  </a:lnTo>
                  <a:lnTo>
                    <a:pt x="3" y="66"/>
                  </a:lnTo>
                  <a:lnTo>
                    <a:pt x="0" y="55"/>
                  </a:lnTo>
                  <a:lnTo>
                    <a:pt x="0" y="55"/>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39">
              <a:extLst>
                <a:ext uri="{FF2B5EF4-FFF2-40B4-BE49-F238E27FC236}">
                  <a16:creationId xmlns:a16="http://schemas.microsoft.com/office/drawing/2014/main" id="{8C5C593E-648C-B84C-A4BF-0AD83C05E1AE}"/>
                </a:ext>
              </a:extLst>
            </p:cNvPr>
            <p:cNvSpPr>
              <a:spLocks/>
            </p:cNvSpPr>
            <p:nvPr/>
          </p:nvSpPr>
          <p:spPr bwMode="auto">
            <a:xfrm>
              <a:off x="3932318" y="3999235"/>
              <a:ext cx="384175" cy="127000"/>
            </a:xfrm>
            <a:custGeom>
              <a:avLst/>
              <a:gdLst>
                <a:gd name="T0" fmla="*/ 0 w 485"/>
                <a:gd name="T1" fmla="*/ 0 h 159"/>
                <a:gd name="T2" fmla="*/ 8 w 485"/>
                <a:gd name="T3" fmla="*/ 5 h 159"/>
                <a:gd name="T4" fmla="*/ 28 w 485"/>
                <a:gd name="T5" fmla="*/ 18 h 159"/>
                <a:gd name="T6" fmla="*/ 59 w 485"/>
                <a:gd name="T7" fmla="*/ 33 h 159"/>
                <a:gd name="T8" fmla="*/ 93 w 485"/>
                <a:gd name="T9" fmla="*/ 45 h 159"/>
                <a:gd name="T10" fmla="*/ 131 w 485"/>
                <a:gd name="T11" fmla="*/ 55 h 159"/>
                <a:gd name="T12" fmla="*/ 146 w 485"/>
                <a:gd name="T13" fmla="*/ 58 h 159"/>
                <a:gd name="T14" fmla="*/ 193 w 485"/>
                <a:gd name="T15" fmla="*/ 64 h 159"/>
                <a:gd name="T16" fmla="*/ 243 w 485"/>
                <a:gd name="T17" fmla="*/ 67 h 159"/>
                <a:gd name="T18" fmla="*/ 293 w 485"/>
                <a:gd name="T19" fmla="*/ 64 h 159"/>
                <a:gd name="T20" fmla="*/ 340 w 485"/>
                <a:gd name="T21" fmla="*/ 58 h 159"/>
                <a:gd name="T22" fmla="*/ 355 w 485"/>
                <a:gd name="T23" fmla="*/ 55 h 159"/>
                <a:gd name="T24" fmla="*/ 393 w 485"/>
                <a:gd name="T25" fmla="*/ 45 h 159"/>
                <a:gd name="T26" fmla="*/ 428 w 485"/>
                <a:gd name="T27" fmla="*/ 33 h 159"/>
                <a:gd name="T28" fmla="*/ 458 w 485"/>
                <a:gd name="T29" fmla="*/ 18 h 159"/>
                <a:gd name="T30" fmla="*/ 479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7 h 159"/>
                <a:gd name="T42" fmla="*/ 478 w 485"/>
                <a:gd name="T43" fmla="*/ 78 h 159"/>
                <a:gd name="T44" fmla="*/ 469 w 485"/>
                <a:gd name="T45" fmla="*/ 89 h 159"/>
                <a:gd name="T46" fmla="*/ 460 w 485"/>
                <a:gd name="T47" fmla="*/ 98 h 159"/>
                <a:gd name="T48" fmla="*/ 457 w 485"/>
                <a:gd name="T49" fmla="*/ 102 h 159"/>
                <a:gd name="T50" fmla="*/ 438 w 485"/>
                <a:gd name="T51" fmla="*/ 113 h 159"/>
                <a:gd name="T52" fmla="*/ 413 w 485"/>
                <a:gd name="T53" fmla="*/ 127 h 159"/>
                <a:gd name="T54" fmla="*/ 385 w 485"/>
                <a:gd name="T55" fmla="*/ 138 h 159"/>
                <a:gd name="T56" fmla="*/ 355 w 485"/>
                <a:gd name="T57" fmla="*/ 146 h 159"/>
                <a:gd name="T58" fmla="*/ 321 w 485"/>
                <a:gd name="T59" fmla="*/ 154 h 159"/>
                <a:gd name="T60" fmla="*/ 282 w 485"/>
                <a:gd name="T61" fmla="*/ 158 h 159"/>
                <a:gd name="T62" fmla="*/ 243 w 485"/>
                <a:gd name="T63" fmla="*/ 159 h 159"/>
                <a:gd name="T64" fmla="*/ 203 w 485"/>
                <a:gd name="T65" fmla="*/ 158 h 159"/>
                <a:gd name="T66" fmla="*/ 166 w 485"/>
                <a:gd name="T67" fmla="*/ 154 h 159"/>
                <a:gd name="T68" fmla="*/ 131 w 485"/>
                <a:gd name="T69" fmla="*/ 146 h 159"/>
                <a:gd name="T70" fmla="*/ 100 w 485"/>
                <a:gd name="T71" fmla="*/ 138 h 159"/>
                <a:gd name="T72" fmla="*/ 72 w 485"/>
                <a:gd name="T73" fmla="*/ 127 h 159"/>
                <a:gd name="T74" fmla="*/ 47 w 485"/>
                <a:gd name="T75" fmla="*/ 113 h 159"/>
                <a:gd name="T76" fmla="*/ 30 w 485"/>
                <a:gd name="T77" fmla="*/ 102 h 159"/>
                <a:gd name="T78" fmla="*/ 27 w 485"/>
                <a:gd name="T79" fmla="*/ 98 h 159"/>
                <a:gd name="T80" fmla="*/ 16 w 485"/>
                <a:gd name="T81" fmla="*/ 89 h 159"/>
                <a:gd name="T82" fmla="*/ 9 w 485"/>
                <a:gd name="T83" fmla="*/ 78 h 159"/>
                <a:gd name="T84" fmla="*/ 3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8" y="5"/>
                  </a:lnTo>
                  <a:lnTo>
                    <a:pt x="28" y="18"/>
                  </a:lnTo>
                  <a:lnTo>
                    <a:pt x="59" y="33"/>
                  </a:lnTo>
                  <a:lnTo>
                    <a:pt x="93" y="45"/>
                  </a:lnTo>
                  <a:lnTo>
                    <a:pt x="131" y="55"/>
                  </a:lnTo>
                  <a:lnTo>
                    <a:pt x="146" y="58"/>
                  </a:lnTo>
                  <a:lnTo>
                    <a:pt x="193" y="64"/>
                  </a:lnTo>
                  <a:lnTo>
                    <a:pt x="243" y="67"/>
                  </a:lnTo>
                  <a:lnTo>
                    <a:pt x="293" y="64"/>
                  </a:lnTo>
                  <a:lnTo>
                    <a:pt x="340" y="58"/>
                  </a:lnTo>
                  <a:lnTo>
                    <a:pt x="355" y="55"/>
                  </a:lnTo>
                  <a:lnTo>
                    <a:pt x="393" y="45"/>
                  </a:lnTo>
                  <a:lnTo>
                    <a:pt x="428" y="33"/>
                  </a:lnTo>
                  <a:lnTo>
                    <a:pt x="458" y="18"/>
                  </a:lnTo>
                  <a:lnTo>
                    <a:pt x="479" y="5"/>
                  </a:lnTo>
                  <a:lnTo>
                    <a:pt x="485" y="0"/>
                  </a:lnTo>
                  <a:lnTo>
                    <a:pt x="485" y="54"/>
                  </a:lnTo>
                  <a:lnTo>
                    <a:pt x="485" y="55"/>
                  </a:lnTo>
                  <a:lnTo>
                    <a:pt x="485" y="55"/>
                  </a:lnTo>
                  <a:lnTo>
                    <a:pt x="483" y="67"/>
                  </a:lnTo>
                  <a:lnTo>
                    <a:pt x="478" y="78"/>
                  </a:lnTo>
                  <a:lnTo>
                    <a:pt x="469" y="89"/>
                  </a:lnTo>
                  <a:lnTo>
                    <a:pt x="460" y="98"/>
                  </a:lnTo>
                  <a:lnTo>
                    <a:pt x="457" y="102"/>
                  </a:lnTo>
                  <a:lnTo>
                    <a:pt x="438" y="113"/>
                  </a:lnTo>
                  <a:lnTo>
                    <a:pt x="413" y="127"/>
                  </a:lnTo>
                  <a:lnTo>
                    <a:pt x="385" y="138"/>
                  </a:lnTo>
                  <a:lnTo>
                    <a:pt x="355" y="146"/>
                  </a:lnTo>
                  <a:lnTo>
                    <a:pt x="321" y="154"/>
                  </a:lnTo>
                  <a:lnTo>
                    <a:pt x="282" y="158"/>
                  </a:lnTo>
                  <a:lnTo>
                    <a:pt x="243" y="159"/>
                  </a:lnTo>
                  <a:lnTo>
                    <a:pt x="203" y="158"/>
                  </a:lnTo>
                  <a:lnTo>
                    <a:pt x="166" y="154"/>
                  </a:lnTo>
                  <a:lnTo>
                    <a:pt x="131" y="146"/>
                  </a:lnTo>
                  <a:lnTo>
                    <a:pt x="100" y="138"/>
                  </a:lnTo>
                  <a:lnTo>
                    <a:pt x="72" y="127"/>
                  </a:lnTo>
                  <a:lnTo>
                    <a:pt x="47" y="113"/>
                  </a:lnTo>
                  <a:lnTo>
                    <a:pt x="30" y="102"/>
                  </a:lnTo>
                  <a:lnTo>
                    <a:pt x="27" y="98"/>
                  </a:lnTo>
                  <a:lnTo>
                    <a:pt x="16" y="89"/>
                  </a:lnTo>
                  <a:lnTo>
                    <a:pt x="9" y="78"/>
                  </a:lnTo>
                  <a:lnTo>
                    <a:pt x="3" y="67"/>
                  </a:lnTo>
                  <a:lnTo>
                    <a:pt x="0" y="55"/>
                  </a:lnTo>
                  <a:lnTo>
                    <a:pt x="0" y="55"/>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40">
              <a:extLst>
                <a:ext uri="{FF2B5EF4-FFF2-40B4-BE49-F238E27FC236}">
                  <a16:creationId xmlns:a16="http://schemas.microsoft.com/office/drawing/2014/main" id="{DAFB03FC-8D63-6046-97FA-7735934ED743}"/>
                </a:ext>
              </a:extLst>
            </p:cNvPr>
            <p:cNvSpPr>
              <a:spLocks/>
            </p:cNvSpPr>
            <p:nvPr/>
          </p:nvSpPr>
          <p:spPr bwMode="auto">
            <a:xfrm>
              <a:off x="3932318" y="4108772"/>
              <a:ext cx="384175" cy="125412"/>
            </a:xfrm>
            <a:custGeom>
              <a:avLst/>
              <a:gdLst>
                <a:gd name="T0" fmla="*/ 0 w 485"/>
                <a:gd name="T1" fmla="*/ 0 h 159"/>
                <a:gd name="T2" fmla="*/ 8 w 485"/>
                <a:gd name="T3" fmla="*/ 5 h 159"/>
                <a:gd name="T4" fmla="*/ 28 w 485"/>
                <a:gd name="T5" fmla="*/ 18 h 159"/>
                <a:gd name="T6" fmla="*/ 59 w 485"/>
                <a:gd name="T7" fmla="*/ 33 h 159"/>
                <a:gd name="T8" fmla="*/ 93 w 485"/>
                <a:gd name="T9" fmla="*/ 45 h 159"/>
                <a:gd name="T10" fmla="*/ 131 w 485"/>
                <a:gd name="T11" fmla="*/ 55 h 159"/>
                <a:gd name="T12" fmla="*/ 146 w 485"/>
                <a:gd name="T13" fmla="*/ 58 h 159"/>
                <a:gd name="T14" fmla="*/ 193 w 485"/>
                <a:gd name="T15" fmla="*/ 64 h 159"/>
                <a:gd name="T16" fmla="*/ 243 w 485"/>
                <a:gd name="T17" fmla="*/ 67 h 159"/>
                <a:gd name="T18" fmla="*/ 293 w 485"/>
                <a:gd name="T19" fmla="*/ 64 h 159"/>
                <a:gd name="T20" fmla="*/ 340 w 485"/>
                <a:gd name="T21" fmla="*/ 58 h 159"/>
                <a:gd name="T22" fmla="*/ 355 w 485"/>
                <a:gd name="T23" fmla="*/ 55 h 159"/>
                <a:gd name="T24" fmla="*/ 393 w 485"/>
                <a:gd name="T25" fmla="*/ 45 h 159"/>
                <a:gd name="T26" fmla="*/ 428 w 485"/>
                <a:gd name="T27" fmla="*/ 33 h 159"/>
                <a:gd name="T28" fmla="*/ 458 w 485"/>
                <a:gd name="T29" fmla="*/ 18 h 159"/>
                <a:gd name="T30" fmla="*/ 479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7 h 159"/>
                <a:gd name="T42" fmla="*/ 478 w 485"/>
                <a:gd name="T43" fmla="*/ 78 h 159"/>
                <a:gd name="T44" fmla="*/ 469 w 485"/>
                <a:gd name="T45" fmla="*/ 89 h 159"/>
                <a:gd name="T46" fmla="*/ 460 w 485"/>
                <a:gd name="T47" fmla="*/ 98 h 159"/>
                <a:gd name="T48" fmla="*/ 457 w 485"/>
                <a:gd name="T49" fmla="*/ 102 h 159"/>
                <a:gd name="T50" fmla="*/ 438 w 485"/>
                <a:gd name="T51" fmla="*/ 113 h 159"/>
                <a:gd name="T52" fmla="*/ 413 w 485"/>
                <a:gd name="T53" fmla="*/ 127 h 159"/>
                <a:gd name="T54" fmla="*/ 385 w 485"/>
                <a:gd name="T55" fmla="*/ 138 h 159"/>
                <a:gd name="T56" fmla="*/ 355 w 485"/>
                <a:gd name="T57" fmla="*/ 146 h 159"/>
                <a:gd name="T58" fmla="*/ 321 w 485"/>
                <a:gd name="T59" fmla="*/ 154 h 159"/>
                <a:gd name="T60" fmla="*/ 282 w 485"/>
                <a:gd name="T61" fmla="*/ 158 h 159"/>
                <a:gd name="T62" fmla="*/ 243 w 485"/>
                <a:gd name="T63" fmla="*/ 159 h 159"/>
                <a:gd name="T64" fmla="*/ 203 w 485"/>
                <a:gd name="T65" fmla="*/ 158 h 159"/>
                <a:gd name="T66" fmla="*/ 166 w 485"/>
                <a:gd name="T67" fmla="*/ 154 h 159"/>
                <a:gd name="T68" fmla="*/ 131 w 485"/>
                <a:gd name="T69" fmla="*/ 146 h 159"/>
                <a:gd name="T70" fmla="*/ 100 w 485"/>
                <a:gd name="T71" fmla="*/ 138 h 159"/>
                <a:gd name="T72" fmla="*/ 72 w 485"/>
                <a:gd name="T73" fmla="*/ 127 h 159"/>
                <a:gd name="T74" fmla="*/ 47 w 485"/>
                <a:gd name="T75" fmla="*/ 113 h 159"/>
                <a:gd name="T76" fmla="*/ 30 w 485"/>
                <a:gd name="T77" fmla="*/ 102 h 159"/>
                <a:gd name="T78" fmla="*/ 27 w 485"/>
                <a:gd name="T79" fmla="*/ 98 h 159"/>
                <a:gd name="T80" fmla="*/ 16 w 485"/>
                <a:gd name="T81" fmla="*/ 89 h 159"/>
                <a:gd name="T82" fmla="*/ 9 w 485"/>
                <a:gd name="T83" fmla="*/ 78 h 159"/>
                <a:gd name="T84" fmla="*/ 3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8" y="5"/>
                  </a:lnTo>
                  <a:lnTo>
                    <a:pt x="28" y="18"/>
                  </a:lnTo>
                  <a:lnTo>
                    <a:pt x="59" y="33"/>
                  </a:lnTo>
                  <a:lnTo>
                    <a:pt x="93" y="45"/>
                  </a:lnTo>
                  <a:lnTo>
                    <a:pt x="131" y="55"/>
                  </a:lnTo>
                  <a:lnTo>
                    <a:pt x="146" y="58"/>
                  </a:lnTo>
                  <a:lnTo>
                    <a:pt x="193" y="64"/>
                  </a:lnTo>
                  <a:lnTo>
                    <a:pt x="243" y="67"/>
                  </a:lnTo>
                  <a:lnTo>
                    <a:pt x="293" y="64"/>
                  </a:lnTo>
                  <a:lnTo>
                    <a:pt x="340" y="58"/>
                  </a:lnTo>
                  <a:lnTo>
                    <a:pt x="355" y="55"/>
                  </a:lnTo>
                  <a:lnTo>
                    <a:pt x="393" y="45"/>
                  </a:lnTo>
                  <a:lnTo>
                    <a:pt x="428" y="33"/>
                  </a:lnTo>
                  <a:lnTo>
                    <a:pt x="458" y="18"/>
                  </a:lnTo>
                  <a:lnTo>
                    <a:pt x="479" y="5"/>
                  </a:lnTo>
                  <a:lnTo>
                    <a:pt x="485" y="0"/>
                  </a:lnTo>
                  <a:lnTo>
                    <a:pt x="485" y="54"/>
                  </a:lnTo>
                  <a:lnTo>
                    <a:pt x="485" y="55"/>
                  </a:lnTo>
                  <a:lnTo>
                    <a:pt x="485" y="55"/>
                  </a:lnTo>
                  <a:lnTo>
                    <a:pt x="483" y="67"/>
                  </a:lnTo>
                  <a:lnTo>
                    <a:pt x="478" y="78"/>
                  </a:lnTo>
                  <a:lnTo>
                    <a:pt x="469" y="89"/>
                  </a:lnTo>
                  <a:lnTo>
                    <a:pt x="460" y="98"/>
                  </a:lnTo>
                  <a:lnTo>
                    <a:pt x="457" y="102"/>
                  </a:lnTo>
                  <a:lnTo>
                    <a:pt x="438" y="113"/>
                  </a:lnTo>
                  <a:lnTo>
                    <a:pt x="413" y="127"/>
                  </a:lnTo>
                  <a:lnTo>
                    <a:pt x="385" y="138"/>
                  </a:lnTo>
                  <a:lnTo>
                    <a:pt x="355" y="146"/>
                  </a:lnTo>
                  <a:lnTo>
                    <a:pt x="321" y="154"/>
                  </a:lnTo>
                  <a:lnTo>
                    <a:pt x="282" y="158"/>
                  </a:lnTo>
                  <a:lnTo>
                    <a:pt x="243" y="159"/>
                  </a:lnTo>
                  <a:lnTo>
                    <a:pt x="203" y="158"/>
                  </a:lnTo>
                  <a:lnTo>
                    <a:pt x="166" y="154"/>
                  </a:lnTo>
                  <a:lnTo>
                    <a:pt x="131" y="146"/>
                  </a:lnTo>
                  <a:lnTo>
                    <a:pt x="100" y="138"/>
                  </a:lnTo>
                  <a:lnTo>
                    <a:pt x="72" y="127"/>
                  </a:lnTo>
                  <a:lnTo>
                    <a:pt x="47" y="113"/>
                  </a:lnTo>
                  <a:lnTo>
                    <a:pt x="30" y="102"/>
                  </a:lnTo>
                  <a:lnTo>
                    <a:pt x="27" y="98"/>
                  </a:lnTo>
                  <a:lnTo>
                    <a:pt x="16" y="89"/>
                  </a:lnTo>
                  <a:lnTo>
                    <a:pt x="9" y="78"/>
                  </a:lnTo>
                  <a:lnTo>
                    <a:pt x="3" y="67"/>
                  </a:lnTo>
                  <a:lnTo>
                    <a:pt x="0" y="55"/>
                  </a:lnTo>
                  <a:lnTo>
                    <a:pt x="0" y="55"/>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41">
              <a:extLst>
                <a:ext uri="{FF2B5EF4-FFF2-40B4-BE49-F238E27FC236}">
                  <a16:creationId xmlns:a16="http://schemas.microsoft.com/office/drawing/2014/main" id="{1218A133-4443-FF4C-A968-34DEF9C3688C}"/>
                </a:ext>
              </a:extLst>
            </p:cNvPr>
            <p:cNvSpPr>
              <a:spLocks/>
            </p:cNvSpPr>
            <p:nvPr/>
          </p:nvSpPr>
          <p:spPr bwMode="auto">
            <a:xfrm>
              <a:off x="3932318" y="4216722"/>
              <a:ext cx="384175" cy="127000"/>
            </a:xfrm>
            <a:custGeom>
              <a:avLst/>
              <a:gdLst>
                <a:gd name="T0" fmla="*/ 0 w 485"/>
                <a:gd name="T1" fmla="*/ 0 h 159"/>
                <a:gd name="T2" fmla="*/ 8 w 485"/>
                <a:gd name="T3" fmla="*/ 5 h 159"/>
                <a:gd name="T4" fmla="*/ 28 w 485"/>
                <a:gd name="T5" fmla="*/ 18 h 159"/>
                <a:gd name="T6" fmla="*/ 59 w 485"/>
                <a:gd name="T7" fmla="*/ 33 h 159"/>
                <a:gd name="T8" fmla="*/ 93 w 485"/>
                <a:gd name="T9" fmla="*/ 45 h 159"/>
                <a:gd name="T10" fmla="*/ 131 w 485"/>
                <a:gd name="T11" fmla="*/ 55 h 159"/>
                <a:gd name="T12" fmla="*/ 146 w 485"/>
                <a:gd name="T13" fmla="*/ 58 h 159"/>
                <a:gd name="T14" fmla="*/ 193 w 485"/>
                <a:gd name="T15" fmla="*/ 64 h 159"/>
                <a:gd name="T16" fmla="*/ 243 w 485"/>
                <a:gd name="T17" fmla="*/ 67 h 159"/>
                <a:gd name="T18" fmla="*/ 293 w 485"/>
                <a:gd name="T19" fmla="*/ 64 h 159"/>
                <a:gd name="T20" fmla="*/ 340 w 485"/>
                <a:gd name="T21" fmla="*/ 58 h 159"/>
                <a:gd name="T22" fmla="*/ 355 w 485"/>
                <a:gd name="T23" fmla="*/ 55 h 159"/>
                <a:gd name="T24" fmla="*/ 393 w 485"/>
                <a:gd name="T25" fmla="*/ 45 h 159"/>
                <a:gd name="T26" fmla="*/ 428 w 485"/>
                <a:gd name="T27" fmla="*/ 33 h 159"/>
                <a:gd name="T28" fmla="*/ 458 w 485"/>
                <a:gd name="T29" fmla="*/ 18 h 159"/>
                <a:gd name="T30" fmla="*/ 479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7 h 159"/>
                <a:gd name="T42" fmla="*/ 478 w 485"/>
                <a:gd name="T43" fmla="*/ 78 h 159"/>
                <a:gd name="T44" fmla="*/ 469 w 485"/>
                <a:gd name="T45" fmla="*/ 89 h 159"/>
                <a:gd name="T46" fmla="*/ 460 w 485"/>
                <a:gd name="T47" fmla="*/ 100 h 159"/>
                <a:gd name="T48" fmla="*/ 457 w 485"/>
                <a:gd name="T49" fmla="*/ 102 h 159"/>
                <a:gd name="T50" fmla="*/ 438 w 485"/>
                <a:gd name="T51" fmla="*/ 113 h 159"/>
                <a:gd name="T52" fmla="*/ 413 w 485"/>
                <a:gd name="T53" fmla="*/ 127 h 159"/>
                <a:gd name="T54" fmla="*/ 385 w 485"/>
                <a:gd name="T55" fmla="*/ 138 h 159"/>
                <a:gd name="T56" fmla="*/ 355 w 485"/>
                <a:gd name="T57" fmla="*/ 146 h 159"/>
                <a:gd name="T58" fmla="*/ 321 w 485"/>
                <a:gd name="T59" fmla="*/ 154 h 159"/>
                <a:gd name="T60" fmla="*/ 282 w 485"/>
                <a:gd name="T61" fmla="*/ 158 h 159"/>
                <a:gd name="T62" fmla="*/ 243 w 485"/>
                <a:gd name="T63" fmla="*/ 159 h 159"/>
                <a:gd name="T64" fmla="*/ 203 w 485"/>
                <a:gd name="T65" fmla="*/ 158 h 159"/>
                <a:gd name="T66" fmla="*/ 166 w 485"/>
                <a:gd name="T67" fmla="*/ 154 h 159"/>
                <a:gd name="T68" fmla="*/ 131 w 485"/>
                <a:gd name="T69" fmla="*/ 146 h 159"/>
                <a:gd name="T70" fmla="*/ 100 w 485"/>
                <a:gd name="T71" fmla="*/ 138 h 159"/>
                <a:gd name="T72" fmla="*/ 72 w 485"/>
                <a:gd name="T73" fmla="*/ 127 h 159"/>
                <a:gd name="T74" fmla="*/ 47 w 485"/>
                <a:gd name="T75" fmla="*/ 113 h 159"/>
                <a:gd name="T76" fmla="*/ 30 w 485"/>
                <a:gd name="T77" fmla="*/ 102 h 159"/>
                <a:gd name="T78" fmla="*/ 27 w 485"/>
                <a:gd name="T79" fmla="*/ 100 h 159"/>
                <a:gd name="T80" fmla="*/ 16 w 485"/>
                <a:gd name="T81" fmla="*/ 89 h 159"/>
                <a:gd name="T82" fmla="*/ 9 w 485"/>
                <a:gd name="T83" fmla="*/ 78 h 159"/>
                <a:gd name="T84" fmla="*/ 3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8" y="5"/>
                  </a:lnTo>
                  <a:lnTo>
                    <a:pt x="28" y="18"/>
                  </a:lnTo>
                  <a:lnTo>
                    <a:pt x="59" y="33"/>
                  </a:lnTo>
                  <a:lnTo>
                    <a:pt x="93" y="45"/>
                  </a:lnTo>
                  <a:lnTo>
                    <a:pt x="131" y="55"/>
                  </a:lnTo>
                  <a:lnTo>
                    <a:pt x="146" y="58"/>
                  </a:lnTo>
                  <a:lnTo>
                    <a:pt x="193" y="64"/>
                  </a:lnTo>
                  <a:lnTo>
                    <a:pt x="243" y="67"/>
                  </a:lnTo>
                  <a:lnTo>
                    <a:pt x="293" y="64"/>
                  </a:lnTo>
                  <a:lnTo>
                    <a:pt x="340" y="58"/>
                  </a:lnTo>
                  <a:lnTo>
                    <a:pt x="355" y="55"/>
                  </a:lnTo>
                  <a:lnTo>
                    <a:pt x="393" y="45"/>
                  </a:lnTo>
                  <a:lnTo>
                    <a:pt x="428" y="33"/>
                  </a:lnTo>
                  <a:lnTo>
                    <a:pt x="458" y="18"/>
                  </a:lnTo>
                  <a:lnTo>
                    <a:pt x="479" y="5"/>
                  </a:lnTo>
                  <a:lnTo>
                    <a:pt x="485" y="0"/>
                  </a:lnTo>
                  <a:lnTo>
                    <a:pt x="485" y="54"/>
                  </a:lnTo>
                  <a:lnTo>
                    <a:pt x="485" y="55"/>
                  </a:lnTo>
                  <a:lnTo>
                    <a:pt x="485" y="55"/>
                  </a:lnTo>
                  <a:lnTo>
                    <a:pt x="483" y="67"/>
                  </a:lnTo>
                  <a:lnTo>
                    <a:pt x="478" y="78"/>
                  </a:lnTo>
                  <a:lnTo>
                    <a:pt x="469" y="89"/>
                  </a:lnTo>
                  <a:lnTo>
                    <a:pt x="460" y="100"/>
                  </a:lnTo>
                  <a:lnTo>
                    <a:pt x="457" y="102"/>
                  </a:lnTo>
                  <a:lnTo>
                    <a:pt x="438" y="113"/>
                  </a:lnTo>
                  <a:lnTo>
                    <a:pt x="413" y="127"/>
                  </a:lnTo>
                  <a:lnTo>
                    <a:pt x="385" y="138"/>
                  </a:lnTo>
                  <a:lnTo>
                    <a:pt x="355" y="146"/>
                  </a:lnTo>
                  <a:lnTo>
                    <a:pt x="321" y="154"/>
                  </a:lnTo>
                  <a:lnTo>
                    <a:pt x="282" y="158"/>
                  </a:lnTo>
                  <a:lnTo>
                    <a:pt x="243" y="159"/>
                  </a:lnTo>
                  <a:lnTo>
                    <a:pt x="203" y="158"/>
                  </a:lnTo>
                  <a:lnTo>
                    <a:pt x="166" y="154"/>
                  </a:lnTo>
                  <a:lnTo>
                    <a:pt x="131" y="146"/>
                  </a:lnTo>
                  <a:lnTo>
                    <a:pt x="100" y="138"/>
                  </a:lnTo>
                  <a:lnTo>
                    <a:pt x="72" y="127"/>
                  </a:lnTo>
                  <a:lnTo>
                    <a:pt x="47" y="113"/>
                  </a:lnTo>
                  <a:lnTo>
                    <a:pt x="30" y="102"/>
                  </a:lnTo>
                  <a:lnTo>
                    <a:pt x="27" y="100"/>
                  </a:lnTo>
                  <a:lnTo>
                    <a:pt x="16" y="89"/>
                  </a:lnTo>
                  <a:lnTo>
                    <a:pt x="9" y="78"/>
                  </a:lnTo>
                  <a:lnTo>
                    <a:pt x="3" y="67"/>
                  </a:lnTo>
                  <a:lnTo>
                    <a:pt x="0" y="55"/>
                  </a:lnTo>
                  <a:lnTo>
                    <a:pt x="0" y="55"/>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42">
              <a:extLst>
                <a:ext uri="{FF2B5EF4-FFF2-40B4-BE49-F238E27FC236}">
                  <a16:creationId xmlns:a16="http://schemas.microsoft.com/office/drawing/2014/main" id="{5EC9B383-F0A1-7D4B-A645-D0698DA86F4E}"/>
                </a:ext>
              </a:extLst>
            </p:cNvPr>
            <p:cNvSpPr>
              <a:spLocks/>
            </p:cNvSpPr>
            <p:nvPr/>
          </p:nvSpPr>
          <p:spPr bwMode="auto">
            <a:xfrm>
              <a:off x="4529218" y="3143572"/>
              <a:ext cx="384175" cy="127000"/>
            </a:xfrm>
            <a:custGeom>
              <a:avLst/>
              <a:gdLst>
                <a:gd name="T0" fmla="*/ 0 w 485"/>
                <a:gd name="T1" fmla="*/ 0 h 161"/>
                <a:gd name="T2" fmla="*/ 7 w 485"/>
                <a:gd name="T3" fmla="*/ 6 h 161"/>
                <a:gd name="T4" fmla="*/ 27 w 485"/>
                <a:gd name="T5" fmla="*/ 20 h 161"/>
                <a:gd name="T6" fmla="*/ 58 w 485"/>
                <a:gd name="T7" fmla="*/ 34 h 161"/>
                <a:gd name="T8" fmla="*/ 92 w 485"/>
                <a:gd name="T9" fmla="*/ 47 h 161"/>
                <a:gd name="T10" fmla="*/ 130 w 485"/>
                <a:gd name="T11" fmla="*/ 57 h 161"/>
                <a:gd name="T12" fmla="*/ 145 w 485"/>
                <a:gd name="T13" fmla="*/ 59 h 161"/>
                <a:gd name="T14" fmla="*/ 192 w 485"/>
                <a:gd name="T15" fmla="*/ 65 h 161"/>
                <a:gd name="T16" fmla="*/ 242 w 485"/>
                <a:gd name="T17" fmla="*/ 67 h 161"/>
                <a:gd name="T18" fmla="*/ 291 w 485"/>
                <a:gd name="T19" fmla="*/ 65 h 161"/>
                <a:gd name="T20" fmla="*/ 339 w 485"/>
                <a:gd name="T21" fmla="*/ 59 h 161"/>
                <a:gd name="T22" fmla="*/ 354 w 485"/>
                <a:gd name="T23" fmla="*/ 57 h 161"/>
                <a:gd name="T24" fmla="*/ 392 w 485"/>
                <a:gd name="T25" fmla="*/ 47 h 161"/>
                <a:gd name="T26" fmla="*/ 426 w 485"/>
                <a:gd name="T27" fmla="*/ 34 h 161"/>
                <a:gd name="T28" fmla="*/ 457 w 485"/>
                <a:gd name="T29" fmla="*/ 20 h 161"/>
                <a:gd name="T30" fmla="*/ 477 w 485"/>
                <a:gd name="T31" fmla="*/ 6 h 161"/>
                <a:gd name="T32" fmla="*/ 485 w 485"/>
                <a:gd name="T33" fmla="*/ 0 h 161"/>
                <a:gd name="T34" fmla="*/ 485 w 485"/>
                <a:gd name="T35" fmla="*/ 55 h 161"/>
                <a:gd name="T36" fmla="*/ 485 w 485"/>
                <a:gd name="T37" fmla="*/ 57 h 161"/>
                <a:gd name="T38" fmla="*/ 485 w 485"/>
                <a:gd name="T39" fmla="*/ 57 h 161"/>
                <a:gd name="T40" fmla="*/ 482 w 485"/>
                <a:gd name="T41" fmla="*/ 68 h 161"/>
                <a:gd name="T42" fmla="*/ 476 w 485"/>
                <a:gd name="T43" fmla="*/ 80 h 161"/>
                <a:gd name="T44" fmla="*/ 469 w 485"/>
                <a:gd name="T45" fmla="*/ 90 h 161"/>
                <a:gd name="T46" fmla="*/ 458 w 485"/>
                <a:gd name="T47" fmla="*/ 100 h 161"/>
                <a:gd name="T48" fmla="*/ 455 w 485"/>
                <a:gd name="T49" fmla="*/ 102 h 161"/>
                <a:gd name="T50" fmla="*/ 438 w 485"/>
                <a:gd name="T51" fmla="*/ 115 h 161"/>
                <a:gd name="T52" fmla="*/ 412 w 485"/>
                <a:gd name="T53" fmla="*/ 129 h 161"/>
                <a:gd name="T54" fmla="*/ 385 w 485"/>
                <a:gd name="T55" fmla="*/ 140 h 161"/>
                <a:gd name="T56" fmla="*/ 354 w 485"/>
                <a:gd name="T57" fmla="*/ 148 h 161"/>
                <a:gd name="T58" fmla="*/ 319 w 485"/>
                <a:gd name="T59" fmla="*/ 154 h 161"/>
                <a:gd name="T60" fmla="*/ 282 w 485"/>
                <a:gd name="T61" fmla="*/ 159 h 161"/>
                <a:gd name="T62" fmla="*/ 242 w 485"/>
                <a:gd name="T63" fmla="*/ 161 h 161"/>
                <a:gd name="T64" fmla="*/ 202 w 485"/>
                <a:gd name="T65" fmla="*/ 159 h 161"/>
                <a:gd name="T66" fmla="*/ 164 w 485"/>
                <a:gd name="T67" fmla="*/ 154 h 161"/>
                <a:gd name="T68" fmla="*/ 130 w 485"/>
                <a:gd name="T69" fmla="*/ 148 h 161"/>
                <a:gd name="T70" fmla="*/ 99 w 485"/>
                <a:gd name="T71" fmla="*/ 140 h 161"/>
                <a:gd name="T72" fmla="*/ 72 w 485"/>
                <a:gd name="T73" fmla="*/ 129 h 161"/>
                <a:gd name="T74" fmla="*/ 46 w 485"/>
                <a:gd name="T75" fmla="*/ 115 h 161"/>
                <a:gd name="T76" fmla="*/ 28 w 485"/>
                <a:gd name="T77" fmla="*/ 102 h 161"/>
                <a:gd name="T78" fmla="*/ 26 w 485"/>
                <a:gd name="T79" fmla="*/ 100 h 161"/>
                <a:gd name="T80" fmla="*/ 16 w 485"/>
                <a:gd name="T81" fmla="*/ 90 h 161"/>
                <a:gd name="T82" fmla="*/ 8 w 485"/>
                <a:gd name="T83" fmla="*/ 80 h 161"/>
                <a:gd name="T84" fmla="*/ 2 w 485"/>
                <a:gd name="T85" fmla="*/ 68 h 161"/>
                <a:gd name="T86" fmla="*/ 0 w 485"/>
                <a:gd name="T87" fmla="*/ 57 h 161"/>
                <a:gd name="T88" fmla="*/ 0 w 485"/>
                <a:gd name="T89" fmla="*/ 57 h 161"/>
                <a:gd name="T90" fmla="*/ 0 w 485"/>
                <a:gd name="T91" fmla="*/ 55 h 161"/>
                <a:gd name="T92" fmla="*/ 0 w 485"/>
                <a:gd name="T93"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1">
                  <a:moveTo>
                    <a:pt x="0" y="0"/>
                  </a:moveTo>
                  <a:lnTo>
                    <a:pt x="7" y="6"/>
                  </a:lnTo>
                  <a:lnTo>
                    <a:pt x="27" y="20"/>
                  </a:lnTo>
                  <a:lnTo>
                    <a:pt x="58" y="34"/>
                  </a:lnTo>
                  <a:lnTo>
                    <a:pt x="92" y="47"/>
                  </a:lnTo>
                  <a:lnTo>
                    <a:pt x="130" y="57"/>
                  </a:lnTo>
                  <a:lnTo>
                    <a:pt x="145" y="59"/>
                  </a:lnTo>
                  <a:lnTo>
                    <a:pt x="192" y="65"/>
                  </a:lnTo>
                  <a:lnTo>
                    <a:pt x="242" y="67"/>
                  </a:lnTo>
                  <a:lnTo>
                    <a:pt x="291" y="65"/>
                  </a:lnTo>
                  <a:lnTo>
                    <a:pt x="339" y="59"/>
                  </a:lnTo>
                  <a:lnTo>
                    <a:pt x="354" y="57"/>
                  </a:lnTo>
                  <a:lnTo>
                    <a:pt x="392" y="47"/>
                  </a:lnTo>
                  <a:lnTo>
                    <a:pt x="426" y="34"/>
                  </a:lnTo>
                  <a:lnTo>
                    <a:pt x="457" y="20"/>
                  </a:lnTo>
                  <a:lnTo>
                    <a:pt x="477" y="6"/>
                  </a:lnTo>
                  <a:lnTo>
                    <a:pt x="485" y="0"/>
                  </a:lnTo>
                  <a:lnTo>
                    <a:pt x="485" y="55"/>
                  </a:lnTo>
                  <a:lnTo>
                    <a:pt x="485" y="57"/>
                  </a:lnTo>
                  <a:lnTo>
                    <a:pt x="485" y="57"/>
                  </a:lnTo>
                  <a:lnTo>
                    <a:pt x="482" y="68"/>
                  </a:lnTo>
                  <a:lnTo>
                    <a:pt x="476" y="80"/>
                  </a:lnTo>
                  <a:lnTo>
                    <a:pt x="469" y="90"/>
                  </a:lnTo>
                  <a:lnTo>
                    <a:pt x="458" y="100"/>
                  </a:lnTo>
                  <a:lnTo>
                    <a:pt x="455" y="102"/>
                  </a:lnTo>
                  <a:lnTo>
                    <a:pt x="438" y="115"/>
                  </a:lnTo>
                  <a:lnTo>
                    <a:pt x="412" y="129"/>
                  </a:lnTo>
                  <a:lnTo>
                    <a:pt x="385" y="140"/>
                  </a:lnTo>
                  <a:lnTo>
                    <a:pt x="354" y="148"/>
                  </a:lnTo>
                  <a:lnTo>
                    <a:pt x="319" y="154"/>
                  </a:lnTo>
                  <a:lnTo>
                    <a:pt x="282" y="159"/>
                  </a:lnTo>
                  <a:lnTo>
                    <a:pt x="242" y="161"/>
                  </a:lnTo>
                  <a:lnTo>
                    <a:pt x="202" y="159"/>
                  </a:lnTo>
                  <a:lnTo>
                    <a:pt x="164" y="154"/>
                  </a:lnTo>
                  <a:lnTo>
                    <a:pt x="130" y="148"/>
                  </a:lnTo>
                  <a:lnTo>
                    <a:pt x="99" y="140"/>
                  </a:lnTo>
                  <a:lnTo>
                    <a:pt x="72" y="129"/>
                  </a:lnTo>
                  <a:lnTo>
                    <a:pt x="46" y="115"/>
                  </a:lnTo>
                  <a:lnTo>
                    <a:pt x="28" y="102"/>
                  </a:lnTo>
                  <a:lnTo>
                    <a:pt x="26" y="100"/>
                  </a:lnTo>
                  <a:lnTo>
                    <a:pt x="16" y="90"/>
                  </a:lnTo>
                  <a:lnTo>
                    <a:pt x="8" y="80"/>
                  </a:lnTo>
                  <a:lnTo>
                    <a:pt x="2" y="68"/>
                  </a:lnTo>
                  <a:lnTo>
                    <a:pt x="0" y="57"/>
                  </a:lnTo>
                  <a:lnTo>
                    <a:pt x="0" y="57"/>
                  </a:lnTo>
                  <a:lnTo>
                    <a:pt x="0" y="5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43">
              <a:extLst>
                <a:ext uri="{FF2B5EF4-FFF2-40B4-BE49-F238E27FC236}">
                  <a16:creationId xmlns:a16="http://schemas.microsoft.com/office/drawing/2014/main" id="{E9CF1DE5-3437-BA40-B133-D34DEDD6B341}"/>
                </a:ext>
              </a:extLst>
            </p:cNvPr>
            <p:cNvSpPr>
              <a:spLocks/>
            </p:cNvSpPr>
            <p:nvPr/>
          </p:nvSpPr>
          <p:spPr bwMode="auto">
            <a:xfrm>
              <a:off x="4527630" y="2995935"/>
              <a:ext cx="387350" cy="165100"/>
            </a:xfrm>
            <a:custGeom>
              <a:avLst/>
              <a:gdLst>
                <a:gd name="T0" fmla="*/ 243 w 487"/>
                <a:gd name="T1" fmla="*/ 0 h 208"/>
                <a:gd name="T2" fmla="*/ 291 w 487"/>
                <a:gd name="T3" fmla="*/ 3 h 208"/>
                <a:gd name="T4" fmla="*/ 336 w 487"/>
                <a:gd name="T5" fmla="*/ 9 h 208"/>
                <a:gd name="T6" fmla="*/ 376 w 487"/>
                <a:gd name="T7" fmla="*/ 19 h 208"/>
                <a:gd name="T8" fmla="*/ 410 w 487"/>
                <a:gd name="T9" fmla="*/ 30 h 208"/>
                <a:gd name="T10" fmla="*/ 439 w 487"/>
                <a:gd name="T11" fmla="*/ 45 h 208"/>
                <a:gd name="T12" fmla="*/ 461 w 487"/>
                <a:gd name="T13" fmla="*/ 61 h 208"/>
                <a:gd name="T14" fmla="*/ 477 w 487"/>
                <a:gd name="T15" fmla="*/ 78 h 208"/>
                <a:gd name="T16" fmla="*/ 486 w 487"/>
                <a:gd name="T17" fmla="*/ 95 h 208"/>
                <a:gd name="T18" fmla="*/ 487 w 487"/>
                <a:gd name="T19" fmla="*/ 99 h 208"/>
                <a:gd name="T20" fmla="*/ 487 w 487"/>
                <a:gd name="T21" fmla="*/ 104 h 208"/>
                <a:gd name="T22" fmla="*/ 486 w 487"/>
                <a:gd name="T23" fmla="*/ 111 h 208"/>
                <a:gd name="T24" fmla="*/ 483 w 487"/>
                <a:gd name="T25" fmla="*/ 118 h 208"/>
                <a:gd name="T26" fmla="*/ 477 w 487"/>
                <a:gd name="T27" fmla="*/ 130 h 208"/>
                <a:gd name="T28" fmla="*/ 468 w 487"/>
                <a:gd name="T29" fmla="*/ 142 h 208"/>
                <a:gd name="T30" fmla="*/ 463 w 487"/>
                <a:gd name="T31" fmla="*/ 146 h 208"/>
                <a:gd name="T32" fmla="*/ 458 w 487"/>
                <a:gd name="T33" fmla="*/ 150 h 208"/>
                <a:gd name="T34" fmla="*/ 437 w 487"/>
                <a:gd name="T35" fmla="*/ 164 h 208"/>
                <a:gd name="T36" fmla="*/ 410 w 487"/>
                <a:gd name="T37" fmla="*/ 178 h 208"/>
                <a:gd name="T38" fmla="*/ 375 w 487"/>
                <a:gd name="T39" fmla="*/ 190 h 208"/>
                <a:gd name="T40" fmla="*/ 336 w 487"/>
                <a:gd name="T41" fmla="*/ 199 h 208"/>
                <a:gd name="T42" fmla="*/ 291 w 487"/>
                <a:gd name="T43" fmla="*/ 206 h 208"/>
                <a:gd name="T44" fmla="*/ 243 w 487"/>
                <a:gd name="T45" fmla="*/ 208 h 208"/>
                <a:gd name="T46" fmla="*/ 195 w 487"/>
                <a:gd name="T47" fmla="*/ 206 h 208"/>
                <a:gd name="T48" fmla="*/ 150 w 487"/>
                <a:gd name="T49" fmla="*/ 199 h 208"/>
                <a:gd name="T50" fmla="*/ 111 w 487"/>
                <a:gd name="T51" fmla="*/ 190 h 208"/>
                <a:gd name="T52" fmla="*/ 76 w 487"/>
                <a:gd name="T53" fmla="*/ 178 h 208"/>
                <a:gd name="T54" fmla="*/ 49 w 487"/>
                <a:gd name="T55" fmla="*/ 164 h 208"/>
                <a:gd name="T56" fmla="*/ 28 w 487"/>
                <a:gd name="T57" fmla="*/ 150 h 208"/>
                <a:gd name="T58" fmla="*/ 23 w 487"/>
                <a:gd name="T59" fmla="*/ 146 h 208"/>
                <a:gd name="T60" fmla="*/ 18 w 487"/>
                <a:gd name="T61" fmla="*/ 142 h 208"/>
                <a:gd name="T62" fmla="*/ 9 w 487"/>
                <a:gd name="T63" fmla="*/ 130 h 208"/>
                <a:gd name="T64" fmla="*/ 3 w 487"/>
                <a:gd name="T65" fmla="*/ 118 h 208"/>
                <a:gd name="T66" fmla="*/ 1 w 487"/>
                <a:gd name="T67" fmla="*/ 111 h 208"/>
                <a:gd name="T68" fmla="*/ 0 w 487"/>
                <a:gd name="T69" fmla="*/ 104 h 208"/>
                <a:gd name="T70" fmla="*/ 0 w 487"/>
                <a:gd name="T71" fmla="*/ 99 h 208"/>
                <a:gd name="T72" fmla="*/ 1 w 487"/>
                <a:gd name="T73" fmla="*/ 95 h 208"/>
                <a:gd name="T74" fmla="*/ 9 w 487"/>
                <a:gd name="T75" fmla="*/ 78 h 208"/>
                <a:gd name="T76" fmla="*/ 24 w 487"/>
                <a:gd name="T77" fmla="*/ 61 h 208"/>
                <a:gd name="T78" fmla="*/ 47 w 487"/>
                <a:gd name="T79" fmla="*/ 45 h 208"/>
                <a:gd name="T80" fmla="*/ 76 w 487"/>
                <a:gd name="T81" fmla="*/ 30 h 208"/>
                <a:gd name="T82" fmla="*/ 110 w 487"/>
                <a:gd name="T83" fmla="*/ 19 h 208"/>
                <a:gd name="T84" fmla="*/ 150 w 487"/>
                <a:gd name="T85" fmla="*/ 9 h 208"/>
                <a:gd name="T86" fmla="*/ 195 w 487"/>
                <a:gd name="T87" fmla="*/ 3 h 208"/>
                <a:gd name="T88" fmla="*/ 243 w 487"/>
                <a:gd name="T89"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7" h="208">
                  <a:moveTo>
                    <a:pt x="243" y="0"/>
                  </a:moveTo>
                  <a:lnTo>
                    <a:pt x="291" y="3"/>
                  </a:lnTo>
                  <a:lnTo>
                    <a:pt x="336" y="9"/>
                  </a:lnTo>
                  <a:lnTo>
                    <a:pt x="376" y="19"/>
                  </a:lnTo>
                  <a:lnTo>
                    <a:pt x="410" y="30"/>
                  </a:lnTo>
                  <a:lnTo>
                    <a:pt x="439" y="45"/>
                  </a:lnTo>
                  <a:lnTo>
                    <a:pt x="461" y="61"/>
                  </a:lnTo>
                  <a:lnTo>
                    <a:pt x="477" y="78"/>
                  </a:lnTo>
                  <a:lnTo>
                    <a:pt x="486" y="95"/>
                  </a:lnTo>
                  <a:lnTo>
                    <a:pt x="487" y="99"/>
                  </a:lnTo>
                  <a:lnTo>
                    <a:pt x="487" y="104"/>
                  </a:lnTo>
                  <a:lnTo>
                    <a:pt x="486" y="111"/>
                  </a:lnTo>
                  <a:lnTo>
                    <a:pt x="483" y="118"/>
                  </a:lnTo>
                  <a:lnTo>
                    <a:pt x="477" y="130"/>
                  </a:lnTo>
                  <a:lnTo>
                    <a:pt x="468" y="142"/>
                  </a:lnTo>
                  <a:lnTo>
                    <a:pt x="463" y="146"/>
                  </a:lnTo>
                  <a:lnTo>
                    <a:pt x="458" y="150"/>
                  </a:lnTo>
                  <a:lnTo>
                    <a:pt x="437" y="164"/>
                  </a:lnTo>
                  <a:lnTo>
                    <a:pt x="410" y="178"/>
                  </a:lnTo>
                  <a:lnTo>
                    <a:pt x="375" y="190"/>
                  </a:lnTo>
                  <a:lnTo>
                    <a:pt x="336" y="199"/>
                  </a:lnTo>
                  <a:lnTo>
                    <a:pt x="291" y="206"/>
                  </a:lnTo>
                  <a:lnTo>
                    <a:pt x="243" y="208"/>
                  </a:lnTo>
                  <a:lnTo>
                    <a:pt x="195" y="206"/>
                  </a:lnTo>
                  <a:lnTo>
                    <a:pt x="150" y="199"/>
                  </a:lnTo>
                  <a:lnTo>
                    <a:pt x="111" y="190"/>
                  </a:lnTo>
                  <a:lnTo>
                    <a:pt x="76" y="178"/>
                  </a:lnTo>
                  <a:lnTo>
                    <a:pt x="49" y="164"/>
                  </a:lnTo>
                  <a:lnTo>
                    <a:pt x="28" y="150"/>
                  </a:lnTo>
                  <a:lnTo>
                    <a:pt x="23" y="146"/>
                  </a:lnTo>
                  <a:lnTo>
                    <a:pt x="18" y="142"/>
                  </a:lnTo>
                  <a:lnTo>
                    <a:pt x="9" y="130"/>
                  </a:lnTo>
                  <a:lnTo>
                    <a:pt x="3" y="118"/>
                  </a:lnTo>
                  <a:lnTo>
                    <a:pt x="1" y="111"/>
                  </a:lnTo>
                  <a:lnTo>
                    <a:pt x="0" y="104"/>
                  </a:lnTo>
                  <a:lnTo>
                    <a:pt x="0" y="99"/>
                  </a:lnTo>
                  <a:lnTo>
                    <a:pt x="1" y="95"/>
                  </a:lnTo>
                  <a:lnTo>
                    <a:pt x="9" y="78"/>
                  </a:lnTo>
                  <a:lnTo>
                    <a:pt x="24" y="61"/>
                  </a:lnTo>
                  <a:lnTo>
                    <a:pt x="47" y="45"/>
                  </a:lnTo>
                  <a:lnTo>
                    <a:pt x="76" y="30"/>
                  </a:lnTo>
                  <a:lnTo>
                    <a:pt x="110" y="19"/>
                  </a:lnTo>
                  <a:lnTo>
                    <a:pt x="150" y="9"/>
                  </a:lnTo>
                  <a:lnTo>
                    <a:pt x="195" y="3"/>
                  </a:lnTo>
                  <a:lnTo>
                    <a:pt x="24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44">
              <a:extLst>
                <a:ext uri="{FF2B5EF4-FFF2-40B4-BE49-F238E27FC236}">
                  <a16:creationId xmlns:a16="http://schemas.microsoft.com/office/drawing/2014/main" id="{61BE790E-7C02-0640-9728-CEB8FFB5F3C9}"/>
                </a:ext>
              </a:extLst>
            </p:cNvPr>
            <p:cNvSpPr>
              <a:spLocks/>
            </p:cNvSpPr>
            <p:nvPr/>
          </p:nvSpPr>
          <p:spPr bwMode="auto">
            <a:xfrm>
              <a:off x="4529218" y="3251522"/>
              <a:ext cx="384175" cy="127000"/>
            </a:xfrm>
            <a:custGeom>
              <a:avLst/>
              <a:gdLst>
                <a:gd name="T0" fmla="*/ 0 w 485"/>
                <a:gd name="T1" fmla="*/ 0 h 160"/>
                <a:gd name="T2" fmla="*/ 7 w 485"/>
                <a:gd name="T3" fmla="*/ 6 h 160"/>
                <a:gd name="T4" fmla="*/ 27 w 485"/>
                <a:gd name="T5" fmla="*/ 18 h 160"/>
                <a:gd name="T6" fmla="*/ 58 w 485"/>
                <a:gd name="T7" fmla="*/ 33 h 160"/>
                <a:gd name="T8" fmla="*/ 92 w 485"/>
                <a:gd name="T9" fmla="*/ 46 h 160"/>
                <a:gd name="T10" fmla="*/ 130 w 485"/>
                <a:gd name="T11" fmla="*/ 56 h 160"/>
                <a:gd name="T12" fmla="*/ 145 w 485"/>
                <a:gd name="T13" fmla="*/ 59 h 160"/>
                <a:gd name="T14" fmla="*/ 192 w 485"/>
                <a:gd name="T15" fmla="*/ 65 h 160"/>
                <a:gd name="T16" fmla="*/ 242 w 485"/>
                <a:gd name="T17" fmla="*/ 67 h 160"/>
                <a:gd name="T18" fmla="*/ 291 w 485"/>
                <a:gd name="T19" fmla="*/ 65 h 160"/>
                <a:gd name="T20" fmla="*/ 339 w 485"/>
                <a:gd name="T21" fmla="*/ 59 h 160"/>
                <a:gd name="T22" fmla="*/ 354 w 485"/>
                <a:gd name="T23" fmla="*/ 56 h 160"/>
                <a:gd name="T24" fmla="*/ 392 w 485"/>
                <a:gd name="T25" fmla="*/ 46 h 160"/>
                <a:gd name="T26" fmla="*/ 426 w 485"/>
                <a:gd name="T27" fmla="*/ 33 h 160"/>
                <a:gd name="T28" fmla="*/ 457 w 485"/>
                <a:gd name="T29" fmla="*/ 18 h 160"/>
                <a:gd name="T30" fmla="*/ 477 w 485"/>
                <a:gd name="T31" fmla="*/ 6 h 160"/>
                <a:gd name="T32" fmla="*/ 485 w 485"/>
                <a:gd name="T33" fmla="*/ 0 h 160"/>
                <a:gd name="T34" fmla="*/ 485 w 485"/>
                <a:gd name="T35" fmla="*/ 55 h 160"/>
                <a:gd name="T36" fmla="*/ 485 w 485"/>
                <a:gd name="T37" fmla="*/ 56 h 160"/>
                <a:gd name="T38" fmla="*/ 485 w 485"/>
                <a:gd name="T39" fmla="*/ 56 h 160"/>
                <a:gd name="T40" fmla="*/ 482 w 485"/>
                <a:gd name="T41" fmla="*/ 67 h 160"/>
                <a:gd name="T42" fmla="*/ 476 w 485"/>
                <a:gd name="T43" fmla="*/ 79 h 160"/>
                <a:gd name="T44" fmla="*/ 469 w 485"/>
                <a:gd name="T45" fmla="*/ 90 h 160"/>
                <a:gd name="T46" fmla="*/ 458 w 485"/>
                <a:gd name="T47" fmla="*/ 99 h 160"/>
                <a:gd name="T48" fmla="*/ 455 w 485"/>
                <a:gd name="T49" fmla="*/ 102 h 160"/>
                <a:gd name="T50" fmla="*/ 438 w 485"/>
                <a:gd name="T51" fmla="*/ 114 h 160"/>
                <a:gd name="T52" fmla="*/ 412 w 485"/>
                <a:gd name="T53" fmla="*/ 128 h 160"/>
                <a:gd name="T54" fmla="*/ 385 w 485"/>
                <a:gd name="T55" fmla="*/ 138 h 160"/>
                <a:gd name="T56" fmla="*/ 354 w 485"/>
                <a:gd name="T57" fmla="*/ 147 h 160"/>
                <a:gd name="T58" fmla="*/ 319 w 485"/>
                <a:gd name="T59" fmla="*/ 153 h 160"/>
                <a:gd name="T60" fmla="*/ 282 w 485"/>
                <a:gd name="T61" fmla="*/ 159 h 160"/>
                <a:gd name="T62" fmla="*/ 242 w 485"/>
                <a:gd name="T63" fmla="*/ 160 h 160"/>
                <a:gd name="T64" fmla="*/ 202 w 485"/>
                <a:gd name="T65" fmla="*/ 159 h 160"/>
                <a:gd name="T66" fmla="*/ 164 w 485"/>
                <a:gd name="T67" fmla="*/ 153 h 160"/>
                <a:gd name="T68" fmla="*/ 130 w 485"/>
                <a:gd name="T69" fmla="*/ 147 h 160"/>
                <a:gd name="T70" fmla="*/ 99 w 485"/>
                <a:gd name="T71" fmla="*/ 138 h 160"/>
                <a:gd name="T72" fmla="*/ 72 w 485"/>
                <a:gd name="T73" fmla="*/ 128 h 160"/>
                <a:gd name="T74" fmla="*/ 46 w 485"/>
                <a:gd name="T75" fmla="*/ 114 h 160"/>
                <a:gd name="T76" fmla="*/ 28 w 485"/>
                <a:gd name="T77" fmla="*/ 102 h 160"/>
                <a:gd name="T78" fmla="*/ 26 w 485"/>
                <a:gd name="T79" fmla="*/ 99 h 160"/>
                <a:gd name="T80" fmla="*/ 16 w 485"/>
                <a:gd name="T81" fmla="*/ 90 h 160"/>
                <a:gd name="T82" fmla="*/ 8 w 485"/>
                <a:gd name="T83" fmla="*/ 79 h 160"/>
                <a:gd name="T84" fmla="*/ 2 w 485"/>
                <a:gd name="T85" fmla="*/ 67 h 160"/>
                <a:gd name="T86" fmla="*/ 0 w 485"/>
                <a:gd name="T87" fmla="*/ 56 h 160"/>
                <a:gd name="T88" fmla="*/ 0 w 485"/>
                <a:gd name="T89" fmla="*/ 56 h 160"/>
                <a:gd name="T90" fmla="*/ 0 w 485"/>
                <a:gd name="T91" fmla="*/ 55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6"/>
                  </a:lnTo>
                  <a:lnTo>
                    <a:pt x="27" y="18"/>
                  </a:lnTo>
                  <a:lnTo>
                    <a:pt x="58" y="33"/>
                  </a:lnTo>
                  <a:lnTo>
                    <a:pt x="92" y="46"/>
                  </a:lnTo>
                  <a:lnTo>
                    <a:pt x="130" y="56"/>
                  </a:lnTo>
                  <a:lnTo>
                    <a:pt x="145" y="59"/>
                  </a:lnTo>
                  <a:lnTo>
                    <a:pt x="192" y="65"/>
                  </a:lnTo>
                  <a:lnTo>
                    <a:pt x="242" y="67"/>
                  </a:lnTo>
                  <a:lnTo>
                    <a:pt x="291" y="65"/>
                  </a:lnTo>
                  <a:lnTo>
                    <a:pt x="339" y="59"/>
                  </a:lnTo>
                  <a:lnTo>
                    <a:pt x="354" y="56"/>
                  </a:lnTo>
                  <a:lnTo>
                    <a:pt x="392" y="46"/>
                  </a:lnTo>
                  <a:lnTo>
                    <a:pt x="426" y="33"/>
                  </a:lnTo>
                  <a:lnTo>
                    <a:pt x="457" y="18"/>
                  </a:lnTo>
                  <a:lnTo>
                    <a:pt x="477" y="6"/>
                  </a:lnTo>
                  <a:lnTo>
                    <a:pt x="485" y="0"/>
                  </a:lnTo>
                  <a:lnTo>
                    <a:pt x="485" y="55"/>
                  </a:lnTo>
                  <a:lnTo>
                    <a:pt x="485" y="56"/>
                  </a:lnTo>
                  <a:lnTo>
                    <a:pt x="485" y="56"/>
                  </a:lnTo>
                  <a:lnTo>
                    <a:pt x="482" y="67"/>
                  </a:lnTo>
                  <a:lnTo>
                    <a:pt x="476" y="79"/>
                  </a:lnTo>
                  <a:lnTo>
                    <a:pt x="469" y="90"/>
                  </a:lnTo>
                  <a:lnTo>
                    <a:pt x="458" y="99"/>
                  </a:lnTo>
                  <a:lnTo>
                    <a:pt x="455" y="102"/>
                  </a:lnTo>
                  <a:lnTo>
                    <a:pt x="438" y="114"/>
                  </a:lnTo>
                  <a:lnTo>
                    <a:pt x="412" y="128"/>
                  </a:lnTo>
                  <a:lnTo>
                    <a:pt x="385" y="138"/>
                  </a:lnTo>
                  <a:lnTo>
                    <a:pt x="354" y="147"/>
                  </a:lnTo>
                  <a:lnTo>
                    <a:pt x="319" y="153"/>
                  </a:lnTo>
                  <a:lnTo>
                    <a:pt x="282" y="159"/>
                  </a:lnTo>
                  <a:lnTo>
                    <a:pt x="242" y="160"/>
                  </a:lnTo>
                  <a:lnTo>
                    <a:pt x="202" y="159"/>
                  </a:lnTo>
                  <a:lnTo>
                    <a:pt x="164" y="153"/>
                  </a:lnTo>
                  <a:lnTo>
                    <a:pt x="130" y="147"/>
                  </a:lnTo>
                  <a:lnTo>
                    <a:pt x="99" y="138"/>
                  </a:lnTo>
                  <a:lnTo>
                    <a:pt x="72" y="128"/>
                  </a:lnTo>
                  <a:lnTo>
                    <a:pt x="46" y="114"/>
                  </a:lnTo>
                  <a:lnTo>
                    <a:pt x="28" y="102"/>
                  </a:lnTo>
                  <a:lnTo>
                    <a:pt x="26" y="99"/>
                  </a:lnTo>
                  <a:lnTo>
                    <a:pt x="16" y="90"/>
                  </a:lnTo>
                  <a:lnTo>
                    <a:pt x="8" y="79"/>
                  </a:lnTo>
                  <a:lnTo>
                    <a:pt x="2" y="67"/>
                  </a:lnTo>
                  <a:lnTo>
                    <a:pt x="0" y="56"/>
                  </a:lnTo>
                  <a:lnTo>
                    <a:pt x="0" y="56"/>
                  </a:lnTo>
                  <a:lnTo>
                    <a:pt x="0" y="5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45">
              <a:extLst>
                <a:ext uri="{FF2B5EF4-FFF2-40B4-BE49-F238E27FC236}">
                  <a16:creationId xmlns:a16="http://schemas.microsoft.com/office/drawing/2014/main" id="{85A89B9F-E8E3-D54B-84E8-42CC8FD55E10}"/>
                </a:ext>
              </a:extLst>
            </p:cNvPr>
            <p:cNvSpPr>
              <a:spLocks/>
            </p:cNvSpPr>
            <p:nvPr/>
          </p:nvSpPr>
          <p:spPr bwMode="auto">
            <a:xfrm>
              <a:off x="4529218" y="3359472"/>
              <a:ext cx="384175" cy="125412"/>
            </a:xfrm>
            <a:custGeom>
              <a:avLst/>
              <a:gdLst>
                <a:gd name="T0" fmla="*/ 0 w 485"/>
                <a:gd name="T1" fmla="*/ 0 h 160"/>
                <a:gd name="T2" fmla="*/ 7 w 485"/>
                <a:gd name="T3" fmla="*/ 6 h 160"/>
                <a:gd name="T4" fmla="*/ 27 w 485"/>
                <a:gd name="T5" fmla="*/ 18 h 160"/>
                <a:gd name="T6" fmla="*/ 58 w 485"/>
                <a:gd name="T7" fmla="*/ 33 h 160"/>
                <a:gd name="T8" fmla="*/ 92 w 485"/>
                <a:gd name="T9" fmla="*/ 46 h 160"/>
                <a:gd name="T10" fmla="*/ 130 w 485"/>
                <a:gd name="T11" fmla="*/ 56 h 160"/>
                <a:gd name="T12" fmla="*/ 145 w 485"/>
                <a:gd name="T13" fmla="*/ 59 h 160"/>
                <a:gd name="T14" fmla="*/ 192 w 485"/>
                <a:gd name="T15" fmla="*/ 65 h 160"/>
                <a:gd name="T16" fmla="*/ 242 w 485"/>
                <a:gd name="T17" fmla="*/ 67 h 160"/>
                <a:gd name="T18" fmla="*/ 291 w 485"/>
                <a:gd name="T19" fmla="*/ 65 h 160"/>
                <a:gd name="T20" fmla="*/ 339 w 485"/>
                <a:gd name="T21" fmla="*/ 59 h 160"/>
                <a:gd name="T22" fmla="*/ 354 w 485"/>
                <a:gd name="T23" fmla="*/ 56 h 160"/>
                <a:gd name="T24" fmla="*/ 392 w 485"/>
                <a:gd name="T25" fmla="*/ 46 h 160"/>
                <a:gd name="T26" fmla="*/ 426 w 485"/>
                <a:gd name="T27" fmla="*/ 33 h 160"/>
                <a:gd name="T28" fmla="*/ 457 w 485"/>
                <a:gd name="T29" fmla="*/ 18 h 160"/>
                <a:gd name="T30" fmla="*/ 477 w 485"/>
                <a:gd name="T31" fmla="*/ 6 h 160"/>
                <a:gd name="T32" fmla="*/ 485 w 485"/>
                <a:gd name="T33" fmla="*/ 0 h 160"/>
                <a:gd name="T34" fmla="*/ 485 w 485"/>
                <a:gd name="T35" fmla="*/ 54 h 160"/>
                <a:gd name="T36" fmla="*/ 485 w 485"/>
                <a:gd name="T37" fmla="*/ 56 h 160"/>
                <a:gd name="T38" fmla="*/ 485 w 485"/>
                <a:gd name="T39" fmla="*/ 56 h 160"/>
                <a:gd name="T40" fmla="*/ 482 w 485"/>
                <a:gd name="T41" fmla="*/ 67 h 160"/>
                <a:gd name="T42" fmla="*/ 476 w 485"/>
                <a:gd name="T43" fmla="*/ 79 h 160"/>
                <a:gd name="T44" fmla="*/ 469 w 485"/>
                <a:gd name="T45" fmla="*/ 90 h 160"/>
                <a:gd name="T46" fmla="*/ 458 w 485"/>
                <a:gd name="T47" fmla="*/ 99 h 160"/>
                <a:gd name="T48" fmla="*/ 455 w 485"/>
                <a:gd name="T49" fmla="*/ 102 h 160"/>
                <a:gd name="T50" fmla="*/ 438 w 485"/>
                <a:gd name="T51" fmla="*/ 114 h 160"/>
                <a:gd name="T52" fmla="*/ 412 w 485"/>
                <a:gd name="T53" fmla="*/ 128 h 160"/>
                <a:gd name="T54" fmla="*/ 385 w 485"/>
                <a:gd name="T55" fmla="*/ 138 h 160"/>
                <a:gd name="T56" fmla="*/ 354 w 485"/>
                <a:gd name="T57" fmla="*/ 147 h 160"/>
                <a:gd name="T58" fmla="*/ 319 w 485"/>
                <a:gd name="T59" fmla="*/ 154 h 160"/>
                <a:gd name="T60" fmla="*/ 282 w 485"/>
                <a:gd name="T61" fmla="*/ 159 h 160"/>
                <a:gd name="T62" fmla="*/ 242 w 485"/>
                <a:gd name="T63" fmla="*/ 160 h 160"/>
                <a:gd name="T64" fmla="*/ 202 w 485"/>
                <a:gd name="T65" fmla="*/ 159 h 160"/>
                <a:gd name="T66" fmla="*/ 164 w 485"/>
                <a:gd name="T67" fmla="*/ 154 h 160"/>
                <a:gd name="T68" fmla="*/ 130 w 485"/>
                <a:gd name="T69" fmla="*/ 147 h 160"/>
                <a:gd name="T70" fmla="*/ 99 w 485"/>
                <a:gd name="T71" fmla="*/ 138 h 160"/>
                <a:gd name="T72" fmla="*/ 72 w 485"/>
                <a:gd name="T73" fmla="*/ 128 h 160"/>
                <a:gd name="T74" fmla="*/ 46 w 485"/>
                <a:gd name="T75" fmla="*/ 114 h 160"/>
                <a:gd name="T76" fmla="*/ 28 w 485"/>
                <a:gd name="T77" fmla="*/ 102 h 160"/>
                <a:gd name="T78" fmla="*/ 26 w 485"/>
                <a:gd name="T79" fmla="*/ 99 h 160"/>
                <a:gd name="T80" fmla="*/ 16 w 485"/>
                <a:gd name="T81" fmla="*/ 90 h 160"/>
                <a:gd name="T82" fmla="*/ 8 w 485"/>
                <a:gd name="T83" fmla="*/ 79 h 160"/>
                <a:gd name="T84" fmla="*/ 2 w 485"/>
                <a:gd name="T85" fmla="*/ 67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6"/>
                  </a:lnTo>
                  <a:lnTo>
                    <a:pt x="27" y="18"/>
                  </a:lnTo>
                  <a:lnTo>
                    <a:pt x="58" y="33"/>
                  </a:lnTo>
                  <a:lnTo>
                    <a:pt x="92" y="46"/>
                  </a:lnTo>
                  <a:lnTo>
                    <a:pt x="130" y="56"/>
                  </a:lnTo>
                  <a:lnTo>
                    <a:pt x="145" y="59"/>
                  </a:lnTo>
                  <a:lnTo>
                    <a:pt x="192" y="65"/>
                  </a:lnTo>
                  <a:lnTo>
                    <a:pt x="242" y="67"/>
                  </a:lnTo>
                  <a:lnTo>
                    <a:pt x="291" y="65"/>
                  </a:lnTo>
                  <a:lnTo>
                    <a:pt x="339" y="59"/>
                  </a:lnTo>
                  <a:lnTo>
                    <a:pt x="354" y="56"/>
                  </a:lnTo>
                  <a:lnTo>
                    <a:pt x="392" y="46"/>
                  </a:lnTo>
                  <a:lnTo>
                    <a:pt x="426" y="33"/>
                  </a:lnTo>
                  <a:lnTo>
                    <a:pt x="457" y="18"/>
                  </a:lnTo>
                  <a:lnTo>
                    <a:pt x="477" y="6"/>
                  </a:lnTo>
                  <a:lnTo>
                    <a:pt x="485" y="0"/>
                  </a:lnTo>
                  <a:lnTo>
                    <a:pt x="485" y="54"/>
                  </a:lnTo>
                  <a:lnTo>
                    <a:pt x="485" y="56"/>
                  </a:lnTo>
                  <a:lnTo>
                    <a:pt x="485" y="56"/>
                  </a:lnTo>
                  <a:lnTo>
                    <a:pt x="482" y="67"/>
                  </a:lnTo>
                  <a:lnTo>
                    <a:pt x="476" y="79"/>
                  </a:lnTo>
                  <a:lnTo>
                    <a:pt x="469" y="90"/>
                  </a:lnTo>
                  <a:lnTo>
                    <a:pt x="458" y="99"/>
                  </a:lnTo>
                  <a:lnTo>
                    <a:pt x="455" y="102"/>
                  </a:lnTo>
                  <a:lnTo>
                    <a:pt x="438" y="114"/>
                  </a:lnTo>
                  <a:lnTo>
                    <a:pt x="412" y="128"/>
                  </a:lnTo>
                  <a:lnTo>
                    <a:pt x="385" y="138"/>
                  </a:lnTo>
                  <a:lnTo>
                    <a:pt x="354" y="147"/>
                  </a:lnTo>
                  <a:lnTo>
                    <a:pt x="319" y="154"/>
                  </a:lnTo>
                  <a:lnTo>
                    <a:pt x="282" y="159"/>
                  </a:lnTo>
                  <a:lnTo>
                    <a:pt x="242" y="160"/>
                  </a:lnTo>
                  <a:lnTo>
                    <a:pt x="202" y="159"/>
                  </a:lnTo>
                  <a:lnTo>
                    <a:pt x="164" y="154"/>
                  </a:lnTo>
                  <a:lnTo>
                    <a:pt x="130" y="147"/>
                  </a:lnTo>
                  <a:lnTo>
                    <a:pt x="99" y="138"/>
                  </a:lnTo>
                  <a:lnTo>
                    <a:pt x="72" y="128"/>
                  </a:lnTo>
                  <a:lnTo>
                    <a:pt x="46" y="114"/>
                  </a:lnTo>
                  <a:lnTo>
                    <a:pt x="28" y="102"/>
                  </a:lnTo>
                  <a:lnTo>
                    <a:pt x="26" y="99"/>
                  </a:lnTo>
                  <a:lnTo>
                    <a:pt x="16" y="90"/>
                  </a:lnTo>
                  <a:lnTo>
                    <a:pt x="8" y="79"/>
                  </a:lnTo>
                  <a:lnTo>
                    <a:pt x="2" y="67"/>
                  </a:lnTo>
                  <a:lnTo>
                    <a:pt x="0" y="56"/>
                  </a:lnTo>
                  <a:lnTo>
                    <a:pt x="0" y="56"/>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46">
              <a:extLst>
                <a:ext uri="{FF2B5EF4-FFF2-40B4-BE49-F238E27FC236}">
                  <a16:creationId xmlns:a16="http://schemas.microsoft.com/office/drawing/2014/main" id="{C3CC4386-0CF4-9245-8582-0D1C0ABCBA75}"/>
                </a:ext>
              </a:extLst>
            </p:cNvPr>
            <p:cNvSpPr>
              <a:spLocks/>
            </p:cNvSpPr>
            <p:nvPr/>
          </p:nvSpPr>
          <p:spPr bwMode="auto">
            <a:xfrm>
              <a:off x="4529218" y="3465835"/>
              <a:ext cx="384175" cy="127000"/>
            </a:xfrm>
            <a:custGeom>
              <a:avLst/>
              <a:gdLst>
                <a:gd name="T0" fmla="*/ 0 w 485"/>
                <a:gd name="T1" fmla="*/ 0 h 160"/>
                <a:gd name="T2" fmla="*/ 7 w 485"/>
                <a:gd name="T3" fmla="*/ 5 h 160"/>
                <a:gd name="T4" fmla="*/ 27 w 485"/>
                <a:gd name="T5" fmla="*/ 18 h 160"/>
                <a:gd name="T6" fmla="*/ 58 w 485"/>
                <a:gd name="T7" fmla="*/ 34 h 160"/>
                <a:gd name="T8" fmla="*/ 92 w 485"/>
                <a:gd name="T9" fmla="*/ 46 h 160"/>
                <a:gd name="T10" fmla="*/ 130 w 485"/>
                <a:gd name="T11" fmla="*/ 56 h 160"/>
                <a:gd name="T12" fmla="*/ 145 w 485"/>
                <a:gd name="T13" fmla="*/ 59 h 160"/>
                <a:gd name="T14" fmla="*/ 192 w 485"/>
                <a:gd name="T15" fmla="*/ 65 h 160"/>
                <a:gd name="T16" fmla="*/ 242 w 485"/>
                <a:gd name="T17" fmla="*/ 67 h 160"/>
                <a:gd name="T18" fmla="*/ 291 w 485"/>
                <a:gd name="T19" fmla="*/ 65 h 160"/>
                <a:gd name="T20" fmla="*/ 339 w 485"/>
                <a:gd name="T21" fmla="*/ 59 h 160"/>
                <a:gd name="T22" fmla="*/ 354 w 485"/>
                <a:gd name="T23" fmla="*/ 56 h 160"/>
                <a:gd name="T24" fmla="*/ 392 w 485"/>
                <a:gd name="T25" fmla="*/ 46 h 160"/>
                <a:gd name="T26" fmla="*/ 426 w 485"/>
                <a:gd name="T27" fmla="*/ 34 h 160"/>
                <a:gd name="T28" fmla="*/ 457 w 485"/>
                <a:gd name="T29" fmla="*/ 18 h 160"/>
                <a:gd name="T30" fmla="*/ 477 w 485"/>
                <a:gd name="T31" fmla="*/ 5 h 160"/>
                <a:gd name="T32" fmla="*/ 485 w 485"/>
                <a:gd name="T33" fmla="*/ 0 h 160"/>
                <a:gd name="T34" fmla="*/ 485 w 485"/>
                <a:gd name="T35" fmla="*/ 54 h 160"/>
                <a:gd name="T36" fmla="*/ 485 w 485"/>
                <a:gd name="T37" fmla="*/ 55 h 160"/>
                <a:gd name="T38" fmla="*/ 485 w 485"/>
                <a:gd name="T39" fmla="*/ 56 h 160"/>
                <a:gd name="T40" fmla="*/ 482 w 485"/>
                <a:gd name="T41" fmla="*/ 67 h 160"/>
                <a:gd name="T42" fmla="*/ 476 w 485"/>
                <a:gd name="T43" fmla="*/ 79 h 160"/>
                <a:gd name="T44" fmla="*/ 469 w 485"/>
                <a:gd name="T45" fmla="*/ 89 h 160"/>
                <a:gd name="T46" fmla="*/ 458 w 485"/>
                <a:gd name="T47" fmla="*/ 100 h 160"/>
                <a:gd name="T48" fmla="*/ 455 w 485"/>
                <a:gd name="T49" fmla="*/ 102 h 160"/>
                <a:gd name="T50" fmla="*/ 438 w 485"/>
                <a:gd name="T51" fmla="*/ 115 h 160"/>
                <a:gd name="T52" fmla="*/ 412 w 485"/>
                <a:gd name="T53" fmla="*/ 128 h 160"/>
                <a:gd name="T54" fmla="*/ 385 w 485"/>
                <a:gd name="T55" fmla="*/ 138 h 160"/>
                <a:gd name="T56" fmla="*/ 354 w 485"/>
                <a:gd name="T57" fmla="*/ 148 h 160"/>
                <a:gd name="T58" fmla="*/ 319 w 485"/>
                <a:gd name="T59" fmla="*/ 154 h 160"/>
                <a:gd name="T60" fmla="*/ 282 w 485"/>
                <a:gd name="T61" fmla="*/ 158 h 160"/>
                <a:gd name="T62" fmla="*/ 242 w 485"/>
                <a:gd name="T63" fmla="*/ 160 h 160"/>
                <a:gd name="T64" fmla="*/ 202 w 485"/>
                <a:gd name="T65" fmla="*/ 158 h 160"/>
                <a:gd name="T66" fmla="*/ 164 w 485"/>
                <a:gd name="T67" fmla="*/ 154 h 160"/>
                <a:gd name="T68" fmla="*/ 130 w 485"/>
                <a:gd name="T69" fmla="*/ 148 h 160"/>
                <a:gd name="T70" fmla="*/ 99 w 485"/>
                <a:gd name="T71" fmla="*/ 138 h 160"/>
                <a:gd name="T72" fmla="*/ 72 w 485"/>
                <a:gd name="T73" fmla="*/ 128 h 160"/>
                <a:gd name="T74" fmla="*/ 46 w 485"/>
                <a:gd name="T75" fmla="*/ 115 h 160"/>
                <a:gd name="T76" fmla="*/ 28 w 485"/>
                <a:gd name="T77" fmla="*/ 102 h 160"/>
                <a:gd name="T78" fmla="*/ 26 w 485"/>
                <a:gd name="T79" fmla="*/ 100 h 160"/>
                <a:gd name="T80" fmla="*/ 16 w 485"/>
                <a:gd name="T81" fmla="*/ 89 h 160"/>
                <a:gd name="T82" fmla="*/ 8 w 485"/>
                <a:gd name="T83" fmla="*/ 79 h 160"/>
                <a:gd name="T84" fmla="*/ 2 w 485"/>
                <a:gd name="T85" fmla="*/ 67 h 160"/>
                <a:gd name="T86" fmla="*/ 0 w 485"/>
                <a:gd name="T87" fmla="*/ 56 h 160"/>
                <a:gd name="T88" fmla="*/ 0 w 485"/>
                <a:gd name="T89" fmla="*/ 55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5"/>
                  </a:lnTo>
                  <a:lnTo>
                    <a:pt x="27" y="18"/>
                  </a:lnTo>
                  <a:lnTo>
                    <a:pt x="58" y="34"/>
                  </a:lnTo>
                  <a:lnTo>
                    <a:pt x="92" y="46"/>
                  </a:lnTo>
                  <a:lnTo>
                    <a:pt x="130" y="56"/>
                  </a:lnTo>
                  <a:lnTo>
                    <a:pt x="145" y="59"/>
                  </a:lnTo>
                  <a:lnTo>
                    <a:pt x="192" y="65"/>
                  </a:lnTo>
                  <a:lnTo>
                    <a:pt x="242" y="67"/>
                  </a:lnTo>
                  <a:lnTo>
                    <a:pt x="291" y="65"/>
                  </a:lnTo>
                  <a:lnTo>
                    <a:pt x="339" y="59"/>
                  </a:lnTo>
                  <a:lnTo>
                    <a:pt x="354" y="56"/>
                  </a:lnTo>
                  <a:lnTo>
                    <a:pt x="392" y="46"/>
                  </a:lnTo>
                  <a:lnTo>
                    <a:pt x="426" y="34"/>
                  </a:lnTo>
                  <a:lnTo>
                    <a:pt x="457" y="18"/>
                  </a:lnTo>
                  <a:lnTo>
                    <a:pt x="477" y="5"/>
                  </a:lnTo>
                  <a:lnTo>
                    <a:pt x="485" y="0"/>
                  </a:lnTo>
                  <a:lnTo>
                    <a:pt x="485" y="54"/>
                  </a:lnTo>
                  <a:lnTo>
                    <a:pt x="485" y="55"/>
                  </a:lnTo>
                  <a:lnTo>
                    <a:pt x="485" y="56"/>
                  </a:lnTo>
                  <a:lnTo>
                    <a:pt x="482" y="67"/>
                  </a:lnTo>
                  <a:lnTo>
                    <a:pt x="476" y="79"/>
                  </a:lnTo>
                  <a:lnTo>
                    <a:pt x="469" y="89"/>
                  </a:lnTo>
                  <a:lnTo>
                    <a:pt x="458" y="100"/>
                  </a:lnTo>
                  <a:lnTo>
                    <a:pt x="455" y="102"/>
                  </a:lnTo>
                  <a:lnTo>
                    <a:pt x="438" y="115"/>
                  </a:lnTo>
                  <a:lnTo>
                    <a:pt x="412" y="128"/>
                  </a:lnTo>
                  <a:lnTo>
                    <a:pt x="385" y="138"/>
                  </a:lnTo>
                  <a:lnTo>
                    <a:pt x="354" y="148"/>
                  </a:lnTo>
                  <a:lnTo>
                    <a:pt x="319" y="154"/>
                  </a:lnTo>
                  <a:lnTo>
                    <a:pt x="282" y="158"/>
                  </a:lnTo>
                  <a:lnTo>
                    <a:pt x="242" y="160"/>
                  </a:lnTo>
                  <a:lnTo>
                    <a:pt x="202" y="158"/>
                  </a:lnTo>
                  <a:lnTo>
                    <a:pt x="164" y="154"/>
                  </a:lnTo>
                  <a:lnTo>
                    <a:pt x="130" y="148"/>
                  </a:lnTo>
                  <a:lnTo>
                    <a:pt x="99" y="138"/>
                  </a:lnTo>
                  <a:lnTo>
                    <a:pt x="72" y="128"/>
                  </a:lnTo>
                  <a:lnTo>
                    <a:pt x="46" y="115"/>
                  </a:lnTo>
                  <a:lnTo>
                    <a:pt x="28" y="102"/>
                  </a:lnTo>
                  <a:lnTo>
                    <a:pt x="26" y="100"/>
                  </a:lnTo>
                  <a:lnTo>
                    <a:pt x="16" y="89"/>
                  </a:lnTo>
                  <a:lnTo>
                    <a:pt x="8" y="79"/>
                  </a:lnTo>
                  <a:lnTo>
                    <a:pt x="2" y="67"/>
                  </a:lnTo>
                  <a:lnTo>
                    <a:pt x="0" y="56"/>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47">
              <a:extLst>
                <a:ext uri="{FF2B5EF4-FFF2-40B4-BE49-F238E27FC236}">
                  <a16:creationId xmlns:a16="http://schemas.microsoft.com/office/drawing/2014/main" id="{DFB0AAB2-0442-884E-9FDE-4AFEA0F1FFE3}"/>
                </a:ext>
              </a:extLst>
            </p:cNvPr>
            <p:cNvSpPr>
              <a:spLocks/>
            </p:cNvSpPr>
            <p:nvPr/>
          </p:nvSpPr>
          <p:spPr bwMode="auto">
            <a:xfrm>
              <a:off x="4529218" y="3573785"/>
              <a:ext cx="384175" cy="127000"/>
            </a:xfrm>
            <a:custGeom>
              <a:avLst/>
              <a:gdLst>
                <a:gd name="T0" fmla="*/ 0 w 485"/>
                <a:gd name="T1" fmla="*/ 0 h 160"/>
                <a:gd name="T2" fmla="*/ 7 w 485"/>
                <a:gd name="T3" fmla="*/ 5 h 160"/>
                <a:gd name="T4" fmla="*/ 27 w 485"/>
                <a:gd name="T5" fmla="*/ 19 h 160"/>
                <a:gd name="T6" fmla="*/ 58 w 485"/>
                <a:gd name="T7" fmla="*/ 34 h 160"/>
                <a:gd name="T8" fmla="*/ 92 w 485"/>
                <a:gd name="T9" fmla="*/ 47 h 160"/>
                <a:gd name="T10" fmla="*/ 130 w 485"/>
                <a:gd name="T11" fmla="*/ 56 h 160"/>
                <a:gd name="T12" fmla="*/ 145 w 485"/>
                <a:gd name="T13" fmla="*/ 60 h 160"/>
                <a:gd name="T14" fmla="*/ 192 w 485"/>
                <a:gd name="T15" fmla="*/ 65 h 160"/>
                <a:gd name="T16" fmla="*/ 242 w 485"/>
                <a:gd name="T17" fmla="*/ 67 h 160"/>
                <a:gd name="T18" fmla="*/ 291 w 485"/>
                <a:gd name="T19" fmla="*/ 65 h 160"/>
                <a:gd name="T20" fmla="*/ 339 w 485"/>
                <a:gd name="T21" fmla="*/ 60 h 160"/>
                <a:gd name="T22" fmla="*/ 354 w 485"/>
                <a:gd name="T23" fmla="*/ 56 h 160"/>
                <a:gd name="T24" fmla="*/ 392 w 485"/>
                <a:gd name="T25" fmla="*/ 47 h 160"/>
                <a:gd name="T26" fmla="*/ 426 w 485"/>
                <a:gd name="T27" fmla="*/ 34 h 160"/>
                <a:gd name="T28" fmla="*/ 457 w 485"/>
                <a:gd name="T29" fmla="*/ 19 h 160"/>
                <a:gd name="T30" fmla="*/ 477 w 485"/>
                <a:gd name="T31" fmla="*/ 5 h 160"/>
                <a:gd name="T32" fmla="*/ 485 w 485"/>
                <a:gd name="T33" fmla="*/ 0 h 160"/>
                <a:gd name="T34" fmla="*/ 485 w 485"/>
                <a:gd name="T35" fmla="*/ 54 h 160"/>
                <a:gd name="T36" fmla="*/ 485 w 485"/>
                <a:gd name="T37" fmla="*/ 56 h 160"/>
                <a:gd name="T38" fmla="*/ 485 w 485"/>
                <a:gd name="T39" fmla="*/ 56 h 160"/>
                <a:gd name="T40" fmla="*/ 482 w 485"/>
                <a:gd name="T41" fmla="*/ 68 h 160"/>
                <a:gd name="T42" fmla="*/ 476 w 485"/>
                <a:gd name="T43" fmla="*/ 80 h 160"/>
                <a:gd name="T44" fmla="*/ 469 w 485"/>
                <a:gd name="T45" fmla="*/ 89 h 160"/>
                <a:gd name="T46" fmla="*/ 458 w 485"/>
                <a:gd name="T47" fmla="*/ 100 h 160"/>
                <a:gd name="T48" fmla="*/ 455 w 485"/>
                <a:gd name="T49" fmla="*/ 102 h 160"/>
                <a:gd name="T50" fmla="*/ 438 w 485"/>
                <a:gd name="T51" fmla="*/ 115 h 160"/>
                <a:gd name="T52" fmla="*/ 412 w 485"/>
                <a:gd name="T53" fmla="*/ 129 h 160"/>
                <a:gd name="T54" fmla="*/ 385 w 485"/>
                <a:gd name="T55" fmla="*/ 139 h 160"/>
                <a:gd name="T56" fmla="*/ 354 w 485"/>
                <a:gd name="T57" fmla="*/ 148 h 160"/>
                <a:gd name="T58" fmla="*/ 319 w 485"/>
                <a:gd name="T59" fmla="*/ 154 h 160"/>
                <a:gd name="T60" fmla="*/ 282 w 485"/>
                <a:gd name="T61" fmla="*/ 158 h 160"/>
                <a:gd name="T62" fmla="*/ 242 w 485"/>
                <a:gd name="T63" fmla="*/ 160 h 160"/>
                <a:gd name="T64" fmla="*/ 202 w 485"/>
                <a:gd name="T65" fmla="*/ 158 h 160"/>
                <a:gd name="T66" fmla="*/ 164 w 485"/>
                <a:gd name="T67" fmla="*/ 154 h 160"/>
                <a:gd name="T68" fmla="*/ 130 w 485"/>
                <a:gd name="T69" fmla="*/ 148 h 160"/>
                <a:gd name="T70" fmla="*/ 99 w 485"/>
                <a:gd name="T71" fmla="*/ 139 h 160"/>
                <a:gd name="T72" fmla="*/ 72 w 485"/>
                <a:gd name="T73" fmla="*/ 129 h 160"/>
                <a:gd name="T74" fmla="*/ 46 w 485"/>
                <a:gd name="T75" fmla="*/ 115 h 160"/>
                <a:gd name="T76" fmla="*/ 28 w 485"/>
                <a:gd name="T77" fmla="*/ 102 h 160"/>
                <a:gd name="T78" fmla="*/ 26 w 485"/>
                <a:gd name="T79" fmla="*/ 100 h 160"/>
                <a:gd name="T80" fmla="*/ 16 w 485"/>
                <a:gd name="T81" fmla="*/ 89 h 160"/>
                <a:gd name="T82" fmla="*/ 8 w 485"/>
                <a:gd name="T83" fmla="*/ 80 h 160"/>
                <a:gd name="T84" fmla="*/ 2 w 485"/>
                <a:gd name="T85" fmla="*/ 68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5"/>
                  </a:lnTo>
                  <a:lnTo>
                    <a:pt x="27" y="19"/>
                  </a:lnTo>
                  <a:lnTo>
                    <a:pt x="58" y="34"/>
                  </a:lnTo>
                  <a:lnTo>
                    <a:pt x="92" y="47"/>
                  </a:lnTo>
                  <a:lnTo>
                    <a:pt x="130" y="56"/>
                  </a:lnTo>
                  <a:lnTo>
                    <a:pt x="145" y="60"/>
                  </a:lnTo>
                  <a:lnTo>
                    <a:pt x="192" y="65"/>
                  </a:lnTo>
                  <a:lnTo>
                    <a:pt x="242" y="67"/>
                  </a:lnTo>
                  <a:lnTo>
                    <a:pt x="291" y="65"/>
                  </a:lnTo>
                  <a:lnTo>
                    <a:pt x="339" y="60"/>
                  </a:lnTo>
                  <a:lnTo>
                    <a:pt x="354" y="56"/>
                  </a:lnTo>
                  <a:lnTo>
                    <a:pt x="392" y="47"/>
                  </a:lnTo>
                  <a:lnTo>
                    <a:pt x="426" y="34"/>
                  </a:lnTo>
                  <a:lnTo>
                    <a:pt x="457" y="19"/>
                  </a:lnTo>
                  <a:lnTo>
                    <a:pt x="477" y="5"/>
                  </a:lnTo>
                  <a:lnTo>
                    <a:pt x="485" y="0"/>
                  </a:lnTo>
                  <a:lnTo>
                    <a:pt x="485" y="54"/>
                  </a:lnTo>
                  <a:lnTo>
                    <a:pt x="485" y="56"/>
                  </a:lnTo>
                  <a:lnTo>
                    <a:pt x="485" y="56"/>
                  </a:lnTo>
                  <a:lnTo>
                    <a:pt x="482" y="68"/>
                  </a:lnTo>
                  <a:lnTo>
                    <a:pt x="476" y="80"/>
                  </a:lnTo>
                  <a:lnTo>
                    <a:pt x="469" y="89"/>
                  </a:lnTo>
                  <a:lnTo>
                    <a:pt x="458" y="100"/>
                  </a:lnTo>
                  <a:lnTo>
                    <a:pt x="455" y="102"/>
                  </a:lnTo>
                  <a:lnTo>
                    <a:pt x="438" y="115"/>
                  </a:lnTo>
                  <a:lnTo>
                    <a:pt x="412" y="129"/>
                  </a:lnTo>
                  <a:lnTo>
                    <a:pt x="385" y="139"/>
                  </a:lnTo>
                  <a:lnTo>
                    <a:pt x="354" y="148"/>
                  </a:lnTo>
                  <a:lnTo>
                    <a:pt x="319" y="154"/>
                  </a:lnTo>
                  <a:lnTo>
                    <a:pt x="282" y="158"/>
                  </a:lnTo>
                  <a:lnTo>
                    <a:pt x="242" y="160"/>
                  </a:lnTo>
                  <a:lnTo>
                    <a:pt x="202" y="158"/>
                  </a:lnTo>
                  <a:lnTo>
                    <a:pt x="164" y="154"/>
                  </a:lnTo>
                  <a:lnTo>
                    <a:pt x="130" y="148"/>
                  </a:lnTo>
                  <a:lnTo>
                    <a:pt x="99" y="139"/>
                  </a:lnTo>
                  <a:lnTo>
                    <a:pt x="72" y="129"/>
                  </a:lnTo>
                  <a:lnTo>
                    <a:pt x="46" y="115"/>
                  </a:lnTo>
                  <a:lnTo>
                    <a:pt x="28" y="102"/>
                  </a:lnTo>
                  <a:lnTo>
                    <a:pt x="26" y="100"/>
                  </a:lnTo>
                  <a:lnTo>
                    <a:pt x="16" y="89"/>
                  </a:lnTo>
                  <a:lnTo>
                    <a:pt x="8" y="80"/>
                  </a:lnTo>
                  <a:lnTo>
                    <a:pt x="2" y="68"/>
                  </a:lnTo>
                  <a:lnTo>
                    <a:pt x="0" y="56"/>
                  </a:lnTo>
                  <a:lnTo>
                    <a:pt x="0" y="56"/>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48">
              <a:extLst>
                <a:ext uri="{FF2B5EF4-FFF2-40B4-BE49-F238E27FC236}">
                  <a16:creationId xmlns:a16="http://schemas.microsoft.com/office/drawing/2014/main" id="{30EE8860-5526-6842-A154-54C883C71301}"/>
                </a:ext>
              </a:extLst>
            </p:cNvPr>
            <p:cNvSpPr>
              <a:spLocks/>
            </p:cNvSpPr>
            <p:nvPr/>
          </p:nvSpPr>
          <p:spPr bwMode="auto">
            <a:xfrm>
              <a:off x="4529218" y="3681735"/>
              <a:ext cx="384175" cy="125412"/>
            </a:xfrm>
            <a:custGeom>
              <a:avLst/>
              <a:gdLst>
                <a:gd name="T0" fmla="*/ 0 w 485"/>
                <a:gd name="T1" fmla="*/ 0 h 159"/>
                <a:gd name="T2" fmla="*/ 7 w 485"/>
                <a:gd name="T3" fmla="*/ 5 h 159"/>
                <a:gd name="T4" fmla="*/ 27 w 485"/>
                <a:gd name="T5" fmla="*/ 18 h 159"/>
                <a:gd name="T6" fmla="*/ 58 w 485"/>
                <a:gd name="T7" fmla="*/ 33 h 159"/>
                <a:gd name="T8" fmla="*/ 92 w 485"/>
                <a:gd name="T9" fmla="*/ 46 h 159"/>
                <a:gd name="T10" fmla="*/ 130 w 485"/>
                <a:gd name="T11" fmla="*/ 55 h 159"/>
                <a:gd name="T12" fmla="*/ 145 w 485"/>
                <a:gd name="T13" fmla="*/ 58 h 159"/>
                <a:gd name="T14" fmla="*/ 192 w 485"/>
                <a:gd name="T15" fmla="*/ 65 h 159"/>
                <a:gd name="T16" fmla="*/ 242 w 485"/>
                <a:gd name="T17" fmla="*/ 67 h 159"/>
                <a:gd name="T18" fmla="*/ 291 w 485"/>
                <a:gd name="T19" fmla="*/ 65 h 159"/>
                <a:gd name="T20" fmla="*/ 339 w 485"/>
                <a:gd name="T21" fmla="*/ 58 h 159"/>
                <a:gd name="T22" fmla="*/ 354 w 485"/>
                <a:gd name="T23" fmla="*/ 55 h 159"/>
                <a:gd name="T24" fmla="*/ 392 w 485"/>
                <a:gd name="T25" fmla="*/ 46 h 159"/>
                <a:gd name="T26" fmla="*/ 426 w 485"/>
                <a:gd name="T27" fmla="*/ 33 h 159"/>
                <a:gd name="T28" fmla="*/ 457 w 485"/>
                <a:gd name="T29" fmla="*/ 18 h 159"/>
                <a:gd name="T30" fmla="*/ 477 w 485"/>
                <a:gd name="T31" fmla="*/ 5 h 159"/>
                <a:gd name="T32" fmla="*/ 485 w 485"/>
                <a:gd name="T33" fmla="*/ 0 h 159"/>
                <a:gd name="T34" fmla="*/ 485 w 485"/>
                <a:gd name="T35" fmla="*/ 54 h 159"/>
                <a:gd name="T36" fmla="*/ 485 w 485"/>
                <a:gd name="T37" fmla="*/ 55 h 159"/>
                <a:gd name="T38" fmla="*/ 485 w 485"/>
                <a:gd name="T39" fmla="*/ 55 h 159"/>
                <a:gd name="T40" fmla="*/ 482 w 485"/>
                <a:gd name="T41" fmla="*/ 67 h 159"/>
                <a:gd name="T42" fmla="*/ 476 w 485"/>
                <a:gd name="T43" fmla="*/ 79 h 159"/>
                <a:gd name="T44" fmla="*/ 469 w 485"/>
                <a:gd name="T45" fmla="*/ 89 h 159"/>
                <a:gd name="T46" fmla="*/ 458 w 485"/>
                <a:gd name="T47" fmla="*/ 99 h 159"/>
                <a:gd name="T48" fmla="*/ 455 w 485"/>
                <a:gd name="T49" fmla="*/ 102 h 159"/>
                <a:gd name="T50" fmla="*/ 438 w 485"/>
                <a:gd name="T51" fmla="*/ 114 h 159"/>
                <a:gd name="T52" fmla="*/ 412 w 485"/>
                <a:gd name="T53" fmla="*/ 128 h 159"/>
                <a:gd name="T54" fmla="*/ 385 w 485"/>
                <a:gd name="T55" fmla="*/ 138 h 159"/>
                <a:gd name="T56" fmla="*/ 354 w 485"/>
                <a:gd name="T57" fmla="*/ 147 h 159"/>
                <a:gd name="T58" fmla="*/ 319 w 485"/>
                <a:gd name="T59" fmla="*/ 153 h 159"/>
                <a:gd name="T60" fmla="*/ 282 w 485"/>
                <a:gd name="T61" fmla="*/ 158 h 159"/>
                <a:gd name="T62" fmla="*/ 242 w 485"/>
                <a:gd name="T63" fmla="*/ 159 h 159"/>
                <a:gd name="T64" fmla="*/ 202 w 485"/>
                <a:gd name="T65" fmla="*/ 158 h 159"/>
                <a:gd name="T66" fmla="*/ 164 w 485"/>
                <a:gd name="T67" fmla="*/ 153 h 159"/>
                <a:gd name="T68" fmla="*/ 130 w 485"/>
                <a:gd name="T69" fmla="*/ 147 h 159"/>
                <a:gd name="T70" fmla="*/ 99 w 485"/>
                <a:gd name="T71" fmla="*/ 138 h 159"/>
                <a:gd name="T72" fmla="*/ 72 w 485"/>
                <a:gd name="T73" fmla="*/ 128 h 159"/>
                <a:gd name="T74" fmla="*/ 46 w 485"/>
                <a:gd name="T75" fmla="*/ 114 h 159"/>
                <a:gd name="T76" fmla="*/ 28 w 485"/>
                <a:gd name="T77" fmla="*/ 102 h 159"/>
                <a:gd name="T78" fmla="*/ 26 w 485"/>
                <a:gd name="T79" fmla="*/ 99 h 159"/>
                <a:gd name="T80" fmla="*/ 16 w 485"/>
                <a:gd name="T81" fmla="*/ 89 h 159"/>
                <a:gd name="T82" fmla="*/ 8 w 485"/>
                <a:gd name="T83" fmla="*/ 79 h 159"/>
                <a:gd name="T84" fmla="*/ 2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2" y="46"/>
                  </a:lnTo>
                  <a:lnTo>
                    <a:pt x="130" y="55"/>
                  </a:lnTo>
                  <a:lnTo>
                    <a:pt x="145" y="58"/>
                  </a:lnTo>
                  <a:lnTo>
                    <a:pt x="192" y="65"/>
                  </a:lnTo>
                  <a:lnTo>
                    <a:pt x="242" y="67"/>
                  </a:lnTo>
                  <a:lnTo>
                    <a:pt x="291" y="65"/>
                  </a:lnTo>
                  <a:lnTo>
                    <a:pt x="339" y="58"/>
                  </a:lnTo>
                  <a:lnTo>
                    <a:pt x="354" y="55"/>
                  </a:lnTo>
                  <a:lnTo>
                    <a:pt x="392" y="46"/>
                  </a:lnTo>
                  <a:lnTo>
                    <a:pt x="426" y="33"/>
                  </a:lnTo>
                  <a:lnTo>
                    <a:pt x="457" y="18"/>
                  </a:lnTo>
                  <a:lnTo>
                    <a:pt x="477" y="5"/>
                  </a:lnTo>
                  <a:lnTo>
                    <a:pt x="485" y="0"/>
                  </a:lnTo>
                  <a:lnTo>
                    <a:pt x="485" y="54"/>
                  </a:lnTo>
                  <a:lnTo>
                    <a:pt x="485" y="55"/>
                  </a:lnTo>
                  <a:lnTo>
                    <a:pt x="485" y="55"/>
                  </a:lnTo>
                  <a:lnTo>
                    <a:pt x="482" y="67"/>
                  </a:lnTo>
                  <a:lnTo>
                    <a:pt x="476" y="79"/>
                  </a:lnTo>
                  <a:lnTo>
                    <a:pt x="469" y="89"/>
                  </a:lnTo>
                  <a:lnTo>
                    <a:pt x="458" y="99"/>
                  </a:lnTo>
                  <a:lnTo>
                    <a:pt x="455" y="102"/>
                  </a:lnTo>
                  <a:lnTo>
                    <a:pt x="438" y="114"/>
                  </a:lnTo>
                  <a:lnTo>
                    <a:pt x="412" y="128"/>
                  </a:lnTo>
                  <a:lnTo>
                    <a:pt x="385" y="138"/>
                  </a:lnTo>
                  <a:lnTo>
                    <a:pt x="354" y="147"/>
                  </a:lnTo>
                  <a:lnTo>
                    <a:pt x="319" y="153"/>
                  </a:lnTo>
                  <a:lnTo>
                    <a:pt x="282" y="158"/>
                  </a:lnTo>
                  <a:lnTo>
                    <a:pt x="242" y="159"/>
                  </a:lnTo>
                  <a:lnTo>
                    <a:pt x="202" y="158"/>
                  </a:lnTo>
                  <a:lnTo>
                    <a:pt x="164" y="153"/>
                  </a:lnTo>
                  <a:lnTo>
                    <a:pt x="130" y="147"/>
                  </a:lnTo>
                  <a:lnTo>
                    <a:pt x="99" y="138"/>
                  </a:lnTo>
                  <a:lnTo>
                    <a:pt x="72" y="128"/>
                  </a:lnTo>
                  <a:lnTo>
                    <a:pt x="46" y="114"/>
                  </a:lnTo>
                  <a:lnTo>
                    <a:pt x="28" y="102"/>
                  </a:lnTo>
                  <a:lnTo>
                    <a:pt x="26" y="99"/>
                  </a:lnTo>
                  <a:lnTo>
                    <a:pt x="16" y="89"/>
                  </a:lnTo>
                  <a:lnTo>
                    <a:pt x="8" y="79"/>
                  </a:lnTo>
                  <a:lnTo>
                    <a:pt x="2" y="67"/>
                  </a:lnTo>
                  <a:lnTo>
                    <a:pt x="0" y="55"/>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49">
              <a:extLst>
                <a:ext uri="{FF2B5EF4-FFF2-40B4-BE49-F238E27FC236}">
                  <a16:creationId xmlns:a16="http://schemas.microsoft.com/office/drawing/2014/main" id="{ACD1E5E4-E721-8342-97E5-3D09C7FFE6A5}"/>
                </a:ext>
              </a:extLst>
            </p:cNvPr>
            <p:cNvSpPr>
              <a:spLocks/>
            </p:cNvSpPr>
            <p:nvPr/>
          </p:nvSpPr>
          <p:spPr bwMode="auto">
            <a:xfrm>
              <a:off x="4529218" y="3788097"/>
              <a:ext cx="384175" cy="127000"/>
            </a:xfrm>
            <a:custGeom>
              <a:avLst/>
              <a:gdLst>
                <a:gd name="T0" fmla="*/ 0 w 485"/>
                <a:gd name="T1" fmla="*/ 0 h 159"/>
                <a:gd name="T2" fmla="*/ 7 w 485"/>
                <a:gd name="T3" fmla="*/ 5 h 159"/>
                <a:gd name="T4" fmla="*/ 27 w 485"/>
                <a:gd name="T5" fmla="*/ 18 h 159"/>
                <a:gd name="T6" fmla="*/ 58 w 485"/>
                <a:gd name="T7" fmla="*/ 33 h 159"/>
                <a:gd name="T8" fmla="*/ 92 w 485"/>
                <a:gd name="T9" fmla="*/ 46 h 159"/>
                <a:gd name="T10" fmla="*/ 130 w 485"/>
                <a:gd name="T11" fmla="*/ 55 h 159"/>
                <a:gd name="T12" fmla="*/ 145 w 485"/>
                <a:gd name="T13" fmla="*/ 58 h 159"/>
                <a:gd name="T14" fmla="*/ 192 w 485"/>
                <a:gd name="T15" fmla="*/ 65 h 159"/>
                <a:gd name="T16" fmla="*/ 242 w 485"/>
                <a:gd name="T17" fmla="*/ 67 h 159"/>
                <a:gd name="T18" fmla="*/ 291 w 485"/>
                <a:gd name="T19" fmla="*/ 65 h 159"/>
                <a:gd name="T20" fmla="*/ 339 w 485"/>
                <a:gd name="T21" fmla="*/ 58 h 159"/>
                <a:gd name="T22" fmla="*/ 354 w 485"/>
                <a:gd name="T23" fmla="*/ 55 h 159"/>
                <a:gd name="T24" fmla="*/ 392 w 485"/>
                <a:gd name="T25" fmla="*/ 46 h 159"/>
                <a:gd name="T26" fmla="*/ 426 w 485"/>
                <a:gd name="T27" fmla="*/ 33 h 159"/>
                <a:gd name="T28" fmla="*/ 457 w 485"/>
                <a:gd name="T29" fmla="*/ 18 h 159"/>
                <a:gd name="T30" fmla="*/ 477 w 485"/>
                <a:gd name="T31" fmla="*/ 5 h 159"/>
                <a:gd name="T32" fmla="*/ 485 w 485"/>
                <a:gd name="T33" fmla="*/ 0 h 159"/>
                <a:gd name="T34" fmla="*/ 485 w 485"/>
                <a:gd name="T35" fmla="*/ 54 h 159"/>
                <a:gd name="T36" fmla="*/ 485 w 485"/>
                <a:gd name="T37" fmla="*/ 55 h 159"/>
                <a:gd name="T38" fmla="*/ 485 w 485"/>
                <a:gd name="T39" fmla="*/ 55 h 159"/>
                <a:gd name="T40" fmla="*/ 482 w 485"/>
                <a:gd name="T41" fmla="*/ 67 h 159"/>
                <a:gd name="T42" fmla="*/ 476 w 485"/>
                <a:gd name="T43" fmla="*/ 79 h 159"/>
                <a:gd name="T44" fmla="*/ 469 w 485"/>
                <a:gd name="T45" fmla="*/ 89 h 159"/>
                <a:gd name="T46" fmla="*/ 458 w 485"/>
                <a:gd name="T47" fmla="*/ 100 h 159"/>
                <a:gd name="T48" fmla="*/ 455 w 485"/>
                <a:gd name="T49" fmla="*/ 102 h 159"/>
                <a:gd name="T50" fmla="*/ 438 w 485"/>
                <a:gd name="T51" fmla="*/ 114 h 159"/>
                <a:gd name="T52" fmla="*/ 412 w 485"/>
                <a:gd name="T53" fmla="*/ 127 h 159"/>
                <a:gd name="T54" fmla="*/ 385 w 485"/>
                <a:gd name="T55" fmla="*/ 138 h 159"/>
                <a:gd name="T56" fmla="*/ 354 w 485"/>
                <a:gd name="T57" fmla="*/ 147 h 159"/>
                <a:gd name="T58" fmla="*/ 319 w 485"/>
                <a:gd name="T59" fmla="*/ 154 h 159"/>
                <a:gd name="T60" fmla="*/ 282 w 485"/>
                <a:gd name="T61" fmla="*/ 158 h 159"/>
                <a:gd name="T62" fmla="*/ 242 w 485"/>
                <a:gd name="T63" fmla="*/ 159 h 159"/>
                <a:gd name="T64" fmla="*/ 202 w 485"/>
                <a:gd name="T65" fmla="*/ 158 h 159"/>
                <a:gd name="T66" fmla="*/ 164 w 485"/>
                <a:gd name="T67" fmla="*/ 154 h 159"/>
                <a:gd name="T68" fmla="*/ 130 w 485"/>
                <a:gd name="T69" fmla="*/ 147 h 159"/>
                <a:gd name="T70" fmla="*/ 99 w 485"/>
                <a:gd name="T71" fmla="*/ 138 h 159"/>
                <a:gd name="T72" fmla="*/ 72 w 485"/>
                <a:gd name="T73" fmla="*/ 127 h 159"/>
                <a:gd name="T74" fmla="*/ 46 w 485"/>
                <a:gd name="T75" fmla="*/ 114 h 159"/>
                <a:gd name="T76" fmla="*/ 28 w 485"/>
                <a:gd name="T77" fmla="*/ 102 h 159"/>
                <a:gd name="T78" fmla="*/ 26 w 485"/>
                <a:gd name="T79" fmla="*/ 100 h 159"/>
                <a:gd name="T80" fmla="*/ 16 w 485"/>
                <a:gd name="T81" fmla="*/ 89 h 159"/>
                <a:gd name="T82" fmla="*/ 8 w 485"/>
                <a:gd name="T83" fmla="*/ 79 h 159"/>
                <a:gd name="T84" fmla="*/ 2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2" y="46"/>
                  </a:lnTo>
                  <a:lnTo>
                    <a:pt x="130" y="55"/>
                  </a:lnTo>
                  <a:lnTo>
                    <a:pt x="145" y="58"/>
                  </a:lnTo>
                  <a:lnTo>
                    <a:pt x="192" y="65"/>
                  </a:lnTo>
                  <a:lnTo>
                    <a:pt x="242" y="67"/>
                  </a:lnTo>
                  <a:lnTo>
                    <a:pt x="291" y="65"/>
                  </a:lnTo>
                  <a:lnTo>
                    <a:pt x="339" y="58"/>
                  </a:lnTo>
                  <a:lnTo>
                    <a:pt x="354" y="55"/>
                  </a:lnTo>
                  <a:lnTo>
                    <a:pt x="392" y="46"/>
                  </a:lnTo>
                  <a:lnTo>
                    <a:pt x="426" y="33"/>
                  </a:lnTo>
                  <a:lnTo>
                    <a:pt x="457" y="18"/>
                  </a:lnTo>
                  <a:lnTo>
                    <a:pt x="477" y="5"/>
                  </a:lnTo>
                  <a:lnTo>
                    <a:pt x="485" y="0"/>
                  </a:lnTo>
                  <a:lnTo>
                    <a:pt x="485" y="54"/>
                  </a:lnTo>
                  <a:lnTo>
                    <a:pt x="485" y="55"/>
                  </a:lnTo>
                  <a:lnTo>
                    <a:pt x="485" y="55"/>
                  </a:lnTo>
                  <a:lnTo>
                    <a:pt x="482" y="67"/>
                  </a:lnTo>
                  <a:lnTo>
                    <a:pt x="476" y="79"/>
                  </a:lnTo>
                  <a:lnTo>
                    <a:pt x="469" y="89"/>
                  </a:lnTo>
                  <a:lnTo>
                    <a:pt x="458" y="100"/>
                  </a:lnTo>
                  <a:lnTo>
                    <a:pt x="455" y="102"/>
                  </a:lnTo>
                  <a:lnTo>
                    <a:pt x="438" y="114"/>
                  </a:lnTo>
                  <a:lnTo>
                    <a:pt x="412" y="127"/>
                  </a:lnTo>
                  <a:lnTo>
                    <a:pt x="385" y="138"/>
                  </a:lnTo>
                  <a:lnTo>
                    <a:pt x="354" y="147"/>
                  </a:lnTo>
                  <a:lnTo>
                    <a:pt x="319" y="154"/>
                  </a:lnTo>
                  <a:lnTo>
                    <a:pt x="282" y="158"/>
                  </a:lnTo>
                  <a:lnTo>
                    <a:pt x="242" y="159"/>
                  </a:lnTo>
                  <a:lnTo>
                    <a:pt x="202" y="158"/>
                  </a:lnTo>
                  <a:lnTo>
                    <a:pt x="164" y="154"/>
                  </a:lnTo>
                  <a:lnTo>
                    <a:pt x="130" y="147"/>
                  </a:lnTo>
                  <a:lnTo>
                    <a:pt x="99" y="138"/>
                  </a:lnTo>
                  <a:lnTo>
                    <a:pt x="72" y="127"/>
                  </a:lnTo>
                  <a:lnTo>
                    <a:pt x="46" y="114"/>
                  </a:lnTo>
                  <a:lnTo>
                    <a:pt x="28" y="102"/>
                  </a:lnTo>
                  <a:lnTo>
                    <a:pt x="26" y="100"/>
                  </a:lnTo>
                  <a:lnTo>
                    <a:pt x="16" y="89"/>
                  </a:lnTo>
                  <a:lnTo>
                    <a:pt x="8" y="79"/>
                  </a:lnTo>
                  <a:lnTo>
                    <a:pt x="2" y="67"/>
                  </a:lnTo>
                  <a:lnTo>
                    <a:pt x="0" y="55"/>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50">
              <a:extLst>
                <a:ext uri="{FF2B5EF4-FFF2-40B4-BE49-F238E27FC236}">
                  <a16:creationId xmlns:a16="http://schemas.microsoft.com/office/drawing/2014/main" id="{47F18628-20BC-F74A-A3A6-5420CE1A0D90}"/>
                </a:ext>
              </a:extLst>
            </p:cNvPr>
            <p:cNvSpPr>
              <a:spLocks/>
            </p:cNvSpPr>
            <p:nvPr/>
          </p:nvSpPr>
          <p:spPr bwMode="auto">
            <a:xfrm>
              <a:off x="4529218" y="3894460"/>
              <a:ext cx="384175" cy="127000"/>
            </a:xfrm>
            <a:custGeom>
              <a:avLst/>
              <a:gdLst>
                <a:gd name="T0" fmla="*/ 0 w 485"/>
                <a:gd name="T1" fmla="*/ 0 h 159"/>
                <a:gd name="T2" fmla="*/ 7 w 485"/>
                <a:gd name="T3" fmla="*/ 5 h 159"/>
                <a:gd name="T4" fmla="*/ 27 w 485"/>
                <a:gd name="T5" fmla="*/ 18 h 159"/>
                <a:gd name="T6" fmla="*/ 58 w 485"/>
                <a:gd name="T7" fmla="*/ 34 h 159"/>
                <a:gd name="T8" fmla="*/ 92 w 485"/>
                <a:gd name="T9" fmla="*/ 46 h 159"/>
                <a:gd name="T10" fmla="*/ 130 w 485"/>
                <a:gd name="T11" fmla="*/ 56 h 159"/>
                <a:gd name="T12" fmla="*/ 145 w 485"/>
                <a:gd name="T13" fmla="*/ 58 h 159"/>
                <a:gd name="T14" fmla="*/ 192 w 485"/>
                <a:gd name="T15" fmla="*/ 65 h 159"/>
                <a:gd name="T16" fmla="*/ 242 w 485"/>
                <a:gd name="T17" fmla="*/ 67 h 159"/>
                <a:gd name="T18" fmla="*/ 291 w 485"/>
                <a:gd name="T19" fmla="*/ 65 h 159"/>
                <a:gd name="T20" fmla="*/ 339 w 485"/>
                <a:gd name="T21" fmla="*/ 58 h 159"/>
                <a:gd name="T22" fmla="*/ 354 w 485"/>
                <a:gd name="T23" fmla="*/ 56 h 159"/>
                <a:gd name="T24" fmla="*/ 392 w 485"/>
                <a:gd name="T25" fmla="*/ 46 h 159"/>
                <a:gd name="T26" fmla="*/ 426 w 485"/>
                <a:gd name="T27" fmla="*/ 34 h 159"/>
                <a:gd name="T28" fmla="*/ 457 w 485"/>
                <a:gd name="T29" fmla="*/ 18 h 159"/>
                <a:gd name="T30" fmla="*/ 477 w 485"/>
                <a:gd name="T31" fmla="*/ 5 h 159"/>
                <a:gd name="T32" fmla="*/ 485 w 485"/>
                <a:gd name="T33" fmla="*/ 0 h 159"/>
                <a:gd name="T34" fmla="*/ 485 w 485"/>
                <a:gd name="T35" fmla="*/ 54 h 159"/>
                <a:gd name="T36" fmla="*/ 485 w 485"/>
                <a:gd name="T37" fmla="*/ 55 h 159"/>
                <a:gd name="T38" fmla="*/ 485 w 485"/>
                <a:gd name="T39" fmla="*/ 56 h 159"/>
                <a:gd name="T40" fmla="*/ 482 w 485"/>
                <a:gd name="T41" fmla="*/ 67 h 159"/>
                <a:gd name="T42" fmla="*/ 476 w 485"/>
                <a:gd name="T43" fmla="*/ 78 h 159"/>
                <a:gd name="T44" fmla="*/ 469 w 485"/>
                <a:gd name="T45" fmla="*/ 89 h 159"/>
                <a:gd name="T46" fmla="*/ 458 w 485"/>
                <a:gd name="T47" fmla="*/ 100 h 159"/>
                <a:gd name="T48" fmla="*/ 455 w 485"/>
                <a:gd name="T49" fmla="*/ 102 h 159"/>
                <a:gd name="T50" fmla="*/ 438 w 485"/>
                <a:gd name="T51" fmla="*/ 115 h 159"/>
                <a:gd name="T52" fmla="*/ 412 w 485"/>
                <a:gd name="T53" fmla="*/ 127 h 159"/>
                <a:gd name="T54" fmla="*/ 385 w 485"/>
                <a:gd name="T55" fmla="*/ 138 h 159"/>
                <a:gd name="T56" fmla="*/ 354 w 485"/>
                <a:gd name="T57" fmla="*/ 148 h 159"/>
                <a:gd name="T58" fmla="*/ 319 w 485"/>
                <a:gd name="T59" fmla="*/ 154 h 159"/>
                <a:gd name="T60" fmla="*/ 282 w 485"/>
                <a:gd name="T61" fmla="*/ 158 h 159"/>
                <a:gd name="T62" fmla="*/ 242 w 485"/>
                <a:gd name="T63" fmla="*/ 159 h 159"/>
                <a:gd name="T64" fmla="*/ 202 w 485"/>
                <a:gd name="T65" fmla="*/ 158 h 159"/>
                <a:gd name="T66" fmla="*/ 164 w 485"/>
                <a:gd name="T67" fmla="*/ 154 h 159"/>
                <a:gd name="T68" fmla="*/ 130 w 485"/>
                <a:gd name="T69" fmla="*/ 148 h 159"/>
                <a:gd name="T70" fmla="*/ 99 w 485"/>
                <a:gd name="T71" fmla="*/ 138 h 159"/>
                <a:gd name="T72" fmla="*/ 72 w 485"/>
                <a:gd name="T73" fmla="*/ 127 h 159"/>
                <a:gd name="T74" fmla="*/ 46 w 485"/>
                <a:gd name="T75" fmla="*/ 115 h 159"/>
                <a:gd name="T76" fmla="*/ 28 w 485"/>
                <a:gd name="T77" fmla="*/ 102 h 159"/>
                <a:gd name="T78" fmla="*/ 26 w 485"/>
                <a:gd name="T79" fmla="*/ 100 h 159"/>
                <a:gd name="T80" fmla="*/ 16 w 485"/>
                <a:gd name="T81" fmla="*/ 89 h 159"/>
                <a:gd name="T82" fmla="*/ 8 w 485"/>
                <a:gd name="T83" fmla="*/ 78 h 159"/>
                <a:gd name="T84" fmla="*/ 2 w 485"/>
                <a:gd name="T85" fmla="*/ 67 h 159"/>
                <a:gd name="T86" fmla="*/ 0 w 485"/>
                <a:gd name="T87" fmla="*/ 56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4"/>
                  </a:lnTo>
                  <a:lnTo>
                    <a:pt x="92" y="46"/>
                  </a:lnTo>
                  <a:lnTo>
                    <a:pt x="130" y="56"/>
                  </a:lnTo>
                  <a:lnTo>
                    <a:pt x="145" y="58"/>
                  </a:lnTo>
                  <a:lnTo>
                    <a:pt x="192" y="65"/>
                  </a:lnTo>
                  <a:lnTo>
                    <a:pt x="242" y="67"/>
                  </a:lnTo>
                  <a:lnTo>
                    <a:pt x="291" y="65"/>
                  </a:lnTo>
                  <a:lnTo>
                    <a:pt x="339" y="58"/>
                  </a:lnTo>
                  <a:lnTo>
                    <a:pt x="354" y="56"/>
                  </a:lnTo>
                  <a:lnTo>
                    <a:pt x="392" y="46"/>
                  </a:lnTo>
                  <a:lnTo>
                    <a:pt x="426" y="34"/>
                  </a:lnTo>
                  <a:lnTo>
                    <a:pt x="457" y="18"/>
                  </a:lnTo>
                  <a:lnTo>
                    <a:pt x="477" y="5"/>
                  </a:lnTo>
                  <a:lnTo>
                    <a:pt x="485" y="0"/>
                  </a:lnTo>
                  <a:lnTo>
                    <a:pt x="485" y="54"/>
                  </a:lnTo>
                  <a:lnTo>
                    <a:pt x="485" y="55"/>
                  </a:lnTo>
                  <a:lnTo>
                    <a:pt x="485" y="56"/>
                  </a:lnTo>
                  <a:lnTo>
                    <a:pt x="482" y="67"/>
                  </a:lnTo>
                  <a:lnTo>
                    <a:pt x="476" y="78"/>
                  </a:lnTo>
                  <a:lnTo>
                    <a:pt x="469" y="89"/>
                  </a:lnTo>
                  <a:lnTo>
                    <a:pt x="458" y="100"/>
                  </a:lnTo>
                  <a:lnTo>
                    <a:pt x="455" y="102"/>
                  </a:lnTo>
                  <a:lnTo>
                    <a:pt x="438" y="115"/>
                  </a:lnTo>
                  <a:lnTo>
                    <a:pt x="412" y="127"/>
                  </a:lnTo>
                  <a:lnTo>
                    <a:pt x="385" y="138"/>
                  </a:lnTo>
                  <a:lnTo>
                    <a:pt x="354" y="148"/>
                  </a:lnTo>
                  <a:lnTo>
                    <a:pt x="319" y="154"/>
                  </a:lnTo>
                  <a:lnTo>
                    <a:pt x="282" y="158"/>
                  </a:lnTo>
                  <a:lnTo>
                    <a:pt x="242" y="159"/>
                  </a:lnTo>
                  <a:lnTo>
                    <a:pt x="202" y="158"/>
                  </a:lnTo>
                  <a:lnTo>
                    <a:pt x="164" y="154"/>
                  </a:lnTo>
                  <a:lnTo>
                    <a:pt x="130" y="148"/>
                  </a:lnTo>
                  <a:lnTo>
                    <a:pt x="99" y="138"/>
                  </a:lnTo>
                  <a:lnTo>
                    <a:pt x="72" y="127"/>
                  </a:lnTo>
                  <a:lnTo>
                    <a:pt x="46" y="115"/>
                  </a:lnTo>
                  <a:lnTo>
                    <a:pt x="28" y="102"/>
                  </a:lnTo>
                  <a:lnTo>
                    <a:pt x="26" y="100"/>
                  </a:lnTo>
                  <a:lnTo>
                    <a:pt x="16" y="89"/>
                  </a:lnTo>
                  <a:lnTo>
                    <a:pt x="8" y="78"/>
                  </a:lnTo>
                  <a:lnTo>
                    <a:pt x="2" y="67"/>
                  </a:lnTo>
                  <a:lnTo>
                    <a:pt x="0" y="56"/>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51">
              <a:extLst>
                <a:ext uri="{FF2B5EF4-FFF2-40B4-BE49-F238E27FC236}">
                  <a16:creationId xmlns:a16="http://schemas.microsoft.com/office/drawing/2014/main" id="{A69B4F6A-85F7-A942-9E98-9BCB4C6073FA}"/>
                </a:ext>
              </a:extLst>
            </p:cNvPr>
            <p:cNvSpPr>
              <a:spLocks/>
            </p:cNvSpPr>
            <p:nvPr/>
          </p:nvSpPr>
          <p:spPr bwMode="auto">
            <a:xfrm>
              <a:off x="4529218" y="4002410"/>
              <a:ext cx="384175" cy="127000"/>
            </a:xfrm>
            <a:custGeom>
              <a:avLst/>
              <a:gdLst>
                <a:gd name="T0" fmla="*/ 0 w 485"/>
                <a:gd name="T1" fmla="*/ 0 h 160"/>
                <a:gd name="T2" fmla="*/ 7 w 485"/>
                <a:gd name="T3" fmla="*/ 5 h 160"/>
                <a:gd name="T4" fmla="*/ 27 w 485"/>
                <a:gd name="T5" fmla="*/ 19 h 160"/>
                <a:gd name="T6" fmla="*/ 58 w 485"/>
                <a:gd name="T7" fmla="*/ 34 h 160"/>
                <a:gd name="T8" fmla="*/ 92 w 485"/>
                <a:gd name="T9" fmla="*/ 47 h 160"/>
                <a:gd name="T10" fmla="*/ 130 w 485"/>
                <a:gd name="T11" fmla="*/ 56 h 160"/>
                <a:gd name="T12" fmla="*/ 145 w 485"/>
                <a:gd name="T13" fmla="*/ 59 h 160"/>
                <a:gd name="T14" fmla="*/ 192 w 485"/>
                <a:gd name="T15" fmla="*/ 65 h 160"/>
                <a:gd name="T16" fmla="*/ 242 w 485"/>
                <a:gd name="T17" fmla="*/ 67 h 160"/>
                <a:gd name="T18" fmla="*/ 291 w 485"/>
                <a:gd name="T19" fmla="*/ 65 h 160"/>
                <a:gd name="T20" fmla="*/ 339 w 485"/>
                <a:gd name="T21" fmla="*/ 59 h 160"/>
                <a:gd name="T22" fmla="*/ 354 w 485"/>
                <a:gd name="T23" fmla="*/ 56 h 160"/>
                <a:gd name="T24" fmla="*/ 392 w 485"/>
                <a:gd name="T25" fmla="*/ 47 h 160"/>
                <a:gd name="T26" fmla="*/ 426 w 485"/>
                <a:gd name="T27" fmla="*/ 34 h 160"/>
                <a:gd name="T28" fmla="*/ 457 w 485"/>
                <a:gd name="T29" fmla="*/ 19 h 160"/>
                <a:gd name="T30" fmla="*/ 477 w 485"/>
                <a:gd name="T31" fmla="*/ 5 h 160"/>
                <a:gd name="T32" fmla="*/ 485 w 485"/>
                <a:gd name="T33" fmla="*/ 0 h 160"/>
                <a:gd name="T34" fmla="*/ 485 w 485"/>
                <a:gd name="T35" fmla="*/ 54 h 160"/>
                <a:gd name="T36" fmla="*/ 485 w 485"/>
                <a:gd name="T37" fmla="*/ 56 h 160"/>
                <a:gd name="T38" fmla="*/ 485 w 485"/>
                <a:gd name="T39" fmla="*/ 56 h 160"/>
                <a:gd name="T40" fmla="*/ 482 w 485"/>
                <a:gd name="T41" fmla="*/ 68 h 160"/>
                <a:gd name="T42" fmla="*/ 476 w 485"/>
                <a:gd name="T43" fmla="*/ 79 h 160"/>
                <a:gd name="T44" fmla="*/ 469 w 485"/>
                <a:gd name="T45" fmla="*/ 89 h 160"/>
                <a:gd name="T46" fmla="*/ 458 w 485"/>
                <a:gd name="T47" fmla="*/ 100 h 160"/>
                <a:gd name="T48" fmla="*/ 455 w 485"/>
                <a:gd name="T49" fmla="*/ 102 h 160"/>
                <a:gd name="T50" fmla="*/ 438 w 485"/>
                <a:gd name="T51" fmla="*/ 115 h 160"/>
                <a:gd name="T52" fmla="*/ 412 w 485"/>
                <a:gd name="T53" fmla="*/ 128 h 160"/>
                <a:gd name="T54" fmla="*/ 385 w 485"/>
                <a:gd name="T55" fmla="*/ 139 h 160"/>
                <a:gd name="T56" fmla="*/ 354 w 485"/>
                <a:gd name="T57" fmla="*/ 147 h 160"/>
                <a:gd name="T58" fmla="*/ 319 w 485"/>
                <a:gd name="T59" fmla="*/ 154 h 160"/>
                <a:gd name="T60" fmla="*/ 282 w 485"/>
                <a:gd name="T61" fmla="*/ 158 h 160"/>
                <a:gd name="T62" fmla="*/ 242 w 485"/>
                <a:gd name="T63" fmla="*/ 160 h 160"/>
                <a:gd name="T64" fmla="*/ 202 w 485"/>
                <a:gd name="T65" fmla="*/ 158 h 160"/>
                <a:gd name="T66" fmla="*/ 164 w 485"/>
                <a:gd name="T67" fmla="*/ 154 h 160"/>
                <a:gd name="T68" fmla="*/ 130 w 485"/>
                <a:gd name="T69" fmla="*/ 147 h 160"/>
                <a:gd name="T70" fmla="*/ 99 w 485"/>
                <a:gd name="T71" fmla="*/ 139 h 160"/>
                <a:gd name="T72" fmla="*/ 72 w 485"/>
                <a:gd name="T73" fmla="*/ 128 h 160"/>
                <a:gd name="T74" fmla="*/ 46 w 485"/>
                <a:gd name="T75" fmla="*/ 115 h 160"/>
                <a:gd name="T76" fmla="*/ 28 w 485"/>
                <a:gd name="T77" fmla="*/ 102 h 160"/>
                <a:gd name="T78" fmla="*/ 26 w 485"/>
                <a:gd name="T79" fmla="*/ 100 h 160"/>
                <a:gd name="T80" fmla="*/ 16 w 485"/>
                <a:gd name="T81" fmla="*/ 89 h 160"/>
                <a:gd name="T82" fmla="*/ 8 w 485"/>
                <a:gd name="T83" fmla="*/ 79 h 160"/>
                <a:gd name="T84" fmla="*/ 2 w 485"/>
                <a:gd name="T85" fmla="*/ 68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5"/>
                  </a:lnTo>
                  <a:lnTo>
                    <a:pt x="27" y="19"/>
                  </a:lnTo>
                  <a:lnTo>
                    <a:pt x="58" y="34"/>
                  </a:lnTo>
                  <a:lnTo>
                    <a:pt x="92" y="47"/>
                  </a:lnTo>
                  <a:lnTo>
                    <a:pt x="130" y="56"/>
                  </a:lnTo>
                  <a:lnTo>
                    <a:pt x="145" y="59"/>
                  </a:lnTo>
                  <a:lnTo>
                    <a:pt x="192" y="65"/>
                  </a:lnTo>
                  <a:lnTo>
                    <a:pt x="242" y="67"/>
                  </a:lnTo>
                  <a:lnTo>
                    <a:pt x="291" y="65"/>
                  </a:lnTo>
                  <a:lnTo>
                    <a:pt x="339" y="59"/>
                  </a:lnTo>
                  <a:lnTo>
                    <a:pt x="354" y="56"/>
                  </a:lnTo>
                  <a:lnTo>
                    <a:pt x="392" y="47"/>
                  </a:lnTo>
                  <a:lnTo>
                    <a:pt x="426" y="34"/>
                  </a:lnTo>
                  <a:lnTo>
                    <a:pt x="457" y="19"/>
                  </a:lnTo>
                  <a:lnTo>
                    <a:pt x="477" y="5"/>
                  </a:lnTo>
                  <a:lnTo>
                    <a:pt x="485" y="0"/>
                  </a:lnTo>
                  <a:lnTo>
                    <a:pt x="485" y="54"/>
                  </a:lnTo>
                  <a:lnTo>
                    <a:pt x="485" y="56"/>
                  </a:lnTo>
                  <a:lnTo>
                    <a:pt x="485" y="56"/>
                  </a:lnTo>
                  <a:lnTo>
                    <a:pt x="482" y="68"/>
                  </a:lnTo>
                  <a:lnTo>
                    <a:pt x="476" y="79"/>
                  </a:lnTo>
                  <a:lnTo>
                    <a:pt x="469" y="89"/>
                  </a:lnTo>
                  <a:lnTo>
                    <a:pt x="458" y="100"/>
                  </a:lnTo>
                  <a:lnTo>
                    <a:pt x="455" y="102"/>
                  </a:lnTo>
                  <a:lnTo>
                    <a:pt x="438" y="115"/>
                  </a:lnTo>
                  <a:lnTo>
                    <a:pt x="412" y="128"/>
                  </a:lnTo>
                  <a:lnTo>
                    <a:pt x="385" y="139"/>
                  </a:lnTo>
                  <a:lnTo>
                    <a:pt x="354" y="147"/>
                  </a:lnTo>
                  <a:lnTo>
                    <a:pt x="319" y="154"/>
                  </a:lnTo>
                  <a:lnTo>
                    <a:pt x="282" y="158"/>
                  </a:lnTo>
                  <a:lnTo>
                    <a:pt x="242" y="160"/>
                  </a:lnTo>
                  <a:lnTo>
                    <a:pt x="202" y="158"/>
                  </a:lnTo>
                  <a:lnTo>
                    <a:pt x="164" y="154"/>
                  </a:lnTo>
                  <a:lnTo>
                    <a:pt x="130" y="147"/>
                  </a:lnTo>
                  <a:lnTo>
                    <a:pt x="99" y="139"/>
                  </a:lnTo>
                  <a:lnTo>
                    <a:pt x="72" y="128"/>
                  </a:lnTo>
                  <a:lnTo>
                    <a:pt x="46" y="115"/>
                  </a:lnTo>
                  <a:lnTo>
                    <a:pt x="28" y="102"/>
                  </a:lnTo>
                  <a:lnTo>
                    <a:pt x="26" y="100"/>
                  </a:lnTo>
                  <a:lnTo>
                    <a:pt x="16" y="89"/>
                  </a:lnTo>
                  <a:lnTo>
                    <a:pt x="8" y="79"/>
                  </a:lnTo>
                  <a:lnTo>
                    <a:pt x="2" y="68"/>
                  </a:lnTo>
                  <a:lnTo>
                    <a:pt x="0" y="56"/>
                  </a:lnTo>
                  <a:lnTo>
                    <a:pt x="0" y="56"/>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52">
              <a:extLst>
                <a:ext uri="{FF2B5EF4-FFF2-40B4-BE49-F238E27FC236}">
                  <a16:creationId xmlns:a16="http://schemas.microsoft.com/office/drawing/2014/main" id="{1428CFB0-F854-574C-9F49-610AC7B664DB}"/>
                </a:ext>
              </a:extLst>
            </p:cNvPr>
            <p:cNvSpPr>
              <a:spLocks/>
            </p:cNvSpPr>
            <p:nvPr/>
          </p:nvSpPr>
          <p:spPr bwMode="auto">
            <a:xfrm>
              <a:off x="4529218" y="4110360"/>
              <a:ext cx="384175" cy="127000"/>
            </a:xfrm>
            <a:custGeom>
              <a:avLst/>
              <a:gdLst>
                <a:gd name="T0" fmla="*/ 0 w 485"/>
                <a:gd name="T1" fmla="*/ 0 h 159"/>
                <a:gd name="T2" fmla="*/ 7 w 485"/>
                <a:gd name="T3" fmla="*/ 5 h 159"/>
                <a:gd name="T4" fmla="*/ 27 w 485"/>
                <a:gd name="T5" fmla="*/ 18 h 159"/>
                <a:gd name="T6" fmla="*/ 58 w 485"/>
                <a:gd name="T7" fmla="*/ 33 h 159"/>
                <a:gd name="T8" fmla="*/ 92 w 485"/>
                <a:gd name="T9" fmla="*/ 45 h 159"/>
                <a:gd name="T10" fmla="*/ 130 w 485"/>
                <a:gd name="T11" fmla="*/ 55 h 159"/>
                <a:gd name="T12" fmla="*/ 145 w 485"/>
                <a:gd name="T13" fmla="*/ 58 h 159"/>
                <a:gd name="T14" fmla="*/ 192 w 485"/>
                <a:gd name="T15" fmla="*/ 65 h 159"/>
                <a:gd name="T16" fmla="*/ 242 w 485"/>
                <a:gd name="T17" fmla="*/ 67 h 159"/>
                <a:gd name="T18" fmla="*/ 291 w 485"/>
                <a:gd name="T19" fmla="*/ 65 h 159"/>
                <a:gd name="T20" fmla="*/ 339 w 485"/>
                <a:gd name="T21" fmla="*/ 58 h 159"/>
                <a:gd name="T22" fmla="*/ 354 w 485"/>
                <a:gd name="T23" fmla="*/ 55 h 159"/>
                <a:gd name="T24" fmla="*/ 392 w 485"/>
                <a:gd name="T25" fmla="*/ 45 h 159"/>
                <a:gd name="T26" fmla="*/ 426 w 485"/>
                <a:gd name="T27" fmla="*/ 33 h 159"/>
                <a:gd name="T28" fmla="*/ 457 w 485"/>
                <a:gd name="T29" fmla="*/ 18 h 159"/>
                <a:gd name="T30" fmla="*/ 477 w 485"/>
                <a:gd name="T31" fmla="*/ 5 h 159"/>
                <a:gd name="T32" fmla="*/ 485 w 485"/>
                <a:gd name="T33" fmla="*/ 0 h 159"/>
                <a:gd name="T34" fmla="*/ 485 w 485"/>
                <a:gd name="T35" fmla="*/ 54 h 159"/>
                <a:gd name="T36" fmla="*/ 485 w 485"/>
                <a:gd name="T37" fmla="*/ 55 h 159"/>
                <a:gd name="T38" fmla="*/ 485 w 485"/>
                <a:gd name="T39" fmla="*/ 55 h 159"/>
                <a:gd name="T40" fmla="*/ 482 w 485"/>
                <a:gd name="T41" fmla="*/ 67 h 159"/>
                <a:gd name="T42" fmla="*/ 476 w 485"/>
                <a:gd name="T43" fmla="*/ 78 h 159"/>
                <a:gd name="T44" fmla="*/ 469 w 485"/>
                <a:gd name="T45" fmla="*/ 89 h 159"/>
                <a:gd name="T46" fmla="*/ 458 w 485"/>
                <a:gd name="T47" fmla="*/ 99 h 159"/>
                <a:gd name="T48" fmla="*/ 455 w 485"/>
                <a:gd name="T49" fmla="*/ 102 h 159"/>
                <a:gd name="T50" fmla="*/ 438 w 485"/>
                <a:gd name="T51" fmla="*/ 113 h 159"/>
                <a:gd name="T52" fmla="*/ 412 w 485"/>
                <a:gd name="T53" fmla="*/ 127 h 159"/>
                <a:gd name="T54" fmla="*/ 385 w 485"/>
                <a:gd name="T55" fmla="*/ 138 h 159"/>
                <a:gd name="T56" fmla="*/ 354 w 485"/>
                <a:gd name="T57" fmla="*/ 146 h 159"/>
                <a:gd name="T58" fmla="*/ 319 w 485"/>
                <a:gd name="T59" fmla="*/ 154 h 159"/>
                <a:gd name="T60" fmla="*/ 282 w 485"/>
                <a:gd name="T61" fmla="*/ 158 h 159"/>
                <a:gd name="T62" fmla="*/ 242 w 485"/>
                <a:gd name="T63" fmla="*/ 159 h 159"/>
                <a:gd name="T64" fmla="*/ 202 w 485"/>
                <a:gd name="T65" fmla="*/ 158 h 159"/>
                <a:gd name="T66" fmla="*/ 164 w 485"/>
                <a:gd name="T67" fmla="*/ 154 h 159"/>
                <a:gd name="T68" fmla="*/ 130 w 485"/>
                <a:gd name="T69" fmla="*/ 146 h 159"/>
                <a:gd name="T70" fmla="*/ 99 w 485"/>
                <a:gd name="T71" fmla="*/ 138 h 159"/>
                <a:gd name="T72" fmla="*/ 72 w 485"/>
                <a:gd name="T73" fmla="*/ 127 h 159"/>
                <a:gd name="T74" fmla="*/ 46 w 485"/>
                <a:gd name="T75" fmla="*/ 113 h 159"/>
                <a:gd name="T76" fmla="*/ 28 w 485"/>
                <a:gd name="T77" fmla="*/ 102 h 159"/>
                <a:gd name="T78" fmla="*/ 26 w 485"/>
                <a:gd name="T79" fmla="*/ 99 h 159"/>
                <a:gd name="T80" fmla="*/ 16 w 485"/>
                <a:gd name="T81" fmla="*/ 89 h 159"/>
                <a:gd name="T82" fmla="*/ 8 w 485"/>
                <a:gd name="T83" fmla="*/ 78 h 159"/>
                <a:gd name="T84" fmla="*/ 2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2" y="45"/>
                  </a:lnTo>
                  <a:lnTo>
                    <a:pt x="130" y="55"/>
                  </a:lnTo>
                  <a:lnTo>
                    <a:pt x="145" y="58"/>
                  </a:lnTo>
                  <a:lnTo>
                    <a:pt x="192" y="65"/>
                  </a:lnTo>
                  <a:lnTo>
                    <a:pt x="242" y="67"/>
                  </a:lnTo>
                  <a:lnTo>
                    <a:pt x="291" y="65"/>
                  </a:lnTo>
                  <a:lnTo>
                    <a:pt x="339" y="58"/>
                  </a:lnTo>
                  <a:lnTo>
                    <a:pt x="354" y="55"/>
                  </a:lnTo>
                  <a:lnTo>
                    <a:pt x="392" y="45"/>
                  </a:lnTo>
                  <a:lnTo>
                    <a:pt x="426" y="33"/>
                  </a:lnTo>
                  <a:lnTo>
                    <a:pt x="457" y="18"/>
                  </a:lnTo>
                  <a:lnTo>
                    <a:pt x="477" y="5"/>
                  </a:lnTo>
                  <a:lnTo>
                    <a:pt x="485" y="0"/>
                  </a:lnTo>
                  <a:lnTo>
                    <a:pt x="485" y="54"/>
                  </a:lnTo>
                  <a:lnTo>
                    <a:pt x="485" y="55"/>
                  </a:lnTo>
                  <a:lnTo>
                    <a:pt x="485" y="55"/>
                  </a:lnTo>
                  <a:lnTo>
                    <a:pt x="482" y="67"/>
                  </a:lnTo>
                  <a:lnTo>
                    <a:pt x="476" y="78"/>
                  </a:lnTo>
                  <a:lnTo>
                    <a:pt x="469" y="89"/>
                  </a:lnTo>
                  <a:lnTo>
                    <a:pt x="458" y="99"/>
                  </a:lnTo>
                  <a:lnTo>
                    <a:pt x="455" y="102"/>
                  </a:lnTo>
                  <a:lnTo>
                    <a:pt x="438" y="113"/>
                  </a:lnTo>
                  <a:lnTo>
                    <a:pt x="412" y="127"/>
                  </a:lnTo>
                  <a:lnTo>
                    <a:pt x="385" y="138"/>
                  </a:lnTo>
                  <a:lnTo>
                    <a:pt x="354" y="146"/>
                  </a:lnTo>
                  <a:lnTo>
                    <a:pt x="319" y="154"/>
                  </a:lnTo>
                  <a:lnTo>
                    <a:pt x="282" y="158"/>
                  </a:lnTo>
                  <a:lnTo>
                    <a:pt x="242" y="159"/>
                  </a:lnTo>
                  <a:lnTo>
                    <a:pt x="202" y="158"/>
                  </a:lnTo>
                  <a:lnTo>
                    <a:pt x="164" y="154"/>
                  </a:lnTo>
                  <a:lnTo>
                    <a:pt x="130" y="146"/>
                  </a:lnTo>
                  <a:lnTo>
                    <a:pt x="99" y="138"/>
                  </a:lnTo>
                  <a:lnTo>
                    <a:pt x="72" y="127"/>
                  </a:lnTo>
                  <a:lnTo>
                    <a:pt x="46" y="113"/>
                  </a:lnTo>
                  <a:lnTo>
                    <a:pt x="28" y="102"/>
                  </a:lnTo>
                  <a:lnTo>
                    <a:pt x="26" y="99"/>
                  </a:lnTo>
                  <a:lnTo>
                    <a:pt x="16" y="89"/>
                  </a:lnTo>
                  <a:lnTo>
                    <a:pt x="8" y="78"/>
                  </a:lnTo>
                  <a:lnTo>
                    <a:pt x="2" y="67"/>
                  </a:lnTo>
                  <a:lnTo>
                    <a:pt x="0" y="55"/>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53">
              <a:extLst>
                <a:ext uri="{FF2B5EF4-FFF2-40B4-BE49-F238E27FC236}">
                  <a16:creationId xmlns:a16="http://schemas.microsoft.com/office/drawing/2014/main" id="{7813EA63-9870-2C4E-88F4-97091FC3DEC1}"/>
                </a:ext>
              </a:extLst>
            </p:cNvPr>
            <p:cNvSpPr>
              <a:spLocks/>
            </p:cNvSpPr>
            <p:nvPr/>
          </p:nvSpPr>
          <p:spPr bwMode="auto">
            <a:xfrm>
              <a:off x="4529218" y="4216722"/>
              <a:ext cx="384175" cy="127000"/>
            </a:xfrm>
            <a:custGeom>
              <a:avLst/>
              <a:gdLst>
                <a:gd name="T0" fmla="*/ 0 w 485"/>
                <a:gd name="T1" fmla="*/ 0 h 159"/>
                <a:gd name="T2" fmla="*/ 7 w 485"/>
                <a:gd name="T3" fmla="*/ 5 h 159"/>
                <a:gd name="T4" fmla="*/ 27 w 485"/>
                <a:gd name="T5" fmla="*/ 18 h 159"/>
                <a:gd name="T6" fmla="*/ 58 w 485"/>
                <a:gd name="T7" fmla="*/ 33 h 159"/>
                <a:gd name="T8" fmla="*/ 92 w 485"/>
                <a:gd name="T9" fmla="*/ 45 h 159"/>
                <a:gd name="T10" fmla="*/ 130 w 485"/>
                <a:gd name="T11" fmla="*/ 55 h 159"/>
                <a:gd name="T12" fmla="*/ 145 w 485"/>
                <a:gd name="T13" fmla="*/ 58 h 159"/>
                <a:gd name="T14" fmla="*/ 192 w 485"/>
                <a:gd name="T15" fmla="*/ 64 h 159"/>
                <a:gd name="T16" fmla="*/ 242 w 485"/>
                <a:gd name="T17" fmla="*/ 67 h 159"/>
                <a:gd name="T18" fmla="*/ 291 w 485"/>
                <a:gd name="T19" fmla="*/ 64 h 159"/>
                <a:gd name="T20" fmla="*/ 339 w 485"/>
                <a:gd name="T21" fmla="*/ 58 h 159"/>
                <a:gd name="T22" fmla="*/ 354 w 485"/>
                <a:gd name="T23" fmla="*/ 55 h 159"/>
                <a:gd name="T24" fmla="*/ 392 w 485"/>
                <a:gd name="T25" fmla="*/ 45 h 159"/>
                <a:gd name="T26" fmla="*/ 426 w 485"/>
                <a:gd name="T27" fmla="*/ 33 h 159"/>
                <a:gd name="T28" fmla="*/ 457 w 485"/>
                <a:gd name="T29" fmla="*/ 18 h 159"/>
                <a:gd name="T30" fmla="*/ 477 w 485"/>
                <a:gd name="T31" fmla="*/ 5 h 159"/>
                <a:gd name="T32" fmla="*/ 485 w 485"/>
                <a:gd name="T33" fmla="*/ 0 h 159"/>
                <a:gd name="T34" fmla="*/ 485 w 485"/>
                <a:gd name="T35" fmla="*/ 54 h 159"/>
                <a:gd name="T36" fmla="*/ 485 w 485"/>
                <a:gd name="T37" fmla="*/ 55 h 159"/>
                <a:gd name="T38" fmla="*/ 485 w 485"/>
                <a:gd name="T39" fmla="*/ 55 h 159"/>
                <a:gd name="T40" fmla="*/ 482 w 485"/>
                <a:gd name="T41" fmla="*/ 67 h 159"/>
                <a:gd name="T42" fmla="*/ 476 w 485"/>
                <a:gd name="T43" fmla="*/ 78 h 159"/>
                <a:gd name="T44" fmla="*/ 469 w 485"/>
                <a:gd name="T45" fmla="*/ 89 h 159"/>
                <a:gd name="T46" fmla="*/ 458 w 485"/>
                <a:gd name="T47" fmla="*/ 100 h 159"/>
                <a:gd name="T48" fmla="*/ 455 w 485"/>
                <a:gd name="T49" fmla="*/ 102 h 159"/>
                <a:gd name="T50" fmla="*/ 438 w 485"/>
                <a:gd name="T51" fmla="*/ 113 h 159"/>
                <a:gd name="T52" fmla="*/ 412 w 485"/>
                <a:gd name="T53" fmla="*/ 127 h 159"/>
                <a:gd name="T54" fmla="*/ 385 w 485"/>
                <a:gd name="T55" fmla="*/ 138 h 159"/>
                <a:gd name="T56" fmla="*/ 354 w 485"/>
                <a:gd name="T57" fmla="*/ 146 h 159"/>
                <a:gd name="T58" fmla="*/ 319 w 485"/>
                <a:gd name="T59" fmla="*/ 154 h 159"/>
                <a:gd name="T60" fmla="*/ 282 w 485"/>
                <a:gd name="T61" fmla="*/ 158 h 159"/>
                <a:gd name="T62" fmla="*/ 242 w 485"/>
                <a:gd name="T63" fmla="*/ 159 h 159"/>
                <a:gd name="T64" fmla="*/ 202 w 485"/>
                <a:gd name="T65" fmla="*/ 158 h 159"/>
                <a:gd name="T66" fmla="*/ 164 w 485"/>
                <a:gd name="T67" fmla="*/ 154 h 159"/>
                <a:gd name="T68" fmla="*/ 130 w 485"/>
                <a:gd name="T69" fmla="*/ 146 h 159"/>
                <a:gd name="T70" fmla="*/ 99 w 485"/>
                <a:gd name="T71" fmla="*/ 138 h 159"/>
                <a:gd name="T72" fmla="*/ 72 w 485"/>
                <a:gd name="T73" fmla="*/ 127 h 159"/>
                <a:gd name="T74" fmla="*/ 46 w 485"/>
                <a:gd name="T75" fmla="*/ 113 h 159"/>
                <a:gd name="T76" fmla="*/ 28 w 485"/>
                <a:gd name="T77" fmla="*/ 102 h 159"/>
                <a:gd name="T78" fmla="*/ 26 w 485"/>
                <a:gd name="T79" fmla="*/ 100 h 159"/>
                <a:gd name="T80" fmla="*/ 16 w 485"/>
                <a:gd name="T81" fmla="*/ 89 h 159"/>
                <a:gd name="T82" fmla="*/ 8 w 485"/>
                <a:gd name="T83" fmla="*/ 78 h 159"/>
                <a:gd name="T84" fmla="*/ 2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2" y="45"/>
                  </a:lnTo>
                  <a:lnTo>
                    <a:pt x="130" y="55"/>
                  </a:lnTo>
                  <a:lnTo>
                    <a:pt x="145" y="58"/>
                  </a:lnTo>
                  <a:lnTo>
                    <a:pt x="192" y="64"/>
                  </a:lnTo>
                  <a:lnTo>
                    <a:pt x="242" y="67"/>
                  </a:lnTo>
                  <a:lnTo>
                    <a:pt x="291" y="64"/>
                  </a:lnTo>
                  <a:lnTo>
                    <a:pt x="339" y="58"/>
                  </a:lnTo>
                  <a:lnTo>
                    <a:pt x="354" y="55"/>
                  </a:lnTo>
                  <a:lnTo>
                    <a:pt x="392" y="45"/>
                  </a:lnTo>
                  <a:lnTo>
                    <a:pt x="426" y="33"/>
                  </a:lnTo>
                  <a:lnTo>
                    <a:pt x="457" y="18"/>
                  </a:lnTo>
                  <a:lnTo>
                    <a:pt x="477" y="5"/>
                  </a:lnTo>
                  <a:lnTo>
                    <a:pt x="485" y="0"/>
                  </a:lnTo>
                  <a:lnTo>
                    <a:pt x="485" y="54"/>
                  </a:lnTo>
                  <a:lnTo>
                    <a:pt x="485" y="55"/>
                  </a:lnTo>
                  <a:lnTo>
                    <a:pt x="485" y="55"/>
                  </a:lnTo>
                  <a:lnTo>
                    <a:pt x="482" y="67"/>
                  </a:lnTo>
                  <a:lnTo>
                    <a:pt x="476" y="78"/>
                  </a:lnTo>
                  <a:lnTo>
                    <a:pt x="469" y="89"/>
                  </a:lnTo>
                  <a:lnTo>
                    <a:pt x="458" y="100"/>
                  </a:lnTo>
                  <a:lnTo>
                    <a:pt x="455" y="102"/>
                  </a:lnTo>
                  <a:lnTo>
                    <a:pt x="438" y="113"/>
                  </a:lnTo>
                  <a:lnTo>
                    <a:pt x="412" y="127"/>
                  </a:lnTo>
                  <a:lnTo>
                    <a:pt x="385" y="138"/>
                  </a:lnTo>
                  <a:lnTo>
                    <a:pt x="354" y="146"/>
                  </a:lnTo>
                  <a:lnTo>
                    <a:pt x="319" y="154"/>
                  </a:lnTo>
                  <a:lnTo>
                    <a:pt x="282" y="158"/>
                  </a:lnTo>
                  <a:lnTo>
                    <a:pt x="242" y="159"/>
                  </a:lnTo>
                  <a:lnTo>
                    <a:pt x="202" y="158"/>
                  </a:lnTo>
                  <a:lnTo>
                    <a:pt x="164" y="154"/>
                  </a:lnTo>
                  <a:lnTo>
                    <a:pt x="130" y="146"/>
                  </a:lnTo>
                  <a:lnTo>
                    <a:pt x="99" y="138"/>
                  </a:lnTo>
                  <a:lnTo>
                    <a:pt x="72" y="127"/>
                  </a:lnTo>
                  <a:lnTo>
                    <a:pt x="46" y="113"/>
                  </a:lnTo>
                  <a:lnTo>
                    <a:pt x="28" y="102"/>
                  </a:lnTo>
                  <a:lnTo>
                    <a:pt x="26" y="100"/>
                  </a:lnTo>
                  <a:lnTo>
                    <a:pt x="16" y="89"/>
                  </a:lnTo>
                  <a:lnTo>
                    <a:pt x="8" y="78"/>
                  </a:lnTo>
                  <a:lnTo>
                    <a:pt x="2" y="67"/>
                  </a:lnTo>
                  <a:lnTo>
                    <a:pt x="0" y="55"/>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54">
              <a:extLst>
                <a:ext uri="{FF2B5EF4-FFF2-40B4-BE49-F238E27FC236}">
                  <a16:creationId xmlns:a16="http://schemas.microsoft.com/office/drawing/2014/main" id="{2A3C46B7-3657-2246-B5D1-5D181E5E9F65}"/>
                </a:ext>
              </a:extLst>
            </p:cNvPr>
            <p:cNvSpPr>
              <a:spLocks noEditPoints="1"/>
            </p:cNvSpPr>
            <p:nvPr/>
          </p:nvSpPr>
          <p:spPr bwMode="auto">
            <a:xfrm>
              <a:off x="2303543" y="3862710"/>
              <a:ext cx="58738" cy="127000"/>
            </a:xfrm>
            <a:custGeom>
              <a:avLst/>
              <a:gdLst>
                <a:gd name="T0" fmla="*/ 41 w 72"/>
                <a:gd name="T1" fmla="*/ 132 h 159"/>
                <a:gd name="T2" fmla="*/ 59 w 72"/>
                <a:gd name="T3" fmla="*/ 118 h 159"/>
                <a:gd name="T4" fmla="*/ 59 w 72"/>
                <a:gd name="T5" fmla="*/ 96 h 159"/>
                <a:gd name="T6" fmla="*/ 41 w 72"/>
                <a:gd name="T7" fmla="*/ 82 h 159"/>
                <a:gd name="T8" fmla="*/ 21 w 72"/>
                <a:gd name="T9" fmla="*/ 25 h 159"/>
                <a:gd name="T10" fmla="*/ 11 w 72"/>
                <a:gd name="T11" fmla="*/ 45 h 159"/>
                <a:gd name="T12" fmla="*/ 21 w 72"/>
                <a:gd name="T13" fmla="*/ 65 h 159"/>
                <a:gd name="T14" fmla="*/ 32 w 72"/>
                <a:gd name="T15" fmla="*/ 20 h 159"/>
                <a:gd name="T16" fmla="*/ 39 w 72"/>
                <a:gd name="T17" fmla="*/ 0 h 159"/>
                <a:gd name="T18" fmla="*/ 41 w 72"/>
                <a:gd name="T19" fmla="*/ 4 h 159"/>
                <a:gd name="T20" fmla="*/ 52 w 72"/>
                <a:gd name="T21" fmla="*/ 13 h 159"/>
                <a:gd name="T22" fmla="*/ 68 w 72"/>
                <a:gd name="T23" fmla="*/ 27 h 159"/>
                <a:gd name="T24" fmla="*/ 68 w 72"/>
                <a:gd name="T25" fmla="*/ 31 h 159"/>
                <a:gd name="T26" fmla="*/ 66 w 72"/>
                <a:gd name="T27" fmla="*/ 35 h 159"/>
                <a:gd name="T28" fmla="*/ 60 w 72"/>
                <a:gd name="T29" fmla="*/ 35 h 159"/>
                <a:gd name="T30" fmla="*/ 52 w 72"/>
                <a:gd name="T31" fmla="*/ 25 h 159"/>
                <a:gd name="T32" fmla="*/ 41 w 72"/>
                <a:gd name="T33" fmla="*/ 72 h 159"/>
                <a:gd name="T34" fmla="*/ 64 w 72"/>
                <a:gd name="T35" fmla="*/ 83 h 159"/>
                <a:gd name="T36" fmla="*/ 72 w 72"/>
                <a:gd name="T37" fmla="*/ 108 h 159"/>
                <a:gd name="T38" fmla="*/ 64 w 72"/>
                <a:gd name="T39" fmla="*/ 131 h 159"/>
                <a:gd name="T40" fmla="*/ 41 w 72"/>
                <a:gd name="T41" fmla="*/ 143 h 159"/>
                <a:gd name="T42" fmla="*/ 41 w 72"/>
                <a:gd name="T43" fmla="*/ 157 h 159"/>
                <a:gd name="T44" fmla="*/ 37 w 72"/>
                <a:gd name="T45" fmla="*/ 159 h 159"/>
                <a:gd name="T46" fmla="*/ 33 w 72"/>
                <a:gd name="T47" fmla="*/ 158 h 159"/>
                <a:gd name="T48" fmla="*/ 32 w 72"/>
                <a:gd name="T49" fmla="*/ 154 h 159"/>
                <a:gd name="T50" fmla="*/ 19 w 72"/>
                <a:gd name="T51" fmla="*/ 139 h 159"/>
                <a:gd name="T52" fmla="*/ 2 w 72"/>
                <a:gd name="T53" fmla="*/ 120 h 159"/>
                <a:gd name="T54" fmla="*/ 2 w 72"/>
                <a:gd name="T55" fmla="*/ 115 h 159"/>
                <a:gd name="T56" fmla="*/ 5 w 72"/>
                <a:gd name="T57" fmla="*/ 113 h 159"/>
                <a:gd name="T58" fmla="*/ 11 w 72"/>
                <a:gd name="T59" fmla="*/ 114 h 159"/>
                <a:gd name="T60" fmla="*/ 17 w 72"/>
                <a:gd name="T61" fmla="*/ 124 h 159"/>
                <a:gd name="T62" fmla="*/ 32 w 72"/>
                <a:gd name="T63" fmla="*/ 132 h 159"/>
                <a:gd name="T64" fmla="*/ 19 w 72"/>
                <a:gd name="T65" fmla="*/ 77 h 159"/>
                <a:gd name="T66" fmla="*/ 3 w 72"/>
                <a:gd name="T67" fmla="*/ 58 h 159"/>
                <a:gd name="T68" fmla="*/ 3 w 72"/>
                <a:gd name="T69" fmla="*/ 32 h 159"/>
                <a:gd name="T70" fmla="*/ 19 w 72"/>
                <a:gd name="T71" fmla="*/ 14 h 159"/>
                <a:gd name="T72" fmla="*/ 32 w 72"/>
                <a:gd name="T73" fmla="*/ 4 h 159"/>
                <a:gd name="T74" fmla="*/ 33 w 72"/>
                <a:gd name="T75" fmla="*/ 1 h 159"/>
                <a:gd name="T76" fmla="*/ 37 w 72"/>
                <a:gd name="T7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159">
                  <a:moveTo>
                    <a:pt x="41" y="82"/>
                  </a:moveTo>
                  <a:lnTo>
                    <a:pt x="41" y="132"/>
                  </a:lnTo>
                  <a:lnTo>
                    <a:pt x="52" y="128"/>
                  </a:lnTo>
                  <a:lnTo>
                    <a:pt x="59" y="118"/>
                  </a:lnTo>
                  <a:lnTo>
                    <a:pt x="63" y="108"/>
                  </a:lnTo>
                  <a:lnTo>
                    <a:pt x="59" y="96"/>
                  </a:lnTo>
                  <a:lnTo>
                    <a:pt x="52" y="87"/>
                  </a:lnTo>
                  <a:lnTo>
                    <a:pt x="41" y="82"/>
                  </a:lnTo>
                  <a:close/>
                  <a:moveTo>
                    <a:pt x="32" y="20"/>
                  </a:moveTo>
                  <a:lnTo>
                    <a:pt x="21" y="25"/>
                  </a:lnTo>
                  <a:lnTo>
                    <a:pt x="14" y="34"/>
                  </a:lnTo>
                  <a:lnTo>
                    <a:pt x="11" y="45"/>
                  </a:lnTo>
                  <a:lnTo>
                    <a:pt x="14" y="57"/>
                  </a:lnTo>
                  <a:lnTo>
                    <a:pt x="21" y="65"/>
                  </a:lnTo>
                  <a:lnTo>
                    <a:pt x="32" y="71"/>
                  </a:lnTo>
                  <a:lnTo>
                    <a:pt x="32" y="20"/>
                  </a:lnTo>
                  <a:close/>
                  <a:moveTo>
                    <a:pt x="37" y="0"/>
                  </a:moveTo>
                  <a:lnTo>
                    <a:pt x="39" y="0"/>
                  </a:lnTo>
                  <a:lnTo>
                    <a:pt x="41" y="2"/>
                  </a:lnTo>
                  <a:lnTo>
                    <a:pt x="41" y="4"/>
                  </a:lnTo>
                  <a:lnTo>
                    <a:pt x="41" y="10"/>
                  </a:lnTo>
                  <a:lnTo>
                    <a:pt x="52" y="13"/>
                  </a:lnTo>
                  <a:lnTo>
                    <a:pt x="60" y="19"/>
                  </a:lnTo>
                  <a:lnTo>
                    <a:pt x="68" y="27"/>
                  </a:lnTo>
                  <a:lnTo>
                    <a:pt x="68" y="29"/>
                  </a:lnTo>
                  <a:lnTo>
                    <a:pt x="68" y="31"/>
                  </a:lnTo>
                  <a:lnTo>
                    <a:pt x="68" y="34"/>
                  </a:lnTo>
                  <a:lnTo>
                    <a:pt x="66" y="35"/>
                  </a:lnTo>
                  <a:lnTo>
                    <a:pt x="64" y="36"/>
                  </a:lnTo>
                  <a:lnTo>
                    <a:pt x="60" y="35"/>
                  </a:lnTo>
                  <a:lnTo>
                    <a:pt x="59" y="32"/>
                  </a:lnTo>
                  <a:lnTo>
                    <a:pt x="52" y="25"/>
                  </a:lnTo>
                  <a:lnTo>
                    <a:pt x="41" y="21"/>
                  </a:lnTo>
                  <a:lnTo>
                    <a:pt x="41" y="72"/>
                  </a:lnTo>
                  <a:lnTo>
                    <a:pt x="54" y="76"/>
                  </a:lnTo>
                  <a:lnTo>
                    <a:pt x="64" y="83"/>
                  </a:lnTo>
                  <a:lnTo>
                    <a:pt x="70" y="94"/>
                  </a:lnTo>
                  <a:lnTo>
                    <a:pt x="72" y="108"/>
                  </a:lnTo>
                  <a:lnTo>
                    <a:pt x="70" y="121"/>
                  </a:lnTo>
                  <a:lnTo>
                    <a:pt x="64" y="131"/>
                  </a:lnTo>
                  <a:lnTo>
                    <a:pt x="54" y="139"/>
                  </a:lnTo>
                  <a:lnTo>
                    <a:pt x="41" y="143"/>
                  </a:lnTo>
                  <a:lnTo>
                    <a:pt x="41" y="154"/>
                  </a:lnTo>
                  <a:lnTo>
                    <a:pt x="41" y="157"/>
                  </a:lnTo>
                  <a:lnTo>
                    <a:pt x="39" y="158"/>
                  </a:lnTo>
                  <a:lnTo>
                    <a:pt x="37" y="159"/>
                  </a:lnTo>
                  <a:lnTo>
                    <a:pt x="35" y="159"/>
                  </a:lnTo>
                  <a:lnTo>
                    <a:pt x="33" y="158"/>
                  </a:lnTo>
                  <a:lnTo>
                    <a:pt x="32" y="156"/>
                  </a:lnTo>
                  <a:lnTo>
                    <a:pt x="32" y="154"/>
                  </a:lnTo>
                  <a:lnTo>
                    <a:pt x="32" y="143"/>
                  </a:lnTo>
                  <a:lnTo>
                    <a:pt x="19" y="139"/>
                  </a:lnTo>
                  <a:lnTo>
                    <a:pt x="9" y="131"/>
                  </a:lnTo>
                  <a:lnTo>
                    <a:pt x="2" y="120"/>
                  </a:lnTo>
                  <a:lnTo>
                    <a:pt x="2" y="117"/>
                  </a:lnTo>
                  <a:lnTo>
                    <a:pt x="2" y="115"/>
                  </a:lnTo>
                  <a:lnTo>
                    <a:pt x="4" y="114"/>
                  </a:lnTo>
                  <a:lnTo>
                    <a:pt x="5" y="113"/>
                  </a:lnTo>
                  <a:lnTo>
                    <a:pt x="8" y="113"/>
                  </a:lnTo>
                  <a:lnTo>
                    <a:pt x="11" y="114"/>
                  </a:lnTo>
                  <a:lnTo>
                    <a:pt x="12" y="115"/>
                  </a:lnTo>
                  <a:lnTo>
                    <a:pt x="17" y="124"/>
                  </a:lnTo>
                  <a:lnTo>
                    <a:pt x="23" y="129"/>
                  </a:lnTo>
                  <a:lnTo>
                    <a:pt x="32" y="132"/>
                  </a:lnTo>
                  <a:lnTo>
                    <a:pt x="32" y="81"/>
                  </a:lnTo>
                  <a:lnTo>
                    <a:pt x="19" y="77"/>
                  </a:lnTo>
                  <a:lnTo>
                    <a:pt x="9" y="70"/>
                  </a:lnTo>
                  <a:lnTo>
                    <a:pt x="3" y="58"/>
                  </a:lnTo>
                  <a:lnTo>
                    <a:pt x="0" y="45"/>
                  </a:lnTo>
                  <a:lnTo>
                    <a:pt x="3" y="32"/>
                  </a:lnTo>
                  <a:lnTo>
                    <a:pt x="9" y="22"/>
                  </a:lnTo>
                  <a:lnTo>
                    <a:pt x="19" y="14"/>
                  </a:lnTo>
                  <a:lnTo>
                    <a:pt x="32" y="10"/>
                  </a:lnTo>
                  <a:lnTo>
                    <a:pt x="32" y="4"/>
                  </a:lnTo>
                  <a:lnTo>
                    <a:pt x="32" y="2"/>
                  </a:lnTo>
                  <a:lnTo>
                    <a:pt x="33" y="1"/>
                  </a:lnTo>
                  <a:lnTo>
                    <a:pt x="35" y="0"/>
                  </a:lnTo>
                  <a:lnTo>
                    <a:pt x="3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55">
              <a:extLst>
                <a:ext uri="{FF2B5EF4-FFF2-40B4-BE49-F238E27FC236}">
                  <a16:creationId xmlns:a16="http://schemas.microsoft.com/office/drawing/2014/main" id="{E76484E9-12D6-4646-AAF0-CAF99BE0815E}"/>
                </a:ext>
              </a:extLst>
            </p:cNvPr>
            <p:cNvSpPr>
              <a:spLocks noEditPoints="1"/>
            </p:cNvSpPr>
            <p:nvPr/>
          </p:nvSpPr>
          <p:spPr bwMode="auto">
            <a:xfrm>
              <a:off x="2902030" y="3645222"/>
              <a:ext cx="57150" cy="127000"/>
            </a:xfrm>
            <a:custGeom>
              <a:avLst/>
              <a:gdLst>
                <a:gd name="T0" fmla="*/ 42 w 72"/>
                <a:gd name="T1" fmla="*/ 134 h 161"/>
                <a:gd name="T2" fmla="*/ 60 w 72"/>
                <a:gd name="T3" fmla="*/ 120 h 161"/>
                <a:gd name="T4" fmla="*/ 60 w 72"/>
                <a:gd name="T5" fmla="*/ 97 h 161"/>
                <a:gd name="T6" fmla="*/ 42 w 72"/>
                <a:gd name="T7" fmla="*/ 83 h 161"/>
                <a:gd name="T8" fmla="*/ 20 w 72"/>
                <a:gd name="T9" fmla="*/ 27 h 161"/>
                <a:gd name="T10" fmla="*/ 11 w 72"/>
                <a:gd name="T11" fmla="*/ 47 h 161"/>
                <a:gd name="T12" fmla="*/ 20 w 72"/>
                <a:gd name="T13" fmla="*/ 67 h 161"/>
                <a:gd name="T14" fmla="*/ 31 w 72"/>
                <a:gd name="T15" fmla="*/ 22 h 161"/>
                <a:gd name="T16" fmla="*/ 40 w 72"/>
                <a:gd name="T17" fmla="*/ 1 h 161"/>
                <a:gd name="T18" fmla="*/ 42 w 72"/>
                <a:gd name="T19" fmla="*/ 6 h 161"/>
                <a:gd name="T20" fmla="*/ 52 w 72"/>
                <a:gd name="T21" fmla="*/ 14 h 161"/>
                <a:gd name="T22" fmla="*/ 68 w 72"/>
                <a:gd name="T23" fmla="*/ 29 h 161"/>
                <a:gd name="T24" fmla="*/ 68 w 72"/>
                <a:gd name="T25" fmla="*/ 33 h 161"/>
                <a:gd name="T26" fmla="*/ 66 w 72"/>
                <a:gd name="T27" fmla="*/ 36 h 161"/>
                <a:gd name="T28" fmla="*/ 61 w 72"/>
                <a:gd name="T29" fmla="*/ 36 h 161"/>
                <a:gd name="T30" fmla="*/ 51 w 72"/>
                <a:gd name="T31" fmla="*/ 26 h 161"/>
                <a:gd name="T32" fmla="*/ 42 w 72"/>
                <a:gd name="T33" fmla="*/ 74 h 161"/>
                <a:gd name="T34" fmla="*/ 64 w 72"/>
                <a:gd name="T35" fmla="*/ 85 h 161"/>
                <a:gd name="T36" fmla="*/ 72 w 72"/>
                <a:gd name="T37" fmla="*/ 109 h 161"/>
                <a:gd name="T38" fmla="*/ 64 w 72"/>
                <a:gd name="T39" fmla="*/ 132 h 161"/>
                <a:gd name="T40" fmla="*/ 42 w 72"/>
                <a:gd name="T41" fmla="*/ 145 h 161"/>
                <a:gd name="T42" fmla="*/ 41 w 72"/>
                <a:gd name="T43" fmla="*/ 158 h 161"/>
                <a:gd name="T44" fmla="*/ 36 w 72"/>
                <a:gd name="T45" fmla="*/ 161 h 161"/>
                <a:gd name="T46" fmla="*/ 33 w 72"/>
                <a:gd name="T47" fmla="*/ 159 h 161"/>
                <a:gd name="T48" fmla="*/ 31 w 72"/>
                <a:gd name="T49" fmla="*/ 155 h 161"/>
                <a:gd name="T50" fmla="*/ 19 w 72"/>
                <a:gd name="T51" fmla="*/ 141 h 161"/>
                <a:gd name="T52" fmla="*/ 2 w 72"/>
                <a:gd name="T53" fmla="*/ 121 h 161"/>
                <a:gd name="T54" fmla="*/ 2 w 72"/>
                <a:gd name="T55" fmla="*/ 117 h 161"/>
                <a:gd name="T56" fmla="*/ 6 w 72"/>
                <a:gd name="T57" fmla="*/ 114 h 161"/>
                <a:gd name="T58" fmla="*/ 11 w 72"/>
                <a:gd name="T59" fmla="*/ 115 h 161"/>
                <a:gd name="T60" fmla="*/ 16 w 72"/>
                <a:gd name="T61" fmla="*/ 126 h 161"/>
                <a:gd name="T62" fmla="*/ 31 w 72"/>
                <a:gd name="T63" fmla="*/ 134 h 161"/>
                <a:gd name="T64" fmla="*/ 19 w 72"/>
                <a:gd name="T65" fmla="*/ 79 h 161"/>
                <a:gd name="T66" fmla="*/ 2 w 72"/>
                <a:gd name="T67" fmla="*/ 60 h 161"/>
                <a:gd name="T68" fmla="*/ 2 w 72"/>
                <a:gd name="T69" fmla="*/ 34 h 161"/>
                <a:gd name="T70" fmla="*/ 19 w 72"/>
                <a:gd name="T71" fmla="*/ 15 h 161"/>
                <a:gd name="T72" fmla="*/ 31 w 72"/>
                <a:gd name="T73" fmla="*/ 6 h 161"/>
                <a:gd name="T74" fmla="*/ 33 w 72"/>
                <a:gd name="T75" fmla="*/ 3 h 161"/>
                <a:gd name="T76" fmla="*/ 36 w 72"/>
                <a:gd name="T7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161">
                  <a:moveTo>
                    <a:pt x="42" y="83"/>
                  </a:moveTo>
                  <a:lnTo>
                    <a:pt x="42" y="134"/>
                  </a:lnTo>
                  <a:lnTo>
                    <a:pt x="52" y="129"/>
                  </a:lnTo>
                  <a:lnTo>
                    <a:pt x="60" y="120"/>
                  </a:lnTo>
                  <a:lnTo>
                    <a:pt x="63" y="109"/>
                  </a:lnTo>
                  <a:lnTo>
                    <a:pt x="60" y="97"/>
                  </a:lnTo>
                  <a:lnTo>
                    <a:pt x="52" y="89"/>
                  </a:lnTo>
                  <a:lnTo>
                    <a:pt x="42" y="83"/>
                  </a:lnTo>
                  <a:close/>
                  <a:moveTo>
                    <a:pt x="31" y="22"/>
                  </a:moveTo>
                  <a:lnTo>
                    <a:pt x="20" y="27"/>
                  </a:lnTo>
                  <a:lnTo>
                    <a:pt x="13" y="35"/>
                  </a:lnTo>
                  <a:lnTo>
                    <a:pt x="11" y="47"/>
                  </a:lnTo>
                  <a:lnTo>
                    <a:pt x="13" y="59"/>
                  </a:lnTo>
                  <a:lnTo>
                    <a:pt x="20" y="67"/>
                  </a:lnTo>
                  <a:lnTo>
                    <a:pt x="31" y="73"/>
                  </a:lnTo>
                  <a:lnTo>
                    <a:pt x="31" y="22"/>
                  </a:lnTo>
                  <a:close/>
                  <a:moveTo>
                    <a:pt x="36" y="0"/>
                  </a:moveTo>
                  <a:lnTo>
                    <a:pt x="40" y="1"/>
                  </a:lnTo>
                  <a:lnTo>
                    <a:pt x="41" y="4"/>
                  </a:lnTo>
                  <a:lnTo>
                    <a:pt x="42" y="6"/>
                  </a:lnTo>
                  <a:lnTo>
                    <a:pt x="42" y="11"/>
                  </a:lnTo>
                  <a:lnTo>
                    <a:pt x="52" y="14"/>
                  </a:lnTo>
                  <a:lnTo>
                    <a:pt x="61" y="21"/>
                  </a:lnTo>
                  <a:lnTo>
                    <a:pt x="68" y="29"/>
                  </a:lnTo>
                  <a:lnTo>
                    <a:pt x="68" y="31"/>
                  </a:lnTo>
                  <a:lnTo>
                    <a:pt x="68" y="33"/>
                  </a:lnTo>
                  <a:lnTo>
                    <a:pt x="67" y="34"/>
                  </a:lnTo>
                  <a:lnTo>
                    <a:pt x="66" y="36"/>
                  </a:lnTo>
                  <a:lnTo>
                    <a:pt x="63" y="36"/>
                  </a:lnTo>
                  <a:lnTo>
                    <a:pt x="61" y="36"/>
                  </a:lnTo>
                  <a:lnTo>
                    <a:pt x="59" y="34"/>
                  </a:lnTo>
                  <a:lnTo>
                    <a:pt x="51" y="26"/>
                  </a:lnTo>
                  <a:lnTo>
                    <a:pt x="42" y="22"/>
                  </a:lnTo>
                  <a:lnTo>
                    <a:pt x="42" y="74"/>
                  </a:lnTo>
                  <a:lnTo>
                    <a:pt x="53" y="77"/>
                  </a:lnTo>
                  <a:lnTo>
                    <a:pt x="64" y="85"/>
                  </a:lnTo>
                  <a:lnTo>
                    <a:pt x="70" y="96"/>
                  </a:lnTo>
                  <a:lnTo>
                    <a:pt x="72" y="109"/>
                  </a:lnTo>
                  <a:lnTo>
                    <a:pt x="70" y="121"/>
                  </a:lnTo>
                  <a:lnTo>
                    <a:pt x="64" y="132"/>
                  </a:lnTo>
                  <a:lnTo>
                    <a:pt x="53" y="141"/>
                  </a:lnTo>
                  <a:lnTo>
                    <a:pt x="42" y="145"/>
                  </a:lnTo>
                  <a:lnTo>
                    <a:pt x="42" y="155"/>
                  </a:lnTo>
                  <a:lnTo>
                    <a:pt x="41" y="158"/>
                  </a:lnTo>
                  <a:lnTo>
                    <a:pt x="40" y="160"/>
                  </a:lnTo>
                  <a:lnTo>
                    <a:pt x="36" y="161"/>
                  </a:lnTo>
                  <a:lnTo>
                    <a:pt x="34" y="160"/>
                  </a:lnTo>
                  <a:lnTo>
                    <a:pt x="33" y="159"/>
                  </a:lnTo>
                  <a:lnTo>
                    <a:pt x="32" y="158"/>
                  </a:lnTo>
                  <a:lnTo>
                    <a:pt x="31" y="155"/>
                  </a:lnTo>
                  <a:lnTo>
                    <a:pt x="31" y="145"/>
                  </a:lnTo>
                  <a:lnTo>
                    <a:pt x="19" y="141"/>
                  </a:lnTo>
                  <a:lnTo>
                    <a:pt x="9" y="132"/>
                  </a:lnTo>
                  <a:lnTo>
                    <a:pt x="2" y="121"/>
                  </a:lnTo>
                  <a:lnTo>
                    <a:pt x="2" y="119"/>
                  </a:lnTo>
                  <a:lnTo>
                    <a:pt x="2" y="117"/>
                  </a:lnTo>
                  <a:lnTo>
                    <a:pt x="4" y="115"/>
                  </a:lnTo>
                  <a:lnTo>
                    <a:pt x="6" y="114"/>
                  </a:lnTo>
                  <a:lnTo>
                    <a:pt x="9" y="114"/>
                  </a:lnTo>
                  <a:lnTo>
                    <a:pt x="11" y="115"/>
                  </a:lnTo>
                  <a:lnTo>
                    <a:pt x="12" y="117"/>
                  </a:lnTo>
                  <a:lnTo>
                    <a:pt x="16" y="126"/>
                  </a:lnTo>
                  <a:lnTo>
                    <a:pt x="24" y="131"/>
                  </a:lnTo>
                  <a:lnTo>
                    <a:pt x="31" y="134"/>
                  </a:lnTo>
                  <a:lnTo>
                    <a:pt x="31" y="82"/>
                  </a:lnTo>
                  <a:lnTo>
                    <a:pt x="19" y="79"/>
                  </a:lnTo>
                  <a:lnTo>
                    <a:pt x="10" y="70"/>
                  </a:lnTo>
                  <a:lnTo>
                    <a:pt x="2" y="60"/>
                  </a:lnTo>
                  <a:lnTo>
                    <a:pt x="0" y="47"/>
                  </a:lnTo>
                  <a:lnTo>
                    <a:pt x="2" y="34"/>
                  </a:lnTo>
                  <a:lnTo>
                    <a:pt x="10" y="24"/>
                  </a:lnTo>
                  <a:lnTo>
                    <a:pt x="19" y="15"/>
                  </a:lnTo>
                  <a:lnTo>
                    <a:pt x="31" y="11"/>
                  </a:lnTo>
                  <a:lnTo>
                    <a:pt x="31" y="6"/>
                  </a:lnTo>
                  <a:lnTo>
                    <a:pt x="32" y="4"/>
                  </a:lnTo>
                  <a:lnTo>
                    <a:pt x="33" y="3"/>
                  </a:lnTo>
                  <a:lnTo>
                    <a:pt x="34" y="1"/>
                  </a:lnTo>
                  <a:lnTo>
                    <a:pt x="3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56">
              <a:extLst>
                <a:ext uri="{FF2B5EF4-FFF2-40B4-BE49-F238E27FC236}">
                  <a16:creationId xmlns:a16="http://schemas.microsoft.com/office/drawing/2014/main" id="{C267221B-C8C6-2F43-88BA-B01DCBC9BB2E}"/>
                </a:ext>
              </a:extLst>
            </p:cNvPr>
            <p:cNvSpPr>
              <a:spLocks noEditPoints="1"/>
            </p:cNvSpPr>
            <p:nvPr/>
          </p:nvSpPr>
          <p:spPr bwMode="auto">
            <a:xfrm>
              <a:off x="3498930" y="3540447"/>
              <a:ext cx="57150" cy="127000"/>
            </a:xfrm>
            <a:custGeom>
              <a:avLst/>
              <a:gdLst>
                <a:gd name="T0" fmla="*/ 41 w 72"/>
                <a:gd name="T1" fmla="*/ 134 h 159"/>
                <a:gd name="T2" fmla="*/ 59 w 72"/>
                <a:gd name="T3" fmla="*/ 120 h 159"/>
                <a:gd name="T4" fmla="*/ 59 w 72"/>
                <a:gd name="T5" fmla="*/ 96 h 159"/>
                <a:gd name="T6" fmla="*/ 41 w 72"/>
                <a:gd name="T7" fmla="*/ 83 h 159"/>
                <a:gd name="T8" fmla="*/ 20 w 72"/>
                <a:gd name="T9" fmla="*/ 25 h 159"/>
                <a:gd name="T10" fmla="*/ 10 w 72"/>
                <a:gd name="T11" fmla="*/ 46 h 159"/>
                <a:gd name="T12" fmla="*/ 20 w 72"/>
                <a:gd name="T13" fmla="*/ 67 h 159"/>
                <a:gd name="T14" fmla="*/ 31 w 72"/>
                <a:gd name="T15" fmla="*/ 20 h 159"/>
                <a:gd name="T16" fmla="*/ 38 w 72"/>
                <a:gd name="T17" fmla="*/ 0 h 159"/>
                <a:gd name="T18" fmla="*/ 41 w 72"/>
                <a:gd name="T19" fmla="*/ 4 h 159"/>
                <a:gd name="T20" fmla="*/ 52 w 72"/>
                <a:gd name="T21" fmla="*/ 13 h 159"/>
                <a:gd name="T22" fmla="*/ 67 w 72"/>
                <a:gd name="T23" fmla="*/ 27 h 159"/>
                <a:gd name="T24" fmla="*/ 68 w 72"/>
                <a:gd name="T25" fmla="*/ 32 h 159"/>
                <a:gd name="T26" fmla="*/ 64 w 72"/>
                <a:gd name="T27" fmla="*/ 35 h 159"/>
                <a:gd name="T28" fmla="*/ 60 w 72"/>
                <a:gd name="T29" fmla="*/ 35 h 159"/>
                <a:gd name="T30" fmla="*/ 51 w 72"/>
                <a:gd name="T31" fmla="*/ 25 h 159"/>
                <a:gd name="T32" fmla="*/ 41 w 72"/>
                <a:gd name="T33" fmla="*/ 72 h 159"/>
                <a:gd name="T34" fmla="*/ 62 w 72"/>
                <a:gd name="T35" fmla="*/ 84 h 159"/>
                <a:gd name="T36" fmla="*/ 72 w 72"/>
                <a:gd name="T37" fmla="*/ 108 h 159"/>
                <a:gd name="T38" fmla="*/ 62 w 72"/>
                <a:gd name="T39" fmla="*/ 131 h 159"/>
                <a:gd name="T40" fmla="*/ 41 w 72"/>
                <a:gd name="T41" fmla="*/ 143 h 159"/>
                <a:gd name="T42" fmla="*/ 40 w 72"/>
                <a:gd name="T43" fmla="*/ 157 h 159"/>
                <a:gd name="T44" fmla="*/ 36 w 72"/>
                <a:gd name="T45" fmla="*/ 159 h 159"/>
                <a:gd name="T46" fmla="*/ 33 w 72"/>
                <a:gd name="T47" fmla="*/ 158 h 159"/>
                <a:gd name="T48" fmla="*/ 31 w 72"/>
                <a:gd name="T49" fmla="*/ 155 h 159"/>
                <a:gd name="T50" fmla="*/ 19 w 72"/>
                <a:gd name="T51" fmla="*/ 139 h 159"/>
                <a:gd name="T52" fmla="*/ 2 w 72"/>
                <a:gd name="T53" fmla="*/ 120 h 159"/>
                <a:gd name="T54" fmla="*/ 2 w 72"/>
                <a:gd name="T55" fmla="*/ 115 h 159"/>
                <a:gd name="T56" fmla="*/ 5 w 72"/>
                <a:gd name="T57" fmla="*/ 113 h 159"/>
                <a:gd name="T58" fmla="*/ 9 w 72"/>
                <a:gd name="T59" fmla="*/ 114 h 159"/>
                <a:gd name="T60" fmla="*/ 16 w 72"/>
                <a:gd name="T61" fmla="*/ 124 h 159"/>
                <a:gd name="T62" fmla="*/ 31 w 72"/>
                <a:gd name="T63" fmla="*/ 134 h 159"/>
                <a:gd name="T64" fmla="*/ 19 w 72"/>
                <a:gd name="T65" fmla="*/ 77 h 159"/>
                <a:gd name="T66" fmla="*/ 2 w 72"/>
                <a:gd name="T67" fmla="*/ 59 h 159"/>
                <a:gd name="T68" fmla="*/ 2 w 72"/>
                <a:gd name="T69" fmla="*/ 33 h 159"/>
                <a:gd name="T70" fmla="*/ 19 w 72"/>
                <a:gd name="T71" fmla="*/ 15 h 159"/>
                <a:gd name="T72" fmla="*/ 31 w 72"/>
                <a:gd name="T73" fmla="*/ 4 h 159"/>
                <a:gd name="T74" fmla="*/ 33 w 72"/>
                <a:gd name="T75" fmla="*/ 1 h 159"/>
                <a:gd name="T76" fmla="*/ 36 w 72"/>
                <a:gd name="T7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159">
                  <a:moveTo>
                    <a:pt x="41" y="83"/>
                  </a:moveTo>
                  <a:lnTo>
                    <a:pt x="41" y="134"/>
                  </a:lnTo>
                  <a:lnTo>
                    <a:pt x="52" y="128"/>
                  </a:lnTo>
                  <a:lnTo>
                    <a:pt x="59" y="120"/>
                  </a:lnTo>
                  <a:lnTo>
                    <a:pt x="61" y="108"/>
                  </a:lnTo>
                  <a:lnTo>
                    <a:pt x="59" y="96"/>
                  </a:lnTo>
                  <a:lnTo>
                    <a:pt x="52" y="87"/>
                  </a:lnTo>
                  <a:lnTo>
                    <a:pt x="41" y="83"/>
                  </a:lnTo>
                  <a:close/>
                  <a:moveTo>
                    <a:pt x="31" y="20"/>
                  </a:moveTo>
                  <a:lnTo>
                    <a:pt x="20" y="25"/>
                  </a:lnTo>
                  <a:lnTo>
                    <a:pt x="12" y="35"/>
                  </a:lnTo>
                  <a:lnTo>
                    <a:pt x="10" y="46"/>
                  </a:lnTo>
                  <a:lnTo>
                    <a:pt x="12" y="57"/>
                  </a:lnTo>
                  <a:lnTo>
                    <a:pt x="20" y="67"/>
                  </a:lnTo>
                  <a:lnTo>
                    <a:pt x="31" y="71"/>
                  </a:lnTo>
                  <a:lnTo>
                    <a:pt x="31" y="20"/>
                  </a:lnTo>
                  <a:close/>
                  <a:moveTo>
                    <a:pt x="36" y="0"/>
                  </a:moveTo>
                  <a:lnTo>
                    <a:pt x="38" y="0"/>
                  </a:lnTo>
                  <a:lnTo>
                    <a:pt x="40" y="2"/>
                  </a:lnTo>
                  <a:lnTo>
                    <a:pt x="41" y="4"/>
                  </a:lnTo>
                  <a:lnTo>
                    <a:pt x="41" y="10"/>
                  </a:lnTo>
                  <a:lnTo>
                    <a:pt x="52" y="13"/>
                  </a:lnTo>
                  <a:lnTo>
                    <a:pt x="60" y="19"/>
                  </a:lnTo>
                  <a:lnTo>
                    <a:pt x="67" y="27"/>
                  </a:lnTo>
                  <a:lnTo>
                    <a:pt x="68" y="29"/>
                  </a:lnTo>
                  <a:lnTo>
                    <a:pt x="68" y="32"/>
                  </a:lnTo>
                  <a:lnTo>
                    <a:pt x="67" y="34"/>
                  </a:lnTo>
                  <a:lnTo>
                    <a:pt x="64" y="35"/>
                  </a:lnTo>
                  <a:lnTo>
                    <a:pt x="62" y="36"/>
                  </a:lnTo>
                  <a:lnTo>
                    <a:pt x="60" y="35"/>
                  </a:lnTo>
                  <a:lnTo>
                    <a:pt x="58" y="33"/>
                  </a:lnTo>
                  <a:lnTo>
                    <a:pt x="51" y="25"/>
                  </a:lnTo>
                  <a:lnTo>
                    <a:pt x="41" y="21"/>
                  </a:lnTo>
                  <a:lnTo>
                    <a:pt x="41" y="72"/>
                  </a:lnTo>
                  <a:lnTo>
                    <a:pt x="53" y="76"/>
                  </a:lnTo>
                  <a:lnTo>
                    <a:pt x="62" y="84"/>
                  </a:lnTo>
                  <a:lnTo>
                    <a:pt x="70" y="95"/>
                  </a:lnTo>
                  <a:lnTo>
                    <a:pt x="72" y="108"/>
                  </a:lnTo>
                  <a:lnTo>
                    <a:pt x="70" y="121"/>
                  </a:lnTo>
                  <a:lnTo>
                    <a:pt x="62" y="131"/>
                  </a:lnTo>
                  <a:lnTo>
                    <a:pt x="53" y="139"/>
                  </a:lnTo>
                  <a:lnTo>
                    <a:pt x="41" y="143"/>
                  </a:lnTo>
                  <a:lnTo>
                    <a:pt x="41" y="155"/>
                  </a:lnTo>
                  <a:lnTo>
                    <a:pt x="40" y="157"/>
                  </a:lnTo>
                  <a:lnTo>
                    <a:pt x="38" y="158"/>
                  </a:lnTo>
                  <a:lnTo>
                    <a:pt x="36" y="159"/>
                  </a:lnTo>
                  <a:lnTo>
                    <a:pt x="34" y="158"/>
                  </a:lnTo>
                  <a:lnTo>
                    <a:pt x="33" y="158"/>
                  </a:lnTo>
                  <a:lnTo>
                    <a:pt x="32" y="156"/>
                  </a:lnTo>
                  <a:lnTo>
                    <a:pt x="31" y="155"/>
                  </a:lnTo>
                  <a:lnTo>
                    <a:pt x="31" y="143"/>
                  </a:lnTo>
                  <a:lnTo>
                    <a:pt x="19" y="139"/>
                  </a:lnTo>
                  <a:lnTo>
                    <a:pt x="8" y="131"/>
                  </a:lnTo>
                  <a:lnTo>
                    <a:pt x="2" y="120"/>
                  </a:lnTo>
                  <a:lnTo>
                    <a:pt x="2" y="118"/>
                  </a:lnTo>
                  <a:lnTo>
                    <a:pt x="2" y="115"/>
                  </a:lnTo>
                  <a:lnTo>
                    <a:pt x="3" y="114"/>
                  </a:lnTo>
                  <a:lnTo>
                    <a:pt x="5" y="113"/>
                  </a:lnTo>
                  <a:lnTo>
                    <a:pt x="7" y="113"/>
                  </a:lnTo>
                  <a:lnTo>
                    <a:pt x="9" y="114"/>
                  </a:lnTo>
                  <a:lnTo>
                    <a:pt x="11" y="117"/>
                  </a:lnTo>
                  <a:lnTo>
                    <a:pt x="16" y="124"/>
                  </a:lnTo>
                  <a:lnTo>
                    <a:pt x="22" y="129"/>
                  </a:lnTo>
                  <a:lnTo>
                    <a:pt x="31" y="134"/>
                  </a:lnTo>
                  <a:lnTo>
                    <a:pt x="31" y="81"/>
                  </a:lnTo>
                  <a:lnTo>
                    <a:pt x="19" y="77"/>
                  </a:lnTo>
                  <a:lnTo>
                    <a:pt x="8" y="70"/>
                  </a:lnTo>
                  <a:lnTo>
                    <a:pt x="2" y="59"/>
                  </a:lnTo>
                  <a:lnTo>
                    <a:pt x="0" y="46"/>
                  </a:lnTo>
                  <a:lnTo>
                    <a:pt x="2" y="33"/>
                  </a:lnTo>
                  <a:lnTo>
                    <a:pt x="8" y="22"/>
                  </a:lnTo>
                  <a:lnTo>
                    <a:pt x="19" y="15"/>
                  </a:lnTo>
                  <a:lnTo>
                    <a:pt x="31" y="10"/>
                  </a:lnTo>
                  <a:lnTo>
                    <a:pt x="31" y="4"/>
                  </a:lnTo>
                  <a:lnTo>
                    <a:pt x="32" y="3"/>
                  </a:lnTo>
                  <a:lnTo>
                    <a:pt x="33" y="1"/>
                  </a:lnTo>
                  <a:lnTo>
                    <a:pt x="34" y="0"/>
                  </a:lnTo>
                  <a:lnTo>
                    <a:pt x="3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57">
              <a:extLst>
                <a:ext uri="{FF2B5EF4-FFF2-40B4-BE49-F238E27FC236}">
                  <a16:creationId xmlns:a16="http://schemas.microsoft.com/office/drawing/2014/main" id="{A0BC5539-2662-CE4F-9852-98481620DFB2}"/>
                </a:ext>
              </a:extLst>
            </p:cNvPr>
            <p:cNvSpPr>
              <a:spLocks noEditPoints="1"/>
            </p:cNvSpPr>
            <p:nvPr/>
          </p:nvSpPr>
          <p:spPr bwMode="auto">
            <a:xfrm>
              <a:off x="4095830" y="3434085"/>
              <a:ext cx="57150" cy="128587"/>
            </a:xfrm>
            <a:custGeom>
              <a:avLst/>
              <a:gdLst>
                <a:gd name="T0" fmla="*/ 40 w 72"/>
                <a:gd name="T1" fmla="*/ 134 h 160"/>
                <a:gd name="T2" fmla="*/ 60 w 72"/>
                <a:gd name="T3" fmla="*/ 120 h 160"/>
                <a:gd name="T4" fmla="*/ 60 w 72"/>
                <a:gd name="T5" fmla="*/ 97 h 160"/>
                <a:gd name="T6" fmla="*/ 40 w 72"/>
                <a:gd name="T7" fmla="*/ 83 h 160"/>
                <a:gd name="T8" fmla="*/ 20 w 72"/>
                <a:gd name="T9" fmla="*/ 26 h 160"/>
                <a:gd name="T10" fmla="*/ 10 w 72"/>
                <a:gd name="T11" fmla="*/ 47 h 160"/>
                <a:gd name="T12" fmla="*/ 20 w 72"/>
                <a:gd name="T13" fmla="*/ 67 h 160"/>
                <a:gd name="T14" fmla="*/ 31 w 72"/>
                <a:gd name="T15" fmla="*/ 21 h 160"/>
                <a:gd name="T16" fmla="*/ 38 w 72"/>
                <a:gd name="T17" fmla="*/ 1 h 160"/>
                <a:gd name="T18" fmla="*/ 40 w 72"/>
                <a:gd name="T19" fmla="*/ 5 h 160"/>
                <a:gd name="T20" fmla="*/ 51 w 72"/>
                <a:gd name="T21" fmla="*/ 14 h 160"/>
                <a:gd name="T22" fmla="*/ 67 w 72"/>
                <a:gd name="T23" fmla="*/ 29 h 160"/>
                <a:gd name="T24" fmla="*/ 68 w 72"/>
                <a:gd name="T25" fmla="*/ 33 h 160"/>
                <a:gd name="T26" fmla="*/ 65 w 72"/>
                <a:gd name="T27" fmla="*/ 36 h 160"/>
                <a:gd name="T28" fmla="*/ 61 w 72"/>
                <a:gd name="T29" fmla="*/ 36 h 160"/>
                <a:gd name="T30" fmla="*/ 51 w 72"/>
                <a:gd name="T31" fmla="*/ 25 h 160"/>
                <a:gd name="T32" fmla="*/ 40 w 72"/>
                <a:gd name="T33" fmla="*/ 73 h 160"/>
                <a:gd name="T34" fmla="*/ 63 w 72"/>
                <a:gd name="T35" fmla="*/ 85 h 160"/>
                <a:gd name="T36" fmla="*/ 72 w 72"/>
                <a:gd name="T37" fmla="*/ 108 h 160"/>
                <a:gd name="T38" fmla="*/ 63 w 72"/>
                <a:gd name="T39" fmla="*/ 132 h 160"/>
                <a:gd name="T40" fmla="*/ 40 w 72"/>
                <a:gd name="T41" fmla="*/ 144 h 160"/>
                <a:gd name="T42" fmla="*/ 40 w 72"/>
                <a:gd name="T43" fmla="*/ 157 h 160"/>
                <a:gd name="T44" fmla="*/ 36 w 72"/>
                <a:gd name="T45" fmla="*/ 160 h 160"/>
                <a:gd name="T46" fmla="*/ 32 w 72"/>
                <a:gd name="T47" fmla="*/ 158 h 160"/>
                <a:gd name="T48" fmla="*/ 31 w 72"/>
                <a:gd name="T49" fmla="*/ 155 h 160"/>
                <a:gd name="T50" fmla="*/ 18 w 72"/>
                <a:gd name="T51" fmla="*/ 140 h 160"/>
                <a:gd name="T52" fmla="*/ 2 w 72"/>
                <a:gd name="T53" fmla="*/ 121 h 160"/>
                <a:gd name="T54" fmla="*/ 2 w 72"/>
                <a:gd name="T55" fmla="*/ 117 h 160"/>
                <a:gd name="T56" fmla="*/ 5 w 72"/>
                <a:gd name="T57" fmla="*/ 114 h 160"/>
                <a:gd name="T58" fmla="*/ 10 w 72"/>
                <a:gd name="T59" fmla="*/ 115 h 160"/>
                <a:gd name="T60" fmla="*/ 16 w 72"/>
                <a:gd name="T61" fmla="*/ 124 h 160"/>
                <a:gd name="T62" fmla="*/ 31 w 72"/>
                <a:gd name="T63" fmla="*/ 134 h 160"/>
                <a:gd name="T64" fmla="*/ 18 w 72"/>
                <a:gd name="T65" fmla="*/ 78 h 160"/>
                <a:gd name="T66" fmla="*/ 2 w 72"/>
                <a:gd name="T67" fmla="*/ 59 h 160"/>
                <a:gd name="T68" fmla="*/ 2 w 72"/>
                <a:gd name="T69" fmla="*/ 34 h 160"/>
                <a:gd name="T70" fmla="*/ 18 w 72"/>
                <a:gd name="T71" fmla="*/ 15 h 160"/>
                <a:gd name="T72" fmla="*/ 31 w 72"/>
                <a:gd name="T73" fmla="*/ 5 h 160"/>
                <a:gd name="T74" fmla="*/ 32 w 72"/>
                <a:gd name="T75" fmla="*/ 2 h 160"/>
                <a:gd name="T76" fmla="*/ 36 w 72"/>
                <a:gd name="T77"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160">
                  <a:moveTo>
                    <a:pt x="40" y="83"/>
                  </a:moveTo>
                  <a:lnTo>
                    <a:pt x="40" y="134"/>
                  </a:lnTo>
                  <a:lnTo>
                    <a:pt x="52" y="128"/>
                  </a:lnTo>
                  <a:lnTo>
                    <a:pt x="60" y="120"/>
                  </a:lnTo>
                  <a:lnTo>
                    <a:pt x="62" y="108"/>
                  </a:lnTo>
                  <a:lnTo>
                    <a:pt x="60" y="97"/>
                  </a:lnTo>
                  <a:lnTo>
                    <a:pt x="52" y="88"/>
                  </a:lnTo>
                  <a:lnTo>
                    <a:pt x="40" y="83"/>
                  </a:lnTo>
                  <a:close/>
                  <a:moveTo>
                    <a:pt x="31" y="21"/>
                  </a:moveTo>
                  <a:lnTo>
                    <a:pt x="20" y="26"/>
                  </a:lnTo>
                  <a:lnTo>
                    <a:pt x="13" y="35"/>
                  </a:lnTo>
                  <a:lnTo>
                    <a:pt x="10" y="47"/>
                  </a:lnTo>
                  <a:lnTo>
                    <a:pt x="13" y="58"/>
                  </a:lnTo>
                  <a:lnTo>
                    <a:pt x="20" y="67"/>
                  </a:lnTo>
                  <a:lnTo>
                    <a:pt x="31" y="72"/>
                  </a:lnTo>
                  <a:lnTo>
                    <a:pt x="31" y="21"/>
                  </a:lnTo>
                  <a:close/>
                  <a:moveTo>
                    <a:pt x="36" y="0"/>
                  </a:moveTo>
                  <a:lnTo>
                    <a:pt x="38" y="1"/>
                  </a:lnTo>
                  <a:lnTo>
                    <a:pt x="40" y="3"/>
                  </a:lnTo>
                  <a:lnTo>
                    <a:pt x="40" y="5"/>
                  </a:lnTo>
                  <a:lnTo>
                    <a:pt x="40" y="10"/>
                  </a:lnTo>
                  <a:lnTo>
                    <a:pt x="51" y="14"/>
                  </a:lnTo>
                  <a:lnTo>
                    <a:pt x="61" y="20"/>
                  </a:lnTo>
                  <a:lnTo>
                    <a:pt x="67" y="29"/>
                  </a:lnTo>
                  <a:lnTo>
                    <a:pt x="68" y="31"/>
                  </a:lnTo>
                  <a:lnTo>
                    <a:pt x="68" y="33"/>
                  </a:lnTo>
                  <a:lnTo>
                    <a:pt x="67" y="34"/>
                  </a:lnTo>
                  <a:lnTo>
                    <a:pt x="65" y="36"/>
                  </a:lnTo>
                  <a:lnTo>
                    <a:pt x="63" y="36"/>
                  </a:lnTo>
                  <a:lnTo>
                    <a:pt x="61" y="36"/>
                  </a:lnTo>
                  <a:lnTo>
                    <a:pt x="59" y="34"/>
                  </a:lnTo>
                  <a:lnTo>
                    <a:pt x="51" y="25"/>
                  </a:lnTo>
                  <a:lnTo>
                    <a:pt x="40" y="21"/>
                  </a:lnTo>
                  <a:lnTo>
                    <a:pt x="40" y="73"/>
                  </a:lnTo>
                  <a:lnTo>
                    <a:pt x="53" y="76"/>
                  </a:lnTo>
                  <a:lnTo>
                    <a:pt x="63" y="85"/>
                  </a:lnTo>
                  <a:lnTo>
                    <a:pt x="69" y="95"/>
                  </a:lnTo>
                  <a:lnTo>
                    <a:pt x="72" y="108"/>
                  </a:lnTo>
                  <a:lnTo>
                    <a:pt x="69" y="121"/>
                  </a:lnTo>
                  <a:lnTo>
                    <a:pt x="63" y="132"/>
                  </a:lnTo>
                  <a:lnTo>
                    <a:pt x="53" y="140"/>
                  </a:lnTo>
                  <a:lnTo>
                    <a:pt x="40" y="144"/>
                  </a:lnTo>
                  <a:lnTo>
                    <a:pt x="40" y="155"/>
                  </a:lnTo>
                  <a:lnTo>
                    <a:pt x="40" y="157"/>
                  </a:lnTo>
                  <a:lnTo>
                    <a:pt x="38" y="159"/>
                  </a:lnTo>
                  <a:lnTo>
                    <a:pt x="36" y="160"/>
                  </a:lnTo>
                  <a:lnTo>
                    <a:pt x="34" y="159"/>
                  </a:lnTo>
                  <a:lnTo>
                    <a:pt x="32" y="158"/>
                  </a:lnTo>
                  <a:lnTo>
                    <a:pt x="31" y="157"/>
                  </a:lnTo>
                  <a:lnTo>
                    <a:pt x="31" y="155"/>
                  </a:lnTo>
                  <a:lnTo>
                    <a:pt x="31" y="144"/>
                  </a:lnTo>
                  <a:lnTo>
                    <a:pt x="18" y="140"/>
                  </a:lnTo>
                  <a:lnTo>
                    <a:pt x="9" y="132"/>
                  </a:lnTo>
                  <a:lnTo>
                    <a:pt x="2" y="121"/>
                  </a:lnTo>
                  <a:lnTo>
                    <a:pt x="1" y="119"/>
                  </a:lnTo>
                  <a:lnTo>
                    <a:pt x="2" y="117"/>
                  </a:lnTo>
                  <a:lnTo>
                    <a:pt x="3" y="115"/>
                  </a:lnTo>
                  <a:lnTo>
                    <a:pt x="5" y="114"/>
                  </a:lnTo>
                  <a:lnTo>
                    <a:pt x="8" y="114"/>
                  </a:lnTo>
                  <a:lnTo>
                    <a:pt x="10" y="115"/>
                  </a:lnTo>
                  <a:lnTo>
                    <a:pt x="12" y="117"/>
                  </a:lnTo>
                  <a:lnTo>
                    <a:pt x="16" y="124"/>
                  </a:lnTo>
                  <a:lnTo>
                    <a:pt x="22" y="131"/>
                  </a:lnTo>
                  <a:lnTo>
                    <a:pt x="31" y="134"/>
                  </a:lnTo>
                  <a:lnTo>
                    <a:pt x="31" y="82"/>
                  </a:lnTo>
                  <a:lnTo>
                    <a:pt x="18" y="78"/>
                  </a:lnTo>
                  <a:lnTo>
                    <a:pt x="9" y="70"/>
                  </a:lnTo>
                  <a:lnTo>
                    <a:pt x="2" y="59"/>
                  </a:lnTo>
                  <a:lnTo>
                    <a:pt x="0" y="47"/>
                  </a:lnTo>
                  <a:lnTo>
                    <a:pt x="2" y="34"/>
                  </a:lnTo>
                  <a:lnTo>
                    <a:pt x="9" y="23"/>
                  </a:lnTo>
                  <a:lnTo>
                    <a:pt x="18" y="15"/>
                  </a:lnTo>
                  <a:lnTo>
                    <a:pt x="31" y="10"/>
                  </a:lnTo>
                  <a:lnTo>
                    <a:pt x="31" y="5"/>
                  </a:lnTo>
                  <a:lnTo>
                    <a:pt x="31" y="3"/>
                  </a:lnTo>
                  <a:lnTo>
                    <a:pt x="32" y="2"/>
                  </a:lnTo>
                  <a:lnTo>
                    <a:pt x="34" y="1"/>
                  </a:lnTo>
                  <a:lnTo>
                    <a:pt x="3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58">
              <a:extLst>
                <a:ext uri="{FF2B5EF4-FFF2-40B4-BE49-F238E27FC236}">
                  <a16:creationId xmlns:a16="http://schemas.microsoft.com/office/drawing/2014/main" id="{98748A94-83EF-3744-9882-F1125A7E450A}"/>
                </a:ext>
              </a:extLst>
            </p:cNvPr>
            <p:cNvSpPr>
              <a:spLocks noEditPoints="1"/>
            </p:cNvSpPr>
            <p:nvPr/>
          </p:nvSpPr>
          <p:spPr bwMode="auto">
            <a:xfrm>
              <a:off x="4692730" y="3018160"/>
              <a:ext cx="57150" cy="125412"/>
            </a:xfrm>
            <a:custGeom>
              <a:avLst/>
              <a:gdLst>
                <a:gd name="T0" fmla="*/ 40 w 71"/>
                <a:gd name="T1" fmla="*/ 134 h 159"/>
                <a:gd name="T2" fmla="*/ 58 w 71"/>
                <a:gd name="T3" fmla="*/ 120 h 159"/>
                <a:gd name="T4" fmla="*/ 58 w 71"/>
                <a:gd name="T5" fmla="*/ 97 h 159"/>
                <a:gd name="T6" fmla="*/ 40 w 71"/>
                <a:gd name="T7" fmla="*/ 83 h 159"/>
                <a:gd name="T8" fmla="*/ 20 w 71"/>
                <a:gd name="T9" fmla="*/ 26 h 159"/>
                <a:gd name="T10" fmla="*/ 9 w 71"/>
                <a:gd name="T11" fmla="*/ 47 h 159"/>
                <a:gd name="T12" fmla="*/ 20 w 71"/>
                <a:gd name="T13" fmla="*/ 67 h 159"/>
                <a:gd name="T14" fmla="*/ 30 w 71"/>
                <a:gd name="T15" fmla="*/ 21 h 159"/>
                <a:gd name="T16" fmla="*/ 38 w 71"/>
                <a:gd name="T17" fmla="*/ 1 h 159"/>
                <a:gd name="T18" fmla="*/ 40 w 71"/>
                <a:gd name="T19" fmla="*/ 5 h 159"/>
                <a:gd name="T20" fmla="*/ 50 w 71"/>
                <a:gd name="T21" fmla="*/ 14 h 159"/>
                <a:gd name="T22" fmla="*/ 66 w 71"/>
                <a:gd name="T23" fmla="*/ 29 h 159"/>
                <a:gd name="T24" fmla="*/ 66 w 71"/>
                <a:gd name="T25" fmla="*/ 32 h 159"/>
                <a:gd name="T26" fmla="*/ 64 w 71"/>
                <a:gd name="T27" fmla="*/ 35 h 159"/>
                <a:gd name="T28" fmla="*/ 59 w 71"/>
                <a:gd name="T29" fmla="*/ 35 h 159"/>
                <a:gd name="T30" fmla="*/ 50 w 71"/>
                <a:gd name="T31" fmla="*/ 26 h 159"/>
                <a:gd name="T32" fmla="*/ 40 w 71"/>
                <a:gd name="T33" fmla="*/ 72 h 159"/>
                <a:gd name="T34" fmla="*/ 62 w 71"/>
                <a:gd name="T35" fmla="*/ 85 h 159"/>
                <a:gd name="T36" fmla="*/ 71 w 71"/>
                <a:gd name="T37" fmla="*/ 108 h 159"/>
                <a:gd name="T38" fmla="*/ 62 w 71"/>
                <a:gd name="T39" fmla="*/ 132 h 159"/>
                <a:gd name="T40" fmla="*/ 40 w 71"/>
                <a:gd name="T41" fmla="*/ 143 h 159"/>
                <a:gd name="T42" fmla="*/ 40 w 71"/>
                <a:gd name="T43" fmla="*/ 157 h 159"/>
                <a:gd name="T44" fmla="*/ 36 w 71"/>
                <a:gd name="T45" fmla="*/ 159 h 159"/>
                <a:gd name="T46" fmla="*/ 31 w 71"/>
                <a:gd name="T47" fmla="*/ 158 h 159"/>
                <a:gd name="T48" fmla="*/ 30 w 71"/>
                <a:gd name="T49" fmla="*/ 155 h 159"/>
                <a:gd name="T50" fmla="*/ 18 w 71"/>
                <a:gd name="T51" fmla="*/ 140 h 159"/>
                <a:gd name="T52" fmla="*/ 1 w 71"/>
                <a:gd name="T53" fmla="*/ 121 h 159"/>
                <a:gd name="T54" fmla="*/ 2 w 71"/>
                <a:gd name="T55" fmla="*/ 117 h 159"/>
                <a:gd name="T56" fmla="*/ 5 w 71"/>
                <a:gd name="T57" fmla="*/ 114 h 159"/>
                <a:gd name="T58" fmla="*/ 9 w 71"/>
                <a:gd name="T59" fmla="*/ 115 h 159"/>
                <a:gd name="T60" fmla="*/ 15 w 71"/>
                <a:gd name="T61" fmla="*/ 124 h 159"/>
                <a:gd name="T62" fmla="*/ 30 w 71"/>
                <a:gd name="T63" fmla="*/ 134 h 159"/>
                <a:gd name="T64" fmla="*/ 18 w 71"/>
                <a:gd name="T65" fmla="*/ 78 h 159"/>
                <a:gd name="T66" fmla="*/ 2 w 71"/>
                <a:gd name="T67" fmla="*/ 60 h 159"/>
                <a:gd name="T68" fmla="*/ 2 w 71"/>
                <a:gd name="T69" fmla="*/ 34 h 159"/>
                <a:gd name="T70" fmla="*/ 18 w 71"/>
                <a:gd name="T71" fmla="*/ 15 h 159"/>
                <a:gd name="T72" fmla="*/ 30 w 71"/>
                <a:gd name="T73" fmla="*/ 5 h 159"/>
                <a:gd name="T74" fmla="*/ 31 w 71"/>
                <a:gd name="T75" fmla="*/ 1 h 159"/>
                <a:gd name="T76" fmla="*/ 36 w 71"/>
                <a:gd name="T7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 h="159">
                  <a:moveTo>
                    <a:pt x="40" y="83"/>
                  </a:moveTo>
                  <a:lnTo>
                    <a:pt x="40" y="134"/>
                  </a:lnTo>
                  <a:lnTo>
                    <a:pt x="50" y="129"/>
                  </a:lnTo>
                  <a:lnTo>
                    <a:pt x="58" y="120"/>
                  </a:lnTo>
                  <a:lnTo>
                    <a:pt x="61" y="108"/>
                  </a:lnTo>
                  <a:lnTo>
                    <a:pt x="58" y="97"/>
                  </a:lnTo>
                  <a:lnTo>
                    <a:pt x="50" y="88"/>
                  </a:lnTo>
                  <a:lnTo>
                    <a:pt x="40" y="83"/>
                  </a:lnTo>
                  <a:close/>
                  <a:moveTo>
                    <a:pt x="30" y="21"/>
                  </a:moveTo>
                  <a:lnTo>
                    <a:pt x="20" y="26"/>
                  </a:lnTo>
                  <a:lnTo>
                    <a:pt x="12" y="35"/>
                  </a:lnTo>
                  <a:lnTo>
                    <a:pt x="9" y="47"/>
                  </a:lnTo>
                  <a:lnTo>
                    <a:pt x="12" y="58"/>
                  </a:lnTo>
                  <a:lnTo>
                    <a:pt x="20" y="67"/>
                  </a:lnTo>
                  <a:lnTo>
                    <a:pt x="30" y="72"/>
                  </a:lnTo>
                  <a:lnTo>
                    <a:pt x="30" y="21"/>
                  </a:lnTo>
                  <a:close/>
                  <a:moveTo>
                    <a:pt x="36" y="0"/>
                  </a:moveTo>
                  <a:lnTo>
                    <a:pt x="38" y="1"/>
                  </a:lnTo>
                  <a:lnTo>
                    <a:pt x="40" y="2"/>
                  </a:lnTo>
                  <a:lnTo>
                    <a:pt x="40" y="5"/>
                  </a:lnTo>
                  <a:lnTo>
                    <a:pt x="40" y="11"/>
                  </a:lnTo>
                  <a:lnTo>
                    <a:pt x="50" y="14"/>
                  </a:lnTo>
                  <a:lnTo>
                    <a:pt x="60" y="20"/>
                  </a:lnTo>
                  <a:lnTo>
                    <a:pt x="66" y="29"/>
                  </a:lnTo>
                  <a:lnTo>
                    <a:pt x="67" y="30"/>
                  </a:lnTo>
                  <a:lnTo>
                    <a:pt x="66" y="32"/>
                  </a:lnTo>
                  <a:lnTo>
                    <a:pt x="66" y="34"/>
                  </a:lnTo>
                  <a:lnTo>
                    <a:pt x="64" y="35"/>
                  </a:lnTo>
                  <a:lnTo>
                    <a:pt x="62" y="36"/>
                  </a:lnTo>
                  <a:lnTo>
                    <a:pt x="59" y="35"/>
                  </a:lnTo>
                  <a:lnTo>
                    <a:pt x="58" y="34"/>
                  </a:lnTo>
                  <a:lnTo>
                    <a:pt x="50" y="26"/>
                  </a:lnTo>
                  <a:lnTo>
                    <a:pt x="40" y="21"/>
                  </a:lnTo>
                  <a:lnTo>
                    <a:pt x="40" y="72"/>
                  </a:lnTo>
                  <a:lnTo>
                    <a:pt x="53" y="77"/>
                  </a:lnTo>
                  <a:lnTo>
                    <a:pt x="62" y="85"/>
                  </a:lnTo>
                  <a:lnTo>
                    <a:pt x="69" y="96"/>
                  </a:lnTo>
                  <a:lnTo>
                    <a:pt x="71" y="108"/>
                  </a:lnTo>
                  <a:lnTo>
                    <a:pt x="69" y="121"/>
                  </a:lnTo>
                  <a:lnTo>
                    <a:pt x="62" y="132"/>
                  </a:lnTo>
                  <a:lnTo>
                    <a:pt x="53" y="140"/>
                  </a:lnTo>
                  <a:lnTo>
                    <a:pt x="40" y="143"/>
                  </a:lnTo>
                  <a:lnTo>
                    <a:pt x="40" y="155"/>
                  </a:lnTo>
                  <a:lnTo>
                    <a:pt x="40" y="157"/>
                  </a:lnTo>
                  <a:lnTo>
                    <a:pt x="38" y="159"/>
                  </a:lnTo>
                  <a:lnTo>
                    <a:pt x="36" y="159"/>
                  </a:lnTo>
                  <a:lnTo>
                    <a:pt x="33" y="159"/>
                  </a:lnTo>
                  <a:lnTo>
                    <a:pt x="31" y="158"/>
                  </a:lnTo>
                  <a:lnTo>
                    <a:pt x="30" y="157"/>
                  </a:lnTo>
                  <a:lnTo>
                    <a:pt x="30" y="155"/>
                  </a:lnTo>
                  <a:lnTo>
                    <a:pt x="30" y="143"/>
                  </a:lnTo>
                  <a:lnTo>
                    <a:pt x="18" y="140"/>
                  </a:lnTo>
                  <a:lnTo>
                    <a:pt x="8" y="132"/>
                  </a:lnTo>
                  <a:lnTo>
                    <a:pt x="1" y="121"/>
                  </a:lnTo>
                  <a:lnTo>
                    <a:pt x="1" y="119"/>
                  </a:lnTo>
                  <a:lnTo>
                    <a:pt x="2" y="117"/>
                  </a:lnTo>
                  <a:lnTo>
                    <a:pt x="3" y="115"/>
                  </a:lnTo>
                  <a:lnTo>
                    <a:pt x="5" y="114"/>
                  </a:lnTo>
                  <a:lnTo>
                    <a:pt x="7" y="114"/>
                  </a:lnTo>
                  <a:lnTo>
                    <a:pt x="9" y="115"/>
                  </a:lnTo>
                  <a:lnTo>
                    <a:pt x="10" y="117"/>
                  </a:lnTo>
                  <a:lnTo>
                    <a:pt x="15" y="124"/>
                  </a:lnTo>
                  <a:lnTo>
                    <a:pt x="22" y="131"/>
                  </a:lnTo>
                  <a:lnTo>
                    <a:pt x="30" y="134"/>
                  </a:lnTo>
                  <a:lnTo>
                    <a:pt x="30" y="82"/>
                  </a:lnTo>
                  <a:lnTo>
                    <a:pt x="18" y="78"/>
                  </a:lnTo>
                  <a:lnTo>
                    <a:pt x="8" y="70"/>
                  </a:lnTo>
                  <a:lnTo>
                    <a:pt x="2" y="60"/>
                  </a:lnTo>
                  <a:lnTo>
                    <a:pt x="0" y="47"/>
                  </a:lnTo>
                  <a:lnTo>
                    <a:pt x="2" y="34"/>
                  </a:lnTo>
                  <a:lnTo>
                    <a:pt x="8" y="22"/>
                  </a:lnTo>
                  <a:lnTo>
                    <a:pt x="18" y="15"/>
                  </a:lnTo>
                  <a:lnTo>
                    <a:pt x="30" y="11"/>
                  </a:lnTo>
                  <a:lnTo>
                    <a:pt x="30" y="5"/>
                  </a:lnTo>
                  <a:lnTo>
                    <a:pt x="30" y="3"/>
                  </a:lnTo>
                  <a:lnTo>
                    <a:pt x="31" y="1"/>
                  </a:lnTo>
                  <a:lnTo>
                    <a:pt x="33" y="1"/>
                  </a:lnTo>
                  <a:lnTo>
                    <a:pt x="3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b="1" dirty="0"/>
            </a:p>
          </p:txBody>
        </p:sp>
      </p:grpSp>
      <p:grpSp>
        <p:nvGrpSpPr>
          <p:cNvPr id="228" name="Group 227">
            <a:extLst>
              <a:ext uri="{FF2B5EF4-FFF2-40B4-BE49-F238E27FC236}">
                <a16:creationId xmlns:a16="http://schemas.microsoft.com/office/drawing/2014/main" id="{0A879DE6-D3D1-0648-AD82-7416BF6F1BB5}"/>
              </a:ext>
            </a:extLst>
          </p:cNvPr>
          <p:cNvGrpSpPr/>
          <p:nvPr/>
        </p:nvGrpSpPr>
        <p:grpSpPr>
          <a:xfrm>
            <a:off x="6096000" y="374650"/>
            <a:ext cx="4146550" cy="1853718"/>
            <a:chOff x="4116388" y="401638"/>
            <a:chExt cx="4602162" cy="2057400"/>
          </a:xfrm>
        </p:grpSpPr>
        <p:sp>
          <p:nvSpPr>
            <p:cNvPr id="229" name="Freeform 63">
              <a:extLst>
                <a:ext uri="{FF2B5EF4-FFF2-40B4-BE49-F238E27FC236}">
                  <a16:creationId xmlns:a16="http://schemas.microsoft.com/office/drawing/2014/main" id="{D21FFDDE-C628-F547-99F1-5E54FDB8447F}"/>
                </a:ext>
              </a:extLst>
            </p:cNvPr>
            <p:cNvSpPr>
              <a:spLocks/>
            </p:cNvSpPr>
            <p:nvPr/>
          </p:nvSpPr>
          <p:spPr bwMode="auto">
            <a:xfrm>
              <a:off x="6940550" y="900113"/>
              <a:ext cx="1778000" cy="1555750"/>
            </a:xfrm>
            <a:custGeom>
              <a:avLst/>
              <a:gdLst>
                <a:gd name="T0" fmla="*/ 1890 w 2240"/>
                <a:gd name="T1" fmla="*/ 7 h 1960"/>
                <a:gd name="T2" fmla="*/ 1834 w 2240"/>
                <a:gd name="T3" fmla="*/ 282 h 1960"/>
                <a:gd name="T4" fmla="*/ 1830 w 2240"/>
                <a:gd name="T5" fmla="*/ 317 h 1960"/>
                <a:gd name="T6" fmla="*/ 1848 w 2240"/>
                <a:gd name="T7" fmla="*/ 368 h 1960"/>
                <a:gd name="T8" fmla="*/ 1904 w 2240"/>
                <a:gd name="T9" fmla="*/ 445 h 1960"/>
                <a:gd name="T10" fmla="*/ 1994 w 2240"/>
                <a:gd name="T11" fmla="*/ 604 h 1960"/>
                <a:gd name="T12" fmla="*/ 2043 w 2240"/>
                <a:gd name="T13" fmla="*/ 715 h 1960"/>
                <a:gd name="T14" fmla="*/ 2103 w 2240"/>
                <a:gd name="T15" fmla="*/ 780 h 1960"/>
                <a:gd name="T16" fmla="*/ 2223 w 2240"/>
                <a:gd name="T17" fmla="*/ 817 h 1960"/>
                <a:gd name="T18" fmla="*/ 2235 w 2240"/>
                <a:gd name="T19" fmla="*/ 1213 h 1960"/>
                <a:gd name="T20" fmla="*/ 2161 w 2240"/>
                <a:gd name="T21" fmla="*/ 1262 h 1960"/>
                <a:gd name="T22" fmla="*/ 2082 w 2240"/>
                <a:gd name="T23" fmla="*/ 1272 h 1960"/>
                <a:gd name="T24" fmla="*/ 1957 w 2240"/>
                <a:gd name="T25" fmla="*/ 1323 h 1960"/>
                <a:gd name="T26" fmla="*/ 1788 w 2240"/>
                <a:gd name="T27" fmla="*/ 1499 h 1960"/>
                <a:gd name="T28" fmla="*/ 1647 w 2240"/>
                <a:gd name="T29" fmla="*/ 1610 h 1960"/>
                <a:gd name="T30" fmla="*/ 1589 w 2240"/>
                <a:gd name="T31" fmla="*/ 1716 h 1960"/>
                <a:gd name="T32" fmla="*/ 1554 w 2240"/>
                <a:gd name="T33" fmla="*/ 1927 h 1960"/>
                <a:gd name="T34" fmla="*/ 1361 w 2240"/>
                <a:gd name="T35" fmla="*/ 1938 h 1960"/>
                <a:gd name="T36" fmla="*/ 1322 w 2240"/>
                <a:gd name="T37" fmla="*/ 1814 h 1960"/>
                <a:gd name="T38" fmla="*/ 1311 w 2240"/>
                <a:gd name="T39" fmla="*/ 1777 h 1960"/>
                <a:gd name="T40" fmla="*/ 1250 w 2240"/>
                <a:gd name="T41" fmla="*/ 1748 h 1960"/>
                <a:gd name="T42" fmla="*/ 1200 w 2240"/>
                <a:gd name="T43" fmla="*/ 1753 h 1960"/>
                <a:gd name="T44" fmla="*/ 1067 w 2240"/>
                <a:gd name="T45" fmla="*/ 1756 h 1960"/>
                <a:gd name="T46" fmla="*/ 910 w 2240"/>
                <a:gd name="T47" fmla="*/ 1749 h 1960"/>
                <a:gd name="T48" fmla="*/ 852 w 2240"/>
                <a:gd name="T49" fmla="*/ 1733 h 1960"/>
                <a:gd name="T50" fmla="*/ 815 w 2240"/>
                <a:gd name="T51" fmla="*/ 1732 h 1960"/>
                <a:gd name="T52" fmla="*/ 789 w 2240"/>
                <a:gd name="T53" fmla="*/ 1783 h 1960"/>
                <a:gd name="T54" fmla="*/ 778 w 2240"/>
                <a:gd name="T55" fmla="*/ 1932 h 1960"/>
                <a:gd name="T56" fmla="*/ 708 w 2240"/>
                <a:gd name="T57" fmla="*/ 1959 h 1960"/>
                <a:gd name="T58" fmla="*/ 560 w 2240"/>
                <a:gd name="T59" fmla="*/ 1929 h 1960"/>
                <a:gd name="T60" fmla="*/ 541 w 2240"/>
                <a:gd name="T61" fmla="*/ 1901 h 1960"/>
                <a:gd name="T62" fmla="*/ 516 w 2240"/>
                <a:gd name="T63" fmla="*/ 1691 h 1960"/>
                <a:gd name="T64" fmla="*/ 477 w 2240"/>
                <a:gd name="T65" fmla="*/ 1596 h 1960"/>
                <a:gd name="T66" fmla="*/ 405 w 2240"/>
                <a:gd name="T67" fmla="*/ 1535 h 1960"/>
                <a:gd name="T68" fmla="*/ 354 w 2240"/>
                <a:gd name="T69" fmla="*/ 1489 h 1960"/>
                <a:gd name="T70" fmla="*/ 242 w 2240"/>
                <a:gd name="T71" fmla="*/ 1360 h 1960"/>
                <a:gd name="T72" fmla="*/ 131 w 2240"/>
                <a:gd name="T73" fmla="*/ 1156 h 1960"/>
                <a:gd name="T74" fmla="*/ 81 w 2240"/>
                <a:gd name="T75" fmla="*/ 889 h 1960"/>
                <a:gd name="T76" fmla="*/ 122 w 2240"/>
                <a:gd name="T77" fmla="*/ 650 h 1960"/>
                <a:gd name="T78" fmla="*/ 94 w 2240"/>
                <a:gd name="T79" fmla="*/ 630 h 1960"/>
                <a:gd name="T80" fmla="*/ 36 w 2240"/>
                <a:gd name="T81" fmla="*/ 544 h 1960"/>
                <a:gd name="T82" fmla="*/ 0 w 2240"/>
                <a:gd name="T83" fmla="*/ 359 h 1960"/>
                <a:gd name="T84" fmla="*/ 13 w 2240"/>
                <a:gd name="T85" fmla="*/ 370 h 1960"/>
                <a:gd name="T86" fmla="*/ 83 w 2240"/>
                <a:gd name="T87" fmla="*/ 452 h 1960"/>
                <a:gd name="T88" fmla="*/ 205 w 2240"/>
                <a:gd name="T89" fmla="*/ 498 h 1960"/>
                <a:gd name="T90" fmla="*/ 227 w 2240"/>
                <a:gd name="T91" fmla="*/ 465 h 1960"/>
                <a:gd name="T92" fmla="*/ 307 w 2240"/>
                <a:gd name="T93" fmla="*/ 371 h 1960"/>
                <a:gd name="T94" fmla="*/ 446 w 2240"/>
                <a:gd name="T95" fmla="*/ 248 h 1960"/>
                <a:gd name="T96" fmla="*/ 646 w 2240"/>
                <a:gd name="T97" fmla="*/ 134 h 1960"/>
                <a:gd name="T98" fmla="*/ 910 w 2240"/>
                <a:gd name="T99" fmla="*/ 64 h 1960"/>
                <a:gd name="T100" fmla="*/ 1239 w 2240"/>
                <a:gd name="T101" fmla="*/ 72 h 1960"/>
                <a:gd name="T102" fmla="*/ 1529 w 2240"/>
                <a:gd name="T103" fmla="*/ 153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40" h="1960">
                  <a:moveTo>
                    <a:pt x="1874" y="0"/>
                  </a:moveTo>
                  <a:lnTo>
                    <a:pt x="1880" y="0"/>
                  </a:lnTo>
                  <a:lnTo>
                    <a:pt x="1885" y="4"/>
                  </a:lnTo>
                  <a:lnTo>
                    <a:pt x="1890" y="7"/>
                  </a:lnTo>
                  <a:lnTo>
                    <a:pt x="1894" y="11"/>
                  </a:lnTo>
                  <a:lnTo>
                    <a:pt x="1895" y="18"/>
                  </a:lnTo>
                  <a:lnTo>
                    <a:pt x="1894" y="23"/>
                  </a:lnTo>
                  <a:lnTo>
                    <a:pt x="1834" y="282"/>
                  </a:lnTo>
                  <a:lnTo>
                    <a:pt x="1834" y="282"/>
                  </a:lnTo>
                  <a:lnTo>
                    <a:pt x="1832" y="287"/>
                  </a:lnTo>
                  <a:lnTo>
                    <a:pt x="1832" y="299"/>
                  </a:lnTo>
                  <a:lnTo>
                    <a:pt x="1830" y="317"/>
                  </a:lnTo>
                  <a:lnTo>
                    <a:pt x="1832" y="336"/>
                  </a:lnTo>
                  <a:lnTo>
                    <a:pt x="1837" y="352"/>
                  </a:lnTo>
                  <a:lnTo>
                    <a:pt x="1844" y="364"/>
                  </a:lnTo>
                  <a:lnTo>
                    <a:pt x="1848" y="368"/>
                  </a:lnTo>
                  <a:lnTo>
                    <a:pt x="1857" y="379"/>
                  </a:lnTo>
                  <a:lnTo>
                    <a:pt x="1869" y="394"/>
                  </a:lnTo>
                  <a:lnTo>
                    <a:pt x="1885" y="417"/>
                  </a:lnTo>
                  <a:lnTo>
                    <a:pt x="1904" y="445"/>
                  </a:lnTo>
                  <a:lnTo>
                    <a:pt x="1925" y="479"/>
                  </a:lnTo>
                  <a:lnTo>
                    <a:pt x="1946" y="516"/>
                  </a:lnTo>
                  <a:lnTo>
                    <a:pt x="1971" y="558"/>
                  </a:lnTo>
                  <a:lnTo>
                    <a:pt x="1994" y="604"/>
                  </a:lnTo>
                  <a:lnTo>
                    <a:pt x="2017" y="651"/>
                  </a:lnTo>
                  <a:lnTo>
                    <a:pt x="2036" y="702"/>
                  </a:lnTo>
                  <a:lnTo>
                    <a:pt x="2038" y="704"/>
                  </a:lnTo>
                  <a:lnTo>
                    <a:pt x="2043" y="715"/>
                  </a:lnTo>
                  <a:lnTo>
                    <a:pt x="2050" y="729"/>
                  </a:lnTo>
                  <a:lnTo>
                    <a:pt x="2063" y="745"/>
                  </a:lnTo>
                  <a:lnTo>
                    <a:pt x="2080" y="762"/>
                  </a:lnTo>
                  <a:lnTo>
                    <a:pt x="2103" y="780"/>
                  </a:lnTo>
                  <a:lnTo>
                    <a:pt x="2135" y="796"/>
                  </a:lnTo>
                  <a:lnTo>
                    <a:pt x="2135" y="796"/>
                  </a:lnTo>
                  <a:lnTo>
                    <a:pt x="2221" y="817"/>
                  </a:lnTo>
                  <a:lnTo>
                    <a:pt x="2223" y="817"/>
                  </a:lnTo>
                  <a:lnTo>
                    <a:pt x="2223" y="818"/>
                  </a:lnTo>
                  <a:lnTo>
                    <a:pt x="2240" y="1206"/>
                  </a:lnTo>
                  <a:lnTo>
                    <a:pt x="2240" y="1207"/>
                  </a:lnTo>
                  <a:lnTo>
                    <a:pt x="2235" y="1213"/>
                  </a:lnTo>
                  <a:lnTo>
                    <a:pt x="2224" y="1223"/>
                  </a:lnTo>
                  <a:lnTo>
                    <a:pt x="2207" y="1237"/>
                  </a:lnTo>
                  <a:lnTo>
                    <a:pt x="2187" y="1250"/>
                  </a:lnTo>
                  <a:lnTo>
                    <a:pt x="2161" y="1262"/>
                  </a:lnTo>
                  <a:lnTo>
                    <a:pt x="2133" y="1269"/>
                  </a:lnTo>
                  <a:lnTo>
                    <a:pt x="2101" y="1271"/>
                  </a:lnTo>
                  <a:lnTo>
                    <a:pt x="2096" y="1271"/>
                  </a:lnTo>
                  <a:lnTo>
                    <a:pt x="2082" y="1272"/>
                  </a:lnTo>
                  <a:lnTo>
                    <a:pt x="2059" y="1278"/>
                  </a:lnTo>
                  <a:lnTo>
                    <a:pt x="2031" y="1287"/>
                  </a:lnTo>
                  <a:lnTo>
                    <a:pt x="1996" y="1302"/>
                  </a:lnTo>
                  <a:lnTo>
                    <a:pt x="1957" y="1323"/>
                  </a:lnTo>
                  <a:lnTo>
                    <a:pt x="1915" y="1355"/>
                  </a:lnTo>
                  <a:lnTo>
                    <a:pt x="1915" y="1355"/>
                  </a:lnTo>
                  <a:lnTo>
                    <a:pt x="1788" y="1499"/>
                  </a:lnTo>
                  <a:lnTo>
                    <a:pt x="1788" y="1499"/>
                  </a:lnTo>
                  <a:lnTo>
                    <a:pt x="1660" y="1596"/>
                  </a:lnTo>
                  <a:lnTo>
                    <a:pt x="1660" y="1596"/>
                  </a:lnTo>
                  <a:lnTo>
                    <a:pt x="1656" y="1600"/>
                  </a:lnTo>
                  <a:lnTo>
                    <a:pt x="1647" y="1610"/>
                  </a:lnTo>
                  <a:lnTo>
                    <a:pt x="1635" y="1628"/>
                  </a:lnTo>
                  <a:lnTo>
                    <a:pt x="1619" y="1651"/>
                  </a:lnTo>
                  <a:lnTo>
                    <a:pt x="1603" y="1681"/>
                  </a:lnTo>
                  <a:lnTo>
                    <a:pt x="1589" y="1716"/>
                  </a:lnTo>
                  <a:lnTo>
                    <a:pt x="1575" y="1758"/>
                  </a:lnTo>
                  <a:lnTo>
                    <a:pt x="1575" y="1758"/>
                  </a:lnTo>
                  <a:lnTo>
                    <a:pt x="1559" y="1913"/>
                  </a:lnTo>
                  <a:lnTo>
                    <a:pt x="1554" y="1927"/>
                  </a:lnTo>
                  <a:lnTo>
                    <a:pt x="1543" y="1936"/>
                  </a:lnTo>
                  <a:lnTo>
                    <a:pt x="1529" y="1939"/>
                  </a:lnTo>
                  <a:lnTo>
                    <a:pt x="1373" y="1939"/>
                  </a:lnTo>
                  <a:lnTo>
                    <a:pt x="1361" y="1938"/>
                  </a:lnTo>
                  <a:lnTo>
                    <a:pt x="1350" y="1929"/>
                  </a:lnTo>
                  <a:lnTo>
                    <a:pt x="1345" y="1916"/>
                  </a:lnTo>
                  <a:lnTo>
                    <a:pt x="1322" y="1816"/>
                  </a:lnTo>
                  <a:lnTo>
                    <a:pt x="1322" y="1814"/>
                  </a:lnTo>
                  <a:lnTo>
                    <a:pt x="1322" y="1811"/>
                  </a:lnTo>
                  <a:lnTo>
                    <a:pt x="1320" y="1802"/>
                  </a:lnTo>
                  <a:lnTo>
                    <a:pt x="1317" y="1790"/>
                  </a:lnTo>
                  <a:lnTo>
                    <a:pt x="1311" y="1777"/>
                  </a:lnTo>
                  <a:lnTo>
                    <a:pt x="1302" y="1767"/>
                  </a:lnTo>
                  <a:lnTo>
                    <a:pt x="1290" y="1756"/>
                  </a:lnTo>
                  <a:lnTo>
                    <a:pt x="1273" y="1749"/>
                  </a:lnTo>
                  <a:lnTo>
                    <a:pt x="1250" y="1748"/>
                  </a:lnTo>
                  <a:lnTo>
                    <a:pt x="1223" y="1751"/>
                  </a:lnTo>
                  <a:lnTo>
                    <a:pt x="1223" y="1751"/>
                  </a:lnTo>
                  <a:lnTo>
                    <a:pt x="1216" y="1751"/>
                  </a:lnTo>
                  <a:lnTo>
                    <a:pt x="1200" y="1753"/>
                  </a:lnTo>
                  <a:lnTo>
                    <a:pt x="1176" y="1755"/>
                  </a:lnTo>
                  <a:lnTo>
                    <a:pt x="1144" y="1755"/>
                  </a:lnTo>
                  <a:lnTo>
                    <a:pt x="1107" y="1756"/>
                  </a:lnTo>
                  <a:lnTo>
                    <a:pt x="1067" y="1756"/>
                  </a:lnTo>
                  <a:lnTo>
                    <a:pt x="1026" y="1756"/>
                  </a:lnTo>
                  <a:lnTo>
                    <a:pt x="984" y="1755"/>
                  </a:lnTo>
                  <a:lnTo>
                    <a:pt x="945" y="1753"/>
                  </a:lnTo>
                  <a:lnTo>
                    <a:pt x="910" y="1749"/>
                  </a:lnTo>
                  <a:lnTo>
                    <a:pt x="882" y="1744"/>
                  </a:lnTo>
                  <a:lnTo>
                    <a:pt x="859" y="1737"/>
                  </a:lnTo>
                  <a:lnTo>
                    <a:pt x="857" y="1735"/>
                  </a:lnTo>
                  <a:lnTo>
                    <a:pt x="852" y="1733"/>
                  </a:lnTo>
                  <a:lnTo>
                    <a:pt x="845" y="1732"/>
                  </a:lnTo>
                  <a:lnTo>
                    <a:pt x="834" y="1730"/>
                  </a:lnTo>
                  <a:lnTo>
                    <a:pt x="826" y="1730"/>
                  </a:lnTo>
                  <a:lnTo>
                    <a:pt x="815" y="1732"/>
                  </a:lnTo>
                  <a:lnTo>
                    <a:pt x="805" y="1737"/>
                  </a:lnTo>
                  <a:lnTo>
                    <a:pt x="798" y="1748"/>
                  </a:lnTo>
                  <a:lnTo>
                    <a:pt x="790" y="1762"/>
                  </a:lnTo>
                  <a:lnTo>
                    <a:pt x="789" y="1783"/>
                  </a:lnTo>
                  <a:lnTo>
                    <a:pt x="789" y="1809"/>
                  </a:lnTo>
                  <a:lnTo>
                    <a:pt x="789" y="1809"/>
                  </a:lnTo>
                  <a:lnTo>
                    <a:pt x="782" y="1918"/>
                  </a:lnTo>
                  <a:lnTo>
                    <a:pt x="778" y="1932"/>
                  </a:lnTo>
                  <a:lnTo>
                    <a:pt x="769" y="1943"/>
                  </a:lnTo>
                  <a:lnTo>
                    <a:pt x="757" y="1948"/>
                  </a:lnTo>
                  <a:lnTo>
                    <a:pt x="736" y="1955"/>
                  </a:lnTo>
                  <a:lnTo>
                    <a:pt x="708" y="1959"/>
                  </a:lnTo>
                  <a:lnTo>
                    <a:pt x="676" y="1960"/>
                  </a:lnTo>
                  <a:lnTo>
                    <a:pt x="639" y="1957"/>
                  </a:lnTo>
                  <a:lnTo>
                    <a:pt x="600" y="1946"/>
                  </a:lnTo>
                  <a:lnTo>
                    <a:pt x="560" y="1929"/>
                  </a:lnTo>
                  <a:lnTo>
                    <a:pt x="553" y="1924"/>
                  </a:lnTo>
                  <a:lnTo>
                    <a:pt x="546" y="1916"/>
                  </a:lnTo>
                  <a:lnTo>
                    <a:pt x="542" y="1909"/>
                  </a:lnTo>
                  <a:lnTo>
                    <a:pt x="541" y="1901"/>
                  </a:lnTo>
                  <a:lnTo>
                    <a:pt x="521" y="1725"/>
                  </a:lnTo>
                  <a:lnTo>
                    <a:pt x="521" y="1719"/>
                  </a:lnTo>
                  <a:lnTo>
                    <a:pt x="520" y="1709"/>
                  </a:lnTo>
                  <a:lnTo>
                    <a:pt x="516" y="1691"/>
                  </a:lnTo>
                  <a:lnTo>
                    <a:pt x="511" y="1670"/>
                  </a:lnTo>
                  <a:lnTo>
                    <a:pt x="504" y="1647"/>
                  </a:lnTo>
                  <a:lnTo>
                    <a:pt x="493" y="1621"/>
                  </a:lnTo>
                  <a:lnTo>
                    <a:pt x="477" y="1596"/>
                  </a:lnTo>
                  <a:lnTo>
                    <a:pt x="458" y="1573"/>
                  </a:lnTo>
                  <a:lnTo>
                    <a:pt x="435" y="1552"/>
                  </a:lnTo>
                  <a:lnTo>
                    <a:pt x="405" y="1535"/>
                  </a:lnTo>
                  <a:lnTo>
                    <a:pt x="405" y="1535"/>
                  </a:lnTo>
                  <a:lnTo>
                    <a:pt x="402" y="1533"/>
                  </a:lnTo>
                  <a:lnTo>
                    <a:pt x="391" y="1524"/>
                  </a:lnTo>
                  <a:lnTo>
                    <a:pt x="375" y="1510"/>
                  </a:lnTo>
                  <a:lnTo>
                    <a:pt x="354" y="1489"/>
                  </a:lnTo>
                  <a:lnTo>
                    <a:pt x="330" y="1464"/>
                  </a:lnTo>
                  <a:lnTo>
                    <a:pt x="301" y="1434"/>
                  </a:lnTo>
                  <a:lnTo>
                    <a:pt x="273" y="1399"/>
                  </a:lnTo>
                  <a:lnTo>
                    <a:pt x="242" y="1360"/>
                  </a:lnTo>
                  <a:lnTo>
                    <a:pt x="212" y="1316"/>
                  </a:lnTo>
                  <a:lnTo>
                    <a:pt x="182" y="1267"/>
                  </a:lnTo>
                  <a:lnTo>
                    <a:pt x="155" y="1214"/>
                  </a:lnTo>
                  <a:lnTo>
                    <a:pt x="131" y="1156"/>
                  </a:lnTo>
                  <a:lnTo>
                    <a:pt x="110" y="1095"/>
                  </a:lnTo>
                  <a:lnTo>
                    <a:pt x="94" y="1030"/>
                  </a:lnTo>
                  <a:lnTo>
                    <a:pt x="85" y="961"/>
                  </a:lnTo>
                  <a:lnTo>
                    <a:pt x="81" y="889"/>
                  </a:lnTo>
                  <a:lnTo>
                    <a:pt x="87" y="813"/>
                  </a:lnTo>
                  <a:lnTo>
                    <a:pt x="99" y="734"/>
                  </a:lnTo>
                  <a:lnTo>
                    <a:pt x="122" y="651"/>
                  </a:lnTo>
                  <a:lnTo>
                    <a:pt x="122" y="650"/>
                  </a:lnTo>
                  <a:lnTo>
                    <a:pt x="122" y="650"/>
                  </a:lnTo>
                  <a:lnTo>
                    <a:pt x="115" y="646"/>
                  </a:lnTo>
                  <a:lnTo>
                    <a:pt x="106" y="641"/>
                  </a:lnTo>
                  <a:lnTo>
                    <a:pt x="94" y="630"/>
                  </a:lnTo>
                  <a:lnTo>
                    <a:pt x="80" y="616"/>
                  </a:lnTo>
                  <a:lnTo>
                    <a:pt x="64" y="598"/>
                  </a:lnTo>
                  <a:lnTo>
                    <a:pt x="50" y="574"/>
                  </a:lnTo>
                  <a:lnTo>
                    <a:pt x="36" y="544"/>
                  </a:lnTo>
                  <a:lnTo>
                    <a:pt x="22" y="509"/>
                  </a:lnTo>
                  <a:lnTo>
                    <a:pt x="11" y="467"/>
                  </a:lnTo>
                  <a:lnTo>
                    <a:pt x="4" y="417"/>
                  </a:lnTo>
                  <a:lnTo>
                    <a:pt x="0" y="359"/>
                  </a:lnTo>
                  <a:lnTo>
                    <a:pt x="2" y="357"/>
                  </a:lnTo>
                  <a:lnTo>
                    <a:pt x="4" y="357"/>
                  </a:lnTo>
                  <a:lnTo>
                    <a:pt x="4" y="357"/>
                  </a:lnTo>
                  <a:lnTo>
                    <a:pt x="13" y="370"/>
                  </a:lnTo>
                  <a:lnTo>
                    <a:pt x="25" y="387"/>
                  </a:lnTo>
                  <a:lnTo>
                    <a:pt x="41" y="408"/>
                  </a:lnTo>
                  <a:lnTo>
                    <a:pt x="60" y="430"/>
                  </a:lnTo>
                  <a:lnTo>
                    <a:pt x="83" y="452"/>
                  </a:lnTo>
                  <a:lnTo>
                    <a:pt x="110" y="470"/>
                  </a:lnTo>
                  <a:lnTo>
                    <a:pt x="139" y="486"/>
                  </a:lnTo>
                  <a:lnTo>
                    <a:pt x="171" y="496"/>
                  </a:lnTo>
                  <a:lnTo>
                    <a:pt x="205" y="498"/>
                  </a:lnTo>
                  <a:lnTo>
                    <a:pt x="205" y="496"/>
                  </a:lnTo>
                  <a:lnTo>
                    <a:pt x="208" y="491"/>
                  </a:lnTo>
                  <a:lnTo>
                    <a:pt x="217" y="481"/>
                  </a:lnTo>
                  <a:lnTo>
                    <a:pt x="227" y="465"/>
                  </a:lnTo>
                  <a:lnTo>
                    <a:pt x="242" y="447"/>
                  </a:lnTo>
                  <a:lnTo>
                    <a:pt x="259" y="424"/>
                  </a:lnTo>
                  <a:lnTo>
                    <a:pt x="280" y="398"/>
                  </a:lnTo>
                  <a:lnTo>
                    <a:pt x="307" y="371"/>
                  </a:lnTo>
                  <a:lnTo>
                    <a:pt x="337" y="342"/>
                  </a:lnTo>
                  <a:lnTo>
                    <a:pt x="368" y="312"/>
                  </a:lnTo>
                  <a:lnTo>
                    <a:pt x="405" y="280"/>
                  </a:lnTo>
                  <a:lnTo>
                    <a:pt x="446" y="248"/>
                  </a:lnTo>
                  <a:lnTo>
                    <a:pt x="490" y="218"/>
                  </a:lnTo>
                  <a:lnTo>
                    <a:pt x="539" y="188"/>
                  </a:lnTo>
                  <a:lnTo>
                    <a:pt x="592" y="160"/>
                  </a:lnTo>
                  <a:lnTo>
                    <a:pt x="646" y="134"/>
                  </a:lnTo>
                  <a:lnTo>
                    <a:pt x="706" y="111"/>
                  </a:lnTo>
                  <a:lnTo>
                    <a:pt x="771" y="92"/>
                  </a:lnTo>
                  <a:lnTo>
                    <a:pt x="838" y="76"/>
                  </a:lnTo>
                  <a:lnTo>
                    <a:pt x="910" y="64"/>
                  </a:lnTo>
                  <a:lnTo>
                    <a:pt x="986" y="58"/>
                  </a:lnTo>
                  <a:lnTo>
                    <a:pt x="1067" y="57"/>
                  </a:lnTo>
                  <a:lnTo>
                    <a:pt x="1151" y="62"/>
                  </a:lnTo>
                  <a:lnTo>
                    <a:pt x="1239" y="72"/>
                  </a:lnTo>
                  <a:lnTo>
                    <a:pt x="1331" y="92"/>
                  </a:lnTo>
                  <a:lnTo>
                    <a:pt x="1427" y="118"/>
                  </a:lnTo>
                  <a:lnTo>
                    <a:pt x="1528" y="153"/>
                  </a:lnTo>
                  <a:lnTo>
                    <a:pt x="1529" y="153"/>
                  </a:lnTo>
                  <a:lnTo>
                    <a:pt x="1867" y="2"/>
                  </a:lnTo>
                  <a:lnTo>
                    <a:pt x="187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64">
              <a:extLst>
                <a:ext uri="{FF2B5EF4-FFF2-40B4-BE49-F238E27FC236}">
                  <a16:creationId xmlns:a16="http://schemas.microsoft.com/office/drawing/2014/main" id="{04BB410C-D3A6-F548-908B-434F90EB3B24}"/>
                </a:ext>
              </a:extLst>
            </p:cNvPr>
            <p:cNvSpPr>
              <a:spLocks/>
            </p:cNvSpPr>
            <p:nvPr/>
          </p:nvSpPr>
          <p:spPr bwMode="auto">
            <a:xfrm>
              <a:off x="5581650" y="1349376"/>
              <a:ext cx="1265237" cy="1106488"/>
            </a:xfrm>
            <a:custGeom>
              <a:avLst/>
              <a:gdLst>
                <a:gd name="T0" fmla="*/ 1342 w 1594"/>
                <a:gd name="T1" fmla="*/ 4 h 1395"/>
                <a:gd name="T2" fmla="*/ 1347 w 1594"/>
                <a:gd name="T3" fmla="*/ 16 h 1395"/>
                <a:gd name="T4" fmla="*/ 1303 w 1594"/>
                <a:gd name="T5" fmla="*/ 206 h 1395"/>
                <a:gd name="T6" fmla="*/ 1305 w 1594"/>
                <a:gd name="T7" fmla="*/ 248 h 1395"/>
                <a:gd name="T8" fmla="*/ 1321 w 1594"/>
                <a:gd name="T9" fmla="*/ 271 h 1395"/>
                <a:gd name="T10" fmla="*/ 1361 w 1594"/>
                <a:gd name="T11" fmla="*/ 329 h 1395"/>
                <a:gd name="T12" fmla="*/ 1414 w 1594"/>
                <a:gd name="T13" fmla="*/ 422 h 1395"/>
                <a:gd name="T14" fmla="*/ 1449 w 1594"/>
                <a:gd name="T15" fmla="*/ 502 h 1395"/>
                <a:gd name="T16" fmla="*/ 1476 w 1594"/>
                <a:gd name="T17" fmla="*/ 539 h 1395"/>
                <a:gd name="T18" fmla="*/ 1518 w 1594"/>
                <a:gd name="T19" fmla="*/ 567 h 1395"/>
                <a:gd name="T20" fmla="*/ 1594 w 1594"/>
                <a:gd name="T21" fmla="*/ 859 h 1395"/>
                <a:gd name="T22" fmla="*/ 1578 w 1594"/>
                <a:gd name="T23" fmla="*/ 875 h 1395"/>
                <a:gd name="T24" fmla="*/ 1521 w 1594"/>
                <a:gd name="T25" fmla="*/ 903 h 1395"/>
                <a:gd name="T26" fmla="*/ 1476 w 1594"/>
                <a:gd name="T27" fmla="*/ 906 h 1395"/>
                <a:gd name="T28" fmla="*/ 1397 w 1594"/>
                <a:gd name="T29" fmla="*/ 940 h 1395"/>
                <a:gd name="T30" fmla="*/ 1272 w 1594"/>
                <a:gd name="T31" fmla="*/ 1066 h 1395"/>
                <a:gd name="T32" fmla="*/ 1180 w 1594"/>
                <a:gd name="T33" fmla="*/ 1137 h 1395"/>
                <a:gd name="T34" fmla="*/ 1157 w 1594"/>
                <a:gd name="T35" fmla="*/ 1167 h 1395"/>
                <a:gd name="T36" fmla="*/ 1120 w 1594"/>
                <a:gd name="T37" fmla="*/ 1251 h 1395"/>
                <a:gd name="T38" fmla="*/ 1106 w 1594"/>
                <a:gd name="T39" fmla="*/ 1367 h 1395"/>
                <a:gd name="T40" fmla="*/ 1094 w 1594"/>
                <a:gd name="T41" fmla="*/ 1380 h 1395"/>
                <a:gd name="T42" fmla="*/ 969 w 1594"/>
                <a:gd name="T43" fmla="*/ 1380 h 1395"/>
                <a:gd name="T44" fmla="*/ 955 w 1594"/>
                <a:gd name="T45" fmla="*/ 1364 h 1395"/>
                <a:gd name="T46" fmla="*/ 939 w 1594"/>
                <a:gd name="T47" fmla="*/ 1288 h 1395"/>
                <a:gd name="T48" fmla="*/ 929 w 1594"/>
                <a:gd name="T49" fmla="*/ 1262 h 1395"/>
                <a:gd name="T50" fmla="*/ 892 w 1594"/>
                <a:gd name="T51" fmla="*/ 1244 h 1395"/>
                <a:gd name="T52" fmla="*/ 863 w 1594"/>
                <a:gd name="T53" fmla="*/ 1248 h 1395"/>
                <a:gd name="T54" fmla="*/ 793 w 1594"/>
                <a:gd name="T55" fmla="*/ 1249 h 1395"/>
                <a:gd name="T56" fmla="*/ 688 w 1594"/>
                <a:gd name="T57" fmla="*/ 1249 h 1395"/>
                <a:gd name="T58" fmla="*/ 610 w 1594"/>
                <a:gd name="T59" fmla="*/ 1235 h 1395"/>
                <a:gd name="T60" fmla="*/ 596 w 1594"/>
                <a:gd name="T61" fmla="*/ 1232 h 1395"/>
                <a:gd name="T62" fmla="*/ 570 w 1594"/>
                <a:gd name="T63" fmla="*/ 1239 h 1395"/>
                <a:gd name="T64" fmla="*/ 561 w 1594"/>
                <a:gd name="T65" fmla="*/ 1288 h 1395"/>
                <a:gd name="T66" fmla="*/ 554 w 1594"/>
                <a:gd name="T67" fmla="*/ 1373 h 1395"/>
                <a:gd name="T68" fmla="*/ 538 w 1594"/>
                <a:gd name="T69" fmla="*/ 1387 h 1395"/>
                <a:gd name="T70" fmla="*/ 464 w 1594"/>
                <a:gd name="T71" fmla="*/ 1394 h 1395"/>
                <a:gd name="T72" fmla="*/ 392 w 1594"/>
                <a:gd name="T73" fmla="*/ 1369 h 1395"/>
                <a:gd name="T74" fmla="*/ 383 w 1594"/>
                <a:gd name="T75" fmla="*/ 1353 h 1395"/>
                <a:gd name="T76" fmla="*/ 367 w 1594"/>
                <a:gd name="T77" fmla="*/ 1211 h 1395"/>
                <a:gd name="T78" fmla="*/ 346 w 1594"/>
                <a:gd name="T79" fmla="*/ 1149 h 1395"/>
                <a:gd name="T80" fmla="*/ 288 w 1594"/>
                <a:gd name="T81" fmla="*/ 1093 h 1395"/>
                <a:gd name="T82" fmla="*/ 274 w 1594"/>
                <a:gd name="T83" fmla="*/ 1080 h 1395"/>
                <a:gd name="T84" fmla="*/ 214 w 1594"/>
                <a:gd name="T85" fmla="*/ 1022 h 1395"/>
                <a:gd name="T86" fmla="*/ 139 w 1594"/>
                <a:gd name="T87" fmla="*/ 920 h 1395"/>
                <a:gd name="T88" fmla="*/ 77 w 1594"/>
                <a:gd name="T89" fmla="*/ 776 h 1395"/>
                <a:gd name="T90" fmla="*/ 58 w 1594"/>
                <a:gd name="T91" fmla="*/ 598 h 1395"/>
                <a:gd name="T92" fmla="*/ 86 w 1594"/>
                <a:gd name="T93" fmla="*/ 463 h 1395"/>
                <a:gd name="T94" fmla="*/ 72 w 1594"/>
                <a:gd name="T95" fmla="*/ 454 h 1395"/>
                <a:gd name="T96" fmla="*/ 38 w 1594"/>
                <a:gd name="T97" fmla="*/ 417 h 1395"/>
                <a:gd name="T98" fmla="*/ 8 w 1594"/>
                <a:gd name="T99" fmla="*/ 338 h 1395"/>
                <a:gd name="T100" fmla="*/ 0 w 1594"/>
                <a:gd name="T101" fmla="*/ 253 h 1395"/>
                <a:gd name="T102" fmla="*/ 10 w 1594"/>
                <a:gd name="T103" fmla="*/ 266 h 1395"/>
                <a:gd name="T104" fmla="*/ 61 w 1594"/>
                <a:gd name="T105" fmla="*/ 324 h 1395"/>
                <a:gd name="T106" fmla="*/ 144 w 1594"/>
                <a:gd name="T107" fmla="*/ 354 h 1395"/>
                <a:gd name="T108" fmla="*/ 154 w 1594"/>
                <a:gd name="T109" fmla="*/ 338 h 1395"/>
                <a:gd name="T110" fmla="*/ 197 w 1594"/>
                <a:gd name="T111" fmla="*/ 285 h 1395"/>
                <a:gd name="T112" fmla="*/ 272 w 1594"/>
                <a:gd name="T113" fmla="*/ 211 h 1395"/>
                <a:gd name="T114" fmla="*/ 381 w 1594"/>
                <a:gd name="T115" fmla="*/ 134 h 1395"/>
                <a:gd name="T116" fmla="*/ 526 w 1594"/>
                <a:gd name="T117" fmla="*/ 70 h 1395"/>
                <a:gd name="T118" fmla="*/ 707 w 1594"/>
                <a:gd name="T119" fmla="*/ 41 h 1395"/>
                <a:gd name="T120" fmla="*/ 922 w 1594"/>
                <a:gd name="T121" fmla="*/ 60 h 1395"/>
                <a:gd name="T122" fmla="*/ 1087 w 1594"/>
                <a:gd name="T123" fmla="*/ 109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4" h="1395">
                  <a:moveTo>
                    <a:pt x="1333" y="0"/>
                  </a:moveTo>
                  <a:lnTo>
                    <a:pt x="1339" y="0"/>
                  </a:lnTo>
                  <a:lnTo>
                    <a:pt x="1342" y="4"/>
                  </a:lnTo>
                  <a:lnTo>
                    <a:pt x="1346" y="7"/>
                  </a:lnTo>
                  <a:lnTo>
                    <a:pt x="1347" y="11"/>
                  </a:lnTo>
                  <a:lnTo>
                    <a:pt x="1347" y="16"/>
                  </a:lnTo>
                  <a:lnTo>
                    <a:pt x="1303" y="201"/>
                  </a:lnTo>
                  <a:lnTo>
                    <a:pt x="1303" y="201"/>
                  </a:lnTo>
                  <a:lnTo>
                    <a:pt x="1303" y="206"/>
                  </a:lnTo>
                  <a:lnTo>
                    <a:pt x="1302" y="218"/>
                  </a:lnTo>
                  <a:lnTo>
                    <a:pt x="1303" y="234"/>
                  </a:lnTo>
                  <a:lnTo>
                    <a:pt x="1305" y="248"/>
                  </a:lnTo>
                  <a:lnTo>
                    <a:pt x="1312" y="259"/>
                  </a:lnTo>
                  <a:lnTo>
                    <a:pt x="1314" y="262"/>
                  </a:lnTo>
                  <a:lnTo>
                    <a:pt x="1321" y="271"/>
                  </a:lnTo>
                  <a:lnTo>
                    <a:pt x="1331" y="285"/>
                  </a:lnTo>
                  <a:lnTo>
                    <a:pt x="1346" y="304"/>
                  </a:lnTo>
                  <a:lnTo>
                    <a:pt x="1361" y="329"/>
                  </a:lnTo>
                  <a:lnTo>
                    <a:pt x="1379" y="356"/>
                  </a:lnTo>
                  <a:lnTo>
                    <a:pt x="1397" y="387"/>
                  </a:lnTo>
                  <a:lnTo>
                    <a:pt x="1414" y="422"/>
                  </a:lnTo>
                  <a:lnTo>
                    <a:pt x="1432" y="459"/>
                  </a:lnTo>
                  <a:lnTo>
                    <a:pt x="1449" y="500"/>
                  </a:lnTo>
                  <a:lnTo>
                    <a:pt x="1449" y="502"/>
                  </a:lnTo>
                  <a:lnTo>
                    <a:pt x="1455" y="510"/>
                  </a:lnTo>
                  <a:lnTo>
                    <a:pt x="1462" y="524"/>
                  </a:lnTo>
                  <a:lnTo>
                    <a:pt x="1476" y="539"/>
                  </a:lnTo>
                  <a:lnTo>
                    <a:pt x="1493" y="553"/>
                  </a:lnTo>
                  <a:lnTo>
                    <a:pt x="1518" y="567"/>
                  </a:lnTo>
                  <a:lnTo>
                    <a:pt x="1518" y="567"/>
                  </a:lnTo>
                  <a:lnTo>
                    <a:pt x="1580" y="581"/>
                  </a:lnTo>
                  <a:lnTo>
                    <a:pt x="1581" y="583"/>
                  </a:lnTo>
                  <a:lnTo>
                    <a:pt x="1594" y="859"/>
                  </a:lnTo>
                  <a:lnTo>
                    <a:pt x="1594" y="859"/>
                  </a:lnTo>
                  <a:lnTo>
                    <a:pt x="1588" y="864"/>
                  </a:lnTo>
                  <a:lnTo>
                    <a:pt x="1578" y="875"/>
                  </a:lnTo>
                  <a:lnTo>
                    <a:pt x="1564" y="885"/>
                  </a:lnTo>
                  <a:lnTo>
                    <a:pt x="1544" y="896"/>
                  </a:lnTo>
                  <a:lnTo>
                    <a:pt x="1521" y="903"/>
                  </a:lnTo>
                  <a:lnTo>
                    <a:pt x="1495" y="905"/>
                  </a:lnTo>
                  <a:lnTo>
                    <a:pt x="1490" y="905"/>
                  </a:lnTo>
                  <a:lnTo>
                    <a:pt x="1476" y="906"/>
                  </a:lnTo>
                  <a:lnTo>
                    <a:pt x="1455" y="912"/>
                  </a:lnTo>
                  <a:lnTo>
                    <a:pt x="1428" y="922"/>
                  </a:lnTo>
                  <a:lnTo>
                    <a:pt x="1397" y="940"/>
                  </a:lnTo>
                  <a:lnTo>
                    <a:pt x="1361" y="964"/>
                  </a:lnTo>
                  <a:lnTo>
                    <a:pt x="1361" y="964"/>
                  </a:lnTo>
                  <a:lnTo>
                    <a:pt x="1272" y="1066"/>
                  </a:lnTo>
                  <a:lnTo>
                    <a:pt x="1272" y="1066"/>
                  </a:lnTo>
                  <a:lnTo>
                    <a:pt x="1180" y="1137"/>
                  </a:lnTo>
                  <a:lnTo>
                    <a:pt x="1180" y="1137"/>
                  </a:lnTo>
                  <a:lnTo>
                    <a:pt x="1177" y="1140"/>
                  </a:lnTo>
                  <a:lnTo>
                    <a:pt x="1168" y="1149"/>
                  </a:lnTo>
                  <a:lnTo>
                    <a:pt x="1157" y="1167"/>
                  </a:lnTo>
                  <a:lnTo>
                    <a:pt x="1145" y="1188"/>
                  </a:lnTo>
                  <a:lnTo>
                    <a:pt x="1131" y="1216"/>
                  </a:lnTo>
                  <a:lnTo>
                    <a:pt x="1120" y="1251"/>
                  </a:lnTo>
                  <a:lnTo>
                    <a:pt x="1120" y="1251"/>
                  </a:lnTo>
                  <a:lnTo>
                    <a:pt x="1108" y="1362"/>
                  </a:lnTo>
                  <a:lnTo>
                    <a:pt x="1106" y="1367"/>
                  </a:lnTo>
                  <a:lnTo>
                    <a:pt x="1103" y="1373"/>
                  </a:lnTo>
                  <a:lnTo>
                    <a:pt x="1099" y="1378"/>
                  </a:lnTo>
                  <a:lnTo>
                    <a:pt x="1094" y="1380"/>
                  </a:lnTo>
                  <a:lnTo>
                    <a:pt x="1087" y="1381"/>
                  </a:lnTo>
                  <a:lnTo>
                    <a:pt x="976" y="1381"/>
                  </a:lnTo>
                  <a:lnTo>
                    <a:pt x="969" y="1380"/>
                  </a:lnTo>
                  <a:lnTo>
                    <a:pt x="964" y="1376"/>
                  </a:lnTo>
                  <a:lnTo>
                    <a:pt x="958" y="1371"/>
                  </a:lnTo>
                  <a:lnTo>
                    <a:pt x="955" y="1364"/>
                  </a:lnTo>
                  <a:lnTo>
                    <a:pt x="939" y="1293"/>
                  </a:lnTo>
                  <a:lnTo>
                    <a:pt x="939" y="1292"/>
                  </a:lnTo>
                  <a:lnTo>
                    <a:pt x="939" y="1288"/>
                  </a:lnTo>
                  <a:lnTo>
                    <a:pt x="937" y="1281"/>
                  </a:lnTo>
                  <a:lnTo>
                    <a:pt x="934" y="1271"/>
                  </a:lnTo>
                  <a:lnTo>
                    <a:pt x="929" y="1262"/>
                  </a:lnTo>
                  <a:lnTo>
                    <a:pt x="920" y="1253"/>
                  </a:lnTo>
                  <a:lnTo>
                    <a:pt x="907" y="1246"/>
                  </a:lnTo>
                  <a:lnTo>
                    <a:pt x="892" y="1244"/>
                  </a:lnTo>
                  <a:lnTo>
                    <a:pt x="869" y="1246"/>
                  </a:lnTo>
                  <a:lnTo>
                    <a:pt x="869" y="1246"/>
                  </a:lnTo>
                  <a:lnTo>
                    <a:pt x="863" y="1248"/>
                  </a:lnTo>
                  <a:lnTo>
                    <a:pt x="848" y="1248"/>
                  </a:lnTo>
                  <a:lnTo>
                    <a:pt x="823" y="1249"/>
                  </a:lnTo>
                  <a:lnTo>
                    <a:pt x="793" y="1249"/>
                  </a:lnTo>
                  <a:lnTo>
                    <a:pt x="758" y="1249"/>
                  </a:lnTo>
                  <a:lnTo>
                    <a:pt x="723" y="1249"/>
                  </a:lnTo>
                  <a:lnTo>
                    <a:pt x="688" y="1249"/>
                  </a:lnTo>
                  <a:lnTo>
                    <a:pt x="656" y="1246"/>
                  </a:lnTo>
                  <a:lnTo>
                    <a:pt x="629" y="1242"/>
                  </a:lnTo>
                  <a:lnTo>
                    <a:pt x="610" y="1235"/>
                  </a:lnTo>
                  <a:lnTo>
                    <a:pt x="608" y="1235"/>
                  </a:lnTo>
                  <a:lnTo>
                    <a:pt x="603" y="1234"/>
                  </a:lnTo>
                  <a:lnTo>
                    <a:pt x="596" y="1232"/>
                  </a:lnTo>
                  <a:lnTo>
                    <a:pt x="587" y="1232"/>
                  </a:lnTo>
                  <a:lnTo>
                    <a:pt x="578" y="1234"/>
                  </a:lnTo>
                  <a:lnTo>
                    <a:pt x="570" y="1239"/>
                  </a:lnTo>
                  <a:lnTo>
                    <a:pt x="563" y="1249"/>
                  </a:lnTo>
                  <a:lnTo>
                    <a:pt x="559" y="1265"/>
                  </a:lnTo>
                  <a:lnTo>
                    <a:pt x="561" y="1288"/>
                  </a:lnTo>
                  <a:lnTo>
                    <a:pt x="561" y="1288"/>
                  </a:lnTo>
                  <a:lnTo>
                    <a:pt x="556" y="1366"/>
                  </a:lnTo>
                  <a:lnTo>
                    <a:pt x="554" y="1373"/>
                  </a:lnTo>
                  <a:lnTo>
                    <a:pt x="550" y="1380"/>
                  </a:lnTo>
                  <a:lnTo>
                    <a:pt x="545" y="1383"/>
                  </a:lnTo>
                  <a:lnTo>
                    <a:pt x="538" y="1387"/>
                  </a:lnTo>
                  <a:lnTo>
                    <a:pt x="519" y="1392"/>
                  </a:lnTo>
                  <a:lnTo>
                    <a:pt x="494" y="1395"/>
                  </a:lnTo>
                  <a:lnTo>
                    <a:pt x="464" y="1394"/>
                  </a:lnTo>
                  <a:lnTo>
                    <a:pt x="432" y="1388"/>
                  </a:lnTo>
                  <a:lnTo>
                    <a:pt x="397" y="1373"/>
                  </a:lnTo>
                  <a:lnTo>
                    <a:pt x="392" y="1369"/>
                  </a:lnTo>
                  <a:lnTo>
                    <a:pt x="388" y="1364"/>
                  </a:lnTo>
                  <a:lnTo>
                    <a:pt x="385" y="1359"/>
                  </a:lnTo>
                  <a:lnTo>
                    <a:pt x="383" y="1353"/>
                  </a:lnTo>
                  <a:lnTo>
                    <a:pt x="369" y="1227"/>
                  </a:lnTo>
                  <a:lnTo>
                    <a:pt x="369" y="1223"/>
                  </a:lnTo>
                  <a:lnTo>
                    <a:pt x="367" y="1211"/>
                  </a:lnTo>
                  <a:lnTo>
                    <a:pt x="364" y="1193"/>
                  </a:lnTo>
                  <a:lnTo>
                    <a:pt x="357" y="1172"/>
                  </a:lnTo>
                  <a:lnTo>
                    <a:pt x="346" y="1149"/>
                  </a:lnTo>
                  <a:lnTo>
                    <a:pt x="332" y="1128"/>
                  </a:lnTo>
                  <a:lnTo>
                    <a:pt x="313" y="1109"/>
                  </a:lnTo>
                  <a:lnTo>
                    <a:pt x="288" y="1093"/>
                  </a:lnTo>
                  <a:lnTo>
                    <a:pt x="288" y="1093"/>
                  </a:lnTo>
                  <a:lnTo>
                    <a:pt x="285" y="1089"/>
                  </a:lnTo>
                  <a:lnTo>
                    <a:pt x="274" y="1080"/>
                  </a:lnTo>
                  <a:lnTo>
                    <a:pt x="258" y="1066"/>
                  </a:lnTo>
                  <a:lnTo>
                    <a:pt x="237" y="1047"/>
                  </a:lnTo>
                  <a:lnTo>
                    <a:pt x="214" y="1022"/>
                  </a:lnTo>
                  <a:lnTo>
                    <a:pt x="190" y="993"/>
                  </a:lnTo>
                  <a:lnTo>
                    <a:pt x="165" y="959"/>
                  </a:lnTo>
                  <a:lnTo>
                    <a:pt x="139" y="920"/>
                  </a:lnTo>
                  <a:lnTo>
                    <a:pt x="116" y="876"/>
                  </a:lnTo>
                  <a:lnTo>
                    <a:pt x="93" y="829"/>
                  </a:lnTo>
                  <a:lnTo>
                    <a:pt x="77" y="776"/>
                  </a:lnTo>
                  <a:lnTo>
                    <a:pt x="63" y="722"/>
                  </a:lnTo>
                  <a:lnTo>
                    <a:pt x="58" y="662"/>
                  </a:lnTo>
                  <a:lnTo>
                    <a:pt x="58" y="598"/>
                  </a:lnTo>
                  <a:lnTo>
                    <a:pt x="66" y="533"/>
                  </a:lnTo>
                  <a:lnTo>
                    <a:pt x="86" y="463"/>
                  </a:lnTo>
                  <a:lnTo>
                    <a:pt x="86" y="463"/>
                  </a:lnTo>
                  <a:lnTo>
                    <a:pt x="86" y="461"/>
                  </a:lnTo>
                  <a:lnTo>
                    <a:pt x="81" y="459"/>
                  </a:lnTo>
                  <a:lnTo>
                    <a:pt x="72" y="454"/>
                  </a:lnTo>
                  <a:lnTo>
                    <a:pt x="63" y="445"/>
                  </a:lnTo>
                  <a:lnTo>
                    <a:pt x="51" y="433"/>
                  </a:lnTo>
                  <a:lnTo>
                    <a:pt x="38" y="417"/>
                  </a:lnTo>
                  <a:lnTo>
                    <a:pt x="28" y="396"/>
                  </a:lnTo>
                  <a:lnTo>
                    <a:pt x="17" y="370"/>
                  </a:lnTo>
                  <a:lnTo>
                    <a:pt x="8" y="338"/>
                  </a:lnTo>
                  <a:lnTo>
                    <a:pt x="1" y="301"/>
                  </a:lnTo>
                  <a:lnTo>
                    <a:pt x="0" y="255"/>
                  </a:lnTo>
                  <a:lnTo>
                    <a:pt x="0" y="253"/>
                  </a:lnTo>
                  <a:lnTo>
                    <a:pt x="1" y="253"/>
                  </a:lnTo>
                  <a:lnTo>
                    <a:pt x="1" y="253"/>
                  </a:lnTo>
                  <a:lnTo>
                    <a:pt x="10" y="266"/>
                  </a:lnTo>
                  <a:lnTo>
                    <a:pt x="22" y="283"/>
                  </a:lnTo>
                  <a:lnTo>
                    <a:pt x="40" y="304"/>
                  </a:lnTo>
                  <a:lnTo>
                    <a:pt x="61" y="324"/>
                  </a:lnTo>
                  <a:lnTo>
                    <a:pt x="86" y="340"/>
                  </a:lnTo>
                  <a:lnTo>
                    <a:pt x="114" y="352"/>
                  </a:lnTo>
                  <a:lnTo>
                    <a:pt x="144" y="354"/>
                  </a:lnTo>
                  <a:lnTo>
                    <a:pt x="146" y="354"/>
                  </a:lnTo>
                  <a:lnTo>
                    <a:pt x="147" y="348"/>
                  </a:lnTo>
                  <a:lnTo>
                    <a:pt x="154" y="338"/>
                  </a:lnTo>
                  <a:lnTo>
                    <a:pt x="165" y="324"/>
                  </a:lnTo>
                  <a:lnTo>
                    <a:pt x="179" y="306"/>
                  </a:lnTo>
                  <a:lnTo>
                    <a:pt x="197" y="285"/>
                  </a:lnTo>
                  <a:lnTo>
                    <a:pt x="218" y="262"/>
                  </a:lnTo>
                  <a:lnTo>
                    <a:pt x="244" y="238"/>
                  </a:lnTo>
                  <a:lnTo>
                    <a:pt x="272" y="211"/>
                  </a:lnTo>
                  <a:lnTo>
                    <a:pt x="306" y="185"/>
                  </a:lnTo>
                  <a:lnTo>
                    <a:pt x="343" y="158"/>
                  </a:lnTo>
                  <a:lnTo>
                    <a:pt x="381" y="134"/>
                  </a:lnTo>
                  <a:lnTo>
                    <a:pt x="427" y="111"/>
                  </a:lnTo>
                  <a:lnTo>
                    <a:pt x="475" y="90"/>
                  </a:lnTo>
                  <a:lnTo>
                    <a:pt x="526" y="70"/>
                  </a:lnTo>
                  <a:lnTo>
                    <a:pt x="582" y="56"/>
                  </a:lnTo>
                  <a:lnTo>
                    <a:pt x="642" y="46"/>
                  </a:lnTo>
                  <a:lnTo>
                    <a:pt x="707" y="41"/>
                  </a:lnTo>
                  <a:lnTo>
                    <a:pt x="774" y="41"/>
                  </a:lnTo>
                  <a:lnTo>
                    <a:pt x="846" y="46"/>
                  </a:lnTo>
                  <a:lnTo>
                    <a:pt x="922" y="60"/>
                  </a:lnTo>
                  <a:lnTo>
                    <a:pt x="1002" y="81"/>
                  </a:lnTo>
                  <a:lnTo>
                    <a:pt x="1087" y="109"/>
                  </a:lnTo>
                  <a:lnTo>
                    <a:pt x="1087" y="109"/>
                  </a:lnTo>
                  <a:lnTo>
                    <a:pt x="1328" y="2"/>
                  </a:lnTo>
                  <a:lnTo>
                    <a:pt x="1333"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66">
              <a:extLst>
                <a:ext uri="{FF2B5EF4-FFF2-40B4-BE49-F238E27FC236}">
                  <a16:creationId xmlns:a16="http://schemas.microsoft.com/office/drawing/2014/main" id="{58B5BB68-6961-D145-9579-22A607807563}"/>
                </a:ext>
              </a:extLst>
            </p:cNvPr>
            <p:cNvSpPr>
              <a:spLocks/>
            </p:cNvSpPr>
            <p:nvPr/>
          </p:nvSpPr>
          <p:spPr bwMode="auto">
            <a:xfrm>
              <a:off x="4684713" y="1754188"/>
              <a:ext cx="803275" cy="701675"/>
            </a:xfrm>
            <a:custGeom>
              <a:avLst/>
              <a:gdLst>
                <a:gd name="T0" fmla="*/ 853 w 1012"/>
                <a:gd name="T1" fmla="*/ 4 h 885"/>
                <a:gd name="T2" fmla="*/ 827 w 1012"/>
                <a:gd name="T3" fmla="*/ 127 h 885"/>
                <a:gd name="T4" fmla="*/ 827 w 1012"/>
                <a:gd name="T5" fmla="*/ 143 h 885"/>
                <a:gd name="T6" fmla="*/ 836 w 1012"/>
                <a:gd name="T7" fmla="*/ 168 h 885"/>
                <a:gd name="T8" fmla="*/ 864 w 1012"/>
                <a:gd name="T9" fmla="*/ 208 h 885"/>
                <a:gd name="T10" fmla="*/ 906 w 1012"/>
                <a:gd name="T11" fmla="*/ 285 h 885"/>
                <a:gd name="T12" fmla="*/ 924 w 1012"/>
                <a:gd name="T13" fmla="*/ 328 h 885"/>
                <a:gd name="T14" fmla="*/ 962 w 1012"/>
                <a:gd name="T15" fmla="*/ 359 h 885"/>
                <a:gd name="T16" fmla="*/ 1003 w 1012"/>
                <a:gd name="T17" fmla="*/ 370 h 885"/>
                <a:gd name="T18" fmla="*/ 1006 w 1012"/>
                <a:gd name="T19" fmla="*/ 549 h 885"/>
                <a:gd name="T20" fmla="*/ 968 w 1012"/>
                <a:gd name="T21" fmla="*/ 572 h 885"/>
                <a:gd name="T22" fmla="*/ 931 w 1012"/>
                <a:gd name="T23" fmla="*/ 576 h 885"/>
                <a:gd name="T24" fmla="*/ 864 w 1012"/>
                <a:gd name="T25" fmla="*/ 613 h 885"/>
                <a:gd name="T26" fmla="*/ 806 w 1012"/>
                <a:gd name="T27" fmla="*/ 678 h 885"/>
                <a:gd name="T28" fmla="*/ 746 w 1012"/>
                <a:gd name="T29" fmla="*/ 724 h 885"/>
                <a:gd name="T30" fmla="*/ 720 w 1012"/>
                <a:gd name="T31" fmla="*/ 768 h 885"/>
                <a:gd name="T32" fmla="*/ 704 w 1012"/>
                <a:gd name="T33" fmla="*/ 864 h 885"/>
                <a:gd name="T34" fmla="*/ 695 w 1012"/>
                <a:gd name="T35" fmla="*/ 875 h 885"/>
                <a:gd name="T36" fmla="*/ 614 w 1012"/>
                <a:gd name="T37" fmla="*/ 875 h 885"/>
                <a:gd name="T38" fmla="*/ 607 w 1012"/>
                <a:gd name="T39" fmla="*/ 866 h 885"/>
                <a:gd name="T40" fmla="*/ 597 w 1012"/>
                <a:gd name="T41" fmla="*/ 817 h 885"/>
                <a:gd name="T42" fmla="*/ 586 w 1012"/>
                <a:gd name="T43" fmla="*/ 797 h 885"/>
                <a:gd name="T44" fmla="*/ 551 w 1012"/>
                <a:gd name="T45" fmla="*/ 790 h 885"/>
                <a:gd name="T46" fmla="*/ 530 w 1012"/>
                <a:gd name="T47" fmla="*/ 792 h 885"/>
                <a:gd name="T48" fmla="*/ 454 w 1012"/>
                <a:gd name="T49" fmla="*/ 792 h 885"/>
                <a:gd name="T50" fmla="*/ 387 w 1012"/>
                <a:gd name="T51" fmla="*/ 783 h 885"/>
                <a:gd name="T52" fmla="*/ 373 w 1012"/>
                <a:gd name="T53" fmla="*/ 782 h 885"/>
                <a:gd name="T54" fmla="*/ 355 w 1012"/>
                <a:gd name="T55" fmla="*/ 799 h 885"/>
                <a:gd name="T56" fmla="*/ 352 w 1012"/>
                <a:gd name="T57" fmla="*/ 866 h 885"/>
                <a:gd name="T58" fmla="*/ 345 w 1012"/>
                <a:gd name="T59" fmla="*/ 878 h 885"/>
                <a:gd name="T60" fmla="*/ 304 w 1012"/>
                <a:gd name="T61" fmla="*/ 885 h 885"/>
                <a:gd name="T62" fmla="*/ 248 w 1012"/>
                <a:gd name="T63" fmla="*/ 868 h 885"/>
                <a:gd name="T64" fmla="*/ 234 w 1012"/>
                <a:gd name="T65" fmla="*/ 778 h 885"/>
                <a:gd name="T66" fmla="*/ 229 w 1012"/>
                <a:gd name="T67" fmla="*/ 752 h 885"/>
                <a:gd name="T68" fmla="*/ 201 w 1012"/>
                <a:gd name="T69" fmla="*/ 704 h 885"/>
                <a:gd name="T70" fmla="*/ 180 w 1012"/>
                <a:gd name="T71" fmla="*/ 690 h 885"/>
                <a:gd name="T72" fmla="*/ 137 w 1012"/>
                <a:gd name="T73" fmla="*/ 650 h 885"/>
                <a:gd name="T74" fmla="*/ 79 w 1012"/>
                <a:gd name="T75" fmla="*/ 567 h 885"/>
                <a:gd name="T76" fmla="*/ 39 w 1012"/>
                <a:gd name="T77" fmla="*/ 447 h 885"/>
                <a:gd name="T78" fmla="*/ 55 w 1012"/>
                <a:gd name="T79" fmla="*/ 294 h 885"/>
                <a:gd name="T80" fmla="*/ 44 w 1012"/>
                <a:gd name="T81" fmla="*/ 285 h 885"/>
                <a:gd name="T82" fmla="*/ 16 w 1012"/>
                <a:gd name="T83" fmla="*/ 248 h 885"/>
                <a:gd name="T84" fmla="*/ 0 w 1012"/>
                <a:gd name="T85" fmla="*/ 162 h 885"/>
                <a:gd name="T86" fmla="*/ 7 w 1012"/>
                <a:gd name="T87" fmla="*/ 171 h 885"/>
                <a:gd name="T88" fmla="*/ 49 w 1012"/>
                <a:gd name="T89" fmla="*/ 213 h 885"/>
                <a:gd name="T90" fmla="*/ 92 w 1012"/>
                <a:gd name="T91" fmla="*/ 224 h 885"/>
                <a:gd name="T92" fmla="*/ 113 w 1012"/>
                <a:gd name="T93" fmla="*/ 196 h 885"/>
                <a:gd name="T94" fmla="*/ 169 w 1012"/>
                <a:gd name="T95" fmla="*/ 138 h 885"/>
                <a:gd name="T96" fmla="*/ 260 w 1012"/>
                <a:gd name="T97" fmla="*/ 76 h 885"/>
                <a:gd name="T98" fmla="*/ 389 w 1012"/>
                <a:gd name="T99" fmla="*/ 32 h 885"/>
                <a:gd name="T100" fmla="*/ 556 w 1012"/>
                <a:gd name="T101" fmla="*/ 32 h 885"/>
                <a:gd name="T102" fmla="*/ 690 w 1012"/>
                <a:gd name="T103" fmla="*/ 69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2" h="885">
                  <a:moveTo>
                    <a:pt x="846" y="0"/>
                  </a:moveTo>
                  <a:lnTo>
                    <a:pt x="850" y="2"/>
                  </a:lnTo>
                  <a:lnTo>
                    <a:pt x="853" y="4"/>
                  </a:lnTo>
                  <a:lnTo>
                    <a:pt x="855" y="7"/>
                  </a:lnTo>
                  <a:lnTo>
                    <a:pt x="855" y="11"/>
                  </a:lnTo>
                  <a:lnTo>
                    <a:pt x="827" y="127"/>
                  </a:lnTo>
                  <a:lnTo>
                    <a:pt x="827" y="127"/>
                  </a:lnTo>
                  <a:lnTo>
                    <a:pt x="827" y="132"/>
                  </a:lnTo>
                  <a:lnTo>
                    <a:pt x="827" y="143"/>
                  </a:lnTo>
                  <a:lnTo>
                    <a:pt x="827" y="155"/>
                  </a:lnTo>
                  <a:lnTo>
                    <a:pt x="832" y="164"/>
                  </a:lnTo>
                  <a:lnTo>
                    <a:pt x="836" y="168"/>
                  </a:lnTo>
                  <a:lnTo>
                    <a:pt x="841" y="176"/>
                  </a:lnTo>
                  <a:lnTo>
                    <a:pt x="852" y="190"/>
                  </a:lnTo>
                  <a:lnTo>
                    <a:pt x="864" y="208"/>
                  </a:lnTo>
                  <a:lnTo>
                    <a:pt x="878" y="231"/>
                  </a:lnTo>
                  <a:lnTo>
                    <a:pt x="892" y="257"/>
                  </a:lnTo>
                  <a:lnTo>
                    <a:pt x="906" y="285"/>
                  </a:lnTo>
                  <a:lnTo>
                    <a:pt x="918" y="317"/>
                  </a:lnTo>
                  <a:lnTo>
                    <a:pt x="920" y="321"/>
                  </a:lnTo>
                  <a:lnTo>
                    <a:pt x="924" y="328"/>
                  </a:lnTo>
                  <a:lnTo>
                    <a:pt x="933" y="338"/>
                  </a:lnTo>
                  <a:lnTo>
                    <a:pt x="945" y="349"/>
                  </a:lnTo>
                  <a:lnTo>
                    <a:pt x="962" y="359"/>
                  </a:lnTo>
                  <a:lnTo>
                    <a:pt x="962" y="359"/>
                  </a:lnTo>
                  <a:lnTo>
                    <a:pt x="1003" y="370"/>
                  </a:lnTo>
                  <a:lnTo>
                    <a:pt x="1003" y="370"/>
                  </a:lnTo>
                  <a:lnTo>
                    <a:pt x="1012" y="544"/>
                  </a:lnTo>
                  <a:lnTo>
                    <a:pt x="1012" y="546"/>
                  </a:lnTo>
                  <a:lnTo>
                    <a:pt x="1006" y="549"/>
                  </a:lnTo>
                  <a:lnTo>
                    <a:pt x="998" y="558"/>
                  </a:lnTo>
                  <a:lnTo>
                    <a:pt x="985" y="565"/>
                  </a:lnTo>
                  <a:lnTo>
                    <a:pt x="968" y="572"/>
                  </a:lnTo>
                  <a:lnTo>
                    <a:pt x="948" y="574"/>
                  </a:lnTo>
                  <a:lnTo>
                    <a:pt x="943" y="574"/>
                  </a:lnTo>
                  <a:lnTo>
                    <a:pt x="931" y="576"/>
                  </a:lnTo>
                  <a:lnTo>
                    <a:pt x="913" y="583"/>
                  </a:lnTo>
                  <a:lnTo>
                    <a:pt x="890" y="593"/>
                  </a:lnTo>
                  <a:lnTo>
                    <a:pt x="864" y="613"/>
                  </a:lnTo>
                  <a:lnTo>
                    <a:pt x="864" y="613"/>
                  </a:lnTo>
                  <a:lnTo>
                    <a:pt x="806" y="678"/>
                  </a:lnTo>
                  <a:lnTo>
                    <a:pt x="806" y="678"/>
                  </a:lnTo>
                  <a:lnTo>
                    <a:pt x="750" y="722"/>
                  </a:lnTo>
                  <a:lnTo>
                    <a:pt x="750" y="722"/>
                  </a:lnTo>
                  <a:lnTo>
                    <a:pt x="746" y="724"/>
                  </a:lnTo>
                  <a:lnTo>
                    <a:pt x="739" y="734"/>
                  </a:lnTo>
                  <a:lnTo>
                    <a:pt x="730" y="748"/>
                  </a:lnTo>
                  <a:lnTo>
                    <a:pt x="720" y="768"/>
                  </a:lnTo>
                  <a:lnTo>
                    <a:pt x="711" y="794"/>
                  </a:lnTo>
                  <a:lnTo>
                    <a:pt x="711" y="794"/>
                  </a:lnTo>
                  <a:lnTo>
                    <a:pt x="704" y="864"/>
                  </a:lnTo>
                  <a:lnTo>
                    <a:pt x="702" y="870"/>
                  </a:lnTo>
                  <a:lnTo>
                    <a:pt x="699" y="873"/>
                  </a:lnTo>
                  <a:lnTo>
                    <a:pt x="695" y="875"/>
                  </a:lnTo>
                  <a:lnTo>
                    <a:pt x="690" y="877"/>
                  </a:lnTo>
                  <a:lnTo>
                    <a:pt x="619" y="877"/>
                  </a:lnTo>
                  <a:lnTo>
                    <a:pt x="614" y="875"/>
                  </a:lnTo>
                  <a:lnTo>
                    <a:pt x="611" y="873"/>
                  </a:lnTo>
                  <a:lnTo>
                    <a:pt x="609" y="870"/>
                  </a:lnTo>
                  <a:lnTo>
                    <a:pt x="607" y="866"/>
                  </a:lnTo>
                  <a:lnTo>
                    <a:pt x="597" y="820"/>
                  </a:lnTo>
                  <a:lnTo>
                    <a:pt x="597" y="820"/>
                  </a:lnTo>
                  <a:lnTo>
                    <a:pt x="597" y="817"/>
                  </a:lnTo>
                  <a:lnTo>
                    <a:pt x="595" y="812"/>
                  </a:lnTo>
                  <a:lnTo>
                    <a:pt x="591" y="805"/>
                  </a:lnTo>
                  <a:lnTo>
                    <a:pt x="586" y="797"/>
                  </a:lnTo>
                  <a:lnTo>
                    <a:pt x="579" y="792"/>
                  </a:lnTo>
                  <a:lnTo>
                    <a:pt x="567" y="789"/>
                  </a:lnTo>
                  <a:lnTo>
                    <a:pt x="551" y="790"/>
                  </a:lnTo>
                  <a:lnTo>
                    <a:pt x="551" y="790"/>
                  </a:lnTo>
                  <a:lnTo>
                    <a:pt x="545" y="792"/>
                  </a:lnTo>
                  <a:lnTo>
                    <a:pt x="530" y="792"/>
                  </a:lnTo>
                  <a:lnTo>
                    <a:pt x="509" y="792"/>
                  </a:lnTo>
                  <a:lnTo>
                    <a:pt x="482" y="794"/>
                  </a:lnTo>
                  <a:lnTo>
                    <a:pt x="454" y="792"/>
                  </a:lnTo>
                  <a:lnTo>
                    <a:pt x="426" y="792"/>
                  </a:lnTo>
                  <a:lnTo>
                    <a:pt x="403" y="789"/>
                  </a:lnTo>
                  <a:lnTo>
                    <a:pt x="387" y="783"/>
                  </a:lnTo>
                  <a:lnTo>
                    <a:pt x="385" y="783"/>
                  </a:lnTo>
                  <a:lnTo>
                    <a:pt x="380" y="782"/>
                  </a:lnTo>
                  <a:lnTo>
                    <a:pt x="373" y="782"/>
                  </a:lnTo>
                  <a:lnTo>
                    <a:pt x="366" y="783"/>
                  </a:lnTo>
                  <a:lnTo>
                    <a:pt x="359" y="789"/>
                  </a:lnTo>
                  <a:lnTo>
                    <a:pt x="355" y="799"/>
                  </a:lnTo>
                  <a:lnTo>
                    <a:pt x="355" y="817"/>
                  </a:lnTo>
                  <a:lnTo>
                    <a:pt x="355" y="817"/>
                  </a:lnTo>
                  <a:lnTo>
                    <a:pt x="352" y="866"/>
                  </a:lnTo>
                  <a:lnTo>
                    <a:pt x="352" y="871"/>
                  </a:lnTo>
                  <a:lnTo>
                    <a:pt x="348" y="875"/>
                  </a:lnTo>
                  <a:lnTo>
                    <a:pt x="345" y="878"/>
                  </a:lnTo>
                  <a:lnTo>
                    <a:pt x="341" y="880"/>
                  </a:lnTo>
                  <a:lnTo>
                    <a:pt x="326" y="884"/>
                  </a:lnTo>
                  <a:lnTo>
                    <a:pt x="304" y="885"/>
                  </a:lnTo>
                  <a:lnTo>
                    <a:pt x="280" y="882"/>
                  </a:lnTo>
                  <a:lnTo>
                    <a:pt x="252" y="871"/>
                  </a:lnTo>
                  <a:lnTo>
                    <a:pt x="248" y="868"/>
                  </a:lnTo>
                  <a:lnTo>
                    <a:pt x="245" y="864"/>
                  </a:lnTo>
                  <a:lnTo>
                    <a:pt x="243" y="859"/>
                  </a:lnTo>
                  <a:lnTo>
                    <a:pt x="234" y="778"/>
                  </a:lnTo>
                  <a:lnTo>
                    <a:pt x="234" y="775"/>
                  </a:lnTo>
                  <a:lnTo>
                    <a:pt x="232" y="766"/>
                  </a:lnTo>
                  <a:lnTo>
                    <a:pt x="229" y="752"/>
                  </a:lnTo>
                  <a:lnTo>
                    <a:pt x="224" y="736"/>
                  </a:lnTo>
                  <a:lnTo>
                    <a:pt x="215" y="720"/>
                  </a:lnTo>
                  <a:lnTo>
                    <a:pt x="201" y="704"/>
                  </a:lnTo>
                  <a:lnTo>
                    <a:pt x="183" y="694"/>
                  </a:lnTo>
                  <a:lnTo>
                    <a:pt x="183" y="694"/>
                  </a:lnTo>
                  <a:lnTo>
                    <a:pt x="180" y="690"/>
                  </a:lnTo>
                  <a:lnTo>
                    <a:pt x="169" y="683"/>
                  </a:lnTo>
                  <a:lnTo>
                    <a:pt x="155" y="669"/>
                  </a:lnTo>
                  <a:lnTo>
                    <a:pt x="137" y="650"/>
                  </a:lnTo>
                  <a:lnTo>
                    <a:pt x="118" y="627"/>
                  </a:lnTo>
                  <a:lnTo>
                    <a:pt x="99" y="599"/>
                  </a:lnTo>
                  <a:lnTo>
                    <a:pt x="79" y="567"/>
                  </a:lnTo>
                  <a:lnTo>
                    <a:pt x="62" y="530"/>
                  </a:lnTo>
                  <a:lnTo>
                    <a:pt x="48" y="491"/>
                  </a:lnTo>
                  <a:lnTo>
                    <a:pt x="39" y="447"/>
                  </a:lnTo>
                  <a:lnTo>
                    <a:pt x="37" y="400"/>
                  </a:lnTo>
                  <a:lnTo>
                    <a:pt x="41" y="349"/>
                  </a:lnTo>
                  <a:lnTo>
                    <a:pt x="55" y="294"/>
                  </a:lnTo>
                  <a:lnTo>
                    <a:pt x="55" y="294"/>
                  </a:lnTo>
                  <a:lnTo>
                    <a:pt x="49" y="291"/>
                  </a:lnTo>
                  <a:lnTo>
                    <a:pt x="44" y="285"/>
                  </a:lnTo>
                  <a:lnTo>
                    <a:pt x="35" y="278"/>
                  </a:lnTo>
                  <a:lnTo>
                    <a:pt x="25" y="266"/>
                  </a:lnTo>
                  <a:lnTo>
                    <a:pt x="16" y="248"/>
                  </a:lnTo>
                  <a:lnTo>
                    <a:pt x="9" y="226"/>
                  </a:lnTo>
                  <a:lnTo>
                    <a:pt x="2" y="197"/>
                  </a:lnTo>
                  <a:lnTo>
                    <a:pt x="0" y="162"/>
                  </a:lnTo>
                  <a:lnTo>
                    <a:pt x="0" y="162"/>
                  </a:lnTo>
                  <a:lnTo>
                    <a:pt x="2" y="162"/>
                  </a:lnTo>
                  <a:lnTo>
                    <a:pt x="7" y="171"/>
                  </a:lnTo>
                  <a:lnTo>
                    <a:pt x="18" y="185"/>
                  </a:lnTo>
                  <a:lnTo>
                    <a:pt x="32" y="199"/>
                  </a:lnTo>
                  <a:lnTo>
                    <a:pt x="49" y="213"/>
                  </a:lnTo>
                  <a:lnTo>
                    <a:pt x="69" y="222"/>
                  </a:lnTo>
                  <a:lnTo>
                    <a:pt x="92" y="226"/>
                  </a:lnTo>
                  <a:lnTo>
                    <a:pt x="92" y="224"/>
                  </a:lnTo>
                  <a:lnTo>
                    <a:pt x="95" y="220"/>
                  </a:lnTo>
                  <a:lnTo>
                    <a:pt x="102" y="210"/>
                  </a:lnTo>
                  <a:lnTo>
                    <a:pt x="113" y="196"/>
                  </a:lnTo>
                  <a:lnTo>
                    <a:pt x="127" y="178"/>
                  </a:lnTo>
                  <a:lnTo>
                    <a:pt x="146" y="159"/>
                  </a:lnTo>
                  <a:lnTo>
                    <a:pt x="169" y="138"/>
                  </a:lnTo>
                  <a:lnTo>
                    <a:pt x="195" y="117"/>
                  </a:lnTo>
                  <a:lnTo>
                    <a:pt x="225" y="95"/>
                  </a:lnTo>
                  <a:lnTo>
                    <a:pt x="260" y="76"/>
                  </a:lnTo>
                  <a:lnTo>
                    <a:pt x="299" y="58"/>
                  </a:lnTo>
                  <a:lnTo>
                    <a:pt x="341" y="43"/>
                  </a:lnTo>
                  <a:lnTo>
                    <a:pt x="389" y="32"/>
                  </a:lnTo>
                  <a:lnTo>
                    <a:pt x="440" y="27"/>
                  </a:lnTo>
                  <a:lnTo>
                    <a:pt x="496" y="27"/>
                  </a:lnTo>
                  <a:lnTo>
                    <a:pt x="556" y="32"/>
                  </a:lnTo>
                  <a:lnTo>
                    <a:pt x="621" y="46"/>
                  </a:lnTo>
                  <a:lnTo>
                    <a:pt x="690" y="69"/>
                  </a:lnTo>
                  <a:lnTo>
                    <a:pt x="690" y="69"/>
                  </a:lnTo>
                  <a:lnTo>
                    <a:pt x="843" y="0"/>
                  </a:lnTo>
                  <a:lnTo>
                    <a:pt x="84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67">
              <a:extLst>
                <a:ext uri="{FF2B5EF4-FFF2-40B4-BE49-F238E27FC236}">
                  <a16:creationId xmlns:a16="http://schemas.microsoft.com/office/drawing/2014/main" id="{0E881890-09FA-7C49-83D3-127F383607A6}"/>
                </a:ext>
              </a:extLst>
            </p:cNvPr>
            <p:cNvSpPr>
              <a:spLocks noEditPoints="1"/>
            </p:cNvSpPr>
            <p:nvPr/>
          </p:nvSpPr>
          <p:spPr bwMode="auto">
            <a:xfrm>
              <a:off x="4365625" y="2170113"/>
              <a:ext cx="71437" cy="96838"/>
            </a:xfrm>
            <a:custGeom>
              <a:avLst/>
              <a:gdLst>
                <a:gd name="T0" fmla="*/ 58 w 92"/>
                <a:gd name="T1" fmla="*/ 102 h 123"/>
                <a:gd name="T2" fmla="*/ 51 w 92"/>
                <a:gd name="T3" fmla="*/ 105 h 123"/>
                <a:gd name="T4" fmla="*/ 55 w 92"/>
                <a:gd name="T5" fmla="*/ 98 h 123"/>
                <a:gd name="T6" fmla="*/ 42 w 92"/>
                <a:gd name="T7" fmla="*/ 102 h 123"/>
                <a:gd name="T8" fmla="*/ 34 w 92"/>
                <a:gd name="T9" fmla="*/ 105 h 123"/>
                <a:gd name="T10" fmla="*/ 21 w 92"/>
                <a:gd name="T11" fmla="*/ 98 h 123"/>
                <a:gd name="T12" fmla="*/ 25 w 92"/>
                <a:gd name="T13" fmla="*/ 105 h 123"/>
                <a:gd name="T14" fmla="*/ 18 w 92"/>
                <a:gd name="T15" fmla="*/ 102 h 123"/>
                <a:gd name="T16" fmla="*/ 71 w 92"/>
                <a:gd name="T17" fmla="*/ 82 h 123"/>
                <a:gd name="T18" fmla="*/ 74 w 92"/>
                <a:gd name="T19" fmla="*/ 102 h 123"/>
                <a:gd name="T20" fmla="*/ 67 w 92"/>
                <a:gd name="T21" fmla="*/ 105 h 123"/>
                <a:gd name="T22" fmla="*/ 69 w 92"/>
                <a:gd name="T23" fmla="*/ 82 h 123"/>
                <a:gd name="T24" fmla="*/ 58 w 92"/>
                <a:gd name="T25" fmla="*/ 86 h 123"/>
                <a:gd name="T26" fmla="*/ 53 w 92"/>
                <a:gd name="T27" fmla="*/ 89 h 123"/>
                <a:gd name="T28" fmla="*/ 53 w 92"/>
                <a:gd name="T29" fmla="*/ 82 h 123"/>
                <a:gd name="T30" fmla="*/ 41 w 92"/>
                <a:gd name="T31" fmla="*/ 84 h 123"/>
                <a:gd name="T32" fmla="*/ 37 w 92"/>
                <a:gd name="T33" fmla="*/ 89 h 123"/>
                <a:gd name="T34" fmla="*/ 35 w 92"/>
                <a:gd name="T35" fmla="*/ 82 h 123"/>
                <a:gd name="T36" fmla="*/ 25 w 92"/>
                <a:gd name="T37" fmla="*/ 84 h 123"/>
                <a:gd name="T38" fmla="*/ 20 w 92"/>
                <a:gd name="T39" fmla="*/ 89 h 123"/>
                <a:gd name="T40" fmla="*/ 20 w 92"/>
                <a:gd name="T41" fmla="*/ 82 h 123"/>
                <a:gd name="T42" fmla="*/ 74 w 92"/>
                <a:gd name="T43" fmla="*/ 68 h 123"/>
                <a:gd name="T44" fmla="*/ 71 w 92"/>
                <a:gd name="T45" fmla="*/ 74 h 123"/>
                <a:gd name="T46" fmla="*/ 71 w 92"/>
                <a:gd name="T47" fmla="*/ 65 h 123"/>
                <a:gd name="T48" fmla="*/ 56 w 92"/>
                <a:gd name="T49" fmla="*/ 74 h 123"/>
                <a:gd name="T50" fmla="*/ 51 w 92"/>
                <a:gd name="T51" fmla="*/ 67 h 123"/>
                <a:gd name="T52" fmla="*/ 42 w 92"/>
                <a:gd name="T53" fmla="*/ 70 h 123"/>
                <a:gd name="T54" fmla="*/ 34 w 92"/>
                <a:gd name="T55" fmla="*/ 72 h 123"/>
                <a:gd name="T56" fmla="*/ 37 w 92"/>
                <a:gd name="T57" fmla="*/ 65 h 123"/>
                <a:gd name="T58" fmla="*/ 25 w 92"/>
                <a:gd name="T59" fmla="*/ 70 h 123"/>
                <a:gd name="T60" fmla="*/ 18 w 92"/>
                <a:gd name="T61" fmla="*/ 74 h 123"/>
                <a:gd name="T62" fmla="*/ 71 w 92"/>
                <a:gd name="T63" fmla="*/ 49 h 123"/>
                <a:gd name="T64" fmla="*/ 72 w 92"/>
                <a:gd name="T65" fmla="*/ 58 h 123"/>
                <a:gd name="T66" fmla="*/ 67 w 92"/>
                <a:gd name="T67" fmla="*/ 53 h 123"/>
                <a:gd name="T68" fmla="*/ 55 w 92"/>
                <a:gd name="T69" fmla="*/ 49 h 123"/>
                <a:gd name="T70" fmla="*/ 58 w 92"/>
                <a:gd name="T71" fmla="*/ 56 h 123"/>
                <a:gd name="T72" fmla="*/ 51 w 92"/>
                <a:gd name="T73" fmla="*/ 56 h 123"/>
                <a:gd name="T74" fmla="*/ 55 w 92"/>
                <a:gd name="T75" fmla="*/ 49 h 123"/>
                <a:gd name="T76" fmla="*/ 42 w 92"/>
                <a:gd name="T77" fmla="*/ 53 h 123"/>
                <a:gd name="T78" fmla="*/ 35 w 92"/>
                <a:gd name="T79" fmla="*/ 58 h 123"/>
                <a:gd name="T80" fmla="*/ 37 w 92"/>
                <a:gd name="T81" fmla="*/ 49 h 123"/>
                <a:gd name="T82" fmla="*/ 25 w 92"/>
                <a:gd name="T83" fmla="*/ 56 h 123"/>
                <a:gd name="T84" fmla="*/ 18 w 92"/>
                <a:gd name="T85" fmla="*/ 56 h 123"/>
                <a:gd name="T86" fmla="*/ 21 w 92"/>
                <a:gd name="T87" fmla="*/ 49 h 123"/>
                <a:gd name="T88" fmla="*/ 67 w 92"/>
                <a:gd name="T89" fmla="*/ 24 h 123"/>
                <a:gd name="T90" fmla="*/ 72 w 92"/>
                <a:gd name="T91" fmla="*/ 17 h 123"/>
                <a:gd name="T92" fmla="*/ 74 w 92"/>
                <a:gd name="T93" fmla="*/ 40 h 123"/>
                <a:gd name="T94" fmla="*/ 18 w 92"/>
                <a:gd name="T95" fmla="*/ 38 h 123"/>
                <a:gd name="T96" fmla="*/ 21 w 92"/>
                <a:gd name="T97" fmla="*/ 17 h 123"/>
                <a:gd name="T98" fmla="*/ 83 w 92"/>
                <a:gd name="T99" fmla="*/ 9 h 123"/>
                <a:gd name="T100" fmla="*/ 88 w 92"/>
                <a:gd name="T101" fmla="*/ 2 h 123"/>
                <a:gd name="T102" fmla="*/ 90 w 92"/>
                <a:gd name="T103" fmla="*/ 121 h 123"/>
                <a:gd name="T104" fmla="*/ 0 w 92"/>
                <a:gd name="T105" fmla="*/ 119 h 123"/>
                <a:gd name="T106" fmla="*/ 5 w 92"/>
                <a:gd name="T10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2" h="123">
                  <a:moveTo>
                    <a:pt x="55" y="98"/>
                  </a:moveTo>
                  <a:lnTo>
                    <a:pt x="56" y="98"/>
                  </a:lnTo>
                  <a:lnTo>
                    <a:pt x="58" y="100"/>
                  </a:lnTo>
                  <a:lnTo>
                    <a:pt x="58" y="102"/>
                  </a:lnTo>
                  <a:lnTo>
                    <a:pt x="58" y="105"/>
                  </a:lnTo>
                  <a:lnTo>
                    <a:pt x="56" y="105"/>
                  </a:lnTo>
                  <a:lnTo>
                    <a:pt x="55" y="107"/>
                  </a:lnTo>
                  <a:lnTo>
                    <a:pt x="51" y="105"/>
                  </a:lnTo>
                  <a:lnTo>
                    <a:pt x="49" y="102"/>
                  </a:lnTo>
                  <a:lnTo>
                    <a:pt x="51" y="100"/>
                  </a:lnTo>
                  <a:lnTo>
                    <a:pt x="53" y="98"/>
                  </a:lnTo>
                  <a:lnTo>
                    <a:pt x="55" y="98"/>
                  </a:lnTo>
                  <a:close/>
                  <a:moveTo>
                    <a:pt x="37" y="98"/>
                  </a:moveTo>
                  <a:lnTo>
                    <a:pt x="41" y="98"/>
                  </a:lnTo>
                  <a:lnTo>
                    <a:pt x="41" y="100"/>
                  </a:lnTo>
                  <a:lnTo>
                    <a:pt x="42" y="102"/>
                  </a:lnTo>
                  <a:lnTo>
                    <a:pt x="41" y="105"/>
                  </a:lnTo>
                  <a:lnTo>
                    <a:pt x="37" y="107"/>
                  </a:lnTo>
                  <a:lnTo>
                    <a:pt x="35" y="105"/>
                  </a:lnTo>
                  <a:lnTo>
                    <a:pt x="34" y="105"/>
                  </a:lnTo>
                  <a:lnTo>
                    <a:pt x="34" y="102"/>
                  </a:lnTo>
                  <a:lnTo>
                    <a:pt x="35" y="100"/>
                  </a:lnTo>
                  <a:lnTo>
                    <a:pt x="37" y="98"/>
                  </a:lnTo>
                  <a:close/>
                  <a:moveTo>
                    <a:pt x="21" y="98"/>
                  </a:moveTo>
                  <a:lnTo>
                    <a:pt x="23" y="98"/>
                  </a:lnTo>
                  <a:lnTo>
                    <a:pt x="25" y="100"/>
                  </a:lnTo>
                  <a:lnTo>
                    <a:pt x="25" y="102"/>
                  </a:lnTo>
                  <a:lnTo>
                    <a:pt x="25" y="105"/>
                  </a:lnTo>
                  <a:lnTo>
                    <a:pt x="23" y="105"/>
                  </a:lnTo>
                  <a:lnTo>
                    <a:pt x="21" y="107"/>
                  </a:lnTo>
                  <a:lnTo>
                    <a:pt x="18" y="105"/>
                  </a:lnTo>
                  <a:lnTo>
                    <a:pt x="18" y="102"/>
                  </a:lnTo>
                  <a:lnTo>
                    <a:pt x="18" y="100"/>
                  </a:lnTo>
                  <a:lnTo>
                    <a:pt x="20" y="98"/>
                  </a:lnTo>
                  <a:lnTo>
                    <a:pt x="21" y="98"/>
                  </a:lnTo>
                  <a:close/>
                  <a:moveTo>
                    <a:pt x="71" y="82"/>
                  </a:moveTo>
                  <a:lnTo>
                    <a:pt x="72" y="82"/>
                  </a:lnTo>
                  <a:lnTo>
                    <a:pt x="74" y="84"/>
                  </a:lnTo>
                  <a:lnTo>
                    <a:pt x="74" y="86"/>
                  </a:lnTo>
                  <a:lnTo>
                    <a:pt x="74" y="102"/>
                  </a:lnTo>
                  <a:lnTo>
                    <a:pt x="74" y="105"/>
                  </a:lnTo>
                  <a:lnTo>
                    <a:pt x="72" y="105"/>
                  </a:lnTo>
                  <a:lnTo>
                    <a:pt x="71" y="107"/>
                  </a:lnTo>
                  <a:lnTo>
                    <a:pt x="67" y="105"/>
                  </a:lnTo>
                  <a:lnTo>
                    <a:pt x="67" y="102"/>
                  </a:lnTo>
                  <a:lnTo>
                    <a:pt x="67" y="86"/>
                  </a:lnTo>
                  <a:lnTo>
                    <a:pt x="67" y="84"/>
                  </a:lnTo>
                  <a:lnTo>
                    <a:pt x="69" y="82"/>
                  </a:lnTo>
                  <a:lnTo>
                    <a:pt x="71" y="82"/>
                  </a:lnTo>
                  <a:close/>
                  <a:moveTo>
                    <a:pt x="55" y="82"/>
                  </a:moveTo>
                  <a:lnTo>
                    <a:pt x="56" y="84"/>
                  </a:lnTo>
                  <a:lnTo>
                    <a:pt x="58" y="86"/>
                  </a:lnTo>
                  <a:lnTo>
                    <a:pt x="58" y="88"/>
                  </a:lnTo>
                  <a:lnTo>
                    <a:pt x="56" y="89"/>
                  </a:lnTo>
                  <a:lnTo>
                    <a:pt x="55" y="89"/>
                  </a:lnTo>
                  <a:lnTo>
                    <a:pt x="53" y="89"/>
                  </a:lnTo>
                  <a:lnTo>
                    <a:pt x="51" y="88"/>
                  </a:lnTo>
                  <a:lnTo>
                    <a:pt x="49" y="86"/>
                  </a:lnTo>
                  <a:lnTo>
                    <a:pt x="51" y="84"/>
                  </a:lnTo>
                  <a:lnTo>
                    <a:pt x="53" y="82"/>
                  </a:lnTo>
                  <a:lnTo>
                    <a:pt x="55" y="82"/>
                  </a:lnTo>
                  <a:close/>
                  <a:moveTo>
                    <a:pt x="37" y="82"/>
                  </a:moveTo>
                  <a:lnTo>
                    <a:pt x="41" y="82"/>
                  </a:lnTo>
                  <a:lnTo>
                    <a:pt x="41" y="84"/>
                  </a:lnTo>
                  <a:lnTo>
                    <a:pt x="42" y="86"/>
                  </a:lnTo>
                  <a:lnTo>
                    <a:pt x="41" y="88"/>
                  </a:lnTo>
                  <a:lnTo>
                    <a:pt x="41" y="89"/>
                  </a:lnTo>
                  <a:lnTo>
                    <a:pt x="37" y="89"/>
                  </a:lnTo>
                  <a:lnTo>
                    <a:pt x="35" y="89"/>
                  </a:lnTo>
                  <a:lnTo>
                    <a:pt x="34" y="86"/>
                  </a:lnTo>
                  <a:lnTo>
                    <a:pt x="34" y="84"/>
                  </a:lnTo>
                  <a:lnTo>
                    <a:pt x="35" y="82"/>
                  </a:lnTo>
                  <a:lnTo>
                    <a:pt x="37" y="82"/>
                  </a:lnTo>
                  <a:close/>
                  <a:moveTo>
                    <a:pt x="21" y="82"/>
                  </a:moveTo>
                  <a:lnTo>
                    <a:pt x="23" y="82"/>
                  </a:lnTo>
                  <a:lnTo>
                    <a:pt x="25" y="84"/>
                  </a:lnTo>
                  <a:lnTo>
                    <a:pt x="25" y="86"/>
                  </a:lnTo>
                  <a:lnTo>
                    <a:pt x="25" y="89"/>
                  </a:lnTo>
                  <a:lnTo>
                    <a:pt x="21" y="89"/>
                  </a:lnTo>
                  <a:lnTo>
                    <a:pt x="20" y="89"/>
                  </a:lnTo>
                  <a:lnTo>
                    <a:pt x="18" y="88"/>
                  </a:lnTo>
                  <a:lnTo>
                    <a:pt x="18" y="86"/>
                  </a:lnTo>
                  <a:lnTo>
                    <a:pt x="18" y="84"/>
                  </a:lnTo>
                  <a:lnTo>
                    <a:pt x="20" y="82"/>
                  </a:lnTo>
                  <a:lnTo>
                    <a:pt x="21" y="82"/>
                  </a:lnTo>
                  <a:close/>
                  <a:moveTo>
                    <a:pt x="71" y="65"/>
                  </a:moveTo>
                  <a:lnTo>
                    <a:pt x="72" y="67"/>
                  </a:lnTo>
                  <a:lnTo>
                    <a:pt x="74" y="68"/>
                  </a:lnTo>
                  <a:lnTo>
                    <a:pt x="74" y="70"/>
                  </a:lnTo>
                  <a:lnTo>
                    <a:pt x="74" y="72"/>
                  </a:lnTo>
                  <a:lnTo>
                    <a:pt x="72" y="74"/>
                  </a:lnTo>
                  <a:lnTo>
                    <a:pt x="71" y="74"/>
                  </a:lnTo>
                  <a:lnTo>
                    <a:pt x="67" y="74"/>
                  </a:lnTo>
                  <a:lnTo>
                    <a:pt x="67" y="70"/>
                  </a:lnTo>
                  <a:lnTo>
                    <a:pt x="67" y="67"/>
                  </a:lnTo>
                  <a:lnTo>
                    <a:pt x="71" y="65"/>
                  </a:lnTo>
                  <a:close/>
                  <a:moveTo>
                    <a:pt x="55" y="65"/>
                  </a:moveTo>
                  <a:lnTo>
                    <a:pt x="56" y="67"/>
                  </a:lnTo>
                  <a:lnTo>
                    <a:pt x="58" y="70"/>
                  </a:lnTo>
                  <a:lnTo>
                    <a:pt x="56" y="74"/>
                  </a:lnTo>
                  <a:lnTo>
                    <a:pt x="55" y="74"/>
                  </a:lnTo>
                  <a:lnTo>
                    <a:pt x="51" y="74"/>
                  </a:lnTo>
                  <a:lnTo>
                    <a:pt x="49" y="70"/>
                  </a:lnTo>
                  <a:lnTo>
                    <a:pt x="51" y="67"/>
                  </a:lnTo>
                  <a:lnTo>
                    <a:pt x="55" y="65"/>
                  </a:lnTo>
                  <a:close/>
                  <a:moveTo>
                    <a:pt x="37" y="65"/>
                  </a:moveTo>
                  <a:lnTo>
                    <a:pt x="41" y="67"/>
                  </a:lnTo>
                  <a:lnTo>
                    <a:pt x="42" y="70"/>
                  </a:lnTo>
                  <a:lnTo>
                    <a:pt x="41" y="74"/>
                  </a:lnTo>
                  <a:lnTo>
                    <a:pt x="37" y="74"/>
                  </a:lnTo>
                  <a:lnTo>
                    <a:pt x="35" y="74"/>
                  </a:lnTo>
                  <a:lnTo>
                    <a:pt x="34" y="72"/>
                  </a:lnTo>
                  <a:lnTo>
                    <a:pt x="34" y="70"/>
                  </a:lnTo>
                  <a:lnTo>
                    <a:pt x="34" y="68"/>
                  </a:lnTo>
                  <a:lnTo>
                    <a:pt x="35" y="67"/>
                  </a:lnTo>
                  <a:lnTo>
                    <a:pt x="37" y="65"/>
                  </a:lnTo>
                  <a:close/>
                  <a:moveTo>
                    <a:pt x="21" y="65"/>
                  </a:moveTo>
                  <a:lnTo>
                    <a:pt x="23" y="67"/>
                  </a:lnTo>
                  <a:lnTo>
                    <a:pt x="25" y="68"/>
                  </a:lnTo>
                  <a:lnTo>
                    <a:pt x="25" y="70"/>
                  </a:lnTo>
                  <a:lnTo>
                    <a:pt x="25" y="72"/>
                  </a:lnTo>
                  <a:lnTo>
                    <a:pt x="23" y="74"/>
                  </a:lnTo>
                  <a:lnTo>
                    <a:pt x="21" y="74"/>
                  </a:lnTo>
                  <a:lnTo>
                    <a:pt x="18" y="74"/>
                  </a:lnTo>
                  <a:lnTo>
                    <a:pt x="18" y="70"/>
                  </a:lnTo>
                  <a:lnTo>
                    <a:pt x="18" y="67"/>
                  </a:lnTo>
                  <a:lnTo>
                    <a:pt x="21" y="65"/>
                  </a:lnTo>
                  <a:close/>
                  <a:moveTo>
                    <a:pt x="71" y="49"/>
                  </a:moveTo>
                  <a:lnTo>
                    <a:pt x="74" y="51"/>
                  </a:lnTo>
                  <a:lnTo>
                    <a:pt x="74" y="53"/>
                  </a:lnTo>
                  <a:lnTo>
                    <a:pt x="74" y="56"/>
                  </a:lnTo>
                  <a:lnTo>
                    <a:pt x="72" y="58"/>
                  </a:lnTo>
                  <a:lnTo>
                    <a:pt x="71" y="58"/>
                  </a:lnTo>
                  <a:lnTo>
                    <a:pt x="69" y="58"/>
                  </a:lnTo>
                  <a:lnTo>
                    <a:pt x="67" y="56"/>
                  </a:lnTo>
                  <a:lnTo>
                    <a:pt x="67" y="53"/>
                  </a:lnTo>
                  <a:lnTo>
                    <a:pt x="67" y="51"/>
                  </a:lnTo>
                  <a:lnTo>
                    <a:pt x="69" y="51"/>
                  </a:lnTo>
                  <a:lnTo>
                    <a:pt x="71" y="49"/>
                  </a:lnTo>
                  <a:close/>
                  <a:moveTo>
                    <a:pt x="55" y="49"/>
                  </a:moveTo>
                  <a:lnTo>
                    <a:pt x="56" y="51"/>
                  </a:lnTo>
                  <a:lnTo>
                    <a:pt x="58" y="51"/>
                  </a:lnTo>
                  <a:lnTo>
                    <a:pt x="58" y="53"/>
                  </a:lnTo>
                  <a:lnTo>
                    <a:pt x="58" y="56"/>
                  </a:lnTo>
                  <a:lnTo>
                    <a:pt x="56" y="58"/>
                  </a:lnTo>
                  <a:lnTo>
                    <a:pt x="55" y="58"/>
                  </a:lnTo>
                  <a:lnTo>
                    <a:pt x="53" y="58"/>
                  </a:lnTo>
                  <a:lnTo>
                    <a:pt x="51" y="56"/>
                  </a:lnTo>
                  <a:lnTo>
                    <a:pt x="49" y="53"/>
                  </a:lnTo>
                  <a:lnTo>
                    <a:pt x="51" y="51"/>
                  </a:lnTo>
                  <a:lnTo>
                    <a:pt x="53" y="51"/>
                  </a:lnTo>
                  <a:lnTo>
                    <a:pt x="55" y="49"/>
                  </a:lnTo>
                  <a:close/>
                  <a:moveTo>
                    <a:pt x="37" y="49"/>
                  </a:moveTo>
                  <a:lnTo>
                    <a:pt x="41" y="51"/>
                  </a:lnTo>
                  <a:lnTo>
                    <a:pt x="41" y="51"/>
                  </a:lnTo>
                  <a:lnTo>
                    <a:pt x="42" y="53"/>
                  </a:lnTo>
                  <a:lnTo>
                    <a:pt x="41" y="56"/>
                  </a:lnTo>
                  <a:lnTo>
                    <a:pt x="41" y="58"/>
                  </a:lnTo>
                  <a:lnTo>
                    <a:pt x="37" y="58"/>
                  </a:lnTo>
                  <a:lnTo>
                    <a:pt x="35" y="58"/>
                  </a:lnTo>
                  <a:lnTo>
                    <a:pt x="34" y="56"/>
                  </a:lnTo>
                  <a:lnTo>
                    <a:pt x="34" y="53"/>
                  </a:lnTo>
                  <a:lnTo>
                    <a:pt x="35" y="51"/>
                  </a:lnTo>
                  <a:lnTo>
                    <a:pt x="37" y="49"/>
                  </a:lnTo>
                  <a:close/>
                  <a:moveTo>
                    <a:pt x="21" y="49"/>
                  </a:moveTo>
                  <a:lnTo>
                    <a:pt x="25" y="51"/>
                  </a:lnTo>
                  <a:lnTo>
                    <a:pt x="25" y="53"/>
                  </a:lnTo>
                  <a:lnTo>
                    <a:pt x="25" y="56"/>
                  </a:lnTo>
                  <a:lnTo>
                    <a:pt x="23" y="58"/>
                  </a:lnTo>
                  <a:lnTo>
                    <a:pt x="21" y="58"/>
                  </a:lnTo>
                  <a:lnTo>
                    <a:pt x="20" y="58"/>
                  </a:lnTo>
                  <a:lnTo>
                    <a:pt x="18" y="56"/>
                  </a:lnTo>
                  <a:lnTo>
                    <a:pt x="18" y="53"/>
                  </a:lnTo>
                  <a:lnTo>
                    <a:pt x="18" y="51"/>
                  </a:lnTo>
                  <a:lnTo>
                    <a:pt x="20" y="51"/>
                  </a:lnTo>
                  <a:lnTo>
                    <a:pt x="21" y="49"/>
                  </a:lnTo>
                  <a:close/>
                  <a:moveTo>
                    <a:pt x="25" y="24"/>
                  </a:moveTo>
                  <a:lnTo>
                    <a:pt x="25" y="33"/>
                  </a:lnTo>
                  <a:lnTo>
                    <a:pt x="67" y="33"/>
                  </a:lnTo>
                  <a:lnTo>
                    <a:pt x="67" y="24"/>
                  </a:lnTo>
                  <a:lnTo>
                    <a:pt x="25" y="24"/>
                  </a:lnTo>
                  <a:close/>
                  <a:moveTo>
                    <a:pt x="21" y="17"/>
                  </a:moveTo>
                  <a:lnTo>
                    <a:pt x="71" y="17"/>
                  </a:lnTo>
                  <a:lnTo>
                    <a:pt x="72" y="17"/>
                  </a:lnTo>
                  <a:lnTo>
                    <a:pt x="74" y="19"/>
                  </a:lnTo>
                  <a:lnTo>
                    <a:pt x="74" y="21"/>
                  </a:lnTo>
                  <a:lnTo>
                    <a:pt x="74" y="37"/>
                  </a:lnTo>
                  <a:lnTo>
                    <a:pt x="74" y="40"/>
                  </a:lnTo>
                  <a:lnTo>
                    <a:pt x="71" y="42"/>
                  </a:lnTo>
                  <a:lnTo>
                    <a:pt x="21" y="42"/>
                  </a:lnTo>
                  <a:lnTo>
                    <a:pt x="20" y="40"/>
                  </a:lnTo>
                  <a:lnTo>
                    <a:pt x="18" y="38"/>
                  </a:lnTo>
                  <a:lnTo>
                    <a:pt x="18" y="37"/>
                  </a:lnTo>
                  <a:lnTo>
                    <a:pt x="18" y="21"/>
                  </a:lnTo>
                  <a:lnTo>
                    <a:pt x="18" y="17"/>
                  </a:lnTo>
                  <a:lnTo>
                    <a:pt x="21" y="17"/>
                  </a:lnTo>
                  <a:close/>
                  <a:moveTo>
                    <a:pt x="9" y="9"/>
                  </a:moveTo>
                  <a:lnTo>
                    <a:pt x="9" y="114"/>
                  </a:lnTo>
                  <a:lnTo>
                    <a:pt x="83" y="114"/>
                  </a:lnTo>
                  <a:lnTo>
                    <a:pt x="83" y="9"/>
                  </a:lnTo>
                  <a:lnTo>
                    <a:pt x="9" y="9"/>
                  </a:lnTo>
                  <a:close/>
                  <a:moveTo>
                    <a:pt x="5" y="0"/>
                  </a:moveTo>
                  <a:lnTo>
                    <a:pt x="86" y="0"/>
                  </a:lnTo>
                  <a:lnTo>
                    <a:pt x="88" y="2"/>
                  </a:lnTo>
                  <a:lnTo>
                    <a:pt x="90" y="2"/>
                  </a:lnTo>
                  <a:lnTo>
                    <a:pt x="92" y="5"/>
                  </a:lnTo>
                  <a:lnTo>
                    <a:pt x="92" y="119"/>
                  </a:lnTo>
                  <a:lnTo>
                    <a:pt x="90" y="121"/>
                  </a:lnTo>
                  <a:lnTo>
                    <a:pt x="86" y="123"/>
                  </a:lnTo>
                  <a:lnTo>
                    <a:pt x="5" y="123"/>
                  </a:lnTo>
                  <a:lnTo>
                    <a:pt x="2" y="121"/>
                  </a:lnTo>
                  <a:lnTo>
                    <a:pt x="0" y="119"/>
                  </a:lnTo>
                  <a:lnTo>
                    <a:pt x="0" y="5"/>
                  </a:lnTo>
                  <a:lnTo>
                    <a:pt x="2" y="2"/>
                  </a:lnTo>
                  <a:lnTo>
                    <a:pt x="4" y="2"/>
                  </a:lnTo>
                  <a:lnTo>
                    <a:pt x="5" y="0"/>
                  </a:lnTo>
                  <a:close/>
                </a:path>
              </a:pathLst>
            </a:custGeom>
            <a:solidFill>
              <a:srgbClr val="3AFD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68">
              <a:extLst>
                <a:ext uri="{FF2B5EF4-FFF2-40B4-BE49-F238E27FC236}">
                  <a16:creationId xmlns:a16="http://schemas.microsoft.com/office/drawing/2014/main" id="{D27152D1-0C60-1D45-91BE-58FA2479DED2}"/>
                </a:ext>
              </a:extLst>
            </p:cNvPr>
            <p:cNvSpPr>
              <a:spLocks noEditPoints="1"/>
            </p:cNvSpPr>
            <p:nvPr/>
          </p:nvSpPr>
          <p:spPr bwMode="auto">
            <a:xfrm>
              <a:off x="4322763" y="2141538"/>
              <a:ext cx="157162" cy="155575"/>
            </a:xfrm>
            <a:custGeom>
              <a:avLst/>
              <a:gdLst>
                <a:gd name="T0" fmla="*/ 99 w 197"/>
                <a:gd name="T1" fmla="*/ 7 h 195"/>
                <a:gd name="T2" fmla="*/ 71 w 197"/>
                <a:gd name="T3" fmla="*/ 12 h 195"/>
                <a:gd name="T4" fmla="*/ 46 w 197"/>
                <a:gd name="T5" fmla="*/ 24 h 195"/>
                <a:gd name="T6" fmla="*/ 27 w 197"/>
                <a:gd name="T7" fmla="*/ 44 h 195"/>
                <a:gd name="T8" fmla="*/ 14 w 197"/>
                <a:gd name="T9" fmla="*/ 68 h 195"/>
                <a:gd name="T10" fmla="*/ 9 w 197"/>
                <a:gd name="T11" fmla="*/ 96 h 195"/>
                <a:gd name="T12" fmla="*/ 14 w 197"/>
                <a:gd name="T13" fmla="*/ 124 h 195"/>
                <a:gd name="T14" fmla="*/ 27 w 197"/>
                <a:gd name="T15" fmla="*/ 149 h 195"/>
                <a:gd name="T16" fmla="*/ 46 w 197"/>
                <a:gd name="T17" fmla="*/ 168 h 195"/>
                <a:gd name="T18" fmla="*/ 71 w 197"/>
                <a:gd name="T19" fmla="*/ 183 h 195"/>
                <a:gd name="T20" fmla="*/ 99 w 197"/>
                <a:gd name="T21" fmla="*/ 186 h 195"/>
                <a:gd name="T22" fmla="*/ 127 w 197"/>
                <a:gd name="T23" fmla="*/ 183 h 195"/>
                <a:gd name="T24" fmla="*/ 152 w 197"/>
                <a:gd name="T25" fmla="*/ 168 h 195"/>
                <a:gd name="T26" fmla="*/ 171 w 197"/>
                <a:gd name="T27" fmla="*/ 149 h 195"/>
                <a:gd name="T28" fmla="*/ 185 w 197"/>
                <a:gd name="T29" fmla="*/ 124 h 195"/>
                <a:gd name="T30" fmla="*/ 189 w 197"/>
                <a:gd name="T31" fmla="*/ 96 h 195"/>
                <a:gd name="T32" fmla="*/ 185 w 197"/>
                <a:gd name="T33" fmla="*/ 68 h 195"/>
                <a:gd name="T34" fmla="*/ 171 w 197"/>
                <a:gd name="T35" fmla="*/ 44 h 195"/>
                <a:gd name="T36" fmla="*/ 152 w 197"/>
                <a:gd name="T37" fmla="*/ 24 h 195"/>
                <a:gd name="T38" fmla="*/ 127 w 197"/>
                <a:gd name="T39" fmla="*/ 12 h 195"/>
                <a:gd name="T40" fmla="*/ 99 w 197"/>
                <a:gd name="T41" fmla="*/ 7 h 195"/>
                <a:gd name="T42" fmla="*/ 99 w 197"/>
                <a:gd name="T43" fmla="*/ 0 h 195"/>
                <a:gd name="T44" fmla="*/ 131 w 197"/>
                <a:gd name="T45" fmla="*/ 3 h 195"/>
                <a:gd name="T46" fmla="*/ 157 w 197"/>
                <a:gd name="T47" fmla="*/ 17 h 195"/>
                <a:gd name="T48" fmla="*/ 178 w 197"/>
                <a:gd name="T49" fmla="*/ 38 h 195"/>
                <a:gd name="T50" fmla="*/ 192 w 197"/>
                <a:gd name="T51" fmla="*/ 66 h 195"/>
                <a:gd name="T52" fmla="*/ 197 w 197"/>
                <a:gd name="T53" fmla="*/ 96 h 195"/>
                <a:gd name="T54" fmla="*/ 192 w 197"/>
                <a:gd name="T55" fmla="*/ 128 h 195"/>
                <a:gd name="T56" fmla="*/ 178 w 197"/>
                <a:gd name="T57" fmla="*/ 154 h 195"/>
                <a:gd name="T58" fmla="*/ 157 w 197"/>
                <a:gd name="T59" fmla="*/ 176 h 195"/>
                <a:gd name="T60" fmla="*/ 131 w 197"/>
                <a:gd name="T61" fmla="*/ 190 h 195"/>
                <a:gd name="T62" fmla="*/ 99 w 197"/>
                <a:gd name="T63" fmla="*/ 195 h 195"/>
                <a:gd name="T64" fmla="*/ 69 w 197"/>
                <a:gd name="T65" fmla="*/ 190 h 195"/>
                <a:gd name="T66" fmla="*/ 41 w 197"/>
                <a:gd name="T67" fmla="*/ 176 h 195"/>
                <a:gd name="T68" fmla="*/ 20 w 197"/>
                <a:gd name="T69" fmla="*/ 154 h 195"/>
                <a:gd name="T70" fmla="*/ 6 w 197"/>
                <a:gd name="T71" fmla="*/ 128 h 195"/>
                <a:gd name="T72" fmla="*/ 0 w 197"/>
                <a:gd name="T73" fmla="*/ 96 h 195"/>
                <a:gd name="T74" fmla="*/ 6 w 197"/>
                <a:gd name="T75" fmla="*/ 66 h 195"/>
                <a:gd name="T76" fmla="*/ 20 w 197"/>
                <a:gd name="T77" fmla="*/ 38 h 195"/>
                <a:gd name="T78" fmla="*/ 41 w 197"/>
                <a:gd name="T79" fmla="*/ 17 h 195"/>
                <a:gd name="T80" fmla="*/ 69 w 197"/>
                <a:gd name="T81" fmla="*/ 3 h 195"/>
                <a:gd name="T82" fmla="*/ 99 w 197"/>
                <a:gd name="T83"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7" h="195">
                  <a:moveTo>
                    <a:pt x="99" y="7"/>
                  </a:moveTo>
                  <a:lnTo>
                    <a:pt x="71" y="12"/>
                  </a:lnTo>
                  <a:lnTo>
                    <a:pt x="46" y="24"/>
                  </a:lnTo>
                  <a:lnTo>
                    <a:pt x="27" y="44"/>
                  </a:lnTo>
                  <a:lnTo>
                    <a:pt x="14" y="68"/>
                  </a:lnTo>
                  <a:lnTo>
                    <a:pt x="9" y="96"/>
                  </a:lnTo>
                  <a:lnTo>
                    <a:pt x="14" y="124"/>
                  </a:lnTo>
                  <a:lnTo>
                    <a:pt x="27" y="149"/>
                  </a:lnTo>
                  <a:lnTo>
                    <a:pt x="46" y="168"/>
                  </a:lnTo>
                  <a:lnTo>
                    <a:pt x="71" y="183"/>
                  </a:lnTo>
                  <a:lnTo>
                    <a:pt x="99" y="186"/>
                  </a:lnTo>
                  <a:lnTo>
                    <a:pt x="127" y="183"/>
                  </a:lnTo>
                  <a:lnTo>
                    <a:pt x="152" y="168"/>
                  </a:lnTo>
                  <a:lnTo>
                    <a:pt x="171" y="149"/>
                  </a:lnTo>
                  <a:lnTo>
                    <a:pt x="185" y="124"/>
                  </a:lnTo>
                  <a:lnTo>
                    <a:pt x="189" y="96"/>
                  </a:lnTo>
                  <a:lnTo>
                    <a:pt x="185" y="68"/>
                  </a:lnTo>
                  <a:lnTo>
                    <a:pt x="171" y="44"/>
                  </a:lnTo>
                  <a:lnTo>
                    <a:pt x="152" y="24"/>
                  </a:lnTo>
                  <a:lnTo>
                    <a:pt x="127" y="12"/>
                  </a:lnTo>
                  <a:lnTo>
                    <a:pt x="99" y="7"/>
                  </a:lnTo>
                  <a:close/>
                  <a:moveTo>
                    <a:pt x="99" y="0"/>
                  </a:moveTo>
                  <a:lnTo>
                    <a:pt x="131" y="3"/>
                  </a:lnTo>
                  <a:lnTo>
                    <a:pt x="157" y="17"/>
                  </a:lnTo>
                  <a:lnTo>
                    <a:pt x="178" y="38"/>
                  </a:lnTo>
                  <a:lnTo>
                    <a:pt x="192" y="66"/>
                  </a:lnTo>
                  <a:lnTo>
                    <a:pt x="197" y="96"/>
                  </a:lnTo>
                  <a:lnTo>
                    <a:pt x="192" y="128"/>
                  </a:lnTo>
                  <a:lnTo>
                    <a:pt x="178" y="154"/>
                  </a:lnTo>
                  <a:lnTo>
                    <a:pt x="157" y="176"/>
                  </a:lnTo>
                  <a:lnTo>
                    <a:pt x="131" y="190"/>
                  </a:lnTo>
                  <a:lnTo>
                    <a:pt x="99" y="195"/>
                  </a:lnTo>
                  <a:lnTo>
                    <a:pt x="69" y="190"/>
                  </a:lnTo>
                  <a:lnTo>
                    <a:pt x="41" y="176"/>
                  </a:lnTo>
                  <a:lnTo>
                    <a:pt x="20" y="154"/>
                  </a:lnTo>
                  <a:lnTo>
                    <a:pt x="6" y="128"/>
                  </a:lnTo>
                  <a:lnTo>
                    <a:pt x="0" y="96"/>
                  </a:lnTo>
                  <a:lnTo>
                    <a:pt x="6" y="66"/>
                  </a:lnTo>
                  <a:lnTo>
                    <a:pt x="20" y="38"/>
                  </a:lnTo>
                  <a:lnTo>
                    <a:pt x="41" y="17"/>
                  </a:lnTo>
                  <a:lnTo>
                    <a:pt x="69" y="3"/>
                  </a:lnTo>
                  <a:lnTo>
                    <a:pt x="99" y="0"/>
                  </a:lnTo>
                  <a:close/>
                </a:path>
              </a:pathLst>
            </a:custGeom>
            <a:solidFill>
              <a:srgbClr val="3AFD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69">
              <a:extLst>
                <a:ext uri="{FF2B5EF4-FFF2-40B4-BE49-F238E27FC236}">
                  <a16:creationId xmlns:a16="http://schemas.microsoft.com/office/drawing/2014/main" id="{D8791BCE-F29E-8C47-8B4E-2AB3DC6B5648}"/>
                </a:ext>
              </a:extLst>
            </p:cNvPr>
            <p:cNvSpPr>
              <a:spLocks/>
            </p:cNvSpPr>
            <p:nvPr/>
          </p:nvSpPr>
          <p:spPr bwMode="auto">
            <a:xfrm>
              <a:off x="4157663" y="2081213"/>
              <a:ext cx="430212" cy="377825"/>
            </a:xfrm>
            <a:custGeom>
              <a:avLst/>
              <a:gdLst>
                <a:gd name="T0" fmla="*/ 457 w 542"/>
                <a:gd name="T1" fmla="*/ 5 h 475"/>
                <a:gd name="T2" fmla="*/ 443 w 542"/>
                <a:gd name="T3" fmla="*/ 69 h 475"/>
                <a:gd name="T4" fmla="*/ 443 w 542"/>
                <a:gd name="T5" fmla="*/ 81 h 475"/>
                <a:gd name="T6" fmla="*/ 448 w 542"/>
                <a:gd name="T7" fmla="*/ 91 h 475"/>
                <a:gd name="T8" fmla="*/ 473 w 542"/>
                <a:gd name="T9" fmla="*/ 128 h 475"/>
                <a:gd name="T10" fmla="*/ 492 w 542"/>
                <a:gd name="T11" fmla="*/ 171 h 475"/>
                <a:gd name="T12" fmla="*/ 498 w 542"/>
                <a:gd name="T13" fmla="*/ 179 h 475"/>
                <a:gd name="T14" fmla="*/ 515 w 542"/>
                <a:gd name="T15" fmla="*/ 192 h 475"/>
                <a:gd name="T16" fmla="*/ 536 w 542"/>
                <a:gd name="T17" fmla="*/ 199 h 475"/>
                <a:gd name="T18" fmla="*/ 538 w 542"/>
                <a:gd name="T19" fmla="*/ 296 h 475"/>
                <a:gd name="T20" fmla="*/ 508 w 542"/>
                <a:gd name="T21" fmla="*/ 308 h 475"/>
                <a:gd name="T22" fmla="*/ 480 w 542"/>
                <a:gd name="T23" fmla="*/ 317 h 475"/>
                <a:gd name="T24" fmla="*/ 433 w 542"/>
                <a:gd name="T25" fmla="*/ 362 h 475"/>
                <a:gd name="T26" fmla="*/ 401 w 542"/>
                <a:gd name="T27" fmla="*/ 387 h 475"/>
                <a:gd name="T28" fmla="*/ 387 w 542"/>
                <a:gd name="T29" fmla="*/ 408 h 475"/>
                <a:gd name="T30" fmla="*/ 376 w 542"/>
                <a:gd name="T31" fmla="*/ 463 h 475"/>
                <a:gd name="T32" fmla="*/ 369 w 542"/>
                <a:gd name="T33" fmla="*/ 470 h 475"/>
                <a:gd name="T34" fmla="*/ 325 w 542"/>
                <a:gd name="T35" fmla="*/ 466 h 475"/>
                <a:gd name="T36" fmla="*/ 318 w 542"/>
                <a:gd name="T37" fmla="*/ 440 h 475"/>
                <a:gd name="T38" fmla="*/ 318 w 542"/>
                <a:gd name="T39" fmla="*/ 433 h 475"/>
                <a:gd name="T40" fmla="*/ 311 w 542"/>
                <a:gd name="T41" fmla="*/ 426 h 475"/>
                <a:gd name="T42" fmla="*/ 295 w 542"/>
                <a:gd name="T43" fmla="*/ 424 h 475"/>
                <a:gd name="T44" fmla="*/ 276 w 542"/>
                <a:gd name="T45" fmla="*/ 424 h 475"/>
                <a:gd name="T46" fmla="*/ 220 w 542"/>
                <a:gd name="T47" fmla="*/ 424 h 475"/>
                <a:gd name="T48" fmla="*/ 206 w 542"/>
                <a:gd name="T49" fmla="*/ 420 h 475"/>
                <a:gd name="T50" fmla="*/ 199 w 542"/>
                <a:gd name="T51" fmla="*/ 419 h 475"/>
                <a:gd name="T52" fmla="*/ 192 w 542"/>
                <a:gd name="T53" fmla="*/ 422 h 475"/>
                <a:gd name="T54" fmla="*/ 190 w 542"/>
                <a:gd name="T55" fmla="*/ 438 h 475"/>
                <a:gd name="T56" fmla="*/ 188 w 542"/>
                <a:gd name="T57" fmla="*/ 468 h 475"/>
                <a:gd name="T58" fmla="*/ 170 w 542"/>
                <a:gd name="T59" fmla="*/ 475 h 475"/>
                <a:gd name="T60" fmla="*/ 132 w 542"/>
                <a:gd name="T61" fmla="*/ 464 h 475"/>
                <a:gd name="T62" fmla="*/ 125 w 542"/>
                <a:gd name="T63" fmla="*/ 413 h 475"/>
                <a:gd name="T64" fmla="*/ 111 w 542"/>
                <a:gd name="T65" fmla="*/ 380 h 475"/>
                <a:gd name="T66" fmla="*/ 95 w 542"/>
                <a:gd name="T67" fmla="*/ 369 h 475"/>
                <a:gd name="T68" fmla="*/ 60 w 542"/>
                <a:gd name="T69" fmla="*/ 332 h 475"/>
                <a:gd name="T70" fmla="*/ 24 w 542"/>
                <a:gd name="T71" fmla="*/ 260 h 475"/>
                <a:gd name="T72" fmla="*/ 28 w 542"/>
                <a:gd name="T73" fmla="*/ 158 h 475"/>
                <a:gd name="T74" fmla="*/ 19 w 542"/>
                <a:gd name="T75" fmla="*/ 149 h 475"/>
                <a:gd name="T76" fmla="*/ 2 w 542"/>
                <a:gd name="T77" fmla="*/ 111 h 475"/>
                <a:gd name="T78" fmla="*/ 0 w 542"/>
                <a:gd name="T79" fmla="*/ 86 h 475"/>
                <a:gd name="T80" fmla="*/ 31 w 542"/>
                <a:gd name="T81" fmla="*/ 116 h 475"/>
                <a:gd name="T82" fmla="*/ 51 w 542"/>
                <a:gd name="T83" fmla="*/ 116 h 475"/>
                <a:gd name="T84" fmla="*/ 81 w 542"/>
                <a:gd name="T85" fmla="*/ 83 h 475"/>
                <a:gd name="T86" fmla="*/ 142 w 542"/>
                <a:gd name="T87" fmla="*/ 39 h 475"/>
                <a:gd name="T88" fmla="*/ 237 w 542"/>
                <a:gd name="T89" fmla="*/ 14 h 475"/>
                <a:gd name="T90" fmla="*/ 369 w 542"/>
                <a:gd name="T91" fmla="*/ 37 h 475"/>
                <a:gd name="T92" fmla="*/ 455 w 542"/>
                <a:gd name="T93"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2" h="475">
                  <a:moveTo>
                    <a:pt x="455" y="0"/>
                  </a:moveTo>
                  <a:lnTo>
                    <a:pt x="457" y="2"/>
                  </a:lnTo>
                  <a:lnTo>
                    <a:pt x="457" y="5"/>
                  </a:lnTo>
                  <a:lnTo>
                    <a:pt x="443" y="69"/>
                  </a:lnTo>
                  <a:lnTo>
                    <a:pt x="443" y="69"/>
                  </a:lnTo>
                  <a:lnTo>
                    <a:pt x="443" y="69"/>
                  </a:lnTo>
                  <a:lnTo>
                    <a:pt x="443" y="72"/>
                  </a:lnTo>
                  <a:lnTo>
                    <a:pt x="443" y="77"/>
                  </a:lnTo>
                  <a:lnTo>
                    <a:pt x="443" y="81"/>
                  </a:lnTo>
                  <a:lnTo>
                    <a:pt x="443" y="84"/>
                  </a:lnTo>
                  <a:lnTo>
                    <a:pt x="447" y="88"/>
                  </a:lnTo>
                  <a:lnTo>
                    <a:pt x="448" y="91"/>
                  </a:lnTo>
                  <a:lnTo>
                    <a:pt x="454" y="98"/>
                  </a:lnTo>
                  <a:lnTo>
                    <a:pt x="463" y="111"/>
                  </a:lnTo>
                  <a:lnTo>
                    <a:pt x="473" y="128"/>
                  </a:lnTo>
                  <a:lnTo>
                    <a:pt x="482" y="148"/>
                  </a:lnTo>
                  <a:lnTo>
                    <a:pt x="492" y="169"/>
                  </a:lnTo>
                  <a:lnTo>
                    <a:pt x="492" y="171"/>
                  </a:lnTo>
                  <a:lnTo>
                    <a:pt x="494" y="172"/>
                  </a:lnTo>
                  <a:lnTo>
                    <a:pt x="496" y="176"/>
                  </a:lnTo>
                  <a:lnTo>
                    <a:pt x="498" y="179"/>
                  </a:lnTo>
                  <a:lnTo>
                    <a:pt x="503" y="185"/>
                  </a:lnTo>
                  <a:lnTo>
                    <a:pt x="508" y="188"/>
                  </a:lnTo>
                  <a:lnTo>
                    <a:pt x="515" y="192"/>
                  </a:lnTo>
                  <a:lnTo>
                    <a:pt x="515" y="192"/>
                  </a:lnTo>
                  <a:lnTo>
                    <a:pt x="536" y="197"/>
                  </a:lnTo>
                  <a:lnTo>
                    <a:pt x="536" y="199"/>
                  </a:lnTo>
                  <a:lnTo>
                    <a:pt x="542" y="292"/>
                  </a:lnTo>
                  <a:lnTo>
                    <a:pt x="542" y="292"/>
                  </a:lnTo>
                  <a:lnTo>
                    <a:pt x="538" y="296"/>
                  </a:lnTo>
                  <a:lnTo>
                    <a:pt x="531" y="301"/>
                  </a:lnTo>
                  <a:lnTo>
                    <a:pt x="521" y="306"/>
                  </a:lnTo>
                  <a:lnTo>
                    <a:pt x="508" y="308"/>
                  </a:lnTo>
                  <a:lnTo>
                    <a:pt x="505" y="308"/>
                  </a:lnTo>
                  <a:lnTo>
                    <a:pt x="494" y="310"/>
                  </a:lnTo>
                  <a:lnTo>
                    <a:pt x="480" y="317"/>
                  </a:lnTo>
                  <a:lnTo>
                    <a:pt x="463" y="329"/>
                  </a:lnTo>
                  <a:lnTo>
                    <a:pt x="463" y="329"/>
                  </a:lnTo>
                  <a:lnTo>
                    <a:pt x="433" y="362"/>
                  </a:lnTo>
                  <a:lnTo>
                    <a:pt x="433" y="362"/>
                  </a:lnTo>
                  <a:lnTo>
                    <a:pt x="401" y="387"/>
                  </a:lnTo>
                  <a:lnTo>
                    <a:pt x="401" y="387"/>
                  </a:lnTo>
                  <a:lnTo>
                    <a:pt x="399" y="389"/>
                  </a:lnTo>
                  <a:lnTo>
                    <a:pt x="394" y="396"/>
                  </a:lnTo>
                  <a:lnTo>
                    <a:pt x="387" y="408"/>
                  </a:lnTo>
                  <a:lnTo>
                    <a:pt x="380" y="426"/>
                  </a:lnTo>
                  <a:lnTo>
                    <a:pt x="380" y="426"/>
                  </a:lnTo>
                  <a:lnTo>
                    <a:pt x="376" y="463"/>
                  </a:lnTo>
                  <a:lnTo>
                    <a:pt x="375" y="466"/>
                  </a:lnTo>
                  <a:lnTo>
                    <a:pt x="373" y="468"/>
                  </a:lnTo>
                  <a:lnTo>
                    <a:pt x="369" y="470"/>
                  </a:lnTo>
                  <a:lnTo>
                    <a:pt x="331" y="470"/>
                  </a:lnTo>
                  <a:lnTo>
                    <a:pt x="329" y="470"/>
                  </a:lnTo>
                  <a:lnTo>
                    <a:pt x="325" y="466"/>
                  </a:lnTo>
                  <a:lnTo>
                    <a:pt x="325" y="464"/>
                  </a:lnTo>
                  <a:lnTo>
                    <a:pt x="318" y="440"/>
                  </a:lnTo>
                  <a:lnTo>
                    <a:pt x="318" y="440"/>
                  </a:lnTo>
                  <a:lnTo>
                    <a:pt x="318" y="438"/>
                  </a:lnTo>
                  <a:lnTo>
                    <a:pt x="318" y="436"/>
                  </a:lnTo>
                  <a:lnTo>
                    <a:pt x="318" y="433"/>
                  </a:lnTo>
                  <a:lnTo>
                    <a:pt x="316" y="431"/>
                  </a:lnTo>
                  <a:lnTo>
                    <a:pt x="315" y="427"/>
                  </a:lnTo>
                  <a:lnTo>
                    <a:pt x="311" y="426"/>
                  </a:lnTo>
                  <a:lnTo>
                    <a:pt x="308" y="424"/>
                  </a:lnTo>
                  <a:lnTo>
                    <a:pt x="302" y="422"/>
                  </a:lnTo>
                  <a:lnTo>
                    <a:pt x="295" y="424"/>
                  </a:lnTo>
                  <a:lnTo>
                    <a:pt x="295" y="424"/>
                  </a:lnTo>
                  <a:lnTo>
                    <a:pt x="290" y="424"/>
                  </a:lnTo>
                  <a:lnTo>
                    <a:pt x="276" y="424"/>
                  </a:lnTo>
                  <a:lnTo>
                    <a:pt x="257" y="426"/>
                  </a:lnTo>
                  <a:lnTo>
                    <a:pt x="237" y="426"/>
                  </a:lnTo>
                  <a:lnTo>
                    <a:pt x="220" y="424"/>
                  </a:lnTo>
                  <a:lnTo>
                    <a:pt x="207" y="420"/>
                  </a:lnTo>
                  <a:lnTo>
                    <a:pt x="207" y="420"/>
                  </a:lnTo>
                  <a:lnTo>
                    <a:pt x="206" y="420"/>
                  </a:lnTo>
                  <a:lnTo>
                    <a:pt x="204" y="419"/>
                  </a:lnTo>
                  <a:lnTo>
                    <a:pt x="200" y="419"/>
                  </a:lnTo>
                  <a:lnTo>
                    <a:pt x="199" y="419"/>
                  </a:lnTo>
                  <a:lnTo>
                    <a:pt x="197" y="419"/>
                  </a:lnTo>
                  <a:lnTo>
                    <a:pt x="193" y="420"/>
                  </a:lnTo>
                  <a:lnTo>
                    <a:pt x="192" y="422"/>
                  </a:lnTo>
                  <a:lnTo>
                    <a:pt x="190" y="426"/>
                  </a:lnTo>
                  <a:lnTo>
                    <a:pt x="190" y="431"/>
                  </a:lnTo>
                  <a:lnTo>
                    <a:pt x="190" y="438"/>
                  </a:lnTo>
                  <a:lnTo>
                    <a:pt x="190" y="438"/>
                  </a:lnTo>
                  <a:lnTo>
                    <a:pt x="188" y="464"/>
                  </a:lnTo>
                  <a:lnTo>
                    <a:pt x="188" y="468"/>
                  </a:lnTo>
                  <a:lnTo>
                    <a:pt x="185" y="470"/>
                  </a:lnTo>
                  <a:lnTo>
                    <a:pt x="183" y="471"/>
                  </a:lnTo>
                  <a:lnTo>
                    <a:pt x="170" y="475"/>
                  </a:lnTo>
                  <a:lnTo>
                    <a:pt x="155" y="473"/>
                  </a:lnTo>
                  <a:lnTo>
                    <a:pt x="133" y="466"/>
                  </a:lnTo>
                  <a:lnTo>
                    <a:pt x="132" y="464"/>
                  </a:lnTo>
                  <a:lnTo>
                    <a:pt x="130" y="461"/>
                  </a:lnTo>
                  <a:lnTo>
                    <a:pt x="125" y="417"/>
                  </a:lnTo>
                  <a:lnTo>
                    <a:pt x="125" y="413"/>
                  </a:lnTo>
                  <a:lnTo>
                    <a:pt x="123" y="405"/>
                  </a:lnTo>
                  <a:lnTo>
                    <a:pt x="118" y="392"/>
                  </a:lnTo>
                  <a:lnTo>
                    <a:pt x="111" y="380"/>
                  </a:lnTo>
                  <a:lnTo>
                    <a:pt x="97" y="371"/>
                  </a:lnTo>
                  <a:lnTo>
                    <a:pt x="97" y="371"/>
                  </a:lnTo>
                  <a:lnTo>
                    <a:pt x="95" y="369"/>
                  </a:lnTo>
                  <a:lnTo>
                    <a:pt x="86" y="362"/>
                  </a:lnTo>
                  <a:lnTo>
                    <a:pt x="74" y="350"/>
                  </a:lnTo>
                  <a:lnTo>
                    <a:pt x="60" y="332"/>
                  </a:lnTo>
                  <a:lnTo>
                    <a:pt x="47" y="313"/>
                  </a:lnTo>
                  <a:lnTo>
                    <a:pt x="33" y="288"/>
                  </a:lnTo>
                  <a:lnTo>
                    <a:pt x="24" y="260"/>
                  </a:lnTo>
                  <a:lnTo>
                    <a:pt x="19" y="229"/>
                  </a:lnTo>
                  <a:lnTo>
                    <a:pt x="19" y="195"/>
                  </a:lnTo>
                  <a:lnTo>
                    <a:pt x="28" y="158"/>
                  </a:lnTo>
                  <a:lnTo>
                    <a:pt x="28" y="156"/>
                  </a:lnTo>
                  <a:lnTo>
                    <a:pt x="24" y="155"/>
                  </a:lnTo>
                  <a:lnTo>
                    <a:pt x="19" y="149"/>
                  </a:lnTo>
                  <a:lnTo>
                    <a:pt x="12" y="142"/>
                  </a:lnTo>
                  <a:lnTo>
                    <a:pt x="7" y="128"/>
                  </a:lnTo>
                  <a:lnTo>
                    <a:pt x="2" y="111"/>
                  </a:lnTo>
                  <a:lnTo>
                    <a:pt x="0" y="86"/>
                  </a:lnTo>
                  <a:lnTo>
                    <a:pt x="0" y="86"/>
                  </a:lnTo>
                  <a:lnTo>
                    <a:pt x="0" y="86"/>
                  </a:lnTo>
                  <a:lnTo>
                    <a:pt x="5" y="95"/>
                  </a:lnTo>
                  <a:lnTo>
                    <a:pt x="16" y="107"/>
                  </a:lnTo>
                  <a:lnTo>
                    <a:pt x="31" y="116"/>
                  </a:lnTo>
                  <a:lnTo>
                    <a:pt x="49" y="120"/>
                  </a:lnTo>
                  <a:lnTo>
                    <a:pt x="49" y="120"/>
                  </a:lnTo>
                  <a:lnTo>
                    <a:pt x="51" y="116"/>
                  </a:lnTo>
                  <a:lnTo>
                    <a:pt x="58" y="107"/>
                  </a:lnTo>
                  <a:lnTo>
                    <a:pt x="67" y="97"/>
                  </a:lnTo>
                  <a:lnTo>
                    <a:pt x="81" y="83"/>
                  </a:lnTo>
                  <a:lnTo>
                    <a:pt x="97" y="67"/>
                  </a:lnTo>
                  <a:lnTo>
                    <a:pt x="118" y="53"/>
                  </a:lnTo>
                  <a:lnTo>
                    <a:pt x="142" y="39"/>
                  </a:lnTo>
                  <a:lnTo>
                    <a:pt x="170" y="26"/>
                  </a:lnTo>
                  <a:lnTo>
                    <a:pt x="202" y="17"/>
                  </a:lnTo>
                  <a:lnTo>
                    <a:pt x="237" y="14"/>
                  </a:lnTo>
                  <a:lnTo>
                    <a:pt x="278" y="14"/>
                  </a:lnTo>
                  <a:lnTo>
                    <a:pt x="322" y="23"/>
                  </a:lnTo>
                  <a:lnTo>
                    <a:pt x="369" y="37"/>
                  </a:lnTo>
                  <a:lnTo>
                    <a:pt x="369" y="37"/>
                  </a:lnTo>
                  <a:lnTo>
                    <a:pt x="452" y="0"/>
                  </a:lnTo>
                  <a:lnTo>
                    <a:pt x="455"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70">
              <a:extLst>
                <a:ext uri="{FF2B5EF4-FFF2-40B4-BE49-F238E27FC236}">
                  <a16:creationId xmlns:a16="http://schemas.microsoft.com/office/drawing/2014/main" id="{9D176FC1-D67C-9645-80B9-648AE62A116C}"/>
                </a:ext>
              </a:extLst>
            </p:cNvPr>
            <p:cNvSpPr>
              <a:spLocks noEditPoints="1"/>
            </p:cNvSpPr>
            <p:nvPr/>
          </p:nvSpPr>
          <p:spPr bwMode="auto">
            <a:xfrm>
              <a:off x="4430713" y="2170113"/>
              <a:ext cx="34925" cy="47625"/>
            </a:xfrm>
            <a:custGeom>
              <a:avLst/>
              <a:gdLst>
                <a:gd name="T0" fmla="*/ 28 w 44"/>
                <a:gd name="T1" fmla="*/ 49 h 60"/>
                <a:gd name="T2" fmla="*/ 24 w 44"/>
                <a:gd name="T3" fmla="*/ 51 h 60"/>
                <a:gd name="T4" fmla="*/ 26 w 44"/>
                <a:gd name="T5" fmla="*/ 47 h 60"/>
                <a:gd name="T6" fmla="*/ 19 w 44"/>
                <a:gd name="T7" fmla="*/ 49 h 60"/>
                <a:gd name="T8" fmla="*/ 16 w 44"/>
                <a:gd name="T9" fmla="*/ 51 h 60"/>
                <a:gd name="T10" fmla="*/ 17 w 44"/>
                <a:gd name="T11" fmla="*/ 47 h 60"/>
                <a:gd name="T12" fmla="*/ 12 w 44"/>
                <a:gd name="T13" fmla="*/ 49 h 60"/>
                <a:gd name="T14" fmla="*/ 9 w 44"/>
                <a:gd name="T15" fmla="*/ 51 h 60"/>
                <a:gd name="T16" fmla="*/ 10 w 44"/>
                <a:gd name="T17" fmla="*/ 47 h 60"/>
                <a:gd name="T18" fmla="*/ 35 w 44"/>
                <a:gd name="T19" fmla="*/ 40 h 60"/>
                <a:gd name="T20" fmla="*/ 33 w 44"/>
                <a:gd name="T21" fmla="*/ 51 h 60"/>
                <a:gd name="T22" fmla="*/ 32 w 44"/>
                <a:gd name="T23" fmla="*/ 40 h 60"/>
                <a:gd name="T24" fmla="*/ 26 w 44"/>
                <a:gd name="T25" fmla="*/ 38 h 60"/>
                <a:gd name="T26" fmla="*/ 26 w 44"/>
                <a:gd name="T27" fmla="*/ 42 h 60"/>
                <a:gd name="T28" fmla="*/ 23 w 44"/>
                <a:gd name="T29" fmla="*/ 40 h 60"/>
                <a:gd name="T30" fmla="*/ 17 w 44"/>
                <a:gd name="T31" fmla="*/ 38 h 60"/>
                <a:gd name="T32" fmla="*/ 19 w 44"/>
                <a:gd name="T33" fmla="*/ 42 h 60"/>
                <a:gd name="T34" fmla="*/ 16 w 44"/>
                <a:gd name="T35" fmla="*/ 40 h 60"/>
                <a:gd name="T36" fmla="*/ 10 w 44"/>
                <a:gd name="T37" fmla="*/ 38 h 60"/>
                <a:gd name="T38" fmla="*/ 10 w 44"/>
                <a:gd name="T39" fmla="*/ 42 h 60"/>
                <a:gd name="T40" fmla="*/ 7 w 44"/>
                <a:gd name="T41" fmla="*/ 40 h 60"/>
                <a:gd name="T42" fmla="*/ 33 w 44"/>
                <a:gd name="T43" fmla="*/ 31 h 60"/>
                <a:gd name="T44" fmla="*/ 35 w 44"/>
                <a:gd name="T45" fmla="*/ 35 h 60"/>
                <a:gd name="T46" fmla="*/ 32 w 44"/>
                <a:gd name="T47" fmla="*/ 33 h 60"/>
                <a:gd name="T48" fmla="*/ 26 w 44"/>
                <a:gd name="T49" fmla="*/ 31 h 60"/>
                <a:gd name="T50" fmla="*/ 26 w 44"/>
                <a:gd name="T51" fmla="*/ 35 h 60"/>
                <a:gd name="T52" fmla="*/ 23 w 44"/>
                <a:gd name="T53" fmla="*/ 33 h 60"/>
                <a:gd name="T54" fmla="*/ 17 w 44"/>
                <a:gd name="T55" fmla="*/ 31 h 60"/>
                <a:gd name="T56" fmla="*/ 19 w 44"/>
                <a:gd name="T57" fmla="*/ 35 h 60"/>
                <a:gd name="T58" fmla="*/ 16 w 44"/>
                <a:gd name="T59" fmla="*/ 33 h 60"/>
                <a:gd name="T60" fmla="*/ 10 w 44"/>
                <a:gd name="T61" fmla="*/ 31 h 60"/>
                <a:gd name="T62" fmla="*/ 10 w 44"/>
                <a:gd name="T63" fmla="*/ 35 h 60"/>
                <a:gd name="T64" fmla="*/ 7 w 44"/>
                <a:gd name="T65" fmla="*/ 33 h 60"/>
                <a:gd name="T66" fmla="*/ 33 w 44"/>
                <a:gd name="T67" fmla="*/ 23 h 60"/>
                <a:gd name="T68" fmla="*/ 35 w 44"/>
                <a:gd name="T69" fmla="*/ 26 h 60"/>
                <a:gd name="T70" fmla="*/ 32 w 44"/>
                <a:gd name="T71" fmla="*/ 24 h 60"/>
                <a:gd name="T72" fmla="*/ 26 w 44"/>
                <a:gd name="T73" fmla="*/ 23 h 60"/>
                <a:gd name="T74" fmla="*/ 26 w 44"/>
                <a:gd name="T75" fmla="*/ 26 h 60"/>
                <a:gd name="T76" fmla="*/ 23 w 44"/>
                <a:gd name="T77" fmla="*/ 24 h 60"/>
                <a:gd name="T78" fmla="*/ 17 w 44"/>
                <a:gd name="T79" fmla="*/ 23 h 60"/>
                <a:gd name="T80" fmla="*/ 19 w 44"/>
                <a:gd name="T81" fmla="*/ 26 h 60"/>
                <a:gd name="T82" fmla="*/ 16 w 44"/>
                <a:gd name="T83" fmla="*/ 24 h 60"/>
                <a:gd name="T84" fmla="*/ 10 w 44"/>
                <a:gd name="T85" fmla="*/ 23 h 60"/>
                <a:gd name="T86" fmla="*/ 10 w 44"/>
                <a:gd name="T87" fmla="*/ 26 h 60"/>
                <a:gd name="T88" fmla="*/ 7 w 44"/>
                <a:gd name="T89" fmla="*/ 24 h 60"/>
                <a:gd name="T90" fmla="*/ 12 w 44"/>
                <a:gd name="T91" fmla="*/ 10 h 60"/>
                <a:gd name="T92" fmla="*/ 32 w 44"/>
                <a:gd name="T93" fmla="*/ 10 h 60"/>
                <a:gd name="T94" fmla="*/ 33 w 44"/>
                <a:gd name="T95" fmla="*/ 7 h 60"/>
                <a:gd name="T96" fmla="*/ 35 w 44"/>
                <a:gd name="T97" fmla="*/ 17 h 60"/>
                <a:gd name="T98" fmla="*/ 10 w 44"/>
                <a:gd name="T99" fmla="*/ 19 h 60"/>
                <a:gd name="T100" fmla="*/ 7 w 44"/>
                <a:gd name="T101" fmla="*/ 9 h 60"/>
                <a:gd name="T102" fmla="*/ 3 w 44"/>
                <a:gd name="T103" fmla="*/ 3 h 60"/>
                <a:gd name="T104" fmla="*/ 40 w 44"/>
                <a:gd name="T105" fmla="*/ 3 h 60"/>
                <a:gd name="T106" fmla="*/ 42 w 44"/>
                <a:gd name="T107" fmla="*/ 0 h 60"/>
                <a:gd name="T108" fmla="*/ 44 w 44"/>
                <a:gd name="T109" fmla="*/ 56 h 60"/>
                <a:gd name="T110" fmla="*/ 2 w 44"/>
                <a:gd name="T111" fmla="*/ 60 h 60"/>
                <a:gd name="T112" fmla="*/ 0 w 44"/>
                <a:gd name="T113"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60">
                  <a:moveTo>
                    <a:pt x="26" y="47"/>
                  </a:moveTo>
                  <a:lnTo>
                    <a:pt x="26" y="47"/>
                  </a:lnTo>
                  <a:lnTo>
                    <a:pt x="28" y="49"/>
                  </a:lnTo>
                  <a:lnTo>
                    <a:pt x="26" y="51"/>
                  </a:lnTo>
                  <a:lnTo>
                    <a:pt x="26" y="51"/>
                  </a:lnTo>
                  <a:lnTo>
                    <a:pt x="24" y="51"/>
                  </a:lnTo>
                  <a:lnTo>
                    <a:pt x="23" y="49"/>
                  </a:lnTo>
                  <a:lnTo>
                    <a:pt x="24" y="47"/>
                  </a:lnTo>
                  <a:lnTo>
                    <a:pt x="26" y="47"/>
                  </a:lnTo>
                  <a:close/>
                  <a:moveTo>
                    <a:pt x="17" y="47"/>
                  </a:moveTo>
                  <a:lnTo>
                    <a:pt x="19" y="47"/>
                  </a:lnTo>
                  <a:lnTo>
                    <a:pt x="19" y="49"/>
                  </a:lnTo>
                  <a:lnTo>
                    <a:pt x="19" y="51"/>
                  </a:lnTo>
                  <a:lnTo>
                    <a:pt x="17" y="51"/>
                  </a:lnTo>
                  <a:lnTo>
                    <a:pt x="16" y="51"/>
                  </a:lnTo>
                  <a:lnTo>
                    <a:pt x="16" y="49"/>
                  </a:lnTo>
                  <a:lnTo>
                    <a:pt x="16" y="47"/>
                  </a:lnTo>
                  <a:lnTo>
                    <a:pt x="17" y="47"/>
                  </a:lnTo>
                  <a:close/>
                  <a:moveTo>
                    <a:pt x="10" y="47"/>
                  </a:moveTo>
                  <a:lnTo>
                    <a:pt x="10" y="47"/>
                  </a:lnTo>
                  <a:lnTo>
                    <a:pt x="12" y="49"/>
                  </a:lnTo>
                  <a:lnTo>
                    <a:pt x="10" y="51"/>
                  </a:lnTo>
                  <a:lnTo>
                    <a:pt x="10" y="51"/>
                  </a:lnTo>
                  <a:lnTo>
                    <a:pt x="9" y="51"/>
                  </a:lnTo>
                  <a:lnTo>
                    <a:pt x="7" y="49"/>
                  </a:lnTo>
                  <a:lnTo>
                    <a:pt x="9" y="47"/>
                  </a:lnTo>
                  <a:lnTo>
                    <a:pt x="10" y="47"/>
                  </a:lnTo>
                  <a:close/>
                  <a:moveTo>
                    <a:pt x="33" y="38"/>
                  </a:moveTo>
                  <a:lnTo>
                    <a:pt x="35" y="40"/>
                  </a:lnTo>
                  <a:lnTo>
                    <a:pt x="35" y="40"/>
                  </a:lnTo>
                  <a:lnTo>
                    <a:pt x="35" y="49"/>
                  </a:lnTo>
                  <a:lnTo>
                    <a:pt x="35" y="51"/>
                  </a:lnTo>
                  <a:lnTo>
                    <a:pt x="33" y="51"/>
                  </a:lnTo>
                  <a:lnTo>
                    <a:pt x="32" y="51"/>
                  </a:lnTo>
                  <a:lnTo>
                    <a:pt x="32" y="49"/>
                  </a:lnTo>
                  <a:lnTo>
                    <a:pt x="32" y="40"/>
                  </a:lnTo>
                  <a:lnTo>
                    <a:pt x="32" y="40"/>
                  </a:lnTo>
                  <a:lnTo>
                    <a:pt x="33" y="38"/>
                  </a:lnTo>
                  <a:close/>
                  <a:moveTo>
                    <a:pt x="26" y="38"/>
                  </a:moveTo>
                  <a:lnTo>
                    <a:pt x="26" y="40"/>
                  </a:lnTo>
                  <a:lnTo>
                    <a:pt x="28" y="40"/>
                  </a:lnTo>
                  <a:lnTo>
                    <a:pt x="26" y="42"/>
                  </a:lnTo>
                  <a:lnTo>
                    <a:pt x="26" y="42"/>
                  </a:lnTo>
                  <a:lnTo>
                    <a:pt x="24" y="42"/>
                  </a:lnTo>
                  <a:lnTo>
                    <a:pt x="23" y="40"/>
                  </a:lnTo>
                  <a:lnTo>
                    <a:pt x="24" y="40"/>
                  </a:lnTo>
                  <a:lnTo>
                    <a:pt x="26" y="38"/>
                  </a:lnTo>
                  <a:close/>
                  <a:moveTo>
                    <a:pt x="17" y="38"/>
                  </a:moveTo>
                  <a:lnTo>
                    <a:pt x="19" y="40"/>
                  </a:lnTo>
                  <a:lnTo>
                    <a:pt x="19" y="40"/>
                  </a:lnTo>
                  <a:lnTo>
                    <a:pt x="19" y="42"/>
                  </a:lnTo>
                  <a:lnTo>
                    <a:pt x="17" y="42"/>
                  </a:lnTo>
                  <a:lnTo>
                    <a:pt x="16" y="42"/>
                  </a:lnTo>
                  <a:lnTo>
                    <a:pt x="16" y="40"/>
                  </a:lnTo>
                  <a:lnTo>
                    <a:pt x="16" y="40"/>
                  </a:lnTo>
                  <a:lnTo>
                    <a:pt x="17" y="38"/>
                  </a:lnTo>
                  <a:close/>
                  <a:moveTo>
                    <a:pt x="10" y="38"/>
                  </a:moveTo>
                  <a:lnTo>
                    <a:pt x="10" y="40"/>
                  </a:lnTo>
                  <a:lnTo>
                    <a:pt x="12" y="40"/>
                  </a:lnTo>
                  <a:lnTo>
                    <a:pt x="10" y="42"/>
                  </a:lnTo>
                  <a:lnTo>
                    <a:pt x="10" y="42"/>
                  </a:lnTo>
                  <a:lnTo>
                    <a:pt x="9" y="42"/>
                  </a:lnTo>
                  <a:lnTo>
                    <a:pt x="7" y="40"/>
                  </a:lnTo>
                  <a:lnTo>
                    <a:pt x="9" y="40"/>
                  </a:lnTo>
                  <a:lnTo>
                    <a:pt x="10" y="38"/>
                  </a:lnTo>
                  <a:close/>
                  <a:moveTo>
                    <a:pt x="33" y="31"/>
                  </a:moveTo>
                  <a:lnTo>
                    <a:pt x="35" y="31"/>
                  </a:lnTo>
                  <a:lnTo>
                    <a:pt x="35" y="33"/>
                  </a:lnTo>
                  <a:lnTo>
                    <a:pt x="35" y="35"/>
                  </a:lnTo>
                  <a:lnTo>
                    <a:pt x="33" y="35"/>
                  </a:lnTo>
                  <a:lnTo>
                    <a:pt x="32" y="35"/>
                  </a:lnTo>
                  <a:lnTo>
                    <a:pt x="32" y="33"/>
                  </a:lnTo>
                  <a:lnTo>
                    <a:pt x="32" y="31"/>
                  </a:lnTo>
                  <a:lnTo>
                    <a:pt x="33" y="31"/>
                  </a:lnTo>
                  <a:close/>
                  <a:moveTo>
                    <a:pt x="26" y="31"/>
                  </a:moveTo>
                  <a:lnTo>
                    <a:pt x="26" y="31"/>
                  </a:lnTo>
                  <a:lnTo>
                    <a:pt x="28" y="33"/>
                  </a:lnTo>
                  <a:lnTo>
                    <a:pt x="26" y="35"/>
                  </a:lnTo>
                  <a:lnTo>
                    <a:pt x="26" y="35"/>
                  </a:lnTo>
                  <a:lnTo>
                    <a:pt x="24" y="35"/>
                  </a:lnTo>
                  <a:lnTo>
                    <a:pt x="23" y="33"/>
                  </a:lnTo>
                  <a:lnTo>
                    <a:pt x="24" y="31"/>
                  </a:lnTo>
                  <a:lnTo>
                    <a:pt x="26" y="31"/>
                  </a:lnTo>
                  <a:close/>
                  <a:moveTo>
                    <a:pt x="17" y="31"/>
                  </a:moveTo>
                  <a:lnTo>
                    <a:pt x="19" y="31"/>
                  </a:lnTo>
                  <a:lnTo>
                    <a:pt x="19" y="33"/>
                  </a:lnTo>
                  <a:lnTo>
                    <a:pt x="19" y="35"/>
                  </a:lnTo>
                  <a:lnTo>
                    <a:pt x="17" y="35"/>
                  </a:lnTo>
                  <a:lnTo>
                    <a:pt x="16" y="35"/>
                  </a:lnTo>
                  <a:lnTo>
                    <a:pt x="16" y="33"/>
                  </a:lnTo>
                  <a:lnTo>
                    <a:pt x="16" y="31"/>
                  </a:lnTo>
                  <a:lnTo>
                    <a:pt x="17" y="31"/>
                  </a:lnTo>
                  <a:close/>
                  <a:moveTo>
                    <a:pt x="10" y="31"/>
                  </a:moveTo>
                  <a:lnTo>
                    <a:pt x="10" y="31"/>
                  </a:lnTo>
                  <a:lnTo>
                    <a:pt x="12" y="33"/>
                  </a:lnTo>
                  <a:lnTo>
                    <a:pt x="10" y="35"/>
                  </a:lnTo>
                  <a:lnTo>
                    <a:pt x="10" y="35"/>
                  </a:lnTo>
                  <a:lnTo>
                    <a:pt x="9" y="35"/>
                  </a:lnTo>
                  <a:lnTo>
                    <a:pt x="7" y="33"/>
                  </a:lnTo>
                  <a:lnTo>
                    <a:pt x="9" y="31"/>
                  </a:lnTo>
                  <a:lnTo>
                    <a:pt x="10" y="31"/>
                  </a:lnTo>
                  <a:close/>
                  <a:moveTo>
                    <a:pt x="33" y="23"/>
                  </a:moveTo>
                  <a:lnTo>
                    <a:pt x="35" y="24"/>
                  </a:lnTo>
                  <a:lnTo>
                    <a:pt x="35" y="24"/>
                  </a:lnTo>
                  <a:lnTo>
                    <a:pt x="35" y="26"/>
                  </a:lnTo>
                  <a:lnTo>
                    <a:pt x="33" y="26"/>
                  </a:lnTo>
                  <a:lnTo>
                    <a:pt x="32" y="26"/>
                  </a:lnTo>
                  <a:lnTo>
                    <a:pt x="32" y="24"/>
                  </a:lnTo>
                  <a:lnTo>
                    <a:pt x="32" y="24"/>
                  </a:lnTo>
                  <a:lnTo>
                    <a:pt x="33" y="23"/>
                  </a:lnTo>
                  <a:close/>
                  <a:moveTo>
                    <a:pt x="26" y="23"/>
                  </a:moveTo>
                  <a:lnTo>
                    <a:pt x="26" y="24"/>
                  </a:lnTo>
                  <a:lnTo>
                    <a:pt x="28" y="24"/>
                  </a:lnTo>
                  <a:lnTo>
                    <a:pt x="26" y="26"/>
                  </a:lnTo>
                  <a:lnTo>
                    <a:pt x="26" y="26"/>
                  </a:lnTo>
                  <a:lnTo>
                    <a:pt x="24" y="26"/>
                  </a:lnTo>
                  <a:lnTo>
                    <a:pt x="23" y="24"/>
                  </a:lnTo>
                  <a:lnTo>
                    <a:pt x="24" y="24"/>
                  </a:lnTo>
                  <a:lnTo>
                    <a:pt x="26" y="23"/>
                  </a:lnTo>
                  <a:close/>
                  <a:moveTo>
                    <a:pt x="17" y="23"/>
                  </a:moveTo>
                  <a:lnTo>
                    <a:pt x="19" y="24"/>
                  </a:lnTo>
                  <a:lnTo>
                    <a:pt x="19" y="24"/>
                  </a:lnTo>
                  <a:lnTo>
                    <a:pt x="19" y="26"/>
                  </a:lnTo>
                  <a:lnTo>
                    <a:pt x="17" y="26"/>
                  </a:lnTo>
                  <a:lnTo>
                    <a:pt x="16" y="26"/>
                  </a:lnTo>
                  <a:lnTo>
                    <a:pt x="16" y="24"/>
                  </a:lnTo>
                  <a:lnTo>
                    <a:pt x="16" y="24"/>
                  </a:lnTo>
                  <a:lnTo>
                    <a:pt x="17" y="23"/>
                  </a:lnTo>
                  <a:close/>
                  <a:moveTo>
                    <a:pt x="10" y="23"/>
                  </a:moveTo>
                  <a:lnTo>
                    <a:pt x="10" y="24"/>
                  </a:lnTo>
                  <a:lnTo>
                    <a:pt x="12" y="24"/>
                  </a:lnTo>
                  <a:lnTo>
                    <a:pt x="10" y="26"/>
                  </a:lnTo>
                  <a:lnTo>
                    <a:pt x="10" y="26"/>
                  </a:lnTo>
                  <a:lnTo>
                    <a:pt x="9" y="26"/>
                  </a:lnTo>
                  <a:lnTo>
                    <a:pt x="7" y="24"/>
                  </a:lnTo>
                  <a:lnTo>
                    <a:pt x="9" y="24"/>
                  </a:lnTo>
                  <a:lnTo>
                    <a:pt x="10" y="23"/>
                  </a:lnTo>
                  <a:close/>
                  <a:moveTo>
                    <a:pt x="12" y="10"/>
                  </a:moveTo>
                  <a:lnTo>
                    <a:pt x="12" y="16"/>
                  </a:lnTo>
                  <a:lnTo>
                    <a:pt x="32" y="16"/>
                  </a:lnTo>
                  <a:lnTo>
                    <a:pt x="32" y="10"/>
                  </a:lnTo>
                  <a:lnTo>
                    <a:pt x="12" y="10"/>
                  </a:lnTo>
                  <a:close/>
                  <a:moveTo>
                    <a:pt x="10" y="7"/>
                  </a:moveTo>
                  <a:lnTo>
                    <a:pt x="33" y="7"/>
                  </a:lnTo>
                  <a:lnTo>
                    <a:pt x="35" y="7"/>
                  </a:lnTo>
                  <a:lnTo>
                    <a:pt x="35" y="9"/>
                  </a:lnTo>
                  <a:lnTo>
                    <a:pt x="35" y="17"/>
                  </a:lnTo>
                  <a:lnTo>
                    <a:pt x="35" y="19"/>
                  </a:lnTo>
                  <a:lnTo>
                    <a:pt x="33" y="19"/>
                  </a:lnTo>
                  <a:lnTo>
                    <a:pt x="10" y="19"/>
                  </a:lnTo>
                  <a:lnTo>
                    <a:pt x="9" y="19"/>
                  </a:lnTo>
                  <a:lnTo>
                    <a:pt x="7" y="17"/>
                  </a:lnTo>
                  <a:lnTo>
                    <a:pt x="7" y="9"/>
                  </a:lnTo>
                  <a:lnTo>
                    <a:pt x="9" y="7"/>
                  </a:lnTo>
                  <a:lnTo>
                    <a:pt x="10" y="7"/>
                  </a:lnTo>
                  <a:close/>
                  <a:moveTo>
                    <a:pt x="3" y="3"/>
                  </a:moveTo>
                  <a:lnTo>
                    <a:pt x="3" y="54"/>
                  </a:lnTo>
                  <a:lnTo>
                    <a:pt x="40" y="54"/>
                  </a:lnTo>
                  <a:lnTo>
                    <a:pt x="40" y="3"/>
                  </a:lnTo>
                  <a:lnTo>
                    <a:pt x="3" y="3"/>
                  </a:lnTo>
                  <a:close/>
                  <a:moveTo>
                    <a:pt x="2" y="0"/>
                  </a:moveTo>
                  <a:lnTo>
                    <a:pt x="42" y="0"/>
                  </a:lnTo>
                  <a:lnTo>
                    <a:pt x="42" y="0"/>
                  </a:lnTo>
                  <a:lnTo>
                    <a:pt x="44" y="2"/>
                  </a:lnTo>
                  <a:lnTo>
                    <a:pt x="44" y="56"/>
                  </a:lnTo>
                  <a:lnTo>
                    <a:pt x="42" y="58"/>
                  </a:lnTo>
                  <a:lnTo>
                    <a:pt x="42" y="60"/>
                  </a:lnTo>
                  <a:lnTo>
                    <a:pt x="2" y="60"/>
                  </a:lnTo>
                  <a:lnTo>
                    <a:pt x="0" y="58"/>
                  </a:lnTo>
                  <a:lnTo>
                    <a:pt x="0" y="56"/>
                  </a:lnTo>
                  <a:lnTo>
                    <a:pt x="0" y="2"/>
                  </a:lnTo>
                  <a:lnTo>
                    <a:pt x="0" y="0"/>
                  </a:lnTo>
                  <a:lnTo>
                    <a:pt x="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71">
              <a:extLst>
                <a:ext uri="{FF2B5EF4-FFF2-40B4-BE49-F238E27FC236}">
                  <a16:creationId xmlns:a16="http://schemas.microsoft.com/office/drawing/2014/main" id="{252A3E80-483C-4643-A7C6-1A2995273F5F}"/>
                </a:ext>
              </a:extLst>
            </p:cNvPr>
            <p:cNvSpPr>
              <a:spLocks noEditPoints="1"/>
            </p:cNvSpPr>
            <p:nvPr/>
          </p:nvSpPr>
          <p:spPr bwMode="auto">
            <a:xfrm>
              <a:off x="4410075" y="2155826"/>
              <a:ext cx="76200" cy="76200"/>
            </a:xfrm>
            <a:custGeom>
              <a:avLst/>
              <a:gdLst>
                <a:gd name="T0" fmla="*/ 48 w 97"/>
                <a:gd name="T1" fmla="*/ 4 h 95"/>
                <a:gd name="T2" fmla="*/ 32 w 97"/>
                <a:gd name="T3" fmla="*/ 7 h 95"/>
                <a:gd name="T4" fmla="*/ 18 w 97"/>
                <a:gd name="T5" fmla="*/ 16 h 95"/>
                <a:gd name="T6" fmla="*/ 8 w 97"/>
                <a:gd name="T7" fmla="*/ 30 h 95"/>
                <a:gd name="T8" fmla="*/ 6 w 97"/>
                <a:gd name="T9" fmla="*/ 48 h 95"/>
                <a:gd name="T10" fmla="*/ 8 w 97"/>
                <a:gd name="T11" fmla="*/ 63 h 95"/>
                <a:gd name="T12" fmla="*/ 18 w 97"/>
                <a:gd name="T13" fmla="*/ 78 h 95"/>
                <a:gd name="T14" fmla="*/ 32 w 97"/>
                <a:gd name="T15" fmla="*/ 86 h 95"/>
                <a:gd name="T16" fmla="*/ 48 w 97"/>
                <a:gd name="T17" fmla="*/ 90 h 95"/>
                <a:gd name="T18" fmla="*/ 66 w 97"/>
                <a:gd name="T19" fmla="*/ 86 h 95"/>
                <a:gd name="T20" fmla="*/ 80 w 97"/>
                <a:gd name="T21" fmla="*/ 78 h 95"/>
                <a:gd name="T22" fmla="*/ 88 w 97"/>
                <a:gd name="T23" fmla="*/ 63 h 95"/>
                <a:gd name="T24" fmla="*/ 92 w 97"/>
                <a:gd name="T25" fmla="*/ 48 h 95"/>
                <a:gd name="T26" fmla="*/ 88 w 97"/>
                <a:gd name="T27" fmla="*/ 30 h 95"/>
                <a:gd name="T28" fmla="*/ 80 w 97"/>
                <a:gd name="T29" fmla="*/ 16 h 95"/>
                <a:gd name="T30" fmla="*/ 66 w 97"/>
                <a:gd name="T31" fmla="*/ 7 h 95"/>
                <a:gd name="T32" fmla="*/ 48 w 97"/>
                <a:gd name="T33" fmla="*/ 4 h 95"/>
                <a:gd name="T34" fmla="*/ 48 w 97"/>
                <a:gd name="T35" fmla="*/ 0 h 95"/>
                <a:gd name="T36" fmla="*/ 67 w 97"/>
                <a:gd name="T37" fmla="*/ 4 h 95"/>
                <a:gd name="T38" fmla="*/ 83 w 97"/>
                <a:gd name="T39" fmla="*/ 12 h 95"/>
                <a:gd name="T40" fmla="*/ 94 w 97"/>
                <a:gd name="T41" fmla="*/ 28 h 95"/>
                <a:gd name="T42" fmla="*/ 97 w 97"/>
                <a:gd name="T43" fmla="*/ 48 h 95"/>
                <a:gd name="T44" fmla="*/ 94 w 97"/>
                <a:gd name="T45" fmla="*/ 65 h 95"/>
                <a:gd name="T46" fmla="*/ 83 w 97"/>
                <a:gd name="T47" fmla="*/ 81 h 95"/>
                <a:gd name="T48" fmla="*/ 67 w 97"/>
                <a:gd name="T49" fmla="*/ 92 h 95"/>
                <a:gd name="T50" fmla="*/ 48 w 97"/>
                <a:gd name="T51" fmla="*/ 95 h 95"/>
                <a:gd name="T52" fmla="*/ 30 w 97"/>
                <a:gd name="T53" fmla="*/ 92 h 95"/>
                <a:gd name="T54" fmla="*/ 15 w 97"/>
                <a:gd name="T55" fmla="*/ 81 h 95"/>
                <a:gd name="T56" fmla="*/ 4 w 97"/>
                <a:gd name="T57" fmla="*/ 65 h 95"/>
                <a:gd name="T58" fmla="*/ 0 w 97"/>
                <a:gd name="T59" fmla="*/ 48 h 95"/>
                <a:gd name="T60" fmla="*/ 4 w 97"/>
                <a:gd name="T61" fmla="*/ 28 h 95"/>
                <a:gd name="T62" fmla="*/ 15 w 97"/>
                <a:gd name="T63" fmla="*/ 12 h 95"/>
                <a:gd name="T64" fmla="*/ 30 w 97"/>
                <a:gd name="T65" fmla="*/ 4 h 95"/>
                <a:gd name="T66" fmla="*/ 48 w 97"/>
                <a:gd name="T6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5">
                  <a:moveTo>
                    <a:pt x="48" y="4"/>
                  </a:moveTo>
                  <a:lnTo>
                    <a:pt x="32" y="7"/>
                  </a:lnTo>
                  <a:lnTo>
                    <a:pt x="18" y="16"/>
                  </a:lnTo>
                  <a:lnTo>
                    <a:pt x="8" y="30"/>
                  </a:lnTo>
                  <a:lnTo>
                    <a:pt x="6" y="48"/>
                  </a:lnTo>
                  <a:lnTo>
                    <a:pt x="8" y="63"/>
                  </a:lnTo>
                  <a:lnTo>
                    <a:pt x="18" y="78"/>
                  </a:lnTo>
                  <a:lnTo>
                    <a:pt x="32" y="86"/>
                  </a:lnTo>
                  <a:lnTo>
                    <a:pt x="48" y="90"/>
                  </a:lnTo>
                  <a:lnTo>
                    <a:pt x="66" y="86"/>
                  </a:lnTo>
                  <a:lnTo>
                    <a:pt x="80" y="78"/>
                  </a:lnTo>
                  <a:lnTo>
                    <a:pt x="88" y="63"/>
                  </a:lnTo>
                  <a:lnTo>
                    <a:pt x="92" y="48"/>
                  </a:lnTo>
                  <a:lnTo>
                    <a:pt x="88" y="30"/>
                  </a:lnTo>
                  <a:lnTo>
                    <a:pt x="80" y="16"/>
                  </a:lnTo>
                  <a:lnTo>
                    <a:pt x="66" y="7"/>
                  </a:lnTo>
                  <a:lnTo>
                    <a:pt x="48" y="4"/>
                  </a:lnTo>
                  <a:close/>
                  <a:moveTo>
                    <a:pt x="48" y="0"/>
                  </a:moveTo>
                  <a:lnTo>
                    <a:pt x="67" y="4"/>
                  </a:lnTo>
                  <a:lnTo>
                    <a:pt x="83" y="12"/>
                  </a:lnTo>
                  <a:lnTo>
                    <a:pt x="94" y="28"/>
                  </a:lnTo>
                  <a:lnTo>
                    <a:pt x="97" y="48"/>
                  </a:lnTo>
                  <a:lnTo>
                    <a:pt x="94" y="65"/>
                  </a:lnTo>
                  <a:lnTo>
                    <a:pt x="83" y="81"/>
                  </a:lnTo>
                  <a:lnTo>
                    <a:pt x="67" y="92"/>
                  </a:lnTo>
                  <a:lnTo>
                    <a:pt x="48" y="95"/>
                  </a:lnTo>
                  <a:lnTo>
                    <a:pt x="30" y="92"/>
                  </a:lnTo>
                  <a:lnTo>
                    <a:pt x="15" y="81"/>
                  </a:lnTo>
                  <a:lnTo>
                    <a:pt x="4" y="65"/>
                  </a:lnTo>
                  <a:lnTo>
                    <a:pt x="0" y="48"/>
                  </a:lnTo>
                  <a:lnTo>
                    <a:pt x="4" y="28"/>
                  </a:lnTo>
                  <a:lnTo>
                    <a:pt x="15" y="12"/>
                  </a:lnTo>
                  <a:lnTo>
                    <a:pt x="30" y="4"/>
                  </a:lnTo>
                  <a:lnTo>
                    <a:pt x="4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72">
              <a:extLst>
                <a:ext uri="{FF2B5EF4-FFF2-40B4-BE49-F238E27FC236}">
                  <a16:creationId xmlns:a16="http://schemas.microsoft.com/office/drawing/2014/main" id="{D4C3B04B-A0BD-6A4C-AC38-F63741858DE4}"/>
                </a:ext>
              </a:extLst>
            </p:cNvPr>
            <p:cNvSpPr>
              <a:spLocks/>
            </p:cNvSpPr>
            <p:nvPr/>
          </p:nvSpPr>
          <p:spPr bwMode="auto">
            <a:xfrm>
              <a:off x="5189538" y="1936751"/>
              <a:ext cx="90487" cy="117475"/>
            </a:xfrm>
            <a:custGeom>
              <a:avLst/>
              <a:gdLst>
                <a:gd name="T0" fmla="*/ 97 w 115"/>
                <a:gd name="T1" fmla="*/ 3 h 148"/>
                <a:gd name="T2" fmla="*/ 113 w 115"/>
                <a:gd name="T3" fmla="*/ 12 h 148"/>
                <a:gd name="T4" fmla="*/ 113 w 115"/>
                <a:gd name="T5" fmla="*/ 17 h 148"/>
                <a:gd name="T6" fmla="*/ 109 w 115"/>
                <a:gd name="T7" fmla="*/ 19 h 148"/>
                <a:gd name="T8" fmla="*/ 99 w 115"/>
                <a:gd name="T9" fmla="*/ 14 h 148"/>
                <a:gd name="T10" fmla="*/ 79 w 115"/>
                <a:gd name="T11" fmla="*/ 10 h 148"/>
                <a:gd name="T12" fmla="*/ 46 w 115"/>
                <a:gd name="T13" fmla="*/ 25 h 148"/>
                <a:gd name="T14" fmla="*/ 27 w 115"/>
                <a:gd name="T15" fmla="*/ 60 h 148"/>
                <a:gd name="T16" fmla="*/ 92 w 115"/>
                <a:gd name="T17" fmla="*/ 60 h 148"/>
                <a:gd name="T18" fmla="*/ 93 w 115"/>
                <a:gd name="T19" fmla="*/ 63 h 148"/>
                <a:gd name="T20" fmla="*/ 92 w 115"/>
                <a:gd name="T21" fmla="*/ 69 h 148"/>
                <a:gd name="T22" fmla="*/ 25 w 115"/>
                <a:gd name="T23" fmla="*/ 69 h 148"/>
                <a:gd name="T24" fmla="*/ 90 w 115"/>
                <a:gd name="T25" fmla="*/ 79 h 148"/>
                <a:gd name="T26" fmla="*/ 93 w 115"/>
                <a:gd name="T27" fmla="*/ 81 h 148"/>
                <a:gd name="T28" fmla="*/ 93 w 115"/>
                <a:gd name="T29" fmla="*/ 86 h 148"/>
                <a:gd name="T30" fmla="*/ 90 w 115"/>
                <a:gd name="T31" fmla="*/ 88 h 148"/>
                <a:gd name="T32" fmla="*/ 34 w 115"/>
                <a:gd name="T33" fmla="*/ 107 h 148"/>
                <a:gd name="T34" fmla="*/ 62 w 115"/>
                <a:gd name="T35" fmla="*/ 134 h 148"/>
                <a:gd name="T36" fmla="*/ 88 w 115"/>
                <a:gd name="T37" fmla="*/ 137 h 148"/>
                <a:gd name="T38" fmla="*/ 106 w 115"/>
                <a:gd name="T39" fmla="*/ 128 h 148"/>
                <a:gd name="T40" fmla="*/ 111 w 115"/>
                <a:gd name="T41" fmla="*/ 128 h 148"/>
                <a:gd name="T42" fmla="*/ 115 w 115"/>
                <a:gd name="T43" fmla="*/ 134 h 148"/>
                <a:gd name="T44" fmla="*/ 111 w 115"/>
                <a:gd name="T45" fmla="*/ 137 h 148"/>
                <a:gd name="T46" fmla="*/ 79 w 115"/>
                <a:gd name="T47" fmla="*/ 148 h 148"/>
                <a:gd name="T48" fmla="*/ 39 w 115"/>
                <a:gd name="T49" fmla="*/ 130 h 148"/>
                <a:gd name="T50" fmla="*/ 16 w 115"/>
                <a:gd name="T51" fmla="*/ 88 h 148"/>
                <a:gd name="T52" fmla="*/ 4 w 115"/>
                <a:gd name="T53" fmla="*/ 88 h 148"/>
                <a:gd name="T54" fmla="*/ 0 w 115"/>
                <a:gd name="T55" fmla="*/ 84 h 148"/>
                <a:gd name="T56" fmla="*/ 4 w 115"/>
                <a:gd name="T57" fmla="*/ 79 h 148"/>
                <a:gd name="T58" fmla="*/ 16 w 115"/>
                <a:gd name="T59" fmla="*/ 79 h 148"/>
                <a:gd name="T60" fmla="*/ 5 w 115"/>
                <a:gd name="T61" fmla="*/ 69 h 148"/>
                <a:gd name="T62" fmla="*/ 2 w 115"/>
                <a:gd name="T63" fmla="*/ 67 h 148"/>
                <a:gd name="T64" fmla="*/ 2 w 115"/>
                <a:gd name="T65" fmla="*/ 61 h 148"/>
                <a:gd name="T66" fmla="*/ 5 w 115"/>
                <a:gd name="T67" fmla="*/ 60 h 148"/>
                <a:gd name="T68" fmla="*/ 25 w 115"/>
                <a:gd name="T69" fmla="*/ 37 h 148"/>
                <a:gd name="T70" fmla="*/ 58 w 115"/>
                <a:gd name="T71" fmla="*/ 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 h="148">
                  <a:moveTo>
                    <a:pt x="79" y="0"/>
                  </a:moveTo>
                  <a:lnTo>
                    <a:pt x="97" y="3"/>
                  </a:lnTo>
                  <a:lnTo>
                    <a:pt x="111" y="10"/>
                  </a:lnTo>
                  <a:lnTo>
                    <a:pt x="113" y="12"/>
                  </a:lnTo>
                  <a:lnTo>
                    <a:pt x="115" y="14"/>
                  </a:lnTo>
                  <a:lnTo>
                    <a:pt x="113" y="17"/>
                  </a:lnTo>
                  <a:lnTo>
                    <a:pt x="111" y="19"/>
                  </a:lnTo>
                  <a:lnTo>
                    <a:pt x="109" y="19"/>
                  </a:lnTo>
                  <a:lnTo>
                    <a:pt x="106" y="19"/>
                  </a:lnTo>
                  <a:lnTo>
                    <a:pt x="99" y="14"/>
                  </a:lnTo>
                  <a:lnTo>
                    <a:pt x="88" y="10"/>
                  </a:lnTo>
                  <a:lnTo>
                    <a:pt x="79" y="10"/>
                  </a:lnTo>
                  <a:lnTo>
                    <a:pt x="62" y="14"/>
                  </a:lnTo>
                  <a:lnTo>
                    <a:pt x="46" y="25"/>
                  </a:lnTo>
                  <a:lnTo>
                    <a:pt x="34" y="40"/>
                  </a:lnTo>
                  <a:lnTo>
                    <a:pt x="27" y="60"/>
                  </a:lnTo>
                  <a:lnTo>
                    <a:pt x="90" y="60"/>
                  </a:lnTo>
                  <a:lnTo>
                    <a:pt x="92" y="60"/>
                  </a:lnTo>
                  <a:lnTo>
                    <a:pt x="93" y="61"/>
                  </a:lnTo>
                  <a:lnTo>
                    <a:pt x="93" y="63"/>
                  </a:lnTo>
                  <a:lnTo>
                    <a:pt x="93" y="67"/>
                  </a:lnTo>
                  <a:lnTo>
                    <a:pt x="92" y="69"/>
                  </a:lnTo>
                  <a:lnTo>
                    <a:pt x="90" y="69"/>
                  </a:lnTo>
                  <a:lnTo>
                    <a:pt x="25" y="69"/>
                  </a:lnTo>
                  <a:lnTo>
                    <a:pt x="25" y="79"/>
                  </a:lnTo>
                  <a:lnTo>
                    <a:pt x="90" y="79"/>
                  </a:lnTo>
                  <a:lnTo>
                    <a:pt x="92" y="79"/>
                  </a:lnTo>
                  <a:lnTo>
                    <a:pt x="93" y="81"/>
                  </a:lnTo>
                  <a:lnTo>
                    <a:pt x="93" y="84"/>
                  </a:lnTo>
                  <a:lnTo>
                    <a:pt x="93" y="86"/>
                  </a:lnTo>
                  <a:lnTo>
                    <a:pt x="92" y="88"/>
                  </a:lnTo>
                  <a:lnTo>
                    <a:pt x="90" y="88"/>
                  </a:lnTo>
                  <a:lnTo>
                    <a:pt x="27" y="88"/>
                  </a:lnTo>
                  <a:lnTo>
                    <a:pt x="34" y="107"/>
                  </a:lnTo>
                  <a:lnTo>
                    <a:pt x="46" y="123"/>
                  </a:lnTo>
                  <a:lnTo>
                    <a:pt x="62" y="134"/>
                  </a:lnTo>
                  <a:lnTo>
                    <a:pt x="79" y="137"/>
                  </a:lnTo>
                  <a:lnTo>
                    <a:pt x="88" y="137"/>
                  </a:lnTo>
                  <a:lnTo>
                    <a:pt x="99" y="134"/>
                  </a:lnTo>
                  <a:lnTo>
                    <a:pt x="106" y="128"/>
                  </a:lnTo>
                  <a:lnTo>
                    <a:pt x="109" y="128"/>
                  </a:lnTo>
                  <a:lnTo>
                    <a:pt x="111" y="128"/>
                  </a:lnTo>
                  <a:lnTo>
                    <a:pt x="113" y="130"/>
                  </a:lnTo>
                  <a:lnTo>
                    <a:pt x="115" y="134"/>
                  </a:lnTo>
                  <a:lnTo>
                    <a:pt x="113" y="135"/>
                  </a:lnTo>
                  <a:lnTo>
                    <a:pt x="111" y="137"/>
                  </a:lnTo>
                  <a:lnTo>
                    <a:pt x="97" y="144"/>
                  </a:lnTo>
                  <a:lnTo>
                    <a:pt x="79" y="148"/>
                  </a:lnTo>
                  <a:lnTo>
                    <a:pt x="58" y="142"/>
                  </a:lnTo>
                  <a:lnTo>
                    <a:pt x="39" y="130"/>
                  </a:lnTo>
                  <a:lnTo>
                    <a:pt x="25" y="113"/>
                  </a:lnTo>
                  <a:lnTo>
                    <a:pt x="16" y="88"/>
                  </a:lnTo>
                  <a:lnTo>
                    <a:pt x="5" y="88"/>
                  </a:lnTo>
                  <a:lnTo>
                    <a:pt x="4" y="88"/>
                  </a:lnTo>
                  <a:lnTo>
                    <a:pt x="2" y="86"/>
                  </a:lnTo>
                  <a:lnTo>
                    <a:pt x="0" y="84"/>
                  </a:lnTo>
                  <a:lnTo>
                    <a:pt x="2" y="81"/>
                  </a:lnTo>
                  <a:lnTo>
                    <a:pt x="4" y="79"/>
                  </a:lnTo>
                  <a:lnTo>
                    <a:pt x="5" y="79"/>
                  </a:lnTo>
                  <a:lnTo>
                    <a:pt x="16" y="79"/>
                  </a:lnTo>
                  <a:lnTo>
                    <a:pt x="16" y="69"/>
                  </a:lnTo>
                  <a:lnTo>
                    <a:pt x="5" y="69"/>
                  </a:lnTo>
                  <a:lnTo>
                    <a:pt x="4" y="69"/>
                  </a:lnTo>
                  <a:lnTo>
                    <a:pt x="2" y="67"/>
                  </a:lnTo>
                  <a:lnTo>
                    <a:pt x="0" y="63"/>
                  </a:lnTo>
                  <a:lnTo>
                    <a:pt x="2" y="61"/>
                  </a:lnTo>
                  <a:lnTo>
                    <a:pt x="4" y="60"/>
                  </a:lnTo>
                  <a:lnTo>
                    <a:pt x="5" y="60"/>
                  </a:lnTo>
                  <a:lnTo>
                    <a:pt x="16" y="60"/>
                  </a:lnTo>
                  <a:lnTo>
                    <a:pt x="25" y="37"/>
                  </a:lnTo>
                  <a:lnTo>
                    <a:pt x="39" y="17"/>
                  </a:lnTo>
                  <a:lnTo>
                    <a:pt x="58" y="5"/>
                  </a:lnTo>
                  <a:lnTo>
                    <a:pt x="7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73">
              <a:extLst>
                <a:ext uri="{FF2B5EF4-FFF2-40B4-BE49-F238E27FC236}">
                  <a16:creationId xmlns:a16="http://schemas.microsoft.com/office/drawing/2014/main" id="{663447FD-B480-0645-86F5-6EEE8AF764AC}"/>
                </a:ext>
              </a:extLst>
            </p:cNvPr>
            <p:cNvSpPr>
              <a:spLocks noEditPoints="1"/>
            </p:cNvSpPr>
            <p:nvPr/>
          </p:nvSpPr>
          <p:spPr bwMode="auto">
            <a:xfrm>
              <a:off x="5154613" y="1901826"/>
              <a:ext cx="185737" cy="187325"/>
            </a:xfrm>
            <a:custGeom>
              <a:avLst/>
              <a:gdLst>
                <a:gd name="T0" fmla="*/ 118 w 236"/>
                <a:gd name="T1" fmla="*/ 10 h 236"/>
                <a:gd name="T2" fmla="*/ 90 w 236"/>
                <a:gd name="T3" fmla="*/ 14 h 236"/>
                <a:gd name="T4" fmla="*/ 64 w 236"/>
                <a:gd name="T5" fmla="*/ 25 h 236"/>
                <a:gd name="T6" fmla="*/ 42 w 236"/>
                <a:gd name="T7" fmla="*/ 42 h 236"/>
                <a:gd name="T8" fmla="*/ 25 w 236"/>
                <a:gd name="T9" fmla="*/ 63 h 236"/>
                <a:gd name="T10" fmla="*/ 14 w 236"/>
                <a:gd name="T11" fmla="*/ 90 h 236"/>
                <a:gd name="T12" fmla="*/ 9 w 236"/>
                <a:gd name="T13" fmla="*/ 118 h 236"/>
                <a:gd name="T14" fmla="*/ 14 w 236"/>
                <a:gd name="T15" fmla="*/ 148 h 236"/>
                <a:gd name="T16" fmla="*/ 25 w 236"/>
                <a:gd name="T17" fmla="*/ 172 h 236"/>
                <a:gd name="T18" fmla="*/ 42 w 236"/>
                <a:gd name="T19" fmla="*/ 195 h 236"/>
                <a:gd name="T20" fmla="*/ 64 w 236"/>
                <a:gd name="T21" fmla="*/ 211 h 236"/>
                <a:gd name="T22" fmla="*/ 90 w 236"/>
                <a:gd name="T23" fmla="*/ 222 h 236"/>
                <a:gd name="T24" fmla="*/ 118 w 236"/>
                <a:gd name="T25" fmla="*/ 227 h 236"/>
                <a:gd name="T26" fmla="*/ 146 w 236"/>
                <a:gd name="T27" fmla="*/ 222 h 236"/>
                <a:gd name="T28" fmla="*/ 173 w 236"/>
                <a:gd name="T29" fmla="*/ 211 h 236"/>
                <a:gd name="T30" fmla="*/ 196 w 236"/>
                <a:gd name="T31" fmla="*/ 195 h 236"/>
                <a:gd name="T32" fmla="*/ 211 w 236"/>
                <a:gd name="T33" fmla="*/ 172 h 236"/>
                <a:gd name="T34" fmla="*/ 222 w 236"/>
                <a:gd name="T35" fmla="*/ 148 h 236"/>
                <a:gd name="T36" fmla="*/ 227 w 236"/>
                <a:gd name="T37" fmla="*/ 118 h 236"/>
                <a:gd name="T38" fmla="*/ 222 w 236"/>
                <a:gd name="T39" fmla="*/ 90 h 236"/>
                <a:gd name="T40" fmla="*/ 211 w 236"/>
                <a:gd name="T41" fmla="*/ 63 h 236"/>
                <a:gd name="T42" fmla="*/ 196 w 236"/>
                <a:gd name="T43" fmla="*/ 42 h 236"/>
                <a:gd name="T44" fmla="*/ 173 w 236"/>
                <a:gd name="T45" fmla="*/ 25 h 236"/>
                <a:gd name="T46" fmla="*/ 146 w 236"/>
                <a:gd name="T47" fmla="*/ 14 h 236"/>
                <a:gd name="T48" fmla="*/ 118 w 236"/>
                <a:gd name="T49" fmla="*/ 10 h 236"/>
                <a:gd name="T50" fmla="*/ 118 w 236"/>
                <a:gd name="T51" fmla="*/ 0 h 236"/>
                <a:gd name="T52" fmla="*/ 150 w 236"/>
                <a:gd name="T53" fmla="*/ 5 h 236"/>
                <a:gd name="T54" fmla="*/ 178 w 236"/>
                <a:gd name="T55" fmla="*/ 17 h 236"/>
                <a:gd name="T56" fmla="*/ 203 w 236"/>
                <a:gd name="T57" fmla="*/ 35 h 236"/>
                <a:gd name="T58" fmla="*/ 220 w 236"/>
                <a:gd name="T59" fmla="*/ 60 h 236"/>
                <a:gd name="T60" fmla="*/ 232 w 236"/>
                <a:gd name="T61" fmla="*/ 88 h 236"/>
                <a:gd name="T62" fmla="*/ 236 w 236"/>
                <a:gd name="T63" fmla="*/ 118 h 236"/>
                <a:gd name="T64" fmla="*/ 232 w 236"/>
                <a:gd name="T65" fmla="*/ 149 h 236"/>
                <a:gd name="T66" fmla="*/ 220 w 236"/>
                <a:gd name="T67" fmla="*/ 178 h 236"/>
                <a:gd name="T68" fmla="*/ 203 w 236"/>
                <a:gd name="T69" fmla="*/ 202 h 236"/>
                <a:gd name="T70" fmla="*/ 178 w 236"/>
                <a:gd name="T71" fmla="*/ 220 h 236"/>
                <a:gd name="T72" fmla="*/ 150 w 236"/>
                <a:gd name="T73" fmla="*/ 232 h 236"/>
                <a:gd name="T74" fmla="*/ 118 w 236"/>
                <a:gd name="T75" fmla="*/ 236 h 236"/>
                <a:gd name="T76" fmla="*/ 86 w 236"/>
                <a:gd name="T77" fmla="*/ 232 h 236"/>
                <a:gd name="T78" fmla="*/ 58 w 236"/>
                <a:gd name="T79" fmla="*/ 220 h 236"/>
                <a:gd name="T80" fmla="*/ 35 w 236"/>
                <a:gd name="T81" fmla="*/ 202 h 236"/>
                <a:gd name="T82" fmla="*/ 16 w 236"/>
                <a:gd name="T83" fmla="*/ 178 h 236"/>
                <a:gd name="T84" fmla="*/ 4 w 236"/>
                <a:gd name="T85" fmla="*/ 149 h 236"/>
                <a:gd name="T86" fmla="*/ 0 w 236"/>
                <a:gd name="T87" fmla="*/ 118 h 236"/>
                <a:gd name="T88" fmla="*/ 4 w 236"/>
                <a:gd name="T89" fmla="*/ 88 h 236"/>
                <a:gd name="T90" fmla="*/ 16 w 236"/>
                <a:gd name="T91" fmla="*/ 60 h 236"/>
                <a:gd name="T92" fmla="*/ 35 w 236"/>
                <a:gd name="T93" fmla="*/ 35 h 236"/>
                <a:gd name="T94" fmla="*/ 58 w 236"/>
                <a:gd name="T95" fmla="*/ 17 h 236"/>
                <a:gd name="T96" fmla="*/ 86 w 236"/>
                <a:gd name="T97" fmla="*/ 5 h 236"/>
                <a:gd name="T98" fmla="*/ 118 w 236"/>
                <a:gd name="T9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6" h="236">
                  <a:moveTo>
                    <a:pt x="118" y="10"/>
                  </a:moveTo>
                  <a:lnTo>
                    <a:pt x="90" y="14"/>
                  </a:lnTo>
                  <a:lnTo>
                    <a:pt x="64" y="25"/>
                  </a:lnTo>
                  <a:lnTo>
                    <a:pt x="42" y="42"/>
                  </a:lnTo>
                  <a:lnTo>
                    <a:pt x="25" y="63"/>
                  </a:lnTo>
                  <a:lnTo>
                    <a:pt x="14" y="90"/>
                  </a:lnTo>
                  <a:lnTo>
                    <a:pt x="9" y="118"/>
                  </a:lnTo>
                  <a:lnTo>
                    <a:pt x="14" y="148"/>
                  </a:lnTo>
                  <a:lnTo>
                    <a:pt x="25" y="172"/>
                  </a:lnTo>
                  <a:lnTo>
                    <a:pt x="42" y="195"/>
                  </a:lnTo>
                  <a:lnTo>
                    <a:pt x="64" y="211"/>
                  </a:lnTo>
                  <a:lnTo>
                    <a:pt x="90" y="222"/>
                  </a:lnTo>
                  <a:lnTo>
                    <a:pt x="118" y="227"/>
                  </a:lnTo>
                  <a:lnTo>
                    <a:pt x="146" y="222"/>
                  </a:lnTo>
                  <a:lnTo>
                    <a:pt x="173" y="211"/>
                  </a:lnTo>
                  <a:lnTo>
                    <a:pt x="196" y="195"/>
                  </a:lnTo>
                  <a:lnTo>
                    <a:pt x="211" y="172"/>
                  </a:lnTo>
                  <a:lnTo>
                    <a:pt x="222" y="148"/>
                  </a:lnTo>
                  <a:lnTo>
                    <a:pt x="227" y="118"/>
                  </a:lnTo>
                  <a:lnTo>
                    <a:pt x="222" y="90"/>
                  </a:lnTo>
                  <a:lnTo>
                    <a:pt x="211" y="63"/>
                  </a:lnTo>
                  <a:lnTo>
                    <a:pt x="196" y="42"/>
                  </a:lnTo>
                  <a:lnTo>
                    <a:pt x="173" y="25"/>
                  </a:lnTo>
                  <a:lnTo>
                    <a:pt x="146" y="14"/>
                  </a:lnTo>
                  <a:lnTo>
                    <a:pt x="118" y="10"/>
                  </a:lnTo>
                  <a:close/>
                  <a:moveTo>
                    <a:pt x="118" y="0"/>
                  </a:moveTo>
                  <a:lnTo>
                    <a:pt x="150" y="5"/>
                  </a:lnTo>
                  <a:lnTo>
                    <a:pt x="178" y="17"/>
                  </a:lnTo>
                  <a:lnTo>
                    <a:pt x="203" y="35"/>
                  </a:lnTo>
                  <a:lnTo>
                    <a:pt x="220" y="60"/>
                  </a:lnTo>
                  <a:lnTo>
                    <a:pt x="232" y="88"/>
                  </a:lnTo>
                  <a:lnTo>
                    <a:pt x="236" y="118"/>
                  </a:lnTo>
                  <a:lnTo>
                    <a:pt x="232" y="149"/>
                  </a:lnTo>
                  <a:lnTo>
                    <a:pt x="220" y="178"/>
                  </a:lnTo>
                  <a:lnTo>
                    <a:pt x="203" y="202"/>
                  </a:lnTo>
                  <a:lnTo>
                    <a:pt x="178" y="220"/>
                  </a:lnTo>
                  <a:lnTo>
                    <a:pt x="150" y="232"/>
                  </a:lnTo>
                  <a:lnTo>
                    <a:pt x="118" y="236"/>
                  </a:lnTo>
                  <a:lnTo>
                    <a:pt x="86" y="232"/>
                  </a:lnTo>
                  <a:lnTo>
                    <a:pt x="58" y="220"/>
                  </a:lnTo>
                  <a:lnTo>
                    <a:pt x="35" y="202"/>
                  </a:lnTo>
                  <a:lnTo>
                    <a:pt x="16" y="178"/>
                  </a:lnTo>
                  <a:lnTo>
                    <a:pt x="4" y="149"/>
                  </a:lnTo>
                  <a:lnTo>
                    <a:pt x="0" y="118"/>
                  </a:lnTo>
                  <a:lnTo>
                    <a:pt x="4" y="88"/>
                  </a:lnTo>
                  <a:lnTo>
                    <a:pt x="16" y="60"/>
                  </a:lnTo>
                  <a:lnTo>
                    <a:pt x="35" y="35"/>
                  </a:lnTo>
                  <a:lnTo>
                    <a:pt x="58" y="17"/>
                  </a:lnTo>
                  <a:lnTo>
                    <a:pt x="86" y="5"/>
                  </a:lnTo>
                  <a:lnTo>
                    <a:pt x="11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74">
              <a:extLst>
                <a:ext uri="{FF2B5EF4-FFF2-40B4-BE49-F238E27FC236}">
                  <a16:creationId xmlns:a16="http://schemas.microsoft.com/office/drawing/2014/main" id="{3694AB80-7698-1140-9240-1BA9CBF1A96D}"/>
                </a:ext>
              </a:extLst>
            </p:cNvPr>
            <p:cNvSpPr>
              <a:spLocks noEditPoints="1"/>
            </p:cNvSpPr>
            <p:nvPr/>
          </p:nvSpPr>
          <p:spPr bwMode="auto">
            <a:xfrm>
              <a:off x="6400800" y="1563688"/>
              <a:ext cx="211137" cy="211138"/>
            </a:xfrm>
            <a:custGeom>
              <a:avLst/>
              <a:gdLst>
                <a:gd name="T0" fmla="*/ 132 w 266"/>
                <a:gd name="T1" fmla="*/ 11 h 266"/>
                <a:gd name="T2" fmla="*/ 101 w 266"/>
                <a:gd name="T3" fmla="*/ 14 h 266"/>
                <a:gd name="T4" fmla="*/ 71 w 266"/>
                <a:gd name="T5" fmla="*/ 26 h 266"/>
                <a:gd name="T6" fmla="*/ 46 w 266"/>
                <a:gd name="T7" fmla="*/ 46 h 266"/>
                <a:gd name="T8" fmla="*/ 27 w 266"/>
                <a:gd name="T9" fmla="*/ 70 h 266"/>
                <a:gd name="T10" fmla="*/ 14 w 266"/>
                <a:gd name="T11" fmla="*/ 100 h 266"/>
                <a:gd name="T12" fmla="*/ 11 w 266"/>
                <a:gd name="T13" fmla="*/ 132 h 266"/>
                <a:gd name="T14" fmla="*/ 14 w 266"/>
                <a:gd name="T15" fmla="*/ 165 h 266"/>
                <a:gd name="T16" fmla="*/ 27 w 266"/>
                <a:gd name="T17" fmla="*/ 194 h 266"/>
                <a:gd name="T18" fmla="*/ 46 w 266"/>
                <a:gd name="T19" fmla="*/ 220 h 266"/>
                <a:gd name="T20" fmla="*/ 71 w 266"/>
                <a:gd name="T21" fmla="*/ 238 h 266"/>
                <a:gd name="T22" fmla="*/ 101 w 266"/>
                <a:gd name="T23" fmla="*/ 250 h 266"/>
                <a:gd name="T24" fmla="*/ 132 w 266"/>
                <a:gd name="T25" fmla="*/ 255 h 266"/>
                <a:gd name="T26" fmla="*/ 166 w 266"/>
                <a:gd name="T27" fmla="*/ 250 h 266"/>
                <a:gd name="T28" fmla="*/ 194 w 266"/>
                <a:gd name="T29" fmla="*/ 238 h 266"/>
                <a:gd name="T30" fmla="*/ 219 w 266"/>
                <a:gd name="T31" fmla="*/ 220 h 266"/>
                <a:gd name="T32" fmla="*/ 238 w 266"/>
                <a:gd name="T33" fmla="*/ 194 h 266"/>
                <a:gd name="T34" fmla="*/ 250 w 266"/>
                <a:gd name="T35" fmla="*/ 165 h 266"/>
                <a:gd name="T36" fmla="*/ 255 w 266"/>
                <a:gd name="T37" fmla="*/ 132 h 266"/>
                <a:gd name="T38" fmla="*/ 250 w 266"/>
                <a:gd name="T39" fmla="*/ 100 h 266"/>
                <a:gd name="T40" fmla="*/ 238 w 266"/>
                <a:gd name="T41" fmla="*/ 70 h 266"/>
                <a:gd name="T42" fmla="*/ 219 w 266"/>
                <a:gd name="T43" fmla="*/ 46 h 266"/>
                <a:gd name="T44" fmla="*/ 194 w 266"/>
                <a:gd name="T45" fmla="*/ 26 h 266"/>
                <a:gd name="T46" fmla="*/ 166 w 266"/>
                <a:gd name="T47" fmla="*/ 14 h 266"/>
                <a:gd name="T48" fmla="*/ 132 w 266"/>
                <a:gd name="T49" fmla="*/ 11 h 266"/>
                <a:gd name="T50" fmla="*/ 132 w 266"/>
                <a:gd name="T51" fmla="*/ 0 h 266"/>
                <a:gd name="T52" fmla="*/ 169 w 266"/>
                <a:gd name="T53" fmla="*/ 4 h 266"/>
                <a:gd name="T54" fmla="*/ 201 w 266"/>
                <a:gd name="T55" fmla="*/ 18 h 266"/>
                <a:gd name="T56" fmla="*/ 227 w 266"/>
                <a:gd name="T57" fmla="*/ 39 h 266"/>
                <a:gd name="T58" fmla="*/ 248 w 266"/>
                <a:gd name="T59" fmla="*/ 65 h 266"/>
                <a:gd name="T60" fmla="*/ 263 w 266"/>
                <a:gd name="T61" fmla="*/ 97 h 266"/>
                <a:gd name="T62" fmla="*/ 266 w 266"/>
                <a:gd name="T63" fmla="*/ 132 h 266"/>
                <a:gd name="T64" fmla="*/ 263 w 266"/>
                <a:gd name="T65" fmla="*/ 169 h 266"/>
                <a:gd name="T66" fmla="*/ 248 w 266"/>
                <a:gd name="T67" fmla="*/ 201 h 266"/>
                <a:gd name="T68" fmla="*/ 227 w 266"/>
                <a:gd name="T69" fmla="*/ 227 h 266"/>
                <a:gd name="T70" fmla="*/ 201 w 266"/>
                <a:gd name="T71" fmla="*/ 248 h 266"/>
                <a:gd name="T72" fmla="*/ 169 w 266"/>
                <a:gd name="T73" fmla="*/ 262 h 266"/>
                <a:gd name="T74" fmla="*/ 132 w 266"/>
                <a:gd name="T75" fmla="*/ 266 h 266"/>
                <a:gd name="T76" fmla="*/ 97 w 266"/>
                <a:gd name="T77" fmla="*/ 262 h 266"/>
                <a:gd name="T78" fmla="*/ 65 w 266"/>
                <a:gd name="T79" fmla="*/ 248 h 266"/>
                <a:gd name="T80" fmla="*/ 39 w 266"/>
                <a:gd name="T81" fmla="*/ 227 h 266"/>
                <a:gd name="T82" fmla="*/ 18 w 266"/>
                <a:gd name="T83" fmla="*/ 201 h 266"/>
                <a:gd name="T84" fmla="*/ 4 w 266"/>
                <a:gd name="T85" fmla="*/ 169 h 266"/>
                <a:gd name="T86" fmla="*/ 0 w 266"/>
                <a:gd name="T87" fmla="*/ 132 h 266"/>
                <a:gd name="T88" fmla="*/ 4 w 266"/>
                <a:gd name="T89" fmla="*/ 97 h 266"/>
                <a:gd name="T90" fmla="*/ 18 w 266"/>
                <a:gd name="T91" fmla="*/ 65 h 266"/>
                <a:gd name="T92" fmla="*/ 39 w 266"/>
                <a:gd name="T93" fmla="*/ 39 h 266"/>
                <a:gd name="T94" fmla="*/ 65 w 266"/>
                <a:gd name="T95" fmla="*/ 18 h 266"/>
                <a:gd name="T96" fmla="*/ 97 w 266"/>
                <a:gd name="T97" fmla="*/ 4 h 266"/>
                <a:gd name="T98" fmla="*/ 132 w 266"/>
                <a:gd name="T9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6" h="266">
                  <a:moveTo>
                    <a:pt x="132" y="11"/>
                  </a:moveTo>
                  <a:lnTo>
                    <a:pt x="101" y="14"/>
                  </a:lnTo>
                  <a:lnTo>
                    <a:pt x="71" y="26"/>
                  </a:lnTo>
                  <a:lnTo>
                    <a:pt x="46" y="46"/>
                  </a:lnTo>
                  <a:lnTo>
                    <a:pt x="27" y="70"/>
                  </a:lnTo>
                  <a:lnTo>
                    <a:pt x="14" y="100"/>
                  </a:lnTo>
                  <a:lnTo>
                    <a:pt x="11" y="132"/>
                  </a:lnTo>
                  <a:lnTo>
                    <a:pt x="14" y="165"/>
                  </a:lnTo>
                  <a:lnTo>
                    <a:pt x="27" y="194"/>
                  </a:lnTo>
                  <a:lnTo>
                    <a:pt x="46" y="220"/>
                  </a:lnTo>
                  <a:lnTo>
                    <a:pt x="71" y="238"/>
                  </a:lnTo>
                  <a:lnTo>
                    <a:pt x="101" y="250"/>
                  </a:lnTo>
                  <a:lnTo>
                    <a:pt x="132" y="255"/>
                  </a:lnTo>
                  <a:lnTo>
                    <a:pt x="166" y="250"/>
                  </a:lnTo>
                  <a:lnTo>
                    <a:pt x="194" y="238"/>
                  </a:lnTo>
                  <a:lnTo>
                    <a:pt x="219" y="220"/>
                  </a:lnTo>
                  <a:lnTo>
                    <a:pt x="238" y="194"/>
                  </a:lnTo>
                  <a:lnTo>
                    <a:pt x="250" y="165"/>
                  </a:lnTo>
                  <a:lnTo>
                    <a:pt x="255" y="132"/>
                  </a:lnTo>
                  <a:lnTo>
                    <a:pt x="250" y="100"/>
                  </a:lnTo>
                  <a:lnTo>
                    <a:pt x="238" y="70"/>
                  </a:lnTo>
                  <a:lnTo>
                    <a:pt x="219" y="46"/>
                  </a:lnTo>
                  <a:lnTo>
                    <a:pt x="194" y="26"/>
                  </a:lnTo>
                  <a:lnTo>
                    <a:pt x="166" y="14"/>
                  </a:lnTo>
                  <a:lnTo>
                    <a:pt x="132" y="11"/>
                  </a:lnTo>
                  <a:close/>
                  <a:moveTo>
                    <a:pt x="132" y="0"/>
                  </a:moveTo>
                  <a:lnTo>
                    <a:pt x="169" y="4"/>
                  </a:lnTo>
                  <a:lnTo>
                    <a:pt x="201" y="18"/>
                  </a:lnTo>
                  <a:lnTo>
                    <a:pt x="227" y="39"/>
                  </a:lnTo>
                  <a:lnTo>
                    <a:pt x="248" y="65"/>
                  </a:lnTo>
                  <a:lnTo>
                    <a:pt x="263" y="97"/>
                  </a:lnTo>
                  <a:lnTo>
                    <a:pt x="266" y="132"/>
                  </a:lnTo>
                  <a:lnTo>
                    <a:pt x="263" y="169"/>
                  </a:lnTo>
                  <a:lnTo>
                    <a:pt x="248" y="201"/>
                  </a:lnTo>
                  <a:lnTo>
                    <a:pt x="227" y="227"/>
                  </a:lnTo>
                  <a:lnTo>
                    <a:pt x="201" y="248"/>
                  </a:lnTo>
                  <a:lnTo>
                    <a:pt x="169" y="262"/>
                  </a:lnTo>
                  <a:lnTo>
                    <a:pt x="132" y="266"/>
                  </a:lnTo>
                  <a:lnTo>
                    <a:pt x="97" y="262"/>
                  </a:lnTo>
                  <a:lnTo>
                    <a:pt x="65" y="248"/>
                  </a:lnTo>
                  <a:lnTo>
                    <a:pt x="39" y="227"/>
                  </a:lnTo>
                  <a:lnTo>
                    <a:pt x="18" y="201"/>
                  </a:lnTo>
                  <a:lnTo>
                    <a:pt x="4" y="169"/>
                  </a:lnTo>
                  <a:lnTo>
                    <a:pt x="0" y="132"/>
                  </a:lnTo>
                  <a:lnTo>
                    <a:pt x="4" y="97"/>
                  </a:lnTo>
                  <a:lnTo>
                    <a:pt x="18" y="65"/>
                  </a:lnTo>
                  <a:lnTo>
                    <a:pt x="39" y="39"/>
                  </a:lnTo>
                  <a:lnTo>
                    <a:pt x="65" y="18"/>
                  </a:lnTo>
                  <a:lnTo>
                    <a:pt x="97" y="4"/>
                  </a:lnTo>
                  <a:lnTo>
                    <a:pt x="13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75">
              <a:extLst>
                <a:ext uri="{FF2B5EF4-FFF2-40B4-BE49-F238E27FC236}">
                  <a16:creationId xmlns:a16="http://schemas.microsoft.com/office/drawing/2014/main" id="{DB00D871-359B-0349-B5FE-53D2D2B17F49}"/>
                </a:ext>
              </a:extLst>
            </p:cNvPr>
            <p:cNvSpPr>
              <a:spLocks noEditPoints="1"/>
            </p:cNvSpPr>
            <p:nvPr/>
          </p:nvSpPr>
          <p:spPr bwMode="auto">
            <a:xfrm>
              <a:off x="6448425" y="1603376"/>
              <a:ext cx="106362" cy="130175"/>
            </a:xfrm>
            <a:custGeom>
              <a:avLst/>
              <a:gdLst>
                <a:gd name="T0" fmla="*/ 123 w 134"/>
                <a:gd name="T1" fmla="*/ 155 h 166"/>
                <a:gd name="T2" fmla="*/ 90 w 134"/>
                <a:gd name="T3" fmla="*/ 145 h 166"/>
                <a:gd name="T4" fmla="*/ 100 w 134"/>
                <a:gd name="T5" fmla="*/ 145 h 166"/>
                <a:gd name="T6" fmla="*/ 67 w 134"/>
                <a:gd name="T7" fmla="*/ 155 h 166"/>
                <a:gd name="T8" fmla="*/ 67 w 134"/>
                <a:gd name="T9" fmla="*/ 145 h 166"/>
                <a:gd name="T10" fmla="*/ 56 w 134"/>
                <a:gd name="T11" fmla="*/ 155 h 166"/>
                <a:gd name="T12" fmla="*/ 23 w 134"/>
                <a:gd name="T13" fmla="*/ 145 h 166"/>
                <a:gd name="T14" fmla="*/ 34 w 134"/>
                <a:gd name="T15" fmla="*/ 145 h 166"/>
                <a:gd name="T16" fmla="*/ 100 w 134"/>
                <a:gd name="T17" fmla="*/ 132 h 166"/>
                <a:gd name="T18" fmla="*/ 100 w 134"/>
                <a:gd name="T19" fmla="*/ 122 h 166"/>
                <a:gd name="T20" fmla="*/ 90 w 134"/>
                <a:gd name="T21" fmla="*/ 132 h 166"/>
                <a:gd name="T22" fmla="*/ 56 w 134"/>
                <a:gd name="T23" fmla="*/ 122 h 166"/>
                <a:gd name="T24" fmla="*/ 67 w 134"/>
                <a:gd name="T25" fmla="*/ 122 h 166"/>
                <a:gd name="T26" fmla="*/ 34 w 134"/>
                <a:gd name="T27" fmla="*/ 132 h 166"/>
                <a:gd name="T28" fmla="*/ 34 w 134"/>
                <a:gd name="T29" fmla="*/ 122 h 166"/>
                <a:gd name="T30" fmla="*/ 23 w 134"/>
                <a:gd name="T31" fmla="*/ 132 h 166"/>
                <a:gd name="T32" fmla="*/ 67 w 134"/>
                <a:gd name="T33" fmla="*/ 28 h 166"/>
                <a:gd name="T34" fmla="*/ 74 w 134"/>
                <a:gd name="T35" fmla="*/ 36 h 166"/>
                <a:gd name="T36" fmla="*/ 81 w 134"/>
                <a:gd name="T37" fmla="*/ 37 h 166"/>
                <a:gd name="T38" fmla="*/ 78 w 134"/>
                <a:gd name="T39" fmla="*/ 46 h 166"/>
                <a:gd name="T40" fmla="*/ 69 w 134"/>
                <a:gd name="T41" fmla="*/ 44 h 166"/>
                <a:gd name="T42" fmla="*/ 62 w 134"/>
                <a:gd name="T43" fmla="*/ 48 h 166"/>
                <a:gd name="T44" fmla="*/ 64 w 134"/>
                <a:gd name="T45" fmla="*/ 53 h 166"/>
                <a:gd name="T46" fmla="*/ 72 w 134"/>
                <a:gd name="T47" fmla="*/ 57 h 166"/>
                <a:gd name="T48" fmla="*/ 83 w 134"/>
                <a:gd name="T49" fmla="*/ 67 h 166"/>
                <a:gd name="T50" fmla="*/ 85 w 134"/>
                <a:gd name="T51" fmla="*/ 76 h 166"/>
                <a:gd name="T52" fmla="*/ 78 w 134"/>
                <a:gd name="T53" fmla="*/ 85 h 166"/>
                <a:gd name="T54" fmla="*/ 74 w 134"/>
                <a:gd name="T55" fmla="*/ 87 h 166"/>
                <a:gd name="T56" fmla="*/ 67 w 134"/>
                <a:gd name="T57" fmla="*/ 88 h 166"/>
                <a:gd name="T58" fmla="*/ 56 w 134"/>
                <a:gd name="T59" fmla="*/ 87 h 166"/>
                <a:gd name="T60" fmla="*/ 55 w 134"/>
                <a:gd name="T61" fmla="*/ 76 h 166"/>
                <a:gd name="T62" fmla="*/ 60 w 134"/>
                <a:gd name="T63" fmla="*/ 78 h 166"/>
                <a:gd name="T64" fmla="*/ 69 w 134"/>
                <a:gd name="T65" fmla="*/ 78 h 166"/>
                <a:gd name="T66" fmla="*/ 74 w 134"/>
                <a:gd name="T67" fmla="*/ 74 h 166"/>
                <a:gd name="T68" fmla="*/ 71 w 134"/>
                <a:gd name="T69" fmla="*/ 69 h 166"/>
                <a:gd name="T70" fmla="*/ 60 w 134"/>
                <a:gd name="T71" fmla="*/ 62 h 166"/>
                <a:gd name="T72" fmla="*/ 53 w 134"/>
                <a:gd name="T73" fmla="*/ 57 h 166"/>
                <a:gd name="T74" fmla="*/ 53 w 134"/>
                <a:gd name="T75" fmla="*/ 46 h 166"/>
                <a:gd name="T76" fmla="*/ 60 w 134"/>
                <a:gd name="T77" fmla="*/ 37 h 166"/>
                <a:gd name="T78" fmla="*/ 67 w 134"/>
                <a:gd name="T79" fmla="*/ 28 h 166"/>
                <a:gd name="T80" fmla="*/ 32 w 134"/>
                <a:gd name="T81" fmla="*/ 25 h 166"/>
                <a:gd name="T82" fmla="*/ 21 w 134"/>
                <a:gd name="T83" fmla="*/ 80 h 166"/>
                <a:gd name="T84" fmla="*/ 67 w 134"/>
                <a:gd name="T85" fmla="*/ 111 h 166"/>
                <a:gd name="T86" fmla="*/ 115 w 134"/>
                <a:gd name="T87" fmla="*/ 80 h 166"/>
                <a:gd name="T88" fmla="*/ 102 w 134"/>
                <a:gd name="T89" fmla="*/ 25 h 166"/>
                <a:gd name="T90" fmla="*/ 67 w 134"/>
                <a:gd name="T91" fmla="*/ 0 h 166"/>
                <a:gd name="T92" fmla="*/ 123 w 134"/>
                <a:gd name="T93" fmla="*/ 37 h 166"/>
                <a:gd name="T94" fmla="*/ 116 w 134"/>
                <a:gd name="T95" fmla="*/ 97 h 166"/>
                <a:gd name="T96" fmla="*/ 120 w 134"/>
                <a:gd name="T97" fmla="*/ 111 h 166"/>
                <a:gd name="T98" fmla="*/ 123 w 134"/>
                <a:gd name="T99" fmla="*/ 132 h 166"/>
                <a:gd name="T100" fmla="*/ 134 w 134"/>
                <a:gd name="T101" fmla="*/ 136 h 166"/>
                <a:gd name="T102" fmla="*/ 134 w 134"/>
                <a:gd name="T103" fmla="*/ 164 h 166"/>
                <a:gd name="T104" fmla="*/ 18 w 134"/>
                <a:gd name="T105" fmla="*/ 166 h 166"/>
                <a:gd name="T106" fmla="*/ 11 w 134"/>
                <a:gd name="T107" fmla="*/ 160 h 166"/>
                <a:gd name="T108" fmla="*/ 4 w 134"/>
                <a:gd name="T109" fmla="*/ 143 h 166"/>
                <a:gd name="T110" fmla="*/ 0 w 134"/>
                <a:gd name="T111" fmla="*/ 116 h 166"/>
                <a:gd name="T112" fmla="*/ 5 w 134"/>
                <a:gd name="T113" fmla="*/ 111 h 166"/>
                <a:gd name="T114" fmla="*/ 9 w 134"/>
                <a:gd name="T115" fmla="*/ 81 h 166"/>
                <a:gd name="T116" fmla="*/ 25 w 134"/>
                <a:gd name="T117" fmla="*/ 1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4" h="166">
                  <a:moveTo>
                    <a:pt x="113" y="145"/>
                  </a:moveTo>
                  <a:lnTo>
                    <a:pt x="113" y="155"/>
                  </a:lnTo>
                  <a:lnTo>
                    <a:pt x="123" y="155"/>
                  </a:lnTo>
                  <a:lnTo>
                    <a:pt x="123" y="145"/>
                  </a:lnTo>
                  <a:lnTo>
                    <a:pt x="113" y="145"/>
                  </a:lnTo>
                  <a:close/>
                  <a:moveTo>
                    <a:pt x="90" y="145"/>
                  </a:moveTo>
                  <a:lnTo>
                    <a:pt x="90" y="155"/>
                  </a:lnTo>
                  <a:lnTo>
                    <a:pt x="100" y="155"/>
                  </a:lnTo>
                  <a:lnTo>
                    <a:pt x="100" y="145"/>
                  </a:lnTo>
                  <a:lnTo>
                    <a:pt x="90" y="145"/>
                  </a:lnTo>
                  <a:close/>
                  <a:moveTo>
                    <a:pt x="67" y="145"/>
                  </a:moveTo>
                  <a:lnTo>
                    <a:pt x="67" y="155"/>
                  </a:lnTo>
                  <a:lnTo>
                    <a:pt x="79" y="155"/>
                  </a:lnTo>
                  <a:lnTo>
                    <a:pt x="79" y="145"/>
                  </a:lnTo>
                  <a:lnTo>
                    <a:pt x="67" y="145"/>
                  </a:lnTo>
                  <a:close/>
                  <a:moveTo>
                    <a:pt x="44" y="145"/>
                  </a:moveTo>
                  <a:lnTo>
                    <a:pt x="44" y="155"/>
                  </a:lnTo>
                  <a:lnTo>
                    <a:pt x="56" y="155"/>
                  </a:lnTo>
                  <a:lnTo>
                    <a:pt x="56" y="145"/>
                  </a:lnTo>
                  <a:lnTo>
                    <a:pt x="44" y="145"/>
                  </a:lnTo>
                  <a:close/>
                  <a:moveTo>
                    <a:pt x="23" y="145"/>
                  </a:moveTo>
                  <a:lnTo>
                    <a:pt x="23" y="155"/>
                  </a:lnTo>
                  <a:lnTo>
                    <a:pt x="34" y="155"/>
                  </a:lnTo>
                  <a:lnTo>
                    <a:pt x="34" y="145"/>
                  </a:lnTo>
                  <a:lnTo>
                    <a:pt x="23" y="145"/>
                  </a:lnTo>
                  <a:close/>
                  <a:moveTo>
                    <a:pt x="100" y="122"/>
                  </a:moveTo>
                  <a:lnTo>
                    <a:pt x="100" y="132"/>
                  </a:lnTo>
                  <a:lnTo>
                    <a:pt x="113" y="132"/>
                  </a:lnTo>
                  <a:lnTo>
                    <a:pt x="113" y="122"/>
                  </a:lnTo>
                  <a:lnTo>
                    <a:pt x="100" y="122"/>
                  </a:lnTo>
                  <a:close/>
                  <a:moveTo>
                    <a:pt x="79" y="122"/>
                  </a:moveTo>
                  <a:lnTo>
                    <a:pt x="79" y="132"/>
                  </a:lnTo>
                  <a:lnTo>
                    <a:pt x="90" y="132"/>
                  </a:lnTo>
                  <a:lnTo>
                    <a:pt x="90" y="122"/>
                  </a:lnTo>
                  <a:lnTo>
                    <a:pt x="79" y="122"/>
                  </a:lnTo>
                  <a:close/>
                  <a:moveTo>
                    <a:pt x="56" y="122"/>
                  </a:moveTo>
                  <a:lnTo>
                    <a:pt x="56" y="132"/>
                  </a:lnTo>
                  <a:lnTo>
                    <a:pt x="67" y="132"/>
                  </a:lnTo>
                  <a:lnTo>
                    <a:pt x="67" y="122"/>
                  </a:lnTo>
                  <a:lnTo>
                    <a:pt x="56" y="122"/>
                  </a:lnTo>
                  <a:close/>
                  <a:moveTo>
                    <a:pt x="34" y="122"/>
                  </a:moveTo>
                  <a:lnTo>
                    <a:pt x="34" y="132"/>
                  </a:lnTo>
                  <a:lnTo>
                    <a:pt x="44" y="132"/>
                  </a:lnTo>
                  <a:lnTo>
                    <a:pt x="44" y="122"/>
                  </a:lnTo>
                  <a:lnTo>
                    <a:pt x="34" y="122"/>
                  </a:lnTo>
                  <a:close/>
                  <a:moveTo>
                    <a:pt x="11" y="122"/>
                  </a:moveTo>
                  <a:lnTo>
                    <a:pt x="11" y="132"/>
                  </a:lnTo>
                  <a:lnTo>
                    <a:pt x="23" y="132"/>
                  </a:lnTo>
                  <a:lnTo>
                    <a:pt x="23" y="122"/>
                  </a:lnTo>
                  <a:lnTo>
                    <a:pt x="11" y="122"/>
                  </a:lnTo>
                  <a:close/>
                  <a:moveTo>
                    <a:pt x="67" y="28"/>
                  </a:moveTo>
                  <a:lnTo>
                    <a:pt x="74" y="28"/>
                  </a:lnTo>
                  <a:lnTo>
                    <a:pt x="74" y="36"/>
                  </a:lnTo>
                  <a:lnTo>
                    <a:pt x="74" y="36"/>
                  </a:lnTo>
                  <a:lnTo>
                    <a:pt x="76" y="36"/>
                  </a:lnTo>
                  <a:lnTo>
                    <a:pt x="78" y="36"/>
                  </a:lnTo>
                  <a:lnTo>
                    <a:pt x="81" y="37"/>
                  </a:lnTo>
                  <a:lnTo>
                    <a:pt x="85" y="39"/>
                  </a:lnTo>
                  <a:lnTo>
                    <a:pt x="81" y="46"/>
                  </a:lnTo>
                  <a:lnTo>
                    <a:pt x="78" y="46"/>
                  </a:lnTo>
                  <a:lnTo>
                    <a:pt x="74" y="44"/>
                  </a:lnTo>
                  <a:lnTo>
                    <a:pt x="71" y="44"/>
                  </a:lnTo>
                  <a:lnTo>
                    <a:pt x="69" y="44"/>
                  </a:lnTo>
                  <a:lnTo>
                    <a:pt x="65" y="44"/>
                  </a:lnTo>
                  <a:lnTo>
                    <a:pt x="64" y="46"/>
                  </a:lnTo>
                  <a:lnTo>
                    <a:pt x="62" y="48"/>
                  </a:lnTo>
                  <a:lnTo>
                    <a:pt x="62" y="50"/>
                  </a:lnTo>
                  <a:lnTo>
                    <a:pt x="64" y="51"/>
                  </a:lnTo>
                  <a:lnTo>
                    <a:pt x="64" y="53"/>
                  </a:lnTo>
                  <a:lnTo>
                    <a:pt x="65" y="53"/>
                  </a:lnTo>
                  <a:lnTo>
                    <a:pt x="67" y="55"/>
                  </a:lnTo>
                  <a:lnTo>
                    <a:pt x="72" y="57"/>
                  </a:lnTo>
                  <a:lnTo>
                    <a:pt x="78" y="60"/>
                  </a:lnTo>
                  <a:lnTo>
                    <a:pt x="81" y="64"/>
                  </a:lnTo>
                  <a:lnTo>
                    <a:pt x="83" y="67"/>
                  </a:lnTo>
                  <a:lnTo>
                    <a:pt x="85" y="69"/>
                  </a:lnTo>
                  <a:lnTo>
                    <a:pt x="85" y="72"/>
                  </a:lnTo>
                  <a:lnTo>
                    <a:pt x="85" y="76"/>
                  </a:lnTo>
                  <a:lnTo>
                    <a:pt x="83" y="80"/>
                  </a:lnTo>
                  <a:lnTo>
                    <a:pt x="81" y="83"/>
                  </a:lnTo>
                  <a:lnTo>
                    <a:pt x="78" y="85"/>
                  </a:lnTo>
                  <a:lnTo>
                    <a:pt x="76" y="87"/>
                  </a:lnTo>
                  <a:lnTo>
                    <a:pt x="74" y="87"/>
                  </a:lnTo>
                  <a:lnTo>
                    <a:pt x="74" y="87"/>
                  </a:lnTo>
                  <a:lnTo>
                    <a:pt x="74" y="94"/>
                  </a:lnTo>
                  <a:lnTo>
                    <a:pt x="67" y="94"/>
                  </a:lnTo>
                  <a:lnTo>
                    <a:pt x="67" y="88"/>
                  </a:lnTo>
                  <a:lnTo>
                    <a:pt x="67" y="88"/>
                  </a:lnTo>
                  <a:lnTo>
                    <a:pt x="62" y="87"/>
                  </a:lnTo>
                  <a:lnTo>
                    <a:pt x="56" y="87"/>
                  </a:lnTo>
                  <a:lnTo>
                    <a:pt x="51" y="85"/>
                  </a:lnTo>
                  <a:lnTo>
                    <a:pt x="51" y="74"/>
                  </a:lnTo>
                  <a:lnTo>
                    <a:pt x="55" y="76"/>
                  </a:lnTo>
                  <a:lnTo>
                    <a:pt x="56" y="76"/>
                  </a:lnTo>
                  <a:lnTo>
                    <a:pt x="58" y="78"/>
                  </a:lnTo>
                  <a:lnTo>
                    <a:pt x="60" y="78"/>
                  </a:lnTo>
                  <a:lnTo>
                    <a:pt x="64" y="78"/>
                  </a:lnTo>
                  <a:lnTo>
                    <a:pt x="65" y="78"/>
                  </a:lnTo>
                  <a:lnTo>
                    <a:pt x="69" y="78"/>
                  </a:lnTo>
                  <a:lnTo>
                    <a:pt x="72" y="78"/>
                  </a:lnTo>
                  <a:lnTo>
                    <a:pt x="72" y="76"/>
                  </a:lnTo>
                  <a:lnTo>
                    <a:pt x="74" y="74"/>
                  </a:lnTo>
                  <a:lnTo>
                    <a:pt x="72" y="71"/>
                  </a:lnTo>
                  <a:lnTo>
                    <a:pt x="72" y="69"/>
                  </a:lnTo>
                  <a:lnTo>
                    <a:pt x="71" y="69"/>
                  </a:lnTo>
                  <a:lnTo>
                    <a:pt x="67" y="67"/>
                  </a:lnTo>
                  <a:lnTo>
                    <a:pt x="64" y="65"/>
                  </a:lnTo>
                  <a:lnTo>
                    <a:pt x="60" y="62"/>
                  </a:lnTo>
                  <a:lnTo>
                    <a:pt x="56" y="60"/>
                  </a:lnTo>
                  <a:lnTo>
                    <a:pt x="55" y="58"/>
                  </a:lnTo>
                  <a:lnTo>
                    <a:pt x="53" y="57"/>
                  </a:lnTo>
                  <a:lnTo>
                    <a:pt x="51" y="53"/>
                  </a:lnTo>
                  <a:lnTo>
                    <a:pt x="51" y="50"/>
                  </a:lnTo>
                  <a:lnTo>
                    <a:pt x="53" y="46"/>
                  </a:lnTo>
                  <a:lnTo>
                    <a:pt x="55" y="43"/>
                  </a:lnTo>
                  <a:lnTo>
                    <a:pt x="56" y="39"/>
                  </a:lnTo>
                  <a:lnTo>
                    <a:pt x="60" y="37"/>
                  </a:lnTo>
                  <a:lnTo>
                    <a:pt x="64" y="36"/>
                  </a:lnTo>
                  <a:lnTo>
                    <a:pt x="67" y="36"/>
                  </a:lnTo>
                  <a:lnTo>
                    <a:pt x="67" y="28"/>
                  </a:lnTo>
                  <a:close/>
                  <a:moveTo>
                    <a:pt x="67" y="11"/>
                  </a:moveTo>
                  <a:lnTo>
                    <a:pt x="48" y="14"/>
                  </a:lnTo>
                  <a:lnTo>
                    <a:pt x="32" y="25"/>
                  </a:lnTo>
                  <a:lnTo>
                    <a:pt x="21" y="41"/>
                  </a:lnTo>
                  <a:lnTo>
                    <a:pt x="18" y="60"/>
                  </a:lnTo>
                  <a:lnTo>
                    <a:pt x="21" y="80"/>
                  </a:lnTo>
                  <a:lnTo>
                    <a:pt x="32" y="95"/>
                  </a:lnTo>
                  <a:lnTo>
                    <a:pt x="48" y="108"/>
                  </a:lnTo>
                  <a:lnTo>
                    <a:pt x="67" y="111"/>
                  </a:lnTo>
                  <a:lnTo>
                    <a:pt x="86" y="108"/>
                  </a:lnTo>
                  <a:lnTo>
                    <a:pt x="102" y="95"/>
                  </a:lnTo>
                  <a:lnTo>
                    <a:pt x="115" y="80"/>
                  </a:lnTo>
                  <a:lnTo>
                    <a:pt x="118" y="60"/>
                  </a:lnTo>
                  <a:lnTo>
                    <a:pt x="115" y="41"/>
                  </a:lnTo>
                  <a:lnTo>
                    <a:pt x="102" y="25"/>
                  </a:lnTo>
                  <a:lnTo>
                    <a:pt x="86" y="14"/>
                  </a:lnTo>
                  <a:lnTo>
                    <a:pt x="67" y="11"/>
                  </a:lnTo>
                  <a:close/>
                  <a:moveTo>
                    <a:pt x="67" y="0"/>
                  </a:moveTo>
                  <a:lnTo>
                    <a:pt x="92" y="6"/>
                  </a:lnTo>
                  <a:lnTo>
                    <a:pt x="111" y="18"/>
                  </a:lnTo>
                  <a:lnTo>
                    <a:pt x="123" y="37"/>
                  </a:lnTo>
                  <a:lnTo>
                    <a:pt x="129" y="60"/>
                  </a:lnTo>
                  <a:lnTo>
                    <a:pt x="125" y="81"/>
                  </a:lnTo>
                  <a:lnTo>
                    <a:pt x="116" y="97"/>
                  </a:lnTo>
                  <a:lnTo>
                    <a:pt x="102" y="111"/>
                  </a:lnTo>
                  <a:lnTo>
                    <a:pt x="118" y="111"/>
                  </a:lnTo>
                  <a:lnTo>
                    <a:pt x="120" y="111"/>
                  </a:lnTo>
                  <a:lnTo>
                    <a:pt x="123" y="113"/>
                  </a:lnTo>
                  <a:lnTo>
                    <a:pt x="123" y="116"/>
                  </a:lnTo>
                  <a:lnTo>
                    <a:pt x="123" y="132"/>
                  </a:lnTo>
                  <a:lnTo>
                    <a:pt x="129" y="132"/>
                  </a:lnTo>
                  <a:lnTo>
                    <a:pt x="132" y="134"/>
                  </a:lnTo>
                  <a:lnTo>
                    <a:pt x="134" y="136"/>
                  </a:lnTo>
                  <a:lnTo>
                    <a:pt x="134" y="138"/>
                  </a:lnTo>
                  <a:lnTo>
                    <a:pt x="134" y="160"/>
                  </a:lnTo>
                  <a:lnTo>
                    <a:pt x="134" y="164"/>
                  </a:lnTo>
                  <a:lnTo>
                    <a:pt x="132" y="166"/>
                  </a:lnTo>
                  <a:lnTo>
                    <a:pt x="129" y="166"/>
                  </a:lnTo>
                  <a:lnTo>
                    <a:pt x="18" y="166"/>
                  </a:lnTo>
                  <a:lnTo>
                    <a:pt x="14" y="166"/>
                  </a:lnTo>
                  <a:lnTo>
                    <a:pt x="13" y="164"/>
                  </a:lnTo>
                  <a:lnTo>
                    <a:pt x="11" y="160"/>
                  </a:lnTo>
                  <a:lnTo>
                    <a:pt x="11" y="145"/>
                  </a:lnTo>
                  <a:lnTo>
                    <a:pt x="5" y="145"/>
                  </a:lnTo>
                  <a:lnTo>
                    <a:pt x="4" y="143"/>
                  </a:lnTo>
                  <a:lnTo>
                    <a:pt x="2" y="141"/>
                  </a:lnTo>
                  <a:lnTo>
                    <a:pt x="0" y="138"/>
                  </a:lnTo>
                  <a:lnTo>
                    <a:pt x="0" y="116"/>
                  </a:lnTo>
                  <a:lnTo>
                    <a:pt x="2" y="113"/>
                  </a:lnTo>
                  <a:lnTo>
                    <a:pt x="4" y="111"/>
                  </a:lnTo>
                  <a:lnTo>
                    <a:pt x="5" y="111"/>
                  </a:lnTo>
                  <a:lnTo>
                    <a:pt x="32" y="111"/>
                  </a:lnTo>
                  <a:lnTo>
                    <a:pt x="20" y="97"/>
                  </a:lnTo>
                  <a:lnTo>
                    <a:pt x="9" y="81"/>
                  </a:lnTo>
                  <a:lnTo>
                    <a:pt x="5" y="60"/>
                  </a:lnTo>
                  <a:lnTo>
                    <a:pt x="11" y="37"/>
                  </a:lnTo>
                  <a:lnTo>
                    <a:pt x="25" y="18"/>
                  </a:lnTo>
                  <a:lnTo>
                    <a:pt x="44" y="6"/>
                  </a:lnTo>
                  <a:lnTo>
                    <a:pt x="6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76">
              <a:extLst>
                <a:ext uri="{FF2B5EF4-FFF2-40B4-BE49-F238E27FC236}">
                  <a16:creationId xmlns:a16="http://schemas.microsoft.com/office/drawing/2014/main" id="{C9AF9D33-E6C8-4F40-9A55-518034BDA216}"/>
                </a:ext>
              </a:extLst>
            </p:cNvPr>
            <p:cNvSpPr>
              <a:spLocks noEditPoints="1"/>
            </p:cNvSpPr>
            <p:nvPr/>
          </p:nvSpPr>
          <p:spPr bwMode="auto">
            <a:xfrm>
              <a:off x="8243888" y="1265238"/>
              <a:ext cx="76200" cy="169863"/>
            </a:xfrm>
            <a:custGeom>
              <a:avLst/>
              <a:gdLst>
                <a:gd name="T0" fmla="*/ 55 w 97"/>
                <a:gd name="T1" fmla="*/ 182 h 215"/>
                <a:gd name="T2" fmla="*/ 79 w 97"/>
                <a:gd name="T3" fmla="*/ 162 h 215"/>
                <a:gd name="T4" fmla="*/ 79 w 97"/>
                <a:gd name="T5" fmla="*/ 131 h 215"/>
                <a:gd name="T6" fmla="*/ 55 w 97"/>
                <a:gd name="T7" fmla="*/ 113 h 215"/>
                <a:gd name="T8" fmla="*/ 26 w 97"/>
                <a:gd name="T9" fmla="*/ 36 h 215"/>
                <a:gd name="T10" fmla="*/ 12 w 97"/>
                <a:gd name="T11" fmla="*/ 64 h 215"/>
                <a:gd name="T12" fmla="*/ 26 w 97"/>
                <a:gd name="T13" fmla="*/ 90 h 215"/>
                <a:gd name="T14" fmla="*/ 40 w 97"/>
                <a:gd name="T15" fmla="*/ 29 h 215"/>
                <a:gd name="T16" fmla="*/ 51 w 97"/>
                <a:gd name="T17" fmla="*/ 2 h 215"/>
                <a:gd name="T18" fmla="*/ 55 w 97"/>
                <a:gd name="T19" fmla="*/ 8 h 215"/>
                <a:gd name="T20" fmla="*/ 69 w 97"/>
                <a:gd name="T21" fmla="*/ 20 h 215"/>
                <a:gd name="T22" fmla="*/ 90 w 97"/>
                <a:gd name="T23" fmla="*/ 39 h 215"/>
                <a:gd name="T24" fmla="*/ 90 w 97"/>
                <a:gd name="T25" fmla="*/ 44 h 215"/>
                <a:gd name="T26" fmla="*/ 86 w 97"/>
                <a:gd name="T27" fmla="*/ 48 h 215"/>
                <a:gd name="T28" fmla="*/ 81 w 97"/>
                <a:gd name="T29" fmla="*/ 48 h 215"/>
                <a:gd name="T30" fmla="*/ 74 w 97"/>
                <a:gd name="T31" fmla="*/ 41 h 215"/>
                <a:gd name="T32" fmla="*/ 62 w 97"/>
                <a:gd name="T33" fmla="*/ 32 h 215"/>
                <a:gd name="T34" fmla="*/ 55 w 97"/>
                <a:gd name="T35" fmla="*/ 99 h 215"/>
                <a:gd name="T36" fmla="*/ 84 w 97"/>
                <a:gd name="T37" fmla="*/ 115 h 215"/>
                <a:gd name="T38" fmla="*/ 97 w 97"/>
                <a:gd name="T39" fmla="*/ 147 h 215"/>
                <a:gd name="T40" fmla="*/ 84 w 97"/>
                <a:gd name="T41" fmla="*/ 178 h 215"/>
                <a:gd name="T42" fmla="*/ 55 w 97"/>
                <a:gd name="T43" fmla="*/ 194 h 215"/>
                <a:gd name="T44" fmla="*/ 55 w 97"/>
                <a:gd name="T45" fmla="*/ 213 h 215"/>
                <a:gd name="T46" fmla="*/ 48 w 97"/>
                <a:gd name="T47" fmla="*/ 215 h 215"/>
                <a:gd name="T48" fmla="*/ 42 w 97"/>
                <a:gd name="T49" fmla="*/ 213 h 215"/>
                <a:gd name="T50" fmla="*/ 40 w 97"/>
                <a:gd name="T51" fmla="*/ 194 h 215"/>
                <a:gd name="T52" fmla="*/ 11 w 97"/>
                <a:gd name="T53" fmla="*/ 178 h 215"/>
                <a:gd name="T54" fmla="*/ 2 w 97"/>
                <a:gd name="T55" fmla="*/ 159 h 215"/>
                <a:gd name="T56" fmla="*/ 7 w 97"/>
                <a:gd name="T57" fmla="*/ 154 h 215"/>
                <a:gd name="T58" fmla="*/ 12 w 97"/>
                <a:gd name="T59" fmla="*/ 155 h 215"/>
                <a:gd name="T60" fmla="*/ 19 w 97"/>
                <a:gd name="T61" fmla="*/ 166 h 215"/>
                <a:gd name="T62" fmla="*/ 32 w 97"/>
                <a:gd name="T63" fmla="*/ 178 h 215"/>
                <a:gd name="T64" fmla="*/ 40 w 97"/>
                <a:gd name="T65" fmla="*/ 111 h 215"/>
                <a:gd name="T66" fmla="*/ 11 w 97"/>
                <a:gd name="T67" fmla="*/ 96 h 215"/>
                <a:gd name="T68" fmla="*/ 0 w 97"/>
                <a:gd name="T69" fmla="*/ 64 h 215"/>
                <a:gd name="T70" fmla="*/ 11 w 97"/>
                <a:gd name="T71" fmla="*/ 32 h 215"/>
                <a:gd name="T72" fmla="*/ 40 w 97"/>
                <a:gd name="T73" fmla="*/ 16 h 215"/>
                <a:gd name="T74" fmla="*/ 42 w 97"/>
                <a:gd name="T75" fmla="*/ 4 h 215"/>
                <a:gd name="T76" fmla="*/ 48 w 97"/>
                <a:gd name="T7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 h="215">
                  <a:moveTo>
                    <a:pt x="55" y="113"/>
                  </a:moveTo>
                  <a:lnTo>
                    <a:pt x="55" y="182"/>
                  </a:lnTo>
                  <a:lnTo>
                    <a:pt x="69" y="175"/>
                  </a:lnTo>
                  <a:lnTo>
                    <a:pt x="79" y="162"/>
                  </a:lnTo>
                  <a:lnTo>
                    <a:pt x="83" y="147"/>
                  </a:lnTo>
                  <a:lnTo>
                    <a:pt x="79" y="131"/>
                  </a:lnTo>
                  <a:lnTo>
                    <a:pt x="69" y="118"/>
                  </a:lnTo>
                  <a:lnTo>
                    <a:pt x="55" y="113"/>
                  </a:lnTo>
                  <a:close/>
                  <a:moveTo>
                    <a:pt x="40" y="29"/>
                  </a:moveTo>
                  <a:lnTo>
                    <a:pt x="26" y="36"/>
                  </a:lnTo>
                  <a:lnTo>
                    <a:pt x="16" y="48"/>
                  </a:lnTo>
                  <a:lnTo>
                    <a:pt x="12" y="64"/>
                  </a:lnTo>
                  <a:lnTo>
                    <a:pt x="16" y="80"/>
                  </a:lnTo>
                  <a:lnTo>
                    <a:pt x="26" y="90"/>
                  </a:lnTo>
                  <a:lnTo>
                    <a:pt x="40" y="97"/>
                  </a:lnTo>
                  <a:lnTo>
                    <a:pt x="40" y="29"/>
                  </a:lnTo>
                  <a:close/>
                  <a:moveTo>
                    <a:pt x="48" y="0"/>
                  </a:moveTo>
                  <a:lnTo>
                    <a:pt x="51" y="2"/>
                  </a:lnTo>
                  <a:lnTo>
                    <a:pt x="55" y="4"/>
                  </a:lnTo>
                  <a:lnTo>
                    <a:pt x="55" y="8"/>
                  </a:lnTo>
                  <a:lnTo>
                    <a:pt x="55" y="16"/>
                  </a:lnTo>
                  <a:lnTo>
                    <a:pt x="69" y="20"/>
                  </a:lnTo>
                  <a:lnTo>
                    <a:pt x="81" y="27"/>
                  </a:lnTo>
                  <a:lnTo>
                    <a:pt x="90" y="39"/>
                  </a:lnTo>
                  <a:lnTo>
                    <a:pt x="91" y="41"/>
                  </a:lnTo>
                  <a:lnTo>
                    <a:pt x="90" y="44"/>
                  </a:lnTo>
                  <a:lnTo>
                    <a:pt x="90" y="46"/>
                  </a:lnTo>
                  <a:lnTo>
                    <a:pt x="86" y="48"/>
                  </a:lnTo>
                  <a:lnTo>
                    <a:pt x="84" y="50"/>
                  </a:lnTo>
                  <a:lnTo>
                    <a:pt x="81" y="48"/>
                  </a:lnTo>
                  <a:lnTo>
                    <a:pt x="77" y="46"/>
                  </a:lnTo>
                  <a:lnTo>
                    <a:pt x="74" y="41"/>
                  </a:lnTo>
                  <a:lnTo>
                    <a:pt x="69" y="36"/>
                  </a:lnTo>
                  <a:lnTo>
                    <a:pt x="62" y="32"/>
                  </a:lnTo>
                  <a:lnTo>
                    <a:pt x="55" y="30"/>
                  </a:lnTo>
                  <a:lnTo>
                    <a:pt x="55" y="99"/>
                  </a:lnTo>
                  <a:lnTo>
                    <a:pt x="70" y="104"/>
                  </a:lnTo>
                  <a:lnTo>
                    <a:pt x="84" y="115"/>
                  </a:lnTo>
                  <a:lnTo>
                    <a:pt x="93" y="129"/>
                  </a:lnTo>
                  <a:lnTo>
                    <a:pt x="97" y="147"/>
                  </a:lnTo>
                  <a:lnTo>
                    <a:pt x="93" y="164"/>
                  </a:lnTo>
                  <a:lnTo>
                    <a:pt x="84" y="178"/>
                  </a:lnTo>
                  <a:lnTo>
                    <a:pt x="70" y="189"/>
                  </a:lnTo>
                  <a:lnTo>
                    <a:pt x="55" y="194"/>
                  </a:lnTo>
                  <a:lnTo>
                    <a:pt x="55" y="210"/>
                  </a:lnTo>
                  <a:lnTo>
                    <a:pt x="55" y="213"/>
                  </a:lnTo>
                  <a:lnTo>
                    <a:pt x="51" y="215"/>
                  </a:lnTo>
                  <a:lnTo>
                    <a:pt x="48" y="215"/>
                  </a:lnTo>
                  <a:lnTo>
                    <a:pt x="44" y="215"/>
                  </a:lnTo>
                  <a:lnTo>
                    <a:pt x="42" y="213"/>
                  </a:lnTo>
                  <a:lnTo>
                    <a:pt x="40" y="210"/>
                  </a:lnTo>
                  <a:lnTo>
                    <a:pt x="40" y="194"/>
                  </a:lnTo>
                  <a:lnTo>
                    <a:pt x="25" y="189"/>
                  </a:lnTo>
                  <a:lnTo>
                    <a:pt x="11" y="178"/>
                  </a:lnTo>
                  <a:lnTo>
                    <a:pt x="2" y="162"/>
                  </a:lnTo>
                  <a:lnTo>
                    <a:pt x="2" y="159"/>
                  </a:lnTo>
                  <a:lnTo>
                    <a:pt x="4" y="157"/>
                  </a:lnTo>
                  <a:lnTo>
                    <a:pt x="7" y="154"/>
                  </a:lnTo>
                  <a:lnTo>
                    <a:pt x="9" y="154"/>
                  </a:lnTo>
                  <a:lnTo>
                    <a:pt x="12" y="155"/>
                  </a:lnTo>
                  <a:lnTo>
                    <a:pt x="14" y="159"/>
                  </a:lnTo>
                  <a:lnTo>
                    <a:pt x="19" y="166"/>
                  </a:lnTo>
                  <a:lnTo>
                    <a:pt x="25" y="173"/>
                  </a:lnTo>
                  <a:lnTo>
                    <a:pt x="32" y="178"/>
                  </a:lnTo>
                  <a:lnTo>
                    <a:pt x="40" y="182"/>
                  </a:lnTo>
                  <a:lnTo>
                    <a:pt x="40" y="111"/>
                  </a:lnTo>
                  <a:lnTo>
                    <a:pt x="25" y="106"/>
                  </a:lnTo>
                  <a:lnTo>
                    <a:pt x="11" y="96"/>
                  </a:lnTo>
                  <a:lnTo>
                    <a:pt x="2" y="81"/>
                  </a:lnTo>
                  <a:lnTo>
                    <a:pt x="0" y="64"/>
                  </a:lnTo>
                  <a:lnTo>
                    <a:pt x="2" y="46"/>
                  </a:lnTo>
                  <a:lnTo>
                    <a:pt x="11" y="32"/>
                  </a:lnTo>
                  <a:lnTo>
                    <a:pt x="25" y="22"/>
                  </a:lnTo>
                  <a:lnTo>
                    <a:pt x="40" y="16"/>
                  </a:lnTo>
                  <a:lnTo>
                    <a:pt x="40" y="8"/>
                  </a:lnTo>
                  <a:lnTo>
                    <a:pt x="42" y="4"/>
                  </a:lnTo>
                  <a:lnTo>
                    <a:pt x="44" y="2"/>
                  </a:lnTo>
                  <a:lnTo>
                    <a:pt x="4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77">
              <a:extLst>
                <a:ext uri="{FF2B5EF4-FFF2-40B4-BE49-F238E27FC236}">
                  <a16:creationId xmlns:a16="http://schemas.microsoft.com/office/drawing/2014/main" id="{A374C5AE-7E26-B94F-9DFA-371672444E77}"/>
                </a:ext>
              </a:extLst>
            </p:cNvPr>
            <p:cNvSpPr>
              <a:spLocks noEditPoints="1"/>
            </p:cNvSpPr>
            <p:nvPr/>
          </p:nvSpPr>
          <p:spPr bwMode="auto">
            <a:xfrm>
              <a:off x="8150225" y="1216026"/>
              <a:ext cx="263525" cy="265113"/>
            </a:xfrm>
            <a:custGeom>
              <a:avLst/>
              <a:gdLst>
                <a:gd name="T0" fmla="*/ 166 w 333"/>
                <a:gd name="T1" fmla="*/ 14 h 334"/>
                <a:gd name="T2" fmla="*/ 130 w 333"/>
                <a:gd name="T3" fmla="*/ 17 h 334"/>
                <a:gd name="T4" fmla="*/ 99 w 333"/>
                <a:gd name="T5" fmla="*/ 30 h 334"/>
                <a:gd name="T6" fmla="*/ 71 w 333"/>
                <a:gd name="T7" fmla="*/ 47 h 334"/>
                <a:gd name="T8" fmla="*/ 48 w 333"/>
                <a:gd name="T9" fmla="*/ 70 h 334"/>
                <a:gd name="T10" fmla="*/ 28 w 333"/>
                <a:gd name="T11" fmla="*/ 100 h 334"/>
                <a:gd name="T12" fmla="*/ 18 w 333"/>
                <a:gd name="T13" fmla="*/ 132 h 334"/>
                <a:gd name="T14" fmla="*/ 12 w 333"/>
                <a:gd name="T15" fmla="*/ 167 h 334"/>
                <a:gd name="T16" fmla="*/ 18 w 333"/>
                <a:gd name="T17" fmla="*/ 202 h 334"/>
                <a:gd name="T18" fmla="*/ 28 w 333"/>
                <a:gd name="T19" fmla="*/ 234 h 334"/>
                <a:gd name="T20" fmla="*/ 48 w 333"/>
                <a:gd name="T21" fmla="*/ 262 h 334"/>
                <a:gd name="T22" fmla="*/ 71 w 333"/>
                <a:gd name="T23" fmla="*/ 287 h 334"/>
                <a:gd name="T24" fmla="*/ 99 w 333"/>
                <a:gd name="T25" fmla="*/ 304 h 334"/>
                <a:gd name="T26" fmla="*/ 130 w 333"/>
                <a:gd name="T27" fmla="*/ 315 h 334"/>
                <a:gd name="T28" fmla="*/ 166 w 333"/>
                <a:gd name="T29" fmla="*/ 320 h 334"/>
                <a:gd name="T30" fmla="*/ 208 w 333"/>
                <a:gd name="T31" fmla="*/ 315 h 334"/>
                <a:gd name="T32" fmla="*/ 243 w 333"/>
                <a:gd name="T33" fmla="*/ 299 h 334"/>
                <a:gd name="T34" fmla="*/ 275 w 333"/>
                <a:gd name="T35" fmla="*/ 274 h 334"/>
                <a:gd name="T36" fmla="*/ 297 w 333"/>
                <a:gd name="T37" fmla="*/ 244 h 334"/>
                <a:gd name="T38" fmla="*/ 313 w 333"/>
                <a:gd name="T39" fmla="*/ 208 h 334"/>
                <a:gd name="T40" fmla="*/ 319 w 333"/>
                <a:gd name="T41" fmla="*/ 167 h 334"/>
                <a:gd name="T42" fmla="*/ 315 w 333"/>
                <a:gd name="T43" fmla="*/ 132 h 334"/>
                <a:gd name="T44" fmla="*/ 303 w 333"/>
                <a:gd name="T45" fmla="*/ 100 h 334"/>
                <a:gd name="T46" fmla="*/ 285 w 333"/>
                <a:gd name="T47" fmla="*/ 70 h 334"/>
                <a:gd name="T48" fmla="*/ 262 w 333"/>
                <a:gd name="T49" fmla="*/ 47 h 334"/>
                <a:gd name="T50" fmla="*/ 234 w 333"/>
                <a:gd name="T51" fmla="*/ 30 h 334"/>
                <a:gd name="T52" fmla="*/ 201 w 333"/>
                <a:gd name="T53" fmla="*/ 17 h 334"/>
                <a:gd name="T54" fmla="*/ 166 w 333"/>
                <a:gd name="T55" fmla="*/ 14 h 334"/>
                <a:gd name="T56" fmla="*/ 166 w 333"/>
                <a:gd name="T57" fmla="*/ 0 h 334"/>
                <a:gd name="T58" fmla="*/ 204 w 333"/>
                <a:gd name="T59" fmla="*/ 5 h 334"/>
                <a:gd name="T60" fmla="*/ 239 w 333"/>
                <a:gd name="T61" fmla="*/ 17 h 334"/>
                <a:gd name="T62" fmla="*/ 271 w 333"/>
                <a:gd name="T63" fmla="*/ 37 h 334"/>
                <a:gd name="T64" fmla="*/ 296 w 333"/>
                <a:gd name="T65" fmla="*/ 61 h 334"/>
                <a:gd name="T66" fmla="*/ 317 w 333"/>
                <a:gd name="T67" fmla="*/ 93 h 334"/>
                <a:gd name="T68" fmla="*/ 329 w 333"/>
                <a:gd name="T69" fmla="*/ 128 h 334"/>
                <a:gd name="T70" fmla="*/ 333 w 333"/>
                <a:gd name="T71" fmla="*/ 167 h 334"/>
                <a:gd name="T72" fmla="*/ 329 w 333"/>
                <a:gd name="T73" fmla="*/ 206 h 334"/>
                <a:gd name="T74" fmla="*/ 317 w 333"/>
                <a:gd name="T75" fmla="*/ 241 h 334"/>
                <a:gd name="T76" fmla="*/ 296 w 333"/>
                <a:gd name="T77" fmla="*/ 271 h 334"/>
                <a:gd name="T78" fmla="*/ 271 w 333"/>
                <a:gd name="T79" fmla="*/ 297 h 334"/>
                <a:gd name="T80" fmla="*/ 239 w 333"/>
                <a:gd name="T81" fmla="*/ 317 h 334"/>
                <a:gd name="T82" fmla="*/ 204 w 333"/>
                <a:gd name="T83" fmla="*/ 329 h 334"/>
                <a:gd name="T84" fmla="*/ 166 w 333"/>
                <a:gd name="T85" fmla="*/ 334 h 334"/>
                <a:gd name="T86" fmla="*/ 129 w 333"/>
                <a:gd name="T87" fmla="*/ 329 h 334"/>
                <a:gd name="T88" fmla="*/ 93 w 333"/>
                <a:gd name="T89" fmla="*/ 317 h 334"/>
                <a:gd name="T90" fmla="*/ 62 w 333"/>
                <a:gd name="T91" fmla="*/ 297 h 334"/>
                <a:gd name="T92" fmla="*/ 35 w 333"/>
                <a:gd name="T93" fmla="*/ 271 h 334"/>
                <a:gd name="T94" fmla="*/ 16 w 333"/>
                <a:gd name="T95" fmla="*/ 241 h 334"/>
                <a:gd name="T96" fmla="*/ 4 w 333"/>
                <a:gd name="T97" fmla="*/ 206 h 334"/>
                <a:gd name="T98" fmla="*/ 0 w 333"/>
                <a:gd name="T99" fmla="*/ 167 h 334"/>
                <a:gd name="T100" fmla="*/ 4 w 333"/>
                <a:gd name="T101" fmla="*/ 128 h 334"/>
                <a:gd name="T102" fmla="*/ 16 w 333"/>
                <a:gd name="T103" fmla="*/ 93 h 334"/>
                <a:gd name="T104" fmla="*/ 35 w 333"/>
                <a:gd name="T105" fmla="*/ 61 h 334"/>
                <a:gd name="T106" fmla="*/ 62 w 333"/>
                <a:gd name="T107" fmla="*/ 37 h 334"/>
                <a:gd name="T108" fmla="*/ 93 w 333"/>
                <a:gd name="T109" fmla="*/ 17 h 334"/>
                <a:gd name="T110" fmla="*/ 129 w 333"/>
                <a:gd name="T111" fmla="*/ 5 h 334"/>
                <a:gd name="T112" fmla="*/ 166 w 333"/>
                <a:gd name="T113"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3" h="334">
                  <a:moveTo>
                    <a:pt x="166" y="14"/>
                  </a:moveTo>
                  <a:lnTo>
                    <a:pt x="130" y="17"/>
                  </a:lnTo>
                  <a:lnTo>
                    <a:pt x="99" y="30"/>
                  </a:lnTo>
                  <a:lnTo>
                    <a:pt x="71" y="47"/>
                  </a:lnTo>
                  <a:lnTo>
                    <a:pt x="48" y="70"/>
                  </a:lnTo>
                  <a:lnTo>
                    <a:pt x="28" y="100"/>
                  </a:lnTo>
                  <a:lnTo>
                    <a:pt x="18" y="132"/>
                  </a:lnTo>
                  <a:lnTo>
                    <a:pt x="12" y="167"/>
                  </a:lnTo>
                  <a:lnTo>
                    <a:pt x="18" y="202"/>
                  </a:lnTo>
                  <a:lnTo>
                    <a:pt x="28" y="234"/>
                  </a:lnTo>
                  <a:lnTo>
                    <a:pt x="48" y="262"/>
                  </a:lnTo>
                  <a:lnTo>
                    <a:pt x="71" y="287"/>
                  </a:lnTo>
                  <a:lnTo>
                    <a:pt x="99" y="304"/>
                  </a:lnTo>
                  <a:lnTo>
                    <a:pt x="130" y="315"/>
                  </a:lnTo>
                  <a:lnTo>
                    <a:pt x="166" y="320"/>
                  </a:lnTo>
                  <a:lnTo>
                    <a:pt x="208" y="315"/>
                  </a:lnTo>
                  <a:lnTo>
                    <a:pt x="243" y="299"/>
                  </a:lnTo>
                  <a:lnTo>
                    <a:pt x="275" y="274"/>
                  </a:lnTo>
                  <a:lnTo>
                    <a:pt x="297" y="244"/>
                  </a:lnTo>
                  <a:lnTo>
                    <a:pt x="313" y="208"/>
                  </a:lnTo>
                  <a:lnTo>
                    <a:pt x="319" y="167"/>
                  </a:lnTo>
                  <a:lnTo>
                    <a:pt x="315" y="132"/>
                  </a:lnTo>
                  <a:lnTo>
                    <a:pt x="303" y="100"/>
                  </a:lnTo>
                  <a:lnTo>
                    <a:pt x="285" y="70"/>
                  </a:lnTo>
                  <a:lnTo>
                    <a:pt x="262" y="47"/>
                  </a:lnTo>
                  <a:lnTo>
                    <a:pt x="234" y="30"/>
                  </a:lnTo>
                  <a:lnTo>
                    <a:pt x="201" y="17"/>
                  </a:lnTo>
                  <a:lnTo>
                    <a:pt x="166" y="14"/>
                  </a:lnTo>
                  <a:close/>
                  <a:moveTo>
                    <a:pt x="166" y="0"/>
                  </a:moveTo>
                  <a:lnTo>
                    <a:pt x="204" y="5"/>
                  </a:lnTo>
                  <a:lnTo>
                    <a:pt x="239" y="17"/>
                  </a:lnTo>
                  <a:lnTo>
                    <a:pt x="271" y="37"/>
                  </a:lnTo>
                  <a:lnTo>
                    <a:pt x="296" y="61"/>
                  </a:lnTo>
                  <a:lnTo>
                    <a:pt x="317" y="93"/>
                  </a:lnTo>
                  <a:lnTo>
                    <a:pt x="329" y="128"/>
                  </a:lnTo>
                  <a:lnTo>
                    <a:pt x="333" y="167"/>
                  </a:lnTo>
                  <a:lnTo>
                    <a:pt x="329" y="206"/>
                  </a:lnTo>
                  <a:lnTo>
                    <a:pt x="317" y="241"/>
                  </a:lnTo>
                  <a:lnTo>
                    <a:pt x="296" y="271"/>
                  </a:lnTo>
                  <a:lnTo>
                    <a:pt x="271" y="297"/>
                  </a:lnTo>
                  <a:lnTo>
                    <a:pt x="239" y="317"/>
                  </a:lnTo>
                  <a:lnTo>
                    <a:pt x="204" y="329"/>
                  </a:lnTo>
                  <a:lnTo>
                    <a:pt x="166" y="334"/>
                  </a:lnTo>
                  <a:lnTo>
                    <a:pt x="129" y="329"/>
                  </a:lnTo>
                  <a:lnTo>
                    <a:pt x="93" y="317"/>
                  </a:lnTo>
                  <a:lnTo>
                    <a:pt x="62" y="297"/>
                  </a:lnTo>
                  <a:lnTo>
                    <a:pt x="35" y="271"/>
                  </a:lnTo>
                  <a:lnTo>
                    <a:pt x="16" y="241"/>
                  </a:lnTo>
                  <a:lnTo>
                    <a:pt x="4" y="206"/>
                  </a:lnTo>
                  <a:lnTo>
                    <a:pt x="0" y="167"/>
                  </a:lnTo>
                  <a:lnTo>
                    <a:pt x="4" y="128"/>
                  </a:lnTo>
                  <a:lnTo>
                    <a:pt x="16" y="93"/>
                  </a:lnTo>
                  <a:lnTo>
                    <a:pt x="35" y="61"/>
                  </a:lnTo>
                  <a:lnTo>
                    <a:pt x="62" y="37"/>
                  </a:lnTo>
                  <a:lnTo>
                    <a:pt x="93" y="17"/>
                  </a:lnTo>
                  <a:lnTo>
                    <a:pt x="129" y="5"/>
                  </a:lnTo>
                  <a:lnTo>
                    <a:pt x="16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78">
              <a:extLst>
                <a:ext uri="{FF2B5EF4-FFF2-40B4-BE49-F238E27FC236}">
                  <a16:creationId xmlns:a16="http://schemas.microsoft.com/office/drawing/2014/main" id="{BAC65618-68A7-9948-8631-0C42EF3D3010}"/>
                </a:ext>
              </a:extLst>
            </p:cNvPr>
            <p:cNvSpPr>
              <a:spLocks/>
            </p:cNvSpPr>
            <p:nvPr/>
          </p:nvSpPr>
          <p:spPr bwMode="auto">
            <a:xfrm>
              <a:off x="4116388" y="465138"/>
              <a:ext cx="4191000" cy="1446213"/>
            </a:xfrm>
            <a:custGeom>
              <a:avLst/>
              <a:gdLst>
                <a:gd name="T0" fmla="*/ 5271 w 5280"/>
                <a:gd name="T1" fmla="*/ 0 h 1823"/>
                <a:gd name="T2" fmla="*/ 5280 w 5280"/>
                <a:gd name="T3" fmla="*/ 23 h 1823"/>
                <a:gd name="T4" fmla="*/ 9 w 5280"/>
                <a:gd name="T5" fmla="*/ 1823 h 1823"/>
                <a:gd name="T6" fmla="*/ 0 w 5280"/>
                <a:gd name="T7" fmla="*/ 1800 h 1823"/>
                <a:gd name="T8" fmla="*/ 5271 w 5280"/>
                <a:gd name="T9" fmla="*/ 0 h 1823"/>
              </a:gdLst>
              <a:ahLst/>
              <a:cxnLst>
                <a:cxn ang="0">
                  <a:pos x="T0" y="T1"/>
                </a:cxn>
                <a:cxn ang="0">
                  <a:pos x="T2" y="T3"/>
                </a:cxn>
                <a:cxn ang="0">
                  <a:pos x="T4" y="T5"/>
                </a:cxn>
                <a:cxn ang="0">
                  <a:pos x="T6" y="T7"/>
                </a:cxn>
                <a:cxn ang="0">
                  <a:pos x="T8" y="T9"/>
                </a:cxn>
              </a:cxnLst>
              <a:rect l="0" t="0" r="r" b="b"/>
              <a:pathLst>
                <a:path w="5280" h="1823">
                  <a:moveTo>
                    <a:pt x="5271" y="0"/>
                  </a:moveTo>
                  <a:lnTo>
                    <a:pt x="5280" y="23"/>
                  </a:lnTo>
                  <a:lnTo>
                    <a:pt x="9" y="1823"/>
                  </a:lnTo>
                  <a:lnTo>
                    <a:pt x="0" y="1800"/>
                  </a:lnTo>
                  <a:lnTo>
                    <a:pt x="527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79">
              <a:extLst>
                <a:ext uri="{FF2B5EF4-FFF2-40B4-BE49-F238E27FC236}">
                  <a16:creationId xmlns:a16="http://schemas.microsoft.com/office/drawing/2014/main" id="{B7B8C46E-1994-4249-BB41-9983C733621A}"/>
                </a:ext>
              </a:extLst>
            </p:cNvPr>
            <p:cNvSpPr>
              <a:spLocks/>
            </p:cNvSpPr>
            <p:nvPr/>
          </p:nvSpPr>
          <p:spPr bwMode="auto">
            <a:xfrm>
              <a:off x="8228013" y="401638"/>
              <a:ext cx="185737" cy="173038"/>
            </a:xfrm>
            <a:custGeom>
              <a:avLst/>
              <a:gdLst>
                <a:gd name="T0" fmla="*/ 0 w 234"/>
                <a:gd name="T1" fmla="*/ 0 h 218"/>
                <a:gd name="T2" fmla="*/ 42 w 234"/>
                <a:gd name="T3" fmla="*/ 14 h 218"/>
                <a:gd name="T4" fmla="*/ 89 w 234"/>
                <a:gd name="T5" fmla="*/ 25 h 218"/>
                <a:gd name="T6" fmla="*/ 139 w 234"/>
                <a:gd name="T7" fmla="*/ 33 h 218"/>
                <a:gd name="T8" fmla="*/ 188 w 234"/>
                <a:gd name="T9" fmla="*/ 39 h 218"/>
                <a:gd name="T10" fmla="*/ 234 w 234"/>
                <a:gd name="T11" fmla="*/ 42 h 218"/>
                <a:gd name="T12" fmla="*/ 198 w 234"/>
                <a:gd name="T13" fmla="*/ 72 h 218"/>
                <a:gd name="T14" fmla="*/ 163 w 234"/>
                <a:gd name="T15" fmla="*/ 107 h 218"/>
                <a:gd name="T16" fmla="*/ 130 w 234"/>
                <a:gd name="T17" fmla="*/ 144 h 218"/>
                <a:gd name="T18" fmla="*/ 100 w 234"/>
                <a:gd name="T19" fmla="*/ 181 h 218"/>
                <a:gd name="T20" fmla="*/ 75 w 234"/>
                <a:gd name="T21" fmla="*/ 218 h 218"/>
                <a:gd name="T22" fmla="*/ 77 w 234"/>
                <a:gd name="T23" fmla="*/ 95 h 218"/>
                <a:gd name="T24" fmla="*/ 0 w 234"/>
                <a:gd name="T25"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218">
                  <a:moveTo>
                    <a:pt x="0" y="0"/>
                  </a:moveTo>
                  <a:lnTo>
                    <a:pt x="42" y="14"/>
                  </a:lnTo>
                  <a:lnTo>
                    <a:pt x="89" y="25"/>
                  </a:lnTo>
                  <a:lnTo>
                    <a:pt x="139" y="33"/>
                  </a:lnTo>
                  <a:lnTo>
                    <a:pt x="188" y="39"/>
                  </a:lnTo>
                  <a:lnTo>
                    <a:pt x="234" y="42"/>
                  </a:lnTo>
                  <a:lnTo>
                    <a:pt x="198" y="72"/>
                  </a:lnTo>
                  <a:lnTo>
                    <a:pt x="163" y="107"/>
                  </a:lnTo>
                  <a:lnTo>
                    <a:pt x="130" y="144"/>
                  </a:lnTo>
                  <a:lnTo>
                    <a:pt x="100" y="181"/>
                  </a:lnTo>
                  <a:lnTo>
                    <a:pt x="75" y="218"/>
                  </a:lnTo>
                  <a:lnTo>
                    <a:pt x="77" y="95"/>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45" name="Group 244">
            <a:extLst>
              <a:ext uri="{FF2B5EF4-FFF2-40B4-BE49-F238E27FC236}">
                <a16:creationId xmlns:a16="http://schemas.microsoft.com/office/drawing/2014/main" id="{315B77CF-111A-3043-A100-4017236E7C0F}"/>
              </a:ext>
            </a:extLst>
          </p:cNvPr>
          <p:cNvGrpSpPr/>
          <p:nvPr/>
        </p:nvGrpSpPr>
        <p:grpSpPr>
          <a:xfrm>
            <a:off x="1900238" y="4140200"/>
            <a:ext cx="4056062" cy="1957388"/>
            <a:chOff x="376238" y="4140200"/>
            <a:chExt cx="4056062" cy="1957388"/>
          </a:xfrm>
        </p:grpSpPr>
        <p:sp>
          <p:nvSpPr>
            <p:cNvPr id="246" name="Freeform 84">
              <a:extLst>
                <a:ext uri="{FF2B5EF4-FFF2-40B4-BE49-F238E27FC236}">
                  <a16:creationId xmlns:a16="http://schemas.microsoft.com/office/drawing/2014/main" id="{0BB358A8-E8F3-4145-98D2-6EACB4434221}"/>
                </a:ext>
              </a:extLst>
            </p:cNvPr>
            <p:cNvSpPr>
              <a:spLocks/>
            </p:cNvSpPr>
            <p:nvPr/>
          </p:nvSpPr>
          <p:spPr bwMode="auto">
            <a:xfrm>
              <a:off x="436563" y="5403850"/>
              <a:ext cx="890587" cy="693738"/>
            </a:xfrm>
            <a:custGeom>
              <a:avLst/>
              <a:gdLst>
                <a:gd name="T0" fmla="*/ 561 w 1121"/>
                <a:gd name="T1" fmla="*/ 0 h 874"/>
                <a:gd name="T2" fmla="*/ 760 w 1121"/>
                <a:gd name="T3" fmla="*/ 135 h 874"/>
                <a:gd name="T4" fmla="*/ 765 w 1121"/>
                <a:gd name="T5" fmla="*/ 74 h 874"/>
                <a:gd name="T6" fmla="*/ 896 w 1121"/>
                <a:gd name="T7" fmla="*/ 74 h 874"/>
                <a:gd name="T8" fmla="*/ 904 w 1121"/>
                <a:gd name="T9" fmla="*/ 256 h 874"/>
                <a:gd name="T10" fmla="*/ 1121 w 1121"/>
                <a:gd name="T11" fmla="*/ 459 h 874"/>
                <a:gd name="T12" fmla="*/ 1005 w 1121"/>
                <a:gd name="T13" fmla="*/ 459 h 874"/>
                <a:gd name="T14" fmla="*/ 1005 w 1121"/>
                <a:gd name="T15" fmla="*/ 874 h 874"/>
                <a:gd name="T16" fmla="*/ 712 w 1121"/>
                <a:gd name="T17" fmla="*/ 874 h 874"/>
                <a:gd name="T18" fmla="*/ 712 w 1121"/>
                <a:gd name="T19" fmla="*/ 534 h 874"/>
                <a:gd name="T20" fmla="*/ 520 w 1121"/>
                <a:gd name="T21" fmla="*/ 534 h 874"/>
                <a:gd name="T22" fmla="*/ 520 w 1121"/>
                <a:gd name="T23" fmla="*/ 874 h 874"/>
                <a:gd name="T24" fmla="*/ 121 w 1121"/>
                <a:gd name="T25" fmla="*/ 874 h 874"/>
                <a:gd name="T26" fmla="*/ 121 w 1121"/>
                <a:gd name="T27" fmla="*/ 459 h 874"/>
                <a:gd name="T28" fmla="*/ 0 w 1121"/>
                <a:gd name="T29" fmla="*/ 459 h 874"/>
                <a:gd name="T30" fmla="*/ 561 w 1121"/>
                <a:gd name="T31" fmla="*/ 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1" h="874">
                  <a:moveTo>
                    <a:pt x="561" y="0"/>
                  </a:moveTo>
                  <a:lnTo>
                    <a:pt x="760" y="135"/>
                  </a:lnTo>
                  <a:lnTo>
                    <a:pt x="765" y="74"/>
                  </a:lnTo>
                  <a:lnTo>
                    <a:pt x="896" y="74"/>
                  </a:lnTo>
                  <a:lnTo>
                    <a:pt x="904" y="256"/>
                  </a:lnTo>
                  <a:lnTo>
                    <a:pt x="1121" y="459"/>
                  </a:lnTo>
                  <a:lnTo>
                    <a:pt x="1005" y="459"/>
                  </a:lnTo>
                  <a:lnTo>
                    <a:pt x="1005" y="874"/>
                  </a:lnTo>
                  <a:lnTo>
                    <a:pt x="712" y="874"/>
                  </a:lnTo>
                  <a:lnTo>
                    <a:pt x="712" y="534"/>
                  </a:lnTo>
                  <a:lnTo>
                    <a:pt x="520" y="534"/>
                  </a:lnTo>
                  <a:lnTo>
                    <a:pt x="520" y="874"/>
                  </a:lnTo>
                  <a:lnTo>
                    <a:pt x="121" y="874"/>
                  </a:lnTo>
                  <a:lnTo>
                    <a:pt x="121" y="459"/>
                  </a:lnTo>
                  <a:lnTo>
                    <a:pt x="0" y="459"/>
                  </a:lnTo>
                  <a:lnTo>
                    <a:pt x="56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Rectangle 85">
              <a:extLst>
                <a:ext uri="{FF2B5EF4-FFF2-40B4-BE49-F238E27FC236}">
                  <a16:creationId xmlns:a16="http://schemas.microsoft.com/office/drawing/2014/main" id="{258F2E30-4CE5-F342-A11A-2A126CD5817A}"/>
                </a:ext>
              </a:extLst>
            </p:cNvPr>
            <p:cNvSpPr>
              <a:spLocks noChangeArrowheads="1"/>
            </p:cNvSpPr>
            <p:nvPr/>
          </p:nvSpPr>
          <p:spPr bwMode="auto">
            <a:xfrm>
              <a:off x="627063" y="5827713"/>
              <a:ext cx="50800" cy="146050"/>
            </a:xfrm>
            <a:prstGeom prst="rect">
              <a:avLst/>
            </a:prstGeom>
            <a:solidFill>
              <a:schemeClr val="bg1"/>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8" name="Rectangle 86">
              <a:extLst>
                <a:ext uri="{FF2B5EF4-FFF2-40B4-BE49-F238E27FC236}">
                  <a16:creationId xmlns:a16="http://schemas.microsoft.com/office/drawing/2014/main" id="{73B22046-35E7-E24F-995F-68B36D3DD3B9}"/>
                </a:ext>
              </a:extLst>
            </p:cNvPr>
            <p:cNvSpPr>
              <a:spLocks noChangeArrowheads="1"/>
            </p:cNvSpPr>
            <p:nvPr/>
          </p:nvSpPr>
          <p:spPr bwMode="auto">
            <a:xfrm>
              <a:off x="700088" y="5827713"/>
              <a:ext cx="73025" cy="57150"/>
            </a:xfrm>
            <a:prstGeom prst="rect">
              <a:avLst/>
            </a:prstGeom>
            <a:solidFill>
              <a:schemeClr val="bg1"/>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9" name="Rectangle 87">
              <a:extLst>
                <a:ext uri="{FF2B5EF4-FFF2-40B4-BE49-F238E27FC236}">
                  <a16:creationId xmlns:a16="http://schemas.microsoft.com/office/drawing/2014/main" id="{F8D4FB44-74A7-764D-AD12-56DFBE8C626F}"/>
                </a:ext>
              </a:extLst>
            </p:cNvPr>
            <p:cNvSpPr>
              <a:spLocks noChangeArrowheads="1"/>
            </p:cNvSpPr>
            <p:nvPr/>
          </p:nvSpPr>
          <p:spPr bwMode="auto">
            <a:xfrm>
              <a:off x="700088" y="5902325"/>
              <a:ext cx="73025" cy="71438"/>
            </a:xfrm>
            <a:prstGeom prst="rect">
              <a:avLst/>
            </a:prstGeom>
            <a:solidFill>
              <a:schemeClr val="bg1"/>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88">
              <a:extLst>
                <a:ext uri="{FF2B5EF4-FFF2-40B4-BE49-F238E27FC236}">
                  <a16:creationId xmlns:a16="http://schemas.microsoft.com/office/drawing/2014/main" id="{24DD89BE-0437-7C49-BD41-6B48986E8461}"/>
                </a:ext>
              </a:extLst>
            </p:cNvPr>
            <p:cNvSpPr>
              <a:spLocks/>
            </p:cNvSpPr>
            <p:nvPr/>
          </p:nvSpPr>
          <p:spPr bwMode="auto">
            <a:xfrm>
              <a:off x="376238" y="4140200"/>
              <a:ext cx="3949700" cy="1503363"/>
            </a:xfrm>
            <a:custGeom>
              <a:avLst/>
              <a:gdLst>
                <a:gd name="T0" fmla="*/ 4930 w 4977"/>
                <a:gd name="T1" fmla="*/ 62 h 1895"/>
                <a:gd name="T2" fmla="*/ 4938 w 4977"/>
                <a:gd name="T3" fmla="*/ 67 h 1895"/>
                <a:gd name="T4" fmla="*/ 4957 w 4977"/>
                <a:gd name="T5" fmla="*/ 84 h 1895"/>
                <a:gd name="T6" fmla="*/ 4972 w 4977"/>
                <a:gd name="T7" fmla="*/ 112 h 1895"/>
                <a:gd name="T8" fmla="*/ 4975 w 4977"/>
                <a:gd name="T9" fmla="*/ 152 h 1895"/>
                <a:gd name="T10" fmla="*/ 4952 w 4977"/>
                <a:gd name="T11" fmla="*/ 380 h 1895"/>
                <a:gd name="T12" fmla="*/ 4946 w 4977"/>
                <a:gd name="T13" fmla="*/ 396 h 1895"/>
                <a:gd name="T14" fmla="*/ 4932 w 4977"/>
                <a:gd name="T15" fmla="*/ 416 h 1895"/>
                <a:gd name="T16" fmla="*/ 4912 w 4977"/>
                <a:gd name="T17" fmla="*/ 430 h 1895"/>
                <a:gd name="T18" fmla="*/ 4885 w 4977"/>
                <a:gd name="T19" fmla="*/ 432 h 1895"/>
                <a:gd name="T20" fmla="*/ 4853 w 4977"/>
                <a:gd name="T21" fmla="*/ 408 h 1895"/>
                <a:gd name="T22" fmla="*/ 4840 w 4977"/>
                <a:gd name="T23" fmla="*/ 244 h 1895"/>
                <a:gd name="T24" fmla="*/ 3080 w 4977"/>
                <a:gd name="T25" fmla="*/ 1523 h 1895"/>
                <a:gd name="T26" fmla="*/ 3063 w 4977"/>
                <a:gd name="T27" fmla="*/ 1534 h 1895"/>
                <a:gd name="T28" fmla="*/ 3030 w 4977"/>
                <a:gd name="T29" fmla="*/ 1542 h 1895"/>
                <a:gd name="T30" fmla="*/ 2986 w 4977"/>
                <a:gd name="T31" fmla="*/ 1533 h 1895"/>
                <a:gd name="T32" fmla="*/ 2343 w 4977"/>
                <a:gd name="T33" fmla="*/ 884 h 1895"/>
                <a:gd name="T34" fmla="*/ 1318 w 4977"/>
                <a:gd name="T35" fmla="*/ 1769 h 1895"/>
                <a:gd name="T36" fmla="*/ 1304 w 4977"/>
                <a:gd name="T37" fmla="*/ 1781 h 1895"/>
                <a:gd name="T38" fmla="*/ 1278 w 4977"/>
                <a:gd name="T39" fmla="*/ 1792 h 1895"/>
                <a:gd name="T40" fmla="*/ 1242 w 4977"/>
                <a:gd name="T41" fmla="*/ 1790 h 1895"/>
                <a:gd name="T42" fmla="*/ 1197 w 4977"/>
                <a:gd name="T43" fmla="*/ 1764 h 1895"/>
                <a:gd name="T44" fmla="*/ 76 w 4977"/>
                <a:gd name="T45" fmla="*/ 1895 h 1895"/>
                <a:gd name="T46" fmla="*/ 67 w 4977"/>
                <a:gd name="T47" fmla="*/ 1893 h 1895"/>
                <a:gd name="T48" fmla="*/ 48 w 4977"/>
                <a:gd name="T49" fmla="*/ 1888 h 1895"/>
                <a:gd name="T50" fmla="*/ 25 w 4977"/>
                <a:gd name="T51" fmla="*/ 1874 h 1895"/>
                <a:gd name="T52" fmla="*/ 6 w 4977"/>
                <a:gd name="T53" fmla="*/ 1853 h 1895"/>
                <a:gd name="T54" fmla="*/ 0 w 4977"/>
                <a:gd name="T55" fmla="*/ 1817 h 1895"/>
                <a:gd name="T56" fmla="*/ 16 w 4977"/>
                <a:gd name="T57" fmla="*/ 1767 h 1895"/>
                <a:gd name="T58" fmla="*/ 876 w 4977"/>
                <a:gd name="T59" fmla="*/ 1180 h 1895"/>
                <a:gd name="T60" fmla="*/ 890 w 4977"/>
                <a:gd name="T61" fmla="*/ 1165 h 1895"/>
                <a:gd name="T62" fmla="*/ 917 w 4977"/>
                <a:gd name="T63" fmla="*/ 1146 h 1895"/>
                <a:gd name="T64" fmla="*/ 948 w 4977"/>
                <a:gd name="T65" fmla="*/ 1135 h 1895"/>
                <a:gd name="T66" fmla="*/ 982 w 4977"/>
                <a:gd name="T67" fmla="*/ 1143 h 1895"/>
                <a:gd name="T68" fmla="*/ 1016 w 4977"/>
                <a:gd name="T69" fmla="*/ 1182 h 1895"/>
                <a:gd name="T70" fmla="*/ 2303 w 4977"/>
                <a:gd name="T71" fmla="*/ 764 h 1895"/>
                <a:gd name="T72" fmla="*/ 2308 w 4977"/>
                <a:gd name="T73" fmla="*/ 756 h 1895"/>
                <a:gd name="T74" fmla="*/ 2323 w 4977"/>
                <a:gd name="T75" fmla="*/ 742 h 1895"/>
                <a:gd name="T76" fmla="*/ 2347 w 4977"/>
                <a:gd name="T77" fmla="*/ 731 h 1895"/>
                <a:gd name="T78" fmla="*/ 2379 w 4977"/>
                <a:gd name="T79" fmla="*/ 735 h 1895"/>
                <a:gd name="T80" fmla="*/ 2416 w 4977"/>
                <a:gd name="T81" fmla="*/ 764 h 1895"/>
                <a:gd name="T82" fmla="*/ 4772 w 4977"/>
                <a:gd name="T83" fmla="*/ 152 h 1895"/>
                <a:gd name="T84" fmla="*/ 4668 w 4977"/>
                <a:gd name="T85" fmla="*/ 116 h 1895"/>
                <a:gd name="T86" fmla="*/ 4656 w 4977"/>
                <a:gd name="T87" fmla="*/ 106 h 1895"/>
                <a:gd name="T88" fmla="*/ 4640 w 4977"/>
                <a:gd name="T89" fmla="*/ 87 h 1895"/>
                <a:gd name="T90" fmla="*/ 4628 w 4977"/>
                <a:gd name="T91" fmla="*/ 64 h 1895"/>
                <a:gd name="T92" fmla="*/ 4626 w 4977"/>
                <a:gd name="T93" fmla="*/ 39 h 1895"/>
                <a:gd name="T94" fmla="*/ 4643 w 4977"/>
                <a:gd name="T95" fmla="*/ 17 h 1895"/>
                <a:gd name="T96" fmla="*/ 4687 w 4977"/>
                <a:gd name="T97" fmla="*/ 0 h 1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77" h="1895">
                  <a:moveTo>
                    <a:pt x="4687" y="0"/>
                  </a:moveTo>
                  <a:lnTo>
                    <a:pt x="4930" y="62"/>
                  </a:lnTo>
                  <a:lnTo>
                    <a:pt x="4932" y="64"/>
                  </a:lnTo>
                  <a:lnTo>
                    <a:pt x="4938" y="67"/>
                  </a:lnTo>
                  <a:lnTo>
                    <a:pt x="4947" y="75"/>
                  </a:lnTo>
                  <a:lnTo>
                    <a:pt x="4957" y="84"/>
                  </a:lnTo>
                  <a:lnTo>
                    <a:pt x="4966" y="96"/>
                  </a:lnTo>
                  <a:lnTo>
                    <a:pt x="4972" y="112"/>
                  </a:lnTo>
                  <a:lnTo>
                    <a:pt x="4977" y="130"/>
                  </a:lnTo>
                  <a:lnTo>
                    <a:pt x="4975" y="152"/>
                  </a:lnTo>
                  <a:lnTo>
                    <a:pt x="4952" y="379"/>
                  </a:lnTo>
                  <a:lnTo>
                    <a:pt x="4952" y="380"/>
                  </a:lnTo>
                  <a:lnTo>
                    <a:pt x="4949" y="387"/>
                  </a:lnTo>
                  <a:lnTo>
                    <a:pt x="4946" y="396"/>
                  </a:lnTo>
                  <a:lnTo>
                    <a:pt x="4940" y="405"/>
                  </a:lnTo>
                  <a:lnTo>
                    <a:pt x="4932" y="416"/>
                  </a:lnTo>
                  <a:lnTo>
                    <a:pt x="4923" y="424"/>
                  </a:lnTo>
                  <a:lnTo>
                    <a:pt x="4912" y="430"/>
                  </a:lnTo>
                  <a:lnTo>
                    <a:pt x="4899" y="433"/>
                  </a:lnTo>
                  <a:lnTo>
                    <a:pt x="4885" y="432"/>
                  </a:lnTo>
                  <a:lnTo>
                    <a:pt x="4870" y="424"/>
                  </a:lnTo>
                  <a:lnTo>
                    <a:pt x="4853" y="408"/>
                  </a:lnTo>
                  <a:lnTo>
                    <a:pt x="4834" y="385"/>
                  </a:lnTo>
                  <a:lnTo>
                    <a:pt x="4840" y="244"/>
                  </a:lnTo>
                  <a:lnTo>
                    <a:pt x="3083" y="1522"/>
                  </a:lnTo>
                  <a:lnTo>
                    <a:pt x="3080" y="1523"/>
                  </a:lnTo>
                  <a:lnTo>
                    <a:pt x="3074" y="1528"/>
                  </a:lnTo>
                  <a:lnTo>
                    <a:pt x="3063" y="1534"/>
                  </a:lnTo>
                  <a:lnTo>
                    <a:pt x="3048" y="1540"/>
                  </a:lnTo>
                  <a:lnTo>
                    <a:pt x="3030" y="1542"/>
                  </a:lnTo>
                  <a:lnTo>
                    <a:pt x="3009" y="1540"/>
                  </a:lnTo>
                  <a:lnTo>
                    <a:pt x="2986" y="1533"/>
                  </a:lnTo>
                  <a:lnTo>
                    <a:pt x="2959" y="1516"/>
                  </a:lnTo>
                  <a:lnTo>
                    <a:pt x="2343" y="884"/>
                  </a:lnTo>
                  <a:lnTo>
                    <a:pt x="1320" y="1767"/>
                  </a:lnTo>
                  <a:lnTo>
                    <a:pt x="1318" y="1769"/>
                  </a:lnTo>
                  <a:lnTo>
                    <a:pt x="1314" y="1775"/>
                  </a:lnTo>
                  <a:lnTo>
                    <a:pt x="1304" y="1781"/>
                  </a:lnTo>
                  <a:lnTo>
                    <a:pt x="1292" y="1787"/>
                  </a:lnTo>
                  <a:lnTo>
                    <a:pt x="1278" y="1792"/>
                  </a:lnTo>
                  <a:lnTo>
                    <a:pt x="1261" y="1794"/>
                  </a:lnTo>
                  <a:lnTo>
                    <a:pt x="1242" y="1790"/>
                  </a:lnTo>
                  <a:lnTo>
                    <a:pt x="1221" y="1781"/>
                  </a:lnTo>
                  <a:lnTo>
                    <a:pt x="1197" y="1764"/>
                  </a:lnTo>
                  <a:lnTo>
                    <a:pt x="924" y="1278"/>
                  </a:lnTo>
                  <a:lnTo>
                    <a:pt x="76" y="1895"/>
                  </a:lnTo>
                  <a:lnTo>
                    <a:pt x="73" y="1895"/>
                  </a:lnTo>
                  <a:lnTo>
                    <a:pt x="67" y="1893"/>
                  </a:lnTo>
                  <a:lnTo>
                    <a:pt x="59" y="1891"/>
                  </a:lnTo>
                  <a:lnTo>
                    <a:pt x="48" y="1888"/>
                  </a:lnTo>
                  <a:lnTo>
                    <a:pt x="36" y="1882"/>
                  </a:lnTo>
                  <a:lnTo>
                    <a:pt x="25" y="1874"/>
                  </a:lnTo>
                  <a:lnTo>
                    <a:pt x="14" y="1865"/>
                  </a:lnTo>
                  <a:lnTo>
                    <a:pt x="6" y="1853"/>
                  </a:lnTo>
                  <a:lnTo>
                    <a:pt x="2" y="1837"/>
                  </a:lnTo>
                  <a:lnTo>
                    <a:pt x="0" y="1817"/>
                  </a:lnTo>
                  <a:lnTo>
                    <a:pt x="5" y="1795"/>
                  </a:lnTo>
                  <a:lnTo>
                    <a:pt x="16" y="1767"/>
                  </a:lnTo>
                  <a:lnTo>
                    <a:pt x="875" y="1182"/>
                  </a:lnTo>
                  <a:lnTo>
                    <a:pt x="876" y="1180"/>
                  </a:lnTo>
                  <a:lnTo>
                    <a:pt x="882" y="1174"/>
                  </a:lnTo>
                  <a:lnTo>
                    <a:pt x="890" y="1165"/>
                  </a:lnTo>
                  <a:lnTo>
                    <a:pt x="903" y="1155"/>
                  </a:lnTo>
                  <a:lnTo>
                    <a:pt x="917" y="1146"/>
                  </a:lnTo>
                  <a:lnTo>
                    <a:pt x="932" y="1138"/>
                  </a:lnTo>
                  <a:lnTo>
                    <a:pt x="948" y="1135"/>
                  </a:lnTo>
                  <a:lnTo>
                    <a:pt x="965" y="1135"/>
                  </a:lnTo>
                  <a:lnTo>
                    <a:pt x="982" y="1143"/>
                  </a:lnTo>
                  <a:lnTo>
                    <a:pt x="999" y="1158"/>
                  </a:lnTo>
                  <a:lnTo>
                    <a:pt x="1016" y="1182"/>
                  </a:lnTo>
                  <a:lnTo>
                    <a:pt x="1298" y="1652"/>
                  </a:lnTo>
                  <a:lnTo>
                    <a:pt x="2303" y="764"/>
                  </a:lnTo>
                  <a:lnTo>
                    <a:pt x="2305" y="761"/>
                  </a:lnTo>
                  <a:lnTo>
                    <a:pt x="2308" y="756"/>
                  </a:lnTo>
                  <a:lnTo>
                    <a:pt x="2316" y="750"/>
                  </a:lnTo>
                  <a:lnTo>
                    <a:pt x="2323" y="742"/>
                  </a:lnTo>
                  <a:lnTo>
                    <a:pt x="2334" y="736"/>
                  </a:lnTo>
                  <a:lnTo>
                    <a:pt x="2347" y="731"/>
                  </a:lnTo>
                  <a:lnTo>
                    <a:pt x="2362" y="731"/>
                  </a:lnTo>
                  <a:lnTo>
                    <a:pt x="2379" y="735"/>
                  </a:lnTo>
                  <a:lnTo>
                    <a:pt x="2396" y="745"/>
                  </a:lnTo>
                  <a:lnTo>
                    <a:pt x="2416" y="764"/>
                  </a:lnTo>
                  <a:lnTo>
                    <a:pt x="3026" y="1415"/>
                  </a:lnTo>
                  <a:lnTo>
                    <a:pt x="4772" y="152"/>
                  </a:lnTo>
                  <a:lnTo>
                    <a:pt x="4670" y="118"/>
                  </a:lnTo>
                  <a:lnTo>
                    <a:pt x="4668" y="116"/>
                  </a:lnTo>
                  <a:lnTo>
                    <a:pt x="4664" y="113"/>
                  </a:lnTo>
                  <a:lnTo>
                    <a:pt x="4656" y="106"/>
                  </a:lnTo>
                  <a:lnTo>
                    <a:pt x="4648" y="98"/>
                  </a:lnTo>
                  <a:lnTo>
                    <a:pt x="4640" y="87"/>
                  </a:lnTo>
                  <a:lnTo>
                    <a:pt x="4633" y="76"/>
                  </a:lnTo>
                  <a:lnTo>
                    <a:pt x="4628" y="64"/>
                  </a:lnTo>
                  <a:lnTo>
                    <a:pt x="4625" y="51"/>
                  </a:lnTo>
                  <a:lnTo>
                    <a:pt x="4626" y="39"/>
                  </a:lnTo>
                  <a:lnTo>
                    <a:pt x="4631" y="28"/>
                  </a:lnTo>
                  <a:lnTo>
                    <a:pt x="4643" y="17"/>
                  </a:lnTo>
                  <a:lnTo>
                    <a:pt x="4662" y="8"/>
                  </a:lnTo>
                  <a:lnTo>
                    <a:pt x="4687" y="0"/>
                  </a:lnTo>
                  <a:close/>
                </a:path>
              </a:pathLst>
            </a:custGeom>
            <a:solidFill>
              <a:schemeClr val="tx1">
                <a:lumMod val="50000"/>
                <a:lumOff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89">
              <a:extLst>
                <a:ext uri="{FF2B5EF4-FFF2-40B4-BE49-F238E27FC236}">
                  <a16:creationId xmlns:a16="http://schemas.microsoft.com/office/drawing/2014/main" id="{F1D482B8-B0DE-6745-9502-8B7E75E4BFE8}"/>
                </a:ext>
              </a:extLst>
            </p:cNvPr>
            <p:cNvSpPr>
              <a:spLocks/>
            </p:cNvSpPr>
            <p:nvPr/>
          </p:nvSpPr>
          <p:spPr bwMode="auto">
            <a:xfrm>
              <a:off x="1465263" y="5135563"/>
              <a:ext cx="1211262" cy="962025"/>
            </a:xfrm>
            <a:custGeom>
              <a:avLst/>
              <a:gdLst>
                <a:gd name="T0" fmla="*/ 763 w 1526"/>
                <a:gd name="T1" fmla="*/ 0 h 1213"/>
                <a:gd name="T2" fmla="*/ 1034 w 1526"/>
                <a:gd name="T3" fmla="*/ 190 h 1213"/>
                <a:gd name="T4" fmla="*/ 1039 w 1526"/>
                <a:gd name="T5" fmla="*/ 106 h 1213"/>
                <a:gd name="T6" fmla="*/ 1219 w 1526"/>
                <a:gd name="T7" fmla="*/ 106 h 1213"/>
                <a:gd name="T8" fmla="*/ 1228 w 1526"/>
                <a:gd name="T9" fmla="*/ 356 h 1213"/>
                <a:gd name="T10" fmla="*/ 1526 w 1526"/>
                <a:gd name="T11" fmla="*/ 638 h 1213"/>
                <a:gd name="T12" fmla="*/ 1368 w 1526"/>
                <a:gd name="T13" fmla="*/ 638 h 1213"/>
                <a:gd name="T14" fmla="*/ 1368 w 1526"/>
                <a:gd name="T15" fmla="*/ 1213 h 1213"/>
                <a:gd name="T16" fmla="*/ 968 w 1526"/>
                <a:gd name="T17" fmla="*/ 1213 h 1213"/>
                <a:gd name="T18" fmla="*/ 968 w 1526"/>
                <a:gd name="T19" fmla="*/ 742 h 1213"/>
                <a:gd name="T20" fmla="*/ 707 w 1526"/>
                <a:gd name="T21" fmla="*/ 742 h 1213"/>
                <a:gd name="T22" fmla="*/ 707 w 1526"/>
                <a:gd name="T23" fmla="*/ 1213 h 1213"/>
                <a:gd name="T24" fmla="*/ 164 w 1526"/>
                <a:gd name="T25" fmla="*/ 1213 h 1213"/>
                <a:gd name="T26" fmla="*/ 164 w 1526"/>
                <a:gd name="T27" fmla="*/ 638 h 1213"/>
                <a:gd name="T28" fmla="*/ 0 w 1526"/>
                <a:gd name="T29" fmla="*/ 638 h 1213"/>
                <a:gd name="T30" fmla="*/ 763 w 1526"/>
                <a:gd name="T31" fmla="*/ 0 h 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26" h="1213">
                  <a:moveTo>
                    <a:pt x="763" y="0"/>
                  </a:moveTo>
                  <a:lnTo>
                    <a:pt x="1034" y="190"/>
                  </a:lnTo>
                  <a:lnTo>
                    <a:pt x="1039" y="106"/>
                  </a:lnTo>
                  <a:lnTo>
                    <a:pt x="1219" y="106"/>
                  </a:lnTo>
                  <a:lnTo>
                    <a:pt x="1228" y="356"/>
                  </a:lnTo>
                  <a:lnTo>
                    <a:pt x="1526" y="638"/>
                  </a:lnTo>
                  <a:lnTo>
                    <a:pt x="1368" y="638"/>
                  </a:lnTo>
                  <a:lnTo>
                    <a:pt x="1368" y="1213"/>
                  </a:lnTo>
                  <a:lnTo>
                    <a:pt x="968" y="1213"/>
                  </a:lnTo>
                  <a:lnTo>
                    <a:pt x="968" y="742"/>
                  </a:lnTo>
                  <a:lnTo>
                    <a:pt x="707" y="742"/>
                  </a:lnTo>
                  <a:lnTo>
                    <a:pt x="707" y="1213"/>
                  </a:lnTo>
                  <a:lnTo>
                    <a:pt x="164" y="1213"/>
                  </a:lnTo>
                  <a:lnTo>
                    <a:pt x="164" y="638"/>
                  </a:lnTo>
                  <a:lnTo>
                    <a:pt x="0" y="638"/>
                  </a:lnTo>
                  <a:lnTo>
                    <a:pt x="76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Rectangle 90">
              <a:extLst>
                <a:ext uri="{FF2B5EF4-FFF2-40B4-BE49-F238E27FC236}">
                  <a16:creationId xmlns:a16="http://schemas.microsoft.com/office/drawing/2014/main" id="{CF8DE6F3-3F45-FB43-BD52-8FF4B282E498}"/>
                </a:ext>
              </a:extLst>
            </p:cNvPr>
            <p:cNvSpPr>
              <a:spLocks noChangeArrowheads="1"/>
            </p:cNvSpPr>
            <p:nvPr/>
          </p:nvSpPr>
          <p:spPr bwMode="auto">
            <a:xfrm>
              <a:off x="1725613" y="5724525"/>
              <a:ext cx="68262" cy="203200"/>
            </a:xfrm>
            <a:prstGeom prst="rect">
              <a:avLst/>
            </a:prstGeom>
            <a:solidFill>
              <a:schemeClr val="bg1"/>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3" name="Rectangle 91">
              <a:extLst>
                <a:ext uri="{FF2B5EF4-FFF2-40B4-BE49-F238E27FC236}">
                  <a16:creationId xmlns:a16="http://schemas.microsoft.com/office/drawing/2014/main" id="{5CEFDCCA-6AF4-BF4D-A922-C0542A518C97}"/>
                </a:ext>
              </a:extLst>
            </p:cNvPr>
            <p:cNvSpPr>
              <a:spLocks noChangeArrowheads="1"/>
            </p:cNvSpPr>
            <p:nvPr/>
          </p:nvSpPr>
          <p:spPr bwMode="auto">
            <a:xfrm>
              <a:off x="1824038" y="5724525"/>
              <a:ext cx="100012" cy="77788"/>
            </a:xfrm>
            <a:prstGeom prst="rect">
              <a:avLst/>
            </a:prstGeom>
            <a:solidFill>
              <a:schemeClr val="bg1"/>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4" name="Rectangle 92">
              <a:extLst>
                <a:ext uri="{FF2B5EF4-FFF2-40B4-BE49-F238E27FC236}">
                  <a16:creationId xmlns:a16="http://schemas.microsoft.com/office/drawing/2014/main" id="{A37C2A66-05D1-0C46-8182-D4DD15AF869E}"/>
                </a:ext>
              </a:extLst>
            </p:cNvPr>
            <p:cNvSpPr>
              <a:spLocks noChangeArrowheads="1"/>
            </p:cNvSpPr>
            <p:nvPr/>
          </p:nvSpPr>
          <p:spPr bwMode="auto">
            <a:xfrm>
              <a:off x="1824038" y="5826125"/>
              <a:ext cx="100012" cy="101600"/>
            </a:xfrm>
            <a:prstGeom prst="rect">
              <a:avLst/>
            </a:prstGeom>
            <a:solidFill>
              <a:schemeClr val="bg1"/>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93">
              <a:extLst>
                <a:ext uri="{FF2B5EF4-FFF2-40B4-BE49-F238E27FC236}">
                  <a16:creationId xmlns:a16="http://schemas.microsoft.com/office/drawing/2014/main" id="{D5CC7C36-64D9-F84F-AD61-28286E18CF8C}"/>
                </a:ext>
              </a:extLst>
            </p:cNvPr>
            <p:cNvSpPr>
              <a:spLocks/>
            </p:cNvSpPr>
            <p:nvPr/>
          </p:nvSpPr>
          <p:spPr bwMode="auto">
            <a:xfrm>
              <a:off x="2854325" y="4818063"/>
              <a:ext cx="1577975" cy="1279525"/>
            </a:xfrm>
            <a:custGeom>
              <a:avLst/>
              <a:gdLst>
                <a:gd name="T0" fmla="*/ 994 w 1988"/>
                <a:gd name="T1" fmla="*/ 0 h 1612"/>
                <a:gd name="T2" fmla="*/ 1348 w 1988"/>
                <a:gd name="T3" fmla="*/ 250 h 1612"/>
                <a:gd name="T4" fmla="*/ 1355 w 1988"/>
                <a:gd name="T5" fmla="*/ 138 h 1612"/>
                <a:gd name="T6" fmla="*/ 1588 w 1988"/>
                <a:gd name="T7" fmla="*/ 138 h 1612"/>
                <a:gd name="T8" fmla="*/ 1602 w 1988"/>
                <a:gd name="T9" fmla="*/ 472 h 1612"/>
                <a:gd name="T10" fmla="*/ 1988 w 1988"/>
                <a:gd name="T11" fmla="*/ 848 h 1612"/>
                <a:gd name="T12" fmla="*/ 1782 w 1988"/>
                <a:gd name="T13" fmla="*/ 848 h 1612"/>
                <a:gd name="T14" fmla="*/ 1782 w 1988"/>
                <a:gd name="T15" fmla="*/ 1612 h 1612"/>
                <a:gd name="T16" fmla="*/ 1261 w 1988"/>
                <a:gd name="T17" fmla="*/ 1612 h 1612"/>
                <a:gd name="T18" fmla="*/ 1261 w 1988"/>
                <a:gd name="T19" fmla="*/ 986 h 1612"/>
                <a:gd name="T20" fmla="*/ 921 w 1988"/>
                <a:gd name="T21" fmla="*/ 986 h 1612"/>
                <a:gd name="T22" fmla="*/ 921 w 1988"/>
                <a:gd name="T23" fmla="*/ 1612 h 1612"/>
                <a:gd name="T24" fmla="*/ 214 w 1988"/>
                <a:gd name="T25" fmla="*/ 1612 h 1612"/>
                <a:gd name="T26" fmla="*/ 214 w 1988"/>
                <a:gd name="T27" fmla="*/ 848 h 1612"/>
                <a:gd name="T28" fmla="*/ 0 w 1988"/>
                <a:gd name="T29" fmla="*/ 848 h 1612"/>
                <a:gd name="T30" fmla="*/ 994 w 1988"/>
                <a:gd name="T31" fmla="*/ 0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88" h="1612">
                  <a:moveTo>
                    <a:pt x="994" y="0"/>
                  </a:moveTo>
                  <a:lnTo>
                    <a:pt x="1348" y="250"/>
                  </a:lnTo>
                  <a:lnTo>
                    <a:pt x="1355" y="138"/>
                  </a:lnTo>
                  <a:lnTo>
                    <a:pt x="1588" y="138"/>
                  </a:lnTo>
                  <a:lnTo>
                    <a:pt x="1602" y="472"/>
                  </a:lnTo>
                  <a:lnTo>
                    <a:pt x="1988" y="848"/>
                  </a:lnTo>
                  <a:lnTo>
                    <a:pt x="1782" y="848"/>
                  </a:lnTo>
                  <a:lnTo>
                    <a:pt x="1782" y="1612"/>
                  </a:lnTo>
                  <a:lnTo>
                    <a:pt x="1261" y="1612"/>
                  </a:lnTo>
                  <a:lnTo>
                    <a:pt x="1261" y="986"/>
                  </a:lnTo>
                  <a:lnTo>
                    <a:pt x="921" y="986"/>
                  </a:lnTo>
                  <a:lnTo>
                    <a:pt x="921" y="1612"/>
                  </a:lnTo>
                  <a:lnTo>
                    <a:pt x="214" y="1612"/>
                  </a:lnTo>
                  <a:lnTo>
                    <a:pt x="214" y="848"/>
                  </a:lnTo>
                  <a:lnTo>
                    <a:pt x="0" y="848"/>
                  </a:lnTo>
                  <a:lnTo>
                    <a:pt x="994"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Rectangle 94">
              <a:extLst>
                <a:ext uri="{FF2B5EF4-FFF2-40B4-BE49-F238E27FC236}">
                  <a16:creationId xmlns:a16="http://schemas.microsoft.com/office/drawing/2014/main" id="{5BB88E4A-CF6D-A946-8690-38FA40228ED8}"/>
                </a:ext>
              </a:extLst>
            </p:cNvPr>
            <p:cNvSpPr>
              <a:spLocks noChangeArrowheads="1"/>
            </p:cNvSpPr>
            <p:nvPr/>
          </p:nvSpPr>
          <p:spPr bwMode="auto">
            <a:xfrm>
              <a:off x="3194050" y="5600700"/>
              <a:ext cx="90487" cy="271463"/>
            </a:xfrm>
            <a:prstGeom prst="rect">
              <a:avLst/>
            </a:prstGeom>
            <a:solidFill>
              <a:schemeClr val="bg1"/>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7" name="Rectangle 95">
              <a:extLst>
                <a:ext uri="{FF2B5EF4-FFF2-40B4-BE49-F238E27FC236}">
                  <a16:creationId xmlns:a16="http://schemas.microsoft.com/office/drawing/2014/main" id="{E4D8F494-CEC5-984A-A55A-CEAD3460B181}"/>
                </a:ext>
              </a:extLst>
            </p:cNvPr>
            <p:cNvSpPr>
              <a:spLocks noChangeArrowheads="1"/>
            </p:cNvSpPr>
            <p:nvPr/>
          </p:nvSpPr>
          <p:spPr bwMode="auto">
            <a:xfrm>
              <a:off x="3322638" y="5600700"/>
              <a:ext cx="130175" cy="103188"/>
            </a:xfrm>
            <a:prstGeom prst="rect">
              <a:avLst/>
            </a:prstGeom>
            <a:solidFill>
              <a:schemeClr val="bg1"/>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Rectangle 96">
              <a:extLst>
                <a:ext uri="{FF2B5EF4-FFF2-40B4-BE49-F238E27FC236}">
                  <a16:creationId xmlns:a16="http://schemas.microsoft.com/office/drawing/2014/main" id="{0B665D69-11FA-2F46-90CB-3B7965F35BB8}"/>
                </a:ext>
              </a:extLst>
            </p:cNvPr>
            <p:cNvSpPr>
              <a:spLocks noChangeArrowheads="1"/>
            </p:cNvSpPr>
            <p:nvPr/>
          </p:nvSpPr>
          <p:spPr bwMode="auto">
            <a:xfrm>
              <a:off x="3322638" y="5737225"/>
              <a:ext cx="130175" cy="134938"/>
            </a:xfrm>
            <a:prstGeom prst="rect">
              <a:avLst/>
            </a:prstGeom>
            <a:solidFill>
              <a:schemeClr val="bg1"/>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59" name="Group 258">
            <a:extLst>
              <a:ext uri="{FF2B5EF4-FFF2-40B4-BE49-F238E27FC236}">
                <a16:creationId xmlns:a16="http://schemas.microsoft.com/office/drawing/2014/main" id="{0024B419-1270-FD4A-A640-9BBDE6D747A0}"/>
              </a:ext>
            </a:extLst>
          </p:cNvPr>
          <p:cNvGrpSpPr/>
          <p:nvPr/>
        </p:nvGrpSpPr>
        <p:grpSpPr>
          <a:xfrm>
            <a:off x="6476626" y="2612052"/>
            <a:ext cx="3430588" cy="1830387"/>
            <a:chOff x="4845050" y="2919413"/>
            <a:chExt cx="3430588" cy="1830387"/>
          </a:xfrm>
        </p:grpSpPr>
        <p:sp>
          <p:nvSpPr>
            <p:cNvPr id="260" name="Rectangle 101">
              <a:extLst>
                <a:ext uri="{FF2B5EF4-FFF2-40B4-BE49-F238E27FC236}">
                  <a16:creationId xmlns:a16="http://schemas.microsoft.com/office/drawing/2014/main" id="{EFBCCFE4-4DD5-F84B-959C-EF523E0AB0A4}"/>
                </a:ext>
              </a:extLst>
            </p:cNvPr>
            <p:cNvSpPr>
              <a:spLocks noChangeArrowheads="1"/>
            </p:cNvSpPr>
            <p:nvPr/>
          </p:nvSpPr>
          <p:spPr bwMode="auto">
            <a:xfrm>
              <a:off x="4845050"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Rectangle 102">
              <a:extLst>
                <a:ext uri="{FF2B5EF4-FFF2-40B4-BE49-F238E27FC236}">
                  <a16:creationId xmlns:a16="http://schemas.microsoft.com/office/drawing/2014/main" id="{1AEA44A6-76A4-E34A-8F23-0FC3CEDEF161}"/>
                </a:ext>
              </a:extLst>
            </p:cNvPr>
            <p:cNvSpPr>
              <a:spLocks noChangeArrowheads="1"/>
            </p:cNvSpPr>
            <p:nvPr/>
          </p:nvSpPr>
          <p:spPr bwMode="auto">
            <a:xfrm>
              <a:off x="4845050"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Rectangle 103">
              <a:extLst>
                <a:ext uri="{FF2B5EF4-FFF2-40B4-BE49-F238E27FC236}">
                  <a16:creationId xmlns:a16="http://schemas.microsoft.com/office/drawing/2014/main" id="{EA04EA4E-6D3F-1046-B706-8EEA48276CC2}"/>
                </a:ext>
              </a:extLst>
            </p:cNvPr>
            <p:cNvSpPr>
              <a:spLocks noChangeArrowheads="1"/>
            </p:cNvSpPr>
            <p:nvPr/>
          </p:nvSpPr>
          <p:spPr bwMode="auto">
            <a:xfrm>
              <a:off x="4845050"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Rectangle 104">
              <a:extLst>
                <a:ext uri="{FF2B5EF4-FFF2-40B4-BE49-F238E27FC236}">
                  <a16:creationId xmlns:a16="http://schemas.microsoft.com/office/drawing/2014/main" id="{394DA938-855E-554A-A00E-AA334BEE53DB}"/>
                </a:ext>
              </a:extLst>
            </p:cNvPr>
            <p:cNvSpPr>
              <a:spLocks noChangeArrowheads="1"/>
            </p:cNvSpPr>
            <p:nvPr/>
          </p:nvSpPr>
          <p:spPr bwMode="auto">
            <a:xfrm>
              <a:off x="4845050" y="37274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Rectangle 105">
              <a:extLst>
                <a:ext uri="{FF2B5EF4-FFF2-40B4-BE49-F238E27FC236}">
                  <a16:creationId xmlns:a16="http://schemas.microsoft.com/office/drawing/2014/main" id="{56D68EB8-87EE-2543-ADE2-45325CF332DF}"/>
                </a:ext>
              </a:extLst>
            </p:cNvPr>
            <p:cNvSpPr>
              <a:spLocks noChangeArrowheads="1"/>
            </p:cNvSpPr>
            <p:nvPr/>
          </p:nvSpPr>
          <p:spPr bwMode="auto">
            <a:xfrm>
              <a:off x="4845050" y="400050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Rectangle 106">
              <a:extLst>
                <a:ext uri="{FF2B5EF4-FFF2-40B4-BE49-F238E27FC236}">
                  <a16:creationId xmlns:a16="http://schemas.microsoft.com/office/drawing/2014/main" id="{7499005F-A4D1-BB42-BA1B-5D492D86FA7E}"/>
                </a:ext>
              </a:extLst>
            </p:cNvPr>
            <p:cNvSpPr>
              <a:spLocks noChangeArrowheads="1"/>
            </p:cNvSpPr>
            <p:nvPr/>
          </p:nvSpPr>
          <p:spPr bwMode="auto">
            <a:xfrm>
              <a:off x="4845050" y="4264025"/>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Rectangle 107">
              <a:extLst>
                <a:ext uri="{FF2B5EF4-FFF2-40B4-BE49-F238E27FC236}">
                  <a16:creationId xmlns:a16="http://schemas.microsoft.com/office/drawing/2014/main" id="{64B17EE1-955A-8E42-B9F9-4E6D95EA22D9}"/>
                </a:ext>
              </a:extLst>
            </p:cNvPr>
            <p:cNvSpPr>
              <a:spLocks noChangeArrowheads="1"/>
            </p:cNvSpPr>
            <p:nvPr/>
          </p:nvSpPr>
          <p:spPr bwMode="auto">
            <a:xfrm>
              <a:off x="4845050"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Rectangle 108">
              <a:extLst>
                <a:ext uri="{FF2B5EF4-FFF2-40B4-BE49-F238E27FC236}">
                  <a16:creationId xmlns:a16="http://schemas.microsoft.com/office/drawing/2014/main" id="{740744C1-3BF8-0144-8B4B-307935223C8C}"/>
                </a:ext>
              </a:extLst>
            </p:cNvPr>
            <p:cNvSpPr>
              <a:spLocks noChangeArrowheads="1"/>
            </p:cNvSpPr>
            <p:nvPr/>
          </p:nvSpPr>
          <p:spPr bwMode="auto">
            <a:xfrm>
              <a:off x="5113338"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Rectangle 109">
              <a:extLst>
                <a:ext uri="{FF2B5EF4-FFF2-40B4-BE49-F238E27FC236}">
                  <a16:creationId xmlns:a16="http://schemas.microsoft.com/office/drawing/2014/main" id="{10435034-97E5-3E4F-98E4-420BD9058397}"/>
                </a:ext>
              </a:extLst>
            </p:cNvPr>
            <p:cNvSpPr>
              <a:spLocks noChangeArrowheads="1"/>
            </p:cNvSpPr>
            <p:nvPr/>
          </p:nvSpPr>
          <p:spPr bwMode="auto">
            <a:xfrm>
              <a:off x="5113338"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Rectangle 110">
              <a:extLst>
                <a:ext uri="{FF2B5EF4-FFF2-40B4-BE49-F238E27FC236}">
                  <a16:creationId xmlns:a16="http://schemas.microsoft.com/office/drawing/2014/main" id="{CD8E82AD-06A9-574F-AFDF-48AC63A1F88A}"/>
                </a:ext>
              </a:extLst>
            </p:cNvPr>
            <p:cNvSpPr>
              <a:spLocks noChangeArrowheads="1"/>
            </p:cNvSpPr>
            <p:nvPr/>
          </p:nvSpPr>
          <p:spPr bwMode="auto">
            <a:xfrm>
              <a:off x="5113338"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Rectangle 111">
              <a:extLst>
                <a:ext uri="{FF2B5EF4-FFF2-40B4-BE49-F238E27FC236}">
                  <a16:creationId xmlns:a16="http://schemas.microsoft.com/office/drawing/2014/main" id="{897A665F-C54E-8D46-B8ED-5D73DA4C1BFA}"/>
                </a:ext>
              </a:extLst>
            </p:cNvPr>
            <p:cNvSpPr>
              <a:spLocks noChangeArrowheads="1"/>
            </p:cNvSpPr>
            <p:nvPr/>
          </p:nvSpPr>
          <p:spPr bwMode="auto">
            <a:xfrm>
              <a:off x="5113338" y="37274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Rectangle 112">
              <a:extLst>
                <a:ext uri="{FF2B5EF4-FFF2-40B4-BE49-F238E27FC236}">
                  <a16:creationId xmlns:a16="http://schemas.microsoft.com/office/drawing/2014/main" id="{5FF8C2AC-9B86-464B-8098-3A66085FF01A}"/>
                </a:ext>
              </a:extLst>
            </p:cNvPr>
            <p:cNvSpPr>
              <a:spLocks noChangeArrowheads="1"/>
            </p:cNvSpPr>
            <p:nvPr/>
          </p:nvSpPr>
          <p:spPr bwMode="auto">
            <a:xfrm>
              <a:off x="5113338" y="400050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Rectangle 113">
              <a:extLst>
                <a:ext uri="{FF2B5EF4-FFF2-40B4-BE49-F238E27FC236}">
                  <a16:creationId xmlns:a16="http://schemas.microsoft.com/office/drawing/2014/main" id="{67645CB8-DAFE-F442-92F2-12A042A2F9D7}"/>
                </a:ext>
              </a:extLst>
            </p:cNvPr>
            <p:cNvSpPr>
              <a:spLocks noChangeArrowheads="1"/>
            </p:cNvSpPr>
            <p:nvPr/>
          </p:nvSpPr>
          <p:spPr bwMode="auto">
            <a:xfrm>
              <a:off x="5113338" y="4264025"/>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Rectangle 114">
              <a:extLst>
                <a:ext uri="{FF2B5EF4-FFF2-40B4-BE49-F238E27FC236}">
                  <a16:creationId xmlns:a16="http://schemas.microsoft.com/office/drawing/2014/main" id="{D12542A3-1C63-9F44-8193-EE04005A93EE}"/>
                </a:ext>
              </a:extLst>
            </p:cNvPr>
            <p:cNvSpPr>
              <a:spLocks noChangeArrowheads="1"/>
            </p:cNvSpPr>
            <p:nvPr/>
          </p:nvSpPr>
          <p:spPr bwMode="auto">
            <a:xfrm>
              <a:off x="5113338"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Rectangle 115">
              <a:extLst>
                <a:ext uri="{FF2B5EF4-FFF2-40B4-BE49-F238E27FC236}">
                  <a16:creationId xmlns:a16="http://schemas.microsoft.com/office/drawing/2014/main" id="{8CB070AA-68C6-614B-9A10-216891621AFE}"/>
                </a:ext>
              </a:extLst>
            </p:cNvPr>
            <p:cNvSpPr>
              <a:spLocks noChangeArrowheads="1"/>
            </p:cNvSpPr>
            <p:nvPr/>
          </p:nvSpPr>
          <p:spPr bwMode="auto">
            <a:xfrm>
              <a:off x="5380038"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Rectangle 116">
              <a:extLst>
                <a:ext uri="{FF2B5EF4-FFF2-40B4-BE49-F238E27FC236}">
                  <a16:creationId xmlns:a16="http://schemas.microsoft.com/office/drawing/2014/main" id="{A3C5FFE6-CE6F-FC49-A9E7-7DFB5BBE1384}"/>
                </a:ext>
              </a:extLst>
            </p:cNvPr>
            <p:cNvSpPr>
              <a:spLocks noChangeArrowheads="1"/>
            </p:cNvSpPr>
            <p:nvPr/>
          </p:nvSpPr>
          <p:spPr bwMode="auto">
            <a:xfrm>
              <a:off x="5380038"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Rectangle 117">
              <a:extLst>
                <a:ext uri="{FF2B5EF4-FFF2-40B4-BE49-F238E27FC236}">
                  <a16:creationId xmlns:a16="http://schemas.microsoft.com/office/drawing/2014/main" id="{07E93363-AAC6-F748-A08C-6E70F767A524}"/>
                </a:ext>
              </a:extLst>
            </p:cNvPr>
            <p:cNvSpPr>
              <a:spLocks noChangeArrowheads="1"/>
            </p:cNvSpPr>
            <p:nvPr/>
          </p:nvSpPr>
          <p:spPr bwMode="auto">
            <a:xfrm>
              <a:off x="5380038"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7" name="Rectangle 118">
              <a:extLst>
                <a:ext uri="{FF2B5EF4-FFF2-40B4-BE49-F238E27FC236}">
                  <a16:creationId xmlns:a16="http://schemas.microsoft.com/office/drawing/2014/main" id="{FF132040-D929-1B4C-A783-F26EFACBDC39}"/>
                </a:ext>
              </a:extLst>
            </p:cNvPr>
            <p:cNvSpPr>
              <a:spLocks noChangeArrowheads="1"/>
            </p:cNvSpPr>
            <p:nvPr/>
          </p:nvSpPr>
          <p:spPr bwMode="auto">
            <a:xfrm>
              <a:off x="5380038" y="37274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8" name="Rectangle 119">
              <a:extLst>
                <a:ext uri="{FF2B5EF4-FFF2-40B4-BE49-F238E27FC236}">
                  <a16:creationId xmlns:a16="http://schemas.microsoft.com/office/drawing/2014/main" id="{52181D3A-E663-6B4D-BCF0-A1026607E135}"/>
                </a:ext>
              </a:extLst>
            </p:cNvPr>
            <p:cNvSpPr>
              <a:spLocks noChangeArrowheads="1"/>
            </p:cNvSpPr>
            <p:nvPr/>
          </p:nvSpPr>
          <p:spPr bwMode="auto">
            <a:xfrm>
              <a:off x="5380038" y="400050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Rectangle 120">
              <a:extLst>
                <a:ext uri="{FF2B5EF4-FFF2-40B4-BE49-F238E27FC236}">
                  <a16:creationId xmlns:a16="http://schemas.microsoft.com/office/drawing/2014/main" id="{3E491988-3826-1A4F-8152-3EB542B6EDF3}"/>
                </a:ext>
              </a:extLst>
            </p:cNvPr>
            <p:cNvSpPr>
              <a:spLocks noChangeArrowheads="1"/>
            </p:cNvSpPr>
            <p:nvPr/>
          </p:nvSpPr>
          <p:spPr bwMode="auto">
            <a:xfrm>
              <a:off x="5380038"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0" name="Rectangle 121">
              <a:extLst>
                <a:ext uri="{FF2B5EF4-FFF2-40B4-BE49-F238E27FC236}">
                  <a16:creationId xmlns:a16="http://schemas.microsoft.com/office/drawing/2014/main" id="{AAF0EE94-E7C4-0440-88CE-99DBBB3E2105}"/>
                </a:ext>
              </a:extLst>
            </p:cNvPr>
            <p:cNvSpPr>
              <a:spLocks noChangeArrowheads="1"/>
            </p:cNvSpPr>
            <p:nvPr/>
          </p:nvSpPr>
          <p:spPr bwMode="auto">
            <a:xfrm>
              <a:off x="5380038"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Rectangle 122">
              <a:extLst>
                <a:ext uri="{FF2B5EF4-FFF2-40B4-BE49-F238E27FC236}">
                  <a16:creationId xmlns:a16="http://schemas.microsoft.com/office/drawing/2014/main" id="{D84411A1-EDD4-FB47-A55B-ED75C20BC4BB}"/>
                </a:ext>
              </a:extLst>
            </p:cNvPr>
            <p:cNvSpPr>
              <a:spLocks noChangeArrowheads="1"/>
            </p:cNvSpPr>
            <p:nvPr/>
          </p:nvSpPr>
          <p:spPr bwMode="auto">
            <a:xfrm>
              <a:off x="5648325"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Rectangle 123">
              <a:extLst>
                <a:ext uri="{FF2B5EF4-FFF2-40B4-BE49-F238E27FC236}">
                  <a16:creationId xmlns:a16="http://schemas.microsoft.com/office/drawing/2014/main" id="{A07488CE-69ED-3841-A26E-345279433D46}"/>
                </a:ext>
              </a:extLst>
            </p:cNvPr>
            <p:cNvSpPr>
              <a:spLocks noChangeArrowheads="1"/>
            </p:cNvSpPr>
            <p:nvPr/>
          </p:nvSpPr>
          <p:spPr bwMode="auto">
            <a:xfrm>
              <a:off x="5648325"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3" name="Rectangle 124">
              <a:extLst>
                <a:ext uri="{FF2B5EF4-FFF2-40B4-BE49-F238E27FC236}">
                  <a16:creationId xmlns:a16="http://schemas.microsoft.com/office/drawing/2014/main" id="{D407E8C9-58CB-A640-A526-0BE94B036312}"/>
                </a:ext>
              </a:extLst>
            </p:cNvPr>
            <p:cNvSpPr>
              <a:spLocks noChangeArrowheads="1"/>
            </p:cNvSpPr>
            <p:nvPr/>
          </p:nvSpPr>
          <p:spPr bwMode="auto">
            <a:xfrm>
              <a:off x="5648325"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Rectangle 125">
              <a:extLst>
                <a:ext uri="{FF2B5EF4-FFF2-40B4-BE49-F238E27FC236}">
                  <a16:creationId xmlns:a16="http://schemas.microsoft.com/office/drawing/2014/main" id="{31EA216A-5091-C64C-B663-F45EF5D92A50}"/>
                </a:ext>
              </a:extLst>
            </p:cNvPr>
            <p:cNvSpPr>
              <a:spLocks noChangeArrowheads="1"/>
            </p:cNvSpPr>
            <p:nvPr/>
          </p:nvSpPr>
          <p:spPr bwMode="auto">
            <a:xfrm>
              <a:off x="5648325" y="37274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5" name="Rectangle 126">
              <a:extLst>
                <a:ext uri="{FF2B5EF4-FFF2-40B4-BE49-F238E27FC236}">
                  <a16:creationId xmlns:a16="http://schemas.microsoft.com/office/drawing/2014/main" id="{452374A5-0A7D-4E46-92CF-F5897FE3BF0D}"/>
                </a:ext>
              </a:extLst>
            </p:cNvPr>
            <p:cNvSpPr>
              <a:spLocks noChangeArrowheads="1"/>
            </p:cNvSpPr>
            <p:nvPr/>
          </p:nvSpPr>
          <p:spPr bwMode="auto">
            <a:xfrm>
              <a:off x="5648325"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6" name="Rectangle 127">
              <a:extLst>
                <a:ext uri="{FF2B5EF4-FFF2-40B4-BE49-F238E27FC236}">
                  <a16:creationId xmlns:a16="http://schemas.microsoft.com/office/drawing/2014/main" id="{8E8AC66A-B244-B64C-9479-CB05051B680A}"/>
                </a:ext>
              </a:extLst>
            </p:cNvPr>
            <p:cNvSpPr>
              <a:spLocks noChangeArrowheads="1"/>
            </p:cNvSpPr>
            <p:nvPr/>
          </p:nvSpPr>
          <p:spPr bwMode="auto">
            <a:xfrm>
              <a:off x="5648325"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7" name="Rectangle 128">
              <a:extLst>
                <a:ext uri="{FF2B5EF4-FFF2-40B4-BE49-F238E27FC236}">
                  <a16:creationId xmlns:a16="http://schemas.microsoft.com/office/drawing/2014/main" id="{DD54EB30-9F42-334F-A1CD-6388E2B59714}"/>
                </a:ext>
              </a:extLst>
            </p:cNvPr>
            <p:cNvSpPr>
              <a:spLocks noChangeArrowheads="1"/>
            </p:cNvSpPr>
            <p:nvPr/>
          </p:nvSpPr>
          <p:spPr bwMode="auto">
            <a:xfrm>
              <a:off x="5648325"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Rectangle 129">
              <a:extLst>
                <a:ext uri="{FF2B5EF4-FFF2-40B4-BE49-F238E27FC236}">
                  <a16:creationId xmlns:a16="http://schemas.microsoft.com/office/drawing/2014/main" id="{7F58A1D5-9F34-FF42-A6B3-43445573DC1B}"/>
                </a:ext>
              </a:extLst>
            </p:cNvPr>
            <p:cNvSpPr>
              <a:spLocks noChangeArrowheads="1"/>
            </p:cNvSpPr>
            <p:nvPr/>
          </p:nvSpPr>
          <p:spPr bwMode="auto">
            <a:xfrm>
              <a:off x="5916613"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9" name="Rectangle 130">
              <a:extLst>
                <a:ext uri="{FF2B5EF4-FFF2-40B4-BE49-F238E27FC236}">
                  <a16:creationId xmlns:a16="http://schemas.microsoft.com/office/drawing/2014/main" id="{74CE6245-5B52-0244-866A-163756F7EECF}"/>
                </a:ext>
              </a:extLst>
            </p:cNvPr>
            <p:cNvSpPr>
              <a:spLocks noChangeArrowheads="1"/>
            </p:cNvSpPr>
            <p:nvPr/>
          </p:nvSpPr>
          <p:spPr bwMode="auto">
            <a:xfrm>
              <a:off x="5916613"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0" name="Rectangle 131">
              <a:extLst>
                <a:ext uri="{FF2B5EF4-FFF2-40B4-BE49-F238E27FC236}">
                  <a16:creationId xmlns:a16="http://schemas.microsoft.com/office/drawing/2014/main" id="{D9C05201-B36A-904B-874C-1DACB1194CE4}"/>
                </a:ext>
              </a:extLst>
            </p:cNvPr>
            <p:cNvSpPr>
              <a:spLocks noChangeArrowheads="1"/>
            </p:cNvSpPr>
            <p:nvPr/>
          </p:nvSpPr>
          <p:spPr bwMode="auto">
            <a:xfrm>
              <a:off x="5916613"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1" name="Rectangle 132">
              <a:extLst>
                <a:ext uri="{FF2B5EF4-FFF2-40B4-BE49-F238E27FC236}">
                  <a16:creationId xmlns:a16="http://schemas.microsoft.com/office/drawing/2014/main" id="{DF984837-624E-144B-B41D-F51A119110A7}"/>
                </a:ext>
              </a:extLst>
            </p:cNvPr>
            <p:cNvSpPr>
              <a:spLocks noChangeArrowheads="1"/>
            </p:cNvSpPr>
            <p:nvPr/>
          </p:nvSpPr>
          <p:spPr bwMode="auto">
            <a:xfrm>
              <a:off x="5916613" y="37274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2" name="Rectangle 133">
              <a:extLst>
                <a:ext uri="{FF2B5EF4-FFF2-40B4-BE49-F238E27FC236}">
                  <a16:creationId xmlns:a16="http://schemas.microsoft.com/office/drawing/2014/main" id="{D4D60E53-A7AD-F64C-A3E3-73EF887FB11F}"/>
                </a:ext>
              </a:extLst>
            </p:cNvPr>
            <p:cNvSpPr>
              <a:spLocks noChangeArrowheads="1"/>
            </p:cNvSpPr>
            <p:nvPr/>
          </p:nvSpPr>
          <p:spPr bwMode="auto">
            <a:xfrm>
              <a:off x="5916613"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3" name="Rectangle 134">
              <a:extLst>
                <a:ext uri="{FF2B5EF4-FFF2-40B4-BE49-F238E27FC236}">
                  <a16:creationId xmlns:a16="http://schemas.microsoft.com/office/drawing/2014/main" id="{3EE056D4-233A-1F4D-AB09-3A3AF4272251}"/>
                </a:ext>
              </a:extLst>
            </p:cNvPr>
            <p:cNvSpPr>
              <a:spLocks noChangeArrowheads="1"/>
            </p:cNvSpPr>
            <p:nvPr/>
          </p:nvSpPr>
          <p:spPr bwMode="auto">
            <a:xfrm>
              <a:off x="5916613"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4" name="Rectangle 135">
              <a:extLst>
                <a:ext uri="{FF2B5EF4-FFF2-40B4-BE49-F238E27FC236}">
                  <a16:creationId xmlns:a16="http://schemas.microsoft.com/office/drawing/2014/main" id="{EDBF33E6-4E7D-064F-8E38-4B8999A4E27E}"/>
                </a:ext>
              </a:extLst>
            </p:cNvPr>
            <p:cNvSpPr>
              <a:spLocks noChangeArrowheads="1"/>
            </p:cNvSpPr>
            <p:nvPr/>
          </p:nvSpPr>
          <p:spPr bwMode="auto">
            <a:xfrm>
              <a:off x="5916613"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5" name="Rectangle 136">
              <a:extLst>
                <a:ext uri="{FF2B5EF4-FFF2-40B4-BE49-F238E27FC236}">
                  <a16:creationId xmlns:a16="http://schemas.microsoft.com/office/drawing/2014/main" id="{C170CC13-8E1B-0648-B723-B3207B7AA9F1}"/>
                </a:ext>
              </a:extLst>
            </p:cNvPr>
            <p:cNvSpPr>
              <a:spLocks noChangeArrowheads="1"/>
            </p:cNvSpPr>
            <p:nvPr/>
          </p:nvSpPr>
          <p:spPr bwMode="auto">
            <a:xfrm>
              <a:off x="6183313"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6" name="Rectangle 137">
              <a:extLst>
                <a:ext uri="{FF2B5EF4-FFF2-40B4-BE49-F238E27FC236}">
                  <a16:creationId xmlns:a16="http://schemas.microsoft.com/office/drawing/2014/main" id="{B342C8FA-8468-AB42-B89E-23EF30DFB39A}"/>
                </a:ext>
              </a:extLst>
            </p:cNvPr>
            <p:cNvSpPr>
              <a:spLocks noChangeArrowheads="1"/>
            </p:cNvSpPr>
            <p:nvPr/>
          </p:nvSpPr>
          <p:spPr bwMode="auto">
            <a:xfrm>
              <a:off x="6183313"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7" name="Rectangle 138">
              <a:extLst>
                <a:ext uri="{FF2B5EF4-FFF2-40B4-BE49-F238E27FC236}">
                  <a16:creationId xmlns:a16="http://schemas.microsoft.com/office/drawing/2014/main" id="{0989AF27-61BA-3840-921E-3F1D7DCEE395}"/>
                </a:ext>
              </a:extLst>
            </p:cNvPr>
            <p:cNvSpPr>
              <a:spLocks noChangeArrowheads="1"/>
            </p:cNvSpPr>
            <p:nvPr/>
          </p:nvSpPr>
          <p:spPr bwMode="auto">
            <a:xfrm>
              <a:off x="6183313"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Rectangle 139">
              <a:extLst>
                <a:ext uri="{FF2B5EF4-FFF2-40B4-BE49-F238E27FC236}">
                  <a16:creationId xmlns:a16="http://schemas.microsoft.com/office/drawing/2014/main" id="{9F208762-A231-1947-BA0B-ED542E1006E5}"/>
                </a:ext>
              </a:extLst>
            </p:cNvPr>
            <p:cNvSpPr>
              <a:spLocks noChangeArrowheads="1"/>
            </p:cNvSpPr>
            <p:nvPr/>
          </p:nvSpPr>
          <p:spPr bwMode="auto">
            <a:xfrm>
              <a:off x="6183313"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Rectangle 140">
              <a:extLst>
                <a:ext uri="{FF2B5EF4-FFF2-40B4-BE49-F238E27FC236}">
                  <a16:creationId xmlns:a16="http://schemas.microsoft.com/office/drawing/2014/main" id="{2FA3F409-AF84-FF47-9FFF-3D9E074E0541}"/>
                </a:ext>
              </a:extLst>
            </p:cNvPr>
            <p:cNvSpPr>
              <a:spLocks noChangeArrowheads="1"/>
            </p:cNvSpPr>
            <p:nvPr/>
          </p:nvSpPr>
          <p:spPr bwMode="auto">
            <a:xfrm>
              <a:off x="6183313"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Rectangle 141">
              <a:extLst>
                <a:ext uri="{FF2B5EF4-FFF2-40B4-BE49-F238E27FC236}">
                  <a16:creationId xmlns:a16="http://schemas.microsoft.com/office/drawing/2014/main" id="{56CB1018-4438-8C4D-AB9B-8390FFAAFA71}"/>
                </a:ext>
              </a:extLst>
            </p:cNvPr>
            <p:cNvSpPr>
              <a:spLocks noChangeArrowheads="1"/>
            </p:cNvSpPr>
            <p:nvPr/>
          </p:nvSpPr>
          <p:spPr bwMode="auto">
            <a:xfrm>
              <a:off x="6183313"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Rectangle 142">
              <a:extLst>
                <a:ext uri="{FF2B5EF4-FFF2-40B4-BE49-F238E27FC236}">
                  <a16:creationId xmlns:a16="http://schemas.microsoft.com/office/drawing/2014/main" id="{A32C7996-B16C-2747-9358-AC6609D98180}"/>
                </a:ext>
              </a:extLst>
            </p:cNvPr>
            <p:cNvSpPr>
              <a:spLocks noChangeArrowheads="1"/>
            </p:cNvSpPr>
            <p:nvPr/>
          </p:nvSpPr>
          <p:spPr bwMode="auto">
            <a:xfrm>
              <a:off x="6183313"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2" name="Rectangle 143">
              <a:extLst>
                <a:ext uri="{FF2B5EF4-FFF2-40B4-BE49-F238E27FC236}">
                  <a16:creationId xmlns:a16="http://schemas.microsoft.com/office/drawing/2014/main" id="{4C4FA0A8-2929-7847-9E35-355527FA5460}"/>
                </a:ext>
              </a:extLst>
            </p:cNvPr>
            <p:cNvSpPr>
              <a:spLocks noChangeArrowheads="1"/>
            </p:cNvSpPr>
            <p:nvPr/>
          </p:nvSpPr>
          <p:spPr bwMode="auto">
            <a:xfrm>
              <a:off x="6451600"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3" name="Rectangle 144">
              <a:extLst>
                <a:ext uri="{FF2B5EF4-FFF2-40B4-BE49-F238E27FC236}">
                  <a16:creationId xmlns:a16="http://schemas.microsoft.com/office/drawing/2014/main" id="{48EB8495-21AC-4143-B578-080666A11E75}"/>
                </a:ext>
              </a:extLst>
            </p:cNvPr>
            <p:cNvSpPr>
              <a:spLocks noChangeArrowheads="1"/>
            </p:cNvSpPr>
            <p:nvPr/>
          </p:nvSpPr>
          <p:spPr bwMode="auto">
            <a:xfrm>
              <a:off x="6451600"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4" name="Rectangle 145">
              <a:extLst>
                <a:ext uri="{FF2B5EF4-FFF2-40B4-BE49-F238E27FC236}">
                  <a16:creationId xmlns:a16="http://schemas.microsoft.com/office/drawing/2014/main" id="{26F85467-2ED7-F640-A813-21D48D734544}"/>
                </a:ext>
              </a:extLst>
            </p:cNvPr>
            <p:cNvSpPr>
              <a:spLocks noChangeArrowheads="1"/>
            </p:cNvSpPr>
            <p:nvPr/>
          </p:nvSpPr>
          <p:spPr bwMode="auto">
            <a:xfrm>
              <a:off x="6451600"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5" name="Rectangle 146">
              <a:extLst>
                <a:ext uri="{FF2B5EF4-FFF2-40B4-BE49-F238E27FC236}">
                  <a16:creationId xmlns:a16="http://schemas.microsoft.com/office/drawing/2014/main" id="{9086D7D0-5256-714B-A794-747815DCDE2F}"/>
                </a:ext>
              </a:extLst>
            </p:cNvPr>
            <p:cNvSpPr>
              <a:spLocks noChangeArrowheads="1"/>
            </p:cNvSpPr>
            <p:nvPr/>
          </p:nvSpPr>
          <p:spPr bwMode="auto">
            <a:xfrm>
              <a:off x="6451600"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6" name="Rectangle 147">
              <a:extLst>
                <a:ext uri="{FF2B5EF4-FFF2-40B4-BE49-F238E27FC236}">
                  <a16:creationId xmlns:a16="http://schemas.microsoft.com/office/drawing/2014/main" id="{8A00067D-EA89-AD42-A6C4-2CB24D03CA95}"/>
                </a:ext>
              </a:extLst>
            </p:cNvPr>
            <p:cNvSpPr>
              <a:spLocks noChangeArrowheads="1"/>
            </p:cNvSpPr>
            <p:nvPr/>
          </p:nvSpPr>
          <p:spPr bwMode="auto">
            <a:xfrm>
              <a:off x="6451600"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7" name="Rectangle 148">
              <a:extLst>
                <a:ext uri="{FF2B5EF4-FFF2-40B4-BE49-F238E27FC236}">
                  <a16:creationId xmlns:a16="http://schemas.microsoft.com/office/drawing/2014/main" id="{1E24277B-3A76-0C41-B2E1-CBD9B65D47CB}"/>
                </a:ext>
              </a:extLst>
            </p:cNvPr>
            <p:cNvSpPr>
              <a:spLocks noChangeArrowheads="1"/>
            </p:cNvSpPr>
            <p:nvPr/>
          </p:nvSpPr>
          <p:spPr bwMode="auto">
            <a:xfrm>
              <a:off x="6451600"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Rectangle 149">
              <a:extLst>
                <a:ext uri="{FF2B5EF4-FFF2-40B4-BE49-F238E27FC236}">
                  <a16:creationId xmlns:a16="http://schemas.microsoft.com/office/drawing/2014/main" id="{00AF4897-78D7-A649-9EBE-32D99805F166}"/>
                </a:ext>
              </a:extLst>
            </p:cNvPr>
            <p:cNvSpPr>
              <a:spLocks noChangeArrowheads="1"/>
            </p:cNvSpPr>
            <p:nvPr/>
          </p:nvSpPr>
          <p:spPr bwMode="auto">
            <a:xfrm>
              <a:off x="6451600"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Rectangle 150">
              <a:extLst>
                <a:ext uri="{FF2B5EF4-FFF2-40B4-BE49-F238E27FC236}">
                  <a16:creationId xmlns:a16="http://schemas.microsoft.com/office/drawing/2014/main" id="{2ED174B0-D5DA-8245-8766-2115A54B5C26}"/>
                </a:ext>
              </a:extLst>
            </p:cNvPr>
            <p:cNvSpPr>
              <a:spLocks noChangeArrowheads="1"/>
            </p:cNvSpPr>
            <p:nvPr/>
          </p:nvSpPr>
          <p:spPr bwMode="auto">
            <a:xfrm>
              <a:off x="6719888"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Rectangle 151">
              <a:extLst>
                <a:ext uri="{FF2B5EF4-FFF2-40B4-BE49-F238E27FC236}">
                  <a16:creationId xmlns:a16="http://schemas.microsoft.com/office/drawing/2014/main" id="{5180E3BB-97AD-6848-9BE6-67C1A8E4FA80}"/>
                </a:ext>
              </a:extLst>
            </p:cNvPr>
            <p:cNvSpPr>
              <a:spLocks noChangeArrowheads="1"/>
            </p:cNvSpPr>
            <p:nvPr/>
          </p:nvSpPr>
          <p:spPr bwMode="auto">
            <a:xfrm>
              <a:off x="6719888"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152">
              <a:extLst>
                <a:ext uri="{FF2B5EF4-FFF2-40B4-BE49-F238E27FC236}">
                  <a16:creationId xmlns:a16="http://schemas.microsoft.com/office/drawing/2014/main" id="{57615637-9CD7-024C-9FA6-4C6CC1B13B21}"/>
                </a:ext>
              </a:extLst>
            </p:cNvPr>
            <p:cNvSpPr>
              <a:spLocks noChangeArrowheads="1"/>
            </p:cNvSpPr>
            <p:nvPr/>
          </p:nvSpPr>
          <p:spPr bwMode="auto">
            <a:xfrm>
              <a:off x="6719888"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Rectangle 153">
              <a:extLst>
                <a:ext uri="{FF2B5EF4-FFF2-40B4-BE49-F238E27FC236}">
                  <a16:creationId xmlns:a16="http://schemas.microsoft.com/office/drawing/2014/main" id="{A991A2C6-48F4-1643-8EAA-731DC83C4470}"/>
                </a:ext>
              </a:extLst>
            </p:cNvPr>
            <p:cNvSpPr>
              <a:spLocks noChangeArrowheads="1"/>
            </p:cNvSpPr>
            <p:nvPr/>
          </p:nvSpPr>
          <p:spPr bwMode="auto">
            <a:xfrm>
              <a:off x="6719888"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Rectangle 154">
              <a:extLst>
                <a:ext uri="{FF2B5EF4-FFF2-40B4-BE49-F238E27FC236}">
                  <a16:creationId xmlns:a16="http://schemas.microsoft.com/office/drawing/2014/main" id="{2933C211-D4BB-C749-91A4-D7E639D91187}"/>
                </a:ext>
              </a:extLst>
            </p:cNvPr>
            <p:cNvSpPr>
              <a:spLocks noChangeArrowheads="1"/>
            </p:cNvSpPr>
            <p:nvPr/>
          </p:nvSpPr>
          <p:spPr bwMode="auto">
            <a:xfrm>
              <a:off x="6719888"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Rectangle 155">
              <a:extLst>
                <a:ext uri="{FF2B5EF4-FFF2-40B4-BE49-F238E27FC236}">
                  <a16:creationId xmlns:a16="http://schemas.microsoft.com/office/drawing/2014/main" id="{31064827-186C-FD46-8FF1-6A13225B19F2}"/>
                </a:ext>
              </a:extLst>
            </p:cNvPr>
            <p:cNvSpPr>
              <a:spLocks noChangeArrowheads="1"/>
            </p:cNvSpPr>
            <p:nvPr/>
          </p:nvSpPr>
          <p:spPr bwMode="auto">
            <a:xfrm>
              <a:off x="6719888"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Rectangle 156">
              <a:extLst>
                <a:ext uri="{FF2B5EF4-FFF2-40B4-BE49-F238E27FC236}">
                  <a16:creationId xmlns:a16="http://schemas.microsoft.com/office/drawing/2014/main" id="{BC1F69A0-8E9F-4343-9025-51DC933B7903}"/>
                </a:ext>
              </a:extLst>
            </p:cNvPr>
            <p:cNvSpPr>
              <a:spLocks noChangeArrowheads="1"/>
            </p:cNvSpPr>
            <p:nvPr/>
          </p:nvSpPr>
          <p:spPr bwMode="auto">
            <a:xfrm>
              <a:off x="6719888"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Rectangle 157">
              <a:extLst>
                <a:ext uri="{FF2B5EF4-FFF2-40B4-BE49-F238E27FC236}">
                  <a16:creationId xmlns:a16="http://schemas.microsoft.com/office/drawing/2014/main" id="{920EC393-431B-9644-AD22-E00959DB4720}"/>
                </a:ext>
              </a:extLst>
            </p:cNvPr>
            <p:cNvSpPr>
              <a:spLocks noChangeArrowheads="1"/>
            </p:cNvSpPr>
            <p:nvPr/>
          </p:nvSpPr>
          <p:spPr bwMode="auto">
            <a:xfrm>
              <a:off x="6988175"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Rectangle 158">
              <a:extLst>
                <a:ext uri="{FF2B5EF4-FFF2-40B4-BE49-F238E27FC236}">
                  <a16:creationId xmlns:a16="http://schemas.microsoft.com/office/drawing/2014/main" id="{C3FD79E0-A58F-994D-804D-62AD98A3B1F1}"/>
                </a:ext>
              </a:extLst>
            </p:cNvPr>
            <p:cNvSpPr>
              <a:spLocks noChangeArrowheads="1"/>
            </p:cNvSpPr>
            <p:nvPr/>
          </p:nvSpPr>
          <p:spPr bwMode="auto">
            <a:xfrm>
              <a:off x="6988175"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Rectangle 159">
              <a:extLst>
                <a:ext uri="{FF2B5EF4-FFF2-40B4-BE49-F238E27FC236}">
                  <a16:creationId xmlns:a16="http://schemas.microsoft.com/office/drawing/2014/main" id="{6296C1E2-E33A-4E42-A95E-65F468BFBDE7}"/>
                </a:ext>
              </a:extLst>
            </p:cNvPr>
            <p:cNvSpPr>
              <a:spLocks noChangeArrowheads="1"/>
            </p:cNvSpPr>
            <p:nvPr/>
          </p:nvSpPr>
          <p:spPr bwMode="auto">
            <a:xfrm>
              <a:off x="6988175"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9" name="Rectangle 160">
              <a:extLst>
                <a:ext uri="{FF2B5EF4-FFF2-40B4-BE49-F238E27FC236}">
                  <a16:creationId xmlns:a16="http://schemas.microsoft.com/office/drawing/2014/main" id="{74159E8E-B9F7-2D4E-97EB-01FF60FA0F17}"/>
                </a:ext>
              </a:extLst>
            </p:cNvPr>
            <p:cNvSpPr>
              <a:spLocks noChangeArrowheads="1"/>
            </p:cNvSpPr>
            <p:nvPr/>
          </p:nvSpPr>
          <p:spPr bwMode="auto">
            <a:xfrm>
              <a:off x="6988175"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0" name="Rectangle 161">
              <a:extLst>
                <a:ext uri="{FF2B5EF4-FFF2-40B4-BE49-F238E27FC236}">
                  <a16:creationId xmlns:a16="http://schemas.microsoft.com/office/drawing/2014/main" id="{93C93BCA-11B3-154D-9307-F764B30B5CBB}"/>
                </a:ext>
              </a:extLst>
            </p:cNvPr>
            <p:cNvSpPr>
              <a:spLocks noChangeArrowheads="1"/>
            </p:cNvSpPr>
            <p:nvPr/>
          </p:nvSpPr>
          <p:spPr bwMode="auto">
            <a:xfrm>
              <a:off x="6988175"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Rectangle 162">
              <a:extLst>
                <a:ext uri="{FF2B5EF4-FFF2-40B4-BE49-F238E27FC236}">
                  <a16:creationId xmlns:a16="http://schemas.microsoft.com/office/drawing/2014/main" id="{49041727-4886-004D-9B4F-CA5FA74F7237}"/>
                </a:ext>
              </a:extLst>
            </p:cNvPr>
            <p:cNvSpPr>
              <a:spLocks noChangeArrowheads="1"/>
            </p:cNvSpPr>
            <p:nvPr/>
          </p:nvSpPr>
          <p:spPr bwMode="auto">
            <a:xfrm>
              <a:off x="6988175"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Rectangle 163">
              <a:extLst>
                <a:ext uri="{FF2B5EF4-FFF2-40B4-BE49-F238E27FC236}">
                  <a16:creationId xmlns:a16="http://schemas.microsoft.com/office/drawing/2014/main" id="{AD797F1C-73C0-294B-8783-48141483D724}"/>
                </a:ext>
              </a:extLst>
            </p:cNvPr>
            <p:cNvSpPr>
              <a:spLocks noChangeArrowheads="1"/>
            </p:cNvSpPr>
            <p:nvPr/>
          </p:nvSpPr>
          <p:spPr bwMode="auto">
            <a:xfrm>
              <a:off x="6988175"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Rectangle 164">
              <a:extLst>
                <a:ext uri="{FF2B5EF4-FFF2-40B4-BE49-F238E27FC236}">
                  <a16:creationId xmlns:a16="http://schemas.microsoft.com/office/drawing/2014/main" id="{7BE8C56F-536B-3A44-A17A-9BA1AA162046}"/>
                </a:ext>
              </a:extLst>
            </p:cNvPr>
            <p:cNvSpPr>
              <a:spLocks noChangeArrowheads="1"/>
            </p:cNvSpPr>
            <p:nvPr/>
          </p:nvSpPr>
          <p:spPr bwMode="auto">
            <a:xfrm>
              <a:off x="7256463"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Rectangle 165">
              <a:extLst>
                <a:ext uri="{FF2B5EF4-FFF2-40B4-BE49-F238E27FC236}">
                  <a16:creationId xmlns:a16="http://schemas.microsoft.com/office/drawing/2014/main" id="{1705ED4C-AED7-1941-AF4B-F07A8F7394F4}"/>
                </a:ext>
              </a:extLst>
            </p:cNvPr>
            <p:cNvSpPr>
              <a:spLocks noChangeArrowheads="1"/>
            </p:cNvSpPr>
            <p:nvPr/>
          </p:nvSpPr>
          <p:spPr bwMode="auto">
            <a:xfrm>
              <a:off x="7256463"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5" name="Rectangle 166">
              <a:extLst>
                <a:ext uri="{FF2B5EF4-FFF2-40B4-BE49-F238E27FC236}">
                  <a16:creationId xmlns:a16="http://schemas.microsoft.com/office/drawing/2014/main" id="{9BD76B36-3628-DC4E-9A76-E22F85A31444}"/>
                </a:ext>
              </a:extLst>
            </p:cNvPr>
            <p:cNvSpPr>
              <a:spLocks noChangeArrowheads="1"/>
            </p:cNvSpPr>
            <p:nvPr/>
          </p:nvSpPr>
          <p:spPr bwMode="auto">
            <a:xfrm>
              <a:off x="7256463"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6" name="Rectangle 167">
              <a:extLst>
                <a:ext uri="{FF2B5EF4-FFF2-40B4-BE49-F238E27FC236}">
                  <a16:creationId xmlns:a16="http://schemas.microsoft.com/office/drawing/2014/main" id="{E9DBC805-BD61-274D-B593-0F3434EF98A5}"/>
                </a:ext>
              </a:extLst>
            </p:cNvPr>
            <p:cNvSpPr>
              <a:spLocks noChangeArrowheads="1"/>
            </p:cNvSpPr>
            <p:nvPr/>
          </p:nvSpPr>
          <p:spPr bwMode="auto">
            <a:xfrm>
              <a:off x="7256463"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Rectangle 168">
              <a:extLst>
                <a:ext uri="{FF2B5EF4-FFF2-40B4-BE49-F238E27FC236}">
                  <a16:creationId xmlns:a16="http://schemas.microsoft.com/office/drawing/2014/main" id="{6DD88A6B-E3ED-344B-8A0A-4680758BC76D}"/>
                </a:ext>
              </a:extLst>
            </p:cNvPr>
            <p:cNvSpPr>
              <a:spLocks noChangeArrowheads="1"/>
            </p:cNvSpPr>
            <p:nvPr/>
          </p:nvSpPr>
          <p:spPr bwMode="auto">
            <a:xfrm>
              <a:off x="7256463"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8" name="Rectangle 169">
              <a:extLst>
                <a:ext uri="{FF2B5EF4-FFF2-40B4-BE49-F238E27FC236}">
                  <a16:creationId xmlns:a16="http://schemas.microsoft.com/office/drawing/2014/main" id="{CCAE3901-22B4-2241-99A9-7D70DA18368A}"/>
                </a:ext>
              </a:extLst>
            </p:cNvPr>
            <p:cNvSpPr>
              <a:spLocks noChangeArrowheads="1"/>
            </p:cNvSpPr>
            <p:nvPr/>
          </p:nvSpPr>
          <p:spPr bwMode="auto">
            <a:xfrm>
              <a:off x="7256463"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9" name="Rectangle 170">
              <a:extLst>
                <a:ext uri="{FF2B5EF4-FFF2-40B4-BE49-F238E27FC236}">
                  <a16:creationId xmlns:a16="http://schemas.microsoft.com/office/drawing/2014/main" id="{1CCAF690-62E7-8048-BE3B-3BF1E9FAE036}"/>
                </a:ext>
              </a:extLst>
            </p:cNvPr>
            <p:cNvSpPr>
              <a:spLocks noChangeArrowheads="1"/>
            </p:cNvSpPr>
            <p:nvPr/>
          </p:nvSpPr>
          <p:spPr bwMode="auto">
            <a:xfrm>
              <a:off x="7256463"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0" name="Rectangle 171">
              <a:extLst>
                <a:ext uri="{FF2B5EF4-FFF2-40B4-BE49-F238E27FC236}">
                  <a16:creationId xmlns:a16="http://schemas.microsoft.com/office/drawing/2014/main" id="{F60B55DA-44ED-1346-8DAA-949A4F1B32F4}"/>
                </a:ext>
              </a:extLst>
            </p:cNvPr>
            <p:cNvSpPr>
              <a:spLocks noChangeArrowheads="1"/>
            </p:cNvSpPr>
            <p:nvPr/>
          </p:nvSpPr>
          <p:spPr bwMode="auto">
            <a:xfrm>
              <a:off x="7524750" y="2919413"/>
              <a:ext cx="214313"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1" name="Rectangle 172">
              <a:extLst>
                <a:ext uri="{FF2B5EF4-FFF2-40B4-BE49-F238E27FC236}">
                  <a16:creationId xmlns:a16="http://schemas.microsoft.com/office/drawing/2014/main" id="{A65A38CD-125C-494B-9444-BE083A7D14C1}"/>
                </a:ext>
              </a:extLst>
            </p:cNvPr>
            <p:cNvSpPr>
              <a:spLocks noChangeArrowheads="1"/>
            </p:cNvSpPr>
            <p:nvPr/>
          </p:nvSpPr>
          <p:spPr bwMode="auto">
            <a:xfrm>
              <a:off x="7524750" y="3197225"/>
              <a:ext cx="214313"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2" name="Rectangle 173">
              <a:extLst>
                <a:ext uri="{FF2B5EF4-FFF2-40B4-BE49-F238E27FC236}">
                  <a16:creationId xmlns:a16="http://schemas.microsoft.com/office/drawing/2014/main" id="{7B37483B-3B3C-934C-99CA-FEFC4810ED6A}"/>
                </a:ext>
              </a:extLst>
            </p:cNvPr>
            <p:cNvSpPr>
              <a:spLocks noChangeArrowheads="1"/>
            </p:cNvSpPr>
            <p:nvPr/>
          </p:nvSpPr>
          <p:spPr bwMode="auto">
            <a:xfrm>
              <a:off x="7524750" y="3460750"/>
              <a:ext cx="214313"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3" name="Rectangle 174">
              <a:extLst>
                <a:ext uri="{FF2B5EF4-FFF2-40B4-BE49-F238E27FC236}">
                  <a16:creationId xmlns:a16="http://schemas.microsoft.com/office/drawing/2014/main" id="{B9DE4B56-E2AD-A74A-9EA7-85C814AA677D}"/>
                </a:ext>
              </a:extLst>
            </p:cNvPr>
            <p:cNvSpPr>
              <a:spLocks noChangeArrowheads="1"/>
            </p:cNvSpPr>
            <p:nvPr/>
          </p:nvSpPr>
          <p:spPr bwMode="auto">
            <a:xfrm>
              <a:off x="7524750" y="3727450"/>
              <a:ext cx="214313"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4" name="Rectangle 175">
              <a:extLst>
                <a:ext uri="{FF2B5EF4-FFF2-40B4-BE49-F238E27FC236}">
                  <a16:creationId xmlns:a16="http://schemas.microsoft.com/office/drawing/2014/main" id="{5121F376-B04C-E74E-8350-602BC59701CA}"/>
                </a:ext>
              </a:extLst>
            </p:cNvPr>
            <p:cNvSpPr>
              <a:spLocks noChangeArrowheads="1"/>
            </p:cNvSpPr>
            <p:nvPr/>
          </p:nvSpPr>
          <p:spPr bwMode="auto">
            <a:xfrm>
              <a:off x="7524750" y="4000500"/>
              <a:ext cx="214313"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5" name="Rectangle 176">
              <a:extLst>
                <a:ext uri="{FF2B5EF4-FFF2-40B4-BE49-F238E27FC236}">
                  <a16:creationId xmlns:a16="http://schemas.microsoft.com/office/drawing/2014/main" id="{A1A4A4D0-A9B6-3340-8D85-2423E16EA282}"/>
                </a:ext>
              </a:extLst>
            </p:cNvPr>
            <p:cNvSpPr>
              <a:spLocks noChangeArrowheads="1"/>
            </p:cNvSpPr>
            <p:nvPr/>
          </p:nvSpPr>
          <p:spPr bwMode="auto">
            <a:xfrm>
              <a:off x="7524750" y="4264025"/>
              <a:ext cx="214313"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6" name="Rectangle 177">
              <a:extLst>
                <a:ext uri="{FF2B5EF4-FFF2-40B4-BE49-F238E27FC236}">
                  <a16:creationId xmlns:a16="http://schemas.microsoft.com/office/drawing/2014/main" id="{4BCEDA26-8115-BC42-9AC4-5788CE1FABBE}"/>
                </a:ext>
              </a:extLst>
            </p:cNvPr>
            <p:cNvSpPr>
              <a:spLocks noChangeArrowheads="1"/>
            </p:cNvSpPr>
            <p:nvPr/>
          </p:nvSpPr>
          <p:spPr bwMode="auto">
            <a:xfrm>
              <a:off x="7524750" y="4533900"/>
              <a:ext cx="214313"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7" name="Rectangle 178">
              <a:extLst>
                <a:ext uri="{FF2B5EF4-FFF2-40B4-BE49-F238E27FC236}">
                  <a16:creationId xmlns:a16="http://schemas.microsoft.com/office/drawing/2014/main" id="{06719849-B8C1-3147-800A-C7C048315157}"/>
                </a:ext>
              </a:extLst>
            </p:cNvPr>
            <p:cNvSpPr>
              <a:spLocks noChangeArrowheads="1"/>
            </p:cNvSpPr>
            <p:nvPr/>
          </p:nvSpPr>
          <p:spPr bwMode="auto">
            <a:xfrm>
              <a:off x="7791450"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8" name="Rectangle 179">
              <a:extLst>
                <a:ext uri="{FF2B5EF4-FFF2-40B4-BE49-F238E27FC236}">
                  <a16:creationId xmlns:a16="http://schemas.microsoft.com/office/drawing/2014/main" id="{8FEE4306-8D7A-5A49-838F-C0A13ED5AB6F}"/>
                </a:ext>
              </a:extLst>
            </p:cNvPr>
            <p:cNvSpPr>
              <a:spLocks noChangeArrowheads="1"/>
            </p:cNvSpPr>
            <p:nvPr/>
          </p:nvSpPr>
          <p:spPr bwMode="auto">
            <a:xfrm>
              <a:off x="7791450" y="3197225"/>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9" name="Rectangle 180">
              <a:extLst>
                <a:ext uri="{FF2B5EF4-FFF2-40B4-BE49-F238E27FC236}">
                  <a16:creationId xmlns:a16="http://schemas.microsoft.com/office/drawing/2014/main" id="{86C3AEEB-9D2A-4046-B711-EBE0D88E300A}"/>
                </a:ext>
              </a:extLst>
            </p:cNvPr>
            <p:cNvSpPr>
              <a:spLocks noChangeArrowheads="1"/>
            </p:cNvSpPr>
            <p:nvPr/>
          </p:nvSpPr>
          <p:spPr bwMode="auto">
            <a:xfrm>
              <a:off x="7791450"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0" name="Rectangle 181">
              <a:extLst>
                <a:ext uri="{FF2B5EF4-FFF2-40B4-BE49-F238E27FC236}">
                  <a16:creationId xmlns:a16="http://schemas.microsoft.com/office/drawing/2014/main" id="{7E62411D-F787-E34F-9626-11C2FE977986}"/>
                </a:ext>
              </a:extLst>
            </p:cNvPr>
            <p:cNvSpPr>
              <a:spLocks noChangeArrowheads="1"/>
            </p:cNvSpPr>
            <p:nvPr/>
          </p:nvSpPr>
          <p:spPr bwMode="auto">
            <a:xfrm>
              <a:off x="7791450"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1" name="Rectangle 182">
              <a:extLst>
                <a:ext uri="{FF2B5EF4-FFF2-40B4-BE49-F238E27FC236}">
                  <a16:creationId xmlns:a16="http://schemas.microsoft.com/office/drawing/2014/main" id="{9417D64B-E288-C146-B49D-8173EE2C6DCC}"/>
                </a:ext>
              </a:extLst>
            </p:cNvPr>
            <p:cNvSpPr>
              <a:spLocks noChangeArrowheads="1"/>
            </p:cNvSpPr>
            <p:nvPr/>
          </p:nvSpPr>
          <p:spPr bwMode="auto">
            <a:xfrm>
              <a:off x="7791450"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2" name="Rectangle 183">
              <a:extLst>
                <a:ext uri="{FF2B5EF4-FFF2-40B4-BE49-F238E27FC236}">
                  <a16:creationId xmlns:a16="http://schemas.microsoft.com/office/drawing/2014/main" id="{A854E2BD-BB07-6441-ADC1-41438D1FA778}"/>
                </a:ext>
              </a:extLst>
            </p:cNvPr>
            <p:cNvSpPr>
              <a:spLocks noChangeArrowheads="1"/>
            </p:cNvSpPr>
            <p:nvPr/>
          </p:nvSpPr>
          <p:spPr bwMode="auto">
            <a:xfrm>
              <a:off x="7791450"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3" name="Rectangle 184">
              <a:extLst>
                <a:ext uri="{FF2B5EF4-FFF2-40B4-BE49-F238E27FC236}">
                  <a16:creationId xmlns:a16="http://schemas.microsoft.com/office/drawing/2014/main" id="{1DCC8CF9-F55F-914F-A3C0-2BDB9C02B385}"/>
                </a:ext>
              </a:extLst>
            </p:cNvPr>
            <p:cNvSpPr>
              <a:spLocks noChangeArrowheads="1"/>
            </p:cNvSpPr>
            <p:nvPr/>
          </p:nvSpPr>
          <p:spPr bwMode="auto">
            <a:xfrm>
              <a:off x="7791450"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4" name="Rectangle 185">
              <a:extLst>
                <a:ext uri="{FF2B5EF4-FFF2-40B4-BE49-F238E27FC236}">
                  <a16:creationId xmlns:a16="http://schemas.microsoft.com/office/drawing/2014/main" id="{8AD407CA-5A21-CE4F-94D7-65E62B98AF91}"/>
                </a:ext>
              </a:extLst>
            </p:cNvPr>
            <p:cNvSpPr>
              <a:spLocks noChangeArrowheads="1"/>
            </p:cNvSpPr>
            <p:nvPr/>
          </p:nvSpPr>
          <p:spPr bwMode="auto">
            <a:xfrm>
              <a:off x="8059738" y="2919413"/>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5" name="Rectangle 186">
              <a:extLst>
                <a:ext uri="{FF2B5EF4-FFF2-40B4-BE49-F238E27FC236}">
                  <a16:creationId xmlns:a16="http://schemas.microsoft.com/office/drawing/2014/main" id="{51D0A668-05B0-4F49-990E-2B62B9BCEAF9}"/>
                </a:ext>
              </a:extLst>
            </p:cNvPr>
            <p:cNvSpPr>
              <a:spLocks noChangeArrowheads="1"/>
            </p:cNvSpPr>
            <p:nvPr/>
          </p:nvSpPr>
          <p:spPr bwMode="auto">
            <a:xfrm>
              <a:off x="8059738" y="3197225"/>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6" name="Rectangle 187">
              <a:extLst>
                <a:ext uri="{FF2B5EF4-FFF2-40B4-BE49-F238E27FC236}">
                  <a16:creationId xmlns:a16="http://schemas.microsoft.com/office/drawing/2014/main" id="{A750C35B-C632-DC40-BD1E-0C45A0E349E2}"/>
                </a:ext>
              </a:extLst>
            </p:cNvPr>
            <p:cNvSpPr>
              <a:spLocks noChangeArrowheads="1"/>
            </p:cNvSpPr>
            <p:nvPr/>
          </p:nvSpPr>
          <p:spPr bwMode="auto">
            <a:xfrm>
              <a:off x="8059738"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7" name="Rectangle 188">
              <a:extLst>
                <a:ext uri="{FF2B5EF4-FFF2-40B4-BE49-F238E27FC236}">
                  <a16:creationId xmlns:a16="http://schemas.microsoft.com/office/drawing/2014/main" id="{24929E5C-64F5-9649-913E-CE5EE3118206}"/>
                </a:ext>
              </a:extLst>
            </p:cNvPr>
            <p:cNvSpPr>
              <a:spLocks noChangeArrowheads="1"/>
            </p:cNvSpPr>
            <p:nvPr/>
          </p:nvSpPr>
          <p:spPr bwMode="auto">
            <a:xfrm>
              <a:off x="8059738"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8" name="Rectangle 189">
              <a:extLst>
                <a:ext uri="{FF2B5EF4-FFF2-40B4-BE49-F238E27FC236}">
                  <a16:creationId xmlns:a16="http://schemas.microsoft.com/office/drawing/2014/main" id="{1071EC35-509F-164D-A28C-22F72B240A35}"/>
                </a:ext>
              </a:extLst>
            </p:cNvPr>
            <p:cNvSpPr>
              <a:spLocks noChangeArrowheads="1"/>
            </p:cNvSpPr>
            <p:nvPr/>
          </p:nvSpPr>
          <p:spPr bwMode="auto">
            <a:xfrm>
              <a:off x="8059738"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9" name="Rectangle 190">
              <a:extLst>
                <a:ext uri="{FF2B5EF4-FFF2-40B4-BE49-F238E27FC236}">
                  <a16:creationId xmlns:a16="http://schemas.microsoft.com/office/drawing/2014/main" id="{D39801EF-E860-5F49-BF88-AD4A331C72A9}"/>
                </a:ext>
              </a:extLst>
            </p:cNvPr>
            <p:cNvSpPr>
              <a:spLocks noChangeArrowheads="1"/>
            </p:cNvSpPr>
            <p:nvPr/>
          </p:nvSpPr>
          <p:spPr bwMode="auto">
            <a:xfrm>
              <a:off x="8059738"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0" name="Rectangle 191">
              <a:extLst>
                <a:ext uri="{FF2B5EF4-FFF2-40B4-BE49-F238E27FC236}">
                  <a16:creationId xmlns:a16="http://schemas.microsoft.com/office/drawing/2014/main" id="{23B9CEDD-EBA0-F841-AB31-6B02828B71B0}"/>
                </a:ext>
              </a:extLst>
            </p:cNvPr>
            <p:cNvSpPr>
              <a:spLocks noChangeArrowheads="1"/>
            </p:cNvSpPr>
            <p:nvPr/>
          </p:nvSpPr>
          <p:spPr bwMode="auto">
            <a:xfrm>
              <a:off x="8059738"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51" name="Group 350">
            <a:extLst>
              <a:ext uri="{FF2B5EF4-FFF2-40B4-BE49-F238E27FC236}">
                <a16:creationId xmlns:a16="http://schemas.microsoft.com/office/drawing/2014/main" id="{13BFEFC5-FB15-ED46-830F-01E7AAD12E38}"/>
              </a:ext>
            </a:extLst>
          </p:cNvPr>
          <p:cNvGrpSpPr/>
          <p:nvPr/>
        </p:nvGrpSpPr>
        <p:grpSpPr>
          <a:xfrm>
            <a:off x="6483351" y="4911726"/>
            <a:ext cx="823913" cy="1311275"/>
            <a:chOff x="4959350" y="4911725"/>
            <a:chExt cx="823913" cy="1311275"/>
          </a:xfrm>
        </p:grpSpPr>
        <p:sp>
          <p:nvSpPr>
            <p:cNvPr id="352" name="Freeform 196">
              <a:extLst>
                <a:ext uri="{FF2B5EF4-FFF2-40B4-BE49-F238E27FC236}">
                  <a16:creationId xmlns:a16="http://schemas.microsoft.com/office/drawing/2014/main" id="{4A18DCD3-4E03-1146-B174-36A292874A38}"/>
                </a:ext>
              </a:extLst>
            </p:cNvPr>
            <p:cNvSpPr>
              <a:spLocks/>
            </p:cNvSpPr>
            <p:nvPr/>
          </p:nvSpPr>
          <p:spPr bwMode="auto">
            <a:xfrm>
              <a:off x="4959350" y="4911725"/>
              <a:ext cx="823913" cy="1311275"/>
            </a:xfrm>
            <a:custGeom>
              <a:avLst/>
              <a:gdLst>
                <a:gd name="T0" fmla="*/ 1322 w 2076"/>
                <a:gd name="T1" fmla="*/ 6 h 3303"/>
                <a:gd name="T2" fmla="*/ 1340 w 2076"/>
                <a:gd name="T3" fmla="*/ 25 h 3303"/>
                <a:gd name="T4" fmla="*/ 1307 w 2076"/>
                <a:gd name="T5" fmla="*/ 101 h 3303"/>
                <a:gd name="T6" fmla="*/ 1220 w 2076"/>
                <a:gd name="T7" fmla="*/ 361 h 3303"/>
                <a:gd name="T8" fmla="*/ 1204 w 2076"/>
                <a:gd name="T9" fmla="*/ 590 h 3303"/>
                <a:gd name="T10" fmla="*/ 1233 w 2076"/>
                <a:gd name="T11" fmla="*/ 780 h 3303"/>
                <a:gd name="T12" fmla="*/ 1283 w 2076"/>
                <a:gd name="T13" fmla="*/ 921 h 3303"/>
                <a:gd name="T14" fmla="*/ 1325 w 2076"/>
                <a:gd name="T15" fmla="*/ 1004 h 3303"/>
                <a:gd name="T16" fmla="*/ 1340 w 2076"/>
                <a:gd name="T17" fmla="*/ 1030 h 3303"/>
                <a:gd name="T18" fmla="*/ 1380 w 2076"/>
                <a:gd name="T19" fmla="*/ 1085 h 3303"/>
                <a:gd name="T20" fmla="*/ 1454 w 2076"/>
                <a:gd name="T21" fmla="*/ 1178 h 3303"/>
                <a:gd name="T22" fmla="*/ 1547 w 2076"/>
                <a:gd name="T23" fmla="*/ 1288 h 3303"/>
                <a:gd name="T24" fmla="*/ 1642 w 2076"/>
                <a:gd name="T25" fmla="*/ 1399 h 3303"/>
                <a:gd name="T26" fmla="*/ 1721 w 2076"/>
                <a:gd name="T27" fmla="*/ 1490 h 3303"/>
                <a:gd name="T28" fmla="*/ 1770 w 2076"/>
                <a:gd name="T29" fmla="*/ 1545 h 3303"/>
                <a:gd name="T30" fmla="*/ 1875 w 2076"/>
                <a:gd name="T31" fmla="*/ 1684 h 3303"/>
                <a:gd name="T32" fmla="*/ 2006 w 2076"/>
                <a:gd name="T33" fmla="*/ 1939 h 3303"/>
                <a:gd name="T34" fmla="*/ 2065 w 2076"/>
                <a:gd name="T35" fmla="*/ 2170 h 3303"/>
                <a:gd name="T36" fmla="*/ 2076 w 2076"/>
                <a:gd name="T37" fmla="*/ 2360 h 3303"/>
                <a:gd name="T38" fmla="*/ 2062 w 2076"/>
                <a:gd name="T39" fmla="*/ 2495 h 3303"/>
                <a:gd name="T40" fmla="*/ 2048 w 2076"/>
                <a:gd name="T41" fmla="*/ 2558 h 3303"/>
                <a:gd name="T42" fmla="*/ 1980 w 2076"/>
                <a:gd name="T43" fmla="*/ 2738 h 3303"/>
                <a:gd name="T44" fmla="*/ 1849 w 2076"/>
                <a:gd name="T45" fmla="*/ 2929 h 3303"/>
                <a:gd name="T46" fmla="*/ 1693 w 2076"/>
                <a:gd name="T47" fmla="*/ 3074 h 3303"/>
                <a:gd name="T48" fmla="*/ 1538 w 2076"/>
                <a:gd name="T49" fmla="*/ 3175 h 3303"/>
                <a:gd name="T50" fmla="*/ 1409 w 2076"/>
                <a:gd name="T51" fmla="*/ 3240 h 3303"/>
                <a:gd name="T52" fmla="*/ 1332 w 2076"/>
                <a:gd name="T53" fmla="*/ 3269 h 3303"/>
                <a:gd name="T54" fmla="*/ 1174 w 2076"/>
                <a:gd name="T55" fmla="*/ 3297 h 3303"/>
                <a:gd name="T56" fmla="*/ 908 w 2076"/>
                <a:gd name="T57" fmla="*/ 3293 h 3303"/>
                <a:gd name="T58" fmla="*/ 682 w 2076"/>
                <a:gd name="T59" fmla="*/ 3237 h 3303"/>
                <a:gd name="T60" fmla="*/ 501 w 2076"/>
                <a:gd name="T61" fmla="*/ 3153 h 3303"/>
                <a:gd name="T62" fmla="*/ 368 w 2076"/>
                <a:gd name="T63" fmla="*/ 3064 h 3303"/>
                <a:gd name="T64" fmla="*/ 285 w 2076"/>
                <a:gd name="T65" fmla="*/ 2994 h 3303"/>
                <a:gd name="T66" fmla="*/ 257 w 2076"/>
                <a:gd name="T67" fmla="*/ 2965 h 3303"/>
                <a:gd name="T68" fmla="*/ 99 w 2076"/>
                <a:gd name="T69" fmla="*/ 2735 h 3303"/>
                <a:gd name="T70" fmla="*/ 20 w 2076"/>
                <a:gd name="T71" fmla="*/ 2506 h 3303"/>
                <a:gd name="T72" fmla="*/ 0 w 2076"/>
                <a:gd name="T73" fmla="*/ 2296 h 3303"/>
                <a:gd name="T74" fmla="*/ 8 w 2076"/>
                <a:gd name="T75" fmla="*/ 2161 h 3303"/>
                <a:gd name="T76" fmla="*/ 32 w 2076"/>
                <a:gd name="T77" fmla="*/ 2029 h 3303"/>
                <a:gd name="T78" fmla="*/ 50 w 2076"/>
                <a:gd name="T79" fmla="*/ 1966 h 3303"/>
                <a:gd name="T80" fmla="*/ 82 w 2076"/>
                <a:gd name="T81" fmla="*/ 1893 h 3303"/>
                <a:gd name="T82" fmla="*/ 152 w 2076"/>
                <a:gd name="T83" fmla="*/ 1776 h 3303"/>
                <a:gd name="T84" fmla="*/ 241 w 2076"/>
                <a:gd name="T85" fmla="*/ 1649 h 3303"/>
                <a:gd name="T86" fmla="*/ 331 w 2076"/>
                <a:gd name="T87" fmla="*/ 1530 h 3303"/>
                <a:gd name="T88" fmla="*/ 402 w 2076"/>
                <a:gd name="T89" fmla="*/ 1439 h 3303"/>
                <a:gd name="T90" fmla="*/ 438 w 2076"/>
                <a:gd name="T91" fmla="*/ 1393 h 3303"/>
                <a:gd name="T92" fmla="*/ 786 w 2076"/>
                <a:gd name="T93" fmla="*/ 906 h 3303"/>
                <a:gd name="T94" fmla="*/ 845 w 2076"/>
                <a:gd name="T95" fmla="*/ 660 h 3303"/>
                <a:gd name="T96" fmla="*/ 846 w 2076"/>
                <a:gd name="T97" fmla="*/ 437 h 3303"/>
                <a:gd name="T98" fmla="*/ 812 w 2076"/>
                <a:gd name="T99" fmla="*/ 252 h 3303"/>
                <a:gd name="T100" fmla="*/ 767 w 2076"/>
                <a:gd name="T101" fmla="*/ 116 h 3303"/>
                <a:gd name="T102" fmla="*/ 733 w 2076"/>
                <a:gd name="T103" fmla="*/ 42 h 3303"/>
                <a:gd name="T104" fmla="*/ 747 w 2076"/>
                <a:gd name="T105" fmla="*/ 10 h 3303"/>
                <a:gd name="T106" fmla="*/ 805 w 2076"/>
                <a:gd name="T107" fmla="*/ 9 h 3303"/>
                <a:gd name="T108" fmla="*/ 870 w 2076"/>
                <a:gd name="T109" fmla="*/ 40 h 3303"/>
                <a:gd name="T110" fmla="*/ 919 w 2076"/>
                <a:gd name="T111" fmla="*/ 74 h 3303"/>
                <a:gd name="T112" fmla="*/ 945 w 2076"/>
                <a:gd name="T113" fmla="*/ 61 h 3303"/>
                <a:gd name="T114" fmla="*/ 1007 w 2076"/>
                <a:gd name="T115" fmla="*/ 12 h 3303"/>
                <a:gd name="T116" fmla="*/ 1071 w 2076"/>
                <a:gd name="T117" fmla="*/ 20 h 3303"/>
                <a:gd name="T118" fmla="*/ 1125 w 2076"/>
                <a:gd name="T119" fmla="*/ 53 h 3303"/>
                <a:gd name="T120" fmla="*/ 1153 w 2076"/>
                <a:gd name="T121" fmla="*/ 79 h 3303"/>
                <a:gd name="T122" fmla="*/ 1228 w 2076"/>
                <a:gd name="T123" fmla="*/ 24 h 3303"/>
                <a:gd name="T124" fmla="*/ 1293 w 2076"/>
                <a:gd name="T125" fmla="*/ 0 h 3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6" h="3303">
                  <a:moveTo>
                    <a:pt x="1293" y="0"/>
                  </a:moveTo>
                  <a:lnTo>
                    <a:pt x="1305" y="1"/>
                  </a:lnTo>
                  <a:lnTo>
                    <a:pt x="1314" y="3"/>
                  </a:lnTo>
                  <a:lnTo>
                    <a:pt x="1322" y="6"/>
                  </a:lnTo>
                  <a:lnTo>
                    <a:pt x="1328" y="11"/>
                  </a:lnTo>
                  <a:lnTo>
                    <a:pt x="1333" y="15"/>
                  </a:lnTo>
                  <a:lnTo>
                    <a:pt x="1337" y="20"/>
                  </a:lnTo>
                  <a:lnTo>
                    <a:pt x="1340" y="25"/>
                  </a:lnTo>
                  <a:lnTo>
                    <a:pt x="1342" y="28"/>
                  </a:lnTo>
                  <a:lnTo>
                    <a:pt x="1343" y="31"/>
                  </a:lnTo>
                  <a:lnTo>
                    <a:pt x="1343" y="32"/>
                  </a:lnTo>
                  <a:lnTo>
                    <a:pt x="1307" y="101"/>
                  </a:lnTo>
                  <a:lnTo>
                    <a:pt x="1278" y="168"/>
                  </a:lnTo>
                  <a:lnTo>
                    <a:pt x="1254" y="234"/>
                  </a:lnTo>
                  <a:lnTo>
                    <a:pt x="1234" y="299"/>
                  </a:lnTo>
                  <a:lnTo>
                    <a:pt x="1220" y="361"/>
                  </a:lnTo>
                  <a:lnTo>
                    <a:pt x="1210" y="421"/>
                  </a:lnTo>
                  <a:lnTo>
                    <a:pt x="1204" y="479"/>
                  </a:lnTo>
                  <a:lnTo>
                    <a:pt x="1202" y="536"/>
                  </a:lnTo>
                  <a:lnTo>
                    <a:pt x="1204" y="590"/>
                  </a:lnTo>
                  <a:lnTo>
                    <a:pt x="1208" y="641"/>
                  </a:lnTo>
                  <a:lnTo>
                    <a:pt x="1214" y="690"/>
                  </a:lnTo>
                  <a:lnTo>
                    <a:pt x="1223" y="737"/>
                  </a:lnTo>
                  <a:lnTo>
                    <a:pt x="1233" y="780"/>
                  </a:lnTo>
                  <a:lnTo>
                    <a:pt x="1245" y="820"/>
                  </a:lnTo>
                  <a:lnTo>
                    <a:pt x="1257" y="856"/>
                  </a:lnTo>
                  <a:lnTo>
                    <a:pt x="1270" y="890"/>
                  </a:lnTo>
                  <a:lnTo>
                    <a:pt x="1283" y="921"/>
                  </a:lnTo>
                  <a:lnTo>
                    <a:pt x="1295" y="948"/>
                  </a:lnTo>
                  <a:lnTo>
                    <a:pt x="1306" y="970"/>
                  </a:lnTo>
                  <a:lnTo>
                    <a:pt x="1317" y="989"/>
                  </a:lnTo>
                  <a:lnTo>
                    <a:pt x="1325" y="1004"/>
                  </a:lnTo>
                  <a:lnTo>
                    <a:pt x="1332" y="1015"/>
                  </a:lnTo>
                  <a:lnTo>
                    <a:pt x="1336" y="1022"/>
                  </a:lnTo>
                  <a:lnTo>
                    <a:pt x="1338" y="1024"/>
                  </a:lnTo>
                  <a:lnTo>
                    <a:pt x="1340" y="1030"/>
                  </a:lnTo>
                  <a:lnTo>
                    <a:pt x="1346" y="1039"/>
                  </a:lnTo>
                  <a:lnTo>
                    <a:pt x="1354" y="1052"/>
                  </a:lnTo>
                  <a:lnTo>
                    <a:pt x="1365" y="1067"/>
                  </a:lnTo>
                  <a:lnTo>
                    <a:pt x="1380" y="1085"/>
                  </a:lnTo>
                  <a:lnTo>
                    <a:pt x="1396" y="1106"/>
                  </a:lnTo>
                  <a:lnTo>
                    <a:pt x="1414" y="1129"/>
                  </a:lnTo>
                  <a:lnTo>
                    <a:pt x="1433" y="1153"/>
                  </a:lnTo>
                  <a:lnTo>
                    <a:pt x="1454" y="1178"/>
                  </a:lnTo>
                  <a:lnTo>
                    <a:pt x="1476" y="1205"/>
                  </a:lnTo>
                  <a:lnTo>
                    <a:pt x="1499" y="1232"/>
                  </a:lnTo>
                  <a:lnTo>
                    <a:pt x="1523" y="1260"/>
                  </a:lnTo>
                  <a:lnTo>
                    <a:pt x="1547" y="1288"/>
                  </a:lnTo>
                  <a:lnTo>
                    <a:pt x="1571" y="1316"/>
                  </a:lnTo>
                  <a:lnTo>
                    <a:pt x="1595" y="1345"/>
                  </a:lnTo>
                  <a:lnTo>
                    <a:pt x="1618" y="1372"/>
                  </a:lnTo>
                  <a:lnTo>
                    <a:pt x="1642" y="1399"/>
                  </a:lnTo>
                  <a:lnTo>
                    <a:pt x="1664" y="1424"/>
                  </a:lnTo>
                  <a:lnTo>
                    <a:pt x="1685" y="1448"/>
                  </a:lnTo>
                  <a:lnTo>
                    <a:pt x="1704" y="1470"/>
                  </a:lnTo>
                  <a:lnTo>
                    <a:pt x="1721" y="1490"/>
                  </a:lnTo>
                  <a:lnTo>
                    <a:pt x="1737" y="1508"/>
                  </a:lnTo>
                  <a:lnTo>
                    <a:pt x="1750" y="1523"/>
                  </a:lnTo>
                  <a:lnTo>
                    <a:pt x="1761" y="1535"/>
                  </a:lnTo>
                  <a:lnTo>
                    <a:pt x="1770" y="1545"/>
                  </a:lnTo>
                  <a:lnTo>
                    <a:pt x="1775" y="1551"/>
                  </a:lnTo>
                  <a:lnTo>
                    <a:pt x="1776" y="1553"/>
                  </a:lnTo>
                  <a:lnTo>
                    <a:pt x="1829" y="1619"/>
                  </a:lnTo>
                  <a:lnTo>
                    <a:pt x="1875" y="1684"/>
                  </a:lnTo>
                  <a:lnTo>
                    <a:pt x="1917" y="1750"/>
                  </a:lnTo>
                  <a:lnTo>
                    <a:pt x="1952" y="1814"/>
                  </a:lnTo>
                  <a:lnTo>
                    <a:pt x="1981" y="1877"/>
                  </a:lnTo>
                  <a:lnTo>
                    <a:pt x="2006" y="1939"/>
                  </a:lnTo>
                  <a:lnTo>
                    <a:pt x="2026" y="2000"/>
                  </a:lnTo>
                  <a:lnTo>
                    <a:pt x="2044" y="2059"/>
                  </a:lnTo>
                  <a:lnTo>
                    <a:pt x="2056" y="2115"/>
                  </a:lnTo>
                  <a:lnTo>
                    <a:pt x="2065" y="2170"/>
                  </a:lnTo>
                  <a:lnTo>
                    <a:pt x="2071" y="2222"/>
                  </a:lnTo>
                  <a:lnTo>
                    <a:pt x="2075" y="2271"/>
                  </a:lnTo>
                  <a:lnTo>
                    <a:pt x="2076" y="2317"/>
                  </a:lnTo>
                  <a:lnTo>
                    <a:pt x="2076" y="2360"/>
                  </a:lnTo>
                  <a:lnTo>
                    <a:pt x="2074" y="2400"/>
                  </a:lnTo>
                  <a:lnTo>
                    <a:pt x="2070" y="2436"/>
                  </a:lnTo>
                  <a:lnTo>
                    <a:pt x="2066" y="2467"/>
                  </a:lnTo>
                  <a:lnTo>
                    <a:pt x="2062" y="2495"/>
                  </a:lnTo>
                  <a:lnTo>
                    <a:pt x="2057" y="2518"/>
                  </a:lnTo>
                  <a:lnTo>
                    <a:pt x="2053" y="2536"/>
                  </a:lnTo>
                  <a:lnTo>
                    <a:pt x="2050" y="2549"/>
                  </a:lnTo>
                  <a:lnTo>
                    <a:pt x="2048" y="2558"/>
                  </a:lnTo>
                  <a:lnTo>
                    <a:pt x="2047" y="2560"/>
                  </a:lnTo>
                  <a:lnTo>
                    <a:pt x="2028" y="2623"/>
                  </a:lnTo>
                  <a:lnTo>
                    <a:pt x="2005" y="2682"/>
                  </a:lnTo>
                  <a:lnTo>
                    <a:pt x="1980" y="2738"/>
                  </a:lnTo>
                  <a:lnTo>
                    <a:pt x="1951" y="2791"/>
                  </a:lnTo>
                  <a:lnTo>
                    <a:pt x="1919" y="2840"/>
                  </a:lnTo>
                  <a:lnTo>
                    <a:pt x="1885" y="2886"/>
                  </a:lnTo>
                  <a:lnTo>
                    <a:pt x="1849" y="2929"/>
                  </a:lnTo>
                  <a:lnTo>
                    <a:pt x="1811" y="2969"/>
                  </a:lnTo>
                  <a:lnTo>
                    <a:pt x="1773" y="3008"/>
                  </a:lnTo>
                  <a:lnTo>
                    <a:pt x="1733" y="3042"/>
                  </a:lnTo>
                  <a:lnTo>
                    <a:pt x="1693" y="3074"/>
                  </a:lnTo>
                  <a:lnTo>
                    <a:pt x="1653" y="3103"/>
                  </a:lnTo>
                  <a:lnTo>
                    <a:pt x="1613" y="3130"/>
                  </a:lnTo>
                  <a:lnTo>
                    <a:pt x="1575" y="3154"/>
                  </a:lnTo>
                  <a:lnTo>
                    <a:pt x="1538" y="3175"/>
                  </a:lnTo>
                  <a:lnTo>
                    <a:pt x="1502" y="3195"/>
                  </a:lnTo>
                  <a:lnTo>
                    <a:pt x="1468" y="3212"/>
                  </a:lnTo>
                  <a:lnTo>
                    <a:pt x="1437" y="3227"/>
                  </a:lnTo>
                  <a:lnTo>
                    <a:pt x="1409" y="3240"/>
                  </a:lnTo>
                  <a:lnTo>
                    <a:pt x="1385" y="3250"/>
                  </a:lnTo>
                  <a:lnTo>
                    <a:pt x="1362" y="3258"/>
                  </a:lnTo>
                  <a:lnTo>
                    <a:pt x="1345" y="3265"/>
                  </a:lnTo>
                  <a:lnTo>
                    <a:pt x="1332" y="3269"/>
                  </a:lnTo>
                  <a:lnTo>
                    <a:pt x="1324" y="3272"/>
                  </a:lnTo>
                  <a:lnTo>
                    <a:pt x="1322" y="3273"/>
                  </a:lnTo>
                  <a:lnTo>
                    <a:pt x="1247" y="3287"/>
                  </a:lnTo>
                  <a:lnTo>
                    <a:pt x="1174" y="3297"/>
                  </a:lnTo>
                  <a:lnTo>
                    <a:pt x="1103" y="3302"/>
                  </a:lnTo>
                  <a:lnTo>
                    <a:pt x="1036" y="3303"/>
                  </a:lnTo>
                  <a:lnTo>
                    <a:pt x="970" y="3300"/>
                  </a:lnTo>
                  <a:lnTo>
                    <a:pt x="908" y="3293"/>
                  </a:lnTo>
                  <a:lnTo>
                    <a:pt x="847" y="3283"/>
                  </a:lnTo>
                  <a:lnTo>
                    <a:pt x="789" y="3270"/>
                  </a:lnTo>
                  <a:lnTo>
                    <a:pt x="735" y="3255"/>
                  </a:lnTo>
                  <a:lnTo>
                    <a:pt x="682" y="3237"/>
                  </a:lnTo>
                  <a:lnTo>
                    <a:pt x="633" y="3218"/>
                  </a:lnTo>
                  <a:lnTo>
                    <a:pt x="585" y="3197"/>
                  </a:lnTo>
                  <a:lnTo>
                    <a:pt x="542" y="3175"/>
                  </a:lnTo>
                  <a:lnTo>
                    <a:pt x="501" y="3153"/>
                  </a:lnTo>
                  <a:lnTo>
                    <a:pt x="463" y="3130"/>
                  </a:lnTo>
                  <a:lnTo>
                    <a:pt x="428" y="3108"/>
                  </a:lnTo>
                  <a:lnTo>
                    <a:pt x="396" y="3086"/>
                  </a:lnTo>
                  <a:lnTo>
                    <a:pt x="368" y="3064"/>
                  </a:lnTo>
                  <a:lnTo>
                    <a:pt x="342" y="3044"/>
                  </a:lnTo>
                  <a:lnTo>
                    <a:pt x="319" y="3026"/>
                  </a:lnTo>
                  <a:lnTo>
                    <a:pt x="300" y="3009"/>
                  </a:lnTo>
                  <a:lnTo>
                    <a:pt x="285" y="2994"/>
                  </a:lnTo>
                  <a:lnTo>
                    <a:pt x="272" y="2981"/>
                  </a:lnTo>
                  <a:lnTo>
                    <a:pt x="264" y="2972"/>
                  </a:lnTo>
                  <a:lnTo>
                    <a:pt x="258" y="2967"/>
                  </a:lnTo>
                  <a:lnTo>
                    <a:pt x="257" y="2965"/>
                  </a:lnTo>
                  <a:lnTo>
                    <a:pt x="209" y="2909"/>
                  </a:lnTo>
                  <a:lnTo>
                    <a:pt x="166" y="2852"/>
                  </a:lnTo>
                  <a:lnTo>
                    <a:pt x="130" y="2794"/>
                  </a:lnTo>
                  <a:lnTo>
                    <a:pt x="99" y="2735"/>
                  </a:lnTo>
                  <a:lnTo>
                    <a:pt x="73" y="2677"/>
                  </a:lnTo>
                  <a:lnTo>
                    <a:pt x="51" y="2620"/>
                  </a:lnTo>
                  <a:lnTo>
                    <a:pt x="34" y="2562"/>
                  </a:lnTo>
                  <a:lnTo>
                    <a:pt x="20" y="2506"/>
                  </a:lnTo>
                  <a:lnTo>
                    <a:pt x="11" y="2451"/>
                  </a:lnTo>
                  <a:lnTo>
                    <a:pt x="4" y="2398"/>
                  </a:lnTo>
                  <a:lnTo>
                    <a:pt x="1" y="2345"/>
                  </a:lnTo>
                  <a:lnTo>
                    <a:pt x="0" y="2296"/>
                  </a:lnTo>
                  <a:lnTo>
                    <a:pt x="0" y="2296"/>
                  </a:lnTo>
                  <a:lnTo>
                    <a:pt x="1" y="2248"/>
                  </a:lnTo>
                  <a:lnTo>
                    <a:pt x="3" y="2204"/>
                  </a:lnTo>
                  <a:lnTo>
                    <a:pt x="8" y="2161"/>
                  </a:lnTo>
                  <a:lnTo>
                    <a:pt x="13" y="2123"/>
                  </a:lnTo>
                  <a:lnTo>
                    <a:pt x="19" y="2087"/>
                  </a:lnTo>
                  <a:lnTo>
                    <a:pt x="25" y="2056"/>
                  </a:lnTo>
                  <a:lnTo>
                    <a:pt x="32" y="2029"/>
                  </a:lnTo>
                  <a:lnTo>
                    <a:pt x="37" y="2006"/>
                  </a:lnTo>
                  <a:lnTo>
                    <a:pt x="43" y="1987"/>
                  </a:lnTo>
                  <a:lnTo>
                    <a:pt x="47" y="1974"/>
                  </a:lnTo>
                  <a:lnTo>
                    <a:pt x="50" y="1966"/>
                  </a:lnTo>
                  <a:lnTo>
                    <a:pt x="51" y="1963"/>
                  </a:lnTo>
                  <a:lnTo>
                    <a:pt x="58" y="1941"/>
                  </a:lnTo>
                  <a:lnTo>
                    <a:pt x="69" y="1918"/>
                  </a:lnTo>
                  <a:lnTo>
                    <a:pt x="82" y="1893"/>
                  </a:lnTo>
                  <a:lnTo>
                    <a:pt x="97" y="1866"/>
                  </a:lnTo>
                  <a:lnTo>
                    <a:pt x="114" y="1837"/>
                  </a:lnTo>
                  <a:lnTo>
                    <a:pt x="132" y="1807"/>
                  </a:lnTo>
                  <a:lnTo>
                    <a:pt x="152" y="1776"/>
                  </a:lnTo>
                  <a:lnTo>
                    <a:pt x="173" y="1744"/>
                  </a:lnTo>
                  <a:lnTo>
                    <a:pt x="195" y="1712"/>
                  </a:lnTo>
                  <a:lnTo>
                    <a:pt x="219" y="1681"/>
                  </a:lnTo>
                  <a:lnTo>
                    <a:pt x="241" y="1649"/>
                  </a:lnTo>
                  <a:lnTo>
                    <a:pt x="264" y="1618"/>
                  </a:lnTo>
                  <a:lnTo>
                    <a:pt x="286" y="1588"/>
                  </a:lnTo>
                  <a:lnTo>
                    <a:pt x="308" y="1559"/>
                  </a:lnTo>
                  <a:lnTo>
                    <a:pt x="331" y="1530"/>
                  </a:lnTo>
                  <a:lnTo>
                    <a:pt x="351" y="1504"/>
                  </a:lnTo>
                  <a:lnTo>
                    <a:pt x="369" y="1480"/>
                  </a:lnTo>
                  <a:lnTo>
                    <a:pt x="386" y="1458"/>
                  </a:lnTo>
                  <a:lnTo>
                    <a:pt x="402" y="1439"/>
                  </a:lnTo>
                  <a:lnTo>
                    <a:pt x="415" y="1422"/>
                  </a:lnTo>
                  <a:lnTo>
                    <a:pt x="425" y="1409"/>
                  </a:lnTo>
                  <a:lnTo>
                    <a:pt x="433" y="1399"/>
                  </a:lnTo>
                  <a:lnTo>
                    <a:pt x="438" y="1393"/>
                  </a:lnTo>
                  <a:lnTo>
                    <a:pt x="440" y="1391"/>
                  </a:lnTo>
                  <a:lnTo>
                    <a:pt x="727" y="1035"/>
                  </a:lnTo>
                  <a:lnTo>
                    <a:pt x="759" y="971"/>
                  </a:lnTo>
                  <a:lnTo>
                    <a:pt x="786" y="906"/>
                  </a:lnTo>
                  <a:lnTo>
                    <a:pt x="808" y="843"/>
                  </a:lnTo>
                  <a:lnTo>
                    <a:pt x="824" y="781"/>
                  </a:lnTo>
                  <a:lnTo>
                    <a:pt x="837" y="720"/>
                  </a:lnTo>
                  <a:lnTo>
                    <a:pt x="845" y="660"/>
                  </a:lnTo>
                  <a:lnTo>
                    <a:pt x="851" y="601"/>
                  </a:lnTo>
                  <a:lnTo>
                    <a:pt x="852" y="545"/>
                  </a:lnTo>
                  <a:lnTo>
                    <a:pt x="851" y="490"/>
                  </a:lnTo>
                  <a:lnTo>
                    <a:pt x="846" y="437"/>
                  </a:lnTo>
                  <a:lnTo>
                    <a:pt x="840" y="387"/>
                  </a:lnTo>
                  <a:lnTo>
                    <a:pt x="832" y="340"/>
                  </a:lnTo>
                  <a:lnTo>
                    <a:pt x="823" y="294"/>
                  </a:lnTo>
                  <a:lnTo>
                    <a:pt x="812" y="252"/>
                  </a:lnTo>
                  <a:lnTo>
                    <a:pt x="801" y="213"/>
                  </a:lnTo>
                  <a:lnTo>
                    <a:pt x="789" y="177"/>
                  </a:lnTo>
                  <a:lnTo>
                    <a:pt x="778" y="145"/>
                  </a:lnTo>
                  <a:lnTo>
                    <a:pt x="767" y="116"/>
                  </a:lnTo>
                  <a:lnTo>
                    <a:pt x="756" y="92"/>
                  </a:lnTo>
                  <a:lnTo>
                    <a:pt x="747" y="70"/>
                  </a:lnTo>
                  <a:lnTo>
                    <a:pt x="739" y="54"/>
                  </a:lnTo>
                  <a:lnTo>
                    <a:pt x="733" y="42"/>
                  </a:lnTo>
                  <a:lnTo>
                    <a:pt x="729" y="34"/>
                  </a:lnTo>
                  <a:lnTo>
                    <a:pt x="727" y="32"/>
                  </a:lnTo>
                  <a:lnTo>
                    <a:pt x="736" y="19"/>
                  </a:lnTo>
                  <a:lnTo>
                    <a:pt x="747" y="10"/>
                  </a:lnTo>
                  <a:lnTo>
                    <a:pt x="760" y="5"/>
                  </a:lnTo>
                  <a:lnTo>
                    <a:pt x="774" y="4"/>
                  </a:lnTo>
                  <a:lnTo>
                    <a:pt x="789" y="5"/>
                  </a:lnTo>
                  <a:lnTo>
                    <a:pt x="805" y="9"/>
                  </a:lnTo>
                  <a:lnTo>
                    <a:pt x="821" y="15"/>
                  </a:lnTo>
                  <a:lnTo>
                    <a:pt x="837" y="22"/>
                  </a:lnTo>
                  <a:lnTo>
                    <a:pt x="854" y="31"/>
                  </a:lnTo>
                  <a:lnTo>
                    <a:pt x="870" y="40"/>
                  </a:lnTo>
                  <a:lnTo>
                    <a:pt x="884" y="49"/>
                  </a:lnTo>
                  <a:lnTo>
                    <a:pt x="898" y="58"/>
                  </a:lnTo>
                  <a:lnTo>
                    <a:pt x="909" y="67"/>
                  </a:lnTo>
                  <a:lnTo>
                    <a:pt x="919" y="74"/>
                  </a:lnTo>
                  <a:lnTo>
                    <a:pt x="926" y="80"/>
                  </a:lnTo>
                  <a:lnTo>
                    <a:pt x="931" y="84"/>
                  </a:lnTo>
                  <a:lnTo>
                    <a:pt x="932" y="85"/>
                  </a:lnTo>
                  <a:lnTo>
                    <a:pt x="945" y="61"/>
                  </a:lnTo>
                  <a:lnTo>
                    <a:pt x="960" y="41"/>
                  </a:lnTo>
                  <a:lnTo>
                    <a:pt x="975" y="27"/>
                  </a:lnTo>
                  <a:lnTo>
                    <a:pt x="991" y="18"/>
                  </a:lnTo>
                  <a:lnTo>
                    <a:pt x="1007" y="12"/>
                  </a:lnTo>
                  <a:lnTo>
                    <a:pt x="1024" y="10"/>
                  </a:lnTo>
                  <a:lnTo>
                    <a:pt x="1040" y="11"/>
                  </a:lnTo>
                  <a:lnTo>
                    <a:pt x="1056" y="15"/>
                  </a:lnTo>
                  <a:lnTo>
                    <a:pt x="1071" y="20"/>
                  </a:lnTo>
                  <a:lnTo>
                    <a:pt x="1086" y="28"/>
                  </a:lnTo>
                  <a:lnTo>
                    <a:pt x="1100" y="36"/>
                  </a:lnTo>
                  <a:lnTo>
                    <a:pt x="1114" y="44"/>
                  </a:lnTo>
                  <a:lnTo>
                    <a:pt x="1125" y="53"/>
                  </a:lnTo>
                  <a:lnTo>
                    <a:pt x="1135" y="62"/>
                  </a:lnTo>
                  <a:lnTo>
                    <a:pt x="1143" y="69"/>
                  </a:lnTo>
                  <a:lnTo>
                    <a:pt x="1149" y="75"/>
                  </a:lnTo>
                  <a:lnTo>
                    <a:pt x="1153" y="79"/>
                  </a:lnTo>
                  <a:lnTo>
                    <a:pt x="1154" y="80"/>
                  </a:lnTo>
                  <a:lnTo>
                    <a:pt x="1181" y="57"/>
                  </a:lnTo>
                  <a:lnTo>
                    <a:pt x="1206" y="38"/>
                  </a:lnTo>
                  <a:lnTo>
                    <a:pt x="1228" y="24"/>
                  </a:lnTo>
                  <a:lnTo>
                    <a:pt x="1248" y="13"/>
                  </a:lnTo>
                  <a:lnTo>
                    <a:pt x="1265" y="6"/>
                  </a:lnTo>
                  <a:lnTo>
                    <a:pt x="1280" y="2"/>
                  </a:lnTo>
                  <a:lnTo>
                    <a:pt x="129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197">
              <a:extLst>
                <a:ext uri="{FF2B5EF4-FFF2-40B4-BE49-F238E27FC236}">
                  <a16:creationId xmlns:a16="http://schemas.microsoft.com/office/drawing/2014/main" id="{DA0CC178-13B5-D045-931B-D84AC7BF6A9F}"/>
                </a:ext>
              </a:extLst>
            </p:cNvPr>
            <p:cNvSpPr>
              <a:spLocks noEditPoints="1"/>
            </p:cNvSpPr>
            <p:nvPr/>
          </p:nvSpPr>
          <p:spPr bwMode="auto">
            <a:xfrm>
              <a:off x="5330825" y="5197475"/>
              <a:ext cx="452438" cy="1025525"/>
            </a:xfrm>
            <a:custGeom>
              <a:avLst/>
              <a:gdLst>
                <a:gd name="T0" fmla="*/ 115 w 1141"/>
                <a:gd name="T1" fmla="*/ 2582 h 2582"/>
                <a:gd name="T2" fmla="*/ 32 w 1141"/>
                <a:gd name="T3" fmla="*/ 2579 h 2582"/>
                <a:gd name="T4" fmla="*/ 721 w 1141"/>
                <a:gd name="T5" fmla="*/ 2381 h 2582"/>
                <a:gd name="T6" fmla="*/ 538 w 1141"/>
                <a:gd name="T7" fmla="*/ 2489 h 2582"/>
                <a:gd name="T8" fmla="*/ 678 w 1141"/>
                <a:gd name="T9" fmla="*/ 2408 h 2582"/>
                <a:gd name="T10" fmla="*/ 1134 w 1141"/>
                <a:gd name="T11" fmla="*/ 1491 h 2582"/>
                <a:gd name="T12" fmla="*/ 1138 w 1141"/>
                <a:gd name="T13" fmla="*/ 1690 h 2582"/>
                <a:gd name="T14" fmla="*/ 1109 w 1141"/>
                <a:gd name="T15" fmla="*/ 1860 h 2582"/>
                <a:gd name="T16" fmla="*/ 1054 w 1141"/>
                <a:gd name="T17" fmla="*/ 2004 h 2582"/>
                <a:gd name="T18" fmla="*/ 987 w 1141"/>
                <a:gd name="T19" fmla="*/ 2121 h 2582"/>
                <a:gd name="T20" fmla="*/ 916 w 1141"/>
                <a:gd name="T21" fmla="*/ 2212 h 2582"/>
                <a:gd name="T22" fmla="*/ 852 w 1141"/>
                <a:gd name="T23" fmla="*/ 2278 h 2582"/>
                <a:gd name="T24" fmla="*/ 803 w 1141"/>
                <a:gd name="T25" fmla="*/ 2318 h 2582"/>
                <a:gd name="T26" fmla="*/ 781 w 1141"/>
                <a:gd name="T27" fmla="*/ 2334 h 2582"/>
                <a:gd name="T28" fmla="*/ 856 w 1141"/>
                <a:gd name="T29" fmla="*/ 2267 h 2582"/>
                <a:gd name="T30" fmla="*/ 961 w 1141"/>
                <a:gd name="T31" fmla="*/ 2150 h 2582"/>
                <a:gd name="T32" fmla="*/ 1048 w 1141"/>
                <a:gd name="T33" fmla="*/ 2008 h 2582"/>
                <a:gd name="T34" fmla="*/ 1111 w 1141"/>
                <a:gd name="T35" fmla="*/ 1839 h 2582"/>
                <a:gd name="T36" fmla="*/ 1117 w 1141"/>
                <a:gd name="T37" fmla="*/ 1814 h 2582"/>
                <a:gd name="T38" fmla="*/ 1131 w 1141"/>
                <a:gd name="T39" fmla="*/ 1743 h 2582"/>
                <a:gd name="T40" fmla="*/ 1140 w 1141"/>
                <a:gd name="T41" fmla="*/ 1633 h 2582"/>
                <a:gd name="T42" fmla="*/ 1134 w 1141"/>
                <a:gd name="T43" fmla="*/ 1491 h 2582"/>
                <a:gd name="T44" fmla="*/ 948 w 1141"/>
                <a:gd name="T45" fmla="*/ 974 h 2582"/>
                <a:gd name="T46" fmla="*/ 970 w 1141"/>
                <a:gd name="T47" fmla="*/ 1010 h 2582"/>
                <a:gd name="T48" fmla="*/ 669 w 1141"/>
                <a:gd name="T49" fmla="*/ 636 h 2582"/>
                <a:gd name="T50" fmla="*/ 679 w 1141"/>
                <a:gd name="T51" fmla="*/ 647 h 2582"/>
                <a:gd name="T52" fmla="*/ 682 w 1141"/>
                <a:gd name="T53" fmla="*/ 651 h 2582"/>
                <a:gd name="T54" fmla="*/ 740 w 1141"/>
                <a:gd name="T55" fmla="*/ 716 h 2582"/>
                <a:gd name="T56" fmla="*/ 818 w 1141"/>
                <a:gd name="T57" fmla="*/ 805 h 2582"/>
                <a:gd name="T58" fmla="*/ 839 w 1141"/>
                <a:gd name="T59" fmla="*/ 830 h 2582"/>
                <a:gd name="T60" fmla="*/ 816 w 1141"/>
                <a:gd name="T61" fmla="*/ 804 h 2582"/>
                <a:gd name="T62" fmla="*/ 772 w 1141"/>
                <a:gd name="T63" fmla="*/ 754 h 2582"/>
                <a:gd name="T64" fmla="*/ 714 w 1141"/>
                <a:gd name="T65" fmla="*/ 687 h 2582"/>
                <a:gd name="T66" fmla="*/ 304 w 1141"/>
                <a:gd name="T67" fmla="*/ 84 h 2582"/>
                <a:gd name="T68" fmla="*/ 369 w 1141"/>
                <a:gd name="T69" fmla="*/ 241 h 2582"/>
                <a:gd name="T70" fmla="*/ 461 w 1141"/>
                <a:gd name="T71" fmla="*/ 381 h 2582"/>
                <a:gd name="T72" fmla="*/ 559 w 1141"/>
                <a:gd name="T73" fmla="*/ 507 h 2582"/>
                <a:gd name="T74" fmla="*/ 495 w 1141"/>
                <a:gd name="T75" fmla="*/ 429 h 2582"/>
                <a:gd name="T76" fmla="*/ 443 w 1141"/>
                <a:gd name="T77" fmla="*/ 363 h 2582"/>
                <a:gd name="T78" fmla="*/ 409 w 1141"/>
                <a:gd name="T79" fmla="*/ 318 h 2582"/>
                <a:gd name="T80" fmla="*/ 400 w 1141"/>
                <a:gd name="T81" fmla="*/ 301 h 2582"/>
                <a:gd name="T82" fmla="*/ 383 w 1141"/>
                <a:gd name="T83" fmla="*/ 272 h 2582"/>
                <a:gd name="T84" fmla="*/ 352 w 1141"/>
                <a:gd name="T85" fmla="*/ 211 h 2582"/>
                <a:gd name="T86" fmla="*/ 316 w 1141"/>
                <a:gd name="T87" fmla="*/ 120 h 2582"/>
                <a:gd name="T88" fmla="*/ 285 w 1141"/>
                <a:gd name="T89" fmla="*/ 5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1" h="2582">
                  <a:moveTo>
                    <a:pt x="0" y="2575"/>
                  </a:moveTo>
                  <a:lnTo>
                    <a:pt x="57" y="2580"/>
                  </a:lnTo>
                  <a:lnTo>
                    <a:pt x="115" y="2582"/>
                  </a:lnTo>
                  <a:lnTo>
                    <a:pt x="108" y="2582"/>
                  </a:lnTo>
                  <a:lnTo>
                    <a:pt x="69" y="2581"/>
                  </a:lnTo>
                  <a:lnTo>
                    <a:pt x="32" y="2579"/>
                  </a:lnTo>
                  <a:lnTo>
                    <a:pt x="0" y="2575"/>
                  </a:lnTo>
                  <a:close/>
                  <a:moveTo>
                    <a:pt x="780" y="2334"/>
                  </a:moveTo>
                  <a:lnTo>
                    <a:pt x="721" y="2381"/>
                  </a:lnTo>
                  <a:lnTo>
                    <a:pt x="660" y="2422"/>
                  </a:lnTo>
                  <a:lnTo>
                    <a:pt x="600" y="2458"/>
                  </a:lnTo>
                  <a:lnTo>
                    <a:pt x="538" y="2489"/>
                  </a:lnTo>
                  <a:lnTo>
                    <a:pt x="583" y="2465"/>
                  </a:lnTo>
                  <a:lnTo>
                    <a:pt x="630" y="2438"/>
                  </a:lnTo>
                  <a:lnTo>
                    <a:pt x="678" y="2408"/>
                  </a:lnTo>
                  <a:lnTo>
                    <a:pt x="730" y="2373"/>
                  </a:lnTo>
                  <a:lnTo>
                    <a:pt x="780" y="2334"/>
                  </a:lnTo>
                  <a:close/>
                  <a:moveTo>
                    <a:pt x="1134" y="1491"/>
                  </a:moveTo>
                  <a:lnTo>
                    <a:pt x="1140" y="1560"/>
                  </a:lnTo>
                  <a:lnTo>
                    <a:pt x="1141" y="1626"/>
                  </a:lnTo>
                  <a:lnTo>
                    <a:pt x="1138" y="1690"/>
                  </a:lnTo>
                  <a:lnTo>
                    <a:pt x="1132" y="1749"/>
                  </a:lnTo>
                  <a:lnTo>
                    <a:pt x="1122" y="1806"/>
                  </a:lnTo>
                  <a:lnTo>
                    <a:pt x="1109" y="1860"/>
                  </a:lnTo>
                  <a:lnTo>
                    <a:pt x="1093" y="1911"/>
                  </a:lnTo>
                  <a:lnTo>
                    <a:pt x="1074" y="1959"/>
                  </a:lnTo>
                  <a:lnTo>
                    <a:pt x="1054" y="2004"/>
                  </a:lnTo>
                  <a:lnTo>
                    <a:pt x="1033" y="2045"/>
                  </a:lnTo>
                  <a:lnTo>
                    <a:pt x="1011" y="2085"/>
                  </a:lnTo>
                  <a:lnTo>
                    <a:pt x="987" y="2121"/>
                  </a:lnTo>
                  <a:lnTo>
                    <a:pt x="964" y="2154"/>
                  </a:lnTo>
                  <a:lnTo>
                    <a:pt x="939" y="2185"/>
                  </a:lnTo>
                  <a:lnTo>
                    <a:pt x="916" y="2212"/>
                  </a:lnTo>
                  <a:lnTo>
                    <a:pt x="893" y="2236"/>
                  </a:lnTo>
                  <a:lnTo>
                    <a:pt x="872" y="2258"/>
                  </a:lnTo>
                  <a:lnTo>
                    <a:pt x="852" y="2278"/>
                  </a:lnTo>
                  <a:lnTo>
                    <a:pt x="834" y="2294"/>
                  </a:lnTo>
                  <a:lnTo>
                    <a:pt x="816" y="2308"/>
                  </a:lnTo>
                  <a:lnTo>
                    <a:pt x="803" y="2318"/>
                  </a:lnTo>
                  <a:lnTo>
                    <a:pt x="792" y="2326"/>
                  </a:lnTo>
                  <a:lnTo>
                    <a:pt x="785" y="2331"/>
                  </a:lnTo>
                  <a:lnTo>
                    <a:pt x="781" y="2334"/>
                  </a:lnTo>
                  <a:lnTo>
                    <a:pt x="781" y="2334"/>
                  </a:lnTo>
                  <a:lnTo>
                    <a:pt x="818" y="2302"/>
                  </a:lnTo>
                  <a:lnTo>
                    <a:pt x="856" y="2267"/>
                  </a:lnTo>
                  <a:lnTo>
                    <a:pt x="892" y="2231"/>
                  </a:lnTo>
                  <a:lnTo>
                    <a:pt x="927" y="2192"/>
                  </a:lnTo>
                  <a:lnTo>
                    <a:pt x="961" y="2150"/>
                  </a:lnTo>
                  <a:lnTo>
                    <a:pt x="992" y="2106"/>
                  </a:lnTo>
                  <a:lnTo>
                    <a:pt x="1022" y="2058"/>
                  </a:lnTo>
                  <a:lnTo>
                    <a:pt x="1048" y="2008"/>
                  </a:lnTo>
                  <a:lnTo>
                    <a:pt x="1072" y="1955"/>
                  </a:lnTo>
                  <a:lnTo>
                    <a:pt x="1094" y="1899"/>
                  </a:lnTo>
                  <a:lnTo>
                    <a:pt x="1111" y="1839"/>
                  </a:lnTo>
                  <a:lnTo>
                    <a:pt x="1112" y="1836"/>
                  </a:lnTo>
                  <a:lnTo>
                    <a:pt x="1114" y="1828"/>
                  </a:lnTo>
                  <a:lnTo>
                    <a:pt x="1117" y="1814"/>
                  </a:lnTo>
                  <a:lnTo>
                    <a:pt x="1122" y="1795"/>
                  </a:lnTo>
                  <a:lnTo>
                    <a:pt x="1126" y="1772"/>
                  </a:lnTo>
                  <a:lnTo>
                    <a:pt x="1131" y="1743"/>
                  </a:lnTo>
                  <a:lnTo>
                    <a:pt x="1135" y="1711"/>
                  </a:lnTo>
                  <a:lnTo>
                    <a:pt x="1138" y="1674"/>
                  </a:lnTo>
                  <a:lnTo>
                    <a:pt x="1140" y="1633"/>
                  </a:lnTo>
                  <a:lnTo>
                    <a:pt x="1140" y="1589"/>
                  </a:lnTo>
                  <a:lnTo>
                    <a:pt x="1139" y="1542"/>
                  </a:lnTo>
                  <a:lnTo>
                    <a:pt x="1134" y="1491"/>
                  </a:lnTo>
                  <a:close/>
                  <a:moveTo>
                    <a:pt x="890" y="894"/>
                  </a:moveTo>
                  <a:lnTo>
                    <a:pt x="920" y="934"/>
                  </a:lnTo>
                  <a:lnTo>
                    <a:pt x="948" y="974"/>
                  </a:lnTo>
                  <a:lnTo>
                    <a:pt x="973" y="1014"/>
                  </a:lnTo>
                  <a:lnTo>
                    <a:pt x="1003" y="1068"/>
                  </a:lnTo>
                  <a:lnTo>
                    <a:pt x="970" y="1010"/>
                  </a:lnTo>
                  <a:lnTo>
                    <a:pt x="932" y="952"/>
                  </a:lnTo>
                  <a:lnTo>
                    <a:pt x="890" y="894"/>
                  </a:lnTo>
                  <a:close/>
                  <a:moveTo>
                    <a:pt x="669" y="636"/>
                  </a:moveTo>
                  <a:lnTo>
                    <a:pt x="673" y="640"/>
                  </a:lnTo>
                  <a:lnTo>
                    <a:pt x="676" y="644"/>
                  </a:lnTo>
                  <a:lnTo>
                    <a:pt x="679" y="647"/>
                  </a:lnTo>
                  <a:lnTo>
                    <a:pt x="681" y="649"/>
                  </a:lnTo>
                  <a:lnTo>
                    <a:pt x="682" y="650"/>
                  </a:lnTo>
                  <a:lnTo>
                    <a:pt x="682" y="651"/>
                  </a:lnTo>
                  <a:lnTo>
                    <a:pt x="699" y="669"/>
                  </a:lnTo>
                  <a:lnTo>
                    <a:pt x="718" y="691"/>
                  </a:lnTo>
                  <a:lnTo>
                    <a:pt x="740" y="716"/>
                  </a:lnTo>
                  <a:lnTo>
                    <a:pt x="765" y="744"/>
                  </a:lnTo>
                  <a:lnTo>
                    <a:pt x="791" y="774"/>
                  </a:lnTo>
                  <a:lnTo>
                    <a:pt x="818" y="805"/>
                  </a:lnTo>
                  <a:lnTo>
                    <a:pt x="847" y="839"/>
                  </a:lnTo>
                  <a:lnTo>
                    <a:pt x="840" y="832"/>
                  </a:lnTo>
                  <a:lnTo>
                    <a:pt x="839" y="830"/>
                  </a:lnTo>
                  <a:lnTo>
                    <a:pt x="834" y="825"/>
                  </a:lnTo>
                  <a:lnTo>
                    <a:pt x="826" y="815"/>
                  </a:lnTo>
                  <a:lnTo>
                    <a:pt x="816" y="804"/>
                  </a:lnTo>
                  <a:lnTo>
                    <a:pt x="803" y="790"/>
                  </a:lnTo>
                  <a:lnTo>
                    <a:pt x="789" y="773"/>
                  </a:lnTo>
                  <a:lnTo>
                    <a:pt x="772" y="754"/>
                  </a:lnTo>
                  <a:lnTo>
                    <a:pt x="754" y="733"/>
                  </a:lnTo>
                  <a:lnTo>
                    <a:pt x="735" y="711"/>
                  </a:lnTo>
                  <a:lnTo>
                    <a:pt x="714" y="687"/>
                  </a:lnTo>
                  <a:lnTo>
                    <a:pt x="691" y="662"/>
                  </a:lnTo>
                  <a:lnTo>
                    <a:pt x="669" y="636"/>
                  </a:lnTo>
                  <a:close/>
                  <a:moveTo>
                    <a:pt x="304" y="84"/>
                  </a:moveTo>
                  <a:lnTo>
                    <a:pt x="323" y="136"/>
                  </a:lnTo>
                  <a:lnTo>
                    <a:pt x="344" y="189"/>
                  </a:lnTo>
                  <a:lnTo>
                    <a:pt x="369" y="241"/>
                  </a:lnTo>
                  <a:lnTo>
                    <a:pt x="396" y="290"/>
                  </a:lnTo>
                  <a:lnTo>
                    <a:pt x="426" y="335"/>
                  </a:lnTo>
                  <a:lnTo>
                    <a:pt x="461" y="381"/>
                  </a:lnTo>
                  <a:lnTo>
                    <a:pt x="495" y="426"/>
                  </a:lnTo>
                  <a:lnTo>
                    <a:pt x="528" y="468"/>
                  </a:lnTo>
                  <a:lnTo>
                    <a:pt x="559" y="507"/>
                  </a:lnTo>
                  <a:lnTo>
                    <a:pt x="537" y="480"/>
                  </a:lnTo>
                  <a:lnTo>
                    <a:pt x="515" y="454"/>
                  </a:lnTo>
                  <a:lnTo>
                    <a:pt x="495" y="429"/>
                  </a:lnTo>
                  <a:lnTo>
                    <a:pt x="476" y="405"/>
                  </a:lnTo>
                  <a:lnTo>
                    <a:pt x="458" y="383"/>
                  </a:lnTo>
                  <a:lnTo>
                    <a:pt x="443" y="363"/>
                  </a:lnTo>
                  <a:lnTo>
                    <a:pt x="429" y="345"/>
                  </a:lnTo>
                  <a:lnTo>
                    <a:pt x="418" y="330"/>
                  </a:lnTo>
                  <a:lnTo>
                    <a:pt x="409" y="318"/>
                  </a:lnTo>
                  <a:lnTo>
                    <a:pt x="404" y="309"/>
                  </a:lnTo>
                  <a:lnTo>
                    <a:pt x="402" y="303"/>
                  </a:lnTo>
                  <a:lnTo>
                    <a:pt x="400" y="301"/>
                  </a:lnTo>
                  <a:lnTo>
                    <a:pt x="397" y="295"/>
                  </a:lnTo>
                  <a:lnTo>
                    <a:pt x="391" y="286"/>
                  </a:lnTo>
                  <a:lnTo>
                    <a:pt x="383" y="272"/>
                  </a:lnTo>
                  <a:lnTo>
                    <a:pt x="373" y="255"/>
                  </a:lnTo>
                  <a:lnTo>
                    <a:pt x="363" y="235"/>
                  </a:lnTo>
                  <a:lnTo>
                    <a:pt x="352" y="211"/>
                  </a:lnTo>
                  <a:lnTo>
                    <a:pt x="340" y="183"/>
                  </a:lnTo>
                  <a:lnTo>
                    <a:pt x="328" y="153"/>
                  </a:lnTo>
                  <a:lnTo>
                    <a:pt x="316" y="120"/>
                  </a:lnTo>
                  <a:lnTo>
                    <a:pt x="304" y="84"/>
                  </a:lnTo>
                  <a:close/>
                  <a:moveTo>
                    <a:pt x="283" y="0"/>
                  </a:moveTo>
                  <a:lnTo>
                    <a:pt x="285" y="5"/>
                  </a:lnTo>
                  <a:lnTo>
                    <a:pt x="289" y="27"/>
                  </a:lnTo>
                  <a:lnTo>
                    <a:pt x="283" y="0"/>
                  </a:lnTo>
                  <a:close/>
                </a:path>
              </a:pathLst>
            </a:custGeom>
            <a:solidFill>
              <a:srgbClr val="8FDAB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198">
              <a:extLst>
                <a:ext uri="{FF2B5EF4-FFF2-40B4-BE49-F238E27FC236}">
                  <a16:creationId xmlns:a16="http://schemas.microsoft.com/office/drawing/2014/main" id="{11CA3803-9A8C-3D4F-87D2-BD86D02B20F3}"/>
                </a:ext>
              </a:extLst>
            </p:cNvPr>
            <p:cNvSpPr>
              <a:spLocks/>
            </p:cNvSpPr>
            <p:nvPr/>
          </p:nvSpPr>
          <p:spPr bwMode="auto">
            <a:xfrm>
              <a:off x="5295900" y="5192713"/>
              <a:ext cx="487363" cy="1030287"/>
            </a:xfrm>
            <a:custGeom>
              <a:avLst/>
              <a:gdLst>
                <a:gd name="T0" fmla="*/ 372 w 1229"/>
                <a:gd name="T1" fmla="*/ 14 h 2596"/>
                <a:gd name="T2" fmla="*/ 405 w 1229"/>
                <a:gd name="T3" fmla="*/ 134 h 2596"/>
                <a:gd name="T4" fmla="*/ 452 w 1229"/>
                <a:gd name="T5" fmla="*/ 249 h 2596"/>
                <a:gd name="T6" fmla="*/ 486 w 1229"/>
                <a:gd name="T7" fmla="*/ 309 h 2596"/>
                <a:gd name="T8" fmla="*/ 498 w 1229"/>
                <a:gd name="T9" fmla="*/ 332 h 2596"/>
                <a:gd name="T10" fmla="*/ 547 w 1229"/>
                <a:gd name="T11" fmla="*/ 397 h 2596"/>
                <a:gd name="T12" fmla="*/ 626 w 1229"/>
                <a:gd name="T13" fmla="*/ 494 h 2596"/>
                <a:gd name="T14" fmla="*/ 714 w 1229"/>
                <a:gd name="T15" fmla="*/ 599 h 2596"/>
                <a:gd name="T16" fmla="*/ 780 w 1229"/>
                <a:gd name="T17" fmla="*/ 676 h 2596"/>
                <a:gd name="T18" fmla="*/ 861 w 1229"/>
                <a:gd name="T19" fmla="*/ 768 h 2596"/>
                <a:gd name="T20" fmla="*/ 915 w 1229"/>
                <a:gd name="T21" fmla="*/ 829 h 2596"/>
                <a:gd name="T22" fmla="*/ 936 w 1229"/>
                <a:gd name="T23" fmla="*/ 853 h 2596"/>
                <a:gd name="T24" fmla="*/ 1092 w 1229"/>
                <a:gd name="T25" fmla="*/ 1082 h 2596"/>
                <a:gd name="T26" fmla="*/ 1144 w 1229"/>
                <a:gd name="T27" fmla="*/ 1195 h 2596"/>
                <a:gd name="T28" fmla="*/ 1171 w 1229"/>
                <a:gd name="T29" fmla="*/ 1268 h 2596"/>
                <a:gd name="T30" fmla="*/ 1206 w 1229"/>
                <a:gd name="T31" fmla="*/ 1395 h 2596"/>
                <a:gd name="T32" fmla="*/ 1229 w 1229"/>
                <a:gd name="T33" fmla="*/ 1603 h 2596"/>
                <a:gd name="T34" fmla="*/ 1220 w 1229"/>
                <a:gd name="T35" fmla="*/ 1757 h 2596"/>
                <a:gd name="T36" fmla="*/ 1203 w 1229"/>
                <a:gd name="T37" fmla="*/ 1842 h 2596"/>
                <a:gd name="T38" fmla="*/ 1161 w 1229"/>
                <a:gd name="T39" fmla="*/ 1969 h 2596"/>
                <a:gd name="T40" fmla="*/ 1050 w 1229"/>
                <a:gd name="T41" fmla="*/ 2164 h 2596"/>
                <a:gd name="T42" fmla="*/ 907 w 1229"/>
                <a:gd name="T43" fmla="*/ 2316 h 2596"/>
                <a:gd name="T44" fmla="*/ 819 w 1229"/>
                <a:gd name="T45" fmla="*/ 2387 h 2596"/>
                <a:gd name="T46" fmla="*/ 627 w 1229"/>
                <a:gd name="T47" fmla="*/ 2503 h 2596"/>
                <a:gd name="T48" fmla="*/ 371 w 1229"/>
                <a:gd name="T49" fmla="*/ 2581 h 2596"/>
                <a:gd name="T50" fmla="*/ 146 w 1229"/>
                <a:gd name="T51" fmla="*/ 2594 h 2596"/>
                <a:gd name="T52" fmla="*/ 0 w 1229"/>
                <a:gd name="T53" fmla="*/ 2569 h 2596"/>
                <a:gd name="T54" fmla="*/ 316 w 1229"/>
                <a:gd name="T55" fmla="*/ 2527 h 2596"/>
                <a:gd name="T56" fmla="*/ 557 w 1229"/>
                <a:gd name="T57" fmla="*/ 2456 h 2596"/>
                <a:gd name="T58" fmla="*/ 732 w 1229"/>
                <a:gd name="T59" fmla="*/ 2371 h 2596"/>
                <a:gd name="T60" fmla="*/ 849 w 1229"/>
                <a:gd name="T61" fmla="*/ 2289 h 2596"/>
                <a:gd name="T62" fmla="*/ 915 w 1229"/>
                <a:gd name="T63" fmla="*/ 2222 h 2596"/>
                <a:gd name="T64" fmla="*/ 942 w 1229"/>
                <a:gd name="T65" fmla="*/ 2189 h 2596"/>
                <a:gd name="T66" fmla="*/ 1051 w 1229"/>
                <a:gd name="T67" fmla="*/ 2044 h 2596"/>
                <a:gd name="T68" fmla="*/ 1129 w 1229"/>
                <a:gd name="T69" fmla="*/ 1841 h 2596"/>
                <a:gd name="T70" fmla="*/ 1151 w 1229"/>
                <a:gd name="T71" fmla="*/ 1641 h 2596"/>
                <a:gd name="T72" fmla="*/ 1138 w 1229"/>
                <a:gd name="T73" fmla="*/ 1462 h 2596"/>
                <a:gd name="T74" fmla="*/ 1107 w 1229"/>
                <a:gd name="T75" fmla="*/ 1317 h 2596"/>
                <a:gd name="T76" fmla="*/ 1078 w 1229"/>
                <a:gd name="T77" fmla="*/ 1227 h 2596"/>
                <a:gd name="T78" fmla="*/ 1056 w 1229"/>
                <a:gd name="T79" fmla="*/ 1172 h 2596"/>
                <a:gd name="T80" fmla="*/ 978 w 1229"/>
                <a:gd name="T81" fmla="*/ 1034 h 2596"/>
                <a:gd name="T82" fmla="*/ 879 w 1229"/>
                <a:gd name="T83" fmla="*/ 892 h 2596"/>
                <a:gd name="T84" fmla="*/ 773 w 1229"/>
                <a:gd name="T85" fmla="*/ 756 h 2596"/>
                <a:gd name="T86" fmla="*/ 678 w 1229"/>
                <a:gd name="T87" fmla="*/ 644 h 2596"/>
                <a:gd name="T88" fmla="*/ 609 w 1229"/>
                <a:gd name="T89" fmla="*/ 566 h 2596"/>
                <a:gd name="T90" fmla="*/ 583 w 1229"/>
                <a:gd name="T91" fmla="*/ 537 h 2596"/>
                <a:gd name="T92" fmla="*/ 468 w 1229"/>
                <a:gd name="T93" fmla="*/ 350 h 2596"/>
                <a:gd name="T94" fmla="*/ 386 w 1229"/>
                <a:gd name="T95" fmla="*/ 175 h 2596"/>
                <a:gd name="T96" fmla="*/ 339 w 1229"/>
                <a:gd name="T97" fmla="*/ 49 h 2596"/>
                <a:gd name="T98" fmla="*/ 341 w 1229"/>
                <a:gd name="T99" fmla="*/ 4 h 2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9" h="2596">
                  <a:moveTo>
                    <a:pt x="353" y="0"/>
                  </a:moveTo>
                  <a:lnTo>
                    <a:pt x="361" y="2"/>
                  </a:lnTo>
                  <a:lnTo>
                    <a:pt x="368" y="7"/>
                  </a:lnTo>
                  <a:lnTo>
                    <a:pt x="372" y="14"/>
                  </a:lnTo>
                  <a:lnTo>
                    <a:pt x="378" y="41"/>
                  </a:lnTo>
                  <a:lnTo>
                    <a:pt x="385" y="69"/>
                  </a:lnTo>
                  <a:lnTo>
                    <a:pt x="393" y="98"/>
                  </a:lnTo>
                  <a:lnTo>
                    <a:pt x="405" y="134"/>
                  </a:lnTo>
                  <a:lnTo>
                    <a:pt x="417" y="167"/>
                  </a:lnTo>
                  <a:lnTo>
                    <a:pt x="429" y="197"/>
                  </a:lnTo>
                  <a:lnTo>
                    <a:pt x="441" y="225"/>
                  </a:lnTo>
                  <a:lnTo>
                    <a:pt x="452" y="249"/>
                  </a:lnTo>
                  <a:lnTo>
                    <a:pt x="462" y="269"/>
                  </a:lnTo>
                  <a:lnTo>
                    <a:pt x="472" y="286"/>
                  </a:lnTo>
                  <a:lnTo>
                    <a:pt x="480" y="300"/>
                  </a:lnTo>
                  <a:lnTo>
                    <a:pt x="486" y="309"/>
                  </a:lnTo>
                  <a:lnTo>
                    <a:pt x="489" y="315"/>
                  </a:lnTo>
                  <a:lnTo>
                    <a:pt x="491" y="317"/>
                  </a:lnTo>
                  <a:lnTo>
                    <a:pt x="493" y="323"/>
                  </a:lnTo>
                  <a:lnTo>
                    <a:pt x="498" y="332"/>
                  </a:lnTo>
                  <a:lnTo>
                    <a:pt x="507" y="344"/>
                  </a:lnTo>
                  <a:lnTo>
                    <a:pt x="518" y="359"/>
                  </a:lnTo>
                  <a:lnTo>
                    <a:pt x="532" y="377"/>
                  </a:lnTo>
                  <a:lnTo>
                    <a:pt x="547" y="397"/>
                  </a:lnTo>
                  <a:lnTo>
                    <a:pt x="565" y="419"/>
                  </a:lnTo>
                  <a:lnTo>
                    <a:pt x="584" y="443"/>
                  </a:lnTo>
                  <a:lnTo>
                    <a:pt x="604" y="468"/>
                  </a:lnTo>
                  <a:lnTo>
                    <a:pt x="626" y="494"/>
                  </a:lnTo>
                  <a:lnTo>
                    <a:pt x="648" y="521"/>
                  </a:lnTo>
                  <a:lnTo>
                    <a:pt x="673" y="549"/>
                  </a:lnTo>
                  <a:lnTo>
                    <a:pt x="695" y="575"/>
                  </a:lnTo>
                  <a:lnTo>
                    <a:pt x="714" y="599"/>
                  </a:lnTo>
                  <a:lnTo>
                    <a:pt x="732" y="619"/>
                  </a:lnTo>
                  <a:lnTo>
                    <a:pt x="747" y="637"/>
                  </a:lnTo>
                  <a:lnTo>
                    <a:pt x="758" y="650"/>
                  </a:lnTo>
                  <a:lnTo>
                    <a:pt x="780" y="676"/>
                  </a:lnTo>
                  <a:lnTo>
                    <a:pt x="803" y="701"/>
                  </a:lnTo>
                  <a:lnTo>
                    <a:pt x="824" y="725"/>
                  </a:lnTo>
                  <a:lnTo>
                    <a:pt x="843" y="747"/>
                  </a:lnTo>
                  <a:lnTo>
                    <a:pt x="861" y="768"/>
                  </a:lnTo>
                  <a:lnTo>
                    <a:pt x="878" y="787"/>
                  </a:lnTo>
                  <a:lnTo>
                    <a:pt x="892" y="804"/>
                  </a:lnTo>
                  <a:lnTo>
                    <a:pt x="905" y="818"/>
                  </a:lnTo>
                  <a:lnTo>
                    <a:pt x="915" y="829"/>
                  </a:lnTo>
                  <a:lnTo>
                    <a:pt x="923" y="839"/>
                  </a:lnTo>
                  <a:lnTo>
                    <a:pt x="928" y="844"/>
                  </a:lnTo>
                  <a:lnTo>
                    <a:pt x="929" y="846"/>
                  </a:lnTo>
                  <a:lnTo>
                    <a:pt x="936" y="853"/>
                  </a:lnTo>
                  <a:lnTo>
                    <a:pt x="979" y="908"/>
                  </a:lnTo>
                  <a:lnTo>
                    <a:pt x="1021" y="966"/>
                  </a:lnTo>
                  <a:lnTo>
                    <a:pt x="1059" y="1024"/>
                  </a:lnTo>
                  <a:lnTo>
                    <a:pt x="1092" y="1082"/>
                  </a:lnTo>
                  <a:lnTo>
                    <a:pt x="1107" y="1113"/>
                  </a:lnTo>
                  <a:lnTo>
                    <a:pt x="1121" y="1142"/>
                  </a:lnTo>
                  <a:lnTo>
                    <a:pt x="1133" y="1170"/>
                  </a:lnTo>
                  <a:lnTo>
                    <a:pt x="1144" y="1195"/>
                  </a:lnTo>
                  <a:lnTo>
                    <a:pt x="1153" y="1218"/>
                  </a:lnTo>
                  <a:lnTo>
                    <a:pt x="1161" y="1238"/>
                  </a:lnTo>
                  <a:lnTo>
                    <a:pt x="1167" y="1255"/>
                  </a:lnTo>
                  <a:lnTo>
                    <a:pt x="1171" y="1268"/>
                  </a:lnTo>
                  <a:lnTo>
                    <a:pt x="1174" y="1275"/>
                  </a:lnTo>
                  <a:lnTo>
                    <a:pt x="1175" y="1278"/>
                  </a:lnTo>
                  <a:lnTo>
                    <a:pt x="1192" y="1337"/>
                  </a:lnTo>
                  <a:lnTo>
                    <a:pt x="1206" y="1395"/>
                  </a:lnTo>
                  <a:lnTo>
                    <a:pt x="1216" y="1450"/>
                  </a:lnTo>
                  <a:lnTo>
                    <a:pt x="1223" y="1505"/>
                  </a:lnTo>
                  <a:lnTo>
                    <a:pt x="1228" y="1556"/>
                  </a:lnTo>
                  <a:lnTo>
                    <a:pt x="1229" y="1603"/>
                  </a:lnTo>
                  <a:lnTo>
                    <a:pt x="1229" y="1647"/>
                  </a:lnTo>
                  <a:lnTo>
                    <a:pt x="1227" y="1688"/>
                  </a:lnTo>
                  <a:lnTo>
                    <a:pt x="1224" y="1725"/>
                  </a:lnTo>
                  <a:lnTo>
                    <a:pt x="1220" y="1757"/>
                  </a:lnTo>
                  <a:lnTo>
                    <a:pt x="1215" y="1786"/>
                  </a:lnTo>
                  <a:lnTo>
                    <a:pt x="1211" y="1809"/>
                  </a:lnTo>
                  <a:lnTo>
                    <a:pt x="1206" y="1828"/>
                  </a:lnTo>
                  <a:lnTo>
                    <a:pt x="1203" y="1842"/>
                  </a:lnTo>
                  <a:lnTo>
                    <a:pt x="1201" y="1850"/>
                  </a:lnTo>
                  <a:lnTo>
                    <a:pt x="1200" y="1853"/>
                  </a:lnTo>
                  <a:lnTo>
                    <a:pt x="1183" y="1913"/>
                  </a:lnTo>
                  <a:lnTo>
                    <a:pt x="1161" y="1969"/>
                  </a:lnTo>
                  <a:lnTo>
                    <a:pt x="1137" y="2022"/>
                  </a:lnTo>
                  <a:lnTo>
                    <a:pt x="1111" y="2072"/>
                  </a:lnTo>
                  <a:lnTo>
                    <a:pt x="1081" y="2120"/>
                  </a:lnTo>
                  <a:lnTo>
                    <a:pt x="1050" y="2164"/>
                  </a:lnTo>
                  <a:lnTo>
                    <a:pt x="1016" y="2206"/>
                  </a:lnTo>
                  <a:lnTo>
                    <a:pt x="981" y="2245"/>
                  </a:lnTo>
                  <a:lnTo>
                    <a:pt x="945" y="2281"/>
                  </a:lnTo>
                  <a:lnTo>
                    <a:pt x="907" y="2316"/>
                  </a:lnTo>
                  <a:lnTo>
                    <a:pt x="870" y="2348"/>
                  </a:lnTo>
                  <a:lnTo>
                    <a:pt x="870" y="2348"/>
                  </a:lnTo>
                  <a:lnTo>
                    <a:pt x="869" y="2348"/>
                  </a:lnTo>
                  <a:lnTo>
                    <a:pt x="819" y="2387"/>
                  </a:lnTo>
                  <a:lnTo>
                    <a:pt x="767" y="2422"/>
                  </a:lnTo>
                  <a:lnTo>
                    <a:pt x="719" y="2452"/>
                  </a:lnTo>
                  <a:lnTo>
                    <a:pt x="672" y="2479"/>
                  </a:lnTo>
                  <a:lnTo>
                    <a:pt x="627" y="2503"/>
                  </a:lnTo>
                  <a:lnTo>
                    <a:pt x="562" y="2530"/>
                  </a:lnTo>
                  <a:lnTo>
                    <a:pt x="496" y="2552"/>
                  </a:lnTo>
                  <a:lnTo>
                    <a:pt x="433" y="2568"/>
                  </a:lnTo>
                  <a:lnTo>
                    <a:pt x="371" y="2581"/>
                  </a:lnTo>
                  <a:lnTo>
                    <a:pt x="312" y="2589"/>
                  </a:lnTo>
                  <a:lnTo>
                    <a:pt x="256" y="2594"/>
                  </a:lnTo>
                  <a:lnTo>
                    <a:pt x="204" y="2596"/>
                  </a:lnTo>
                  <a:lnTo>
                    <a:pt x="146" y="2594"/>
                  </a:lnTo>
                  <a:lnTo>
                    <a:pt x="89" y="2589"/>
                  </a:lnTo>
                  <a:lnTo>
                    <a:pt x="53" y="2583"/>
                  </a:lnTo>
                  <a:lnTo>
                    <a:pt x="23" y="2577"/>
                  </a:lnTo>
                  <a:lnTo>
                    <a:pt x="0" y="2569"/>
                  </a:lnTo>
                  <a:lnTo>
                    <a:pt x="87" y="2562"/>
                  </a:lnTo>
                  <a:lnTo>
                    <a:pt x="168" y="2553"/>
                  </a:lnTo>
                  <a:lnTo>
                    <a:pt x="244" y="2541"/>
                  </a:lnTo>
                  <a:lnTo>
                    <a:pt x="316" y="2527"/>
                  </a:lnTo>
                  <a:lnTo>
                    <a:pt x="383" y="2512"/>
                  </a:lnTo>
                  <a:lnTo>
                    <a:pt x="445" y="2495"/>
                  </a:lnTo>
                  <a:lnTo>
                    <a:pt x="503" y="2475"/>
                  </a:lnTo>
                  <a:lnTo>
                    <a:pt x="557" y="2456"/>
                  </a:lnTo>
                  <a:lnTo>
                    <a:pt x="607" y="2435"/>
                  </a:lnTo>
                  <a:lnTo>
                    <a:pt x="652" y="2414"/>
                  </a:lnTo>
                  <a:lnTo>
                    <a:pt x="694" y="2393"/>
                  </a:lnTo>
                  <a:lnTo>
                    <a:pt x="732" y="2371"/>
                  </a:lnTo>
                  <a:lnTo>
                    <a:pt x="766" y="2350"/>
                  </a:lnTo>
                  <a:lnTo>
                    <a:pt x="797" y="2329"/>
                  </a:lnTo>
                  <a:lnTo>
                    <a:pt x="825" y="2309"/>
                  </a:lnTo>
                  <a:lnTo>
                    <a:pt x="849" y="2289"/>
                  </a:lnTo>
                  <a:lnTo>
                    <a:pt x="870" y="2269"/>
                  </a:lnTo>
                  <a:lnTo>
                    <a:pt x="888" y="2252"/>
                  </a:lnTo>
                  <a:lnTo>
                    <a:pt x="903" y="2236"/>
                  </a:lnTo>
                  <a:lnTo>
                    <a:pt x="915" y="2222"/>
                  </a:lnTo>
                  <a:lnTo>
                    <a:pt x="926" y="2210"/>
                  </a:lnTo>
                  <a:lnTo>
                    <a:pt x="934" y="2201"/>
                  </a:lnTo>
                  <a:lnTo>
                    <a:pt x="939" y="2193"/>
                  </a:lnTo>
                  <a:lnTo>
                    <a:pt x="942" y="2189"/>
                  </a:lnTo>
                  <a:lnTo>
                    <a:pt x="943" y="2187"/>
                  </a:lnTo>
                  <a:lnTo>
                    <a:pt x="984" y="2141"/>
                  </a:lnTo>
                  <a:lnTo>
                    <a:pt x="1019" y="2094"/>
                  </a:lnTo>
                  <a:lnTo>
                    <a:pt x="1051" y="2044"/>
                  </a:lnTo>
                  <a:lnTo>
                    <a:pt x="1076" y="1994"/>
                  </a:lnTo>
                  <a:lnTo>
                    <a:pt x="1098" y="1944"/>
                  </a:lnTo>
                  <a:lnTo>
                    <a:pt x="1115" y="1893"/>
                  </a:lnTo>
                  <a:lnTo>
                    <a:pt x="1129" y="1841"/>
                  </a:lnTo>
                  <a:lnTo>
                    <a:pt x="1139" y="1791"/>
                  </a:lnTo>
                  <a:lnTo>
                    <a:pt x="1146" y="1740"/>
                  </a:lnTo>
                  <a:lnTo>
                    <a:pt x="1150" y="1691"/>
                  </a:lnTo>
                  <a:lnTo>
                    <a:pt x="1151" y="1641"/>
                  </a:lnTo>
                  <a:lnTo>
                    <a:pt x="1151" y="1594"/>
                  </a:lnTo>
                  <a:lnTo>
                    <a:pt x="1148" y="1548"/>
                  </a:lnTo>
                  <a:lnTo>
                    <a:pt x="1144" y="1504"/>
                  </a:lnTo>
                  <a:lnTo>
                    <a:pt x="1138" y="1462"/>
                  </a:lnTo>
                  <a:lnTo>
                    <a:pt x="1131" y="1421"/>
                  </a:lnTo>
                  <a:lnTo>
                    <a:pt x="1123" y="1383"/>
                  </a:lnTo>
                  <a:lnTo>
                    <a:pt x="1115" y="1349"/>
                  </a:lnTo>
                  <a:lnTo>
                    <a:pt x="1107" y="1317"/>
                  </a:lnTo>
                  <a:lnTo>
                    <a:pt x="1099" y="1289"/>
                  </a:lnTo>
                  <a:lnTo>
                    <a:pt x="1091" y="1265"/>
                  </a:lnTo>
                  <a:lnTo>
                    <a:pt x="1084" y="1243"/>
                  </a:lnTo>
                  <a:lnTo>
                    <a:pt x="1078" y="1227"/>
                  </a:lnTo>
                  <a:lnTo>
                    <a:pt x="1074" y="1214"/>
                  </a:lnTo>
                  <a:lnTo>
                    <a:pt x="1071" y="1207"/>
                  </a:lnTo>
                  <a:lnTo>
                    <a:pt x="1070" y="1204"/>
                  </a:lnTo>
                  <a:lnTo>
                    <a:pt x="1056" y="1172"/>
                  </a:lnTo>
                  <a:lnTo>
                    <a:pt x="1039" y="1139"/>
                  </a:lnTo>
                  <a:lnTo>
                    <a:pt x="1020" y="1105"/>
                  </a:lnTo>
                  <a:lnTo>
                    <a:pt x="1000" y="1070"/>
                  </a:lnTo>
                  <a:lnTo>
                    <a:pt x="978" y="1034"/>
                  </a:lnTo>
                  <a:lnTo>
                    <a:pt x="955" y="998"/>
                  </a:lnTo>
                  <a:lnTo>
                    <a:pt x="931" y="962"/>
                  </a:lnTo>
                  <a:lnTo>
                    <a:pt x="904" y="927"/>
                  </a:lnTo>
                  <a:lnTo>
                    <a:pt x="879" y="892"/>
                  </a:lnTo>
                  <a:lnTo>
                    <a:pt x="852" y="857"/>
                  </a:lnTo>
                  <a:lnTo>
                    <a:pt x="826" y="822"/>
                  </a:lnTo>
                  <a:lnTo>
                    <a:pt x="800" y="788"/>
                  </a:lnTo>
                  <a:lnTo>
                    <a:pt x="773" y="756"/>
                  </a:lnTo>
                  <a:lnTo>
                    <a:pt x="748" y="726"/>
                  </a:lnTo>
                  <a:lnTo>
                    <a:pt x="723" y="697"/>
                  </a:lnTo>
                  <a:lnTo>
                    <a:pt x="700" y="670"/>
                  </a:lnTo>
                  <a:lnTo>
                    <a:pt x="678" y="644"/>
                  </a:lnTo>
                  <a:lnTo>
                    <a:pt x="658" y="620"/>
                  </a:lnTo>
                  <a:lnTo>
                    <a:pt x="639" y="599"/>
                  </a:lnTo>
                  <a:lnTo>
                    <a:pt x="623" y="581"/>
                  </a:lnTo>
                  <a:lnTo>
                    <a:pt x="609" y="566"/>
                  </a:lnTo>
                  <a:lnTo>
                    <a:pt x="598" y="554"/>
                  </a:lnTo>
                  <a:lnTo>
                    <a:pt x="590" y="545"/>
                  </a:lnTo>
                  <a:lnTo>
                    <a:pt x="584" y="539"/>
                  </a:lnTo>
                  <a:lnTo>
                    <a:pt x="583" y="537"/>
                  </a:lnTo>
                  <a:lnTo>
                    <a:pt x="551" y="492"/>
                  </a:lnTo>
                  <a:lnTo>
                    <a:pt x="521" y="445"/>
                  </a:lnTo>
                  <a:lnTo>
                    <a:pt x="493" y="397"/>
                  </a:lnTo>
                  <a:lnTo>
                    <a:pt x="468" y="350"/>
                  </a:lnTo>
                  <a:lnTo>
                    <a:pt x="445" y="304"/>
                  </a:lnTo>
                  <a:lnTo>
                    <a:pt x="423" y="259"/>
                  </a:lnTo>
                  <a:lnTo>
                    <a:pt x="404" y="216"/>
                  </a:lnTo>
                  <a:lnTo>
                    <a:pt x="386" y="175"/>
                  </a:lnTo>
                  <a:lnTo>
                    <a:pt x="371" y="137"/>
                  </a:lnTo>
                  <a:lnTo>
                    <a:pt x="359" y="104"/>
                  </a:lnTo>
                  <a:lnTo>
                    <a:pt x="348" y="74"/>
                  </a:lnTo>
                  <a:lnTo>
                    <a:pt x="339" y="49"/>
                  </a:lnTo>
                  <a:lnTo>
                    <a:pt x="333" y="29"/>
                  </a:lnTo>
                  <a:lnTo>
                    <a:pt x="332" y="20"/>
                  </a:lnTo>
                  <a:lnTo>
                    <a:pt x="335" y="12"/>
                  </a:lnTo>
                  <a:lnTo>
                    <a:pt x="341" y="4"/>
                  </a:lnTo>
                  <a:lnTo>
                    <a:pt x="349" y="1"/>
                  </a:lnTo>
                  <a:lnTo>
                    <a:pt x="353" y="0"/>
                  </a:lnTo>
                  <a:close/>
                </a:path>
              </a:pathLst>
            </a:custGeom>
            <a:solidFill>
              <a:schemeClr val="accent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199">
              <a:extLst>
                <a:ext uri="{FF2B5EF4-FFF2-40B4-BE49-F238E27FC236}">
                  <a16:creationId xmlns:a16="http://schemas.microsoft.com/office/drawing/2014/main" id="{E59227B7-9F2F-CD41-ACE7-E3E78B97C0E5}"/>
                </a:ext>
              </a:extLst>
            </p:cNvPr>
            <p:cNvSpPr>
              <a:spLocks/>
            </p:cNvSpPr>
            <p:nvPr/>
          </p:nvSpPr>
          <p:spPr bwMode="auto">
            <a:xfrm>
              <a:off x="5281613" y="5130800"/>
              <a:ext cx="168275" cy="66675"/>
            </a:xfrm>
            <a:custGeom>
              <a:avLst/>
              <a:gdLst>
                <a:gd name="T0" fmla="*/ 53 w 425"/>
                <a:gd name="T1" fmla="*/ 0 h 167"/>
                <a:gd name="T2" fmla="*/ 373 w 425"/>
                <a:gd name="T3" fmla="*/ 0 h 167"/>
                <a:gd name="T4" fmla="*/ 389 w 425"/>
                <a:gd name="T5" fmla="*/ 2 h 167"/>
                <a:gd name="T6" fmla="*/ 403 w 425"/>
                <a:gd name="T7" fmla="*/ 10 h 167"/>
                <a:gd name="T8" fmla="*/ 414 w 425"/>
                <a:gd name="T9" fmla="*/ 21 h 167"/>
                <a:gd name="T10" fmla="*/ 422 w 425"/>
                <a:gd name="T11" fmla="*/ 35 h 167"/>
                <a:gd name="T12" fmla="*/ 425 w 425"/>
                <a:gd name="T13" fmla="*/ 52 h 167"/>
                <a:gd name="T14" fmla="*/ 425 w 425"/>
                <a:gd name="T15" fmla="*/ 114 h 167"/>
                <a:gd name="T16" fmla="*/ 422 w 425"/>
                <a:gd name="T17" fmla="*/ 131 h 167"/>
                <a:gd name="T18" fmla="*/ 414 w 425"/>
                <a:gd name="T19" fmla="*/ 145 h 167"/>
                <a:gd name="T20" fmla="*/ 403 w 425"/>
                <a:gd name="T21" fmla="*/ 156 h 167"/>
                <a:gd name="T22" fmla="*/ 389 w 425"/>
                <a:gd name="T23" fmla="*/ 165 h 167"/>
                <a:gd name="T24" fmla="*/ 373 w 425"/>
                <a:gd name="T25" fmla="*/ 167 h 167"/>
                <a:gd name="T26" fmla="*/ 53 w 425"/>
                <a:gd name="T27" fmla="*/ 167 h 167"/>
                <a:gd name="T28" fmla="*/ 36 w 425"/>
                <a:gd name="T29" fmla="*/ 165 h 167"/>
                <a:gd name="T30" fmla="*/ 21 w 425"/>
                <a:gd name="T31" fmla="*/ 156 h 167"/>
                <a:gd name="T32" fmla="*/ 10 w 425"/>
                <a:gd name="T33" fmla="*/ 145 h 167"/>
                <a:gd name="T34" fmla="*/ 3 w 425"/>
                <a:gd name="T35" fmla="*/ 131 h 167"/>
                <a:gd name="T36" fmla="*/ 0 w 425"/>
                <a:gd name="T37" fmla="*/ 114 h 167"/>
                <a:gd name="T38" fmla="*/ 0 w 425"/>
                <a:gd name="T39" fmla="*/ 52 h 167"/>
                <a:gd name="T40" fmla="*/ 3 w 425"/>
                <a:gd name="T41" fmla="*/ 35 h 167"/>
                <a:gd name="T42" fmla="*/ 10 w 425"/>
                <a:gd name="T43" fmla="*/ 21 h 167"/>
                <a:gd name="T44" fmla="*/ 21 w 425"/>
                <a:gd name="T45" fmla="*/ 10 h 167"/>
                <a:gd name="T46" fmla="*/ 36 w 425"/>
                <a:gd name="T47" fmla="*/ 2 h 167"/>
                <a:gd name="T48" fmla="*/ 53 w 425"/>
                <a:gd name="T4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167">
                  <a:moveTo>
                    <a:pt x="53" y="0"/>
                  </a:moveTo>
                  <a:lnTo>
                    <a:pt x="373" y="0"/>
                  </a:lnTo>
                  <a:lnTo>
                    <a:pt x="389" y="2"/>
                  </a:lnTo>
                  <a:lnTo>
                    <a:pt x="403" y="10"/>
                  </a:lnTo>
                  <a:lnTo>
                    <a:pt x="414" y="21"/>
                  </a:lnTo>
                  <a:lnTo>
                    <a:pt x="422" y="35"/>
                  </a:lnTo>
                  <a:lnTo>
                    <a:pt x="425" y="52"/>
                  </a:lnTo>
                  <a:lnTo>
                    <a:pt x="425" y="114"/>
                  </a:lnTo>
                  <a:lnTo>
                    <a:pt x="422" y="131"/>
                  </a:lnTo>
                  <a:lnTo>
                    <a:pt x="414" y="145"/>
                  </a:lnTo>
                  <a:lnTo>
                    <a:pt x="403" y="156"/>
                  </a:lnTo>
                  <a:lnTo>
                    <a:pt x="389" y="165"/>
                  </a:lnTo>
                  <a:lnTo>
                    <a:pt x="373" y="167"/>
                  </a:lnTo>
                  <a:lnTo>
                    <a:pt x="53" y="167"/>
                  </a:lnTo>
                  <a:lnTo>
                    <a:pt x="36" y="165"/>
                  </a:lnTo>
                  <a:lnTo>
                    <a:pt x="21" y="156"/>
                  </a:lnTo>
                  <a:lnTo>
                    <a:pt x="10" y="145"/>
                  </a:lnTo>
                  <a:lnTo>
                    <a:pt x="3" y="131"/>
                  </a:lnTo>
                  <a:lnTo>
                    <a:pt x="0" y="114"/>
                  </a:lnTo>
                  <a:lnTo>
                    <a:pt x="0" y="52"/>
                  </a:lnTo>
                  <a:lnTo>
                    <a:pt x="3" y="35"/>
                  </a:lnTo>
                  <a:lnTo>
                    <a:pt x="10" y="21"/>
                  </a:lnTo>
                  <a:lnTo>
                    <a:pt x="21" y="10"/>
                  </a:lnTo>
                  <a:lnTo>
                    <a:pt x="36" y="2"/>
                  </a:lnTo>
                  <a:lnTo>
                    <a:pt x="5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200">
              <a:extLst>
                <a:ext uri="{FF2B5EF4-FFF2-40B4-BE49-F238E27FC236}">
                  <a16:creationId xmlns:a16="http://schemas.microsoft.com/office/drawing/2014/main" id="{8A97C2D4-CEDB-BD4A-994F-4E89CEFE50FC}"/>
                </a:ext>
              </a:extLst>
            </p:cNvPr>
            <p:cNvSpPr>
              <a:spLocks/>
            </p:cNvSpPr>
            <p:nvPr/>
          </p:nvSpPr>
          <p:spPr bwMode="auto">
            <a:xfrm>
              <a:off x="5446713" y="5016500"/>
              <a:ext cx="176213" cy="303212"/>
            </a:xfrm>
            <a:custGeom>
              <a:avLst/>
              <a:gdLst>
                <a:gd name="T0" fmla="*/ 433 w 443"/>
                <a:gd name="T1" fmla="*/ 2 h 763"/>
                <a:gd name="T2" fmla="*/ 436 w 443"/>
                <a:gd name="T3" fmla="*/ 16 h 763"/>
                <a:gd name="T4" fmla="*/ 441 w 443"/>
                <a:gd name="T5" fmla="*/ 42 h 763"/>
                <a:gd name="T6" fmla="*/ 443 w 443"/>
                <a:gd name="T7" fmla="*/ 75 h 763"/>
                <a:gd name="T8" fmla="*/ 441 w 443"/>
                <a:gd name="T9" fmla="*/ 112 h 763"/>
                <a:gd name="T10" fmla="*/ 432 w 443"/>
                <a:gd name="T11" fmla="*/ 149 h 763"/>
                <a:gd name="T12" fmla="*/ 412 w 443"/>
                <a:gd name="T13" fmla="*/ 184 h 763"/>
                <a:gd name="T14" fmla="*/ 378 w 443"/>
                <a:gd name="T15" fmla="*/ 213 h 763"/>
                <a:gd name="T16" fmla="*/ 353 w 443"/>
                <a:gd name="T17" fmla="*/ 224 h 763"/>
                <a:gd name="T18" fmla="*/ 330 w 443"/>
                <a:gd name="T19" fmla="*/ 230 h 763"/>
                <a:gd name="T20" fmla="*/ 290 w 443"/>
                <a:gd name="T21" fmla="*/ 244 h 763"/>
                <a:gd name="T22" fmla="*/ 236 w 443"/>
                <a:gd name="T23" fmla="*/ 265 h 763"/>
                <a:gd name="T24" fmla="*/ 177 w 443"/>
                <a:gd name="T25" fmla="*/ 295 h 763"/>
                <a:gd name="T26" fmla="*/ 117 w 443"/>
                <a:gd name="T27" fmla="*/ 334 h 763"/>
                <a:gd name="T28" fmla="*/ 62 w 443"/>
                <a:gd name="T29" fmla="*/ 383 h 763"/>
                <a:gd name="T30" fmla="*/ 69 w 443"/>
                <a:gd name="T31" fmla="*/ 389 h 763"/>
                <a:gd name="T32" fmla="*/ 87 w 443"/>
                <a:gd name="T33" fmla="*/ 406 h 763"/>
                <a:gd name="T34" fmla="*/ 115 w 443"/>
                <a:gd name="T35" fmla="*/ 428 h 763"/>
                <a:gd name="T36" fmla="*/ 149 w 443"/>
                <a:gd name="T37" fmla="*/ 454 h 763"/>
                <a:gd name="T38" fmla="*/ 187 w 443"/>
                <a:gd name="T39" fmla="*/ 476 h 763"/>
                <a:gd name="T40" fmla="*/ 225 w 443"/>
                <a:gd name="T41" fmla="*/ 493 h 763"/>
                <a:gd name="T42" fmla="*/ 261 w 443"/>
                <a:gd name="T43" fmla="*/ 499 h 763"/>
                <a:gd name="T44" fmla="*/ 271 w 443"/>
                <a:gd name="T45" fmla="*/ 502 h 763"/>
                <a:gd name="T46" fmla="*/ 297 w 443"/>
                <a:gd name="T47" fmla="*/ 510 h 763"/>
                <a:gd name="T48" fmla="*/ 330 w 443"/>
                <a:gd name="T49" fmla="*/ 527 h 763"/>
                <a:gd name="T50" fmla="*/ 368 w 443"/>
                <a:gd name="T51" fmla="*/ 553 h 763"/>
                <a:gd name="T52" fmla="*/ 402 w 443"/>
                <a:gd name="T53" fmla="*/ 591 h 763"/>
                <a:gd name="T54" fmla="*/ 430 w 443"/>
                <a:gd name="T55" fmla="*/ 641 h 763"/>
                <a:gd name="T56" fmla="*/ 415 w 443"/>
                <a:gd name="T57" fmla="*/ 761 h 763"/>
                <a:gd name="T58" fmla="*/ 402 w 443"/>
                <a:gd name="T59" fmla="*/ 747 h 763"/>
                <a:gd name="T60" fmla="*/ 382 w 443"/>
                <a:gd name="T61" fmla="*/ 722 h 763"/>
                <a:gd name="T62" fmla="*/ 356 w 443"/>
                <a:gd name="T63" fmla="*/ 692 h 763"/>
                <a:gd name="T64" fmla="*/ 326 w 443"/>
                <a:gd name="T65" fmla="*/ 661 h 763"/>
                <a:gd name="T66" fmla="*/ 297 w 443"/>
                <a:gd name="T67" fmla="*/ 634 h 763"/>
                <a:gd name="T68" fmla="*/ 270 w 443"/>
                <a:gd name="T69" fmla="*/ 616 h 763"/>
                <a:gd name="T70" fmla="*/ 256 w 443"/>
                <a:gd name="T71" fmla="*/ 611 h 763"/>
                <a:gd name="T72" fmla="*/ 236 w 443"/>
                <a:gd name="T73" fmla="*/ 606 h 763"/>
                <a:gd name="T74" fmla="*/ 201 w 443"/>
                <a:gd name="T75" fmla="*/ 596 h 763"/>
                <a:gd name="T76" fmla="*/ 158 w 443"/>
                <a:gd name="T77" fmla="*/ 580 h 763"/>
                <a:gd name="T78" fmla="*/ 111 w 443"/>
                <a:gd name="T79" fmla="*/ 556 h 763"/>
                <a:gd name="T80" fmla="*/ 68 w 443"/>
                <a:gd name="T81" fmla="*/ 525 h 763"/>
                <a:gd name="T82" fmla="*/ 33 w 443"/>
                <a:gd name="T83" fmla="*/ 486 h 763"/>
                <a:gd name="T84" fmla="*/ 12 w 443"/>
                <a:gd name="T85" fmla="*/ 436 h 763"/>
                <a:gd name="T86" fmla="*/ 1 w 443"/>
                <a:gd name="T87" fmla="*/ 312 h 763"/>
                <a:gd name="T88" fmla="*/ 8 w 443"/>
                <a:gd name="T89" fmla="*/ 299 h 763"/>
                <a:gd name="T90" fmla="*/ 26 w 443"/>
                <a:gd name="T91" fmla="*/ 276 h 763"/>
                <a:gd name="T92" fmla="*/ 53 w 443"/>
                <a:gd name="T93" fmla="*/ 247 h 763"/>
                <a:gd name="T94" fmla="*/ 93 w 443"/>
                <a:gd name="T95" fmla="*/ 215 h 763"/>
                <a:gd name="T96" fmla="*/ 149 w 443"/>
                <a:gd name="T97" fmla="*/ 185 h 763"/>
                <a:gd name="T98" fmla="*/ 219 w 443"/>
                <a:gd name="T99" fmla="*/ 160 h 763"/>
                <a:gd name="T100" fmla="*/ 264 w 443"/>
                <a:gd name="T101" fmla="*/ 150 h 763"/>
                <a:gd name="T102" fmla="*/ 281 w 443"/>
                <a:gd name="T103" fmla="*/ 141 h 763"/>
                <a:gd name="T104" fmla="*/ 311 w 443"/>
                <a:gd name="T105" fmla="*/ 122 h 763"/>
                <a:gd name="T106" fmla="*/ 349 w 443"/>
                <a:gd name="T107" fmla="*/ 93 h 763"/>
                <a:gd name="T108" fmla="*/ 390 w 443"/>
                <a:gd name="T109" fmla="*/ 53 h 763"/>
                <a:gd name="T110" fmla="*/ 432 w 443"/>
                <a:gd name="T111" fmla="*/ 0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3" h="763">
                  <a:moveTo>
                    <a:pt x="432" y="0"/>
                  </a:moveTo>
                  <a:lnTo>
                    <a:pt x="433" y="2"/>
                  </a:lnTo>
                  <a:lnTo>
                    <a:pt x="434" y="7"/>
                  </a:lnTo>
                  <a:lnTo>
                    <a:pt x="436" y="16"/>
                  </a:lnTo>
                  <a:lnTo>
                    <a:pt x="439" y="27"/>
                  </a:lnTo>
                  <a:lnTo>
                    <a:pt x="441" y="42"/>
                  </a:lnTo>
                  <a:lnTo>
                    <a:pt x="443" y="58"/>
                  </a:lnTo>
                  <a:lnTo>
                    <a:pt x="443" y="75"/>
                  </a:lnTo>
                  <a:lnTo>
                    <a:pt x="443" y="93"/>
                  </a:lnTo>
                  <a:lnTo>
                    <a:pt x="441" y="112"/>
                  </a:lnTo>
                  <a:lnTo>
                    <a:pt x="438" y="131"/>
                  </a:lnTo>
                  <a:lnTo>
                    <a:pt x="432" y="149"/>
                  </a:lnTo>
                  <a:lnTo>
                    <a:pt x="423" y="167"/>
                  </a:lnTo>
                  <a:lnTo>
                    <a:pt x="412" y="184"/>
                  </a:lnTo>
                  <a:lnTo>
                    <a:pt x="396" y="199"/>
                  </a:lnTo>
                  <a:lnTo>
                    <a:pt x="378" y="213"/>
                  </a:lnTo>
                  <a:lnTo>
                    <a:pt x="356" y="223"/>
                  </a:lnTo>
                  <a:lnTo>
                    <a:pt x="353" y="224"/>
                  </a:lnTo>
                  <a:lnTo>
                    <a:pt x="344" y="226"/>
                  </a:lnTo>
                  <a:lnTo>
                    <a:pt x="330" y="230"/>
                  </a:lnTo>
                  <a:lnTo>
                    <a:pt x="312" y="236"/>
                  </a:lnTo>
                  <a:lnTo>
                    <a:pt x="290" y="244"/>
                  </a:lnTo>
                  <a:lnTo>
                    <a:pt x="264" y="254"/>
                  </a:lnTo>
                  <a:lnTo>
                    <a:pt x="236" y="265"/>
                  </a:lnTo>
                  <a:lnTo>
                    <a:pt x="207" y="279"/>
                  </a:lnTo>
                  <a:lnTo>
                    <a:pt x="177" y="295"/>
                  </a:lnTo>
                  <a:lnTo>
                    <a:pt x="147" y="313"/>
                  </a:lnTo>
                  <a:lnTo>
                    <a:pt x="117" y="334"/>
                  </a:lnTo>
                  <a:lnTo>
                    <a:pt x="88" y="357"/>
                  </a:lnTo>
                  <a:lnTo>
                    <a:pt x="62" y="383"/>
                  </a:lnTo>
                  <a:lnTo>
                    <a:pt x="64" y="384"/>
                  </a:lnTo>
                  <a:lnTo>
                    <a:pt x="69" y="389"/>
                  </a:lnTo>
                  <a:lnTo>
                    <a:pt x="77" y="396"/>
                  </a:lnTo>
                  <a:lnTo>
                    <a:pt x="87" y="406"/>
                  </a:lnTo>
                  <a:lnTo>
                    <a:pt x="100" y="416"/>
                  </a:lnTo>
                  <a:lnTo>
                    <a:pt x="115" y="428"/>
                  </a:lnTo>
                  <a:lnTo>
                    <a:pt x="131" y="440"/>
                  </a:lnTo>
                  <a:lnTo>
                    <a:pt x="149" y="454"/>
                  </a:lnTo>
                  <a:lnTo>
                    <a:pt x="168" y="466"/>
                  </a:lnTo>
                  <a:lnTo>
                    <a:pt x="187" y="476"/>
                  </a:lnTo>
                  <a:lnTo>
                    <a:pt x="206" y="486"/>
                  </a:lnTo>
                  <a:lnTo>
                    <a:pt x="225" y="493"/>
                  </a:lnTo>
                  <a:lnTo>
                    <a:pt x="244" y="497"/>
                  </a:lnTo>
                  <a:lnTo>
                    <a:pt x="261" y="499"/>
                  </a:lnTo>
                  <a:lnTo>
                    <a:pt x="264" y="500"/>
                  </a:lnTo>
                  <a:lnTo>
                    <a:pt x="271" y="502"/>
                  </a:lnTo>
                  <a:lnTo>
                    <a:pt x="283" y="505"/>
                  </a:lnTo>
                  <a:lnTo>
                    <a:pt x="297" y="510"/>
                  </a:lnTo>
                  <a:lnTo>
                    <a:pt x="313" y="518"/>
                  </a:lnTo>
                  <a:lnTo>
                    <a:pt x="330" y="527"/>
                  </a:lnTo>
                  <a:lnTo>
                    <a:pt x="349" y="539"/>
                  </a:lnTo>
                  <a:lnTo>
                    <a:pt x="368" y="553"/>
                  </a:lnTo>
                  <a:lnTo>
                    <a:pt x="386" y="570"/>
                  </a:lnTo>
                  <a:lnTo>
                    <a:pt x="402" y="591"/>
                  </a:lnTo>
                  <a:lnTo>
                    <a:pt x="418" y="614"/>
                  </a:lnTo>
                  <a:lnTo>
                    <a:pt x="430" y="641"/>
                  </a:lnTo>
                  <a:lnTo>
                    <a:pt x="416" y="763"/>
                  </a:lnTo>
                  <a:lnTo>
                    <a:pt x="415" y="761"/>
                  </a:lnTo>
                  <a:lnTo>
                    <a:pt x="410" y="755"/>
                  </a:lnTo>
                  <a:lnTo>
                    <a:pt x="402" y="747"/>
                  </a:lnTo>
                  <a:lnTo>
                    <a:pt x="393" y="735"/>
                  </a:lnTo>
                  <a:lnTo>
                    <a:pt x="382" y="722"/>
                  </a:lnTo>
                  <a:lnTo>
                    <a:pt x="369" y="707"/>
                  </a:lnTo>
                  <a:lnTo>
                    <a:pt x="356" y="692"/>
                  </a:lnTo>
                  <a:lnTo>
                    <a:pt x="341" y="676"/>
                  </a:lnTo>
                  <a:lnTo>
                    <a:pt x="326" y="661"/>
                  </a:lnTo>
                  <a:lnTo>
                    <a:pt x="312" y="646"/>
                  </a:lnTo>
                  <a:lnTo>
                    <a:pt x="297" y="634"/>
                  </a:lnTo>
                  <a:lnTo>
                    <a:pt x="283" y="624"/>
                  </a:lnTo>
                  <a:lnTo>
                    <a:pt x="270" y="616"/>
                  </a:lnTo>
                  <a:lnTo>
                    <a:pt x="259" y="612"/>
                  </a:lnTo>
                  <a:lnTo>
                    <a:pt x="256" y="611"/>
                  </a:lnTo>
                  <a:lnTo>
                    <a:pt x="248" y="610"/>
                  </a:lnTo>
                  <a:lnTo>
                    <a:pt x="236" y="606"/>
                  </a:lnTo>
                  <a:lnTo>
                    <a:pt x="220" y="602"/>
                  </a:lnTo>
                  <a:lnTo>
                    <a:pt x="201" y="596"/>
                  </a:lnTo>
                  <a:lnTo>
                    <a:pt x="181" y="589"/>
                  </a:lnTo>
                  <a:lnTo>
                    <a:pt x="158" y="580"/>
                  </a:lnTo>
                  <a:lnTo>
                    <a:pt x="134" y="569"/>
                  </a:lnTo>
                  <a:lnTo>
                    <a:pt x="111" y="556"/>
                  </a:lnTo>
                  <a:lnTo>
                    <a:pt x="89" y="542"/>
                  </a:lnTo>
                  <a:lnTo>
                    <a:pt x="68" y="525"/>
                  </a:lnTo>
                  <a:lnTo>
                    <a:pt x="49" y="507"/>
                  </a:lnTo>
                  <a:lnTo>
                    <a:pt x="33" y="486"/>
                  </a:lnTo>
                  <a:lnTo>
                    <a:pt x="21" y="463"/>
                  </a:lnTo>
                  <a:lnTo>
                    <a:pt x="12" y="436"/>
                  </a:lnTo>
                  <a:lnTo>
                    <a:pt x="0" y="314"/>
                  </a:lnTo>
                  <a:lnTo>
                    <a:pt x="1" y="312"/>
                  </a:lnTo>
                  <a:lnTo>
                    <a:pt x="4" y="307"/>
                  </a:lnTo>
                  <a:lnTo>
                    <a:pt x="8" y="299"/>
                  </a:lnTo>
                  <a:lnTo>
                    <a:pt x="16" y="289"/>
                  </a:lnTo>
                  <a:lnTo>
                    <a:pt x="26" y="276"/>
                  </a:lnTo>
                  <a:lnTo>
                    <a:pt x="38" y="262"/>
                  </a:lnTo>
                  <a:lnTo>
                    <a:pt x="53" y="247"/>
                  </a:lnTo>
                  <a:lnTo>
                    <a:pt x="72" y="231"/>
                  </a:lnTo>
                  <a:lnTo>
                    <a:pt x="93" y="215"/>
                  </a:lnTo>
                  <a:lnTo>
                    <a:pt x="119" y="200"/>
                  </a:lnTo>
                  <a:lnTo>
                    <a:pt x="149" y="185"/>
                  </a:lnTo>
                  <a:lnTo>
                    <a:pt x="182" y="172"/>
                  </a:lnTo>
                  <a:lnTo>
                    <a:pt x="219" y="160"/>
                  </a:lnTo>
                  <a:lnTo>
                    <a:pt x="261" y="151"/>
                  </a:lnTo>
                  <a:lnTo>
                    <a:pt x="264" y="150"/>
                  </a:lnTo>
                  <a:lnTo>
                    <a:pt x="270" y="147"/>
                  </a:lnTo>
                  <a:lnTo>
                    <a:pt x="281" y="141"/>
                  </a:lnTo>
                  <a:lnTo>
                    <a:pt x="295" y="133"/>
                  </a:lnTo>
                  <a:lnTo>
                    <a:pt x="311" y="122"/>
                  </a:lnTo>
                  <a:lnTo>
                    <a:pt x="329" y="109"/>
                  </a:lnTo>
                  <a:lnTo>
                    <a:pt x="349" y="93"/>
                  </a:lnTo>
                  <a:lnTo>
                    <a:pt x="369" y="75"/>
                  </a:lnTo>
                  <a:lnTo>
                    <a:pt x="390" y="53"/>
                  </a:lnTo>
                  <a:lnTo>
                    <a:pt x="412" y="28"/>
                  </a:lnTo>
                  <a:lnTo>
                    <a:pt x="43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57" name="Group 356">
            <a:extLst>
              <a:ext uri="{FF2B5EF4-FFF2-40B4-BE49-F238E27FC236}">
                <a16:creationId xmlns:a16="http://schemas.microsoft.com/office/drawing/2014/main" id="{4BA6909C-9AA4-2D4E-8D76-C1FE70DA3CC5}"/>
              </a:ext>
            </a:extLst>
          </p:cNvPr>
          <p:cNvGrpSpPr/>
          <p:nvPr/>
        </p:nvGrpSpPr>
        <p:grpSpPr>
          <a:xfrm>
            <a:off x="7467601" y="4911726"/>
            <a:ext cx="823913" cy="1311275"/>
            <a:chOff x="4959350" y="4911725"/>
            <a:chExt cx="823913" cy="1311275"/>
          </a:xfrm>
        </p:grpSpPr>
        <p:sp>
          <p:nvSpPr>
            <p:cNvPr id="358" name="Freeform 196">
              <a:extLst>
                <a:ext uri="{FF2B5EF4-FFF2-40B4-BE49-F238E27FC236}">
                  <a16:creationId xmlns:a16="http://schemas.microsoft.com/office/drawing/2014/main" id="{00E43E86-6BFD-7842-BB58-38E01BF52DC7}"/>
                </a:ext>
              </a:extLst>
            </p:cNvPr>
            <p:cNvSpPr>
              <a:spLocks/>
            </p:cNvSpPr>
            <p:nvPr/>
          </p:nvSpPr>
          <p:spPr bwMode="auto">
            <a:xfrm>
              <a:off x="4959350" y="4911725"/>
              <a:ext cx="823913" cy="1311275"/>
            </a:xfrm>
            <a:custGeom>
              <a:avLst/>
              <a:gdLst>
                <a:gd name="T0" fmla="*/ 1322 w 2076"/>
                <a:gd name="T1" fmla="*/ 6 h 3303"/>
                <a:gd name="T2" fmla="*/ 1340 w 2076"/>
                <a:gd name="T3" fmla="*/ 25 h 3303"/>
                <a:gd name="T4" fmla="*/ 1307 w 2076"/>
                <a:gd name="T5" fmla="*/ 101 h 3303"/>
                <a:gd name="T6" fmla="*/ 1220 w 2076"/>
                <a:gd name="T7" fmla="*/ 361 h 3303"/>
                <a:gd name="T8" fmla="*/ 1204 w 2076"/>
                <a:gd name="T9" fmla="*/ 590 h 3303"/>
                <a:gd name="T10" fmla="*/ 1233 w 2076"/>
                <a:gd name="T11" fmla="*/ 780 h 3303"/>
                <a:gd name="T12" fmla="*/ 1283 w 2076"/>
                <a:gd name="T13" fmla="*/ 921 h 3303"/>
                <a:gd name="T14" fmla="*/ 1325 w 2076"/>
                <a:gd name="T15" fmla="*/ 1004 h 3303"/>
                <a:gd name="T16" fmla="*/ 1340 w 2076"/>
                <a:gd name="T17" fmla="*/ 1030 h 3303"/>
                <a:gd name="T18" fmla="*/ 1380 w 2076"/>
                <a:gd name="T19" fmla="*/ 1085 h 3303"/>
                <a:gd name="T20" fmla="*/ 1454 w 2076"/>
                <a:gd name="T21" fmla="*/ 1178 h 3303"/>
                <a:gd name="T22" fmla="*/ 1547 w 2076"/>
                <a:gd name="T23" fmla="*/ 1288 h 3303"/>
                <a:gd name="T24" fmla="*/ 1642 w 2076"/>
                <a:gd name="T25" fmla="*/ 1399 h 3303"/>
                <a:gd name="T26" fmla="*/ 1721 w 2076"/>
                <a:gd name="T27" fmla="*/ 1490 h 3303"/>
                <a:gd name="T28" fmla="*/ 1770 w 2076"/>
                <a:gd name="T29" fmla="*/ 1545 h 3303"/>
                <a:gd name="T30" fmla="*/ 1875 w 2076"/>
                <a:gd name="T31" fmla="*/ 1684 h 3303"/>
                <a:gd name="T32" fmla="*/ 2006 w 2076"/>
                <a:gd name="T33" fmla="*/ 1939 h 3303"/>
                <a:gd name="T34" fmla="*/ 2065 w 2076"/>
                <a:gd name="T35" fmla="*/ 2170 h 3303"/>
                <a:gd name="T36" fmla="*/ 2076 w 2076"/>
                <a:gd name="T37" fmla="*/ 2360 h 3303"/>
                <a:gd name="T38" fmla="*/ 2062 w 2076"/>
                <a:gd name="T39" fmla="*/ 2495 h 3303"/>
                <a:gd name="T40" fmla="*/ 2048 w 2076"/>
                <a:gd name="T41" fmla="*/ 2558 h 3303"/>
                <a:gd name="T42" fmla="*/ 1980 w 2076"/>
                <a:gd name="T43" fmla="*/ 2738 h 3303"/>
                <a:gd name="T44" fmla="*/ 1849 w 2076"/>
                <a:gd name="T45" fmla="*/ 2929 h 3303"/>
                <a:gd name="T46" fmla="*/ 1693 w 2076"/>
                <a:gd name="T47" fmla="*/ 3074 h 3303"/>
                <a:gd name="T48" fmla="*/ 1538 w 2076"/>
                <a:gd name="T49" fmla="*/ 3175 h 3303"/>
                <a:gd name="T50" fmla="*/ 1409 w 2076"/>
                <a:gd name="T51" fmla="*/ 3240 h 3303"/>
                <a:gd name="T52" fmla="*/ 1332 w 2076"/>
                <a:gd name="T53" fmla="*/ 3269 h 3303"/>
                <a:gd name="T54" fmla="*/ 1174 w 2076"/>
                <a:gd name="T55" fmla="*/ 3297 h 3303"/>
                <a:gd name="T56" fmla="*/ 908 w 2076"/>
                <a:gd name="T57" fmla="*/ 3293 h 3303"/>
                <a:gd name="T58" fmla="*/ 682 w 2076"/>
                <a:gd name="T59" fmla="*/ 3237 h 3303"/>
                <a:gd name="T60" fmla="*/ 501 w 2076"/>
                <a:gd name="T61" fmla="*/ 3153 h 3303"/>
                <a:gd name="T62" fmla="*/ 368 w 2076"/>
                <a:gd name="T63" fmla="*/ 3064 h 3303"/>
                <a:gd name="T64" fmla="*/ 285 w 2076"/>
                <a:gd name="T65" fmla="*/ 2994 h 3303"/>
                <a:gd name="T66" fmla="*/ 257 w 2076"/>
                <a:gd name="T67" fmla="*/ 2965 h 3303"/>
                <a:gd name="T68" fmla="*/ 99 w 2076"/>
                <a:gd name="T69" fmla="*/ 2735 h 3303"/>
                <a:gd name="T70" fmla="*/ 20 w 2076"/>
                <a:gd name="T71" fmla="*/ 2506 h 3303"/>
                <a:gd name="T72" fmla="*/ 0 w 2076"/>
                <a:gd name="T73" fmla="*/ 2296 h 3303"/>
                <a:gd name="T74" fmla="*/ 8 w 2076"/>
                <a:gd name="T75" fmla="*/ 2161 h 3303"/>
                <a:gd name="T76" fmla="*/ 32 w 2076"/>
                <a:gd name="T77" fmla="*/ 2029 h 3303"/>
                <a:gd name="T78" fmla="*/ 50 w 2076"/>
                <a:gd name="T79" fmla="*/ 1966 h 3303"/>
                <a:gd name="T80" fmla="*/ 82 w 2076"/>
                <a:gd name="T81" fmla="*/ 1893 h 3303"/>
                <a:gd name="T82" fmla="*/ 152 w 2076"/>
                <a:gd name="T83" fmla="*/ 1776 h 3303"/>
                <a:gd name="T84" fmla="*/ 241 w 2076"/>
                <a:gd name="T85" fmla="*/ 1649 h 3303"/>
                <a:gd name="T86" fmla="*/ 331 w 2076"/>
                <a:gd name="T87" fmla="*/ 1530 h 3303"/>
                <a:gd name="T88" fmla="*/ 402 w 2076"/>
                <a:gd name="T89" fmla="*/ 1439 h 3303"/>
                <a:gd name="T90" fmla="*/ 438 w 2076"/>
                <a:gd name="T91" fmla="*/ 1393 h 3303"/>
                <a:gd name="T92" fmla="*/ 786 w 2076"/>
                <a:gd name="T93" fmla="*/ 906 h 3303"/>
                <a:gd name="T94" fmla="*/ 845 w 2076"/>
                <a:gd name="T95" fmla="*/ 660 h 3303"/>
                <a:gd name="T96" fmla="*/ 846 w 2076"/>
                <a:gd name="T97" fmla="*/ 437 h 3303"/>
                <a:gd name="T98" fmla="*/ 812 w 2076"/>
                <a:gd name="T99" fmla="*/ 252 h 3303"/>
                <a:gd name="T100" fmla="*/ 767 w 2076"/>
                <a:gd name="T101" fmla="*/ 116 h 3303"/>
                <a:gd name="T102" fmla="*/ 733 w 2076"/>
                <a:gd name="T103" fmla="*/ 42 h 3303"/>
                <a:gd name="T104" fmla="*/ 747 w 2076"/>
                <a:gd name="T105" fmla="*/ 10 h 3303"/>
                <a:gd name="T106" fmla="*/ 805 w 2076"/>
                <a:gd name="T107" fmla="*/ 9 h 3303"/>
                <a:gd name="T108" fmla="*/ 870 w 2076"/>
                <a:gd name="T109" fmla="*/ 40 h 3303"/>
                <a:gd name="T110" fmla="*/ 919 w 2076"/>
                <a:gd name="T111" fmla="*/ 74 h 3303"/>
                <a:gd name="T112" fmla="*/ 945 w 2076"/>
                <a:gd name="T113" fmla="*/ 61 h 3303"/>
                <a:gd name="T114" fmla="*/ 1007 w 2076"/>
                <a:gd name="T115" fmla="*/ 12 h 3303"/>
                <a:gd name="T116" fmla="*/ 1071 w 2076"/>
                <a:gd name="T117" fmla="*/ 20 h 3303"/>
                <a:gd name="T118" fmla="*/ 1125 w 2076"/>
                <a:gd name="T119" fmla="*/ 53 h 3303"/>
                <a:gd name="T120" fmla="*/ 1153 w 2076"/>
                <a:gd name="T121" fmla="*/ 79 h 3303"/>
                <a:gd name="T122" fmla="*/ 1228 w 2076"/>
                <a:gd name="T123" fmla="*/ 24 h 3303"/>
                <a:gd name="T124" fmla="*/ 1293 w 2076"/>
                <a:gd name="T125" fmla="*/ 0 h 3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6" h="3303">
                  <a:moveTo>
                    <a:pt x="1293" y="0"/>
                  </a:moveTo>
                  <a:lnTo>
                    <a:pt x="1305" y="1"/>
                  </a:lnTo>
                  <a:lnTo>
                    <a:pt x="1314" y="3"/>
                  </a:lnTo>
                  <a:lnTo>
                    <a:pt x="1322" y="6"/>
                  </a:lnTo>
                  <a:lnTo>
                    <a:pt x="1328" y="11"/>
                  </a:lnTo>
                  <a:lnTo>
                    <a:pt x="1333" y="15"/>
                  </a:lnTo>
                  <a:lnTo>
                    <a:pt x="1337" y="20"/>
                  </a:lnTo>
                  <a:lnTo>
                    <a:pt x="1340" y="25"/>
                  </a:lnTo>
                  <a:lnTo>
                    <a:pt x="1342" y="28"/>
                  </a:lnTo>
                  <a:lnTo>
                    <a:pt x="1343" y="31"/>
                  </a:lnTo>
                  <a:lnTo>
                    <a:pt x="1343" y="32"/>
                  </a:lnTo>
                  <a:lnTo>
                    <a:pt x="1307" y="101"/>
                  </a:lnTo>
                  <a:lnTo>
                    <a:pt x="1278" y="168"/>
                  </a:lnTo>
                  <a:lnTo>
                    <a:pt x="1254" y="234"/>
                  </a:lnTo>
                  <a:lnTo>
                    <a:pt x="1234" y="299"/>
                  </a:lnTo>
                  <a:lnTo>
                    <a:pt x="1220" y="361"/>
                  </a:lnTo>
                  <a:lnTo>
                    <a:pt x="1210" y="421"/>
                  </a:lnTo>
                  <a:lnTo>
                    <a:pt x="1204" y="479"/>
                  </a:lnTo>
                  <a:lnTo>
                    <a:pt x="1202" y="536"/>
                  </a:lnTo>
                  <a:lnTo>
                    <a:pt x="1204" y="590"/>
                  </a:lnTo>
                  <a:lnTo>
                    <a:pt x="1208" y="641"/>
                  </a:lnTo>
                  <a:lnTo>
                    <a:pt x="1214" y="690"/>
                  </a:lnTo>
                  <a:lnTo>
                    <a:pt x="1223" y="737"/>
                  </a:lnTo>
                  <a:lnTo>
                    <a:pt x="1233" y="780"/>
                  </a:lnTo>
                  <a:lnTo>
                    <a:pt x="1245" y="820"/>
                  </a:lnTo>
                  <a:lnTo>
                    <a:pt x="1257" y="856"/>
                  </a:lnTo>
                  <a:lnTo>
                    <a:pt x="1270" y="890"/>
                  </a:lnTo>
                  <a:lnTo>
                    <a:pt x="1283" y="921"/>
                  </a:lnTo>
                  <a:lnTo>
                    <a:pt x="1295" y="948"/>
                  </a:lnTo>
                  <a:lnTo>
                    <a:pt x="1306" y="970"/>
                  </a:lnTo>
                  <a:lnTo>
                    <a:pt x="1317" y="989"/>
                  </a:lnTo>
                  <a:lnTo>
                    <a:pt x="1325" y="1004"/>
                  </a:lnTo>
                  <a:lnTo>
                    <a:pt x="1332" y="1015"/>
                  </a:lnTo>
                  <a:lnTo>
                    <a:pt x="1336" y="1022"/>
                  </a:lnTo>
                  <a:lnTo>
                    <a:pt x="1338" y="1024"/>
                  </a:lnTo>
                  <a:lnTo>
                    <a:pt x="1340" y="1030"/>
                  </a:lnTo>
                  <a:lnTo>
                    <a:pt x="1346" y="1039"/>
                  </a:lnTo>
                  <a:lnTo>
                    <a:pt x="1354" y="1052"/>
                  </a:lnTo>
                  <a:lnTo>
                    <a:pt x="1365" y="1067"/>
                  </a:lnTo>
                  <a:lnTo>
                    <a:pt x="1380" y="1085"/>
                  </a:lnTo>
                  <a:lnTo>
                    <a:pt x="1396" y="1106"/>
                  </a:lnTo>
                  <a:lnTo>
                    <a:pt x="1414" y="1129"/>
                  </a:lnTo>
                  <a:lnTo>
                    <a:pt x="1433" y="1153"/>
                  </a:lnTo>
                  <a:lnTo>
                    <a:pt x="1454" y="1178"/>
                  </a:lnTo>
                  <a:lnTo>
                    <a:pt x="1476" y="1205"/>
                  </a:lnTo>
                  <a:lnTo>
                    <a:pt x="1499" y="1232"/>
                  </a:lnTo>
                  <a:lnTo>
                    <a:pt x="1523" y="1260"/>
                  </a:lnTo>
                  <a:lnTo>
                    <a:pt x="1547" y="1288"/>
                  </a:lnTo>
                  <a:lnTo>
                    <a:pt x="1571" y="1316"/>
                  </a:lnTo>
                  <a:lnTo>
                    <a:pt x="1595" y="1345"/>
                  </a:lnTo>
                  <a:lnTo>
                    <a:pt x="1618" y="1372"/>
                  </a:lnTo>
                  <a:lnTo>
                    <a:pt x="1642" y="1399"/>
                  </a:lnTo>
                  <a:lnTo>
                    <a:pt x="1664" y="1424"/>
                  </a:lnTo>
                  <a:lnTo>
                    <a:pt x="1685" y="1448"/>
                  </a:lnTo>
                  <a:lnTo>
                    <a:pt x="1704" y="1470"/>
                  </a:lnTo>
                  <a:lnTo>
                    <a:pt x="1721" y="1490"/>
                  </a:lnTo>
                  <a:lnTo>
                    <a:pt x="1737" y="1508"/>
                  </a:lnTo>
                  <a:lnTo>
                    <a:pt x="1750" y="1523"/>
                  </a:lnTo>
                  <a:lnTo>
                    <a:pt x="1761" y="1535"/>
                  </a:lnTo>
                  <a:lnTo>
                    <a:pt x="1770" y="1545"/>
                  </a:lnTo>
                  <a:lnTo>
                    <a:pt x="1775" y="1551"/>
                  </a:lnTo>
                  <a:lnTo>
                    <a:pt x="1776" y="1553"/>
                  </a:lnTo>
                  <a:lnTo>
                    <a:pt x="1829" y="1619"/>
                  </a:lnTo>
                  <a:lnTo>
                    <a:pt x="1875" y="1684"/>
                  </a:lnTo>
                  <a:lnTo>
                    <a:pt x="1917" y="1750"/>
                  </a:lnTo>
                  <a:lnTo>
                    <a:pt x="1952" y="1814"/>
                  </a:lnTo>
                  <a:lnTo>
                    <a:pt x="1981" y="1877"/>
                  </a:lnTo>
                  <a:lnTo>
                    <a:pt x="2006" y="1939"/>
                  </a:lnTo>
                  <a:lnTo>
                    <a:pt x="2026" y="2000"/>
                  </a:lnTo>
                  <a:lnTo>
                    <a:pt x="2044" y="2059"/>
                  </a:lnTo>
                  <a:lnTo>
                    <a:pt x="2056" y="2115"/>
                  </a:lnTo>
                  <a:lnTo>
                    <a:pt x="2065" y="2170"/>
                  </a:lnTo>
                  <a:lnTo>
                    <a:pt x="2071" y="2222"/>
                  </a:lnTo>
                  <a:lnTo>
                    <a:pt x="2075" y="2271"/>
                  </a:lnTo>
                  <a:lnTo>
                    <a:pt x="2076" y="2317"/>
                  </a:lnTo>
                  <a:lnTo>
                    <a:pt x="2076" y="2360"/>
                  </a:lnTo>
                  <a:lnTo>
                    <a:pt x="2074" y="2400"/>
                  </a:lnTo>
                  <a:lnTo>
                    <a:pt x="2070" y="2436"/>
                  </a:lnTo>
                  <a:lnTo>
                    <a:pt x="2066" y="2467"/>
                  </a:lnTo>
                  <a:lnTo>
                    <a:pt x="2062" y="2495"/>
                  </a:lnTo>
                  <a:lnTo>
                    <a:pt x="2057" y="2518"/>
                  </a:lnTo>
                  <a:lnTo>
                    <a:pt x="2053" y="2536"/>
                  </a:lnTo>
                  <a:lnTo>
                    <a:pt x="2050" y="2549"/>
                  </a:lnTo>
                  <a:lnTo>
                    <a:pt x="2048" y="2558"/>
                  </a:lnTo>
                  <a:lnTo>
                    <a:pt x="2047" y="2560"/>
                  </a:lnTo>
                  <a:lnTo>
                    <a:pt x="2028" y="2623"/>
                  </a:lnTo>
                  <a:lnTo>
                    <a:pt x="2005" y="2682"/>
                  </a:lnTo>
                  <a:lnTo>
                    <a:pt x="1980" y="2738"/>
                  </a:lnTo>
                  <a:lnTo>
                    <a:pt x="1951" y="2791"/>
                  </a:lnTo>
                  <a:lnTo>
                    <a:pt x="1919" y="2840"/>
                  </a:lnTo>
                  <a:lnTo>
                    <a:pt x="1885" y="2886"/>
                  </a:lnTo>
                  <a:lnTo>
                    <a:pt x="1849" y="2929"/>
                  </a:lnTo>
                  <a:lnTo>
                    <a:pt x="1811" y="2969"/>
                  </a:lnTo>
                  <a:lnTo>
                    <a:pt x="1773" y="3008"/>
                  </a:lnTo>
                  <a:lnTo>
                    <a:pt x="1733" y="3042"/>
                  </a:lnTo>
                  <a:lnTo>
                    <a:pt x="1693" y="3074"/>
                  </a:lnTo>
                  <a:lnTo>
                    <a:pt x="1653" y="3103"/>
                  </a:lnTo>
                  <a:lnTo>
                    <a:pt x="1613" y="3130"/>
                  </a:lnTo>
                  <a:lnTo>
                    <a:pt x="1575" y="3154"/>
                  </a:lnTo>
                  <a:lnTo>
                    <a:pt x="1538" y="3175"/>
                  </a:lnTo>
                  <a:lnTo>
                    <a:pt x="1502" y="3195"/>
                  </a:lnTo>
                  <a:lnTo>
                    <a:pt x="1468" y="3212"/>
                  </a:lnTo>
                  <a:lnTo>
                    <a:pt x="1437" y="3227"/>
                  </a:lnTo>
                  <a:lnTo>
                    <a:pt x="1409" y="3240"/>
                  </a:lnTo>
                  <a:lnTo>
                    <a:pt x="1385" y="3250"/>
                  </a:lnTo>
                  <a:lnTo>
                    <a:pt x="1362" y="3258"/>
                  </a:lnTo>
                  <a:lnTo>
                    <a:pt x="1345" y="3265"/>
                  </a:lnTo>
                  <a:lnTo>
                    <a:pt x="1332" y="3269"/>
                  </a:lnTo>
                  <a:lnTo>
                    <a:pt x="1324" y="3272"/>
                  </a:lnTo>
                  <a:lnTo>
                    <a:pt x="1322" y="3273"/>
                  </a:lnTo>
                  <a:lnTo>
                    <a:pt x="1247" y="3287"/>
                  </a:lnTo>
                  <a:lnTo>
                    <a:pt x="1174" y="3297"/>
                  </a:lnTo>
                  <a:lnTo>
                    <a:pt x="1103" y="3302"/>
                  </a:lnTo>
                  <a:lnTo>
                    <a:pt x="1036" y="3303"/>
                  </a:lnTo>
                  <a:lnTo>
                    <a:pt x="970" y="3300"/>
                  </a:lnTo>
                  <a:lnTo>
                    <a:pt x="908" y="3293"/>
                  </a:lnTo>
                  <a:lnTo>
                    <a:pt x="847" y="3283"/>
                  </a:lnTo>
                  <a:lnTo>
                    <a:pt x="789" y="3270"/>
                  </a:lnTo>
                  <a:lnTo>
                    <a:pt x="735" y="3255"/>
                  </a:lnTo>
                  <a:lnTo>
                    <a:pt x="682" y="3237"/>
                  </a:lnTo>
                  <a:lnTo>
                    <a:pt x="633" y="3218"/>
                  </a:lnTo>
                  <a:lnTo>
                    <a:pt x="585" y="3197"/>
                  </a:lnTo>
                  <a:lnTo>
                    <a:pt x="542" y="3175"/>
                  </a:lnTo>
                  <a:lnTo>
                    <a:pt x="501" y="3153"/>
                  </a:lnTo>
                  <a:lnTo>
                    <a:pt x="463" y="3130"/>
                  </a:lnTo>
                  <a:lnTo>
                    <a:pt x="428" y="3108"/>
                  </a:lnTo>
                  <a:lnTo>
                    <a:pt x="396" y="3086"/>
                  </a:lnTo>
                  <a:lnTo>
                    <a:pt x="368" y="3064"/>
                  </a:lnTo>
                  <a:lnTo>
                    <a:pt x="342" y="3044"/>
                  </a:lnTo>
                  <a:lnTo>
                    <a:pt x="319" y="3026"/>
                  </a:lnTo>
                  <a:lnTo>
                    <a:pt x="300" y="3009"/>
                  </a:lnTo>
                  <a:lnTo>
                    <a:pt x="285" y="2994"/>
                  </a:lnTo>
                  <a:lnTo>
                    <a:pt x="272" y="2981"/>
                  </a:lnTo>
                  <a:lnTo>
                    <a:pt x="264" y="2972"/>
                  </a:lnTo>
                  <a:lnTo>
                    <a:pt x="258" y="2967"/>
                  </a:lnTo>
                  <a:lnTo>
                    <a:pt x="257" y="2965"/>
                  </a:lnTo>
                  <a:lnTo>
                    <a:pt x="209" y="2909"/>
                  </a:lnTo>
                  <a:lnTo>
                    <a:pt x="166" y="2852"/>
                  </a:lnTo>
                  <a:lnTo>
                    <a:pt x="130" y="2794"/>
                  </a:lnTo>
                  <a:lnTo>
                    <a:pt x="99" y="2735"/>
                  </a:lnTo>
                  <a:lnTo>
                    <a:pt x="73" y="2677"/>
                  </a:lnTo>
                  <a:lnTo>
                    <a:pt x="51" y="2620"/>
                  </a:lnTo>
                  <a:lnTo>
                    <a:pt x="34" y="2562"/>
                  </a:lnTo>
                  <a:lnTo>
                    <a:pt x="20" y="2506"/>
                  </a:lnTo>
                  <a:lnTo>
                    <a:pt x="11" y="2451"/>
                  </a:lnTo>
                  <a:lnTo>
                    <a:pt x="4" y="2398"/>
                  </a:lnTo>
                  <a:lnTo>
                    <a:pt x="1" y="2345"/>
                  </a:lnTo>
                  <a:lnTo>
                    <a:pt x="0" y="2296"/>
                  </a:lnTo>
                  <a:lnTo>
                    <a:pt x="0" y="2296"/>
                  </a:lnTo>
                  <a:lnTo>
                    <a:pt x="1" y="2248"/>
                  </a:lnTo>
                  <a:lnTo>
                    <a:pt x="3" y="2204"/>
                  </a:lnTo>
                  <a:lnTo>
                    <a:pt x="8" y="2161"/>
                  </a:lnTo>
                  <a:lnTo>
                    <a:pt x="13" y="2123"/>
                  </a:lnTo>
                  <a:lnTo>
                    <a:pt x="19" y="2087"/>
                  </a:lnTo>
                  <a:lnTo>
                    <a:pt x="25" y="2056"/>
                  </a:lnTo>
                  <a:lnTo>
                    <a:pt x="32" y="2029"/>
                  </a:lnTo>
                  <a:lnTo>
                    <a:pt x="37" y="2006"/>
                  </a:lnTo>
                  <a:lnTo>
                    <a:pt x="43" y="1987"/>
                  </a:lnTo>
                  <a:lnTo>
                    <a:pt x="47" y="1974"/>
                  </a:lnTo>
                  <a:lnTo>
                    <a:pt x="50" y="1966"/>
                  </a:lnTo>
                  <a:lnTo>
                    <a:pt x="51" y="1963"/>
                  </a:lnTo>
                  <a:lnTo>
                    <a:pt x="58" y="1941"/>
                  </a:lnTo>
                  <a:lnTo>
                    <a:pt x="69" y="1918"/>
                  </a:lnTo>
                  <a:lnTo>
                    <a:pt x="82" y="1893"/>
                  </a:lnTo>
                  <a:lnTo>
                    <a:pt x="97" y="1866"/>
                  </a:lnTo>
                  <a:lnTo>
                    <a:pt x="114" y="1837"/>
                  </a:lnTo>
                  <a:lnTo>
                    <a:pt x="132" y="1807"/>
                  </a:lnTo>
                  <a:lnTo>
                    <a:pt x="152" y="1776"/>
                  </a:lnTo>
                  <a:lnTo>
                    <a:pt x="173" y="1744"/>
                  </a:lnTo>
                  <a:lnTo>
                    <a:pt x="195" y="1712"/>
                  </a:lnTo>
                  <a:lnTo>
                    <a:pt x="219" y="1681"/>
                  </a:lnTo>
                  <a:lnTo>
                    <a:pt x="241" y="1649"/>
                  </a:lnTo>
                  <a:lnTo>
                    <a:pt x="264" y="1618"/>
                  </a:lnTo>
                  <a:lnTo>
                    <a:pt x="286" y="1588"/>
                  </a:lnTo>
                  <a:lnTo>
                    <a:pt x="308" y="1559"/>
                  </a:lnTo>
                  <a:lnTo>
                    <a:pt x="331" y="1530"/>
                  </a:lnTo>
                  <a:lnTo>
                    <a:pt x="351" y="1504"/>
                  </a:lnTo>
                  <a:lnTo>
                    <a:pt x="369" y="1480"/>
                  </a:lnTo>
                  <a:lnTo>
                    <a:pt x="386" y="1458"/>
                  </a:lnTo>
                  <a:lnTo>
                    <a:pt x="402" y="1439"/>
                  </a:lnTo>
                  <a:lnTo>
                    <a:pt x="415" y="1422"/>
                  </a:lnTo>
                  <a:lnTo>
                    <a:pt x="425" y="1409"/>
                  </a:lnTo>
                  <a:lnTo>
                    <a:pt x="433" y="1399"/>
                  </a:lnTo>
                  <a:lnTo>
                    <a:pt x="438" y="1393"/>
                  </a:lnTo>
                  <a:lnTo>
                    <a:pt x="440" y="1391"/>
                  </a:lnTo>
                  <a:lnTo>
                    <a:pt x="727" y="1035"/>
                  </a:lnTo>
                  <a:lnTo>
                    <a:pt x="759" y="971"/>
                  </a:lnTo>
                  <a:lnTo>
                    <a:pt x="786" y="906"/>
                  </a:lnTo>
                  <a:lnTo>
                    <a:pt x="808" y="843"/>
                  </a:lnTo>
                  <a:lnTo>
                    <a:pt x="824" y="781"/>
                  </a:lnTo>
                  <a:lnTo>
                    <a:pt x="837" y="720"/>
                  </a:lnTo>
                  <a:lnTo>
                    <a:pt x="845" y="660"/>
                  </a:lnTo>
                  <a:lnTo>
                    <a:pt x="851" y="601"/>
                  </a:lnTo>
                  <a:lnTo>
                    <a:pt x="852" y="545"/>
                  </a:lnTo>
                  <a:lnTo>
                    <a:pt x="851" y="490"/>
                  </a:lnTo>
                  <a:lnTo>
                    <a:pt x="846" y="437"/>
                  </a:lnTo>
                  <a:lnTo>
                    <a:pt x="840" y="387"/>
                  </a:lnTo>
                  <a:lnTo>
                    <a:pt x="832" y="340"/>
                  </a:lnTo>
                  <a:lnTo>
                    <a:pt x="823" y="294"/>
                  </a:lnTo>
                  <a:lnTo>
                    <a:pt x="812" y="252"/>
                  </a:lnTo>
                  <a:lnTo>
                    <a:pt x="801" y="213"/>
                  </a:lnTo>
                  <a:lnTo>
                    <a:pt x="789" y="177"/>
                  </a:lnTo>
                  <a:lnTo>
                    <a:pt x="778" y="145"/>
                  </a:lnTo>
                  <a:lnTo>
                    <a:pt x="767" y="116"/>
                  </a:lnTo>
                  <a:lnTo>
                    <a:pt x="756" y="92"/>
                  </a:lnTo>
                  <a:lnTo>
                    <a:pt x="747" y="70"/>
                  </a:lnTo>
                  <a:lnTo>
                    <a:pt x="739" y="54"/>
                  </a:lnTo>
                  <a:lnTo>
                    <a:pt x="733" y="42"/>
                  </a:lnTo>
                  <a:lnTo>
                    <a:pt x="729" y="34"/>
                  </a:lnTo>
                  <a:lnTo>
                    <a:pt x="727" y="32"/>
                  </a:lnTo>
                  <a:lnTo>
                    <a:pt x="736" y="19"/>
                  </a:lnTo>
                  <a:lnTo>
                    <a:pt x="747" y="10"/>
                  </a:lnTo>
                  <a:lnTo>
                    <a:pt x="760" y="5"/>
                  </a:lnTo>
                  <a:lnTo>
                    <a:pt x="774" y="4"/>
                  </a:lnTo>
                  <a:lnTo>
                    <a:pt x="789" y="5"/>
                  </a:lnTo>
                  <a:lnTo>
                    <a:pt x="805" y="9"/>
                  </a:lnTo>
                  <a:lnTo>
                    <a:pt x="821" y="15"/>
                  </a:lnTo>
                  <a:lnTo>
                    <a:pt x="837" y="22"/>
                  </a:lnTo>
                  <a:lnTo>
                    <a:pt x="854" y="31"/>
                  </a:lnTo>
                  <a:lnTo>
                    <a:pt x="870" y="40"/>
                  </a:lnTo>
                  <a:lnTo>
                    <a:pt x="884" y="49"/>
                  </a:lnTo>
                  <a:lnTo>
                    <a:pt x="898" y="58"/>
                  </a:lnTo>
                  <a:lnTo>
                    <a:pt x="909" y="67"/>
                  </a:lnTo>
                  <a:lnTo>
                    <a:pt x="919" y="74"/>
                  </a:lnTo>
                  <a:lnTo>
                    <a:pt x="926" y="80"/>
                  </a:lnTo>
                  <a:lnTo>
                    <a:pt x="931" y="84"/>
                  </a:lnTo>
                  <a:lnTo>
                    <a:pt x="932" y="85"/>
                  </a:lnTo>
                  <a:lnTo>
                    <a:pt x="945" y="61"/>
                  </a:lnTo>
                  <a:lnTo>
                    <a:pt x="960" y="41"/>
                  </a:lnTo>
                  <a:lnTo>
                    <a:pt x="975" y="27"/>
                  </a:lnTo>
                  <a:lnTo>
                    <a:pt x="991" y="18"/>
                  </a:lnTo>
                  <a:lnTo>
                    <a:pt x="1007" y="12"/>
                  </a:lnTo>
                  <a:lnTo>
                    <a:pt x="1024" y="10"/>
                  </a:lnTo>
                  <a:lnTo>
                    <a:pt x="1040" y="11"/>
                  </a:lnTo>
                  <a:lnTo>
                    <a:pt x="1056" y="15"/>
                  </a:lnTo>
                  <a:lnTo>
                    <a:pt x="1071" y="20"/>
                  </a:lnTo>
                  <a:lnTo>
                    <a:pt x="1086" y="28"/>
                  </a:lnTo>
                  <a:lnTo>
                    <a:pt x="1100" y="36"/>
                  </a:lnTo>
                  <a:lnTo>
                    <a:pt x="1114" y="44"/>
                  </a:lnTo>
                  <a:lnTo>
                    <a:pt x="1125" y="53"/>
                  </a:lnTo>
                  <a:lnTo>
                    <a:pt x="1135" y="62"/>
                  </a:lnTo>
                  <a:lnTo>
                    <a:pt x="1143" y="69"/>
                  </a:lnTo>
                  <a:lnTo>
                    <a:pt x="1149" y="75"/>
                  </a:lnTo>
                  <a:lnTo>
                    <a:pt x="1153" y="79"/>
                  </a:lnTo>
                  <a:lnTo>
                    <a:pt x="1154" y="80"/>
                  </a:lnTo>
                  <a:lnTo>
                    <a:pt x="1181" y="57"/>
                  </a:lnTo>
                  <a:lnTo>
                    <a:pt x="1206" y="38"/>
                  </a:lnTo>
                  <a:lnTo>
                    <a:pt x="1228" y="24"/>
                  </a:lnTo>
                  <a:lnTo>
                    <a:pt x="1248" y="13"/>
                  </a:lnTo>
                  <a:lnTo>
                    <a:pt x="1265" y="6"/>
                  </a:lnTo>
                  <a:lnTo>
                    <a:pt x="1280" y="2"/>
                  </a:lnTo>
                  <a:lnTo>
                    <a:pt x="129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197">
              <a:extLst>
                <a:ext uri="{FF2B5EF4-FFF2-40B4-BE49-F238E27FC236}">
                  <a16:creationId xmlns:a16="http://schemas.microsoft.com/office/drawing/2014/main" id="{1D8C67C9-EB03-B345-8612-489D03C4B390}"/>
                </a:ext>
              </a:extLst>
            </p:cNvPr>
            <p:cNvSpPr>
              <a:spLocks noEditPoints="1"/>
            </p:cNvSpPr>
            <p:nvPr/>
          </p:nvSpPr>
          <p:spPr bwMode="auto">
            <a:xfrm>
              <a:off x="5330825" y="5197475"/>
              <a:ext cx="452438" cy="1025525"/>
            </a:xfrm>
            <a:custGeom>
              <a:avLst/>
              <a:gdLst>
                <a:gd name="T0" fmla="*/ 115 w 1141"/>
                <a:gd name="T1" fmla="*/ 2582 h 2582"/>
                <a:gd name="T2" fmla="*/ 32 w 1141"/>
                <a:gd name="T3" fmla="*/ 2579 h 2582"/>
                <a:gd name="T4" fmla="*/ 721 w 1141"/>
                <a:gd name="T5" fmla="*/ 2381 h 2582"/>
                <a:gd name="T6" fmla="*/ 538 w 1141"/>
                <a:gd name="T7" fmla="*/ 2489 h 2582"/>
                <a:gd name="T8" fmla="*/ 678 w 1141"/>
                <a:gd name="T9" fmla="*/ 2408 h 2582"/>
                <a:gd name="T10" fmla="*/ 1134 w 1141"/>
                <a:gd name="T11" fmla="*/ 1491 h 2582"/>
                <a:gd name="T12" fmla="*/ 1138 w 1141"/>
                <a:gd name="T13" fmla="*/ 1690 h 2582"/>
                <a:gd name="T14" fmla="*/ 1109 w 1141"/>
                <a:gd name="T15" fmla="*/ 1860 h 2582"/>
                <a:gd name="T16" fmla="*/ 1054 w 1141"/>
                <a:gd name="T17" fmla="*/ 2004 h 2582"/>
                <a:gd name="T18" fmla="*/ 987 w 1141"/>
                <a:gd name="T19" fmla="*/ 2121 h 2582"/>
                <a:gd name="T20" fmla="*/ 916 w 1141"/>
                <a:gd name="T21" fmla="*/ 2212 h 2582"/>
                <a:gd name="T22" fmla="*/ 852 w 1141"/>
                <a:gd name="T23" fmla="*/ 2278 h 2582"/>
                <a:gd name="T24" fmla="*/ 803 w 1141"/>
                <a:gd name="T25" fmla="*/ 2318 h 2582"/>
                <a:gd name="T26" fmla="*/ 781 w 1141"/>
                <a:gd name="T27" fmla="*/ 2334 h 2582"/>
                <a:gd name="T28" fmla="*/ 856 w 1141"/>
                <a:gd name="T29" fmla="*/ 2267 h 2582"/>
                <a:gd name="T30" fmla="*/ 961 w 1141"/>
                <a:gd name="T31" fmla="*/ 2150 h 2582"/>
                <a:gd name="T32" fmla="*/ 1048 w 1141"/>
                <a:gd name="T33" fmla="*/ 2008 h 2582"/>
                <a:gd name="T34" fmla="*/ 1111 w 1141"/>
                <a:gd name="T35" fmla="*/ 1839 h 2582"/>
                <a:gd name="T36" fmla="*/ 1117 w 1141"/>
                <a:gd name="T37" fmla="*/ 1814 h 2582"/>
                <a:gd name="T38" fmla="*/ 1131 w 1141"/>
                <a:gd name="T39" fmla="*/ 1743 h 2582"/>
                <a:gd name="T40" fmla="*/ 1140 w 1141"/>
                <a:gd name="T41" fmla="*/ 1633 h 2582"/>
                <a:gd name="T42" fmla="*/ 1134 w 1141"/>
                <a:gd name="T43" fmla="*/ 1491 h 2582"/>
                <a:gd name="T44" fmla="*/ 948 w 1141"/>
                <a:gd name="T45" fmla="*/ 974 h 2582"/>
                <a:gd name="T46" fmla="*/ 970 w 1141"/>
                <a:gd name="T47" fmla="*/ 1010 h 2582"/>
                <a:gd name="T48" fmla="*/ 669 w 1141"/>
                <a:gd name="T49" fmla="*/ 636 h 2582"/>
                <a:gd name="T50" fmla="*/ 679 w 1141"/>
                <a:gd name="T51" fmla="*/ 647 h 2582"/>
                <a:gd name="T52" fmla="*/ 682 w 1141"/>
                <a:gd name="T53" fmla="*/ 651 h 2582"/>
                <a:gd name="T54" fmla="*/ 740 w 1141"/>
                <a:gd name="T55" fmla="*/ 716 h 2582"/>
                <a:gd name="T56" fmla="*/ 818 w 1141"/>
                <a:gd name="T57" fmla="*/ 805 h 2582"/>
                <a:gd name="T58" fmla="*/ 839 w 1141"/>
                <a:gd name="T59" fmla="*/ 830 h 2582"/>
                <a:gd name="T60" fmla="*/ 816 w 1141"/>
                <a:gd name="T61" fmla="*/ 804 h 2582"/>
                <a:gd name="T62" fmla="*/ 772 w 1141"/>
                <a:gd name="T63" fmla="*/ 754 h 2582"/>
                <a:gd name="T64" fmla="*/ 714 w 1141"/>
                <a:gd name="T65" fmla="*/ 687 h 2582"/>
                <a:gd name="T66" fmla="*/ 304 w 1141"/>
                <a:gd name="T67" fmla="*/ 84 h 2582"/>
                <a:gd name="T68" fmla="*/ 369 w 1141"/>
                <a:gd name="T69" fmla="*/ 241 h 2582"/>
                <a:gd name="T70" fmla="*/ 461 w 1141"/>
                <a:gd name="T71" fmla="*/ 381 h 2582"/>
                <a:gd name="T72" fmla="*/ 559 w 1141"/>
                <a:gd name="T73" fmla="*/ 507 h 2582"/>
                <a:gd name="T74" fmla="*/ 495 w 1141"/>
                <a:gd name="T75" fmla="*/ 429 h 2582"/>
                <a:gd name="T76" fmla="*/ 443 w 1141"/>
                <a:gd name="T77" fmla="*/ 363 h 2582"/>
                <a:gd name="T78" fmla="*/ 409 w 1141"/>
                <a:gd name="T79" fmla="*/ 318 h 2582"/>
                <a:gd name="T80" fmla="*/ 400 w 1141"/>
                <a:gd name="T81" fmla="*/ 301 h 2582"/>
                <a:gd name="T82" fmla="*/ 383 w 1141"/>
                <a:gd name="T83" fmla="*/ 272 h 2582"/>
                <a:gd name="T84" fmla="*/ 352 w 1141"/>
                <a:gd name="T85" fmla="*/ 211 h 2582"/>
                <a:gd name="T86" fmla="*/ 316 w 1141"/>
                <a:gd name="T87" fmla="*/ 120 h 2582"/>
                <a:gd name="T88" fmla="*/ 285 w 1141"/>
                <a:gd name="T89" fmla="*/ 5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1" h="2582">
                  <a:moveTo>
                    <a:pt x="0" y="2575"/>
                  </a:moveTo>
                  <a:lnTo>
                    <a:pt x="57" y="2580"/>
                  </a:lnTo>
                  <a:lnTo>
                    <a:pt x="115" y="2582"/>
                  </a:lnTo>
                  <a:lnTo>
                    <a:pt x="108" y="2582"/>
                  </a:lnTo>
                  <a:lnTo>
                    <a:pt x="69" y="2581"/>
                  </a:lnTo>
                  <a:lnTo>
                    <a:pt x="32" y="2579"/>
                  </a:lnTo>
                  <a:lnTo>
                    <a:pt x="0" y="2575"/>
                  </a:lnTo>
                  <a:close/>
                  <a:moveTo>
                    <a:pt x="780" y="2334"/>
                  </a:moveTo>
                  <a:lnTo>
                    <a:pt x="721" y="2381"/>
                  </a:lnTo>
                  <a:lnTo>
                    <a:pt x="660" y="2422"/>
                  </a:lnTo>
                  <a:lnTo>
                    <a:pt x="600" y="2458"/>
                  </a:lnTo>
                  <a:lnTo>
                    <a:pt x="538" y="2489"/>
                  </a:lnTo>
                  <a:lnTo>
                    <a:pt x="583" y="2465"/>
                  </a:lnTo>
                  <a:lnTo>
                    <a:pt x="630" y="2438"/>
                  </a:lnTo>
                  <a:lnTo>
                    <a:pt x="678" y="2408"/>
                  </a:lnTo>
                  <a:lnTo>
                    <a:pt x="730" y="2373"/>
                  </a:lnTo>
                  <a:lnTo>
                    <a:pt x="780" y="2334"/>
                  </a:lnTo>
                  <a:close/>
                  <a:moveTo>
                    <a:pt x="1134" y="1491"/>
                  </a:moveTo>
                  <a:lnTo>
                    <a:pt x="1140" y="1560"/>
                  </a:lnTo>
                  <a:lnTo>
                    <a:pt x="1141" y="1626"/>
                  </a:lnTo>
                  <a:lnTo>
                    <a:pt x="1138" y="1690"/>
                  </a:lnTo>
                  <a:lnTo>
                    <a:pt x="1132" y="1749"/>
                  </a:lnTo>
                  <a:lnTo>
                    <a:pt x="1122" y="1806"/>
                  </a:lnTo>
                  <a:lnTo>
                    <a:pt x="1109" y="1860"/>
                  </a:lnTo>
                  <a:lnTo>
                    <a:pt x="1093" y="1911"/>
                  </a:lnTo>
                  <a:lnTo>
                    <a:pt x="1074" y="1959"/>
                  </a:lnTo>
                  <a:lnTo>
                    <a:pt x="1054" y="2004"/>
                  </a:lnTo>
                  <a:lnTo>
                    <a:pt x="1033" y="2045"/>
                  </a:lnTo>
                  <a:lnTo>
                    <a:pt x="1011" y="2085"/>
                  </a:lnTo>
                  <a:lnTo>
                    <a:pt x="987" y="2121"/>
                  </a:lnTo>
                  <a:lnTo>
                    <a:pt x="964" y="2154"/>
                  </a:lnTo>
                  <a:lnTo>
                    <a:pt x="939" y="2185"/>
                  </a:lnTo>
                  <a:lnTo>
                    <a:pt x="916" y="2212"/>
                  </a:lnTo>
                  <a:lnTo>
                    <a:pt x="893" y="2236"/>
                  </a:lnTo>
                  <a:lnTo>
                    <a:pt x="872" y="2258"/>
                  </a:lnTo>
                  <a:lnTo>
                    <a:pt x="852" y="2278"/>
                  </a:lnTo>
                  <a:lnTo>
                    <a:pt x="834" y="2294"/>
                  </a:lnTo>
                  <a:lnTo>
                    <a:pt x="816" y="2308"/>
                  </a:lnTo>
                  <a:lnTo>
                    <a:pt x="803" y="2318"/>
                  </a:lnTo>
                  <a:lnTo>
                    <a:pt x="792" y="2326"/>
                  </a:lnTo>
                  <a:lnTo>
                    <a:pt x="785" y="2331"/>
                  </a:lnTo>
                  <a:lnTo>
                    <a:pt x="781" y="2334"/>
                  </a:lnTo>
                  <a:lnTo>
                    <a:pt x="781" y="2334"/>
                  </a:lnTo>
                  <a:lnTo>
                    <a:pt x="818" y="2302"/>
                  </a:lnTo>
                  <a:lnTo>
                    <a:pt x="856" y="2267"/>
                  </a:lnTo>
                  <a:lnTo>
                    <a:pt x="892" y="2231"/>
                  </a:lnTo>
                  <a:lnTo>
                    <a:pt x="927" y="2192"/>
                  </a:lnTo>
                  <a:lnTo>
                    <a:pt x="961" y="2150"/>
                  </a:lnTo>
                  <a:lnTo>
                    <a:pt x="992" y="2106"/>
                  </a:lnTo>
                  <a:lnTo>
                    <a:pt x="1022" y="2058"/>
                  </a:lnTo>
                  <a:lnTo>
                    <a:pt x="1048" y="2008"/>
                  </a:lnTo>
                  <a:lnTo>
                    <a:pt x="1072" y="1955"/>
                  </a:lnTo>
                  <a:lnTo>
                    <a:pt x="1094" y="1899"/>
                  </a:lnTo>
                  <a:lnTo>
                    <a:pt x="1111" y="1839"/>
                  </a:lnTo>
                  <a:lnTo>
                    <a:pt x="1112" y="1836"/>
                  </a:lnTo>
                  <a:lnTo>
                    <a:pt x="1114" y="1828"/>
                  </a:lnTo>
                  <a:lnTo>
                    <a:pt x="1117" y="1814"/>
                  </a:lnTo>
                  <a:lnTo>
                    <a:pt x="1122" y="1795"/>
                  </a:lnTo>
                  <a:lnTo>
                    <a:pt x="1126" y="1772"/>
                  </a:lnTo>
                  <a:lnTo>
                    <a:pt x="1131" y="1743"/>
                  </a:lnTo>
                  <a:lnTo>
                    <a:pt x="1135" y="1711"/>
                  </a:lnTo>
                  <a:lnTo>
                    <a:pt x="1138" y="1674"/>
                  </a:lnTo>
                  <a:lnTo>
                    <a:pt x="1140" y="1633"/>
                  </a:lnTo>
                  <a:lnTo>
                    <a:pt x="1140" y="1589"/>
                  </a:lnTo>
                  <a:lnTo>
                    <a:pt x="1139" y="1542"/>
                  </a:lnTo>
                  <a:lnTo>
                    <a:pt x="1134" y="1491"/>
                  </a:lnTo>
                  <a:close/>
                  <a:moveTo>
                    <a:pt x="890" y="894"/>
                  </a:moveTo>
                  <a:lnTo>
                    <a:pt x="920" y="934"/>
                  </a:lnTo>
                  <a:lnTo>
                    <a:pt x="948" y="974"/>
                  </a:lnTo>
                  <a:lnTo>
                    <a:pt x="973" y="1014"/>
                  </a:lnTo>
                  <a:lnTo>
                    <a:pt x="1003" y="1068"/>
                  </a:lnTo>
                  <a:lnTo>
                    <a:pt x="970" y="1010"/>
                  </a:lnTo>
                  <a:lnTo>
                    <a:pt x="932" y="952"/>
                  </a:lnTo>
                  <a:lnTo>
                    <a:pt x="890" y="894"/>
                  </a:lnTo>
                  <a:close/>
                  <a:moveTo>
                    <a:pt x="669" y="636"/>
                  </a:moveTo>
                  <a:lnTo>
                    <a:pt x="673" y="640"/>
                  </a:lnTo>
                  <a:lnTo>
                    <a:pt x="676" y="644"/>
                  </a:lnTo>
                  <a:lnTo>
                    <a:pt x="679" y="647"/>
                  </a:lnTo>
                  <a:lnTo>
                    <a:pt x="681" y="649"/>
                  </a:lnTo>
                  <a:lnTo>
                    <a:pt x="682" y="650"/>
                  </a:lnTo>
                  <a:lnTo>
                    <a:pt x="682" y="651"/>
                  </a:lnTo>
                  <a:lnTo>
                    <a:pt x="699" y="669"/>
                  </a:lnTo>
                  <a:lnTo>
                    <a:pt x="718" y="691"/>
                  </a:lnTo>
                  <a:lnTo>
                    <a:pt x="740" y="716"/>
                  </a:lnTo>
                  <a:lnTo>
                    <a:pt x="765" y="744"/>
                  </a:lnTo>
                  <a:lnTo>
                    <a:pt x="791" y="774"/>
                  </a:lnTo>
                  <a:lnTo>
                    <a:pt x="818" y="805"/>
                  </a:lnTo>
                  <a:lnTo>
                    <a:pt x="847" y="839"/>
                  </a:lnTo>
                  <a:lnTo>
                    <a:pt x="840" y="832"/>
                  </a:lnTo>
                  <a:lnTo>
                    <a:pt x="839" y="830"/>
                  </a:lnTo>
                  <a:lnTo>
                    <a:pt x="834" y="825"/>
                  </a:lnTo>
                  <a:lnTo>
                    <a:pt x="826" y="815"/>
                  </a:lnTo>
                  <a:lnTo>
                    <a:pt x="816" y="804"/>
                  </a:lnTo>
                  <a:lnTo>
                    <a:pt x="803" y="790"/>
                  </a:lnTo>
                  <a:lnTo>
                    <a:pt x="789" y="773"/>
                  </a:lnTo>
                  <a:lnTo>
                    <a:pt x="772" y="754"/>
                  </a:lnTo>
                  <a:lnTo>
                    <a:pt x="754" y="733"/>
                  </a:lnTo>
                  <a:lnTo>
                    <a:pt x="735" y="711"/>
                  </a:lnTo>
                  <a:lnTo>
                    <a:pt x="714" y="687"/>
                  </a:lnTo>
                  <a:lnTo>
                    <a:pt x="691" y="662"/>
                  </a:lnTo>
                  <a:lnTo>
                    <a:pt x="669" y="636"/>
                  </a:lnTo>
                  <a:close/>
                  <a:moveTo>
                    <a:pt x="304" y="84"/>
                  </a:moveTo>
                  <a:lnTo>
                    <a:pt x="323" y="136"/>
                  </a:lnTo>
                  <a:lnTo>
                    <a:pt x="344" y="189"/>
                  </a:lnTo>
                  <a:lnTo>
                    <a:pt x="369" y="241"/>
                  </a:lnTo>
                  <a:lnTo>
                    <a:pt x="396" y="290"/>
                  </a:lnTo>
                  <a:lnTo>
                    <a:pt x="426" y="335"/>
                  </a:lnTo>
                  <a:lnTo>
                    <a:pt x="461" y="381"/>
                  </a:lnTo>
                  <a:lnTo>
                    <a:pt x="495" y="426"/>
                  </a:lnTo>
                  <a:lnTo>
                    <a:pt x="528" y="468"/>
                  </a:lnTo>
                  <a:lnTo>
                    <a:pt x="559" y="507"/>
                  </a:lnTo>
                  <a:lnTo>
                    <a:pt x="537" y="480"/>
                  </a:lnTo>
                  <a:lnTo>
                    <a:pt x="515" y="454"/>
                  </a:lnTo>
                  <a:lnTo>
                    <a:pt x="495" y="429"/>
                  </a:lnTo>
                  <a:lnTo>
                    <a:pt x="476" y="405"/>
                  </a:lnTo>
                  <a:lnTo>
                    <a:pt x="458" y="383"/>
                  </a:lnTo>
                  <a:lnTo>
                    <a:pt x="443" y="363"/>
                  </a:lnTo>
                  <a:lnTo>
                    <a:pt x="429" y="345"/>
                  </a:lnTo>
                  <a:lnTo>
                    <a:pt x="418" y="330"/>
                  </a:lnTo>
                  <a:lnTo>
                    <a:pt x="409" y="318"/>
                  </a:lnTo>
                  <a:lnTo>
                    <a:pt x="404" y="309"/>
                  </a:lnTo>
                  <a:lnTo>
                    <a:pt x="402" y="303"/>
                  </a:lnTo>
                  <a:lnTo>
                    <a:pt x="400" y="301"/>
                  </a:lnTo>
                  <a:lnTo>
                    <a:pt x="397" y="295"/>
                  </a:lnTo>
                  <a:lnTo>
                    <a:pt x="391" y="286"/>
                  </a:lnTo>
                  <a:lnTo>
                    <a:pt x="383" y="272"/>
                  </a:lnTo>
                  <a:lnTo>
                    <a:pt x="373" y="255"/>
                  </a:lnTo>
                  <a:lnTo>
                    <a:pt x="363" y="235"/>
                  </a:lnTo>
                  <a:lnTo>
                    <a:pt x="352" y="211"/>
                  </a:lnTo>
                  <a:lnTo>
                    <a:pt x="340" y="183"/>
                  </a:lnTo>
                  <a:lnTo>
                    <a:pt x="328" y="153"/>
                  </a:lnTo>
                  <a:lnTo>
                    <a:pt x="316" y="120"/>
                  </a:lnTo>
                  <a:lnTo>
                    <a:pt x="304" y="84"/>
                  </a:lnTo>
                  <a:close/>
                  <a:moveTo>
                    <a:pt x="283" y="0"/>
                  </a:moveTo>
                  <a:lnTo>
                    <a:pt x="285" y="5"/>
                  </a:lnTo>
                  <a:lnTo>
                    <a:pt x="289" y="27"/>
                  </a:lnTo>
                  <a:lnTo>
                    <a:pt x="283" y="0"/>
                  </a:lnTo>
                  <a:close/>
                </a:path>
              </a:pathLst>
            </a:custGeom>
            <a:solidFill>
              <a:srgbClr val="8FDAB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198">
              <a:extLst>
                <a:ext uri="{FF2B5EF4-FFF2-40B4-BE49-F238E27FC236}">
                  <a16:creationId xmlns:a16="http://schemas.microsoft.com/office/drawing/2014/main" id="{46543837-C8C8-D941-AE59-E6614E33E7C2}"/>
                </a:ext>
              </a:extLst>
            </p:cNvPr>
            <p:cNvSpPr>
              <a:spLocks/>
            </p:cNvSpPr>
            <p:nvPr/>
          </p:nvSpPr>
          <p:spPr bwMode="auto">
            <a:xfrm>
              <a:off x="5295900" y="5192713"/>
              <a:ext cx="487363" cy="1030287"/>
            </a:xfrm>
            <a:custGeom>
              <a:avLst/>
              <a:gdLst>
                <a:gd name="T0" fmla="*/ 372 w 1229"/>
                <a:gd name="T1" fmla="*/ 14 h 2596"/>
                <a:gd name="T2" fmla="*/ 405 w 1229"/>
                <a:gd name="T3" fmla="*/ 134 h 2596"/>
                <a:gd name="T4" fmla="*/ 452 w 1229"/>
                <a:gd name="T5" fmla="*/ 249 h 2596"/>
                <a:gd name="T6" fmla="*/ 486 w 1229"/>
                <a:gd name="T7" fmla="*/ 309 h 2596"/>
                <a:gd name="T8" fmla="*/ 498 w 1229"/>
                <a:gd name="T9" fmla="*/ 332 h 2596"/>
                <a:gd name="T10" fmla="*/ 547 w 1229"/>
                <a:gd name="T11" fmla="*/ 397 h 2596"/>
                <a:gd name="T12" fmla="*/ 626 w 1229"/>
                <a:gd name="T13" fmla="*/ 494 h 2596"/>
                <a:gd name="T14" fmla="*/ 714 w 1229"/>
                <a:gd name="T15" fmla="*/ 599 h 2596"/>
                <a:gd name="T16" fmla="*/ 780 w 1229"/>
                <a:gd name="T17" fmla="*/ 676 h 2596"/>
                <a:gd name="T18" fmla="*/ 861 w 1229"/>
                <a:gd name="T19" fmla="*/ 768 h 2596"/>
                <a:gd name="T20" fmla="*/ 915 w 1229"/>
                <a:gd name="T21" fmla="*/ 829 h 2596"/>
                <a:gd name="T22" fmla="*/ 936 w 1229"/>
                <a:gd name="T23" fmla="*/ 853 h 2596"/>
                <a:gd name="T24" fmla="*/ 1092 w 1229"/>
                <a:gd name="T25" fmla="*/ 1082 h 2596"/>
                <a:gd name="T26" fmla="*/ 1144 w 1229"/>
                <a:gd name="T27" fmla="*/ 1195 h 2596"/>
                <a:gd name="T28" fmla="*/ 1171 w 1229"/>
                <a:gd name="T29" fmla="*/ 1268 h 2596"/>
                <a:gd name="T30" fmla="*/ 1206 w 1229"/>
                <a:gd name="T31" fmla="*/ 1395 h 2596"/>
                <a:gd name="T32" fmla="*/ 1229 w 1229"/>
                <a:gd name="T33" fmla="*/ 1603 h 2596"/>
                <a:gd name="T34" fmla="*/ 1220 w 1229"/>
                <a:gd name="T35" fmla="*/ 1757 h 2596"/>
                <a:gd name="T36" fmla="*/ 1203 w 1229"/>
                <a:gd name="T37" fmla="*/ 1842 h 2596"/>
                <a:gd name="T38" fmla="*/ 1161 w 1229"/>
                <a:gd name="T39" fmla="*/ 1969 h 2596"/>
                <a:gd name="T40" fmla="*/ 1050 w 1229"/>
                <a:gd name="T41" fmla="*/ 2164 h 2596"/>
                <a:gd name="T42" fmla="*/ 907 w 1229"/>
                <a:gd name="T43" fmla="*/ 2316 h 2596"/>
                <a:gd name="T44" fmla="*/ 819 w 1229"/>
                <a:gd name="T45" fmla="*/ 2387 h 2596"/>
                <a:gd name="T46" fmla="*/ 627 w 1229"/>
                <a:gd name="T47" fmla="*/ 2503 h 2596"/>
                <a:gd name="T48" fmla="*/ 371 w 1229"/>
                <a:gd name="T49" fmla="*/ 2581 h 2596"/>
                <a:gd name="T50" fmla="*/ 146 w 1229"/>
                <a:gd name="T51" fmla="*/ 2594 h 2596"/>
                <a:gd name="T52" fmla="*/ 0 w 1229"/>
                <a:gd name="T53" fmla="*/ 2569 h 2596"/>
                <a:gd name="T54" fmla="*/ 316 w 1229"/>
                <a:gd name="T55" fmla="*/ 2527 h 2596"/>
                <a:gd name="T56" fmla="*/ 557 w 1229"/>
                <a:gd name="T57" fmla="*/ 2456 h 2596"/>
                <a:gd name="T58" fmla="*/ 732 w 1229"/>
                <a:gd name="T59" fmla="*/ 2371 h 2596"/>
                <a:gd name="T60" fmla="*/ 849 w 1229"/>
                <a:gd name="T61" fmla="*/ 2289 h 2596"/>
                <a:gd name="T62" fmla="*/ 915 w 1229"/>
                <a:gd name="T63" fmla="*/ 2222 h 2596"/>
                <a:gd name="T64" fmla="*/ 942 w 1229"/>
                <a:gd name="T65" fmla="*/ 2189 h 2596"/>
                <a:gd name="T66" fmla="*/ 1051 w 1229"/>
                <a:gd name="T67" fmla="*/ 2044 h 2596"/>
                <a:gd name="T68" fmla="*/ 1129 w 1229"/>
                <a:gd name="T69" fmla="*/ 1841 h 2596"/>
                <a:gd name="T70" fmla="*/ 1151 w 1229"/>
                <a:gd name="T71" fmla="*/ 1641 h 2596"/>
                <a:gd name="T72" fmla="*/ 1138 w 1229"/>
                <a:gd name="T73" fmla="*/ 1462 h 2596"/>
                <a:gd name="T74" fmla="*/ 1107 w 1229"/>
                <a:gd name="T75" fmla="*/ 1317 h 2596"/>
                <a:gd name="T76" fmla="*/ 1078 w 1229"/>
                <a:gd name="T77" fmla="*/ 1227 h 2596"/>
                <a:gd name="T78" fmla="*/ 1056 w 1229"/>
                <a:gd name="T79" fmla="*/ 1172 h 2596"/>
                <a:gd name="T80" fmla="*/ 978 w 1229"/>
                <a:gd name="T81" fmla="*/ 1034 h 2596"/>
                <a:gd name="T82" fmla="*/ 879 w 1229"/>
                <a:gd name="T83" fmla="*/ 892 h 2596"/>
                <a:gd name="T84" fmla="*/ 773 w 1229"/>
                <a:gd name="T85" fmla="*/ 756 h 2596"/>
                <a:gd name="T86" fmla="*/ 678 w 1229"/>
                <a:gd name="T87" fmla="*/ 644 h 2596"/>
                <a:gd name="T88" fmla="*/ 609 w 1229"/>
                <a:gd name="T89" fmla="*/ 566 h 2596"/>
                <a:gd name="T90" fmla="*/ 583 w 1229"/>
                <a:gd name="T91" fmla="*/ 537 h 2596"/>
                <a:gd name="T92" fmla="*/ 468 w 1229"/>
                <a:gd name="T93" fmla="*/ 350 h 2596"/>
                <a:gd name="T94" fmla="*/ 386 w 1229"/>
                <a:gd name="T95" fmla="*/ 175 h 2596"/>
                <a:gd name="T96" fmla="*/ 339 w 1229"/>
                <a:gd name="T97" fmla="*/ 49 h 2596"/>
                <a:gd name="T98" fmla="*/ 341 w 1229"/>
                <a:gd name="T99" fmla="*/ 4 h 2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9" h="2596">
                  <a:moveTo>
                    <a:pt x="353" y="0"/>
                  </a:moveTo>
                  <a:lnTo>
                    <a:pt x="361" y="2"/>
                  </a:lnTo>
                  <a:lnTo>
                    <a:pt x="368" y="7"/>
                  </a:lnTo>
                  <a:lnTo>
                    <a:pt x="372" y="14"/>
                  </a:lnTo>
                  <a:lnTo>
                    <a:pt x="378" y="41"/>
                  </a:lnTo>
                  <a:lnTo>
                    <a:pt x="385" y="69"/>
                  </a:lnTo>
                  <a:lnTo>
                    <a:pt x="393" y="98"/>
                  </a:lnTo>
                  <a:lnTo>
                    <a:pt x="405" y="134"/>
                  </a:lnTo>
                  <a:lnTo>
                    <a:pt x="417" y="167"/>
                  </a:lnTo>
                  <a:lnTo>
                    <a:pt x="429" y="197"/>
                  </a:lnTo>
                  <a:lnTo>
                    <a:pt x="441" y="225"/>
                  </a:lnTo>
                  <a:lnTo>
                    <a:pt x="452" y="249"/>
                  </a:lnTo>
                  <a:lnTo>
                    <a:pt x="462" y="269"/>
                  </a:lnTo>
                  <a:lnTo>
                    <a:pt x="472" y="286"/>
                  </a:lnTo>
                  <a:lnTo>
                    <a:pt x="480" y="300"/>
                  </a:lnTo>
                  <a:lnTo>
                    <a:pt x="486" y="309"/>
                  </a:lnTo>
                  <a:lnTo>
                    <a:pt x="489" y="315"/>
                  </a:lnTo>
                  <a:lnTo>
                    <a:pt x="491" y="317"/>
                  </a:lnTo>
                  <a:lnTo>
                    <a:pt x="493" y="323"/>
                  </a:lnTo>
                  <a:lnTo>
                    <a:pt x="498" y="332"/>
                  </a:lnTo>
                  <a:lnTo>
                    <a:pt x="507" y="344"/>
                  </a:lnTo>
                  <a:lnTo>
                    <a:pt x="518" y="359"/>
                  </a:lnTo>
                  <a:lnTo>
                    <a:pt x="532" y="377"/>
                  </a:lnTo>
                  <a:lnTo>
                    <a:pt x="547" y="397"/>
                  </a:lnTo>
                  <a:lnTo>
                    <a:pt x="565" y="419"/>
                  </a:lnTo>
                  <a:lnTo>
                    <a:pt x="584" y="443"/>
                  </a:lnTo>
                  <a:lnTo>
                    <a:pt x="604" y="468"/>
                  </a:lnTo>
                  <a:lnTo>
                    <a:pt x="626" y="494"/>
                  </a:lnTo>
                  <a:lnTo>
                    <a:pt x="648" y="521"/>
                  </a:lnTo>
                  <a:lnTo>
                    <a:pt x="673" y="549"/>
                  </a:lnTo>
                  <a:lnTo>
                    <a:pt x="695" y="575"/>
                  </a:lnTo>
                  <a:lnTo>
                    <a:pt x="714" y="599"/>
                  </a:lnTo>
                  <a:lnTo>
                    <a:pt x="732" y="619"/>
                  </a:lnTo>
                  <a:lnTo>
                    <a:pt x="747" y="637"/>
                  </a:lnTo>
                  <a:lnTo>
                    <a:pt x="758" y="650"/>
                  </a:lnTo>
                  <a:lnTo>
                    <a:pt x="780" y="676"/>
                  </a:lnTo>
                  <a:lnTo>
                    <a:pt x="803" y="701"/>
                  </a:lnTo>
                  <a:lnTo>
                    <a:pt x="824" y="725"/>
                  </a:lnTo>
                  <a:lnTo>
                    <a:pt x="843" y="747"/>
                  </a:lnTo>
                  <a:lnTo>
                    <a:pt x="861" y="768"/>
                  </a:lnTo>
                  <a:lnTo>
                    <a:pt x="878" y="787"/>
                  </a:lnTo>
                  <a:lnTo>
                    <a:pt x="892" y="804"/>
                  </a:lnTo>
                  <a:lnTo>
                    <a:pt x="905" y="818"/>
                  </a:lnTo>
                  <a:lnTo>
                    <a:pt x="915" y="829"/>
                  </a:lnTo>
                  <a:lnTo>
                    <a:pt x="923" y="839"/>
                  </a:lnTo>
                  <a:lnTo>
                    <a:pt x="928" y="844"/>
                  </a:lnTo>
                  <a:lnTo>
                    <a:pt x="929" y="846"/>
                  </a:lnTo>
                  <a:lnTo>
                    <a:pt x="936" y="853"/>
                  </a:lnTo>
                  <a:lnTo>
                    <a:pt x="979" y="908"/>
                  </a:lnTo>
                  <a:lnTo>
                    <a:pt x="1021" y="966"/>
                  </a:lnTo>
                  <a:lnTo>
                    <a:pt x="1059" y="1024"/>
                  </a:lnTo>
                  <a:lnTo>
                    <a:pt x="1092" y="1082"/>
                  </a:lnTo>
                  <a:lnTo>
                    <a:pt x="1107" y="1113"/>
                  </a:lnTo>
                  <a:lnTo>
                    <a:pt x="1121" y="1142"/>
                  </a:lnTo>
                  <a:lnTo>
                    <a:pt x="1133" y="1170"/>
                  </a:lnTo>
                  <a:lnTo>
                    <a:pt x="1144" y="1195"/>
                  </a:lnTo>
                  <a:lnTo>
                    <a:pt x="1153" y="1218"/>
                  </a:lnTo>
                  <a:lnTo>
                    <a:pt x="1161" y="1238"/>
                  </a:lnTo>
                  <a:lnTo>
                    <a:pt x="1167" y="1255"/>
                  </a:lnTo>
                  <a:lnTo>
                    <a:pt x="1171" y="1268"/>
                  </a:lnTo>
                  <a:lnTo>
                    <a:pt x="1174" y="1275"/>
                  </a:lnTo>
                  <a:lnTo>
                    <a:pt x="1175" y="1278"/>
                  </a:lnTo>
                  <a:lnTo>
                    <a:pt x="1192" y="1337"/>
                  </a:lnTo>
                  <a:lnTo>
                    <a:pt x="1206" y="1395"/>
                  </a:lnTo>
                  <a:lnTo>
                    <a:pt x="1216" y="1450"/>
                  </a:lnTo>
                  <a:lnTo>
                    <a:pt x="1223" y="1505"/>
                  </a:lnTo>
                  <a:lnTo>
                    <a:pt x="1228" y="1556"/>
                  </a:lnTo>
                  <a:lnTo>
                    <a:pt x="1229" y="1603"/>
                  </a:lnTo>
                  <a:lnTo>
                    <a:pt x="1229" y="1647"/>
                  </a:lnTo>
                  <a:lnTo>
                    <a:pt x="1227" y="1688"/>
                  </a:lnTo>
                  <a:lnTo>
                    <a:pt x="1224" y="1725"/>
                  </a:lnTo>
                  <a:lnTo>
                    <a:pt x="1220" y="1757"/>
                  </a:lnTo>
                  <a:lnTo>
                    <a:pt x="1215" y="1786"/>
                  </a:lnTo>
                  <a:lnTo>
                    <a:pt x="1211" y="1809"/>
                  </a:lnTo>
                  <a:lnTo>
                    <a:pt x="1206" y="1828"/>
                  </a:lnTo>
                  <a:lnTo>
                    <a:pt x="1203" y="1842"/>
                  </a:lnTo>
                  <a:lnTo>
                    <a:pt x="1201" y="1850"/>
                  </a:lnTo>
                  <a:lnTo>
                    <a:pt x="1200" y="1853"/>
                  </a:lnTo>
                  <a:lnTo>
                    <a:pt x="1183" y="1913"/>
                  </a:lnTo>
                  <a:lnTo>
                    <a:pt x="1161" y="1969"/>
                  </a:lnTo>
                  <a:lnTo>
                    <a:pt x="1137" y="2022"/>
                  </a:lnTo>
                  <a:lnTo>
                    <a:pt x="1111" y="2072"/>
                  </a:lnTo>
                  <a:lnTo>
                    <a:pt x="1081" y="2120"/>
                  </a:lnTo>
                  <a:lnTo>
                    <a:pt x="1050" y="2164"/>
                  </a:lnTo>
                  <a:lnTo>
                    <a:pt x="1016" y="2206"/>
                  </a:lnTo>
                  <a:lnTo>
                    <a:pt x="981" y="2245"/>
                  </a:lnTo>
                  <a:lnTo>
                    <a:pt x="945" y="2281"/>
                  </a:lnTo>
                  <a:lnTo>
                    <a:pt x="907" y="2316"/>
                  </a:lnTo>
                  <a:lnTo>
                    <a:pt x="870" y="2348"/>
                  </a:lnTo>
                  <a:lnTo>
                    <a:pt x="870" y="2348"/>
                  </a:lnTo>
                  <a:lnTo>
                    <a:pt x="869" y="2348"/>
                  </a:lnTo>
                  <a:lnTo>
                    <a:pt x="819" y="2387"/>
                  </a:lnTo>
                  <a:lnTo>
                    <a:pt x="767" y="2422"/>
                  </a:lnTo>
                  <a:lnTo>
                    <a:pt x="719" y="2452"/>
                  </a:lnTo>
                  <a:lnTo>
                    <a:pt x="672" y="2479"/>
                  </a:lnTo>
                  <a:lnTo>
                    <a:pt x="627" y="2503"/>
                  </a:lnTo>
                  <a:lnTo>
                    <a:pt x="562" y="2530"/>
                  </a:lnTo>
                  <a:lnTo>
                    <a:pt x="496" y="2552"/>
                  </a:lnTo>
                  <a:lnTo>
                    <a:pt x="433" y="2568"/>
                  </a:lnTo>
                  <a:lnTo>
                    <a:pt x="371" y="2581"/>
                  </a:lnTo>
                  <a:lnTo>
                    <a:pt x="312" y="2589"/>
                  </a:lnTo>
                  <a:lnTo>
                    <a:pt x="256" y="2594"/>
                  </a:lnTo>
                  <a:lnTo>
                    <a:pt x="204" y="2596"/>
                  </a:lnTo>
                  <a:lnTo>
                    <a:pt x="146" y="2594"/>
                  </a:lnTo>
                  <a:lnTo>
                    <a:pt x="89" y="2589"/>
                  </a:lnTo>
                  <a:lnTo>
                    <a:pt x="53" y="2583"/>
                  </a:lnTo>
                  <a:lnTo>
                    <a:pt x="23" y="2577"/>
                  </a:lnTo>
                  <a:lnTo>
                    <a:pt x="0" y="2569"/>
                  </a:lnTo>
                  <a:lnTo>
                    <a:pt x="87" y="2562"/>
                  </a:lnTo>
                  <a:lnTo>
                    <a:pt x="168" y="2553"/>
                  </a:lnTo>
                  <a:lnTo>
                    <a:pt x="244" y="2541"/>
                  </a:lnTo>
                  <a:lnTo>
                    <a:pt x="316" y="2527"/>
                  </a:lnTo>
                  <a:lnTo>
                    <a:pt x="383" y="2512"/>
                  </a:lnTo>
                  <a:lnTo>
                    <a:pt x="445" y="2495"/>
                  </a:lnTo>
                  <a:lnTo>
                    <a:pt x="503" y="2475"/>
                  </a:lnTo>
                  <a:lnTo>
                    <a:pt x="557" y="2456"/>
                  </a:lnTo>
                  <a:lnTo>
                    <a:pt x="607" y="2435"/>
                  </a:lnTo>
                  <a:lnTo>
                    <a:pt x="652" y="2414"/>
                  </a:lnTo>
                  <a:lnTo>
                    <a:pt x="694" y="2393"/>
                  </a:lnTo>
                  <a:lnTo>
                    <a:pt x="732" y="2371"/>
                  </a:lnTo>
                  <a:lnTo>
                    <a:pt x="766" y="2350"/>
                  </a:lnTo>
                  <a:lnTo>
                    <a:pt x="797" y="2329"/>
                  </a:lnTo>
                  <a:lnTo>
                    <a:pt x="825" y="2309"/>
                  </a:lnTo>
                  <a:lnTo>
                    <a:pt x="849" y="2289"/>
                  </a:lnTo>
                  <a:lnTo>
                    <a:pt x="870" y="2269"/>
                  </a:lnTo>
                  <a:lnTo>
                    <a:pt x="888" y="2252"/>
                  </a:lnTo>
                  <a:lnTo>
                    <a:pt x="903" y="2236"/>
                  </a:lnTo>
                  <a:lnTo>
                    <a:pt x="915" y="2222"/>
                  </a:lnTo>
                  <a:lnTo>
                    <a:pt x="926" y="2210"/>
                  </a:lnTo>
                  <a:lnTo>
                    <a:pt x="934" y="2201"/>
                  </a:lnTo>
                  <a:lnTo>
                    <a:pt x="939" y="2193"/>
                  </a:lnTo>
                  <a:lnTo>
                    <a:pt x="942" y="2189"/>
                  </a:lnTo>
                  <a:lnTo>
                    <a:pt x="943" y="2187"/>
                  </a:lnTo>
                  <a:lnTo>
                    <a:pt x="984" y="2141"/>
                  </a:lnTo>
                  <a:lnTo>
                    <a:pt x="1019" y="2094"/>
                  </a:lnTo>
                  <a:lnTo>
                    <a:pt x="1051" y="2044"/>
                  </a:lnTo>
                  <a:lnTo>
                    <a:pt x="1076" y="1994"/>
                  </a:lnTo>
                  <a:lnTo>
                    <a:pt x="1098" y="1944"/>
                  </a:lnTo>
                  <a:lnTo>
                    <a:pt x="1115" y="1893"/>
                  </a:lnTo>
                  <a:lnTo>
                    <a:pt x="1129" y="1841"/>
                  </a:lnTo>
                  <a:lnTo>
                    <a:pt x="1139" y="1791"/>
                  </a:lnTo>
                  <a:lnTo>
                    <a:pt x="1146" y="1740"/>
                  </a:lnTo>
                  <a:lnTo>
                    <a:pt x="1150" y="1691"/>
                  </a:lnTo>
                  <a:lnTo>
                    <a:pt x="1151" y="1641"/>
                  </a:lnTo>
                  <a:lnTo>
                    <a:pt x="1151" y="1594"/>
                  </a:lnTo>
                  <a:lnTo>
                    <a:pt x="1148" y="1548"/>
                  </a:lnTo>
                  <a:lnTo>
                    <a:pt x="1144" y="1504"/>
                  </a:lnTo>
                  <a:lnTo>
                    <a:pt x="1138" y="1462"/>
                  </a:lnTo>
                  <a:lnTo>
                    <a:pt x="1131" y="1421"/>
                  </a:lnTo>
                  <a:lnTo>
                    <a:pt x="1123" y="1383"/>
                  </a:lnTo>
                  <a:lnTo>
                    <a:pt x="1115" y="1349"/>
                  </a:lnTo>
                  <a:lnTo>
                    <a:pt x="1107" y="1317"/>
                  </a:lnTo>
                  <a:lnTo>
                    <a:pt x="1099" y="1289"/>
                  </a:lnTo>
                  <a:lnTo>
                    <a:pt x="1091" y="1265"/>
                  </a:lnTo>
                  <a:lnTo>
                    <a:pt x="1084" y="1243"/>
                  </a:lnTo>
                  <a:lnTo>
                    <a:pt x="1078" y="1227"/>
                  </a:lnTo>
                  <a:lnTo>
                    <a:pt x="1074" y="1214"/>
                  </a:lnTo>
                  <a:lnTo>
                    <a:pt x="1071" y="1207"/>
                  </a:lnTo>
                  <a:lnTo>
                    <a:pt x="1070" y="1204"/>
                  </a:lnTo>
                  <a:lnTo>
                    <a:pt x="1056" y="1172"/>
                  </a:lnTo>
                  <a:lnTo>
                    <a:pt x="1039" y="1139"/>
                  </a:lnTo>
                  <a:lnTo>
                    <a:pt x="1020" y="1105"/>
                  </a:lnTo>
                  <a:lnTo>
                    <a:pt x="1000" y="1070"/>
                  </a:lnTo>
                  <a:lnTo>
                    <a:pt x="978" y="1034"/>
                  </a:lnTo>
                  <a:lnTo>
                    <a:pt x="955" y="998"/>
                  </a:lnTo>
                  <a:lnTo>
                    <a:pt x="931" y="962"/>
                  </a:lnTo>
                  <a:lnTo>
                    <a:pt x="904" y="927"/>
                  </a:lnTo>
                  <a:lnTo>
                    <a:pt x="879" y="892"/>
                  </a:lnTo>
                  <a:lnTo>
                    <a:pt x="852" y="857"/>
                  </a:lnTo>
                  <a:lnTo>
                    <a:pt x="826" y="822"/>
                  </a:lnTo>
                  <a:lnTo>
                    <a:pt x="800" y="788"/>
                  </a:lnTo>
                  <a:lnTo>
                    <a:pt x="773" y="756"/>
                  </a:lnTo>
                  <a:lnTo>
                    <a:pt x="748" y="726"/>
                  </a:lnTo>
                  <a:lnTo>
                    <a:pt x="723" y="697"/>
                  </a:lnTo>
                  <a:lnTo>
                    <a:pt x="700" y="670"/>
                  </a:lnTo>
                  <a:lnTo>
                    <a:pt x="678" y="644"/>
                  </a:lnTo>
                  <a:lnTo>
                    <a:pt x="658" y="620"/>
                  </a:lnTo>
                  <a:lnTo>
                    <a:pt x="639" y="599"/>
                  </a:lnTo>
                  <a:lnTo>
                    <a:pt x="623" y="581"/>
                  </a:lnTo>
                  <a:lnTo>
                    <a:pt x="609" y="566"/>
                  </a:lnTo>
                  <a:lnTo>
                    <a:pt x="598" y="554"/>
                  </a:lnTo>
                  <a:lnTo>
                    <a:pt x="590" y="545"/>
                  </a:lnTo>
                  <a:lnTo>
                    <a:pt x="584" y="539"/>
                  </a:lnTo>
                  <a:lnTo>
                    <a:pt x="583" y="537"/>
                  </a:lnTo>
                  <a:lnTo>
                    <a:pt x="551" y="492"/>
                  </a:lnTo>
                  <a:lnTo>
                    <a:pt x="521" y="445"/>
                  </a:lnTo>
                  <a:lnTo>
                    <a:pt x="493" y="397"/>
                  </a:lnTo>
                  <a:lnTo>
                    <a:pt x="468" y="350"/>
                  </a:lnTo>
                  <a:lnTo>
                    <a:pt x="445" y="304"/>
                  </a:lnTo>
                  <a:lnTo>
                    <a:pt x="423" y="259"/>
                  </a:lnTo>
                  <a:lnTo>
                    <a:pt x="404" y="216"/>
                  </a:lnTo>
                  <a:lnTo>
                    <a:pt x="386" y="175"/>
                  </a:lnTo>
                  <a:lnTo>
                    <a:pt x="371" y="137"/>
                  </a:lnTo>
                  <a:lnTo>
                    <a:pt x="359" y="104"/>
                  </a:lnTo>
                  <a:lnTo>
                    <a:pt x="348" y="74"/>
                  </a:lnTo>
                  <a:lnTo>
                    <a:pt x="339" y="49"/>
                  </a:lnTo>
                  <a:lnTo>
                    <a:pt x="333" y="29"/>
                  </a:lnTo>
                  <a:lnTo>
                    <a:pt x="332" y="20"/>
                  </a:lnTo>
                  <a:lnTo>
                    <a:pt x="335" y="12"/>
                  </a:lnTo>
                  <a:lnTo>
                    <a:pt x="341" y="4"/>
                  </a:lnTo>
                  <a:lnTo>
                    <a:pt x="349" y="1"/>
                  </a:lnTo>
                  <a:lnTo>
                    <a:pt x="353" y="0"/>
                  </a:lnTo>
                  <a:close/>
                </a:path>
              </a:pathLst>
            </a:custGeom>
            <a:solidFill>
              <a:schemeClr val="accent3">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199">
              <a:extLst>
                <a:ext uri="{FF2B5EF4-FFF2-40B4-BE49-F238E27FC236}">
                  <a16:creationId xmlns:a16="http://schemas.microsoft.com/office/drawing/2014/main" id="{6112B220-5B8F-6144-9DF1-35157CBF3BD4}"/>
                </a:ext>
              </a:extLst>
            </p:cNvPr>
            <p:cNvSpPr>
              <a:spLocks/>
            </p:cNvSpPr>
            <p:nvPr/>
          </p:nvSpPr>
          <p:spPr bwMode="auto">
            <a:xfrm>
              <a:off x="5281613" y="5130800"/>
              <a:ext cx="168275" cy="66675"/>
            </a:xfrm>
            <a:custGeom>
              <a:avLst/>
              <a:gdLst>
                <a:gd name="T0" fmla="*/ 53 w 425"/>
                <a:gd name="T1" fmla="*/ 0 h 167"/>
                <a:gd name="T2" fmla="*/ 373 w 425"/>
                <a:gd name="T3" fmla="*/ 0 h 167"/>
                <a:gd name="T4" fmla="*/ 389 w 425"/>
                <a:gd name="T5" fmla="*/ 2 h 167"/>
                <a:gd name="T6" fmla="*/ 403 w 425"/>
                <a:gd name="T7" fmla="*/ 10 h 167"/>
                <a:gd name="T8" fmla="*/ 414 w 425"/>
                <a:gd name="T9" fmla="*/ 21 h 167"/>
                <a:gd name="T10" fmla="*/ 422 w 425"/>
                <a:gd name="T11" fmla="*/ 35 h 167"/>
                <a:gd name="T12" fmla="*/ 425 w 425"/>
                <a:gd name="T13" fmla="*/ 52 h 167"/>
                <a:gd name="T14" fmla="*/ 425 w 425"/>
                <a:gd name="T15" fmla="*/ 114 h 167"/>
                <a:gd name="T16" fmla="*/ 422 w 425"/>
                <a:gd name="T17" fmla="*/ 131 h 167"/>
                <a:gd name="T18" fmla="*/ 414 w 425"/>
                <a:gd name="T19" fmla="*/ 145 h 167"/>
                <a:gd name="T20" fmla="*/ 403 w 425"/>
                <a:gd name="T21" fmla="*/ 156 h 167"/>
                <a:gd name="T22" fmla="*/ 389 w 425"/>
                <a:gd name="T23" fmla="*/ 165 h 167"/>
                <a:gd name="T24" fmla="*/ 373 w 425"/>
                <a:gd name="T25" fmla="*/ 167 h 167"/>
                <a:gd name="T26" fmla="*/ 53 w 425"/>
                <a:gd name="T27" fmla="*/ 167 h 167"/>
                <a:gd name="T28" fmla="*/ 36 w 425"/>
                <a:gd name="T29" fmla="*/ 165 h 167"/>
                <a:gd name="T30" fmla="*/ 21 w 425"/>
                <a:gd name="T31" fmla="*/ 156 h 167"/>
                <a:gd name="T32" fmla="*/ 10 w 425"/>
                <a:gd name="T33" fmla="*/ 145 h 167"/>
                <a:gd name="T34" fmla="*/ 3 w 425"/>
                <a:gd name="T35" fmla="*/ 131 h 167"/>
                <a:gd name="T36" fmla="*/ 0 w 425"/>
                <a:gd name="T37" fmla="*/ 114 h 167"/>
                <a:gd name="T38" fmla="*/ 0 w 425"/>
                <a:gd name="T39" fmla="*/ 52 h 167"/>
                <a:gd name="T40" fmla="*/ 3 w 425"/>
                <a:gd name="T41" fmla="*/ 35 h 167"/>
                <a:gd name="T42" fmla="*/ 10 w 425"/>
                <a:gd name="T43" fmla="*/ 21 h 167"/>
                <a:gd name="T44" fmla="*/ 21 w 425"/>
                <a:gd name="T45" fmla="*/ 10 h 167"/>
                <a:gd name="T46" fmla="*/ 36 w 425"/>
                <a:gd name="T47" fmla="*/ 2 h 167"/>
                <a:gd name="T48" fmla="*/ 53 w 425"/>
                <a:gd name="T4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167">
                  <a:moveTo>
                    <a:pt x="53" y="0"/>
                  </a:moveTo>
                  <a:lnTo>
                    <a:pt x="373" y="0"/>
                  </a:lnTo>
                  <a:lnTo>
                    <a:pt x="389" y="2"/>
                  </a:lnTo>
                  <a:lnTo>
                    <a:pt x="403" y="10"/>
                  </a:lnTo>
                  <a:lnTo>
                    <a:pt x="414" y="21"/>
                  </a:lnTo>
                  <a:lnTo>
                    <a:pt x="422" y="35"/>
                  </a:lnTo>
                  <a:lnTo>
                    <a:pt x="425" y="52"/>
                  </a:lnTo>
                  <a:lnTo>
                    <a:pt x="425" y="114"/>
                  </a:lnTo>
                  <a:lnTo>
                    <a:pt x="422" y="131"/>
                  </a:lnTo>
                  <a:lnTo>
                    <a:pt x="414" y="145"/>
                  </a:lnTo>
                  <a:lnTo>
                    <a:pt x="403" y="156"/>
                  </a:lnTo>
                  <a:lnTo>
                    <a:pt x="389" y="165"/>
                  </a:lnTo>
                  <a:lnTo>
                    <a:pt x="373" y="167"/>
                  </a:lnTo>
                  <a:lnTo>
                    <a:pt x="53" y="167"/>
                  </a:lnTo>
                  <a:lnTo>
                    <a:pt x="36" y="165"/>
                  </a:lnTo>
                  <a:lnTo>
                    <a:pt x="21" y="156"/>
                  </a:lnTo>
                  <a:lnTo>
                    <a:pt x="10" y="145"/>
                  </a:lnTo>
                  <a:lnTo>
                    <a:pt x="3" y="131"/>
                  </a:lnTo>
                  <a:lnTo>
                    <a:pt x="0" y="114"/>
                  </a:lnTo>
                  <a:lnTo>
                    <a:pt x="0" y="52"/>
                  </a:lnTo>
                  <a:lnTo>
                    <a:pt x="3" y="35"/>
                  </a:lnTo>
                  <a:lnTo>
                    <a:pt x="10" y="21"/>
                  </a:lnTo>
                  <a:lnTo>
                    <a:pt x="21" y="10"/>
                  </a:lnTo>
                  <a:lnTo>
                    <a:pt x="36" y="2"/>
                  </a:lnTo>
                  <a:lnTo>
                    <a:pt x="5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200">
              <a:extLst>
                <a:ext uri="{FF2B5EF4-FFF2-40B4-BE49-F238E27FC236}">
                  <a16:creationId xmlns:a16="http://schemas.microsoft.com/office/drawing/2014/main" id="{ABFF71E8-7415-ED41-AD24-A2695CDEF797}"/>
                </a:ext>
              </a:extLst>
            </p:cNvPr>
            <p:cNvSpPr>
              <a:spLocks/>
            </p:cNvSpPr>
            <p:nvPr/>
          </p:nvSpPr>
          <p:spPr bwMode="auto">
            <a:xfrm>
              <a:off x="5446713" y="5016500"/>
              <a:ext cx="176213" cy="303212"/>
            </a:xfrm>
            <a:custGeom>
              <a:avLst/>
              <a:gdLst>
                <a:gd name="T0" fmla="*/ 433 w 443"/>
                <a:gd name="T1" fmla="*/ 2 h 763"/>
                <a:gd name="T2" fmla="*/ 436 w 443"/>
                <a:gd name="T3" fmla="*/ 16 h 763"/>
                <a:gd name="T4" fmla="*/ 441 w 443"/>
                <a:gd name="T5" fmla="*/ 42 h 763"/>
                <a:gd name="T6" fmla="*/ 443 w 443"/>
                <a:gd name="T7" fmla="*/ 75 h 763"/>
                <a:gd name="T8" fmla="*/ 441 w 443"/>
                <a:gd name="T9" fmla="*/ 112 h 763"/>
                <a:gd name="T10" fmla="*/ 432 w 443"/>
                <a:gd name="T11" fmla="*/ 149 h 763"/>
                <a:gd name="T12" fmla="*/ 412 w 443"/>
                <a:gd name="T13" fmla="*/ 184 h 763"/>
                <a:gd name="T14" fmla="*/ 378 w 443"/>
                <a:gd name="T15" fmla="*/ 213 h 763"/>
                <a:gd name="T16" fmla="*/ 353 w 443"/>
                <a:gd name="T17" fmla="*/ 224 h 763"/>
                <a:gd name="T18" fmla="*/ 330 w 443"/>
                <a:gd name="T19" fmla="*/ 230 h 763"/>
                <a:gd name="T20" fmla="*/ 290 w 443"/>
                <a:gd name="T21" fmla="*/ 244 h 763"/>
                <a:gd name="T22" fmla="*/ 236 w 443"/>
                <a:gd name="T23" fmla="*/ 265 h 763"/>
                <a:gd name="T24" fmla="*/ 177 w 443"/>
                <a:gd name="T25" fmla="*/ 295 h 763"/>
                <a:gd name="T26" fmla="*/ 117 w 443"/>
                <a:gd name="T27" fmla="*/ 334 h 763"/>
                <a:gd name="T28" fmla="*/ 62 w 443"/>
                <a:gd name="T29" fmla="*/ 383 h 763"/>
                <a:gd name="T30" fmla="*/ 69 w 443"/>
                <a:gd name="T31" fmla="*/ 389 h 763"/>
                <a:gd name="T32" fmla="*/ 87 w 443"/>
                <a:gd name="T33" fmla="*/ 406 h 763"/>
                <a:gd name="T34" fmla="*/ 115 w 443"/>
                <a:gd name="T35" fmla="*/ 428 h 763"/>
                <a:gd name="T36" fmla="*/ 149 w 443"/>
                <a:gd name="T37" fmla="*/ 454 h 763"/>
                <a:gd name="T38" fmla="*/ 187 w 443"/>
                <a:gd name="T39" fmla="*/ 476 h 763"/>
                <a:gd name="T40" fmla="*/ 225 w 443"/>
                <a:gd name="T41" fmla="*/ 493 h 763"/>
                <a:gd name="T42" fmla="*/ 261 w 443"/>
                <a:gd name="T43" fmla="*/ 499 h 763"/>
                <a:gd name="T44" fmla="*/ 271 w 443"/>
                <a:gd name="T45" fmla="*/ 502 h 763"/>
                <a:gd name="T46" fmla="*/ 297 w 443"/>
                <a:gd name="T47" fmla="*/ 510 h 763"/>
                <a:gd name="T48" fmla="*/ 330 w 443"/>
                <a:gd name="T49" fmla="*/ 527 h 763"/>
                <a:gd name="T50" fmla="*/ 368 w 443"/>
                <a:gd name="T51" fmla="*/ 553 h 763"/>
                <a:gd name="T52" fmla="*/ 402 w 443"/>
                <a:gd name="T53" fmla="*/ 591 h 763"/>
                <a:gd name="T54" fmla="*/ 430 w 443"/>
                <a:gd name="T55" fmla="*/ 641 h 763"/>
                <a:gd name="T56" fmla="*/ 415 w 443"/>
                <a:gd name="T57" fmla="*/ 761 h 763"/>
                <a:gd name="T58" fmla="*/ 402 w 443"/>
                <a:gd name="T59" fmla="*/ 747 h 763"/>
                <a:gd name="T60" fmla="*/ 382 w 443"/>
                <a:gd name="T61" fmla="*/ 722 h 763"/>
                <a:gd name="T62" fmla="*/ 356 w 443"/>
                <a:gd name="T63" fmla="*/ 692 h 763"/>
                <a:gd name="T64" fmla="*/ 326 w 443"/>
                <a:gd name="T65" fmla="*/ 661 h 763"/>
                <a:gd name="T66" fmla="*/ 297 w 443"/>
                <a:gd name="T67" fmla="*/ 634 h 763"/>
                <a:gd name="T68" fmla="*/ 270 w 443"/>
                <a:gd name="T69" fmla="*/ 616 h 763"/>
                <a:gd name="T70" fmla="*/ 256 w 443"/>
                <a:gd name="T71" fmla="*/ 611 h 763"/>
                <a:gd name="T72" fmla="*/ 236 w 443"/>
                <a:gd name="T73" fmla="*/ 606 h 763"/>
                <a:gd name="T74" fmla="*/ 201 w 443"/>
                <a:gd name="T75" fmla="*/ 596 h 763"/>
                <a:gd name="T76" fmla="*/ 158 w 443"/>
                <a:gd name="T77" fmla="*/ 580 h 763"/>
                <a:gd name="T78" fmla="*/ 111 w 443"/>
                <a:gd name="T79" fmla="*/ 556 h 763"/>
                <a:gd name="T80" fmla="*/ 68 w 443"/>
                <a:gd name="T81" fmla="*/ 525 h 763"/>
                <a:gd name="T82" fmla="*/ 33 w 443"/>
                <a:gd name="T83" fmla="*/ 486 h 763"/>
                <a:gd name="T84" fmla="*/ 12 w 443"/>
                <a:gd name="T85" fmla="*/ 436 h 763"/>
                <a:gd name="T86" fmla="*/ 1 w 443"/>
                <a:gd name="T87" fmla="*/ 312 h 763"/>
                <a:gd name="T88" fmla="*/ 8 w 443"/>
                <a:gd name="T89" fmla="*/ 299 h 763"/>
                <a:gd name="T90" fmla="*/ 26 w 443"/>
                <a:gd name="T91" fmla="*/ 276 h 763"/>
                <a:gd name="T92" fmla="*/ 53 w 443"/>
                <a:gd name="T93" fmla="*/ 247 h 763"/>
                <a:gd name="T94" fmla="*/ 93 w 443"/>
                <a:gd name="T95" fmla="*/ 215 h 763"/>
                <a:gd name="T96" fmla="*/ 149 w 443"/>
                <a:gd name="T97" fmla="*/ 185 h 763"/>
                <a:gd name="T98" fmla="*/ 219 w 443"/>
                <a:gd name="T99" fmla="*/ 160 h 763"/>
                <a:gd name="T100" fmla="*/ 264 w 443"/>
                <a:gd name="T101" fmla="*/ 150 h 763"/>
                <a:gd name="T102" fmla="*/ 281 w 443"/>
                <a:gd name="T103" fmla="*/ 141 h 763"/>
                <a:gd name="T104" fmla="*/ 311 w 443"/>
                <a:gd name="T105" fmla="*/ 122 h 763"/>
                <a:gd name="T106" fmla="*/ 349 w 443"/>
                <a:gd name="T107" fmla="*/ 93 h 763"/>
                <a:gd name="T108" fmla="*/ 390 w 443"/>
                <a:gd name="T109" fmla="*/ 53 h 763"/>
                <a:gd name="T110" fmla="*/ 432 w 443"/>
                <a:gd name="T111" fmla="*/ 0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3" h="763">
                  <a:moveTo>
                    <a:pt x="432" y="0"/>
                  </a:moveTo>
                  <a:lnTo>
                    <a:pt x="433" y="2"/>
                  </a:lnTo>
                  <a:lnTo>
                    <a:pt x="434" y="7"/>
                  </a:lnTo>
                  <a:lnTo>
                    <a:pt x="436" y="16"/>
                  </a:lnTo>
                  <a:lnTo>
                    <a:pt x="439" y="27"/>
                  </a:lnTo>
                  <a:lnTo>
                    <a:pt x="441" y="42"/>
                  </a:lnTo>
                  <a:lnTo>
                    <a:pt x="443" y="58"/>
                  </a:lnTo>
                  <a:lnTo>
                    <a:pt x="443" y="75"/>
                  </a:lnTo>
                  <a:lnTo>
                    <a:pt x="443" y="93"/>
                  </a:lnTo>
                  <a:lnTo>
                    <a:pt x="441" y="112"/>
                  </a:lnTo>
                  <a:lnTo>
                    <a:pt x="438" y="131"/>
                  </a:lnTo>
                  <a:lnTo>
                    <a:pt x="432" y="149"/>
                  </a:lnTo>
                  <a:lnTo>
                    <a:pt x="423" y="167"/>
                  </a:lnTo>
                  <a:lnTo>
                    <a:pt x="412" y="184"/>
                  </a:lnTo>
                  <a:lnTo>
                    <a:pt x="396" y="199"/>
                  </a:lnTo>
                  <a:lnTo>
                    <a:pt x="378" y="213"/>
                  </a:lnTo>
                  <a:lnTo>
                    <a:pt x="356" y="223"/>
                  </a:lnTo>
                  <a:lnTo>
                    <a:pt x="353" y="224"/>
                  </a:lnTo>
                  <a:lnTo>
                    <a:pt x="344" y="226"/>
                  </a:lnTo>
                  <a:lnTo>
                    <a:pt x="330" y="230"/>
                  </a:lnTo>
                  <a:lnTo>
                    <a:pt x="312" y="236"/>
                  </a:lnTo>
                  <a:lnTo>
                    <a:pt x="290" y="244"/>
                  </a:lnTo>
                  <a:lnTo>
                    <a:pt x="264" y="254"/>
                  </a:lnTo>
                  <a:lnTo>
                    <a:pt x="236" y="265"/>
                  </a:lnTo>
                  <a:lnTo>
                    <a:pt x="207" y="279"/>
                  </a:lnTo>
                  <a:lnTo>
                    <a:pt x="177" y="295"/>
                  </a:lnTo>
                  <a:lnTo>
                    <a:pt x="147" y="313"/>
                  </a:lnTo>
                  <a:lnTo>
                    <a:pt x="117" y="334"/>
                  </a:lnTo>
                  <a:lnTo>
                    <a:pt x="88" y="357"/>
                  </a:lnTo>
                  <a:lnTo>
                    <a:pt x="62" y="383"/>
                  </a:lnTo>
                  <a:lnTo>
                    <a:pt x="64" y="384"/>
                  </a:lnTo>
                  <a:lnTo>
                    <a:pt x="69" y="389"/>
                  </a:lnTo>
                  <a:lnTo>
                    <a:pt x="77" y="396"/>
                  </a:lnTo>
                  <a:lnTo>
                    <a:pt x="87" y="406"/>
                  </a:lnTo>
                  <a:lnTo>
                    <a:pt x="100" y="416"/>
                  </a:lnTo>
                  <a:lnTo>
                    <a:pt x="115" y="428"/>
                  </a:lnTo>
                  <a:lnTo>
                    <a:pt x="131" y="440"/>
                  </a:lnTo>
                  <a:lnTo>
                    <a:pt x="149" y="454"/>
                  </a:lnTo>
                  <a:lnTo>
                    <a:pt x="168" y="466"/>
                  </a:lnTo>
                  <a:lnTo>
                    <a:pt x="187" y="476"/>
                  </a:lnTo>
                  <a:lnTo>
                    <a:pt x="206" y="486"/>
                  </a:lnTo>
                  <a:lnTo>
                    <a:pt x="225" y="493"/>
                  </a:lnTo>
                  <a:lnTo>
                    <a:pt x="244" y="497"/>
                  </a:lnTo>
                  <a:lnTo>
                    <a:pt x="261" y="499"/>
                  </a:lnTo>
                  <a:lnTo>
                    <a:pt x="264" y="500"/>
                  </a:lnTo>
                  <a:lnTo>
                    <a:pt x="271" y="502"/>
                  </a:lnTo>
                  <a:lnTo>
                    <a:pt x="283" y="505"/>
                  </a:lnTo>
                  <a:lnTo>
                    <a:pt x="297" y="510"/>
                  </a:lnTo>
                  <a:lnTo>
                    <a:pt x="313" y="518"/>
                  </a:lnTo>
                  <a:lnTo>
                    <a:pt x="330" y="527"/>
                  </a:lnTo>
                  <a:lnTo>
                    <a:pt x="349" y="539"/>
                  </a:lnTo>
                  <a:lnTo>
                    <a:pt x="368" y="553"/>
                  </a:lnTo>
                  <a:lnTo>
                    <a:pt x="386" y="570"/>
                  </a:lnTo>
                  <a:lnTo>
                    <a:pt x="402" y="591"/>
                  </a:lnTo>
                  <a:lnTo>
                    <a:pt x="418" y="614"/>
                  </a:lnTo>
                  <a:lnTo>
                    <a:pt x="430" y="641"/>
                  </a:lnTo>
                  <a:lnTo>
                    <a:pt x="416" y="763"/>
                  </a:lnTo>
                  <a:lnTo>
                    <a:pt x="415" y="761"/>
                  </a:lnTo>
                  <a:lnTo>
                    <a:pt x="410" y="755"/>
                  </a:lnTo>
                  <a:lnTo>
                    <a:pt x="402" y="747"/>
                  </a:lnTo>
                  <a:lnTo>
                    <a:pt x="393" y="735"/>
                  </a:lnTo>
                  <a:lnTo>
                    <a:pt x="382" y="722"/>
                  </a:lnTo>
                  <a:lnTo>
                    <a:pt x="369" y="707"/>
                  </a:lnTo>
                  <a:lnTo>
                    <a:pt x="356" y="692"/>
                  </a:lnTo>
                  <a:lnTo>
                    <a:pt x="341" y="676"/>
                  </a:lnTo>
                  <a:lnTo>
                    <a:pt x="326" y="661"/>
                  </a:lnTo>
                  <a:lnTo>
                    <a:pt x="312" y="646"/>
                  </a:lnTo>
                  <a:lnTo>
                    <a:pt x="297" y="634"/>
                  </a:lnTo>
                  <a:lnTo>
                    <a:pt x="283" y="624"/>
                  </a:lnTo>
                  <a:lnTo>
                    <a:pt x="270" y="616"/>
                  </a:lnTo>
                  <a:lnTo>
                    <a:pt x="259" y="612"/>
                  </a:lnTo>
                  <a:lnTo>
                    <a:pt x="256" y="611"/>
                  </a:lnTo>
                  <a:lnTo>
                    <a:pt x="248" y="610"/>
                  </a:lnTo>
                  <a:lnTo>
                    <a:pt x="236" y="606"/>
                  </a:lnTo>
                  <a:lnTo>
                    <a:pt x="220" y="602"/>
                  </a:lnTo>
                  <a:lnTo>
                    <a:pt x="201" y="596"/>
                  </a:lnTo>
                  <a:lnTo>
                    <a:pt x="181" y="589"/>
                  </a:lnTo>
                  <a:lnTo>
                    <a:pt x="158" y="580"/>
                  </a:lnTo>
                  <a:lnTo>
                    <a:pt x="134" y="569"/>
                  </a:lnTo>
                  <a:lnTo>
                    <a:pt x="111" y="556"/>
                  </a:lnTo>
                  <a:lnTo>
                    <a:pt x="89" y="542"/>
                  </a:lnTo>
                  <a:lnTo>
                    <a:pt x="68" y="525"/>
                  </a:lnTo>
                  <a:lnTo>
                    <a:pt x="49" y="507"/>
                  </a:lnTo>
                  <a:lnTo>
                    <a:pt x="33" y="486"/>
                  </a:lnTo>
                  <a:lnTo>
                    <a:pt x="21" y="463"/>
                  </a:lnTo>
                  <a:lnTo>
                    <a:pt x="12" y="436"/>
                  </a:lnTo>
                  <a:lnTo>
                    <a:pt x="0" y="314"/>
                  </a:lnTo>
                  <a:lnTo>
                    <a:pt x="1" y="312"/>
                  </a:lnTo>
                  <a:lnTo>
                    <a:pt x="4" y="307"/>
                  </a:lnTo>
                  <a:lnTo>
                    <a:pt x="8" y="299"/>
                  </a:lnTo>
                  <a:lnTo>
                    <a:pt x="16" y="289"/>
                  </a:lnTo>
                  <a:lnTo>
                    <a:pt x="26" y="276"/>
                  </a:lnTo>
                  <a:lnTo>
                    <a:pt x="38" y="262"/>
                  </a:lnTo>
                  <a:lnTo>
                    <a:pt x="53" y="247"/>
                  </a:lnTo>
                  <a:lnTo>
                    <a:pt x="72" y="231"/>
                  </a:lnTo>
                  <a:lnTo>
                    <a:pt x="93" y="215"/>
                  </a:lnTo>
                  <a:lnTo>
                    <a:pt x="119" y="200"/>
                  </a:lnTo>
                  <a:lnTo>
                    <a:pt x="149" y="185"/>
                  </a:lnTo>
                  <a:lnTo>
                    <a:pt x="182" y="172"/>
                  </a:lnTo>
                  <a:lnTo>
                    <a:pt x="219" y="160"/>
                  </a:lnTo>
                  <a:lnTo>
                    <a:pt x="261" y="151"/>
                  </a:lnTo>
                  <a:lnTo>
                    <a:pt x="264" y="150"/>
                  </a:lnTo>
                  <a:lnTo>
                    <a:pt x="270" y="147"/>
                  </a:lnTo>
                  <a:lnTo>
                    <a:pt x="281" y="141"/>
                  </a:lnTo>
                  <a:lnTo>
                    <a:pt x="295" y="133"/>
                  </a:lnTo>
                  <a:lnTo>
                    <a:pt x="311" y="122"/>
                  </a:lnTo>
                  <a:lnTo>
                    <a:pt x="329" y="109"/>
                  </a:lnTo>
                  <a:lnTo>
                    <a:pt x="349" y="93"/>
                  </a:lnTo>
                  <a:lnTo>
                    <a:pt x="369" y="75"/>
                  </a:lnTo>
                  <a:lnTo>
                    <a:pt x="390" y="53"/>
                  </a:lnTo>
                  <a:lnTo>
                    <a:pt x="412" y="28"/>
                  </a:lnTo>
                  <a:lnTo>
                    <a:pt x="43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63" name="Group 362">
            <a:extLst>
              <a:ext uri="{FF2B5EF4-FFF2-40B4-BE49-F238E27FC236}">
                <a16:creationId xmlns:a16="http://schemas.microsoft.com/office/drawing/2014/main" id="{50BCE87E-EEB8-FE4F-B5EC-9449F9407A52}"/>
              </a:ext>
            </a:extLst>
          </p:cNvPr>
          <p:cNvGrpSpPr/>
          <p:nvPr/>
        </p:nvGrpSpPr>
        <p:grpSpPr>
          <a:xfrm>
            <a:off x="8458201" y="4911726"/>
            <a:ext cx="823913" cy="1311275"/>
            <a:chOff x="4959350" y="4911725"/>
            <a:chExt cx="823913" cy="1311275"/>
          </a:xfrm>
        </p:grpSpPr>
        <p:sp>
          <p:nvSpPr>
            <p:cNvPr id="364" name="Freeform 196">
              <a:extLst>
                <a:ext uri="{FF2B5EF4-FFF2-40B4-BE49-F238E27FC236}">
                  <a16:creationId xmlns:a16="http://schemas.microsoft.com/office/drawing/2014/main" id="{7AE68EDD-D955-9A4A-A7F0-FA4CFBA91210}"/>
                </a:ext>
              </a:extLst>
            </p:cNvPr>
            <p:cNvSpPr>
              <a:spLocks/>
            </p:cNvSpPr>
            <p:nvPr/>
          </p:nvSpPr>
          <p:spPr bwMode="auto">
            <a:xfrm>
              <a:off x="4959350" y="4911725"/>
              <a:ext cx="823913" cy="1311275"/>
            </a:xfrm>
            <a:custGeom>
              <a:avLst/>
              <a:gdLst>
                <a:gd name="T0" fmla="*/ 1322 w 2076"/>
                <a:gd name="T1" fmla="*/ 6 h 3303"/>
                <a:gd name="T2" fmla="*/ 1340 w 2076"/>
                <a:gd name="T3" fmla="*/ 25 h 3303"/>
                <a:gd name="T4" fmla="*/ 1307 w 2076"/>
                <a:gd name="T5" fmla="*/ 101 h 3303"/>
                <a:gd name="T6" fmla="*/ 1220 w 2076"/>
                <a:gd name="T7" fmla="*/ 361 h 3303"/>
                <a:gd name="T8" fmla="*/ 1204 w 2076"/>
                <a:gd name="T9" fmla="*/ 590 h 3303"/>
                <a:gd name="T10" fmla="*/ 1233 w 2076"/>
                <a:gd name="T11" fmla="*/ 780 h 3303"/>
                <a:gd name="T12" fmla="*/ 1283 w 2076"/>
                <a:gd name="T13" fmla="*/ 921 h 3303"/>
                <a:gd name="T14" fmla="*/ 1325 w 2076"/>
                <a:gd name="T15" fmla="*/ 1004 h 3303"/>
                <a:gd name="T16" fmla="*/ 1340 w 2076"/>
                <a:gd name="T17" fmla="*/ 1030 h 3303"/>
                <a:gd name="T18" fmla="*/ 1380 w 2076"/>
                <a:gd name="T19" fmla="*/ 1085 h 3303"/>
                <a:gd name="T20" fmla="*/ 1454 w 2076"/>
                <a:gd name="T21" fmla="*/ 1178 h 3303"/>
                <a:gd name="T22" fmla="*/ 1547 w 2076"/>
                <a:gd name="T23" fmla="*/ 1288 h 3303"/>
                <a:gd name="T24" fmla="*/ 1642 w 2076"/>
                <a:gd name="T25" fmla="*/ 1399 h 3303"/>
                <a:gd name="T26" fmla="*/ 1721 w 2076"/>
                <a:gd name="T27" fmla="*/ 1490 h 3303"/>
                <a:gd name="T28" fmla="*/ 1770 w 2076"/>
                <a:gd name="T29" fmla="*/ 1545 h 3303"/>
                <a:gd name="T30" fmla="*/ 1875 w 2076"/>
                <a:gd name="T31" fmla="*/ 1684 h 3303"/>
                <a:gd name="T32" fmla="*/ 2006 w 2076"/>
                <a:gd name="T33" fmla="*/ 1939 h 3303"/>
                <a:gd name="T34" fmla="*/ 2065 w 2076"/>
                <a:gd name="T35" fmla="*/ 2170 h 3303"/>
                <a:gd name="T36" fmla="*/ 2076 w 2076"/>
                <a:gd name="T37" fmla="*/ 2360 h 3303"/>
                <a:gd name="T38" fmla="*/ 2062 w 2076"/>
                <a:gd name="T39" fmla="*/ 2495 h 3303"/>
                <a:gd name="T40" fmla="*/ 2048 w 2076"/>
                <a:gd name="T41" fmla="*/ 2558 h 3303"/>
                <a:gd name="T42" fmla="*/ 1980 w 2076"/>
                <a:gd name="T43" fmla="*/ 2738 h 3303"/>
                <a:gd name="T44" fmla="*/ 1849 w 2076"/>
                <a:gd name="T45" fmla="*/ 2929 h 3303"/>
                <a:gd name="T46" fmla="*/ 1693 w 2076"/>
                <a:gd name="T47" fmla="*/ 3074 h 3303"/>
                <a:gd name="T48" fmla="*/ 1538 w 2076"/>
                <a:gd name="T49" fmla="*/ 3175 h 3303"/>
                <a:gd name="T50" fmla="*/ 1409 w 2076"/>
                <a:gd name="T51" fmla="*/ 3240 h 3303"/>
                <a:gd name="T52" fmla="*/ 1332 w 2076"/>
                <a:gd name="T53" fmla="*/ 3269 h 3303"/>
                <a:gd name="T54" fmla="*/ 1174 w 2076"/>
                <a:gd name="T55" fmla="*/ 3297 h 3303"/>
                <a:gd name="T56" fmla="*/ 908 w 2076"/>
                <a:gd name="T57" fmla="*/ 3293 h 3303"/>
                <a:gd name="T58" fmla="*/ 682 w 2076"/>
                <a:gd name="T59" fmla="*/ 3237 h 3303"/>
                <a:gd name="T60" fmla="*/ 501 w 2076"/>
                <a:gd name="T61" fmla="*/ 3153 h 3303"/>
                <a:gd name="T62" fmla="*/ 368 w 2076"/>
                <a:gd name="T63" fmla="*/ 3064 h 3303"/>
                <a:gd name="T64" fmla="*/ 285 w 2076"/>
                <a:gd name="T65" fmla="*/ 2994 h 3303"/>
                <a:gd name="T66" fmla="*/ 257 w 2076"/>
                <a:gd name="T67" fmla="*/ 2965 h 3303"/>
                <a:gd name="T68" fmla="*/ 99 w 2076"/>
                <a:gd name="T69" fmla="*/ 2735 h 3303"/>
                <a:gd name="T70" fmla="*/ 20 w 2076"/>
                <a:gd name="T71" fmla="*/ 2506 h 3303"/>
                <a:gd name="T72" fmla="*/ 0 w 2076"/>
                <a:gd name="T73" fmla="*/ 2296 h 3303"/>
                <a:gd name="T74" fmla="*/ 8 w 2076"/>
                <a:gd name="T75" fmla="*/ 2161 h 3303"/>
                <a:gd name="T76" fmla="*/ 32 w 2076"/>
                <a:gd name="T77" fmla="*/ 2029 h 3303"/>
                <a:gd name="T78" fmla="*/ 50 w 2076"/>
                <a:gd name="T79" fmla="*/ 1966 h 3303"/>
                <a:gd name="T80" fmla="*/ 82 w 2076"/>
                <a:gd name="T81" fmla="*/ 1893 h 3303"/>
                <a:gd name="T82" fmla="*/ 152 w 2076"/>
                <a:gd name="T83" fmla="*/ 1776 h 3303"/>
                <a:gd name="T84" fmla="*/ 241 w 2076"/>
                <a:gd name="T85" fmla="*/ 1649 h 3303"/>
                <a:gd name="T86" fmla="*/ 331 w 2076"/>
                <a:gd name="T87" fmla="*/ 1530 h 3303"/>
                <a:gd name="T88" fmla="*/ 402 w 2076"/>
                <a:gd name="T89" fmla="*/ 1439 h 3303"/>
                <a:gd name="T90" fmla="*/ 438 w 2076"/>
                <a:gd name="T91" fmla="*/ 1393 h 3303"/>
                <a:gd name="T92" fmla="*/ 786 w 2076"/>
                <a:gd name="T93" fmla="*/ 906 h 3303"/>
                <a:gd name="T94" fmla="*/ 845 w 2076"/>
                <a:gd name="T95" fmla="*/ 660 h 3303"/>
                <a:gd name="T96" fmla="*/ 846 w 2076"/>
                <a:gd name="T97" fmla="*/ 437 h 3303"/>
                <a:gd name="T98" fmla="*/ 812 w 2076"/>
                <a:gd name="T99" fmla="*/ 252 h 3303"/>
                <a:gd name="T100" fmla="*/ 767 w 2076"/>
                <a:gd name="T101" fmla="*/ 116 h 3303"/>
                <a:gd name="T102" fmla="*/ 733 w 2076"/>
                <a:gd name="T103" fmla="*/ 42 h 3303"/>
                <a:gd name="T104" fmla="*/ 747 w 2076"/>
                <a:gd name="T105" fmla="*/ 10 h 3303"/>
                <a:gd name="T106" fmla="*/ 805 w 2076"/>
                <a:gd name="T107" fmla="*/ 9 h 3303"/>
                <a:gd name="T108" fmla="*/ 870 w 2076"/>
                <a:gd name="T109" fmla="*/ 40 h 3303"/>
                <a:gd name="T110" fmla="*/ 919 w 2076"/>
                <a:gd name="T111" fmla="*/ 74 h 3303"/>
                <a:gd name="T112" fmla="*/ 945 w 2076"/>
                <a:gd name="T113" fmla="*/ 61 h 3303"/>
                <a:gd name="T114" fmla="*/ 1007 w 2076"/>
                <a:gd name="T115" fmla="*/ 12 h 3303"/>
                <a:gd name="T116" fmla="*/ 1071 w 2076"/>
                <a:gd name="T117" fmla="*/ 20 h 3303"/>
                <a:gd name="T118" fmla="*/ 1125 w 2076"/>
                <a:gd name="T119" fmla="*/ 53 h 3303"/>
                <a:gd name="T120" fmla="*/ 1153 w 2076"/>
                <a:gd name="T121" fmla="*/ 79 h 3303"/>
                <a:gd name="T122" fmla="*/ 1228 w 2076"/>
                <a:gd name="T123" fmla="*/ 24 h 3303"/>
                <a:gd name="T124" fmla="*/ 1293 w 2076"/>
                <a:gd name="T125" fmla="*/ 0 h 3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6" h="3303">
                  <a:moveTo>
                    <a:pt x="1293" y="0"/>
                  </a:moveTo>
                  <a:lnTo>
                    <a:pt x="1305" y="1"/>
                  </a:lnTo>
                  <a:lnTo>
                    <a:pt x="1314" y="3"/>
                  </a:lnTo>
                  <a:lnTo>
                    <a:pt x="1322" y="6"/>
                  </a:lnTo>
                  <a:lnTo>
                    <a:pt x="1328" y="11"/>
                  </a:lnTo>
                  <a:lnTo>
                    <a:pt x="1333" y="15"/>
                  </a:lnTo>
                  <a:lnTo>
                    <a:pt x="1337" y="20"/>
                  </a:lnTo>
                  <a:lnTo>
                    <a:pt x="1340" y="25"/>
                  </a:lnTo>
                  <a:lnTo>
                    <a:pt x="1342" y="28"/>
                  </a:lnTo>
                  <a:lnTo>
                    <a:pt x="1343" y="31"/>
                  </a:lnTo>
                  <a:lnTo>
                    <a:pt x="1343" y="32"/>
                  </a:lnTo>
                  <a:lnTo>
                    <a:pt x="1307" y="101"/>
                  </a:lnTo>
                  <a:lnTo>
                    <a:pt x="1278" y="168"/>
                  </a:lnTo>
                  <a:lnTo>
                    <a:pt x="1254" y="234"/>
                  </a:lnTo>
                  <a:lnTo>
                    <a:pt x="1234" y="299"/>
                  </a:lnTo>
                  <a:lnTo>
                    <a:pt x="1220" y="361"/>
                  </a:lnTo>
                  <a:lnTo>
                    <a:pt x="1210" y="421"/>
                  </a:lnTo>
                  <a:lnTo>
                    <a:pt x="1204" y="479"/>
                  </a:lnTo>
                  <a:lnTo>
                    <a:pt x="1202" y="536"/>
                  </a:lnTo>
                  <a:lnTo>
                    <a:pt x="1204" y="590"/>
                  </a:lnTo>
                  <a:lnTo>
                    <a:pt x="1208" y="641"/>
                  </a:lnTo>
                  <a:lnTo>
                    <a:pt x="1214" y="690"/>
                  </a:lnTo>
                  <a:lnTo>
                    <a:pt x="1223" y="737"/>
                  </a:lnTo>
                  <a:lnTo>
                    <a:pt x="1233" y="780"/>
                  </a:lnTo>
                  <a:lnTo>
                    <a:pt x="1245" y="820"/>
                  </a:lnTo>
                  <a:lnTo>
                    <a:pt x="1257" y="856"/>
                  </a:lnTo>
                  <a:lnTo>
                    <a:pt x="1270" y="890"/>
                  </a:lnTo>
                  <a:lnTo>
                    <a:pt x="1283" y="921"/>
                  </a:lnTo>
                  <a:lnTo>
                    <a:pt x="1295" y="948"/>
                  </a:lnTo>
                  <a:lnTo>
                    <a:pt x="1306" y="970"/>
                  </a:lnTo>
                  <a:lnTo>
                    <a:pt x="1317" y="989"/>
                  </a:lnTo>
                  <a:lnTo>
                    <a:pt x="1325" y="1004"/>
                  </a:lnTo>
                  <a:lnTo>
                    <a:pt x="1332" y="1015"/>
                  </a:lnTo>
                  <a:lnTo>
                    <a:pt x="1336" y="1022"/>
                  </a:lnTo>
                  <a:lnTo>
                    <a:pt x="1338" y="1024"/>
                  </a:lnTo>
                  <a:lnTo>
                    <a:pt x="1340" y="1030"/>
                  </a:lnTo>
                  <a:lnTo>
                    <a:pt x="1346" y="1039"/>
                  </a:lnTo>
                  <a:lnTo>
                    <a:pt x="1354" y="1052"/>
                  </a:lnTo>
                  <a:lnTo>
                    <a:pt x="1365" y="1067"/>
                  </a:lnTo>
                  <a:lnTo>
                    <a:pt x="1380" y="1085"/>
                  </a:lnTo>
                  <a:lnTo>
                    <a:pt x="1396" y="1106"/>
                  </a:lnTo>
                  <a:lnTo>
                    <a:pt x="1414" y="1129"/>
                  </a:lnTo>
                  <a:lnTo>
                    <a:pt x="1433" y="1153"/>
                  </a:lnTo>
                  <a:lnTo>
                    <a:pt x="1454" y="1178"/>
                  </a:lnTo>
                  <a:lnTo>
                    <a:pt x="1476" y="1205"/>
                  </a:lnTo>
                  <a:lnTo>
                    <a:pt x="1499" y="1232"/>
                  </a:lnTo>
                  <a:lnTo>
                    <a:pt x="1523" y="1260"/>
                  </a:lnTo>
                  <a:lnTo>
                    <a:pt x="1547" y="1288"/>
                  </a:lnTo>
                  <a:lnTo>
                    <a:pt x="1571" y="1316"/>
                  </a:lnTo>
                  <a:lnTo>
                    <a:pt x="1595" y="1345"/>
                  </a:lnTo>
                  <a:lnTo>
                    <a:pt x="1618" y="1372"/>
                  </a:lnTo>
                  <a:lnTo>
                    <a:pt x="1642" y="1399"/>
                  </a:lnTo>
                  <a:lnTo>
                    <a:pt x="1664" y="1424"/>
                  </a:lnTo>
                  <a:lnTo>
                    <a:pt x="1685" y="1448"/>
                  </a:lnTo>
                  <a:lnTo>
                    <a:pt x="1704" y="1470"/>
                  </a:lnTo>
                  <a:lnTo>
                    <a:pt x="1721" y="1490"/>
                  </a:lnTo>
                  <a:lnTo>
                    <a:pt x="1737" y="1508"/>
                  </a:lnTo>
                  <a:lnTo>
                    <a:pt x="1750" y="1523"/>
                  </a:lnTo>
                  <a:lnTo>
                    <a:pt x="1761" y="1535"/>
                  </a:lnTo>
                  <a:lnTo>
                    <a:pt x="1770" y="1545"/>
                  </a:lnTo>
                  <a:lnTo>
                    <a:pt x="1775" y="1551"/>
                  </a:lnTo>
                  <a:lnTo>
                    <a:pt x="1776" y="1553"/>
                  </a:lnTo>
                  <a:lnTo>
                    <a:pt x="1829" y="1619"/>
                  </a:lnTo>
                  <a:lnTo>
                    <a:pt x="1875" y="1684"/>
                  </a:lnTo>
                  <a:lnTo>
                    <a:pt x="1917" y="1750"/>
                  </a:lnTo>
                  <a:lnTo>
                    <a:pt x="1952" y="1814"/>
                  </a:lnTo>
                  <a:lnTo>
                    <a:pt x="1981" y="1877"/>
                  </a:lnTo>
                  <a:lnTo>
                    <a:pt x="2006" y="1939"/>
                  </a:lnTo>
                  <a:lnTo>
                    <a:pt x="2026" y="2000"/>
                  </a:lnTo>
                  <a:lnTo>
                    <a:pt x="2044" y="2059"/>
                  </a:lnTo>
                  <a:lnTo>
                    <a:pt x="2056" y="2115"/>
                  </a:lnTo>
                  <a:lnTo>
                    <a:pt x="2065" y="2170"/>
                  </a:lnTo>
                  <a:lnTo>
                    <a:pt x="2071" y="2222"/>
                  </a:lnTo>
                  <a:lnTo>
                    <a:pt x="2075" y="2271"/>
                  </a:lnTo>
                  <a:lnTo>
                    <a:pt x="2076" y="2317"/>
                  </a:lnTo>
                  <a:lnTo>
                    <a:pt x="2076" y="2360"/>
                  </a:lnTo>
                  <a:lnTo>
                    <a:pt x="2074" y="2400"/>
                  </a:lnTo>
                  <a:lnTo>
                    <a:pt x="2070" y="2436"/>
                  </a:lnTo>
                  <a:lnTo>
                    <a:pt x="2066" y="2467"/>
                  </a:lnTo>
                  <a:lnTo>
                    <a:pt x="2062" y="2495"/>
                  </a:lnTo>
                  <a:lnTo>
                    <a:pt x="2057" y="2518"/>
                  </a:lnTo>
                  <a:lnTo>
                    <a:pt x="2053" y="2536"/>
                  </a:lnTo>
                  <a:lnTo>
                    <a:pt x="2050" y="2549"/>
                  </a:lnTo>
                  <a:lnTo>
                    <a:pt x="2048" y="2558"/>
                  </a:lnTo>
                  <a:lnTo>
                    <a:pt x="2047" y="2560"/>
                  </a:lnTo>
                  <a:lnTo>
                    <a:pt x="2028" y="2623"/>
                  </a:lnTo>
                  <a:lnTo>
                    <a:pt x="2005" y="2682"/>
                  </a:lnTo>
                  <a:lnTo>
                    <a:pt x="1980" y="2738"/>
                  </a:lnTo>
                  <a:lnTo>
                    <a:pt x="1951" y="2791"/>
                  </a:lnTo>
                  <a:lnTo>
                    <a:pt x="1919" y="2840"/>
                  </a:lnTo>
                  <a:lnTo>
                    <a:pt x="1885" y="2886"/>
                  </a:lnTo>
                  <a:lnTo>
                    <a:pt x="1849" y="2929"/>
                  </a:lnTo>
                  <a:lnTo>
                    <a:pt x="1811" y="2969"/>
                  </a:lnTo>
                  <a:lnTo>
                    <a:pt x="1773" y="3008"/>
                  </a:lnTo>
                  <a:lnTo>
                    <a:pt x="1733" y="3042"/>
                  </a:lnTo>
                  <a:lnTo>
                    <a:pt x="1693" y="3074"/>
                  </a:lnTo>
                  <a:lnTo>
                    <a:pt x="1653" y="3103"/>
                  </a:lnTo>
                  <a:lnTo>
                    <a:pt x="1613" y="3130"/>
                  </a:lnTo>
                  <a:lnTo>
                    <a:pt x="1575" y="3154"/>
                  </a:lnTo>
                  <a:lnTo>
                    <a:pt x="1538" y="3175"/>
                  </a:lnTo>
                  <a:lnTo>
                    <a:pt x="1502" y="3195"/>
                  </a:lnTo>
                  <a:lnTo>
                    <a:pt x="1468" y="3212"/>
                  </a:lnTo>
                  <a:lnTo>
                    <a:pt x="1437" y="3227"/>
                  </a:lnTo>
                  <a:lnTo>
                    <a:pt x="1409" y="3240"/>
                  </a:lnTo>
                  <a:lnTo>
                    <a:pt x="1385" y="3250"/>
                  </a:lnTo>
                  <a:lnTo>
                    <a:pt x="1362" y="3258"/>
                  </a:lnTo>
                  <a:lnTo>
                    <a:pt x="1345" y="3265"/>
                  </a:lnTo>
                  <a:lnTo>
                    <a:pt x="1332" y="3269"/>
                  </a:lnTo>
                  <a:lnTo>
                    <a:pt x="1324" y="3272"/>
                  </a:lnTo>
                  <a:lnTo>
                    <a:pt x="1322" y="3273"/>
                  </a:lnTo>
                  <a:lnTo>
                    <a:pt x="1247" y="3287"/>
                  </a:lnTo>
                  <a:lnTo>
                    <a:pt x="1174" y="3297"/>
                  </a:lnTo>
                  <a:lnTo>
                    <a:pt x="1103" y="3302"/>
                  </a:lnTo>
                  <a:lnTo>
                    <a:pt x="1036" y="3303"/>
                  </a:lnTo>
                  <a:lnTo>
                    <a:pt x="970" y="3300"/>
                  </a:lnTo>
                  <a:lnTo>
                    <a:pt x="908" y="3293"/>
                  </a:lnTo>
                  <a:lnTo>
                    <a:pt x="847" y="3283"/>
                  </a:lnTo>
                  <a:lnTo>
                    <a:pt x="789" y="3270"/>
                  </a:lnTo>
                  <a:lnTo>
                    <a:pt x="735" y="3255"/>
                  </a:lnTo>
                  <a:lnTo>
                    <a:pt x="682" y="3237"/>
                  </a:lnTo>
                  <a:lnTo>
                    <a:pt x="633" y="3218"/>
                  </a:lnTo>
                  <a:lnTo>
                    <a:pt x="585" y="3197"/>
                  </a:lnTo>
                  <a:lnTo>
                    <a:pt x="542" y="3175"/>
                  </a:lnTo>
                  <a:lnTo>
                    <a:pt x="501" y="3153"/>
                  </a:lnTo>
                  <a:lnTo>
                    <a:pt x="463" y="3130"/>
                  </a:lnTo>
                  <a:lnTo>
                    <a:pt x="428" y="3108"/>
                  </a:lnTo>
                  <a:lnTo>
                    <a:pt x="396" y="3086"/>
                  </a:lnTo>
                  <a:lnTo>
                    <a:pt x="368" y="3064"/>
                  </a:lnTo>
                  <a:lnTo>
                    <a:pt x="342" y="3044"/>
                  </a:lnTo>
                  <a:lnTo>
                    <a:pt x="319" y="3026"/>
                  </a:lnTo>
                  <a:lnTo>
                    <a:pt x="300" y="3009"/>
                  </a:lnTo>
                  <a:lnTo>
                    <a:pt x="285" y="2994"/>
                  </a:lnTo>
                  <a:lnTo>
                    <a:pt x="272" y="2981"/>
                  </a:lnTo>
                  <a:lnTo>
                    <a:pt x="264" y="2972"/>
                  </a:lnTo>
                  <a:lnTo>
                    <a:pt x="258" y="2967"/>
                  </a:lnTo>
                  <a:lnTo>
                    <a:pt x="257" y="2965"/>
                  </a:lnTo>
                  <a:lnTo>
                    <a:pt x="209" y="2909"/>
                  </a:lnTo>
                  <a:lnTo>
                    <a:pt x="166" y="2852"/>
                  </a:lnTo>
                  <a:lnTo>
                    <a:pt x="130" y="2794"/>
                  </a:lnTo>
                  <a:lnTo>
                    <a:pt x="99" y="2735"/>
                  </a:lnTo>
                  <a:lnTo>
                    <a:pt x="73" y="2677"/>
                  </a:lnTo>
                  <a:lnTo>
                    <a:pt x="51" y="2620"/>
                  </a:lnTo>
                  <a:lnTo>
                    <a:pt x="34" y="2562"/>
                  </a:lnTo>
                  <a:lnTo>
                    <a:pt x="20" y="2506"/>
                  </a:lnTo>
                  <a:lnTo>
                    <a:pt x="11" y="2451"/>
                  </a:lnTo>
                  <a:lnTo>
                    <a:pt x="4" y="2398"/>
                  </a:lnTo>
                  <a:lnTo>
                    <a:pt x="1" y="2345"/>
                  </a:lnTo>
                  <a:lnTo>
                    <a:pt x="0" y="2296"/>
                  </a:lnTo>
                  <a:lnTo>
                    <a:pt x="0" y="2296"/>
                  </a:lnTo>
                  <a:lnTo>
                    <a:pt x="1" y="2248"/>
                  </a:lnTo>
                  <a:lnTo>
                    <a:pt x="3" y="2204"/>
                  </a:lnTo>
                  <a:lnTo>
                    <a:pt x="8" y="2161"/>
                  </a:lnTo>
                  <a:lnTo>
                    <a:pt x="13" y="2123"/>
                  </a:lnTo>
                  <a:lnTo>
                    <a:pt x="19" y="2087"/>
                  </a:lnTo>
                  <a:lnTo>
                    <a:pt x="25" y="2056"/>
                  </a:lnTo>
                  <a:lnTo>
                    <a:pt x="32" y="2029"/>
                  </a:lnTo>
                  <a:lnTo>
                    <a:pt x="37" y="2006"/>
                  </a:lnTo>
                  <a:lnTo>
                    <a:pt x="43" y="1987"/>
                  </a:lnTo>
                  <a:lnTo>
                    <a:pt x="47" y="1974"/>
                  </a:lnTo>
                  <a:lnTo>
                    <a:pt x="50" y="1966"/>
                  </a:lnTo>
                  <a:lnTo>
                    <a:pt x="51" y="1963"/>
                  </a:lnTo>
                  <a:lnTo>
                    <a:pt x="58" y="1941"/>
                  </a:lnTo>
                  <a:lnTo>
                    <a:pt x="69" y="1918"/>
                  </a:lnTo>
                  <a:lnTo>
                    <a:pt x="82" y="1893"/>
                  </a:lnTo>
                  <a:lnTo>
                    <a:pt x="97" y="1866"/>
                  </a:lnTo>
                  <a:lnTo>
                    <a:pt x="114" y="1837"/>
                  </a:lnTo>
                  <a:lnTo>
                    <a:pt x="132" y="1807"/>
                  </a:lnTo>
                  <a:lnTo>
                    <a:pt x="152" y="1776"/>
                  </a:lnTo>
                  <a:lnTo>
                    <a:pt x="173" y="1744"/>
                  </a:lnTo>
                  <a:lnTo>
                    <a:pt x="195" y="1712"/>
                  </a:lnTo>
                  <a:lnTo>
                    <a:pt x="219" y="1681"/>
                  </a:lnTo>
                  <a:lnTo>
                    <a:pt x="241" y="1649"/>
                  </a:lnTo>
                  <a:lnTo>
                    <a:pt x="264" y="1618"/>
                  </a:lnTo>
                  <a:lnTo>
                    <a:pt x="286" y="1588"/>
                  </a:lnTo>
                  <a:lnTo>
                    <a:pt x="308" y="1559"/>
                  </a:lnTo>
                  <a:lnTo>
                    <a:pt x="331" y="1530"/>
                  </a:lnTo>
                  <a:lnTo>
                    <a:pt x="351" y="1504"/>
                  </a:lnTo>
                  <a:lnTo>
                    <a:pt x="369" y="1480"/>
                  </a:lnTo>
                  <a:lnTo>
                    <a:pt x="386" y="1458"/>
                  </a:lnTo>
                  <a:lnTo>
                    <a:pt x="402" y="1439"/>
                  </a:lnTo>
                  <a:lnTo>
                    <a:pt x="415" y="1422"/>
                  </a:lnTo>
                  <a:lnTo>
                    <a:pt x="425" y="1409"/>
                  </a:lnTo>
                  <a:lnTo>
                    <a:pt x="433" y="1399"/>
                  </a:lnTo>
                  <a:lnTo>
                    <a:pt x="438" y="1393"/>
                  </a:lnTo>
                  <a:lnTo>
                    <a:pt x="440" y="1391"/>
                  </a:lnTo>
                  <a:lnTo>
                    <a:pt x="727" y="1035"/>
                  </a:lnTo>
                  <a:lnTo>
                    <a:pt x="759" y="971"/>
                  </a:lnTo>
                  <a:lnTo>
                    <a:pt x="786" y="906"/>
                  </a:lnTo>
                  <a:lnTo>
                    <a:pt x="808" y="843"/>
                  </a:lnTo>
                  <a:lnTo>
                    <a:pt x="824" y="781"/>
                  </a:lnTo>
                  <a:lnTo>
                    <a:pt x="837" y="720"/>
                  </a:lnTo>
                  <a:lnTo>
                    <a:pt x="845" y="660"/>
                  </a:lnTo>
                  <a:lnTo>
                    <a:pt x="851" y="601"/>
                  </a:lnTo>
                  <a:lnTo>
                    <a:pt x="852" y="545"/>
                  </a:lnTo>
                  <a:lnTo>
                    <a:pt x="851" y="490"/>
                  </a:lnTo>
                  <a:lnTo>
                    <a:pt x="846" y="437"/>
                  </a:lnTo>
                  <a:lnTo>
                    <a:pt x="840" y="387"/>
                  </a:lnTo>
                  <a:lnTo>
                    <a:pt x="832" y="340"/>
                  </a:lnTo>
                  <a:lnTo>
                    <a:pt x="823" y="294"/>
                  </a:lnTo>
                  <a:lnTo>
                    <a:pt x="812" y="252"/>
                  </a:lnTo>
                  <a:lnTo>
                    <a:pt x="801" y="213"/>
                  </a:lnTo>
                  <a:lnTo>
                    <a:pt x="789" y="177"/>
                  </a:lnTo>
                  <a:lnTo>
                    <a:pt x="778" y="145"/>
                  </a:lnTo>
                  <a:lnTo>
                    <a:pt x="767" y="116"/>
                  </a:lnTo>
                  <a:lnTo>
                    <a:pt x="756" y="92"/>
                  </a:lnTo>
                  <a:lnTo>
                    <a:pt x="747" y="70"/>
                  </a:lnTo>
                  <a:lnTo>
                    <a:pt x="739" y="54"/>
                  </a:lnTo>
                  <a:lnTo>
                    <a:pt x="733" y="42"/>
                  </a:lnTo>
                  <a:lnTo>
                    <a:pt x="729" y="34"/>
                  </a:lnTo>
                  <a:lnTo>
                    <a:pt x="727" y="32"/>
                  </a:lnTo>
                  <a:lnTo>
                    <a:pt x="736" y="19"/>
                  </a:lnTo>
                  <a:lnTo>
                    <a:pt x="747" y="10"/>
                  </a:lnTo>
                  <a:lnTo>
                    <a:pt x="760" y="5"/>
                  </a:lnTo>
                  <a:lnTo>
                    <a:pt x="774" y="4"/>
                  </a:lnTo>
                  <a:lnTo>
                    <a:pt x="789" y="5"/>
                  </a:lnTo>
                  <a:lnTo>
                    <a:pt x="805" y="9"/>
                  </a:lnTo>
                  <a:lnTo>
                    <a:pt x="821" y="15"/>
                  </a:lnTo>
                  <a:lnTo>
                    <a:pt x="837" y="22"/>
                  </a:lnTo>
                  <a:lnTo>
                    <a:pt x="854" y="31"/>
                  </a:lnTo>
                  <a:lnTo>
                    <a:pt x="870" y="40"/>
                  </a:lnTo>
                  <a:lnTo>
                    <a:pt x="884" y="49"/>
                  </a:lnTo>
                  <a:lnTo>
                    <a:pt x="898" y="58"/>
                  </a:lnTo>
                  <a:lnTo>
                    <a:pt x="909" y="67"/>
                  </a:lnTo>
                  <a:lnTo>
                    <a:pt x="919" y="74"/>
                  </a:lnTo>
                  <a:lnTo>
                    <a:pt x="926" y="80"/>
                  </a:lnTo>
                  <a:lnTo>
                    <a:pt x="931" y="84"/>
                  </a:lnTo>
                  <a:lnTo>
                    <a:pt x="932" y="85"/>
                  </a:lnTo>
                  <a:lnTo>
                    <a:pt x="945" y="61"/>
                  </a:lnTo>
                  <a:lnTo>
                    <a:pt x="960" y="41"/>
                  </a:lnTo>
                  <a:lnTo>
                    <a:pt x="975" y="27"/>
                  </a:lnTo>
                  <a:lnTo>
                    <a:pt x="991" y="18"/>
                  </a:lnTo>
                  <a:lnTo>
                    <a:pt x="1007" y="12"/>
                  </a:lnTo>
                  <a:lnTo>
                    <a:pt x="1024" y="10"/>
                  </a:lnTo>
                  <a:lnTo>
                    <a:pt x="1040" y="11"/>
                  </a:lnTo>
                  <a:lnTo>
                    <a:pt x="1056" y="15"/>
                  </a:lnTo>
                  <a:lnTo>
                    <a:pt x="1071" y="20"/>
                  </a:lnTo>
                  <a:lnTo>
                    <a:pt x="1086" y="28"/>
                  </a:lnTo>
                  <a:lnTo>
                    <a:pt x="1100" y="36"/>
                  </a:lnTo>
                  <a:lnTo>
                    <a:pt x="1114" y="44"/>
                  </a:lnTo>
                  <a:lnTo>
                    <a:pt x="1125" y="53"/>
                  </a:lnTo>
                  <a:lnTo>
                    <a:pt x="1135" y="62"/>
                  </a:lnTo>
                  <a:lnTo>
                    <a:pt x="1143" y="69"/>
                  </a:lnTo>
                  <a:lnTo>
                    <a:pt x="1149" y="75"/>
                  </a:lnTo>
                  <a:lnTo>
                    <a:pt x="1153" y="79"/>
                  </a:lnTo>
                  <a:lnTo>
                    <a:pt x="1154" y="80"/>
                  </a:lnTo>
                  <a:lnTo>
                    <a:pt x="1181" y="57"/>
                  </a:lnTo>
                  <a:lnTo>
                    <a:pt x="1206" y="38"/>
                  </a:lnTo>
                  <a:lnTo>
                    <a:pt x="1228" y="24"/>
                  </a:lnTo>
                  <a:lnTo>
                    <a:pt x="1248" y="13"/>
                  </a:lnTo>
                  <a:lnTo>
                    <a:pt x="1265" y="6"/>
                  </a:lnTo>
                  <a:lnTo>
                    <a:pt x="1280" y="2"/>
                  </a:lnTo>
                  <a:lnTo>
                    <a:pt x="129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197">
              <a:extLst>
                <a:ext uri="{FF2B5EF4-FFF2-40B4-BE49-F238E27FC236}">
                  <a16:creationId xmlns:a16="http://schemas.microsoft.com/office/drawing/2014/main" id="{092ADDF4-EE10-B444-97F5-01C2CAD51D0E}"/>
                </a:ext>
              </a:extLst>
            </p:cNvPr>
            <p:cNvSpPr>
              <a:spLocks noEditPoints="1"/>
            </p:cNvSpPr>
            <p:nvPr/>
          </p:nvSpPr>
          <p:spPr bwMode="auto">
            <a:xfrm>
              <a:off x="5330825" y="5197475"/>
              <a:ext cx="452438" cy="1025525"/>
            </a:xfrm>
            <a:custGeom>
              <a:avLst/>
              <a:gdLst>
                <a:gd name="T0" fmla="*/ 115 w 1141"/>
                <a:gd name="T1" fmla="*/ 2582 h 2582"/>
                <a:gd name="T2" fmla="*/ 32 w 1141"/>
                <a:gd name="T3" fmla="*/ 2579 h 2582"/>
                <a:gd name="T4" fmla="*/ 721 w 1141"/>
                <a:gd name="T5" fmla="*/ 2381 h 2582"/>
                <a:gd name="T6" fmla="*/ 538 w 1141"/>
                <a:gd name="T7" fmla="*/ 2489 h 2582"/>
                <a:gd name="T8" fmla="*/ 678 w 1141"/>
                <a:gd name="T9" fmla="*/ 2408 h 2582"/>
                <a:gd name="T10" fmla="*/ 1134 w 1141"/>
                <a:gd name="T11" fmla="*/ 1491 h 2582"/>
                <a:gd name="T12" fmla="*/ 1138 w 1141"/>
                <a:gd name="T13" fmla="*/ 1690 h 2582"/>
                <a:gd name="T14" fmla="*/ 1109 w 1141"/>
                <a:gd name="T15" fmla="*/ 1860 h 2582"/>
                <a:gd name="T16" fmla="*/ 1054 w 1141"/>
                <a:gd name="T17" fmla="*/ 2004 h 2582"/>
                <a:gd name="T18" fmla="*/ 987 w 1141"/>
                <a:gd name="T19" fmla="*/ 2121 h 2582"/>
                <a:gd name="T20" fmla="*/ 916 w 1141"/>
                <a:gd name="T21" fmla="*/ 2212 h 2582"/>
                <a:gd name="T22" fmla="*/ 852 w 1141"/>
                <a:gd name="T23" fmla="*/ 2278 h 2582"/>
                <a:gd name="T24" fmla="*/ 803 w 1141"/>
                <a:gd name="T25" fmla="*/ 2318 h 2582"/>
                <a:gd name="T26" fmla="*/ 781 w 1141"/>
                <a:gd name="T27" fmla="*/ 2334 h 2582"/>
                <a:gd name="T28" fmla="*/ 856 w 1141"/>
                <a:gd name="T29" fmla="*/ 2267 h 2582"/>
                <a:gd name="T30" fmla="*/ 961 w 1141"/>
                <a:gd name="T31" fmla="*/ 2150 h 2582"/>
                <a:gd name="T32" fmla="*/ 1048 w 1141"/>
                <a:gd name="T33" fmla="*/ 2008 h 2582"/>
                <a:gd name="T34" fmla="*/ 1111 w 1141"/>
                <a:gd name="T35" fmla="*/ 1839 h 2582"/>
                <a:gd name="T36" fmla="*/ 1117 w 1141"/>
                <a:gd name="T37" fmla="*/ 1814 h 2582"/>
                <a:gd name="T38" fmla="*/ 1131 w 1141"/>
                <a:gd name="T39" fmla="*/ 1743 h 2582"/>
                <a:gd name="T40" fmla="*/ 1140 w 1141"/>
                <a:gd name="T41" fmla="*/ 1633 h 2582"/>
                <a:gd name="T42" fmla="*/ 1134 w 1141"/>
                <a:gd name="T43" fmla="*/ 1491 h 2582"/>
                <a:gd name="T44" fmla="*/ 948 w 1141"/>
                <a:gd name="T45" fmla="*/ 974 h 2582"/>
                <a:gd name="T46" fmla="*/ 970 w 1141"/>
                <a:gd name="T47" fmla="*/ 1010 h 2582"/>
                <a:gd name="T48" fmla="*/ 669 w 1141"/>
                <a:gd name="T49" fmla="*/ 636 h 2582"/>
                <a:gd name="T50" fmla="*/ 679 w 1141"/>
                <a:gd name="T51" fmla="*/ 647 h 2582"/>
                <a:gd name="T52" fmla="*/ 682 w 1141"/>
                <a:gd name="T53" fmla="*/ 651 h 2582"/>
                <a:gd name="T54" fmla="*/ 740 w 1141"/>
                <a:gd name="T55" fmla="*/ 716 h 2582"/>
                <a:gd name="T56" fmla="*/ 818 w 1141"/>
                <a:gd name="T57" fmla="*/ 805 h 2582"/>
                <a:gd name="T58" fmla="*/ 839 w 1141"/>
                <a:gd name="T59" fmla="*/ 830 h 2582"/>
                <a:gd name="T60" fmla="*/ 816 w 1141"/>
                <a:gd name="T61" fmla="*/ 804 h 2582"/>
                <a:gd name="T62" fmla="*/ 772 w 1141"/>
                <a:gd name="T63" fmla="*/ 754 h 2582"/>
                <a:gd name="T64" fmla="*/ 714 w 1141"/>
                <a:gd name="T65" fmla="*/ 687 h 2582"/>
                <a:gd name="T66" fmla="*/ 304 w 1141"/>
                <a:gd name="T67" fmla="*/ 84 h 2582"/>
                <a:gd name="T68" fmla="*/ 369 w 1141"/>
                <a:gd name="T69" fmla="*/ 241 h 2582"/>
                <a:gd name="T70" fmla="*/ 461 w 1141"/>
                <a:gd name="T71" fmla="*/ 381 h 2582"/>
                <a:gd name="T72" fmla="*/ 559 w 1141"/>
                <a:gd name="T73" fmla="*/ 507 h 2582"/>
                <a:gd name="T74" fmla="*/ 495 w 1141"/>
                <a:gd name="T75" fmla="*/ 429 h 2582"/>
                <a:gd name="T76" fmla="*/ 443 w 1141"/>
                <a:gd name="T77" fmla="*/ 363 h 2582"/>
                <a:gd name="T78" fmla="*/ 409 w 1141"/>
                <a:gd name="T79" fmla="*/ 318 h 2582"/>
                <a:gd name="T80" fmla="*/ 400 w 1141"/>
                <a:gd name="T81" fmla="*/ 301 h 2582"/>
                <a:gd name="T82" fmla="*/ 383 w 1141"/>
                <a:gd name="T83" fmla="*/ 272 h 2582"/>
                <a:gd name="T84" fmla="*/ 352 w 1141"/>
                <a:gd name="T85" fmla="*/ 211 h 2582"/>
                <a:gd name="T86" fmla="*/ 316 w 1141"/>
                <a:gd name="T87" fmla="*/ 120 h 2582"/>
                <a:gd name="T88" fmla="*/ 285 w 1141"/>
                <a:gd name="T89" fmla="*/ 5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1" h="2582">
                  <a:moveTo>
                    <a:pt x="0" y="2575"/>
                  </a:moveTo>
                  <a:lnTo>
                    <a:pt x="57" y="2580"/>
                  </a:lnTo>
                  <a:lnTo>
                    <a:pt x="115" y="2582"/>
                  </a:lnTo>
                  <a:lnTo>
                    <a:pt x="108" y="2582"/>
                  </a:lnTo>
                  <a:lnTo>
                    <a:pt x="69" y="2581"/>
                  </a:lnTo>
                  <a:lnTo>
                    <a:pt x="32" y="2579"/>
                  </a:lnTo>
                  <a:lnTo>
                    <a:pt x="0" y="2575"/>
                  </a:lnTo>
                  <a:close/>
                  <a:moveTo>
                    <a:pt x="780" y="2334"/>
                  </a:moveTo>
                  <a:lnTo>
                    <a:pt x="721" y="2381"/>
                  </a:lnTo>
                  <a:lnTo>
                    <a:pt x="660" y="2422"/>
                  </a:lnTo>
                  <a:lnTo>
                    <a:pt x="600" y="2458"/>
                  </a:lnTo>
                  <a:lnTo>
                    <a:pt x="538" y="2489"/>
                  </a:lnTo>
                  <a:lnTo>
                    <a:pt x="583" y="2465"/>
                  </a:lnTo>
                  <a:lnTo>
                    <a:pt x="630" y="2438"/>
                  </a:lnTo>
                  <a:lnTo>
                    <a:pt x="678" y="2408"/>
                  </a:lnTo>
                  <a:lnTo>
                    <a:pt x="730" y="2373"/>
                  </a:lnTo>
                  <a:lnTo>
                    <a:pt x="780" y="2334"/>
                  </a:lnTo>
                  <a:close/>
                  <a:moveTo>
                    <a:pt x="1134" y="1491"/>
                  </a:moveTo>
                  <a:lnTo>
                    <a:pt x="1140" y="1560"/>
                  </a:lnTo>
                  <a:lnTo>
                    <a:pt x="1141" y="1626"/>
                  </a:lnTo>
                  <a:lnTo>
                    <a:pt x="1138" y="1690"/>
                  </a:lnTo>
                  <a:lnTo>
                    <a:pt x="1132" y="1749"/>
                  </a:lnTo>
                  <a:lnTo>
                    <a:pt x="1122" y="1806"/>
                  </a:lnTo>
                  <a:lnTo>
                    <a:pt x="1109" y="1860"/>
                  </a:lnTo>
                  <a:lnTo>
                    <a:pt x="1093" y="1911"/>
                  </a:lnTo>
                  <a:lnTo>
                    <a:pt x="1074" y="1959"/>
                  </a:lnTo>
                  <a:lnTo>
                    <a:pt x="1054" y="2004"/>
                  </a:lnTo>
                  <a:lnTo>
                    <a:pt x="1033" y="2045"/>
                  </a:lnTo>
                  <a:lnTo>
                    <a:pt x="1011" y="2085"/>
                  </a:lnTo>
                  <a:lnTo>
                    <a:pt x="987" y="2121"/>
                  </a:lnTo>
                  <a:lnTo>
                    <a:pt x="964" y="2154"/>
                  </a:lnTo>
                  <a:lnTo>
                    <a:pt x="939" y="2185"/>
                  </a:lnTo>
                  <a:lnTo>
                    <a:pt x="916" y="2212"/>
                  </a:lnTo>
                  <a:lnTo>
                    <a:pt x="893" y="2236"/>
                  </a:lnTo>
                  <a:lnTo>
                    <a:pt x="872" y="2258"/>
                  </a:lnTo>
                  <a:lnTo>
                    <a:pt x="852" y="2278"/>
                  </a:lnTo>
                  <a:lnTo>
                    <a:pt x="834" y="2294"/>
                  </a:lnTo>
                  <a:lnTo>
                    <a:pt x="816" y="2308"/>
                  </a:lnTo>
                  <a:lnTo>
                    <a:pt x="803" y="2318"/>
                  </a:lnTo>
                  <a:lnTo>
                    <a:pt x="792" y="2326"/>
                  </a:lnTo>
                  <a:lnTo>
                    <a:pt x="785" y="2331"/>
                  </a:lnTo>
                  <a:lnTo>
                    <a:pt x="781" y="2334"/>
                  </a:lnTo>
                  <a:lnTo>
                    <a:pt x="781" y="2334"/>
                  </a:lnTo>
                  <a:lnTo>
                    <a:pt x="818" y="2302"/>
                  </a:lnTo>
                  <a:lnTo>
                    <a:pt x="856" y="2267"/>
                  </a:lnTo>
                  <a:lnTo>
                    <a:pt x="892" y="2231"/>
                  </a:lnTo>
                  <a:lnTo>
                    <a:pt x="927" y="2192"/>
                  </a:lnTo>
                  <a:lnTo>
                    <a:pt x="961" y="2150"/>
                  </a:lnTo>
                  <a:lnTo>
                    <a:pt x="992" y="2106"/>
                  </a:lnTo>
                  <a:lnTo>
                    <a:pt x="1022" y="2058"/>
                  </a:lnTo>
                  <a:lnTo>
                    <a:pt x="1048" y="2008"/>
                  </a:lnTo>
                  <a:lnTo>
                    <a:pt x="1072" y="1955"/>
                  </a:lnTo>
                  <a:lnTo>
                    <a:pt x="1094" y="1899"/>
                  </a:lnTo>
                  <a:lnTo>
                    <a:pt x="1111" y="1839"/>
                  </a:lnTo>
                  <a:lnTo>
                    <a:pt x="1112" y="1836"/>
                  </a:lnTo>
                  <a:lnTo>
                    <a:pt x="1114" y="1828"/>
                  </a:lnTo>
                  <a:lnTo>
                    <a:pt x="1117" y="1814"/>
                  </a:lnTo>
                  <a:lnTo>
                    <a:pt x="1122" y="1795"/>
                  </a:lnTo>
                  <a:lnTo>
                    <a:pt x="1126" y="1772"/>
                  </a:lnTo>
                  <a:lnTo>
                    <a:pt x="1131" y="1743"/>
                  </a:lnTo>
                  <a:lnTo>
                    <a:pt x="1135" y="1711"/>
                  </a:lnTo>
                  <a:lnTo>
                    <a:pt x="1138" y="1674"/>
                  </a:lnTo>
                  <a:lnTo>
                    <a:pt x="1140" y="1633"/>
                  </a:lnTo>
                  <a:lnTo>
                    <a:pt x="1140" y="1589"/>
                  </a:lnTo>
                  <a:lnTo>
                    <a:pt x="1139" y="1542"/>
                  </a:lnTo>
                  <a:lnTo>
                    <a:pt x="1134" y="1491"/>
                  </a:lnTo>
                  <a:close/>
                  <a:moveTo>
                    <a:pt x="890" y="894"/>
                  </a:moveTo>
                  <a:lnTo>
                    <a:pt x="920" y="934"/>
                  </a:lnTo>
                  <a:lnTo>
                    <a:pt x="948" y="974"/>
                  </a:lnTo>
                  <a:lnTo>
                    <a:pt x="973" y="1014"/>
                  </a:lnTo>
                  <a:lnTo>
                    <a:pt x="1003" y="1068"/>
                  </a:lnTo>
                  <a:lnTo>
                    <a:pt x="970" y="1010"/>
                  </a:lnTo>
                  <a:lnTo>
                    <a:pt x="932" y="952"/>
                  </a:lnTo>
                  <a:lnTo>
                    <a:pt x="890" y="894"/>
                  </a:lnTo>
                  <a:close/>
                  <a:moveTo>
                    <a:pt x="669" y="636"/>
                  </a:moveTo>
                  <a:lnTo>
                    <a:pt x="673" y="640"/>
                  </a:lnTo>
                  <a:lnTo>
                    <a:pt x="676" y="644"/>
                  </a:lnTo>
                  <a:lnTo>
                    <a:pt x="679" y="647"/>
                  </a:lnTo>
                  <a:lnTo>
                    <a:pt x="681" y="649"/>
                  </a:lnTo>
                  <a:lnTo>
                    <a:pt x="682" y="650"/>
                  </a:lnTo>
                  <a:lnTo>
                    <a:pt x="682" y="651"/>
                  </a:lnTo>
                  <a:lnTo>
                    <a:pt x="699" y="669"/>
                  </a:lnTo>
                  <a:lnTo>
                    <a:pt x="718" y="691"/>
                  </a:lnTo>
                  <a:lnTo>
                    <a:pt x="740" y="716"/>
                  </a:lnTo>
                  <a:lnTo>
                    <a:pt x="765" y="744"/>
                  </a:lnTo>
                  <a:lnTo>
                    <a:pt x="791" y="774"/>
                  </a:lnTo>
                  <a:lnTo>
                    <a:pt x="818" y="805"/>
                  </a:lnTo>
                  <a:lnTo>
                    <a:pt x="847" y="839"/>
                  </a:lnTo>
                  <a:lnTo>
                    <a:pt x="840" y="832"/>
                  </a:lnTo>
                  <a:lnTo>
                    <a:pt x="839" y="830"/>
                  </a:lnTo>
                  <a:lnTo>
                    <a:pt x="834" y="825"/>
                  </a:lnTo>
                  <a:lnTo>
                    <a:pt x="826" y="815"/>
                  </a:lnTo>
                  <a:lnTo>
                    <a:pt x="816" y="804"/>
                  </a:lnTo>
                  <a:lnTo>
                    <a:pt x="803" y="790"/>
                  </a:lnTo>
                  <a:lnTo>
                    <a:pt x="789" y="773"/>
                  </a:lnTo>
                  <a:lnTo>
                    <a:pt x="772" y="754"/>
                  </a:lnTo>
                  <a:lnTo>
                    <a:pt x="754" y="733"/>
                  </a:lnTo>
                  <a:lnTo>
                    <a:pt x="735" y="711"/>
                  </a:lnTo>
                  <a:lnTo>
                    <a:pt x="714" y="687"/>
                  </a:lnTo>
                  <a:lnTo>
                    <a:pt x="691" y="662"/>
                  </a:lnTo>
                  <a:lnTo>
                    <a:pt x="669" y="636"/>
                  </a:lnTo>
                  <a:close/>
                  <a:moveTo>
                    <a:pt x="304" y="84"/>
                  </a:moveTo>
                  <a:lnTo>
                    <a:pt x="323" y="136"/>
                  </a:lnTo>
                  <a:lnTo>
                    <a:pt x="344" y="189"/>
                  </a:lnTo>
                  <a:lnTo>
                    <a:pt x="369" y="241"/>
                  </a:lnTo>
                  <a:lnTo>
                    <a:pt x="396" y="290"/>
                  </a:lnTo>
                  <a:lnTo>
                    <a:pt x="426" y="335"/>
                  </a:lnTo>
                  <a:lnTo>
                    <a:pt x="461" y="381"/>
                  </a:lnTo>
                  <a:lnTo>
                    <a:pt x="495" y="426"/>
                  </a:lnTo>
                  <a:lnTo>
                    <a:pt x="528" y="468"/>
                  </a:lnTo>
                  <a:lnTo>
                    <a:pt x="559" y="507"/>
                  </a:lnTo>
                  <a:lnTo>
                    <a:pt x="537" y="480"/>
                  </a:lnTo>
                  <a:lnTo>
                    <a:pt x="515" y="454"/>
                  </a:lnTo>
                  <a:lnTo>
                    <a:pt x="495" y="429"/>
                  </a:lnTo>
                  <a:lnTo>
                    <a:pt x="476" y="405"/>
                  </a:lnTo>
                  <a:lnTo>
                    <a:pt x="458" y="383"/>
                  </a:lnTo>
                  <a:lnTo>
                    <a:pt x="443" y="363"/>
                  </a:lnTo>
                  <a:lnTo>
                    <a:pt x="429" y="345"/>
                  </a:lnTo>
                  <a:lnTo>
                    <a:pt x="418" y="330"/>
                  </a:lnTo>
                  <a:lnTo>
                    <a:pt x="409" y="318"/>
                  </a:lnTo>
                  <a:lnTo>
                    <a:pt x="404" y="309"/>
                  </a:lnTo>
                  <a:lnTo>
                    <a:pt x="402" y="303"/>
                  </a:lnTo>
                  <a:lnTo>
                    <a:pt x="400" y="301"/>
                  </a:lnTo>
                  <a:lnTo>
                    <a:pt x="397" y="295"/>
                  </a:lnTo>
                  <a:lnTo>
                    <a:pt x="391" y="286"/>
                  </a:lnTo>
                  <a:lnTo>
                    <a:pt x="383" y="272"/>
                  </a:lnTo>
                  <a:lnTo>
                    <a:pt x="373" y="255"/>
                  </a:lnTo>
                  <a:lnTo>
                    <a:pt x="363" y="235"/>
                  </a:lnTo>
                  <a:lnTo>
                    <a:pt x="352" y="211"/>
                  </a:lnTo>
                  <a:lnTo>
                    <a:pt x="340" y="183"/>
                  </a:lnTo>
                  <a:lnTo>
                    <a:pt x="328" y="153"/>
                  </a:lnTo>
                  <a:lnTo>
                    <a:pt x="316" y="120"/>
                  </a:lnTo>
                  <a:lnTo>
                    <a:pt x="304" y="84"/>
                  </a:lnTo>
                  <a:close/>
                  <a:moveTo>
                    <a:pt x="283" y="0"/>
                  </a:moveTo>
                  <a:lnTo>
                    <a:pt x="285" y="5"/>
                  </a:lnTo>
                  <a:lnTo>
                    <a:pt x="289" y="27"/>
                  </a:lnTo>
                  <a:lnTo>
                    <a:pt x="283" y="0"/>
                  </a:lnTo>
                  <a:close/>
                </a:path>
              </a:pathLst>
            </a:custGeom>
            <a:solidFill>
              <a:srgbClr val="8FDAB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198">
              <a:extLst>
                <a:ext uri="{FF2B5EF4-FFF2-40B4-BE49-F238E27FC236}">
                  <a16:creationId xmlns:a16="http://schemas.microsoft.com/office/drawing/2014/main" id="{073F4909-BE6F-1C41-AEB5-2EE90B6EAA8C}"/>
                </a:ext>
              </a:extLst>
            </p:cNvPr>
            <p:cNvSpPr>
              <a:spLocks/>
            </p:cNvSpPr>
            <p:nvPr/>
          </p:nvSpPr>
          <p:spPr bwMode="auto">
            <a:xfrm>
              <a:off x="5295900" y="5192713"/>
              <a:ext cx="487363" cy="1030287"/>
            </a:xfrm>
            <a:custGeom>
              <a:avLst/>
              <a:gdLst>
                <a:gd name="T0" fmla="*/ 372 w 1229"/>
                <a:gd name="T1" fmla="*/ 14 h 2596"/>
                <a:gd name="T2" fmla="*/ 405 w 1229"/>
                <a:gd name="T3" fmla="*/ 134 h 2596"/>
                <a:gd name="T4" fmla="*/ 452 w 1229"/>
                <a:gd name="T5" fmla="*/ 249 h 2596"/>
                <a:gd name="T6" fmla="*/ 486 w 1229"/>
                <a:gd name="T7" fmla="*/ 309 h 2596"/>
                <a:gd name="T8" fmla="*/ 498 w 1229"/>
                <a:gd name="T9" fmla="*/ 332 h 2596"/>
                <a:gd name="T10" fmla="*/ 547 w 1229"/>
                <a:gd name="T11" fmla="*/ 397 h 2596"/>
                <a:gd name="T12" fmla="*/ 626 w 1229"/>
                <a:gd name="T13" fmla="*/ 494 h 2596"/>
                <a:gd name="T14" fmla="*/ 714 w 1229"/>
                <a:gd name="T15" fmla="*/ 599 h 2596"/>
                <a:gd name="T16" fmla="*/ 780 w 1229"/>
                <a:gd name="T17" fmla="*/ 676 h 2596"/>
                <a:gd name="T18" fmla="*/ 861 w 1229"/>
                <a:gd name="T19" fmla="*/ 768 h 2596"/>
                <a:gd name="T20" fmla="*/ 915 w 1229"/>
                <a:gd name="T21" fmla="*/ 829 h 2596"/>
                <a:gd name="T22" fmla="*/ 936 w 1229"/>
                <a:gd name="T23" fmla="*/ 853 h 2596"/>
                <a:gd name="T24" fmla="*/ 1092 w 1229"/>
                <a:gd name="T25" fmla="*/ 1082 h 2596"/>
                <a:gd name="T26" fmla="*/ 1144 w 1229"/>
                <a:gd name="T27" fmla="*/ 1195 h 2596"/>
                <a:gd name="T28" fmla="*/ 1171 w 1229"/>
                <a:gd name="T29" fmla="*/ 1268 h 2596"/>
                <a:gd name="T30" fmla="*/ 1206 w 1229"/>
                <a:gd name="T31" fmla="*/ 1395 h 2596"/>
                <a:gd name="T32" fmla="*/ 1229 w 1229"/>
                <a:gd name="T33" fmla="*/ 1603 h 2596"/>
                <a:gd name="T34" fmla="*/ 1220 w 1229"/>
                <a:gd name="T35" fmla="*/ 1757 h 2596"/>
                <a:gd name="T36" fmla="*/ 1203 w 1229"/>
                <a:gd name="T37" fmla="*/ 1842 h 2596"/>
                <a:gd name="T38" fmla="*/ 1161 w 1229"/>
                <a:gd name="T39" fmla="*/ 1969 h 2596"/>
                <a:gd name="T40" fmla="*/ 1050 w 1229"/>
                <a:gd name="T41" fmla="*/ 2164 h 2596"/>
                <a:gd name="T42" fmla="*/ 907 w 1229"/>
                <a:gd name="T43" fmla="*/ 2316 h 2596"/>
                <a:gd name="T44" fmla="*/ 819 w 1229"/>
                <a:gd name="T45" fmla="*/ 2387 h 2596"/>
                <a:gd name="T46" fmla="*/ 627 w 1229"/>
                <a:gd name="T47" fmla="*/ 2503 h 2596"/>
                <a:gd name="T48" fmla="*/ 371 w 1229"/>
                <a:gd name="T49" fmla="*/ 2581 h 2596"/>
                <a:gd name="T50" fmla="*/ 146 w 1229"/>
                <a:gd name="T51" fmla="*/ 2594 h 2596"/>
                <a:gd name="T52" fmla="*/ 0 w 1229"/>
                <a:gd name="T53" fmla="*/ 2569 h 2596"/>
                <a:gd name="T54" fmla="*/ 316 w 1229"/>
                <a:gd name="T55" fmla="*/ 2527 h 2596"/>
                <a:gd name="T56" fmla="*/ 557 w 1229"/>
                <a:gd name="T57" fmla="*/ 2456 h 2596"/>
                <a:gd name="T58" fmla="*/ 732 w 1229"/>
                <a:gd name="T59" fmla="*/ 2371 h 2596"/>
                <a:gd name="T60" fmla="*/ 849 w 1229"/>
                <a:gd name="T61" fmla="*/ 2289 h 2596"/>
                <a:gd name="T62" fmla="*/ 915 w 1229"/>
                <a:gd name="T63" fmla="*/ 2222 h 2596"/>
                <a:gd name="T64" fmla="*/ 942 w 1229"/>
                <a:gd name="T65" fmla="*/ 2189 h 2596"/>
                <a:gd name="T66" fmla="*/ 1051 w 1229"/>
                <a:gd name="T67" fmla="*/ 2044 h 2596"/>
                <a:gd name="T68" fmla="*/ 1129 w 1229"/>
                <a:gd name="T69" fmla="*/ 1841 h 2596"/>
                <a:gd name="T70" fmla="*/ 1151 w 1229"/>
                <a:gd name="T71" fmla="*/ 1641 h 2596"/>
                <a:gd name="T72" fmla="*/ 1138 w 1229"/>
                <a:gd name="T73" fmla="*/ 1462 h 2596"/>
                <a:gd name="T74" fmla="*/ 1107 w 1229"/>
                <a:gd name="T75" fmla="*/ 1317 h 2596"/>
                <a:gd name="T76" fmla="*/ 1078 w 1229"/>
                <a:gd name="T77" fmla="*/ 1227 h 2596"/>
                <a:gd name="T78" fmla="*/ 1056 w 1229"/>
                <a:gd name="T79" fmla="*/ 1172 h 2596"/>
                <a:gd name="T80" fmla="*/ 978 w 1229"/>
                <a:gd name="T81" fmla="*/ 1034 h 2596"/>
                <a:gd name="T82" fmla="*/ 879 w 1229"/>
                <a:gd name="T83" fmla="*/ 892 h 2596"/>
                <a:gd name="T84" fmla="*/ 773 w 1229"/>
                <a:gd name="T85" fmla="*/ 756 h 2596"/>
                <a:gd name="T86" fmla="*/ 678 w 1229"/>
                <a:gd name="T87" fmla="*/ 644 h 2596"/>
                <a:gd name="T88" fmla="*/ 609 w 1229"/>
                <a:gd name="T89" fmla="*/ 566 h 2596"/>
                <a:gd name="T90" fmla="*/ 583 w 1229"/>
                <a:gd name="T91" fmla="*/ 537 h 2596"/>
                <a:gd name="T92" fmla="*/ 468 w 1229"/>
                <a:gd name="T93" fmla="*/ 350 h 2596"/>
                <a:gd name="T94" fmla="*/ 386 w 1229"/>
                <a:gd name="T95" fmla="*/ 175 h 2596"/>
                <a:gd name="T96" fmla="*/ 339 w 1229"/>
                <a:gd name="T97" fmla="*/ 49 h 2596"/>
                <a:gd name="T98" fmla="*/ 341 w 1229"/>
                <a:gd name="T99" fmla="*/ 4 h 2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9" h="2596">
                  <a:moveTo>
                    <a:pt x="353" y="0"/>
                  </a:moveTo>
                  <a:lnTo>
                    <a:pt x="361" y="2"/>
                  </a:lnTo>
                  <a:lnTo>
                    <a:pt x="368" y="7"/>
                  </a:lnTo>
                  <a:lnTo>
                    <a:pt x="372" y="14"/>
                  </a:lnTo>
                  <a:lnTo>
                    <a:pt x="378" y="41"/>
                  </a:lnTo>
                  <a:lnTo>
                    <a:pt x="385" y="69"/>
                  </a:lnTo>
                  <a:lnTo>
                    <a:pt x="393" y="98"/>
                  </a:lnTo>
                  <a:lnTo>
                    <a:pt x="405" y="134"/>
                  </a:lnTo>
                  <a:lnTo>
                    <a:pt x="417" y="167"/>
                  </a:lnTo>
                  <a:lnTo>
                    <a:pt x="429" y="197"/>
                  </a:lnTo>
                  <a:lnTo>
                    <a:pt x="441" y="225"/>
                  </a:lnTo>
                  <a:lnTo>
                    <a:pt x="452" y="249"/>
                  </a:lnTo>
                  <a:lnTo>
                    <a:pt x="462" y="269"/>
                  </a:lnTo>
                  <a:lnTo>
                    <a:pt x="472" y="286"/>
                  </a:lnTo>
                  <a:lnTo>
                    <a:pt x="480" y="300"/>
                  </a:lnTo>
                  <a:lnTo>
                    <a:pt x="486" y="309"/>
                  </a:lnTo>
                  <a:lnTo>
                    <a:pt x="489" y="315"/>
                  </a:lnTo>
                  <a:lnTo>
                    <a:pt x="491" y="317"/>
                  </a:lnTo>
                  <a:lnTo>
                    <a:pt x="493" y="323"/>
                  </a:lnTo>
                  <a:lnTo>
                    <a:pt x="498" y="332"/>
                  </a:lnTo>
                  <a:lnTo>
                    <a:pt x="507" y="344"/>
                  </a:lnTo>
                  <a:lnTo>
                    <a:pt x="518" y="359"/>
                  </a:lnTo>
                  <a:lnTo>
                    <a:pt x="532" y="377"/>
                  </a:lnTo>
                  <a:lnTo>
                    <a:pt x="547" y="397"/>
                  </a:lnTo>
                  <a:lnTo>
                    <a:pt x="565" y="419"/>
                  </a:lnTo>
                  <a:lnTo>
                    <a:pt x="584" y="443"/>
                  </a:lnTo>
                  <a:lnTo>
                    <a:pt x="604" y="468"/>
                  </a:lnTo>
                  <a:lnTo>
                    <a:pt x="626" y="494"/>
                  </a:lnTo>
                  <a:lnTo>
                    <a:pt x="648" y="521"/>
                  </a:lnTo>
                  <a:lnTo>
                    <a:pt x="673" y="549"/>
                  </a:lnTo>
                  <a:lnTo>
                    <a:pt x="695" y="575"/>
                  </a:lnTo>
                  <a:lnTo>
                    <a:pt x="714" y="599"/>
                  </a:lnTo>
                  <a:lnTo>
                    <a:pt x="732" y="619"/>
                  </a:lnTo>
                  <a:lnTo>
                    <a:pt x="747" y="637"/>
                  </a:lnTo>
                  <a:lnTo>
                    <a:pt x="758" y="650"/>
                  </a:lnTo>
                  <a:lnTo>
                    <a:pt x="780" y="676"/>
                  </a:lnTo>
                  <a:lnTo>
                    <a:pt x="803" y="701"/>
                  </a:lnTo>
                  <a:lnTo>
                    <a:pt x="824" y="725"/>
                  </a:lnTo>
                  <a:lnTo>
                    <a:pt x="843" y="747"/>
                  </a:lnTo>
                  <a:lnTo>
                    <a:pt x="861" y="768"/>
                  </a:lnTo>
                  <a:lnTo>
                    <a:pt x="878" y="787"/>
                  </a:lnTo>
                  <a:lnTo>
                    <a:pt x="892" y="804"/>
                  </a:lnTo>
                  <a:lnTo>
                    <a:pt x="905" y="818"/>
                  </a:lnTo>
                  <a:lnTo>
                    <a:pt x="915" y="829"/>
                  </a:lnTo>
                  <a:lnTo>
                    <a:pt x="923" y="839"/>
                  </a:lnTo>
                  <a:lnTo>
                    <a:pt x="928" y="844"/>
                  </a:lnTo>
                  <a:lnTo>
                    <a:pt x="929" y="846"/>
                  </a:lnTo>
                  <a:lnTo>
                    <a:pt x="936" y="853"/>
                  </a:lnTo>
                  <a:lnTo>
                    <a:pt x="979" y="908"/>
                  </a:lnTo>
                  <a:lnTo>
                    <a:pt x="1021" y="966"/>
                  </a:lnTo>
                  <a:lnTo>
                    <a:pt x="1059" y="1024"/>
                  </a:lnTo>
                  <a:lnTo>
                    <a:pt x="1092" y="1082"/>
                  </a:lnTo>
                  <a:lnTo>
                    <a:pt x="1107" y="1113"/>
                  </a:lnTo>
                  <a:lnTo>
                    <a:pt x="1121" y="1142"/>
                  </a:lnTo>
                  <a:lnTo>
                    <a:pt x="1133" y="1170"/>
                  </a:lnTo>
                  <a:lnTo>
                    <a:pt x="1144" y="1195"/>
                  </a:lnTo>
                  <a:lnTo>
                    <a:pt x="1153" y="1218"/>
                  </a:lnTo>
                  <a:lnTo>
                    <a:pt x="1161" y="1238"/>
                  </a:lnTo>
                  <a:lnTo>
                    <a:pt x="1167" y="1255"/>
                  </a:lnTo>
                  <a:lnTo>
                    <a:pt x="1171" y="1268"/>
                  </a:lnTo>
                  <a:lnTo>
                    <a:pt x="1174" y="1275"/>
                  </a:lnTo>
                  <a:lnTo>
                    <a:pt x="1175" y="1278"/>
                  </a:lnTo>
                  <a:lnTo>
                    <a:pt x="1192" y="1337"/>
                  </a:lnTo>
                  <a:lnTo>
                    <a:pt x="1206" y="1395"/>
                  </a:lnTo>
                  <a:lnTo>
                    <a:pt x="1216" y="1450"/>
                  </a:lnTo>
                  <a:lnTo>
                    <a:pt x="1223" y="1505"/>
                  </a:lnTo>
                  <a:lnTo>
                    <a:pt x="1228" y="1556"/>
                  </a:lnTo>
                  <a:lnTo>
                    <a:pt x="1229" y="1603"/>
                  </a:lnTo>
                  <a:lnTo>
                    <a:pt x="1229" y="1647"/>
                  </a:lnTo>
                  <a:lnTo>
                    <a:pt x="1227" y="1688"/>
                  </a:lnTo>
                  <a:lnTo>
                    <a:pt x="1224" y="1725"/>
                  </a:lnTo>
                  <a:lnTo>
                    <a:pt x="1220" y="1757"/>
                  </a:lnTo>
                  <a:lnTo>
                    <a:pt x="1215" y="1786"/>
                  </a:lnTo>
                  <a:lnTo>
                    <a:pt x="1211" y="1809"/>
                  </a:lnTo>
                  <a:lnTo>
                    <a:pt x="1206" y="1828"/>
                  </a:lnTo>
                  <a:lnTo>
                    <a:pt x="1203" y="1842"/>
                  </a:lnTo>
                  <a:lnTo>
                    <a:pt x="1201" y="1850"/>
                  </a:lnTo>
                  <a:lnTo>
                    <a:pt x="1200" y="1853"/>
                  </a:lnTo>
                  <a:lnTo>
                    <a:pt x="1183" y="1913"/>
                  </a:lnTo>
                  <a:lnTo>
                    <a:pt x="1161" y="1969"/>
                  </a:lnTo>
                  <a:lnTo>
                    <a:pt x="1137" y="2022"/>
                  </a:lnTo>
                  <a:lnTo>
                    <a:pt x="1111" y="2072"/>
                  </a:lnTo>
                  <a:lnTo>
                    <a:pt x="1081" y="2120"/>
                  </a:lnTo>
                  <a:lnTo>
                    <a:pt x="1050" y="2164"/>
                  </a:lnTo>
                  <a:lnTo>
                    <a:pt x="1016" y="2206"/>
                  </a:lnTo>
                  <a:lnTo>
                    <a:pt x="981" y="2245"/>
                  </a:lnTo>
                  <a:lnTo>
                    <a:pt x="945" y="2281"/>
                  </a:lnTo>
                  <a:lnTo>
                    <a:pt x="907" y="2316"/>
                  </a:lnTo>
                  <a:lnTo>
                    <a:pt x="870" y="2348"/>
                  </a:lnTo>
                  <a:lnTo>
                    <a:pt x="870" y="2348"/>
                  </a:lnTo>
                  <a:lnTo>
                    <a:pt x="869" y="2348"/>
                  </a:lnTo>
                  <a:lnTo>
                    <a:pt x="819" y="2387"/>
                  </a:lnTo>
                  <a:lnTo>
                    <a:pt x="767" y="2422"/>
                  </a:lnTo>
                  <a:lnTo>
                    <a:pt x="719" y="2452"/>
                  </a:lnTo>
                  <a:lnTo>
                    <a:pt x="672" y="2479"/>
                  </a:lnTo>
                  <a:lnTo>
                    <a:pt x="627" y="2503"/>
                  </a:lnTo>
                  <a:lnTo>
                    <a:pt x="562" y="2530"/>
                  </a:lnTo>
                  <a:lnTo>
                    <a:pt x="496" y="2552"/>
                  </a:lnTo>
                  <a:lnTo>
                    <a:pt x="433" y="2568"/>
                  </a:lnTo>
                  <a:lnTo>
                    <a:pt x="371" y="2581"/>
                  </a:lnTo>
                  <a:lnTo>
                    <a:pt x="312" y="2589"/>
                  </a:lnTo>
                  <a:lnTo>
                    <a:pt x="256" y="2594"/>
                  </a:lnTo>
                  <a:lnTo>
                    <a:pt x="204" y="2596"/>
                  </a:lnTo>
                  <a:lnTo>
                    <a:pt x="146" y="2594"/>
                  </a:lnTo>
                  <a:lnTo>
                    <a:pt x="89" y="2589"/>
                  </a:lnTo>
                  <a:lnTo>
                    <a:pt x="53" y="2583"/>
                  </a:lnTo>
                  <a:lnTo>
                    <a:pt x="23" y="2577"/>
                  </a:lnTo>
                  <a:lnTo>
                    <a:pt x="0" y="2569"/>
                  </a:lnTo>
                  <a:lnTo>
                    <a:pt x="87" y="2562"/>
                  </a:lnTo>
                  <a:lnTo>
                    <a:pt x="168" y="2553"/>
                  </a:lnTo>
                  <a:lnTo>
                    <a:pt x="244" y="2541"/>
                  </a:lnTo>
                  <a:lnTo>
                    <a:pt x="316" y="2527"/>
                  </a:lnTo>
                  <a:lnTo>
                    <a:pt x="383" y="2512"/>
                  </a:lnTo>
                  <a:lnTo>
                    <a:pt x="445" y="2495"/>
                  </a:lnTo>
                  <a:lnTo>
                    <a:pt x="503" y="2475"/>
                  </a:lnTo>
                  <a:lnTo>
                    <a:pt x="557" y="2456"/>
                  </a:lnTo>
                  <a:lnTo>
                    <a:pt x="607" y="2435"/>
                  </a:lnTo>
                  <a:lnTo>
                    <a:pt x="652" y="2414"/>
                  </a:lnTo>
                  <a:lnTo>
                    <a:pt x="694" y="2393"/>
                  </a:lnTo>
                  <a:lnTo>
                    <a:pt x="732" y="2371"/>
                  </a:lnTo>
                  <a:lnTo>
                    <a:pt x="766" y="2350"/>
                  </a:lnTo>
                  <a:lnTo>
                    <a:pt x="797" y="2329"/>
                  </a:lnTo>
                  <a:lnTo>
                    <a:pt x="825" y="2309"/>
                  </a:lnTo>
                  <a:lnTo>
                    <a:pt x="849" y="2289"/>
                  </a:lnTo>
                  <a:lnTo>
                    <a:pt x="870" y="2269"/>
                  </a:lnTo>
                  <a:lnTo>
                    <a:pt x="888" y="2252"/>
                  </a:lnTo>
                  <a:lnTo>
                    <a:pt x="903" y="2236"/>
                  </a:lnTo>
                  <a:lnTo>
                    <a:pt x="915" y="2222"/>
                  </a:lnTo>
                  <a:lnTo>
                    <a:pt x="926" y="2210"/>
                  </a:lnTo>
                  <a:lnTo>
                    <a:pt x="934" y="2201"/>
                  </a:lnTo>
                  <a:lnTo>
                    <a:pt x="939" y="2193"/>
                  </a:lnTo>
                  <a:lnTo>
                    <a:pt x="942" y="2189"/>
                  </a:lnTo>
                  <a:lnTo>
                    <a:pt x="943" y="2187"/>
                  </a:lnTo>
                  <a:lnTo>
                    <a:pt x="984" y="2141"/>
                  </a:lnTo>
                  <a:lnTo>
                    <a:pt x="1019" y="2094"/>
                  </a:lnTo>
                  <a:lnTo>
                    <a:pt x="1051" y="2044"/>
                  </a:lnTo>
                  <a:lnTo>
                    <a:pt x="1076" y="1994"/>
                  </a:lnTo>
                  <a:lnTo>
                    <a:pt x="1098" y="1944"/>
                  </a:lnTo>
                  <a:lnTo>
                    <a:pt x="1115" y="1893"/>
                  </a:lnTo>
                  <a:lnTo>
                    <a:pt x="1129" y="1841"/>
                  </a:lnTo>
                  <a:lnTo>
                    <a:pt x="1139" y="1791"/>
                  </a:lnTo>
                  <a:lnTo>
                    <a:pt x="1146" y="1740"/>
                  </a:lnTo>
                  <a:lnTo>
                    <a:pt x="1150" y="1691"/>
                  </a:lnTo>
                  <a:lnTo>
                    <a:pt x="1151" y="1641"/>
                  </a:lnTo>
                  <a:lnTo>
                    <a:pt x="1151" y="1594"/>
                  </a:lnTo>
                  <a:lnTo>
                    <a:pt x="1148" y="1548"/>
                  </a:lnTo>
                  <a:lnTo>
                    <a:pt x="1144" y="1504"/>
                  </a:lnTo>
                  <a:lnTo>
                    <a:pt x="1138" y="1462"/>
                  </a:lnTo>
                  <a:lnTo>
                    <a:pt x="1131" y="1421"/>
                  </a:lnTo>
                  <a:lnTo>
                    <a:pt x="1123" y="1383"/>
                  </a:lnTo>
                  <a:lnTo>
                    <a:pt x="1115" y="1349"/>
                  </a:lnTo>
                  <a:lnTo>
                    <a:pt x="1107" y="1317"/>
                  </a:lnTo>
                  <a:lnTo>
                    <a:pt x="1099" y="1289"/>
                  </a:lnTo>
                  <a:lnTo>
                    <a:pt x="1091" y="1265"/>
                  </a:lnTo>
                  <a:lnTo>
                    <a:pt x="1084" y="1243"/>
                  </a:lnTo>
                  <a:lnTo>
                    <a:pt x="1078" y="1227"/>
                  </a:lnTo>
                  <a:lnTo>
                    <a:pt x="1074" y="1214"/>
                  </a:lnTo>
                  <a:lnTo>
                    <a:pt x="1071" y="1207"/>
                  </a:lnTo>
                  <a:lnTo>
                    <a:pt x="1070" y="1204"/>
                  </a:lnTo>
                  <a:lnTo>
                    <a:pt x="1056" y="1172"/>
                  </a:lnTo>
                  <a:lnTo>
                    <a:pt x="1039" y="1139"/>
                  </a:lnTo>
                  <a:lnTo>
                    <a:pt x="1020" y="1105"/>
                  </a:lnTo>
                  <a:lnTo>
                    <a:pt x="1000" y="1070"/>
                  </a:lnTo>
                  <a:lnTo>
                    <a:pt x="978" y="1034"/>
                  </a:lnTo>
                  <a:lnTo>
                    <a:pt x="955" y="998"/>
                  </a:lnTo>
                  <a:lnTo>
                    <a:pt x="931" y="962"/>
                  </a:lnTo>
                  <a:lnTo>
                    <a:pt x="904" y="927"/>
                  </a:lnTo>
                  <a:lnTo>
                    <a:pt x="879" y="892"/>
                  </a:lnTo>
                  <a:lnTo>
                    <a:pt x="852" y="857"/>
                  </a:lnTo>
                  <a:lnTo>
                    <a:pt x="826" y="822"/>
                  </a:lnTo>
                  <a:lnTo>
                    <a:pt x="800" y="788"/>
                  </a:lnTo>
                  <a:lnTo>
                    <a:pt x="773" y="756"/>
                  </a:lnTo>
                  <a:lnTo>
                    <a:pt x="748" y="726"/>
                  </a:lnTo>
                  <a:lnTo>
                    <a:pt x="723" y="697"/>
                  </a:lnTo>
                  <a:lnTo>
                    <a:pt x="700" y="670"/>
                  </a:lnTo>
                  <a:lnTo>
                    <a:pt x="678" y="644"/>
                  </a:lnTo>
                  <a:lnTo>
                    <a:pt x="658" y="620"/>
                  </a:lnTo>
                  <a:lnTo>
                    <a:pt x="639" y="599"/>
                  </a:lnTo>
                  <a:lnTo>
                    <a:pt x="623" y="581"/>
                  </a:lnTo>
                  <a:lnTo>
                    <a:pt x="609" y="566"/>
                  </a:lnTo>
                  <a:lnTo>
                    <a:pt x="598" y="554"/>
                  </a:lnTo>
                  <a:lnTo>
                    <a:pt x="590" y="545"/>
                  </a:lnTo>
                  <a:lnTo>
                    <a:pt x="584" y="539"/>
                  </a:lnTo>
                  <a:lnTo>
                    <a:pt x="583" y="537"/>
                  </a:lnTo>
                  <a:lnTo>
                    <a:pt x="551" y="492"/>
                  </a:lnTo>
                  <a:lnTo>
                    <a:pt x="521" y="445"/>
                  </a:lnTo>
                  <a:lnTo>
                    <a:pt x="493" y="397"/>
                  </a:lnTo>
                  <a:lnTo>
                    <a:pt x="468" y="350"/>
                  </a:lnTo>
                  <a:lnTo>
                    <a:pt x="445" y="304"/>
                  </a:lnTo>
                  <a:lnTo>
                    <a:pt x="423" y="259"/>
                  </a:lnTo>
                  <a:lnTo>
                    <a:pt x="404" y="216"/>
                  </a:lnTo>
                  <a:lnTo>
                    <a:pt x="386" y="175"/>
                  </a:lnTo>
                  <a:lnTo>
                    <a:pt x="371" y="137"/>
                  </a:lnTo>
                  <a:lnTo>
                    <a:pt x="359" y="104"/>
                  </a:lnTo>
                  <a:lnTo>
                    <a:pt x="348" y="74"/>
                  </a:lnTo>
                  <a:lnTo>
                    <a:pt x="339" y="49"/>
                  </a:lnTo>
                  <a:lnTo>
                    <a:pt x="333" y="29"/>
                  </a:lnTo>
                  <a:lnTo>
                    <a:pt x="332" y="20"/>
                  </a:lnTo>
                  <a:lnTo>
                    <a:pt x="335" y="12"/>
                  </a:lnTo>
                  <a:lnTo>
                    <a:pt x="341" y="4"/>
                  </a:lnTo>
                  <a:lnTo>
                    <a:pt x="349" y="1"/>
                  </a:lnTo>
                  <a:lnTo>
                    <a:pt x="353" y="0"/>
                  </a:lnTo>
                  <a:close/>
                </a:path>
              </a:pathLst>
            </a:custGeom>
            <a:solidFill>
              <a:schemeClr val="accent5">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7" name="Freeform 199">
              <a:extLst>
                <a:ext uri="{FF2B5EF4-FFF2-40B4-BE49-F238E27FC236}">
                  <a16:creationId xmlns:a16="http://schemas.microsoft.com/office/drawing/2014/main" id="{3294F21F-2DCD-4946-B562-24344FD8DED5}"/>
                </a:ext>
              </a:extLst>
            </p:cNvPr>
            <p:cNvSpPr>
              <a:spLocks/>
            </p:cNvSpPr>
            <p:nvPr/>
          </p:nvSpPr>
          <p:spPr bwMode="auto">
            <a:xfrm>
              <a:off x="5281613" y="5130800"/>
              <a:ext cx="168275" cy="66675"/>
            </a:xfrm>
            <a:custGeom>
              <a:avLst/>
              <a:gdLst>
                <a:gd name="T0" fmla="*/ 53 w 425"/>
                <a:gd name="T1" fmla="*/ 0 h 167"/>
                <a:gd name="T2" fmla="*/ 373 w 425"/>
                <a:gd name="T3" fmla="*/ 0 h 167"/>
                <a:gd name="T4" fmla="*/ 389 w 425"/>
                <a:gd name="T5" fmla="*/ 2 h 167"/>
                <a:gd name="T6" fmla="*/ 403 w 425"/>
                <a:gd name="T7" fmla="*/ 10 h 167"/>
                <a:gd name="T8" fmla="*/ 414 w 425"/>
                <a:gd name="T9" fmla="*/ 21 h 167"/>
                <a:gd name="T10" fmla="*/ 422 w 425"/>
                <a:gd name="T11" fmla="*/ 35 h 167"/>
                <a:gd name="T12" fmla="*/ 425 w 425"/>
                <a:gd name="T13" fmla="*/ 52 h 167"/>
                <a:gd name="T14" fmla="*/ 425 w 425"/>
                <a:gd name="T15" fmla="*/ 114 h 167"/>
                <a:gd name="T16" fmla="*/ 422 w 425"/>
                <a:gd name="T17" fmla="*/ 131 h 167"/>
                <a:gd name="T18" fmla="*/ 414 w 425"/>
                <a:gd name="T19" fmla="*/ 145 h 167"/>
                <a:gd name="T20" fmla="*/ 403 w 425"/>
                <a:gd name="T21" fmla="*/ 156 h 167"/>
                <a:gd name="T22" fmla="*/ 389 w 425"/>
                <a:gd name="T23" fmla="*/ 165 h 167"/>
                <a:gd name="T24" fmla="*/ 373 w 425"/>
                <a:gd name="T25" fmla="*/ 167 h 167"/>
                <a:gd name="T26" fmla="*/ 53 w 425"/>
                <a:gd name="T27" fmla="*/ 167 h 167"/>
                <a:gd name="T28" fmla="*/ 36 w 425"/>
                <a:gd name="T29" fmla="*/ 165 h 167"/>
                <a:gd name="T30" fmla="*/ 21 w 425"/>
                <a:gd name="T31" fmla="*/ 156 h 167"/>
                <a:gd name="T32" fmla="*/ 10 w 425"/>
                <a:gd name="T33" fmla="*/ 145 h 167"/>
                <a:gd name="T34" fmla="*/ 3 w 425"/>
                <a:gd name="T35" fmla="*/ 131 h 167"/>
                <a:gd name="T36" fmla="*/ 0 w 425"/>
                <a:gd name="T37" fmla="*/ 114 h 167"/>
                <a:gd name="T38" fmla="*/ 0 w 425"/>
                <a:gd name="T39" fmla="*/ 52 h 167"/>
                <a:gd name="T40" fmla="*/ 3 w 425"/>
                <a:gd name="T41" fmla="*/ 35 h 167"/>
                <a:gd name="T42" fmla="*/ 10 w 425"/>
                <a:gd name="T43" fmla="*/ 21 h 167"/>
                <a:gd name="T44" fmla="*/ 21 w 425"/>
                <a:gd name="T45" fmla="*/ 10 h 167"/>
                <a:gd name="T46" fmla="*/ 36 w 425"/>
                <a:gd name="T47" fmla="*/ 2 h 167"/>
                <a:gd name="T48" fmla="*/ 53 w 425"/>
                <a:gd name="T4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167">
                  <a:moveTo>
                    <a:pt x="53" y="0"/>
                  </a:moveTo>
                  <a:lnTo>
                    <a:pt x="373" y="0"/>
                  </a:lnTo>
                  <a:lnTo>
                    <a:pt x="389" y="2"/>
                  </a:lnTo>
                  <a:lnTo>
                    <a:pt x="403" y="10"/>
                  </a:lnTo>
                  <a:lnTo>
                    <a:pt x="414" y="21"/>
                  </a:lnTo>
                  <a:lnTo>
                    <a:pt x="422" y="35"/>
                  </a:lnTo>
                  <a:lnTo>
                    <a:pt x="425" y="52"/>
                  </a:lnTo>
                  <a:lnTo>
                    <a:pt x="425" y="114"/>
                  </a:lnTo>
                  <a:lnTo>
                    <a:pt x="422" y="131"/>
                  </a:lnTo>
                  <a:lnTo>
                    <a:pt x="414" y="145"/>
                  </a:lnTo>
                  <a:lnTo>
                    <a:pt x="403" y="156"/>
                  </a:lnTo>
                  <a:lnTo>
                    <a:pt x="389" y="165"/>
                  </a:lnTo>
                  <a:lnTo>
                    <a:pt x="373" y="167"/>
                  </a:lnTo>
                  <a:lnTo>
                    <a:pt x="53" y="167"/>
                  </a:lnTo>
                  <a:lnTo>
                    <a:pt x="36" y="165"/>
                  </a:lnTo>
                  <a:lnTo>
                    <a:pt x="21" y="156"/>
                  </a:lnTo>
                  <a:lnTo>
                    <a:pt x="10" y="145"/>
                  </a:lnTo>
                  <a:lnTo>
                    <a:pt x="3" y="131"/>
                  </a:lnTo>
                  <a:lnTo>
                    <a:pt x="0" y="114"/>
                  </a:lnTo>
                  <a:lnTo>
                    <a:pt x="0" y="52"/>
                  </a:lnTo>
                  <a:lnTo>
                    <a:pt x="3" y="35"/>
                  </a:lnTo>
                  <a:lnTo>
                    <a:pt x="10" y="21"/>
                  </a:lnTo>
                  <a:lnTo>
                    <a:pt x="21" y="10"/>
                  </a:lnTo>
                  <a:lnTo>
                    <a:pt x="36" y="2"/>
                  </a:lnTo>
                  <a:lnTo>
                    <a:pt x="5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200">
              <a:extLst>
                <a:ext uri="{FF2B5EF4-FFF2-40B4-BE49-F238E27FC236}">
                  <a16:creationId xmlns:a16="http://schemas.microsoft.com/office/drawing/2014/main" id="{E6AD3798-70E9-1E46-9FB4-7A23B76DA159}"/>
                </a:ext>
              </a:extLst>
            </p:cNvPr>
            <p:cNvSpPr>
              <a:spLocks/>
            </p:cNvSpPr>
            <p:nvPr/>
          </p:nvSpPr>
          <p:spPr bwMode="auto">
            <a:xfrm>
              <a:off x="5446713" y="5016500"/>
              <a:ext cx="176213" cy="303212"/>
            </a:xfrm>
            <a:custGeom>
              <a:avLst/>
              <a:gdLst>
                <a:gd name="T0" fmla="*/ 433 w 443"/>
                <a:gd name="T1" fmla="*/ 2 h 763"/>
                <a:gd name="T2" fmla="*/ 436 w 443"/>
                <a:gd name="T3" fmla="*/ 16 h 763"/>
                <a:gd name="T4" fmla="*/ 441 w 443"/>
                <a:gd name="T5" fmla="*/ 42 h 763"/>
                <a:gd name="T6" fmla="*/ 443 w 443"/>
                <a:gd name="T7" fmla="*/ 75 h 763"/>
                <a:gd name="T8" fmla="*/ 441 w 443"/>
                <a:gd name="T9" fmla="*/ 112 h 763"/>
                <a:gd name="T10" fmla="*/ 432 w 443"/>
                <a:gd name="T11" fmla="*/ 149 h 763"/>
                <a:gd name="T12" fmla="*/ 412 w 443"/>
                <a:gd name="T13" fmla="*/ 184 h 763"/>
                <a:gd name="T14" fmla="*/ 378 w 443"/>
                <a:gd name="T15" fmla="*/ 213 h 763"/>
                <a:gd name="T16" fmla="*/ 353 w 443"/>
                <a:gd name="T17" fmla="*/ 224 h 763"/>
                <a:gd name="T18" fmla="*/ 330 w 443"/>
                <a:gd name="T19" fmla="*/ 230 h 763"/>
                <a:gd name="T20" fmla="*/ 290 w 443"/>
                <a:gd name="T21" fmla="*/ 244 h 763"/>
                <a:gd name="T22" fmla="*/ 236 w 443"/>
                <a:gd name="T23" fmla="*/ 265 h 763"/>
                <a:gd name="T24" fmla="*/ 177 w 443"/>
                <a:gd name="T25" fmla="*/ 295 h 763"/>
                <a:gd name="T26" fmla="*/ 117 w 443"/>
                <a:gd name="T27" fmla="*/ 334 h 763"/>
                <a:gd name="T28" fmla="*/ 62 w 443"/>
                <a:gd name="T29" fmla="*/ 383 h 763"/>
                <a:gd name="T30" fmla="*/ 69 w 443"/>
                <a:gd name="T31" fmla="*/ 389 h 763"/>
                <a:gd name="T32" fmla="*/ 87 w 443"/>
                <a:gd name="T33" fmla="*/ 406 h 763"/>
                <a:gd name="T34" fmla="*/ 115 w 443"/>
                <a:gd name="T35" fmla="*/ 428 h 763"/>
                <a:gd name="T36" fmla="*/ 149 w 443"/>
                <a:gd name="T37" fmla="*/ 454 h 763"/>
                <a:gd name="T38" fmla="*/ 187 w 443"/>
                <a:gd name="T39" fmla="*/ 476 h 763"/>
                <a:gd name="T40" fmla="*/ 225 w 443"/>
                <a:gd name="T41" fmla="*/ 493 h 763"/>
                <a:gd name="T42" fmla="*/ 261 w 443"/>
                <a:gd name="T43" fmla="*/ 499 h 763"/>
                <a:gd name="T44" fmla="*/ 271 w 443"/>
                <a:gd name="T45" fmla="*/ 502 h 763"/>
                <a:gd name="T46" fmla="*/ 297 w 443"/>
                <a:gd name="T47" fmla="*/ 510 h 763"/>
                <a:gd name="T48" fmla="*/ 330 w 443"/>
                <a:gd name="T49" fmla="*/ 527 h 763"/>
                <a:gd name="T50" fmla="*/ 368 w 443"/>
                <a:gd name="T51" fmla="*/ 553 h 763"/>
                <a:gd name="T52" fmla="*/ 402 w 443"/>
                <a:gd name="T53" fmla="*/ 591 h 763"/>
                <a:gd name="T54" fmla="*/ 430 w 443"/>
                <a:gd name="T55" fmla="*/ 641 h 763"/>
                <a:gd name="T56" fmla="*/ 415 w 443"/>
                <a:gd name="T57" fmla="*/ 761 h 763"/>
                <a:gd name="T58" fmla="*/ 402 w 443"/>
                <a:gd name="T59" fmla="*/ 747 h 763"/>
                <a:gd name="T60" fmla="*/ 382 w 443"/>
                <a:gd name="T61" fmla="*/ 722 h 763"/>
                <a:gd name="T62" fmla="*/ 356 w 443"/>
                <a:gd name="T63" fmla="*/ 692 h 763"/>
                <a:gd name="T64" fmla="*/ 326 w 443"/>
                <a:gd name="T65" fmla="*/ 661 h 763"/>
                <a:gd name="T66" fmla="*/ 297 w 443"/>
                <a:gd name="T67" fmla="*/ 634 h 763"/>
                <a:gd name="T68" fmla="*/ 270 w 443"/>
                <a:gd name="T69" fmla="*/ 616 h 763"/>
                <a:gd name="T70" fmla="*/ 256 w 443"/>
                <a:gd name="T71" fmla="*/ 611 h 763"/>
                <a:gd name="T72" fmla="*/ 236 w 443"/>
                <a:gd name="T73" fmla="*/ 606 h 763"/>
                <a:gd name="T74" fmla="*/ 201 w 443"/>
                <a:gd name="T75" fmla="*/ 596 h 763"/>
                <a:gd name="T76" fmla="*/ 158 w 443"/>
                <a:gd name="T77" fmla="*/ 580 h 763"/>
                <a:gd name="T78" fmla="*/ 111 w 443"/>
                <a:gd name="T79" fmla="*/ 556 h 763"/>
                <a:gd name="T80" fmla="*/ 68 w 443"/>
                <a:gd name="T81" fmla="*/ 525 h 763"/>
                <a:gd name="T82" fmla="*/ 33 w 443"/>
                <a:gd name="T83" fmla="*/ 486 h 763"/>
                <a:gd name="T84" fmla="*/ 12 w 443"/>
                <a:gd name="T85" fmla="*/ 436 h 763"/>
                <a:gd name="T86" fmla="*/ 1 w 443"/>
                <a:gd name="T87" fmla="*/ 312 h 763"/>
                <a:gd name="T88" fmla="*/ 8 w 443"/>
                <a:gd name="T89" fmla="*/ 299 h 763"/>
                <a:gd name="T90" fmla="*/ 26 w 443"/>
                <a:gd name="T91" fmla="*/ 276 h 763"/>
                <a:gd name="T92" fmla="*/ 53 w 443"/>
                <a:gd name="T93" fmla="*/ 247 h 763"/>
                <a:gd name="T94" fmla="*/ 93 w 443"/>
                <a:gd name="T95" fmla="*/ 215 h 763"/>
                <a:gd name="T96" fmla="*/ 149 w 443"/>
                <a:gd name="T97" fmla="*/ 185 h 763"/>
                <a:gd name="T98" fmla="*/ 219 w 443"/>
                <a:gd name="T99" fmla="*/ 160 h 763"/>
                <a:gd name="T100" fmla="*/ 264 w 443"/>
                <a:gd name="T101" fmla="*/ 150 h 763"/>
                <a:gd name="T102" fmla="*/ 281 w 443"/>
                <a:gd name="T103" fmla="*/ 141 h 763"/>
                <a:gd name="T104" fmla="*/ 311 w 443"/>
                <a:gd name="T105" fmla="*/ 122 h 763"/>
                <a:gd name="T106" fmla="*/ 349 w 443"/>
                <a:gd name="T107" fmla="*/ 93 h 763"/>
                <a:gd name="T108" fmla="*/ 390 w 443"/>
                <a:gd name="T109" fmla="*/ 53 h 763"/>
                <a:gd name="T110" fmla="*/ 432 w 443"/>
                <a:gd name="T111" fmla="*/ 0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3" h="763">
                  <a:moveTo>
                    <a:pt x="432" y="0"/>
                  </a:moveTo>
                  <a:lnTo>
                    <a:pt x="433" y="2"/>
                  </a:lnTo>
                  <a:lnTo>
                    <a:pt x="434" y="7"/>
                  </a:lnTo>
                  <a:lnTo>
                    <a:pt x="436" y="16"/>
                  </a:lnTo>
                  <a:lnTo>
                    <a:pt x="439" y="27"/>
                  </a:lnTo>
                  <a:lnTo>
                    <a:pt x="441" y="42"/>
                  </a:lnTo>
                  <a:lnTo>
                    <a:pt x="443" y="58"/>
                  </a:lnTo>
                  <a:lnTo>
                    <a:pt x="443" y="75"/>
                  </a:lnTo>
                  <a:lnTo>
                    <a:pt x="443" y="93"/>
                  </a:lnTo>
                  <a:lnTo>
                    <a:pt x="441" y="112"/>
                  </a:lnTo>
                  <a:lnTo>
                    <a:pt x="438" y="131"/>
                  </a:lnTo>
                  <a:lnTo>
                    <a:pt x="432" y="149"/>
                  </a:lnTo>
                  <a:lnTo>
                    <a:pt x="423" y="167"/>
                  </a:lnTo>
                  <a:lnTo>
                    <a:pt x="412" y="184"/>
                  </a:lnTo>
                  <a:lnTo>
                    <a:pt x="396" y="199"/>
                  </a:lnTo>
                  <a:lnTo>
                    <a:pt x="378" y="213"/>
                  </a:lnTo>
                  <a:lnTo>
                    <a:pt x="356" y="223"/>
                  </a:lnTo>
                  <a:lnTo>
                    <a:pt x="353" y="224"/>
                  </a:lnTo>
                  <a:lnTo>
                    <a:pt x="344" y="226"/>
                  </a:lnTo>
                  <a:lnTo>
                    <a:pt x="330" y="230"/>
                  </a:lnTo>
                  <a:lnTo>
                    <a:pt x="312" y="236"/>
                  </a:lnTo>
                  <a:lnTo>
                    <a:pt x="290" y="244"/>
                  </a:lnTo>
                  <a:lnTo>
                    <a:pt x="264" y="254"/>
                  </a:lnTo>
                  <a:lnTo>
                    <a:pt x="236" y="265"/>
                  </a:lnTo>
                  <a:lnTo>
                    <a:pt x="207" y="279"/>
                  </a:lnTo>
                  <a:lnTo>
                    <a:pt x="177" y="295"/>
                  </a:lnTo>
                  <a:lnTo>
                    <a:pt x="147" y="313"/>
                  </a:lnTo>
                  <a:lnTo>
                    <a:pt x="117" y="334"/>
                  </a:lnTo>
                  <a:lnTo>
                    <a:pt x="88" y="357"/>
                  </a:lnTo>
                  <a:lnTo>
                    <a:pt x="62" y="383"/>
                  </a:lnTo>
                  <a:lnTo>
                    <a:pt x="64" y="384"/>
                  </a:lnTo>
                  <a:lnTo>
                    <a:pt x="69" y="389"/>
                  </a:lnTo>
                  <a:lnTo>
                    <a:pt x="77" y="396"/>
                  </a:lnTo>
                  <a:lnTo>
                    <a:pt x="87" y="406"/>
                  </a:lnTo>
                  <a:lnTo>
                    <a:pt x="100" y="416"/>
                  </a:lnTo>
                  <a:lnTo>
                    <a:pt x="115" y="428"/>
                  </a:lnTo>
                  <a:lnTo>
                    <a:pt x="131" y="440"/>
                  </a:lnTo>
                  <a:lnTo>
                    <a:pt x="149" y="454"/>
                  </a:lnTo>
                  <a:lnTo>
                    <a:pt x="168" y="466"/>
                  </a:lnTo>
                  <a:lnTo>
                    <a:pt x="187" y="476"/>
                  </a:lnTo>
                  <a:lnTo>
                    <a:pt x="206" y="486"/>
                  </a:lnTo>
                  <a:lnTo>
                    <a:pt x="225" y="493"/>
                  </a:lnTo>
                  <a:lnTo>
                    <a:pt x="244" y="497"/>
                  </a:lnTo>
                  <a:lnTo>
                    <a:pt x="261" y="499"/>
                  </a:lnTo>
                  <a:lnTo>
                    <a:pt x="264" y="500"/>
                  </a:lnTo>
                  <a:lnTo>
                    <a:pt x="271" y="502"/>
                  </a:lnTo>
                  <a:lnTo>
                    <a:pt x="283" y="505"/>
                  </a:lnTo>
                  <a:lnTo>
                    <a:pt x="297" y="510"/>
                  </a:lnTo>
                  <a:lnTo>
                    <a:pt x="313" y="518"/>
                  </a:lnTo>
                  <a:lnTo>
                    <a:pt x="330" y="527"/>
                  </a:lnTo>
                  <a:lnTo>
                    <a:pt x="349" y="539"/>
                  </a:lnTo>
                  <a:lnTo>
                    <a:pt x="368" y="553"/>
                  </a:lnTo>
                  <a:lnTo>
                    <a:pt x="386" y="570"/>
                  </a:lnTo>
                  <a:lnTo>
                    <a:pt x="402" y="591"/>
                  </a:lnTo>
                  <a:lnTo>
                    <a:pt x="418" y="614"/>
                  </a:lnTo>
                  <a:lnTo>
                    <a:pt x="430" y="641"/>
                  </a:lnTo>
                  <a:lnTo>
                    <a:pt x="416" y="763"/>
                  </a:lnTo>
                  <a:lnTo>
                    <a:pt x="415" y="761"/>
                  </a:lnTo>
                  <a:lnTo>
                    <a:pt x="410" y="755"/>
                  </a:lnTo>
                  <a:lnTo>
                    <a:pt x="402" y="747"/>
                  </a:lnTo>
                  <a:lnTo>
                    <a:pt x="393" y="735"/>
                  </a:lnTo>
                  <a:lnTo>
                    <a:pt x="382" y="722"/>
                  </a:lnTo>
                  <a:lnTo>
                    <a:pt x="369" y="707"/>
                  </a:lnTo>
                  <a:lnTo>
                    <a:pt x="356" y="692"/>
                  </a:lnTo>
                  <a:lnTo>
                    <a:pt x="341" y="676"/>
                  </a:lnTo>
                  <a:lnTo>
                    <a:pt x="326" y="661"/>
                  </a:lnTo>
                  <a:lnTo>
                    <a:pt x="312" y="646"/>
                  </a:lnTo>
                  <a:lnTo>
                    <a:pt x="297" y="634"/>
                  </a:lnTo>
                  <a:lnTo>
                    <a:pt x="283" y="624"/>
                  </a:lnTo>
                  <a:lnTo>
                    <a:pt x="270" y="616"/>
                  </a:lnTo>
                  <a:lnTo>
                    <a:pt x="259" y="612"/>
                  </a:lnTo>
                  <a:lnTo>
                    <a:pt x="256" y="611"/>
                  </a:lnTo>
                  <a:lnTo>
                    <a:pt x="248" y="610"/>
                  </a:lnTo>
                  <a:lnTo>
                    <a:pt x="236" y="606"/>
                  </a:lnTo>
                  <a:lnTo>
                    <a:pt x="220" y="602"/>
                  </a:lnTo>
                  <a:lnTo>
                    <a:pt x="201" y="596"/>
                  </a:lnTo>
                  <a:lnTo>
                    <a:pt x="181" y="589"/>
                  </a:lnTo>
                  <a:lnTo>
                    <a:pt x="158" y="580"/>
                  </a:lnTo>
                  <a:lnTo>
                    <a:pt x="134" y="569"/>
                  </a:lnTo>
                  <a:lnTo>
                    <a:pt x="111" y="556"/>
                  </a:lnTo>
                  <a:lnTo>
                    <a:pt x="89" y="542"/>
                  </a:lnTo>
                  <a:lnTo>
                    <a:pt x="68" y="525"/>
                  </a:lnTo>
                  <a:lnTo>
                    <a:pt x="49" y="507"/>
                  </a:lnTo>
                  <a:lnTo>
                    <a:pt x="33" y="486"/>
                  </a:lnTo>
                  <a:lnTo>
                    <a:pt x="21" y="463"/>
                  </a:lnTo>
                  <a:lnTo>
                    <a:pt x="12" y="436"/>
                  </a:lnTo>
                  <a:lnTo>
                    <a:pt x="0" y="314"/>
                  </a:lnTo>
                  <a:lnTo>
                    <a:pt x="1" y="312"/>
                  </a:lnTo>
                  <a:lnTo>
                    <a:pt x="4" y="307"/>
                  </a:lnTo>
                  <a:lnTo>
                    <a:pt x="8" y="299"/>
                  </a:lnTo>
                  <a:lnTo>
                    <a:pt x="16" y="289"/>
                  </a:lnTo>
                  <a:lnTo>
                    <a:pt x="26" y="276"/>
                  </a:lnTo>
                  <a:lnTo>
                    <a:pt x="38" y="262"/>
                  </a:lnTo>
                  <a:lnTo>
                    <a:pt x="53" y="247"/>
                  </a:lnTo>
                  <a:lnTo>
                    <a:pt x="72" y="231"/>
                  </a:lnTo>
                  <a:lnTo>
                    <a:pt x="93" y="215"/>
                  </a:lnTo>
                  <a:lnTo>
                    <a:pt x="119" y="200"/>
                  </a:lnTo>
                  <a:lnTo>
                    <a:pt x="149" y="185"/>
                  </a:lnTo>
                  <a:lnTo>
                    <a:pt x="182" y="172"/>
                  </a:lnTo>
                  <a:lnTo>
                    <a:pt x="219" y="160"/>
                  </a:lnTo>
                  <a:lnTo>
                    <a:pt x="261" y="151"/>
                  </a:lnTo>
                  <a:lnTo>
                    <a:pt x="264" y="150"/>
                  </a:lnTo>
                  <a:lnTo>
                    <a:pt x="270" y="147"/>
                  </a:lnTo>
                  <a:lnTo>
                    <a:pt x="281" y="141"/>
                  </a:lnTo>
                  <a:lnTo>
                    <a:pt x="295" y="133"/>
                  </a:lnTo>
                  <a:lnTo>
                    <a:pt x="311" y="122"/>
                  </a:lnTo>
                  <a:lnTo>
                    <a:pt x="329" y="109"/>
                  </a:lnTo>
                  <a:lnTo>
                    <a:pt x="349" y="93"/>
                  </a:lnTo>
                  <a:lnTo>
                    <a:pt x="369" y="75"/>
                  </a:lnTo>
                  <a:lnTo>
                    <a:pt x="390" y="53"/>
                  </a:lnTo>
                  <a:lnTo>
                    <a:pt x="412" y="28"/>
                  </a:lnTo>
                  <a:lnTo>
                    <a:pt x="43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635025197"/>
      </p:ext>
    </p:extLst>
  </p:cSld>
  <p:clrMapOvr>
    <a:masterClrMapping/>
  </p:clrMapOvr>
  <p:transition>
    <p:fade/>
  </p:transition>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Freeform 6">
            <a:extLst>
              <a:ext uri="{FF2B5EF4-FFF2-40B4-BE49-F238E27FC236}">
                <a16:creationId xmlns:a16="http://schemas.microsoft.com/office/drawing/2014/main" id="{B7A91788-D8ED-574C-A31A-85CE469DFF4B}"/>
              </a:ext>
            </a:extLst>
          </p:cNvPr>
          <p:cNvSpPr>
            <a:spLocks/>
          </p:cNvSpPr>
          <p:nvPr/>
        </p:nvSpPr>
        <p:spPr bwMode="auto">
          <a:xfrm>
            <a:off x="3376400" y="4249153"/>
            <a:ext cx="1698625" cy="757238"/>
          </a:xfrm>
          <a:custGeom>
            <a:avLst/>
            <a:gdLst>
              <a:gd name="T0" fmla="*/ 0 w 168"/>
              <a:gd name="T1" fmla="*/ 0 h 75"/>
              <a:gd name="T2" fmla="*/ 168 w 168"/>
              <a:gd name="T3" fmla="*/ 0 h 75"/>
              <a:gd name="T4" fmla="*/ 156 w 168"/>
              <a:gd name="T5" fmla="*/ 55 h 75"/>
              <a:gd name="T6" fmla="*/ 124 w 168"/>
              <a:gd name="T7" fmla="*/ 74 h 75"/>
              <a:gd name="T8" fmla="*/ 36 w 168"/>
              <a:gd name="T9" fmla="*/ 74 h 75"/>
              <a:gd name="T10" fmla="*/ 12 w 168"/>
              <a:gd name="T11" fmla="*/ 58 h 75"/>
              <a:gd name="T12" fmla="*/ 0 w 168"/>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68" h="75">
                <a:moveTo>
                  <a:pt x="0" y="0"/>
                </a:moveTo>
                <a:cubicBezTo>
                  <a:pt x="168" y="0"/>
                  <a:pt x="168" y="0"/>
                  <a:pt x="168" y="0"/>
                </a:cubicBezTo>
                <a:cubicBezTo>
                  <a:pt x="168" y="0"/>
                  <a:pt x="159" y="28"/>
                  <a:pt x="156" y="55"/>
                </a:cubicBezTo>
                <a:cubicBezTo>
                  <a:pt x="156" y="55"/>
                  <a:pt x="155" y="75"/>
                  <a:pt x="124" y="74"/>
                </a:cubicBezTo>
                <a:cubicBezTo>
                  <a:pt x="36" y="74"/>
                  <a:pt x="36" y="74"/>
                  <a:pt x="36" y="74"/>
                </a:cubicBezTo>
                <a:cubicBezTo>
                  <a:pt x="36" y="74"/>
                  <a:pt x="16" y="74"/>
                  <a:pt x="12" y="58"/>
                </a:cubicBezTo>
                <a:cubicBezTo>
                  <a:pt x="12" y="58"/>
                  <a:pt x="4" y="5"/>
                  <a:pt x="0" y="0"/>
                </a:cubicBezTo>
                <a:close/>
              </a:path>
            </a:pathLst>
          </a:custGeom>
          <a:solidFill>
            <a:schemeClr val="tx1">
              <a:lumMod val="50000"/>
              <a:lumOff val="50000"/>
            </a:schemeClr>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7">
            <a:extLst>
              <a:ext uri="{FF2B5EF4-FFF2-40B4-BE49-F238E27FC236}">
                <a16:creationId xmlns:a16="http://schemas.microsoft.com/office/drawing/2014/main" id="{D06417EE-15B6-AA47-A421-6E8FE86189A0}"/>
              </a:ext>
            </a:extLst>
          </p:cNvPr>
          <p:cNvSpPr>
            <a:spLocks/>
          </p:cNvSpPr>
          <p:nvPr/>
        </p:nvSpPr>
        <p:spPr bwMode="auto">
          <a:xfrm>
            <a:off x="3004670" y="3501441"/>
            <a:ext cx="2455863" cy="747713"/>
          </a:xfrm>
          <a:custGeom>
            <a:avLst/>
            <a:gdLst>
              <a:gd name="T0" fmla="*/ 0 w 1547"/>
              <a:gd name="T1" fmla="*/ 0 h 471"/>
              <a:gd name="T2" fmla="*/ 1547 w 1547"/>
              <a:gd name="T3" fmla="*/ 0 h 471"/>
              <a:gd name="T4" fmla="*/ 1311 w 1547"/>
              <a:gd name="T5" fmla="*/ 471 h 471"/>
              <a:gd name="T6" fmla="*/ 236 w 1547"/>
              <a:gd name="T7" fmla="*/ 471 h 471"/>
              <a:gd name="T8" fmla="*/ 0 w 1547"/>
              <a:gd name="T9" fmla="*/ 0 h 471"/>
            </a:gdLst>
            <a:ahLst/>
            <a:cxnLst>
              <a:cxn ang="0">
                <a:pos x="T0" y="T1"/>
              </a:cxn>
              <a:cxn ang="0">
                <a:pos x="T2" y="T3"/>
              </a:cxn>
              <a:cxn ang="0">
                <a:pos x="T4" y="T5"/>
              </a:cxn>
              <a:cxn ang="0">
                <a:pos x="T6" y="T7"/>
              </a:cxn>
              <a:cxn ang="0">
                <a:pos x="T8" y="T9"/>
              </a:cxn>
            </a:cxnLst>
            <a:rect l="0" t="0" r="r" b="b"/>
            <a:pathLst>
              <a:path w="1547" h="471">
                <a:moveTo>
                  <a:pt x="0" y="0"/>
                </a:moveTo>
                <a:lnTo>
                  <a:pt x="1547" y="0"/>
                </a:lnTo>
                <a:lnTo>
                  <a:pt x="1311" y="471"/>
                </a:lnTo>
                <a:lnTo>
                  <a:pt x="236" y="471"/>
                </a:lnTo>
                <a:lnTo>
                  <a:pt x="0" y="0"/>
                </a:lnTo>
                <a:close/>
              </a:path>
            </a:pathLst>
          </a:custGeom>
          <a:solidFill>
            <a:schemeClr val="accent4"/>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8">
            <a:extLst>
              <a:ext uri="{FF2B5EF4-FFF2-40B4-BE49-F238E27FC236}">
                <a16:creationId xmlns:a16="http://schemas.microsoft.com/office/drawing/2014/main" id="{B5F2DB1D-9966-EC4F-B749-C7DADA8DE8F9}"/>
              </a:ext>
            </a:extLst>
          </p:cNvPr>
          <p:cNvSpPr>
            <a:spLocks/>
          </p:cNvSpPr>
          <p:nvPr/>
        </p:nvSpPr>
        <p:spPr bwMode="auto">
          <a:xfrm>
            <a:off x="2702175" y="2763253"/>
            <a:ext cx="3051175" cy="738188"/>
          </a:xfrm>
          <a:custGeom>
            <a:avLst/>
            <a:gdLst>
              <a:gd name="T0" fmla="*/ 1 w 302"/>
              <a:gd name="T1" fmla="*/ 0 h 73"/>
              <a:gd name="T2" fmla="*/ 302 w 302"/>
              <a:gd name="T3" fmla="*/ 0 h 73"/>
              <a:gd name="T4" fmla="*/ 275 w 302"/>
              <a:gd name="T5" fmla="*/ 73 h 73"/>
              <a:gd name="T6" fmla="*/ 28 w 302"/>
              <a:gd name="T7" fmla="*/ 73 h 73"/>
              <a:gd name="T8" fmla="*/ 1 w 302"/>
              <a:gd name="T9" fmla="*/ 0 h 73"/>
            </a:gdLst>
            <a:ahLst/>
            <a:cxnLst>
              <a:cxn ang="0">
                <a:pos x="T0" y="T1"/>
              </a:cxn>
              <a:cxn ang="0">
                <a:pos x="T2" y="T3"/>
              </a:cxn>
              <a:cxn ang="0">
                <a:pos x="T4" y="T5"/>
              </a:cxn>
              <a:cxn ang="0">
                <a:pos x="T6" y="T7"/>
              </a:cxn>
              <a:cxn ang="0">
                <a:pos x="T8" y="T9"/>
              </a:cxn>
            </a:cxnLst>
            <a:rect l="0" t="0" r="r" b="b"/>
            <a:pathLst>
              <a:path w="302" h="73">
                <a:moveTo>
                  <a:pt x="1" y="0"/>
                </a:moveTo>
                <a:cubicBezTo>
                  <a:pt x="302" y="0"/>
                  <a:pt x="302" y="0"/>
                  <a:pt x="302" y="0"/>
                </a:cubicBezTo>
                <a:cubicBezTo>
                  <a:pt x="302" y="0"/>
                  <a:pt x="301" y="34"/>
                  <a:pt x="275" y="73"/>
                </a:cubicBezTo>
                <a:cubicBezTo>
                  <a:pt x="28" y="73"/>
                  <a:pt x="28" y="73"/>
                  <a:pt x="28" y="73"/>
                </a:cubicBezTo>
                <a:cubicBezTo>
                  <a:pt x="28" y="73"/>
                  <a:pt x="0" y="31"/>
                  <a:pt x="1" y="0"/>
                </a:cubicBezTo>
                <a:close/>
              </a:path>
            </a:pathLst>
          </a:custGeom>
          <a:solidFill>
            <a:schemeClr val="accent3"/>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9">
            <a:extLst>
              <a:ext uri="{FF2B5EF4-FFF2-40B4-BE49-F238E27FC236}">
                <a16:creationId xmlns:a16="http://schemas.microsoft.com/office/drawing/2014/main" id="{CBC43D0C-7166-8947-B2CC-01DA23BE1073}"/>
              </a:ext>
            </a:extLst>
          </p:cNvPr>
          <p:cNvSpPr>
            <a:spLocks/>
          </p:cNvSpPr>
          <p:nvPr/>
        </p:nvSpPr>
        <p:spPr bwMode="auto">
          <a:xfrm>
            <a:off x="2638626" y="2017129"/>
            <a:ext cx="3181350" cy="746125"/>
          </a:xfrm>
          <a:custGeom>
            <a:avLst/>
            <a:gdLst>
              <a:gd name="T0" fmla="*/ 5 w 315"/>
              <a:gd name="T1" fmla="*/ 74 h 74"/>
              <a:gd name="T2" fmla="*/ 307 w 315"/>
              <a:gd name="T3" fmla="*/ 74 h 74"/>
              <a:gd name="T4" fmla="*/ 294 w 315"/>
              <a:gd name="T5" fmla="*/ 0 h 74"/>
              <a:gd name="T6" fmla="*/ 20 w 315"/>
              <a:gd name="T7" fmla="*/ 0 h 74"/>
              <a:gd name="T8" fmla="*/ 5 w 315"/>
              <a:gd name="T9" fmla="*/ 74 h 74"/>
            </a:gdLst>
            <a:ahLst/>
            <a:cxnLst>
              <a:cxn ang="0">
                <a:pos x="T0" y="T1"/>
              </a:cxn>
              <a:cxn ang="0">
                <a:pos x="T2" y="T3"/>
              </a:cxn>
              <a:cxn ang="0">
                <a:pos x="T4" y="T5"/>
              </a:cxn>
              <a:cxn ang="0">
                <a:pos x="T6" y="T7"/>
              </a:cxn>
              <a:cxn ang="0">
                <a:pos x="T8" y="T9"/>
              </a:cxn>
            </a:cxnLst>
            <a:rect l="0" t="0" r="r" b="b"/>
            <a:pathLst>
              <a:path w="315" h="74">
                <a:moveTo>
                  <a:pt x="5" y="74"/>
                </a:moveTo>
                <a:cubicBezTo>
                  <a:pt x="307" y="74"/>
                  <a:pt x="307" y="74"/>
                  <a:pt x="307" y="74"/>
                </a:cubicBezTo>
                <a:cubicBezTo>
                  <a:pt x="307" y="74"/>
                  <a:pt x="315" y="37"/>
                  <a:pt x="294" y="0"/>
                </a:cubicBezTo>
                <a:cubicBezTo>
                  <a:pt x="20" y="0"/>
                  <a:pt x="20" y="0"/>
                  <a:pt x="20" y="0"/>
                </a:cubicBezTo>
                <a:cubicBezTo>
                  <a:pt x="20" y="0"/>
                  <a:pt x="0" y="21"/>
                  <a:pt x="5" y="74"/>
                </a:cubicBezTo>
                <a:close/>
              </a:path>
            </a:pathLst>
          </a:custGeom>
          <a:solidFill>
            <a:schemeClr val="accent2"/>
          </a:solidFill>
          <a:ln w="95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 name="Freeform 10">
            <a:extLst>
              <a:ext uri="{FF2B5EF4-FFF2-40B4-BE49-F238E27FC236}">
                <a16:creationId xmlns:a16="http://schemas.microsoft.com/office/drawing/2014/main" id="{F4AEA28D-6889-FC4F-90EA-A781D81997C3}"/>
              </a:ext>
            </a:extLst>
          </p:cNvPr>
          <p:cNvSpPr>
            <a:spLocks/>
          </p:cNvSpPr>
          <p:nvPr/>
        </p:nvSpPr>
        <p:spPr bwMode="auto">
          <a:xfrm>
            <a:off x="2841412" y="359778"/>
            <a:ext cx="2747963" cy="1657350"/>
          </a:xfrm>
          <a:custGeom>
            <a:avLst/>
            <a:gdLst>
              <a:gd name="T0" fmla="*/ 0 w 272"/>
              <a:gd name="T1" fmla="*/ 164 h 164"/>
              <a:gd name="T2" fmla="*/ 272 w 272"/>
              <a:gd name="T3" fmla="*/ 164 h 164"/>
              <a:gd name="T4" fmla="*/ 0 w 272"/>
              <a:gd name="T5" fmla="*/ 164 h 164"/>
            </a:gdLst>
            <a:ahLst/>
            <a:cxnLst>
              <a:cxn ang="0">
                <a:pos x="T0" y="T1"/>
              </a:cxn>
              <a:cxn ang="0">
                <a:pos x="T2" y="T3"/>
              </a:cxn>
              <a:cxn ang="0">
                <a:pos x="T4" y="T5"/>
              </a:cxn>
            </a:cxnLst>
            <a:rect l="0" t="0" r="r" b="b"/>
            <a:pathLst>
              <a:path w="272" h="164">
                <a:moveTo>
                  <a:pt x="0" y="164"/>
                </a:moveTo>
                <a:cubicBezTo>
                  <a:pt x="272" y="164"/>
                  <a:pt x="272" y="164"/>
                  <a:pt x="272" y="164"/>
                </a:cubicBezTo>
                <a:cubicBezTo>
                  <a:pt x="272" y="164"/>
                  <a:pt x="142" y="0"/>
                  <a:pt x="0" y="164"/>
                </a:cubicBezTo>
                <a:close/>
              </a:path>
            </a:pathLst>
          </a:custGeom>
          <a:solidFill>
            <a:schemeClr val="accent1"/>
          </a:solidFill>
          <a:ln w="95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dirty="0"/>
          </a:p>
        </p:txBody>
      </p:sp>
      <p:grpSp>
        <p:nvGrpSpPr>
          <p:cNvPr id="87" name="Group 86">
            <a:extLst>
              <a:ext uri="{FF2B5EF4-FFF2-40B4-BE49-F238E27FC236}">
                <a16:creationId xmlns:a16="http://schemas.microsoft.com/office/drawing/2014/main" id="{49EBA24E-E548-BB43-8284-837518567DBD}"/>
              </a:ext>
            </a:extLst>
          </p:cNvPr>
          <p:cNvGrpSpPr/>
          <p:nvPr/>
        </p:nvGrpSpPr>
        <p:grpSpPr>
          <a:xfrm>
            <a:off x="3607686" y="5100054"/>
            <a:ext cx="1236053" cy="741362"/>
            <a:chOff x="3741737" y="5202238"/>
            <a:chExt cx="1447799" cy="868363"/>
          </a:xfrm>
        </p:grpSpPr>
        <p:sp>
          <p:nvSpPr>
            <p:cNvPr id="88" name="Rounded Rectangle 87">
              <a:extLst>
                <a:ext uri="{FF2B5EF4-FFF2-40B4-BE49-F238E27FC236}">
                  <a16:creationId xmlns:a16="http://schemas.microsoft.com/office/drawing/2014/main" id="{028BA925-0D14-7C42-ACAB-F37EDFC958BA}"/>
                </a:ext>
              </a:extLst>
            </p:cNvPr>
            <p:cNvSpPr/>
            <p:nvPr/>
          </p:nvSpPr>
          <p:spPr bwMode="gray">
            <a:xfrm>
              <a:off x="3741737" y="5202238"/>
              <a:ext cx="1447799" cy="201613"/>
            </a:xfrm>
            <a:prstGeom prst="roundRect">
              <a:avLst>
                <a:gd name="adj" fmla="val 50000"/>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Rounded Rectangle 88">
              <a:extLst>
                <a:ext uri="{FF2B5EF4-FFF2-40B4-BE49-F238E27FC236}">
                  <a16:creationId xmlns:a16="http://schemas.microsoft.com/office/drawing/2014/main" id="{A5C510DD-6105-1349-A9D0-3215231E6B35}"/>
                </a:ext>
              </a:extLst>
            </p:cNvPr>
            <p:cNvSpPr/>
            <p:nvPr/>
          </p:nvSpPr>
          <p:spPr bwMode="gray">
            <a:xfrm>
              <a:off x="3896518" y="5535613"/>
              <a:ext cx="1138236" cy="201613"/>
            </a:xfrm>
            <a:prstGeom prst="roundRect">
              <a:avLst>
                <a:gd name="adj" fmla="val 50000"/>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0" name="Rounded Rectangle 89">
              <a:extLst>
                <a:ext uri="{FF2B5EF4-FFF2-40B4-BE49-F238E27FC236}">
                  <a16:creationId xmlns:a16="http://schemas.microsoft.com/office/drawing/2014/main" id="{8B413A29-374D-7343-825F-4FD58D62864D}"/>
                </a:ext>
              </a:extLst>
            </p:cNvPr>
            <p:cNvSpPr/>
            <p:nvPr/>
          </p:nvSpPr>
          <p:spPr bwMode="gray">
            <a:xfrm>
              <a:off x="4042567" y="5868988"/>
              <a:ext cx="846138" cy="201613"/>
            </a:xfrm>
            <a:prstGeom prst="roundRect">
              <a:avLst>
                <a:gd name="adj" fmla="val 50000"/>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cxnSp>
        <p:nvCxnSpPr>
          <p:cNvPr id="91" name="Straight Connector 90">
            <a:extLst>
              <a:ext uri="{FF2B5EF4-FFF2-40B4-BE49-F238E27FC236}">
                <a16:creationId xmlns:a16="http://schemas.microsoft.com/office/drawing/2014/main" id="{8B4E1287-D86C-1C4C-B576-459F405058A9}"/>
              </a:ext>
            </a:extLst>
          </p:cNvPr>
          <p:cNvCxnSpPr/>
          <p:nvPr/>
        </p:nvCxnSpPr>
        <p:spPr>
          <a:xfrm>
            <a:off x="4346668" y="555041"/>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FA91B6B-5C1A-D14C-AB5D-5E3090A42D58}"/>
              </a:ext>
            </a:extLst>
          </p:cNvPr>
          <p:cNvCxnSpPr/>
          <p:nvPr/>
        </p:nvCxnSpPr>
        <p:spPr>
          <a:xfrm rot="5400000">
            <a:off x="6372025" y="2505657"/>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2B1B66A-30B7-EC43-898C-787E24FBA47D}"/>
              </a:ext>
            </a:extLst>
          </p:cNvPr>
          <p:cNvCxnSpPr/>
          <p:nvPr/>
        </p:nvCxnSpPr>
        <p:spPr>
          <a:xfrm rot="5400000">
            <a:off x="2054436" y="2505656"/>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C6EA3766-B485-334C-BC24-F631FAAB8962}"/>
              </a:ext>
            </a:extLst>
          </p:cNvPr>
          <p:cNvCxnSpPr/>
          <p:nvPr/>
        </p:nvCxnSpPr>
        <p:spPr>
          <a:xfrm rot="8100000">
            <a:off x="2456477" y="1218193"/>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0D19A34-20DC-854F-902D-6E0D78E51D6E}"/>
              </a:ext>
            </a:extLst>
          </p:cNvPr>
          <p:cNvCxnSpPr/>
          <p:nvPr/>
        </p:nvCxnSpPr>
        <p:spPr>
          <a:xfrm rot="13500000" flipH="1">
            <a:off x="5979486" y="1299157"/>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B12F618-9708-7340-834D-2A2311595FDC}"/>
              </a:ext>
            </a:extLst>
          </p:cNvPr>
          <p:cNvCxnSpPr/>
          <p:nvPr/>
        </p:nvCxnSpPr>
        <p:spPr>
          <a:xfrm rot="13500000" flipV="1">
            <a:off x="2784676" y="4112578"/>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D4B5A9B6-30A5-FA4C-A4C2-58B4E7723A71}"/>
              </a:ext>
            </a:extLst>
          </p:cNvPr>
          <p:cNvCxnSpPr/>
          <p:nvPr/>
        </p:nvCxnSpPr>
        <p:spPr>
          <a:xfrm rot="8100000" flipH="1" flipV="1">
            <a:off x="5584520" y="4112578"/>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sp>
        <p:nvSpPr>
          <p:cNvPr id="98" name="object 8">
            <a:extLst>
              <a:ext uri="{FF2B5EF4-FFF2-40B4-BE49-F238E27FC236}">
                <a16:creationId xmlns:a16="http://schemas.microsoft.com/office/drawing/2014/main" id="{D059F202-CCCE-E147-B74B-FB102A290DB9}"/>
              </a:ext>
            </a:extLst>
          </p:cNvPr>
          <p:cNvSpPr txBox="1"/>
          <p:nvPr/>
        </p:nvSpPr>
        <p:spPr>
          <a:xfrm>
            <a:off x="3981637" y="4350773"/>
            <a:ext cx="712402" cy="553998"/>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200" dirty="0">
                <a:solidFill>
                  <a:schemeClr val="bg1"/>
                </a:solidFill>
              </a:rPr>
              <a:t>Lorem ipsum dolor sit </a:t>
            </a:r>
          </a:p>
        </p:txBody>
      </p:sp>
      <p:sp>
        <p:nvSpPr>
          <p:cNvPr id="99" name="object 8">
            <a:extLst>
              <a:ext uri="{FF2B5EF4-FFF2-40B4-BE49-F238E27FC236}">
                <a16:creationId xmlns:a16="http://schemas.microsoft.com/office/drawing/2014/main" id="{7B8A43F4-073F-AC40-9626-5FE28B96F0E1}"/>
              </a:ext>
            </a:extLst>
          </p:cNvPr>
          <p:cNvSpPr txBox="1"/>
          <p:nvPr/>
        </p:nvSpPr>
        <p:spPr>
          <a:xfrm>
            <a:off x="4027193" y="3598297"/>
            <a:ext cx="1016962" cy="369332"/>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200" dirty="0">
                <a:solidFill>
                  <a:schemeClr val="bg1"/>
                </a:solidFill>
              </a:rPr>
              <a:t>Lorem ipsum dolor sit </a:t>
            </a:r>
          </a:p>
        </p:txBody>
      </p:sp>
      <p:sp>
        <p:nvSpPr>
          <p:cNvPr id="100" name="object 8">
            <a:extLst>
              <a:ext uri="{FF2B5EF4-FFF2-40B4-BE49-F238E27FC236}">
                <a16:creationId xmlns:a16="http://schemas.microsoft.com/office/drawing/2014/main" id="{B1B0FB83-2A63-ED44-A0E9-61A418254AE2}"/>
              </a:ext>
            </a:extLst>
          </p:cNvPr>
          <p:cNvSpPr txBox="1"/>
          <p:nvPr/>
        </p:nvSpPr>
        <p:spPr>
          <a:xfrm>
            <a:off x="3897183" y="2947681"/>
            <a:ext cx="1099451" cy="369332"/>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200" dirty="0">
                <a:solidFill>
                  <a:schemeClr val="bg1"/>
                </a:solidFill>
              </a:rPr>
              <a:t>Lorem ipsum dolor sit </a:t>
            </a:r>
          </a:p>
        </p:txBody>
      </p:sp>
      <p:sp>
        <p:nvSpPr>
          <p:cNvPr id="101" name="object 8">
            <a:extLst>
              <a:ext uri="{FF2B5EF4-FFF2-40B4-BE49-F238E27FC236}">
                <a16:creationId xmlns:a16="http://schemas.microsoft.com/office/drawing/2014/main" id="{3EBE2943-9558-BF45-9FBD-B73E44E4F868}"/>
              </a:ext>
            </a:extLst>
          </p:cNvPr>
          <p:cNvSpPr txBox="1"/>
          <p:nvPr/>
        </p:nvSpPr>
        <p:spPr>
          <a:xfrm>
            <a:off x="3807289" y="2205524"/>
            <a:ext cx="1440643" cy="184666"/>
          </a:xfrm>
          <a:prstGeom prst="rect">
            <a:avLst/>
          </a:prstGeom>
        </p:spPr>
        <p:txBody>
          <a:bodyPr vert="horz" wrap="square" lIns="0" tIns="0" rIns="0" bIns="0" rtlCol="0">
            <a:spAutoFit/>
          </a:bodyPr>
          <a:lstStyle>
            <a:defPPr>
              <a:defRPr lang="en-US"/>
            </a:defPPr>
            <a:lvl1pPr>
              <a:lnSpc>
                <a:spcPct val="100000"/>
              </a:lnSpc>
              <a:defRPr sz="800" spc="-5">
                <a:solidFill>
                  <a:srgbClr val="3D3C3D"/>
                </a:solidFill>
                <a:cs typeface="Arial"/>
              </a:defRPr>
            </a:lvl1pPr>
          </a:lstStyle>
          <a:p>
            <a:pPr algn="ctr"/>
            <a:r>
              <a:rPr lang="en-US" sz="1200" dirty="0">
                <a:solidFill>
                  <a:schemeClr val="bg1"/>
                </a:solidFill>
              </a:rPr>
              <a:t>Lorem ipsum dolor sit </a:t>
            </a:r>
          </a:p>
        </p:txBody>
      </p:sp>
      <p:sp>
        <p:nvSpPr>
          <p:cNvPr id="102" name="object 8">
            <a:extLst>
              <a:ext uri="{FF2B5EF4-FFF2-40B4-BE49-F238E27FC236}">
                <a16:creationId xmlns:a16="http://schemas.microsoft.com/office/drawing/2014/main" id="{53565358-40F9-E141-B2B9-2DFE73FBD200}"/>
              </a:ext>
            </a:extLst>
          </p:cNvPr>
          <p:cNvSpPr txBox="1"/>
          <p:nvPr/>
        </p:nvSpPr>
        <p:spPr>
          <a:xfrm>
            <a:off x="3992201" y="1515216"/>
            <a:ext cx="647024" cy="184666"/>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200" dirty="0">
                <a:solidFill>
                  <a:schemeClr val="bg1"/>
                </a:solidFill>
              </a:rPr>
              <a:t>Lorem</a:t>
            </a:r>
          </a:p>
        </p:txBody>
      </p:sp>
      <p:grpSp>
        <p:nvGrpSpPr>
          <p:cNvPr id="56" name="Group 55"/>
          <p:cNvGrpSpPr/>
          <p:nvPr/>
        </p:nvGrpSpPr>
        <p:grpSpPr>
          <a:xfrm>
            <a:off x="7340256" y="1636403"/>
            <a:ext cx="2309528" cy="3811360"/>
            <a:chOff x="4943872" y="1810024"/>
            <a:chExt cx="2309528" cy="3811360"/>
          </a:xfrm>
        </p:grpSpPr>
        <p:sp>
          <p:nvSpPr>
            <p:cNvPr id="57" name="Freeform 6">
              <a:extLst>
                <a:ext uri="{FF2B5EF4-FFF2-40B4-BE49-F238E27FC236}">
                  <a16:creationId xmlns:a16="http://schemas.microsoft.com/office/drawing/2014/main" id="{129C3404-6A91-3F42-ACB9-388ABC501DB3}"/>
                </a:ext>
              </a:extLst>
            </p:cNvPr>
            <p:cNvSpPr>
              <a:spLocks/>
            </p:cNvSpPr>
            <p:nvPr/>
          </p:nvSpPr>
          <p:spPr bwMode="auto">
            <a:xfrm>
              <a:off x="5633929" y="4832523"/>
              <a:ext cx="962516" cy="788861"/>
            </a:xfrm>
            <a:custGeom>
              <a:avLst/>
              <a:gdLst>
                <a:gd name="T0" fmla="*/ 1775 w 1775"/>
                <a:gd name="T1" fmla="*/ 272 h 1788"/>
                <a:gd name="T2" fmla="*/ 1775 w 1775"/>
                <a:gd name="T3" fmla="*/ 272 h 1788"/>
                <a:gd name="T4" fmla="*/ 1775 w 1775"/>
                <a:gd name="T5" fmla="*/ 53 h 1788"/>
                <a:gd name="T6" fmla="*/ 1723 w 1775"/>
                <a:gd name="T7" fmla="*/ 0 h 1788"/>
                <a:gd name="T8" fmla="*/ 52 w 1775"/>
                <a:gd name="T9" fmla="*/ 0 h 1788"/>
                <a:gd name="T10" fmla="*/ 0 w 1775"/>
                <a:gd name="T11" fmla="*/ 53 h 1788"/>
                <a:gd name="T12" fmla="*/ 0 w 1775"/>
                <a:gd name="T13" fmla="*/ 342 h 1788"/>
                <a:gd name="T14" fmla="*/ 80 w 1775"/>
                <a:gd name="T15" fmla="*/ 466 h 1788"/>
                <a:gd name="T16" fmla="*/ 0 w 1775"/>
                <a:gd name="T17" fmla="*/ 584 h 1788"/>
                <a:gd name="T18" fmla="*/ 80 w 1775"/>
                <a:gd name="T19" fmla="*/ 711 h 1788"/>
                <a:gd name="T20" fmla="*/ 0 w 1775"/>
                <a:gd name="T21" fmla="*/ 822 h 1788"/>
                <a:gd name="T22" fmla="*/ 80 w 1775"/>
                <a:gd name="T23" fmla="*/ 964 h 1788"/>
                <a:gd name="T24" fmla="*/ 0 w 1775"/>
                <a:gd name="T25" fmla="*/ 1076 h 1788"/>
                <a:gd name="T26" fmla="*/ 80 w 1775"/>
                <a:gd name="T27" fmla="*/ 1209 h 1788"/>
                <a:gd name="T28" fmla="*/ 80 w 1775"/>
                <a:gd name="T29" fmla="*/ 1303 h 1788"/>
                <a:gd name="T30" fmla="*/ 581 w 1775"/>
                <a:gd name="T31" fmla="*/ 1745 h 1788"/>
                <a:gd name="T32" fmla="*/ 693 w 1775"/>
                <a:gd name="T33" fmla="*/ 1788 h 1788"/>
                <a:gd name="T34" fmla="*/ 1086 w 1775"/>
                <a:gd name="T35" fmla="*/ 1788 h 1788"/>
                <a:gd name="T36" fmla="*/ 1198 w 1775"/>
                <a:gd name="T37" fmla="*/ 1745 h 1788"/>
                <a:gd name="T38" fmla="*/ 1695 w 1775"/>
                <a:gd name="T39" fmla="*/ 1303 h 1788"/>
                <a:gd name="T40" fmla="*/ 1695 w 1775"/>
                <a:gd name="T41" fmla="*/ 1139 h 1788"/>
                <a:gd name="T42" fmla="*/ 1775 w 1775"/>
                <a:gd name="T43" fmla="*/ 1005 h 1788"/>
                <a:gd name="T44" fmla="*/ 1695 w 1775"/>
                <a:gd name="T45" fmla="*/ 894 h 1788"/>
                <a:gd name="T46" fmla="*/ 1775 w 1775"/>
                <a:gd name="T47" fmla="*/ 752 h 1788"/>
                <a:gd name="T48" fmla="*/ 1695 w 1775"/>
                <a:gd name="T49" fmla="*/ 641 h 1788"/>
                <a:gd name="T50" fmla="*/ 1775 w 1775"/>
                <a:gd name="T51" fmla="*/ 514 h 1788"/>
                <a:gd name="T52" fmla="*/ 1695 w 1775"/>
                <a:gd name="T53" fmla="*/ 396 h 1788"/>
                <a:gd name="T54" fmla="*/ 1775 w 1775"/>
                <a:gd name="T55" fmla="*/ 272 h 1788"/>
                <a:gd name="T56" fmla="*/ 1775 w 1775"/>
                <a:gd name="T57" fmla="*/ 272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75" h="1788">
                  <a:moveTo>
                    <a:pt x="1775" y="272"/>
                  </a:moveTo>
                  <a:lnTo>
                    <a:pt x="1775" y="272"/>
                  </a:lnTo>
                  <a:lnTo>
                    <a:pt x="1775" y="53"/>
                  </a:lnTo>
                  <a:cubicBezTo>
                    <a:pt x="1775" y="24"/>
                    <a:pt x="1752" y="0"/>
                    <a:pt x="1723" y="0"/>
                  </a:cubicBezTo>
                  <a:lnTo>
                    <a:pt x="52" y="0"/>
                  </a:lnTo>
                  <a:cubicBezTo>
                    <a:pt x="23" y="0"/>
                    <a:pt x="0" y="24"/>
                    <a:pt x="0" y="53"/>
                  </a:cubicBezTo>
                  <a:lnTo>
                    <a:pt x="0" y="342"/>
                  </a:lnTo>
                  <a:cubicBezTo>
                    <a:pt x="0" y="386"/>
                    <a:pt x="80" y="409"/>
                    <a:pt x="80" y="466"/>
                  </a:cubicBezTo>
                  <a:cubicBezTo>
                    <a:pt x="80" y="523"/>
                    <a:pt x="0" y="523"/>
                    <a:pt x="0" y="584"/>
                  </a:cubicBezTo>
                  <a:cubicBezTo>
                    <a:pt x="0" y="645"/>
                    <a:pt x="80" y="639"/>
                    <a:pt x="80" y="711"/>
                  </a:cubicBezTo>
                  <a:cubicBezTo>
                    <a:pt x="80" y="783"/>
                    <a:pt x="0" y="757"/>
                    <a:pt x="0" y="822"/>
                  </a:cubicBezTo>
                  <a:cubicBezTo>
                    <a:pt x="0" y="888"/>
                    <a:pt x="80" y="892"/>
                    <a:pt x="80" y="964"/>
                  </a:cubicBezTo>
                  <a:cubicBezTo>
                    <a:pt x="80" y="1036"/>
                    <a:pt x="0" y="1012"/>
                    <a:pt x="0" y="1076"/>
                  </a:cubicBezTo>
                  <a:cubicBezTo>
                    <a:pt x="0" y="1139"/>
                    <a:pt x="80" y="1141"/>
                    <a:pt x="80" y="1209"/>
                  </a:cubicBezTo>
                  <a:lnTo>
                    <a:pt x="80" y="1303"/>
                  </a:lnTo>
                  <a:lnTo>
                    <a:pt x="581" y="1745"/>
                  </a:lnTo>
                  <a:cubicBezTo>
                    <a:pt x="612" y="1773"/>
                    <a:pt x="651" y="1788"/>
                    <a:pt x="693" y="1788"/>
                  </a:cubicBezTo>
                  <a:lnTo>
                    <a:pt x="1086" y="1788"/>
                  </a:lnTo>
                  <a:cubicBezTo>
                    <a:pt x="1127" y="1788"/>
                    <a:pt x="1167" y="1773"/>
                    <a:pt x="1198" y="1745"/>
                  </a:cubicBezTo>
                  <a:lnTo>
                    <a:pt x="1695" y="1303"/>
                  </a:lnTo>
                  <a:lnTo>
                    <a:pt x="1695" y="1139"/>
                  </a:lnTo>
                  <a:cubicBezTo>
                    <a:pt x="1695" y="1071"/>
                    <a:pt x="1775" y="1069"/>
                    <a:pt x="1775" y="1005"/>
                  </a:cubicBezTo>
                  <a:cubicBezTo>
                    <a:pt x="1775" y="942"/>
                    <a:pt x="1695" y="966"/>
                    <a:pt x="1695" y="894"/>
                  </a:cubicBezTo>
                  <a:cubicBezTo>
                    <a:pt x="1695" y="822"/>
                    <a:pt x="1775" y="818"/>
                    <a:pt x="1775" y="752"/>
                  </a:cubicBezTo>
                  <a:cubicBezTo>
                    <a:pt x="1775" y="687"/>
                    <a:pt x="1695" y="713"/>
                    <a:pt x="1695" y="641"/>
                  </a:cubicBezTo>
                  <a:cubicBezTo>
                    <a:pt x="1695" y="569"/>
                    <a:pt x="1775" y="575"/>
                    <a:pt x="1775" y="514"/>
                  </a:cubicBezTo>
                  <a:cubicBezTo>
                    <a:pt x="1775" y="453"/>
                    <a:pt x="1695" y="453"/>
                    <a:pt x="1695" y="396"/>
                  </a:cubicBezTo>
                  <a:cubicBezTo>
                    <a:pt x="1695" y="339"/>
                    <a:pt x="1775" y="315"/>
                    <a:pt x="1775" y="272"/>
                  </a:cubicBezTo>
                  <a:lnTo>
                    <a:pt x="1775" y="272"/>
                  </a:lnTo>
                  <a:close/>
                </a:path>
              </a:pathLst>
            </a:custGeom>
            <a:solidFill>
              <a:schemeClr val="tx2">
                <a:alpha val="50196"/>
              </a:schemeClr>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7">
              <a:extLst>
                <a:ext uri="{FF2B5EF4-FFF2-40B4-BE49-F238E27FC236}">
                  <a16:creationId xmlns:a16="http://schemas.microsoft.com/office/drawing/2014/main" id="{1E03593F-07DB-D64B-B651-5E2077F645B4}"/>
                </a:ext>
              </a:extLst>
            </p:cNvPr>
            <p:cNvSpPr>
              <a:spLocks/>
            </p:cNvSpPr>
            <p:nvPr/>
          </p:nvSpPr>
          <p:spPr bwMode="auto">
            <a:xfrm>
              <a:off x="5008805" y="1810024"/>
              <a:ext cx="2179665" cy="714247"/>
            </a:xfrm>
            <a:custGeom>
              <a:avLst/>
              <a:gdLst>
                <a:gd name="T0" fmla="*/ 4021 w 4021"/>
                <a:gd name="T1" fmla="*/ 1317 h 1317"/>
                <a:gd name="T2" fmla="*/ 4021 w 4021"/>
                <a:gd name="T3" fmla="*/ 1317 h 1317"/>
                <a:gd name="T4" fmla="*/ 2010 w 4021"/>
                <a:gd name="T5" fmla="*/ 0 h 1317"/>
                <a:gd name="T6" fmla="*/ 0 w 4021"/>
                <a:gd name="T7" fmla="*/ 1317 h 1317"/>
                <a:gd name="T8" fmla="*/ 4021 w 4021"/>
                <a:gd name="T9" fmla="*/ 1317 h 1317"/>
              </a:gdLst>
              <a:ahLst/>
              <a:cxnLst>
                <a:cxn ang="0">
                  <a:pos x="T0" y="T1"/>
                </a:cxn>
                <a:cxn ang="0">
                  <a:pos x="T2" y="T3"/>
                </a:cxn>
                <a:cxn ang="0">
                  <a:pos x="T4" y="T5"/>
                </a:cxn>
                <a:cxn ang="0">
                  <a:pos x="T6" y="T7"/>
                </a:cxn>
                <a:cxn ang="0">
                  <a:pos x="T8" y="T9"/>
                </a:cxn>
              </a:cxnLst>
              <a:rect l="0" t="0" r="r" b="b"/>
              <a:pathLst>
                <a:path w="4021" h="1317">
                  <a:moveTo>
                    <a:pt x="4021" y="1317"/>
                  </a:moveTo>
                  <a:lnTo>
                    <a:pt x="4021" y="1317"/>
                  </a:lnTo>
                  <a:cubicBezTo>
                    <a:pt x="3733" y="492"/>
                    <a:pt x="2960" y="0"/>
                    <a:pt x="2010" y="0"/>
                  </a:cubicBezTo>
                  <a:cubicBezTo>
                    <a:pt x="1060" y="0"/>
                    <a:pt x="287" y="492"/>
                    <a:pt x="0" y="1317"/>
                  </a:cubicBezTo>
                  <a:lnTo>
                    <a:pt x="4021" y="1317"/>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10">
              <a:extLst>
                <a:ext uri="{FF2B5EF4-FFF2-40B4-BE49-F238E27FC236}">
                  <a16:creationId xmlns:a16="http://schemas.microsoft.com/office/drawing/2014/main" id="{111479FA-2DA8-CB43-A28B-4F08CA15B4AF}"/>
                </a:ext>
              </a:extLst>
            </p:cNvPr>
            <p:cNvSpPr>
              <a:spLocks/>
            </p:cNvSpPr>
            <p:nvPr/>
          </p:nvSpPr>
          <p:spPr bwMode="auto">
            <a:xfrm>
              <a:off x="4943872" y="2577741"/>
              <a:ext cx="2309528" cy="687510"/>
            </a:xfrm>
            <a:custGeom>
              <a:avLst/>
              <a:gdLst>
                <a:gd name="T0" fmla="*/ 0 w 4262"/>
                <a:gd name="T1" fmla="*/ 643 h 1268"/>
                <a:gd name="T2" fmla="*/ 0 w 4262"/>
                <a:gd name="T3" fmla="*/ 643 h 1268"/>
                <a:gd name="T4" fmla="*/ 85 w 4262"/>
                <a:gd name="T5" fmla="*/ 1268 h 1268"/>
                <a:gd name="T6" fmla="*/ 4178 w 4262"/>
                <a:gd name="T7" fmla="*/ 1268 h 1268"/>
                <a:gd name="T8" fmla="*/ 4262 w 4262"/>
                <a:gd name="T9" fmla="*/ 643 h 1268"/>
                <a:gd name="T10" fmla="*/ 4174 w 4262"/>
                <a:gd name="T11" fmla="*/ 0 h 1268"/>
                <a:gd name="T12" fmla="*/ 89 w 4262"/>
                <a:gd name="T13" fmla="*/ 0 h 1268"/>
                <a:gd name="T14" fmla="*/ 0 w 4262"/>
                <a:gd name="T15" fmla="*/ 643 h 1268"/>
                <a:gd name="T16" fmla="*/ 0 w 4262"/>
                <a:gd name="T17" fmla="*/ 643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2" h="1268">
                  <a:moveTo>
                    <a:pt x="0" y="643"/>
                  </a:moveTo>
                  <a:lnTo>
                    <a:pt x="0" y="643"/>
                  </a:lnTo>
                  <a:cubicBezTo>
                    <a:pt x="0" y="876"/>
                    <a:pt x="32" y="1082"/>
                    <a:pt x="85" y="1268"/>
                  </a:cubicBezTo>
                  <a:lnTo>
                    <a:pt x="4178" y="1268"/>
                  </a:lnTo>
                  <a:cubicBezTo>
                    <a:pt x="4230" y="1082"/>
                    <a:pt x="4262" y="876"/>
                    <a:pt x="4262" y="643"/>
                  </a:cubicBezTo>
                  <a:cubicBezTo>
                    <a:pt x="4262" y="412"/>
                    <a:pt x="4231" y="198"/>
                    <a:pt x="4174" y="0"/>
                  </a:cubicBezTo>
                  <a:lnTo>
                    <a:pt x="89" y="0"/>
                  </a:lnTo>
                  <a:cubicBezTo>
                    <a:pt x="31" y="198"/>
                    <a:pt x="0" y="412"/>
                    <a:pt x="0" y="643"/>
                  </a:cubicBezTo>
                  <a:lnTo>
                    <a:pt x="0" y="643"/>
                  </a:lnTo>
                  <a:close/>
                </a:path>
              </a:pathLst>
            </a:custGeom>
            <a:solidFill>
              <a:schemeClr val="accent3"/>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12">
              <a:extLst>
                <a:ext uri="{FF2B5EF4-FFF2-40B4-BE49-F238E27FC236}">
                  <a16:creationId xmlns:a16="http://schemas.microsoft.com/office/drawing/2014/main" id="{403FEDB8-61B3-834B-A75F-24D86711CF0B}"/>
                </a:ext>
              </a:extLst>
            </p:cNvPr>
            <p:cNvSpPr>
              <a:spLocks/>
            </p:cNvSpPr>
            <p:nvPr/>
          </p:nvSpPr>
          <p:spPr bwMode="auto">
            <a:xfrm>
              <a:off x="5383117" y="4060984"/>
              <a:ext cx="1429769" cy="714247"/>
            </a:xfrm>
            <a:custGeom>
              <a:avLst/>
              <a:gdLst>
                <a:gd name="T0" fmla="*/ 0 w 2640"/>
                <a:gd name="T1" fmla="*/ 0 h 1317"/>
                <a:gd name="T2" fmla="*/ 0 w 2640"/>
                <a:gd name="T3" fmla="*/ 0 h 1317"/>
                <a:gd name="T4" fmla="*/ 127 w 2640"/>
                <a:gd name="T5" fmla="*/ 630 h 1317"/>
                <a:gd name="T6" fmla="*/ 610 w 2640"/>
                <a:gd name="T7" fmla="*/ 1317 h 1317"/>
                <a:gd name="T8" fmla="*/ 2030 w 2640"/>
                <a:gd name="T9" fmla="*/ 1317 h 1317"/>
                <a:gd name="T10" fmla="*/ 2513 w 2640"/>
                <a:gd name="T11" fmla="*/ 630 h 1317"/>
                <a:gd name="T12" fmla="*/ 2640 w 2640"/>
                <a:gd name="T13" fmla="*/ 0 h 1317"/>
                <a:gd name="T14" fmla="*/ 0 w 2640"/>
                <a:gd name="T15" fmla="*/ 0 h 1317"/>
                <a:gd name="T16" fmla="*/ 0 w 2640"/>
                <a:gd name="T17" fmla="*/ 0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0" h="1317">
                  <a:moveTo>
                    <a:pt x="0" y="0"/>
                  </a:moveTo>
                  <a:lnTo>
                    <a:pt x="0" y="0"/>
                  </a:lnTo>
                  <a:cubicBezTo>
                    <a:pt x="77" y="190"/>
                    <a:pt x="127" y="394"/>
                    <a:pt x="127" y="630"/>
                  </a:cubicBezTo>
                  <a:cubicBezTo>
                    <a:pt x="127" y="857"/>
                    <a:pt x="340" y="1317"/>
                    <a:pt x="610" y="1317"/>
                  </a:cubicBezTo>
                  <a:lnTo>
                    <a:pt x="2030" y="1317"/>
                  </a:lnTo>
                  <a:cubicBezTo>
                    <a:pt x="2300" y="1317"/>
                    <a:pt x="2513" y="857"/>
                    <a:pt x="2513" y="630"/>
                  </a:cubicBezTo>
                  <a:cubicBezTo>
                    <a:pt x="2513" y="394"/>
                    <a:pt x="2563" y="190"/>
                    <a:pt x="2640" y="0"/>
                  </a:cubicBezTo>
                  <a:lnTo>
                    <a:pt x="0" y="0"/>
                  </a:lnTo>
                  <a:lnTo>
                    <a:pt x="0" y="0"/>
                  </a:lnTo>
                  <a:close/>
                </a:path>
              </a:pathLst>
            </a:custGeom>
            <a:solidFill>
              <a:schemeClr val="accent1"/>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4">
              <a:extLst>
                <a:ext uri="{FF2B5EF4-FFF2-40B4-BE49-F238E27FC236}">
                  <a16:creationId xmlns:a16="http://schemas.microsoft.com/office/drawing/2014/main" id="{23E48BE6-E682-5C4A-8C12-5A5089224242}"/>
                </a:ext>
              </a:extLst>
            </p:cNvPr>
            <p:cNvSpPr>
              <a:spLocks/>
            </p:cNvSpPr>
            <p:nvPr/>
          </p:nvSpPr>
          <p:spPr bwMode="auto">
            <a:xfrm>
              <a:off x="5006259" y="3319998"/>
              <a:ext cx="2184757" cy="687510"/>
            </a:xfrm>
            <a:custGeom>
              <a:avLst/>
              <a:gdLst>
                <a:gd name="T0" fmla="*/ 3379 w 4032"/>
                <a:gd name="T1" fmla="*/ 1267 h 1267"/>
                <a:gd name="T2" fmla="*/ 3379 w 4032"/>
                <a:gd name="T3" fmla="*/ 1267 h 1267"/>
                <a:gd name="T4" fmla="*/ 4032 w 4032"/>
                <a:gd name="T5" fmla="*/ 0 h 1267"/>
                <a:gd name="T6" fmla="*/ 0 w 4032"/>
                <a:gd name="T7" fmla="*/ 0 h 1267"/>
                <a:gd name="T8" fmla="*/ 653 w 4032"/>
                <a:gd name="T9" fmla="*/ 1267 h 1267"/>
                <a:gd name="T10" fmla="*/ 3379 w 4032"/>
                <a:gd name="T11" fmla="*/ 1267 h 1267"/>
                <a:gd name="T12" fmla="*/ 3379 w 4032"/>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4032" h="1267">
                  <a:moveTo>
                    <a:pt x="3379" y="1267"/>
                  </a:moveTo>
                  <a:lnTo>
                    <a:pt x="3379" y="1267"/>
                  </a:lnTo>
                  <a:cubicBezTo>
                    <a:pt x="3568" y="854"/>
                    <a:pt x="3869" y="495"/>
                    <a:pt x="4032" y="0"/>
                  </a:cubicBezTo>
                  <a:lnTo>
                    <a:pt x="0" y="0"/>
                  </a:lnTo>
                  <a:cubicBezTo>
                    <a:pt x="163" y="495"/>
                    <a:pt x="464" y="854"/>
                    <a:pt x="653" y="1267"/>
                  </a:cubicBezTo>
                  <a:lnTo>
                    <a:pt x="3379" y="1267"/>
                  </a:lnTo>
                  <a:lnTo>
                    <a:pt x="3379" y="1267"/>
                  </a:lnTo>
                  <a:close/>
                </a:path>
              </a:pathLst>
            </a:custGeom>
            <a:solidFill>
              <a:schemeClr val="accent2"/>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63" name="Freeform 528">
            <a:extLst>
              <a:ext uri="{FF2B5EF4-FFF2-40B4-BE49-F238E27FC236}">
                <a16:creationId xmlns:a16="http://schemas.microsoft.com/office/drawing/2014/main" id="{67237873-064D-49F5-8029-89220C2A7E8A}"/>
              </a:ext>
            </a:extLst>
          </p:cNvPr>
          <p:cNvSpPr>
            <a:spLocks noChangeAspect="1" noEditPoints="1"/>
          </p:cNvSpPr>
          <p:nvPr/>
        </p:nvSpPr>
        <p:spPr bwMode="auto">
          <a:xfrm>
            <a:off x="3662969" y="3688671"/>
            <a:ext cx="315026" cy="31502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64" name="Freeform 984">
            <a:extLst>
              <a:ext uri="{FF2B5EF4-FFF2-40B4-BE49-F238E27FC236}">
                <a16:creationId xmlns:a16="http://schemas.microsoft.com/office/drawing/2014/main" id="{D589DA1A-AA5B-4B91-A098-F2AA7619137D}"/>
              </a:ext>
            </a:extLst>
          </p:cNvPr>
          <p:cNvSpPr>
            <a:spLocks noChangeAspect="1" noEditPoints="1"/>
          </p:cNvSpPr>
          <p:nvPr/>
        </p:nvSpPr>
        <p:spPr bwMode="auto">
          <a:xfrm>
            <a:off x="3661121" y="4501641"/>
            <a:ext cx="315445" cy="3145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grpSp>
        <p:nvGrpSpPr>
          <p:cNvPr id="65" name="Group 867">
            <a:extLst>
              <a:ext uri="{FF2B5EF4-FFF2-40B4-BE49-F238E27FC236}">
                <a16:creationId xmlns:a16="http://schemas.microsoft.com/office/drawing/2014/main" id="{058E9595-3F76-4D0B-8D56-6E97479D8797}"/>
              </a:ext>
            </a:extLst>
          </p:cNvPr>
          <p:cNvGrpSpPr>
            <a:grpSpLocks noChangeAspect="1"/>
          </p:cNvGrpSpPr>
          <p:nvPr/>
        </p:nvGrpSpPr>
        <p:grpSpPr bwMode="auto">
          <a:xfrm>
            <a:off x="3277400" y="2177651"/>
            <a:ext cx="316218" cy="316218"/>
            <a:chOff x="6248" y="3438"/>
            <a:chExt cx="340" cy="340"/>
          </a:xfrm>
          <a:solidFill>
            <a:schemeClr val="bg1"/>
          </a:solidFill>
        </p:grpSpPr>
        <p:sp>
          <p:nvSpPr>
            <p:cNvPr id="66" name="Oval 868">
              <a:extLst>
                <a:ext uri="{FF2B5EF4-FFF2-40B4-BE49-F238E27FC236}">
                  <a16:creationId xmlns:a16="http://schemas.microsoft.com/office/drawing/2014/main" id="{0A6C8959-49E3-49CF-B333-3D030075C7DC}"/>
                </a:ext>
              </a:extLst>
            </p:cNvPr>
            <p:cNvSpPr>
              <a:spLocks noChangeArrowheads="1"/>
            </p:cNvSpPr>
            <p:nvPr/>
          </p:nvSpPr>
          <p:spPr bwMode="auto">
            <a:xfrm>
              <a:off x="6326" y="3593"/>
              <a:ext cx="28" cy="29"/>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7" name="Oval 869">
              <a:extLst>
                <a:ext uri="{FF2B5EF4-FFF2-40B4-BE49-F238E27FC236}">
                  <a16:creationId xmlns:a16="http://schemas.microsoft.com/office/drawing/2014/main" id="{FBD12368-2265-46CA-A12D-042CA785C47A}"/>
                </a:ext>
              </a:extLst>
            </p:cNvPr>
            <p:cNvSpPr>
              <a:spLocks noChangeArrowheads="1"/>
            </p:cNvSpPr>
            <p:nvPr/>
          </p:nvSpPr>
          <p:spPr bwMode="auto">
            <a:xfrm>
              <a:off x="6467" y="3530"/>
              <a:ext cx="29" cy="28"/>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8" name="Oval 870">
              <a:extLst>
                <a:ext uri="{FF2B5EF4-FFF2-40B4-BE49-F238E27FC236}">
                  <a16:creationId xmlns:a16="http://schemas.microsoft.com/office/drawing/2014/main" id="{4CE4C591-9E7F-45A7-87B9-72FA41D19B7D}"/>
                </a:ext>
              </a:extLst>
            </p:cNvPr>
            <p:cNvSpPr>
              <a:spLocks noChangeArrowheads="1"/>
            </p:cNvSpPr>
            <p:nvPr/>
          </p:nvSpPr>
          <p:spPr bwMode="auto">
            <a:xfrm>
              <a:off x="6467" y="3657"/>
              <a:ext cx="29" cy="29"/>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9" name="Freeform 871">
              <a:extLst>
                <a:ext uri="{FF2B5EF4-FFF2-40B4-BE49-F238E27FC236}">
                  <a16:creationId xmlns:a16="http://schemas.microsoft.com/office/drawing/2014/main" id="{D68CF14E-291C-4593-9AC6-4B2A5A4654FB}"/>
                </a:ext>
              </a:extLst>
            </p:cNvPr>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70" name="Group 498">
            <a:extLst>
              <a:ext uri="{FF2B5EF4-FFF2-40B4-BE49-F238E27FC236}">
                <a16:creationId xmlns:a16="http://schemas.microsoft.com/office/drawing/2014/main" id="{1070BF53-BB81-4104-AA1F-0F16DDFDAA51}"/>
              </a:ext>
            </a:extLst>
          </p:cNvPr>
          <p:cNvGrpSpPr>
            <a:grpSpLocks noChangeAspect="1"/>
          </p:cNvGrpSpPr>
          <p:nvPr/>
        </p:nvGrpSpPr>
        <p:grpSpPr bwMode="auto">
          <a:xfrm>
            <a:off x="3435509" y="2980216"/>
            <a:ext cx="315026" cy="315027"/>
            <a:chOff x="1543" y="2005"/>
            <a:chExt cx="340" cy="340"/>
          </a:xfrm>
          <a:solidFill>
            <a:schemeClr val="bg1"/>
          </a:solidFill>
        </p:grpSpPr>
        <p:sp>
          <p:nvSpPr>
            <p:cNvPr id="71" name="Freeform 499">
              <a:extLst>
                <a:ext uri="{FF2B5EF4-FFF2-40B4-BE49-F238E27FC236}">
                  <a16:creationId xmlns:a16="http://schemas.microsoft.com/office/drawing/2014/main" id="{4B2E7364-631C-4D51-945B-A944003F87E3}"/>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2" name="Freeform 500">
              <a:extLst>
                <a:ext uri="{FF2B5EF4-FFF2-40B4-BE49-F238E27FC236}">
                  <a16:creationId xmlns:a16="http://schemas.microsoft.com/office/drawing/2014/main" id="{B54464EB-68A7-4A1E-8DDE-0D08682C0BDD}"/>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73" name="Freeform 54">
            <a:extLst>
              <a:ext uri="{FF2B5EF4-FFF2-40B4-BE49-F238E27FC236}">
                <a16:creationId xmlns:a16="http://schemas.microsoft.com/office/drawing/2014/main" id="{462C6EE9-6465-4FCF-9DB2-92517BB1F267}"/>
              </a:ext>
            </a:extLst>
          </p:cNvPr>
          <p:cNvSpPr>
            <a:spLocks noChangeAspect="1" noEditPoints="1"/>
          </p:cNvSpPr>
          <p:nvPr/>
        </p:nvSpPr>
        <p:spPr bwMode="auto">
          <a:xfrm>
            <a:off x="3488812" y="1559617"/>
            <a:ext cx="315026" cy="315027"/>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Tree>
    <p:custDataLst>
      <p:tags r:id="rId1"/>
    </p:custDataLst>
    <p:extLst>
      <p:ext uri="{BB962C8B-B14F-4D97-AF65-F5344CB8AC3E}">
        <p14:creationId xmlns:p14="http://schemas.microsoft.com/office/powerpoint/2010/main" val="3256573490"/>
      </p:ext>
    </p:extLst>
  </p:cSld>
  <p:clrMapOvr>
    <a:masterClrMapping/>
  </p:clrMapOvr>
  <p:transition>
    <p:fade/>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Group 96">
            <a:extLst>
              <a:ext uri="{FF2B5EF4-FFF2-40B4-BE49-F238E27FC236}">
                <a16:creationId xmlns:a16="http://schemas.microsoft.com/office/drawing/2014/main" id="{CB59DF34-7E75-6244-ADF0-6DE6E58FBD15}"/>
              </a:ext>
            </a:extLst>
          </p:cNvPr>
          <p:cNvGrpSpPr/>
          <p:nvPr/>
        </p:nvGrpSpPr>
        <p:grpSpPr>
          <a:xfrm>
            <a:off x="1666875" y="1528764"/>
            <a:ext cx="3092450" cy="3813175"/>
            <a:chOff x="2986088" y="1528763"/>
            <a:chExt cx="3092450" cy="3813175"/>
          </a:xfrm>
        </p:grpSpPr>
        <p:sp>
          <p:nvSpPr>
            <p:cNvPr id="98" name="Freeform 21">
              <a:extLst>
                <a:ext uri="{FF2B5EF4-FFF2-40B4-BE49-F238E27FC236}">
                  <a16:creationId xmlns:a16="http://schemas.microsoft.com/office/drawing/2014/main" id="{5A9C8B9E-C495-F04A-83C4-90F8EB1E9D31}"/>
                </a:ext>
              </a:extLst>
            </p:cNvPr>
            <p:cNvSpPr>
              <a:spLocks noEditPoints="1"/>
            </p:cNvSpPr>
            <p:nvPr/>
          </p:nvSpPr>
          <p:spPr bwMode="auto">
            <a:xfrm>
              <a:off x="2986088" y="1528763"/>
              <a:ext cx="3092450" cy="2819400"/>
            </a:xfrm>
            <a:custGeom>
              <a:avLst/>
              <a:gdLst>
                <a:gd name="T0" fmla="*/ 1244 w 1948"/>
                <a:gd name="T1" fmla="*/ 177 h 1776"/>
                <a:gd name="T2" fmla="*/ 1287 w 1948"/>
                <a:gd name="T3" fmla="*/ 49 h 1776"/>
                <a:gd name="T4" fmla="*/ 1479 w 1948"/>
                <a:gd name="T5" fmla="*/ 305 h 1776"/>
                <a:gd name="T6" fmla="*/ 1557 w 1948"/>
                <a:gd name="T7" fmla="*/ 192 h 1776"/>
                <a:gd name="T8" fmla="*/ 1664 w 1948"/>
                <a:gd name="T9" fmla="*/ 490 h 1776"/>
                <a:gd name="T10" fmla="*/ 1770 w 1948"/>
                <a:gd name="T11" fmla="*/ 412 h 1776"/>
                <a:gd name="T12" fmla="*/ 1777 w 1948"/>
                <a:gd name="T13" fmla="*/ 725 h 1776"/>
                <a:gd name="T14" fmla="*/ 1905 w 1948"/>
                <a:gd name="T15" fmla="*/ 689 h 1776"/>
                <a:gd name="T16" fmla="*/ 1813 w 1948"/>
                <a:gd name="T17" fmla="*/ 987 h 1776"/>
                <a:gd name="T18" fmla="*/ 1948 w 1948"/>
                <a:gd name="T19" fmla="*/ 987 h 1776"/>
                <a:gd name="T20" fmla="*/ 1770 w 1948"/>
                <a:gd name="T21" fmla="*/ 1250 h 1776"/>
                <a:gd name="T22" fmla="*/ 1898 w 1948"/>
                <a:gd name="T23" fmla="*/ 1293 h 1776"/>
                <a:gd name="T24" fmla="*/ 1649 w 1948"/>
                <a:gd name="T25" fmla="*/ 1485 h 1776"/>
                <a:gd name="T26" fmla="*/ 1756 w 1948"/>
                <a:gd name="T27" fmla="*/ 1563 h 1776"/>
                <a:gd name="T28" fmla="*/ 1465 w 1948"/>
                <a:gd name="T29" fmla="*/ 1663 h 1776"/>
                <a:gd name="T30" fmla="*/ 1543 w 1948"/>
                <a:gd name="T31" fmla="*/ 1776 h 1776"/>
                <a:gd name="T32" fmla="*/ 476 w 1948"/>
                <a:gd name="T33" fmla="*/ 1655 h 1776"/>
                <a:gd name="T34" fmla="*/ 398 w 1948"/>
                <a:gd name="T35" fmla="*/ 1762 h 1776"/>
                <a:gd name="T36" fmla="*/ 292 w 1948"/>
                <a:gd name="T37" fmla="*/ 1464 h 1776"/>
                <a:gd name="T38" fmla="*/ 185 w 1948"/>
                <a:gd name="T39" fmla="*/ 1542 h 1776"/>
                <a:gd name="T40" fmla="*/ 178 w 1948"/>
                <a:gd name="T41" fmla="*/ 1229 h 1776"/>
                <a:gd name="T42" fmla="*/ 50 w 1948"/>
                <a:gd name="T43" fmla="*/ 1272 h 1776"/>
                <a:gd name="T44" fmla="*/ 135 w 1948"/>
                <a:gd name="T45" fmla="*/ 966 h 1776"/>
                <a:gd name="T46" fmla="*/ 0 w 1948"/>
                <a:gd name="T47" fmla="*/ 966 h 1776"/>
                <a:gd name="T48" fmla="*/ 178 w 1948"/>
                <a:gd name="T49" fmla="*/ 710 h 1776"/>
                <a:gd name="T50" fmla="*/ 57 w 1948"/>
                <a:gd name="T51" fmla="*/ 668 h 1776"/>
                <a:gd name="T52" fmla="*/ 306 w 1948"/>
                <a:gd name="T53" fmla="*/ 476 h 1776"/>
                <a:gd name="T54" fmla="*/ 192 w 1948"/>
                <a:gd name="T55" fmla="*/ 398 h 1776"/>
                <a:gd name="T56" fmla="*/ 491 w 1948"/>
                <a:gd name="T57" fmla="*/ 291 h 1776"/>
                <a:gd name="T58" fmla="*/ 413 w 1948"/>
                <a:gd name="T59" fmla="*/ 184 h 1776"/>
                <a:gd name="T60" fmla="*/ 725 w 1948"/>
                <a:gd name="T61" fmla="*/ 177 h 1776"/>
                <a:gd name="T62" fmla="*/ 683 w 1948"/>
                <a:gd name="T63" fmla="*/ 49 h 1776"/>
                <a:gd name="T64" fmla="*/ 988 w 1948"/>
                <a:gd name="T65" fmla="*/ 135 h 1776"/>
                <a:gd name="T66" fmla="*/ 988 w 1948"/>
                <a:gd name="T67" fmla="*/ 0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8" h="1776">
                  <a:moveTo>
                    <a:pt x="1244" y="177"/>
                  </a:moveTo>
                  <a:lnTo>
                    <a:pt x="1287" y="49"/>
                  </a:lnTo>
                  <a:moveTo>
                    <a:pt x="1479" y="305"/>
                  </a:moveTo>
                  <a:lnTo>
                    <a:pt x="1557" y="192"/>
                  </a:lnTo>
                  <a:moveTo>
                    <a:pt x="1664" y="490"/>
                  </a:moveTo>
                  <a:lnTo>
                    <a:pt x="1770" y="412"/>
                  </a:lnTo>
                  <a:moveTo>
                    <a:pt x="1777" y="725"/>
                  </a:moveTo>
                  <a:lnTo>
                    <a:pt x="1905" y="689"/>
                  </a:lnTo>
                  <a:moveTo>
                    <a:pt x="1813" y="987"/>
                  </a:moveTo>
                  <a:lnTo>
                    <a:pt x="1948" y="987"/>
                  </a:lnTo>
                  <a:moveTo>
                    <a:pt x="1770" y="1250"/>
                  </a:moveTo>
                  <a:lnTo>
                    <a:pt x="1898" y="1293"/>
                  </a:lnTo>
                  <a:moveTo>
                    <a:pt x="1649" y="1485"/>
                  </a:moveTo>
                  <a:lnTo>
                    <a:pt x="1756" y="1563"/>
                  </a:lnTo>
                  <a:moveTo>
                    <a:pt x="1465" y="1663"/>
                  </a:moveTo>
                  <a:lnTo>
                    <a:pt x="1543" y="1776"/>
                  </a:lnTo>
                  <a:moveTo>
                    <a:pt x="476" y="1655"/>
                  </a:moveTo>
                  <a:lnTo>
                    <a:pt x="398" y="1762"/>
                  </a:lnTo>
                  <a:moveTo>
                    <a:pt x="292" y="1464"/>
                  </a:moveTo>
                  <a:lnTo>
                    <a:pt x="185" y="1542"/>
                  </a:lnTo>
                  <a:moveTo>
                    <a:pt x="178" y="1229"/>
                  </a:moveTo>
                  <a:lnTo>
                    <a:pt x="50" y="1272"/>
                  </a:lnTo>
                  <a:moveTo>
                    <a:pt x="135" y="966"/>
                  </a:moveTo>
                  <a:lnTo>
                    <a:pt x="0" y="966"/>
                  </a:lnTo>
                  <a:moveTo>
                    <a:pt x="178" y="710"/>
                  </a:moveTo>
                  <a:lnTo>
                    <a:pt x="57" y="668"/>
                  </a:lnTo>
                  <a:moveTo>
                    <a:pt x="306" y="476"/>
                  </a:moveTo>
                  <a:lnTo>
                    <a:pt x="192" y="398"/>
                  </a:lnTo>
                  <a:moveTo>
                    <a:pt x="491" y="291"/>
                  </a:moveTo>
                  <a:lnTo>
                    <a:pt x="413" y="184"/>
                  </a:lnTo>
                  <a:moveTo>
                    <a:pt x="725" y="177"/>
                  </a:moveTo>
                  <a:lnTo>
                    <a:pt x="683" y="49"/>
                  </a:lnTo>
                  <a:moveTo>
                    <a:pt x="988" y="135"/>
                  </a:moveTo>
                  <a:lnTo>
                    <a:pt x="988" y="0"/>
                  </a:lnTo>
                </a:path>
              </a:pathLst>
            </a:custGeom>
            <a:solidFill>
              <a:schemeClr val="accent1"/>
            </a:solidFill>
            <a:ln w="55563"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2">
              <a:extLst>
                <a:ext uri="{FF2B5EF4-FFF2-40B4-BE49-F238E27FC236}">
                  <a16:creationId xmlns:a16="http://schemas.microsoft.com/office/drawing/2014/main" id="{6374623B-A65A-914F-A997-1C3E58140F27}"/>
                </a:ext>
              </a:extLst>
            </p:cNvPr>
            <p:cNvSpPr>
              <a:spLocks/>
            </p:cNvSpPr>
            <p:nvPr/>
          </p:nvSpPr>
          <p:spPr bwMode="auto">
            <a:xfrm>
              <a:off x="4464051" y="2520951"/>
              <a:ext cx="790575" cy="1184275"/>
            </a:xfrm>
            <a:custGeom>
              <a:avLst/>
              <a:gdLst>
                <a:gd name="T0" fmla="*/ 70 w 70"/>
                <a:gd name="T1" fmla="*/ 99 h 105"/>
                <a:gd name="T2" fmla="*/ 57 w 70"/>
                <a:gd name="T3" fmla="*/ 61 h 105"/>
                <a:gd name="T4" fmla="*/ 57 w 70"/>
                <a:gd name="T5" fmla="*/ 61 h 105"/>
                <a:gd name="T6" fmla="*/ 16 w 70"/>
                <a:gd name="T7" fmla="*/ 2 h 105"/>
                <a:gd name="T8" fmla="*/ 6 w 70"/>
                <a:gd name="T9" fmla="*/ 2 h 105"/>
                <a:gd name="T10" fmla="*/ 5 w 70"/>
                <a:gd name="T11" fmla="*/ 13 h 105"/>
                <a:gd name="T12" fmla="*/ 33 w 70"/>
                <a:gd name="T13" fmla="*/ 53 h 105"/>
                <a:gd name="T14" fmla="*/ 33 w 70"/>
                <a:gd name="T15" fmla="*/ 105 h 105"/>
                <a:gd name="T16" fmla="*/ 70 w 70"/>
                <a:gd name="T17" fmla="*/ 9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05">
                  <a:moveTo>
                    <a:pt x="70" y="99"/>
                  </a:moveTo>
                  <a:cubicBezTo>
                    <a:pt x="70" y="99"/>
                    <a:pt x="66" y="82"/>
                    <a:pt x="57" y="61"/>
                  </a:cubicBezTo>
                  <a:cubicBezTo>
                    <a:pt x="56" y="58"/>
                    <a:pt x="59" y="63"/>
                    <a:pt x="57" y="61"/>
                  </a:cubicBezTo>
                  <a:cubicBezTo>
                    <a:pt x="48" y="41"/>
                    <a:pt x="33" y="13"/>
                    <a:pt x="16" y="2"/>
                  </a:cubicBezTo>
                  <a:cubicBezTo>
                    <a:pt x="13" y="1"/>
                    <a:pt x="9" y="0"/>
                    <a:pt x="6" y="2"/>
                  </a:cubicBezTo>
                  <a:cubicBezTo>
                    <a:pt x="4" y="3"/>
                    <a:pt x="0" y="6"/>
                    <a:pt x="5" y="13"/>
                  </a:cubicBezTo>
                  <a:cubicBezTo>
                    <a:pt x="5" y="13"/>
                    <a:pt x="33" y="38"/>
                    <a:pt x="33" y="53"/>
                  </a:cubicBezTo>
                  <a:cubicBezTo>
                    <a:pt x="33" y="105"/>
                    <a:pt x="33" y="105"/>
                    <a:pt x="33" y="105"/>
                  </a:cubicBezTo>
                  <a:lnTo>
                    <a:pt x="70" y="99"/>
                  </a:lnTo>
                  <a:close/>
                </a:path>
              </a:pathLst>
            </a:custGeom>
            <a:solidFill>
              <a:srgbClr val="C4D600"/>
            </a:solidFill>
            <a:ln w="9525">
              <a:solidFill>
                <a:srgbClr val="C4D6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3">
              <a:extLst>
                <a:ext uri="{FF2B5EF4-FFF2-40B4-BE49-F238E27FC236}">
                  <a16:creationId xmlns:a16="http://schemas.microsoft.com/office/drawing/2014/main" id="{B36A51A7-EF96-3345-95E1-7886E6C62329}"/>
                </a:ext>
              </a:extLst>
            </p:cNvPr>
            <p:cNvSpPr>
              <a:spLocks/>
            </p:cNvSpPr>
            <p:nvPr/>
          </p:nvSpPr>
          <p:spPr bwMode="auto">
            <a:xfrm>
              <a:off x="4464051" y="2520951"/>
              <a:ext cx="790575" cy="1184275"/>
            </a:xfrm>
            <a:custGeom>
              <a:avLst/>
              <a:gdLst>
                <a:gd name="T0" fmla="*/ 70 w 70"/>
                <a:gd name="T1" fmla="*/ 99 h 105"/>
                <a:gd name="T2" fmla="*/ 57 w 70"/>
                <a:gd name="T3" fmla="*/ 61 h 105"/>
                <a:gd name="T4" fmla="*/ 57 w 70"/>
                <a:gd name="T5" fmla="*/ 61 h 105"/>
                <a:gd name="T6" fmla="*/ 16 w 70"/>
                <a:gd name="T7" fmla="*/ 2 h 105"/>
                <a:gd name="T8" fmla="*/ 6 w 70"/>
                <a:gd name="T9" fmla="*/ 2 h 105"/>
                <a:gd name="T10" fmla="*/ 5 w 70"/>
                <a:gd name="T11" fmla="*/ 13 h 105"/>
                <a:gd name="T12" fmla="*/ 33 w 70"/>
                <a:gd name="T13" fmla="*/ 53 h 105"/>
                <a:gd name="T14" fmla="*/ 33 w 70"/>
                <a:gd name="T15" fmla="*/ 105 h 105"/>
                <a:gd name="T16" fmla="*/ 70 w 70"/>
                <a:gd name="T17" fmla="*/ 9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05">
                  <a:moveTo>
                    <a:pt x="70" y="99"/>
                  </a:moveTo>
                  <a:cubicBezTo>
                    <a:pt x="70" y="99"/>
                    <a:pt x="66" y="82"/>
                    <a:pt x="57" y="61"/>
                  </a:cubicBezTo>
                  <a:cubicBezTo>
                    <a:pt x="56" y="58"/>
                    <a:pt x="59" y="63"/>
                    <a:pt x="57" y="61"/>
                  </a:cubicBezTo>
                  <a:cubicBezTo>
                    <a:pt x="48" y="41"/>
                    <a:pt x="33" y="13"/>
                    <a:pt x="16" y="2"/>
                  </a:cubicBezTo>
                  <a:cubicBezTo>
                    <a:pt x="13" y="1"/>
                    <a:pt x="9" y="0"/>
                    <a:pt x="6" y="2"/>
                  </a:cubicBezTo>
                  <a:cubicBezTo>
                    <a:pt x="4" y="3"/>
                    <a:pt x="0" y="6"/>
                    <a:pt x="5" y="13"/>
                  </a:cubicBezTo>
                  <a:cubicBezTo>
                    <a:pt x="5" y="13"/>
                    <a:pt x="33" y="38"/>
                    <a:pt x="33" y="53"/>
                  </a:cubicBezTo>
                  <a:cubicBezTo>
                    <a:pt x="33" y="105"/>
                    <a:pt x="33" y="105"/>
                    <a:pt x="33" y="105"/>
                  </a:cubicBezTo>
                  <a:lnTo>
                    <a:pt x="70" y="99"/>
                  </a:lnTo>
                  <a:close/>
                </a:path>
              </a:pathLst>
            </a:custGeom>
            <a:noFill/>
            <a:ln w="33338" cap="rnd">
              <a:solidFill>
                <a:srgbClr val="C4D6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Freeform 24">
              <a:extLst>
                <a:ext uri="{FF2B5EF4-FFF2-40B4-BE49-F238E27FC236}">
                  <a16:creationId xmlns:a16="http://schemas.microsoft.com/office/drawing/2014/main" id="{74AA4234-350B-454C-B775-0B899CFE450C}"/>
                </a:ext>
              </a:extLst>
            </p:cNvPr>
            <p:cNvSpPr>
              <a:spLocks/>
            </p:cNvSpPr>
            <p:nvPr/>
          </p:nvSpPr>
          <p:spPr bwMode="auto">
            <a:xfrm>
              <a:off x="4757738" y="2317751"/>
              <a:ext cx="655638" cy="1308100"/>
            </a:xfrm>
            <a:custGeom>
              <a:avLst/>
              <a:gdLst>
                <a:gd name="T0" fmla="*/ 56 w 58"/>
                <a:gd name="T1" fmla="*/ 105 h 116"/>
                <a:gd name="T2" fmla="*/ 58 w 58"/>
                <a:gd name="T3" fmla="*/ 99 h 116"/>
                <a:gd name="T4" fmla="*/ 21 w 58"/>
                <a:gd name="T5" fmla="*/ 8 h 116"/>
                <a:gd name="T6" fmla="*/ 4 w 58"/>
                <a:gd name="T7" fmla="*/ 7 h 116"/>
                <a:gd name="T8" fmla="*/ 6 w 58"/>
                <a:gd name="T9" fmla="*/ 20 h 116"/>
                <a:gd name="T10" fmla="*/ 37 w 58"/>
                <a:gd name="T11" fmla="*/ 88 h 116"/>
                <a:gd name="T12" fmla="*/ 38 w 58"/>
                <a:gd name="T13" fmla="*/ 89 h 116"/>
                <a:gd name="T14" fmla="*/ 45 w 58"/>
                <a:gd name="T15" fmla="*/ 113 h 116"/>
                <a:gd name="T16" fmla="*/ 50 w 58"/>
                <a:gd name="T17" fmla="*/ 114 h 116"/>
                <a:gd name="T18" fmla="*/ 56 w 58"/>
                <a:gd name="T19" fmla="*/ 10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116">
                  <a:moveTo>
                    <a:pt x="56" y="105"/>
                  </a:moveTo>
                  <a:cubicBezTo>
                    <a:pt x="58" y="103"/>
                    <a:pt x="58" y="101"/>
                    <a:pt x="58" y="99"/>
                  </a:cubicBezTo>
                  <a:cubicBezTo>
                    <a:pt x="57" y="83"/>
                    <a:pt x="43" y="22"/>
                    <a:pt x="21" y="8"/>
                  </a:cubicBezTo>
                  <a:cubicBezTo>
                    <a:pt x="21" y="8"/>
                    <a:pt x="10" y="0"/>
                    <a:pt x="4" y="7"/>
                  </a:cubicBezTo>
                  <a:cubicBezTo>
                    <a:pt x="0" y="11"/>
                    <a:pt x="2" y="16"/>
                    <a:pt x="6" y="20"/>
                  </a:cubicBezTo>
                  <a:cubicBezTo>
                    <a:pt x="16" y="29"/>
                    <a:pt x="35" y="60"/>
                    <a:pt x="37" y="88"/>
                  </a:cubicBezTo>
                  <a:cubicBezTo>
                    <a:pt x="37" y="88"/>
                    <a:pt x="38" y="88"/>
                    <a:pt x="38" y="89"/>
                  </a:cubicBezTo>
                  <a:cubicBezTo>
                    <a:pt x="45" y="113"/>
                    <a:pt x="45" y="113"/>
                    <a:pt x="45" y="113"/>
                  </a:cubicBezTo>
                  <a:cubicBezTo>
                    <a:pt x="46" y="115"/>
                    <a:pt x="49" y="116"/>
                    <a:pt x="50" y="114"/>
                  </a:cubicBezTo>
                  <a:lnTo>
                    <a:pt x="56" y="105"/>
                  </a:lnTo>
                  <a:close/>
                </a:path>
              </a:pathLst>
            </a:custGeom>
            <a:solidFill>
              <a:srgbClr val="C4D82E"/>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5">
              <a:extLst>
                <a:ext uri="{FF2B5EF4-FFF2-40B4-BE49-F238E27FC236}">
                  <a16:creationId xmlns:a16="http://schemas.microsoft.com/office/drawing/2014/main" id="{B5688C0F-CC08-B34A-8E7B-D478D82724A3}"/>
                </a:ext>
              </a:extLst>
            </p:cNvPr>
            <p:cNvSpPr>
              <a:spLocks/>
            </p:cNvSpPr>
            <p:nvPr/>
          </p:nvSpPr>
          <p:spPr bwMode="auto">
            <a:xfrm>
              <a:off x="4757738" y="2317751"/>
              <a:ext cx="655638" cy="1308100"/>
            </a:xfrm>
            <a:custGeom>
              <a:avLst/>
              <a:gdLst>
                <a:gd name="T0" fmla="*/ 56 w 58"/>
                <a:gd name="T1" fmla="*/ 105 h 116"/>
                <a:gd name="T2" fmla="*/ 58 w 58"/>
                <a:gd name="T3" fmla="*/ 99 h 116"/>
                <a:gd name="T4" fmla="*/ 21 w 58"/>
                <a:gd name="T5" fmla="*/ 8 h 116"/>
                <a:gd name="T6" fmla="*/ 4 w 58"/>
                <a:gd name="T7" fmla="*/ 7 h 116"/>
                <a:gd name="T8" fmla="*/ 6 w 58"/>
                <a:gd name="T9" fmla="*/ 20 h 116"/>
                <a:gd name="T10" fmla="*/ 37 w 58"/>
                <a:gd name="T11" fmla="*/ 88 h 116"/>
                <a:gd name="T12" fmla="*/ 38 w 58"/>
                <a:gd name="T13" fmla="*/ 89 h 116"/>
                <a:gd name="T14" fmla="*/ 45 w 58"/>
                <a:gd name="T15" fmla="*/ 113 h 116"/>
                <a:gd name="T16" fmla="*/ 50 w 58"/>
                <a:gd name="T17" fmla="*/ 114 h 116"/>
                <a:gd name="T18" fmla="*/ 56 w 58"/>
                <a:gd name="T19" fmla="*/ 10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116">
                  <a:moveTo>
                    <a:pt x="56" y="105"/>
                  </a:moveTo>
                  <a:cubicBezTo>
                    <a:pt x="58" y="103"/>
                    <a:pt x="58" y="101"/>
                    <a:pt x="58" y="99"/>
                  </a:cubicBezTo>
                  <a:cubicBezTo>
                    <a:pt x="57" y="83"/>
                    <a:pt x="43" y="22"/>
                    <a:pt x="21" y="8"/>
                  </a:cubicBezTo>
                  <a:cubicBezTo>
                    <a:pt x="21" y="8"/>
                    <a:pt x="10" y="0"/>
                    <a:pt x="4" y="7"/>
                  </a:cubicBezTo>
                  <a:cubicBezTo>
                    <a:pt x="0" y="11"/>
                    <a:pt x="2" y="16"/>
                    <a:pt x="6" y="20"/>
                  </a:cubicBezTo>
                  <a:cubicBezTo>
                    <a:pt x="16" y="29"/>
                    <a:pt x="35" y="60"/>
                    <a:pt x="37" y="88"/>
                  </a:cubicBezTo>
                  <a:cubicBezTo>
                    <a:pt x="37" y="88"/>
                    <a:pt x="38" y="88"/>
                    <a:pt x="38" y="89"/>
                  </a:cubicBezTo>
                  <a:cubicBezTo>
                    <a:pt x="45" y="113"/>
                    <a:pt x="45" y="113"/>
                    <a:pt x="45" y="113"/>
                  </a:cubicBezTo>
                  <a:cubicBezTo>
                    <a:pt x="46" y="115"/>
                    <a:pt x="49" y="116"/>
                    <a:pt x="50" y="114"/>
                  </a:cubicBezTo>
                  <a:lnTo>
                    <a:pt x="56" y="105"/>
                  </a:lnTo>
                  <a:close/>
                </a:path>
              </a:pathLst>
            </a:custGeom>
            <a:solidFill>
              <a:srgbClr val="C4D600"/>
            </a:solidFill>
            <a:ln w="33338" cap="rnd">
              <a:solidFill>
                <a:srgbClr val="C4D6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
              <a:extLst>
                <a:ext uri="{FF2B5EF4-FFF2-40B4-BE49-F238E27FC236}">
                  <a16:creationId xmlns:a16="http://schemas.microsoft.com/office/drawing/2014/main" id="{7621AAAA-3FAD-1543-9814-17A2F638C918}"/>
                </a:ext>
              </a:extLst>
            </p:cNvPr>
            <p:cNvSpPr>
              <a:spLocks/>
            </p:cNvSpPr>
            <p:nvPr/>
          </p:nvSpPr>
          <p:spPr bwMode="auto">
            <a:xfrm>
              <a:off x="4329113" y="2792413"/>
              <a:ext cx="463550" cy="958850"/>
            </a:xfrm>
            <a:custGeom>
              <a:avLst/>
              <a:gdLst>
                <a:gd name="T0" fmla="*/ 41 w 41"/>
                <a:gd name="T1" fmla="*/ 50 h 85"/>
                <a:gd name="T2" fmla="*/ 15 w 41"/>
                <a:gd name="T3" fmla="*/ 1 h 85"/>
                <a:gd name="T4" fmla="*/ 7 w 41"/>
                <a:gd name="T5" fmla="*/ 2 h 85"/>
                <a:gd name="T6" fmla="*/ 8 w 41"/>
                <a:gd name="T7" fmla="*/ 20 h 85"/>
                <a:gd name="T8" fmla="*/ 26 w 41"/>
                <a:gd name="T9" fmla="*/ 85 h 85"/>
                <a:gd name="T10" fmla="*/ 41 w 41"/>
                <a:gd name="T11" fmla="*/ 50 h 85"/>
              </a:gdLst>
              <a:ahLst/>
              <a:cxnLst>
                <a:cxn ang="0">
                  <a:pos x="T0" y="T1"/>
                </a:cxn>
                <a:cxn ang="0">
                  <a:pos x="T2" y="T3"/>
                </a:cxn>
                <a:cxn ang="0">
                  <a:pos x="T4" y="T5"/>
                </a:cxn>
                <a:cxn ang="0">
                  <a:pos x="T6" y="T7"/>
                </a:cxn>
                <a:cxn ang="0">
                  <a:pos x="T8" y="T9"/>
                </a:cxn>
                <a:cxn ang="0">
                  <a:pos x="T10" y="T11"/>
                </a:cxn>
              </a:cxnLst>
              <a:rect l="0" t="0" r="r" b="b"/>
              <a:pathLst>
                <a:path w="41" h="85">
                  <a:moveTo>
                    <a:pt x="41" y="50"/>
                  </a:moveTo>
                  <a:cubicBezTo>
                    <a:pt x="41" y="50"/>
                    <a:pt x="37" y="13"/>
                    <a:pt x="15" y="1"/>
                  </a:cubicBezTo>
                  <a:cubicBezTo>
                    <a:pt x="12" y="0"/>
                    <a:pt x="9" y="0"/>
                    <a:pt x="7" y="2"/>
                  </a:cubicBezTo>
                  <a:cubicBezTo>
                    <a:pt x="3" y="4"/>
                    <a:pt x="0" y="10"/>
                    <a:pt x="8" y="20"/>
                  </a:cubicBezTo>
                  <a:cubicBezTo>
                    <a:pt x="8" y="20"/>
                    <a:pt x="31" y="44"/>
                    <a:pt x="26" y="85"/>
                  </a:cubicBezTo>
                  <a:lnTo>
                    <a:pt x="41" y="50"/>
                  </a:lnTo>
                  <a:close/>
                </a:path>
              </a:pathLst>
            </a:custGeom>
            <a:solidFill>
              <a:srgbClr val="C4D600"/>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7">
              <a:extLst>
                <a:ext uri="{FF2B5EF4-FFF2-40B4-BE49-F238E27FC236}">
                  <a16:creationId xmlns:a16="http://schemas.microsoft.com/office/drawing/2014/main" id="{1B75200B-DC16-E148-A4A6-642BE89C24D5}"/>
                </a:ext>
              </a:extLst>
            </p:cNvPr>
            <p:cNvSpPr>
              <a:spLocks/>
            </p:cNvSpPr>
            <p:nvPr/>
          </p:nvSpPr>
          <p:spPr bwMode="auto">
            <a:xfrm>
              <a:off x="4329113" y="2792413"/>
              <a:ext cx="463550" cy="958850"/>
            </a:xfrm>
            <a:custGeom>
              <a:avLst/>
              <a:gdLst>
                <a:gd name="T0" fmla="*/ 41 w 41"/>
                <a:gd name="T1" fmla="*/ 50 h 85"/>
                <a:gd name="T2" fmla="*/ 15 w 41"/>
                <a:gd name="T3" fmla="*/ 1 h 85"/>
                <a:gd name="T4" fmla="*/ 7 w 41"/>
                <a:gd name="T5" fmla="*/ 2 h 85"/>
                <a:gd name="T6" fmla="*/ 8 w 41"/>
                <a:gd name="T7" fmla="*/ 20 h 85"/>
                <a:gd name="T8" fmla="*/ 26 w 41"/>
                <a:gd name="T9" fmla="*/ 85 h 85"/>
                <a:gd name="T10" fmla="*/ 41 w 41"/>
                <a:gd name="T11" fmla="*/ 50 h 85"/>
              </a:gdLst>
              <a:ahLst/>
              <a:cxnLst>
                <a:cxn ang="0">
                  <a:pos x="T0" y="T1"/>
                </a:cxn>
                <a:cxn ang="0">
                  <a:pos x="T2" y="T3"/>
                </a:cxn>
                <a:cxn ang="0">
                  <a:pos x="T4" y="T5"/>
                </a:cxn>
                <a:cxn ang="0">
                  <a:pos x="T6" y="T7"/>
                </a:cxn>
                <a:cxn ang="0">
                  <a:pos x="T8" y="T9"/>
                </a:cxn>
                <a:cxn ang="0">
                  <a:pos x="T10" y="T11"/>
                </a:cxn>
              </a:cxnLst>
              <a:rect l="0" t="0" r="r" b="b"/>
              <a:pathLst>
                <a:path w="41" h="85">
                  <a:moveTo>
                    <a:pt x="41" y="50"/>
                  </a:moveTo>
                  <a:cubicBezTo>
                    <a:pt x="41" y="50"/>
                    <a:pt x="37" y="13"/>
                    <a:pt x="15" y="1"/>
                  </a:cubicBezTo>
                  <a:cubicBezTo>
                    <a:pt x="12" y="0"/>
                    <a:pt x="9" y="0"/>
                    <a:pt x="7" y="2"/>
                  </a:cubicBezTo>
                  <a:cubicBezTo>
                    <a:pt x="3" y="4"/>
                    <a:pt x="0" y="10"/>
                    <a:pt x="8" y="20"/>
                  </a:cubicBezTo>
                  <a:cubicBezTo>
                    <a:pt x="8" y="20"/>
                    <a:pt x="31" y="44"/>
                    <a:pt x="26" y="85"/>
                  </a:cubicBezTo>
                  <a:lnTo>
                    <a:pt x="41" y="50"/>
                  </a:lnTo>
                  <a:close/>
                </a:path>
              </a:pathLst>
            </a:custGeom>
            <a:noFill/>
            <a:ln w="33338" cap="rnd">
              <a:solidFill>
                <a:srgbClr val="C4D6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Freeform 28">
              <a:extLst>
                <a:ext uri="{FF2B5EF4-FFF2-40B4-BE49-F238E27FC236}">
                  <a16:creationId xmlns:a16="http://schemas.microsoft.com/office/drawing/2014/main" id="{5A4025A0-7500-BA42-8969-5D7C1245DBE7}"/>
                </a:ext>
              </a:extLst>
            </p:cNvPr>
            <p:cNvSpPr>
              <a:spLocks/>
            </p:cNvSpPr>
            <p:nvPr/>
          </p:nvSpPr>
          <p:spPr bwMode="auto">
            <a:xfrm>
              <a:off x="3425826" y="1957388"/>
              <a:ext cx="1817688" cy="2098675"/>
            </a:xfrm>
            <a:custGeom>
              <a:avLst/>
              <a:gdLst>
                <a:gd name="T0" fmla="*/ 49 w 161"/>
                <a:gd name="T1" fmla="*/ 186 h 186"/>
                <a:gd name="T2" fmla="*/ 0 w 161"/>
                <a:gd name="T3" fmla="*/ 100 h 186"/>
                <a:gd name="T4" fmla="*/ 100 w 161"/>
                <a:gd name="T5" fmla="*/ 0 h 186"/>
                <a:gd name="T6" fmla="*/ 161 w 161"/>
                <a:gd name="T7" fmla="*/ 21 h 186"/>
              </a:gdLst>
              <a:ahLst/>
              <a:cxnLst>
                <a:cxn ang="0">
                  <a:pos x="T0" y="T1"/>
                </a:cxn>
                <a:cxn ang="0">
                  <a:pos x="T2" y="T3"/>
                </a:cxn>
                <a:cxn ang="0">
                  <a:pos x="T4" y="T5"/>
                </a:cxn>
                <a:cxn ang="0">
                  <a:pos x="T6" y="T7"/>
                </a:cxn>
              </a:cxnLst>
              <a:rect l="0" t="0" r="r" b="b"/>
              <a:pathLst>
                <a:path w="161" h="186">
                  <a:moveTo>
                    <a:pt x="49" y="186"/>
                  </a:moveTo>
                  <a:cubicBezTo>
                    <a:pt x="20" y="169"/>
                    <a:pt x="0" y="137"/>
                    <a:pt x="0" y="100"/>
                  </a:cubicBezTo>
                  <a:cubicBezTo>
                    <a:pt x="0" y="45"/>
                    <a:pt x="45" y="0"/>
                    <a:pt x="100" y="0"/>
                  </a:cubicBezTo>
                  <a:cubicBezTo>
                    <a:pt x="123" y="0"/>
                    <a:pt x="144" y="8"/>
                    <a:pt x="161" y="21"/>
                  </a:cubicBezTo>
                </a:path>
              </a:pathLst>
            </a:custGeom>
            <a:noFill/>
            <a:ln w="112713"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1" name="Freeform 29">
              <a:extLst>
                <a:ext uri="{FF2B5EF4-FFF2-40B4-BE49-F238E27FC236}">
                  <a16:creationId xmlns:a16="http://schemas.microsoft.com/office/drawing/2014/main" id="{21804404-003E-2D49-B5C6-157AB017599C}"/>
                </a:ext>
              </a:extLst>
            </p:cNvPr>
            <p:cNvSpPr>
              <a:spLocks/>
            </p:cNvSpPr>
            <p:nvPr/>
          </p:nvSpPr>
          <p:spPr bwMode="auto">
            <a:xfrm>
              <a:off x="4002088" y="4652963"/>
              <a:ext cx="1071563" cy="169863"/>
            </a:xfrm>
            <a:custGeom>
              <a:avLst/>
              <a:gdLst>
                <a:gd name="T0" fmla="*/ 88 w 95"/>
                <a:gd name="T1" fmla="*/ 15 h 15"/>
                <a:gd name="T2" fmla="*/ 6 w 95"/>
                <a:gd name="T3" fmla="*/ 15 h 15"/>
                <a:gd name="T4" fmla="*/ 0 w 95"/>
                <a:gd name="T5" fmla="*/ 7 h 15"/>
                <a:gd name="T6" fmla="*/ 6 w 95"/>
                <a:gd name="T7" fmla="*/ 0 h 15"/>
                <a:gd name="T8" fmla="*/ 88 w 95"/>
                <a:gd name="T9" fmla="*/ 0 h 15"/>
                <a:gd name="T10" fmla="*/ 95 w 95"/>
                <a:gd name="T11" fmla="*/ 7 h 15"/>
                <a:gd name="T12" fmla="*/ 88 w 9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95" h="15">
                  <a:moveTo>
                    <a:pt x="88" y="15"/>
                  </a:moveTo>
                  <a:cubicBezTo>
                    <a:pt x="6" y="15"/>
                    <a:pt x="6" y="15"/>
                    <a:pt x="6" y="15"/>
                  </a:cubicBezTo>
                  <a:cubicBezTo>
                    <a:pt x="3" y="15"/>
                    <a:pt x="0" y="11"/>
                    <a:pt x="0" y="7"/>
                  </a:cubicBezTo>
                  <a:cubicBezTo>
                    <a:pt x="0" y="4"/>
                    <a:pt x="3" y="0"/>
                    <a:pt x="6" y="0"/>
                  </a:cubicBezTo>
                  <a:cubicBezTo>
                    <a:pt x="88" y="0"/>
                    <a:pt x="88" y="0"/>
                    <a:pt x="88" y="0"/>
                  </a:cubicBezTo>
                  <a:cubicBezTo>
                    <a:pt x="92" y="0"/>
                    <a:pt x="95" y="4"/>
                    <a:pt x="95" y="7"/>
                  </a:cubicBezTo>
                  <a:cubicBezTo>
                    <a:pt x="95" y="11"/>
                    <a:pt x="92" y="15"/>
                    <a:pt x="88" y="15"/>
                  </a:cubicBezTo>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30">
              <a:extLst>
                <a:ext uri="{FF2B5EF4-FFF2-40B4-BE49-F238E27FC236}">
                  <a16:creationId xmlns:a16="http://schemas.microsoft.com/office/drawing/2014/main" id="{F77E9095-4E05-E148-937D-3BB77B0DC910}"/>
                </a:ext>
              </a:extLst>
            </p:cNvPr>
            <p:cNvSpPr>
              <a:spLocks/>
            </p:cNvSpPr>
            <p:nvPr/>
          </p:nvSpPr>
          <p:spPr bwMode="auto">
            <a:xfrm>
              <a:off x="4002088" y="4652963"/>
              <a:ext cx="1071563" cy="169863"/>
            </a:xfrm>
            <a:custGeom>
              <a:avLst/>
              <a:gdLst>
                <a:gd name="T0" fmla="*/ 88 w 95"/>
                <a:gd name="T1" fmla="*/ 15 h 15"/>
                <a:gd name="T2" fmla="*/ 6 w 95"/>
                <a:gd name="T3" fmla="*/ 15 h 15"/>
                <a:gd name="T4" fmla="*/ 0 w 95"/>
                <a:gd name="T5" fmla="*/ 7 h 15"/>
                <a:gd name="T6" fmla="*/ 6 w 95"/>
                <a:gd name="T7" fmla="*/ 0 h 15"/>
                <a:gd name="T8" fmla="*/ 88 w 95"/>
                <a:gd name="T9" fmla="*/ 0 h 15"/>
                <a:gd name="T10" fmla="*/ 95 w 95"/>
                <a:gd name="T11" fmla="*/ 7 h 15"/>
                <a:gd name="T12" fmla="*/ 88 w 9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95" h="15">
                  <a:moveTo>
                    <a:pt x="88" y="15"/>
                  </a:moveTo>
                  <a:cubicBezTo>
                    <a:pt x="6" y="15"/>
                    <a:pt x="6" y="15"/>
                    <a:pt x="6" y="15"/>
                  </a:cubicBezTo>
                  <a:cubicBezTo>
                    <a:pt x="3" y="15"/>
                    <a:pt x="0" y="11"/>
                    <a:pt x="0" y="7"/>
                  </a:cubicBezTo>
                  <a:cubicBezTo>
                    <a:pt x="0" y="4"/>
                    <a:pt x="3" y="0"/>
                    <a:pt x="6" y="0"/>
                  </a:cubicBezTo>
                  <a:cubicBezTo>
                    <a:pt x="88" y="0"/>
                    <a:pt x="88" y="0"/>
                    <a:pt x="88" y="0"/>
                  </a:cubicBezTo>
                  <a:cubicBezTo>
                    <a:pt x="92" y="0"/>
                    <a:pt x="95" y="4"/>
                    <a:pt x="95" y="7"/>
                  </a:cubicBezTo>
                  <a:cubicBezTo>
                    <a:pt x="95" y="11"/>
                    <a:pt x="92" y="15"/>
                    <a:pt x="88" y="15"/>
                  </a:cubicBezTo>
                  <a:close/>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3" name="Freeform 31">
              <a:extLst>
                <a:ext uri="{FF2B5EF4-FFF2-40B4-BE49-F238E27FC236}">
                  <a16:creationId xmlns:a16="http://schemas.microsoft.com/office/drawing/2014/main" id="{8A6D6FA9-DEB4-1040-AF2A-3326FF6810FD}"/>
                </a:ext>
              </a:extLst>
            </p:cNvPr>
            <p:cNvSpPr>
              <a:spLocks/>
            </p:cNvSpPr>
            <p:nvPr/>
          </p:nvSpPr>
          <p:spPr bwMode="auto">
            <a:xfrm>
              <a:off x="4059238" y="4913313"/>
              <a:ext cx="958850" cy="168275"/>
            </a:xfrm>
            <a:custGeom>
              <a:avLst/>
              <a:gdLst>
                <a:gd name="T0" fmla="*/ 79 w 85"/>
                <a:gd name="T1" fmla="*/ 15 h 15"/>
                <a:gd name="T2" fmla="*/ 6 w 85"/>
                <a:gd name="T3" fmla="*/ 15 h 15"/>
                <a:gd name="T4" fmla="*/ 0 w 85"/>
                <a:gd name="T5" fmla="*/ 8 h 15"/>
                <a:gd name="T6" fmla="*/ 0 w 85"/>
                <a:gd name="T7" fmla="*/ 7 h 15"/>
                <a:gd name="T8" fmla="*/ 6 w 85"/>
                <a:gd name="T9" fmla="*/ 0 h 15"/>
                <a:gd name="T10" fmla="*/ 79 w 85"/>
                <a:gd name="T11" fmla="*/ 0 h 15"/>
                <a:gd name="T12" fmla="*/ 85 w 85"/>
                <a:gd name="T13" fmla="*/ 7 h 15"/>
                <a:gd name="T14" fmla="*/ 85 w 85"/>
                <a:gd name="T15" fmla="*/ 8 h 15"/>
                <a:gd name="T16" fmla="*/ 79 w 8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5">
                  <a:moveTo>
                    <a:pt x="79" y="15"/>
                  </a:moveTo>
                  <a:cubicBezTo>
                    <a:pt x="6" y="15"/>
                    <a:pt x="6" y="15"/>
                    <a:pt x="6" y="15"/>
                  </a:cubicBezTo>
                  <a:cubicBezTo>
                    <a:pt x="3" y="15"/>
                    <a:pt x="0" y="12"/>
                    <a:pt x="0" y="8"/>
                  </a:cubicBezTo>
                  <a:cubicBezTo>
                    <a:pt x="0" y="7"/>
                    <a:pt x="0" y="7"/>
                    <a:pt x="0" y="7"/>
                  </a:cubicBezTo>
                  <a:cubicBezTo>
                    <a:pt x="0" y="3"/>
                    <a:pt x="3" y="0"/>
                    <a:pt x="6" y="0"/>
                  </a:cubicBezTo>
                  <a:cubicBezTo>
                    <a:pt x="79" y="0"/>
                    <a:pt x="79" y="0"/>
                    <a:pt x="79" y="0"/>
                  </a:cubicBezTo>
                  <a:cubicBezTo>
                    <a:pt x="82" y="0"/>
                    <a:pt x="85" y="3"/>
                    <a:pt x="85" y="7"/>
                  </a:cubicBezTo>
                  <a:cubicBezTo>
                    <a:pt x="85" y="8"/>
                    <a:pt x="85" y="8"/>
                    <a:pt x="85" y="8"/>
                  </a:cubicBezTo>
                  <a:cubicBezTo>
                    <a:pt x="85" y="12"/>
                    <a:pt x="82" y="15"/>
                    <a:pt x="79" y="15"/>
                  </a:cubicBezTo>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32">
              <a:extLst>
                <a:ext uri="{FF2B5EF4-FFF2-40B4-BE49-F238E27FC236}">
                  <a16:creationId xmlns:a16="http://schemas.microsoft.com/office/drawing/2014/main" id="{3A2DD18E-7A9D-CE49-88B5-BBE390060923}"/>
                </a:ext>
              </a:extLst>
            </p:cNvPr>
            <p:cNvSpPr>
              <a:spLocks/>
            </p:cNvSpPr>
            <p:nvPr/>
          </p:nvSpPr>
          <p:spPr bwMode="auto">
            <a:xfrm>
              <a:off x="4059238" y="4913313"/>
              <a:ext cx="958850" cy="168275"/>
            </a:xfrm>
            <a:custGeom>
              <a:avLst/>
              <a:gdLst>
                <a:gd name="T0" fmla="*/ 79 w 85"/>
                <a:gd name="T1" fmla="*/ 15 h 15"/>
                <a:gd name="T2" fmla="*/ 6 w 85"/>
                <a:gd name="T3" fmla="*/ 15 h 15"/>
                <a:gd name="T4" fmla="*/ 0 w 85"/>
                <a:gd name="T5" fmla="*/ 8 h 15"/>
                <a:gd name="T6" fmla="*/ 0 w 85"/>
                <a:gd name="T7" fmla="*/ 7 h 15"/>
                <a:gd name="T8" fmla="*/ 6 w 85"/>
                <a:gd name="T9" fmla="*/ 0 h 15"/>
                <a:gd name="T10" fmla="*/ 79 w 85"/>
                <a:gd name="T11" fmla="*/ 0 h 15"/>
                <a:gd name="T12" fmla="*/ 85 w 85"/>
                <a:gd name="T13" fmla="*/ 7 h 15"/>
                <a:gd name="T14" fmla="*/ 85 w 85"/>
                <a:gd name="T15" fmla="*/ 8 h 15"/>
                <a:gd name="T16" fmla="*/ 79 w 8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5">
                  <a:moveTo>
                    <a:pt x="79" y="15"/>
                  </a:moveTo>
                  <a:cubicBezTo>
                    <a:pt x="6" y="15"/>
                    <a:pt x="6" y="15"/>
                    <a:pt x="6" y="15"/>
                  </a:cubicBezTo>
                  <a:cubicBezTo>
                    <a:pt x="3" y="15"/>
                    <a:pt x="0" y="12"/>
                    <a:pt x="0" y="8"/>
                  </a:cubicBezTo>
                  <a:cubicBezTo>
                    <a:pt x="0" y="7"/>
                    <a:pt x="0" y="7"/>
                    <a:pt x="0" y="7"/>
                  </a:cubicBezTo>
                  <a:cubicBezTo>
                    <a:pt x="0" y="3"/>
                    <a:pt x="3" y="0"/>
                    <a:pt x="6" y="0"/>
                  </a:cubicBezTo>
                  <a:cubicBezTo>
                    <a:pt x="79" y="0"/>
                    <a:pt x="79" y="0"/>
                    <a:pt x="79" y="0"/>
                  </a:cubicBezTo>
                  <a:cubicBezTo>
                    <a:pt x="82" y="0"/>
                    <a:pt x="85" y="3"/>
                    <a:pt x="85" y="7"/>
                  </a:cubicBezTo>
                  <a:cubicBezTo>
                    <a:pt x="85" y="8"/>
                    <a:pt x="85" y="8"/>
                    <a:pt x="85" y="8"/>
                  </a:cubicBezTo>
                  <a:cubicBezTo>
                    <a:pt x="85" y="12"/>
                    <a:pt x="82" y="15"/>
                    <a:pt x="79" y="15"/>
                  </a:cubicBezTo>
                  <a:close/>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5" name="Freeform 33">
              <a:extLst>
                <a:ext uri="{FF2B5EF4-FFF2-40B4-BE49-F238E27FC236}">
                  <a16:creationId xmlns:a16="http://schemas.microsoft.com/office/drawing/2014/main" id="{6D23AF6B-1F03-2E42-B65D-A5434B85CB6D}"/>
                </a:ext>
              </a:extLst>
            </p:cNvPr>
            <p:cNvSpPr>
              <a:spLocks/>
            </p:cNvSpPr>
            <p:nvPr/>
          </p:nvSpPr>
          <p:spPr bwMode="auto">
            <a:xfrm>
              <a:off x="4227513" y="5183188"/>
              <a:ext cx="609600" cy="158750"/>
            </a:xfrm>
            <a:custGeom>
              <a:avLst/>
              <a:gdLst>
                <a:gd name="T0" fmla="*/ 50 w 54"/>
                <a:gd name="T1" fmla="*/ 14 h 14"/>
                <a:gd name="T2" fmla="*/ 5 w 54"/>
                <a:gd name="T3" fmla="*/ 14 h 14"/>
                <a:gd name="T4" fmla="*/ 0 w 54"/>
                <a:gd name="T5" fmla="*/ 9 h 14"/>
                <a:gd name="T6" fmla="*/ 0 w 54"/>
                <a:gd name="T7" fmla="*/ 5 h 14"/>
                <a:gd name="T8" fmla="*/ 5 w 54"/>
                <a:gd name="T9" fmla="*/ 0 h 14"/>
                <a:gd name="T10" fmla="*/ 50 w 54"/>
                <a:gd name="T11" fmla="*/ 0 h 14"/>
                <a:gd name="T12" fmla="*/ 54 w 54"/>
                <a:gd name="T13" fmla="*/ 5 h 14"/>
                <a:gd name="T14" fmla="*/ 54 w 54"/>
                <a:gd name="T15" fmla="*/ 9 h 14"/>
                <a:gd name="T16" fmla="*/ 50 w 54"/>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4">
                  <a:moveTo>
                    <a:pt x="50" y="14"/>
                  </a:moveTo>
                  <a:cubicBezTo>
                    <a:pt x="5" y="14"/>
                    <a:pt x="5" y="14"/>
                    <a:pt x="5" y="14"/>
                  </a:cubicBezTo>
                  <a:cubicBezTo>
                    <a:pt x="2" y="14"/>
                    <a:pt x="0" y="12"/>
                    <a:pt x="0" y="9"/>
                  </a:cubicBezTo>
                  <a:cubicBezTo>
                    <a:pt x="0" y="5"/>
                    <a:pt x="0" y="5"/>
                    <a:pt x="0" y="5"/>
                  </a:cubicBezTo>
                  <a:cubicBezTo>
                    <a:pt x="0" y="2"/>
                    <a:pt x="2" y="0"/>
                    <a:pt x="5" y="0"/>
                  </a:cubicBezTo>
                  <a:cubicBezTo>
                    <a:pt x="50" y="0"/>
                    <a:pt x="50" y="0"/>
                    <a:pt x="50" y="0"/>
                  </a:cubicBezTo>
                  <a:cubicBezTo>
                    <a:pt x="52" y="0"/>
                    <a:pt x="54" y="2"/>
                    <a:pt x="54" y="5"/>
                  </a:cubicBezTo>
                  <a:cubicBezTo>
                    <a:pt x="54" y="9"/>
                    <a:pt x="54" y="9"/>
                    <a:pt x="54" y="9"/>
                  </a:cubicBezTo>
                  <a:cubicBezTo>
                    <a:pt x="54" y="12"/>
                    <a:pt x="52" y="14"/>
                    <a:pt x="50" y="14"/>
                  </a:cubicBezTo>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34">
              <a:extLst>
                <a:ext uri="{FF2B5EF4-FFF2-40B4-BE49-F238E27FC236}">
                  <a16:creationId xmlns:a16="http://schemas.microsoft.com/office/drawing/2014/main" id="{C5543210-1048-F045-858E-2E0E403B05B6}"/>
                </a:ext>
              </a:extLst>
            </p:cNvPr>
            <p:cNvSpPr>
              <a:spLocks/>
            </p:cNvSpPr>
            <p:nvPr/>
          </p:nvSpPr>
          <p:spPr bwMode="auto">
            <a:xfrm>
              <a:off x="4227513" y="5183188"/>
              <a:ext cx="609600" cy="158750"/>
            </a:xfrm>
            <a:custGeom>
              <a:avLst/>
              <a:gdLst>
                <a:gd name="T0" fmla="*/ 50 w 54"/>
                <a:gd name="T1" fmla="*/ 14 h 14"/>
                <a:gd name="T2" fmla="*/ 5 w 54"/>
                <a:gd name="T3" fmla="*/ 14 h 14"/>
                <a:gd name="T4" fmla="*/ 0 w 54"/>
                <a:gd name="T5" fmla="*/ 9 h 14"/>
                <a:gd name="T6" fmla="*/ 0 w 54"/>
                <a:gd name="T7" fmla="*/ 5 h 14"/>
                <a:gd name="T8" fmla="*/ 5 w 54"/>
                <a:gd name="T9" fmla="*/ 0 h 14"/>
                <a:gd name="T10" fmla="*/ 50 w 54"/>
                <a:gd name="T11" fmla="*/ 0 h 14"/>
                <a:gd name="T12" fmla="*/ 54 w 54"/>
                <a:gd name="T13" fmla="*/ 5 h 14"/>
                <a:gd name="T14" fmla="*/ 54 w 54"/>
                <a:gd name="T15" fmla="*/ 9 h 14"/>
                <a:gd name="T16" fmla="*/ 50 w 54"/>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4">
                  <a:moveTo>
                    <a:pt x="50" y="14"/>
                  </a:moveTo>
                  <a:cubicBezTo>
                    <a:pt x="5" y="14"/>
                    <a:pt x="5" y="14"/>
                    <a:pt x="5" y="14"/>
                  </a:cubicBezTo>
                  <a:cubicBezTo>
                    <a:pt x="2" y="14"/>
                    <a:pt x="0" y="12"/>
                    <a:pt x="0" y="9"/>
                  </a:cubicBezTo>
                  <a:cubicBezTo>
                    <a:pt x="0" y="5"/>
                    <a:pt x="0" y="5"/>
                    <a:pt x="0" y="5"/>
                  </a:cubicBezTo>
                  <a:cubicBezTo>
                    <a:pt x="0" y="2"/>
                    <a:pt x="2" y="0"/>
                    <a:pt x="5" y="0"/>
                  </a:cubicBezTo>
                  <a:cubicBezTo>
                    <a:pt x="50" y="0"/>
                    <a:pt x="50" y="0"/>
                    <a:pt x="50" y="0"/>
                  </a:cubicBezTo>
                  <a:cubicBezTo>
                    <a:pt x="52" y="0"/>
                    <a:pt x="54" y="2"/>
                    <a:pt x="54" y="5"/>
                  </a:cubicBezTo>
                  <a:cubicBezTo>
                    <a:pt x="54" y="9"/>
                    <a:pt x="54" y="9"/>
                    <a:pt x="54" y="9"/>
                  </a:cubicBezTo>
                  <a:cubicBezTo>
                    <a:pt x="54" y="12"/>
                    <a:pt x="52" y="14"/>
                    <a:pt x="50" y="14"/>
                  </a:cubicBezTo>
                  <a:close/>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Freeform 35">
              <a:extLst>
                <a:ext uri="{FF2B5EF4-FFF2-40B4-BE49-F238E27FC236}">
                  <a16:creationId xmlns:a16="http://schemas.microsoft.com/office/drawing/2014/main" id="{60545C3A-18E5-4C41-8D18-74BBD2CB03A0}"/>
                </a:ext>
              </a:extLst>
            </p:cNvPr>
            <p:cNvSpPr>
              <a:spLocks/>
            </p:cNvSpPr>
            <p:nvPr/>
          </p:nvSpPr>
          <p:spPr bwMode="auto">
            <a:xfrm>
              <a:off x="4059238" y="2363788"/>
              <a:ext cx="1703388" cy="2209800"/>
            </a:xfrm>
            <a:custGeom>
              <a:avLst/>
              <a:gdLst>
                <a:gd name="T0" fmla="*/ 0 w 151"/>
                <a:gd name="T1" fmla="*/ 196 h 196"/>
                <a:gd name="T2" fmla="*/ 84 w 151"/>
                <a:gd name="T3" fmla="*/ 196 h 196"/>
                <a:gd name="T4" fmla="*/ 84 w 151"/>
                <a:gd name="T5" fmla="*/ 179 h 196"/>
                <a:gd name="T6" fmla="*/ 103 w 151"/>
                <a:gd name="T7" fmla="*/ 143 h 196"/>
                <a:gd name="T8" fmla="*/ 139 w 151"/>
                <a:gd name="T9" fmla="*/ 86 h 196"/>
                <a:gd name="T10" fmla="*/ 119 w 151"/>
                <a:gd name="T11" fmla="*/ 5 h 196"/>
                <a:gd name="T12" fmla="*/ 106 w 151"/>
                <a:gd name="T13" fmla="*/ 5 h 196"/>
                <a:gd name="T14" fmla="*/ 105 w 151"/>
                <a:gd name="T15" fmla="*/ 15 h 196"/>
                <a:gd name="T16" fmla="*/ 116 w 151"/>
                <a:gd name="T17" fmla="*/ 36 h 196"/>
                <a:gd name="T18" fmla="*/ 119 w 151"/>
                <a:gd name="T19" fmla="*/ 75 h 196"/>
                <a:gd name="T20" fmla="*/ 102 w 151"/>
                <a:gd name="T21" fmla="*/ 107 h 196"/>
                <a:gd name="T22" fmla="*/ 101 w 151"/>
                <a:gd name="T23" fmla="*/ 107 h 196"/>
                <a:gd name="T24" fmla="*/ 85 w 151"/>
                <a:gd name="T25" fmla="*/ 109 h 196"/>
                <a:gd name="T26" fmla="*/ 79 w 151"/>
                <a:gd name="T27" fmla="*/ 96 h 196"/>
                <a:gd name="T28" fmla="*/ 82 w 151"/>
                <a:gd name="T29" fmla="*/ 76 h 196"/>
                <a:gd name="T30" fmla="*/ 90 w 151"/>
                <a:gd name="T31" fmla="*/ 52 h 196"/>
                <a:gd name="T32" fmla="*/ 89 w 151"/>
                <a:gd name="T33" fmla="*/ 45 h 196"/>
                <a:gd name="T34" fmla="*/ 78 w 151"/>
                <a:gd name="T35" fmla="*/ 40 h 196"/>
                <a:gd name="T36" fmla="*/ 68 w 151"/>
                <a:gd name="T37" fmla="*/ 48 h 196"/>
                <a:gd name="T38" fmla="*/ 60 w 151"/>
                <a:gd name="T39" fmla="*/ 75 h 196"/>
                <a:gd name="T40" fmla="*/ 50 w 151"/>
                <a:gd name="T41" fmla="*/ 105 h 196"/>
                <a:gd name="T42" fmla="*/ 30 w 151"/>
                <a:gd name="T43" fmla="*/ 124 h 196"/>
                <a:gd name="T44" fmla="*/ 3 w 151"/>
                <a:gd name="T45" fmla="*/ 163 h 196"/>
                <a:gd name="T46" fmla="*/ 0 w 151"/>
                <a:gd name="T47"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1" h="196">
                  <a:moveTo>
                    <a:pt x="0" y="196"/>
                  </a:moveTo>
                  <a:cubicBezTo>
                    <a:pt x="84" y="196"/>
                    <a:pt x="84" y="196"/>
                    <a:pt x="84" y="196"/>
                  </a:cubicBezTo>
                  <a:cubicBezTo>
                    <a:pt x="84" y="179"/>
                    <a:pt x="84" y="179"/>
                    <a:pt x="84" y="179"/>
                  </a:cubicBezTo>
                  <a:cubicBezTo>
                    <a:pt x="84" y="179"/>
                    <a:pt x="84" y="161"/>
                    <a:pt x="103" y="143"/>
                  </a:cubicBezTo>
                  <a:cubicBezTo>
                    <a:pt x="121" y="126"/>
                    <a:pt x="135" y="111"/>
                    <a:pt x="139" y="86"/>
                  </a:cubicBezTo>
                  <a:cubicBezTo>
                    <a:pt x="139" y="86"/>
                    <a:pt x="151" y="34"/>
                    <a:pt x="119" y="5"/>
                  </a:cubicBezTo>
                  <a:cubicBezTo>
                    <a:pt x="119" y="5"/>
                    <a:pt x="111" y="0"/>
                    <a:pt x="106" y="5"/>
                  </a:cubicBezTo>
                  <a:cubicBezTo>
                    <a:pt x="103" y="8"/>
                    <a:pt x="103" y="12"/>
                    <a:pt x="105" y="15"/>
                  </a:cubicBezTo>
                  <a:cubicBezTo>
                    <a:pt x="109" y="21"/>
                    <a:pt x="114" y="31"/>
                    <a:pt x="116" y="36"/>
                  </a:cubicBezTo>
                  <a:cubicBezTo>
                    <a:pt x="116" y="36"/>
                    <a:pt x="124" y="50"/>
                    <a:pt x="119" y="75"/>
                  </a:cubicBezTo>
                  <a:cubicBezTo>
                    <a:pt x="117" y="87"/>
                    <a:pt x="111" y="98"/>
                    <a:pt x="102" y="107"/>
                  </a:cubicBezTo>
                  <a:cubicBezTo>
                    <a:pt x="101" y="107"/>
                    <a:pt x="101" y="107"/>
                    <a:pt x="101" y="107"/>
                  </a:cubicBezTo>
                  <a:cubicBezTo>
                    <a:pt x="97" y="111"/>
                    <a:pt x="90" y="112"/>
                    <a:pt x="85" y="109"/>
                  </a:cubicBezTo>
                  <a:cubicBezTo>
                    <a:pt x="82" y="107"/>
                    <a:pt x="79" y="103"/>
                    <a:pt x="79" y="96"/>
                  </a:cubicBezTo>
                  <a:cubicBezTo>
                    <a:pt x="82" y="76"/>
                    <a:pt x="82" y="76"/>
                    <a:pt x="82" y="76"/>
                  </a:cubicBezTo>
                  <a:cubicBezTo>
                    <a:pt x="83" y="68"/>
                    <a:pt x="86" y="59"/>
                    <a:pt x="90" y="52"/>
                  </a:cubicBezTo>
                  <a:cubicBezTo>
                    <a:pt x="91" y="49"/>
                    <a:pt x="91" y="47"/>
                    <a:pt x="89" y="45"/>
                  </a:cubicBezTo>
                  <a:cubicBezTo>
                    <a:pt x="87" y="42"/>
                    <a:pt x="84" y="38"/>
                    <a:pt x="78" y="40"/>
                  </a:cubicBezTo>
                  <a:cubicBezTo>
                    <a:pt x="73" y="41"/>
                    <a:pt x="70" y="44"/>
                    <a:pt x="68" y="48"/>
                  </a:cubicBezTo>
                  <a:cubicBezTo>
                    <a:pt x="65" y="54"/>
                    <a:pt x="61" y="65"/>
                    <a:pt x="60" y="75"/>
                  </a:cubicBezTo>
                  <a:cubicBezTo>
                    <a:pt x="60" y="86"/>
                    <a:pt x="56" y="96"/>
                    <a:pt x="50" y="105"/>
                  </a:cubicBezTo>
                  <a:cubicBezTo>
                    <a:pt x="45" y="113"/>
                    <a:pt x="38" y="120"/>
                    <a:pt x="30" y="124"/>
                  </a:cubicBezTo>
                  <a:cubicBezTo>
                    <a:pt x="30" y="124"/>
                    <a:pt x="6" y="130"/>
                    <a:pt x="3" y="163"/>
                  </a:cubicBezTo>
                  <a:lnTo>
                    <a:pt x="0" y="196"/>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8" name="Group 17">
            <a:extLst>
              <a:ext uri="{FF2B5EF4-FFF2-40B4-BE49-F238E27FC236}">
                <a16:creationId xmlns:a16="http://schemas.microsoft.com/office/drawing/2014/main" id="{F430B553-523D-0C4F-BEDE-BF43FECD3DDC}"/>
              </a:ext>
            </a:extLst>
          </p:cNvPr>
          <p:cNvGrpSpPr/>
          <p:nvPr/>
        </p:nvGrpSpPr>
        <p:grpSpPr>
          <a:xfrm>
            <a:off x="5457825" y="1575466"/>
            <a:ext cx="5007309" cy="3818105"/>
            <a:chOff x="407654" y="1531937"/>
            <a:chExt cx="5007309" cy="3818105"/>
          </a:xfrm>
        </p:grpSpPr>
        <p:sp>
          <p:nvSpPr>
            <p:cNvPr id="19" name="Freeform 6">
              <a:extLst>
                <a:ext uri="{FF2B5EF4-FFF2-40B4-BE49-F238E27FC236}">
                  <a16:creationId xmlns:a16="http://schemas.microsoft.com/office/drawing/2014/main" id="{79E57202-897C-6748-8212-3C6DA8461A59}"/>
                </a:ext>
              </a:extLst>
            </p:cNvPr>
            <p:cNvSpPr>
              <a:spLocks/>
            </p:cNvSpPr>
            <p:nvPr/>
          </p:nvSpPr>
          <p:spPr bwMode="auto">
            <a:xfrm>
              <a:off x="407654" y="1531937"/>
              <a:ext cx="5007309" cy="3804531"/>
            </a:xfrm>
            <a:custGeom>
              <a:avLst/>
              <a:gdLst>
                <a:gd name="T0" fmla="*/ 3619 w 6316"/>
                <a:gd name="T1" fmla="*/ 345 h 4838"/>
                <a:gd name="T2" fmla="*/ 4146 w 6316"/>
                <a:gd name="T3" fmla="*/ 461 h 4838"/>
                <a:gd name="T4" fmla="*/ 3970 w 6316"/>
                <a:gd name="T5" fmla="*/ 1112 h 4838"/>
                <a:gd name="T6" fmla="*/ 3460 w 6316"/>
                <a:gd name="T7" fmla="*/ 989 h 4838"/>
                <a:gd name="T8" fmla="*/ 2957 w 6316"/>
                <a:gd name="T9" fmla="*/ 1041 h 4838"/>
                <a:gd name="T10" fmla="*/ 2863 w 6316"/>
                <a:gd name="T11" fmla="*/ 1169 h 4838"/>
                <a:gd name="T12" fmla="*/ 3081 w 6316"/>
                <a:gd name="T13" fmla="*/ 1391 h 4838"/>
                <a:gd name="T14" fmla="*/ 3392 w 6316"/>
                <a:gd name="T15" fmla="*/ 1491 h 4838"/>
                <a:gd name="T16" fmla="*/ 3952 w 6316"/>
                <a:gd name="T17" fmla="*/ 1734 h 4838"/>
                <a:gd name="T18" fmla="*/ 4379 w 6316"/>
                <a:gd name="T19" fmla="*/ 2159 h 4838"/>
                <a:gd name="T20" fmla="*/ 6249 w 6316"/>
                <a:gd name="T21" fmla="*/ 1284 h 4838"/>
                <a:gd name="T22" fmla="*/ 4316 w 6316"/>
                <a:gd name="T23" fmla="*/ 2601 h 4838"/>
                <a:gd name="T24" fmla="*/ 4253 w 6316"/>
                <a:gd name="T25" fmla="*/ 2187 h 4838"/>
                <a:gd name="T26" fmla="*/ 4096 w 6316"/>
                <a:gd name="T27" fmla="*/ 1990 h 4838"/>
                <a:gd name="T28" fmla="*/ 3652 w 6316"/>
                <a:gd name="T29" fmla="*/ 1726 h 4838"/>
                <a:gd name="T30" fmla="*/ 3284 w 6316"/>
                <a:gd name="T31" fmla="*/ 1608 h 4838"/>
                <a:gd name="T32" fmla="*/ 2865 w 6316"/>
                <a:gd name="T33" fmla="*/ 1412 h 4838"/>
                <a:gd name="T34" fmla="*/ 2779 w 6316"/>
                <a:gd name="T35" fmla="*/ 1296 h 4838"/>
                <a:gd name="T36" fmla="*/ 2756 w 6316"/>
                <a:gd name="T37" fmla="*/ 1083 h 4838"/>
                <a:gd name="T38" fmla="*/ 3030 w 6316"/>
                <a:gd name="T39" fmla="*/ 892 h 4838"/>
                <a:gd name="T40" fmla="*/ 3401 w 6316"/>
                <a:gd name="T41" fmla="*/ 871 h 4838"/>
                <a:gd name="T42" fmla="*/ 3868 w 6316"/>
                <a:gd name="T43" fmla="*/ 947 h 4838"/>
                <a:gd name="T44" fmla="*/ 4046 w 6316"/>
                <a:gd name="T45" fmla="*/ 563 h 4838"/>
                <a:gd name="T46" fmla="*/ 3629 w 6316"/>
                <a:gd name="T47" fmla="*/ 471 h 4838"/>
                <a:gd name="T48" fmla="*/ 2946 w 6316"/>
                <a:gd name="T49" fmla="*/ 471 h 4838"/>
                <a:gd name="T50" fmla="*/ 2701 w 6316"/>
                <a:gd name="T51" fmla="*/ 528 h 4838"/>
                <a:gd name="T52" fmla="*/ 2255 w 6316"/>
                <a:gd name="T53" fmla="*/ 789 h 4838"/>
                <a:gd name="T54" fmla="*/ 2054 w 6316"/>
                <a:gd name="T55" fmla="*/ 1143 h 4838"/>
                <a:gd name="T56" fmla="*/ 2067 w 6316"/>
                <a:gd name="T57" fmla="*/ 1441 h 4838"/>
                <a:gd name="T58" fmla="*/ 2379 w 6316"/>
                <a:gd name="T59" fmla="*/ 1832 h 4838"/>
                <a:gd name="T60" fmla="*/ 2680 w 6316"/>
                <a:gd name="T61" fmla="*/ 1969 h 4838"/>
                <a:gd name="T62" fmla="*/ 2892 w 6316"/>
                <a:gd name="T63" fmla="*/ 2054 h 4838"/>
                <a:gd name="T64" fmla="*/ 3194 w 6316"/>
                <a:gd name="T65" fmla="*/ 2151 h 4838"/>
                <a:gd name="T66" fmla="*/ 3510 w 6316"/>
                <a:gd name="T67" fmla="*/ 2348 h 4838"/>
                <a:gd name="T68" fmla="*/ 3573 w 6316"/>
                <a:gd name="T69" fmla="*/ 2511 h 4838"/>
                <a:gd name="T70" fmla="*/ 3476 w 6316"/>
                <a:gd name="T71" fmla="*/ 2771 h 4838"/>
                <a:gd name="T72" fmla="*/ 3164 w 6316"/>
                <a:gd name="T73" fmla="*/ 2884 h 4838"/>
                <a:gd name="T74" fmla="*/ 2567 w 6316"/>
                <a:gd name="T75" fmla="*/ 2855 h 4838"/>
                <a:gd name="T76" fmla="*/ 2067 w 6316"/>
                <a:gd name="T77" fmla="*/ 3165 h 4838"/>
                <a:gd name="T78" fmla="*/ 2498 w 6316"/>
                <a:gd name="T79" fmla="*/ 3290 h 4838"/>
                <a:gd name="T80" fmla="*/ 2664 w 6316"/>
                <a:gd name="T81" fmla="*/ 3904 h 4838"/>
                <a:gd name="T82" fmla="*/ 1102 w 6316"/>
                <a:gd name="T83" fmla="*/ 4069 h 4838"/>
                <a:gd name="T84" fmla="*/ 2752 w 6316"/>
                <a:gd name="T85" fmla="*/ 3439 h 4838"/>
                <a:gd name="T86" fmla="*/ 2264 w 6316"/>
                <a:gd name="T87" fmla="*/ 3366 h 4838"/>
                <a:gd name="T88" fmla="*/ 2075 w 6316"/>
                <a:gd name="T89" fmla="*/ 2547 h 4838"/>
                <a:gd name="T90" fmla="*/ 2356 w 6316"/>
                <a:gd name="T91" fmla="*/ 2653 h 4838"/>
                <a:gd name="T92" fmla="*/ 2875 w 6316"/>
                <a:gd name="T93" fmla="*/ 2773 h 4838"/>
                <a:gd name="T94" fmla="*/ 3336 w 6316"/>
                <a:gd name="T95" fmla="*/ 2710 h 4838"/>
                <a:gd name="T96" fmla="*/ 3457 w 6316"/>
                <a:gd name="T97" fmla="*/ 2517 h 4838"/>
                <a:gd name="T98" fmla="*/ 3317 w 6316"/>
                <a:gd name="T99" fmla="*/ 2341 h 4838"/>
                <a:gd name="T100" fmla="*/ 2869 w 6316"/>
                <a:gd name="T101" fmla="*/ 2170 h 4838"/>
                <a:gd name="T102" fmla="*/ 2488 w 6316"/>
                <a:gd name="T103" fmla="*/ 2025 h 4838"/>
                <a:gd name="T104" fmla="*/ 2044 w 6316"/>
                <a:gd name="T105" fmla="*/ 1675 h 4838"/>
                <a:gd name="T106" fmla="*/ 1958 w 6316"/>
                <a:gd name="T107" fmla="*/ 1479 h 4838"/>
                <a:gd name="T108" fmla="*/ 1956 w 6316"/>
                <a:gd name="T109" fmla="*/ 1024 h 4838"/>
                <a:gd name="T110" fmla="*/ 2327 w 6316"/>
                <a:gd name="T111" fmla="*/ 567 h 4838"/>
                <a:gd name="T112" fmla="*/ 2597 w 6316"/>
                <a:gd name="T113" fmla="*/ 435 h 4838"/>
                <a:gd name="connsiteX0" fmla="*/ 4479 w 10000"/>
                <a:gd name="connsiteY0" fmla="*/ 0 h 10000"/>
                <a:gd name="connsiteX1" fmla="*/ 5500 w 10000"/>
                <a:gd name="connsiteY1" fmla="*/ 0 h 10000"/>
                <a:gd name="connsiteX2" fmla="*/ 5500 w 10000"/>
                <a:gd name="connsiteY2" fmla="*/ 688 h 10000"/>
                <a:gd name="connsiteX3" fmla="*/ 5510 w 10000"/>
                <a:gd name="connsiteY3" fmla="*/ 692 h 10000"/>
                <a:gd name="connsiteX4" fmla="*/ 5540 w 10000"/>
                <a:gd name="connsiteY4" fmla="*/ 692 h 10000"/>
                <a:gd name="connsiteX5" fmla="*/ 5587 w 10000"/>
                <a:gd name="connsiteY5" fmla="*/ 697 h 10000"/>
                <a:gd name="connsiteX6" fmla="*/ 5651 w 10000"/>
                <a:gd name="connsiteY6" fmla="*/ 705 h 10000"/>
                <a:gd name="connsiteX7" fmla="*/ 5730 w 10000"/>
                <a:gd name="connsiteY7" fmla="*/ 713 h 10000"/>
                <a:gd name="connsiteX8" fmla="*/ 5819 w 10000"/>
                <a:gd name="connsiteY8" fmla="*/ 723 h 10000"/>
                <a:gd name="connsiteX9" fmla="*/ 5915 w 10000"/>
                <a:gd name="connsiteY9" fmla="*/ 744 h 10000"/>
                <a:gd name="connsiteX10" fmla="*/ 6018 w 10000"/>
                <a:gd name="connsiteY10" fmla="*/ 763 h 10000"/>
                <a:gd name="connsiteX11" fmla="*/ 6127 w 10000"/>
                <a:gd name="connsiteY11" fmla="*/ 792 h 10000"/>
                <a:gd name="connsiteX12" fmla="*/ 6240 w 10000"/>
                <a:gd name="connsiteY12" fmla="*/ 819 h 10000"/>
                <a:gd name="connsiteX13" fmla="*/ 6349 w 10000"/>
                <a:gd name="connsiteY13" fmla="*/ 858 h 10000"/>
                <a:gd name="connsiteX14" fmla="*/ 6458 w 10000"/>
                <a:gd name="connsiteY14" fmla="*/ 901 h 10000"/>
                <a:gd name="connsiteX15" fmla="*/ 6564 w 10000"/>
                <a:gd name="connsiteY15" fmla="*/ 953 h 10000"/>
                <a:gd name="connsiteX16" fmla="*/ 6661 w 10000"/>
                <a:gd name="connsiteY16" fmla="*/ 1009 h 10000"/>
                <a:gd name="connsiteX17" fmla="*/ 6751 w 10000"/>
                <a:gd name="connsiteY17" fmla="*/ 1077 h 10000"/>
                <a:gd name="connsiteX18" fmla="*/ 6463 w 10000"/>
                <a:gd name="connsiteY18" fmla="*/ 2398 h 10000"/>
                <a:gd name="connsiteX19" fmla="*/ 6455 w 10000"/>
                <a:gd name="connsiteY19" fmla="*/ 2394 h 10000"/>
                <a:gd name="connsiteX20" fmla="*/ 6433 w 10000"/>
                <a:gd name="connsiteY20" fmla="*/ 2377 h 10000"/>
                <a:gd name="connsiteX21" fmla="*/ 6396 w 10000"/>
                <a:gd name="connsiteY21" fmla="*/ 2358 h 10000"/>
                <a:gd name="connsiteX22" fmla="*/ 6349 w 10000"/>
                <a:gd name="connsiteY22" fmla="*/ 2329 h 10000"/>
                <a:gd name="connsiteX23" fmla="*/ 6286 w 10000"/>
                <a:gd name="connsiteY23" fmla="*/ 2298 h 10000"/>
                <a:gd name="connsiteX24" fmla="*/ 6214 w 10000"/>
                <a:gd name="connsiteY24" fmla="*/ 2267 h 10000"/>
                <a:gd name="connsiteX25" fmla="*/ 6134 w 10000"/>
                <a:gd name="connsiteY25" fmla="*/ 2228 h 10000"/>
                <a:gd name="connsiteX26" fmla="*/ 6039 w 10000"/>
                <a:gd name="connsiteY26" fmla="*/ 2191 h 10000"/>
                <a:gd name="connsiteX27" fmla="*/ 5942 w 10000"/>
                <a:gd name="connsiteY27" fmla="*/ 2156 h 10000"/>
                <a:gd name="connsiteX28" fmla="*/ 5833 w 10000"/>
                <a:gd name="connsiteY28" fmla="*/ 2121 h 10000"/>
                <a:gd name="connsiteX29" fmla="*/ 5722 w 10000"/>
                <a:gd name="connsiteY29" fmla="*/ 2092 h 10000"/>
                <a:gd name="connsiteX30" fmla="*/ 5603 w 10000"/>
                <a:gd name="connsiteY30" fmla="*/ 2065 h 10000"/>
                <a:gd name="connsiteX31" fmla="*/ 5478 w 10000"/>
                <a:gd name="connsiteY31" fmla="*/ 2044 h 10000"/>
                <a:gd name="connsiteX32" fmla="*/ 5351 w 10000"/>
                <a:gd name="connsiteY32" fmla="*/ 2034 h 10000"/>
                <a:gd name="connsiteX33" fmla="*/ 5225 w 10000"/>
                <a:gd name="connsiteY33" fmla="*/ 2034 h 10000"/>
                <a:gd name="connsiteX34" fmla="*/ 5090 w 10000"/>
                <a:gd name="connsiteY34" fmla="*/ 2042 h 10000"/>
                <a:gd name="connsiteX35" fmla="*/ 4960 w 10000"/>
                <a:gd name="connsiteY35" fmla="*/ 2061 h 10000"/>
                <a:gd name="connsiteX36" fmla="*/ 4827 w 10000"/>
                <a:gd name="connsiteY36" fmla="*/ 2092 h 10000"/>
                <a:gd name="connsiteX37" fmla="*/ 4698 w 10000"/>
                <a:gd name="connsiteY37" fmla="*/ 2139 h 10000"/>
                <a:gd name="connsiteX38" fmla="*/ 4694 w 10000"/>
                <a:gd name="connsiteY38" fmla="*/ 2143 h 10000"/>
                <a:gd name="connsiteX39" fmla="*/ 4682 w 10000"/>
                <a:gd name="connsiteY39" fmla="*/ 2152 h 10000"/>
                <a:gd name="connsiteX40" fmla="*/ 4666 w 10000"/>
                <a:gd name="connsiteY40" fmla="*/ 2168 h 10000"/>
                <a:gd name="connsiteX41" fmla="*/ 4645 w 10000"/>
                <a:gd name="connsiteY41" fmla="*/ 2191 h 10000"/>
                <a:gd name="connsiteX42" fmla="*/ 4622 w 10000"/>
                <a:gd name="connsiteY42" fmla="*/ 2216 h 10000"/>
                <a:gd name="connsiteX43" fmla="*/ 4599 w 10000"/>
                <a:gd name="connsiteY43" fmla="*/ 2247 h 10000"/>
                <a:gd name="connsiteX44" fmla="*/ 4576 w 10000"/>
                <a:gd name="connsiteY44" fmla="*/ 2282 h 10000"/>
                <a:gd name="connsiteX45" fmla="*/ 4558 w 10000"/>
                <a:gd name="connsiteY45" fmla="*/ 2325 h 10000"/>
                <a:gd name="connsiteX46" fmla="*/ 4542 w 10000"/>
                <a:gd name="connsiteY46" fmla="*/ 2369 h 10000"/>
                <a:gd name="connsiteX47" fmla="*/ 4533 w 10000"/>
                <a:gd name="connsiteY47" fmla="*/ 2416 h 10000"/>
                <a:gd name="connsiteX48" fmla="*/ 4533 w 10000"/>
                <a:gd name="connsiteY48" fmla="*/ 2468 h 10000"/>
                <a:gd name="connsiteX49" fmla="*/ 4542 w 10000"/>
                <a:gd name="connsiteY49" fmla="*/ 2520 h 10000"/>
                <a:gd name="connsiteX50" fmla="*/ 4560 w 10000"/>
                <a:gd name="connsiteY50" fmla="*/ 2575 h 10000"/>
                <a:gd name="connsiteX51" fmla="*/ 4595 w 10000"/>
                <a:gd name="connsiteY51" fmla="*/ 2635 h 10000"/>
                <a:gd name="connsiteX52" fmla="*/ 4639 w 10000"/>
                <a:gd name="connsiteY52" fmla="*/ 2693 h 10000"/>
                <a:gd name="connsiteX53" fmla="*/ 4701 w 10000"/>
                <a:gd name="connsiteY53" fmla="*/ 2753 h 10000"/>
                <a:gd name="connsiteX54" fmla="*/ 4782 w 10000"/>
                <a:gd name="connsiteY54" fmla="*/ 2817 h 10000"/>
                <a:gd name="connsiteX55" fmla="*/ 4878 w 10000"/>
                <a:gd name="connsiteY55" fmla="*/ 2875 h 10000"/>
                <a:gd name="connsiteX56" fmla="*/ 5000 w 10000"/>
                <a:gd name="connsiteY56" fmla="*/ 2939 h 10000"/>
                <a:gd name="connsiteX57" fmla="*/ 5009 w 10000"/>
                <a:gd name="connsiteY57" fmla="*/ 2943 h 10000"/>
                <a:gd name="connsiteX58" fmla="*/ 5036 w 10000"/>
                <a:gd name="connsiteY58" fmla="*/ 2952 h 10000"/>
                <a:gd name="connsiteX59" fmla="*/ 5076 w 10000"/>
                <a:gd name="connsiteY59" fmla="*/ 2966 h 10000"/>
                <a:gd name="connsiteX60" fmla="*/ 5133 w 10000"/>
                <a:gd name="connsiteY60" fmla="*/ 2987 h 10000"/>
                <a:gd name="connsiteX61" fmla="*/ 5199 w 10000"/>
                <a:gd name="connsiteY61" fmla="*/ 3010 h 10000"/>
                <a:gd name="connsiteX62" fmla="*/ 5279 w 10000"/>
                <a:gd name="connsiteY62" fmla="*/ 3043 h 10000"/>
                <a:gd name="connsiteX63" fmla="*/ 5370 w 10000"/>
                <a:gd name="connsiteY63" fmla="*/ 3082 h 10000"/>
                <a:gd name="connsiteX64" fmla="*/ 5467 w 10000"/>
                <a:gd name="connsiteY64" fmla="*/ 3121 h 10000"/>
                <a:gd name="connsiteX65" fmla="*/ 5570 w 10000"/>
                <a:gd name="connsiteY65" fmla="*/ 3173 h 10000"/>
                <a:gd name="connsiteX66" fmla="*/ 5679 w 10000"/>
                <a:gd name="connsiteY66" fmla="*/ 3229 h 10000"/>
                <a:gd name="connsiteX67" fmla="*/ 5793 w 10000"/>
                <a:gd name="connsiteY67" fmla="*/ 3286 h 10000"/>
                <a:gd name="connsiteX68" fmla="*/ 5909 w 10000"/>
                <a:gd name="connsiteY68" fmla="*/ 3355 h 10000"/>
                <a:gd name="connsiteX69" fmla="*/ 6028 w 10000"/>
                <a:gd name="connsiteY69" fmla="*/ 3425 h 10000"/>
                <a:gd name="connsiteX70" fmla="*/ 6143 w 10000"/>
                <a:gd name="connsiteY70" fmla="*/ 3501 h 10000"/>
                <a:gd name="connsiteX71" fmla="*/ 6257 w 10000"/>
                <a:gd name="connsiteY71" fmla="*/ 3584 h 10000"/>
                <a:gd name="connsiteX72" fmla="*/ 6370 w 10000"/>
                <a:gd name="connsiteY72" fmla="*/ 3675 h 10000"/>
                <a:gd name="connsiteX73" fmla="*/ 6476 w 10000"/>
                <a:gd name="connsiteY73" fmla="*/ 3770 h 10000"/>
                <a:gd name="connsiteX74" fmla="*/ 6575 w 10000"/>
                <a:gd name="connsiteY74" fmla="*/ 3869 h 10000"/>
                <a:gd name="connsiteX75" fmla="*/ 6670 w 10000"/>
                <a:gd name="connsiteY75" fmla="*/ 3975 h 10000"/>
                <a:gd name="connsiteX76" fmla="*/ 6751 w 10000"/>
                <a:gd name="connsiteY76" fmla="*/ 4091 h 10000"/>
                <a:gd name="connsiteX77" fmla="*/ 6824 w 10000"/>
                <a:gd name="connsiteY77" fmla="*/ 4208 h 10000"/>
                <a:gd name="connsiteX78" fmla="*/ 6887 w 10000"/>
                <a:gd name="connsiteY78" fmla="*/ 4332 h 10000"/>
                <a:gd name="connsiteX79" fmla="*/ 6933 w 10000"/>
                <a:gd name="connsiteY79" fmla="*/ 4463 h 10000"/>
                <a:gd name="connsiteX80" fmla="*/ 6966 w 10000"/>
                <a:gd name="connsiteY80" fmla="*/ 4597 h 10000"/>
                <a:gd name="connsiteX81" fmla="*/ 6982 w 10000"/>
                <a:gd name="connsiteY81" fmla="*/ 4740 h 10000"/>
                <a:gd name="connsiteX82" fmla="*/ 7491 w 10000"/>
                <a:gd name="connsiteY82" fmla="*/ 3702 h 10000"/>
                <a:gd name="connsiteX83" fmla="*/ 8292 w 10000"/>
                <a:gd name="connsiteY83" fmla="*/ 4427 h 10000"/>
                <a:gd name="connsiteX84" fmla="*/ 9606 w 10000"/>
                <a:gd name="connsiteY84" fmla="*/ 2369 h 10000"/>
                <a:gd name="connsiteX85" fmla="*/ 9473 w 10000"/>
                <a:gd name="connsiteY85" fmla="*/ 2203 h 10000"/>
                <a:gd name="connsiteX86" fmla="*/ 10000 w 10000"/>
                <a:gd name="connsiteY86" fmla="*/ 1891 h 10000"/>
                <a:gd name="connsiteX87" fmla="*/ 9894 w 10000"/>
                <a:gd name="connsiteY87" fmla="*/ 2654 h 10000"/>
                <a:gd name="connsiteX88" fmla="*/ 9745 w 10000"/>
                <a:gd name="connsiteY88" fmla="*/ 2516 h 10000"/>
                <a:gd name="connsiteX89" fmla="*/ 8306 w 10000"/>
                <a:gd name="connsiteY89" fmla="*/ 4711 h 10000"/>
                <a:gd name="connsiteX90" fmla="*/ 7524 w 10000"/>
                <a:gd name="connsiteY90" fmla="*/ 4022 h 10000"/>
                <a:gd name="connsiteX91" fmla="*/ 6837 w 10000"/>
                <a:gd name="connsiteY91" fmla="*/ 5566 h 10000"/>
                <a:gd name="connsiteX92" fmla="*/ 6837 w 10000"/>
                <a:gd name="connsiteY92" fmla="*/ 5550 h 10000"/>
                <a:gd name="connsiteX93" fmla="*/ 6837 w 10000"/>
                <a:gd name="connsiteY93" fmla="*/ 5515 h 10000"/>
                <a:gd name="connsiteX94" fmla="*/ 6837 w 10000"/>
                <a:gd name="connsiteY94" fmla="*/ 5451 h 10000"/>
                <a:gd name="connsiteX95" fmla="*/ 6833 w 10000"/>
                <a:gd name="connsiteY95" fmla="*/ 5376 h 10000"/>
                <a:gd name="connsiteX96" fmla="*/ 6830 w 10000"/>
                <a:gd name="connsiteY96" fmla="*/ 5281 h 10000"/>
                <a:gd name="connsiteX97" fmla="*/ 6827 w 10000"/>
                <a:gd name="connsiteY97" fmla="*/ 5178 h 10000"/>
                <a:gd name="connsiteX98" fmla="*/ 6818 w 10000"/>
                <a:gd name="connsiteY98" fmla="*/ 5068 h 10000"/>
                <a:gd name="connsiteX99" fmla="*/ 6810 w 10000"/>
                <a:gd name="connsiteY99" fmla="*/ 4952 h 10000"/>
                <a:gd name="connsiteX100" fmla="*/ 6797 w 10000"/>
                <a:gd name="connsiteY100" fmla="*/ 4839 h 10000"/>
                <a:gd name="connsiteX101" fmla="*/ 6778 w 10000"/>
                <a:gd name="connsiteY101" fmla="*/ 4723 h 10000"/>
                <a:gd name="connsiteX102" fmla="*/ 6761 w 10000"/>
                <a:gd name="connsiteY102" fmla="*/ 4616 h 10000"/>
                <a:gd name="connsiteX103" fmla="*/ 6734 w 10000"/>
                <a:gd name="connsiteY103" fmla="*/ 4520 h 10000"/>
                <a:gd name="connsiteX104" fmla="*/ 6704 w 10000"/>
                <a:gd name="connsiteY104" fmla="*/ 4438 h 10000"/>
                <a:gd name="connsiteX105" fmla="*/ 6667 w 10000"/>
                <a:gd name="connsiteY105" fmla="*/ 4372 h 10000"/>
                <a:gd name="connsiteX106" fmla="*/ 6664 w 10000"/>
                <a:gd name="connsiteY106" fmla="*/ 4363 h 10000"/>
                <a:gd name="connsiteX107" fmla="*/ 6648 w 10000"/>
                <a:gd name="connsiteY107" fmla="*/ 4339 h 10000"/>
                <a:gd name="connsiteX108" fmla="*/ 6624 w 10000"/>
                <a:gd name="connsiteY108" fmla="*/ 4299 h 10000"/>
                <a:gd name="connsiteX109" fmla="*/ 6591 w 10000"/>
                <a:gd name="connsiteY109" fmla="*/ 4248 h 10000"/>
                <a:gd name="connsiteX110" fmla="*/ 6542 w 10000"/>
                <a:gd name="connsiteY110" fmla="*/ 4186 h 10000"/>
                <a:gd name="connsiteX111" fmla="*/ 6485 w 10000"/>
                <a:gd name="connsiteY111" fmla="*/ 4113 h 10000"/>
                <a:gd name="connsiteX112" fmla="*/ 6412 w 10000"/>
                <a:gd name="connsiteY112" fmla="*/ 4035 h 10000"/>
                <a:gd name="connsiteX113" fmla="*/ 6324 w 10000"/>
                <a:gd name="connsiteY113" fmla="*/ 3948 h 10000"/>
                <a:gd name="connsiteX114" fmla="*/ 6221 w 10000"/>
                <a:gd name="connsiteY114" fmla="*/ 3861 h 10000"/>
                <a:gd name="connsiteX115" fmla="*/ 6104 w 10000"/>
                <a:gd name="connsiteY115" fmla="*/ 3766 h 10000"/>
                <a:gd name="connsiteX116" fmla="*/ 5969 w 10000"/>
                <a:gd name="connsiteY116" fmla="*/ 3675 h 10000"/>
                <a:gd name="connsiteX117" fmla="*/ 5815 w 10000"/>
                <a:gd name="connsiteY117" fmla="*/ 3580 h 10000"/>
                <a:gd name="connsiteX118" fmla="*/ 5806 w 10000"/>
                <a:gd name="connsiteY118" fmla="*/ 3580 h 10000"/>
                <a:gd name="connsiteX119" fmla="*/ 5782 w 10000"/>
                <a:gd name="connsiteY119" fmla="*/ 3568 h 10000"/>
                <a:gd name="connsiteX120" fmla="*/ 5743 w 10000"/>
                <a:gd name="connsiteY120" fmla="*/ 3553 h 10000"/>
                <a:gd name="connsiteX121" fmla="*/ 5690 w 10000"/>
                <a:gd name="connsiteY121" fmla="*/ 3532 h 10000"/>
                <a:gd name="connsiteX122" fmla="*/ 5627 w 10000"/>
                <a:gd name="connsiteY122" fmla="*/ 3510 h 10000"/>
                <a:gd name="connsiteX123" fmla="*/ 5554 w 10000"/>
                <a:gd name="connsiteY123" fmla="*/ 3477 h 10000"/>
                <a:gd name="connsiteX124" fmla="*/ 5473 w 10000"/>
                <a:gd name="connsiteY124" fmla="*/ 3446 h 10000"/>
                <a:gd name="connsiteX125" fmla="*/ 5388 w 10000"/>
                <a:gd name="connsiteY125" fmla="*/ 3406 h 10000"/>
                <a:gd name="connsiteX126" fmla="*/ 5294 w 10000"/>
                <a:gd name="connsiteY126" fmla="*/ 3367 h 10000"/>
                <a:gd name="connsiteX127" fmla="*/ 5199 w 10000"/>
                <a:gd name="connsiteY127" fmla="*/ 3324 h 10000"/>
                <a:gd name="connsiteX128" fmla="*/ 5106 w 10000"/>
                <a:gd name="connsiteY128" fmla="*/ 3276 h 10000"/>
                <a:gd name="connsiteX129" fmla="*/ 5009 w 10000"/>
                <a:gd name="connsiteY129" fmla="*/ 3229 h 10000"/>
                <a:gd name="connsiteX130" fmla="*/ 4915 w 10000"/>
                <a:gd name="connsiteY130" fmla="*/ 3177 h 10000"/>
                <a:gd name="connsiteX131" fmla="*/ 4827 w 10000"/>
                <a:gd name="connsiteY131" fmla="*/ 3125 h 10000"/>
                <a:gd name="connsiteX132" fmla="*/ 4742 w 10000"/>
                <a:gd name="connsiteY132" fmla="*/ 3074 h 10000"/>
                <a:gd name="connsiteX133" fmla="*/ 4664 w 10000"/>
                <a:gd name="connsiteY133" fmla="*/ 3022 h 10000"/>
                <a:gd name="connsiteX134" fmla="*/ 4596 w 10000"/>
                <a:gd name="connsiteY134" fmla="*/ 2970 h 10000"/>
                <a:gd name="connsiteX135" fmla="*/ 4536 w 10000"/>
                <a:gd name="connsiteY135" fmla="*/ 2919 h 10000"/>
                <a:gd name="connsiteX136" fmla="*/ 4490 w 10000"/>
                <a:gd name="connsiteY136" fmla="*/ 2869 h 10000"/>
                <a:gd name="connsiteX137" fmla="*/ 4457 w 10000"/>
                <a:gd name="connsiteY137" fmla="*/ 2821 h 10000"/>
                <a:gd name="connsiteX138" fmla="*/ 4457 w 10000"/>
                <a:gd name="connsiteY138" fmla="*/ 2817 h 10000"/>
                <a:gd name="connsiteX139" fmla="*/ 4449 w 10000"/>
                <a:gd name="connsiteY139" fmla="*/ 2801 h 10000"/>
                <a:gd name="connsiteX140" fmla="*/ 4440 w 10000"/>
                <a:gd name="connsiteY140" fmla="*/ 2780 h 10000"/>
                <a:gd name="connsiteX141" fmla="*/ 4427 w 10000"/>
                <a:gd name="connsiteY141" fmla="*/ 2753 h 10000"/>
                <a:gd name="connsiteX142" fmla="*/ 4413 w 10000"/>
                <a:gd name="connsiteY142" fmla="*/ 2718 h 10000"/>
                <a:gd name="connsiteX143" fmla="*/ 4400 w 10000"/>
                <a:gd name="connsiteY143" fmla="*/ 2679 h 10000"/>
                <a:gd name="connsiteX144" fmla="*/ 4384 w 10000"/>
                <a:gd name="connsiteY144" fmla="*/ 2635 h 10000"/>
                <a:gd name="connsiteX145" fmla="*/ 4373 w 10000"/>
                <a:gd name="connsiteY145" fmla="*/ 2584 h 10000"/>
                <a:gd name="connsiteX146" fmla="*/ 4360 w 10000"/>
                <a:gd name="connsiteY146" fmla="*/ 2532 h 10000"/>
                <a:gd name="connsiteX147" fmla="*/ 4351 w 10000"/>
                <a:gd name="connsiteY147" fmla="*/ 2476 h 10000"/>
                <a:gd name="connsiteX148" fmla="*/ 4349 w 10000"/>
                <a:gd name="connsiteY148" fmla="*/ 2416 h 10000"/>
                <a:gd name="connsiteX149" fmla="*/ 4349 w 10000"/>
                <a:gd name="connsiteY149" fmla="*/ 2358 h 10000"/>
                <a:gd name="connsiteX150" fmla="*/ 4351 w 10000"/>
                <a:gd name="connsiteY150" fmla="*/ 2298 h 10000"/>
                <a:gd name="connsiteX151" fmla="*/ 4364 w 10000"/>
                <a:gd name="connsiteY151" fmla="*/ 2239 h 10000"/>
                <a:gd name="connsiteX152" fmla="*/ 4384 w 10000"/>
                <a:gd name="connsiteY152" fmla="*/ 2181 h 10000"/>
                <a:gd name="connsiteX153" fmla="*/ 4413 w 10000"/>
                <a:gd name="connsiteY153" fmla="*/ 2121 h 10000"/>
                <a:gd name="connsiteX154" fmla="*/ 4449 w 10000"/>
                <a:gd name="connsiteY154" fmla="*/ 2065 h 10000"/>
                <a:gd name="connsiteX155" fmla="*/ 4493 w 10000"/>
                <a:gd name="connsiteY155" fmla="*/ 2013 h 10000"/>
                <a:gd name="connsiteX156" fmla="*/ 4552 w 10000"/>
                <a:gd name="connsiteY156" fmla="*/ 1962 h 10000"/>
                <a:gd name="connsiteX157" fmla="*/ 4618 w 10000"/>
                <a:gd name="connsiteY157" fmla="*/ 1918 h 10000"/>
                <a:gd name="connsiteX158" fmla="*/ 4701 w 10000"/>
                <a:gd name="connsiteY158" fmla="*/ 1879 h 10000"/>
                <a:gd name="connsiteX159" fmla="*/ 4797 w 10000"/>
                <a:gd name="connsiteY159" fmla="*/ 1844 h 10000"/>
                <a:gd name="connsiteX160" fmla="*/ 4903 w 10000"/>
                <a:gd name="connsiteY160" fmla="*/ 1815 h 10000"/>
                <a:gd name="connsiteX161" fmla="*/ 5027 w 10000"/>
                <a:gd name="connsiteY161" fmla="*/ 1796 h 10000"/>
                <a:gd name="connsiteX162" fmla="*/ 5169 w 10000"/>
                <a:gd name="connsiteY162" fmla="*/ 1784 h 10000"/>
                <a:gd name="connsiteX163" fmla="*/ 5179 w 10000"/>
                <a:gd name="connsiteY163" fmla="*/ 1784 h 10000"/>
                <a:gd name="connsiteX164" fmla="*/ 5209 w 10000"/>
                <a:gd name="connsiteY164" fmla="*/ 1784 h 10000"/>
                <a:gd name="connsiteX165" fmla="*/ 5255 w 10000"/>
                <a:gd name="connsiteY165" fmla="*/ 1788 h 10000"/>
                <a:gd name="connsiteX166" fmla="*/ 5312 w 10000"/>
                <a:gd name="connsiteY166" fmla="*/ 1792 h 10000"/>
                <a:gd name="connsiteX167" fmla="*/ 5385 w 10000"/>
                <a:gd name="connsiteY167" fmla="*/ 1800 h 10000"/>
                <a:gd name="connsiteX168" fmla="*/ 5467 w 10000"/>
                <a:gd name="connsiteY168" fmla="*/ 1809 h 10000"/>
                <a:gd name="connsiteX169" fmla="*/ 5557 w 10000"/>
                <a:gd name="connsiteY169" fmla="*/ 1819 h 10000"/>
                <a:gd name="connsiteX170" fmla="*/ 5651 w 10000"/>
                <a:gd name="connsiteY170" fmla="*/ 1835 h 10000"/>
                <a:gd name="connsiteX171" fmla="*/ 5749 w 10000"/>
                <a:gd name="connsiteY171" fmla="*/ 1852 h 10000"/>
                <a:gd name="connsiteX172" fmla="*/ 5849 w 10000"/>
                <a:gd name="connsiteY172" fmla="*/ 1871 h 10000"/>
                <a:gd name="connsiteX173" fmla="*/ 5945 w 10000"/>
                <a:gd name="connsiteY173" fmla="*/ 1900 h 10000"/>
                <a:gd name="connsiteX174" fmla="*/ 6039 w 10000"/>
                <a:gd name="connsiteY174" fmla="*/ 1926 h 10000"/>
                <a:gd name="connsiteX175" fmla="*/ 6124 w 10000"/>
                <a:gd name="connsiteY175" fmla="*/ 1957 h 10000"/>
                <a:gd name="connsiteX176" fmla="*/ 6206 w 10000"/>
                <a:gd name="connsiteY176" fmla="*/ 1999 h 10000"/>
                <a:gd name="connsiteX177" fmla="*/ 6273 w 10000"/>
                <a:gd name="connsiteY177" fmla="*/ 2038 h 10000"/>
                <a:gd name="connsiteX178" fmla="*/ 6330 w 10000"/>
                <a:gd name="connsiteY178" fmla="*/ 2086 h 10000"/>
                <a:gd name="connsiteX179" fmla="*/ 6528 w 10000"/>
                <a:gd name="connsiteY179" fmla="*/ 1203 h 10000"/>
                <a:gd name="connsiteX180" fmla="*/ 6518 w 10000"/>
                <a:gd name="connsiteY180" fmla="*/ 1203 h 10000"/>
                <a:gd name="connsiteX181" fmla="*/ 6495 w 10000"/>
                <a:gd name="connsiteY181" fmla="*/ 1195 h 10000"/>
                <a:gd name="connsiteX182" fmla="*/ 6458 w 10000"/>
                <a:gd name="connsiteY182" fmla="*/ 1178 h 10000"/>
                <a:gd name="connsiteX183" fmla="*/ 6406 w 10000"/>
                <a:gd name="connsiteY183" fmla="*/ 1164 h 10000"/>
                <a:gd name="connsiteX184" fmla="*/ 6346 w 10000"/>
                <a:gd name="connsiteY184" fmla="*/ 1143 h 10000"/>
                <a:gd name="connsiteX185" fmla="*/ 6276 w 10000"/>
                <a:gd name="connsiteY185" fmla="*/ 1120 h 10000"/>
                <a:gd name="connsiteX186" fmla="*/ 6197 w 10000"/>
                <a:gd name="connsiteY186" fmla="*/ 1095 h 10000"/>
                <a:gd name="connsiteX187" fmla="*/ 6115 w 10000"/>
                <a:gd name="connsiteY187" fmla="*/ 1073 h 10000"/>
                <a:gd name="connsiteX188" fmla="*/ 6024 w 10000"/>
                <a:gd name="connsiteY188" fmla="*/ 1044 h 10000"/>
                <a:gd name="connsiteX189" fmla="*/ 5933 w 10000"/>
                <a:gd name="connsiteY189" fmla="*/ 1021 h 10000"/>
                <a:gd name="connsiteX190" fmla="*/ 5839 w 10000"/>
                <a:gd name="connsiteY190" fmla="*/ 996 h 10000"/>
                <a:gd name="connsiteX191" fmla="*/ 5746 w 10000"/>
                <a:gd name="connsiteY191" fmla="*/ 974 h 10000"/>
                <a:gd name="connsiteX192" fmla="*/ 5651 w 10000"/>
                <a:gd name="connsiteY192" fmla="*/ 957 h 10000"/>
                <a:gd name="connsiteX193" fmla="*/ 5560 w 10000"/>
                <a:gd name="connsiteY193" fmla="*/ 943 h 10000"/>
                <a:gd name="connsiteX194" fmla="*/ 5475 w 10000"/>
                <a:gd name="connsiteY194" fmla="*/ 930 h 10000"/>
                <a:gd name="connsiteX195" fmla="*/ 5397 w 10000"/>
                <a:gd name="connsiteY195" fmla="*/ 922 h 10000"/>
                <a:gd name="connsiteX196" fmla="*/ 5325 w 10000"/>
                <a:gd name="connsiteY196" fmla="*/ 918 h 10000"/>
                <a:gd name="connsiteX197" fmla="*/ 5309 w 10000"/>
                <a:gd name="connsiteY197" fmla="*/ 250 h 10000"/>
                <a:gd name="connsiteX198" fmla="*/ 4664 w 10000"/>
                <a:gd name="connsiteY198" fmla="*/ 256 h 10000"/>
                <a:gd name="connsiteX199" fmla="*/ 4664 w 10000"/>
                <a:gd name="connsiteY199" fmla="*/ 974 h 10000"/>
                <a:gd name="connsiteX200" fmla="*/ 4655 w 10000"/>
                <a:gd name="connsiteY200" fmla="*/ 978 h 10000"/>
                <a:gd name="connsiteX201" fmla="*/ 4633 w 10000"/>
                <a:gd name="connsiteY201" fmla="*/ 982 h 10000"/>
                <a:gd name="connsiteX202" fmla="*/ 4596 w 10000"/>
                <a:gd name="connsiteY202" fmla="*/ 990 h 10000"/>
                <a:gd name="connsiteX203" fmla="*/ 4552 w 10000"/>
                <a:gd name="connsiteY203" fmla="*/ 996 h 10000"/>
                <a:gd name="connsiteX204" fmla="*/ 4493 w 10000"/>
                <a:gd name="connsiteY204" fmla="*/ 1013 h 10000"/>
                <a:gd name="connsiteX205" fmla="*/ 4430 w 10000"/>
                <a:gd name="connsiteY205" fmla="*/ 1033 h 10000"/>
                <a:gd name="connsiteX206" fmla="*/ 4354 w 10000"/>
                <a:gd name="connsiteY206" fmla="*/ 1060 h 10000"/>
                <a:gd name="connsiteX207" fmla="*/ 4276 w 10000"/>
                <a:gd name="connsiteY207" fmla="*/ 1091 h 10000"/>
                <a:gd name="connsiteX208" fmla="*/ 4191 w 10000"/>
                <a:gd name="connsiteY208" fmla="*/ 1131 h 10000"/>
                <a:gd name="connsiteX209" fmla="*/ 4102 w 10000"/>
                <a:gd name="connsiteY209" fmla="*/ 1174 h 10000"/>
                <a:gd name="connsiteX210" fmla="*/ 4012 w 10000"/>
                <a:gd name="connsiteY210" fmla="*/ 1230 h 10000"/>
                <a:gd name="connsiteX211" fmla="*/ 3922 w 10000"/>
                <a:gd name="connsiteY211" fmla="*/ 1290 h 10000"/>
                <a:gd name="connsiteX212" fmla="*/ 3827 w 10000"/>
                <a:gd name="connsiteY212" fmla="*/ 1360 h 10000"/>
                <a:gd name="connsiteX213" fmla="*/ 3740 w 10000"/>
                <a:gd name="connsiteY213" fmla="*/ 1441 h 10000"/>
                <a:gd name="connsiteX214" fmla="*/ 3651 w 10000"/>
                <a:gd name="connsiteY214" fmla="*/ 1527 h 10000"/>
                <a:gd name="connsiteX215" fmla="*/ 3570 w 10000"/>
                <a:gd name="connsiteY215" fmla="*/ 1631 h 10000"/>
                <a:gd name="connsiteX216" fmla="*/ 3491 w 10000"/>
                <a:gd name="connsiteY216" fmla="*/ 1736 h 10000"/>
                <a:gd name="connsiteX217" fmla="*/ 3421 w 10000"/>
                <a:gd name="connsiteY217" fmla="*/ 1860 h 10000"/>
                <a:gd name="connsiteX218" fmla="*/ 3358 w 10000"/>
                <a:gd name="connsiteY218" fmla="*/ 1995 h 10000"/>
                <a:gd name="connsiteX219" fmla="*/ 3306 w 10000"/>
                <a:gd name="connsiteY219" fmla="*/ 2137 h 10000"/>
                <a:gd name="connsiteX220" fmla="*/ 3263 w 10000"/>
                <a:gd name="connsiteY220" fmla="*/ 2298 h 10000"/>
                <a:gd name="connsiteX221" fmla="*/ 3260 w 10000"/>
                <a:gd name="connsiteY221" fmla="*/ 2303 h 10000"/>
                <a:gd name="connsiteX222" fmla="*/ 3257 w 10000"/>
                <a:gd name="connsiteY222" fmla="*/ 2325 h 10000"/>
                <a:gd name="connsiteX223" fmla="*/ 3252 w 10000"/>
                <a:gd name="connsiteY223" fmla="*/ 2363 h 10000"/>
                <a:gd name="connsiteX224" fmla="*/ 3246 w 10000"/>
                <a:gd name="connsiteY224" fmla="*/ 2410 h 10000"/>
                <a:gd name="connsiteX225" fmla="*/ 3239 w 10000"/>
                <a:gd name="connsiteY225" fmla="*/ 2464 h 10000"/>
                <a:gd name="connsiteX226" fmla="*/ 3236 w 10000"/>
                <a:gd name="connsiteY226" fmla="*/ 2536 h 10000"/>
                <a:gd name="connsiteX227" fmla="*/ 3236 w 10000"/>
                <a:gd name="connsiteY227" fmla="*/ 2611 h 10000"/>
                <a:gd name="connsiteX228" fmla="*/ 3236 w 10000"/>
                <a:gd name="connsiteY228" fmla="*/ 2693 h 10000"/>
                <a:gd name="connsiteX229" fmla="*/ 3243 w 10000"/>
                <a:gd name="connsiteY229" fmla="*/ 2784 h 10000"/>
                <a:gd name="connsiteX230" fmla="*/ 3255 w 10000"/>
                <a:gd name="connsiteY230" fmla="*/ 2879 h 10000"/>
                <a:gd name="connsiteX231" fmla="*/ 3273 w 10000"/>
                <a:gd name="connsiteY231" fmla="*/ 2979 h 10000"/>
                <a:gd name="connsiteX232" fmla="*/ 3296 w 10000"/>
                <a:gd name="connsiteY232" fmla="*/ 3082 h 10000"/>
                <a:gd name="connsiteX233" fmla="*/ 3333 w 10000"/>
                <a:gd name="connsiteY233" fmla="*/ 3189 h 10000"/>
                <a:gd name="connsiteX234" fmla="*/ 3376 w 10000"/>
                <a:gd name="connsiteY234" fmla="*/ 3291 h 10000"/>
                <a:gd name="connsiteX235" fmla="*/ 3431 w 10000"/>
                <a:gd name="connsiteY235" fmla="*/ 3398 h 10000"/>
                <a:gd name="connsiteX236" fmla="*/ 3494 w 10000"/>
                <a:gd name="connsiteY236" fmla="*/ 3501 h 10000"/>
                <a:gd name="connsiteX237" fmla="*/ 3570 w 10000"/>
                <a:gd name="connsiteY237" fmla="*/ 3601 h 10000"/>
                <a:gd name="connsiteX238" fmla="*/ 3661 w 10000"/>
                <a:gd name="connsiteY238" fmla="*/ 3696 h 10000"/>
                <a:gd name="connsiteX239" fmla="*/ 3767 w 10000"/>
                <a:gd name="connsiteY239" fmla="*/ 3787 h 10000"/>
                <a:gd name="connsiteX240" fmla="*/ 3885 w 10000"/>
                <a:gd name="connsiteY240" fmla="*/ 3874 h 10000"/>
                <a:gd name="connsiteX241" fmla="*/ 4022 w 10000"/>
                <a:gd name="connsiteY241" fmla="*/ 3948 h 10000"/>
                <a:gd name="connsiteX242" fmla="*/ 4031 w 10000"/>
                <a:gd name="connsiteY242" fmla="*/ 3952 h 10000"/>
                <a:gd name="connsiteX243" fmla="*/ 4055 w 10000"/>
                <a:gd name="connsiteY243" fmla="*/ 3969 h 10000"/>
                <a:gd name="connsiteX244" fmla="*/ 4088 w 10000"/>
                <a:gd name="connsiteY244" fmla="*/ 3983 h 10000"/>
                <a:gd name="connsiteX245" fmla="*/ 4134 w 10000"/>
                <a:gd name="connsiteY245" fmla="*/ 4012 h 10000"/>
                <a:gd name="connsiteX246" fmla="*/ 4185 w 10000"/>
                <a:gd name="connsiteY246" fmla="*/ 4039 h 10000"/>
                <a:gd name="connsiteX247" fmla="*/ 4243 w 10000"/>
                <a:gd name="connsiteY247" fmla="*/ 4070 h 10000"/>
                <a:gd name="connsiteX248" fmla="*/ 4300 w 10000"/>
                <a:gd name="connsiteY248" fmla="*/ 4103 h 10000"/>
                <a:gd name="connsiteX249" fmla="*/ 4360 w 10000"/>
                <a:gd name="connsiteY249" fmla="*/ 4134 h 10000"/>
                <a:gd name="connsiteX250" fmla="*/ 4416 w 10000"/>
                <a:gd name="connsiteY250" fmla="*/ 4165 h 10000"/>
                <a:gd name="connsiteX251" fmla="*/ 4466 w 10000"/>
                <a:gd name="connsiteY251" fmla="*/ 4194 h 10000"/>
                <a:gd name="connsiteX252" fmla="*/ 4512 w 10000"/>
                <a:gd name="connsiteY252" fmla="*/ 4217 h 10000"/>
                <a:gd name="connsiteX253" fmla="*/ 4549 w 10000"/>
                <a:gd name="connsiteY253" fmla="*/ 4233 h 10000"/>
                <a:gd name="connsiteX254" fmla="*/ 4569 w 10000"/>
                <a:gd name="connsiteY254" fmla="*/ 4246 h 10000"/>
                <a:gd name="connsiteX255" fmla="*/ 4579 w 10000"/>
                <a:gd name="connsiteY255" fmla="*/ 4246 h 10000"/>
                <a:gd name="connsiteX256" fmla="*/ 4603 w 10000"/>
                <a:gd name="connsiteY256" fmla="*/ 4252 h 10000"/>
                <a:gd name="connsiteX257" fmla="*/ 4642 w 10000"/>
                <a:gd name="connsiteY257" fmla="*/ 4268 h 10000"/>
                <a:gd name="connsiteX258" fmla="*/ 4691 w 10000"/>
                <a:gd name="connsiteY258" fmla="*/ 4285 h 10000"/>
                <a:gd name="connsiteX259" fmla="*/ 4751 w 10000"/>
                <a:gd name="connsiteY259" fmla="*/ 4308 h 10000"/>
                <a:gd name="connsiteX260" fmla="*/ 4821 w 10000"/>
                <a:gd name="connsiteY260" fmla="*/ 4337 h 10000"/>
                <a:gd name="connsiteX261" fmla="*/ 4897 w 10000"/>
                <a:gd name="connsiteY261" fmla="*/ 4368 h 10000"/>
                <a:gd name="connsiteX262" fmla="*/ 4976 w 10000"/>
                <a:gd name="connsiteY262" fmla="*/ 4403 h 10000"/>
                <a:gd name="connsiteX263" fmla="*/ 5057 w 10000"/>
                <a:gd name="connsiteY263" fmla="*/ 4446 h 10000"/>
                <a:gd name="connsiteX264" fmla="*/ 5142 w 10000"/>
                <a:gd name="connsiteY264" fmla="*/ 4489 h 10000"/>
                <a:gd name="connsiteX265" fmla="*/ 5225 w 10000"/>
                <a:gd name="connsiteY265" fmla="*/ 4541 h 10000"/>
                <a:gd name="connsiteX266" fmla="*/ 5302 w 10000"/>
                <a:gd name="connsiteY266" fmla="*/ 4597 h 10000"/>
                <a:gd name="connsiteX267" fmla="*/ 5378 w 10000"/>
                <a:gd name="connsiteY267" fmla="*/ 4653 h 10000"/>
                <a:gd name="connsiteX268" fmla="*/ 5445 w 10000"/>
                <a:gd name="connsiteY268" fmla="*/ 4715 h 10000"/>
                <a:gd name="connsiteX269" fmla="*/ 5507 w 10000"/>
                <a:gd name="connsiteY269" fmla="*/ 4779 h 10000"/>
                <a:gd name="connsiteX270" fmla="*/ 5554 w 10000"/>
                <a:gd name="connsiteY270" fmla="*/ 4849 h 10000"/>
                <a:gd name="connsiteX271" fmla="*/ 5557 w 10000"/>
                <a:gd name="connsiteY271" fmla="*/ 4853 h 10000"/>
                <a:gd name="connsiteX272" fmla="*/ 5567 w 10000"/>
                <a:gd name="connsiteY272" fmla="*/ 4870 h 10000"/>
                <a:gd name="connsiteX273" fmla="*/ 5576 w 10000"/>
                <a:gd name="connsiteY273" fmla="*/ 4893 h 10000"/>
                <a:gd name="connsiteX274" fmla="*/ 5591 w 10000"/>
                <a:gd name="connsiteY274" fmla="*/ 4930 h 10000"/>
                <a:gd name="connsiteX275" fmla="*/ 5606 w 10000"/>
                <a:gd name="connsiteY275" fmla="*/ 4969 h 10000"/>
                <a:gd name="connsiteX276" fmla="*/ 5621 w 10000"/>
                <a:gd name="connsiteY276" fmla="*/ 5017 h 10000"/>
                <a:gd name="connsiteX277" fmla="*/ 5636 w 10000"/>
                <a:gd name="connsiteY277" fmla="*/ 5070 h 10000"/>
                <a:gd name="connsiteX278" fmla="*/ 5649 w 10000"/>
                <a:gd name="connsiteY278" fmla="*/ 5130 h 10000"/>
                <a:gd name="connsiteX279" fmla="*/ 5657 w 10000"/>
                <a:gd name="connsiteY279" fmla="*/ 5190 h 10000"/>
                <a:gd name="connsiteX280" fmla="*/ 5663 w 10000"/>
                <a:gd name="connsiteY280" fmla="*/ 5256 h 10000"/>
                <a:gd name="connsiteX281" fmla="*/ 5667 w 10000"/>
                <a:gd name="connsiteY281" fmla="*/ 5325 h 10000"/>
                <a:gd name="connsiteX282" fmla="*/ 5660 w 10000"/>
                <a:gd name="connsiteY282" fmla="*/ 5395 h 10000"/>
                <a:gd name="connsiteX283" fmla="*/ 5649 w 10000"/>
                <a:gd name="connsiteY283" fmla="*/ 5463 h 10000"/>
                <a:gd name="connsiteX284" fmla="*/ 5627 w 10000"/>
                <a:gd name="connsiteY284" fmla="*/ 5533 h 10000"/>
                <a:gd name="connsiteX285" fmla="*/ 5597 w 10000"/>
                <a:gd name="connsiteY285" fmla="*/ 5601 h 10000"/>
                <a:gd name="connsiteX286" fmla="*/ 5557 w 10000"/>
                <a:gd name="connsiteY286" fmla="*/ 5666 h 10000"/>
                <a:gd name="connsiteX287" fmla="*/ 5503 w 10000"/>
                <a:gd name="connsiteY287" fmla="*/ 5728 h 10000"/>
                <a:gd name="connsiteX288" fmla="*/ 5440 w 10000"/>
                <a:gd name="connsiteY288" fmla="*/ 5788 h 10000"/>
                <a:gd name="connsiteX289" fmla="*/ 5358 w 10000"/>
                <a:gd name="connsiteY289" fmla="*/ 5843 h 10000"/>
                <a:gd name="connsiteX290" fmla="*/ 5264 w 10000"/>
                <a:gd name="connsiteY290" fmla="*/ 5891 h 10000"/>
                <a:gd name="connsiteX291" fmla="*/ 5155 w 10000"/>
                <a:gd name="connsiteY291" fmla="*/ 5934 h 10000"/>
                <a:gd name="connsiteX292" fmla="*/ 5146 w 10000"/>
                <a:gd name="connsiteY292" fmla="*/ 5934 h 10000"/>
                <a:gd name="connsiteX293" fmla="*/ 5119 w 10000"/>
                <a:gd name="connsiteY293" fmla="*/ 5943 h 10000"/>
                <a:gd name="connsiteX294" fmla="*/ 5070 w 10000"/>
                <a:gd name="connsiteY294" fmla="*/ 5949 h 10000"/>
                <a:gd name="connsiteX295" fmla="*/ 5009 w 10000"/>
                <a:gd name="connsiteY295" fmla="*/ 5961 h 10000"/>
                <a:gd name="connsiteX296" fmla="*/ 4930 w 10000"/>
                <a:gd name="connsiteY296" fmla="*/ 5974 h 10000"/>
                <a:gd name="connsiteX297" fmla="*/ 4840 w 10000"/>
                <a:gd name="connsiteY297" fmla="*/ 5982 h 10000"/>
                <a:gd name="connsiteX298" fmla="*/ 4736 w 10000"/>
                <a:gd name="connsiteY298" fmla="*/ 5986 h 10000"/>
                <a:gd name="connsiteX299" fmla="*/ 4622 w 10000"/>
                <a:gd name="connsiteY299" fmla="*/ 5986 h 10000"/>
                <a:gd name="connsiteX300" fmla="*/ 4493 w 10000"/>
                <a:gd name="connsiteY300" fmla="*/ 5978 h 10000"/>
                <a:gd name="connsiteX301" fmla="*/ 4357 w 10000"/>
                <a:gd name="connsiteY301" fmla="*/ 5961 h 10000"/>
                <a:gd name="connsiteX302" fmla="*/ 4215 w 10000"/>
                <a:gd name="connsiteY302" fmla="*/ 5938 h 10000"/>
                <a:gd name="connsiteX303" fmla="*/ 4064 w 10000"/>
                <a:gd name="connsiteY303" fmla="*/ 5901 h 10000"/>
                <a:gd name="connsiteX304" fmla="*/ 3906 w 10000"/>
                <a:gd name="connsiteY304" fmla="*/ 5850 h 10000"/>
                <a:gd name="connsiteX305" fmla="*/ 3746 w 10000"/>
                <a:gd name="connsiteY305" fmla="*/ 5788 h 10000"/>
                <a:gd name="connsiteX306" fmla="*/ 3578 w 10000"/>
                <a:gd name="connsiteY306" fmla="*/ 5709 h 10000"/>
                <a:gd name="connsiteX307" fmla="*/ 3412 w 10000"/>
                <a:gd name="connsiteY307" fmla="*/ 5610 h 10000"/>
                <a:gd name="connsiteX308" fmla="*/ 3200 w 10000"/>
                <a:gd name="connsiteY308" fmla="*/ 6511 h 10000"/>
                <a:gd name="connsiteX309" fmla="*/ 3209 w 10000"/>
                <a:gd name="connsiteY309" fmla="*/ 6515 h 10000"/>
                <a:gd name="connsiteX310" fmla="*/ 3233 w 10000"/>
                <a:gd name="connsiteY310" fmla="*/ 6527 h 10000"/>
                <a:gd name="connsiteX311" fmla="*/ 3273 w 10000"/>
                <a:gd name="connsiteY311" fmla="*/ 6542 h 10000"/>
                <a:gd name="connsiteX312" fmla="*/ 3325 w 10000"/>
                <a:gd name="connsiteY312" fmla="*/ 6571 h 10000"/>
                <a:gd name="connsiteX313" fmla="*/ 3388 w 10000"/>
                <a:gd name="connsiteY313" fmla="*/ 6598 h 10000"/>
                <a:gd name="connsiteX314" fmla="*/ 3464 w 10000"/>
                <a:gd name="connsiteY314" fmla="*/ 6631 h 10000"/>
                <a:gd name="connsiteX315" fmla="*/ 3548 w 10000"/>
                <a:gd name="connsiteY315" fmla="*/ 6662 h 10000"/>
                <a:gd name="connsiteX316" fmla="*/ 3640 w 10000"/>
                <a:gd name="connsiteY316" fmla="*/ 6697 h 10000"/>
                <a:gd name="connsiteX317" fmla="*/ 3740 w 10000"/>
                <a:gd name="connsiteY317" fmla="*/ 6732 h 10000"/>
                <a:gd name="connsiteX318" fmla="*/ 3846 w 10000"/>
                <a:gd name="connsiteY318" fmla="*/ 6767 h 10000"/>
                <a:gd name="connsiteX319" fmla="*/ 3955 w 10000"/>
                <a:gd name="connsiteY319" fmla="*/ 6800 h 10000"/>
                <a:gd name="connsiteX320" fmla="*/ 4067 w 10000"/>
                <a:gd name="connsiteY320" fmla="*/ 6827 h 10000"/>
                <a:gd name="connsiteX321" fmla="*/ 4181 w 10000"/>
                <a:gd name="connsiteY321" fmla="*/ 6852 h 10000"/>
                <a:gd name="connsiteX322" fmla="*/ 4294 w 10000"/>
                <a:gd name="connsiteY322" fmla="*/ 6871 h 10000"/>
                <a:gd name="connsiteX323" fmla="*/ 4409 w 10000"/>
                <a:gd name="connsiteY323" fmla="*/ 6883 h 10000"/>
                <a:gd name="connsiteX324" fmla="*/ 4519 w 10000"/>
                <a:gd name="connsiteY324" fmla="*/ 6891 h 10000"/>
                <a:gd name="connsiteX325" fmla="*/ 4628 w 10000"/>
                <a:gd name="connsiteY325" fmla="*/ 6887 h 10000"/>
                <a:gd name="connsiteX326" fmla="*/ 4628 w 10000"/>
                <a:gd name="connsiteY326" fmla="*/ 7567 h 10000"/>
                <a:gd name="connsiteX327" fmla="*/ 4218 w 10000"/>
                <a:gd name="connsiteY327" fmla="*/ 8069 h 10000"/>
                <a:gd name="connsiteX328" fmla="*/ 3615 w 10000"/>
                <a:gd name="connsiteY328" fmla="*/ 7730 h 10000"/>
                <a:gd name="connsiteX329" fmla="*/ 2582 w 10000"/>
                <a:gd name="connsiteY329" fmla="*/ 9568 h 10000"/>
                <a:gd name="connsiteX330" fmla="*/ 1778 w 10000"/>
                <a:gd name="connsiteY330" fmla="*/ 8714 h 10000"/>
                <a:gd name="connsiteX331" fmla="*/ 1118 w 10000"/>
                <a:gd name="connsiteY331" fmla="*/ 10000 h 10000"/>
                <a:gd name="connsiteX332" fmla="*/ 0 w 10000"/>
                <a:gd name="connsiteY332" fmla="*/ 9959 h 10000"/>
                <a:gd name="connsiteX333" fmla="*/ 0 w 10000"/>
                <a:gd name="connsiteY333" fmla="*/ 9696 h 10000"/>
                <a:gd name="connsiteX334" fmla="*/ 1097 w 10000"/>
                <a:gd name="connsiteY334" fmla="*/ 9696 h 10000"/>
                <a:gd name="connsiteX335" fmla="*/ 1745 w 10000"/>
                <a:gd name="connsiteY335" fmla="*/ 8411 h 10000"/>
                <a:gd name="connsiteX336" fmla="*/ 2560 w 10000"/>
                <a:gd name="connsiteY336" fmla="*/ 9256 h 10000"/>
                <a:gd name="connsiteX337" fmla="*/ 3567 w 10000"/>
                <a:gd name="connsiteY337" fmla="*/ 7402 h 10000"/>
                <a:gd name="connsiteX338" fmla="*/ 4191 w 10000"/>
                <a:gd name="connsiteY338" fmla="*/ 7784 h 10000"/>
                <a:gd name="connsiteX339" fmla="*/ 4446 w 10000"/>
                <a:gd name="connsiteY339" fmla="*/ 7484 h 10000"/>
                <a:gd name="connsiteX340" fmla="*/ 4446 w 10000"/>
                <a:gd name="connsiteY340" fmla="*/ 7117 h 10000"/>
                <a:gd name="connsiteX341" fmla="*/ 4433 w 10000"/>
                <a:gd name="connsiteY341" fmla="*/ 7117 h 10000"/>
                <a:gd name="connsiteX342" fmla="*/ 4403 w 10000"/>
                <a:gd name="connsiteY342" fmla="*/ 7112 h 10000"/>
                <a:gd name="connsiteX343" fmla="*/ 4357 w 10000"/>
                <a:gd name="connsiteY343" fmla="*/ 7108 h 10000"/>
                <a:gd name="connsiteX344" fmla="*/ 4294 w 10000"/>
                <a:gd name="connsiteY344" fmla="*/ 7100 h 10000"/>
                <a:gd name="connsiteX345" fmla="*/ 4215 w 10000"/>
                <a:gd name="connsiteY345" fmla="*/ 7092 h 10000"/>
                <a:gd name="connsiteX346" fmla="*/ 4128 w 10000"/>
                <a:gd name="connsiteY346" fmla="*/ 7081 h 10000"/>
                <a:gd name="connsiteX347" fmla="*/ 4031 w 10000"/>
                <a:gd name="connsiteY347" fmla="*/ 7065 h 10000"/>
                <a:gd name="connsiteX348" fmla="*/ 3925 w 10000"/>
                <a:gd name="connsiteY348" fmla="*/ 7044 h 10000"/>
                <a:gd name="connsiteX349" fmla="*/ 3816 w 10000"/>
                <a:gd name="connsiteY349" fmla="*/ 7021 h 10000"/>
                <a:gd name="connsiteX350" fmla="*/ 3700 w 10000"/>
                <a:gd name="connsiteY350" fmla="*/ 6990 h 10000"/>
                <a:gd name="connsiteX351" fmla="*/ 3585 w 10000"/>
                <a:gd name="connsiteY351" fmla="*/ 6957 h 10000"/>
                <a:gd name="connsiteX352" fmla="*/ 3469 w 10000"/>
                <a:gd name="connsiteY352" fmla="*/ 6918 h 10000"/>
                <a:gd name="connsiteX353" fmla="*/ 3358 w 10000"/>
                <a:gd name="connsiteY353" fmla="*/ 6875 h 10000"/>
                <a:gd name="connsiteX354" fmla="*/ 3249 w 10000"/>
                <a:gd name="connsiteY354" fmla="*/ 6827 h 10000"/>
                <a:gd name="connsiteX355" fmla="*/ 3149 w 10000"/>
                <a:gd name="connsiteY355" fmla="*/ 6771 h 10000"/>
                <a:gd name="connsiteX356" fmla="*/ 3057 w 10000"/>
                <a:gd name="connsiteY356" fmla="*/ 6709 h 10000"/>
                <a:gd name="connsiteX357" fmla="*/ 2975 w 10000"/>
                <a:gd name="connsiteY357" fmla="*/ 6637 h 10000"/>
                <a:gd name="connsiteX358" fmla="*/ 3276 w 10000"/>
                <a:gd name="connsiteY358" fmla="*/ 5260 h 10000"/>
                <a:gd name="connsiteX359" fmla="*/ 3285 w 10000"/>
                <a:gd name="connsiteY359" fmla="*/ 5265 h 10000"/>
                <a:gd name="connsiteX360" fmla="*/ 3303 w 10000"/>
                <a:gd name="connsiteY360" fmla="*/ 5277 h 10000"/>
                <a:gd name="connsiteX361" fmla="*/ 3336 w 10000"/>
                <a:gd name="connsiteY361" fmla="*/ 5294 h 10000"/>
                <a:gd name="connsiteX362" fmla="*/ 3379 w 10000"/>
                <a:gd name="connsiteY362" fmla="*/ 5316 h 10000"/>
                <a:gd name="connsiteX363" fmla="*/ 3433 w 10000"/>
                <a:gd name="connsiteY363" fmla="*/ 5345 h 10000"/>
                <a:gd name="connsiteX364" fmla="*/ 3494 w 10000"/>
                <a:gd name="connsiteY364" fmla="*/ 5376 h 10000"/>
                <a:gd name="connsiteX365" fmla="*/ 3567 w 10000"/>
                <a:gd name="connsiteY365" fmla="*/ 5407 h 10000"/>
                <a:gd name="connsiteX366" fmla="*/ 3645 w 10000"/>
                <a:gd name="connsiteY366" fmla="*/ 5442 h 10000"/>
                <a:gd name="connsiteX367" fmla="*/ 3730 w 10000"/>
                <a:gd name="connsiteY367" fmla="*/ 5484 h 10000"/>
                <a:gd name="connsiteX368" fmla="*/ 3820 w 10000"/>
                <a:gd name="connsiteY368" fmla="*/ 5519 h 10000"/>
                <a:gd name="connsiteX369" fmla="*/ 3919 w 10000"/>
                <a:gd name="connsiteY369" fmla="*/ 5558 h 10000"/>
                <a:gd name="connsiteX370" fmla="*/ 4018 w 10000"/>
                <a:gd name="connsiteY370" fmla="*/ 5593 h 10000"/>
                <a:gd name="connsiteX371" fmla="*/ 4121 w 10000"/>
                <a:gd name="connsiteY371" fmla="*/ 5628 h 10000"/>
                <a:gd name="connsiteX372" fmla="*/ 4227 w 10000"/>
                <a:gd name="connsiteY372" fmla="*/ 5661 h 10000"/>
                <a:gd name="connsiteX373" fmla="*/ 4337 w 10000"/>
                <a:gd name="connsiteY373" fmla="*/ 5688 h 10000"/>
                <a:gd name="connsiteX374" fmla="*/ 4443 w 10000"/>
                <a:gd name="connsiteY374" fmla="*/ 5713 h 10000"/>
                <a:gd name="connsiteX375" fmla="*/ 4552 w 10000"/>
                <a:gd name="connsiteY375" fmla="*/ 5732 h 10000"/>
                <a:gd name="connsiteX376" fmla="*/ 4655 w 10000"/>
                <a:gd name="connsiteY376" fmla="*/ 5744 h 10000"/>
                <a:gd name="connsiteX377" fmla="*/ 4761 w 10000"/>
                <a:gd name="connsiteY377" fmla="*/ 5752 h 10000"/>
                <a:gd name="connsiteX378" fmla="*/ 4861 w 10000"/>
                <a:gd name="connsiteY378" fmla="*/ 5748 h 10000"/>
                <a:gd name="connsiteX379" fmla="*/ 4954 w 10000"/>
                <a:gd name="connsiteY379" fmla="*/ 5740 h 10000"/>
                <a:gd name="connsiteX380" fmla="*/ 5046 w 10000"/>
                <a:gd name="connsiteY380" fmla="*/ 5719 h 10000"/>
                <a:gd name="connsiteX381" fmla="*/ 5133 w 10000"/>
                <a:gd name="connsiteY381" fmla="*/ 5692 h 10000"/>
                <a:gd name="connsiteX382" fmla="*/ 5212 w 10000"/>
                <a:gd name="connsiteY382" fmla="*/ 5653 h 10000"/>
                <a:gd name="connsiteX383" fmla="*/ 5282 w 10000"/>
                <a:gd name="connsiteY383" fmla="*/ 5601 h 10000"/>
                <a:gd name="connsiteX384" fmla="*/ 5345 w 10000"/>
                <a:gd name="connsiteY384" fmla="*/ 5537 h 10000"/>
                <a:gd name="connsiteX385" fmla="*/ 5397 w 10000"/>
                <a:gd name="connsiteY385" fmla="*/ 5459 h 10000"/>
                <a:gd name="connsiteX386" fmla="*/ 5440 w 10000"/>
                <a:gd name="connsiteY386" fmla="*/ 5368 h 10000"/>
                <a:gd name="connsiteX387" fmla="*/ 5470 w 10000"/>
                <a:gd name="connsiteY387" fmla="*/ 5260 h 10000"/>
                <a:gd name="connsiteX388" fmla="*/ 5473 w 10000"/>
                <a:gd name="connsiteY388" fmla="*/ 5256 h 10000"/>
                <a:gd name="connsiteX389" fmla="*/ 5473 w 10000"/>
                <a:gd name="connsiteY389" fmla="*/ 5246 h 10000"/>
                <a:gd name="connsiteX390" fmla="*/ 5473 w 10000"/>
                <a:gd name="connsiteY390" fmla="*/ 5225 h 10000"/>
                <a:gd name="connsiteX391" fmla="*/ 5473 w 10000"/>
                <a:gd name="connsiteY391" fmla="*/ 5203 h 10000"/>
                <a:gd name="connsiteX392" fmla="*/ 5470 w 10000"/>
                <a:gd name="connsiteY392" fmla="*/ 5169 h 10000"/>
                <a:gd name="connsiteX393" fmla="*/ 5461 w 10000"/>
                <a:gd name="connsiteY393" fmla="*/ 5134 h 10000"/>
                <a:gd name="connsiteX394" fmla="*/ 5445 w 10000"/>
                <a:gd name="connsiteY394" fmla="*/ 5091 h 10000"/>
                <a:gd name="connsiteX395" fmla="*/ 5424 w 10000"/>
                <a:gd name="connsiteY395" fmla="*/ 5048 h 10000"/>
                <a:gd name="connsiteX396" fmla="*/ 5397 w 10000"/>
                <a:gd name="connsiteY396" fmla="*/ 4996 h 10000"/>
                <a:gd name="connsiteX397" fmla="*/ 5358 w 10000"/>
                <a:gd name="connsiteY397" fmla="*/ 4944 h 10000"/>
                <a:gd name="connsiteX398" fmla="*/ 5309 w 10000"/>
                <a:gd name="connsiteY398" fmla="*/ 4893 h 10000"/>
                <a:gd name="connsiteX399" fmla="*/ 5252 w 10000"/>
                <a:gd name="connsiteY399" fmla="*/ 4839 h 10000"/>
                <a:gd name="connsiteX400" fmla="*/ 5179 w 10000"/>
                <a:gd name="connsiteY400" fmla="*/ 4779 h 10000"/>
                <a:gd name="connsiteX401" fmla="*/ 5090 w 10000"/>
                <a:gd name="connsiteY401" fmla="*/ 4723 h 10000"/>
                <a:gd name="connsiteX402" fmla="*/ 4987 w 10000"/>
                <a:gd name="connsiteY402" fmla="*/ 4663 h 10000"/>
                <a:gd name="connsiteX403" fmla="*/ 4870 w 10000"/>
                <a:gd name="connsiteY403" fmla="*/ 4609 h 10000"/>
                <a:gd name="connsiteX404" fmla="*/ 4734 w 10000"/>
                <a:gd name="connsiteY404" fmla="*/ 4554 h 10000"/>
                <a:gd name="connsiteX405" fmla="*/ 4579 w 10000"/>
                <a:gd name="connsiteY405" fmla="*/ 4502 h 10000"/>
                <a:gd name="connsiteX406" fmla="*/ 4569 w 10000"/>
                <a:gd name="connsiteY406" fmla="*/ 4498 h 10000"/>
                <a:gd name="connsiteX407" fmla="*/ 4542 w 10000"/>
                <a:gd name="connsiteY407" fmla="*/ 4485 h 10000"/>
                <a:gd name="connsiteX408" fmla="*/ 4503 w 10000"/>
                <a:gd name="connsiteY408" fmla="*/ 4475 h 10000"/>
                <a:gd name="connsiteX409" fmla="*/ 4449 w 10000"/>
                <a:gd name="connsiteY409" fmla="*/ 4450 h 10000"/>
                <a:gd name="connsiteX410" fmla="*/ 4384 w 10000"/>
                <a:gd name="connsiteY410" fmla="*/ 4423 h 10000"/>
                <a:gd name="connsiteX411" fmla="*/ 4310 w 10000"/>
                <a:gd name="connsiteY411" fmla="*/ 4386 h 10000"/>
                <a:gd name="connsiteX412" fmla="*/ 4224 w 10000"/>
                <a:gd name="connsiteY412" fmla="*/ 4347 h 10000"/>
                <a:gd name="connsiteX413" fmla="*/ 4134 w 10000"/>
                <a:gd name="connsiteY413" fmla="*/ 4299 h 10000"/>
                <a:gd name="connsiteX414" fmla="*/ 4039 w 10000"/>
                <a:gd name="connsiteY414" fmla="*/ 4246 h 10000"/>
                <a:gd name="connsiteX415" fmla="*/ 3939 w 10000"/>
                <a:gd name="connsiteY415" fmla="*/ 4186 h 10000"/>
                <a:gd name="connsiteX416" fmla="*/ 3839 w 10000"/>
                <a:gd name="connsiteY416" fmla="*/ 4117 h 10000"/>
                <a:gd name="connsiteX417" fmla="*/ 3740 w 10000"/>
                <a:gd name="connsiteY417" fmla="*/ 4047 h 10000"/>
                <a:gd name="connsiteX418" fmla="*/ 3643 w 10000"/>
                <a:gd name="connsiteY418" fmla="*/ 3964 h 10000"/>
                <a:gd name="connsiteX419" fmla="*/ 3545 w 10000"/>
                <a:gd name="connsiteY419" fmla="*/ 3878 h 10000"/>
                <a:gd name="connsiteX420" fmla="*/ 3458 w 10000"/>
                <a:gd name="connsiteY420" fmla="*/ 3787 h 10000"/>
                <a:gd name="connsiteX421" fmla="*/ 3372 w 10000"/>
                <a:gd name="connsiteY421" fmla="*/ 3683 h 10000"/>
                <a:gd name="connsiteX422" fmla="*/ 3300 w 10000"/>
                <a:gd name="connsiteY422" fmla="*/ 3576 h 10000"/>
                <a:gd name="connsiteX423" fmla="*/ 3236 w 10000"/>
                <a:gd name="connsiteY423" fmla="*/ 3462 h 10000"/>
                <a:gd name="connsiteX424" fmla="*/ 3230 w 10000"/>
                <a:gd name="connsiteY424" fmla="*/ 3454 h 10000"/>
                <a:gd name="connsiteX425" fmla="*/ 3222 w 10000"/>
                <a:gd name="connsiteY425" fmla="*/ 3433 h 10000"/>
                <a:gd name="connsiteX426" fmla="*/ 3206 w 10000"/>
                <a:gd name="connsiteY426" fmla="*/ 3398 h 10000"/>
                <a:gd name="connsiteX427" fmla="*/ 3187 w 10000"/>
                <a:gd name="connsiteY427" fmla="*/ 3355 h 10000"/>
                <a:gd name="connsiteX428" fmla="*/ 3167 w 10000"/>
                <a:gd name="connsiteY428" fmla="*/ 3295 h 10000"/>
                <a:gd name="connsiteX429" fmla="*/ 3146 w 10000"/>
                <a:gd name="connsiteY429" fmla="*/ 3224 h 10000"/>
                <a:gd name="connsiteX430" fmla="*/ 3121 w 10000"/>
                <a:gd name="connsiteY430" fmla="*/ 3146 h 10000"/>
                <a:gd name="connsiteX431" fmla="*/ 3100 w 10000"/>
                <a:gd name="connsiteY431" fmla="*/ 3057 h 10000"/>
                <a:gd name="connsiteX432" fmla="*/ 3081 w 10000"/>
                <a:gd name="connsiteY432" fmla="*/ 2962 h 10000"/>
                <a:gd name="connsiteX433" fmla="*/ 3064 w 10000"/>
                <a:gd name="connsiteY433" fmla="*/ 2857 h 10000"/>
                <a:gd name="connsiteX434" fmla="*/ 3051 w 10000"/>
                <a:gd name="connsiteY434" fmla="*/ 2745 h 10000"/>
                <a:gd name="connsiteX435" fmla="*/ 3046 w 10000"/>
                <a:gd name="connsiteY435" fmla="*/ 2631 h 10000"/>
                <a:gd name="connsiteX436" fmla="*/ 3046 w 10000"/>
                <a:gd name="connsiteY436" fmla="*/ 2507 h 10000"/>
                <a:gd name="connsiteX437" fmla="*/ 3054 w 10000"/>
                <a:gd name="connsiteY437" fmla="*/ 2381 h 10000"/>
                <a:gd name="connsiteX438" fmla="*/ 3070 w 10000"/>
                <a:gd name="connsiteY438" fmla="*/ 2251 h 10000"/>
                <a:gd name="connsiteX439" fmla="*/ 3097 w 10000"/>
                <a:gd name="connsiteY439" fmla="*/ 2117 h 10000"/>
                <a:gd name="connsiteX440" fmla="*/ 3136 w 10000"/>
                <a:gd name="connsiteY440" fmla="*/ 1982 h 10000"/>
                <a:gd name="connsiteX441" fmla="*/ 3187 w 10000"/>
                <a:gd name="connsiteY441" fmla="*/ 1848 h 10000"/>
                <a:gd name="connsiteX442" fmla="*/ 3255 w 10000"/>
                <a:gd name="connsiteY442" fmla="*/ 1709 h 10000"/>
                <a:gd name="connsiteX443" fmla="*/ 3333 w 10000"/>
                <a:gd name="connsiteY443" fmla="*/ 1575 h 10000"/>
                <a:gd name="connsiteX444" fmla="*/ 3431 w 10000"/>
                <a:gd name="connsiteY444" fmla="*/ 1441 h 10000"/>
                <a:gd name="connsiteX445" fmla="*/ 3545 w 10000"/>
                <a:gd name="connsiteY445" fmla="*/ 1306 h 10000"/>
                <a:gd name="connsiteX446" fmla="*/ 3680 w 10000"/>
                <a:gd name="connsiteY446" fmla="*/ 1174 h 10000"/>
                <a:gd name="connsiteX447" fmla="*/ 3684 w 10000"/>
                <a:gd name="connsiteY447" fmla="*/ 1172 h 10000"/>
                <a:gd name="connsiteX448" fmla="*/ 3703 w 10000"/>
                <a:gd name="connsiteY448" fmla="*/ 1155 h 10000"/>
                <a:gd name="connsiteX449" fmla="*/ 3733 w 10000"/>
                <a:gd name="connsiteY449" fmla="*/ 1131 h 10000"/>
                <a:gd name="connsiteX450" fmla="*/ 3776 w 10000"/>
                <a:gd name="connsiteY450" fmla="*/ 1100 h 10000"/>
                <a:gd name="connsiteX451" fmla="*/ 3824 w 10000"/>
                <a:gd name="connsiteY451" fmla="*/ 1064 h 10000"/>
                <a:gd name="connsiteX452" fmla="*/ 3885 w 10000"/>
                <a:gd name="connsiteY452" fmla="*/ 1025 h 10000"/>
                <a:gd name="connsiteX453" fmla="*/ 3955 w 10000"/>
                <a:gd name="connsiteY453" fmla="*/ 982 h 10000"/>
                <a:gd name="connsiteX454" fmla="*/ 4031 w 10000"/>
                <a:gd name="connsiteY454" fmla="*/ 938 h 10000"/>
                <a:gd name="connsiteX455" fmla="*/ 4112 w 10000"/>
                <a:gd name="connsiteY455" fmla="*/ 899 h 10000"/>
                <a:gd name="connsiteX456" fmla="*/ 4200 w 10000"/>
                <a:gd name="connsiteY456" fmla="*/ 858 h 10000"/>
                <a:gd name="connsiteX457" fmla="*/ 4291 w 10000"/>
                <a:gd name="connsiteY457" fmla="*/ 823 h 10000"/>
                <a:gd name="connsiteX458" fmla="*/ 4387 w 10000"/>
                <a:gd name="connsiteY458" fmla="*/ 796 h 10000"/>
                <a:gd name="connsiteX459" fmla="*/ 4489 w 10000"/>
                <a:gd name="connsiteY459" fmla="*/ 771 h 10000"/>
                <a:gd name="connsiteX460" fmla="*/ 4479 w 10000"/>
                <a:gd name="connsiteY460" fmla="*/ 0 h 10000"/>
                <a:gd name="connsiteX0" fmla="*/ 4479 w 10000"/>
                <a:gd name="connsiteY0" fmla="*/ 0 h 9959"/>
                <a:gd name="connsiteX1" fmla="*/ 5500 w 10000"/>
                <a:gd name="connsiteY1" fmla="*/ 0 h 9959"/>
                <a:gd name="connsiteX2" fmla="*/ 5500 w 10000"/>
                <a:gd name="connsiteY2" fmla="*/ 688 h 9959"/>
                <a:gd name="connsiteX3" fmla="*/ 5510 w 10000"/>
                <a:gd name="connsiteY3" fmla="*/ 692 h 9959"/>
                <a:gd name="connsiteX4" fmla="*/ 5540 w 10000"/>
                <a:gd name="connsiteY4" fmla="*/ 692 h 9959"/>
                <a:gd name="connsiteX5" fmla="*/ 5587 w 10000"/>
                <a:gd name="connsiteY5" fmla="*/ 697 h 9959"/>
                <a:gd name="connsiteX6" fmla="*/ 5651 w 10000"/>
                <a:gd name="connsiteY6" fmla="*/ 705 h 9959"/>
                <a:gd name="connsiteX7" fmla="*/ 5730 w 10000"/>
                <a:gd name="connsiteY7" fmla="*/ 713 h 9959"/>
                <a:gd name="connsiteX8" fmla="*/ 5819 w 10000"/>
                <a:gd name="connsiteY8" fmla="*/ 723 h 9959"/>
                <a:gd name="connsiteX9" fmla="*/ 5915 w 10000"/>
                <a:gd name="connsiteY9" fmla="*/ 744 h 9959"/>
                <a:gd name="connsiteX10" fmla="*/ 6018 w 10000"/>
                <a:gd name="connsiteY10" fmla="*/ 763 h 9959"/>
                <a:gd name="connsiteX11" fmla="*/ 6127 w 10000"/>
                <a:gd name="connsiteY11" fmla="*/ 792 h 9959"/>
                <a:gd name="connsiteX12" fmla="*/ 6240 w 10000"/>
                <a:gd name="connsiteY12" fmla="*/ 819 h 9959"/>
                <a:gd name="connsiteX13" fmla="*/ 6349 w 10000"/>
                <a:gd name="connsiteY13" fmla="*/ 858 h 9959"/>
                <a:gd name="connsiteX14" fmla="*/ 6458 w 10000"/>
                <a:gd name="connsiteY14" fmla="*/ 901 h 9959"/>
                <a:gd name="connsiteX15" fmla="*/ 6564 w 10000"/>
                <a:gd name="connsiteY15" fmla="*/ 953 h 9959"/>
                <a:gd name="connsiteX16" fmla="*/ 6661 w 10000"/>
                <a:gd name="connsiteY16" fmla="*/ 1009 h 9959"/>
                <a:gd name="connsiteX17" fmla="*/ 6751 w 10000"/>
                <a:gd name="connsiteY17" fmla="*/ 1077 h 9959"/>
                <a:gd name="connsiteX18" fmla="*/ 6463 w 10000"/>
                <a:gd name="connsiteY18" fmla="*/ 2398 h 9959"/>
                <a:gd name="connsiteX19" fmla="*/ 6455 w 10000"/>
                <a:gd name="connsiteY19" fmla="*/ 2394 h 9959"/>
                <a:gd name="connsiteX20" fmla="*/ 6433 w 10000"/>
                <a:gd name="connsiteY20" fmla="*/ 2377 h 9959"/>
                <a:gd name="connsiteX21" fmla="*/ 6396 w 10000"/>
                <a:gd name="connsiteY21" fmla="*/ 2358 h 9959"/>
                <a:gd name="connsiteX22" fmla="*/ 6349 w 10000"/>
                <a:gd name="connsiteY22" fmla="*/ 2329 h 9959"/>
                <a:gd name="connsiteX23" fmla="*/ 6286 w 10000"/>
                <a:gd name="connsiteY23" fmla="*/ 2298 h 9959"/>
                <a:gd name="connsiteX24" fmla="*/ 6214 w 10000"/>
                <a:gd name="connsiteY24" fmla="*/ 2267 h 9959"/>
                <a:gd name="connsiteX25" fmla="*/ 6134 w 10000"/>
                <a:gd name="connsiteY25" fmla="*/ 2228 h 9959"/>
                <a:gd name="connsiteX26" fmla="*/ 6039 w 10000"/>
                <a:gd name="connsiteY26" fmla="*/ 2191 h 9959"/>
                <a:gd name="connsiteX27" fmla="*/ 5942 w 10000"/>
                <a:gd name="connsiteY27" fmla="*/ 2156 h 9959"/>
                <a:gd name="connsiteX28" fmla="*/ 5833 w 10000"/>
                <a:gd name="connsiteY28" fmla="*/ 2121 h 9959"/>
                <a:gd name="connsiteX29" fmla="*/ 5722 w 10000"/>
                <a:gd name="connsiteY29" fmla="*/ 2092 h 9959"/>
                <a:gd name="connsiteX30" fmla="*/ 5603 w 10000"/>
                <a:gd name="connsiteY30" fmla="*/ 2065 h 9959"/>
                <a:gd name="connsiteX31" fmla="*/ 5478 w 10000"/>
                <a:gd name="connsiteY31" fmla="*/ 2044 h 9959"/>
                <a:gd name="connsiteX32" fmla="*/ 5351 w 10000"/>
                <a:gd name="connsiteY32" fmla="*/ 2034 h 9959"/>
                <a:gd name="connsiteX33" fmla="*/ 5225 w 10000"/>
                <a:gd name="connsiteY33" fmla="*/ 2034 h 9959"/>
                <a:gd name="connsiteX34" fmla="*/ 5090 w 10000"/>
                <a:gd name="connsiteY34" fmla="*/ 2042 h 9959"/>
                <a:gd name="connsiteX35" fmla="*/ 4960 w 10000"/>
                <a:gd name="connsiteY35" fmla="*/ 2061 h 9959"/>
                <a:gd name="connsiteX36" fmla="*/ 4827 w 10000"/>
                <a:gd name="connsiteY36" fmla="*/ 2092 h 9959"/>
                <a:gd name="connsiteX37" fmla="*/ 4698 w 10000"/>
                <a:gd name="connsiteY37" fmla="*/ 2139 h 9959"/>
                <a:gd name="connsiteX38" fmla="*/ 4694 w 10000"/>
                <a:gd name="connsiteY38" fmla="*/ 2143 h 9959"/>
                <a:gd name="connsiteX39" fmla="*/ 4682 w 10000"/>
                <a:gd name="connsiteY39" fmla="*/ 2152 h 9959"/>
                <a:gd name="connsiteX40" fmla="*/ 4666 w 10000"/>
                <a:gd name="connsiteY40" fmla="*/ 2168 h 9959"/>
                <a:gd name="connsiteX41" fmla="*/ 4645 w 10000"/>
                <a:gd name="connsiteY41" fmla="*/ 2191 h 9959"/>
                <a:gd name="connsiteX42" fmla="*/ 4622 w 10000"/>
                <a:gd name="connsiteY42" fmla="*/ 2216 h 9959"/>
                <a:gd name="connsiteX43" fmla="*/ 4599 w 10000"/>
                <a:gd name="connsiteY43" fmla="*/ 2247 h 9959"/>
                <a:gd name="connsiteX44" fmla="*/ 4576 w 10000"/>
                <a:gd name="connsiteY44" fmla="*/ 2282 h 9959"/>
                <a:gd name="connsiteX45" fmla="*/ 4558 w 10000"/>
                <a:gd name="connsiteY45" fmla="*/ 2325 h 9959"/>
                <a:gd name="connsiteX46" fmla="*/ 4542 w 10000"/>
                <a:gd name="connsiteY46" fmla="*/ 2369 h 9959"/>
                <a:gd name="connsiteX47" fmla="*/ 4533 w 10000"/>
                <a:gd name="connsiteY47" fmla="*/ 2416 h 9959"/>
                <a:gd name="connsiteX48" fmla="*/ 4533 w 10000"/>
                <a:gd name="connsiteY48" fmla="*/ 2468 h 9959"/>
                <a:gd name="connsiteX49" fmla="*/ 4542 w 10000"/>
                <a:gd name="connsiteY49" fmla="*/ 2520 h 9959"/>
                <a:gd name="connsiteX50" fmla="*/ 4560 w 10000"/>
                <a:gd name="connsiteY50" fmla="*/ 2575 h 9959"/>
                <a:gd name="connsiteX51" fmla="*/ 4595 w 10000"/>
                <a:gd name="connsiteY51" fmla="*/ 2635 h 9959"/>
                <a:gd name="connsiteX52" fmla="*/ 4639 w 10000"/>
                <a:gd name="connsiteY52" fmla="*/ 2693 h 9959"/>
                <a:gd name="connsiteX53" fmla="*/ 4701 w 10000"/>
                <a:gd name="connsiteY53" fmla="*/ 2753 h 9959"/>
                <a:gd name="connsiteX54" fmla="*/ 4782 w 10000"/>
                <a:gd name="connsiteY54" fmla="*/ 2817 h 9959"/>
                <a:gd name="connsiteX55" fmla="*/ 4878 w 10000"/>
                <a:gd name="connsiteY55" fmla="*/ 2875 h 9959"/>
                <a:gd name="connsiteX56" fmla="*/ 5000 w 10000"/>
                <a:gd name="connsiteY56" fmla="*/ 2939 h 9959"/>
                <a:gd name="connsiteX57" fmla="*/ 5009 w 10000"/>
                <a:gd name="connsiteY57" fmla="*/ 2943 h 9959"/>
                <a:gd name="connsiteX58" fmla="*/ 5036 w 10000"/>
                <a:gd name="connsiteY58" fmla="*/ 2952 h 9959"/>
                <a:gd name="connsiteX59" fmla="*/ 5076 w 10000"/>
                <a:gd name="connsiteY59" fmla="*/ 2966 h 9959"/>
                <a:gd name="connsiteX60" fmla="*/ 5133 w 10000"/>
                <a:gd name="connsiteY60" fmla="*/ 2987 h 9959"/>
                <a:gd name="connsiteX61" fmla="*/ 5199 w 10000"/>
                <a:gd name="connsiteY61" fmla="*/ 3010 h 9959"/>
                <a:gd name="connsiteX62" fmla="*/ 5279 w 10000"/>
                <a:gd name="connsiteY62" fmla="*/ 3043 h 9959"/>
                <a:gd name="connsiteX63" fmla="*/ 5370 w 10000"/>
                <a:gd name="connsiteY63" fmla="*/ 3082 h 9959"/>
                <a:gd name="connsiteX64" fmla="*/ 5467 w 10000"/>
                <a:gd name="connsiteY64" fmla="*/ 3121 h 9959"/>
                <a:gd name="connsiteX65" fmla="*/ 5570 w 10000"/>
                <a:gd name="connsiteY65" fmla="*/ 3173 h 9959"/>
                <a:gd name="connsiteX66" fmla="*/ 5679 w 10000"/>
                <a:gd name="connsiteY66" fmla="*/ 3229 h 9959"/>
                <a:gd name="connsiteX67" fmla="*/ 5793 w 10000"/>
                <a:gd name="connsiteY67" fmla="*/ 3286 h 9959"/>
                <a:gd name="connsiteX68" fmla="*/ 5909 w 10000"/>
                <a:gd name="connsiteY68" fmla="*/ 3355 h 9959"/>
                <a:gd name="connsiteX69" fmla="*/ 6028 w 10000"/>
                <a:gd name="connsiteY69" fmla="*/ 3425 h 9959"/>
                <a:gd name="connsiteX70" fmla="*/ 6143 w 10000"/>
                <a:gd name="connsiteY70" fmla="*/ 3501 h 9959"/>
                <a:gd name="connsiteX71" fmla="*/ 6257 w 10000"/>
                <a:gd name="connsiteY71" fmla="*/ 3584 h 9959"/>
                <a:gd name="connsiteX72" fmla="*/ 6370 w 10000"/>
                <a:gd name="connsiteY72" fmla="*/ 3675 h 9959"/>
                <a:gd name="connsiteX73" fmla="*/ 6476 w 10000"/>
                <a:gd name="connsiteY73" fmla="*/ 3770 h 9959"/>
                <a:gd name="connsiteX74" fmla="*/ 6575 w 10000"/>
                <a:gd name="connsiteY74" fmla="*/ 3869 h 9959"/>
                <a:gd name="connsiteX75" fmla="*/ 6670 w 10000"/>
                <a:gd name="connsiteY75" fmla="*/ 3975 h 9959"/>
                <a:gd name="connsiteX76" fmla="*/ 6751 w 10000"/>
                <a:gd name="connsiteY76" fmla="*/ 4091 h 9959"/>
                <a:gd name="connsiteX77" fmla="*/ 6824 w 10000"/>
                <a:gd name="connsiteY77" fmla="*/ 4208 h 9959"/>
                <a:gd name="connsiteX78" fmla="*/ 6887 w 10000"/>
                <a:gd name="connsiteY78" fmla="*/ 4332 h 9959"/>
                <a:gd name="connsiteX79" fmla="*/ 6933 w 10000"/>
                <a:gd name="connsiteY79" fmla="*/ 4463 h 9959"/>
                <a:gd name="connsiteX80" fmla="*/ 6966 w 10000"/>
                <a:gd name="connsiteY80" fmla="*/ 4597 h 9959"/>
                <a:gd name="connsiteX81" fmla="*/ 6982 w 10000"/>
                <a:gd name="connsiteY81" fmla="*/ 4740 h 9959"/>
                <a:gd name="connsiteX82" fmla="*/ 7491 w 10000"/>
                <a:gd name="connsiteY82" fmla="*/ 3702 h 9959"/>
                <a:gd name="connsiteX83" fmla="*/ 8292 w 10000"/>
                <a:gd name="connsiteY83" fmla="*/ 4427 h 9959"/>
                <a:gd name="connsiteX84" fmla="*/ 9606 w 10000"/>
                <a:gd name="connsiteY84" fmla="*/ 2369 h 9959"/>
                <a:gd name="connsiteX85" fmla="*/ 9473 w 10000"/>
                <a:gd name="connsiteY85" fmla="*/ 2203 h 9959"/>
                <a:gd name="connsiteX86" fmla="*/ 10000 w 10000"/>
                <a:gd name="connsiteY86" fmla="*/ 1891 h 9959"/>
                <a:gd name="connsiteX87" fmla="*/ 9894 w 10000"/>
                <a:gd name="connsiteY87" fmla="*/ 2654 h 9959"/>
                <a:gd name="connsiteX88" fmla="*/ 9745 w 10000"/>
                <a:gd name="connsiteY88" fmla="*/ 2516 h 9959"/>
                <a:gd name="connsiteX89" fmla="*/ 8306 w 10000"/>
                <a:gd name="connsiteY89" fmla="*/ 4711 h 9959"/>
                <a:gd name="connsiteX90" fmla="*/ 7524 w 10000"/>
                <a:gd name="connsiteY90" fmla="*/ 4022 h 9959"/>
                <a:gd name="connsiteX91" fmla="*/ 6837 w 10000"/>
                <a:gd name="connsiteY91" fmla="*/ 5566 h 9959"/>
                <a:gd name="connsiteX92" fmla="*/ 6837 w 10000"/>
                <a:gd name="connsiteY92" fmla="*/ 5550 h 9959"/>
                <a:gd name="connsiteX93" fmla="*/ 6837 w 10000"/>
                <a:gd name="connsiteY93" fmla="*/ 5515 h 9959"/>
                <a:gd name="connsiteX94" fmla="*/ 6837 w 10000"/>
                <a:gd name="connsiteY94" fmla="*/ 5451 h 9959"/>
                <a:gd name="connsiteX95" fmla="*/ 6833 w 10000"/>
                <a:gd name="connsiteY95" fmla="*/ 5376 h 9959"/>
                <a:gd name="connsiteX96" fmla="*/ 6830 w 10000"/>
                <a:gd name="connsiteY96" fmla="*/ 5281 h 9959"/>
                <a:gd name="connsiteX97" fmla="*/ 6827 w 10000"/>
                <a:gd name="connsiteY97" fmla="*/ 5178 h 9959"/>
                <a:gd name="connsiteX98" fmla="*/ 6818 w 10000"/>
                <a:gd name="connsiteY98" fmla="*/ 5068 h 9959"/>
                <a:gd name="connsiteX99" fmla="*/ 6810 w 10000"/>
                <a:gd name="connsiteY99" fmla="*/ 4952 h 9959"/>
                <a:gd name="connsiteX100" fmla="*/ 6797 w 10000"/>
                <a:gd name="connsiteY100" fmla="*/ 4839 h 9959"/>
                <a:gd name="connsiteX101" fmla="*/ 6778 w 10000"/>
                <a:gd name="connsiteY101" fmla="*/ 4723 h 9959"/>
                <a:gd name="connsiteX102" fmla="*/ 6761 w 10000"/>
                <a:gd name="connsiteY102" fmla="*/ 4616 h 9959"/>
                <a:gd name="connsiteX103" fmla="*/ 6734 w 10000"/>
                <a:gd name="connsiteY103" fmla="*/ 4520 h 9959"/>
                <a:gd name="connsiteX104" fmla="*/ 6704 w 10000"/>
                <a:gd name="connsiteY104" fmla="*/ 4438 h 9959"/>
                <a:gd name="connsiteX105" fmla="*/ 6667 w 10000"/>
                <a:gd name="connsiteY105" fmla="*/ 4372 h 9959"/>
                <a:gd name="connsiteX106" fmla="*/ 6664 w 10000"/>
                <a:gd name="connsiteY106" fmla="*/ 4363 h 9959"/>
                <a:gd name="connsiteX107" fmla="*/ 6648 w 10000"/>
                <a:gd name="connsiteY107" fmla="*/ 4339 h 9959"/>
                <a:gd name="connsiteX108" fmla="*/ 6624 w 10000"/>
                <a:gd name="connsiteY108" fmla="*/ 4299 h 9959"/>
                <a:gd name="connsiteX109" fmla="*/ 6591 w 10000"/>
                <a:gd name="connsiteY109" fmla="*/ 4248 h 9959"/>
                <a:gd name="connsiteX110" fmla="*/ 6542 w 10000"/>
                <a:gd name="connsiteY110" fmla="*/ 4186 h 9959"/>
                <a:gd name="connsiteX111" fmla="*/ 6485 w 10000"/>
                <a:gd name="connsiteY111" fmla="*/ 4113 h 9959"/>
                <a:gd name="connsiteX112" fmla="*/ 6412 w 10000"/>
                <a:gd name="connsiteY112" fmla="*/ 4035 h 9959"/>
                <a:gd name="connsiteX113" fmla="*/ 6324 w 10000"/>
                <a:gd name="connsiteY113" fmla="*/ 3948 h 9959"/>
                <a:gd name="connsiteX114" fmla="*/ 6221 w 10000"/>
                <a:gd name="connsiteY114" fmla="*/ 3861 h 9959"/>
                <a:gd name="connsiteX115" fmla="*/ 6104 w 10000"/>
                <a:gd name="connsiteY115" fmla="*/ 3766 h 9959"/>
                <a:gd name="connsiteX116" fmla="*/ 5969 w 10000"/>
                <a:gd name="connsiteY116" fmla="*/ 3675 h 9959"/>
                <a:gd name="connsiteX117" fmla="*/ 5815 w 10000"/>
                <a:gd name="connsiteY117" fmla="*/ 3580 h 9959"/>
                <a:gd name="connsiteX118" fmla="*/ 5806 w 10000"/>
                <a:gd name="connsiteY118" fmla="*/ 3580 h 9959"/>
                <a:gd name="connsiteX119" fmla="*/ 5782 w 10000"/>
                <a:gd name="connsiteY119" fmla="*/ 3568 h 9959"/>
                <a:gd name="connsiteX120" fmla="*/ 5743 w 10000"/>
                <a:gd name="connsiteY120" fmla="*/ 3553 h 9959"/>
                <a:gd name="connsiteX121" fmla="*/ 5690 w 10000"/>
                <a:gd name="connsiteY121" fmla="*/ 3532 h 9959"/>
                <a:gd name="connsiteX122" fmla="*/ 5627 w 10000"/>
                <a:gd name="connsiteY122" fmla="*/ 3510 h 9959"/>
                <a:gd name="connsiteX123" fmla="*/ 5554 w 10000"/>
                <a:gd name="connsiteY123" fmla="*/ 3477 h 9959"/>
                <a:gd name="connsiteX124" fmla="*/ 5473 w 10000"/>
                <a:gd name="connsiteY124" fmla="*/ 3446 h 9959"/>
                <a:gd name="connsiteX125" fmla="*/ 5388 w 10000"/>
                <a:gd name="connsiteY125" fmla="*/ 3406 h 9959"/>
                <a:gd name="connsiteX126" fmla="*/ 5294 w 10000"/>
                <a:gd name="connsiteY126" fmla="*/ 3367 h 9959"/>
                <a:gd name="connsiteX127" fmla="*/ 5199 w 10000"/>
                <a:gd name="connsiteY127" fmla="*/ 3324 h 9959"/>
                <a:gd name="connsiteX128" fmla="*/ 5106 w 10000"/>
                <a:gd name="connsiteY128" fmla="*/ 3276 h 9959"/>
                <a:gd name="connsiteX129" fmla="*/ 5009 w 10000"/>
                <a:gd name="connsiteY129" fmla="*/ 3229 h 9959"/>
                <a:gd name="connsiteX130" fmla="*/ 4915 w 10000"/>
                <a:gd name="connsiteY130" fmla="*/ 3177 h 9959"/>
                <a:gd name="connsiteX131" fmla="*/ 4827 w 10000"/>
                <a:gd name="connsiteY131" fmla="*/ 3125 h 9959"/>
                <a:gd name="connsiteX132" fmla="*/ 4742 w 10000"/>
                <a:gd name="connsiteY132" fmla="*/ 3074 h 9959"/>
                <a:gd name="connsiteX133" fmla="*/ 4664 w 10000"/>
                <a:gd name="connsiteY133" fmla="*/ 3022 h 9959"/>
                <a:gd name="connsiteX134" fmla="*/ 4596 w 10000"/>
                <a:gd name="connsiteY134" fmla="*/ 2970 h 9959"/>
                <a:gd name="connsiteX135" fmla="*/ 4536 w 10000"/>
                <a:gd name="connsiteY135" fmla="*/ 2919 h 9959"/>
                <a:gd name="connsiteX136" fmla="*/ 4490 w 10000"/>
                <a:gd name="connsiteY136" fmla="*/ 2869 h 9959"/>
                <a:gd name="connsiteX137" fmla="*/ 4457 w 10000"/>
                <a:gd name="connsiteY137" fmla="*/ 2821 h 9959"/>
                <a:gd name="connsiteX138" fmla="*/ 4457 w 10000"/>
                <a:gd name="connsiteY138" fmla="*/ 2817 h 9959"/>
                <a:gd name="connsiteX139" fmla="*/ 4449 w 10000"/>
                <a:gd name="connsiteY139" fmla="*/ 2801 h 9959"/>
                <a:gd name="connsiteX140" fmla="*/ 4440 w 10000"/>
                <a:gd name="connsiteY140" fmla="*/ 2780 h 9959"/>
                <a:gd name="connsiteX141" fmla="*/ 4427 w 10000"/>
                <a:gd name="connsiteY141" fmla="*/ 2753 h 9959"/>
                <a:gd name="connsiteX142" fmla="*/ 4413 w 10000"/>
                <a:gd name="connsiteY142" fmla="*/ 2718 h 9959"/>
                <a:gd name="connsiteX143" fmla="*/ 4400 w 10000"/>
                <a:gd name="connsiteY143" fmla="*/ 2679 h 9959"/>
                <a:gd name="connsiteX144" fmla="*/ 4384 w 10000"/>
                <a:gd name="connsiteY144" fmla="*/ 2635 h 9959"/>
                <a:gd name="connsiteX145" fmla="*/ 4373 w 10000"/>
                <a:gd name="connsiteY145" fmla="*/ 2584 h 9959"/>
                <a:gd name="connsiteX146" fmla="*/ 4360 w 10000"/>
                <a:gd name="connsiteY146" fmla="*/ 2532 h 9959"/>
                <a:gd name="connsiteX147" fmla="*/ 4351 w 10000"/>
                <a:gd name="connsiteY147" fmla="*/ 2476 h 9959"/>
                <a:gd name="connsiteX148" fmla="*/ 4349 w 10000"/>
                <a:gd name="connsiteY148" fmla="*/ 2416 h 9959"/>
                <a:gd name="connsiteX149" fmla="*/ 4349 w 10000"/>
                <a:gd name="connsiteY149" fmla="*/ 2358 h 9959"/>
                <a:gd name="connsiteX150" fmla="*/ 4351 w 10000"/>
                <a:gd name="connsiteY150" fmla="*/ 2298 h 9959"/>
                <a:gd name="connsiteX151" fmla="*/ 4364 w 10000"/>
                <a:gd name="connsiteY151" fmla="*/ 2239 h 9959"/>
                <a:gd name="connsiteX152" fmla="*/ 4384 w 10000"/>
                <a:gd name="connsiteY152" fmla="*/ 2181 h 9959"/>
                <a:gd name="connsiteX153" fmla="*/ 4413 w 10000"/>
                <a:gd name="connsiteY153" fmla="*/ 2121 h 9959"/>
                <a:gd name="connsiteX154" fmla="*/ 4449 w 10000"/>
                <a:gd name="connsiteY154" fmla="*/ 2065 h 9959"/>
                <a:gd name="connsiteX155" fmla="*/ 4493 w 10000"/>
                <a:gd name="connsiteY155" fmla="*/ 2013 h 9959"/>
                <a:gd name="connsiteX156" fmla="*/ 4552 w 10000"/>
                <a:gd name="connsiteY156" fmla="*/ 1962 h 9959"/>
                <a:gd name="connsiteX157" fmla="*/ 4618 w 10000"/>
                <a:gd name="connsiteY157" fmla="*/ 1918 h 9959"/>
                <a:gd name="connsiteX158" fmla="*/ 4701 w 10000"/>
                <a:gd name="connsiteY158" fmla="*/ 1879 h 9959"/>
                <a:gd name="connsiteX159" fmla="*/ 4797 w 10000"/>
                <a:gd name="connsiteY159" fmla="*/ 1844 h 9959"/>
                <a:gd name="connsiteX160" fmla="*/ 4903 w 10000"/>
                <a:gd name="connsiteY160" fmla="*/ 1815 h 9959"/>
                <a:gd name="connsiteX161" fmla="*/ 5027 w 10000"/>
                <a:gd name="connsiteY161" fmla="*/ 1796 h 9959"/>
                <a:gd name="connsiteX162" fmla="*/ 5169 w 10000"/>
                <a:gd name="connsiteY162" fmla="*/ 1784 h 9959"/>
                <a:gd name="connsiteX163" fmla="*/ 5179 w 10000"/>
                <a:gd name="connsiteY163" fmla="*/ 1784 h 9959"/>
                <a:gd name="connsiteX164" fmla="*/ 5209 w 10000"/>
                <a:gd name="connsiteY164" fmla="*/ 1784 h 9959"/>
                <a:gd name="connsiteX165" fmla="*/ 5255 w 10000"/>
                <a:gd name="connsiteY165" fmla="*/ 1788 h 9959"/>
                <a:gd name="connsiteX166" fmla="*/ 5312 w 10000"/>
                <a:gd name="connsiteY166" fmla="*/ 1792 h 9959"/>
                <a:gd name="connsiteX167" fmla="*/ 5385 w 10000"/>
                <a:gd name="connsiteY167" fmla="*/ 1800 h 9959"/>
                <a:gd name="connsiteX168" fmla="*/ 5467 w 10000"/>
                <a:gd name="connsiteY168" fmla="*/ 1809 h 9959"/>
                <a:gd name="connsiteX169" fmla="*/ 5557 w 10000"/>
                <a:gd name="connsiteY169" fmla="*/ 1819 h 9959"/>
                <a:gd name="connsiteX170" fmla="*/ 5651 w 10000"/>
                <a:gd name="connsiteY170" fmla="*/ 1835 h 9959"/>
                <a:gd name="connsiteX171" fmla="*/ 5749 w 10000"/>
                <a:gd name="connsiteY171" fmla="*/ 1852 h 9959"/>
                <a:gd name="connsiteX172" fmla="*/ 5849 w 10000"/>
                <a:gd name="connsiteY172" fmla="*/ 1871 h 9959"/>
                <a:gd name="connsiteX173" fmla="*/ 5945 w 10000"/>
                <a:gd name="connsiteY173" fmla="*/ 1900 h 9959"/>
                <a:gd name="connsiteX174" fmla="*/ 6039 w 10000"/>
                <a:gd name="connsiteY174" fmla="*/ 1926 h 9959"/>
                <a:gd name="connsiteX175" fmla="*/ 6124 w 10000"/>
                <a:gd name="connsiteY175" fmla="*/ 1957 h 9959"/>
                <a:gd name="connsiteX176" fmla="*/ 6206 w 10000"/>
                <a:gd name="connsiteY176" fmla="*/ 1999 h 9959"/>
                <a:gd name="connsiteX177" fmla="*/ 6273 w 10000"/>
                <a:gd name="connsiteY177" fmla="*/ 2038 h 9959"/>
                <a:gd name="connsiteX178" fmla="*/ 6330 w 10000"/>
                <a:gd name="connsiteY178" fmla="*/ 2086 h 9959"/>
                <a:gd name="connsiteX179" fmla="*/ 6528 w 10000"/>
                <a:gd name="connsiteY179" fmla="*/ 1203 h 9959"/>
                <a:gd name="connsiteX180" fmla="*/ 6518 w 10000"/>
                <a:gd name="connsiteY180" fmla="*/ 1203 h 9959"/>
                <a:gd name="connsiteX181" fmla="*/ 6495 w 10000"/>
                <a:gd name="connsiteY181" fmla="*/ 1195 h 9959"/>
                <a:gd name="connsiteX182" fmla="*/ 6458 w 10000"/>
                <a:gd name="connsiteY182" fmla="*/ 1178 h 9959"/>
                <a:gd name="connsiteX183" fmla="*/ 6406 w 10000"/>
                <a:gd name="connsiteY183" fmla="*/ 1164 h 9959"/>
                <a:gd name="connsiteX184" fmla="*/ 6346 w 10000"/>
                <a:gd name="connsiteY184" fmla="*/ 1143 h 9959"/>
                <a:gd name="connsiteX185" fmla="*/ 6276 w 10000"/>
                <a:gd name="connsiteY185" fmla="*/ 1120 h 9959"/>
                <a:gd name="connsiteX186" fmla="*/ 6197 w 10000"/>
                <a:gd name="connsiteY186" fmla="*/ 1095 h 9959"/>
                <a:gd name="connsiteX187" fmla="*/ 6115 w 10000"/>
                <a:gd name="connsiteY187" fmla="*/ 1073 h 9959"/>
                <a:gd name="connsiteX188" fmla="*/ 6024 w 10000"/>
                <a:gd name="connsiteY188" fmla="*/ 1044 h 9959"/>
                <a:gd name="connsiteX189" fmla="*/ 5933 w 10000"/>
                <a:gd name="connsiteY189" fmla="*/ 1021 h 9959"/>
                <a:gd name="connsiteX190" fmla="*/ 5839 w 10000"/>
                <a:gd name="connsiteY190" fmla="*/ 996 h 9959"/>
                <a:gd name="connsiteX191" fmla="*/ 5746 w 10000"/>
                <a:gd name="connsiteY191" fmla="*/ 974 h 9959"/>
                <a:gd name="connsiteX192" fmla="*/ 5651 w 10000"/>
                <a:gd name="connsiteY192" fmla="*/ 957 h 9959"/>
                <a:gd name="connsiteX193" fmla="*/ 5560 w 10000"/>
                <a:gd name="connsiteY193" fmla="*/ 943 h 9959"/>
                <a:gd name="connsiteX194" fmla="*/ 5475 w 10000"/>
                <a:gd name="connsiteY194" fmla="*/ 930 h 9959"/>
                <a:gd name="connsiteX195" fmla="*/ 5397 w 10000"/>
                <a:gd name="connsiteY195" fmla="*/ 922 h 9959"/>
                <a:gd name="connsiteX196" fmla="*/ 5325 w 10000"/>
                <a:gd name="connsiteY196" fmla="*/ 918 h 9959"/>
                <a:gd name="connsiteX197" fmla="*/ 5309 w 10000"/>
                <a:gd name="connsiteY197" fmla="*/ 250 h 9959"/>
                <a:gd name="connsiteX198" fmla="*/ 4664 w 10000"/>
                <a:gd name="connsiteY198" fmla="*/ 256 h 9959"/>
                <a:gd name="connsiteX199" fmla="*/ 4664 w 10000"/>
                <a:gd name="connsiteY199" fmla="*/ 974 h 9959"/>
                <a:gd name="connsiteX200" fmla="*/ 4655 w 10000"/>
                <a:gd name="connsiteY200" fmla="*/ 978 h 9959"/>
                <a:gd name="connsiteX201" fmla="*/ 4633 w 10000"/>
                <a:gd name="connsiteY201" fmla="*/ 982 h 9959"/>
                <a:gd name="connsiteX202" fmla="*/ 4596 w 10000"/>
                <a:gd name="connsiteY202" fmla="*/ 990 h 9959"/>
                <a:gd name="connsiteX203" fmla="*/ 4552 w 10000"/>
                <a:gd name="connsiteY203" fmla="*/ 996 h 9959"/>
                <a:gd name="connsiteX204" fmla="*/ 4493 w 10000"/>
                <a:gd name="connsiteY204" fmla="*/ 1013 h 9959"/>
                <a:gd name="connsiteX205" fmla="*/ 4430 w 10000"/>
                <a:gd name="connsiteY205" fmla="*/ 1033 h 9959"/>
                <a:gd name="connsiteX206" fmla="*/ 4354 w 10000"/>
                <a:gd name="connsiteY206" fmla="*/ 1060 h 9959"/>
                <a:gd name="connsiteX207" fmla="*/ 4276 w 10000"/>
                <a:gd name="connsiteY207" fmla="*/ 1091 h 9959"/>
                <a:gd name="connsiteX208" fmla="*/ 4191 w 10000"/>
                <a:gd name="connsiteY208" fmla="*/ 1131 h 9959"/>
                <a:gd name="connsiteX209" fmla="*/ 4102 w 10000"/>
                <a:gd name="connsiteY209" fmla="*/ 1174 h 9959"/>
                <a:gd name="connsiteX210" fmla="*/ 4012 w 10000"/>
                <a:gd name="connsiteY210" fmla="*/ 1230 h 9959"/>
                <a:gd name="connsiteX211" fmla="*/ 3922 w 10000"/>
                <a:gd name="connsiteY211" fmla="*/ 1290 h 9959"/>
                <a:gd name="connsiteX212" fmla="*/ 3827 w 10000"/>
                <a:gd name="connsiteY212" fmla="*/ 1360 h 9959"/>
                <a:gd name="connsiteX213" fmla="*/ 3740 w 10000"/>
                <a:gd name="connsiteY213" fmla="*/ 1441 h 9959"/>
                <a:gd name="connsiteX214" fmla="*/ 3651 w 10000"/>
                <a:gd name="connsiteY214" fmla="*/ 1527 h 9959"/>
                <a:gd name="connsiteX215" fmla="*/ 3570 w 10000"/>
                <a:gd name="connsiteY215" fmla="*/ 1631 h 9959"/>
                <a:gd name="connsiteX216" fmla="*/ 3491 w 10000"/>
                <a:gd name="connsiteY216" fmla="*/ 1736 h 9959"/>
                <a:gd name="connsiteX217" fmla="*/ 3421 w 10000"/>
                <a:gd name="connsiteY217" fmla="*/ 1860 h 9959"/>
                <a:gd name="connsiteX218" fmla="*/ 3358 w 10000"/>
                <a:gd name="connsiteY218" fmla="*/ 1995 h 9959"/>
                <a:gd name="connsiteX219" fmla="*/ 3306 w 10000"/>
                <a:gd name="connsiteY219" fmla="*/ 2137 h 9959"/>
                <a:gd name="connsiteX220" fmla="*/ 3263 w 10000"/>
                <a:gd name="connsiteY220" fmla="*/ 2298 h 9959"/>
                <a:gd name="connsiteX221" fmla="*/ 3260 w 10000"/>
                <a:gd name="connsiteY221" fmla="*/ 2303 h 9959"/>
                <a:gd name="connsiteX222" fmla="*/ 3257 w 10000"/>
                <a:gd name="connsiteY222" fmla="*/ 2325 h 9959"/>
                <a:gd name="connsiteX223" fmla="*/ 3252 w 10000"/>
                <a:gd name="connsiteY223" fmla="*/ 2363 h 9959"/>
                <a:gd name="connsiteX224" fmla="*/ 3246 w 10000"/>
                <a:gd name="connsiteY224" fmla="*/ 2410 h 9959"/>
                <a:gd name="connsiteX225" fmla="*/ 3239 w 10000"/>
                <a:gd name="connsiteY225" fmla="*/ 2464 h 9959"/>
                <a:gd name="connsiteX226" fmla="*/ 3236 w 10000"/>
                <a:gd name="connsiteY226" fmla="*/ 2536 h 9959"/>
                <a:gd name="connsiteX227" fmla="*/ 3236 w 10000"/>
                <a:gd name="connsiteY227" fmla="*/ 2611 h 9959"/>
                <a:gd name="connsiteX228" fmla="*/ 3236 w 10000"/>
                <a:gd name="connsiteY228" fmla="*/ 2693 h 9959"/>
                <a:gd name="connsiteX229" fmla="*/ 3243 w 10000"/>
                <a:gd name="connsiteY229" fmla="*/ 2784 h 9959"/>
                <a:gd name="connsiteX230" fmla="*/ 3255 w 10000"/>
                <a:gd name="connsiteY230" fmla="*/ 2879 h 9959"/>
                <a:gd name="connsiteX231" fmla="*/ 3273 w 10000"/>
                <a:gd name="connsiteY231" fmla="*/ 2979 h 9959"/>
                <a:gd name="connsiteX232" fmla="*/ 3296 w 10000"/>
                <a:gd name="connsiteY232" fmla="*/ 3082 h 9959"/>
                <a:gd name="connsiteX233" fmla="*/ 3333 w 10000"/>
                <a:gd name="connsiteY233" fmla="*/ 3189 h 9959"/>
                <a:gd name="connsiteX234" fmla="*/ 3376 w 10000"/>
                <a:gd name="connsiteY234" fmla="*/ 3291 h 9959"/>
                <a:gd name="connsiteX235" fmla="*/ 3431 w 10000"/>
                <a:gd name="connsiteY235" fmla="*/ 3398 h 9959"/>
                <a:gd name="connsiteX236" fmla="*/ 3494 w 10000"/>
                <a:gd name="connsiteY236" fmla="*/ 3501 h 9959"/>
                <a:gd name="connsiteX237" fmla="*/ 3570 w 10000"/>
                <a:gd name="connsiteY237" fmla="*/ 3601 h 9959"/>
                <a:gd name="connsiteX238" fmla="*/ 3661 w 10000"/>
                <a:gd name="connsiteY238" fmla="*/ 3696 h 9959"/>
                <a:gd name="connsiteX239" fmla="*/ 3767 w 10000"/>
                <a:gd name="connsiteY239" fmla="*/ 3787 h 9959"/>
                <a:gd name="connsiteX240" fmla="*/ 3885 w 10000"/>
                <a:gd name="connsiteY240" fmla="*/ 3874 h 9959"/>
                <a:gd name="connsiteX241" fmla="*/ 4022 w 10000"/>
                <a:gd name="connsiteY241" fmla="*/ 3948 h 9959"/>
                <a:gd name="connsiteX242" fmla="*/ 4031 w 10000"/>
                <a:gd name="connsiteY242" fmla="*/ 3952 h 9959"/>
                <a:gd name="connsiteX243" fmla="*/ 4055 w 10000"/>
                <a:gd name="connsiteY243" fmla="*/ 3969 h 9959"/>
                <a:gd name="connsiteX244" fmla="*/ 4088 w 10000"/>
                <a:gd name="connsiteY244" fmla="*/ 3983 h 9959"/>
                <a:gd name="connsiteX245" fmla="*/ 4134 w 10000"/>
                <a:gd name="connsiteY245" fmla="*/ 4012 h 9959"/>
                <a:gd name="connsiteX246" fmla="*/ 4185 w 10000"/>
                <a:gd name="connsiteY246" fmla="*/ 4039 h 9959"/>
                <a:gd name="connsiteX247" fmla="*/ 4243 w 10000"/>
                <a:gd name="connsiteY247" fmla="*/ 4070 h 9959"/>
                <a:gd name="connsiteX248" fmla="*/ 4300 w 10000"/>
                <a:gd name="connsiteY248" fmla="*/ 4103 h 9959"/>
                <a:gd name="connsiteX249" fmla="*/ 4360 w 10000"/>
                <a:gd name="connsiteY249" fmla="*/ 4134 h 9959"/>
                <a:gd name="connsiteX250" fmla="*/ 4416 w 10000"/>
                <a:gd name="connsiteY250" fmla="*/ 4165 h 9959"/>
                <a:gd name="connsiteX251" fmla="*/ 4466 w 10000"/>
                <a:gd name="connsiteY251" fmla="*/ 4194 h 9959"/>
                <a:gd name="connsiteX252" fmla="*/ 4512 w 10000"/>
                <a:gd name="connsiteY252" fmla="*/ 4217 h 9959"/>
                <a:gd name="connsiteX253" fmla="*/ 4549 w 10000"/>
                <a:gd name="connsiteY253" fmla="*/ 4233 h 9959"/>
                <a:gd name="connsiteX254" fmla="*/ 4569 w 10000"/>
                <a:gd name="connsiteY254" fmla="*/ 4246 h 9959"/>
                <a:gd name="connsiteX255" fmla="*/ 4579 w 10000"/>
                <a:gd name="connsiteY255" fmla="*/ 4246 h 9959"/>
                <a:gd name="connsiteX256" fmla="*/ 4603 w 10000"/>
                <a:gd name="connsiteY256" fmla="*/ 4252 h 9959"/>
                <a:gd name="connsiteX257" fmla="*/ 4642 w 10000"/>
                <a:gd name="connsiteY257" fmla="*/ 4268 h 9959"/>
                <a:gd name="connsiteX258" fmla="*/ 4691 w 10000"/>
                <a:gd name="connsiteY258" fmla="*/ 4285 h 9959"/>
                <a:gd name="connsiteX259" fmla="*/ 4751 w 10000"/>
                <a:gd name="connsiteY259" fmla="*/ 4308 h 9959"/>
                <a:gd name="connsiteX260" fmla="*/ 4821 w 10000"/>
                <a:gd name="connsiteY260" fmla="*/ 4337 h 9959"/>
                <a:gd name="connsiteX261" fmla="*/ 4897 w 10000"/>
                <a:gd name="connsiteY261" fmla="*/ 4368 h 9959"/>
                <a:gd name="connsiteX262" fmla="*/ 4976 w 10000"/>
                <a:gd name="connsiteY262" fmla="*/ 4403 h 9959"/>
                <a:gd name="connsiteX263" fmla="*/ 5057 w 10000"/>
                <a:gd name="connsiteY263" fmla="*/ 4446 h 9959"/>
                <a:gd name="connsiteX264" fmla="*/ 5142 w 10000"/>
                <a:gd name="connsiteY264" fmla="*/ 4489 h 9959"/>
                <a:gd name="connsiteX265" fmla="*/ 5225 w 10000"/>
                <a:gd name="connsiteY265" fmla="*/ 4541 h 9959"/>
                <a:gd name="connsiteX266" fmla="*/ 5302 w 10000"/>
                <a:gd name="connsiteY266" fmla="*/ 4597 h 9959"/>
                <a:gd name="connsiteX267" fmla="*/ 5378 w 10000"/>
                <a:gd name="connsiteY267" fmla="*/ 4653 h 9959"/>
                <a:gd name="connsiteX268" fmla="*/ 5445 w 10000"/>
                <a:gd name="connsiteY268" fmla="*/ 4715 h 9959"/>
                <a:gd name="connsiteX269" fmla="*/ 5507 w 10000"/>
                <a:gd name="connsiteY269" fmla="*/ 4779 h 9959"/>
                <a:gd name="connsiteX270" fmla="*/ 5554 w 10000"/>
                <a:gd name="connsiteY270" fmla="*/ 4849 h 9959"/>
                <a:gd name="connsiteX271" fmla="*/ 5557 w 10000"/>
                <a:gd name="connsiteY271" fmla="*/ 4853 h 9959"/>
                <a:gd name="connsiteX272" fmla="*/ 5567 w 10000"/>
                <a:gd name="connsiteY272" fmla="*/ 4870 h 9959"/>
                <a:gd name="connsiteX273" fmla="*/ 5576 w 10000"/>
                <a:gd name="connsiteY273" fmla="*/ 4893 h 9959"/>
                <a:gd name="connsiteX274" fmla="*/ 5591 w 10000"/>
                <a:gd name="connsiteY274" fmla="*/ 4930 h 9959"/>
                <a:gd name="connsiteX275" fmla="*/ 5606 w 10000"/>
                <a:gd name="connsiteY275" fmla="*/ 4969 h 9959"/>
                <a:gd name="connsiteX276" fmla="*/ 5621 w 10000"/>
                <a:gd name="connsiteY276" fmla="*/ 5017 h 9959"/>
                <a:gd name="connsiteX277" fmla="*/ 5636 w 10000"/>
                <a:gd name="connsiteY277" fmla="*/ 5070 h 9959"/>
                <a:gd name="connsiteX278" fmla="*/ 5649 w 10000"/>
                <a:gd name="connsiteY278" fmla="*/ 5130 h 9959"/>
                <a:gd name="connsiteX279" fmla="*/ 5657 w 10000"/>
                <a:gd name="connsiteY279" fmla="*/ 5190 h 9959"/>
                <a:gd name="connsiteX280" fmla="*/ 5663 w 10000"/>
                <a:gd name="connsiteY280" fmla="*/ 5256 h 9959"/>
                <a:gd name="connsiteX281" fmla="*/ 5667 w 10000"/>
                <a:gd name="connsiteY281" fmla="*/ 5325 h 9959"/>
                <a:gd name="connsiteX282" fmla="*/ 5660 w 10000"/>
                <a:gd name="connsiteY282" fmla="*/ 5395 h 9959"/>
                <a:gd name="connsiteX283" fmla="*/ 5649 w 10000"/>
                <a:gd name="connsiteY283" fmla="*/ 5463 h 9959"/>
                <a:gd name="connsiteX284" fmla="*/ 5627 w 10000"/>
                <a:gd name="connsiteY284" fmla="*/ 5533 h 9959"/>
                <a:gd name="connsiteX285" fmla="*/ 5597 w 10000"/>
                <a:gd name="connsiteY285" fmla="*/ 5601 h 9959"/>
                <a:gd name="connsiteX286" fmla="*/ 5557 w 10000"/>
                <a:gd name="connsiteY286" fmla="*/ 5666 h 9959"/>
                <a:gd name="connsiteX287" fmla="*/ 5503 w 10000"/>
                <a:gd name="connsiteY287" fmla="*/ 5728 h 9959"/>
                <a:gd name="connsiteX288" fmla="*/ 5440 w 10000"/>
                <a:gd name="connsiteY288" fmla="*/ 5788 h 9959"/>
                <a:gd name="connsiteX289" fmla="*/ 5358 w 10000"/>
                <a:gd name="connsiteY289" fmla="*/ 5843 h 9959"/>
                <a:gd name="connsiteX290" fmla="*/ 5264 w 10000"/>
                <a:gd name="connsiteY290" fmla="*/ 5891 h 9959"/>
                <a:gd name="connsiteX291" fmla="*/ 5155 w 10000"/>
                <a:gd name="connsiteY291" fmla="*/ 5934 h 9959"/>
                <a:gd name="connsiteX292" fmla="*/ 5146 w 10000"/>
                <a:gd name="connsiteY292" fmla="*/ 5934 h 9959"/>
                <a:gd name="connsiteX293" fmla="*/ 5119 w 10000"/>
                <a:gd name="connsiteY293" fmla="*/ 5943 h 9959"/>
                <a:gd name="connsiteX294" fmla="*/ 5070 w 10000"/>
                <a:gd name="connsiteY294" fmla="*/ 5949 h 9959"/>
                <a:gd name="connsiteX295" fmla="*/ 5009 w 10000"/>
                <a:gd name="connsiteY295" fmla="*/ 5961 h 9959"/>
                <a:gd name="connsiteX296" fmla="*/ 4930 w 10000"/>
                <a:gd name="connsiteY296" fmla="*/ 5974 h 9959"/>
                <a:gd name="connsiteX297" fmla="*/ 4840 w 10000"/>
                <a:gd name="connsiteY297" fmla="*/ 5982 h 9959"/>
                <a:gd name="connsiteX298" fmla="*/ 4736 w 10000"/>
                <a:gd name="connsiteY298" fmla="*/ 5986 h 9959"/>
                <a:gd name="connsiteX299" fmla="*/ 4622 w 10000"/>
                <a:gd name="connsiteY299" fmla="*/ 5986 h 9959"/>
                <a:gd name="connsiteX300" fmla="*/ 4493 w 10000"/>
                <a:gd name="connsiteY300" fmla="*/ 5978 h 9959"/>
                <a:gd name="connsiteX301" fmla="*/ 4357 w 10000"/>
                <a:gd name="connsiteY301" fmla="*/ 5961 h 9959"/>
                <a:gd name="connsiteX302" fmla="*/ 4215 w 10000"/>
                <a:gd name="connsiteY302" fmla="*/ 5938 h 9959"/>
                <a:gd name="connsiteX303" fmla="*/ 4064 w 10000"/>
                <a:gd name="connsiteY303" fmla="*/ 5901 h 9959"/>
                <a:gd name="connsiteX304" fmla="*/ 3906 w 10000"/>
                <a:gd name="connsiteY304" fmla="*/ 5850 h 9959"/>
                <a:gd name="connsiteX305" fmla="*/ 3746 w 10000"/>
                <a:gd name="connsiteY305" fmla="*/ 5788 h 9959"/>
                <a:gd name="connsiteX306" fmla="*/ 3578 w 10000"/>
                <a:gd name="connsiteY306" fmla="*/ 5709 h 9959"/>
                <a:gd name="connsiteX307" fmla="*/ 3412 w 10000"/>
                <a:gd name="connsiteY307" fmla="*/ 5610 h 9959"/>
                <a:gd name="connsiteX308" fmla="*/ 3200 w 10000"/>
                <a:gd name="connsiteY308" fmla="*/ 6511 h 9959"/>
                <a:gd name="connsiteX309" fmla="*/ 3209 w 10000"/>
                <a:gd name="connsiteY309" fmla="*/ 6515 h 9959"/>
                <a:gd name="connsiteX310" fmla="*/ 3233 w 10000"/>
                <a:gd name="connsiteY310" fmla="*/ 6527 h 9959"/>
                <a:gd name="connsiteX311" fmla="*/ 3273 w 10000"/>
                <a:gd name="connsiteY311" fmla="*/ 6542 h 9959"/>
                <a:gd name="connsiteX312" fmla="*/ 3325 w 10000"/>
                <a:gd name="connsiteY312" fmla="*/ 6571 h 9959"/>
                <a:gd name="connsiteX313" fmla="*/ 3388 w 10000"/>
                <a:gd name="connsiteY313" fmla="*/ 6598 h 9959"/>
                <a:gd name="connsiteX314" fmla="*/ 3464 w 10000"/>
                <a:gd name="connsiteY314" fmla="*/ 6631 h 9959"/>
                <a:gd name="connsiteX315" fmla="*/ 3548 w 10000"/>
                <a:gd name="connsiteY315" fmla="*/ 6662 h 9959"/>
                <a:gd name="connsiteX316" fmla="*/ 3640 w 10000"/>
                <a:gd name="connsiteY316" fmla="*/ 6697 h 9959"/>
                <a:gd name="connsiteX317" fmla="*/ 3740 w 10000"/>
                <a:gd name="connsiteY317" fmla="*/ 6732 h 9959"/>
                <a:gd name="connsiteX318" fmla="*/ 3846 w 10000"/>
                <a:gd name="connsiteY318" fmla="*/ 6767 h 9959"/>
                <a:gd name="connsiteX319" fmla="*/ 3955 w 10000"/>
                <a:gd name="connsiteY319" fmla="*/ 6800 h 9959"/>
                <a:gd name="connsiteX320" fmla="*/ 4067 w 10000"/>
                <a:gd name="connsiteY320" fmla="*/ 6827 h 9959"/>
                <a:gd name="connsiteX321" fmla="*/ 4181 w 10000"/>
                <a:gd name="connsiteY321" fmla="*/ 6852 h 9959"/>
                <a:gd name="connsiteX322" fmla="*/ 4294 w 10000"/>
                <a:gd name="connsiteY322" fmla="*/ 6871 h 9959"/>
                <a:gd name="connsiteX323" fmla="*/ 4409 w 10000"/>
                <a:gd name="connsiteY323" fmla="*/ 6883 h 9959"/>
                <a:gd name="connsiteX324" fmla="*/ 4519 w 10000"/>
                <a:gd name="connsiteY324" fmla="*/ 6891 h 9959"/>
                <a:gd name="connsiteX325" fmla="*/ 4628 w 10000"/>
                <a:gd name="connsiteY325" fmla="*/ 6887 h 9959"/>
                <a:gd name="connsiteX326" fmla="*/ 4628 w 10000"/>
                <a:gd name="connsiteY326" fmla="*/ 7567 h 9959"/>
                <a:gd name="connsiteX327" fmla="*/ 4218 w 10000"/>
                <a:gd name="connsiteY327" fmla="*/ 8069 h 9959"/>
                <a:gd name="connsiteX328" fmla="*/ 3615 w 10000"/>
                <a:gd name="connsiteY328" fmla="*/ 7730 h 9959"/>
                <a:gd name="connsiteX329" fmla="*/ 2582 w 10000"/>
                <a:gd name="connsiteY329" fmla="*/ 9568 h 9959"/>
                <a:gd name="connsiteX330" fmla="*/ 1778 w 10000"/>
                <a:gd name="connsiteY330" fmla="*/ 8714 h 9959"/>
                <a:gd name="connsiteX331" fmla="*/ 1118 w 10000"/>
                <a:gd name="connsiteY331" fmla="*/ 9959 h 9959"/>
                <a:gd name="connsiteX332" fmla="*/ 0 w 10000"/>
                <a:gd name="connsiteY332" fmla="*/ 9959 h 9959"/>
                <a:gd name="connsiteX333" fmla="*/ 0 w 10000"/>
                <a:gd name="connsiteY333" fmla="*/ 9696 h 9959"/>
                <a:gd name="connsiteX334" fmla="*/ 1097 w 10000"/>
                <a:gd name="connsiteY334" fmla="*/ 9696 h 9959"/>
                <a:gd name="connsiteX335" fmla="*/ 1745 w 10000"/>
                <a:gd name="connsiteY335" fmla="*/ 8411 h 9959"/>
                <a:gd name="connsiteX336" fmla="*/ 2560 w 10000"/>
                <a:gd name="connsiteY336" fmla="*/ 9256 h 9959"/>
                <a:gd name="connsiteX337" fmla="*/ 3567 w 10000"/>
                <a:gd name="connsiteY337" fmla="*/ 7402 h 9959"/>
                <a:gd name="connsiteX338" fmla="*/ 4191 w 10000"/>
                <a:gd name="connsiteY338" fmla="*/ 7784 h 9959"/>
                <a:gd name="connsiteX339" fmla="*/ 4446 w 10000"/>
                <a:gd name="connsiteY339" fmla="*/ 7484 h 9959"/>
                <a:gd name="connsiteX340" fmla="*/ 4446 w 10000"/>
                <a:gd name="connsiteY340" fmla="*/ 7117 h 9959"/>
                <a:gd name="connsiteX341" fmla="*/ 4433 w 10000"/>
                <a:gd name="connsiteY341" fmla="*/ 7117 h 9959"/>
                <a:gd name="connsiteX342" fmla="*/ 4403 w 10000"/>
                <a:gd name="connsiteY342" fmla="*/ 7112 h 9959"/>
                <a:gd name="connsiteX343" fmla="*/ 4357 w 10000"/>
                <a:gd name="connsiteY343" fmla="*/ 7108 h 9959"/>
                <a:gd name="connsiteX344" fmla="*/ 4294 w 10000"/>
                <a:gd name="connsiteY344" fmla="*/ 7100 h 9959"/>
                <a:gd name="connsiteX345" fmla="*/ 4215 w 10000"/>
                <a:gd name="connsiteY345" fmla="*/ 7092 h 9959"/>
                <a:gd name="connsiteX346" fmla="*/ 4128 w 10000"/>
                <a:gd name="connsiteY346" fmla="*/ 7081 h 9959"/>
                <a:gd name="connsiteX347" fmla="*/ 4031 w 10000"/>
                <a:gd name="connsiteY347" fmla="*/ 7065 h 9959"/>
                <a:gd name="connsiteX348" fmla="*/ 3925 w 10000"/>
                <a:gd name="connsiteY348" fmla="*/ 7044 h 9959"/>
                <a:gd name="connsiteX349" fmla="*/ 3816 w 10000"/>
                <a:gd name="connsiteY349" fmla="*/ 7021 h 9959"/>
                <a:gd name="connsiteX350" fmla="*/ 3700 w 10000"/>
                <a:gd name="connsiteY350" fmla="*/ 6990 h 9959"/>
                <a:gd name="connsiteX351" fmla="*/ 3585 w 10000"/>
                <a:gd name="connsiteY351" fmla="*/ 6957 h 9959"/>
                <a:gd name="connsiteX352" fmla="*/ 3469 w 10000"/>
                <a:gd name="connsiteY352" fmla="*/ 6918 h 9959"/>
                <a:gd name="connsiteX353" fmla="*/ 3358 w 10000"/>
                <a:gd name="connsiteY353" fmla="*/ 6875 h 9959"/>
                <a:gd name="connsiteX354" fmla="*/ 3249 w 10000"/>
                <a:gd name="connsiteY354" fmla="*/ 6827 h 9959"/>
                <a:gd name="connsiteX355" fmla="*/ 3149 w 10000"/>
                <a:gd name="connsiteY355" fmla="*/ 6771 h 9959"/>
                <a:gd name="connsiteX356" fmla="*/ 3057 w 10000"/>
                <a:gd name="connsiteY356" fmla="*/ 6709 h 9959"/>
                <a:gd name="connsiteX357" fmla="*/ 2975 w 10000"/>
                <a:gd name="connsiteY357" fmla="*/ 6637 h 9959"/>
                <a:gd name="connsiteX358" fmla="*/ 3276 w 10000"/>
                <a:gd name="connsiteY358" fmla="*/ 5260 h 9959"/>
                <a:gd name="connsiteX359" fmla="*/ 3285 w 10000"/>
                <a:gd name="connsiteY359" fmla="*/ 5265 h 9959"/>
                <a:gd name="connsiteX360" fmla="*/ 3303 w 10000"/>
                <a:gd name="connsiteY360" fmla="*/ 5277 h 9959"/>
                <a:gd name="connsiteX361" fmla="*/ 3336 w 10000"/>
                <a:gd name="connsiteY361" fmla="*/ 5294 h 9959"/>
                <a:gd name="connsiteX362" fmla="*/ 3379 w 10000"/>
                <a:gd name="connsiteY362" fmla="*/ 5316 h 9959"/>
                <a:gd name="connsiteX363" fmla="*/ 3433 w 10000"/>
                <a:gd name="connsiteY363" fmla="*/ 5345 h 9959"/>
                <a:gd name="connsiteX364" fmla="*/ 3494 w 10000"/>
                <a:gd name="connsiteY364" fmla="*/ 5376 h 9959"/>
                <a:gd name="connsiteX365" fmla="*/ 3567 w 10000"/>
                <a:gd name="connsiteY365" fmla="*/ 5407 h 9959"/>
                <a:gd name="connsiteX366" fmla="*/ 3645 w 10000"/>
                <a:gd name="connsiteY366" fmla="*/ 5442 h 9959"/>
                <a:gd name="connsiteX367" fmla="*/ 3730 w 10000"/>
                <a:gd name="connsiteY367" fmla="*/ 5484 h 9959"/>
                <a:gd name="connsiteX368" fmla="*/ 3820 w 10000"/>
                <a:gd name="connsiteY368" fmla="*/ 5519 h 9959"/>
                <a:gd name="connsiteX369" fmla="*/ 3919 w 10000"/>
                <a:gd name="connsiteY369" fmla="*/ 5558 h 9959"/>
                <a:gd name="connsiteX370" fmla="*/ 4018 w 10000"/>
                <a:gd name="connsiteY370" fmla="*/ 5593 h 9959"/>
                <a:gd name="connsiteX371" fmla="*/ 4121 w 10000"/>
                <a:gd name="connsiteY371" fmla="*/ 5628 h 9959"/>
                <a:gd name="connsiteX372" fmla="*/ 4227 w 10000"/>
                <a:gd name="connsiteY372" fmla="*/ 5661 h 9959"/>
                <a:gd name="connsiteX373" fmla="*/ 4337 w 10000"/>
                <a:gd name="connsiteY373" fmla="*/ 5688 h 9959"/>
                <a:gd name="connsiteX374" fmla="*/ 4443 w 10000"/>
                <a:gd name="connsiteY374" fmla="*/ 5713 h 9959"/>
                <a:gd name="connsiteX375" fmla="*/ 4552 w 10000"/>
                <a:gd name="connsiteY375" fmla="*/ 5732 h 9959"/>
                <a:gd name="connsiteX376" fmla="*/ 4655 w 10000"/>
                <a:gd name="connsiteY376" fmla="*/ 5744 h 9959"/>
                <a:gd name="connsiteX377" fmla="*/ 4761 w 10000"/>
                <a:gd name="connsiteY377" fmla="*/ 5752 h 9959"/>
                <a:gd name="connsiteX378" fmla="*/ 4861 w 10000"/>
                <a:gd name="connsiteY378" fmla="*/ 5748 h 9959"/>
                <a:gd name="connsiteX379" fmla="*/ 4954 w 10000"/>
                <a:gd name="connsiteY379" fmla="*/ 5740 h 9959"/>
                <a:gd name="connsiteX380" fmla="*/ 5046 w 10000"/>
                <a:gd name="connsiteY380" fmla="*/ 5719 h 9959"/>
                <a:gd name="connsiteX381" fmla="*/ 5133 w 10000"/>
                <a:gd name="connsiteY381" fmla="*/ 5692 h 9959"/>
                <a:gd name="connsiteX382" fmla="*/ 5212 w 10000"/>
                <a:gd name="connsiteY382" fmla="*/ 5653 h 9959"/>
                <a:gd name="connsiteX383" fmla="*/ 5282 w 10000"/>
                <a:gd name="connsiteY383" fmla="*/ 5601 h 9959"/>
                <a:gd name="connsiteX384" fmla="*/ 5345 w 10000"/>
                <a:gd name="connsiteY384" fmla="*/ 5537 h 9959"/>
                <a:gd name="connsiteX385" fmla="*/ 5397 w 10000"/>
                <a:gd name="connsiteY385" fmla="*/ 5459 h 9959"/>
                <a:gd name="connsiteX386" fmla="*/ 5440 w 10000"/>
                <a:gd name="connsiteY386" fmla="*/ 5368 h 9959"/>
                <a:gd name="connsiteX387" fmla="*/ 5470 w 10000"/>
                <a:gd name="connsiteY387" fmla="*/ 5260 h 9959"/>
                <a:gd name="connsiteX388" fmla="*/ 5473 w 10000"/>
                <a:gd name="connsiteY388" fmla="*/ 5256 h 9959"/>
                <a:gd name="connsiteX389" fmla="*/ 5473 w 10000"/>
                <a:gd name="connsiteY389" fmla="*/ 5246 h 9959"/>
                <a:gd name="connsiteX390" fmla="*/ 5473 w 10000"/>
                <a:gd name="connsiteY390" fmla="*/ 5225 h 9959"/>
                <a:gd name="connsiteX391" fmla="*/ 5473 w 10000"/>
                <a:gd name="connsiteY391" fmla="*/ 5203 h 9959"/>
                <a:gd name="connsiteX392" fmla="*/ 5470 w 10000"/>
                <a:gd name="connsiteY392" fmla="*/ 5169 h 9959"/>
                <a:gd name="connsiteX393" fmla="*/ 5461 w 10000"/>
                <a:gd name="connsiteY393" fmla="*/ 5134 h 9959"/>
                <a:gd name="connsiteX394" fmla="*/ 5445 w 10000"/>
                <a:gd name="connsiteY394" fmla="*/ 5091 h 9959"/>
                <a:gd name="connsiteX395" fmla="*/ 5424 w 10000"/>
                <a:gd name="connsiteY395" fmla="*/ 5048 h 9959"/>
                <a:gd name="connsiteX396" fmla="*/ 5397 w 10000"/>
                <a:gd name="connsiteY396" fmla="*/ 4996 h 9959"/>
                <a:gd name="connsiteX397" fmla="*/ 5358 w 10000"/>
                <a:gd name="connsiteY397" fmla="*/ 4944 h 9959"/>
                <a:gd name="connsiteX398" fmla="*/ 5309 w 10000"/>
                <a:gd name="connsiteY398" fmla="*/ 4893 h 9959"/>
                <a:gd name="connsiteX399" fmla="*/ 5252 w 10000"/>
                <a:gd name="connsiteY399" fmla="*/ 4839 h 9959"/>
                <a:gd name="connsiteX400" fmla="*/ 5179 w 10000"/>
                <a:gd name="connsiteY400" fmla="*/ 4779 h 9959"/>
                <a:gd name="connsiteX401" fmla="*/ 5090 w 10000"/>
                <a:gd name="connsiteY401" fmla="*/ 4723 h 9959"/>
                <a:gd name="connsiteX402" fmla="*/ 4987 w 10000"/>
                <a:gd name="connsiteY402" fmla="*/ 4663 h 9959"/>
                <a:gd name="connsiteX403" fmla="*/ 4870 w 10000"/>
                <a:gd name="connsiteY403" fmla="*/ 4609 h 9959"/>
                <a:gd name="connsiteX404" fmla="*/ 4734 w 10000"/>
                <a:gd name="connsiteY404" fmla="*/ 4554 h 9959"/>
                <a:gd name="connsiteX405" fmla="*/ 4579 w 10000"/>
                <a:gd name="connsiteY405" fmla="*/ 4502 h 9959"/>
                <a:gd name="connsiteX406" fmla="*/ 4569 w 10000"/>
                <a:gd name="connsiteY406" fmla="*/ 4498 h 9959"/>
                <a:gd name="connsiteX407" fmla="*/ 4542 w 10000"/>
                <a:gd name="connsiteY407" fmla="*/ 4485 h 9959"/>
                <a:gd name="connsiteX408" fmla="*/ 4503 w 10000"/>
                <a:gd name="connsiteY408" fmla="*/ 4475 h 9959"/>
                <a:gd name="connsiteX409" fmla="*/ 4449 w 10000"/>
                <a:gd name="connsiteY409" fmla="*/ 4450 h 9959"/>
                <a:gd name="connsiteX410" fmla="*/ 4384 w 10000"/>
                <a:gd name="connsiteY410" fmla="*/ 4423 h 9959"/>
                <a:gd name="connsiteX411" fmla="*/ 4310 w 10000"/>
                <a:gd name="connsiteY411" fmla="*/ 4386 h 9959"/>
                <a:gd name="connsiteX412" fmla="*/ 4224 w 10000"/>
                <a:gd name="connsiteY412" fmla="*/ 4347 h 9959"/>
                <a:gd name="connsiteX413" fmla="*/ 4134 w 10000"/>
                <a:gd name="connsiteY413" fmla="*/ 4299 h 9959"/>
                <a:gd name="connsiteX414" fmla="*/ 4039 w 10000"/>
                <a:gd name="connsiteY414" fmla="*/ 4246 h 9959"/>
                <a:gd name="connsiteX415" fmla="*/ 3939 w 10000"/>
                <a:gd name="connsiteY415" fmla="*/ 4186 h 9959"/>
                <a:gd name="connsiteX416" fmla="*/ 3839 w 10000"/>
                <a:gd name="connsiteY416" fmla="*/ 4117 h 9959"/>
                <a:gd name="connsiteX417" fmla="*/ 3740 w 10000"/>
                <a:gd name="connsiteY417" fmla="*/ 4047 h 9959"/>
                <a:gd name="connsiteX418" fmla="*/ 3643 w 10000"/>
                <a:gd name="connsiteY418" fmla="*/ 3964 h 9959"/>
                <a:gd name="connsiteX419" fmla="*/ 3545 w 10000"/>
                <a:gd name="connsiteY419" fmla="*/ 3878 h 9959"/>
                <a:gd name="connsiteX420" fmla="*/ 3458 w 10000"/>
                <a:gd name="connsiteY420" fmla="*/ 3787 h 9959"/>
                <a:gd name="connsiteX421" fmla="*/ 3372 w 10000"/>
                <a:gd name="connsiteY421" fmla="*/ 3683 h 9959"/>
                <a:gd name="connsiteX422" fmla="*/ 3300 w 10000"/>
                <a:gd name="connsiteY422" fmla="*/ 3576 h 9959"/>
                <a:gd name="connsiteX423" fmla="*/ 3236 w 10000"/>
                <a:gd name="connsiteY423" fmla="*/ 3462 h 9959"/>
                <a:gd name="connsiteX424" fmla="*/ 3230 w 10000"/>
                <a:gd name="connsiteY424" fmla="*/ 3454 h 9959"/>
                <a:gd name="connsiteX425" fmla="*/ 3222 w 10000"/>
                <a:gd name="connsiteY425" fmla="*/ 3433 h 9959"/>
                <a:gd name="connsiteX426" fmla="*/ 3206 w 10000"/>
                <a:gd name="connsiteY426" fmla="*/ 3398 h 9959"/>
                <a:gd name="connsiteX427" fmla="*/ 3187 w 10000"/>
                <a:gd name="connsiteY427" fmla="*/ 3355 h 9959"/>
                <a:gd name="connsiteX428" fmla="*/ 3167 w 10000"/>
                <a:gd name="connsiteY428" fmla="*/ 3295 h 9959"/>
                <a:gd name="connsiteX429" fmla="*/ 3146 w 10000"/>
                <a:gd name="connsiteY429" fmla="*/ 3224 h 9959"/>
                <a:gd name="connsiteX430" fmla="*/ 3121 w 10000"/>
                <a:gd name="connsiteY430" fmla="*/ 3146 h 9959"/>
                <a:gd name="connsiteX431" fmla="*/ 3100 w 10000"/>
                <a:gd name="connsiteY431" fmla="*/ 3057 h 9959"/>
                <a:gd name="connsiteX432" fmla="*/ 3081 w 10000"/>
                <a:gd name="connsiteY432" fmla="*/ 2962 h 9959"/>
                <a:gd name="connsiteX433" fmla="*/ 3064 w 10000"/>
                <a:gd name="connsiteY433" fmla="*/ 2857 h 9959"/>
                <a:gd name="connsiteX434" fmla="*/ 3051 w 10000"/>
                <a:gd name="connsiteY434" fmla="*/ 2745 h 9959"/>
                <a:gd name="connsiteX435" fmla="*/ 3046 w 10000"/>
                <a:gd name="connsiteY435" fmla="*/ 2631 h 9959"/>
                <a:gd name="connsiteX436" fmla="*/ 3046 w 10000"/>
                <a:gd name="connsiteY436" fmla="*/ 2507 h 9959"/>
                <a:gd name="connsiteX437" fmla="*/ 3054 w 10000"/>
                <a:gd name="connsiteY437" fmla="*/ 2381 h 9959"/>
                <a:gd name="connsiteX438" fmla="*/ 3070 w 10000"/>
                <a:gd name="connsiteY438" fmla="*/ 2251 h 9959"/>
                <a:gd name="connsiteX439" fmla="*/ 3097 w 10000"/>
                <a:gd name="connsiteY439" fmla="*/ 2117 h 9959"/>
                <a:gd name="connsiteX440" fmla="*/ 3136 w 10000"/>
                <a:gd name="connsiteY440" fmla="*/ 1982 h 9959"/>
                <a:gd name="connsiteX441" fmla="*/ 3187 w 10000"/>
                <a:gd name="connsiteY441" fmla="*/ 1848 h 9959"/>
                <a:gd name="connsiteX442" fmla="*/ 3255 w 10000"/>
                <a:gd name="connsiteY442" fmla="*/ 1709 h 9959"/>
                <a:gd name="connsiteX443" fmla="*/ 3333 w 10000"/>
                <a:gd name="connsiteY443" fmla="*/ 1575 h 9959"/>
                <a:gd name="connsiteX444" fmla="*/ 3431 w 10000"/>
                <a:gd name="connsiteY444" fmla="*/ 1441 h 9959"/>
                <a:gd name="connsiteX445" fmla="*/ 3545 w 10000"/>
                <a:gd name="connsiteY445" fmla="*/ 1306 h 9959"/>
                <a:gd name="connsiteX446" fmla="*/ 3680 w 10000"/>
                <a:gd name="connsiteY446" fmla="*/ 1174 h 9959"/>
                <a:gd name="connsiteX447" fmla="*/ 3684 w 10000"/>
                <a:gd name="connsiteY447" fmla="*/ 1172 h 9959"/>
                <a:gd name="connsiteX448" fmla="*/ 3703 w 10000"/>
                <a:gd name="connsiteY448" fmla="*/ 1155 h 9959"/>
                <a:gd name="connsiteX449" fmla="*/ 3733 w 10000"/>
                <a:gd name="connsiteY449" fmla="*/ 1131 h 9959"/>
                <a:gd name="connsiteX450" fmla="*/ 3776 w 10000"/>
                <a:gd name="connsiteY450" fmla="*/ 1100 h 9959"/>
                <a:gd name="connsiteX451" fmla="*/ 3824 w 10000"/>
                <a:gd name="connsiteY451" fmla="*/ 1064 h 9959"/>
                <a:gd name="connsiteX452" fmla="*/ 3885 w 10000"/>
                <a:gd name="connsiteY452" fmla="*/ 1025 h 9959"/>
                <a:gd name="connsiteX453" fmla="*/ 3955 w 10000"/>
                <a:gd name="connsiteY453" fmla="*/ 982 h 9959"/>
                <a:gd name="connsiteX454" fmla="*/ 4031 w 10000"/>
                <a:gd name="connsiteY454" fmla="*/ 938 h 9959"/>
                <a:gd name="connsiteX455" fmla="*/ 4112 w 10000"/>
                <a:gd name="connsiteY455" fmla="*/ 899 h 9959"/>
                <a:gd name="connsiteX456" fmla="*/ 4200 w 10000"/>
                <a:gd name="connsiteY456" fmla="*/ 858 h 9959"/>
                <a:gd name="connsiteX457" fmla="*/ 4291 w 10000"/>
                <a:gd name="connsiteY457" fmla="*/ 823 h 9959"/>
                <a:gd name="connsiteX458" fmla="*/ 4387 w 10000"/>
                <a:gd name="connsiteY458" fmla="*/ 796 h 9959"/>
                <a:gd name="connsiteX459" fmla="*/ 4489 w 10000"/>
                <a:gd name="connsiteY459" fmla="*/ 771 h 9959"/>
                <a:gd name="connsiteX460" fmla="*/ 4479 w 10000"/>
                <a:gd name="connsiteY460" fmla="*/ 0 h 9959"/>
                <a:gd name="connsiteX0" fmla="*/ 4479 w 10000"/>
                <a:gd name="connsiteY0" fmla="*/ 0 h 10000"/>
                <a:gd name="connsiteX1" fmla="*/ 5500 w 10000"/>
                <a:gd name="connsiteY1" fmla="*/ 0 h 10000"/>
                <a:gd name="connsiteX2" fmla="*/ 5500 w 10000"/>
                <a:gd name="connsiteY2" fmla="*/ 691 h 10000"/>
                <a:gd name="connsiteX3" fmla="*/ 5510 w 10000"/>
                <a:gd name="connsiteY3" fmla="*/ 695 h 10000"/>
                <a:gd name="connsiteX4" fmla="*/ 5540 w 10000"/>
                <a:gd name="connsiteY4" fmla="*/ 695 h 10000"/>
                <a:gd name="connsiteX5" fmla="*/ 5587 w 10000"/>
                <a:gd name="connsiteY5" fmla="*/ 700 h 10000"/>
                <a:gd name="connsiteX6" fmla="*/ 5651 w 10000"/>
                <a:gd name="connsiteY6" fmla="*/ 708 h 10000"/>
                <a:gd name="connsiteX7" fmla="*/ 5730 w 10000"/>
                <a:gd name="connsiteY7" fmla="*/ 716 h 10000"/>
                <a:gd name="connsiteX8" fmla="*/ 5819 w 10000"/>
                <a:gd name="connsiteY8" fmla="*/ 726 h 10000"/>
                <a:gd name="connsiteX9" fmla="*/ 5915 w 10000"/>
                <a:gd name="connsiteY9" fmla="*/ 747 h 10000"/>
                <a:gd name="connsiteX10" fmla="*/ 6018 w 10000"/>
                <a:gd name="connsiteY10" fmla="*/ 766 h 10000"/>
                <a:gd name="connsiteX11" fmla="*/ 6127 w 10000"/>
                <a:gd name="connsiteY11" fmla="*/ 795 h 10000"/>
                <a:gd name="connsiteX12" fmla="*/ 6240 w 10000"/>
                <a:gd name="connsiteY12" fmla="*/ 822 h 10000"/>
                <a:gd name="connsiteX13" fmla="*/ 6349 w 10000"/>
                <a:gd name="connsiteY13" fmla="*/ 862 h 10000"/>
                <a:gd name="connsiteX14" fmla="*/ 6458 w 10000"/>
                <a:gd name="connsiteY14" fmla="*/ 905 h 10000"/>
                <a:gd name="connsiteX15" fmla="*/ 6564 w 10000"/>
                <a:gd name="connsiteY15" fmla="*/ 957 h 10000"/>
                <a:gd name="connsiteX16" fmla="*/ 6661 w 10000"/>
                <a:gd name="connsiteY16" fmla="*/ 1013 h 10000"/>
                <a:gd name="connsiteX17" fmla="*/ 6751 w 10000"/>
                <a:gd name="connsiteY17" fmla="*/ 1081 h 10000"/>
                <a:gd name="connsiteX18" fmla="*/ 6463 w 10000"/>
                <a:gd name="connsiteY18" fmla="*/ 2408 h 10000"/>
                <a:gd name="connsiteX19" fmla="*/ 6455 w 10000"/>
                <a:gd name="connsiteY19" fmla="*/ 2404 h 10000"/>
                <a:gd name="connsiteX20" fmla="*/ 6433 w 10000"/>
                <a:gd name="connsiteY20" fmla="*/ 2387 h 10000"/>
                <a:gd name="connsiteX21" fmla="*/ 6396 w 10000"/>
                <a:gd name="connsiteY21" fmla="*/ 2368 h 10000"/>
                <a:gd name="connsiteX22" fmla="*/ 6349 w 10000"/>
                <a:gd name="connsiteY22" fmla="*/ 2339 h 10000"/>
                <a:gd name="connsiteX23" fmla="*/ 6286 w 10000"/>
                <a:gd name="connsiteY23" fmla="*/ 2307 h 10000"/>
                <a:gd name="connsiteX24" fmla="*/ 6214 w 10000"/>
                <a:gd name="connsiteY24" fmla="*/ 2276 h 10000"/>
                <a:gd name="connsiteX25" fmla="*/ 6134 w 10000"/>
                <a:gd name="connsiteY25" fmla="*/ 2237 h 10000"/>
                <a:gd name="connsiteX26" fmla="*/ 6039 w 10000"/>
                <a:gd name="connsiteY26" fmla="*/ 2200 h 10000"/>
                <a:gd name="connsiteX27" fmla="*/ 5942 w 10000"/>
                <a:gd name="connsiteY27" fmla="*/ 2165 h 10000"/>
                <a:gd name="connsiteX28" fmla="*/ 5833 w 10000"/>
                <a:gd name="connsiteY28" fmla="*/ 2130 h 10000"/>
                <a:gd name="connsiteX29" fmla="*/ 5722 w 10000"/>
                <a:gd name="connsiteY29" fmla="*/ 2101 h 10000"/>
                <a:gd name="connsiteX30" fmla="*/ 5603 w 10000"/>
                <a:gd name="connsiteY30" fmla="*/ 2074 h 10000"/>
                <a:gd name="connsiteX31" fmla="*/ 5478 w 10000"/>
                <a:gd name="connsiteY31" fmla="*/ 2052 h 10000"/>
                <a:gd name="connsiteX32" fmla="*/ 5351 w 10000"/>
                <a:gd name="connsiteY32" fmla="*/ 2042 h 10000"/>
                <a:gd name="connsiteX33" fmla="*/ 5225 w 10000"/>
                <a:gd name="connsiteY33" fmla="*/ 2042 h 10000"/>
                <a:gd name="connsiteX34" fmla="*/ 5090 w 10000"/>
                <a:gd name="connsiteY34" fmla="*/ 2050 h 10000"/>
                <a:gd name="connsiteX35" fmla="*/ 4960 w 10000"/>
                <a:gd name="connsiteY35" fmla="*/ 2069 h 10000"/>
                <a:gd name="connsiteX36" fmla="*/ 4827 w 10000"/>
                <a:gd name="connsiteY36" fmla="*/ 2101 h 10000"/>
                <a:gd name="connsiteX37" fmla="*/ 4698 w 10000"/>
                <a:gd name="connsiteY37" fmla="*/ 2148 h 10000"/>
                <a:gd name="connsiteX38" fmla="*/ 4694 w 10000"/>
                <a:gd name="connsiteY38" fmla="*/ 2152 h 10000"/>
                <a:gd name="connsiteX39" fmla="*/ 4682 w 10000"/>
                <a:gd name="connsiteY39" fmla="*/ 2161 h 10000"/>
                <a:gd name="connsiteX40" fmla="*/ 4666 w 10000"/>
                <a:gd name="connsiteY40" fmla="*/ 2177 h 10000"/>
                <a:gd name="connsiteX41" fmla="*/ 4645 w 10000"/>
                <a:gd name="connsiteY41" fmla="*/ 2200 h 10000"/>
                <a:gd name="connsiteX42" fmla="*/ 4622 w 10000"/>
                <a:gd name="connsiteY42" fmla="*/ 2225 h 10000"/>
                <a:gd name="connsiteX43" fmla="*/ 4599 w 10000"/>
                <a:gd name="connsiteY43" fmla="*/ 2256 h 10000"/>
                <a:gd name="connsiteX44" fmla="*/ 4576 w 10000"/>
                <a:gd name="connsiteY44" fmla="*/ 2291 h 10000"/>
                <a:gd name="connsiteX45" fmla="*/ 4558 w 10000"/>
                <a:gd name="connsiteY45" fmla="*/ 2335 h 10000"/>
                <a:gd name="connsiteX46" fmla="*/ 4542 w 10000"/>
                <a:gd name="connsiteY46" fmla="*/ 2379 h 10000"/>
                <a:gd name="connsiteX47" fmla="*/ 4533 w 10000"/>
                <a:gd name="connsiteY47" fmla="*/ 2426 h 10000"/>
                <a:gd name="connsiteX48" fmla="*/ 4533 w 10000"/>
                <a:gd name="connsiteY48" fmla="*/ 2478 h 10000"/>
                <a:gd name="connsiteX49" fmla="*/ 4542 w 10000"/>
                <a:gd name="connsiteY49" fmla="*/ 2530 h 10000"/>
                <a:gd name="connsiteX50" fmla="*/ 4560 w 10000"/>
                <a:gd name="connsiteY50" fmla="*/ 2586 h 10000"/>
                <a:gd name="connsiteX51" fmla="*/ 4595 w 10000"/>
                <a:gd name="connsiteY51" fmla="*/ 2646 h 10000"/>
                <a:gd name="connsiteX52" fmla="*/ 4639 w 10000"/>
                <a:gd name="connsiteY52" fmla="*/ 2704 h 10000"/>
                <a:gd name="connsiteX53" fmla="*/ 4701 w 10000"/>
                <a:gd name="connsiteY53" fmla="*/ 2764 h 10000"/>
                <a:gd name="connsiteX54" fmla="*/ 4782 w 10000"/>
                <a:gd name="connsiteY54" fmla="*/ 2829 h 10000"/>
                <a:gd name="connsiteX55" fmla="*/ 4878 w 10000"/>
                <a:gd name="connsiteY55" fmla="*/ 2887 h 10000"/>
                <a:gd name="connsiteX56" fmla="*/ 5000 w 10000"/>
                <a:gd name="connsiteY56" fmla="*/ 2951 h 10000"/>
                <a:gd name="connsiteX57" fmla="*/ 5009 w 10000"/>
                <a:gd name="connsiteY57" fmla="*/ 2955 h 10000"/>
                <a:gd name="connsiteX58" fmla="*/ 5036 w 10000"/>
                <a:gd name="connsiteY58" fmla="*/ 2964 h 10000"/>
                <a:gd name="connsiteX59" fmla="*/ 5076 w 10000"/>
                <a:gd name="connsiteY59" fmla="*/ 2978 h 10000"/>
                <a:gd name="connsiteX60" fmla="*/ 5133 w 10000"/>
                <a:gd name="connsiteY60" fmla="*/ 2999 h 10000"/>
                <a:gd name="connsiteX61" fmla="*/ 5199 w 10000"/>
                <a:gd name="connsiteY61" fmla="*/ 3022 h 10000"/>
                <a:gd name="connsiteX62" fmla="*/ 5279 w 10000"/>
                <a:gd name="connsiteY62" fmla="*/ 3056 h 10000"/>
                <a:gd name="connsiteX63" fmla="*/ 5370 w 10000"/>
                <a:gd name="connsiteY63" fmla="*/ 3095 h 10000"/>
                <a:gd name="connsiteX64" fmla="*/ 5467 w 10000"/>
                <a:gd name="connsiteY64" fmla="*/ 3134 h 10000"/>
                <a:gd name="connsiteX65" fmla="*/ 5570 w 10000"/>
                <a:gd name="connsiteY65" fmla="*/ 3186 h 10000"/>
                <a:gd name="connsiteX66" fmla="*/ 5679 w 10000"/>
                <a:gd name="connsiteY66" fmla="*/ 3242 h 10000"/>
                <a:gd name="connsiteX67" fmla="*/ 5793 w 10000"/>
                <a:gd name="connsiteY67" fmla="*/ 3300 h 10000"/>
                <a:gd name="connsiteX68" fmla="*/ 5909 w 10000"/>
                <a:gd name="connsiteY68" fmla="*/ 3369 h 10000"/>
                <a:gd name="connsiteX69" fmla="*/ 6028 w 10000"/>
                <a:gd name="connsiteY69" fmla="*/ 3439 h 10000"/>
                <a:gd name="connsiteX70" fmla="*/ 6143 w 10000"/>
                <a:gd name="connsiteY70" fmla="*/ 3515 h 10000"/>
                <a:gd name="connsiteX71" fmla="*/ 6257 w 10000"/>
                <a:gd name="connsiteY71" fmla="*/ 3599 h 10000"/>
                <a:gd name="connsiteX72" fmla="*/ 6370 w 10000"/>
                <a:gd name="connsiteY72" fmla="*/ 3690 h 10000"/>
                <a:gd name="connsiteX73" fmla="*/ 6476 w 10000"/>
                <a:gd name="connsiteY73" fmla="*/ 3786 h 10000"/>
                <a:gd name="connsiteX74" fmla="*/ 6575 w 10000"/>
                <a:gd name="connsiteY74" fmla="*/ 3885 h 10000"/>
                <a:gd name="connsiteX75" fmla="*/ 6670 w 10000"/>
                <a:gd name="connsiteY75" fmla="*/ 3991 h 10000"/>
                <a:gd name="connsiteX76" fmla="*/ 6751 w 10000"/>
                <a:gd name="connsiteY76" fmla="*/ 4108 h 10000"/>
                <a:gd name="connsiteX77" fmla="*/ 6824 w 10000"/>
                <a:gd name="connsiteY77" fmla="*/ 4225 h 10000"/>
                <a:gd name="connsiteX78" fmla="*/ 6887 w 10000"/>
                <a:gd name="connsiteY78" fmla="*/ 4350 h 10000"/>
                <a:gd name="connsiteX79" fmla="*/ 6933 w 10000"/>
                <a:gd name="connsiteY79" fmla="*/ 4481 h 10000"/>
                <a:gd name="connsiteX80" fmla="*/ 6966 w 10000"/>
                <a:gd name="connsiteY80" fmla="*/ 4616 h 10000"/>
                <a:gd name="connsiteX81" fmla="*/ 6982 w 10000"/>
                <a:gd name="connsiteY81" fmla="*/ 4760 h 10000"/>
                <a:gd name="connsiteX82" fmla="*/ 7491 w 10000"/>
                <a:gd name="connsiteY82" fmla="*/ 3717 h 10000"/>
                <a:gd name="connsiteX83" fmla="*/ 8292 w 10000"/>
                <a:gd name="connsiteY83" fmla="*/ 4445 h 10000"/>
                <a:gd name="connsiteX84" fmla="*/ 9606 w 10000"/>
                <a:gd name="connsiteY84" fmla="*/ 2379 h 10000"/>
                <a:gd name="connsiteX85" fmla="*/ 9473 w 10000"/>
                <a:gd name="connsiteY85" fmla="*/ 2212 h 10000"/>
                <a:gd name="connsiteX86" fmla="*/ 10000 w 10000"/>
                <a:gd name="connsiteY86" fmla="*/ 1899 h 10000"/>
                <a:gd name="connsiteX87" fmla="*/ 9894 w 10000"/>
                <a:gd name="connsiteY87" fmla="*/ 2665 h 10000"/>
                <a:gd name="connsiteX88" fmla="*/ 9745 w 10000"/>
                <a:gd name="connsiteY88" fmla="*/ 2526 h 10000"/>
                <a:gd name="connsiteX89" fmla="*/ 8306 w 10000"/>
                <a:gd name="connsiteY89" fmla="*/ 4730 h 10000"/>
                <a:gd name="connsiteX90" fmla="*/ 7524 w 10000"/>
                <a:gd name="connsiteY90" fmla="*/ 4039 h 10000"/>
                <a:gd name="connsiteX91" fmla="*/ 6837 w 10000"/>
                <a:gd name="connsiteY91" fmla="*/ 5589 h 10000"/>
                <a:gd name="connsiteX92" fmla="*/ 6837 w 10000"/>
                <a:gd name="connsiteY92" fmla="*/ 5573 h 10000"/>
                <a:gd name="connsiteX93" fmla="*/ 6837 w 10000"/>
                <a:gd name="connsiteY93" fmla="*/ 5538 h 10000"/>
                <a:gd name="connsiteX94" fmla="*/ 6837 w 10000"/>
                <a:gd name="connsiteY94" fmla="*/ 5473 h 10000"/>
                <a:gd name="connsiteX95" fmla="*/ 6833 w 10000"/>
                <a:gd name="connsiteY95" fmla="*/ 5398 h 10000"/>
                <a:gd name="connsiteX96" fmla="*/ 6830 w 10000"/>
                <a:gd name="connsiteY96" fmla="*/ 5303 h 10000"/>
                <a:gd name="connsiteX97" fmla="*/ 6827 w 10000"/>
                <a:gd name="connsiteY97" fmla="*/ 5199 h 10000"/>
                <a:gd name="connsiteX98" fmla="*/ 6818 w 10000"/>
                <a:gd name="connsiteY98" fmla="*/ 5089 h 10000"/>
                <a:gd name="connsiteX99" fmla="*/ 6810 w 10000"/>
                <a:gd name="connsiteY99" fmla="*/ 4972 h 10000"/>
                <a:gd name="connsiteX100" fmla="*/ 6797 w 10000"/>
                <a:gd name="connsiteY100" fmla="*/ 4859 h 10000"/>
                <a:gd name="connsiteX101" fmla="*/ 6778 w 10000"/>
                <a:gd name="connsiteY101" fmla="*/ 4742 h 10000"/>
                <a:gd name="connsiteX102" fmla="*/ 6761 w 10000"/>
                <a:gd name="connsiteY102" fmla="*/ 4635 h 10000"/>
                <a:gd name="connsiteX103" fmla="*/ 6734 w 10000"/>
                <a:gd name="connsiteY103" fmla="*/ 4539 h 10000"/>
                <a:gd name="connsiteX104" fmla="*/ 6704 w 10000"/>
                <a:gd name="connsiteY104" fmla="*/ 4456 h 10000"/>
                <a:gd name="connsiteX105" fmla="*/ 6667 w 10000"/>
                <a:gd name="connsiteY105" fmla="*/ 4390 h 10000"/>
                <a:gd name="connsiteX106" fmla="*/ 6664 w 10000"/>
                <a:gd name="connsiteY106" fmla="*/ 4381 h 10000"/>
                <a:gd name="connsiteX107" fmla="*/ 6648 w 10000"/>
                <a:gd name="connsiteY107" fmla="*/ 4357 h 10000"/>
                <a:gd name="connsiteX108" fmla="*/ 6624 w 10000"/>
                <a:gd name="connsiteY108" fmla="*/ 4317 h 10000"/>
                <a:gd name="connsiteX109" fmla="*/ 6591 w 10000"/>
                <a:gd name="connsiteY109" fmla="*/ 4265 h 10000"/>
                <a:gd name="connsiteX110" fmla="*/ 6542 w 10000"/>
                <a:gd name="connsiteY110" fmla="*/ 4203 h 10000"/>
                <a:gd name="connsiteX111" fmla="*/ 6485 w 10000"/>
                <a:gd name="connsiteY111" fmla="*/ 4130 h 10000"/>
                <a:gd name="connsiteX112" fmla="*/ 6412 w 10000"/>
                <a:gd name="connsiteY112" fmla="*/ 4052 h 10000"/>
                <a:gd name="connsiteX113" fmla="*/ 6324 w 10000"/>
                <a:gd name="connsiteY113" fmla="*/ 3964 h 10000"/>
                <a:gd name="connsiteX114" fmla="*/ 6221 w 10000"/>
                <a:gd name="connsiteY114" fmla="*/ 3877 h 10000"/>
                <a:gd name="connsiteX115" fmla="*/ 6104 w 10000"/>
                <a:gd name="connsiteY115" fmla="*/ 3782 h 10000"/>
                <a:gd name="connsiteX116" fmla="*/ 5969 w 10000"/>
                <a:gd name="connsiteY116" fmla="*/ 3690 h 10000"/>
                <a:gd name="connsiteX117" fmla="*/ 5815 w 10000"/>
                <a:gd name="connsiteY117" fmla="*/ 3595 h 10000"/>
                <a:gd name="connsiteX118" fmla="*/ 5806 w 10000"/>
                <a:gd name="connsiteY118" fmla="*/ 3595 h 10000"/>
                <a:gd name="connsiteX119" fmla="*/ 5782 w 10000"/>
                <a:gd name="connsiteY119" fmla="*/ 3583 h 10000"/>
                <a:gd name="connsiteX120" fmla="*/ 5743 w 10000"/>
                <a:gd name="connsiteY120" fmla="*/ 3568 h 10000"/>
                <a:gd name="connsiteX121" fmla="*/ 5690 w 10000"/>
                <a:gd name="connsiteY121" fmla="*/ 3547 h 10000"/>
                <a:gd name="connsiteX122" fmla="*/ 5627 w 10000"/>
                <a:gd name="connsiteY122" fmla="*/ 3524 h 10000"/>
                <a:gd name="connsiteX123" fmla="*/ 5554 w 10000"/>
                <a:gd name="connsiteY123" fmla="*/ 3491 h 10000"/>
                <a:gd name="connsiteX124" fmla="*/ 5473 w 10000"/>
                <a:gd name="connsiteY124" fmla="*/ 3460 h 10000"/>
                <a:gd name="connsiteX125" fmla="*/ 5388 w 10000"/>
                <a:gd name="connsiteY125" fmla="*/ 3420 h 10000"/>
                <a:gd name="connsiteX126" fmla="*/ 5294 w 10000"/>
                <a:gd name="connsiteY126" fmla="*/ 3381 h 10000"/>
                <a:gd name="connsiteX127" fmla="*/ 5199 w 10000"/>
                <a:gd name="connsiteY127" fmla="*/ 3338 h 10000"/>
                <a:gd name="connsiteX128" fmla="*/ 5106 w 10000"/>
                <a:gd name="connsiteY128" fmla="*/ 3289 h 10000"/>
                <a:gd name="connsiteX129" fmla="*/ 5009 w 10000"/>
                <a:gd name="connsiteY129" fmla="*/ 3242 h 10000"/>
                <a:gd name="connsiteX130" fmla="*/ 4915 w 10000"/>
                <a:gd name="connsiteY130" fmla="*/ 3190 h 10000"/>
                <a:gd name="connsiteX131" fmla="*/ 4827 w 10000"/>
                <a:gd name="connsiteY131" fmla="*/ 3138 h 10000"/>
                <a:gd name="connsiteX132" fmla="*/ 4742 w 10000"/>
                <a:gd name="connsiteY132" fmla="*/ 3087 h 10000"/>
                <a:gd name="connsiteX133" fmla="*/ 4664 w 10000"/>
                <a:gd name="connsiteY133" fmla="*/ 3034 h 10000"/>
                <a:gd name="connsiteX134" fmla="*/ 4596 w 10000"/>
                <a:gd name="connsiteY134" fmla="*/ 2982 h 10000"/>
                <a:gd name="connsiteX135" fmla="*/ 4536 w 10000"/>
                <a:gd name="connsiteY135" fmla="*/ 2931 h 10000"/>
                <a:gd name="connsiteX136" fmla="*/ 4490 w 10000"/>
                <a:gd name="connsiteY136" fmla="*/ 2881 h 10000"/>
                <a:gd name="connsiteX137" fmla="*/ 4457 w 10000"/>
                <a:gd name="connsiteY137" fmla="*/ 2833 h 10000"/>
                <a:gd name="connsiteX138" fmla="*/ 4457 w 10000"/>
                <a:gd name="connsiteY138" fmla="*/ 2829 h 10000"/>
                <a:gd name="connsiteX139" fmla="*/ 4449 w 10000"/>
                <a:gd name="connsiteY139" fmla="*/ 2813 h 10000"/>
                <a:gd name="connsiteX140" fmla="*/ 4440 w 10000"/>
                <a:gd name="connsiteY140" fmla="*/ 2791 h 10000"/>
                <a:gd name="connsiteX141" fmla="*/ 4427 w 10000"/>
                <a:gd name="connsiteY141" fmla="*/ 2764 h 10000"/>
                <a:gd name="connsiteX142" fmla="*/ 4413 w 10000"/>
                <a:gd name="connsiteY142" fmla="*/ 2729 h 10000"/>
                <a:gd name="connsiteX143" fmla="*/ 4400 w 10000"/>
                <a:gd name="connsiteY143" fmla="*/ 2690 h 10000"/>
                <a:gd name="connsiteX144" fmla="*/ 4384 w 10000"/>
                <a:gd name="connsiteY144" fmla="*/ 2646 h 10000"/>
                <a:gd name="connsiteX145" fmla="*/ 4373 w 10000"/>
                <a:gd name="connsiteY145" fmla="*/ 2595 h 10000"/>
                <a:gd name="connsiteX146" fmla="*/ 4360 w 10000"/>
                <a:gd name="connsiteY146" fmla="*/ 2542 h 10000"/>
                <a:gd name="connsiteX147" fmla="*/ 4351 w 10000"/>
                <a:gd name="connsiteY147" fmla="*/ 2486 h 10000"/>
                <a:gd name="connsiteX148" fmla="*/ 4349 w 10000"/>
                <a:gd name="connsiteY148" fmla="*/ 2426 h 10000"/>
                <a:gd name="connsiteX149" fmla="*/ 4349 w 10000"/>
                <a:gd name="connsiteY149" fmla="*/ 2368 h 10000"/>
                <a:gd name="connsiteX150" fmla="*/ 4351 w 10000"/>
                <a:gd name="connsiteY150" fmla="*/ 2307 h 10000"/>
                <a:gd name="connsiteX151" fmla="*/ 4364 w 10000"/>
                <a:gd name="connsiteY151" fmla="*/ 2248 h 10000"/>
                <a:gd name="connsiteX152" fmla="*/ 4384 w 10000"/>
                <a:gd name="connsiteY152" fmla="*/ 2190 h 10000"/>
                <a:gd name="connsiteX153" fmla="*/ 4413 w 10000"/>
                <a:gd name="connsiteY153" fmla="*/ 2130 h 10000"/>
                <a:gd name="connsiteX154" fmla="*/ 4449 w 10000"/>
                <a:gd name="connsiteY154" fmla="*/ 2074 h 10000"/>
                <a:gd name="connsiteX155" fmla="*/ 4493 w 10000"/>
                <a:gd name="connsiteY155" fmla="*/ 2021 h 10000"/>
                <a:gd name="connsiteX156" fmla="*/ 4552 w 10000"/>
                <a:gd name="connsiteY156" fmla="*/ 1970 h 10000"/>
                <a:gd name="connsiteX157" fmla="*/ 4618 w 10000"/>
                <a:gd name="connsiteY157" fmla="*/ 1926 h 10000"/>
                <a:gd name="connsiteX158" fmla="*/ 4701 w 10000"/>
                <a:gd name="connsiteY158" fmla="*/ 1887 h 10000"/>
                <a:gd name="connsiteX159" fmla="*/ 4797 w 10000"/>
                <a:gd name="connsiteY159" fmla="*/ 1852 h 10000"/>
                <a:gd name="connsiteX160" fmla="*/ 4903 w 10000"/>
                <a:gd name="connsiteY160" fmla="*/ 1822 h 10000"/>
                <a:gd name="connsiteX161" fmla="*/ 5027 w 10000"/>
                <a:gd name="connsiteY161" fmla="*/ 1803 h 10000"/>
                <a:gd name="connsiteX162" fmla="*/ 5169 w 10000"/>
                <a:gd name="connsiteY162" fmla="*/ 1791 h 10000"/>
                <a:gd name="connsiteX163" fmla="*/ 5179 w 10000"/>
                <a:gd name="connsiteY163" fmla="*/ 1791 h 10000"/>
                <a:gd name="connsiteX164" fmla="*/ 5209 w 10000"/>
                <a:gd name="connsiteY164" fmla="*/ 1791 h 10000"/>
                <a:gd name="connsiteX165" fmla="*/ 5255 w 10000"/>
                <a:gd name="connsiteY165" fmla="*/ 1795 h 10000"/>
                <a:gd name="connsiteX166" fmla="*/ 5312 w 10000"/>
                <a:gd name="connsiteY166" fmla="*/ 1799 h 10000"/>
                <a:gd name="connsiteX167" fmla="*/ 5385 w 10000"/>
                <a:gd name="connsiteY167" fmla="*/ 1807 h 10000"/>
                <a:gd name="connsiteX168" fmla="*/ 5467 w 10000"/>
                <a:gd name="connsiteY168" fmla="*/ 1816 h 10000"/>
                <a:gd name="connsiteX169" fmla="*/ 5557 w 10000"/>
                <a:gd name="connsiteY169" fmla="*/ 1826 h 10000"/>
                <a:gd name="connsiteX170" fmla="*/ 5651 w 10000"/>
                <a:gd name="connsiteY170" fmla="*/ 1843 h 10000"/>
                <a:gd name="connsiteX171" fmla="*/ 5749 w 10000"/>
                <a:gd name="connsiteY171" fmla="*/ 1860 h 10000"/>
                <a:gd name="connsiteX172" fmla="*/ 5849 w 10000"/>
                <a:gd name="connsiteY172" fmla="*/ 1879 h 10000"/>
                <a:gd name="connsiteX173" fmla="*/ 5945 w 10000"/>
                <a:gd name="connsiteY173" fmla="*/ 1908 h 10000"/>
                <a:gd name="connsiteX174" fmla="*/ 6039 w 10000"/>
                <a:gd name="connsiteY174" fmla="*/ 1934 h 10000"/>
                <a:gd name="connsiteX175" fmla="*/ 6124 w 10000"/>
                <a:gd name="connsiteY175" fmla="*/ 1965 h 10000"/>
                <a:gd name="connsiteX176" fmla="*/ 6206 w 10000"/>
                <a:gd name="connsiteY176" fmla="*/ 2007 h 10000"/>
                <a:gd name="connsiteX177" fmla="*/ 6273 w 10000"/>
                <a:gd name="connsiteY177" fmla="*/ 2046 h 10000"/>
                <a:gd name="connsiteX178" fmla="*/ 6330 w 10000"/>
                <a:gd name="connsiteY178" fmla="*/ 2095 h 10000"/>
                <a:gd name="connsiteX179" fmla="*/ 6528 w 10000"/>
                <a:gd name="connsiteY179" fmla="*/ 1208 h 10000"/>
                <a:gd name="connsiteX180" fmla="*/ 6518 w 10000"/>
                <a:gd name="connsiteY180" fmla="*/ 1208 h 10000"/>
                <a:gd name="connsiteX181" fmla="*/ 6495 w 10000"/>
                <a:gd name="connsiteY181" fmla="*/ 1200 h 10000"/>
                <a:gd name="connsiteX182" fmla="*/ 6458 w 10000"/>
                <a:gd name="connsiteY182" fmla="*/ 1183 h 10000"/>
                <a:gd name="connsiteX183" fmla="*/ 6406 w 10000"/>
                <a:gd name="connsiteY183" fmla="*/ 1169 h 10000"/>
                <a:gd name="connsiteX184" fmla="*/ 6346 w 10000"/>
                <a:gd name="connsiteY184" fmla="*/ 1148 h 10000"/>
                <a:gd name="connsiteX185" fmla="*/ 6276 w 10000"/>
                <a:gd name="connsiteY185" fmla="*/ 1125 h 10000"/>
                <a:gd name="connsiteX186" fmla="*/ 6197 w 10000"/>
                <a:gd name="connsiteY186" fmla="*/ 1100 h 10000"/>
                <a:gd name="connsiteX187" fmla="*/ 6115 w 10000"/>
                <a:gd name="connsiteY187" fmla="*/ 1077 h 10000"/>
                <a:gd name="connsiteX188" fmla="*/ 6024 w 10000"/>
                <a:gd name="connsiteY188" fmla="*/ 1048 h 10000"/>
                <a:gd name="connsiteX189" fmla="*/ 5933 w 10000"/>
                <a:gd name="connsiteY189" fmla="*/ 1025 h 10000"/>
                <a:gd name="connsiteX190" fmla="*/ 5839 w 10000"/>
                <a:gd name="connsiteY190" fmla="*/ 1000 h 10000"/>
                <a:gd name="connsiteX191" fmla="*/ 5746 w 10000"/>
                <a:gd name="connsiteY191" fmla="*/ 978 h 10000"/>
                <a:gd name="connsiteX192" fmla="*/ 5651 w 10000"/>
                <a:gd name="connsiteY192" fmla="*/ 961 h 10000"/>
                <a:gd name="connsiteX193" fmla="*/ 5560 w 10000"/>
                <a:gd name="connsiteY193" fmla="*/ 947 h 10000"/>
                <a:gd name="connsiteX194" fmla="*/ 5475 w 10000"/>
                <a:gd name="connsiteY194" fmla="*/ 934 h 10000"/>
                <a:gd name="connsiteX195" fmla="*/ 5397 w 10000"/>
                <a:gd name="connsiteY195" fmla="*/ 926 h 10000"/>
                <a:gd name="connsiteX196" fmla="*/ 5325 w 10000"/>
                <a:gd name="connsiteY196" fmla="*/ 922 h 10000"/>
                <a:gd name="connsiteX197" fmla="*/ 5309 w 10000"/>
                <a:gd name="connsiteY197" fmla="*/ 251 h 10000"/>
                <a:gd name="connsiteX198" fmla="*/ 4664 w 10000"/>
                <a:gd name="connsiteY198" fmla="*/ 257 h 10000"/>
                <a:gd name="connsiteX199" fmla="*/ 4664 w 10000"/>
                <a:gd name="connsiteY199" fmla="*/ 978 h 10000"/>
                <a:gd name="connsiteX200" fmla="*/ 4655 w 10000"/>
                <a:gd name="connsiteY200" fmla="*/ 982 h 10000"/>
                <a:gd name="connsiteX201" fmla="*/ 4633 w 10000"/>
                <a:gd name="connsiteY201" fmla="*/ 986 h 10000"/>
                <a:gd name="connsiteX202" fmla="*/ 4596 w 10000"/>
                <a:gd name="connsiteY202" fmla="*/ 994 h 10000"/>
                <a:gd name="connsiteX203" fmla="*/ 4552 w 10000"/>
                <a:gd name="connsiteY203" fmla="*/ 1000 h 10000"/>
                <a:gd name="connsiteX204" fmla="*/ 4493 w 10000"/>
                <a:gd name="connsiteY204" fmla="*/ 1017 h 10000"/>
                <a:gd name="connsiteX205" fmla="*/ 4430 w 10000"/>
                <a:gd name="connsiteY205" fmla="*/ 1037 h 10000"/>
                <a:gd name="connsiteX206" fmla="*/ 4354 w 10000"/>
                <a:gd name="connsiteY206" fmla="*/ 1064 h 10000"/>
                <a:gd name="connsiteX207" fmla="*/ 4276 w 10000"/>
                <a:gd name="connsiteY207" fmla="*/ 1095 h 10000"/>
                <a:gd name="connsiteX208" fmla="*/ 4191 w 10000"/>
                <a:gd name="connsiteY208" fmla="*/ 1136 h 10000"/>
                <a:gd name="connsiteX209" fmla="*/ 4102 w 10000"/>
                <a:gd name="connsiteY209" fmla="*/ 1179 h 10000"/>
                <a:gd name="connsiteX210" fmla="*/ 4012 w 10000"/>
                <a:gd name="connsiteY210" fmla="*/ 1235 h 10000"/>
                <a:gd name="connsiteX211" fmla="*/ 3922 w 10000"/>
                <a:gd name="connsiteY211" fmla="*/ 1295 h 10000"/>
                <a:gd name="connsiteX212" fmla="*/ 3827 w 10000"/>
                <a:gd name="connsiteY212" fmla="*/ 1366 h 10000"/>
                <a:gd name="connsiteX213" fmla="*/ 3740 w 10000"/>
                <a:gd name="connsiteY213" fmla="*/ 1447 h 10000"/>
                <a:gd name="connsiteX214" fmla="*/ 3651 w 10000"/>
                <a:gd name="connsiteY214" fmla="*/ 1533 h 10000"/>
                <a:gd name="connsiteX215" fmla="*/ 3570 w 10000"/>
                <a:gd name="connsiteY215" fmla="*/ 1638 h 10000"/>
                <a:gd name="connsiteX216" fmla="*/ 3491 w 10000"/>
                <a:gd name="connsiteY216" fmla="*/ 1743 h 10000"/>
                <a:gd name="connsiteX217" fmla="*/ 3421 w 10000"/>
                <a:gd name="connsiteY217" fmla="*/ 1868 h 10000"/>
                <a:gd name="connsiteX218" fmla="*/ 3358 w 10000"/>
                <a:gd name="connsiteY218" fmla="*/ 2003 h 10000"/>
                <a:gd name="connsiteX219" fmla="*/ 3306 w 10000"/>
                <a:gd name="connsiteY219" fmla="*/ 2146 h 10000"/>
                <a:gd name="connsiteX220" fmla="*/ 3263 w 10000"/>
                <a:gd name="connsiteY220" fmla="*/ 2307 h 10000"/>
                <a:gd name="connsiteX221" fmla="*/ 3260 w 10000"/>
                <a:gd name="connsiteY221" fmla="*/ 2312 h 10000"/>
                <a:gd name="connsiteX222" fmla="*/ 3257 w 10000"/>
                <a:gd name="connsiteY222" fmla="*/ 2335 h 10000"/>
                <a:gd name="connsiteX223" fmla="*/ 3252 w 10000"/>
                <a:gd name="connsiteY223" fmla="*/ 2373 h 10000"/>
                <a:gd name="connsiteX224" fmla="*/ 3246 w 10000"/>
                <a:gd name="connsiteY224" fmla="*/ 2420 h 10000"/>
                <a:gd name="connsiteX225" fmla="*/ 3239 w 10000"/>
                <a:gd name="connsiteY225" fmla="*/ 2474 h 10000"/>
                <a:gd name="connsiteX226" fmla="*/ 3236 w 10000"/>
                <a:gd name="connsiteY226" fmla="*/ 2546 h 10000"/>
                <a:gd name="connsiteX227" fmla="*/ 3236 w 10000"/>
                <a:gd name="connsiteY227" fmla="*/ 2622 h 10000"/>
                <a:gd name="connsiteX228" fmla="*/ 3236 w 10000"/>
                <a:gd name="connsiteY228" fmla="*/ 2704 h 10000"/>
                <a:gd name="connsiteX229" fmla="*/ 3243 w 10000"/>
                <a:gd name="connsiteY229" fmla="*/ 2795 h 10000"/>
                <a:gd name="connsiteX230" fmla="*/ 3255 w 10000"/>
                <a:gd name="connsiteY230" fmla="*/ 2891 h 10000"/>
                <a:gd name="connsiteX231" fmla="*/ 3273 w 10000"/>
                <a:gd name="connsiteY231" fmla="*/ 2991 h 10000"/>
                <a:gd name="connsiteX232" fmla="*/ 3296 w 10000"/>
                <a:gd name="connsiteY232" fmla="*/ 3095 h 10000"/>
                <a:gd name="connsiteX233" fmla="*/ 3333 w 10000"/>
                <a:gd name="connsiteY233" fmla="*/ 3202 h 10000"/>
                <a:gd name="connsiteX234" fmla="*/ 3376 w 10000"/>
                <a:gd name="connsiteY234" fmla="*/ 3305 h 10000"/>
                <a:gd name="connsiteX235" fmla="*/ 3431 w 10000"/>
                <a:gd name="connsiteY235" fmla="*/ 3412 h 10000"/>
                <a:gd name="connsiteX236" fmla="*/ 3494 w 10000"/>
                <a:gd name="connsiteY236" fmla="*/ 3515 h 10000"/>
                <a:gd name="connsiteX237" fmla="*/ 3570 w 10000"/>
                <a:gd name="connsiteY237" fmla="*/ 3616 h 10000"/>
                <a:gd name="connsiteX238" fmla="*/ 3661 w 10000"/>
                <a:gd name="connsiteY238" fmla="*/ 3711 h 10000"/>
                <a:gd name="connsiteX239" fmla="*/ 3767 w 10000"/>
                <a:gd name="connsiteY239" fmla="*/ 3803 h 10000"/>
                <a:gd name="connsiteX240" fmla="*/ 3885 w 10000"/>
                <a:gd name="connsiteY240" fmla="*/ 3890 h 10000"/>
                <a:gd name="connsiteX241" fmla="*/ 4022 w 10000"/>
                <a:gd name="connsiteY241" fmla="*/ 3964 h 10000"/>
                <a:gd name="connsiteX242" fmla="*/ 4031 w 10000"/>
                <a:gd name="connsiteY242" fmla="*/ 3968 h 10000"/>
                <a:gd name="connsiteX243" fmla="*/ 4055 w 10000"/>
                <a:gd name="connsiteY243" fmla="*/ 3985 h 10000"/>
                <a:gd name="connsiteX244" fmla="*/ 4088 w 10000"/>
                <a:gd name="connsiteY244" fmla="*/ 3999 h 10000"/>
                <a:gd name="connsiteX245" fmla="*/ 4134 w 10000"/>
                <a:gd name="connsiteY245" fmla="*/ 4029 h 10000"/>
                <a:gd name="connsiteX246" fmla="*/ 4185 w 10000"/>
                <a:gd name="connsiteY246" fmla="*/ 4056 h 10000"/>
                <a:gd name="connsiteX247" fmla="*/ 4243 w 10000"/>
                <a:gd name="connsiteY247" fmla="*/ 4087 h 10000"/>
                <a:gd name="connsiteX248" fmla="*/ 4300 w 10000"/>
                <a:gd name="connsiteY248" fmla="*/ 4120 h 10000"/>
                <a:gd name="connsiteX249" fmla="*/ 4360 w 10000"/>
                <a:gd name="connsiteY249" fmla="*/ 4151 h 10000"/>
                <a:gd name="connsiteX250" fmla="*/ 4416 w 10000"/>
                <a:gd name="connsiteY250" fmla="*/ 4182 h 10000"/>
                <a:gd name="connsiteX251" fmla="*/ 4466 w 10000"/>
                <a:gd name="connsiteY251" fmla="*/ 4211 h 10000"/>
                <a:gd name="connsiteX252" fmla="*/ 4512 w 10000"/>
                <a:gd name="connsiteY252" fmla="*/ 4234 h 10000"/>
                <a:gd name="connsiteX253" fmla="*/ 4549 w 10000"/>
                <a:gd name="connsiteY253" fmla="*/ 4250 h 10000"/>
                <a:gd name="connsiteX254" fmla="*/ 4569 w 10000"/>
                <a:gd name="connsiteY254" fmla="*/ 4263 h 10000"/>
                <a:gd name="connsiteX255" fmla="*/ 4579 w 10000"/>
                <a:gd name="connsiteY255" fmla="*/ 4263 h 10000"/>
                <a:gd name="connsiteX256" fmla="*/ 4603 w 10000"/>
                <a:gd name="connsiteY256" fmla="*/ 4270 h 10000"/>
                <a:gd name="connsiteX257" fmla="*/ 4642 w 10000"/>
                <a:gd name="connsiteY257" fmla="*/ 4286 h 10000"/>
                <a:gd name="connsiteX258" fmla="*/ 4691 w 10000"/>
                <a:gd name="connsiteY258" fmla="*/ 4303 h 10000"/>
                <a:gd name="connsiteX259" fmla="*/ 4751 w 10000"/>
                <a:gd name="connsiteY259" fmla="*/ 4326 h 10000"/>
                <a:gd name="connsiteX260" fmla="*/ 4821 w 10000"/>
                <a:gd name="connsiteY260" fmla="*/ 4355 h 10000"/>
                <a:gd name="connsiteX261" fmla="*/ 4897 w 10000"/>
                <a:gd name="connsiteY261" fmla="*/ 4386 h 10000"/>
                <a:gd name="connsiteX262" fmla="*/ 4976 w 10000"/>
                <a:gd name="connsiteY262" fmla="*/ 4421 h 10000"/>
                <a:gd name="connsiteX263" fmla="*/ 5057 w 10000"/>
                <a:gd name="connsiteY263" fmla="*/ 4464 h 10000"/>
                <a:gd name="connsiteX264" fmla="*/ 5142 w 10000"/>
                <a:gd name="connsiteY264" fmla="*/ 4507 h 10000"/>
                <a:gd name="connsiteX265" fmla="*/ 5225 w 10000"/>
                <a:gd name="connsiteY265" fmla="*/ 4560 h 10000"/>
                <a:gd name="connsiteX266" fmla="*/ 5302 w 10000"/>
                <a:gd name="connsiteY266" fmla="*/ 4616 h 10000"/>
                <a:gd name="connsiteX267" fmla="*/ 5378 w 10000"/>
                <a:gd name="connsiteY267" fmla="*/ 4672 h 10000"/>
                <a:gd name="connsiteX268" fmla="*/ 5445 w 10000"/>
                <a:gd name="connsiteY268" fmla="*/ 4734 h 10000"/>
                <a:gd name="connsiteX269" fmla="*/ 5507 w 10000"/>
                <a:gd name="connsiteY269" fmla="*/ 4799 h 10000"/>
                <a:gd name="connsiteX270" fmla="*/ 5554 w 10000"/>
                <a:gd name="connsiteY270" fmla="*/ 4869 h 10000"/>
                <a:gd name="connsiteX271" fmla="*/ 5557 w 10000"/>
                <a:gd name="connsiteY271" fmla="*/ 4873 h 10000"/>
                <a:gd name="connsiteX272" fmla="*/ 5567 w 10000"/>
                <a:gd name="connsiteY272" fmla="*/ 4890 h 10000"/>
                <a:gd name="connsiteX273" fmla="*/ 5576 w 10000"/>
                <a:gd name="connsiteY273" fmla="*/ 4913 h 10000"/>
                <a:gd name="connsiteX274" fmla="*/ 5591 w 10000"/>
                <a:gd name="connsiteY274" fmla="*/ 4950 h 10000"/>
                <a:gd name="connsiteX275" fmla="*/ 5606 w 10000"/>
                <a:gd name="connsiteY275" fmla="*/ 4989 h 10000"/>
                <a:gd name="connsiteX276" fmla="*/ 5621 w 10000"/>
                <a:gd name="connsiteY276" fmla="*/ 5038 h 10000"/>
                <a:gd name="connsiteX277" fmla="*/ 5636 w 10000"/>
                <a:gd name="connsiteY277" fmla="*/ 5091 h 10000"/>
                <a:gd name="connsiteX278" fmla="*/ 5649 w 10000"/>
                <a:gd name="connsiteY278" fmla="*/ 5151 h 10000"/>
                <a:gd name="connsiteX279" fmla="*/ 5657 w 10000"/>
                <a:gd name="connsiteY279" fmla="*/ 5211 h 10000"/>
                <a:gd name="connsiteX280" fmla="*/ 5663 w 10000"/>
                <a:gd name="connsiteY280" fmla="*/ 5278 h 10000"/>
                <a:gd name="connsiteX281" fmla="*/ 5667 w 10000"/>
                <a:gd name="connsiteY281" fmla="*/ 5347 h 10000"/>
                <a:gd name="connsiteX282" fmla="*/ 5660 w 10000"/>
                <a:gd name="connsiteY282" fmla="*/ 5417 h 10000"/>
                <a:gd name="connsiteX283" fmla="*/ 5649 w 10000"/>
                <a:gd name="connsiteY283" fmla="*/ 5485 h 10000"/>
                <a:gd name="connsiteX284" fmla="*/ 5627 w 10000"/>
                <a:gd name="connsiteY284" fmla="*/ 5556 h 10000"/>
                <a:gd name="connsiteX285" fmla="*/ 5597 w 10000"/>
                <a:gd name="connsiteY285" fmla="*/ 5624 h 10000"/>
                <a:gd name="connsiteX286" fmla="*/ 5557 w 10000"/>
                <a:gd name="connsiteY286" fmla="*/ 5689 h 10000"/>
                <a:gd name="connsiteX287" fmla="*/ 5503 w 10000"/>
                <a:gd name="connsiteY287" fmla="*/ 5752 h 10000"/>
                <a:gd name="connsiteX288" fmla="*/ 5440 w 10000"/>
                <a:gd name="connsiteY288" fmla="*/ 5812 h 10000"/>
                <a:gd name="connsiteX289" fmla="*/ 5358 w 10000"/>
                <a:gd name="connsiteY289" fmla="*/ 5867 h 10000"/>
                <a:gd name="connsiteX290" fmla="*/ 5264 w 10000"/>
                <a:gd name="connsiteY290" fmla="*/ 5915 h 10000"/>
                <a:gd name="connsiteX291" fmla="*/ 5155 w 10000"/>
                <a:gd name="connsiteY291" fmla="*/ 5958 h 10000"/>
                <a:gd name="connsiteX292" fmla="*/ 5146 w 10000"/>
                <a:gd name="connsiteY292" fmla="*/ 5958 h 10000"/>
                <a:gd name="connsiteX293" fmla="*/ 5119 w 10000"/>
                <a:gd name="connsiteY293" fmla="*/ 5967 h 10000"/>
                <a:gd name="connsiteX294" fmla="*/ 5070 w 10000"/>
                <a:gd name="connsiteY294" fmla="*/ 5973 h 10000"/>
                <a:gd name="connsiteX295" fmla="*/ 5009 w 10000"/>
                <a:gd name="connsiteY295" fmla="*/ 5986 h 10000"/>
                <a:gd name="connsiteX296" fmla="*/ 4930 w 10000"/>
                <a:gd name="connsiteY296" fmla="*/ 5999 h 10000"/>
                <a:gd name="connsiteX297" fmla="*/ 4840 w 10000"/>
                <a:gd name="connsiteY297" fmla="*/ 6007 h 10000"/>
                <a:gd name="connsiteX298" fmla="*/ 4736 w 10000"/>
                <a:gd name="connsiteY298" fmla="*/ 6011 h 10000"/>
                <a:gd name="connsiteX299" fmla="*/ 4622 w 10000"/>
                <a:gd name="connsiteY299" fmla="*/ 6011 h 10000"/>
                <a:gd name="connsiteX300" fmla="*/ 4493 w 10000"/>
                <a:gd name="connsiteY300" fmla="*/ 6003 h 10000"/>
                <a:gd name="connsiteX301" fmla="*/ 4357 w 10000"/>
                <a:gd name="connsiteY301" fmla="*/ 5986 h 10000"/>
                <a:gd name="connsiteX302" fmla="*/ 4215 w 10000"/>
                <a:gd name="connsiteY302" fmla="*/ 5962 h 10000"/>
                <a:gd name="connsiteX303" fmla="*/ 4064 w 10000"/>
                <a:gd name="connsiteY303" fmla="*/ 5925 h 10000"/>
                <a:gd name="connsiteX304" fmla="*/ 3906 w 10000"/>
                <a:gd name="connsiteY304" fmla="*/ 5874 h 10000"/>
                <a:gd name="connsiteX305" fmla="*/ 3746 w 10000"/>
                <a:gd name="connsiteY305" fmla="*/ 5812 h 10000"/>
                <a:gd name="connsiteX306" fmla="*/ 3578 w 10000"/>
                <a:gd name="connsiteY306" fmla="*/ 5733 h 10000"/>
                <a:gd name="connsiteX307" fmla="*/ 3412 w 10000"/>
                <a:gd name="connsiteY307" fmla="*/ 5633 h 10000"/>
                <a:gd name="connsiteX308" fmla="*/ 3200 w 10000"/>
                <a:gd name="connsiteY308" fmla="*/ 6538 h 10000"/>
                <a:gd name="connsiteX309" fmla="*/ 3209 w 10000"/>
                <a:gd name="connsiteY309" fmla="*/ 6542 h 10000"/>
                <a:gd name="connsiteX310" fmla="*/ 3233 w 10000"/>
                <a:gd name="connsiteY310" fmla="*/ 6554 h 10000"/>
                <a:gd name="connsiteX311" fmla="*/ 3273 w 10000"/>
                <a:gd name="connsiteY311" fmla="*/ 6569 h 10000"/>
                <a:gd name="connsiteX312" fmla="*/ 3325 w 10000"/>
                <a:gd name="connsiteY312" fmla="*/ 6598 h 10000"/>
                <a:gd name="connsiteX313" fmla="*/ 3388 w 10000"/>
                <a:gd name="connsiteY313" fmla="*/ 6625 h 10000"/>
                <a:gd name="connsiteX314" fmla="*/ 3464 w 10000"/>
                <a:gd name="connsiteY314" fmla="*/ 6658 h 10000"/>
                <a:gd name="connsiteX315" fmla="*/ 3548 w 10000"/>
                <a:gd name="connsiteY315" fmla="*/ 6689 h 10000"/>
                <a:gd name="connsiteX316" fmla="*/ 3640 w 10000"/>
                <a:gd name="connsiteY316" fmla="*/ 6725 h 10000"/>
                <a:gd name="connsiteX317" fmla="*/ 3740 w 10000"/>
                <a:gd name="connsiteY317" fmla="*/ 6760 h 10000"/>
                <a:gd name="connsiteX318" fmla="*/ 3846 w 10000"/>
                <a:gd name="connsiteY318" fmla="*/ 6795 h 10000"/>
                <a:gd name="connsiteX319" fmla="*/ 3955 w 10000"/>
                <a:gd name="connsiteY319" fmla="*/ 6828 h 10000"/>
                <a:gd name="connsiteX320" fmla="*/ 4067 w 10000"/>
                <a:gd name="connsiteY320" fmla="*/ 6855 h 10000"/>
                <a:gd name="connsiteX321" fmla="*/ 4181 w 10000"/>
                <a:gd name="connsiteY321" fmla="*/ 6880 h 10000"/>
                <a:gd name="connsiteX322" fmla="*/ 4294 w 10000"/>
                <a:gd name="connsiteY322" fmla="*/ 6899 h 10000"/>
                <a:gd name="connsiteX323" fmla="*/ 4409 w 10000"/>
                <a:gd name="connsiteY323" fmla="*/ 6911 h 10000"/>
                <a:gd name="connsiteX324" fmla="*/ 4519 w 10000"/>
                <a:gd name="connsiteY324" fmla="*/ 6919 h 10000"/>
                <a:gd name="connsiteX325" fmla="*/ 4628 w 10000"/>
                <a:gd name="connsiteY325" fmla="*/ 6915 h 10000"/>
                <a:gd name="connsiteX326" fmla="*/ 4628 w 10000"/>
                <a:gd name="connsiteY326" fmla="*/ 7598 h 10000"/>
                <a:gd name="connsiteX327" fmla="*/ 4218 w 10000"/>
                <a:gd name="connsiteY327" fmla="*/ 8102 h 10000"/>
                <a:gd name="connsiteX328" fmla="*/ 3615 w 10000"/>
                <a:gd name="connsiteY328" fmla="*/ 7762 h 10000"/>
                <a:gd name="connsiteX329" fmla="*/ 2582 w 10000"/>
                <a:gd name="connsiteY329" fmla="*/ 9607 h 10000"/>
                <a:gd name="connsiteX330" fmla="*/ 1778 w 10000"/>
                <a:gd name="connsiteY330" fmla="*/ 8750 h 10000"/>
                <a:gd name="connsiteX331" fmla="*/ 1174 w 10000"/>
                <a:gd name="connsiteY331" fmla="*/ 9937 h 10000"/>
                <a:gd name="connsiteX332" fmla="*/ 0 w 10000"/>
                <a:gd name="connsiteY332" fmla="*/ 10000 h 10000"/>
                <a:gd name="connsiteX333" fmla="*/ 0 w 10000"/>
                <a:gd name="connsiteY333" fmla="*/ 9736 h 10000"/>
                <a:gd name="connsiteX334" fmla="*/ 1097 w 10000"/>
                <a:gd name="connsiteY334" fmla="*/ 9736 h 10000"/>
                <a:gd name="connsiteX335" fmla="*/ 1745 w 10000"/>
                <a:gd name="connsiteY335" fmla="*/ 8446 h 10000"/>
                <a:gd name="connsiteX336" fmla="*/ 2560 w 10000"/>
                <a:gd name="connsiteY336" fmla="*/ 9294 h 10000"/>
                <a:gd name="connsiteX337" fmla="*/ 3567 w 10000"/>
                <a:gd name="connsiteY337" fmla="*/ 7432 h 10000"/>
                <a:gd name="connsiteX338" fmla="*/ 4191 w 10000"/>
                <a:gd name="connsiteY338" fmla="*/ 7816 h 10000"/>
                <a:gd name="connsiteX339" fmla="*/ 4446 w 10000"/>
                <a:gd name="connsiteY339" fmla="*/ 7515 h 10000"/>
                <a:gd name="connsiteX340" fmla="*/ 4446 w 10000"/>
                <a:gd name="connsiteY340" fmla="*/ 7146 h 10000"/>
                <a:gd name="connsiteX341" fmla="*/ 4433 w 10000"/>
                <a:gd name="connsiteY341" fmla="*/ 7146 h 10000"/>
                <a:gd name="connsiteX342" fmla="*/ 4403 w 10000"/>
                <a:gd name="connsiteY342" fmla="*/ 7141 h 10000"/>
                <a:gd name="connsiteX343" fmla="*/ 4357 w 10000"/>
                <a:gd name="connsiteY343" fmla="*/ 7137 h 10000"/>
                <a:gd name="connsiteX344" fmla="*/ 4294 w 10000"/>
                <a:gd name="connsiteY344" fmla="*/ 7129 h 10000"/>
                <a:gd name="connsiteX345" fmla="*/ 4215 w 10000"/>
                <a:gd name="connsiteY345" fmla="*/ 7121 h 10000"/>
                <a:gd name="connsiteX346" fmla="*/ 4128 w 10000"/>
                <a:gd name="connsiteY346" fmla="*/ 7110 h 10000"/>
                <a:gd name="connsiteX347" fmla="*/ 4031 w 10000"/>
                <a:gd name="connsiteY347" fmla="*/ 7094 h 10000"/>
                <a:gd name="connsiteX348" fmla="*/ 3925 w 10000"/>
                <a:gd name="connsiteY348" fmla="*/ 7073 h 10000"/>
                <a:gd name="connsiteX349" fmla="*/ 3816 w 10000"/>
                <a:gd name="connsiteY349" fmla="*/ 7050 h 10000"/>
                <a:gd name="connsiteX350" fmla="*/ 3700 w 10000"/>
                <a:gd name="connsiteY350" fmla="*/ 7019 h 10000"/>
                <a:gd name="connsiteX351" fmla="*/ 3585 w 10000"/>
                <a:gd name="connsiteY351" fmla="*/ 6986 h 10000"/>
                <a:gd name="connsiteX352" fmla="*/ 3469 w 10000"/>
                <a:gd name="connsiteY352" fmla="*/ 6946 h 10000"/>
                <a:gd name="connsiteX353" fmla="*/ 3358 w 10000"/>
                <a:gd name="connsiteY353" fmla="*/ 6903 h 10000"/>
                <a:gd name="connsiteX354" fmla="*/ 3249 w 10000"/>
                <a:gd name="connsiteY354" fmla="*/ 6855 h 10000"/>
                <a:gd name="connsiteX355" fmla="*/ 3149 w 10000"/>
                <a:gd name="connsiteY355" fmla="*/ 6799 h 10000"/>
                <a:gd name="connsiteX356" fmla="*/ 3057 w 10000"/>
                <a:gd name="connsiteY356" fmla="*/ 6737 h 10000"/>
                <a:gd name="connsiteX357" fmla="*/ 2975 w 10000"/>
                <a:gd name="connsiteY357" fmla="*/ 6664 h 10000"/>
                <a:gd name="connsiteX358" fmla="*/ 3276 w 10000"/>
                <a:gd name="connsiteY358" fmla="*/ 5282 h 10000"/>
                <a:gd name="connsiteX359" fmla="*/ 3285 w 10000"/>
                <a:gd name="connsiteY359" fmla="*/ 5287 h 10000"/>
                <a:gd name="connsiteX360" fmla="*/ 3303 w 10000"/>
                <a:gd name="connsiteY360" fmla="*/ 5299 h 10000"/>
                <a:gd name="connsiteX361" fmla="*/ 3336 w 10000"/>
                <a:gd name="connsiteY361" fmla="*/ 5316 h 10000"/>
                <a:gd name="connsiteX362" fmla="*/ 3379 w 10000"/>
                <a:gd name="connsiteY362" fmla="*/ 5338 h 10000"/>
                <a:gd name="connsiteX363" fmla="*/ 3433 w 10000"/>
                <a:gd name="connsiteY363" fmla="*/ 5367 h 10000"/>
                <a:gd name="connsiteX364" fmla="*/ 3494 w 10000"/>
                <a:gd name="connsiteY364" fmla="*/ 5398 h 10000"/>
                <a:gd name="connsiteX365" fmla="*/ 3567 w 10000"/>
                <a:gd name="connsiteY365" fmla="*/ 5429 h 10000"/>
                <a:gd name="connsiteX366" fmla="*/ 3645 w 10000"/>
                <a:gd name="connsiteY366" fmla="*/ 5464 h 10000"/>
                <a:gd name="connsiteX367" fmla="*/ 3730 w 10000"/>
                <a:gd name="connsiteY367" fmla="*/ 5507 h 10000"/>
                <a:gd name="connsiteX368" fmla="*/ 3820 w 10000"/>
                <a:gd name="connsiteY368" fmla="*/ 5542 h 10000"/>
                <a:gd name="connsiteX369" fmla="*/ 3919 w 10000"/>
                <a:gd name="connsiteY369" fmla="*/ 5581 h 10000"/>
                <a:gd name="connsiteX370" fmla="*/ 4018 w 10000"/>
                <a:gd name="connsiteY370" fmla="*/ 5616 h 10000"/>
                <a:gd name="connsiteX371" fmla="*/ 4121 w 10000"/>
                <a:gd name="connsiteY371" fmla="*/ 5651 h 10000"/>
                <a:gd name="connsiteX372" fmla="*/ 4227 w 10000"/>
                <a:gd name="connsiteY372" fmla="*/ 5684 h 10000"/>
                <a:gd name="connsiteX373" fmla="*/ 4337 w 10000"/>
                <a:gd name="connsiteY373" fmla="*/ 5711 h 10000"/>
                <a:gd name="connsiteX374" fmla="*/ 4443 w 10000"/>
                <a:gd name="connsiteY374" fmla="*/ 5737 h 10000"/>
                <a:gd name="connsiteX375" fmla="*/ 4552 w 10000"/>
                <a:gd name="connsiteY375" fmla="*/ 5756 h 10000"/>
                <a:gd name="connsiteX376" fmla="*/ 4655 w 10000"/>
                <a:gd name="connsiteY376" fmla="*/ 5768 h 10000"/>
                <a:gd name="connsiteX377" fmla="*/ 4761 w 10000"/>
                <a:gd name="connsiteY377" fmla="*/ 5776 h 10000"/>
                <a:gd name="connsiteX378" fmla="*/ 4861 w 10000"/>
                <a:gd name="connsiteY378" fmla="*/ 5772 h 10000"/>
                <a:gd name="connsiteX379" fmla="*/ 4954 w 10000"/>
                <a:gd name="connsiteY379" fmla="*/ 5764 h 10000"/>
                <a:gd name="connsiteX380" fmla="*/ 5046 w 10000"/>
                <a:gd name="connsiteY380" fmla="*/ 5743 h 10000"/>
                <a:gd name="connsiteX381" fmla="*/ 5133 w 10000"/>
                <a:gd name="connsiteY381" fmla="*/ 5715 h 10000"/>
                <a:gd name="connsiteX382" fmla="*/ 5212 w 10000"/>
                <a:gd name="connsiteY382" fmla="*/ 5676 h 10000"/>
                <a:gd name="connsiteX383" fmla="*/ 5282 w 10000"/>
                <a:gd name="connsiteY383" fmla="*/ 5624 h 10000"/>
                <a:gd name="connsiteX384" fmla="*/ 5345 w 10000"/>
                <a:gd name="connsiteY384" fmla="*/ 5560 h 10000"/>
                <a:gd name="connsiteX385" fmla="*/ 5397 w 10000"/>
                <a:gd name="connsiteY385" fmla="*/ 5481 h 10000"/>
                <a:gd name="connsiteX386" fmla="*/ 5440 w 10000"/>
                <a:gd name="connsiteY386" fmla="*/ 5390 h 10000"/>
                <a:gd name="connsiteX387" fmla="*/ 5470 w 10000"/>
                <a:gd name="connsiteY387" fmla="*/ 5282 h 10000"/>
                <a:gd name="connsiteX388" fmla="*/ 5473 w 10000"/>
                <a:gd name="connsiteY388" fmla="*/ 5278 h 10000"/>
                <a:gd name="connsiteX389" fmla="*/ 5473 w 10000"/>
                <a:gd name="connsiteY389" fmla="*/ 5268 h 10000"/>
                <a:gd name="connsiteX390" fmla="*/ 5473 w 10000"/>
                <a:gd name="connsiteY390" fmla="*/ 5247 h 10000"/>
                <a:gd name="connsiteX391" fmla="*/ 5473 w 10000"/>
                <a:gd name="connsiteY391" fmla="*/ 5224 h 10000"/>
                <a:gd name="connsiteX392" fmla="*/ 5470 w 10000"/>
                <a:gd name="connsiteY392" fmla="*/ 5190 h 10000"/>
                <a:gd name="connsiteX393" fmla="*/ 5461 w 10000"/>
                <a:gd name="connsiteY393" fmla="*/ 5155 h 10000"/>
                <a:gd name="connsiteX394" fmla="*/ 5445 w 10000"/>
                <a:gd name="connsiteY394" fmla="*/ 5112 h 10000"/>
                <a:gd name="connsiteX395" fmla="*/ 5424 w 10000"/>
                <a:gd name="connsiteY395" fmla="*/ 5069 h 10000"/>
                <a:gd name="connsiteX396" fmla="*/ 5397 w 10000"/>
                <a:gd name="connsiteY396" fmla="*/ 5017 h 10000"/>
                <a:gd name="connsiteX397" fmla="*/ 5358 w 10000"/>
                <a:gd name="connsiteY397" fmla="*/ 4964 h 10000"/>
                <a:gd name="connsiteX398" fmla="*/ 5309 w 10000"/>
                <a:gd name="connsiteY398" fmla="*/ 4913 h 10000"/>
                <a:gd name="connsiteX399" fmla="*/ 5252 w 10000"/>
                <a:gd name="connsiteY399" fmla="*/ 4859 h 10000"/>
                <a:gd name="connsiteX400" fmla="*/ 5179 w 10000"/>
                <a:gd name="connsiteY400" fmla="*/ 4799 h 10000"/>
                <a:gd name="connsiteX401" fmla="*/ 5090 w 10000"/>
                <a:gd name="connsiteY401" fmla="*/ 4742 h 10000"/>
                <a:gd name="connsiteX402" fmla="*/ 4987 w 10000"/>
                <a:gd name="connsiteY402" fmla="*/ 4682 h 10000"/>
                <a:gd name="connsiteX403" fmla="*/ 4870 w 10000"/>
                <a:gd name="connsiteY403" fmla="*/ 4628 h 10000"/>
                <a:gd name="connsiteX404" fmla="*/ 4734 w 10000"/>
                <a:gd name="connsiteY404" fmla="*/ 4573 h 10000"/>
                <a:gd name="connsiteX405" fmla="*/ 4579 w 10000"/>
                <a:gd name="connsiteY405" fmla="*/ 4521 h 10000"/>
                <a:gd name="connsiteX406" fmla="*/ 4569 w 10000"/>
                <a:gd name="connsiteY406" fmla="*/ 4517 h 10000"/>
                <a:gd name="connsiteX407" fmla="*/ 4542 w 10000"/>
                <a:gd name="connsiteY407" fmla="*/ 4503 h 10000"/>
                <a:gd name="connsiteX408" fmla="*/ 4503 w 10000"/>
                <a:gd name="connsiteY408" fmla="*/ 4493 h 10000"/>
                <a:gd name="connsiteX409" fmla="*/ 4449 w 10000"/>
                <a:gd name="connsiteY409" fmla="*/ 4468 h 10000"/>
                <a:gd name="connsiteX410" fmla="*/ 4384 w 10000"/>
                <a:gd name="connsiteY410" fmla="*/ 4441 h 10000"/>
                <a:gd name="connsiteX411" fmla="*/ 4310 w 10000"/>
                <a:gd name="connsiteY411" fmla="*/ 4404 h 10000"/>
                <a:gd name="connsiteX412" fmla="*/ 4224 w 10000"/>
                <a:gd name="connsiteY412" fmla="*/ 4365 h 10000"/>
                <a:gd name="connsiteX413" fmla="*/ 4134 w 10000"/>
                <a:gd name="connsiteY413" fmla="*/ 4317 h 10000"/>
                <a:gd name="connsiteX414" fmla="*/ 4039 w 10000"/>
                <a:gd name="connsiteY414" fmla="*/ 4263 h 10000"/>
                <a:gd name="connsiteX415" fmla="*/ 3939 w 10000"/>
                <a:gd name="connsiteY415" fmla="*/ 4203 h 10000"/>
                <a:gd name="connsiteX416" fmla="*/ 3839 w 10000"/>
                <a:gd name="connsiteY416" fmla="*/ 4134 h 10000"/>
                <a:gd name="connsiteX417" fmla="*/ 3740 w 10000"/>
                <a:gd name="connsiteY417" fmla="*/ 4064 h 10000"/>
                <a:gd name="connsiteX418" fmla="*/ 3643 w 10000"/>
                <a:gd name="connsiteY418" fmla="*/ 3980 h 10000"/>
                <a:gd name="connsiteX419" fmla="*/ 3545 w 10000"/>
                <a:gd name="connsiteY419" fmla="*/ 3894 h 10000"/>
                <a:gd name="connsiteX420" fmla="*/ 3458 w 10000"/>
                <a:gd name="connsiteY420" fmla="*/ 3803 h 10000"/>
                <a:gd name="connsiteX421" fmla="*/ 3372 w 10000"/>
                <a:gd name="connsiteY421" fmla="*/ 3698 h 10000"/>
                <a:gd name="connsiteX422" fmla="*/ 3300 w 10000"/>
                <a:gd name="connsiteY422" fmla="*/ 3591 h 10000"/>
                <a:gd name="connsiteX423" fmla="*/ 3236 w 10000"/>
                <a:gd name="connsiteY423" fmla="*/ 3476 h 10000"/>
                <a:gd name="connsiteX424" fmla="*/ 3230 w 10000"/>
                <a:gd name="connsiteY424" fmla="*/ 3468 h 10000"/>
                <a:gd name="connsiteX425" fmla="*/ 3222 w 10000"/>
                <a:gd name="connsiteY425" fmla="*/ 3447 h 10000"/>
                <a:gd name="connsiteX426" fmla="*/ 3206 w 10000"/>
                <a:gd name="connsiteY426" fmla="*/ 3412 h 10000"/>
                <a:gd name="connsiteX427" fmla="*/ 3187 w 10000"/>
                <a:gd name="connsiteY427" fmla="*/ 3369 h 10000"/>
                <a:gd name="connsiteX428" fmla="*/ 3167 w 10000"/>
                <a:gd name="connsiteY428" fmla="*/ 3309 h 10000"/>
                <a:gd name="connsiteX429" fmla="*/ 3146 w 10000"/>
                <a:gd name="connsiteY429" fmla="*/ 3237 h 10000"/>
                <a:gd name="connsiteX430" fmla="*/ 3121 w 10000"/>
                <a:gd name="connsiteY430" fmla="*/ 3159 h 10000"/>
                <a:gd name="connsiteX431" fmla="*/ 3100 w 10000"/>
                <a:gd name="connsiteY431" fmla="*/ 3070 h 10000"/>
                <a:gd name="connsiteX432" fmla="*/ 3081 w 10000"/>
                <a:gd name="connsiteY432" fmla="*/ 2974 h 10000"/>
                <a:gd name="connsiteX433" fmla="*/ 3064 w 10000"/>
                <a:gd name="connsiteY433" fmla="*/ 2869 h 10000"/>
                <a:gd name="connsiteX434" fmla="*/ 3051 w 10000"/>
                <a:gd name="connsiteY434" fmla="*/ 2756 h 10000"/>
                <a:gd name="connsiteX435" fmla="*/ 3046 w 10000"/>
                <a:gd name="connsiteY435" fmla="*/ 2642 h 10000"/>
                <a:gd name="connsiteX436" fmla="*/ 3046 w 10000"/>
                <a:gd name="connsiteY436" fmla="*/ 2517 h 10000"/>
                <a:gd name="connsiteX437" fmla="*/ 3054 w 10000"/>
                <a:gd name="connsiteY437" fmla="*/ 2391 h 10000"/>
                <a:gd name="connsiteX438" fmla="*/ 3070 w 10000"/>
                <a:gd name="connsiteY438" fmla="*/ 2260 h 10000"/>
                <a:gd name="connsiteX439" fmla="*/ 3097 w 10000"/>
                <a:gd name="connsiteY439" fmla="*/ 2126 h 10000"/>
                <a:gd name="connsiteX440" fmla="*/ 3136 w 10000"/>
                <a:gd name="connsiteY440" fmla="*/ 1990 h 10000"/>
                <a:gd name="connsiteX441" fmla="*/ 3187 w 10000"/>
                <a:gd name="connsiteY441" fmla="*/ 1856 h 10000"/>
                <a:gd name="connsiteX442" fmla="*/ 3255 w 10000"/>
                <a:gd name="connsiteY442" fmla="*/ 1716 h 10000"/>
                <a:gd name="connsiteX443" fmla="*/ 3333 w 10000"/>
                <a:gd name="connsiteY443" fmla="*/ 1581 h 10000"/>
                <a:gd name="connsiteX444" fmla="*/ 3431 w 10000"/>
                <a:gd name="connsiteY444" fmla="*/ 1447 h 10000"/>
                <a:gd name="connsiteX445" fmla="*/ 3545 w 10000"/>
                <a:gd name="connsiteY445" fmla="*/ 1311 h 10000"/>
                <a:gd name="connsiteX446" fmla="*/ 3680 w 10000"/>
                <a:gd name="connsiteY446" fmla="*/ 1179 h 10000"/>
                <a:gd name="connsiteX447" fmla="*/ 3684 w 10000"/>
                <a:gd name="connsiteY447" fmla="*/ 1177 h 10000"/>
                <a:gd name="connsiteX448" fmla="*/ 3703 w 10000"/>
                <a:gd name="connsiteY448" fmla="*/ 1160 h 10000"/>
                <a:gd name="connsiteX449" fmla="*/ 3733 w 10000"/>
                <a:gd name="connsiteY449" fmla="*/ 1136 h 10000"/>
                <a:gd name="connsiteX450" fmla="*/ 3776 w 10000"/>
                <a:gd name="connsiteY450" fmla="*/ 1105 h 10000"/>
                <a:gd name="connsiteX451" fmla="*/ 3824 w 10000"/>
                <a:gd name="connsiteY451" fmla="*/ 1068 h 10000"/>
                <a:gd name="connsiteX452" fmla="*/ 3885 w 10000"/>
                <a:gd name="connsiteY452" fmla="*/ 1029 h 10000"/>
                <a:gd name="connsiteX453" fmla="*/ 3955 w 10000"/>
                <a:gd name="connsiteY453" fmla="*/ 986 h 10000"/>
                <a:gd name="connsiteX454" fmla="*/ 4031 w 10000"/>
                <a:gd name="connsiteY454" fmla="*/ 942 h 10000"/>
                <a:gd name="connsiteX455" fmla="*/ 4112 w 10000"/>
                <a:gd name="connsiteY455" fmla="*/ 903 h 10000"/>
                <a:gd name="connsiteX456" fmla="*/ 4200 w 10000"/>
                <a:gd name="connsiteY456" fmla="*/ 862 h 10000"/>
                <a:gd name="connsiteX457" fmla="*/ 4291 w 10000"/>
                <a:gd name="connsiteY457" fmla="*/ 826 h 10000"/>
                <a:gd name="connsiteX458" fmla="*/ 4387 w 10000"/>
                <a:gd name="connsiteY458" fmla="*/ 799 h 10000"/>
                <a:gd name="connsiteX459" fmla="*/ 4489 w 10000"/>
                <a:gd name="connsiteY459" fmla="*/ 774 h 10000"/>
                <a:gd name="connsiteX460" fmla="*/ 4479 w 10000"/>
                <a:gd name="connsiteY460" fmla="*/ 0 h 10000"/>
                <a:gd name="connsiteX0" fmla="*/ 4479 w 10000"/>
                <a:gd name="connsiteY0" fmla="*/ 0 h 9948"/>
                <a:gd name="connsiteX1" fmla="*/ 5500 w 10000"/>
                <a:gd name="connsiteY1" fmla="*/ 0 h 9948"/>
                <a:gd name="connsiteX2" fmla="*/ 5500 w 10000"/>
                <a:gd name="connsiteY2" fmla="*/ 691 h 9948"/>
                <a:gd name="connsiteX3" fmla="*/ 5510 w 10000"/>
                <a:gd name="connsiteY3" fmla="*/ 695 h 9948"/>
                <a:gd name="connsiteX4" fmla="*/ 5540 w 10000"/>
                <a:gd name="connsiteY4" fmla="*/ 695 h 9948"/>
                <a:gd name="connsiteX5" fmla="*/ 5587 w 10000"/>
                <a:gd name="connsiteY5" fmla="*/ 700 h 9948"/>
                <a:gd name="connsiteX6" fmla="*/ 5651 w 10000"/>
                <a:gd name="connsiteY6" fmla="*/ 708 h 9948"/>
                <a:gd name="connsiteX7" fmla="*/ 5730 w 10000"/>
                <a:gd name="connsiteY7" fmla="*/ 716 h 9948"/>
                <a:gd name="connsiteX8" fmla="*/ 5819 w 10000"/>
                <a:gd name="connsiteY8" fmla="*/ 726 h 9948"/>
                <a:gd name="connsiteX9" fmla="*/ 5915 w 10000"/>
                <a:gd name="connsiteY9" fmla="*/ 747 h 9948"/>
                <a:gd name="connsiteX10" fmla="*/ 6018 w 10000"/>
                <a:gd name="connsiteY10" fmla="*/ 766 h 9948"/>
                <a:gd name="connsiteX11" fmla="*/ 6127 w 10000"/>
                <a:gd name="connsiteY11" fmla="*/ 795 h 9948"/>
                <a:gd name="connsiteX12" fmla="*/ 6240 w 10000"/>
                <a:gd name="connsiteY12" fmla="*/ 822 h 9948"/>
                <a:gd name="connsiteX13" fmla="*/ 6349 w 10000"/>
                <a:gd name="connsiteY13" fmla="*/ 862 h 9948"/>
                <a:gd name="connsiteX14" fmla="*/ 6458 w 10000"/>
                <a:gd name="connsiteY14" fmla="*/ 905 h 9948"/>
                <a:gd name="connsiteX15" fmla="*/ 6564 w 10000"/>
                <a:gd name="connsiteY15" fmla="*/ 957 h 9948"/>
                <a:gd name="connsiteX16" fmla="*/ 6661 w 10000"/>
                <a:gd name="connsiteY16" fmla="*/ 1013 h 9948"/>
                <a:gd name="connsiteX17" fmla="*/ 6751 w 10000"/>
                <a:gd name="connsiteY17" fmla="*/ 1081 h 9948"/>
                <a:gd name="connsiteX18" fmla="*/ 6463 w 10000"/>
                <a:gd name="connsiteY18" fmla="*/ 2408 h 9948"/>
                <a:gd name="connsiteX19" fmla="*/ 6455 w 10000"/>
                <a:gd name="connsiteY19" fmla="*/ 2404 h 9948"/>
                <a:gd name="connsiteX20" fmla="*/ 6433 w 10000"/>
                <a:gd name="connsiteY20" fmla="*/ 2387 h 9948"/>
                <a:gd name="connsiteX21" fmla="*/ 6396 w 10000"/>
                <a:gd name="connsiteY21" fmla="*/ 2368 h 9948"/>
                <a:gd name="connsiteX22" fmla="*/ 6349 w 10000"/>
                <a:gd name="connsiteY22" fmla="*/ 2339 h 9948"/>
                <a:gd name="connsiteX23" fmla="*/ 6286 w 10000"/>
                <a:gd name="connsiteY23" fmla="*/ 2307 h 9948"/>
                <a:gd name="connsiteX24" fmla="*/ 6214 w 10000"/>
                <a:gd name="connsiteY24" fmla="*/ 2276 h 9948"/>
                <a:gd name="connsiteX25" fmla="*/ 6134 w 10000"/>
                <a:gd name="connsiteY25" fmla="*/ 2237 h 9948"/>
                <a:gd name="connsiteX26" fmla="*/ 6039 w 10000"/>
                <a:gd name="connsiteY26" fmla="*/ 2200 h 9948"/>
                <a:gd name="connsiteX27" fmla="*/ 5942 w 10000"/>
                <a:gd name="connsiteY27" fmla="*/ 2165 h 9948"/>
                <a:gd name="connsiteX28" fmla="*/ 5833 w 10000"/>
                <a:gd name="connsiteY28" fmla="*/ 2130 h 9948"/>
                <a:gd name="connsiteX29" fmla="*/ 5722 w 10000"/>
                <a:gd name="connsiteY29" fmla="*/ 2101 h 9948"/>
                <a:gd name="connsiteX30" fmla="*/ 5603 w 10000"/>
                <a:gd name="connsiteY30" fmla="*/ 2074 h 9948"/>
                <a:gd name="connsiteX31" fmla="*/ 5478 w 10000"/>
                <a:gd name="connsiteY31" fmla="*/ 2052 h 9948"/>
                <a:gd name="connsiteX32" fmla="*/ 5351 w 10000"/>
                <a:gd name="connsiteY32" fmla="*/ 2042 h 9948"/>
                <a:gd name="connsiteX33" fmla="*/ 5225 w 10000"/>
                <a:gd name="connsiteY33" fmla="*/ 2042 h 9948"/>
                <a:gd name="connsiteX34" fmla="*/ 5090 w 10000"/>
                <a:gd name="connsiteY34" fmla="*/ 2050 h 9948"/>
                <a:gd name="connsiteX35" fmla="*/ 4960 w 10000"/>
                <a:gd name="connsiteY35" fmla="*/ 2069 h 9948"/>
                <a:gd name="connsiteX36" fmla="*/ 4827 w 10000"/>
                <a:gd name="connsiteY36" fmla="*/ 2101 h 9948"/>
                <a:gd name="connsiteX37" fmla="*/ 4698 w 10000"/>
                <a:gd name="connsiteY37" fmla="*/ 2148 h 9948"/>
                <a:gd name="connsiteX38" fmla="*/ 4694 w 10000"/>
                <a:gd name="connsiteY38" fmla="*/ 2152 h 9948"/>
                <a:gd name="connsiteX39" fmla="*/ 4682 w 10000"/>
                <a:gd name="connsiteY39" fmla="*/ 2161 h 9948"/>
                <a:gd name="connsiteX40" fmla="*/ 4666 w 10000"/>
                <a:gd name="connsiteY40" fmla="*/ 2177 h 9948"/>
                <a:gd name="connsiteX41" fmla="*/ 4645 w 10000"/>
                <a:gd name="connsiteY41" fmla="*/ 2200 h 9948"/>
                <a:gd name="connsiteX42" fmla="*/ 4622 w 10000"/>
                <a:gd name="connsiteY42" fmla="*/ 2225 h 9948"/>
                <a:gd name="connsiteX43" fmla="*/ 4599 w 10000"/>
                <a:gd name="connsiteY43" fmla="*/ 2256 h 9948"/>
                <a:gd name="connsiteX44" fmla="*/ 4576 w 10000"/>
                <a:gd name="connsiteY44" fmla="*/ 2291 h 9948"/>
                <a:gd name="connsiteX45" fmla="*/ 4558 w 10000"/>
                <a:gd name="connsiteY45" fmla="*/ 2335 h 9948"/>
                <a:gd name="connsiteX46" fmla="*/ 4542 w 10000"/>
                <a:gd name="connsiteY46" fmla="*/ 2379 h 9948"/>
                <a:gd name="connsiteX47" fmla="*/ 4533 w 10000"/>
                <a:gd name="connsiteY47" fmla="*/ 2426 h 9948"/>
                <a:gd name="connsiteX48" fmla="*/ 4533 w 10000"/>
                <a:gd name="connsiteY48" fmla="*/ 2478 h 9948"/>
                <a:gd name="connsiteX49" fmla="*/ 4542 w 10000"/>
                <a:gd name="connsiteY49" fmla="*/ 2530 h 9948"/>
                <a:gd name="connsiteX50" fmla="*/ 4560 w 10000"/>
                <a:gd name="connsiteY50" fmla="*/ 2586 h 9948"/>
                <a:gd name="connsiteX51" fmla="*/ 4595 w 10000"/>
                <a:gd name="connsiteY51" fmla="*/ 2646 h 9948"/>
                <a:gd name="connsiteX52" fmla="*/ 4639 w 10000"/>
                <a:gd name="connsiteY52" fmla="*/ 2704 h 9948"/>
                <a:gd name="connsiteX53" fmla="*/ 4701 w 10000"/>
                <a:gd name="connsiteY53" fmla="*/ 2764 h 9948"/>
                <a:gd name="connsiteX54" fmla="*/ 4782 w 10000"/>
                <a:gd name="connsiteY54" fmla="*/ 2829 h 9948"/>
                <a:gd name="connsiteX55" fmla="*/ 4878 w 10000"/>
                <a:gd name="connsiteY55" fmla="*/ 2887 h 9948"/>
                <a:gd name="connsiteX56" fmla="*/ 5000 w 10000"/>
                <a:gd name="connsiteY56" fmla="*/ 2951 h 9948"/>
                <a:gd name="connsiteX57" fmla="*/ 5009 w 10000"/>
                <a:gd name="connsiteY57" fmla="*/ 2955 h 9948"/>
                <a:gd name="connsiteX58" fmla="*/ 5036 w 10000"/>
                <a:gd name="connsiteY58" fmla="*/ 2964 h 9948"/>
                <a:gd name="connsiteX59" fmla="*/ 5076 w 10000"/>
                <a:gd name="connsiteY59" fmla="*/ 2978 h 9948"/>
                <a:gd name="connsiteX60" fmla="*/ 5133 w 10000"/>
                <a:gd name="connsiteY60" fmla="*/ 2999 h 9948"/>
                <a:gd name="connsiteX61" fmla="*/ 5199 w 10000"/>
                <a:gd name="connsiteY61" fmla="*/ 3022 h 9948"/>
                <a:gd name="connsiteX62" fmla="*/ 5279 w 10000"/>
                <a:gd name="connsiteY62" fmla="*/ 3056 h 9948"/>
                <a:gd name="connsiteX63" fmla="*/ 5370 w 10000"/>
                <a:gd name="connsiteY63" fmla="*/ 3095 h 9948"/>
                <a:gd name="connsiteX64" fmla="*/ 5467 w 10000"/>
                <a:gd name="connsiteY64" fmla="*/ 3134 h 9948"/>
                <a:gd name="connsiteX65" fmla="*/ 5570 w 10000"/>
                <a:gd name="connsiteY65" fmla="*/ 3186 h 9948"/>
                <a:gd name="connsiteX66" fmla="*/ 5679 w 10000"/>
                <a:gd name="connsiteY66" fmla="*/ 3242 h 9948"/>
                <a:gd name="connsiteX67" fmla="*/ 5793 w 10000"/>
                <a:gd name="connsiteY67" fmla="*/ 3300 h 9948"/>
                <a:gd name="connsiteX68" fmla="*/ 5909 w 10000"/>
                <a:gd name="connsiteY68" fmla="*/ 3369 h 9948"/>
                <a:gd name="connsiteX69" fmla="*/ 6028 w 10000"/>
                <a:gd name="connsiteY69" fmla="*/ 3439 h 9948"/>
                <a:gd name="connsiteX70" fmla="*/ 6143 w 10000"/>
                <a:gd name="connsiteY70" fmla="*/ 3515 h 9948"/>
                <a:gd name="connsiteX71" fmla="*/ 6257 w 10000"/>
                <a:gd name="connsiteY71" fmla="*/ 3599 h 9948"/>
                <a:gd name="connsiteX72" fmla="*/ 6370 w 10000"/>
                <a:gd name="connsiteY72" fmla="*/ 3690 h 9948"/>
                <a:gd name="connsiteX73" fmla="*/ 6476 w 10000"/>
                <a:gd name="connsiteY73" fmla="*/ 3786 h 9948"/>
                <a:gd name="connsiteX74" fmla="*/ 6575 w 10000"/>
                <a:gd name="connsiteY74" fmla="*/ 3885 h 9948"/>
                <a:gd name="connsiteX75" fmla="*/ 6670 w 10000"/>
                <a:gd name="connsiteY75" fmla="*/ 3991 h 9948"/>
                <a:gd name="connsiteX76" fmla="*/ 6751 w 10000"/>
                <a:gd name="connsiteY76" fmla="*/ 4108 h 9948"/>
                <a:gd name="connsiteX77" fmla="*/ 6824 w 10000"/>
                <a:gd name="connsiteY77" fmla="*/ 4225 h 9948"/>
                <a:gd name="connsiteX78" fmla="*/ 6887 w 10000"/>
                <a:gd name="connsiteY78" fmla="*/ 4350 h 9948"/>
                <a:gd name="connsiteX79" fmla="*/ 6933 w 10000"/>
                <a:gd name="connsiteY79" fmla="*/ 4481 h 9948"/>
                <a:gd name="connsiteX80" fmla="*/ 6966 w 10000"/>
                <a:gd name="connsiteY80" fmla="*/ 4616 h 9948"/>
                <a:gd name="connsiteX81" fmla="*/ 6982 w 10000"/>
                <a:gd name="connsiteY81" fmla="*/ 4760 h 9948"/>
                <a:gd name="connsiteX82" fmla="*/ 7491 w 10000"/>
                <a:gd name="connsiteY82" fmla="*/ 3717 h 9948"/>
                <a:gd name="connsiteX83" fmla="*/ 8292 w 10000"/>
                <a:gd name="connsiteY83" fmla="*/ 4445 h 9948"/>
                <a:gd name="connsiteX84" fmla="*/ 9606 w 10000"/>
                <a:gd name="connsiteY84" fmla="*/ 2379 h 9948"/>
                <a:gd name="connsiteX85" fmla="*/ 9473 w 10000"/>
                <a:gd name="connsiteY85" fmla="*/ 2212 h 9948"/>
                <a:gd name="connsiteX86" fmla="*/ 10000 w 10000"/>
                <a:gd name="connsiteY86" fmla="*/ 1899 h 9948"/>
                <a:gd name="connsiteX87" fmla="*/ 9894 w 10000"/>
                <a:gd name="connsiteY87" fmla="*/ 2665 h 9948"/>
                <a:gd name="connsiteX88" fmla="*/ 9745 w 10000"/>
                <a:gd name="connsiteY88" fmla="*/ 2526 h 9948"/>
                <a:gd name="connsiteX89" fmla="*/ 8306 w 10000"/>
                <a:gd name="connsiteY89" fmla="*/ 4730 h 9948"/>
                <a:gd name="connsiteX90" fmla="*/ 7524 w 10000"/>
                <a:gd name="connsiteY90" fmla="*/ 4039 h 9948"/>
                <a:gd name="connsiteX91" fmla="*/ 6837 w 10000"/>
                <a:gd name="connsiteY91" fmla="*/ 5589 h 9948"/>
                <a:gd name="connsiteX92" fmla="*/ 6837 w 10000"/>
                <a:gd name="connsiteY92" fmla="*/ 5573 h 9948"/>
                <a:gd name="connsiteX93" fmla="*/ 6837 w 10000"/>
                <a:gd name="connsiteY93" fmla="*/ 5538 h 9948"/>
                <a:gd name="connsiteX94" fmla="*/ 6837 w 10000"/>
                <a:gd name="connsiteY94" fmla="*/ 5473 h 9948"/>
                <a:gd name="connsiteX95" fmla="*/ 6833 w 10000"/>
                <a:gd name="connsiteY95" fmla="*/ 5398 h 9948"/>
                <a:gd name="connsiteX96" fmla="*/ 6830 w 10000"/>
                <a:gd name="connsiteY96" fmla="*/ 5303 h 9948"/>
                <a:gd name="connsiteX97" fmla="*/ 6827 w 10000"/>
                <a:gd name="connsiteY97" fmla="*/ 5199 h 9948"/>
                <a:gd name="connsiteX98" fmla="*/ 6818 w 10000"/>
                <a:gd name="connsiteY98" fmla="*/ 5089 h 9948"/>
                <a:gd name="connsiteX99" fmla="*/ 6810 w 10000"/>
                <a:gd name="connsiteY99" fmla="*/ 4972 h 9948"/>
                <a:gd name="connsiteX100" fmla="*/ 6797 w 10000"/>
                <a:gd name="connsiteY100" fmla="*/ 4859 h 9948"/>
                <a:gd name="connsiteX101" fmla="*/ 6778 w 10000"/>
                <a:gd name="connsiteY101" fmla="*/ 4742 h 9948"/>
                <a:gd name="connsiteX102" fmla="*/ 6761 w 10000"/>
                <a:gd name="connsiteY102" fmla="*/ 4635 h 9948"/>
                <a:gd name="connsiteX103" fmla="*/ 6734 w 10000"/>
                <a:gd name="connsiteY103" fmla="*/ 4539 h 9948"/>
                <a:gd name="connsiteX104" fmla="*/ 6704 w 10000"/>
                <a:gd name="connsiteY104" fmla="*/ 4456 h 9948"/>
                <a:gd name="connsiteX105" fmla="*/ 6667 w 10000"/>
                <a:gd name="connsiteY105" fmla="*/ 4390 h 9948"/>
                <a:gd name="connsiteX106" fmla="*/ 6664 w 10000"/>
                <a:gd name="connsiteY106" fmla="*/ 4381 h 9948"/>
                <a:gd name="connsiteX107" fmla="*/ 6648 w 10000"/>
                <a:gd name="connsiteY107" fmla="*/ 4357 h 9948"/>
                <a:gd name="connsiteX108" fmla="*/ 6624 w 10000"/>
                <a:gd name="connsiteY108" fmla="*/ 4317 h 9948"/>
                <a:gd name="connsiteX109" fmla="*/ 6591 w 10000"/>
                <a:gd name="connsiteY109" fmla="*/ 4265 h 9948"/>
                <a:gd name="connsiteX110" fmla="*/ 6542 w 10000"/>
                <a:gd name="connsiteY110" fmla="*/ 4203 h 9948"/>
                <a:gd name="connsiteX111" fmla="*/ 6485 w 10000"/>
                <a:gd name="connsiteY111" fmla="*/ 4130 h 9948"/>
                <a:gd name="connsiteX112" fmla="*/ 6412 w 10000"/>
                <a:gd name="connsiteY112" fmla="*/ 4052 h 9948"/>
                <a:gd name="connsiteX113" fmla="*/ 6324 w 10000"/>
                <a:gd name="connsiteY113" fmla="*/ 3964 h 9948"/>
                <a:gd name="connsiteX114" fmla="*/ 6221 w 10000"/>
                <a:gd name="connsiteY114" fmla="*/ 3877 h 9948"/>
                <a:gd name="connsiteX115" fmla="*/ 6104 w 10000"/>
                <a:gd name="connsiteY115" fmla="*/ 3782 h 9948"/>
                <a:gd name="connsiteX116" fmla="*/ 5969 w 10000"/>
                <a:gd name="connsiteY116" fmla="*/ 3690 h 9948"/>
                <a:gd name="connsiteX117" fmla="*/ 5815 w 10000"/>
                <a:gd name="connsiteY117" fmla="*/ 3595 h 9948"/>
                <a:gd name="connsiteX118" fmla="*/ 5806 w 10000"/>
                <a:gd name="connsiteY118" fmla="*/ 3595 h 9948"/>
                <a:gd name="connsiteX119" fmla="*/ 5782 w 10000"/>
                <a:gd name="connsiteY119" fmla="*/ 3583 h 9948"/>
                <a:gd name="connsiteX120" fmla="*/ 5743 w 10000"/>
                <a:gd name="connsiteY120" fmla="*/ 3568 h 9948"/>
                <a:gd name="connsiteX121" fmla="*/ 5690 w 10000"/>
                <a:gd name="connsiteY121" fmla="*/ 3547 h 9948"/>
                <a:gd name="connsiteX122" fmla="*/ 5627 w 10000"/>
                <a:gd name="connsiteY122" fmla="*/ 3524 h 9948"/>
                <a:gd name="connsiteX123" fmla="*/ 5554 w 10000"/>
                <a:gd name="connsiteY123" fmla="*/ 3491 h 9948"/>
                <a:gd name="connsiteX124" fmla="*/ 5473 w 10000"/>
                <a:gd name="connsiteY124" fmla="*/ 3460 h 9948"/>
                <a:gd name="connsiteX125" fmla="*/ 5388 w 10000"/>
                <a:gd name="connsiteY125" fmla="*/ 3420 h 9948"/>
                <a:gd name="connsiteX126" fmla="*/ 5294 w 10000"/>
                <a:gd name="connsiteY126" fmla="*/ 3381 h 9948"/>
                <a:gd name="connsiteX127" fmla="*/ 5199 w 10000"/>
                <a:gd name="connsiteY127" fmla="*/ 3338 h 9948"/>
                <a:gd name="connsiteX128" fmla="*/ 5106 w 10000"/>
                <a:gd name="connsiteY128" fmla="*/ 3289 h 9948"/>
                <a:gd name="connsiteX129" fmla="*/ 5009 w 10000"/>
                <a:gd name="connsiteY129" fmla="*/ 3242 h 9948"/>
                <a:gd name="connsiteX130" fmla="*/ 4915 w 10000"/>
                <a:gd name="connsiteY130" fmla="*/ 3190 h 9948"/>
                <a:gd name="connsiteX131" fmla="*/ 4827 w 10000"/>
                <a:gd name="connsiteY131" fmla="*/ 3138 h 9948"/>
                <a:gd name="connsiteX132" fmla="*/ 4742 w 10000"/>
                <a:gd name="connsiteY132" fmla="*/ 3087 h 9948"/>
                <a:gd name="connsiteX133" fmla="*/ 4664 w 10000"/>
                <a:gd name="connsiteY133" fmla="*/ 3034 h 9948"/>
                <a:gd name="connsiteX134" fmla="*/ 4596 w 10000"/>
                <a:gd name="connsiteY134" fmla="*/ 2982 h 9948"/>
                <a:gd name="connsiteX135" fmla="*/ 4536 w 10000"/>
                <a:gd name="connsiteY135" fmla="*/ 2931 h 9948"/>
                <a:gd name="connsiteX136" fmla="*/ 4490 w 10000"/>
                <a:gd name="connsiteY136" fmla="*/ 2881 h 9948"/>
                <a:gd name="connsiteX137" fmla="*/ 4457 w 10000"/>
                <a:gd name="connsiteY137" fmla="*/ 2833 h 9948"/>
                <a:gd name="connsiteX138" fmla="*/ 4457 w 10000"/>
                <a:gd name="connsiteY138" fmla="*/ 2829 h 9948"/>
                <a:gd name="connsiteX139" fmla="*/ 4449 w 10000"/>
                <a:gd name="connsiteY139" fmla="*/ 2813 h 9948"/>
                <a:gd name="connsiteX140" fmla="*/ 4440 w 10000"/>
                <a:gd name="connsiteY140" fmla="*/ 2791 h 9948"/>
                <a:gd name="connsiteX141" fmla="*/ 4427 w 10000"/>
                <a:gd name="connsiteY141" fmla="*/ 2764 h 9948"/>
                <a:gd name="connsiteX142" fmla="*/ 4413 w 10000"/>
                <a:gd name="connsiteY142" fmla="*/ 2729 h 9948"/>
                <a:gd name="connsiteX143" fmla="*/ 4400 w 10000"/>
                <a:gd name="connsiteY143" fmla="*/ 2690 h 9948"/>
                <a:gd name="connsiteX144" fmla="*/ 4384 w 10000"/>
                <a:gd name="connsiteY144" fmla="*/ 2646 h 9948"/>
                <a:gd name="connsiteX145" fmla="*/ 4373 w 10000"/>
                <a:gd name="connsiteY145" fmla="*/ 2595 h 9948"/>
                <a:gd name="connsiteX146" fmla="*/ 4360 w 10000"/>
                <a:gd name="connsiteY146" fmla="*/ 2542 h 9948"/>
                <a:gd name="connsiteX147" fmla="*/ 4351 w 10000"/>
                <a:gd name="connsiteY147" fmla="*/ 2486 h 9948"/>
                <a:gd name="connsiteX148" fmla="*/ 4349 w 10000"/>
                <a:gd name="connsiteY148" fmla="*/ 2426 h 9948"/>
                <a:gd name="connsiteX149" fmla="*/ 4349 w 10000"/>
                <a:gd name="connsiteY149" fmla="*/ 2368 h 9948"/>
                <a:gd name="connsiteX150" fmla="*/ 4351 w 10000"/>
                <a:gd name="connsiteY150" fmla="*/ 2307 h 9948"/>
                <a:gd name="connsiteX151" fmla="*/ 4364 w 10000"/>
                <a:gd name="connsiteY151" fmla="*/ 2248 h 9948"/>
                <a:gd name="connsiteX152" fmla="*/ 4384 w 10000"/>
                <a:gd name="connsiteY152" fmla="*/ 2190 h 9948"/>
                <a:gd name="connsiteX153" fmla="*/ 4413 w 10000"/>
                <a:gd name="connsiteY153" fmla="*/ 2130 h 9948"/>
                <a:gd name="connsiteX154" fmla="*/ 4449 w 10000"/>
                <a:gd name="connsiteY154" fmla="*/ 2074 h 9948"/>
                <a:gd name="connsiteX155" fmla="*/ 4493 w 10000"/>
                <a:gd name="connsiteY155" fmla="*/ 2021 h 9948"/>
                <a:gd name="connsiteX156" fmla="*/ 4552 w 10000"/>
                <a:gd name="connsiteY156" fmla="*/ 1970 h 9948"/>
                <a:gd name="connsiteX157" fmla="*/ 4618 w 10000"/>
                <a:gd name="connsiteY157" fmla="*/ 1926 h 9948"/>
                <a:gd name="connsiteX158" fmla="*/ 4701 w 10000"/>
                <a:gd name="connsiteY158" fmla="*/ 1887 h 9948"/>
                <a:gd name="connsiteX159" fmla="*/ 4797 w 10000"/>
                <a:gd name="connsiteY159" fmla="*/ 1852 h 9948"/>
                <a:gd name="connsiteX160" fmla="*/ 4903 w 10000"/>
                <a:gd name="connsiteY160" fmla="*/ 1822 h 9948"/>
                <a:gd name="connsiteX161" fmla="*/ 5027 w 10000"/>
                <a:gd name="connsiteY161" fmla="*/ 1803 h 9948"/>
                <a:gd name="connsiteX162" fmla="*/ 5169 w 10000"/>
                <a:gd name="connsiteY162" fmla="*/ 1791 h 9948"/>
                <a:gd name="connsiteX163" fmla="*/ 5179 w 10000"/>
                <a:gd name="connsiteY163" fmla="*/ 1791 h 9948"/>
                <a:gd name="connsiteX164" fmla="*/ 5209 w 10000"/>
                <a:gd name="connsiteY164" fmla="*/ 1791 h 9948"/>
                <a:gd name="connsiteX165" fmla="*/ 5255 w 10000"/>
                <a:gd name="connsiteY165" fmla="*/ 1795 h 9948"/>
                <a:gd name="connsiteX166" fmla="*/ 5312 w 10000"/>
                <a:gd name="connsiteY166" fmla="*/ 1799 h 9948"/>
                <a:gd name="connsiteX167" fmla="*/ 5385 w 10000"/>
                <a:gd name="connsiteY167" fmla="*/ 1807 h 9948"/>
                <a:gd name="connsiteX168" fmla="*/ 5467 w 10000"/>
                <a:gd name="connsiteY168" fmla="*/ 1816 h 9948"/>
                <a:gd name="connsiteX169" fmla="*/ 5557 w 10000"/>
                <a:gd name="connsiteY169" fmla="*/ 1826 h 9948"/>
                <a:gd name="connsiteX170" fmla="*/ 5651 w 10000"/>
                <a:gd name="connsiteY170" fmla="*/ 1843 h 9948"/>
                <a:gd name="connsiteX171" fmla="*/ 5749 w 10000"/>
                <a:gd name="connsiteY171" fmla="*/ 1860 h 9948"/>
                <a:gd name="connsiteX172" fmla="*/ 5849 w 10000"/>
                <a:gd name="connsiteY172" fmla="*/ 1879 h 9948"/>
                <a:gd name="connsiteX173" fmla="*/ 5945 w 10000"/>
                <a:gd name="connsiteY173" fmla="*/ 1908 h 9948"/>
                <a:gd name="connsiteX174" fmla="*/ 6039 w 10000"/>
                <a:gd name="connsiteY174" fmla="*/ 1934 h 9948"/>
                <a:gd name="connsiteX175" fmla="*/ 6124 w 10000"/>
                <a:gd name="connsiteY175" fmla="*/ 1965 h 9948"/>
                <a:gd name="connsiteX176" fmla="*/ 6206 w 10000"/>
                <a:gd name="connsiteY176" fmla="*/ 2007 h 9948"/>
                <a:gd name="connsiteX177" fmla="*/ 6273 w 10000"/>
                <a:gd name="connsiteY177" fmla="*/ 2046 h 9948"/>
                <a:gd name="connsiteX178" fmla="*/ 6330 w 10000"/>
                <a:gd name="connsiteY178" fmla="*/ 2095 h 9948"/>
                <a:gd name="connsiteX179" fmla="*/ 6528 w 10000"/>
                <a:gd name="connsiteY179" fmla="*/ 1208 h 9948"/>
                <a:gd name="connsiteX180" fmla="*/ 6518 w 10000"/>
                <a:gd name="connsiteY180" fmla="*/ 1208 h 9948"/>
                <a:gd name="connsiteX181" fmla="*/ 6495 w 10000"/>
                <a:gd name="connsiteY181" fmla="*/ 1200 h 9948"/>
                <a:gd name="connsiteX182" fmla="*/ 6458 w 10000"/>
                <a:gd name="connsiteY182" fmla="*/ 1183 h 9948"/>
                <a:gd name="connsiteX183" fmla="*/ 6406 w 10000"/>
                <a:gd name="connsiteY183" fmla="*/ 1169 h 9948"/>
                <a:gd name="connsiteX184" fmla="*/ 6346 w 10000"/>
                <a:gd name="connsiteY184" fmla="*/ 1148 h 9948"/>
                <a:gd name="connsiteX185" fmla="*/ 6276 w 10000"/>
                <a:gd name="connsiteY185" fmla="*/ 1125 h 9948"/>
                <a:gd name="connsiteX186" fmla="*/ 6197 w 10000"/>
                <a:gd name="connsiteY186" fmla="*/ 1100 h 9948"/>
                <a:gd name="connsiteX187" fmla="*/ 6115 w 10000"/>
                <a:gd name="connsiteY187" fmla="*/ 1077 h 9948"/>
                <a:gd name="connsiteX188" fmla="*/ 6024 w 10000"/>
                <a:gd name="connsiteY188" fmla="*/ 1048 h 9948"/>
                <a:gd name="connsiteX189" fmla="*/ 5933 w 10000"/>
                <a:gd name="connsiteY189" fmla="*/ 1025 h 9948"/>
                <a:gd name="connsiteX190" fmla="*/ 5839 w 10000"/>
                <a:gd name="connsiteY190" fmla="*/ 1000 h 9948"/>
                <a:gd name="connsiteX191" fmla="*/ 5746 w 10000"/>
                <a:gd name="connsiteY191" fmla="*/ 978 h 9948"/>
                <a:gd name="connsiteX192" fmla="*/ 5651 w 10000"/>
                <a:gd name="connsiteY192" fmla="*/ 961 h 9948"/>
                <a:gd name="connsiteX193" fmla="*/ 5560 w 10000"/>
                <a:gd name="connsiteY193" fmla="*/ 947 h 9948"/>
                <a:gd name="connsiteX194" fmla="*/ 5475 w 10000"/>
                <a:gd name="connsiteY194" fmla="*/ 934 h 9948"/>
                <a:gd name="connsiteX195" fmla="*/ 5397 w 10000"/>
                <a:gd name="connsiteY195" fmla="*/ 926 h 9948"/>
                <a:gd name="connsiteX196" fmla="*/ 5325 w 10000"/>
                <a:gd name="connsiteY196" fmla="*/ 922 h 9948"/>
                <a:gd name="connsiteX197" fmla="*/ 5309 w 10000"/>
                <a:gd name="connsiteY197" fmla="*/ 251 h 9948"/>
                <a:gd name="connsiteX198" fmla="*/ 4664 w 10000"/>
                <a:gd name="connsiteY198" fmla="*/ 257 h 9948"/>
                <a:gd name="connsiteX199" fmla="*/ 4664 w 10000"/>
                <a:gd name="connsiteY199" fmla="*/ 978 h 9948"/>
                <a:gd name="connsiteX200" fmla="*/ 4655 w 10000"/>
                <a:gd name="connsiteY200" fmla="*/ 982 h 9948"/>
                <a:gd name="connsiteX201" fmla="*/ 4633 w 10000"/>
                <a:gd name="connsiteY201" fmla="*/ 986 h 9948"/>
                <a:gd name="connsiteX202" fmla="*/ 4596 w 10000"/>
                <a:gd name="connsiteY202" fmla="*/ 994 h 9948"/>
                <a:gd name="connsiteX203" fmla="*/ 4552 w 10000"/>
                <a:gd name="connsiteY203" fmla="*/ 1000 h 9948"/>
                <a:gd name="connsiteX204" fmla="*/ 4493 w 10000"/>
                <a:gd name="connsiteY204" fmla="*/ 1017 h 9948"/>
                <a:gd name="connsiteX205" fmla="*/ 4430 w 10000"/>
                <a:gd name="connsiteY205" fmla="*/ 1037 h 9948"/>
                <a:gd name="connsiteX206" fmla="*/ 4354 w 10000"/>
                <a:gd name="connsiteY206" fmla="*/ 1064 h 9948"/>
                <a:gd name="connsiteX207" fmla="*/ 4276 w 10000"/>
                <a:gd name="connsiteY207" fmla="*/ 1095 h 9948"/>
                <a:gd name="connsiteX208" fmla="*/ 4191 w 10000"/>
                <a:gd name="connsiteY208" fmla="*/ 1136 h 9948"/>
                <a:gd name="connsiteX209" fmla="*/ 4102 w 10000"/>
                <a:gd name="connsiteY209" fmla="*/ 1179 h 9948"/>
                <a:gd name="connsiteX210" fmla="*/ 4012 w 10000"/>
                <a:gd name="connsiteY210" fmla="*/ 1235 h 9948"/>
                <a:gd name="connsiteX211" fmla="*/ 3922 w 10000"/>
                <a:gd name="connsiteY211" fmla="*/ 1295 h 9948"/>
                <a:gd name="connsiteX212" fmla="*/ 3827 w 10000"/>
                <a:gd name="connsiteY212" fmla="*/ 1366 h 9948"/>
                <a:gd name="connsiteX213" fmla="*/ 3740 w 10000"/>
                <a:gd name="connsiteY213" fmla="*/ 1447 h 9948"/>
                <a:gd name="connsiteX214" fmla="*/ 3651 w 10000"/>
                <a:gd name="connsiteY214" fmla="*/ 1533 h 9948"/>
                <a:gd name="connsiteX215" fmla="*/ 3570 w 10000"/>
                <a:gd name="connsiteY215" fmla="*/ 1638 h 9948"/>
                <a:gd name="connsiteX216" fmla="*/ 3491 w 10000"/>
                <a:gd name="connsiteY216" fmla="*/ 1743 h 9948"/>
                <a:gd name="connsiteX217" fmla="*/ 3421 w 10000"/>
                <a:gd name="connsiteY217" fmla="*/ 1868 h 9948"/>
                <a:gd name="connsiteX218" fmla="*/ 3358 w 10000"/>
                <a:gd name="connsiteY218" fmla="*/ 2003 h 9948"/>
                <a:gd name="connsiteX219" fmla="*/ 3306 w 10000"/>
                <a:gd name="connsiteY219" fmla="*/ 2146 h 9948"/>
                <a:gd name="connsiteX220" fmla="*/ 3263 w 10000"/>
                <a:gd name="connsiteY220" fmla="*/ 2307 h 9948"/>
                <a:gd name="connsiteX221" fmla="*/ 3260 w 10000"/>
                <a:gd name="connsiteY221" fmla="*/ 2312 h 9948"/>
                <a:gd name="connsiteX222" fmla="*/ 3257 w 10000"/>
                <a:gd name="connsiteY222" fmla="*/ 2335 h 9948"/>
                <a:gd name="connsiteX223" fmla="*/ 3252 w 10000"/>
                <a:gd name="connsiteY223" fmla="*/ 2373 h 9948"/>
                <a:gd name="connsiteX224" fmla="*/ 3246 w 10000"/>
                <a:gd name="connsiteY224" fmla="*/ 2420 h 9948"/>
                <a:gd name="connsiteX225" fmla="*/ 3239 w 10000"/>
                <a:gd name="connsiteY225" fmla="*/ 2474 h 9948"/>
                <a:gd name="connsiteX226" fmla="*/ 3236 w 10000"/>
                <a:gd name="connsiteY226" fmla="*/ 2546 h 9948"/>
                <a:gd name="connsiteX227" fmla="*/ 3236 w 10000"/>
                <a:gd name="connsiteY227" fmla="*/ 2622 h 9948"/>
                <a:gd name="connsiteX228" fmla="*/ 3236 w 10000"/>
                <a:gd name="connsiteY228" fmla="*/ 2704 h 9948"/>
                <a:gd name="connsiteX229" fmla="*/ 3243 w 10000"/>
                <a:gd name="connsiteY229" fmla="*/ 2795 h 9948"/>
                <a:gd name="connsiteX230" fmla="*/ 3255 w 10000"/>
                <a:gd name="connsiteY230" fmla="*/ 2891 h 9948"/>
                <a:gd name="connsiteX231" fmla="*/ 3273 w 10000"/>
                <a:gd name="connsiteY231" fmla="*/ 2991 h 9948"/>
                <a:gd name="connsiteX232" fmla="*/ 3296 w 10000"/>
                <a:gd name="connsiteY232" fmla="*/ 3095 h 9948"/>
                <a:gd name="connsiteX233" fmla="*/ 3333 w 10000"/>
                <a:gd name="connsiteY233" fmla="*/ 3202 h 9948"/>
                <a:gd name="connsiteX234" fmla="*/ 3376 w 10000"/>
                <a:gd name="connsiteY234" fmla="*/ 3305 h 9948"/>
                <a:gd name="connsiteX235" fmla="*/ 3431 w 10000"/>
                <a:gd name="connsiteY235" fmla="*/ 3412 h 9948"/>
                <a:gd name="connsiteX236" fmla="*/ 3494 w 10000"/>
                <a:gd name="connsiteY236" fmla="*/ 3515 h 9948"/>
                <a:gd name="connsiteX237" fmla="*/ 3570 w 10000"/>
                <a:gd name="connsiteY237" fmla="*/ 3616 h 9948"/>
                <a:gd name="connsiteX238" fmla="*/ 3661 w 10000"/>
                <a:gd name="connsiteY238" fmla="*/ 3711 h 9948"/>
                <a:gd name="connsiteX239" fmla="*/ 3767 w 10000"/>
                <a:gd name="connsiteY239" fmla="*/ 3803 h 9948"/>
                <a:gd name="connsiteX240" fmla="*/ 3885 w 10000"/>
                <a:gd name="connsiteY240" fmla="*/ 3890 h 9948"/>
                <a:gd name="connsiteX241" fmla="*/ 4022 w 10000"/>
                <a:gd name="connsiteY241" fmla="*/ 3964 h 9948"/>
                <a:gd name="connsiteX242" fmla="*/ 4031 w 10000"/>
                <a:gd name="connsiteY242" fmla="*/ 3968 h 9948"/>
                <a:gd name="connsiteX243" fmla="*/ 4055 w 10000"/>
                <a:gd name="connsiteY243" fmla="*/ 3985 h 9948"/>
                <a:gd name="connsiteX244" fmla="*/ 4088 w 10000"/>
                <a:gd name="connsiteY244" fmla="*/ 3999 h 9948"/>
                <a:gd name="connsiteX245" fmla="*/ 4134 w 10000"/>
                <a:gd name="connsiteY245" fmla="*/ 4029 h 9948"/>
                <a:gd name="connsiteX246" fmla="*/ 4185 w 10000"/>
                <a:gd name="connsiteY246" fmla="*/ 4056 h 9948"/>
                <a:gd name="connsiteX247" fmla="*/ 4243 w 10000"/>
                <a:gd name="connsiteY247" fmla="*/ 4087 h 9948"/>
                <a:gd name="connsiteX248" fmla="*/ 4300 w 10000"/>
                <a:gd name="connsiteY248" fmla="*/ 4120 h 9948"/>
                <a:gd name="connsiteX249" fmla="*/ 4360 w 10000"/>
                <a:gd name="connsiteY249" fmla="*/ 4151 h 9948"/>
                <a:gd name="connsiteX250" fmla="*/ 4416 w 10000"/>
                <a:gd name="connsiteY250" fmla="*/ 4182 h 9948"/>
                <a:gd name="connsiteX251" fmla="*/ 4466 w 10000"/>
                <a:gd name="connsiteY251" fmla="*/ 4211 h 9948"/>
                <a:gd name="connsiteX252" fmla="*/ 4512 w 10000"/>
                <a:gd name="connsiteY252" fmla="*/ 4234 h 9948"/>
                <a:gd name="connsiteX253" fmla="*/ 4549 w 10000"/>
                <a:gd name="connsiteY253" fmla="*/ 4250 h 9948"/>
                <a:gd name="connsiteX254" fmla="*/ 4569 w 10000"/>
                <a:gd name="connsiteY254" fmla="*/ 4263 h 9948"/>
                <a:gd name="connsiteX255" fmla="*/ 4579 w 10000"/>
                <a:gd name="connsiteY255" fmla="*/ 4263 h 9948"/>
                <a:gd name="connsiteX256" fmla="*/ 4603 w 10000"/>
                <a:gd name="connsiteY256" fmla="*/ 4270 h 9948"/>
                <a:gd name="connsiteX257" fmla="*/ 4642 w 10000"/>
                <a:gd name="connsiteY257" fmla="*/ 4286 h 9948"/>
                <a:gd name="connsiteX258" fmla="*/ 4691 w 10000"/>
                <a:gd name="connsiteY258" fmla="*/ 4303 h 9948"/>
                <a:gd name="connsiteX259" fmla="*/ 4751 w 10000"/>
                <a:gd name="connsiteY259" fmla="*/ 4326 h 9948"/>
                <a:gd name="connsiteX260" fmla="*/ 4821 w 10000"/>
                <a:gd name="connsiteY260" fmla="*/ 4355 h 9948"/>
                <a:gd name="connsiteX261" fmla="*/ 4897 w 10000"/>
                <a:gd name="connsiteY261" fmla="*/ 4386 h 9948"/>
                <a:gd name="connsiteX262" fmla="*/ 4976 w 10000"/>
                <a:gd name="connsiteY262" fmla="*/ 4421 h 9948"/>
                <a:gd name="connsiteX263" fmla="*/ 5057 w 10000"/>
                <a:gd name="connsiteY263" fmla="*/ 4464 h 9948"/>
                <a:gd name="connsiteX264" fmla="*/ 5142 w 10000"/>
                <a:gd name="connsiteY264" fmla="*/ 4507 h 9948"/>
                <a:gd name="connsiteX265" fmla="*/ 5225 w 10000"/>
                <a:gd name="connsiteY265" fmla="*/ 4560 h 9948"/>
                <a:gd name="connsiteX266" fmla="*/ 5302 w 10000"/>
                <a:gd name="connsiteY266" fmla="*/ 4616 h 9948"/>
                <a:gd name="connsiteX267" fmla="*/ 5378 w 10000"/>
                <a:gd name="connsiteY267" fmla="*/ 4672 h 9948"/>
                <a:gd name="connsiteX268" fmla="*/ 5445 w 10000"/>
                <a:gd name="connsiteY268" fmla="*/ 4734 h 9948"/>
                <a:gd name="connsiteX269" fmla="*/ 5507 w 10000"/>
                <a:gd name="connsiteY269" fmla="*/ 4799 h 9948"/>
                <a:gd name="connsiteX270" fmla="*/ 5554 w 10000"/>
                <a:gd name="connsiteY270" fmla="*/ 4869 h 9948"/>
                <a:gd name="connsiteX271" fmla="*/ 5557 w 10000"/>
                <a:gd name="connsiteY271" fmla="*/ 4873 h 9948"/>
                <a:gd name="connsiteX272" fmla="*/ 5567 w 10000"/>
                <a:gd name="connsiteY272" fmla="*/ 4890 h 9948"/>
                <a:gd name="connsiteX273" fmla="*/ 5576 w 10000"/>
                <a:gd name="connsiteY273" fmla="*/ 4913 h 9948"/>
                <a:gd name="connsiteX274" fmla="*/ 5591 w 10000"/>
                <a:gd name="connsiteY274" fmla="*/ 4950 h 9948"/>
                <a:gd name="connsiteX275" fmla="*/ 5606 w 10000"/>
                <a:gd name="connsiteY275" fmla="*/ 4989 h 9948"/>
                <a:gd name="connsiteX276" fmla="*/ 5621 w 10000"/>
                <a:gd name="connsiteY276" fmla="*/ 5038 h 9948"/>
                <a:gd name="connsiteX277" fmla="*/ 5636 w 10000"/>
                <a:gd name="connsiteY277" fmla="*/ 5091 h 9948"/>
                <a:gd name="connsiteX278" fmla="*/ 5649 w 10000"/>
                <a:gd name="connsiteY278" fmla="*/ 5151 h 9948"/>
                <a:gd name="connsiteX279" fmla="*/ 5657 w 10000"/>
                <a:gd name="connsiteY279" fmla="*/ 5211 h 9948"/>
                <a:gd name="connsiteX280" fmla="*/ 5663 w 10000"/>
                <a:gd name="connsiteY280" fmla="*/ 5278 h 9948"/>
                <a:gd name="connsiteX281" fmla="*/ 5667 w 10000"/>
                <a:gd name="connsiteY281" fmla="*/ 5347 h 9948"/>
                <a:gd name="connsiteX282" fmla="*/ 5660 w 10000"/>
                <a:gd name="connsiteY282" fmla="*/ 5417 h 9948"/>
                <a:gd name="connsiteX283" fmla="*/ 5649 w 10000"/>
                <a:gd name="connsiteY283" fmla="*/ 5485 h 9948"/>
                <a:gd name="connsiteX284" fmla="*/ 5627 w 10000"/>
                <a:gd name="connsiteY284" fmla="*/ 5556 h 9948"/>
                <a:gd name="connsiteX285" fmla="*/ 5597 w 10000"/>
                <a:gd name="connsiteY285" fmla="*/ 5624 h 9948"/>
                <a:gd name="connsiteX286" fmla="*/ 5557 w 10000"/>
                <a:gd name="connsiteY286" fmla="*/ 5689 h 9948"/>
                <a:gd name="connsiteX287" fmla="*/ 5503 w 10000"/>
                <a:gd name="connsiteY287" fmla="*/ 5752 h 9948"/>
                <a:gd name="connsiteX288" fmla="*/ 5440 w 10000"/>
                <a:gd name="connsiteY288" fmla="*/ 5812 h 9948"/>
                <a:gd name="connsiteX289" fmla="*/ 5358 w 10000"/>
                <a:gd name="connsiteY289" fmla="*/ 5867 h 9948"/>
                <a:gd name="connsiteX290" fmla="*/ 5264 w 10000"/>
                <a:gd name="connsiteY290" fmla="*/ 5915 h 9948"/>
                <a:gd name="connsiteX291" fmla="*/ 5155 w 10000"/>
                <a:gd name="connsiteY291" fmla="*/ 5958 h 9948"/>
                <a:gd name="connsiteX292" fmla="*/ 5146 w 10000"/>
                <a:gd name="connsiteY292" fmla="*/ 5958 h 9948"/>
                <a:gd name="connsiteX293" fmla="*/ 5119 w 10000"/>
                <a:gd name="connsiteY293" fmla="*/ 5967 h 9948"/>
                <a:gd name="connsiteX294" fmla="*/ 5070 w 10000"/>
                <a:gd name="connsiteY294" fmla="*/ 5973 h 9948"/>
                <a:gd name="connsiteX295" fmla="*/ 5009 w 10000"/>
                <a:gd name="connsiteY295" fmla="*/ 5986 h 9948"/>
                <a:gd name="connsiteX296" fmla="*/ 4930 w 10000"/>
                <a:gd name="connsiteY296" fmla="*/ 5999 h 9948"/>
                <a:gd name="connsiteX297" fmla="*/ 4840 w 10000"/>
                <a:gd name="connsiteY297" fmla="*/ 6007 h 9948"/>
                <a:gd name="connsiteX298" fmla="*/ 4736 w 10000"/>
                <a:gd name="connsiteY298" fmla="*/ 6011 h 9948"/>
                <a:gd name="connsiteX299" fmla="*/ 4622 w 10000"/>
                <a:gd name="connsiteY299" fmla="*/ 6011 h 9948"/>
                <a:gd name="connsiteX300" fmla="*/ 4493 w 10000"/>
                <a:gd name="connsiteY300" fmla="*/ 6003 h 9948"/>
                <a:gd name="connsiteX301" fmla="*/ 4357 w 10000"/>
                <a:gd name="connsiteY301" fmla="*/ 5986 h 9948"/>
                <a:gd name="connsiteX302" fmla="*/ 4215 w 10000"/>
                <a:gd name="connsiteY302" fmla="*/ 5962 h 9948"/>
                <a:gd name="connsiteX303" fmla="*/ 4064 w 10000"/>
                <a:gd name="connsiteY303" fmla="*/ 5925 h 9948"/>
                <a:gd name="connsiteX304" fmla="*/ 3906 w 10000"/>
                <a:gd name="connsiteY304" fmla="*/ 5874 h 9948"/>
                <a:gd name="connsiteX305" fmla="*/ 3746 w 10000"/>
                <a:gd name="connsiteY305" fmla="*/ 5812 h 9948"/>
                <a:gd name="connsiteX306" fmla="*/ 3578 w 10000"/>
                <a:gd name="connsiteY306" fmla="*/ 5733 h 9948"/>
                <a:gd name="connsiteX307" fmla="*/ 3412 w 10000"/>
                <a:gd name="connsiteY307" fmla="*/ 5633 h 9948"/>
                <a:gd name="connsiteX308" fmla="*/ 3200 w 10000"/>
                <a:gd name="connsiteY308" fmla="*/ 6538 h 9948"/>
                <a:gd name="connsiteX309" fmla="*/ 3209 w 10000"/>
                <a:gd name="connsiteY309" fmla="*/ 6542 h 9948"/>
                <a:gd name="connsiteX310" fmla="*/ 3233 w 10000"/>
                <a:gd name="connsiteY310" fmla="*/ 6554 h 9948"/>
                <a:gd name="connsiteX311" fmla="*/ 3273 w 10000"/>
                <a:gd name="connsiteY311" fmla="*/ 6569 h 9948"/>
                <a:gd name="connsiteX312" fmla="*/ 3325 w 10000"/>
                <a:gd name="connsiteY312" fmla="*/ 6598 h 9948"/>
                <a:gd name="connsiteX313" fmla="*/ 3388 w 10000"/>
                <a:gd name="connsiteY313" fmla="*/ 6625 h 9948"/>
                <a:gd name="connsiteX314" fmla="*/ 3464 w 10000"/>
                <a:gd name="connsiteY314" fmla="*/ 6658 h 9948"/>
                <a:gd name="connsiteX315" fmla="*/ 3548 w 10000"/>
                <a:gd name="connsiteY315" fmla="*/ 6689 h 9948"/>
                <a:gd name="connsiteX316" fmla="*/ 3640 w 10000"/>
                <a:gd name="connsiteY316" fmla="*/ 6725 h 9948"/>
                <a:gd name="connsiteX317" fmla="*/ 3740 w 10000"/>
                <a:gd name="connsiteY317" fmla="*/ 6760 h 9948"/>
                <a:gd name="connsiteX318" fmla="*/ 3846 w 10000"/>
                <a:gd name="connsiteY318" fmla="*/ 6795 h 9948"/>
                <a:gd name="connsiteX319" fmla="*/ 3955 w 10000"/>
                <a:gd name="connsiteY319" fmla="*/ 6828 h 9948"/>
                <a:gd name="connsiteX320" fmla="*/ 4067 w 10000"/>
                <a:gd name="connsiteY320" fmla="*/ 6855 h 9948"/>
                <a:gd name="connsiteX321" fmla="*/ 4181 w 10000"/>
                <a:gd name="connsiteY321" fmla="*/ 6880 h 9948"/>
                <a:gd name="connsiteX322" fmla="*/ 4294 w 10000"/>
                <a:gd name="connsiteY322" fmla="*/ 6899 h 9948"/>
                <a:gd name="connsiteX323" fmla="*/ 4409 w 10000"/>
                <a:gd name="connsiteY323" fmla="*/ 6911 h 9948"/>
                <a:gd name="connsiteX324" fmla="*/ 4519 w 10000"/>
                <a:gd name="connsiteY324" fmla="*/ 6919 h 9948"/>
                <a:gd name="connsiteX325" fmla="*/ 4628 w 10000"/>
                <a:gd name="connsiteY325" fmla="*/ 6915 h 9948"/>
                <a:gd name="connsiteX326" fmla="*/ 4628 w 10000"/>
                <a:gd name="connsiteY326" fmla="*/ 7598 h 9948"/>
                <a:gd name="connsiteX327" fmla="*/ 4218 w 10000"/>
                <a:gd name="connsiteY327" fmla="*/ 8102 h 9948"/>
                <a:gd name="connsiteX328" fmla="*/ 3615 w 10000"/>
                <a:gd name="connsiteY328" fmla="*/ 7762 h 9948"/>
                <a:gd name="connsiteX329" fmla="*/ 2582 w 10000"/>
                <a:gd name="connsiteY329" fmla="*/ 9607 h 9948"/>
                <a:gd name="connsiteX330" fmla="*/ 1778 w 10000"/>
                <a:gd name="connsiteY330" fmla="*/ 8750 h 9948"/>
                <a:gd name="connsiteX331" fmla="*/ 1174 w 10000"/>
                <a:gd name="connsiteY331" fmla="*/ 9937 h 9948"/>
                <a:gd name="connsiteX332" fmla="*/ 32 w 10000"/>
                <a:gd name="connsiteY332" fmla="*/ 9948 h 9948"/>
                <a:gd name="connsiteX333" fmla="*/ 0 w 10000"/>
                <a:gd name="connsiteY333" fmla="*/ 9736 h 9948"/>
                <a:gd name="connsiteX334" fmla="*/ 1097 w 10000"/>
                <a:gd name="connsiteY334" fmla="*/ 9736 h 9948"/>
                <a:gd name="connsiteX335" fmla="*/ 1745 w 10000"/>
                <a:gd name="connsiteY335" fmla="*/ 8446 h 9948"/>
                <a:gd name="connsiteX336" fmla="*/ 2560 w 10000"/>
                <a:gd name="connsiteY336" fmla="*/ 9294 h 9948"/>
                <a:gd name="connsiteX337" fmla="*/ 3567 w 10000"/>
                <a:gd name="connsiteY337" fmla="*/ 7432 h 9948"/>
                <a:gd name="connsiteX338" fmla="*/ 4191 w 10000"/>
                <a:gd name="connsiteY338" fmla="*/ 7816 h 9948"/>
                <a:gd name="connsiteX339" fmla="*/ 4446 w 10000"/>
                <a:gd name="connsiteY339" fmla="*/ 7515 h 9948"/>
                <a:gd name="connsiteX340" fmla="*/ 4446 w 10000"/>
                <a:gd name="connsiteY340" fmla="*/ 7146 h 9948"/>
                <a:gd name="connsiteX341" fmla="*/ 4433 w 10000"/>
                <a:gd name="connsiteY341" fmla="*/ 7146 h 9948"/>
                <a:gd name="connsiteX342" fmla="*/ 4403 w 10000"/>
                <a:gd name="connsiteY342" fmla="*/ 7141 h 9948"/>
                <a:gd name="connsiteX343" fmla="*/ 4357 w 10000"/>
                <a:gd name="connsiteY343" fmla="*/ 7137 h 9948"/>
                <a:gd name="connsiteX344" fmla="*/ 4294 w 10000"/>
                <a:gd name="connsiteY344" fmla="*/ 7129 h 9948"/>
                <a:gd name="connsiteX345" fmla="*/ 4215 w 10000"/>
                <a:gd name="connsiteY345" fmla="*/ 7121 h 9948"/>
                <a:gd name="connsiteX346" fmla="*/ 4128 w 10000"/>
                <a:gd name="connsiteY346" fmla="*/ 7110 h 9948"/>
                <a:gd name="connsiteX347" fmla="*/ 4031 w 10000"/>
                <a:gd name="connsiteY347" fmla="*/ 7094 h 9948"/>
                <a:gd name="connsiteX348" fmla="*/ 3925 w 10000"/>
                <a:gd name="connsiteY348" fmla="*/ 7073 h 9948"/>
                <a:gd name="connsiteX349" fmla="*/ 3816 w 10000"/>
                <a:gd name="connsiteY349" fmla="*/ 7050 h 9948"/>
                <a:gd name="connsiteX350" fmla="*/ 3700 w 10000"/>
                <a:gd name="connsiteY350" fmla="*/ 7019 h 9948"/>
                <a:gd name="connsiteX351" fmla="*/ 3585 w 10000"/>
                <a:gd name="connsiteY351" fmla="*/ 6986 h 9948"/>
                <a:gd name="connsiteX352" fmla="*/ 3469 w 10000"/>
                <a:gd name="connsiteY352" fmla="*/ 6946 h 9948"/>
                <a:gd name="connsiteX353" fmla="*/ 3358 w 10000"/>
                <a:gd name="connsiteY353" fmla="*/ 6903 h 9948"/>
                <a:gd name="connsiteX354" fmla="*/ 3249 w 10000"/>
                <a:gd name="connsiteY354" fmla="*/ 6855 h 9948"/>
                <a:gd name="connsiteX355" fmla="*/ 3149 w 10000"/>
                <a:gd name="connsiteY355" fmla="*/ 6799 h 9948"/>
                <a:gd name="connsiteX356" fmla="*/ 3057 w 10000"/>
                <a:gd name="connsiteY356" fmla="*/ 6737 h 9948"/>
                <a:gd name="connsiteX357" fmla="*/ 2975 w 10000"/>
                <a:gd name="connsiteY357" fmla="*/ 6664 h 9948"/>
                <a:gd name="connsiteX358" fmla="*/ 3276 w 10000"/>
                <a:gd name="connsiteY358" fmla="*/ 5282 h 9948"/>
                <a:gd name="connsiteX359" fmla="*/ 3285 w 10000"/>
                <a:gd name="connsiteY359" fmla="*/ 5287 h 9948"/>
                <a:gd name="connsiteX360" fmla="*/ 3303 w 10000"/>
                <a:gd name="connsiteY360" fmla="*/ 5299 h 9948"/>
                <a:gd name="connsiteX361" fmla="*/ 3336 w 10000"/>
                <a:gd name="connsiteY361" fmla="*/ 5316 h 9948"/>
                <a:gd name="connsiteX362" fmla="*/ 3379 w 10000"/>
                <a:gd name="connsiteY362" fmla="*/ 5338 h 9948"/>
                <a:gd name="connsiteX363" fmla="*/ 3433 w 10000"/>
                <a:gd name="connsiteY363" fmla="*/ 5367 h 9948"/>
                <a:gd name="connsiteX364" fmla="*/ 3494 w 10000"/>
                <a:gd name="connsiteY364" fmla="*/ 5398 h 9948"/>
                <a:gd name="connsiteX365" fmla="*/ 3567 w 10000"/>
                <a:gd name="connsiteY365" fmla="*/ 5429 h 9948"/>
                <a:gd name="connsiteX366" fmla="*/ 3645 w 10000"/>
                <a:gd name="connsiteY366" fmla="*/ 5464 h 9948"/>
                <a:gd name="connsiteX367" fmla="*/ 3730 w 10000"/>
                <a:gd name="connsiteY367" fmla="*/ 5507 h 9948"/>
                <a:gd name="connsiteX368" fmla="*/ 3820 w 10000"/>
                <a:gd name="connsiteY368" fmla="*/ 5542 h 9948"/>
                <a:gd name="connsiteX369" fmla="*/ 3919 w 10000"/>
                <a:gd name="connsiteY369" fmla="*/ 5581 h 9948"/>
                <a:gd name="connsiteX370" fmla="*/ 4018 w 10000"/>
                <a:gd name="connsiteY370" fmla="*/ 5616 h 9948"/>
                <a:gd name="connsiteX371" fmla="*/ 4121 w 10000"/>
                <a:gd name="connsiteY371" fmla="*/ 5651 h 9948"/>
                <a:gd name="connsiteX372" fmla="*/ 4227 w 10000"/>
                <a:gd name="connsiteY372" fmla="*/ 5684 h 9948"/>
                <a:gd name="connsiteX373" fmla="*/ 4337 w 10000"/>
                <a:gd name="connsiteY373" fmla="*/ 5711 h 9948"/>
                <a:gd name="connsiteX374" fmla="*/ 4443 w 10000"/>
                <a:gd name="connsiteY374" fmla="*/ 5737 h 9948"/>
                <a:gd name="connsiteX375" fmla="*/ 4552 w 10000"/>
                <a:gd name="connsiteY375" fmla="*/ 5756 h 9948"/>
                <a:gd name="connsiteX376" fmla="*/ 4655 w 10000"/>
                <a:gd name="connsiteY376" fmla="*/ 5768 h 9948"/>
                <a:gd name="connsiteX377" fmla="*/ 4761 w 10000"/>
                <a:gd name="connsiteY377" fmla="*/ 5776 h 9948"/>
                <a:gd name="connsiteX378" fmla="*/ 4861 w 10000"/>
                <a:gd name="connsiteY378" fmla="*/ 5772 h 9948"/>
                <a:gd name="connsiteX379" fmla="*/ 4954 w 10000"/>
                <a:gd name="connsiteY379" fmla="*/ 5764 h 9948"/>
                <a:gd name="connsiteX380" fmla="*/ 5046 w 10000"/>
                <a:gd name="connsiteY380" fmla="*/ 5743 h 9948"/>
                <a:gd name="connsiteX381" fmla="*/ 5133 w 10000"/>
                <a:gd name="connsiteY381" fmla="*/ 5715 h 9948"/>
                <a:gd name="connsiteX382" fmla="*/ 5212 w 10000"/>
                <a:gd name="connsiteY382" fmla="*/ 5676 h 9948"/>
                <a:gd name="connsiteX383" fmla="*/ 5282 w 10000"/>
                <a:gd name="connsiteY383" fmla="*/ 5624 h 9948"/>
                <a:gd name="connsiteX384" fmla="*/ 5345 w 10000"/>
                <a:gd name="connsiteY384" fmla="*/ 5560 h 9948"/>
                <a:gd name="connsiteX385" fmla="*/ 5397 w 10000"/>
                <a:gd name="connsiteY385" fmla="*/ 5481 h 9948"/>
                <a:gd name="connsiteX386" fmla="*/ 5440 w 10000"/>
                <a:gd name="connsiteY386" fmla="*/ 5390 h 9948"/>
                <a:gd name="connsiteX387" fmla="*/ 5470 w 10000"/>
                <a:gd name="connsiteY387" fmla="*/ 5282 h 9948"/>
                <a:gd name="connsiteX388" fmla="*/ 5473 w 10000"/>
                <a:gd name="connsiteY388" fmla="*/ 5278 h 9948"/>
                <a:gd name="connsiteX389" fmla="*/ 5473 w 10000"/>
                <a:gd name="connsiteY389" fmla="*/ 5268 h 9948"/>
                <a:gd name="connsiteX390" fmla="*/ 5473 w 10000"/>
                <a:gd name="connsiteY390" fmla="*/ 5247 h 9948"/>
                <a:gd name="connsiteX391" fmla="*/ 5473 w 10000"/>
                <a:gd name="connsiteY391" fmla="*/ 5224 h 9948"/>
                <a:gd name="connsiteX392" fmla="*/ 5470 w 10000"/>
                <a:gd name="connsiteY392" fmla="*/ 5190 h 9948"/>
                <a:gd name="connsiteX393" fmla="*/ 5461 w 10000"/>
                <a:gd name="connsiteY393" fmla="*/ 5155 h 9948"/>
                <a:gd name="connsiteX394" fmla="*/ 5445 w 10000"/>
                <a:gd name="connsiteY394" fmla="*/ 5112 h 9948"/>
                <a:gd name="connsiteX395" fmla="*/ 5424 w 10000"/>
                <a:gd name="connsiteY395" fmla="*/ 5069 h 9948"/>
                <a:gd name="connsiteX396" fmla="*/ 5397 w 10000"/>
                <a:gd name="connsiteY396" fmla="*/ 5017 h 9948"/>
                <a:gd name="connsiteX397" fmla="*/ 5358 w 10000"/>
                <a:gd name="connsiteY397" fmla="*/ 4964 h 9948"/>
                <a:gd name="connsiteX398" fmla="*/ 5309 w 10000"/>
                <a:gd name="connsiteY398" fmla="*/ 4913 h 9948"/>
                <a:gd name="connsiteX399" fmla="*/ 5252 w 10000"/>
                <a:gd name="connsiteY399" fmla="*/ 4859 h 9948"/>
                <a:gd name="connsiteX400" fmla="*/ 5179 w 10000"/>
                <a:gd name="connsiteY400" fmla="*/ 4799 h 9948"/>
                <a:gd name="connsiteX401" fmla="*/ 5090 w 10000"/>
                <a:gd name="connsiteY401" fmla="*/ 4742 h 9948"/>
                <a:gd name="connsiteX402" fmla="*/ 4987 w 10000"/>
                <a:gd name="connsiteY402" fmla="*/ 4682 h 9948"/>
                <a:gd name="connsiteX403" fmla="*/ 4870 w 10000"/>
                <a:gd name="connsiteY403" fmla="*/ 4628 h 9948"/>
                <a:gd name="connsiteX404" fmla="*/ 4734 w 10000"/>
                <a:gd name="connsiteY404" fmla="*/ 4573 h 9948"/>
                <a:gd name="connsiteX405" fmla="*/ 4579 w 10000"/>
                <a:gd name="connsiteY405" fmla="*/ 4521 h 9948"/>
                <a:gd name="connsiteX406" fmla="*/ 4569 w 10000"/>
                <a:gd name="connsiteY406" fmla="*/ 4517 h 9948"/>
                <a:gd name="connsiteX407" fmla="*/ 4542 w 10000"/>
                <a:gd name="connsiteY407" fmla="*/ 4503 h 9948"/>
                <a:gd name="connsiteX408" fmla="*/ 4503 w 10000"/>
                <a:gd name="connsiteY408" fmla="*/ 4493 h 9948"/>
                <a:gd name="connsiteX409" fmla="*/ 4449 w 10000"/>
                <a:gd name="connsiteY409" fmla="*/ 4468 h 9948"/>
                <a:gd name="connsiteX410" fmla="*/ 4384 w 10000"/>
                <a:gd name="connsiteY410" fmla="*/ 4441 h 9948"/>
                <a:gd name="connsiteX411" fmla="*/ 4310 w 10000"/>
                <a:gd name="connsiteY411" fmla="*/ 4404 h 9948"/>
                <a:gd name="connsiteX412" fmla="*/ 4224 w 10000"/>
                <a:gd name="connsiteY412" fmla="*/ 4365 h 9948"/>
                <a:gd name="connsiteX413" fmla="*/ 4134 w 10000"/>
                <a:gd name="connsiteY413" fmla="*/ 4317 h 9948"/>
                <a:gd name="connsiteX414" fmla="*/ 4039 w 10000"/>
                <a:gd name="connsiteY414" fmla="*/ 4263 h 9948"/>
                <a:gd name="connsiteX415" fmla="*/ 3939 w 10000"/>
                <a:gd name="connsiteY415" fmla="*/ 4203 h 9948"/>
                <a:gd name="connsiteX416" fmla="*/ 3839 w 10000"/>
                <a:gd name="connsiteY416" fmla="*/ 4134 h 9948"/>
                <a:gd name="connsiteX417" fmla="*/ 3740 w 10000"/>
                <a:gd name="connsiteY417" fmla="*/ 4064 h 9948"/>
                <a:gd name="connsiteX418" fmla="*/ 3643 w 10000"/>
                <a:gd name="connsiteY418" fmla="*/ 3980 h 9948"/>
                <a:gd name="connsiteX419" fmla="*/ 3545 w 10000"/>
                <a:gd name="connsiteY419" fmla="*/ 3894 h 9948"/>
                <a:gd name="connsiteX420" fmla="*/ 3458 w 10000"/>
                <a:gd name="connsiteY420" fmla="*/ 3803 h 9948"/>
                <a:gd name="connsiteX421" fmla="*/ 3372 w 10000"/>
                <a:gd name="connsiteY421" fmla="*/ 3698 h 9948"/>
                <a:gd name="connsiteX422" fmla="*/ 3300 w 10000"/>
                <a:gd name="connsiteY422" fmla="*/ 3591 h 9948"/>
                <a:gd name="connsiteX423" fmla="*/ 3236 w 10000"/>
                <a:gd name="connsiteY423" fmla="*/ 3476 h 9948"/>
                <a:gd name="connsiteX424" fmla="*/ 3230 w 10000"/>
                <a:gd name="connsiteY424" fmla="*/ 3468 h 9948"/>
                <a:gd name="connsiteX425" fmla="*/ 3222 w 10000"/>
                <a:gd name="connsiteY425" fmla="*/ 3447 h 9948"/>
                <a:gd name="connsiteX426" fmla="*/ 3206 w 10000"/>
                <a:gd name="connsiteY426" fmla="*/ 3412 h 9948"/>
                <a:gd name="connsiteX427" fmla="*/ 3187 w 10000"/>
                <a:gd name="connsiteY427" fmla="*/ 3369 h 9948"/>
                <a:gd name="connsiteX428" fmla="*/ 3167 w 10000"/>
                <a:gd name="connsiteY428" fmla="*/ 3309 h 9948"/>
                <a:gd name="connsiteX429" fmla="*/ 3146 w 10000"/>
                <a:gd name="connsiteY429" fmla="*/ 3237 h 9948"/>
                <a:gd name="connsiteX430" fmla="*/ 3121 w 10000"/>
                <a:gd name="connsiteY430" fmla="*/ 3159 h 9948"/>
                <a:gd name="connsiteX431" fmla="*/ 3100 w 10000"/>
                <a:gd name="connsiteY431" fmla="*/ 3070 h 9948"/>
                <a:gd name="connsiteX432" fmla="*/ 3081 w 10000"/>
                <a:gd name="connsiteY432" fmla="*/ 2974 h 9948"/>
                <a:gd name="connsiteX433" fmla="*/ 3064 w 10000"/>
                <a:gd name="connsiteY433" fmla="*/ 2869 h 9948"/>
                <a:gd name="connsiteX434" fmla="*/ 3051 w 10000"/>
                <a:gd name="connsiteY434" fmla="*/ 2756 h 9948"/>
                <a:gd name="connsiteX435" fmla="*/ 3046 w 10000"/>
                <a:gd name="connsiteY435" fmla="*/ 2642 h 9948"/>
                <a:gd name="connsiteX436" fmla="*/ 3046 w 10000"/>
                <a:gd name="connsiteY436" fmla="*/ 2517 h 9948"/>
                <a:gd name="connsiteX437" fmla="*/ 3054 w 10000"/>
                <a:gd name="connsiteY437" fmla="*/ 2391 h 9948"/>
                <a:gd name="connsiteX438" fmla="*/ 3070 w 10000"/>
                <a:gd name="connsiteY438" fmla="*/ 2260 h 9948"/>
                <a:gd name="connsiteX439" fmla="*/ 3097 w 10000"/>
                <a:gd name="connsiteY439" fmla="*/ 2126 h 9948"/>
                <a:gd name="connsiteX440" fmla="*/ 3136 w 10000"/>
                <a:gd name="connsiteY440" fmla="*/ 1990 h 9948"/>
                <a:gd name="connsiteX441" fmla="*/ 3187 w 10000"/>
                <a:gd name="connsiteY441" fmla="*/ 1856 h 9948"/>
                <a:gd name="connsiteX442" fmla="*/ 3255 w 10000"/>
                <a:gd name="connsiteY442" fmla="*/ 1716 h 9948"/>
                <a:gd name="connsiteX443" fmla="*/ 3333 w 10000"/>
                <a:gd name="connsiteY443" fmla="*/ 1581 h 9948"/>
                <a:gd name="connsiteX444" fmla="*/ 3431 w 10000"/>
                <a:gd name="connsiteY444" fmla="*/ 1447 h 9948"/>
                <a:gd name="connsiteX445" fmla="*/ 3545 w 10000"/>
                <a:gd name="connsiteY445" fmla="*/ 1311 h 9948"/>
                <a:gd name="connsiteX446" fmla="*/ 3680 w 10000"/>
                <a:gd name="connsiteY446" fmla="*/ 1179 h 9948"/>
                <a:gd name="connsiteX447" fmla="*/ 3684 w 10000"/>
                <a:gd name="connsiteY447" fmla="*/ 1177 h 9948"/>
                <a:gd name="connsiteX448" fmla="*/ 3703 w 10000"/>
                <a:gd name="connsiteY448" fmla="*/ 1160 h 9948"/>
                <a:gd name="connsiteX449" fmla="*/ 3733 w 10000"/>
                <a:gd name="connsiteY449" fmla="*/ 1136 h 9948"/>
                <a:gd name="connsiteX450" fmla="*/ 3776 w 10000"/>
                <a:gd name="connsiteY450" fmla="*/ 1105 h 9948"/>
                <a:gd name="connsiteX451" fmla="*/ 3824 w 10000"/>
                <a:gd name="connsiteY451" fmla="*/ 1068 h 9948"/>
                <a:gd name="connsiteX452" fmla="*/ 3885 w 10000"/>
                <a:gd name="connsiteY452" fmla="*/ 1029 h 9948"/>
                <a:gd name="connsiteX453" fmla="*/ 3955 w 10000"/>
                <a:gd name="connsiteY453" fmla="*/ 986 h 9948"/>
                <a:gd name="connsiteX454" fmla="*/ 4031 w 10000"/>
                <a:gd name="connsiteY454" fmla="*/ 942 h 9948"/>
                <a:gd name="connsiteX455" fmla="*/ 4112 w 10000"/>
                <a:gd name="connsiteY455" fmla="*/ 903 h 9948"/>
                <a:gd name="connsiteX456" fmla="*/ 4200 w 10000"/>
                <a:gd name="connsiteY456" fmla="*/ 862 h 9948"/>
                <a:gd name="connsiteX457" fmla="*/ 4291 w 10000"/>
                <a:gd name="connsiteY457" fmla="*/ 826 h 9948"/>
                <a:gd name="connsiteX458" fmla="*/ 4387 w 10000"/>
                <a:gd name="connsiteY458" fmla="*/ 799 h 9948"/>
                <a:gd name="connsiteX459" fmla="*/ 4489 w 10000"/>
                <a:gd name="connsiteY459" fmla="*/ 774 h 9948"/>
                <a:gd name="connsiteX460" fmla="*/ 4479 w 10000"/>
                <a:gd name="connsiteY460" fmla="*/ 0 h 9948"/>
                <a:gd name="connsiteX0" fmla="*/ 4479 w 10000"/>
                <a:gd name="connsiteY0" fmla="*/ 0 h 10000"/>
                <a:gd name="connsiteX1" fmla="*/ 5500 w 10000"/>
                <a:gd name="connsiteY1" fmla="*/ 0 h 10000"/>
                <a:gd name="connsiteX2" fmla="*/ 5500 w 10000"/>
                <a:gd name="connsiteY2" fmla="*/ 695 h 10000"/>
                <a:gd name="connsiteX3" fmla="*/ 5510 w 10000"/>
                <a:gd name="connsiteY3" fmla="*/ 699 h 10000"/>
                <a:gd name="connsiteX4" fmla="*/ 5540 w 10000"/>
                <a:gd name="connsiteY4" fmla="*/ 699 h 10000"/>
                <a:gd name="connsiteX5" fmla="*/ 5587 w 10000"/>
                <a:gd name="connsiteY5" fmla="*/ 704 h 10000"/>
                <a:gd name="connsiteX6" fmla="*/ 5651 w 10000"/>
                <a:gd name="connsiteY6" fmla="*/ 712 h 10000"/>
                <a:gd name="connsiteX7" fmla="*/ 5730 w 10000"/>
                <a:gd name="connsiteY7" fmla="*/ 720 h 10000"/>
                <a:gd name="connsiteX8" fmla="*/ 5819 w 10000"/>
                <a:gd name="connsiteY8" fmla="*/ 730 h 10000"/>
                <a:gd name="connsiteX9" fmla="*/ 5915 w 10000"/>
                <a:gd name="connsiteY9" fmla="*/ 751 h 10000"/>
                <a:gd name="connsiteX10" fmla="*/ 6018 w 10000"/>
                <a:gd name="connsiteY10" fmla="*/ 770 h 10000"/>
                <a:gd name="connsiteX11" fmla="*/ 6127 w 10000"/>
                <a:gd name="connsiteY11" fmla="*/ 799 h 10000"/>
                <a:gd name="connsiteX12" fmla="*/ 6240 w 10000"/>
                <a:gd name="connsiteY12" fmla="*/ 826 h 10000"/>
                <a:gd name="connsiteX13" fmla="*/ 6349 w 10000"/>
                <a:gd name="connsiteY13" fmla="*/ 867 h 10000"/>
                <a:gd name="connsiteX14" fmla="*/ 6458 w 10000"/>
                <a:gd name="connsiteY14" fmla="*/ 910 h 10000"/>
                <a:gd name="connsiteX15" fmla="*/ 6564 w 10000"/>
                <a:gd name="connsiteY15" fmla="*/ 962 h 10000"/>
                <a:gd name="connsiteX16" fmla="*/ 6661 w 10000"/>
                <a:gd name="connsiteY16" fmla="*/ 1018 h 10000"/>
                <a:gd name="connsiteX17" fmla="*/ 6751 w 10000"/>
                <a:gd name="connsiteY17" fmla="*/ 1087 h 10000"/>
                <a:gd name="connsiteX18" fmla="*/ 6463 w 10000"/>
                <a:gd name="connsiteY18" fmla="*/ 2421 h 10000"/>
                <a:gd name="connsiteX19" fmla="*/ 6455 w 10000"/>
                <a:gd name="connsiteY19" fmla="*/ 2417 h 10000"/>
                <a:gd name="connsiteX20" fmla="*/ 6433 w 10000"/>
                <a:gd name="connsiteY20" fmla="*/ 2399 h 10000"/>
                <a:gd name="connsiteX21" fmla="*/ 6396 w 10000"/>
                <a:gd name="connsiteY21" fmla="*/ 2380 h 10000"/>
                <a:gd name="connsiteX22" fmla="*/ 6349 w 10000"/>
                <a:gd name="connsiteY22" fmla="*/ 2351 h 10000"/>
                <a:gd name="connsiteX23" fmla="*/ 6286 w 10000"/>
                <a:gd name="connsiteY23" fmla="*/ 2319 h 10000"/>
                <a:gd name="connsiteX24" fmla="*/ 6214 w 10000"/>
                <a:gd name="connsiteY24" fmla="*/ 2288 h 10000"/>
                <a:gd name="connsiteX25" fmla="*/ 6134 w 10000"/>
                <a:gd name="connsiteY25" fmla="*/ 2249 h 10000"/>
                <a:gd name="connsiteX26" fmla="*/ 6039 w 10000"/>
                <a:gd name="connsiteY26" fmla="*/ 2211 h 10000"/>
                <a:gd name="connsiteX27" fmla="*/ 5942 w 10000"/>
                <a:gd name="connsiteY27" fmla="*/ 2176 h 10000"/>
                <a:gd name="connsiteX28" fmla="*/ 5833 w 10000"/>
                <a:gd name="connsiteY28" fmla="*/ 2141 h 10000"/>
                <a:gd name="connsiteX29" fmla="*/ 5722 w 10000"/>
                <a:gd name="connsiteY29" fmla="*/ 2112 h 10000"/>
                <a:gd name="connsiteX30" fmla="*/ 5603 w 10000"/>
                <a:gd name="connsiteY30" fmla="*/ 2085 h 10000"/>
                <a:gd name="connsiteX31" fmla="*/ 5478 w 10000"/>
                <a:gd name="connsiteY31" fmla="*/ 2063 h 10000"/>
                <a:gd name="connsiteX32" fmla="*/ 5351 w 10000"/>
                <a:gd name="connsiteY32" fmla="*/ 2053 h 10000"/>
                <a:gd name="connsiteX33" fmla="*/ 5225 w 10000"/>
                <a:gd name="connsiteY33" fmla="*/ 2053 h 10000"/>
                <a:gd name="connsiteX34" fmla="*/ 5090 w 10000"/>
                <a:gd name="connsiteY34" fmla="*/ 2061 h 10000"/>
                <a:gd name="connsiteX35" fmla="*/ 4960 w 10000"/>
                <a:gd name="connsiteY35" fmla="*/ 2080 h 10000"/>
                <a:gd name="connsiteX36" fmla="*/ 4827 w 10000"/>
                <a:gd name="connsiteY36" fmla="*/ 2112 h 10000"/>
                <a:gd name="connsiteX37" fmla="*/ 4698 w 10000"/>
                <a:gd name="connsiteY37" fmla="*/ 2159 h 10000"/>
                <a:gd name="connsiteX38" fmla="*/ 4694 w 10000"/>
                <a:gd name="connsiteY38" fmla="*/ 2163 h 10000"/>
                <a:gd name="connsiteX39" fmla="*/ 4682 w 10000"/>
                <a:gd name="connsiteY39" fmla="*/ 2172 h 10000"/>
                <a:gd name="connsiteX40" fmla="*/ 4666 w 10000"/>
                <a:gd name="connsiteY40" fmla="*/ 2188 h 10000"/>
                <a:gd name="connsiteX41" fmla="*/ 4645 w 10000"/>
                <a:gd name="connsiteY41" fmla="*/ 2211 h 10000"/>
                <a:gd name="connsiteX42" fmla="*/ 4622 w 10000"/>
                <a:gd name="connsiteY42" fmla="*/ 2237 h 10000"/>
                <a:gd name="connsiteX43" fmla="*/ 4599 w 10000"/>
                <a:gd name="connsiteY43" fmla="*/ 2268 h 10000"/>
                <a:gd name="connsiteX44" fmla="*/ 4576 w 10000"/>
                <a:gd name="connsiteY44" fmla="*/ 2303 h 10000"/>
                <a:gd name="connsiteX45" fmla="*/ 4558 w 10000"/>
                <a:gd name="connsiteY45" fmla="*/ 2347 h 10000"/>
                <a:gd name="connsiteX46" fmla="*/ 4542 w 10000"/>
                <a:gd name="connsiteY46" fmla="*/ 2391 h 10000"/>
                <a:gd name="connsiteX47" fmla="*/ 4533 w 10000"/>
                <a:gd name="connsiteY47" fmla="*/ 2439 h 10000"/>
                <a:gd name="connsiteX48" fmla="*/ 4533 w 10000"/>
                <a:gd name="connsiteY48" fmla="*/ 2491 h 10000"/>
                <a:gd name="connsiteX49" fmla="*/ 4542 w 10000"/>
                <a:gd name="connsiteY49" fmla="*/ 2543 h 10000"/>
                <a:gd name="connsiteX50" fmla="*/ 4560 w 10000"/>
                <a:gd name="connsiteY50" fmla="*/ 2600 h 10000"/>
                <a:gd name="connsiteX51" fmla="*/ 4595 w 10000"/>
                <a:gd name="connsiteY51" fmla="*/ 2660 h 10000"/>
                <a:gd name="connsiteX52" fmla="*/ 4639 w 10000"/>
                <a:gd name="connsiteY52" fmla="*/ 2718 h 10000"/>
                <a:gd name="connsiteX53" fmla="*/ 4701 w 10000"/>
                <a:gd name="connsiteY53" fmla="*/ 2778 h 10000"/>
                <a:gd name="connsiteX54" fmla="*/ 4782 w 10000"/>
                <a:gd name="connsiteY54" fmla="*/ 2844 h 10000"/>
                <a:gd name="connsiteX55" fmla="*/ 4878 w 10000"/>
                <a:gd name="connsiteY55" fmla="*/ 2902 h 10000"/>
                <a:gd name="connsiteX56" fmla="*/ 5000 w 10000"/>
                <a:gd name="connsiteY56" fmla="*/ 2966 h 10000"/>
                <a:gd name="connsiteX57" fmla="*/ 5009 w 10000"/>
                <a:gd name="connsiteY57" fmla="*/ 2970 h 10000"/>
                <a:gd name="connsiteX58" fmla="*/ 5036 w 10000"/>
                <a:gd name="connsiteY58" fmla="*/ 2979 h 10000"/>
                <a:gd name="connsiteX59" fmla="*/ 5076 w 10000"/>
                <a:gd name="connsiteY59" fmla="*/ 2994 h 10000"/>
                <a:gd name="connsiteX60" fmla="*/ 5133 w 10000"/>
                <a:gd name="connsiteY60" fmla="*/ 3015 h 10000"/>
                <a:gd name="connsiteX61" fmla="*/ 5199 w 10000"/>
                <a:gd name="connsiteY61" fmla="*/ 3038 h 10000"/>
                <a:gd name="connsiteX62" fmla="*/ 5279 w 10000"/>
                <a:gd name="connsiteY62" fmla="*/ 3072 h 10000"/>
                <a:gd name="connsiteX63" fmla="*/ 5370 w 10000"/>
                <a:gd name="connsiteY63" fmla="*/ 3111 h 10000"/>
                <a:gd name="connsiteX64" fmla="*/ 5467 w 10000"/>
                <a:gd name="connsiteY64" fmla="*/ 3150 h 10000"/>
                <a:gd name="connsiteX65" fmla="*/ 5570 w 10000"/>
                <a:gd name="connsiteY65" fmla="*/ 3203 h 10000"/>
                <a:gd name="connsiteX66" fmla="*/ 5679 w 10000"/>
                <a:gd name="connsiteY66" fmla="*/ 3259 h 10000"/>
                <a:gd name="connsiteX67" fmla="*/ 5793 w 10000"/>
                <a:gd name="connsiteY67" fmla="*/ 3317 h 10000"/>
                <a:gd name="connsiteX68" fmla="*/ 5909 w 10000"/>
                <a:gd name="connsiteY68" fmla="*/ 3387 h 10000"/>
                <a:gd name="connsiteX69" fmla="*/ 6028 w 10000"/>
                <a:gd name="connsiteY69" fmla="*/ 3457 h 10000"/>
                <a:gd name="connsiteX70" fmla="*/ 6143 w 10000"/>
                <a:gd name="connsiteY70" fmla="*/ 3533 h 10000"/>
                <a:gd name="connsiteX71" fmla="*/ 6257 w 10000"/>
                <a:gd name="connsiteY71" fmla="*/ 3618 h 10000"/>
                <a:gd name="connsiteX72" fmla="*/ 6370 w 10000"/>
                <a:gd name="connsiteY72" fmla="*/ 3709 h 10000"/>
                <a:gd name="connsiteX73" fmla="*/ 6476 w 10000"/>
                <a:gd name="connsiteY73" fmla="*/ 3806 h 10000"/>
                <a:gd name="connsiteX74" fmla="*/ 6575 w 10000"/>
                <a:gd name="connsiteY74" fmla="*/ 3905 h 10000"/>
                <a:gd name="connsiteX75" fmla="*/ 6670 w 10000"/>
                <a:gd name="connsiteY75" fmla="*/ 4012 h 10000"/>
                <a:gd name="connsiteX76" fmla="*/ 6751 w 10000"/>
                <a:gd name="connsiteY76" fmla="*/ 4129 h 10000"/>
                <a:gd name="connsiteX77" fmla="*/ 6824 w 10000"/>
                <a:gd name="connsiteY77" fmla="*/ 4247 h 10000"/>
                <a:gd name="connsiteX78" fmla="*/ 6887 w 10000"/>
                <a:gd name="connsiteY78" fmla="*/ 4373 h 10000"/>
                <a:gd name="connsiteX79" fmla="*/ 6933 w 10000"/>
                <a:gd name="connsiteY79" fmla="*/ 4504 h 10000"/>
                <a:gd name="connsiteX80" fmla="*/ 6966 w 10000"/>
                <a:gd name="connsiteY80" fmla="*/ 4640 h 10000"/>
                <a:gd name="connsiteX81" fmla="*/ 6982 w 10000"/>
                <a:gd name="connsiteY81" fmla="*/ 4785 h 10000"/>
                <a:gd name="connsiteX82" fmla="*/ 7491 w 10000"/>
                <a:gd name="connsiteY82" fmla="*/ 3736 h 10000"/>
                <a:gd name="connsiteX83" fmla="*/ 8292 w 10000"/>
                <a:gd name="connsiteY83" fmla="*/ 4468 h 10000"/>
                <a:gd name="connsiteX84" fmla="*/ 9606 w 10000"/>
                <a:gd name="connsiteY84" fmla="*/ 2391 h 10000"/>
                <a:gd name="connsiteX85" fmla="*/ 9473 w 10000"/>
                <a:gd name="connsiteY85" fmla="*/ 2224 h 10000"/>
                <a:gd name="connsiteX86" fmla="*/ 10000 w 10000"/>
                <a:gd name="connsiteY86" fmla="*/ 1909 h 10000"/>
                <a:gd name="connsiteX87" fmla="*/ 9894 w 10000"/>
                <a:gd name="connsiteY87" fmla="*/ 2679 h 10000"/>
                <a:gd name="connsiteX88" fmla="*/ 9745 w 10000"/>
                <a:gd name="connsiteY88" fmla="*/ 2539 h 10000"/>
                <a:gd name="connsiteX89" fmla="*/ 8306 w 10000"/>
                <a:gd name="connsiteY89" fmla="*/ 4755 h 10000"/>
                <a:gd name="connsiteX90" fmla="*/ 7524 w 10000"/>
                <a:gd name="connsiteY90" fmla="*/ 4060 h 10000"/>
                <a:gd name="connsiteX91" fmla="*/ 6837 w 10000"/>
                <a:gd name="connsiteY91" fmla="*/ 5618 h 10000"/>
                <a:gd name="connsiteX92" fmla="*/ 6837 w 10000"/>
                <a:gd name="connsiteY92" fmla="*/ 5602 h 10000"/>
                <a:gd name="connsiteX93" fmla="*/ 6837 w 10000"/>
                <a:gd name="connsiteY93" fmla="*/ 5567 h 10000"/>
                <a:gd name="connsiteX94" fmla="*/ 6837 w 10000"/>
                <a:gd name="connsiteY94" fmla="*/ 5502 h 10000"/>
                <a:gd name="connsiteX95" fmla="*/ 6833 w 10000"/>
                <a:gd name="connsiteY95" fmla="*/ 5426 h 10000"/>
                <a:gd name="connsiteX96" fmla="*/ 6830 w 10000"/>
                <a:gd name="connsiteY96" fmla="*/ 5331 h 10000"/>
                <a:gd name="connsiteX97" fmla="*/ 6827 w 10000"/>
                <a:gd name="connsiteY97" fmla="*/ 5226 h 10000"/>
                <a:gd name="connsiteX98" fmla="*/ 6818 w 10000"/>
                <a:gd name="connsiteY98" fmla="*/ 5116 h 10000"/>
                <a:gd name="connsiteX99" fmla="*/ 6810 w 10000"/>
                <a:gd name="connsiteY99" fmla="*/ 4998 h 10000"/>
                <a:gd name="connsiteX100" fmla="*/ 6797 w 10000"/>
                <a:gd name="connsiteY100" fmla="*/ 4884 h 10000"/>
                <a:gd name="connsiteX101" fmla="*/ 6778 w 10000"/>
                <a:gd name="connsiteY101" fmla="*/ 4767 h 10000"/>
                <a:gd name="connsiteX102" fmla="*/ 6761 w 10000"/>
                <a:gd name="connsiteY102" fmla="*/ 4659 h 10000"/>
                <a:gd name="connsiteX103" fmla="*/ 6734 w 10000"/>
                <a:gd name="connsiteY103" fmla="*/ 4563 h 10000"/>
                <a:gd name="connsiteX104" fmla="*/ 6704 w 10000"/>
                <a:gd name="connsiteY104" fmla="*/ 4479 h 10000"/>
                <a:gd name="connsiteX105" fmla="*/ 6667 w 10000"/>
                <a:gd name="connsiteY105" fmla="*/ 4413 h 10000"/>
                <a:gd name="connsiteX106" fmla="*/ 6664 w 10000"/>
                <a:gd name="connsiteY106" fmla="*/ 4404 h 10000"/>
                <a:gd name="connsiteX107" fmla="*/ 6648 w 10000"/>
                <a:gd name="connsiteY107" fmla="*/ 4380 h 10000"/>
                <a:gd name="connsiteX108" fmla="*/ 6624 w 10000"/>
                <a:gd name="connsiteY108" fmla="*/ 4340 h 10000"/>
                <a:gd name="connsiteX109" fmla="*/ 6591 w 10000"/>
                <a:gd name="connsiteY109" fmla="*/ 4287 h 10000"/>
                <a:gd name="connsiteX110" fmla="*/ 6542 w 10000"/>
                <a:gd name="connsiteY110" fmla="*/ 4225 h 10000"/>
                <a:gd name="connsiteX111" fmla="*/ 6485 w 10000"/>
                <a:gd name="connsiteY111" fmla="*/ 4152 h 10000"/>
                <a:gd name="connsiteX112" fmla="*/ 6412 w 10000"/>
                <a:gd name="connsiteY112" fmla="*/ 4073 h 10000"/>
                <a:gd name="connsiteX113" fmla="*/ 6324 w 10000"/>
                <a:gd name="connsiteY113" fmla="*/ 3985 h 10000"/>
                <a:gd name="connsiteX114" fmla="*/ 6221 w 10000"/>
                <a:gd name="connsiteY114" fmla="*/ 3897 h 10000"/>
                <a:gd name="connsiteX115" fmla="*/ 6104 w 10000"/>
                <a:gd name="connsiteY115" fmla="*/ 3802 h 10000"/>
                <a:gd name="connsiteX116" fmla="*/ 5969 w 10000"/>
                <a:gd name="connsiteY116" fmla="*/ 3709 h 10000"/>
                <a:gd name="connsiteX117" fmla="*/ 5815 w 10000"/>
                <a:gd name="connsiteY117" fmla="*/ 3614 h 10000"/>
                <a:gd name="connsiteX118" fmla="*/ 5806 w 10000"/>
                <a:gd name="connsiteY118" fmla="*/ 3614 h 10000"/>
                <a:gd name="connsiteX119" fmla="*/ 5782 w 10000"/>
                <a:gd name="connsiteY119" fmla="*/ 3602 h 10000"/>
                <a:gd name="connsiteX120" fmla="*/ 5743 w 10000"/>
                <a:gd name="connsiteY120" fmla="*/ 3587 h 10000"/>
                <a:gd name="connsiteX121" fmla="*/ 5690 w 10000"/>
                <a:gd name="connsiteY121" fmla="*/ 3566 h 10000"/>
                <a:gd name="connsiteX122" fmla="*/ 5627 w 10000"/>
                <a:gd name="connsiteY122" fmla="*/ 3542 h 10000"/>
                <a:gd name="connsiteX123" fmla="*/ 5554 w 10000"/>
                <a:gd name="connsiteY123" fmla="*/ 3509 h 10000"/>
                <a:gd name="connsiteX124" fmla="*/ 5473 w 10000"/>
                <a:gd name="connsiteY124" fmla="*/ 3478 h 10000"/>
                <a:gd name="connsiteX125" fmla="*/ 5388 w 10000"/>
                <a:gd name="connsiteY125" fmla="*/ 3438 h 10000"/>
                <a:gd name="connsiteX126" fmla="*/ 5294 w 10000"/>
                <a:gd name="connsiteY126" fmla="*/ 3399 h 10000"/>
                <a:gd name="connsiteX127" fmla="*/ 5199 w 10000"/>
                <a:gd name="connsiteY127" fmla="*/ 3355 h 10000"/>
                <a:gd name="connsiteX128" fmla="*/ 5106 w 10000"/>
                <a:gd name="connsiteY128" fmla="*/ 3306 h 10000"/>
                <a:gd name="connsiteX129" fmla="*/ 5009 w 10000"/>
                <a:gd name="connsiteY129" fmla="*/ 3259 h 10000"/>
                <a:gd name="connsiteX130" fmla="*/ 4915 w 10000"/>
                <a:gd name="connsiteY130" fmla="*/ 3207 h 10000"/>
                <a:gd name="connsiteX131" fmla="*/ 4827 w 10000"/>
                <a:gd name="connsiteY131" fmla="*/ 3154 h 10000"/>
                <a:gd name="connsiteX132" fmla="*/ 4742 w 10000"/>
                <a:gd name="connsiteY132" fmla="*/ 3103 h 10000"/>
                <a:gd name="connsiteX133" fmla="*/ 4664 w 10000"/>
                <a:gd name="connsiteY133" fmla="*/ 3050 h 10000"/>
                <a:gd name="connsiteX134" fmla="*/ 4596 w 10000"/>
                <a:gd name="connsiteY134" fmla="*/ 2998 h 10000"/>
                <a:gd name="connsiteX135" fmla="*/ 4536 w 10000"/>
                <a:gd name="connsiteY135" fmla="*/ 2946 h 10000"/>
                <a:gd name="connsiteX136" fmla="*/ 4490 w 10000"/>
                <a:gd name="connsiteY136" fmla="*/ 2896 h 10000"/>
                <a:gd name="connsiteX137" fmla="*/ 4457 w 10000"/>
                <a:gd name="connsiteY137" fmla="*/ 2848 h 10000"/>
                <a:gd name="connsiteX138" fmla="*/ 4457 w 10000"/>
                <a:gd name="connsiteY138" fmla="*/ 2844 h 10000"/>
                <a:gd name="connsiteX139" fmla="*/ 4449 w 10000"/>
                <a:gd name="connsiteY139" fmla="*/ 2828 h 10000"/>
                <a:gd name="connsiteX140" fmla="*/ 4440 w 10000"/>
                <a:gd name="connsiteY140" fmla="*/ 2806 h 10000"/>
                <a:gd name="connsiteX141" fmla="*/ 4427 w 10000"/>
                <a:gd name="connsiteY141" fmla="*/ 2778 h 10000"/>
                <a:gd name="connsiteX142" fmla="*/ 4413 w 10000"/>
                <a:gd name="connsiteY142" fmla="*/ 2743 h 10000"/>
                <a:gd name="connsiteX143" fmla="*/ 4400 w 10000"/>
                <a:gd name="connsiteY143" fmla="*/ 2704 h 10000"/>
                <a:gd name="connsiteX144" fmla="*/ 4384 w 10000"/>
                <a:gd name="connsiteY144" fmla="*/ 2660 h 10000"/>
                <a:gd name="connsiteX145" fmla="*/ 4373 w 10000"/>
                <a:gd name="connsiteY145" fmla="*/ 2609 h 10000"/>
                <a:gd name="connsiteX146" fmla="*/ 4360 w 10000"/>
                <a:gd name="connsiteY146" fmla="*/ 2555 h 10000"/>
                <a:gd name="connsiteX147" fmla="*/ 4351 w 10000"/>
                <a:gd name="connsiteY147" fmla="*/ 2499 h 10000"/>
                <a:gd name="connsiteX148" fmla="*/ 4349 w 10000"/>
                <a:gd name="connsiteY148" fmla="*/ 2439 h 10000"/>
                <a:gd name="connsiteX149" fmla="*/ 4349 w 10000"/>
                <a:gd name="connsiteY149" fmla="*/ 2380 h 10000"/>
                <a:gd name="connsiteX150" fmla="*/ 4351 w 10000"/>
                <a:gd name="connsiteY150" fmla="*/ 2319 h 10000"/>
                <a:gd name="connsiteX151" fmla="*/ 4364 w 10000"/>
                <a:gd name="connsiteY151" fmla="*/ 2260 h 10000"/>
                <a:gd name="connsiteX152" fmla="*/ 4384 w 10000"/>
                <a:gd name="connsiteY152" fmla="*/ 2201 h 10000"/>
                <a:gd name="connsiteX153" fmla="*/ 4413 w 10000"/>
                <a:gd name="connsiteY153" fmla="*/ 2141 h 10000"/>
                <a:gd name="connsiteX154" fmla="*/ 4449 w 10000"/>
                <a:gd name="connsiteY154" fmla="*/ 2085 h 10000"/>
                <a:gd name="connsiteX155" fmla="*/ 4493 w 10000"/>
                <a:gd name="connsiteY155" fmla="*/ 2032 h 10000"/>
                <a:gd name="connsiteX156" fmla="*/ 4552 w 10000"/>
                <a:gd name="connsiteY156" fmla="*/ 1980 h 10000"/>
                <a:gd name="connsiteX157" fmla="*/ 4618 w 10000"/>
                <a:gd name="connsiteY157" fmla="*/ 1936 h 10000"/>
                <a:gd name="connsiteX158" fmla="*/ 4701 w 10000"/>
                <a:gd name="connsiteY158" fmla="*/ 1897 h 10000"/>
                <a:gd name="connsiteX159" fmla="*/ 4797 w 10000"/>
                <a:gd name="connsiteY159" fmla="*/ 1862 h 10000"/>
                <a:gd name="connsiteX160" fmla="*/ 4903 w 10000"/>
                <a:gd name="connsiteY160" fmla="*/ 1832 h 10000"/>
                <a:gd name="connsiteX161" fmla="*/ 5027 w 10000"/>
                <a:gd name="connsiteY161" fmla="*/ 1812 h 10000"/>
                <a:gd name="connsiteX162" fmla="*/ 5169 w 10000"/>
                <a:gd name="connsiteY162" fmla="*/ 1800 h 10000"/>
                <a:gd name="connsiteX163" fmla="*/ 5179 w 10000"/>
                <a:gd name="connsiteY163" fmla="*/ 1800 h 10000"/>
                <a:gd name="connsiteX164" fmla="*/ 5209 w 10000"/>
                <a:gd name="connsiteY164" fmla="*/ 1800 h 10000"/>
                <a:gd name="connsiteX165" fmla="*/ 5255 w 10000"/>
                <a:gd name="connsiteY165" fmla="*/ 1804 h 10000"/>
                <a:gd name="connsiteX166" fmla="*/ 5312 w 10000"/>
                <a:gd name="connsiteY166" fmla="*/ 1808 h 10000"/>
                <a:gd name="connsiteX167" fmla="*/ 5385 w 10000"/>
                <a:gd name="connsiteY167" fmla="*/ 1816 h 10000"/>
                <a:gd name="connsiteX168" fmla="*/ 5467 w 10000"/>
                <a:gd name="connsiteY168" fmla="*/ 1825 h 10000"/>
                <a:gd name="connsiteX169" fmla="*/ 5557 w 10000"/>
                <a:gd name="connsiteY169" fmla="*/ 1836 h 10000"/>
                <a:gd name="connsiteX170" fmla="*/ 5651 w 10000"/>
                <a:gd name="connsiteY170" fmla="*/ 1853 h 10000"/>
                <a:gd name="connsiteX171" fmla="*/ 5749 w 10000"/>
                <a:gd name="connsiteY171" fmla="*/ 1870 h 10000"/>
                <a:gd name="connsiteX172" fmla="*/ 5849 w 10000"/>
                <a:gd name="connsiteY172" fmla="*/ 1889 h 10000"/>
                <a:gd name="connsiteX173" fmla="*/ 5945 w 10000"/>
                <a:gd name="connsiteY173" fmla="*/ 1918 h 10000"/>
                <a:gd name="connsiteX174" fmla="*/ 6039 w 10000"/>
                <a:gd name="connsiteY174" fmla="*/ 1944 h 10000"/>
                <a:gd name="connsiteX175" fmla="*/ 6124 w 10000"/>
                <a:gd name="connsiteY175" fmla="*/ 1975 h 10000"/>
                <a:gd name="connsiteX176" fmla="*/ 6206 w 10000"/>
                <a:gd name="connsiteY176" fmla="*/ 2017 h 10000"/>
                <a:gd name="connsiteX177" fmla="*/ 6273 w 10000"/>
                <a:gd name="connsiteY177" fmla="*/ 2057 h 10000"/>
                <a:gd name="connsiteX178" fmla="*/ 6330 w 10000"/>
                <a:gd name="connsiteY178" fmla="*/ 2106 h 10000"/>
                <a:gd name="connsiteX179" fmla="*/ 6528 w 10000"/>
                <a:gd name="connsiteY179" fmla="*/ 1214 h 10000"/>
                <a:gd name="connsiteX180" fmla="*/ 6518 w 10000"/>
                <a:gd name="connsiteY180" fmla="*/ 1214 h 10000"/>
                <a:gd name="connsiteX181" fmla="*/ 6495 w 10000"/>
                <a:gd name="connsiteY181" fmla="*/ 1206 h 10000"/>
                <a:gd name="connsiteX182" fmla="*/ 6458 w 10000"/>
                <a:gd name="connsiteY182" fmla="*/ 1189 h 10000"/>
                <a:gd name="connsiteX183" fmla="*/ 6406 w 10000"/>
                <a:gd name="connsiteY183" fmla="*/ 1175 h 10000"/>
                <a:gd name="connsiteX184" fmla="*/ 6346 w 10000"/>
                <a:gd name="connsiteY184" fmla="*/ 1154 h 10000"/>
                <a:gd name="connsiteX185" fmla="*/ 6276 w 10000"/>
                <a:gd name="connsiteY185" fmla="*/ 1131 h 10000"/>
                <a:gd name="connsiteX186" fmla="*/ 6197 w 10000"/>
                <a:gd name="connsiteY186" fmla="*/ 1106 h 10000"/>
                <a:gd name="connsiteX187" fmla="*/ 6115 w 10000"/>
                <a:gd name="connsiteY187" fmla="*/ 1083 h 10000"/>
                <a:gd name="connsiteX188" fmla="*/ 6024 w 10000"/>
                <a:gd name="connsiteY188" fmla="*/ 1053 h 10000"/>
                <a:gd name="connsiteX189" fmla="*/ 5933 w 10000"/>
                <a:gd name="connsiteY189" fmla="*/ 1030 h 10000"/>
                <a:gd name="connsiteX190" fmla="*/ 5839 w 10000"/>
                <a:gd name="connsiteY190" fmla="*/ 1005 h 10000"/>
                <a:gd name="connsiteX191" fmla="*/ 5746 w 10000"/>
                <a:gd name="connsiteY191" fmla="*/ 983 h 10000"/>
                <a:gd name="connsiteX192" fmla="*/ 5651 w 10000"/>
                <a:gd name="connsiteY192" fmla="*/ 966 h 10000"/>
                <a:gd name="connsiteX193" fmla="*/ 5560 w 10000"/>
                <a:gd name="connsiteY193" fmla="*/ 952 h 10000"/>
                <a:gd name="connsiteX194" fmla="*/ 5475 w 10000"/>
                <a:gd name="connsiteY194" fmla="*/ 939 h 10000"/>
                <a:gd name="connsiteX195" fmla="*/ 5397 w 10000"/>
                <a:gd name="connsiteY195" fmla="*/ 931 h 10000"/>
                <a:gd name="connsiteX196" fmla="*/ 5325 w 10000"/>
                <a:gd name="connsiteY196" fmla="*/ 927 h 10000"/>
                <a:gd name="connsiteX197" fmla="*/ 5309 w 10000"/>
                <a:gd name="connsiteY197" fmla="*/ 252 h 10000"/>
                <a:gd name="connsiteX198" fmla="*/ 4664 w 10000"/>
                <a:gd name="connsiteY198" fmla="*/ 258 h 10000"/>
                <a:gd name="connsiteX199" fmla="*/ 4664 w 10000"/>
                <a:gd name="connsiteY199" fmla="*/ 983 h 10000"/>
                <a:gd name="connsiteX200" fmla="*/ 4655 w 10000"/>
                <a:gd name="connsiteY200" fmla="*/ 987 h 10000"/>
                <a:gd name="connsiteX201" fmla="*/ 4633 w 10000"/>
                <a:gd name="connsiteY201" fmla="*/ 991 h 10000"/>
                <a:gd name="connsiteX202" fmla="*/ 4596 w 10000"/>
                <a:gd name="connsiteY202" fmla="*/ 999 h 10000"/>
                <a:gd name="connsiteX203" fmla="*/ 4552 w 10000"/>
                <a:gd name="connsiteY203" fmla="*/ 1005 h 10000"/>
                <a:gd name="connsiteX204" fmla="*/ 4493 w 10000"/>
                <a:gd name="connsiteY204" fmla="*/ 1022 h 10000"/>
                <a:gd name="connsiteX205" fmla="*/ 4430 w 10000"/>
                <a:gd name="connsiteY205" fmla="*/ 1042 h 10000"/>
                <a:gd name="connsiteX206" fmla="*/ 4354 w 10000"/>
                <a:gd name="connsiteY206" fmla="*/ 1070 h 10000"/>
                <a:gd name="connsiteX207" fmla="*/ 4276 w 10000"/>
                <a:gd name="connsiteY207" fmla="*/ 1101 h 10000"/>
                <a:gd name="connsiteX208" fmla="*/ 4191 w 10000"/>
                <a:gd name="connsiteY208" fmla="*/ 1142 h 10000"/>
                <a:gd name="connsiteX209" fmla="*/ 4102 w 10000"/>
                <a:gd name="connsiteY209" fmla="*/ 1185 h 10000"/>
                <a:gd name="connsiteX210" fmla="*/ 4012 w 10000"/>
                <a:gd name="connsiteY210" fmla="*/ 1241 h 10000"/>
                <a:gd name="connsiteX211" fmla="*/ 3922 w 10000"/>
                <a:gd name="connsiteY211" fmla="*/ 1302 h 10000"/>
                <a:gd name="connsiteX212" fmla="*/ 3827 w 10000"/>
                <a:gd name="connsiteY212" fmla="*/ 1373 h 10000"/>
                <a:gd name="connsiteX213" fmla="*/ 3740 w 10000"/>
                <a:gd name="connsiteY213" fmla="*/ 1455 h 10000"/>
                <a:gd name="connsiteX214" fmla="*/ 3651 w 10000"/>
                <a:gd name="connsiteY214" fmla="*/ 1541 h 10000"/>
                <a:gd name="connsiteX215" fmla="*/ 3570 w 10000"/>
                <a:gd name="connsiteY215" fmla="*/ 1647 h 10000"/>
                <a:gd name="connsiteX216" fmla="*/ 3491 w 10000"/>
                <a:gd name="connsiteY216" fmla="*/ 1752 h 10000"/>
                <a:gd name="connsiteX217" fmla="*/ 3421 w 10000"/>
                <a:gd name="connsiteY217" fmla="*/ 1878 h 10000"/>
                <a:gd name="connsiteX218" fmla="*/ 3358 w 10000"/>
                <a:gd name="connsiteY218" fmla="*/ 2013 h 10000"/>
                <a:gd name="connsiteX219" fmla="*/ 3306 w 10000"/>
                <a:gd name="connsiteY219" fmla="*/ 2157 h 10000"/>
                <a:gd name="connsiteX220" fmla="*/ 3263 w 10000"/>
                <a:gd name="connsiteY220" fmla="*/ 2319 h 10000"/>
                <a:gd name="connsiteX221" fmla="*/ 3260 w 10000"/>
                <a:gd name="connsiteY221" fmla="*/ 2324 h 10000"/>
                <a:gd name="connsiteX222" fmla="*/ 3257 w 10000"/>
                <a:gd name="connsiteY222" fmla="*/ 2347 h 10000"/>
                <a:gd name="connsiteX223" fmla="*/ 3252 w 10000"/>
                <a:gd name="connsiteY223" fmla="*/ 2385 h 10000"/>
                <a:gd name="connsiteX224" fmla="*/ 3246 w 10000"/>
                <a:gd name="connsiteY224" fmla="*/ 2433 h 10000"/>
                <a:gd name="connsiteX225" fmla="*/ 3239 w 10000"/>
                <a:gd name="connsiteY225" fmla="*/ 2487 h 10000"/>
                <a:gd name="connsiteX226" fmla="*/ 3236 w 10000"/>
                <a:gd name="connsiteY226" fmla="*/ 2559 h 10000"/>
                <a:gd name="connsiteX227" fmla="*/ 3236 w 10000"/>
                <a:gd name="connsiteY227" fmla="*/ 2636 h 10000"/>
                <a:gd name="connsiteX228" fmla="*/ 3236 w 10000"/>
                <a:gd name="connsiteY228" fmla="*/ 2718 h 10000"/>
                <a:gd name="connsiteX229" fmla="*/ 3243 w 10000"/>
                <a:gd name="connsiteY229" fmla="*/ 2810 h 10000"/>
                <a:gd name="connsiteX230" fmla="*/ 3255 w 10000"/>
                <a:gd name="connsiteY230" fmla="*/ 2906 h 10000"/>
                <a:gd name="connsiteX231" fmla="*/ 3273 w 10000"/>
                <a:gd name="connsiteY231" fmla="*/ 3007 h 10000"/>
                <a:gd name="connsiteX232" fmla="*/ 3296 w 10000"/>
                <a:gd name="connsiteY232" fmla="*/ 3111 h 10000"/>
                <a:gd name="connsiteX233" fmla="*/ 3333 w 10000"/>
                <a:gd name="connsiteY233" fmla="*/ 3219 h 10000"/>
                <a:gd name="connsiteX234" fmla="*/ 3376 w 10000"/>
                <a:gd name="connsiteY234" fmla="*/ 3322 h 10000"/>
                <a:gd name="connsiteX235" fmla="*/ 3431 w 10000"/>
                <a:gd name="connsiteY235" fmla="*/ 3430 h 10000"/>
                <a:gd name="connsiteX236" fmla="*/ 3494 w 10000"/>
                <a:gd name="connsiteY236" fmla="*/ 3533 h 10000"/>
                <a:gd name="connsiteX237" fmla="*/ 3570 w 10000"/>
                <a:gd name="connsiteY237" fmla="*/ 3635 h 10000"/>
                <a:gd name="connsiteX238" fmla="*/ 3661 w 10000"/>
                <a:gd name="connsiteY238" fmla="*/ 3730 h 10000"/>
                <a:gd name="connsiteX239" fmla="*/ 3767 w 10000"/>
                <a:gd name="connsiteY239" fmla="*/ 3823 h 10000"/>
                <a:gd name="connsiteX240" fmla="*/ 3885 w 10000"/>
                <a:gd name="connsiteY240" fmla="*/ 3910 h 10000"/>
                <a:gd name="connsiteX241" fmla="*/ 4022 w 10000"/>
                <a:gd name="connsiteY241" fmla="*/ 3985 h 10000"/>
                <a:gd name="connsiteX242" fmla="*/ 4031 w 10000"/>
                <a:gd name="connsiteY242" fmla="*/ 3989 h 10000"/>
                <a:gd name="connsiteX243" fmla="*/ 4055 w 10000"/>
                <a:gd name="connsiteY243" fmla="*/ 4006 h 10000"/>
                <a:gd name="connsiteX244" fmla="*/ 4088 w 10000"/>
                <a:gd name="connsiteY244" fmla="*/ 4020 h 10000"/>
                <a:gd name="connsiteX245" fmla="*/ 4134 w 10000"/>
                <a:gd name="connsiteY245" fmla="*/ 4050 h 10000"/>
                <a:gd name="connsiteX246" fmla="*/ 4185 w 10000"/>
                <a:gd name="connsiteY246" fmla="*/ 4077 h 10000"/>
                <a:gd name="connsiteX247" fmla="*/ 4243 w 10000"/>
                <a:gd name="connsiteY247" fmla="*/ 4108 h 10000"/>
                <a:gd name="connsiteX248" fmla="*/ 4300 w 10000"/>
                <a:gd name="connsiteY248" fmla="*/ 4142 h 10000"/>
                <a:gd name="connsiteX249" fmla="*/ 4360 w 10000"/>
                <a:gd name="connsiteY249" fmla="*/ 4173 h 10000"/>
                <a:gd name="connsiteX250" fmla="*/ 4416 w 10000"/>
                <a:gd name="connsiteY250" fmla="*/ 4204 h 10000"/>
                <a:gd name="connsiteX251" fmla="*/ 4466 w 10000"/>
                <a:gd name="connsiteY251" fmla="*/ 4233 h 10000"/>
                <a:gd name="connsiteX252" fmla="*/ 4512 w 10000"/>
                <a:gd name="connsiteY252" fmla="*/ 4256 h 10000"/>
                <a:gd name="connsiteX253" fmla="*/ 4549 w 10000"/>
                <a:gd name="connsiteY253" fmla="*/ 4272 h 10000"/>
                <a:gd name="connsiteX254" fmla="*/ 4569 w 10000"/>
                <a:gd name="connsiteY254" fmla="*/ 4285 h 10000"/>
                <a:gd name="connsiteX255" fmla="*/ 4579 w 10000"/>
                <a:gd name="connsiteY255" fmla="*/ 4285 h 10000"/>
                <a:gd name="connsiteX256" fmla="*/ 4603 w 10000"/>
                <a:gd name="connsiteY256" fmla="*/ 4292 h 10000"/>
                <a:gd name="connsiteX257" fmla="*/ 4642 w 10000"/>
                <a:gd name="connsiteY257" fmla="*/ 4308 h 10000"/>
                <a:gd name="connsiteX258" fmla="*/ 4691 w 10000"/>
                <a:gd name="connsiteY258" fmla="*/ 4325 h 10000"/>
                <a:gd name="connsiteX259" fmla="*/ 4751 w 10000"/>
                <a:gd name="connsiteY259" fmla="*/ 4349 h 10000"/>
                <a:gd name="connsiteX260" fmla="*/ 4821 w 10000"/>
                <a:gd name="connsiteY260" fmla="*/ 4378 h 10000"/>
                <a:gd name="connsiteX261" fmla="*/ 4897 w 10000"/>
                <a:gd name="connsiteY261" fmla="*/ 4409 h 10000"/>
                <a:gd name="connsiteX262" fmla="*/ 4976 w 10000"/>
                <a:gd name="connsiteY262" fmla="*/ 4444 h 10000"/>
                <a:gd name="connsiteX263" fmla="*/ 5057 w 10000"/>
                <a:gd name="connsiteY263" fmla="*/ 4487 h 10000"/>
                <a:gd name="connsiteX264" fmla="*/ 5142 w 10000"/>
                <a:gd name="connsiteY264" fmla="*/ 4531 h 10000"/>
                <a:gd name="connsiteX265" fmla="*/ 5225 w 10000"/>
                <a:gd name="connsiteY265" fmla="*/ 4584 h 10000"/>
                <a:gd name="connsiteX266" fmla="*/ 5302 w 10000"/>
                <a:gd name="connsiteY266" fmla="*/ 4640 h 10000"/>
                <a:gd name="connsiteX267" fmla="*/ 5378 w 10000"/>
                <a:gd name="connsiteY267" fmla="*/ 4696 h 10000"/>
                <a:gd name="connsiteX268" fmla="*/ 5445 w 10000"/>
                <a:gd name="connsiteY268" fmla="*/ 4759 h 10000"/>
                <a:gd name="connsiteX269" fmla="*/ 5507 w 10000"/>
                <a:gd name="connsiteY269" fmla="*/ 4824 h 10000"/>
                <a:gd name="connsiteX270" fmla="*/ 5554 w 10000"/>
                <a:gd name="connsiteY270" fmla="*/ 4894 h 10000"/>
                <a:gd name="connsiteX271" fmla="*/ 5557 w 10000"/>
                <a:gd name="connsiteY271" fmla="*/ 4898 h 10000"/>
                <a:gd name="connsiteX272" fmla="*/ 5567 w 10000"/>
                <a:gd name="connsiteY272" fmla="*/ 4916 h 10000"/>
                <a:gd name="connsiteX273" fmla="*/ 5576 w 10000"/>
                <a:gd name="connsiteY273" fmla="*/ 4939 h 10000"/>
                <a:gd name="connsiteX274" fmla="*/ 5591 w 10000"/>
                <a:gd name="connsiteY274" fmla="*/ 4976 h 10000"/>
                <a:gd name="connsiteX275" fmla="*/ 5606 w 10000"/>
                <a:gd name="connsiteY275" fmla="*/ 5015 h 10000"/>
                <a:gd name="connsiteX276" fmla="*/ 5621 w 10000"/>
                <a:gd name="connsiteY276" fmla="*/ 5064 h 10000"/>
                <a:gd name="connsiteX277" fmla="*/ 5636 w 10000"/>
                <a:gd name="connsiteY277" fmla="*/ 5118 h 10000"/>
                <a:gd name="connsiteX278" fmla="*/ 5649 w 10000"/>
                <a:gd name="connsiteY278" fmla="*/ 5178 h 10000"/>
                <a:gd name="connsiteX279" fmla="*/ 5657 w 10000"/>
                <a:gd name="connsiteY279" fmla="*/ 5238 h 10000"/>
                <a:gd name="connsiteX280" fmla="*/ 5663 w 10000"/>
                <a:gd name="connsiteY280" fmla="*/ 5306 h 10000"/>
                <a:gd name="connsiteX281" fmla="*/ 5667 w 10000"/>
                <a:gd name="connsiteY281" fmla="*/ 5375 h 10000"/>
                <a:gd name="connsiteX282" fmla="*/ 5660 w 10000"/>
                <a:gd name="connsiteY282" fmla="*/ 5445 h 10000"/>
                <a:gd name="connsiteX283" fmla="*/ 5649 w 10000"/>
                <a:gd name="connsiteY283" fmla="*/ 5514 h 10000"/>
                <a:gd name="connsiteX284" fmla="*/ 5627 w 10000"/>
                <a:gd name="connsiteY284" fmla="*/ 5585 h 10000"/>
                <a:gd name="connsiteX285" fmla="*/ 5597 w 10000"/>
                <a:gd name="connsiteY285" fmla="*/ 5653 h 10000"/>
                <a:gd name="connsiteX286" fmla="*/ 5557 w 10000"/>
                <a:gd name="connsiteY286" fmla="*/ 5719 h 10000"/>
                <a:gd name="connsiteX287" fmla="*/ 5503 w 10000"/>
                <a:gd name="connsiteY287" fmla="*/ 5782 h 10000"/>
                <a:gd name="connsiteX288" fmla="*/ 5440 w 10000"/>
                <a:gd name="connsiteY288" fmla="*/ 5842 h 10000"/>
                <a:gd name="connsiteX289" fmla="*/ 5358 w 10000"/>
                <a:gd name="connsiteY289" fmla="*/ 5898 h 10000"/>
                <a:gd name="connsiteX290" fmla="*/ 5264 w 10000"/>
                <a:gd name="connsiteY290" fmla="*/ 5946 h 10000"/>
                <a:gd name="connsiteX291" fmla="*/ 5155 w 10000"/>
                <a:gd name="connsiteY291" fmla="*/ 5989 h 10000"/>
                <a:gd name="connsiteX292" fmla="*/ 5146 w 10000"/>
                <a:gd name="connsiteY292" fmla="*/ 5989 h 10000"/>
                <a:gd name="connsiteX293" fmla="*/ 5119 w 10000"/>
                <a:gd name="connsiteY293" fmla="*/ 5998 h 10000"/>
                <a:gd name="connsiteX294" fmla="*/ 5070 w 10000"/>
                <a:gd name="connsiteY294" fmla="*/ 6004 h 10000"/>
                <a:gd name="connsiteX295" fmla="*/ 5009 w 10000"/>
                <a:gd name="connsiteY295" fmla="*/ 6017 h 10000"/>
                <a:gd name="connsiteX296" fmla="*/ 4930 w 10000"/>
                <a:gd name="connsiteY296" fmla="*/ 6030 h 10000"/>
                <a:gd name="connsiteX297" fmla="*/ 4840 w 10000"/>
                <a:gd name="connsiteY297" fmla="*/ 6038 h 10000"/>
                <a:gd name="connsiteX298" fmla="*/ 4736 w 10000"/>
                <a:gd name="connsiteY298" fmla="*/ 6042 h 10000"/>
                <a:gd name="connsiteX299" fmla="*/ 4622 w 10000"/>
                <a:gd name="connsiteY299" fmla="*/ 6042 h 10000"/>
                <a:gd name="connsiteX300" fmla="*/ 4493 w 10000"/>
                <a:gd name="connsiteY300" fmla="*/ 6034 h 10000"/>
                <a:gd name="connsiteX301" fmla="*/ 4357 w 10000"/>
                <a:gd name="connsiteY301" fmla="*/ 6017 h 10000"/>
                <a:gd name="connsiteX302" fmla="*/ 4215 w 10000"/>
                <a:gd name="connsiteY302" fmla="*/ 5993 h 10000"/>
                <a:gd name="connsiteX303" fmla="*/ 4064 w 10000"/>
                <a:gd name="connsiteY303" fmla="*/ 5956 h 10000"/>
                <a:gd name="connsiteX304" fmla="*/ 3906 w 10000"/>
                <a:gd name="connsiteY304" fmla="*/ 5905 h 10000"/>
                <a:gd name="connsiteX305" fmla="*/ 3746 w 10000"/>
                <a:gd name="connsiteY305" fmla="*/ 5842 h 10000"/>
                <a:gd name="connsiteX306" fmla="*/ 3578 w 10000"/>
                <a:gd name="connsiteY306" fmla="*/ 5763 h 10000"/>
                <a:gd name="connsiteX307" fmla="*/ 3412 w 10000"/>
                <a:gd name="connsiteY307" fmla="*/ 5662 h 10000"/>
                <a:gd name="connsiteX308" fmla="*/ 3200 w 10000"/>
                <a:gd name="connsiteY308" fmla="*/ 6572 h 10000"/>
                <a:gd name="connsiteX309" fmla="*/ 3209 w 10000"/>
                <a:gd name="connsiteY309" fmla="*/ 6576 h 10000"/>
                <a:gd name="connsiteX310" fmla="*/ 3233 w 10000"/>
                <a:gd name="connsiteY310" fmla="*/ 6588 h 10000"/>
                <a:gd name="connsiteX311" fmla="*/ 3273 w 10000"/>
                <a:gd name="connsiteY311" fmla="*/ 6603 h 10000"/>
                <a:gd name="connsiteX312" fmla="*/ 3325 w 10000"/>
                <a:gd name="connsiteY312" fmla="*/ 6632 h 10000"/>
                <a:gd name="connsiteX313" fmla="*/ 3388 w 10000"/>
                <a:gd name="connsiteY313" fmla="*/ 6660 h 10000"/>
                <a:gd name="connsiteX314" fmla="*/ 3464 w 10000"/>
                <a:gd name="connsiteY314" fmla="*/ 6693 h 10000"/>
                <a:gd name="connsiteX315" fmla="*/ 3548 w 10000"/>
                <a:gd name="connsiteY315" fmla="*/ 6724 h 10000"/>
                <a:gd name="connsiteX316" fmla="*/ 3640 w 10000"/>
                <a:gd name="connsiteY316" fmla="*/ 6760 h 10000"/>
                <a:gd name="connsiteX317" fmla="*/ 3740 w 10000"/>
                <a:gd name="connsiteY317" fmla="*/ 6795 h 10000"/>
                <a:gd name="connsiteX318" fmla="*/ 3846 w 10000"/>
                <a:gd name="connsiteY318" fmla="*/ 6831 h 10000"/>
                <a:gd name="connsiteX319" fmla="*/ 3955 w 10000"/>
                <a:gd name="connsiteY319" fmla="*/ 6864 h 10000"/>
                <a:gd name="connsiteX320" fmla="*/ 4067 w 10000"/>
                <a:gd name="connsiteY320" fmla="*/ 6891 h 10000"/>
                <a:gd name="connsiteX321" fmla="*/ 4181 w 10000"/>
                <a:gd name="connsiteY321" fmla="*/ 6916 h 10000"/>
                <a:gd name="connsiteX322" fmla="*/ 4294 w 10000"/>
                <a:gd name="connsiteY322" fmla="*/ 6935 h 10000"/>
                <a:gd name="connsiteX323" fmla="*/ 4409 w 10000"/>
                <a:gd name="connsiteY323" fmla="*/ 6947 h 10000"/>
                <a:gd name="connsiteX324" fmla="*/ 4519 w 10000"/>
                <a:gd name="connsiteY324" fmla="*/ 6955 h 10000"/>
                <a:gd name="connsiteX325" fmla="*/ 4628 w 10000"/>
                <a:gd name="connsiteY325" fmla="*/ 6951 h 10000"/>
                <a:gd name="connsiteX326" fmla="*/ 4628 w 10000"/>
                <a:gd name="connsiteY326" fmla="*/ 7638 h 10000"/>
                <a:gd name="connsiteX327" fmla="*/ 4218 w 10000"/>
                <a:gd name="connsiteY327" fmla="*/ 8144 h 10000"/>
                <a:gd name="connsiteX328" fmla="*/ 3615 w 10000"/>
                <a:gd name="connsiteY328" fmla="*/ 7803 h 10000"/>
                <a:gd name="connsiteX329" fmla="*/ 2582 w 10000"/>
                <a:gd name="connsiteY329" fmla="*/ 9657 h 10000"/>
                <a:gd name="connsiteX330" fmla="*/ 1778 w 10000"/>
                <a:gd name="connsiteY330" fmla="*/ 8796 h 10000"/>
                <a:gd name="connsiteX331" fmla="*/ 1174 w 10000"/>
                <a:gd name="connsiteY331" fmla="*/ 9989 h 10000"/>
                <a:gd name="connsiteX332" fmla="*/ 16 w 10000"/>
                <a:gd name="connsiteY332" fmla="*/ 10000 h 10000"/>
                <a:gd name="connsiteX333" fmla="*/ 0 w 10000"/>
                <a:gd name="connsiteY333" fmla="*/ 9787 h 10000"/>
                <a:gd name="connsiteX334" fmla="*/ 1097 w 10000"/>
                <a:gd name="connsiteY334" fmla="*/ 9787 h 10000"/>
                <a:gd name="connsiteX335" fmla="*/ 1745 w 10000"/>
                <a:gd name="connsiteY335" fmla="*/ 8490 h 10000"/>
                <a:gd name="connsiteX336" fmla="*/ 2560 w 10000"/>
                <a:gd name="connsiteY336" fmla="*/ 9343 h 10000"/>
                <a:gd name="connsiteX337" fmla="*/ 3567 w 10000"/>
                <a:gd name="connsiteY337" fmla="*/ 7471 h 10000"/>
                <a:gd name="connsiteX338" fmla="*/ 4191 w 10000"/>
                <a:gd name="connsiteY338" fmla="*/ 7857 h 10000"/>
                <a:gd name="connsiteX339" fmla="*/ 4446 w 10000"/>
                <a:gd name="connsiteY339" fmla="*/ 7554 h 10000"/>
                <a:gd name="connsiteX340" fmla="*/ 4446 w 10000"/>
                <a:gd name="connsiteY340" fmla="*/ 7183 h 10000"/>
                <a:gd name="connsiteX341" fmla="*/ 4433 w 10000"/>
                <a:gd name="connsiteY341" fmla="*/ 7183 h 10000"/>
                <a:gd name="connsiteX342" fmla="*/ 4403 w 10000"/>
                <a:gd name="connsiteY342" fmla="*/ 7178 h 10000"/>
                <a:gd name="connsiteX343" fmla="*/ 4357 w 10000"/>
                <a:gd name="connsiteY343" fmla="*/ 7174 h 10000"/>
                <a:gd name="connsiteX344" fmla="*/ 4294 w 10000"/>
                <a:gd name="connsiteY344" fmla="*/ 7166 h 10000"/>
                <a:gd name="connsiteX345" fmla="*/ 4215 w 10000"/>
                <a:gd name="connsiteY345" fmla="*/ 7158 h 10000"/>
                <a:gd name="connsiteX346" fmla="*/ 4128 w 10000"/>
                <a:gd name="connsiteY346" fmla="*/ 7147 h 10000"/>
                <a:gd name="connsiteX347" fmla="*/ 4031 w 10000"/>
                <a:gd name="connsiteY347" fmla="*/ 7131 h 10000"/>
                <a:gd name="connsiteX348" fmla="*/ 3925 w 10000"/>
                <a:gd name="connsiteY348" fmla="*/ 7110 h 10000"/>
                <a:gd name="connsiteX349" fmla="*/ 3816 w 10000"/>
                <a:gd name="connsiteY349" fmla="*/ 7087 h 10000"/>
                <a:gd name="connsiteX350" fmla="*/ 3700 w 10000"/>
                <a:gd name="connsiteY350" fmla="*/ 7056 h 10000"/>
                <a:gd name="connsiteX351" fmla="*/ 3585 w 10000"/>
                <a:gd name="connsiteY351" fmla="*/ 7023 h 10000"/>
                <a:gd name="connsiteX352" fmla="*/ 3469 w 10000"/>
                <a:gd name="connsiteY352" fmla="*/ 6982 h 10000"/>
                <a:gd name="connsiteX353" fmla="*/ 3358 w 10000"/>
                <a:gd name="connsiteY353" fmla="*/ 6939 h 10000"/>
                <a:gd name="connsiteX354" fmla="*/ 3249 w 10000"/>
                <a:gd name="connsiteY354" fmla="*/ 6891 h 10000"/>
                <a:gd name="connsiteX355" fmla="*/ 3149 w 10000"/>
                <a:gd name="connsiteY355" fmla="*/ 6835 h 10000"/>
                <a:gd name="connsiteX356" fmla="*/ 3057 w 10000"/>
                <a:gd name="connsiteY356" fmla="*/ 6772 h 10000"/>
                <a:gd name="connsiteX357" fmla="*/ 2975 w 10000"/>
                <a:gd name="connsiteY357" fmla="*/ 6699 h 10000"/>
                <a:gd name="connsiteX358" fmla="*/ 3276 w 10000"/>
                <a:gd name="connsiteY358" fmla="*/ 5310 h 10000"/>
                <a:gd name="connsiteX359" fmla="*/ 3285 w 10000"/>
                <a:gd name="connsiteY359" fmla="*/ 5315 h 10000"/>
                <a:gd name="connsiteX360" fmla="*/ 3303 w 10000"/>
                <a:gd name="connsiteY360" fmla="*/ 5327 h 10000"/>
                <a:gd name="connsiteX361" fmla="*/ 3336 w 10000"/>
                <a:gd name="connsiteY361" fmla="*/ 5344 h 10000"/>
                <a:gd name="connsiteX362" fmla="*/ 3379 w 10000"/>
                <a:gd name="connsiteY362" fmla="*/ 5366 h 10000"/>
                <a:gd name="connsiteX363" fmla="*/ 3433 w 10000"/>
                <a:gd name="connsiteY363" fmla="*/ 5395 h 10000"/>
                <a:gd name="connsiteX364" fmla="*/ 3494 w 10000"/>
                <a:gd name="connsiteY364" fmla="*/ 5426 h 10000"/>
                <a:gd name="connsiteX365" fmla="*/ 3567 w 10000"/>
                <a:gd name="connsiteY365" fmla="*/ 5457 h 10000"/>
                <a:gd name="connsiteX366" fmla="*/ 3645 w 10000"/>
                <a:gd name="connsiteY366" fmla="*/ 5493 h 10000"/>
                <a:gd name="connsiteX367" fmla="*/ 3730 w 10000"/>
                <a:gd name="connsiteY367" fmla="*/ 5536 h 10000"/>
                <a:gd name="connsiteX368" fmla="*/ 3820 w 10000"/>
                <a:gd name="connsiteY368" fmla="*/ 5571 h 10000"/>
                <a:gd name="connsiteX369" fmla="*/ 3919 w 10000"/>
                <a:gd name="connsiteY369" fmla="*/ 5610 h 10000"/>
                <a:gd name="connsiteX370" fmla="*/ 4018 w 10000"/>
                <a:gd name="connsiteY370" fmla="*/ 5645 h 10000"/>
                <a:gd name="connsiteX371" fmla="*/ 4121 w 10000"/>
                <a:gd name="connsiteY371" fmla="*/ 5681 h 10000"/>
                <a:gd name="connsiteX372" fmla="*/ 4227 w 10000"/>
                <a:gd name="connsiteY372" fmla="*/ 5714 h 10000"/>
                <a:gd name="connsiteX373" fmla="*/ 4337 w 10000"/>
                <a:gd name="connsiteY373" fmla="*/ 5741 h 10000"/>
                <a:gd name="connsiteX374" fmla="*/ 4443 w 10000"/>
                <a:gd name="connsiteY374" fmla="*/ 5767 h 10000"/>
                <a:gd name="connsiteX375" fmla="*/ 4552 w 10000"/>
                <a:gd name="connsiteY375" fmla="*/ 5786 h 10000"/>
                <a:gd name="connsiteX376" fmla="*/ 4655 w 10000"/>
                <a:gd name="connsiteY376" fmla="*/ 5798 h 10000"/>
                <a:gd name="connsiteX377" fmla="*/ 4761 w 10000"/>
                <a:gd name="connsiteY377" fmla="*/ 5806 h 10000"/>
                <a:gd name="connsiteX378" fmla="*/ 4861 w 10000"/>
                <a:gd name="connsiteY378" fmla="*/ 5802 h 10000"/>
                <a:gd name="connsiteX379" fmla="*/ 4954 w 10000"/>
                <a:gd name="connsiteY379" fmla="*/ 5794 h 10000"/>
                <a:gd name="connsiteX380" fmla="*/ 5046 w 10000"/>
                <a:gd name="connsiteY380" fmla="*/ 5773 h 10000"/>
                <a:gd name="connsiteX381" fmla="*/ 5133 w 10000"/>
                <a:gd name="connsiteY381" fmla="*/ 5745 h 10000"/>
                <a:gd name="connsiteX382" fmla="*/ 5212 w 10000"/>
                <a:gd name="connsiteY382" fmla="*/ 5706 h 10000"/>
                <a:gd name="connsiteX383" fmla="*/ 5282 w 10000"/>
                <a:gd name="connsiteY383" fmla="*/ 5653 h 10000"/>
                <a:gd name="connsiteX384" fmla="*/ 5345 w 10000"/>
                <a:gd name="connsiteY384" fmla="*/ 5589 h 10000"/>
                <a:gd name="connsiteX385" fmla="*/ 5397 w 10000"/>
                <a:gd name="connsiteY385" fmla="*/ 5510 h 10000"/>
                <a:gd name="connsiteX386" fmla="*/ 5440 w 10000"/>
                <a:gd name="connsiteY386" fmla="*/ 5418 h 10000"/>
                <a:gd name="connsiteX387" fmla="*/ 5470 w 10000"/>
                <a:gd name="connsiteY387" fmla="*/ 5310 h 10000"/>
                <a:gd name="connsiteX388" fmla="*/ 5473 w 10000"/>
                <a:gd name="connsiteY388" fmla="*/ 5306 h 10000"/>
                <a:gd name="connsiteX389" fmla="*/ 5473 w 10000"/>
                <a:gd name="connsiteY389" fmla="*/ 5296 h 10000"/>
                <a:gd name="connsiteX390" fmla="*/ 5473 w 10000"/>
                <a:gd name="connsiteY390" fmla="*/ 5274 h 10000"/>
                <a:gd name="connsiteX391" fmla="*/ 5473 w 10000"/>
                <a:gd name="connsiteY391" fmla="*/ 5251 h 10000"/>
                <a:gd name="connsiteX392" fmla="*/ 5470 w 10000"/>
                <a:gd name="connsiteY392" fmla="*/ 5217 h 10000"/>
                <a:gd name="connsiteX393" fmla="*/ 5461 w 10000"/>
                <a:gd name="connsiteY393" fmla="*/ 5182 h 10000"/>
                <a:gd name="connsiteX394" fmla="*/ 5445 w 10000"/>
                <a:gd name="connsiteY394" fmla="*/ 5139 h 10000"/>
                <a:gd name="connsiteX395" fmla="*/ 5424 w 10000"/>
                <a:gd name="connsiteY395" fmla="*/ 5095 h 10000"/>
                <a:gd name="connsiteX396" fmla="*/ 5397 w 10000"/>
                <a:gd name="connsiteY396" fmla="*/ 5043 h 10000"/>
                <a:gd name="connsiteX397" fmla="*/ 5358 w 10000"/>
                <a:gd name="connsiteY397" fmla="*/ 4990 h 10000"/>
                <a:gd name="connsiteX398" fmla="*/ 5309 w 10000"/>
                <a:gd name="connsiteY398" fmla="*/ 4939 h 10000"/>
                <a:gd name="connsiteX399" fmla="*/ 5252 w 10000"/>
                <a:gd name="connsiteY399" fmla="*/ 4884 h 10000"/>
                <a:gd name="connsiteX400" fmla="*/ 5179 w 10000"/>
                <a:gd name="connsiteY400" fmla="*/ 4824 h 10000"/>
                <a:gd name="connsiteX401" fmla="*/ 5090 w 10000"/>
                <a:gd name="connsiteY401" fmla="*/ 4767 h 10000"/>
                <a:gd name="connsiteX402" fmla="*/ 4987 w 10000"/>
                <a:gd name="connsiteY402" fmla="*/ 4706 h 10000"/>
                <a:gd name="connsiteX403" fmla="*/ 4870 w 10000"/>
                <a:gd name="connsiteY403" fmla="*/ 4652 h 10000"/>
                <a:gd name="connsiteX404" fmla="*/ 4734 w 10000"/>
                <a:gd name="connsiteY404" fmla="*/ 4597 h 10000"/>
                <a:gd name="connsiteX405" fmla="*/ 4579 w 10000"/>
                <a:gd name="connsiteY405" fmla="*/ 4545 h 10000"/>
                <a:gd name="connsiteX406" fmla="*/ 4569 w 10000"/>
                <a:gd name="connsiteY406" fmla="*/ 4541 h 10000"/>
                <a:gd name="connsiteX407" fmla="*/ 4542 w 10000"/>
                <a:gd name="connsiteY407" fmla="*/ 4527 h 10000"/>
                <a:gd name="connsiteX408" fmla="*/ 4503 w 10000"/>
                <a:gd name="connsiteY408" fmla="*/ 4516 h 10000"/>
                <a:gd name="connsiteX409" fmla="*/ 4449 w 10000"/>
                <a:gd name="connsiteY409" fmla="*/ 4491 h 10000"/>
                <a:gd name="connsiteX410" fmla="*/ 4384 w 10000"/>
                <a:gd name="connsiteY410" fmla="*/ 4464 h 10000"/>
                <a:gd name="connsiteX411" fmla="*/ 4310 w 10000"/>
                <a:gd name="connsiteY411" fmla="*/ 4427 h 10000"/>
                <a:gd name="connsiteX412" fmla="*/ 4224 w 10000"/>
                <a:gd name="connsiteY412" fmla="*/ 4388 h 10000"/>
                <a:gd name="connsiteX413" fmla="*/ 4134 w 10000"/>
                <a:gd name="connsiteY413" fmla="*/ 4340 h 10000"/>
                <a:gd name="connsiteX414" fmla="*/ 4039 w 10000"/>
                <a:gd name="connsiteY414" fmla="*/ 4285 h 10000"/>
                <a:gd name="connsiteX415" fmla="*/ 3939 w 10000"/>
                <a:gd name="connsiteY415" fmla="*/ 4225 h 10000"/>
                <a:gd name="connsiteX416" fmla="*/ 3839 w 10000"/>
                <a:gd name="connsiteY416" fmla="*/ 4156 h 10000"/>
                <a:gd name="connsiteX417" fmla="*/ 3740 w 10000"/>
                <a:gd name="connsiteY417" fmla="*/ 4085 h 10000"/>
                <a:gd name="connsiteX418" fmla="*/ 3643 w 10000"/>
                <a:gd name="connsiteY418" fmla="*/ 4001 h 10000"/>
                <a:gd name="connsiteX419" fmla="*/ 3545 w 10000"/>
                <a:gd name="connsiteY419" fmla="*/ 3914 h 10000"/>
                <a:gd name="connsiteX420" fmla="*/ 3458 w 10000"/>
                <a:gd name="connsiteY420" fmla="*/ 3823 h 10000"/>
                <a:gd name="connsiteX421" fmla="*/ 3372 w 10000"/>
                <a:gd name="connsiteY421" fmla="*/ 3717 h 10000"/>
                <a:gd name="connsiteX422" fmla="*/ 3300 w 10000"/>
                <a:gd name="connsiteY422" fmla="*/ 3610 h 10000"/>
                <a:gd name="connsiteX423" fmla="*/ 3236 w 10000"/>
                <a:gd name="connsiteY423" fmla="*/ 3494 h 10000"/>
                <a:gd name="connsiteX424" fmla="*/ 3230 w 10000"/>
                <a:gd name="connsiteY424" fmla="*/ 3486 h 10000"/>
                <a:gd name="connsiteX425" fmla="*/ 3222 w 10000"/>
                <a:gd name="connsiteY425" fmla="*/ 3465 h 10000"/>
                <a:gd name="connsiteX426" fmla="*/ 3206 w 10000"/>
                <a:gd name="connsiteY426" fmla="*/ 3430 h 10000"/>
                <a:gd name="connsiteX427" fmla="*/ 3187 w 10000"/>
                <a:gd name="connsiteY427" fmla="*/ 3387 h 10000"/>
                <a:gd name="connsiteX428" fmla="*/ 3167 w 10000"/>
                <a:gd name="connsiteY428" fmla="*/ 3326 h 10000"/>
                <a:gd name="connsiteX429" fmla="*/ 3146 w 10000"/>
                <a:gd name="connsiteY429" fmla="*/ 3254 h 10000"/>
                <a:gd name="connsiteX430" fmla="*/ 3121 w 10000"/>
                <a:gd name="connsiteY430" fmla="*/ 3176 h 10000"/>
                <a:gd name="connsiteX431" fmla="*/ 3100 w 10000"/>
                <a:gd name="connsiteY431" fmla="*/ 3086 h 10000"/>
                <a:gd name="connsiteX432" fmla="*/ 3081 w 10000"/>
                <a:gd name="connsiteY432" fmla="*/ 2990 h 10000"/>
                <a:gd name="connsiteX433" fmla="*/ 3064 w 10000"/>
                <a:gd name="connsiteY433" fmla="*/ 2884 h 10000"/>
                <a:gd name="connsiteX434" fmla="*/ 3051 w 10000"/>
                <a:gd name="connsiteY434" fmla="*/ 2770 h 10000"/>
                <a:gd name="connsiteX435" fmla="*/ 3046 w 10000"/>
                <a:gd name="connsiteY435" fmla="*/ 2656 h 10000"/>
                <a:gd name="connsiteX436" fmla="*/ 3046 w 10000"/>
                <a:gd name="connsiteY436" fmla="*/ 2530 h 10000"/>
                <a:gd name="connsiteX437" fmla="*/ 3054 w 10000"/>
                <a:gd name="connsiteY437" fmla="*/ 2403 h 10000"/>
                <a:gd name="connsiteX438" fmla="*/ 3070 w 10000"/>
                <a:gd name="connsiteY438" fmla="*/ 2272 h 10000"/>
                <a:gd name="connsiteX439" fmla="*/ 3097 w 10000"/>
                <a:gd name="connsiteY439" fmla="*/ 2137 h 10000"/>
                <a:gd name="connsiteX440" fmla="*/ 3136 w 10000"/>
                <a:gd name="connsiteY440" fmla="*/ 2000 h 10000"/>
                <a:gd name="connsiteX441" fmla="*/ 3187 w 10000"/>
                <a:gd name="connsiteY441" fmla="*/ 1866 h 10000"/>
                <a:gd name="connsiteX442" fmla="*/ 3255 w 10000"/>
                <a:gd name="connsiteY442" fmla="*/ 1725 h 10000"/>
                <a:gd name="connsiteX443" fmla="*/ 3333 w 10000"/>
                <a:gd name="connsiteY443" fmla="*/ 1589 h 10000"/>
                <a:gd name="connsiteX444" fmla="*/ 3431 w 10000"/>
                <a:gd name="connsiteY444" fmla="*/ 1455 h 10000"/>
                <a:gd name="connsiteX445" fmla="*/ 3545 w 10000"/>
                <a:gd name="connsiteY445" fmla="*/ 1318 h 10000"/>
                <a:gd name="connsiteX446" fmla="*/ 3680 w 10000"/>
                <a:gd name="connsiteY446" fmla="*/ 1185 h 10000"/>
                <a:gd name="connsiteX447" fmla="*/ 3684 w 10000"/>
                <a:gd name="connsiteY447" fmla="*/ 1183 h 10000"/>
                <a:gd name="connsiteX448" fmla="*/ 3703 w 10000"/>
                <a:gd name="connsiteY448" fmla="*/ 1166 h 10000"/>
                <a:gd name="connsiteX449" fmla="*/ 3733 w 10000"/>
                <a:gd name="connsiteY449" fmla="*/ 1142 h 10000"/>
                <a:gd name="connsiteX450" fmla="*/ 3776 w 10000"/>
                <a:gd name="connsiteY450" fmla="*/ 1111 h 10000"/>
                <a:gd name="connsiteX451" fmla="*/ 3824 w 10000"/>
                <a:gd name="connsiteY451" fmla="*/ 1074 h 10000"/>
                <a:gd name="connsiteX452" fmla="*/ 3885 w 10000"/>
                <a:gd name="connsiteY452" fmla="*/ 1034 h 10000"/>
                <a:gd name="connsiteX453" fmla="*/ 3955 w 10000"/>
                <a:gd name="connsiteY453" fmla="*/ 991 h 10000"/>
                <a:gd name="connsiteX454" fmla="*/ 4031 w 10000"/>
                <a:gd name="connsiteY454" fmla="*/ 947 h 10000"/>
                <a:gd name="connsiteX455" fmla="*/ 4112 w 10000"/>
                <a:gd name="connsiteY455" fmla="*/ 908 h 10000"/>
                <a:gd name="connsiteX456" fmla="*/ 4200 w 10000"/>
                <a:gd name="connsiteY456" fmla="*/ 867 h 10000"/>
                <a:gd name="connsiteX457" fmla="*/ 4291 w 10000"/>
                <a:gd name="connsiteY457" fmla="*/ 830 h 10000"/>
                <a:gd name="connsiteX458" fmla="*/ 4387 w 10000"/>
                <a:gd name="connsiteY458" fmla="*/ 803 h 10000"/>
                <a:gd name="connsiteX459" fmla="*/ 4489 w 10000"/>
                <a:gd name="connsiteY459" fmla="*/ 778 h 10000"/>
                <a:gd name="connsiteX460" fmla="*/ 4479 w 10000"/>
                <a:gd name="connsiteY460" fmla="*/ 0 h 10000"/>
                <a:gd name="connsiteX0" fmla="*/ 4467 w 9988"/>
                <a:gd name="connsiteY0" fmla="*/ 0 h 10000"/>
                <a:gd name="connsiteX1" fmla="*/ 5488 w 9988"/>
                <a:gd name="connsiteY1" fmla="*/ 0 h 10000"/>
                <a:gd name="connsiteX2" fmla="*/ 5488 w 9988"/>
                <a:gd name="connsiteY2" fmla="*/ 695 h 10000"/>
                <a:gd name="connsiteX3" fmla="*/ 5498 w 9988"/>
                <a:gd name="connsiteY3" fmla="*/ 699 h 10000"/>
                <a:gd name="connsiteX4" fmla="*/ 5528 w 9988"/>
                <a:gd name="connsiteY4" fmla="*/ 699 h 10000"/>
                <a:gd name="connsiteX5" fmla="*/ 5575 w 9988"/>
                <a:gd name="connsiteY5" fmla="*/ 704 h 10000"/>
                <a:gd name="connsiteX6" fmla="*/ 5639 w 9988"/>
                <a:gd name="connsiteY6" fmla="*/ 712 h 10000"/>
                <a:gd name="connsiteX7" fmla="*/ 5718 w 9988"/>
                <a:gd name="connsiteY7" fmla="*/ 720 h 10000"/>
                <a:gd name="connsiteX8" fmla="*/ 5807 w 9988"/>
                <a:gd name="connsiteY8" fmla="*/ 730 h 10000"/>
                <a:gd name="connsiteX9" fmla="*/ 5903 w 9988"/>
                <a:gd name="connsiteY9" fmla="*/ 751 h 10000"/>
                <a:gd name="connsiteX10" fmla="*/ 6006 w 9988"/>
                <a:gd name="connsiteY10" fmla="*/ 770 h 10000"/>
                <a:gd name="connsiteX11" fmla="*/ 6115 w 9988"/>
                <a:gd name="connsiteY11" fmla="*/ 799 h 10000"/>
                <a:gd name="connsiteX12" fmla="*/ 6228 w 9988"/>
                <a:gd name="connsiteY12" fmla="*/ 826 h 10000"/>
                <a:gd name="connsiteX13" fmla="*/ 6337 w 9988"/>
                <a:gd name="connsiteY13" fmla="*/ 867 h 10000"/>
                <a:gd name="connsiteX14" fmla="*/ 6446 w 9988"/>
                <a:gd name="connsiteY14" fmla="*/ 910 h 10000"/>
                <a:gd name="connsiteX15" fmla="*/ 6552 w 9988"/>
                <a:gd name="connsiteY15" fmla="*/ 962 h 10000"/>
                <a:gd name="connsiteX16" fmla="*/ 6649 w 9988"/>
                <a:gd name="connsiteY16" fmla="*/ 1018 h 10000"/>
                <a:gd name="connsiteX17" fmla="*/ 6739 w 9988"/>
                <a:gd name="connsiteY17" fmla="*/ 1087 h 10000"/>
                <a:gd name="connsiteX18" fmla="*/ 6451 w 9988"/>
                <a:gd name="connsiteY18" fmla="*/ 2421 h 10000"/>
                <a:gd name="connsiteX19" fmla="*/ 6443 w 9988"/>
                <a:gd name="connsiteY19" fmla="*/ 2417 h 10000"/>
                <a:gd name="connsiteX20" fmla="*/ 6421 w 9988"/>
                <a:gd name="connsiteY20" fmla="*/ 2399 h 10000"/>
                <a:gd name="connsiteX21" fmla="*/ 6384 w 9988"/>
                <a:gd name="connsiteY21" fmla="*/ 2380 h 10000"/>
                <a:gd name="connsiteX22" fmla="*/ 6337 w 9988"/>
                <a:gd name="connsiteY22" fmla="*/ 2351 h 10000"/>
                <a:gd name="connsiteX23" fmla="*/ 6274 w 9988"/>
                <a:gd name="connsiteY23" fmla="*/ 2319 h 10000"/>
                <a:gd name="connsiteX24" fmla="*/ 6202 w 9988"/>
                <a:gd name="connsiteY24" fmla="*/ 2288 h 10000"/>
                <a:gd name="connsiteX25" fmla="*/ 6122 w 9988"/>
                <a:gd name="connsiteY25" fmla="*/ 2249 h 10000"/>
                <a:gd name="connsiteX26" fmla="*/ 6027 w 9988"/>
                <a:gd name="connsiteY26" fmla="*/ 2211 h 10000"/>
                <a:gd name="connsiteX27" fmla="*/ 5930 w 9988"/>
                <a:gd name="connsiteY27" fmla="*/ 2176 h 10000"/>
                <a:gd name="connsiteX28" fmla="*/ 5821 w 9988"/>
                <a:gd name="connsiteY28" fmla="*/ 2141 h 10000"/>
                <a:gd name="connsiteX29" fmla="*/ 5710 w 9988"/>
                <a:gd name="connsiteY29" fmla="*/ 2112 h 10000"/>
                <a:gd name="connsiteX30" fmla="*/ 5591 w 9988"/>
                <a:gd name="connsiteY30" fmla="*/ 2085 h 10000"/>
                <a:gd name="connsiteX31" fmla="*/ 5466 w 9988"/>
                <a:gd name="connsiteY31" fmla="*/ 2063 h 10000"/>
                <a:gd name="connsiteX32" fmla="*/ 5339 w 9988"/>
                <a:gd name="connsiteY32" fmla="*/ 2053 h 10000"/>
                <a:gd name="connsiteX33" fmla="*/ 5213 w 9988"/>
                <a:gd name="connsiteY33" fmla="*/ 2053 h 10000"/>
                <a:gd name="connsiteX34" fmla="*/ 5078 w 9988"/>
                <a:gd name="connsiteY34" fmla="*/ 2061 h 10000"/>
                <a:gd name="connsiteX35" fmla="*/ 4948 w 9988"/>
                <a:gd name="connsiteY35" fmla="*/ 2080 h 10000"/>
                <a:gd name="connsiteX36" fmla="*/ 4815 w 9988"/>
                <a:gd name="connsiteY36" fmla="*/ 2112 h 10000"/>
                <a:gd name="connsiteX37" fmla="*/ 4686 w 9988"/>
                <a:gd name="connsiteY37" fmla="*/ 2159 h 10000"/>
                <a:gd name="connsiteX38" fmla="*/ 4682 w 9988"/>
                <a:gd name="connsiteY38" fmla="*/ 2163 h 10000"/>
                <a:gd name="connsiteX39" fmla="*/ 4670 w 9988"/>
                <a:gd name="connsiteY39" fmla="*/ 2172 h 10000"/>
                <a:gd name="connsiteX40" fmla="*/ 4654 w 9988"/>
                <a:gd name="connsiteY40" fmla="*/ 2188 h 10000"/>
                <a:gd name="connsiteX41" fmla="*/ 4633 w 9988"/>
                <a:gd name="connsiteY41" fmla="*/ 2211 h 10000"/>
                <a:gd name="connsiteX42" fmla="*/ 4610 w 9988"/>
                <a:gd name="connsiteY42" fmla="*/ 2237 h 10000"/>
                <a:gd name="connsiteX43" fmla="*/ 4587 w 9988"/>
                <a:gd name="connsiteY43" fmla="*/ 2268 h 10000"/>
                <a:gd name="connsiteX44" fmla="*/ 4564 w 9988"/>
                <a:gd name="connsiteY44" fmla="*/ 2303 h 10000"/>
                <a:gd name="connsiteX45" fmla="*/ 4546 w 9988"/>
                <a:gd name="connsiteY45" fmla="*/ 2347 h 10000"/>
                <a:gd name="connsiteX46" fmla="*/ 4530 w 9988"/>
                <a:gd name="connsiteY46" fmla="*/ 2391 h 10000"/>
                <a:gd name="connsiteX47" fmla="*/ 4521 w 9988"/>
                <a:gd name="connsiteY47" fmla="*/ 2439 h 10000"/>
                <a:gd name="connsiteX48" fmla="*/ 4521 w 9988"/>
                <a:gd name="connsiteY48" fmla="*/ 2491 h 10000"/>
                <a:gd name="connsiteX49" fmla="*/ 4530 w 9988"/>
                <a:gd name="connsiteY49" fmla="*/ 2543 h 10000"/>
                <a:gd name="connsiteX50" fmla="*/ 4548 w 9988"/>
                <a:gd name="connsiteY50" fmla="*/ 2600 h 10000"/>
                <a:gd name="connsiteX51" fmla="*/ 4583 w 9988"/>
                <a:gd name="connsiteY51" fmla="*/ 2660 h 10000"/>
                <a:gd name="connsiteX52" fmla="*/ 4627 w 9988"/>
                <a:gd name="connsiteY52" fmla="*/ 2718 h 10000"/>
                <a:gd name="connsiteX53" fmla="*/ 4689 w 9988"/>
                <a:gd name="connsiteY53" fmla="*/ 2778 h 10000"/>
                <a:gd name="connsiteX54" fmla="*/ 4770 w 9988"/>
                <a:gd name="connsiteY54" fmla="*/ 2844 h 10000"/>
                <a:gd name="connsiteX55" fmla="*/ 4866 w 9988"/>
                <a:gd name="connsiteY55" fmla="*/ 2902 h 10000"/>
                <a:gd name="connsiteX56" fmla="*/ 4988 w 9988"/>
                <a:gd name="connsiteY56" fmla="*/ 2966 h 10000"/>
                <a:gd name="connsiteX57" fmla="*/ 4997 w 9988"/>
                <a:gd name="connsiteY57" fmla="*/ 2970 h 10000"/>
                <a:gd name="connsiteX58" fmla="*/ 5024 w 9988"/>
                <a:gd name="connsiteY58" fmla="*/ 2979 h 10000"/>
                <a:gd name="connsiteX59" fmla="*/ 5064 w 9988"/>
                <a:gd name="connsiteY59" fmla="*/ 2994 h 10000"/>
                <a:gd name="connsiteX60" fmla="*/ 5121 w 9988"/>
                <a:gd name="connsiteY60" fmla="*/ 3015 h 10000"/>
                <a:gd name="connsiteX61" fmla="*/ 5187 w 9988"/>
                <a:gd name="connsiteY61" fmla="*/ 3038 h 10000"/>
                <a:gd name="connsiteX62" fmla="*/ 5267 w 9988"/>
                <a:gd name="connsiteY62" fmla="*/ 3072 h 10000"/>
                <a:gd name="connsiteX63" fmla="*/ 5358 w 9988"/>
                <a:gd name="connsiteY63" fmla="*/ 3111 h 10000"/>
                <a:gd name="connsiteX64" fmla="*/ 5455 w 9988"/>
                <a:gd name="connsiteY64" fmla="*/ 3150 h 10000"/>
                <a:gd name="connsiteX65" fmla="*/ 5558 w 9988"/>
                <a:gd name="connsiteY65" fmla="*/ 3203 h 10000"/>
                <a:gd name="connsiteX66" fmla="*/ 5667 w 9988"/>
                <a:gd name="connsiteY66" fmla="*/ 3259 h 10000"/>
                <a:gd name="connsiteX67" fmla="*/ 5781 w 9988"/>
                <a:gd name="connsiteY67" fmla="*/ 3317 h 10000"/>
                <a:gd name="connsiteX68" fmla="*/ 5897 w 9988"/>
                <a:gd name="connsiteY68" fmla="*/ 3387 h 10000"/>
                <a:gd name="connsiteX69" fmla="*/ 6016 w 9988"/>
                <a:gd name="connsiteY69" fmla="*/ 3457 h 10000"/>
                <a:gd name="connsiteX70" fmla="*/ 6131 w 9988"/>
                <a:gd name="connsiteY70" fmla="*/ 3533 h 10000"/>
                <a:gd name="connsiteX71" fmla="*/ 6245 w 9988"/>
                <a:gd name="connsiteY71" fmla="*/ 3618 h 10000"/>
                <a:gd name="connsiteX72" fmla="*/ 6358 w 9988"/>
                <a:gd name="connsiteY72" fmla="*/ 3709 h 10000"/>
                <a:gd name="connsiteX73" fmla="*/ 6464 w 9988"/>
                <a:gd name="connsiteY73" fmla="*/ 3806 h 10000"/>
                <a:gd name="connsiteX74" fmla="*/ 6563 w 9988"/>
                <a:gd name="connsiteY74" fmla="*/ 3905 h 10000"/>
                <a:gd name="connsiteX75" fmla="*/ 6658 w 9988"/>
                <a:gd name="connsiteY75" fmla="*/ 4012 h 10000"/>
                <a:gd name="connsiteX76" fmla="*/ 6739 w 9988"/>
                <a:gd name="connsiteY76" fmla="*/ 4129 h 10000"/>
                <a:gd name="connsiteX77" fmla="*/ 6812 w 9988"/>
                <a:gd name="connsiteY77" fmla="*/ 4247 h 10000"/>
                <a:gd name="connsiteX78" fmla="*/ 6875 w 9988"/>
                <a:gd name="connsiteY78" fmla="*/ 4373 h 10000"/>
                <a:gd name="connsiteX79" fmla="*/ 6921 w 9988"/>
                <a:gd name="connsiteY79" fmla="*/ 4504 h 10000"/>
                <a:gd name="connsiteX80" fmla="*/ 6954 w 9988"/>
                <a:gd name="connsiteY80" fmla="*/ 4640 h 10000"/>
                <a:gd name="connsiteX81" fmla="*/ 6970 w 9988"/>
                <a:gd name="connsiteY81" fmla="*/ 4785 h 10000"/>
                <a:gd name="connsiteX82" fmla="*/ 7479 w 9988"/>
                <a:gd name="connsiteY82" fmla="*/ 3736 h 10000"/>
                <a:gd name="connsiteX83" fmla="*/ 8280 w 9988"/>
                <a:gd name="connsiteY83" fmla="*/ 4468 h 10000"/>
                <a:gd name="connsiteX84" fmla="*/ 9594 w 9988"/>
                <a:gd name="connsiteY84" fmla="*/ 2391 h 10000"/>
                <a:gd name="connsiteX85" fmla="*/ 9461 w 9988"/>
                <a:gd name="connsiteY85" fmla="*/ 2224 h 10000"/>
                <a:gd name="connsiteX86" fmla="*/ 9988 w 9988"/>
                <a:gd name="connsiteY86" fmla="*/ 1909 h 10000"/>
                <a:gd name="connsiteX87" fmla="*/ 9882 w 9988"/>
                <a:gd name="connsiteY87" fmla="*/ 2679 h 10000"/>
                <a:gd name="connsiteX88" fmla="*/ 9733 w 9988"/>
                <a:gd name="connsiteY88" fmla="*/ 2539 h 10000"/>
                <a:gd name="connsiteX89" fmla="*/ 8294 w 9988"/>
                <a:gd name="connsiteY89" fmla="*/ 4755 h 10000"/>
                <a:gd name="connsiteX90" fmla="*/ 7512 w 9988"/>
                <a:gd name="connsiteY90" fmla="*/ 4060 h 10000"/>
                <a:gd name="connsiteX91" fmla="*/ 6825 w 9988"/>
                <a:gd name="connsiteY91" fmla="*/ 5618 h 10000"/>
                <a:gd name="connsiteX92" fmla="*/ 6825 w 9988"/>
                <a:gd name="connsiteY92" fmla="*/ 5602 h 10000"/>
                <a:gd name="connsiteX93" fmla="*/ 6825 w 9988"/>
                <a:gd name="connsiteY93" fmla="*/ 5567 h 10000"/>
                <a:gd name="connsiteX94" fmla="*/ 6825 w 9988"/>
                <a:gd name="connsiteY94" fmla="*/ 5502 h 10000"/>
                <a:gd name="connsiteX95" fmla="*/ 6821 w 9988"/>
                <a:gd name="connsiteY95" fmla="*/ 5426 h 10000"/>
                <a:gd name="connsiteX96" fmla="*/ 6818 w 9988"/>
                <a:gd name="connsiteY96" fmla="*/ 5331 h 10000"/>
                <a:gd name="connsiteX97" fmla="*/ 6815 w 9988"/>
                <a:gd name="connsiteY97" fmla="*/ 5226 h 10000"/>
                <a:gd name="connsiteX98" fmla="*/ 6806 w 9988"/>
                <a:gd name="connsiteY98" fmla="*/ 5116 h 10000"/>
                <a:gd name="connsiteX99" fmla="*/ 6798 w 9988"/>
                <a:gd name="connsiteY99" fmla="*/ 4998 h 10000"/>
                <a:gd name="connsiteX100" fmla="*/ 6785 w 9988"/>
                <a:gd name="connsiteY100" fmla="*/ 4884 h 10000"/>
                <a:gd name="connsiteX101" fmla="*/ 6766 w 9988"/>
                <a:gd name="connsiteY101" fmla="*/ 4767 h 10000"/>
                <a:gd name="connsiteX102" fmla="*/ 6749 w 9988"/>
                <a:gd name="connsiteY102" fmla="*/ 4659 h 10000"/>
                <a:gd name="connsiteX103" fmla="*/ 6722 w 9988"/>
                <a:gd name="connsiteY103" fmla="*/ 4563 h 10000"/>
                <a:gd name="connsiteX104" fmla="*/ 6692 w 9988"/>
                <a:gd name="connsiteY104" fmla="*/ 4479 h 10000"/>
                <a:gd name="connsiteX105" fmla="*/ 6655 w 9988"/>
                <a:gd name="connsiteY105" fmla="*/ 4413 h 10000"/>
                <a:gd name="connsiteX106" fmla="*/ 6652 w 9988"/>
                <a:gd name="connsiteY106" fmla="*/ 4404 h 10000"/>
                <a:gd name="connsiteX107" fmla="*/ 6636 w 9988"/>
                <a:gd name="connsiteY107" fmla="*/ 4380 h 10000"/>
                <a:gd name="connsiteX108" fmla="*/ 6612 w 9988"/>
                <a:gd name="connsiteY108" fmla="*/ 4340 h 10000"/>
                <a:gd name="connsiteX109" fmla="*/ 6579 w 9988"/>
                <a:gd name="connsiteY109" fmla="*/ 4287 h 10000"/>
                <a:gd name="connsiteX110" fmla="*/ 6530 w 9988"/>
                <a:gd name="connsiteY110" fmla="*/ 4225 h 10000"/>
                <a:gd name="connsiteX111" fmla="*/ 6473 w 9988"/>
                <a:gd name="connsiteY111" fmla="*/ 4152 h 10000"/>
                <a:gd name="connsiteX112" fmla="*/ 6400 w 9988"/>
                <a:gd name="connsiteY112" fmla="*/ 4073 h 10000"/>
                <a:gd name="connsiteX113" fmla="*/ 6312 w 9988"/>
                <a:gd name="connsiteY113" fmla="*/ 3985 h 10000"/>
                <a:gd name="connsiteX114" fmla="*/ 6209 w 9988"/>
                <a:gd name="connsiteY114" fmla="*/ 3897 h 10000"/>
                <a:gd name="connsiteX115" fmla="*/ 6092 w 9988"/>
                <a:gd name="connsiteY115" fmla="*/ 3802 h 10000"/>
                <a:gd name="connsiteX116" fmla="*/ 5957 w 9988"/>
                <a:gd name="connsiteY116" fmla="*/ 3709 h 10000"/>
                <a:gd name="connsiteX117" fmla="*/ 5803 w 9988"/>
                <a:gd name="connsiteY117" fmla="*/ 3614 h 10000"/>
                <a:gd name="connsiteX118" fmla="*/ 5794 w 9988"/>
                <a:gd name="connsiteY118" fmla="*/ 3614 h 10000"/>
                <a:gd name="connsiteX119" fmla="*/ 5770 w 9988"/>
                <a:gd name="connsiteY119" fmla="*/ 3602 h 10000"/>
                <a:gd name="connsiteX120" fmla="*/ 5731 w 9988"/>
                <a:gd name="connsiteY120" fmla="*/ 3587 h 10000"/>
                <a:gd name="connsiteX121" fmla="*/ 5678 w 9988"/>
                <a:gd name="connsiteY121" fmla="*/ 3566 h 10000"/>
                <a:gd name="connsiteX122" fmla="*/ 5615 w 9988"/>
                <a:gd name="connsiteY122" fmla="*/ 3542 h 10000"/>
                <a:gd name="connsiteX123" fmla="*/ 5542 w 9988"/>
                <a:gd name="connsiteY123" fmla="*/ 3509 h 10000"/>
                <a:gd name="connsiteX124" fmla="*/ 5461 w 9988"/>
                <a:gd name="connsiteY124" fmla="*/ 3478 h 10000"/>
                <a:gd name="connsiteX125" fmla="*/ 5376 w 9988"/>
                <a:gd name="connsiteY125" fmla="*/ 3438 h 10000"/>
                <a:gd name="connsiteX126" fmla="*/ 5282 w 9988"/>
                <a:gd name="connsiteY126" fmla="*/ 3399 h 10000"/>
                <a:gd name="connsiteX127" fmla="*/ 5187 w 9988"/>
                <a:gd name="connsiteY127" fmla="*/ 3355 h 10000"/>
                <a:gd name="connsiteX128" fmla="*/ 5094 w 9988"/>
                <a:gd name="connsiteY128" fmla="*/ 3306 h 10000"/>
                <a:gd name="connsiteX129" fmla="*/ 4997 w 9988"/>
                <a:gd name="connsiteY129" fmla="*/ 3259 h 10000"/>
                <a:gd name="connsiteX130" fmla="*/ 4903 w 9988"/>
                <a:gd name="connsiteY130" fmla="*/ 3207 h 10000"/>
                <a:gd name="connsiteX131" fmla="*/ 4815 w 9988"/>
                <a:gd name="connsiteY131" fmla="*/ 3154 h 10000"/>
                <a:gd name="connsiteX132" fmla="*/ 4730 w 9988"/>
                <a:gd name="connsiteY132" fmla="*/ 3103 h 10000"/>
                <a:gd name="connsiteX133" fmla="*/ 4652 w 9988"/>
                <a:gd name="connsiteY133" fmla="*/ 3050 h 10000"/>
                <a:gd name="connsiteX134" fmla="*/ 4584 w 9988"/>
                <a:gd name="connsiteY134" fmla="*/ 2998 h 10000"/>
                <a:gd name="connsiteX135" fmla="*/ 4524 w 9988"/>
                <a:gd name="connsiteY135" fmla="*/ 2946 h 10000"/>
                <a:gd name="connsiteX136" fmla="*/ 4478 w 9988"/>
                <a:gd name="connsiteY136" fmla="*/ 2896 h 10000"/>
                <a:gd name="connsiteX137" fmla="*/ 4445 w 9988"/>
                <a:gd name="connsiteY137" fmla="*/ 2848 h 10000"/>
                <a:gd name="connsiteX138" fmla="*/ 4445 w 9988"/>
                <a:gd name="connsiteY138" fmla="*/ 2844 h 10000"/>
                <a:gd name="connsiteX139" fmla="*/ 4437 w 9988"/>
                <a:gd name="connsiteY139" fmla="*/ 2828 h 10000"/>
                <a:gd name="connsiteX140" fmla="*/ 4428 w 9988"/>
                <a:gd name="connsiteY140" fmla="*/ 2806 h 10000"/>
                <a:gd name="connsiteX141" fmla="*/ 4415 w 9988"/>
                <a:gd name="connsiteY141" fmla="*/ 2778 h 10000"/>
                <a:gd name="connsiteX142" fmla="*/ 4401 w 9988"/>
                <a:gd name="connsiteY142" fmla="*/ 2743 h 10000"/>
                <a:gd name="connsiteX143" fmla="*/ 4388 w 9988"/>
                <a:gd name="connsiteY143" fmla="*/ 2704 h 10000"/>
                <a:gd name="connsiteX144" fmla="*/ 4372 w 9988"/>
                <a:gd name="connsiteY144" fmla="*/ 2660 h 10000"/>
                <a:gd name="connsiteX145" fmla="*/ 4361 w 9988"/>
                <a:gd name="connsiteY145" fmla="*/ 2609 h 10000"/>
                <a:gd name="connsiteX146" fmla="*/ 4348 w 9988"/>
                <a:gd name="connsiteY146" fmla="*/ 2555 h 10000"/>
                <a:gd name="connsiteX147" fmla="*/ 4339 w 9988"/>
                <a:gd name="connsiteY147" fmla="*/ 2499 h 10000"/>
                <a:gd name="connsiteX148" fmla="*/ 4337 w 9988"/>
                <a:gd name="connsiteY148" fmla="*/ 2439 h 10000"/>
                <a:gd name="connsiteX149" fmla="*/ 4337 w 9988"/>
                <a:gd name="connsiteY149" fmla="*/ 2380 h 10000"/>
                <a:gd name="connsiteX150" fmla="*/ 4339 w 9988"/>
                <a:gd name="connsiteY150" fmla="*/ 2319 h 10000"/>
                <a:gd name="connsiteX151" fmla="*/ 4352 w 9988"/>
                <a:gd name="connsiteY151" fmla="*/ 2260 h 10000"/>
                <a:gd name="connsiteX152" fmla="*/ 4372 w 9988"/>
                <a:gd name="connsiteY152" fmla="*/ 2201 h 10000"/>
                <a:gd name="connsiteX153" fmla="*/ 4401 w 9988"/>
                <a:gd name="connsiteY153" fmla="*/ 2141 h 10000"/>
                <a:gd name="connsiteX154" fmla="*/ 4437 w 9988"/>
                <a:gd name="connsiteY154" fmla="*/ 2085 h 10000"/>
                <a:gd name="connsiteX155" fmla="*/ 4481 w 9988"/>
                <a:gd name="connsiteY155" fmla="*/ 2032 h 10000"/>
                <a:gd name="connsiteX156" fmla="*/ 4540 w 9988"/>
                <a:gd name="connsiteY156" fmla="*/ 1980 h 10000"/>
                <a:gd name="connsiteX157" fmla="*/ 4606 w 9988"/>
                <a:gd name="connsiteY157" fmla="*/ 1936 h 10000"/>
                <a:gd name="connsiteX158" fmla="*/ 4689 w 9988"/>
                <a:gd name="connsiteY158" fmla="*/ 1897 h 10000"/>
                <a:gd name="connsiteX159" fmla="*/ 4785 w 9988"/>
                <a:gd name="connsiteY159" fmla="*/ 1862 h 10000"/>
                <a:gd name="connsiteX160" fmla="*/ 4891 w 9988"/>
                <a:gd name="connsiteY160" fmla="*/ 1832 h 10000"/>
                <a:gd name="connsiteX161" fmla="*/ 5015 w 9988"/>
                <a:gd name="connsiteY161" fmla="*/ 1812 h 10000"/>
                <a:gd name="connsiteX162" fmla="*/ 5157 w 9988"/>
                <a:gd name="connsiteY162" fmla="*/ 1800 h 10000"/>
                <a:gd name="connsiteX163" fmla="*/ 5167 w 9988"/>
                <a:gd name="connsiteY163" fmla="*/ 1800 h 10000"/>
                <a:gd name="connsiteX164" fmla="*/ 5197 w 9988"/>
                <a:gd name="connsiteY164" fmla="*/ 1800 h 10000"/>
                <a:gd name="connsiteX165" fmla="*/ 5243 w 9988"/>
                <a:gd name="connsiteY165" fmla="*/ 1804 h 10000"/>
                <a:gd name="connsiteX166" fmla="*/ 5300 w 9988"/>
                <a:gd name="connsiteY166" fmla="*/ 1808 h 10000"/>
                <a:gd name="connsiteX167" fmla="*/ 5373 w 9988"/>
                <a:gd name="connsiteY167" fmla="*/ 1816 h 10000"/>
                <a:gd name="connsiteX168" fmla="*/ 5455 w 9988"/>
                <a:gd name="connsiteY168" fmla="*/ 1825 h 10000"/>
                <a:gd name="connsiteX169" fmla="*/ 5545 w 9988"/>
                <a:gd name="connsiteY169" fmla="*/ 1836 h 10000"/>
                <a:gd name="connsiteX170" fmla="*/ 5639 w 9988"/>
                <a:gd name="connsiteY170" fmla="*/ 1853 h 10000"/>
                <a:gd name="connsiteX171" fmla="*/ 5737 w 9988"/>
                <a:gd name="connsiteY171" fmla="*/ 1870 h 10000"/>
                <a:gd name="connsiteX172" fmla="*/ 5837 w 9988"/>
                <a:gd name="connsiteY172" fmla="*/ 1889 h 10000"/>
                <a:gd name="connsiteX173" fmla="*/ 5933 w 9988"/>
                <a:gd name="connsiteY173" fmla="*/ 1918 h 10000"/>
                <a:gd name="connsiteX174" fmla="*/ 6027 w 9988"/>
                <a:gd name="connsiteY174" fmla="*/ 1944 h 10000"/>
                <a:gd name="connsiteX175" fmla="*/ 6112 w 9988"/>
                <a:gd name="connsiteY175" fmla="*/ 1975 h 10000"/>
                <a:gd name="connsiteX176" fmla="*/ 6194 w 9988"/>
                <a:gd name="connsiteY176" fmla="*/ 2017 h 10000"/>
                <a:gd name="connsiteX177" fmla="*/ 6261 w 9988"/>
                <a:gd name="connsiteY177" fmla="*/ 2057 h 10000"/>
                <a:gd name="connsiteX178" fmla="*/ 6318 w 9988"/>
                <a:gd name="connsiteY178" fmla="*/ 2106 h 10000"/>
                <a:gd name="connsiteX179" fmla="*/ 6516 w 9988"/>
                <a:gd name="connsiteY179" fmla="*/ 1214 h 10000"/>
                <a:gd name="connsiteX180" fmla="*/ 6506 w 9988"/>
                <a:gd name="connsiteY180" fmla="*/ 1214 h 10000"/>
                <a:gd name="connsiteX181" fmla="*/ 6483 w 9988"/>
                <a:gd name="connsiteY181" fmla="*/ 1206 h 10000"/>
                <a:gd name="connsiteX182" fmla="*/ 6446 w 9988"/>
                <a:gd name="connsiteY182" fmla="*/ 1189 h 10000"/>
                <a:gd name="connsiteX183" fmla="*/ 6394 w 9988"/>
                <a:gd name="connsiteY183" fmla="*/ 1175 h 10000"/>
                <a:gd name="connsiteX184" fmla="*/ 6334 w 9988"/>
                <a:gd name="connsiteY184" fmla="*/ 1154 h 10000"/>
                <a:gd name="connsiteX185" fmla="*/ 6264 w 9988"/>
                <a:gd name="connsiteY185" fmla="*/ 1131 h 10000"/>
                <a:gd name="connsiteX186" fmla="*/ 6185 w 9988"/>
                <a:gd name="connsiteY186" fmla="*/ 1106 h 10000"/>
                <a:gd name="connsiteX187" fmla="*/ 6103 w 9988"/>
                <a:gd name="connsiteY187" fmla="*/ 1083 h 10000"/>
                <a:gd name="connsiteX188" fmla="*/ 6012 w 9988"/>
                <a:gd name="connsiteY188" fmla="*/ 1053 h 10000"/>
                <a:gd name="connsiteX189" fmla="*/ 5921 w 9988"/>
                <a:gd name="connsiteY189" fmla="*/ 1030 h 10000"/>
                <a:gd name="connsiteX190" fmla="*/ 5827 w 9988"/>
                <a:gd name="connsiteY190" fmla="*/ 1005 h 10000"/>
                <a:gd name="connsiteX191" fmla="*/ 5734 w 9988"/>
                <a:gd name="connsiteY191" fmla="*/ 983 h 10000"/>
                <a:gd name="connsiteX192" fmla="*/ 5639 w 9988"/>
                <a:gd name="connsiteY192" fmla="*/ 966 h 10000"/>
                <a:gd name="connsiteX193" fmla="*/ 5548 w 9988"/>
                <a:gd name="connsiteY193" fmla="*/ 952 h 10000"/>
                <a:gd name="connsiteX194" fmla="*/ 5463 w 9988"/>
                <a:gd name="connsiteY194" fmla="*/ 939 h 10000"/>
                <a:gd name="connsiteX195" fmla="*/ 5385 w 9988"/>
                <a:gd name="connsiteY195" fmla="*/ 931 h 10000"/>
                <a:gd name="connsiteX196" fmla="*/ 5313 w 9988"/>
                <a:gd name="connsiteY196" fmla="*/ 927 h 10000"/>
                <a:gd name="connsiteX197" fmla="*/ 5297 w 9988"/>
                <a:gd name="connsiteY197" fmla="*/ 252 h 10000"/>
                <a:gd name="connsiteX198" fmla="*/ 4652 w 9988"/>
                <a:gd name="connsiteY198" fmla="*/ 258 h 10000"/>
                <a:gd name="connsiteX199" fmla="*/ 4652 w 9988"/>
                <a:gd name="connsiteY199" fmla="*/ 983 h 10000"/>
                <a:gd name="connsiteX200" fmla="*/ 4643 w 9988"/>
                <a:gd name="connsiteY200" fmla="*/ 987 h 10000"/>
                <a:gd name="connsiteX201" fmla="*/ 4621 w 9988"/>
                <a:gd name="connsiteY201" fmla="*/ 991 h 10000"/>
                <a:gd name="connsiteX202" fmla="*/ 4584 w 9988"/>
                <a:gd name="connsiteY202" fmla="*/ 999 h 10000"/>
                <a:gd name="connsiteX203" fmla="*/ 4540 w 9988"/>
                <a:gd name="connsiteY203" fmla="*/ 1005 h 10000"/>
                <a:gd name="connsiteX204" fmla="*/ 4481 w 9988"/>
                <a:gd name="connsiteY204" fmla="*/ 1022 h 10000"/>
                <a:gd name="connsiteX205" fmla="*/ 4418 w 9988"/>
                <a:gd name="connsiteY205" fmla="*/ 1042 h 10000"/>
                <a:gd name="connsiteX206" fmla="*/ 4342 w 9988"/>
                <a:gd name="connsiteY206" fmla="*/ 1070 h 10000"/>
                <a:gd name="connsiteX207" fmla="*/ 4264 w 9988"/>
                <a:gd name="connsiteY207" fmla="*/ 1101 h 10000"/>
                <a:gd name="connsiteX208" fmla="*/ 4179 w 9988"/>
                <a:gd name="connsiteY208" fmla="*/ 1142 h 10000"/>
                <a:gd name="connsiteX209" fmla="*/ 4090 w 9988"/>
                <a:gd name="connsiteY209" fmla="*/ 1185 h 10000"/>
                <a:gd name="connsiteX210" fmla="*/ 4000 w 9988"/>
                <a:gd name="connsiteY210" fmla="*/ 1241 h 10000"/>
                <a:gd name="connsiteX211" fmla="*/ 3910 w 9988"/>
                <a:gd name="connsiteY211" fmla="*/ 1302 h 10000"/>
                <a:gd name="connsiteX212" fmla="*/ 3815 w 9988"/>
                <a:gd name="connsiteY212" fmla="*/ 1373 h 10000"/>
                <a:gd name="connsiteX213" fmla="*/ 3728 w 9988"/>
                <a:gd name="connsiteY213" fmla="*/ 1455 h 10000"/>
                <a:gd name="connsiteX214" fmla="*/ 3639 w 9988"/>
                <a:gd name="connsiteY214" fmla="*/ 1541 h 10000"/>
                <a:gd name="connsiteX215" fmla="*/ 3558 w 9988"/>
                <a:gd name="connsiteY215" fmla="*/ 1647 h 10000"/>
                <a:gd name="connsiteX216" fmla="*/ 3479 w 9988"/>
                <a:gd name="connsiteY216" fmla="*/ 1752 h 10000"/>
                <a:gd name="connsiteX217" fmla="*/ 3409 w 9988"/>
                <a:gd name="connsiteY217" fmla="*/ 1878 h 10000"/>
                <a:gd name="connsiteX218" fmla="*/ 3346 w 9988"/>
                <a:gd name="connsiteY218" fmla="*/ 2013 h 10000"/>
                <a:gd name="connsiteX219" fmla="*/ 3294 w 9988"/>
                <a:gd name="connsiteY219" fmla="*/ 2157 h 10000"/>
                <a:gd name="connsiteX220" fmla="*/ 3251 w 9988"/>
                <a:gd name="connsiteY220" fmla="*/ 2319 h 10000"/>
                <a:gd name="connsiteX221" fmla="*/ 3248 w 9988"/>
                <a:gd name="connsiteY221" fmla="*/ 2324 h 10000"/>
                <a:gd name="connsiteX222" fmla="*/ 3245 w 9988"/>
                <a:gd name="connsiteY222" fmla="*/ 2347 h 10000"/>
                <a:gd name="connsiteX223" fmla="*/ 3240 w 9988"/>
                <a:gd name="connsiteY223" fmla="*/ 2385 h 10000"/>
                <a:gd name="connsiteX224" fmla="*/ 3234 w 9988"/>
                <a:gd name="connsiteY224" fmla="*/ 2433 h 10000"/>
                <a:gd name="connsiteX225" fmla="*/ 3227 w 9988"/>
                <a:gd name="connsiteY225" fmla="*/ 2487 h 10000"/>
                <a:gd name="connsiteX226" fmla="*/ 3224 w 9988"/>
                <a:gd name="connsiteY226" fmla="*/ 2559 h 10000"/>
                <a:gd name="connsiteX227" fmla="*/ 3224 w 9988"/>
                <a:gd name="connsiteY227" fmla="*/ 2636 h 10000"/>
                <a:gd name="connsiteX228" fmla="*/ 3224 w 9988"/>
                <a:gd name="connsiteY228" fmla="*/ 2718 h 10000"/>
                <a:gd name="connsiteX229" fmla="*/ 3231 w 9988"/>
                <a:gd name="connsiteY229" fmla="*/ 2810 h 10000"/>
                <a:gd name="connsiteX230" fmla="*/ 3243 w 9988"/>
                <a:gd name="connsiteY230" fmla="*/ 2906 h 10000"/>
                <a:gd name="connsiteX231" fmla="*/ 3261 w 9988"/>
                <a:gd name="connsiteY231" fmla="*/ 3007 h 10000"/>
                <a:gd name="connsiteX232" fmla="*/ 3284 w 9988"/>
                <a:gd name="connsiteY232" fmla="*/ 3111 h 10000"/>
                <a:gd name="connsiteX233" fmla="*/ 3321 w 9988"/>
                <a:gd name="connsiteY233" fmla="*/ 3219 h 10000"/>
                <a:gd name="connsiteX234" fmla="*/ 3364 w 9988"/>
                <a:gd name="connsiteY234" fmla="*/ 3322 h 10000"/>
                <a:gd name="connsiteX235" fmla="*/ 3419 w 9988"/>
                <a:gd name="connsiteY235" fmla="*/ 3430 h 10000"/>
                <a:gd name="connsiteX236" fmla="*/ 3482 w 9988"/>
                <a:gd name="connsiteY236" fmla="*/ 3533 h 10000"/>
                <a:gd name="connsiteX237" fmla="*/ 3558 w 9988"/>
                <a:gd name="connsiteY237" fmla="*/ 3635 h 10000"/>
                <a:gd name="connsiteX238" fmla="*/ 3649 w 9988"/>
                <a:gd name="connsiteY238" fmla="*/ 3730 h 10000"/>
                <a:gd name="connsiteX239" fmla="*/ 3755 w 9988"/>
                <a:gd name="connsiteY239" fmla="*/ 3823 h 10000"/>
                <a:gd name="connsiteX240" fmla="*/ 3873 w 9988"/>
                <a:gd name="connsiteY240" fmla="*/ 3910 h 10000"/>
                <a:gd name="connsiteX241" fmla="*/ 4010 w 9988"/>
                <a:gd name="connsiteY241" fmla="*/ 3985 h 10000"/>
                <a:gd name="connsiteX242" fmla="*/ 4019 w 9988"/>
                <a:gd name="connsiteY242" fmla="*/ 3989 h 10000"/>
                <a:gd name="connsiteX243" fmla="*/ 4043 w 9988"/>
                <a:gd name="connsiteY243" fmla="*/ 4006 h 10000"/>
                <a:gd name="connsiteX244" fmla="*/ 4076 w 9988"/>
                <a:gd name="connsiteY244" fmla="*/ 4020 h 10000"/>
                <a:gd name="connsiteX245" fmla="*/ 4122 w 9988"/>
                <a:gd name="connsiteY245" fmla="*/ 4050 h 10000"/>
                <a:gd name="connsiteX246" fmla="*/ 4173 w 9988"/>
                <a:gd name="connsiteY246" fmla="*/ 4077 h 10000"/>
                <a:gd name="connsiteX247" fmla="*/ 4231 w 9988"/>
                <a:gd name="connsiteY247" fmla="*/ 4108 h 10000"/>
                <a:gd name="connsiteX248" fmla="*/ 4288 w 9988"/>
                <a:gd name="connsiteY248" fmla="*/ 4142 h 10000"/>
                <a:gd name="connsiteX249" fmla="*/ 4348 w 9988"/>
                <a:gd name="connsiteY249" fmla="*/ 4173 h 10000"/>
                <a:gd name="connsiteX250" fmla="*/ 4404 w 9988"/>
                <a:gd name="connsiteY250" fmla="*/ 4204 h 10000"/>
                <a:gd name="connsiteX251" fmla="*/ 4454 w 9988"/>
                <a:gd name="connsiteY251" fmla="*/ 4233 h 10000"/>
                <a:gd name="connsiteX252" fmla="*/ 4500 w 9988"/>
                <a:gd name="connsiteY252" fmla="*/ 4256 h 10000"/>
                <a:gd name="connsiteX253" fmla="*/ 4537 w 9988"/>
                <a:gd name="connsiteY253" fmla="*/ 4272 h 10000"/>
                <a:gd name="connsiteX254" fmla="*/ 4557 w 9988"/>
                <a:gd name="connsiteY254" fmla="*/ 4285 h 10000"/>
                <a:gd name="connsiteX255" fmla="*/ 4567 w 9988"/>
                <a:gd name="connsiteY255" fmla="*/ 4285 h 10000"/>
                <a:gd name="connsiteX256" fmla="*/ 4591 w 9988"/>
                <a:gd name="connsiteY256" fmla="*/ 4292 h 10000"/>
                <a:gd name="connsiteX257" fmla="*/ 4630 w 9988"/>
                <a:gd name="connsiteY257" fmla="*/ 4308 h 10000"/>
                <a:gd name="connsiteX258" fmla="*/ 4679 w 9988"/>
                <a:gd name="connsiteY258" fmla="*/ 4325 h 10000"/>
                <a:gd name="connsiteX259" fmla="*/ 4739 w 9988"/>
                <a:gd name="connsiteY259" fmla="*/ 4349 h 10000"/>
                <a:gd name="connsiteX260" fmla="*/ 4809 w 9988"/>
                <a:gd name="connsiteY260" fmla="*/ 4378 h 10000"/>
                <a:gd name="connsiteX261" fmla="*/ 4885 w 9988"/>
                <a:gd name="connsiteY261" fmla="*/ 4409 h 10000"/>
                <a:gd name="connsiteX262" fmla="*/ 4964 w 9988"/>
                <a:gd name="connsiteY262" fmla="*/ 4444 h 10000"/>
                <a:gd name="connsiteX263" fmla="*/ 5045 w 9988"/>
                <a:gd name="connsiteY263" fmla="*/ 4487 h 10000"/>
                <a:gd name="connsiteX264" fmla="*/ 5130 w 9988"/>
                <a:gd name="connsiteY264" fmla="*/ 4531 h 10000"/>
                <a:gd name="connsiteX265" fmla="*/ 5213 w 9988"/>
                <a:gd name="connsiteY265" fmla="*/ 4584 h 10000"/>
                <a:gd name="connsiteX266" fmla="*/ 5290 w 9988"/>
                <a:gd name="connsiteY266" fmla="*/ 4640 h 10000"/>
                <a:gd name="connsiteX267" fmla="*/ 5366 w 9988"/>
                <a:gd name="connsiteY267" fmla="*/ 4696 h 10000"/>
                <a:gd name="connsiteX268" fmla="*/ 5433 w 9988"/>
                <a:gd name="connsiteY268" fmla="*/ 4759 h 10000"/>
                <a:gd name="connsiteX269" fmla="*/ 5495 w 9988"/>
                <a:gd name="connsiteY269" fmla="*/ 4824 h 10000"/>
                <a:gd name="connsiteX270" fmla="*/ 5542 w 9988"/>
                <a:gd name="connsiteY270" fmla="*/ 4894 h 10000"/>
                <a:gd name="connsiteX271" fmla="*/ 5545 w 9988"/>
                <a:gd name="connsiteY271" fmla="*/ 4898 h 10000"/>
                <a:gd name="connsiteX272" fmla="*/ 5555 w 9988"/>
                <a:gd name="connsiteY272" fmla="*/ 4916 h 10000"/>
                <a:gd name="connsiteX273" fmla="*/ 5564 w 9988"/>
                <a:gd name="connsiteY273" fmla="*/ 4939 h 10000"/>
                <a:gd name="connsiteX274" fmla="*/ 5579 w 9988"/>
                <a:gd name="connsiteY274" fmla="*/ 4976 h 10000"/>
                <a:gd name="connsiteX275" fmla="*/ 5594 w 9988"/>
                <a:gd name="connsiteY275" fmla="*/ 5015 h 10000"/>
                <a:gd name="connsiteX276" fmla="*/ 5609 w 9988"/>
                <a:gd name="connsiteY276" fmla="*/ 5064 h 10000"/>
                <a:gd name="connsiteX277" fmla="*/ 5624 w 9988"/>
                <a:gd name="connsiteY277" fmla="*/ 5118 h 10000"/>
                <a:gd name="connsiteX278" fmla="*/ 5637 w 9988"/>
                <a:gd name="connsiteY278" fmla="*/ 5178 h 10000"/>
                <a:gd name="connsiteX279" fmla="*/ 5645 w 9988"/>
                <a:gd name="connsiteY279" fmla="*/ 5238 h 10000"/>
                <a:gd name="connsiteX280" fmla="*/ 5651 w 9988"/>
                <a:gd name="connsiteY280" fmla="*/ 5306 h 10000"/>
                <a:gd name="connsiteX281" fmla="*/ 5655 w 9988"/>
                <a:gd name="connsiteY281" fmla="*/ 5375 h 10000"/>
                <a:gd name="connsiteX282" fmla="*/ 5648 w 9988"/>
                <a:gd name="connsiteY282" fmla="*/ 5445 h 10000"/>
                <a:gd name="connsiteX283" fmla="*/ 5637 w 9988"/>
                <a:gd name="connsiteY283" fmla="*/ 5514 h 10000"/>
                <a:gd name="connsiteX284" fmla="*/ 5615 w 9988"/>
                <a:gd name="connsiteY284" fmla="*/ 5585 h 10000"/>
                <a:gd name="connsiteX285" fmla="*/ 5585 w 9988"/>
                <a:gd name="connsiteY285" fmla="*/ 5653 h 10000"/>
                <a:gd name="connsiteX286" fmla="*/ 5545 w 9988"/>
                <a:gd name="connsiteY286" fmla="*/ 5719 h 10000"/>
                <a:gd name="connsiteX287" fmla="*/ 5491 w 9988"/>
                <a:gd name="connsiteY287" fmla="*/ 5782 h 10000"/>
                <a:gd name="connsiteX288" fmla="*/ 5428 w 9988"/>
                <a:gd name="connsiteY288" fmla="*/ 5842 h 10000"/>
                <a:gd name="connsiteX289" fmla="*/ 5346 w 9988"/>
                <a:gd name="connsiteY289" fmla="*/ 5898 h 10000"/>
                <a:gd name="connsiteX290" fmla="*/ 5252 w 9988"/>
                <a:gd name="connsiteY290" fmla="*/ 5946 h 10000"/>
                <a:gd name="connsiteX291" fmla="*/ 5143 w 9988"/>
                <a:gd name="connsiteY291" fmla="*/ 5989 h 10000"/>
                <a:gd name="connsiteX292" fmla="*/ 5134 w 9988"/>
                <a:gd name="connsiteY292" fmla="*/ 5989 h 10000"/>
                <a:gd name="connsiteX293" fmla="*/ 5107 w 9988"/>
                <a:gd name="connsiteY293" fmla="*/ 5998 h 10000"/>
                <a:gd name="connsiteX294" fmla="*/ 5058 w 9988"/>
                <a:gd name="connsiteY294" fmla="*/ 6004 h 10000"/>
                <a:gd name="connsiteX295" fmla="*/ 4997 w 9988"/>
                <a:gd name="connsiteY295" fmla="*/ 6017 h 10000"/>
                <a:gd name="connsiteX296" fmla="*/ 4918 w 9988"/>
                <a:gd name="connsiteY296" fmla="*/ 6030 h 10000"/>
                <a:gd name="connsiteX297" fmla="*/ 4828 w 9988"/>
                <a:gd name="connsiteY297" fmla="*/ 6038 h 10000"/>
                <a:gd name="connsiteX298" fmla="*/ 4724 w 9988"/>
                <a:gd name="connsiteY298" fmla="*/ 6042 h 10000"/>
                <a:gd name="connsiteX299" fmla="*/ 4610 w 9988"/>
                <a:gd name="connsiteY299" fmla="*/ 6042 h 10000"/>
                <a:gd name="connsiteX300" fmla="*/ 4481 w 9988"/>
                <a:gd name="connsiteY300" fmla="*/ 6034 h 10000"/>
                <a:gd name="connsiteX301" fmla="*/ 4345 w 9988"/>
                <a:gd name="connsiteY301" fmla="*/ 6017 h 10000"/>
                <a:gd name="connsiteX302" fmla="*/ 4203 w 9988"/>
                <a:gd name="connsiteY302" fmla="*/ 5993 h 10000"/>
                <a:gd name="connsiteX303" fmla="*/ 4052 w 9988"/>
                <a:gd name="connsiteY303" fmla="*/ 5956 h 10000"/>
                <a:gd name="connsiteX304" fmla="*/ 3894 w 9988"/>
                <a:gd name="connsiteY304" fmla="*/ 5905 h 10000"/>
                <a:gd name="connsiteX305" fmla="*/ 3734 w 9988"/>
                <a:gd name="connsiteY305" fmla="*/ 5842 h 10000"/>
                <a:gd name="connsiteX306" fmla="*/ 3566 w 9988"/>
                <a:gd name="connsiteY306" fmla="*/ 5763 h 10000"/>
                <a:gd name="connsiteX307" fmla="*/ 3400 w 9988"/>
                <a:gd name="connsiteY307" fmla="*/ 5662 h 10000"/>
                <a:gd name="connsiteX308" fmla="*/ 3188 w 9988"/>
                <a:gd name="connsiteY308" fmla="*/ 6572 h 10000"/>
                <a:gd name="connsiteX309" fmla="*/ 3197 w 9988"/>
                <a:gd name="connsiteY309" fmla="*/ 6576 h 10000"/>
                <a:gd name="connsiteX310" fmla="*/ 3221 w 9988"/>
                <a:gd name="connsiteY310" fmla="*/ 6588 h 10000"/>
                <a:gd name="connsiteX311" fmla="*/ 3261 w 9988"/>
                <a:gd name="connsiteY311" fmla="*/ 6603 h 10000"/>
                <a:gd name="connsiteX312" fmla="*/ 3313 w 9988"/>
                <a:gd name="connsiteY312" fmla="*/ 6632 h 10000"/>
                <a:gd name="connsiteX313" fmla="*/ 3376 w 9988"/>
                <a:gd name="connsiteY313" fmla="*/ 6660 h 10000"/>
                <a:gd name="connsiteX314" fmla="*/ 3452 w 9988"/>
                <a:gd name="connsiteY314" fmla="*/ 6693 h 10000"/>
                <a:gd name="connsiteX315" fmla="*/ 3536 w 9988"/>
                <a:gd name="connsiteY315" fmla="*/ 6724 h 10000"/>
                <a:gd name="connsiteX316" fmla="*/ 3628 w 9988"/>
                <a:gd name="connsiteY316" fmla="*/ 6760 h 10000"/>
                <a:gd name="connsiteX317" fmla="*/ 3728 w 9988"/>
                <a:gd name="connsiteY317" fmla="*/ 6795 h 10000"/>
                <a:gd name="connsiteX318" fmla="*/ 3834 w 9988"/>
                <a:gd name="connsiteY318" fmla="*/ 6831 h 10000"/>
                <a:gd name="connsiteX319" fmla="*/ 3943 w 9988"/>
                <a:gd name="connsiteY319" fmla="*/ 6864 h 10000"/>
                <a:gd name="connsiteX320" fmla="*/ 4055 w 9988"/>
                <a:gd name="connsiteY320" fmla="*/ 6891 h 10000"/>
                <a:gd name="connsiteX321" fmla="*/ 4169 w 9988"/>
                <a:gd name="connsiteY321" fmla="*/ 6916 h 10000"/>
                <a:gd name="connsiteX322" fmla="*/ 4282 w 9988"/>
                <a:gd name="connsiteY322" fmla="*/ 6935 h 10000"/>
                <a:gd name="connsiteX323" fmla="*/ 4397 w 9988"/>
                <a:gd name="connsiteY323" fmla="*/ 6947 h 10000"/>
                <a:gd name="connsiteX324" fmla="*/ 4507 w 9988"/>
                <a:gd name="connsiteY324" fmla="*/ 6955 h 10000"/>
                <a:gd name="connsiteX325" fmla="*/ 4616 w 9988"/>
                <a:gd name="connsiteY325" fmla="*/ 6951 h 10000"/>
                <a:gd name="connsiteX326" fmla="*/ 4616 w 9988"/>
                <a:gd name="connsiteY326" fmla="*/ 7638 h 10000"/>
                <a:gd name="connsiteX327" fmla="*/ 4206 w 9988"/>
                <a:gd name="connsiteY327" fmla="*/ 8144 h 10000"/>
                <a:gd name="connsiteX328" fmla="*/ 3603 w 9988"/>
                <a:gd name="connsiteY328" fmla="*/ 7803 h 10000"/>
                <a:gd name="connsiteX329" fmla="*/ 2570 w 9988"/>
                <a:gd name="connsiteY329" fmla="*/ 9657 h 10000"/>
                <a:gd name="connsiteX330" fmla="*/ 1766 w 9988"/>
                <a:gd name="connsiteY330" fmla="*/ 8796 h 10000"/>
                <a:gd name="connsiteX331" fmla="*/ 1162 w 9988"/>
                <a:gd name="connsiteY331" fmla="*/ 9989 h 10000"/>
                <a:gd name="connsiteX332" fmla="*/ 4 w 9988"/>
                <a:gd name="connsiteY332" fmla="*/ 10000 h 10000"/>
                <a:gd name="connsiteX333" fmla="*/ 4 w 9988"/>
                <a:gd name="connsiteY333" fmla="*/ 9787 h 10000"/>
                <a:gd name="connsiteX334" fmla="*/ 1085 w 9988"/>
                <a:gd name="connsiteY334" fmla="*/ 9787 h 10000"/>
                <a:gd name="connsiteX335" fmla="*/ 1733 w 9988"/>
                <a:gd name="connsiteY335" fmla="*/ 8490 h 10000"/>
                <a:gd name="connsiteX336" fmla="*/ 2548 w 9988"/>
                <a:gd name="connsiteY336" fmla="*/ 9343 h 10000"/>
                <a:gd name="connsiteX337" fmla="*/ 3555 w 9988"/>
                <a:gd name="connsiteY337" fmla="*/ 7471 h 10000"/>
                <a:gd name="connsiteX338" fmla="*/ 4179 w 9988"/>
                <a:gd name="connsiteY338" fmla="*/ 7857 h 10000"/>
                <a:gd name="connsiteX339" fmla="*/ 4434 w 9988"/>
                <a:gd name="connsiteY339" fmla="*/ 7554 h 10000"/>
                <a:gd name="connsiteX340" fmla="*/ 4434 w 9988"/>
                <a:gd name="connsiteY340" fmla="*/ 7183 h 10000"/>
                <a:gd name="connsiteX341" fmla="*/ 4421 w 9988"/>
                <a:gd name="connsiteY341" fmla="*/ 7183 h 10000"/>
                <a:gd name="connsiteX342" fmla="*/ 4391 w 9988"/>
                <a:gd name="connsiteY342" fmla="*/ 7178 h 10000"/>
                <a:gd name="connsiteX343" fmla="*/ 4345 w 9988"/>
                <a:gd name="connsiteY343" fmla="*/ 7174 h 10000"/>
                <a:gd name="connsiteX344" fmla="*/ 4282 w 9988"/>
                <a:gd name="connsiteY344" fmla="*/ 7166 h 10000"/>
                <a:gd name="connsiteX345" fmla="*/ 4203 w 9988"/>
                <a:gd name="connsiteY345" fmla="*/ 7158 h 10000"/>
                <a:gd name="connsiteX346" fmla="*/ 4116 w 9988"/>
                <a:gd name="connsiteY346" fmla="*/ 7147 h 10000"/>
                <a:gd name="connsiteX347" fmla="*/ 4019 w 9988"/>
                <a:gd name="connsiteY347" fmla="*/ 7131 h 10000"/>
                <a:gd name="connsiteX348" fmla="*/ 3913 w 9988"/>
                <a:gd name="connsiteY348" fmla="*/ 7110 h 10000"/>
                <a:gd name="connsiteX349" fmla="*/ 3804 w 9988"/>
                <a:gd name="connsiteY349" fmla="*/ 7087 h 10000"/>
                <a:gd name="connsiteX350" fmla="*/ 3688 w 9988"/>
                <a:gd name="connsiteY350" fmla="*/ 7056 h 10000"/>
                <a:gd name="connsiteX351" fmla="*/ 3573 w 9988"/>
                <a:gd name="connsiteY351" fmla="*/ 7023 h 10000"/>
                <a:gd name="connsiteX352" fmla="*/ 3457 w 9988"/>
                <a:gd name="connsiteY352" fmla="*/ 6982 h 10000"/>
                <a:gd name="connsiteX353" fmla="*/ 3346 w 9988"/>
                <a:gd name="connsiteY353" fmla="*/ 6939 h 10000"/>
                <a:gd name="connsiteX354" fmla="*/ 3237 w 9988"/>
                <a:gd name="connsiteY354" fmla="*/ 6891 h 10000"/>
                <a:gd name="connsiteX355" fmla="*/ 3137 w 9988"/>
                <a:gd name="connsiteY355" fmla="*/ 6835 h 10000"/>
                <a:gd name="connsiteX356" fmla="*/ 3045 w 9988"/>
                <a:gd name="connsiteY356" fmla="*/ 6772 h 10000"/>
                <a:gd name="connsiteX357" fmla="*/ 2963 w 9988"/>
                <a:gd name="connsiteY357" fmla="*/ 6699 h 10000"/>
                <a:gd name="connsiteX358" fmla="*/ 3264 w 9988"/>
                <a:gd name="connsiteY358" fmla="*/ 5310 h 10000"/>
                <a:gd name="connsiteX359" fmla="*/ 3273 w 9988"/>
                <a:gd name="connsiteY359" fmla="*/ 5315 h 10000"/>
                <a:gd name="connsiteX360" fmla="*/ 3291 w 9988"/>
                <a:gd name="connsiteY360" fmla="*/ 5327 h 10000"/>
                <a:gd name="connsiteX361" fmla="*/ 3324 w 9988"/>
                <a:gd name="connsiteY361" fmla="*/ 5344 h 10000"/>
                <a:gd name="connsiteX362" fmla="*/ 3367 w 9988"/>
                <a:gd name="connsiteY362" fmla="*/ 5366 h 10000"/>
                <a:gd name="connsiteX363" fmla="*/ 3421 w 9988"/>
                <a:gd name="connsiteY363" fmla="*/ 5395 h 10000"/>
                <a:gd name="connsiteX364" fmla="*/ 3482 w 9988"/>
                <a:gd name="connsiteY364" fmla="*/ 5426 h 10000"/>
                <a:gd name="connsiteX365" fmla="*/ 3555 w 9988"/>
                <a:gd name="connsiteY365" fmla="*/ 5457 h 10000"/>
                <a:gd name="connsiteX366" fmla="*/ 3633 w 9988"/>
                <a:gd name="connsiteY366" fmla="*/ 5493 h 10000"/>
                <a:gd name="connsiteX367" fmla="*/ 3718 w 9988"/>
                <a:gd name="connsiteY367" fmla="*/ 5536 h 10000"/>
                <a:gd name="connsiteX368" fmla="*/ 3808 w 9988"/>
                <a:gd name="connsiteY368" fmla="*/ 5571 h 10000"/>
                <a:gd name="connsiteX369" fmla="*/ 3907 w 9988"/>
                <a:gd name="connsiteY369" fmla="*/ 5610 h 10000"/>
                <a:gd name="connsiteX370" fmla="*/ 4006 w 9988"/>
                <a:gd name="connsiteY370" fmla="*/ 5645 h 10000"/>
                <a:gd name="connsiteX371" fmla="*/ 4109 w 9988"/>
                <a:gd name="connsiteY371" fmla="*/ 5681 h 10000"/>
                <a:gd name="connsiteX372" fmla="*/ 4215 w 9988"/>
                <a:gd name="connsiteY372" fmla="*/ 5714 h 10000"/>
                <a:gd name="connsiteX373" fmla="*/ 4325 w 9988"/>
                <a:gd name="connsiteY373" fmla="*/ 5741 h 10000"/>
                <a:gd name="connsiteX374" fmla="*/ 4431 w 9988"/>
                <a:gd name="connsiteY374" fmla="*/ 5767 h 10000"/>
                <a:gd name="connsiteX375" fmla="*/ 4540 w 9988"/>
                <a:gd name="connsiteY375" fmla="*/ 5786 h 10000"/>
                <a:gd name="connsiteX376" fmla="*/ 4643 w 9988"/>
                <a:gd name="connsiteY376" fmla="*/ 5798 h 10000"/>
                <a:gd name="connsiteX377" fmla="*/ 4749 w 9988"/>
                <a:gd name="connsiteY377" fmla="*/ 5806 h 10000"/>
                <a:gd name="connsiteX378" fmla="*/ 4849 w 9988"/>
                <a:gd name="connsiteY378" fmla="*/ 5802 h 10000"/>
                <a:gd name="connsiteX379" fmla="*/ 4942 w 9988"/>
                <a:gd name="connsiteY379" fmla="*/ 5794 h 10000"/>
                <a:gd name="connsiteX380" fmla="*/ 5034 w 9988"/>
                <a:gd name="connsiteY380" fmla="*/ 5773 h 10000"/>
                <a:gd name="connsiteX381" fmla="*/ 5121 w 9988"/>
                <a:gd name="connsiteY381" fmla="*/ 5745 h 10000"/>
                <a:gd name="connsiteX382" fmla="*/ 5200 w 9988"/>
                <a:gd name="connsiteY382" fmla="*/ 5706 h 10000"/>
                <a:gd name="connsiteX383" fmla="*/ 5270 w 9988"/>
                <a:gd name="connsiteY383" fmla="*/ 5653 h 10000"/>
                <a:gd name="connsiteX384" fmla="*/ 5333 w 9988"/>
                <a:gd name="connsiteY384" fmla="*/ 5589 h 10000"/>
                <a:gd name="connsiteX385" fmla="*/ 5385 w 9988"/>
                <a:gd name="connsiteY385" fmla="*/ 5510 h 10000"/>
                <a:gd name="connsiteX386" fmla="*/ 5428 w 9988"/>
                <a:gd name="connsiteY386" fmla="*/ 5418 h 10000"/>
                <a:gd name="connsiteX387" fmla="*/ 5458 w 9988"/>
                <a:gd name="connsiteY387" fmla="*/ 5310 h 10000"/>
                <a:gd name="connsiteX388" fmla="*/ 5461 w 9988"/>
                <a:gd name="connsiteY388" fmla="*/ 5306 h 10000"/>
                <a:gd name="connsiteX389" fmla="*/ 5461 w 9988"/>
                <a:gd name="connsiteY389" fmla="*/ 5296 h 10000"/>
                <a:gd name="connsiteX390" fmla="*/ 5461 w 9988"/>
                <a:gd name="connsiteY390" fmla="*/ 5274 h 10000"/>
                <a:gd name="connsiteX391" fmla="*/ 5461 w 9988"/>
                <a:gd name="connsiteY391" fmla="*/ 5251 h 10000"/>
                <a:gd name="connsiteX392" fmla="*/ 5458 w 9988"/>
                <a:gd name="connsiteY392" fmla="*/ 5217 h 10000"/>
                <a:gd name="connsiteX393" fmla="*/ 5449 w 9988"/>
                <a:gd name="connsiteY393" fmla="*/ 5182 h 10000"/>
                <a:gd name="connsiteX394" fmla="*/ 5433 w 9988"/>
                <a:gd name="connsiteY394" fmla="*/ 5139 h 10000"/>
                <a:gd name="connsiteX395" fmla="*/ 5412 w 9988"/>
                <a:gd name="connsiteY395" fmla="*/ 5095 h 10000"/>
                <a:gd name="connsiteX396" fmla="*/ 5385 w 9988"/>
                <a:gd name="connsiteY396" fmla="*/ 5043 h 10000"/>
                <a:gd name="connsiteX397" fmla="*/ 5346 w 9988"/>
                <a:gd name="connsiteY397" fmla="*/ 4990 h 10000"/>
                <a:gd name="connsiteX398" fmla="*/ 5297 w 9988"/>
                <a:gd name="connsiteY398" fmla="*/ 4939 h 10000"/>
                <a:gd name="connsiteX399" fmla="*/ 5240 w 9988"/>
                <a:gd name="connsiteY399" fmla="*/ 4884 h 10000"/>
                <a:gd name="connsiteX400" fmla="*/ 5167 w 9988"/>
                <a:gd name="connsiteY400" fmla="*/ 4824 h 10000"/>
                <a:gd name="connsiteX401" fmla="*/ 5078 w 9988"/>
                <a:gd name="connsiteY401" fmla="*/ 4767 h 10000"/>
                <a:gd name="connsiteX402" fmla="*/ 4975 w 9988"/>
                <a:gd name="connsiteY402" fmla="*/ 4706 h 10000"/>
                <a:gd name="connsiteX403" fmla="*/ 4858 w 9988"/>
                <a:gd name="connsiteY403" fmla="*/ 4652 h 10000"/>
                <a:gd name="connsiteX404" fmla="*/ 4722 w 9988"/>
                <a:gd name="connsiteY404" fmla="*/ 4597 h 10000"/>
                <a:gd name="connsiteX405" fmla="*/ 4567 w 9988"/>
                <a:gd name="connsiteY405" fmla="*/ 4545 h 10000"/>
                <a:gd name="connsiteX406" fmla="*/ 4557 w 9988"/>
                <a:gd name="connsiteY406" fmla="*/ 4541 h 10000"/>
                <a:gd name="connsiteX407" fmla="*/ 4530 w 9988"/>
                <a:gd name="connsiteY407" fmla="*/ 4527 h 10000"/>
                <a:gd name="connsiteX408" fmla="*/ 4491 w 9988"/>
                <a:gd name="connsiteY408" fmla="*/ 4516 h 10000"/>
                <a:gd name="connsiteX409" fmla="*/ 4437 w 9988"/>
                <a:gd name="connsiteY409" fmla="*/ 4491 h 10000"/>
                <a:gd name="connsiteX410" fmla="*/ 4372 w 9988"/>
                <a:gd name="connsiteY410" fmla="*/ 4464 h 10000"/>
                <a:gd name="connsiteX411" fmla="*/ 4298 w 9988"/>
                <a:gd name="connsiteY411" fmla="*/ 4427 h 10000"/>
                <a:gd name="connsiteX412" fmla="*/ 4212 w 9988"/>
                <a:gd name="connsiteY412" fmla="*/ 4388 h 10000"/>
                <a:gd name="connsiteX413" fmla="*/ 4122 w 9988"/>
                <a:gd name="connsiteY413" fmla="*/ 4340 h 10000"/>
                <a:gd name="connsiteX414" fmla="*/ 4027 w 9988"/>
                <a:gd name="connsiteY414" fmla="*/ 4285 h 10000"/>
                <a:gd name="connsiteX415" fmla="*/ 3927 w 9988"/>
                <a:gd name="connsiteY415" fmla="*/ 4225 h 10000"/>
                <a:gd name="connsiteX416" fmla="*/ 3827 w 9988"/>
                <a:gd name="connsiteY416" fmla="*/ 4156 h 10000"/>
                <a:gd name="connsiteX417" fmla="*/ 3728 w 9988"/>
                <a:gd name="connsiteY417" fmla="*/ 4085 h 10000"/>
                <a:gd name="connsiteX418" fmla="*/ 3631 w 9988"/>
                <a:gd name="connsiteY418" fmla="*/ 4001 h 10000"/>
                <a:gd name="connsiteX419" fmla="*/ 3533 w 9988"/>
                <a:gd name="connsiteY419" fmla="*/ 3914 h 10000"/>
                <a:gd name="connsiteX420" fmla="*/ 3446 w 9988"/>
                <a:gd name="connsiteY420" fmla="*/ 3823 h 10000"/>
                <a:gd name="connsiteX421" fmla="*/ 3360 w 9988"/>
                <a:gd name="connsiteY421" fmla="*/ 3717 h 10000"/>
                <a:gd name="connsiteX422" fmla="*/ 3288 w 9988"/>
                <a:gd name="connsiteY422" fmla="*/ 3610 h 10000"/>
                <a:gd name="connsiteX423" fmla="*/ 3224 w 9988"/>
                <a:gd name="connsiteY423" fmla="*/ 3494 h 10000"/>
                <a:gd name="connsiteX424" fmla="*/ 3218 w 9988"/>
                <a:gd name="connsiteY424" fmla="*/ 3486 h 10000"/>
                <a:gd name="connsiteX425" fmla="*/ 3210 w 9988"/>
                <a:gd name="connsiteY425" fmla="*/ 3465 h 10000"/>
                <a:gd name="connsiteX426" fmla="*/ 3194 w 9988"/>
                <a:gd name="connsiteY426" fmla="*/ 3430 h 10000"/>
                <a:gd name="connsiteX427" fmla="*/ 3175 w 9988"/>
                <a:gd name="connsiteY427" fmla="*/ 3387 h 10000"/>
                <a:gd name="connsiteX428" fmla="*/ 3155 w 9988"/>
                <a:gd name="connsiteY428" fmla="*/ 3326 h 10000"/>
                <a:gd name="connsiteX429" fmla="*/ 3134 w 9988"/>
                <a:gd name="connsiteY429" fmla="*/ 3254 h 10000"/>
                <a:gd name="connsiteX430" fmla="*/ 3109 w 9988"/>
                <a:gd name="connsiteY430" fmla="*/ 3176 h 10000"/>
                <a:gd name="connsiteX431" fmla="*/ 3088 w 9988"/>
                <a:gd name="connsiteY431" fmla="*/ 3086 h 10000"/>
                <a:gd name="connsiteX432" fmla="*/ 3069 w 9988"/>
                <a:gd name="connsiteY432" fmla="*/ 2990 h 10000"/>
                <a:gd name="connsiteX433" fmla="*/ 3052 w 9988"/>
                <a:gd name="connsiteY433" fmla="*/ 2884 h 10000"/>
                <a:gd name="connsiteX434" fmla="*/ 3039 w 9988"/>
                <a:gd name="connsiteY434" fmla="*/ 2770 h 10000"/>
                <a:gd name="connsiteX435" fmla="*/ 3034 w 9988"/>
                <a:gd name="connsiteY435" fmla="*/ 2656 h 10000"/>
                <a:gd name="connsiteX436" fmla="*/ 3034 w 9988"/>
                <a:gd name="connsiteY436" fmla="*/ 2530 h 10000"/>
                <a:gd name="connsiteX437" fmla="*/ 3042 w 9988"/>
                <a:gd name="connsiteY437" fmla="*/ 2403 h 10000"/>
                <a:gd name="connsiteX438" fmla="*/ 3058 w 9988"/>
                <a:gd name="connsiteY438" fmla="*/ 2272 h 10000"/>
                <a:gd name="connsiteX439" fmla="*/ 3085 w 9988"/>
                <a:gd name="connsiteY439" fmla="*/ 2137 h 10000"/>
                <a:gd name="connsiteX440" fmla="*/ 3124 w 9988"/>
                <a:gd name="connsiteY440" fmla="*/ 2000 h 10000"/>
                <a:gd name="connsiteX441" fmla="*/ 3175 w 9988"/>
                <a:gd name="connsiteY441" fmla="*/ 1866 h 10000"/>
                <a:gd name="connsiteX442" fmla="*/ 3243 w 9988"/>
                <a:gd name="connsiteY442" fmla="*/ 1725 h 10000"/>
                <a:gd name="connsiteX443" fmla="*/ 3321 w 9988"/>
                <a:gd name="connsiteY443" fmla="*/ 1589 h 10000"/>
                <a:gd name="connsiteX444" fmla="*/ 3419 w 9988"/>
                <a:gd name="connsiteY444" fmla="*/ 1455 h 10000"/>
                <a:gd name="connsiteX445" fmla="*/ 3533 w 9988"/>
                <a:gd name="connsiteY445" fmla="*/ 1318 h 10000"/>
                <a:gd name="connsiteX446" fmla="*/ 3668 w 9988"/>
                <a:gd name="connsiteY446" fmla="*/ 1185 h 10000"/>
                <a:gd name="connsiteX447" fmla="*/ 3672 w 9988"/>
                <a:gd name="connsiteY447" fmla="*/ 1183 h 10000"/>
                <a:gd name="connsiteX448" fmla="*/ 3691 w 9988"/>
                <a:gd name="connsiteY448" fmla="*/ 1166 h 10000"/>
                <a:gd name="connsiteX449" fmla="*/ 3721 w 9988"/>
                <a:gd name="connsiteY449" fmla="*/ 1142 h 10000"/>
                <a:gd name="connsiteX450" fmla="*/ 3764 w 9988"/>
                <a:gd name="connsiteY450" fmla="*/ 1111 h 10000"/>
                <a:gd name="connsiteX451" fmla="*/ 3812 w 9988"/>
                <a:gd name="connsiteY451" fmla="*/ 1074 h 10000"/>
                <a:gd name="connsiteX452" fmla="*/ 3873 w 9988"/>
                <a:gd name="connsiteY452" fmla="*/ 1034 h 10000"/>
                <a:gd name="connsiteX453" fmla="*/ 3943 w 9988"/>
                <a:gd name="connsiteY453" fmla="*/ 991 h 10000"/>
                <a:gd name="connsiteX454" fmla="*/ 4019 w 9988"/>
                <a:gd name="connsiteY454" fmla="*/ 947 h 10000"/>
                <a:gd name="connsiteX455" fmla="*/ 4100 w 9988"/>
                <a:gd name="connsiteY455" fmla="*/ 908 h 10000"/>
                <a:gd name="connsiteX456" fmla="*/ 4188 w 9988"/>
                <a:gd name="connsiteY456" fmla="*/ 867 h 10000"/>
                <a:gd name="connsiteX457" fmla="*/ 4279 w 9988"/>
                <a:gd name="connsiteY457" fmla="*/ 830 h 10000"/>
                <a:gd name="connsiteX458" fmla="*/ 4375 w 9988"/>
                <a:gd name="connsiteY458" fmla="*/ 803 h 10000"/>
                <a:gd name="connsiteX459" fmla="*/ 4477 w 9988"/>
                <a:gd name="connsiteY459" fmla="*/ 778 h 10000"/>
                <a:gd name="connsiteX460" fmla="*/ 4467 w 9988"/>
                <a:gd name="connsiteY460"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9988" h="10000">
                  <a:moveTo>
                    <a:pt x="4467" y="0"/>
                  </a:moveTo>
                  <a:lnTo>
                    <a:pt x="5488" y="0"/>
                  </a:lnTo>
                  <a:lnTo>
                    <a:pt x="5488" y="695"/>
                  </a:lnTo>
                  <a:cubicBezTo>
                    <a:pt x="5491" y="696"/>
                    <a:pt x="5495" y="698"/>
                    <a:pt x="5498" y="699"/>
                  </a:cubicBezTo>
                  <a:lnTo>
                    <a:pt x="5528" y="699"/>
                  </a:lnTo>
                  <a:cubicBezTo>
                    <a:pt x="5544" y="701"/>
                    <a:pt x="5559" y="702"/>
                    <a:pt x="5575" y="704"/>
                  </a:cubicBezTo>
                  <a:cubicBezTo>
                    <a:pt x="5596" y="707"/>
                    <a:pt x="5618" y="709"/>
                    <a:pt x="5639" y="712"/>
                  </a:cubicBezTo>
                  <a:cubicBezTo>
                    <a:pt x="5665" y="715"/>
                    <a:pt x="5692" y="717"/>
                    <a:pt x="5718" y="720"/>
                  </a:cubicBezTo>
                  <a:cubicBezTo>
                    <a:pt x="5748" y="723"/>
                    <a:pt x="5777" y="727"/>
                    <a:pt x="5807" y="730"/>
                  </a:cubicBezTo>
                  <a:lnTo>
                    <a:pt x="5903" y="751"/>
                  </a:lnTo>
                  <a:lnTo>
                    <a:pt x="6006" y="770"/>
                  </a:lnTo>
                  <a:cubicBezTo>
                    <a:pt x="6042" y="780"/>
                    <a:pt x="6079" y="789"/>
                    <a:pt x="6115" y="799"/>
                  </a:cubicBezTo>
                  <a:lnTo>
                    <a:pt x="6228" y="826"/>
                  </a:lnTo>
                  <a:cubicBezTo>
                    <a:pt x="6264" y="840"/>
                    <a:pt x="6301" y="853"/>
                    <a:pt x="6337" y="867"/>
                  </a:cubicBezTo>
                  <a:lnTo>
                    <a:pt x="6446" y="910"/>
                  </a:lnTo>
                  <a:lnTo>
                    <a:pt x="6552" y="962"/>
                  </a:lnTo>
                  <a:cubicBezTo>
                    <a:pt x="6584" y="981"/>
                    <a:pt x="6617" y="999"/>
                    <a:pt x="6649" y="1018"/>
                  </a:cubicBezTo>
                  <a:lnTo>
                    <a:pt x="6739" y="1087"/>
                  </a:lnTo>
                  <a:lnTo>
                    <a:pt x="6451" y="2421"/>
                  </a:lnTo>
                  <a:cubicBezTo>
                    <a:pt x="6448" y="2420"/>
                    <a:pt x="6446" y="2418"/>
                    <a:pt x="6443" y="2417"/>
                  </a:cubicBezTo>
                  <a:cubicBezTo>
                    <a:pt x="6436" y="2411"/>
                    <a:pt x="6428" y="2406"/>
                    <a:pt x="6421" y="2399"/>
                  </a:cubicBezTo>
                  <a:cubicBezTo>
                    <a:pt x="6409" y="2393"/>
                    <a:pt x="6396" y="2386"/>
                    <a:pt x="6384" y="2380"/>
                  </a:cubicBezTo>
                  <a:lnTo>
                    <a:pt x="6337" y="2351"/>
                  </a:lnTo>
                  <a:cubicBezTo>
                    <a:pt x="6316" y="2341"/>
                    <a:pt x="6295" y="2330"/>
                    <a:pt x="6274" y="2319"/>
                  </a:cubicBezTo>
                  <a:cubicBezTo>
                    <a:pt x="6250" y="2309"/>
                    <a:pt x="6226" y="2298"/>
                    <a:pt x="6202" y="2288"/>
                  </a:cubicBezTo>
                  <a:lnTo>
                    <a:pt x="6122" y="2249"/>
                  </a:lnTo>
                  <a:cubicBezTo>
                    <a:pt x="6090" y="2237"/>
                    <a:pt x="6059" y="2224"/>
                    <a:pt x="6027" y="2211"/>
                  </a:cubicBezTo>
                  <a:cubicBezTo>
                    <a:pt x="5995" y="2199"/>
                    <a:pt x="5962" y="2188"/>
                    <a:pt x="5930" y="2176"/>
                  </a:cubicBezTo>
                  <a:cubicBezTo>
                    <a:pt x="5894" y="2164"/>
                    <a:pt x="5857" y="2153"/>
                    <a:pt x="5821" y="2141"/>
                  </a:cubicBezTo>
                  <a:lnTo>
                    <a:pt x="5710" y="2112"/>
                  </a:lnTo>
                  <a:lnTo>
                    <a:pt x="5591" y="2085"/>
                  </a:lnTo>
                  <a:lnTo>
                    <a:pt x="5466" y="2063"/>
                  </a:lnTo>
                  <a:lnTo>
                    <a:pt x="5339" y="2053"/>
                  </a:lnTo>
                  <a:lnTo>
                    <a:pt x="5213" y="2053"/>
                  </a:lnTo>
                  <a:lnTo>
                    <a:pt x="5078" y="2061"/>
                  </a:lnTo>
                  <a:lnTo>
                    <a:pt x="4948" y="2080"/>
                  </a:lnTo>
                  <a:lnTo>
                    <a:pt x="4815" y="2112"/>
                  </a:lnTo>
                  <a:lnTo>
                    <a:pt x="4686" y="2159"/>
                  </a:lnTo>
                  <a:lnTo>
                    <a:pt x="4682" y="2163"/>
                  </a:lnTo>
                  <a:lnTo>
                    <a:pt x="4670" y="2172"/>
                  </a:lnTo>
                  <a:lnTo>
                    <a:pt x="4654" y="2188"/>
                  </a:lnTo>
                  <a:cubicBezTo>
                    <a:pt x="4647" y="2196"/>
                    <a:pt x="4640" y="2203"/>
                    <a:pt x="4633" y="2211"/>
                  </a:cubicBezTo>
                  <a:cubicBezTo>
                    <a:pt x="4625" y="2220"/>
                    <a:pt x="4618" y="2229"/>
                    <a:pt x="4610" y="2237"/>
                  </a:cubicBezTo>
                  <a:cubicBezTo>
                    <a:pt x="4602" y="2247"/>
                    <a:pt x="4595" y="2258"/>
                    <a:pt x="4587" y="2268"/>
                  </a:cubicBezTo>
                  <a:cubicBezTo>
                    <a:pt x="4579" y="2280"/>
                    <a:pt x="4572" y="2291"/>
                    <a:pt x="4564" y="2303"/>
                  </a:cubicBezTo>
                  <a:cubicBezTo>
                    <a:pt x="4558" y="2317"/>
                    <a:pt x="4552" y="2333"/>
                    <a:pt x="4546" y="2347"/>
                  </a:cubicBezTo>
                  <a:cubicBezTo>
                    <a:pt x="4541" y="2362"/>
                    <a:pt x="4535" y="2376"/>
                    <a:pt x="4530" y="2391"/>
                  </a:cubicBezTo>
                  <a:cubicBezTo>
                    <a:pt x="4527" y="2408"/>
                    <a:pt x="4524" y="2423"/>
                    <a:pt x="4521" y="2439"/>
                  </a:cubicBezTo>
                  <a:lnTo>
                    <a:pt x="4521" y="2491"/>
                  </a:lnTo>
                  <a:cubicBezTo>
                    <a:pt x="4524" y="2508"/>
                    <a:pt x="4527" y="2526"/>
                    <a:pt x="4530" y="2543"/>
                  </a:cubicBezTo>
                  <a:cubicBezTo>
                    <a:pt x="4536" y="2561"/>
                    <a:pt x="4542" y="2581"/>
                    <a:pt x="4548" y="2600"/>
                  </a:cubicBezTo>
                  <a:cubicBezTo>
                    <a:pt x="4560" y="2620"/>
                    <a:pt x="4571" y="2640"/>
                    <a:pt x="4583" y="2660"/>
                  </a:cubicBezTo>
                  <a:cubicBezTo>
                    <a:pt x="4598" y="2679"/>
                    <a:pt x="4612" y="2699"/>
                    <a:pt x="4627" y="2718"/>
                  </a:cubicBezTo>
                  <a:cubicBezTo>
                    <a:pt x="4648" y="2738"/>
                    <a:pt x="4668" y="2758"/>
                    <a:pt x="4689" y="2778"/>
                  </a:cubicBezTo>
                  <a:cubicBezTo>
                    <a:pt x="4716" y="2800"/>
                    <a:pt x="4743" y="2823"/>
                    <a:pt x="4770" y="2844"/>
                  </a:cubicBezTo>
                  <a:cubicBezTo>
                    <a:pt x="4802" y="2863"/>
                    <a:pt x="4834" y="2883"/>
                    <a:pt x="4866" y="2902"/>
                  </a:cubicBezTo>
                  <a:cubicBezTo>
                    <a:pt x="4907" y="2923"/>
                    <a:pt x="4947" y="2945"/>
                    <a:pt x="4988" y="2966"/>
                  </a:cubicBezTo>
                  <a:cubicBezTo>
                    <a:pt x="4991" y="2967"/>
                    <a:pt x="4994" y="2969"/>
                    <a:pt x="4997" y="2970"/>
                  </a:cubicBezTo>
                  <a:lnTo>
                    <a:pt x="5024" y="2979"/>
                  </a:lnTo>
                  <a:cubicBezTo>
                    <a:pt x="5037" y="2985"/>
                    <a:pt x="5051" y="2989"/>
                    <a:pt x="5064" y="2994"/>
                  </a:cubicBezTo>
                  <a:lnTo>
                    <a:pt x="5121" y="3015"/>
                  </a:lnTo>
                  <a:cubicBezTo>
                    <a:pt x="5143" y="3023"/>
                    <a:pt x="5165" y="3030"/>
                    <a:pt x="5187" y="3038"/>
                  </a:cubicBezTo>
                  <a:cubicBezTo>
                    <a:pt x="5214" y="3049"/>
                    <a:pt x="5240" y="3061"/>
                    <a:pt x="5267" y="3072"/>
                  </a:cubicBezTo>
                  <a:lnTo>
                    <a:pt x="5358" y="3111"/>
                  </a:lnTo>
                  <a:lnTo>
                    <a:pt x="5455" y="3150"/>
                  </a:lnTo>
                  <a:cubicBezTo>
                    <a:pt x="5489" y="3168"/>
                    <a:pt x="5524" y="3185"/>
                    <a:pt x="5558" y="3203"/>
                  </a:cubicBezTo>
                  <a:cubicBezTo>
                    <a:pt x="5594" y="3222"/>
                    <a:pt x="5631" y="3240"/>
                    <a:pt x="5667" y="3259"/>
                  </a:cubicBezTo>
                  <a:lnTo>
                    <a:pt x="5781" y="3317"/>
                  </a:lnTo>
                  <a:cubicBezTo>
                    <a:pt x="5820" y="3340"/>
                    <a:pt x="5858" y="3364"/>
                    <a:pt x="5897" y="3387"/>
                  </a:cubicBezTo>
                  <a:cubicBezTo>
                    <a:pt x="5937" y="3410"/>
                    <a:pt x="5976" y="3434"/>
                    <a:pt x="6016" y="3457"/>
                  </a:cubicBezTo>
                  <a:lnTo>
                    <a:pt x="6131" y="3533"/>
                  </a:lnTo>
                  <a:lnTo>
                    <a:pt x="6245" y="3618"/>
                  </a:lnTo>
                  <a:cubicBezTo>
                    <a:pt x="6283" y="3648"/>
                    <a:pt x="6320" y="3679"/>
                    <a:pt x="6358" y="3709"/>
                  </a:cubicBezTo>
                  <a:cubicBezTo>
                    <a:pt x="6393" y="3741"/>
                    <a:pt x="6429" y="3773"/>
                    <a:pt x="6464" y="3806"/>
                  </a:cubicBezTo>
                  <a:lnTo>
                    <a:pt x="6563" y="3905"/>
                  </a:lnTo>
                  <a:cubicBezTo>
                    <a:pt x="6595" y="3940"/>
                    <a:pt x="6626" y="3977"/>
                    <a:pt x="6658" y="4012"/>
                  </a:cubicBezTo>
                  <a:cubicBezTo>
                    <a:pt x="6685" y="4052"/>
                    <a:pt x="6712" y="4090"/>
                    <a:pt x="6739" y="4129"/>
                  </a:cubicBezTo>
                  <a:cubicBezTo>
                    <a:pt x="6763" y="4169"/>
                    <a:pt x="6788" y="4208"/>
                    <a:pt x="6812" y="4247"/>
                  </a:cubicBezTo>
                  <a:cubicBezTo>
                    <a:pt x="6833" y="4288"/>
                    <a:pt x="6854" y="4332"/>
                    <a:pt x="6875" y="4373"/>
                  </a:cubicBezTo>
                  <a:cubicBezTo>
                    <a:pt x="6890" y="4417"/>
                    <a:pt x="6906" y="4460"/>
                    <a:pt x="6921" y="4504"/>
                  </a:cubicBezTo>
                  <a:cubicBezTo>
                    <a:pt x="6932" y="4551"/>
                    <a:pt x="6943" y="4595"/>
                    <a:pt x="6954" y="4640"/>
                  </a:cubicBezTo>
                  <a:cubicBezTo>
                    <a:pt x="6959" y="4688"/>
                    <a:pt x="6965" y="4736"/>
                    <a:pt x="6970" y="4785"/>
                  </a:cubicBezTo>
                  <a:lnTo>
                    <a:pt x="7479" y="3736"/>
                  </a:lnTo>
                  <a:lnTo>
                    <a:pt x="8280" y="4468"/>
                  </a:lnTo>
                  <a:lnTo>
                    <a:pt x="9594" y="2391"/>
                  </a:lnTo>
                  <a:cubicBezTo>
                    <a:pt x="9550" y="2335"/>
                    <a:pt x="9505" y="2280"/>
                    <a:pt x="9461" y="2224"/>
                  </a:cubicBezTo>
                  <a:lnTo>
                    <a:pt x="9988" y="1909"/>
                  </a:lnTo>
                  <a:cubicBezTo>
                    <a:pt x="9953" y="2165"/>
                    <a:pt x="9917" y="2423"/>
                    <a:pt x="9882" y="2679"/>
                  </a:cubicBezTo>
                  <a:cubicBezTo>
                    <a:pt x="9832" y="2633"/>
                    <a:pt x="9783" y="2585"/>
                    <a:pt x="9733" y="2539"/>
                  </a:cubicBezTo>
                  <a:lnTo>
                    <a:pt x="8294" y="4755"/>
                  </a:lnTo>
                  <a:lnTo>
                    <a:pt x="7512" y="4060"/>
                  </a:lnTo>
                  <a:lnTo>
                    <a:pt x="6825" y="5618"/>
                  </a:lnTo>
                  <a:lnTo>
                    <a:pt x="6825" y="5602"/>
                  </a:lnTo>
                  <a:lnTo>
                    <a:pt x="6825" y="5567"/>
                  </a:lnTo>
                  <a:lnTo>
                    <a:pt x="6825" y="5502"/>
                  </a:lnTo>
                  <a:cubicBezTo>
                    <a:pt x="6824" y="5476"/>
                    <a:pt x="6822" y="5451"/>
                    <a:pt x="6821" y="5426"/>
                  </a:cubicBezTo>
                  <a:cubicBezTo>
                    <a:pt x="6820" y="5394"/>
                    <a:pt x="6819" y="5363"/>
                    <a:pt x="6818" y="5331"/>
                  </a:cubicBezTo>
                  <a:cubicBezTo>
                    <a:pt x="6817" y="5297"/>
                    <a:pt x="6816" y="5260"/>
                    <a:pt x="6815" y="5226"/>
                  </a:cubicBezTo>
                  <a:cubicBezTo>
                    <a:pt x="6812" y="5189"/>
                    <a:pt x="6809" y="5153"/>
                    <a:pt x="6806" y="5116"/>
                  </a:cubicBezTo>
                  <a:cubicBezTo>
                    <a:pt x="6803" y="5076"/>
                    <a:pt x="6801" y="5038"/>
                    <a:pt x="6798" y="4998"/>
                  </a:cubicBezTo>
                  <a:cubicBezTo>
                    <a:pt x="6794" y="4960"/>
                    <a:pt x="6789" y="4923"/>
                    <a:pt x="6785" y="4884"/>
                  </a:cubicBezTo>
                  <a:cubicBezTo>
                    <a:pt x="6779" y="4845"/>
                    <a:pt x="6772" y="4807"/>
                    <a:pt x="6766" y="4767"/>
                  </a:cubicBezTo>
                  <a:cubicBezTo>
                    <a:pt x="6760" y="4731"/>
                    <a:pt x="6755" y="4695"/>
                    <a:pt x="6749" y="4659"/>
                  </a:cubicBezTo>
                  <a:lnTo>
                    <a:pt x="6722" y="4563"/>
                  </a:lnTo>
                  <a:cubicBezTo>
                    <a:pt x="6712" y="4535"/>
                    <a:pt x="6702" y="4506"/>
                    <a:pt x="6692" y="4479"/>
                  </a:cubicBezTo>
                  <a:cubicBezTo>
                    <a:pt x="6680" y="4457"/>
                    <a:pt x="6667" y="4435"/>
                    <a:pt x="6655" y="4413"/>
                  </a:cubicBezTo>
                  <a:lnTo>
                    <a:pt x="6652" y="4404"/>
                  </a:lnTo>
                  <a:cubicBezTo>
                    <a:pt x="6647" y="4396"/>
                    <a:pt x="6641" y="4388"/>
                    <a:pt x="6636" y="4380"/>
                  </a:cubicBezTo>
                  <a:cubicBezTo>
                    <a:pt x="6628" y="4367"/>
                    <a:pt x="6620" y="4353"/>
                    <a:pt x="6612" y="4340"/>
                  </a:cubicBezTo>
                  <a:cubicBezTo>
                    <a:pt x="6601" y="4322"/>
                    <a:pt x="6590" y="4304"/>
                    <a:pt x="6579" y="4287"/>
                  </a:cubicBezTo>
                  <a:cubicBezTo>
                    <a:pt x="6563" y="4266"/>
                    <a:pt x="6546" y="4246"/>
                    <a:pt x="6530" y="4225"/>
                  </a:cubicBezTo>
                  <a:cubicBezTo>
                    <a:pt x="6511" y="4201"/>
                    <a:pt x="6492" y="4176"/>
                    <a:pt x="6473" y="4152"/>
                  </a:cubicBezTo>
                  <a:cubicBezTo>
                    <a:pt x="6449" y="4125"/>
                    <a:pt x="6424" y="4099"/>
                    <a:pt x="6400" y="4073"/>
                  </a:cubicBezTo>
                  <a:cubicBezTo>
                    <a:pt x="6371" y="4043"/>
                    <a:pt x="6341" y="4014"/>
                    <a:pt x="6312" y="3985"/>
                  </a:cubicBezTo>
                  <a:lnTo>
                    <a:pt x="6209" y="3897"/>
                  </a:lnTo>
                  <a:lnTo>
                    <a:pt x="6092" y="3802"/>
                  </a:lnTo>
                  <a:lnTo>
                    <a:pt x="5957" y="3709"/>
                  </a:lnTo>
                  <a:cubicBezTo>
                    <a:pt x="5906" y="3677"/>
                    <a:pt x="5854" y="3646"/>
                    <a:pt x="5803" y="3614"/>
                  </a:cubicBezTo>
                  <a:lnTo>
                    <a:pt x="5794" y="3614"/>
                  </a:lnTo>
                  <a:lnTo>
                    <a:pt x="5770" y="3602"/>
                  </a:lnTo>
                  <a:lnTo>
                    <a:pt x="5731" y="3587"/>
                  </a:lnTo>
                  <a:lnTo>
                    <a:pt x="5678" y="3566"/>
                  </a:lnTo>
                  <a:cubicBezTo>
                    <a:pt x="5657" y="3559"/>
                    <a:pt x="5636" y="3549"/>
                    <a:pt x="5615" y="3542"/>
                  </a:cubicBezTo>
                  <a:lnTo>
                    <a:pt x="5542" y="3509"/>
                  </a:lnTo>
                  <a:cubicBezTo>
                    <a:pt x="5515" y="3499"/>
                    <a:pt x="5488" y="3488"/>
                    <a:pt x="5461" y="3478"/>
                  </a:cubicBezTo>
                  <a:lnTo>
                    <a:pt x="5376" y="3438"/>
                  </a:lnTo>
                  <a:lnTo>
                    <a:pt x="5282" y="3399"/>
                  </a:lnTo>
                  <a:cubicBezTo>
                    <a:pt x="5250" y="3385"/>
                    <a:pt x="5219" y="3370"/>
                    <a:pt x="5187" y="3355"/>
                  </a:cubicBezTo>
                  <a:cubicBezTo>
                    <a:pt x="5156" y="3339"/>
                    <a:pt x="5125" y="3322"/>
                    <a:pt x="5094" y="3306"/>
                  </a:cubicBezTo>
                  <a:cubicBezTo>
                    <a:pt x="5062" y="3290"/>
                    <a:pt x="5029" y="3275"/>
                    <a:pt x="4997" y="3259"/>
                  </a:cubicBezTo>
                  <a:lnTo>
                    <a:pt x="4903" y="3207"/>
                  </a:lnTo>
                  <a:cubicBezTo>
                    <a:pt x="4874" y="3189"/>
                    <a:pt x="4844" y="3172"/>
                    <a:pt x="4815" y="3154"/>
                  </a:cubicBezTo>
                  <a:lnTo>
                    <a:pt x="4730" y="3103"/>
                  </a:lnTo>
                  <a:cubicBezTo>
                    <a:pt x="4704" y="3086"/>
                    <a:pt x="4678" y="3068"/>
                    <a:pt x="4652" y="3050"/>
                  </a:cubicBezTo>
                  <a:cubicBezTo>
                    <a:pt x="4629" y="3033"/>
                    <a:pt x="4607" y="3015"/>
                    <a:pt x="4584" y="2998"/>
                  </a:cubicBezTo>
                  <a:cubicBezTo>
                    <a:pt x="4564" y="2981"/>
                    <a:pt x="4544" y="2963"/>
                    <a:pt x="4524" y="2946"/>
                  </a:cubicBezTo>
                  <a:cubicBezTo>
                    <a:pt x="4509" y="2929"/>
                    <a:pt x="4493" y="2913"/>
                    <a:pt x="4478" y="2896"/>
                  </a:cubicBezTo>
                  <a:lnTo>
                    <a:pt x="4445" y="2848"/>
                  </a:lnTo>
                  <a:lnTo>
                    <a:pt x="4445" y="2844"/>
                  </a:lnTo>
                  <a:cubicBezTo>
                    <a:pt x="4442" y="2839"/>
                    <a:pt x="4440" y="2833"/>
                    <a:pt x="4437" y="2828"/>
                  </a:cubicBezTo>
                  <a:cubicBezTo>
                    <a:pt x="4434" y="2821"/>
                    <a:pt x="4431" y="2813"/>
                    <a:pt x="4428" y="2806"/>
                  </a:cubicBezTo>
                  <a:cubicBezTo>
                    <a:pt x="4424" y="2797"/>
                    <a:pt x="4419" y="2787"/>
                    <a:pt x="4415" y="2778"/>
                  </a:cubicBezTo>
                  <a:cubicBezTo>
                    <a:pt x="4410" y="2766"/>
                    <a:pt x="4406" y="2755"/>
                    <a:pt x="4401" y="2743"/>
                  </a:cubicBezTo>
                  <a:cubicBezTo>
                    <a:pt x="4397" y="2730"/>
                    <a:pt x="4392" y="2717"/>
                    <a:pt x="4388" y="2704"/>
                  </a:cubicBezTo>
                  <a:cubicBezTo>
                    <a:pt x="4383" y="2689"/>
                    <a:pt x="4377" y="2675"/>
                    <a:pt x="4372" y="2660"/>
                  </a:cubicBezTo>
                  <a:cubicBezTo>
                    <a:pt x="4368" y="2643"/>
                    <a:pt x="4365" y="2626"/>
                    <a:pt x="4361" y="2609"/>
                  </a:cubicBezTo>
                  <a:cubicBezTo>
                    <a:pt x="4357" y="2591"/>
                    <a:pt x="4352" y="2572"/>
                    <a:pt x="4348" y="2555"/>
                  </a:cubicBezTo>
                  <a:cubicBezTo>
                    <a:pt x="4345" y="2536"/>
                    <a:pt x="4342" y="2518"/>
                    <a:pt x="4339" y="2499"/>
                  </a:cubicBezTo>
                  <a:cubicBezTo>
                    <a:pt x="4338" y="2479"/>
                    <a:pt x="4338" y="2459"/>
                    <a:pt x="4337" y="2439"/>
                  </a:cubicBezTo>
                  <a:lnTo>
                    <a:pt x="4337" y="2380"/>
                  </a:lnTo>
                  <a:cubicBezTo>
                    <a:pt x="4338" y="2360"/>
                    <a:pt x="4338" y="2340"/>
                    <a:pt x="4339" y="2319"/>
                  </a:cubicBezTo>
                  <a:cubicBezTo>
                    <a:pt x="4343" y="2299"/>
                    <a:pt x="4348" y="2280"/>
                    <a:pt x="4352" y="2260"/>
                  </a:cubicBezTo>
                  <a:cubicBezTo>
                    <a:pt x="4359" y="2241"/>
                    <a:pt x="4365" y="2221"/>
                    <a:pt x="4372" y="2201"/>
                  </a:cubicBezTo>
                  <a:cubicBezTo>
                    <a:pt x="4382" y="2181"/>
                    <a:pt x="4391" y="2161"/>
                    <a:pt x="4401" y="2141"/>
                  </a:cubicBezTo>
                  <a:cubicBezTo>
                    <a:pt x="4413" y="2122"/>
                    <a:pt x="4425" y="2104"/>
                    <a:pt x="4437" y="2085"/>
                  </a:cubicBezTo>
                  <a:cubicBezTo>
                    <a:pt x="4452" y="2067"/>
                    <a:pt x="4466" y="2049"/>
                    <a:pt x="4481" y="2032"/>
                  </a:cubicBezTo>
                  <a:cubicBezTo>
                    <a:pt x="4501" y="2014"/>
                    <a:pt x="4520" y="1997"/>
                    <a:pt x="4540" y="1980"/>
                  </a:cubicBezTo>
                  <a:cubicBezTo>
                    <a:pt x="4562" y="1965"/>
                    <a:pt x="4584" y="1951"/>
                    <a:pt x="4606" y="1936"/>
                  </a:cubicBezTo>
                  <a:lnTo>
                    <a:pt x="4689" y="1897"/>
                  </a:lnTo>
                  <a:cubicBezTo>
                    <a:pt x="4721" y="1885"/>
                    <a:pt x="4753" y="1874"/>
                    <a:pt x="4785" y="1862"/>
                  </a:cubicBezTo>
                  <a:cubicBezTo>
                    <a:pt x="4820" y="1852"/>
                    <a:pt x="4856" y="1843"/>
                    <a:pt x="4891" y="1832"/>
                  </a:cubicBezTo>
                  <a:lnTo>
                    <a:pt x="5015" y="1812"/>
                  </a:lnTo>
                  <a:lnTo>
                    <a:pt x="5157" y="1800"/>
                  </a:lnTo>
                  <a:lnTo>
                    <a:pt x="5167" y="1800"/>
                  </a:lnTo>
                  <a:lnTo>
                    <a:pt x="5197" y="1800"/>
                  </a:lnTo>
                  <a:cubicBezTo>
                    <a:pt x="5212" y="1801"/>
                    <a:pt x="5228" y="1803"/>
                    <a:pt x="5243" y="1804"/>
                  </a:cubicBezTo>
                  <a:cubicBezTo>
                    <a:pt x="5262" y="1805"/>
                    <a:pt x="5281" y="1807"/>
                    <a:pt x="5300" y="1808"/>
                  </a:cubicBezTo>
                  <a:cubicBezTo>
                    <a:pt x="5324" y="1811"/>
                    <a:pt x="5349" y="1813"/>
                    <a:pt x="5373" y="1816"/>
                  </a:cubicBezTo>
                  <a:lnTo>
                    <a:pt x="5455" y="1825"/>
                  </a:lnTo>
                  <a:cubicBezTo>
                    <a:pt x="5485" y="1829"/>
                    <a:pt x="5515" y="1833"/>
                    <a:pt x="5545" y="1836"/>
                  </a:cubicBezTo>
                  <a:cubicBezTo>
                    <a:pt x="5576" y="1842"/>
                    <a:pt x="5608" y="1847"/>
                    <a:pt x="5639" y="1853"/>
                  </a:cubicBezTo>
                  <a:lnTo>
                    <a:pt x="5737" y="1870"/>
                  </a:lnTo>
                  <a:lnTo>
                    <a:pt x="5837" y="1889"/>
                  </a:lnTo>
                  <a:cubicBezTo>
                    <a:pt x="5869" y="1899"/>
                    <a:pt x="5901" y="1908"/>
                    <a:pt x="5933" y="1918"/>
                  </a:cubicBezTo>
                  <a:cubicBezTo>
                    <a:pt x="5964" y="1927"/>
                    <a:pt x="5996" y="1935"/>
                    <a:pt x="6027" y="1944"/>
                  </a:cubicBezTo>
                  <a:lnTo>
                    <a:pt x="6112" y="1975"/>
                  </a:lnTo>
                  <a:lnTo>
                    <a:pt x="6194" y="2017"/>
                  </a:lnTo>
                  <a:lnTo>
                    <a:pt x="6261" y="2057"/>
                  </a:lnTo>
                  <a:cubicBezTo>
                    <a:pt x="6280" y="2073"/>
                    <a:pt x="6299" y="2090"/>
                    <a:pt x="6318" y="2106"/>
                  </a:cubicBezTo>
                  <a:lnTo>
                    <a:pt x="6516" y="1214"/>
                  </a:lnTo>
                  <a:lnTo>
                    <a:pt x="6506" y="1214"/>
                  </a:lnTo>
                  <a:cubicBezTo>
                    <a:pt x="6498" y="1211"/>
                    <a:pt x="6491" y="1209"/>
                    <a:pt x="6483" y="1206"/>
                  </a:cubicBezTo>
                  <a:cubicBezTo>
                    <a:pt x="6471" y="1200"/>
                    <a:pt x="6458" y="1195"/>
                    <a:pt x="6446" y="1189"/>
                  </a:cubicBezTo>
                  <a:cubicBezTo>
                    <a:pt x="6429" y="1184"/>
                    <a:pt x="6411" y="1180"/>
                    <a:pt x="6394" y="1175"/>
                  </a:cubicBezTo>
                  <a:lnTo>
                    <a:pt x="6334" y="1154"/>
                  </a:lnTo>
                  <a:cubicBezTo>
                    <a:pt x="6311" y="1146"/>
                    <a:pt x="6287" y="1139"/>
                    <a:pt x="6264" y="1131"/>
                  </a:cubicBezTo>
                  <a:lnTo>
                    <a:pt x="6185" y="1106"/>
                  </a:lnTo>
                  <a:cubicBezTo>
                    <a:pt x="6158" y="1098"/>
                    <a:pt x="6130" y="1091"/>
                    <a:pt x="6103" y="1083"/>
                  </a:cubicBezTo>
                  <a:cubicBezTo>
                    <a:pt x="6073" y="1073"/>
                    <a:pt x="6042" y="1064"/>
                    <a:pt x="6012" y="1053"/>
                  </a:cubicBezTo>
                  <a:cubicBezTo>
                    <a:pt x="5982" y="1045"/>
                    <a:pt x="5951" y="1038"/>
                    <a:pt x="5921" y="1030"/>
                  </a:cubicBezTo>
                  <a:lnTo>
                    <a:pt x="5827" y="1005"/>
                  </a:lnTo>
                  <a:cubicBezTo>
                    <a:pt x="5796" y="998"/>
                    <a:pt x="5765" y="990"/>
                    <a:pt x="5734" y="983"/>
                  </a:cubicBezTo>
                  <a:lnTo>
                    <a:pt x="5639" y="966"/>
                  </a:lnTo>
                  <a:cubicBezTo>
                    <a:pt x="5609" y="961"/>
                    <a:pt x="5578" y="957"/>
                    <a:pt x="5548" y="952"/>
                  </a:cubicBezTo>
                  <a:cubicBezTo>
                    <a:pt x="5520" y="948"/>
                    <a:pt x="5491" y="943"/>
                    <a:pt x="5463" y="939"/>
                  </a:cubicBezTo>
                  <a:cubicBezTo>
                    <a:pt x="5437" y="936"/>
                    <a:pt x="5411" y="934"/>
                    <a:pt x="5385" y="931"/>
                  </a:cubicBezTo>
                  <a:cubicBezTo>
                    <a:pt x="5361" y="930"/>
                    <a:pt x="5337" y="928"/>
                    <a:pt x="5313" y="927"/>
                  </a:cubicBezTo>
                  <a:cubicBezTo>
                    <a:pt x="5308" y="702"/>
                    <a:pt x="5302" y="477"/>
                    <a:pt x="5297" y="252"/>
                  </a:cubicBezTo>
                  <a:lnTo>
                    <a:pt x="4652" y="258"/>
                  </a:lnTo>
                  <a:lnTo>
                    <a:pt x="4652" y="983"/>
                  </a:lnTo>
                  <a:cubicBezTo>
                    <a:pt x="4649" y="984"/>
                    <a:pt x="4646" y="986"/>
                    <a:pt x="4643" y="987"/>
                  </a:cubicBezTo>
                  <a:cubicBezTo>
                    <a:pt x="4636" y="988"/>
                    <a:pt x="4628" y="990"/>
                    <a:pt x="4621" y="991"/>
                  </a:cubicBezTo>
                  <a:cubicBezTo>
                    <a:pt x="4609" y="994"/>
                    <a:pt x="4596" y="996"/>
                    <a:pt x="4584" y="999"/>
                  </a:cubicBezTo>
                  <a:lnTo>
                    <a:pt x="4540" y="1005"/>
                  </a:lnTo>
                  <a:cubicBezTo>
                    <a:pt x="4520" y="1011"/>
                    <a:pt x="4501" y="1016"/>
                    <a:pt x="4481" y="1022"/>
                  </a:cubicBezTo>
                  <a:cubicBezTo>
                    <a:pt x="4460" y="1029"/>
                    <a:pt x="4439" y="1035"/>
                    <a:pt x="4418" y="1042"/>
                  </a:cubicBezTo>
                  <a:lnTo>
                    <a:pt x="4342" y="1070"/>
                  </a:lnTo>
                  <a:cubicBezTo>
                    <a:pt x="4316" y="1080"/>
                    <a:pt x="4290" y="1091"/>
                    <a:pt x="4264" y="1101"/>
                  </a:cubicBezTo>
                  <a:cubicBezTo>
                    <a:pt x="4236" y="1115"/>
                    <a:pt x="4207" y="1128"/>
                    <a:pt x="4179" y="1142"/>
                  </a:cubicBezTo>
                  <a:cubicBezTo>
                    <a:pt x="4149" y="1156"/>
                    <a:pt x="4120" y="1171"/>
                    <a:pt x="4090" y="1185"/>
                  </a:cubicBezTo>
                  <a:cubicBezTo>
                    <a:pt x="4060" y="1204"/>
                    <a:pt x="4030" y="1222"/>
                    <a:pt x="4000" y="1241"/>
                  </a:cubicBezTo>
                  <a:cubicBezTo>
                    <a:pt x="3970" y="1261"/>
                    <a:pt x="3940" y="1282"/>
                    <a:pt x="3910" y="1302"/>
                  </a:cubicBezTo>
                  <a:cubicBezTo>
                    <a:pt x="3878" y="1325"/>
                    <a:pt x="3847" y="1350"/>
                    <a:pt x="3815" y="1373"/>
                  </a:cubicBezTo>
                  <a:cubicBezTo>
                    <a:pt x="3786" y="1400"/>
                    <a:pt x="3757" y="1428"/>
                    <a:pt x="3728" y="1455"/>
                  </a:cubicBezTo>
                  <a:lnTo>
                    <a:pt x="3639" y="1541"/>
                  </a:lnTo>
                  <a:cubicBezTo>
                    <a:pt x="3612" y="1576"/>
                    <a:pt x="3585" y="1612"/>
                    <a:pt x="3558" y="1647"/>
                  </a:cubicBezTo>
                  <a:cubicBezTo>
                    <a:pt x="3532" y="1682"/>
                    <a:pt x="3505" y="1717"/>
                    <a:pt x="3479" y="1752"/>
                  </a:cubicBezTo>
                  <a:cubicBezTo>
                    <a:pt x="3456" y="1793"/>
                    <a:pt x="3432" y="1836"/>
                    <a:pt x="3409" y="1878"/>
                  </a:cubicBezTo>
                  <a:lnTo>
                    <a:pt x="3346" y="2013"/>
                  </a:lnTo>
                  <a:cubicBezTo>
                    <a:pt x="3329" y="2061"/>
                    <a:pt x="3311" y="2110"/>
                    <a:pt x="3294" y="2157"/>
                  </a:cubicBezTo>
                  <a:cubicBezTo>
                    <a:pt x="3280" y="2211"/>
                    <a:pt x="3265" y="2265"/>
                    <a:pt x="3251" y="2319"/>
                  </a:cubicBezTo>
                  <a:cubicBezTo>
                    <a:pt x="3250" y="2321"/>
                    <a:pt x="3249" y="2322"/>
                    <a:pt x="3248" y="2324"/>
                  </a:cubicBezTo>
                  <a:cubicBezTo>
                    <a:pt x="3247" y="2332"/>
                    <a:pt x="3246" y="2340"/>
                    <a:pt x="3245" y="2347"/>
                  </a:cubicBezTo>
                  <a:cubicBezTo>
                    <a:pt x="3243" y="2360"/>
                    <a:pt x="3242" y="2372"/>
                    <a:pt x="3240" y="2385"/>
                  </a:cubicBezTo>
                  <a:lnTo>
                    <a:pt x="3234" y="2433"/>
                  </a:lnTo>
                  <a:cubicBezTo>
                    <a:pt x="3232" y="2451"/>
                    <a:pt x="3229" y="2469"/>
                    <a:pt x="3227" y="2487"/>
                  </a:cubicBezTo>
                  <a:lnTo>
                    <a:pt x="3224" y="2559"/>
                  </a:lnTo>
                  <a:lnTo>
                    <a:pt x="3224" y="2636"/>
                  </a:lnTo>
                  <a:lnTo>
                    <a:pt x="3224" y="2718"/>
                  </a:lnTo>
                  <a:cubicBezTo>
                    <a:pt x="3226" y="2748"/>
                    <a:pt x="3229" y="2779"/>
                    <a:pt x="3231" y="2810"/>
                  </a:cubicBezTo>
                  <a:cubicBezTo>
                    <a:pt x="3235" y="2843"/>
                    <a:pt x="3239" y="2874"/>
                    <a:pt x="3243" y="2906"/>
                  </a:cubicBezTo>
                  <a:cubicBezTo>
                    <a:pt x="3249" y="2939"/>
                    <a:pt x="3255" y="2973"/>
                    <a:pt x="3261" y="3007"/>
                  </a:cubicBezTo>
                  <a:cubicBezTo>
                    <a:pt x="3269" y="3041"/>
                    <a:pt x="3276" y="3077"/>
                    <a:pt x="3284" y="3111"/>
                  </a:cubicBezTo>
                  <a:cubicBezTo>
                    <a:pt x="3296" y="3147"/>
                    <a:pt x="3309" y="3183"/>
                    <a:pt x="3321" y="3219"/>
                  </a:cubicBezTo>
                  <a:cubicBezTo>
                    <a:pt x="3335" y="3253"/>
                    <a:pt x="3350" y="3287"/>
                    <a:pt x="3364" y="3322"/>
                  </a:cubicBezTo>
                  <a:cubicBezTo>
                    <a:pt x="3382" y="3358"/>
                    <a:pt x="3401" y="3394"/>
                    <a:pt x="3419" y="3430"/>
                  </a:cubicBezTo>
                  <a:cubicBezTo>
                    <a:pt x="3440" y="3464"/>
                    <a:pt x="3461" y="3499"/>
                    <a:pt x="3482" y="3533"/>
                  </a:cubicBezTo>
                  <a:cubicBezTo>
                    <a:pt x="3507" y="3568"/>
                    <a:pt x="3533" y="3601"/>
                    <a:pt x="3558" y="3635"/>
                  </a:cubicBezTo>
                  <a:cubicBezTo>
                    <a:pt x="3588" y="3667"/>
                    <a:pt x="3619" y="3698"/>
                    <a:pt x="3649" y="3730"/>
                  </a:cubicBezTo>
                  <a:cubicBezTo>
                    <a:pt x="3684" y="3762"/>
                    <a:pt x="3720" y="3792"/>
                    <a:pt x="3755" y="3823"/>
                  </a:cubicBezTo>
                  <a:lnTo>
                    <a:pt x="3873" y="3910"/>
                  </a:lnTo>
                  <a:lnTo>
                    <a:pt x="4010" y="3985"/>
                  </a:lnTo>
                  <a:cubicBezTo>
                    <a:pt x="4013" y="3986"/>
                    <a:pt x="4016" y="3988"/>
                    <a:pt x="4019" y="3989"/>
                  </a:cubicBezTo>
                  <a:cubicBezTo>
                    <a:pt x="4027" y="3995"/>
                    <a:pt x="4035" y="4000"/>
                    <a:pt x="4043" y="4006"/>
                  </a:cubicBezTo>
                  <a:cubicBezTo>
                    <a:pt x="4054" y="4011"/>
                    <a:pt x="4065" y="4015"/>
                    <a:pt x="4076" y="4020"/>
                  </a:cubicBezTo>
                  <a:cubicBezTo>
                    <a:pt x="4091" y="4030"/>
                    <a:pt x="4107" y="4039"/>
                    <a:pt x="4122" y="4050"/>
                  </a:cubicBezTo>
                  <a:lnTo>
                    <a:pt x="4173" y="4077"/>
                  </a:lnTo>
                  <a:lnTo>
                    <a:pt x="4231" y="4108"/>
                  </a:lnTo>
                  <a:cubicBezTo>
                    <a:pt x="4250" y="4119"/>
                    <a:pt x="4269" y="4131"/>
                    <a:pt x="4288" y="4142"/>
                  </a:cubicBezTo>
                  <a:cubicBezTo>
                    <a:pt x="4308" y="4152"/>
                    <a:pt x="4328" y="4163"/>
                    <a:pt x="4348" y="4173"/>
                  </a:cubicBezTo>
                  <a:cubicBezTo>
                    <a:pt x="4367" y="4183"/>
                    <a:pt x="4385" y="4194"/>
                    <a:pt x="4404" y="4204"/>
                  </a:cubicBezTo>
                  <a:lnTo>
                    <a:pt x="4454" y="4233"/>
                  </a:lnTo>
                  <a:cubicBezTo>
                    <a:pt x="4469" y="4241"/>
                    <a:pt x="4485" y="4248"/>
                    <a:pt x="4500" y="4256"/>
                  </a:cubicBezTo>
                  <a:cubicBezTo>
                    <a:pt x="4512" y="4261"/>
                    <a:pt x="4525" y="4267"/>
                    <a:pt x="4537" y="4272"/>
                  </a:cubicBezTo>
                  <a:cubicBezTo>
                    <a:pt x="4544" y="4276"/>
                    <a:pt x="4550" y="4281"/>
                    <a:pt x="4557" y="4285"/>
                  </a:cubicBezTo>
                  <a:lnTo>
                    <a:pt x="4567" y="4285"/>
                  </a:lnTo>
                  <a:cubicBezTo>
                    <a:pt x="4575" y="4287"/>
                    <a:pt x="4583" y="4290"/>
                    <a:pt x="4591" y="4292"/>
                  </a:cubicBezTo>
                  <a:cubicBezTo>
                    <a:pt x="4604" y="4297"/>
                    <a:pt x="4617" y="4303"/>
                    <a:pt x="4630" y="4308"/>
                  </a:cubicBezTo>
                  <a:cubicBezTo>
                    <a:pt x="4646" y="4314"/>
                    <a:pt x="4663" y="4319"/>
                    <a:pt x="4679" y="4325"/>
                  </a:cubicBezTo>
                  <a:cubicBezTo>
                    <a:pt x="4699" y="4334"/>
                    <a:pt x="4719" y="4341"/>
                    <a:pt x="4739" y="4349"/>
                  </a:cubicBezTo>
                  <a:cubicBezTo>
                    <a:pt x="4762" y="4359"/>
                    <a:pt x="4786" y="4368"/>
                    <a:pt x="4809" y="4378"/>
                  </a:cubicBezTo>
                  <a:lnTo>
                    <a:pt x="4885" y="4409"/>
                  </a:lnTo>
                  <a:cubicBezTo>
                    <a:pt x="4911" y="4421"/>
                    <a:pt x="4938" y="4432"/>
                    <a:pt x="4964" y="4444"/>
                  </a:cubicBezTo>
                  <a:cubicBezTo>
                    <a:pt x="4991" y="4458"/>
                    <a:pt x="5018" y="4473"/>
                    <a:pt x="5045" y="4487"/>
                  </a:cubicBezTo>
                  <a:cubicBezTo>
                    <a:pt x="5073" y="4502"/>
                    <a:pt x="5102" y="4516"/>
                    <a:pt x="5130" y="4531"/>
                  </a:cubicBezTo>
                  <a:cubicBezTo>
                    <a:pt x="5158" y="4549"/>
                    <a:pt x="5185" y="4567"/>
                    <a:pt x="5213" y="4584"/>
                  </a:cubicBezTo>
                  <a:lnTo>
                    <a:pt x="5290" y="4640"/>
                  </a:lnTo>
                  <a:cubicBezTo>
                    <a:pt x="5315" y="4659"/>
                    <a:pt x="5341" y="4677"/>
                    <a:pt x="5366" y="4696"/>
                  </a:cubicBezTo>
                  <a:cubicBezTo>
                    <a:pt x="5388" y="4718"/>
                    <a:pt x="5411" y="4738"/>
                    <a:pt x="5433" y="4759"/>
                  </a:cubicBezTo>
                  <a:cubicBezTo>
                    <a:pt x="5454" y="4780"/>
                    <a:pt x="5474" y="4803"/>
                    <a:pt x="5495" y="4824"/>
                  </a:cubicBezTo>
                  <a:cubicBezTo>
                    <a:pt x="5511" y="4847"/>
                    <a:pt x="5526" y="4871"/>
                    <a:pt x="5542" y="4894"/>
                  </a:cubicBezTo>
                  <a:cubicBezTo>
                    <a:pt x="5543" y="4895"/>
                    <a:pt x="5544" y="4897"/>
                    <a:pt x="5545" y="4898"/>
                  </a:cubicBezTo>
                  <a:cubicBezTo>
                    <a:pt x="5548" y="4905"/>
                    <a:pt x="5552" y="4910"/>
                    <a:pt x="5555" y="4916"/>
                  </a:cubicBezTo>
                  <a:cubicBezTo>
                    <a:pt x="5558" y="4924"/>
                    <a:pt x="5561" y="4931"/>
                    <a:pt x="5564" y="4939"/>
                  </a:cubicBezTo>
                  <a:cubicBezTo>
                    <a:pt x="5569" y="4951"/>
                    <a:pt x="5574" y="4964"/>
                    <a:pt x="5579" y="4976"/>
                  </a:cubicBezTo>
                  <a:lnTo>
                    <a:pt x="5594" y="5015"/>
                  </a:lnTo>
                  <a:cubicBezTo>
                    <a:pt x="5599" y="5031"/>
                    <a:pt x="5604" y="5048"/>
                    <a:pt x="5609" y="5064"/>
                  </a:cubicBezTo>
                  <a:lnTo>
                    <a:pt x="5624" y="5118"/>
                  </a:lnTo>
                  <a:cubicBezTo>
                    <a:pt x="5628" y="5138"/>
                    <a:pt x="5633" y="5158"/>
                    <a:pt x="5637" y="5178"/>
                  </a:cubicBezTo>
                  <a:cubicBezTo>
                    <a:pt x="5640" y="5198"/>
                    <a:pt x="5642" y="5218"/>
                    <a:pt x="5645" y="5238"/>
                  </a:cubicBezTo>
                  <a:cubicBezTo>
                    <a:pt x="5647" y="5260"/>
                    <a:pt x="5649" y="5283"/>
                    <a:pt x="5651" y="5306"/>
                  </a:cubicBezTo>
                  <a:cubicBezTo>
                    <a:pt x="5652" y="5329"/>
                    <a:pt x="5654" y="5352"/>
                    <a:pt x="5655" y="5375"/>
                  </a:cubicBezTo>
                  <a:cubicBezTo>
                    <a:pt x="5653" y="5398"/>
                    <a:pt x="5650" y="5422"/>
                    <a:pt x="5648" y="5445"/>
                  </a:cubicBezTo>
                  <a:cubicBezTo>
                    <a:pt x="5644" y="5468"/>
                    <a:pt x="5641" y="5491"/>
                    <a:pt x="5637" y="5514"/>
                  </a:cubicBezTo>
                  <a:cubicBezTo>
                    <a:pt x="5630" y="5538"/>
                    <a:pt x="5622" y="5562"/>
                    <a:pt x="5615" y="5585"/>
                  </a:cubicBezTo>
                  <a:cubicBezTo>
                    <a:pt x="5605" y="5608"/>
                    <a:pt x="5595" y="5630"/>
                    <a:pt x="5585" y="5653"/>
                  </a:cubicBezTo>
                  <a:cubicBezTo>
                    <a:pt x="5572" y="5676"/>
                    <a:pt x="5558" y="5697"/>
                    <a:pt x="5545" y="5719"/>
                  </a:cubicBezTo>
                  <a:cubicBezTo>
                    <a:pt x="5527" y="5740"/>
                    <a:pt x="5509" y="5760"/>
                    <a:pt x="5491" y="5782"/>
                  </a:cubicBezTo>
                  <a:lnTo>
                    <a:pt x="5428" y="5842"/>
                  </a:lnTo>
                  <a:cubicBezTo>
                    <a:pt x="5401" y="5861"/>
                    <a:pt x="5373" y="5879"/>
                    <a:pt x="5346" y="5898"/>
                  </a:cubicBezTo>
                  <a:lnTo>
                    <a:pt x="5252" y="5946"/>
                  </a:lnTo>
                  <a:lnTo>
                    <a:pt x="5143" y="5989"/>
                  </a:lnTo>
                  <a:lnTo>
                    <a:pt x="5134" y="5989"/>
                  </a:lnTo>
                  <a:lnTo>
                    <a:pt x="5107" y="5998"/>
                  </a:lnTo>
                  <a:lnTo>
                    <a:pt x="5058" y="6004"/>
                  </a:lnTo>
                  <a:cubicBezTo>
                    <a:pt x="5038" y="6008"/>
                    <a:pt x="5017" y="6013"/>
                    <a:pt x="4997" y="6017"/>
                  </a:cubicBezTo>
                  <a:cubicBezTo>
                    <a:pt x="4971" y="6021"/>
                    <a:pt x="4944" y="6026"/>
                    <a:pt x="4918" y="6030"/>
                  </a:cubicBezTo>
                  <a:cubicBezTo>
                    <a:pt x="4888" y="6033"/>
                    <a:pt x="4858" y="6035"/>
                    <a:pt x="4828" y="6038"/>
                  </a:cubicBezTo>
                  <a:lnTo>
                    <a:pt x="4724" y="6042"/>
                  </a:lnTo>
                  <a:lnTo>
                    <a:pt x="4610" y="6042"/>
                  </a:lnTo>
                  <a:lnTo>
                    <a:pt x="4481" y="6034"/>
                  </a:lnTo>
                  <a:lnTo>
                    <a:pt x="4345" y="6017"/>
                  </a:lnTo>
                  <a:lnTo>
                    <a:pt x="4203" y="5993"/>
                  </a:lnTo>
                  <a:lnTo>
                    <a:pt x="4052" y="5956"/>
                  </a:lnTo>
                  <a:lnTo>
                    <a:pt x="3894" y="5905"/>
                  </a:lnTo>
                  <a:lnTo>
                    <a:pt x="3734" y="5842"/>
                  </a:lnTo>
                  <a:lnTo>
                    <a:pt x="3566" y="5763"/>
                  </a:lnTo>
                  <a:lnTo>
                    <a:pt x="3400" y="5662"/>
                  </a:lnTo>
                  <a:cubicBezTo>
                    <a:pt x="3329" y="5965"/>
                    <a:pt x="3259" y="6270"/>
                    <a:pt x="3188" y="6572"/>
                  </a:cubicBezTo>
                  <a:cubicBezTo>
                    <a:pt x="3191" y="6573"/>
                    <a:pt x="3194" y="6575"/>
                    <a:pt x="3197" y="6576"/>
                  </a:cubicBezTo>
                  <a:lnTo>
                    <a:pt x="3221" y="6588"/>
                  </a:lnTo>
                  <a:lnTo>
                    <a:pt x="3261" y="6603"/>
                  </a:lnTo>
                  <a:cubicBezTo>
                    <a:pt x="3278" y="6613"/>
                    <a:pt x="3296" y="6622"/>
                    <a:pt x="3313" y="6632"/>
                  </a:cubicBezTo>
                  <a:cubicBezTo>
                    <a:pt x="3334" y="6641"/>
                    <a:pt x="3355" y="6651"/>
                    <a:pt x="3376" y="6660"/>
                  </a:cubicBezTo>
                  <a:lnTo>
                    <a:pt x="3452" y="6693"/>
                  </a:lnTo>
                  <a:cubicBezTo>
                    <a:pt x="3480" y="6703"/>
                    <a:pt x="3508" y="6714"/>
                    <a:pt x="3536" y="6724"/>
                  </a:cubicBezTo>
                  <a:lnTo>
                    <a:pt x="3628" y="6760"/>
                  </a:lnTo>
                  <a:cubicBezTo>
                    <a:pt x="3661" y="6772"/>
                    <a:pt x="3695" y="6783"/>
                    <a:pt x="3728" y="6795"/>
                  </a:cubicBezTo>
                  <a:cubicBezTo>
                    <a:pt x="3763" y="6807"/>
                    <a:pt x="3799" y="6818"/>
                    <a:pt x="3834" y="6831"/>
                  </a:cubicBezTo>
                  <a:lnTo>
                    <a:pt x="3943" y="6864"/>
                  </a:lnTo>
                  <a:lnTo>
                    <a:pt x="4055" y="6891"/>
                  </a:lnTo>
                  <a:lnTo>
                    <a:pt x="4169" y="6916"/>
                  </a:lnTo>
                  <a:cubicBezTo>
                    <a:pt x="4207" y="6922"/>
                    <a:pt x="4244" y="6929"/>
                    <a:pt x="4282" y="6935"/>
                  </a:cubicBezTo>
                  <a:lnTo>
                    <a:pt x="4397" y="6947"/>
                  </a:lnTo>
                  <a:lnTo>
                    <a:pt x="4507" y="6955"/>
                  </a:lnTo>
                  <a:lnTo>
                    <a:pt x="4616" y="6951"/>
                  </a:lnTo>
                  <a:lnTo>
                    <a:pt x="4616" y="7638"/>
                  </a:lnTo>
                  <a:lnTo>
                    <a:pt x="4206" y="8144"/>
                  </a:lnTo>
                  <a:lnTo>
                    <a:pt x="3603" y="7803"/>
                  </a:lnTo>
                  <a:lnTo>
                    <a:pt x="2570" y="9657"/>
                  </a:lnTo>
                  <a:lnTo>
                    <a:pt x="1766" y="8796"/>
                  </a:lnTo>
                  <a:lnTo>
                    <a:pt x="1162" y="9989"/>
                  </a:lnTo>
                  <a:lnTo>
                    <a:pt x="4" y="10000"/>
                  </a:lnTo>
                  <a:cubicBezTo>
                    <a:pt x="-7" y="9929"/>
                    <a:pt x="15" y="9858"/>
                    <a:pt x="4" y="9787"/>
                  </a:cubicBezTo>
                  <a:lnTo>
                    <a:pt x="1085" y="9787"/>
                  </a:lnTo>
                  <a:lnTo>
                    <a:pt x="1733" y="8490"/>
                  </a:lnTo>
                  <a:lnTo>
                    <a:pt x="2548" y="9343"/>
                  </a:lnTo>
                  <a:lnTo>
                    <a:pt x="3555" y="7471"/>
                  </a:lnTo>
                  <a:lnTo>
                    <a:pt x="4179" y="7857"/>
                  </a:lnTo>
                  <a:lnTo>
                    <a:pt x="4434" y="7554"/>
                  </a:lnTo>
                  <a:lnTo>
                    <a:pt x="4434" y="7183"/>
                  </a:lnTo>
                  <a:lnTo>
                    <a:pt x="4421" y="7183"/>
                  </a:lnTo>
                  <a:cubicBezTo>
                    <a:pt x="4411" y="7181"/>
                    <a:pt x="4401" y="7180"/>
                    <a:pt x="4391" y="7178"/>
                  </a:cubicBezTo>
                  <a:cubicBezTo>
                    <a:pt x="4376" y="7177"/>
                    <a:pt x="4360" y="7175"/>
                    <a:pt x="4345" y="7174"/>
                  </a:cubicBezTo>
                  <a:cubicBezTo>
                    <a:pt x="4324" y="7171"/>
                    <a:pt x="4303" y="7169"/>
                    <a:pt x="4282" y="7166"/>
                  </a:cubicBezTo>
                  <a:cubicBezTo>
                    <a:pt x="4256" y="7163"/>
                    <a:pt x="4229" y="7161"/>
                    <a:pt x="4203" y="7158"/>
                  </a:cubicBezTo>
                  <a:cubicBezTo>
                    <a:pt x="4174" y="7154"/>
                    <a:pt x="4145" y="7151"/>
                    <a:pt x="4116" y="7147"/>
                  </a:cubicBezTo>
                  <a:lnTo>
                    <a:pt x="4019" y="7131"/>
                  </a:lnTo>
                  <a:lnTo>
                    <a:pt x="3913" y="7110"/>
                  </a:lnTo>
                  <a:cubicBezTo>
                    <a:pt x="3877" y="7102"/>
                    <a:pt x="3840" y="7095"/>
                    <a:pt x="3804" y="7087"/>
                  </a:cubicBezTo>
                  <a:cubicBezTo>
                    <a:pt x="3765" y="7077"/>
                    <a:pt x="3727" y="7066"/>
                    <a:pt x="3688" y="7056"/>
                  </a:cubicBezTo>
                  <a:lnTo>
                    <a:pt x="3573" y="7023"/>
                  </a:lnTo>
                  <a:cubicBezTo>
                    <a:pt x="3534" y="7009"/>
                    <a:pt x="3496" y="6995"/>
                    <a:pt x="3457" y="6982"/>
                  </a:cubicBezTo>
                  <a:lnTo>
                    <a:pt x="3346" y="6939"/>
                  </a:lnTo>
                  <a:lnTo>
                    <a:pt x="3237" y="6891"/>
                  </a:lnTo>
                  <a:cubicBezTo>
                    <a:pt x="3204" y="6872"/>
                    <a:pt x="3170" y="6854"/>
                    <a:pt x="3137" y="6835"/>
                  </a:cubicBezTo>
                  <a:lnTo>
                    <a:pt x="3045" y="6772"/>
                  </a:lnTo>
                  <a:lnTo>
                    <a:pt x="2963" y="6699"/>
                  </a:lnTo>
                  <a:cubicBezTo>
                    <a:pt x="3063" y="6235"/>
                    <a:pt x="3164" y="5773"/>
                    <a:pt x="3264" y="5310"/>
                  </a:cubicBezTo>
                  <a:cubicBezTo>
                    <a:pt x="3267" y="5312"/>
                    <a:pt x="3270" y="5313"/>
                    <a:pt x="3273" y="5315"/>
                  </a:cubicBezTo>
                  <a:lnTo>
                    <a:pt x="3291" y="5327"/>
                  </a:lnTo>
                  <a:cubicBezTo>
                    <a:pt x="3302" y="5333"/>
                    <a:pt x="3313" y="5338"/>
                    <a:pt x="3324" y="5344"/>
                  </a:cubicBezTo>
                  <a:cubicBezTo>
                    <a:pt x="3338" y="5351"/>
                    <a:pt x="3353" y="5359"/>
                    <a:pt x="3367" y="5366"/>
                  </a:cubicBezTo>
                  <a:cubicBezTo>
                    <a:pt x="3385" y="5376"/>
                    <a:pt x="3403" y="5385"/>
                    <a:pt x="3421" y="5395"/>
                  </a:cubicBezTo>
                  <a:lnTo>
                    <a:pt x="3482" y="5426"/>
                  </a:lnTo>
                  <a:lnTo>
                    <a:pt x="3555" y="5457"/>
                  </a:lnTo>
                  <a:cubicBezTo>
                    <a:pt x="3581" y="5469"/>
                    <a:pt x="3607" y="5480"/>
                    <a:pt x="3633" y="5493"/>
                  </a:cubicBezTo>
                  <a:lnTo>
                    <a:pt x="3718" y="5536"/>
                  </a:lnTo>
                  <a:cubicBezTo>
                    <a:pt x="3748" y="5548"/>
                    <a:pt x="3778" y="5559"/>
                    <a:pt x="3808" y="5571"/>
                  </a:cubicBezTo>
                  <a:lnTo>
                    <a:pt x="3907" y="5610"/>
                  </a:lnTo>
                  <a:cubicBezTo>
                    <a:pt x="3940" y="5622"/>
                    <a:pt x="3973" y="5633"/>
                    <a:pt x="4006" y="5645"/>
                  </a:cubicBezTo>
                  <a:cubicBezTo>
                    <a:pt x="4040" y="5657"/>
                    <a:pt x="4075" y="5668"/>
                    <a:pt x="4109" y="5681"/>
                  </a:cubicBezTo>
                  <a:lnTo>
                    <a:pt x="4215" y="5714"/>
                  </a:lnTo>
                  <a:lnTo>
                    <a:pt x="4325" y="5741"/>
                  </a:lnTo>
                  <a:cubicBezTo>
                    <a:pt x="4360" y="5750"/>
                    <a:pt x="4396" y="5758"/>
                    <a:pt x="4431" y="5767"/>
                  </a:cubicBezTo>
                  <a:lnTo>
                    <a:pt x="4540" y="5786"/>
                  </a:lnTo>
                  <a:lnTo>
                    <a:pt x="4643" y="5798"/>
                  </a:lnTo>
                  <a:cubicBezTo>
                    <a:pt x="4678" y="5801"/>
                    <a:pt x="4714" y="5803"/>
                    <a:pt x="4749" y="5806"/>
                  </a:cubicBezTo>
                  <a:lnTo>
                    <a:pt x="4849" y="5802"/>
                  </a:lnTo>
                  <a:cubicBezTo>
                    <a:pt x="4880" y="5799"/>
                    <a:pt x="4911" y="5797"/>
                    <a:pt x="4942" y="5794"/>
                  </a:cubicBezTo>
                  <a:lnTo>
                    <a:pt x="5034" y="5773"/>
                  </a:lnTo>
                  <a:cubicBezTo>
                    <a:pt x="5063" y="5764"/>
                    <a:pt x="5092" y="5754"/>
                    <a:pt x="5121" y="5745"/>
                  </a:cubicBezTo>
                  <a:lnTo>
                    <a:pt x="5200" y="5706"/>
                  </a:lnTo>
                  <a:cubicBezTo>
                    <a:pt x="5223" y="5688"/>
                    <a:pt x="5247" y="5671"/>
                    <a:pt x="5270" y="5653"/>
                  </a:cubicBezTo>
                  <a:cubicBezTo>
                    <a:pt x="5291" y="5632"/>
                    <a:pt x="5312" y="5610"/>
                    <a:pt x="5333" y="5589"/>
                  </a:cubicBezTo>
                  <a:cubicBezTo>
                    <a:pt x="5350" y="5563"/>
                    <a:pt x="5368" y="5537"/>
                    <a:pt x="5385" y="5510"/>
                  </a:cubicBezTo>
                  <a:cubicBezTo>
                    <a:pt x="5399" y="5479"/>
                    <a:pt x="5414" y="5448"/>
                    <a:pt x="5428" y="5418"/>
                  </a:cubicBezTo>
                  <a:lnTo>
                    <a:pt x="5458" y="5310"/>
                  </a:lnTo>
                  <a:cubicBezTo>
                    <a:pt x="5459" y="5309"/>
                    <a:pt x="5460" y="5307"/>
                    <a:pt x="5461" y="5306"/>
                  </a:cubicBezTo>
                  <a:lnTo>
                    <a:pt x="5461" y="5296"/>
                  </a:lnTo>
                  <a:lnTo>
                    <a:pt x="5461" y="5274"/>
                  </a:lnTo>
                  <a:lnTo>
                    <a:pt x="5461" y="5251"/>
                  </a:lnTo>
                  <a:cubicBezTo>
                    <a:pt x="5460" y="5240"/>
                    <a:pt x="5459" y="5228"/>
                    <a:pt x="5458" y="5217"/>
                  </a:cubicBezTo>
                  <a:cubicBezTo>
                    <a:pt x="5455" y="5205"/>
                    <a:pt x="5452" y="5194"/>
                    <a:pt x="5449" y="5182"/>
                  </a:cubicBezTo>
                  <a:cubicBezTo>
                    <a:pt x="5444" y="5168"/>
                    <a:pt x="5438" y="5153"/>
                    <a:pt x="5433" y="5139"/>
                  </a:cubicBezTo>
                  <a:cubicBezTo>
                    <a:pt x="5426" y="5125"/>
                    <a:pt x="5419" y="5110"/>
                    <a:pt x="5412" y="5095"/>
                  </a:cubicBezTo>
                  <a:cubicBezTo>
                    <a:pt x="5403" y="5078"/>
                    <a:pt x="5394" y="5060"/>
                    <a:pt x="5385" y="5043"/>
                  </a:cubicBezTo>
                  <a:cubicBezTo>
                    <a:pt x="5372" y="5025"/>
                    <a:pt x="5359" y="5007"/>
                    <a:pt x="5346" y="4990"/>
                  </a:cubicBezTo>
                  <a:cubicBezTo>
                    <a:pt x="5330" y="4973"/>
                    <a:pt x="5313" y="4956"/>
                    <a:pt x="5297" y="4939"/>
                  </a:cubicBezTo>
                  <a:cubicBezTo>
                    <a:pt x="5278" y="4921"/>
                    <a:pt x="5259" y="4902"/>
                    <a:pt x="5240" y="4884"/>
                  </a:cubicBezTo>
                  <a:cubicBezTo>
                    <a:pt x="5216" y="4864"/>
                    <a:pt x="5191" y="4844"/>
                    <a:pt x="5167" y="4824"/>
                  </a:cubicBezTo>
                  <a:lnTo>
                    <a:pt x="5078" y="4767"/>
                  </a:lnTo>
                  <a:lnTo>
                    <a:pt x="4975" y="4706"/>
                  </a:lnTo>
                  <a:lnTo>
                    <a:pt x="4858" y="4652"/>
                  </a:lnTo>
                  <a:lnTo>
                    <a:pt x="4722" y="4597"/>
                  </a:lnTo>
                  <a:lnTo>
                    <a:pt x="4567" y="4545"/>
                  </a:lnTo>
                  <a:cubicBezTo>
                    <a:pt x="4564" y="4544"/>
                    <a:pt x="4560" y="4542"/>
                    <a:pt x="4557" y="4541"/>
                  </a:cubicBezTo>
                  <a:cubicBezTo>
                    <a:pt x="4548" y="4537"/>
                    <a:pt x="4539" y="4531"/>
                    <a:pt x="4530" y="4527"/>
                  </a:cubicBezTo>
                  <a:cubicBezTo>
                    <a:pt x="4517" y="4524"/>
                    <a:pt x="4504" y="4520"/>
                    <a:pt x="4491" y="4516"/>
                  </a:cubicBezTo>
                  <a:cubicBezTo>
                    <a:pt x="4473" y="4508"/>
                    <a:pt x="4455" y="4499"/>
                    <a:pt x="4437" y="4491"/>
                  </a:cubicBezTo>
                  <a:lnTo>
                    <a:pt x="4372" y="4464"/>
                  </a:lnTo>
                  <a:cubicBezTo>
                    <a:pt x="4347" y="4452"/>
                    <a:pt x="4323" y="4439"/>
                    <a:pt x="4298" y="4427"/>
                  </a:cubicBezTo>
                  <a:lnTo>
                    <a:pt x="4212" y="4388"/>
                  </a:lnTo>
                  <a:lnTo>
                    <a:pt x="4122" y="4340"/>
                  </a:lnTo>
                  <a:cubicBezTo>
                    <a:pt x="4090" y="4322"/>
                    <a:pt x="4059" y="4303"/>
                    <a:pt x="4027" y="4285"/>
                  </a:cubicBezTo>
                  <a:lnTo>
                    <a:pt x="3927" y="4225"/>
                  </a:lnTo>
                  <a:lnTo>
                    <a:pt x="3827" y="4156"/>
                  </a:lnTo>
                  <a:cubicBezTo>
                    <a:pt x="3794" y="4132"/>
                    <a:pt x="3761" y="4108"/>
                    <a:pt x="3728" y="4085"/>
                  </a:cubicBezTo>
                  <a:lnTo>
                    <a:pt x="3631" y="4001"/>
                  </a:lnTo>
                  <a:lnTo>
                    <a:pt x="3533" y="3914"/>
                  </a:lnTo>
                  <a:cubicBezTo>
                    <a:pt x="3504" y="3884"/>
                    <a:pt x="3475" y="3853"/>
                    <a:pt x="3446" y="3823"/>
                  </a:cubicBezTo>
                  <a:cubicBezTo>
                    <a:pt x="3417" y="3788"/>
                    <a:pt x="3389" y="3753"/>
                    <a:pt x="3360" y="3717"/>
                  </a:cubicBezTo>
                  <a:cubicBezTo>
                    <a:pt x="3336" y="3681"/>
                    <a:pt x="3312" y="3646"/>
                    <a:pt x="3288" y="3610"/>
                  </a:cubicBezTo>
                  <a:cubicBezTo>
                    <a:pt x="3267" y="3571"/>
                    <a:pt x="3245" y="3533"/>
                    <a:pt x="3224" y="3494"/>
                  </a:cubicBezTo>
                  <a:cubicBezTo>
                    <a:pt x="3222" y="3491"/>
                    <a:pt x="3220" y="3489"/>
                    <a:pt x="3218" y="3486"/>
                  </a:cubicBezTo>
                  <a:cubicBezTo>
                    <a:pt x="3215" y="3479"/>
                    <a:pt x="3213" y="3472"/>
                    <a:pt x="3210" y="3465"/>
                  </a:cubicBezTo>
                  <a:cubicBezTo>
                    <a:pt x="3205" y="3453"/>
                    <a:pt x="3199" y="3442"/>
                    <a:pt x="3194" y="3430"/>
                  </a:cubicBezTo>
                  <a:cubicBezTo>
                    <a:pt x="3188" y="3416"/>
                    <a:pt x="3181" y="3401"/>
                    <a:pt x="3175" y="3387"/>
                  </a:cubicBezTo>
                  <a:cubicBezTo>
                    <a:pt x="3168" y="3367"/>
                    <a:pt x="3162" y="3346"/>
                    <a:pt x="3155" y="3326"/>
                  </a:cubicBezTo>
                  <a:cubicBezTo>
                    <a:pt x="3148" y="3301"/>
                    <a:pt x="3141" y="3278"/>
                    <a:pt x="3134" y="3254"/>
                  </a:cubicBezTo>
                  <a:cubicBezTo>
                    <a:pt x="3126" y="3228"/>
                    <a:pt x="3117" y="3202"/>
                    <a:pt x="3109" y="3176"/>
                  </a:cubicBezTo>
                  <a:cubicBezTo>
                    <a:pt x="3102" y="3145"/>
                    <a:pt x="3095" y="3116"/>
                    <a:pt x="3088" y="3086"/>
                  </a:cubicBezTo>
                  <a:cubicBezTo>
                    <a:pt x="3082" y="3053"/>
                    <a:pt x="3075" y="3022"/>
                    <a:pt x="3069" y="2990"/>
                  </a:cubicBezTo>
                  <a:cubicBezTo>
                    <a:pt x="3063" y="2954"/>
                    <a:pt x="3058" y="2919"/>
                    <a:pt x="3052" y="2884"/>
                  </a:cubicBezTo>
                  <a:cubicBezTo>
                    <a:pt x="3048" y="2847"/>
                    <a:pt x="3043" y="2808"/>
                    <a:pt x="3039" y="2770"/>
                  </a:cubicBezTo>
                  <a:cubicBezTo>
                    <a:pt x="3037" y="2732"/>
                    <a:pt x="3036" y="2694"/>
                    <a:pt x="3034" y="2656"/>
                  </a:cubicBezTo>
                  <a:lnTo>
                    <a:pt x="3034" y="2530"/>
                  </a:lnTo>
                  <a:cubicBezTo>
                    <a:pt x="3037" y="2488"/>
                    <a:pt x="3039" y="2446"/>
                    <a:pt x="3042" y="2403"/>
                  </a:cubicBezTo>
                  <a:cubicBezTo>
                    <a:pt x="3047" y="2360"/>
                    <a:pt x="3053" y="2315"/>
                    <a:pt x="3058" y="2272"/>
                  </a:cubicBezTo>
                  <a:lnTo>
                    <a:pt x="3085" y="2137"/>
                  </a:lnTo>
                  <a:cubicBezTo>
                    <a:pt x="3098" y="2092"/>
                    <a:pt x="3111" y="2046"/>
                    <a:pt x="3124" y="2000"/>
                  </a:cubicBezTo>
                  <a:cubicBezTo>
                    <a:pt x="3141" y="1955"/>
                    <a:pt x="3158" y="1911"/>
                    <a:pt x="3175" y="1866"/>
                  </a:cubicBezTo>
                  <a:cubicBezTo>
                    <a:pt x="3198" y="1818"/>
                    <a:pt x="3220" y="1771"/>
                    <a:pt x="3243" y="1725"/>
                  </a:cubicBezTo>
                  <a:cubicBezTo>
                    <a:pt x="3269" y="1680"/>
                    <a:pt x="3295" y="1636"/>
                    <a:pt x="3321" y="1589"/>
                  </a:cubicBezTo>
                  <a:lnTo>
                    <a:pt x="3419" y="1455"/>
                  </a:lnTo>
                  <a:lnTo>
                    <a:pt x="3533" y="1318"/>
                  </a:lnTo>
                  <a:lnTo>
                    <a:pt x="3668" y="1185"/>
                  </a:lnTo>
                  <a:cubicBezTo>
                    <a:pt x="3669" y="1184"/>
                    <a:pt x="3671" y="1184"/>
                    <a:pt x="3672" y="1183"/>
                  </a:cubicBezTo>
                  <a:cubicBezTo>
                    <a:pt x="3678" y="1177"/>
                    <a:pt x="3685" y="1172"/>
                    <a:pt x="3691" y="1166"/>
                  </a:cubicBezTo>
                  <a:lnTo>
                    <a:pt x="3721" y="1142"/>
                  </a:lnTo>
                  <a:lnTo>
                    <a:pt x="3764" y="1111"/>
                  </a:lnTo>
                  <a:cubicBezTo>
                    <a:pt x="3780" y="1099"/>
                    <a:pt x="3796" y="1086"/>
                    <a:pt x="3812" y="1074"/>
                  </a:cubicBezTo>
                  <a:lnTo>
                    <a:pt x="3873" y="1034"/>
                  </a:lnTo>
                  <a:lnTo>
                    <a:pt x="3943" y="991"/>
                  </a:lnTo>
                  <a:cubicBezTo>
                    <a:pt x="3968" y="976"/>
                    <a:pt x="3994" y="962"/>
                    <a:pt x="4019" y="947"/>
                  </a:cubicBezTo>
                  <a:lnTo>
                    <a:pt x="4100" y="908"/>
                  </a:lnTo>
                  <a:cubicBezTo>
                    <a:pt x="4129" y="894"/>
                    <a:pt x="4159" y="881"/>
                    <a:pt x="4188" y="867"/>
                  </a:cubicBezTo>
                  <a:cubicBezTo>
                    <a:pt x="4218" y="853"/>
                    <a:pt x="4249" y="842"/>
                    <a:pt x="4279" y="830"/>
                  </a:cubicBezTo>
                  <a:lnTo>
                    <a:pt x="4375" y="803"/>
                  </a:lnTo>
                  <a:lnTo>
                    <a:pt x="4477" y="778"/>
                  </a:lnTo>
                  <a:cubicBezTo>
                    <a:pt x="4474" y="519"/>
                    <a:pt x="4470" y="259"/>
                    <a:pt x="446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7">
              <a:extLst>
                <a:ext uri="{FF2B5EF4-FFF2-40B4-BE49-F238E27FC236}">
                  <a16:creationId xmlns:a16="http://schemas.microsoft.com/office/drawing/2014/main" id="{1BE58ED1-1056-C347-8EA3-BE65079BCB7B}"/>
                </a:ext>
              </a:extLst>
            </p:cNvPr>
            <p:cNvSpPr>
              <a:spLocks/>
            </p:cNvSpPr>
            <p:nvPr/>
          </p:nvSpPr>
          <p:spPr bwMode="auto">
            <a:xfrm>
              <a:off x="2774951" y="3732213"/>
              <a:ext cx="1038225" cy="712788"/>
            </a:xfrm>
            <a:custGeom>
              <a:avLst/>
              <a:gdLst>
                <a:gd name="T0" fmla="*/ 1284 w 1309"/>
                <a:gd name="T1" fmla="*/ 0 h 900"/>
                <a:gd name="T2" fmla="*/ 1295 w 1309"/>
                <a:gd name="T3" fmla="*/ 0 h 900"/>
                <a:gd name="T4" fmla="*/ 1297 w 1309"/>
                <a:gd name="T5" fmla="*/ 2 h 900"/>
                <a:gd name="T6" fmla="*/ 1301 w 1309"/>
                <a:gd name="T7" fmla="*/ 4 h 900"/>
                <a:gd name="T8" fmla="*/ 1305 w 1309"/>
                <a:gd name="T9" fmla="*/ 10 h 900"/>
                <a:gd name="T10" fmla="*/ 1309 w 1309"/>
                <a:gd name="T11" fmla="*/ 21 h 900"/>
                <a:gd name="T12" fmla="*/ 1307 w 1309"/>
                <a:gd name="T13" fmla="*/ 38 h 900"/>
                <a:gd name="T14" fmla="*/ 1307 w 1309"/>
                <a:gd name="T15" fmla="*/ 42 h 900"/>
                <a:gd name="T16" fmla="*/ 1303 w 1309"/>
                <a:gd name="T17" fmla="*/ 50 h 900"/>
                <a:gd name="T18" fmla="*/ 1297 w 1309"/>
                <a:gd name="T19" fmla="*/ 65 h 900"/>
                <a:gd name="T20" fmla="*/ 1290 w 1309"/>
                <a:gd name="T21" fmla="*/ 84 h 900"/>
                <a:gd name="T22" fmla="*/ 1278 w 1309"/>
                <a:gd name="T23" fmla="*/ 107 h 900"/>
                <a:gd name="T24" fmla="*/ 1263 w 1309"/>
                <a:gd name="T25" fmla="*/ 132 h 900"/>
                <a:gd name="T26" fmla="*/ 1244 w 1309"/>
                <a:gd name="T27" fmla="*/ 163 h 900"/>
                <a:gd name="T28" fmla="*/ 1219 w 1309"/>
                <a:gd name="T29" fmla="*/ 195 h 900"/>
                <a:gd name="T30" fmla="*/ 1190 w 1309"/>
                <a:gd name="T31" fmla="*/ 230 h 900"/>
                <a:gd name="T32" fmla="*/ 1156 w 1309"/>
                <a:gd name="T33" fmla="*/ 266 h 900"/>
                <a:gd name="T34" fmla="*/ 1115 w 1309"/>
                <a:gd name="T35" fmla="*/ 304 h 900"/>
                <a:gd name="T36" fmla="*/ 1069 w 1309"/>
                <a:gd name="T37" fmla="*/ 341 h 900"/>
                <a:gd name="T38" fmla="*/ 1016 w 1309"/>
                <a:gd name="T39" fmla="*/ 379 h 900"/>
                <a:gd name="T40" fmla="*/ 957 w 1309"/>
                <a:gd name="T41" fmla="*/ 417 h 900"/>
                <a:gd name="T42" fmla="*/ 888 w 1309"/>
                <a:gd name="T43" fmla="*/ 454 h 900"/>
                <a:gd name="T44" fmla="*/ 813 w 1309"/>
                <a:gd name="T45" fmla="*/ 488 h 900"/>
                <a:gd name="T46" fmla="*/ 729 w 1309"/>
                <a:gd name="T47" fmla="*/ 523 h 900"/>
                <a:gd name="T48" fmla="*/ 637 w 1309"/>
                <a:gd name="T49" fmla="*/ 553 h 900"/>
                <a:gd name="T50" fmla="*/ 535 w 1309"/>
                <a:gd name="T51" fmla="*/ 580 h 900"/>
                <a:gd name="T52" fmla="*/ 423 w 1309"/>
                <a:gd name="T53" fmla="*/ 605 h 900"/>
                <a:gd name="T54" fmla="*/ 419 w 1309"/>
                <a:gd name="T55" fmla="*/ 900 h 900"/>
                <a:gd name="T56" fmla="*/ 19 w 1309"/>
                <a:gd name="T57" fmla="*/ 900 h 900"/>
                <a:gd name="T58" fmla="*/ 17 w 1309"/>
                <a:gd name="T59" fmla="*/ 900 h 900"/>
                <a:gd name="T60" fmla="*/ 11 w 1309"/>
                <a:gd name="T61" fmla="*/ 896 h 900"/>
                <a:gd name="T62" fmla="*/ 5 w 1309"/>
                <a:gd name="T63" fmla="*/ 892 h 900"/>
                <a:gd name="T64" fmla="*/ 0 w 1309"/>
                <a:gd name="T65" fmla="*/ 884 h 900"/>
                <a:gd name="T66" fmla="*/ 0 w 1309"/>
                <a:gd name="T67" fmla="*/ 877 h 900"/>
                <a:gd name="T68" fmla="*/ 5 w 1309"/>
                <a:gd name="T69" fmla="*/ 867 h 900"/>
                <a:gd name="T70" fmla="*/ 19 w 1309"/>
                <a:gd name="T71" fmla="*/ 854 h 900"/>
                <a:gd name="T72" fmla="*/ 375 w 1309"/>
                <a:gd name="T73" fmla="*/ 854 h 900"/>
                <a:gd name="T74" fmla="*/ 375 w 1309"/>
                <a:gd name="T75" fmla="*/ 559 h 900"/>
                <a:gd name="T76" fmla="*/ 380 w 1309"/>
                <a:gd name="T77" fmla="*/ 557 h 900"/>
                <a:gd name="T78" fmla="*/ 396 w 1309"/>
                <a:gd name="T79" fmla="*/ 555 h 900"/>
                <a:gd name="T80" fmla="*/ 423 w 1309"/>
                <a:gd name="T81" fmla="*/ 551 h 900"/>
                <a:gd name="T82" fmla="*/ 455 w 1309"/>
                <a:gd name="T83" fmla="*/ 546 h 900"/>
                <a:gd name="T84" fmla="*/ 497 w 1309"/>
                <a:gd name="T85" fmla="*/ 536 h 900"/>
                <a:gd name="T86" fmla="*/ 545 w 1309"/>
                <a:gd name="T87" fmla="*/ 526 h 900"/>
                <a:gd name="T88" fmla="*/ 597 w 1309"/>
                <a:gd name="T89" fmla="*/ 511 h 900"/>
                <a:gd name="T90" fmla="*/ 654 w 1309"/>
                <a:gd name="T91" fmla="*/ 494 h 900"/>
                <a:gd name="T92" fmla="*/ 715 w 1309"/>
                <a:gd name="T93" fmla="*/ 475 h 900"/>
                <a:gd name="T94" fmla="*/ 777 w 1309"/>
                <a:gd name="T95" fmla="*/ 450 h 900"/>
                <a:gd name="T96" fmla="*/ 840 w 1309"/>
                <a:gd name="T97" fmla="*/ 421 h 900"/>
                <a:gd name="T98" fmla="*/ 905 w 1309"/>
                <a:gd name="T99" fmla="*/ 389 h 900"/>
                <a:gd name="T100" fmla="*/ 968 w 1309"/>
                <a:gd name="T101" fmla="*/ 352 h 900"/>
                <a:gd name="T102" fmla="*/ 1027 w 1309"/>
                <a:gd name="T103" fmla="*/ 310 h 900"/>
                <a:gd name="T104" fmla="*/ 1085 w 1309"/>
                <a:gd name="T105" fmla="*/ 264 h 900"/>
                <a:gd name="T106" fmla="*/ 1138 w 1309"/>
                <a:gd name="T107" fmla="*/ 211 h 900"/>
                <a:gd name="T108" fmla="*/ 1188 w 1309"/>
                <a:gd name="T109" fmla="*/ 153 h 900"/>
                <a:gd name="T110" fmla="*/ 1230 w 1309"/>
                <a:gd name="T111" fmla="*/ 90 h 900"/>
                <a:gd name="T112" fmla="*/ 1265 w 1309"/>
                <a:gd name="T113" fmla="*/ 21 h 900"/>
                <a:gd name="T114" fmla="*/ 1267 w 1309"/>
                <a:gd name="T115" fmla="*/ 17 h 900"/>
                <a:gd name="T116" fmla="*/ 1269 w 1309"/>
                <a:gd name="T117" fmla="*/ 12 h 900"/>
                <a:gd name="T118" fmla="*/ 1274 w 1309"/>
                <a:gd name="T119" fmla="*/ 4 h 900"/>
                <a:gd name="T120" fmla="*/ 1284 w 1309"/>
                <a:gd name="T121" fmla="*/ 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9" h="900">
                  <a:moveTo>
                    <a:pt x="1284" y="0"/>
                  </a:moveTo>
                  <a:lnTo>
                    <a:pt x="1295" y="0"/>
                  </a:lnTo>
                  <a:lnTo>
                    <a:pt x="1297" y="2"/>
                  </a:lnTo>
                  <a:lnTo>
                    <a:pt x="1301" y="4"/>
                  </a:lnTo>
                  <a:lnTo>
                    <a:pt x="1305" y="10"/>
                  </a:lnTo>
                  <a:lnTo>
                    <a:pt x="1309" y="21"/>
                  </a:lnTo>
                  <a:lnTo>
                    <a:pt x="1307" y="38"/>
                  </a:lnTo>
                  <a:lnTo>
                    <a:pt x="1307" y="42"/>
                  </a:lnTo>
                  <a:lnTo>
                    <a:pt x="1303" y="50"/>
                  </a:lnTo>
                  <a:lnTo>
                    <a:pt x="1297" y="65"/>
                  </a:lnTo>
                  <a:lnTo>
                    <a:pt x="1290" y="84"/>
                  </a:lnTo>
                  <a:lnTo>
                    <a:pt x="1278" y="107"/>
                  </a:lnTo>
                  <a:lnTo>
                    <a:pt x="1263" y="132"/>
                  </a:lnTo>
                  <a:lnTo>
                    <a:pt x="1244" y="163"/>
                  </a:lnTo>
                  <a:lnTo>
                    <a:pt x="1219" y="195"/>
                  </a:lnTo>
                  <a:lnTo>
                    <a:pt x="1190" y="230"/>
                  </a:lnTo>
                  <a:lnTo>
                    <a:pt x="1156" y="266"/>
                  </a:lnTo>
                  <a:lnTo>
                    <a:pt x="1115" y="304"/>
                  </a:lnTo>
                  <a:lnTo>
                    <a:pt x="1069" y="341"/>
                  </a:lnTo>
                  <a:lnTo>
                    <a:pt x="1016" y="379"/>
                  </a:lnTo>
                  <a:lnTo>
                    <a:pt x="957" y="417"/>
                  </a:lnTo>
                  <a:lnTo>
                    <a:pt x="888" y="454"/>
                  </a:lnTo>
                  <a:lnTo>
                    <a:pt x="813" y="488"/>
                  </a:lnTo>
                  <a:lnTo>
                    <a:pt x="729" y="523"/>
                  </a:lnTo>
                  <a:lnTo>
                    <a:pt x="637" y="553"/>
                  </a:lnTo>
                  <a:lnTo>
                    <a:pt x="535" y="580"/>
                  </a:lnTo>
                  <a:lnTo>
                    <a:pt x="423" y="605"/>
                  </a:lnTo>
                  <a:lnTo>
                    <a:pt x="419" y="900"/>
                  </a:lnTo>
                  <a:lnTo>
                    <a:pt x="19" y="900"/>
                  </a:lnTo>
                  <a:lnTo>
                    <a:pt x="17" y="900"/>
                  </a:lnTo>
                  <a:lnTo>
                    <a:pt x="11" y="896"/>
                  </a:lnTo>
                  <a:lnTo>
                    <a:pt x="5" y="892"/>
                  </a:lnTo>
                  <a:lnTo>
                    <a:pt x="0" y="884"/>
                  </a:lnTo>
                  <a:lnTo>
                    <a:pt x="0" y="877"/>
                  </a:lnTo>
                  <a:lnTo>
                    <a:pt x="5" y="867"/>
                  </a:lnTo>
                  <a:lnTo>
                    <a:pt x="19" y="854"/>
                  </a:lnTo>
                  <a:lnTo>
                    <a:pt x="375" y="854"/>
                  </a:lnTo>
                  <a:lnTo>
                    <a:pt x="375" y="559"/>
                  </a:lnTo>
                  <a:lnTo>
                    <a:pt x="380" y="557"/>
                  </a:lnTo>
                  <a:lnTo>
                    <a:pt x="396" y="555"/>
                  </a:lnTo>
                  <a:lnTo>
                    <a:pt x="423" y="551"/>
                  </a:lnTo>
                  <a:lnTo>
                    <a:pt x="455" y="546"/>
                  </a:lnTo>
                  <a:lnTo>
                    <a:pt x="497" y="536"/>
                  </a:lnTo>
                  <a:lnTo>
                    <a:pt x="545" y="526"/>
                  </a:lnTo>
                  <a:lnTo>
                    <a:pt x="597" y="511"/>
                  </a:lnTo>
                  <a:lnTo>
                    <a:pt x="654" y="494"/>
                  </a:lnTo>
                  <a:lnTo>
                    <a:pt x="715" y="475"/>
                  </a:lnTo>
                  <a:lnTo>
                    <a:pt x="777" y="450"/>
                  </a:lnTo>
                  <a:lnTo>
                    <a:pt x="840" y="421"/>
                  </a:lnTo>
                  <a:lnTo>
                    <a:pt x="905" y="389"/>
                  </a:lnTo>
                  <a:lnTo>
                    <a:pt x="968" y="352"/>
                  </a:lnTo>
                  <a:lnTo>
                    <a:pt x="1027" y="310"/>
                  </a:lnTo>
                  <a:lnTo>
                    <a:pt x="1085" y="264"/>
                  </a:lnTo>
                  <a:lnTo>
                    <a:pt x="1138" y="211"/>
                  </a:lnTo>
                  <a:lnTo>
                    <a:pt x="1188" y="153"/>
                  </a:lnTo>
                  <a:lnTo>
                    <a:pt x="1230" y="90"/>
                  </a:lnTo>
                  <a:lnTo>
                    <a:pt x="1265" y="21"/>
                  </a:lnTo>
                  <a:lnTo>
                    <a:pt x="1267" y="17"/>
                  </a:lnTo>
                  <a:lnTo>
                    <a:pt x="1269" y="12"/>
                  </a:lnTo>
                  <a:lnTo>
                    <a:pt x="1274" y="4"/>
                  </a:lnTo>
                  <a:lnTo>
                    <a:pt x="128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Oval 20">
              <a:extLst>
                <a:ext uri="{FF2B5EF4-FFF2-40B4-BE49-F238E27FC236}">
                  <a16:creationId xmlns:a16="http://schemas.microsoft.com/office/drawing/2014/main" id="{B613E657-57A2-E943-A9E6-6BDB9E610904}"/>
                </a:ext>
              </a:extLst>
            </p:cNvPr>
            <p:cNvSpPr/>
            <p:nvPr/>
          </p:nvSpPr>
          <p:spPr bwMode="gray">
            <a:xfrm>
              <a:off x="894347" y="5201653"/>
              <a:ext cx="148389" cy="148389"/>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1"/>
                  </a:solidFill>
                </a:rPr>
                <a:t>+</a:t>
              </a:r>
            </a:p>
          </p:txBody>
        </p:sp>
        <p:sp>
          <p:nvSpPr>
            <p:cNvPr id="22" name="Oval 21">
              <a:extLst>
                <a:ext uri="{FF2B5EF4-FFF2-40B4-BE49-F238E27FC236}">
                  <a16:creationId xmlns:a16="http://schemas.microsoft.com/office/drawing/2014/main" id="{B983E6D4-3D20-554B-8ED3-A9C5A54205C3}"/>
                </a:ext>
              </a:extLst>
            </p:cNvPr>
            <p:cNvSpPr/>
            <p:nvPr/>
          </p:nvSpPr>
          <p:spPr bwMode="gray">
            <a:xfrm>
              <a:off x="1211179" y="4764505"/>
              <a:ext cx="148389" cy="148389"/>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1"/>
                  </a:solidFill>
                </a:rPr>
                <a:t>+</a:t>
              </a:r>
            </a:p>
          </p:txBody>
        </p:sp>
        <p:sp>
          <p:nvSpPr>
            <p:cNvPr id="23" name="Oval 22">
              <a:extLst>
                <a:ext uri="{FF2B5EF4-FFF2-40B4-BE49-F238E27FC236}">
                  <a16:creationId xmlns:a16="http://schemas.microsoft.com/office/drawing/2014/main" id="{10DD9C23-0876-B94E-8146-D91926CBAE42}"/>
                </a:ext>
              </a:extLst>
            </p:cNvPr>
            <p:cNvSpPr/>
            <p:nvPr/>
          </p:nvSpPr>
          <p:spPr bwMode="gray">
            <a:xfrm>
              <a:off x="1620253" y="5045243"/>
              <a:ext cx="148389" cy="148389"/>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1"/>
                  </a:solidFill>
                </a:rPr>
                <a:t>+</a:t>
              </a:r>
            </a:p>
          </p:txBody>
        </p:sp>
        <p:sp>
          <p:nvSpPr>
            <p:cNvPr id="24" name="Oval 23">
              <a:extLst>
                <a:ext uri="{FF2B5EF4-FFF2-40B4-BE49-F238E27FC236}">
                  <a16:creationId xmlns:a16="http://schemas.microsoft.com/office/drawing/2014/main" id="{EAFFAB10-EA9F-CD45-9858-E737C47CFFC6}"/>
                </a:ext>
              </a:extLst>
            </p:cNvPr>
            <p:cNvSpPr/>
            <p:nvPr/>
          </p:nvSpPr>
          <p:spPr bwMode="gray">
            <a:xfrm>
              <a:off x="2125579" y="4371474"/>
              <a:ext cx="148389" cy="148389"/>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1"/>
                  </a:solidFill>
                </a:rPr>
                <a:t>+</a:t>
              </a:r>
            </a:p>
          </p:txBody>
        </p:sp>
        <p:sp>
          <p:nvSpPr>
            <p:cNvPr id="25" name="Oval 24">
              <a:extLst>
                <a:ext uri="{FF2B5EF4-FFF2-40B4-BE49-F238E27FC236}">
                  <a16:creationId xmlns:a16="http://schemas.microsoft.com/office/drawing/2014/main" id="{C07AC8C0-323A-9240-A521-75FD3FF4033F}"/>
                </a:ext>
              </a:extLst>
            </p:cNvPr>
            <p:cNvSpPr/>
            <p:nvPr/>
          </p:nvSpPr>
          <p:spPr bwMode="gray">
            <a:xfrm>
              <a:off x="4086726" y="2951746"/>
              <a:ext cx="148389" cy="148389"/>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1"/>
                  </a:solidFill>
                </a:rPr>
                <a:t>+</a:t>
              </a:r>
            </a:p>
          </p:txBody>
        </p:sp>
      </p:grpSp>
    </p:spTree>
    <p:custDataLst>
      <p:tags r:id="rId1"/>
    </p:custDataLst>
    <p:extLst>
      <p:ext uri="{BB962C8B-B14F-4D97-AF65-F5344CB8AC3E}">
        <p14:creationId xmlns:p14="http://schemas.microsoft.com/office/powerpoint/2010/main" val="325397482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85368" y="1714499"/>
            <a:ext cx="11339919" cy="778189"/>
            <a:chOff x="485368" y="1714500"/>
            <a:chExt cx="11339919" cy="422168"/>
          </a:xfrm>
        </p:grpSpPr>
        <p:sp>
          <p:nvSpPr>
            <p:cNvPr id="32" name="Rounded Rectangle 73"/>
            <p:cNvSpPr/>
            <p:nvPr/>
          </p:nvSpPr>
          <p:spPr>
            <a:xfrm>
              <a:off x="485368" y="1727298"/>
              <a:ext cx="11339919" cy="396572"/>
            </a:xfrm>
            <a:prstGeom prst="roundRect">
              <a:avLst>
                <a:gd name="adj" fmla="val 10505"/>
              </a:avLst>
            </a:prstGeom>
            <a:solidFill>
              <a:srgbClr val="FFFFFF"/>
            </a:solidFill>
            <a:ln w="12700" cap="flat" cmpd="sng" algn="ctr">
              <a:noFill/>
              <a:prstDash val="solid"/>
              <a:miter lim="800000"/>
            </a:ln>
            <a:effectLst/>
          </p:spPr>
          <p:txBody>
            <a:bodyPr lIns="684000" rIns="0" rtlCol="0" anchor="ctr"/>
            <a:lstStyle/>
            <a:p>
              <a:pPr>
                <a:buFont typeface="Wingdings 2" pitchFamily="18" charset="2"/>
                <a:buNone/>
              </a:pPr>
              <a:r>
                <a:rPr lang="en-US" altLang="zh-CN" sz="1300" dirty="0">
                  <a:solidFill>
                    <a:srgbClr val="000000"/>
                  </a:solidFill>
                </a:rPr>
                <a:t>This is dummy text it is not here to be read. The is just text to show where you could insert text. The is just to show where you could insert text. Please replace with your text content here.</a:t>
              </a:r>
              <a:endParaRPr lang="en-US" sz="1300" dirty="0">
                <a:solidFill>
                  <a:srgbClr val="000000"/>
                </a:solidFill>
              </a:endParaRPr>
            </a:p>
          </p:txBody>
        </p:sp>
        <p:grpSp>
          <p:nvGrpSpPr>
            <p:cNvPr id="2" name="Group 1"/>
            <p:cNvGrpSpPr/>
            <p:nvPr/>
          </p:nvGrpSpPr>
          <p:grpSpPr>
            <a:xfrm>
              <a:off x="485368" y="1714500"/>
              <a:ext cx="508236" cy="422168"/>
              <a:chOff x="489266" y="1690105"/>
              <a:chExt cx="428670" cy="356076"/>
            </a:xfrm>
          </p:grpSpPr>
          <p:sp>
            <p:nvSpPr>
              <p:cNvPr id="33" name="Rounded Rectangle 122"/>
              <p:cNvSpPr/>
              <p:nvPr/>
            </p:nvSpPr>
            <p:spPr>
              <a:xfrm rot="16200000" flipH="1">
                <a:off x="651388" y="1775843"/>
                <a:ext cx="348496" cy="184601"/>
              </a:xfrm>
              <a:prstGeom prst="roundRect">
                <a:avLst>
                  <a:gd name="adj" fmla="val 50000"/>
                </a:avLst>
              </a:prstGeom>
              <a:solidFill>
                <a:srgbClr val="81BC00">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err="1">
                  <a:ln>
                    <a:noFill/>
                  </a:ln>
                  <a:solidFill>
                    <a:prstClr val="white"/>
                  </a:solidFill>
                  <a:effectLst/>
                  <a:uLnTx/>
                  <a:uFillTx/>
                  <a:latin typeface="+mj-lt"/>
                  <a:ea typeface="+mn-ea"/>
                  <a:cs typeface="+mn-cs"/>
                </a:endParaRPr>
              </a:p>
            </p:txBody>
          </p:sp>
          <p:sp>
            <p:nvSpPr>
              <p:cNvPr id="34" name="Rounded Rectangle 28"/>
              <p:cNvSpPr/>
              <p:nvPr/>
            </p:nvSpPr>
            <p:spPr>
              <a:xfrm rot="5400000">
                <a:off x="510064" y="1669307"/>
                <a:ext cx="356076" cy="397671"/>
              </a:xfrm>
              <a:prstGeom prst="round2SameRect">
                <a:avLst>
                  <a:gd name="adj1" fmla="val 24622"/>
                  <a:gd name="adj2" fmla="val 0"/>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err="1">
                  <a:ln>
                    <a:noFill/>
                  </a:ln>
                  <a:solidFill>
                    <a:prstClr val="white"/>
                  </a:solidFill>
                  <a:effectLst/>
                  <a:uLnTx/>
                  <a:uFillTx/>
                  <a:latin typeface="+mj-lt"/>
                  <a:ea typeface="+mn-ea"/>
                  <a:cs typeface="+mn-cs"/>
                </a:endParaRPr>
              </a:p>
            </p:txBody>
          </p:sp>
        </p:grpSp>
      </p:grpSp>
      <p:sp>
        <p:nvSpPr>
          <p:cNvPr id="10" name="Rectangle 14"/>
          <p:cNvSpPr/>
          <p:nvPr/>
        </p:nvSpPr>
        <p:spPr>
          <a:xfrm>
            <a:off x="2881358" y="4565994"/>
            <a:ext cx="1755961" cy="1000274"/>
          </a:xfrm>
          <a:prstGeom prst="rect">
            <a:avLst/>
          </a:prstGeom>
          <a:noFill/>
        </p:spPr>
        <p:txBody>
          <a:bodyPr wrap="square" lIns="0" tIns="0" rIns="0" bIns="0" anchor="t" anchorCtr="1">
            <a:spAutoFit/>
          </a:bodyPr>
          <a:lstStyle/>
          <a:p>
            <a:pPr algn="ctr"/>
            <a:r>
              <a:rPr lang="en-US" altLang="zh-CN" sz="1300" dirty="0">
                <a:solidFill>
                  <a:srgbClr val="FFFFFF"/>
                </a:solidFill>
              </a:rPr>
              <a:t>this is dummy text it is not here to be read it is here to show how this document will look this is dummy text</a:t>
            </a:r>
          </a:p>
        </p:txBody>
      </p:sp>
      <p:sp>
        <p:nvSpPr>
          <p:cNvPr id="13" name="Rectangle 14"/>
          <p:cNvSpPr/>
          <p:nvPr/>
        </p:nvSpPr>
        <p:spPr>
          <a:xfrm>
            <a:off x="485368" y="4565994"/>
            <a:ext cx="1755961" cy="1000274"/>
          </a:xfrm>
          <a:prstGeom prst="rect">
            <a:avLst/>
          </a:prstGeom>
          <a:noFill/>
        </p:spPr>
        <p:txBody>
          <a:bodyPr wrap="square" lIns="0" tIns="0" rIns="0" bIns="0" anchor="t" anchorCtr="1">
            <a:spAutoFit/>
          </a:bodyPr>
          <a:lstStyle/>
          <a:p>
            <a:pPr algn="ctr"/>
            <a:r>
              <a:rPr lang="en-US" altLang="zh-CN" sz="1300" dirty="0">
                <a:solidFill>
                  <a:srgbClr val="FFFFFF"/>
                </a:solidFill>
              </a:rPr>
              <a:t>this is dummy text it is not here to be read it is here to show how this document will look this is dummy text</a:t>
            </a:r>
          </a:p>
        </p:txBody>
      </p:sp>
      <p:sp>
        <p:nvSpPr>
          <p:cNvPr id="37" name="Rectangle 14"/>
          <p:cNvSpPr/>
          <p:nvPr/>
        </p:nvSpPr>
        <p:spPr>
          <a:xfrm>
            <a:off x="7673335" y="4565994"/>
            <a:ext cx="1755964" cy="1000274"/>
          </a:xfrm>
          <a:prstGeom prst="rect">
            <a:avLst/>
          </a:prstGeom>
          <a:noFill/>
        </p:spPr>
        <p:txBody>
          <a:bodyPr wrap="square" lIns="0" tIns="0" rIns="0" bIns="0" anchor="t" anchorCtr="1">
            <a:spAutoFit/>
          </a:bodyPr>
          <a:lstStyle/>
          <a:p>
            <a:pPr algn="ctr"/>
            <a:r>
              <a:rPr lang="en-US" altLang="zh-CN" sz="1300" dirty="0">
                <a:solidFill>
                  <a:srgbClr val="FFFFFF"/>
                </a:solidFill>
              </a:rPr>
              <a:t>this is dummy text it is not here to be read it is here to show how this document will look this is dummy text</a:t>
            </a:r>
          </a:p>
        </p:txBody>
      </p:sp>
      <p:sp>
        <p:nvSpPr>
          <p:cNvPr id="40" name="Rectangle 14"/>
          <p:cNvSpPr/>
          <p:nvPr/>
        </p:nvSpPr>
        <p:spPr>
          <a:xfrm>
            <a:off x="5277345" y="4565994"/>
            <a:ext cx="1755963" cy="1000274"/>
          </a:xfrm>
          <a:prstGeom prst="rect">
            <a:avLst/>
          </a:prstGeom>
          <a:noFill/>
        </p:spPr>
        <p:txBody>
          <a:bodyPr wrap="square" lIns="0" tIns="0" rIns="0" bIns="0" anchor="t" anchorCtr="1">
            <a:spAutoFit/>
          </a:bodyPr>
          <a:lstStyle/>
          <a:p>
            <a:pPr algn="ctr"/>
            <a:r>
              <a:rPr lang="en-US" altLang="zh-CN" sz="1300" dirty="0">
                <a:solidFill>
                  <a:srgbClr val="FFFFFF"/>
                </a:solidFill>
              </a:rPr>
              <a:t>this is dummy text it is not here to be read it is here to show how this document will look this is dummy text</a:t>
            </a:r>
          </a:p>
        </p:txBody>
      </p:sp>
      <p:sp>
        <p:nvSpPr>
          <p:cNvPr id="60" name="Rectangle 14"/>
          <p:cNvSpPr/>
          <p:nvPr/>
        </p:nvSpPr>
        <p:spPr>
          <a:xfrm>
            <a:off x="10069326" y="4565994"/>
            <a:ext cx="1755961" cy="1000274"/>
          </a:xfrm>
          <a:prstGeom prst="rect">
            <a:avLst/>
          </a:prstGeom>
          <a:noFill/>
        </p:spPr>
        <p:txBody>
          <a:bodyPr wrap="square" lIns="0" tIns="0" rIns="0" bIns="0" anchor="t" anchorCtr="1">
            <a:spAutoFit/>
          </a:bodyPr>
          <a:lstStyle/>
          <a:p>
            <a:pPr algn="ctr"/>
            <a:r>
              <a:rPr lang="en-US" altLang="zh-CN" sz="1300" dirty="0">
                <a:solidFill>
                  <a:srgbClr val="FFFFFF"/>
                </a:solidFill>
              </a:rPr>
              <a:t>this is dummy text it is not here to be read it is here to show how this document will look this is dummy text</a:t>
            </a:r>
          </a:p>
        </p:txBody>
      </p:sp>
      <p:grpSp>
        <p:nvGrpSpPr>
          <p:cNvPr id="12" name="Group 11"/>
          <p:cNvGrpSpPr/>
          <p:nvPr/>
        </p:nvGrpSpPr>
        <p:grpSpPr>
          <a:xfrm>
            <a:off x="818696" y="2810276"/>
            <a:ext cx="1089304" cy="1260384"/>
            <a:chOff x="818696" y="2810276"/>
            <a:chExt cx="1089304" cy="1260384"/>
          </a:xfrm>
        </p:grpSpPr>
        <p:sp>
          <p:nvSpPr>
            <p:cNvPr id="26" name="Oval 56"/>
            <p:cNvSpPr/>
            <p:nvPr/>
          </p:nvSpPr>
          <p:spPr>
            <a:xfrm>
              <a:off x="840134" y="3796023"/>
              <a:ext cx="372387" cy="134204"/>
            </a:xfrm>
            <a:prstGeom prst="ellipse">
              <a:avLst/>
            </a:pr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28" name="Oval 58"/>
            <p:cNvSpPr/>
            <p:nvPr/>
          </p:nvSpPr>
          <p:spPr>
            <a:xfrm>
              <a:off x="818696" y="2810276"/>
              <a:ext cx="1089304" cy="1089302"/>
            </a:xfrm>
            <a:prstGeom prst="ellipse">
              <a:avLst/>
            </a:prstGeom>
            <a:solidFill>
              <a:schemeClr val="accent3"/>
            </a:solidFill>
            <a:ln w="12700" cap="flat" cmpd="sng" algn="ctr">
              <a:noFill/>
              <a:prstDash val="solid"/>
              <a:miter lim="800000"/>
            </a:ln>
            <a:effectLst/>
          </p:spPr>
          <p:txBody>
            <a:bodyPr lIns="0" rIns="0" rtlCol="0" anchor="ctr"/>
            <a:lstStyle/>
            <a:p>
              <a:pPr marL="0" marR="0" lvl="0" indent="0" algn="ctr" defTabSz="914400" eaLnBrk="1" fontAlgn="auto" latinLnBrk="0" hangingPunct="1">
                <a:spcAft>
                  <a:spcPts val="0"/>
                </a:spcAft>
                <a:buClrTx/>
                <a:buSzTx/>
                <a:buFontTx/>
                <a:buNone/>
                <a:tabLst/>
                <a:defRPr/>
              </a:pPr>
              <a:endParaRPr kumimoji="0" lang="en-US" sz="1300" b="1" i="0" u="none" strike="noStrike" kern="0" cap="none" spc="0" normalizeH="0" baseline="0" noProof="0" dirty="0">
                <a:ln>
                  <a:noFill/>
                </a:ln>
                <a:solidFill>
                  <a:prstClr val="white"/>
                </a:solidFill>
                <a:effectLst/>
                <a:uLnTx/>
                <a:uFillTx/>
                <a:latin typeface="+mj-lt"/>
                <a:ea typeface="+mn-ea"/>
                <a:cs typeface="+mn-cs"/>
              </a:endParaRPr>
            </a:p>
          </p:txBody>
        </p:sp>
        <p:sp>
          <p:nvSpPr>
            <p:cNvPr id="29" name="Oval 6"/>
            <p:cNvSpPr/>
            <p:nvPr/>
          </p:nvSpPr>
          <p:spPr>
            <a:xfrm rot="827270">
              <a:off x="1397551" y="3882627"/>
              <a:ext cx="482591" cy="168984"/>
            </a:xfrm>
            <a:custGeom>
              <a:avLst/>
              <a:gdLst>
                <a:gd name="connsiteX0" fmla="*/ 0 w 852122"/>
                <a:gd name="connsiteY0" fmla="*/ 181372 h 362744"/>
                <a:gd name="connsiteX1" fmla="*/ 426061 w 852122"/>
                <a:gd name="connsiteY1" fmla="*/ 0 h 362744"/>
                <a:gd name="connsiteX2" fmla="*/ 852122 w 852122"/>
                <a:gd name="connsiteY2" fmla="*/ 181372 h 362744"/>
                <a:gd name="connsiteX3" fmla="*/ 426061 w 852122"/>
                <a:gd name="connsiteY3" fmla="*/ 362744 h 362744"/>
                <a:gd name="connsiteX4" fmla="*/ 0 w 852122"/>
                <a:gd name="connsiteY4" fmla="*/ 181372 h 362744"/>
                <a:gd name="connsiteX0" fmla="*/ 371 w 852493"/>
                <a:gd name="connsiteY0" fmla="*/ 181372 h 303318"/>
                <a:gd name="connsiteX1" fmla="*/ 426432 w 852493"/>
                <a:gd name="connsiteY1" fmla="*/ 0 h 303318"/>
                <a:gd name="connsiteX2" fmla="*/ 852493 w 852493"/>
                <a:gd name="connsiteY2" fmla="*/ 181372 h 303318"/>
                <a:gd name="connsiteX3" fmla="*/ 373845 w 852493"/>
                <a:gd name="connsiteY3" fmla="*/ 303318 h 303318"/>
                <a:gd name="connsiteX4" fmla="*/ 371 w 852493"/>
                <a:gd name="connsiteY4" fmla="*/ 181372 h 303318"/>
                <a:gd name="connsiteX0" fmla="*/ 379 w 852501"/>
                <a:gd name="connsiteY0" fmla="*/ 181372 h 303540"/>
                <a:gd name="connsiteX1" fmla="*/ 426440 w 852501"/>
                <a:gd name="connsiteY1" fmla="*/ 0 h 303540"/>
                <a:gd name="connsiteX2" fmla="*/ 852501 w 852501"/>
                <a:gd name="connsiteY2" fmla="*/ 181372 h 303540"/>
                <a:gd name="connsiteX3" fmla="*/ 373853 w 852501"/>
                <a:gd name="connsiteY3" fmla="*/ 303318 h 303540"/>
                <a:gd name="connsiteX4" fmla="*/ 379 w 852501"/>
                <a:gd name="connsiteY4" fmla="*/ 181372 h 303540"/>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17994 w 870116"/>
                <a:gd name="connsiteY0" fmla="*/ 181372 h 303318"/>
                <a:gd name="connsiteX1" fmla="*/ 444055 w 870116"/>
                <a:gd name="connsiteY1" fmla="*/ 0 h 303318"/>
                <a:gd name="connsiteX2" fmla="*/ 870116 w 870116"/>
                <a:gd name="connsiteY2" fmla="*/ 181372 h 303318"/>
                <a:gd name="connsiteX3" fmla="*/ 391468 w 870116"/>
                <a:gd name="connsiteY3" fmla="*/ 303318 h 303318"/>
                <a:gd name="connsiteX4" fmla="*/ 17994 w 870116"/>
                <a:gd name="connsiteY4" fmla="*/ 181372 h 303318"/>
                <a:gd name="connsiteX0" fmla="*/ 14106 w 866228"/>
                <a:gd name="connsiteY0" fmla="*/ 181372 h 303318"/>
                <a:gd name="connsiteX1" fmla="*/ 440167 w 866228"/>
                <a:gd name="connsiteY1" fmla="*/ 0 h 303318"/>
                <a:gd name="connsiteX2" fmla="*/ 866228 w 866228"/>
                <a:gd name="connsiteY2" fmla="*/ 181372 h 303318"/>
                <a:gd name="connsiteX3" fmla="*/ 387580 w 866228"/>
                <a:gd name="connsiteY3" fmla="*/ 303318 h 303318"/>
                <a:gd name="connsiteX4" fmla="*/ 14106 w 866228"/>
                <a:gd name="connsiteY4" fmla="*/ 181372 h 30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228" h="303318">
                  <a:moveTo>
                    <a:pt x="14106" y="181372"/>
                  </a:moveTo>
                  <a:cubicBezTo>
                    <a:pt x="98484" y="74259"/>
                    <a:pt x="298147" y="0"/>
                    <a:pt x="440167" y="0"/>
                  </a:cubicBezTo>
                  <a:cubicBezTo>
                    <a:pt x="582187" y="0"/>
                    <a:pt x="866228" y="81203"/>
                    <a:pt x="866228" y="181372"/>
                  </a:cubicBezTo>
                  <a:cubicBezTo>
                    <a:pt x="853289" y="268779"/>
                    <a:pt x="529600" y="303318"/>
                    <a:pt x="387580" y="303318"/>
                  </a:cubicBezTo>
                  <a:cubicBezTo>
                    <a:pt x="245560" y="303318"/>
                    <a:pt x="-70272" y="288485"/>
                    <a:pt x="14106" y="181372"/>
                  </a:cubicBezTo>
                  <a:close/>
                </a:path>
              </a:pathLst>
            </a:cu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30" name="Freeform 60"/>
            <p:cNvSpPr/>
            <p:nvPr/>
          </p:nvSpPr>
          <p:spPr>
            <a:xfrm>
              <a:off x="840797" y="3746489"/>
              <a:ext cx="1030001" cy="324171"/>
            </a:xfrm>
            <a:custGeom>
              <a:avLst/>
              <a:gdLst>
                <a:gd name="connsiteX0" fmla="*/ 0 w 1844040"/>
                <a:gd name="connsiteY0" fmla="*/ 34290 h 381000"/>
                <a:gd name="connsiteX1" fmla="*/ 0 w 1844040"/>
                <a:gd name="connsiteY1" fmla="*/ 381000 h 381000"/>
                <a:gd name="connsiteX2" fmla="*/ 1844040 w 1844040"/>
                <a:gd name="connsiteY2" fmla="*/ 381000 h 381000"/>
                <a:gd name="connsiteX3" fmla="*/ 1844040 w 1844040"/>
                <a:gd name="connsiteY3" fmla="*/ 0 h 381000"/>
                <a:gd name="connsiteX4" fmla="*/ 0 w 1844040"/>
                <a:gd name="connsiteY4" fmla="*/ 34290 h 381000"/>
                <a:gd name="connsiteX0" fmla="*/ 0 w 1844040"/>
                <a:gd name="connsiteY0" fmla="*/ 34290 h 430212"/>
                <a:gd name="connsiteX1" fmla="*/ 0 w 1844040"/>
                <a:gd name="connsiteY1" fmla="*/ 381000 h 430212"/>
                <a:gd name="connsiteX2" fmla="*/ 1844040 w 1844040"/>
                <a:gd name="connsiteY2" fmla="*/ 381000 h 430212"/>
                <a:gd name="connsiteX3" fmla="*/ 1844040 w 1844040"/>
                <a:gd name="connsiteY3" fmla="*/ 0 h 430212"/>
                <a:gd name="connsiteX4" fmla="*/ 0 w 1844040"/>
                <a:gd name="connsiteY4" fmla="*/ 34290 h 430212"/>
                <a:gd name="connsiteX0" fmla="*/ 0 w 1844040"/>
                <a:gd name="connsiteY0" fmla="*/ 34290 h 395252"/>
                <a:gd name="connsiteX1" fmla="*/ 0 w 1844040"/>
                <a:gd name="connsiteY1" fmla="*/ 381000 h 395252"/>
                <a:gd name="connsiteX2" fmla="*/ 1844040 w 1844040"/>
                <a:gd name="connsiteY2" fmla="*/ 381000 h 395252"/>
                <a:gd name="connsiteX3" fmla="*/ 1844040 w 1844040"/>
                <a:gd name="connsiteY3" fmla="*/ 0 h 395252"/>
                <a:gd name="connsiteX4" fmla="*/ 0 w 1844040"/>
                <a:gd name="connsiteY4" fmla="*/ 34290 h 395252"/>
                <a:gd name="connsiteX0" fmla="*/ 0 w 1844040"/>
                <a:gd name="connsiteY0" fmla="*/ 34290 h 394486"/>
                <a:gd name="connsiteX1" fmla="*/ 0 w 1844040"/>
                <a:gd name="connsiteY1" fmla="*/ 381000 h 394486"/>
                <a:gd name="connsiteX2" fmla="*/ 1844040 w 1844040"/>
                <a:gd name="connsiteY2" fmla="*/ 381000 h 394486"/>
                <a:gd name="connsiteX3" fmla="*/ 1844040 w 1844040"/>
                <a:gd name="connsiteY3" fmla="*/ 0 h 394486"/>
                <a:gd name="connsiteX4" fmla="*/ 0 w 1844040"/>
                <a:gd name="connsiteY4" fmla="*/ 34290 h 394486"/>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6996"/>
                <a:gd name="connsiteX1" fmla="*/ 0 w 1844040"/>
                <a:gd name="connsiteY1" fmla="*/ 381000 h 416996"/>
                <a:gd name="connsiteX2" fmla="*/ 1844040 w 1844040"/>
                <a:gd name="connsiteY2" fmla="*/ 381000 h 416996"/>
                <a:gd name="connsiteX3" fmla="*/ 1844040 w 1844040"/>
                <a:gd name="connsiteY3" fmla="*/ 0 h 416996"/>
                <a:gd name="connsiteX4" fmla="*/ 0 w 1844040"/>
                <a:gd name="connsiteY4" fmla="*/ 34290 h 416996"/>
                <a:gd name="connsiteX0" fmla="*/ 0 w 1844040"/>
                <a:gd name="connsiteY0" fmla="*/ 34290 h 417972"/>
                <a:gd name="connsiteX1" fmla="*/ 0 w 1844040"/>
                <a:gd name="connsiteY1" fmla="*/ 381000 h 417972"/>
                <a:gd name="connsiteX2" fmla="*/ 1844040 w 1844040"/>
                <a:gd name="connsiteY2" fmla="*/ 381000 h 417972"/>
                <a:gd name="connsiteX3" fmla="*/ 1844040 w 1844040"/>
                <a:gd name="connsiteY3" fmla="*/ 0 h 417972"/>
                <a:gd name="connsiteX4" fmla="*/ 0 w 1844040"/>
                <a:gd name="connsiteY4" fmla="*/ 34290 h 417972"/>
                <a:gd name="connsiteX0" fmla="*/ 0 w 1844040"/>
                <a:gd name="connsiteY0" fmla="*/ 34290 h 418507"/>
                <a:gd name="connsiteX1" fmla="*/ 0 w 1844040"/>
                <a:gd name="connsiteY1" fmla="*/ 381000 h 418507"/>
                <a:gd name="connsiteX2" fmla="*/ 1844040 w 1844040"/>
                <a:gd name="connsiteY2" fmla="*/ 381000 h 418507"/>
                <a:gd name="connsiteX3" fmla="*/ 1844040 w 1844040"/>
                <a:gd name="connsiteY3" fmla="*/ 0 h 418507"/>
                <a:gd name="connsiteX4" fmla="*/ 0 w 1844040"/>
                <a:gd name="connsiteY4" fmla="*/ 34290 h 418507"/>
                <a:gd name="connsiteX0" fmla="*/ 0 w 1844040"/>
                <a:gd name="connsiteY0" fmla="*/ 34290 h 401164"/>
                <a:gd name="connsiteX1" fmla="*/ 0 w 1844040"/>
                <a:gd name="connsiteY1" fmla="*/ 381000 h 401164"/>
                <a:gd name="connsiteX2" fmla="*/ 1844040 w 1844040"/>
                <a:gd name="connsiteY2" fmla="*/ 381000 h 401164"/>
                <a:gd name="connsiteX3" fmla="*/ 1844040 w 1844040"/>
                <a:gd name="connsiteY3" fmla="*/ 0 h 401164"/>
                <a:gd name="connsiteX4" fmla="*/ 0 w 1844040"/>
                <a:gd name="connsiteY4" fmla="*/ 34290 h 401164"/>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0817"/>
                <a:gd name="connsiteX1" fmla="*/ 0 w 1844040"/>
                <a:gd name="connsiteY1" fmla="*/ 381000 h 420817"/>
                <a:gd name="connsiteX2" fmla="*/ 1844040 w 1844040"/>
                <a:gd name="connsiteY2" fmla="*/ 381000 h 420817"/>
                <a:gd name="connsiteX3" fmla="*/ 1844040 w 1844040"/>
                <a:gd name="connsiteY3" fmla="*/ 0 h 420817"/>
                <a:gd name="connsiteX4" fmla="*/ 0 w 1844040"/>
                <a:gd name="connsiteY4" fmla="*/ 34290 h 420817"/>
                <a:gd name="connsiteX0" fmla="*/ 0 w 1844040"/>
                <a:gd name="connsiteY0" fmla="*/ 34290 h 424060"/>
                <a:gd name="connsiteX1" fmla="*/ 0 w 1844040"/>
                <a:gd name="connsiteY1" fmla="*/ 381000 h 424060"/>
                <a:gd name="connsiteX2" fmla="*/ 1844040 w 1844040"/>
                <a:gd name="connsiteY2" fmla="*/ 381000 h 424060"/>
                <a:gd name="connsiteX3" fmla="*/ 1844040 w 1844040"/>
                <a:gd name="connsiteY3" fmla="*/ 0 h 424060"/>
                <a:gd name="connsiteX4" fmla="*/ 0 w 1844040"/>
                <a:gd name="connsiteY4" fmla="*/ 34290 h 424060"/>
                <a:gd name="connsiteX0" fmla="*/ 0 w 1848802"/>
                <a:gd name="connsiteY0" fmla="*/ 34290 h 423344"/>
                <a:gd name="connsiteX1" fmla="*/ 0 w 1848802"/>
                <a:gd name="connsiteY1" fmla="*/ 381000 h 423344"/>
                <a:gd name="connsiteX2" fmla="*/ 1848802 w 1848802"/>
                <a:gd name="connsiteY2" fmla="*/ 366713 h 423344"/>
                <a:gd name="connsiteX3" fmla="*/ 1844040 w 1848802"/>
                <a:gd name="connsiteY3" fmla="*/ 0 h 423344"/>
                <a:gd name="connsiteX4" fmla="*/ 0 w 1848802"/>
                <a:gd name="connsiteY4" fmla="*/ 34290 h 423344"/>
                <a:gd name="connsiteX0" fmla="*/ 0 w 1848802"/>
                <a:gd name="connsiteY0" fmla="*/ 34290 h 424139"/>
                <a:gd name="connsiteX1" fmla="*/ 0 w 1848802"/>
                <a:gd name="connsiteY1" fmla="*/ 381000 h 424139"/>
                <a:gd name="connsiteX2" fmla="*/ 1848802 w 1848802"/>
                <a:gd name="connsiteY2" fmla="*/ 366713 h 424139"/>
                <a:gd name="connsiteX3" fmla="*/ 1844040 w 1848802"/>
                <a:gd name="connsiteY3" fmla="*/ 0 h 424139"/>
                <a:gd name="connsiteX4" fmla="*/ 0 w 1848802"/>
                <a:gd name="connsiteY4" fmla="*/ 34290 h 424139"/>
                <a:gd name="connsiteX0" fmla="*/ 0 w 1848802"/>
                <a:gd name="connsiteY0" fmla="*/ 192446 h 582295"/>
                <a:gd name="connsiteX1" fmla="*/ 0 w 1848802"/>
                <a:gd name="connsiteY1" fmla="*/ 539156 h 582295"/>
                <a:gd name="connsiteX2" fmla="*/ 1848802 w 1848802"/>
                <a:gd name="connsiteY2" fmla="*/ 524869 h 582295"/>
                <a:gd name="connsiteX3" fmla="*/ 1844040 w 1848802"/>
                <a:gd name="connsiteY3" fmla="*/ 158156 h 582295"/>
                <a:gd name="connsiteX4" fmla="*/ 0 w 1848802"/>
                <a:gd name="connsiteY4" fmla="*/ 192446 h 582295"/>
                <a:gd name="connsiteX0" fmla="*/ 0 w 1848802"/>
                <a:gd name="connsiteY0" fmla="*/ 156865 h 546714"/>
                <a:gd name="connsiteX1" fmla="*/ 0 w 1848802"/>
                <a:gd name="connsiteY1" fmla="*/ 503575 h 546714"/>
                <a:gd name="connsiteX2" fmla="*/ 1848802 w 1848802"/>
                <a:gd name="connsiteY2" fmla="*/ 489288 h 546714"/>
                <a:gd name="connsiteX3" fmla="*/ 1844040 w 1848802"/>
                <a:gd name="connsiteY3" fmla="*/ 122575 h 546714"/>
                <a:gd name="connsiteX4" fmla="*/ 0 w 1848802"/>
                <a:gd name="connsiteY4" fmla="*/ 156865 h 546714"/>
                <a:gd name="connsiteX0" fmla="*/ 0 w 1848802"/>
                <a:gd name="connsiteY0" fmla="*/ 194120 h 583969"/>
                <a:gd name="connsiteX1" fmla="*/ 0 w 1848802"/>
                <a:gd name="connsiteY1" fmla="*/ 540830 h 583969"/>
                <a:gd name="connsiteX2" fmla="*/ 1848802 w 1848802"/>
                <a:gd name="connsiteY2" fmla="*/ 526543 h 583969"/>
                <a:gd name="connsiteX3" fmla="*/ 1844040 w 1848802"/>
                <a:gd name="connsiteY3" fmla="*/ 159830 h 583969"/>
                <a:gd name="connsiteX4" fmla="*/ 0 w 1848802"/>
                <a:gd name="connsiteY4" fmla="*/ 194120 h 583969"/>
                <a:gd name="connsiteX0" fmla="*/ 0 w 1848802"/>
                <a:gd name="connsiteY0" fmla="*/ 192023 h 581872"/>
                <a:gd name="connsiteX1" fmla="*/ 0 w 1848802"/>
                <a:gd name="connsiteY1" fmla="*/ 538733 h 581872"/>
                <a:gd name="connsiteX2" fmla="*/ 1848802 w 1848802"/>
                <a:gd name="connsiteY2" fmla="*/ 524446 h 581872"/>
                <a:gd name="connsiteX3" fmla="*/ 1844040 w 1848802"/>
                <a:gd name="connsiteY3" fmla="*/ 157733 h 581872"/>
                <a:gd name="connsiteX4" fmla="*/ 0 w 1848802"/>
                <a:gd name="connsiteY4" fmla="*/ 192023 h 58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802" h="581872">
                  <a:moveTo>
                    <a:pt x="0" y="192023"/>
                  </a:moveTo>
                  <a:lnTo>
                    <a:pt x="0" y="538733"/>
                  </a:lnTo>
                  <a:cubicBezTo>
                    <a:pt x="334883" y="762572"/>
                    <a:pt x="1656795" y="17238"/>
                    <a:pt x="1848802" y="524446"/>
                  </a:cubicBezTo>
                  <a:cubicBezTo>
                    <a:pt x="1847215" y="402208"/>
                    <a:pt x="1845627" y="279971"/>
                    <a:pt x="1844040" y="157733"/>
                  </a:cubicBezTo>
                  <a:cubicBezTo>
                    <a:pt x="1650842" y="-299943"/>
                    <a:pt x="336073" y="405621"/>
                    <a:pt x="0" y="192023"/>
                  </a:cubicBezTo>
                  <a:close/>
                </a:path>
              </a:pathLst>
            </a:custGeom>
            <a:solidFill>
              <a:srgbClr val="FFFFFF"/>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mj-lt"/>
                <a:ea typeface="+mn-ea"/>
                <a:cs typeface="+mn-cs"/>
              </a:endParaRPr>
            </a:p>
          </p:txBody>
        </p:sp>
        <p:sp>
          <p:nvSpPr>
            <p:cNvPr id="25" name="TextBox 55"/>
            <p:cNvSpPr txBox="1"/>
            <p:nvPr/>
          </p:nvSpPr>
          <p:spPr>
            <a:xfrm rot="20871923">
              <a:off x="1217524" y="3790362"/>
              <a:ext cx="276551" cy="200055"/>
            </a:xfrm>
            <a:prstGeom prst="rect">
              <a:avLst/>
            </a:prstGeom>
            <a:noFill/>
          </p:spPr>
          <p:txBody>
            <a:bodyPr wrap="none" lIns="0" tIns="0" rIns="0" bIns="0" rtlCol="0">
              <a:spAutoFit/>
            </a:bodyPr>
            <a:lstStyle/>
            <a:p>
              <a:pPr>
                <a:buFont typeface="Wingdings 2" pitchFamily="18" charset="2"/>
                <a:buNone/>
              </a:pPr>
              <a:r>
                <a:rPr lang="en-US" altLang="zh-CN" sz="1300" dirty="0">
                  <a:solidFill>
                    <a:srgbClr val="000000"/>
                  </a:solidFill>
                </a:rPr>
                <a:t>Text</a:t>
              </a:r>
              <a:endParaRPr lang="en-US" sz="1300" dirty="0">
                <a:solidFill>
                  <a:srgbClr val="000000"/>
                </a:solidFill>
              </a:endParaRPr>
            </a:p>
          </p:txBody>
        </p:sp>
      </p:grpSp>
      <p:grpSp>
        <p:nvGrpSpPr>
          <p:cNvPr id="14" name="Group 13"/>
          <p:cNvGrpSpPr/>
          <p:nvPr/>
        </p:nvGrpSpPr>
        <p:grpSpPr>
          <a:xfrm>
            <a:off x="3214686" y="2803084"/>
            <a:ext cx="1089304" cy="1260384"/>
            <a:chOff x="3214686" y="2803084"/>
            <a:chExt cx="1089304" cy="1260384"/>
          </a:xfrm>
        </p:grpSpPr>
        <p:sp>
          <p:nvSpPr>
            <p:cNvPr id="19" name="Oval 49"/>
            <p:cNvSpPr/>
            <p:nvPr/>
          </p:nvSpPr>
          <p:spPr>
            <a:xfrm>
              <a:off x="3236123" y="3788831"/>
              <a:ext cx="372387" cy="134205"/>
            </a:xfrm>
            <a:prstGeom prst="ellipse">
              <a:avLst/>
            </a:pr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21" name="Oval 51"/>
            <p:cNvSpPr/>
            <p:nvPr/>
          </p:nvSpPr>
          <p:spPr>
            <a:xfrm>
              <a:off x="3214686" y="2803084"/>
              <a:ext cx="1089304" cy="1089302"/>
            </a:xfrm>
            <a:prstGeom prst="ellipse">
              <a:avLst/>
            </a:prstGeom>
            <a:solidFill>
              <a:srgbClr val="009A44"/>
            </a:solidFill>
            <a:ln w="12700" cap="flat" cmpd="sng" algn="ctr">
              <a:noFill/>
              <a:prstDash val="solid"/>
              <a:miter lim="800000"/>
            </a:ln>
            <a:effectLst/>
          </p:spPr>
          <p:txBody>
            <a:bodyPr lIns="0" rIns="0" rtlCol="0" anchor="ctr"/>
            <a:lstStyle/>
            <a:p>
              <a:pPr marL="0" marR="0" lvl="0" indent="0" algn="ctr" defTabSz="914400" eaLnBrk="1" fontAlgn="auto" latinLnBrk="0" hangingPunct="1">
                <a:spcAft>
                  <a:spcPts val="0"/>
                </a:spcAft>
                <a:buClrTx/>
                <a:buSzTx/>
                <a:buFontTx/>
                <a:buNone/>
                <a:tabLst/>
                <a:defRPr/>
              </a:pPr>
              <a:endParaRPr kumimoji="0" lang="en-US" sz="1300" b="1" i="0" u="none" strike="noStrike" kern="0" cap="none" spc="0" normalizeH="0" baseline="0" noProof="0" dirty="0">
                <a:ln>
                  <a:noFill/>
                </a:ln>
                <a:solidFill>
                  <a:prstClr val="white"/>
                </a:solidFill>
                <a:effectLst/>
                <a:uLnTx/>
                <a:uFillTx/>
                <a:latin typeface="+mj-lt"/>
                <a:ea typeface="+mn-ea"/>
                <a:cs typeface="+mn-cs"/>
              </a:endParaRPr>
            </a:p>
          </p:txBody>
        </p:sp>
        <p:sp>
          <p:nvSpPr>
            <p:cNvPr id="22" name="Oval 6"/>
            <p:cNvSpPr/>
            <p:nvPr/>
          </p:nvSpPr>
          <p:spPr>
            <a:xfrm rot="827270">
              <a:off x="3793540" y="3875434"/>
              <a:ext cx="482591" cy="168984"/>
            </a:xfrm>
            <a:custGeom>
              <a:avLst/>
              <a:gdLst>
                <a:gd name="connsiteX0" fmla="*/ 0 w 852122"/>
                <a:gd name="connsiteY0" fmla="*/ 181372 h 362744"/>
                <a:gd name="connsiteX1" fmla="*/ 426061 w 852122"/>
                <a:gd name="connsiteY1" fmla="*/ 0 h 362744"/>
                <a:gd name="connsiteX2" fmla="*/ 852122 w 852122"/>
                <a:gd name="connsiteY2" fmla="*/ 181372 h 362744"/>
                <a:gd name="connsiteX3" fmla="*/ 426061 w 852122"/>
                <a:gd name="connsiteY3" fmla="*/ 362744 h 362744"/>
                <a:gd name="connsiteX4" fmla="*/ 0 w 852122"/>
                <a:gd name="connsiteY4" fmla="*/ 181372 h 362744"/>
                <a:gd name="connsiteX0" fmla="*/ 371 w 852493"/>
                <a:gd name="connsiteY0" fmla="*/ 181372 h 303318"/>
                <a:gd name="connsiteX1" fmla="*/ 426432 w 852493"/>
                <a:gd name="connsiteY1" fmla="*/ 0 h 303318"/>
                <a:gd name="connsiteX2" fmla="*/ 852493 w 852493"/>
                <a:gd name="connsiteY2" fmla="*/ 181372 h 303318"/>
                <a:gd name="connsiteX3" fmla="*/ 373845 w 852493"/>
                <a:gd name="connsiteY3" fmla="*/ 303318 h 303318"/>
                <a:gd name="connsiteX4" fmla="*/ 371 w 852493"/>
                <a:gd name="connsiteY4" fmla="*/ 181372 h 303318"/>
                <a:gd name="connsiteX0" fmla="*/ 379 w 852501"/>
                <a:gd name="connsiteY0" fmla="*/ 181372 h 303540"/>
                <a:gd name="connsiteX1" fmla="*/ 426440 w 852501"/>
                <a:gd name="connsiteY1" fmla="*/ 0 h 303540"/>
                <a:gd name="connsiteX2" fmla="*/ 852501 w 852501"/>
                <a:gd name="connsiteY2" fmla="*/ 181372 h 303540"/>
                <a:gd name="connsiteX3" fmla="*/ 373853 w 852501"/>
                <a:gd name="connsiteY3" fmla="*/ 303318 h 303540"/>
                <a:gd name="connsiteX4" fmla="*/ 379 w 852501"/>
                <a:gd name="connsiteY4" fmla="*/ 181372 h 303540"/>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17994 w 870116"/>
                <a:gd name="connsiteY0" fmla="*/ 181372 h 303318"/>
                <a:gd name="connsiteX1" fmla="*/ 444055 w 870116"/>
                <a:gd name="connsiteY1" fmla="*/ 0 h 303318"/>
                <a:gd name="connsiteX2" fmla="*/ 870116 w 870116"/>
                <a:gd name="connsiteY2" fmla="*/ 181372 h 303318"/>
                <a:gd name="connsiteX3" fmla="*/ 391468 w 870116"/>
                <a:gd name="connsiteY3" fmla="*/ 303318 h 303318"/>
                <a:gd name="connsiteX4" fmla="*/ 17994 w 870116"/>
                <a:gd name="connsiteY4" fmla="*/ 181372 h 303318"/>
                <a:gd name="connsiteX0" fmla="*/ 14106 w 866228"/>
                <a:gd name="connsiteY0" fmla="*/ 181372 h 303318"/>
                <a:gd name="connsiteX1" fmla="*/ 440167 w 866228"/>
                <a:gd name="connsiteY1" fmla="*/ 0 h 303318"/>
                <a:gd name="connsiteX2" fmla="*/ 866228 w 866228"/>
                <a:gd name="connsiteY2" fmla="*/ 181372 h 303318"/>
                <a:gd name="connsiteX3" fmla="*/ 387580 w 866228"/>
                <a:gd name="connsiteY3" fmla="*/ 303318 h 303318"/>
                <a:gd name="connsiteX4" fmla="*/ 14106 w 866228"/>
                <a:gd name="connsiteY4" fmla="*/ 181372 h 30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228" h="303318">
                  <a:moveTo>
                    <a:pt x="14106" y="181372"/>
                  </a:moveTo>
                  <a:cubicBezTo>
                    <a:pt x="98484" y="74259"/>
                    <a:pt x="298147" y="0"/>
                    <a:pt x="440167" y="0"/>
                  </a:cubicBezTo>
                  <a:cubicBezTo>
                    <a:pt x="582187" y="0"/>
                    <a:pt x="866228" y="81203"/>
                    <a:pt x="866228" y="181372"/>
                  </a:cubicBezTo>
                  <a:cubicBezTo>
                    <a:pt x="853289" y="268779"/>
                    <a:pt x="529600" y="303318"/>
                    <a:pt x="387580" y="303318"/>
                  </a:cubicBezTo>
                  <a:cubicBezTo>
                    <a:pt x="245560" y="303318"/>
                    <a:pt x="-70272" y="288485"/>
                    <a:pt x="14106" y="181372"/>
                  </a:cubicBezTo>
                  <a:close/>
                </a:path>
              </a:pathLst>
            </a:cu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23" name="Freeform 53"/>
            <p:cNvSpPr/>
            <p:nvPr/>
          </p:nvSpPr>
          <p:spPr>
            <a:xfrm>
              <a:off x="3236786" y="3739297"/>
              <a:ext cx="1030002" cy="324171"/>
            </a:xfrm>
            <a:custGeom>
              <a:avLst/>
              <a:gdLst>
                <a:gd name="connsiteX0" fmla="*/ 0 w 1844040"/>
                <a:gd name="connsiteY0" fmla="*/ 34290 h 381000"/>
                <a:gd name="connsiteX1" fmla="*/ 0 w 1844040"/>
                <a:gd name="connsiteY1" fmla="*/ 381000 h 381000"/>
                <a:gd name="connsiteX2" fmla="*/ 1844040 w 1844040"/>
                <a:gd name="connsiteY2" fmla="*/ 381000 h 381000"/>
                <a:gd name="connsiteX3" fmla="*/ 1844040 w 1844040"/>
                <a:gd name="connsiteY3" fmla="*/ 0 h 381000"/>
                <a:gd name="connsiteX4" fmla="*/ 0 w 1844040"/>
                <a:gd name="connsiteY4" fmla="*/ 34290 h 381000"/>
                <a:gd name="connsiteX0" fmla="*/ 0 w 1844040"/>
                <a:gd name="connsiteY0" fmla="*/ 34290 h 430212"/>
                <a:gd name="connsiteX1" fmla="*/ 0 w 1844040"/>
                <a:gd name="connsiteY1" fmla="*/ 381000 h 430212"/>
                <a:gd name="connsiteX2" fmla="*/ 1844040 w 1844040"/>
                <a:gd name="connsiteY2" fmla="*/ 381000 h 430212"/>
                <a:gd name="connsiteX3" fmla="*/ 1844040 w 1844040"/>
                <a:gd name="connsiteY3" fmla="*/ 0 h 430212"/>
                <a:gd name="connsiteX4" fmla="*/ 0 w 1844040"/>
                <a:gd name="connsiteY4" fmla="*/ 34290 h 430212"/>
                <a:gd name="connsiteX0" fmla="*/ 0 w 1844040"/>
                <a:gd name="connsiteY0" fmla="*/ 34290 h 395252"/>
                <a:gd name="connsiteX1" fmla="*/ 0 w 1844040"/>
                <a:gd name="connsiteY1" fmla="*/ 381000 h 395252"/>
                <a:gd name="connsiteX2" fmla="*/ 1844040 w 1844040"/>
                <a:gd name="connsiteY2" fmla="*/ 381000 h 395252"/>
                <a:gd name="connsiteX3" fmla="*/ 1844040 w 1844040"/>
                <a:gd name="connsiteY3" fmla="*/ 0 h 395252"/>
                <a:gd name="connsiteX4" fmla="*/ 0 w 1844040"/>
                <a:gd name="connsiteY4" fmla="*/ 34290 h 395252"/>
                <a:gd name="connsiteX0" fmla="*/ 0 w 1844040"/>
                <a:gd name="connsiteY0" fmla="*/ 34290 h 394486"/>
                <a:gd name="connsiteX1" fmla="*/ 0 w 1844040"/>
                <a:gd name="connsiteY1" fmla="*/ 381000 h 394486"/>
                <a:gd name="connsiteX2" fmla="*/ 1844040 w 1844040"/>
                <a:gd name="connsiteY2" fmla="*/ 381000 h 394486"/>
                <a:gd name="connsiteX3" fmla="*/ 1844040 w 1844040"/>
                <a:gd name="connsiteY3" fmla="*/ 0 h 394486"/>
                <a:gd name="connsiteX4" fmla="*/ 0 w 1844040"/>
                <a:gd name="connsiteY4" fmla="*/ 34290 h 394486"/>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6996"/>
                <a:gd name="connsiteX1" fmla="*/ 0 w 1844040"/>
                <a:gd name="connsiteY1" fmla="*/ 381000 h 416996"/>
                <a:gd name="connsiteX2" fmla="*/ 1844040 w 1844040"/>
                <a:gd name="connsiteY2" fmla="*/ 381000 h 416996"/>
                <a:gd name="connsiteX3" fmla="*/ 1844040 w 1844040"/>
                <a:gd name="connsiteY3" fmla="*/ 0 h 416996"/>
                <a:gd name="connsiteX4" fmla="*/ 0 w 1844040"/>
                <a:gd name="connsiteY4" fmla="*/ 34290 h 416996"/>
                <a:gd name="connsiteX0" fmla="*/ 0 w 1844040"/>
                <a:gd name="connsiteY0" fmla="*/ 34290 h 417972"/>
                <a:gd name="connsiteX1" fmla="*/ 0 w 1844040"/>
                <a:gd name="connsiteY1" fmla="*/ 381000 h 417972"/>
                <a:gd name="connsiteX2" fmla="*/ 1844040 w 1844040"/>
                <a:gd name="connsiteY2" fmla="*/ 381000 h 417972"/>
                <a:gd name="connsiteX3" fmla="*/ 1844040 w 1844040"/>
                <a:gd name="connsiteY3" fmla="*/ 0 h 417972"/>
                <a:gd name="connsiteX4" fmla="*/ 0 w 1844040"/>
                <a:gd name="connsiteY4" fmla="*/ 34290 h 417972"/>
                <a:gd name="connsiteX0" fmla="*/ 0 w 1844040"/>
                <a:gd name="connsiteY0" fmla="*/ 34290 h 418507"/>
                <a:gd name="connsiteX1" fmla="*/ 0 w 1844040"/>
                <a:gd name="connsiteY1" fmla="*/ 381000 h 418507"/>
                <a:gd name="connsiteX2" fmla="*/ 1844040 w 1844040"/>
                <a:gd name="connsiteY2" fmla="*/ 381000 h 418507"/>
                <a:gd name="connsiteX3" fmla="*/ 1844040 w 1844040"/>
                <a:gd name="connsiteY3" fmla="*/ 0 h 418507"/>
                <a:gd name="connsiteX4" fmla="*/ 0 w 1844040"/>
                <a:gd name="connsiteY4" fmla="*/ 34290 h 418507"/>
                <a:gd name="connsiteX0" fmla="*/ 0 w 1844040"/>
                <a:gd name="connsiteY0" fmla="*/ 34290 h 401164"/>
                <a:gd name="connsiteX1" fmla="*/ 0 w 1844040"/>
                <a:gd name="connsiteY1" fmla="*/ 381000 h 401164"/>
                <a:gd name="connsiteX2" fmla="*/ 1844040 w 1844040"/>
                <a:gd name="connsiteY2" fmla="*/ 381000 h 401164"/>
                <a:gd name="connsiteX3" fmla="*/ 1844040 w 1844040"/>
                <a:gd name="connsiteY3" fmla="*/ 0 h 401164"/>
                <a:gd name="connsiteX4" fmla="*/ 0 w 1844040"/>
                <a:gd name="connsiteY4" fmla="*/ 34290 h 401164"/>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0817"/>
                <a:gd name="connsiteX1" fmla="*/ 0 w 1844040"/>
                <a:gd name="connsiteY1" fmla="*/ 381000 h 420817"/>
                <a:gd name="connsiteX2" fmla="*/ 1844040 w 1844040"/>
                <a:gd name="connsiteY2" fmla="*/ 381000 h 420817"/>
                <a:gd name="connsiteX3" fmla="*/ 1844040 w 1844040"/>
                <a:gd name="connsiteY3" fmla="*/ 0 h 420817"/>
                <a:gd name="connsiteX4" fmla="*/ 0 w 1844040"/>
                <a:gd name="connsiteY4" fmla="*/ 34290 h 420817"/>
                <a:gd name="connsiteX0" fmla="*/ 0 w 1844040"/>
                <a:gd name="connsiteY0" fmla="*/ 34290 h 424060"/>
                <a:gd name="connsiteX1" fmla="*/ 0 w 1844040"/>
                <a:gd name="connsiteY1" fmla="*/ 381000 h 424060"/>
                <a:gd name="connsiteX2" fmla="*/ 1844040 w 1844040"/>
                <a:gd name="connsiteY2" fmla="*/ 381000 h 424060"/>
                <a:gd name="connsiteX3" fmla="*/ 1844040 w 1844040"/>
                <a:gd name="connsiteY3" fmla="*/ 0 h 424060"/>
                <a:gd name="connsiteX4" fmla="*/ 0 w 1844040"/>
                <a:gd name="connsiteY4" fmla="*/ 34290 h 424060"/>
                <a:gd name="connsiteX0" fmla="*/ 0 w 1848802"/>
                <a:gd name="connsiteY0" fmla="*/ 34290 h 423344"/>
                <a:gd name="connsiteX1" fmla="*/ 0 w 1848802"/>
                <a:gd name="connsiteY1" fmla="*/ 381000 h 423344"/>
                <a:gd name="connsiteX2" fmla="*/ 1848802 w 1848802"/>
                <a:gd name="connsiteY2" fmla="*/ 366713 h 423344"/>
                <a:gd name="connsiteX3" fmla="*/ 1844040 w 1848802"/>
                <a:gd name="connsiteY3" fmla="*/ 0 h 423344"/>
                <a:gd name="connsiteX4" fmla="*/ 0 w 1848802"/>
                <a:gd name="connsiteY4" fmla="*/ 34290 h 423344"/>
                <a:gd name="connsiteX0" fmla="*/ 0 w 1848802"/>
                <a:gd name="connsiteY0" fmla="*/ 34290 h 424139"/>
                <a:gd name="connsiteX1" fmla="*/ 0 w 1848802"/>
                <a:gd name="connsiteY1" fmla="*/ 381000 h 424139"/>
                <a:gd name="connsiteX2" fmla="*/ 1848802 w 1848802"/>
                <a:gd name="connsiteY2" fmla="*/ 366713 h 424139"/>
                <a:gd name="connsiteX3" fmla="*/ 1844040 w 1848802"/>
                <a:gd name="connsiteY3" fmla="*/ 0 h 424139"/>
                <a:gd name="connsiteX4" fmla="*/ 0 w 1848802"/>
                <a:gd name="connsiteY4" fmla="*/ 34290 h 424139"/>
                <a:gd name="connsiteX0" fmla="*/ 0 w 1848802"/>
                <a:gd name="connsiteY0" fmla="*/ 192446 h 582295"/>
                <a:gd name="connsiteX1" fmla="*/ 0 w 1848802"/>
                <a:gd name="connsiteY1" fmla="*/ 539156 h 582295"/>
                <a:gd name="connsiteX2" fmla="*/ 1848802 w 1848802"/>
                <a:gd name="connsiteY2" fmla="*/ 524869 h 582295"/>
                <a:gd name="connsiteX3" fmla="*/ 1844040 w 1848802"/>
                <a:gd name="connsiteY3" fmla="*/ 158156 h 582295"/>
                <a:gd name="connsiteX4" fmla="*/ 0 w 1848802"/>
                <a:gd name="connsiteY4" fmla="*/ 192446 h 582295"/>
                <a:gd name="connsiteX0" fmla="*/ 0 w 1848802"/>
                <a:gd name="connsiteY0" fmla="*/ 156865 h 546714"/>
                <a:gd name="connsiteX1" fmla="*/ 0 w 1848802"/>
                <a:gd name="connsiteY1" fmla="*/ 503575 h 546714"/>
                <a:gd name="connsiteX2" fmla="*/ 1848802 w 1848802"/>
                <a:gd name="connsiteY2" fmla="*/ 489288 h 546714"/>
                <a:gd name="connsiteX3" fmla="*/ 1844040 w 1848802"/>
                <a:gd name="connsiteY3" fmla="*/ 122575 h 546714"/>
                <a:gd name="connsiteX4" fmla="*/ 0 w 1848802"/>
                <a:gd name="connsiteY4" fmla="*/ 156865 h 546714"/>
                <a:gd name="connsiteX0" fmla="*/ 0 w 1848802"/>
                <a:gd name="connsiteY0" fmla="*/ 194120 h 583969"/>
                <a:gd name="connsiteX1" fmla="*/ 0 w 1848802"/>
                <a:gd name="connsiteY1" fmla="*/ 540830 h 583969"/>
                <a:gd name="connsiteX2" fmla="*/ 1848802 w 1848802"/>
                <a:gd name="connsiteY2" fmla="*/ 526543 h 583969"/>
                <a:gd name="connsiteX3" fmla="*/ 1844040 w 1848802"/>
                <a:gd name="connsiteY3" fmla="*/ 159830 h 583969"/>
                <a:gd name="connsiteX4" fmla="*/ 0 w 1848802"/>
                <a:gd name="connsiteY4" fmla="*/ 194120 h 583969"/>
                <a:gd name="connsiteX0" fmla="*/ 0 w 1848802"/>
                <a:gd name="connsiteY0" fmla="*/ 192023 h 581872"/>
                <a:gd name="connsiteX1" fmla="*/ 0 w 1848802"/>
                <a:gd name="connsiteY1" fmla="*/ 538733 h 581872"/>
                <a:gd name="connsiteX2" fmla="*/ 1848802 w 1848802"/>
                <a:gd name="connsiteY2" fmla="*/ 524446 h 581872"/>
                <a:gd name="connsiteX3" fmla="*/ 1844040 w 1848802"/>
                <a:gd name="connsiteY3" fmla="*/ 157733 h 581872"/>
                <a:gd name="connsiteX4" fmla="*/ 0 w 1848802"/>
                <a:gd name="connsiteY4" fmla="*/ 192023 h 58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802" h="581872">
                  <a:moveTo>
                    <a:pt x="0" y="192023"/>
                  </a:moveTo>
                  <a:lnTo>
                    <a:pt x="0" y="538733"/>
                  </a:lnTo>
                  <a:cubicBezTo>
                    <a:pt x="334883" y="762572"/>
                    <a:pt x="1656795" y="17238"/>
                    <a:pt x="1848802" y="524446"/>
                  </a:cubicBezTo>
                  <a:cubicBezTo>
                    <a:pt x="1847215" y="402208"/>
                    <a:pt x="1845627" y="279971"/>
                    <a:pt x="1844040" y="157733"/>
                  </a:cubicBezTo>
                  <a:cubicBezTo>
                    <a:pt x="1650842" y="-299943"/>
                    <a:pt x="336073" y="405621"/>
                    <a:pt x="0" y="192023"/>
                  </a:cubicBezTo>
                  <a:close/>
                </a:path>
              </a:pathLst>
            </a:custGeom>
            <a:solidFill>
              <a:srgbClr val="FFFFFF"/>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18" name="TextBox 48"/>
            <p:cNvSpPr txBox="1"/>
            <p:nvPr/>
          </p:nvSpPr>
          <p:spPr>
            <a:xfrm rot="20871923">
              <a:off x="3613511" y="3783169"/>
              <a:ext cx="276551" cy="200055"/>
            </a:xfrm>
            <a:prstGeom prst="rect">
              <a:avLst/>
            </a:prstGeom>
            <a:noFill/>
          </p:spPr>
          <p:txBody>
            <a:bodyPr wrap="none" lIns="0" tIns="0" rIns="0" bIns="0" rtlCol="0">
              <a:spAutoFit/>
            </a:bodyPr>
            <a:lstStyle/>
            <a:p>
              <a:pPr>
                <a:buFont typeface="Wingdings 2" pitchFamily="18" charset="2"/>
                <a:buNone/>
              </a:pPr>
              <a:r>
                <a:rPr lang="en-US" altLang="zh-CN" sz="1300" dirty="0">
                  <a:solidFill>
                    <a:srgbClr val="000000"/>
                  </a:solidFill>
                </a:rPr>
                <a:t>Text</a:t>
              </a:r>
              <a:endParaRPr lang="en-US" sz="1300" dirty="0">
                <a:solidFill>
                  <a:srgbClr val="000000"/>
                </a:solidFill>
              </a:endParaRPr>
            </a:p>
          </p:txBody>
        </p:sp>
      </p:grpSp>
      <p:grpSp>
        <p:nvGrpSpPr>
          <p:cNvPr id="15" name="Group 14"/>
          <p:cNvGrpSpPr/>
          <p:nvPr/>
        </p:nvGrpSpPr>
        <p:grpSpPr>
          <a:xfrm>
            <a:off x="5610675" y="2810276"/>
            <a:ext cx="1089304" cy="1260384"/>
            <a:chOff x="5610675" y="2810276"/>
            <a:chExt cx="1089304" cy="1260384"/>
          </a:xfrm>
        </p:grpSpPr>
        <p:sp>
          <p:nvSpPr>
            <p:cNvPr id="53" name="Oval 56"/>
            <p:cNvSpPr/>
            <p:nvPr/>
          </p:nvSpPr>
          <p:spPr>
            <a:xfrm>
              <a:off x="5632113" y="3796023"/>
              <a:ext cx="372387" cy="134204"/>
            </a:xfrm>
            <a:prstGeom prst="ellipse">
              <a:avLst/>
            </a:pr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55" name="Oval 58"/>
            <p:cNvSpPr/>
            <p:nvPr/>
          </p:nvSpPr>
          <p:spPr>
            <a:xfrm>
              <a:off x="5610675" y="2810276"/>
              <a:ext cx="1089304" cy="1089302"/>
            </a:xfrm>
            <a:prstGeom prst="ellipse">
              <a:avLst/>
            </a:prstGeom>
            <a:solidFill>
              <a:srgbClr val="43B02A"/>
            </a:solidFill>
            <a:ln w="12700" cap="flat" cmpd="sng" algn="ctr">
              <a:noFill/>
              <a:prstDash val="solid"/>
              <a:miter lim="800000"/>
            </a:ln>
            <a:effectLst/>
          </p:spPr>
          <p:txBody>
            <a:bodyPr lIns="0" rIns="0" rtlCol="0" anchor="ctr"/>
            <a:lstStyle/>
            <a:p>
              <a:pPr marL="0" marR="0" lvl="0" indent="0" algn="ctr" defTabSz="914400" eaLnBrk="1" fontAlgn="auto" latinLnBrk="0" hangingPunct="1">
                <a:spcAft>
                  <a:spcPts val="0"/>
                </a:spcAft>
                <a:buClrTx/>
                <a:buSzTx/>
                <a:buFontTx/>
                <a:buNone/>
                <a:tabLst/>
                <a:defRPr/>
              </a:pPr>
              <a:endParaRPr kumimoji="0" lang="en-US" sz="1300" b="1" i="0" u="none" strike="noStrike" kern="0" cap="none" spc="0" normalizeH="0" baseline="0" noProof="0" dirty="0">
                <a:ln>
                  <a:noFill/>
                </a:ln>
                <a:solidFill>
                  <a:prstClr val="white"/>
                </a:solidFill>
                <a:effectLst/>
                <a:uLnTx/>
                <a:uFillTx/>
                <a:latin typeface="+mj-lt"/>
                <a:ea typeface="+mn-ea"/>
                <a:cs typeface="+mn-cs"/>
              </a:endParaRPr>
            </a:p>
          </p:txBody>
        </p:sp>
        <p:sp>
          <p:nvSpPr>
            <p:cNvPr id="56" name="Oval 6"/>
            <p:cNvSpPr/>
            <p:nvPr/>
          </p:nvSpPr>
          <p:spPr>
            <a:xfrm rot="827270">
              <a:off x="6189530" y="3882627"/>
              <a:ext cx="482591" cy="168984"/>
            </a:xfrm>
            <a:custGeom>
              <a:avLst/>
              <a:gdLst>
                <a:gd name="connsiteX0" fmla="*/ 0 w 852122"/>
                <a:gd name="connsiteY0" fmla="*/ 181372 h 362744"/>
                <a:gd name="connsiteX1" fmla="*/ 426061 w 852122"/>
                <a:gd name="connsiteY1" fmla="*/ 0 h 362744"/>
                <a:gd name="connsiteX2" fmla="*/ 852122 w 852122"/>
                <a:gd name="connsiteY2" fmla="*/ 181372 h 362744"/>
                <a:gd name="connsiteX3" fmla="*/ 426061 w 852122"/>
                <a:gd name="connsiteY3" fmla="*/ 362744 h 362744"/>
                <a:gd name="connsiteX4" fmla="*/ 0 w 852122"/>
                <a:gd name="connsiteY4" fmla="*/ 181372 h 362744"/>
                <a:gd name="connsiteX0" fmla="*/ 371 w 852493"/>
                <a:gd name="connsiteY0" fmla="*/ 181372 h 303318"/>
                <a:gd name="connsiteX1" fmla="*/ 426432 w 852493"/>
                <a:gd name="connsiteY1" fmla="*/ 0 h 303318"/>
                <a:gd name="connsiteX2" fmla="*/ 852493 w 852493"/>
                <a:gd name="connsiteY2" fmla="*/ 181372 h 303318"/>
                <a:gd name="connsiteX3" fmla="*/ 373845 w 852493"/>
                <a:gd name="connsiteY3" fmla="*/ 303318 h 303318"/>
                <a:gd name="connsiteX4" fmla="*/ 371 w 852493"/>
                <a:gd name="connsiteY4" fmla="*/ 181372 h 303318"/>
                <a:gd name="connsiteX0" fmla="*/ 379 w 852501"/>
                <a:gd name="connsiteY0" fmla="*/ 181372 h 303540"/>
                <a:gd name="connsiteX1" fmla="*/ 426440 w 852501"/>
                <a:gd name="connsiteY1" fmla="*/ 0 h 303540"/>
                <a:gd name="connsiteX2" fmla="*/ 852501 w 852501"/>
                <a:gd name="connsiteY2" fmla="*/ 181372 h 303540"/>
                <a:gd name="connsiteX3" fmla="*/ 373853 w 852501"/>
                <a:gd name="connsiteY3" fmla="*/ 303318 h 303540"/>
                <a:gd name="connsiteX4" fmla="*/ 379 w 852501"/>
                <a:gd name="connsiteY4" fmla="*/ 181372 h 303540"/>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17994 w 870116"/>
                <a:gd name="connsiteY0" fmla="*/ 181372 h 303318"/>
                <a:gd name="connsiteX1" fmla="*/ 444055 w 870116"/>
                <a:gd name="connsiteY1" fmla="*/ 0 h 303318"/>
                <a:gd name="connsiteX2" fmla="*/ 870116 w 870116"/>
                <a:gd name="connsiteY2" fmla="*/ 181372 h 303318"/>
                <a:gd name="connsiteX3" fmla="*/ 391468 w 870116"/>
                <a:gd name="connsiteY3" fmla="*/ 303318 h 303318"/>
                <a:gd name="connsiteX4" fmla="*/ 17994 w 870116"/>
                <a:gd name="connsiteY4" fmla="*/ 181372 h 303318"/>
                <a:gd name="connsiteX0" fmla="*/ 14106 w 866228"/>
                <a:gd name="connsiteY0" fmla="*/ 181372 h 303318"/>
                <a:gd name="connsiteX1" fmla="*/ 440167 w 866228"/>
                <a:gd name="connsiteY1" fmla="*/ 0 h 303318"/>
                <a:gd name="connsiteX2" fmla="*/ 866228 w 866228"/>
                <a:gd name="connsiteY2" fmla="*/ 181372 h 303318"/>
                <a:gd name="connsiteX3" fmla="*/ 387580 w 866228"/>
                <a:gd name="connsiteY3" fmla="*/ 303318 h 303318"/>
                <a:gd name="connsiteX4" fmla="*/ 14106 w 866228"/>
                <a:gd name="connsiteY4" fmla="*/ 181372 h 30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228" h="303318">
                  <a:moveTo>
                    <a:pt x="14106" y="181372"/>
                  </a:moveTo>
                  <a:cubicBezTo>
                    <a:pt x="98484" y="74259"/>
                    <a:pt x="298147" y="0"/>
                    <a:pt x="440167" y="0"/>
                  </a:cubicBezTo>
                  <a:cubicBezTo>
                    <a:pt x="582187" y="0"/>
                    <a:pt x="866228" y="81203"/>
                    <a:pt x="866228" y="181372"/>
                  </a:cubicBezTo>
                  <a:cubicBezTo>
                    <a:pt x="853289" y="268779"/>
                    <a:pt x="529600" y="303318"/>
                    <a:pt x="387580" y="303318"/>
                  </a:cubicBezTo>
                  <a:cubicBezTo>
                    <a:pt x="245560" y="303318"/>
                    <a:pt x="-70272" y="288485"/>
                    <a:pt x="14106" y="181372"/>
                  </a:cubicBezTo>
                  <a:close/>
                </a:path>
              </a:pathLst>
            </a:cu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57" name="Freeform 60"/>
            <p:cNvSpPr/>
            <p:nvPr/>
          </p:nvSpPr>
          <p:spPr>
            <a:xfrm>
              <a:off x="5632776" y="3746489"/>
              <a:ext cx="1030001" cy="324171"/>
            </a:xfrm>
            <a:custGeom>
              <a:avLst/>
              <a:gdLst>
                <a:gd name="connsiteX0" fmla="*/ 0 w 1844040"/>
                <a:gd name="connsiteY0" fmla="*/ 34290 h 381000"/>
                <a:gd name="connsiteX1" fmla="*/ 0 w 1844040"/>
                <a:gd name="connsiteY1" fmla="*/ 381000 h 381000"/>
                <a:gd name="connsiteX2" fmla="*/ 1844040 w 1844040"/>
                <a:gd name="connsiteY2" fmla="*/ 381000 h 381000"/>
                <a:gd name="connsiteX3" fmla="*/ 1844040 w 1844040"/>
                <a:gd name="connsiteY3" fmla="*/ 0 h 381000"/>
                <a:gd name="connsiteX4" fmla="*/ 0 w 1844040"/>
                <a:gd name="connsiteY4" fmla="*/ 34290 h 381000"/>
                <a:gd name="connsiteX0" fmla="*/ 0 w 1844040"/>
                <a:gd name="connsiteY0" fmla="*/ 34290 h 430212"/>
                <a:gd name="connsiteX1" fmla="*/ 0 w 1844040"/>
                <a:gd name="connsiteY1" fmla="*/ 381000 h 430212"/>
                <a:gd name="connsiteX2" fmla="*/ 1844040 w 1844040"/>
                <a:gd name="connsiteY2" fmla="*/ 381000 h 430212"/>
                <a:gd name="connsiteX3" fmla="*/ 1844040 w 1844040"/>
                <a:gd name="connsiteY3" fmla="*/ 0 h 430212"/>
                <a:gd name="connsiteX4" fmla="*/ 0 w 1844040"/>
                <a:gd name="connsiteY4" fmla="*/ 34290 h 430212"/>
                <a:gd name="connsiteX0" fmla="*/ 0 w 1844040"/>
                <a:gd name="connsiteY0" fmla="*/ 34290 h 395252"/>
                <a:gd name="connsiteX1" fmla="*/ 0 w 1844040"/>
                <a:gd name="connsiteY1" fmla="*/ 381000 h 395252"/>
                <a:gd name="connsiteX2" fmla="*/ 1844040 w 1844040"/>
                <a:gd name="connsiteY2" fmla="*/ 381000 h 395252"/>
                <a:gd name="connsiteX3" fmla="*/ 1844040 w 1844040"/>
                <a:gd name="connsiteY3" fmla="*/ 0 h 395252"/>
                <a:gd name="connsiteX4" fmla="*/ 0 w 1844040"/>
                <a:gd name="connsiteY4" fmla="*/ 34290 h 395252"/>
                <a:gd name="connsiteX0" fmla="*/ 0 w 1844040"/>
                <a:gd name="connsiteY0" fmla="*/ 34290 h 394486"/>
                <a:gd name="connsiteX1" fmla="*/ 0 w 1844040"/>
                <a:gd name="connsiteY1" fmla="*/ 381000 h 394486"/>
                <a:gd name="connsiteX2" fmla="*/ 1844040 w 1844040"/>
                <a:gd name="connsiteY2" fmla="*/ 381000 h 394486"/>
                <a:gd name="connsiteX3" fmla="*/ 1844040 w 1844040"/>
                <a:gd name="connsiteY3" fmla="*/ 0 h 394486"/>
                <a:gd name="connsiteX4" fmla="*/ 0 w 1844040"/>
                <a:gd name="connsiteY4" fmla="*/ 34290 h 394486"/>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6996"/>
                <a:gd name="connsiteX1" fmla="*/ 0 w 1844040"/>
                <a:gd name="connsiteY1" fmla="*/ 381000 h 416996"/>
                <a:gd name="connsiteX2" fmla="*/ 1844040 w 1844040"/>
                <a:gd name="connsiteY2" fmla="*/ 381000 h 416996"/>
                <a:gd name="connsiteX3" fmla="*/ 1844040 w 1844040"/>
                <a:gd name="connsiteY3" fmla="*/ 0 h 416996"/>
                <a:gd name="connsiteX4" fmla="*/ 0 w 1844040"/>
                <a:gd name="connsiteY4" fmla="*/ 34290 h 416996"/>
                <a:gd name="connsiteX0" fmla="*/ 0 w 1844040"/>
                <a:gd name="connsiteY0" fmla="*/ 34290 h 417972"/>
                <a:gd name="connsiteX1" fmla="*/ 0 w 1844040"/>
                <a:gd name="connsiteY1" fmla="*/ 381000 h 417972"/>
                <a:gd name="connsiteX2" fmla="*/ 1844040 w 1844040"/>
                <a:gd name="connsiteY2" fmla="*/ 381000 h 417972"/>
                <a:gd name="connsiteX3" fmla="*/ 1844040 w 1844040"/>
                <a:gd name="connsiteY3" fmla="*/ 0 h 417972"/>
                <a:gd name="connsiteX4" fmla="*/ 0 w 1844040"/>
                <a:gd name="connsiteY4" fmla="*/ 34290 h 417972"/>
                <a:gd name="connsiteX0" fmla="*/ 0 w 1844040"/>
                <a:gd name="connsiteY0" fmla="*/ 34290 h 418507"/>
                <a:gd name="connsiteX1" fmla="*/ 0 w 1844040"/>
                <a:gd name="connsiteY1" fmla="*/ 381000 h 418507"/>
                <a:gd name="connsiteX2" fmla="*/ 1844040 w 1844040"/>
                <a:gd name="connsiteY2" fmla="*/ 381000 h 418507"/>
                <a:gd name="connsiteX3" fmla="*/ 1844040 w 1844040"/>
                <a:gd name="connsiteY3" fmla="*/ 0 h 418507"/>
                <a:gd name="connsiteX4" fmla="*/ 0 w 1844040"/>
                <a:gd name="connsiteY4" fmla="*/ 34290 h 418507"/>
                <a:gd name="connsiteX0" fmla="*/ 0 w 1844040"/>
                <a:gd name="connsiteY0" fmla="*/ 34290 h 401164"/>
                <a:gd name="connsiteX1" fmla="*/ 0 w 1844040"/>
                <a:gd name="connsiteY1" fmla="*/ 381000 h 401164"/>
                <a:gd name="connsiteX2" fmla="*/ 1844040 w 1844040"/>
                <a:gd name="connsiteY2" fmla="*/ 381000 h 401164"/>
                <a:gd name="connsiteX3" fmla="*/ 1844040 w 1844040"/>
                <a:gd name="connsiteY3" fmla="*/ 0 h 401164"/>
                <a:gd name="connsiteX4" fmla="*/ 0 w 1844040"/>
                <a:gd name="connsiteY4" fmla="*/ 34290 h 401164"/>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0817"/>
                <a:gd name="connsiteX1" fmla="*/ 0 w 1844040"/>
                <a:gd name="connsiteY1" fmla="*/ 381000 h 420817"/>
                <a:gd name="connsiteX2" fmla="*/ 1844040 w 1844040"/>
                <a:gd name="connsiteY2" fmla="*/ 381000 h 420817"/>
                <a:gd name="connsiteX3" fmla="*/ 1844040 w 1844040"/>
                <a:gd name="connsiteY3" fmla="*/ 0 h 420817"/>
                <a:gd name="connsiteX4" fmla="*/ 0 w 1844040"/>
                <a:gd name="connsiteY4" fmla="*/ 34290 h 420817"/>
                <a:gd name="connsiteX0" fmla="*/ 0 w 1844040"/>
                <a:gd name="connsiteY0" fmla="*/ 34290 h 424060"/>
                <a:gd name="connsiteX1" fmla="*/ 0 w 1844040"/>
                <a:gd name="connsiteY1" fmla="*/ 381000 h 424060"/>
                <a:gd name="connsiteX2" fmla="*/ 1844040 w 1844040"/>
                <a:gd name="connsiteY2" fmla="*/ 381000 h 424060"/>
                <a:gd name="connsiteX3" fmla="*/ 1844040 w 1844040"/>
                <a:gd name="connsiteY3" fmla="*/ 0 h 424060"/>
                <a:gd name="connsiteX4" fmla="*/ 0 w 1844040"/>
                <a:gd name="connsiteY4" fmla="*/ 34290 h 424060"/>
                <a:gd name="connsiteX0" fmla="*/ 0 w 1848802"/>
                <a:gd name="connsiteY0" fmla="*/ 34290 h 423344"/>
                <a:gd name="connsiteX1" fmla="*/ 0 w 1848802"/>
                <a:gd name="connsiteY1" fmla="*/ 381000 h 423344"/>
                <a:gd name="connsiteX2" fmla="*/ 1848802 w 1848802"/>
                <a:gd name="connsiteY2" fmla="*/ 366713 h 423344"/>
                <a:gd name="connsiteX3" fmla="*/ 1844040 w 1848802"/>
                <a:gd name="connsiteY3" fmla="*/ 0 h 423344"/>
                <a:gd name="connsiteX4" fmla="*/ 0 w 1848802"/>
                <a:gd name="connsiteY4" fmla="*/ 34290 h 423344"/>
                <a:gd name="connsiteX0" fmla="*/ 0 w 1848802"/>
                <a:gd name="connsiteY0" fmla="*/ 34290 h 424139"/>
                <a:gd name="connsiteX1" fmla="*/ 0 w 1848802"/>
                <a:gd name="connsiteY1" fmla="*/ 381000 h 424139"/>
                <a:gd name="connsiteX2" fmla="*/ 1848802 w 1848802"/>
                <a:gd name="connsiteY2" fmla="*/ 366713 h 424139"/>
                <a:gd name="connsiteX3" fmla="*/ 1844040 w 1848802"/>
                <a:gd name="connsiteY3" fmla="*/ 0 h 424139"/>
                <a:gd name="connsiteX4" fmla="*/ 0 w 1848802"/>
                <a:gd name="connsiteY4" fmla="*/ 34290 h 424139"/>
                <a:gd name="connsiteX0" fmla="*/ 0 w 1848802"/>
                <a:gd name="connsiteY0" fmla="*/ 192446 h 582295"/>
                <a:gd name="connsiteX1" fmla="*/ 0 w 1848802"/>
                <a:gd name="connsiteY1" fmla="*/ 539156 h 582295"/>
                <a:gd name="connsiteX2" fmla="*/ 1848802 w 1848802"/>
                <a:gd name="connsiteY2" fmla="*/ 524869 h 582295"/>
                <a:gd name="connsiteX3" fmla="*/ 1844040 w 1848802"/>
                <a:gd name="connsiteY3" fmla="*/ 158156 h 582295"/>
                <a:gd name="connsiteX4" fmla="*/ 0 w 1848802"/>
                <a:gd name="connsiteY4" fmla="*/ 192446 h 582295"/>
                <a:gd name="connsiteX0" fmla="*/ 0 w 1848802"/>
                <a:gd name="connsiteY0" fmla="*/ 156865 h 546714"/>
                <a:gd name="connsiteX1" fmla="*/ 0 w 1848802"/>
                <a:gd name="connsiteY1" fmla="*/ 503575 h 546714"/>
                <a:gd name="connsiteX2" fmla="*/ 1848802 w 1848802"/>
                <a:gd name="connsiteY2" fmla="*/ 489288 h 546714"/>
                <a:gd name="connsiteX3" fmla="*/ 1844040 w 1848802"/>
                <a:gd name="connsiteY3" fmla="*/ 122575 h 546714"/>
                <a:gd name="connsiteX4" fmla="*/ 0 w 1848802"/>
                <a:gd name="connsiteY4" fmla="*/ 156865 h 546714"/>
                <a:gd name="connsiteX0" fmla="*/ 0 w 1848802"/>
                <a:gd name="connsiteY0" fmla="*/ 194120 h 583969"/>
                <a:gd name="connsiteX1" fmla="*/ 0 w 1848802"/>
                <a:gd name="connsiteY1" fmla="*/ 540830 h 583969"/>
                <a:gd name="connsiteX2" fmla="*/ 1848802 w 1848802"/>
                <a:gd name="connsiteY2" fmla="*/ 526543 h 583969"/>
                <a:gd name="connsiteX3" fmla="*/ 1844040 w 1848802"/>
                <a:gd name="connsiteY3" fmla="*/ 159830 h 583969"/>
                <a:gd name="connsiteX4" fmla="*/ 0 w 1848802"/>
                <a:gd name="connsiteY4" fmla="*/ 194120 h 583969"/>
                <a:gd name="connsiteX0" fmla="*/ 0 w 1848802"/>
                <a:gd name="connsiteY0" fmla="*/ 192023 h 581872"/>
                <a:gd name="connsiteX1" fmla="*/ 0 w 1848802"/>
                <a:gd name="connsiteY1" fmla="*/ 538733 h 581872"/>
                <a:gd name="connsiteX2" fmla="*/ 1848802 w 1848802"/>
                <a:gd name="connsiteY2" fmla="*/ 524446 h 581872"/>
                <a:gd name="connsiteX3" fmla="*/ 1844040 w 1848802"/>
                <a:gd name="connsiteY3" fmla="*/ 157733 h 581872"/>
                <a:gd name="connsiteX4" fmla="*/ 0 w 1848802"/>
                <a:gd name="connsiteY4" fmla="*/ 192023 h 58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802" h="581872">
                  <a:moveTo>
                    <a:pt x="0" y="192023"/>
                  </a:moveTo>
                  <a:lnTo>
                    <a:pt x="0" y="538733"/>
                  </a:lnTo>
                  <a:cubicBezTo>
                    <a:pt x="334883" y="762572"/>
                    <a:pt x="1656795" y="17238"/>
                    <a:pt x="1848802" y="524446"/>
                  </a:cubicBezTo>
                  <a:cubicBezTo>
                    <a:pt x="1847215" y="402208"/>
                    <a:pt x="1845627" y="279971"/>
                    <a:pt x="1844040" y="157733"/>
                  </a:cubicBezTo>
                  <a:cubicBezTo>
                    <a:pt x="1650842" y="-299943"/>
                    <a:pt x="336073" y="405621"/>
                    <a:pt x="0" y="192023"/>
                  </a:cubicBezTo>
                  <a:close/>
                </a:path>
              </a:pathLst>
            </a:custGeom>
            <a:solidFill>
              <a:srgbClr val="FFFFFF"/>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52" name="TextBox 55"/>
            <p:cNvSpPr txBox="1"/>
            <p:nvPr/>
          </p:nvSpPr>
          <p:spPr>
            <a:xfrm rot="20871923">
              <a:off x="6009503" y="3790362"/>
              <a:ext cx="276551" cy="200055"/>
            </a:xfrm>
            <a:prstGeom prst="rect">
              <a:avLst/>
            </a:prstGeom>
            <a:noFill/>
          </p:spPr>
          <p:txBody>
            <a:bodyPr wrap="none" lIns="0" tIns="0" rIns="0" bIns="0" rtlCol="0">
              <a:spAutoFit/>
            </a:bodyPr>
            <a:lstStyle/>
            <a:p>
              <a:pPr>
                <a:buFont typeface="Wingdings 2" pitchFamily="18" charset="2"/>
                <a:buNone/>
              </a:pPr>
              <a:r>
                <a:rPr lang="en-US" altLang="zh-CN" sz="1300" dirty="0">
                  <a:solidFill>
                    <a:srgbClr val="000000"/>
                  </a:solidFill>
                </a:rPr>
                <a:t>Text</a:t>
              </a:r>
              <a:endParaRPr lang="en-US" sz="1300" dirty="0">
                <a:solidFill>
                  <a:srgbClr val="000000"/>
                </a:solidFill>
              </a:endParaRPr>
            </a:p>
          </p:txBody>
        </p:sp>
      </p:grpSp>
      <p:grpSp>
        <p:nvGrpSpPr>
          <p:cNvPr id="16" name="Group 15"/>
          <p:cNvGrpSpPr/>
          <p:nvPr/>
        </p:nvGrpSpPr>
        <p:grpSpPr>
          <a:xfrm>
            <a:off x="8006665" y="2803084"/>
            <a:ext cx="1089304" cy="1260384"/>
            <a:chOff x="8006665" y="2803084"/>
            <a:chExt cx="1089304" cy="1260384"/>
          </a:xfrm>
        </p:grpSpPr>
        <p:sp>
          <p:nvSpPr>
            <p:cNvPr id="46" name="Oval 49"/>
            <p:cNvSpPr/>
            <p:nvPr/>
          </p:nvSpPr>
          <p:spPr>
            <a:xfrm>
              <a:off x="8028102" y="3788831"/>
              <a:ext cx="372387" cy="134205"/>
            </a:xfrm>
            <a:prstGeom prst="ellipse">
              <a:avLst/>
            </a:pr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48" name="Oval 51"/>
            <p:cNvSpPr/>
            <p:nvPr/>
          </p:nvSpPr>
          <p:spPr>
            <a:xfrm>
              <a:off x="8006665" y="2803084"/>
              <a:ext cx="1089304" cy="1089302"/>
            </a:xfrm>
            <a:prstGeom prst="ellipse">
              <a:avLst/>
            </a:prstGeom>
            <a:solidFill>
              <a:srgbClr val="86BC25"/>
            </a:solidFill>
            <a:ln w="12700" cap="flat" cmpd="sng" algn="ctr">
              <a:noFill/>
              <a:prstDash val="solid"/>
              <a:miter lim="800000"/>
            </a:ln>
            <a:effectLst/>
          </p:spPr>
          <p:txBody>
            <a:bodyPr lIns="0" rIns="0" rtlCol="0" anchor="ctr"/>
            <a:lstStyle/>
            <a:p>
              <a:pPr marL="0" marR="0" lvl="0" indent="0" algn="ctr" defTabSz="914400" eaLnBrk="1" fontAlgn="auto" latinLnBrk="0" hangingPunct="1">
                <a:spcAft>
                  <a:spcPts val="0"/>
                </a:spcAft>
                <a:buClrTx/>
                <a:buSzTx/>
                <a:buFontTx/>
                <a:buNone/>
                <a:tabLst/>
                <a:defRPr/>
              </a:pPr>
              <a:endParaRPr kumimoji="0" lang="en-US" sz="1300" b="1" i="0" u="none" strike="noStrike" kern="0" cap="none" spc="0" normalizeH="0" baseline="0" noProof="0" dirty="0">
                <a:ln>
                  <a:noFill/>
                </a:ln>
                <a:solidFill>
                  <a:prstClr val="white"/>
                </a:solidFill>
                <a:effectLst/>
                <a:uLnTx/>
                <a:uFillTx/>
                <a:latin typeface="+mj-lt"/>
                <a:ea typeface="+mn-ea"/>
                <a:cs typeface="+mn-cs"/>
              </a:endParaRPr>
            </a:p>
          </p:txBody>
        </p:sp>
        <p:sp>
          <p:nvSpPr>
            <p:cNvPr id="49" name="Oval 6"/>
            <p:cNvSpPr/>
            <p:nvPr/>
          </p:nvSpPr>
          <p:spPr>
            <a:xfrm rot="827270">
              <a:off x="8585519" y="3875434"/>
              <a:ext cx="482591" cy="168984"/>
            </a:xfrm>
            <a:custGeom>
              <a:avLst/>
              <a:gdLst>
                <a:gd name="connsiteX0" fmla="*/ 0 w 852122"/>
                <a:gd name="connsiteY0" fmla="*/ 181372 h 362744"/>
                <a:gd name="connsiteX1" fmla="*/ 426061 w 852122"/>
                <a:gd name="connsiteY1" fmla="*/ 0 h 362744"/>
                <a:gd name="connsiteX2" fmla="*/ 852122 w 852122"/>
                <a:gd name="connsiteY2" fmla="*/ 181372 h 362744"/>
                <a:gd name="connsiteX3" fmla="*/ 426061 w 852122"/>
                <a:gd name="connsiteY3" fmla="*/ 362744 h 362744"/>
                <a:gd name="connsiteX4" fmla="*/ 0 w 852122"/>
                <a:gd name="connsiteY4" fmla="*/ 181372 h 362744"/>
                <a:gd name="connsiteX0" fmla="*/ 371 w 852493"/>
                <a:gd name="connsiteY0" fmla="*/ 181372 h 303318"/>
                <a:gd name="connsiteX1" fmla="*/ 426432 w 852493"/>
                <a:gd name="connsiteY1" fmla="*/ 0 h 303318"/>
                <a:gd name="connsiteX2" fmla="*/ 852493 w 852493"/>
                <a:gd name="connsiteY2" fmla="*/ 181372 h 303318"/>
                <a:gd name="connsiteX3" fmla="*/ 373845 w 852493"/>
                <a:gd name="connsiteY3" fmla="*/ 303318 h 303318"/>
                <a:gd name="connsiteX4" fmla="*/ 371 w 852493"/>
                <a:gd name="connsiteY4" fmla="*/ 181372 h 303318"/>
                <a:gd name="connsiteX0" fmla="*/ 379 w 852501"/>
                <a:gd name="connsiteY0" fmla="*/ 181372 h 303540"/>
                <a:gd name="connsiteX1" fmla="*/ 426440 w 852501"/>
                <a:gd name="connsiteY1" fmla="*/ 0 h 303540"/>
                <a:gd name="connsiteX2" fmla="*/ 852501 w 852501"/>
                <a:gd name="connsiteY2" fmla="*/ 181372 h 303540"/>
                <a:gd name="connsiteX3" fmla="*/ 373853 w 852501"/>
                <a:gd name="connsiteY3" fmla="*/ 303318 h 303540"/>
                <a:gd name="connsiteX4" fmla="*/ 379 w 852501"/>
                <a:gd name="connsiteY4" fmla="*/ 181372 h 303540"/>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17994 w 870116"/>
                <a:gd name="connsiteY0" fmla="*/ 181372 h 303318"/>
                <a:gd name="connsiteX1" fmla="*/ 444055 w 870116"/>
                <a:gd name="connsiteY1" fmla="*/ 0 h 303318"/>
                <a:gd name="connsiteX2" fmla="*/ 870116 w 870116"/>
                <a:gd name="connsiteY2" fmla="*/ 181372 h 303318"/>
                <a:gd name="connsiteX3" fmla="*/ 391468 w 870116"/>
                <a:gd name="connsiteY3" fmla="*/ 303318 h 303318"/>
                <a:gd name="connsiteX4" fmla="*/ 17994 w 870116"/>
                <a:gd name="connsiteY4" fmla="*/ 181372 h 303318"/>
                <a:gd name="connsiteX0" fmla="*/ 14106 w 866228"/>
                <a:gd name="connsiteY0" fmla="*/ 181372 h 303318"/>
                <a:gd name="connsiteX1" fmla="*/ 440167 w 866228"/>
                <a:gd name="connsiteY1" fmla="*/ 0 h 303318"/>
                <a:gd name="connsiteX2" fmla="*/ 866228 w 866228"/>
                <a:gd name="connsiteY2" fmla="*/ 181372 h 303318"/>
                <a:gd name="connsiteX3" fmla="*/ 387580 w 866228"/>
                <a:gd name="connsiteY3" fmla="*/ 303318 h 303318"/>
                <a:gd name="connsiteX4" fmla="*/ 14106 w 866228"/>
                <a:gd name="connsiteY4" fmla="*/ 181372 h 30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228" h="303318">
                  <a:moveTo>
                    <a:pt x="14106" y="181372"/>
                  </a:moveTo>
                  <a:cubicBezTo>
                    <a:pt x="98484" y="74259"/>
                    <a:pt x="298147" y="0"/>
                    <a:pt x="440167" y="0"/>
                  </a:cubicBezTo>
                  <a:cubicBezTo>
                    <a:pt x="582187" y="0"/>
                    <a:pt x="866228" y="81203"/>
                    <a:pt x="866228" y="181372"/>
                  </a:cubicBezTo>
                  <a:cubicBezTo>
                    <a:pt x="853289" y="268779"/>
                    <a:pt x="529600" y="303318"/>
                    <a:pt x="387580" y="303318"/>
                  </a:cubicBezTo>
                  <a:cubicBezTo>
                    <a:pt x="245560" y="303318"/>
                    <a:pt x="-70272" y="288485"/>
                    <a:pt x="14106" y="181372"/>
                  </a:cubicBezTo>
                  <a:close/>
                </a:path>
              </a:pathLst>
            </a:cu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50" name="Freeform 53"/>
            <p:cNvSpPr/>
            <p:nvPr/>
          </p:nvSpPr>
          <p:spPr>
            <a:xfrm>
              <a:off x="8028765" y="3739297"/>
              <a:ext cx="1030002" cy="324171"/>
            </a:xfrm>
            <a:custGeom>
              <a:avLst/>
              <a:gdLst>
                <a:gd name="connsiteX0" fmla="*/ 0 w 1844040"/>
                <a:gd name="connsiteY0" fmla="*/ 34290 h 381000"/>
                <a:gd name="connsiteX1" fmla="*/ 0 w 1844040"/>
                <a:gd name="connsiteY1" fmla="*/ 381000 h 381000"/>
                <a:gd name="connsiteX2" fmla="*/ 1844040 w 1844040"/>
                <a:gd name="connsiteY2" fmla="*/ 381000 h 381000"/>
                <a:gd name="connsiteX3" fmla="*/ 1844040 w 1844040"/>
                <a:gd name="connsiteY3" fmla="*/ 0 h 381000"/>
                <a:gd name="connsiteX4" fmla="*/ 0 w 1844040"/>
                <a:gd name="connsiteY4" fmla="*/ 34290 h 381000"/>
                <a:gd name="connsiteX0" fmla="*/ 0 w 1844040"/>
                <a:gd name="connsiteY0" fmla="*/ 34290 h 430212"/>
                <a:gd name="connsiteX1" fmla="*/ 0 w 1844040"/>
                <a:gd name="connsiteY1" fmla="*/ 381000 h 430212"/>
                <a:gd name="connsiteX2" fmla="*/ 1844040 w 1844040"/>
                <a:gd name="connsiteY2" fmla="*/ 381000 h 430212"/>
                <a:gd name="connsiteX3" fmla="*/ 1844040 w 1844040"/>
                <a:gd name="connsiteY3" fmla="*/ 0 h 430212"/>
                <a:gd name="connsiteX4" fmla="*/ 0 w 1844040"/>
                <a:gd name="connsiteY4" fmla="*/ 34290 h 430212"/>
                <a:gd name="connsiteX0" fmla="*/ 0 w 1844040"/>
                <a:gd name="connsiteY0" fmla="*/ 34290 h 395252"/>
                <a:gd name="connsiteX1" fmla="*/ 0 w 1844040"/>
                <a:gd name="connsiteY1" fmla="*/ 381000 h 395252"/>
                <a:gd name="connsiteX2" fmla="*/ 1844040 w 1844040"/>
                <a:gd name="connsiteY2" fmla="*/ 381000 h 395252"/>
                <a:gd name="connsiteX3" fmla="*/ 1844040 w 1844040"/>
                <a:gd name="connsiteY3" fmla="*/ 0 h 395252"/>
                <a:gd name="connsiteX4" fmla="*/ 0 w 1844040"/>
                <a:gd name="connsiteY4" fmla="*/ 34290 h 395252"/>
                <a:gd name="connsiteX0" fmla="*/ 0 w 1844040"/>
                <a:gd name="connsiteY0" fmla="*/ 34290 h 394486"/>
                <a:gd name="connsiteX1" fmla="*/ 0 w 1844040"/>
                <a:gd name="connsiteY1" fmla="*/ 381000 h 394486"/>
                <a:gd name="connsiteX2" fmla="*/ 1844040 w 1844040"/>
                <a:gd name="connsiteY2" fmla="*/ 381000 h 394486"/>
                <a:gd name="connsiteX3" fmla="*/ 1844040 w 1844040"/>
                <a:gd name="connsiteY3" fmla="*/ 0 h 394486"/>
                <a:gd name="connsiteX4" fmla="*/ 0 w 1844040"/>
                <a:gd name="connsiteY4" fmla="*/ 34290 h 394486"/>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6996"/>
                <a:gd name="connsiteX1" fmla="*/ 0 w 1844040"/>
                <a:gd name="connsiteY1" fmla="*/ 381000 h 416996"/>
                <a:gd name="connsiteX2" fmla="*/ 1844040 w 1844040"/>
                <a:gd name="connsiteY2" fmla="*/ 381000 h 416996"/>
                <a:gd name="connsiteX3" fmla="*/ 1844040 w 1844040"/>
                <a:gd name="connsiteY3" fmla="*/ 0 h 416996"/>
                <a:gd name="connsiteX4" fmla="*/ 0 w 1844040"/>
                <a:gd name="connsiteY4" fmla="*/ 34290 h 416996"/>
                <a:gd name="connsiteX0" fmla="*/ 0 w 1844040"/>
                <a:gd name="connsiteY0" fmla="*/ 34290 h 417972"/>
                <a:gd name="connsiteX1" fmla="*/ 0 w 1844040"/>
                <a:gd name="connsiteY1" fmla="*/ 381000 h 417972"/>
                <a:gd name="connsiteX2" fmla="*/ 1844040 w 1844040"/>
                <a:gd name="connsiteY2" fmla="*/ 381000 h 417972"/>
                <a:gd name="connsiteX3" fmla="*/ 1844040 w 1844040"/>
                <a:gd name="connsiteY3" fmla="*/ 0 h 417972"/>
                <a:gd name="connsiteX4" fmla="*/ 0 w 1844040"/>
                <a:gd name="connsiteY4" fmla="*/ 34290 h 417972"/>
                <a:gd name="connsiteX0" fmla="*/ 0 w 1844040"/>
                <a:gd name="connsiteY0" fmla="*/ 34290 h 418507"/>
                <a:gd name="connsiteX1" fmla="*/ 0 w 1844040"/>
                <a:gd name="connsiteY1" fmla="*/ 381000 h 418507"/>
                <a:gd name="connsiteX2" fmla="*/ 1844040 w 1844040"/>
                <a:gd name="connsiteY2" fmla="*/ 381000 h 418507"/>
                <a:gd name="connsiteX3" fmla="*/ 1844040 w 1844040"/>
                <a:gd name="connsiteY3" fmla="*/ 0 h 418507"/>
                <a:gd name="connsiteX4" fmla="*/ 0 w 1844040"/>
                <a:gd name="connsiteY4" fmla="*/ 34290 h 418507"/>
                <a:gd name="connsiteX0" fmla="*/ 0 w 1844040"/>
                <a:gd name="connsiteY0" fmla="*/ 34290 h 401164"/>
                <a:gd name="connsiteX1" fmla="*/ 0 w 1844040"/>
                <a:gd name="connsiteY1" fmla="*/ 381000 h 401164"/>
                <a:gd name="connsiteX2" fmla="*/ 1844040 w 1844040"/>
                <a:gd name="connsiteY2" fmla="*/ 381000 h 401164"/>
                <a:gd name="connsiteX3" fmla="*/ 1844040 w 1844040"/>
                <a:gd name="connsiteY3" fmla="*/ 0 h 401164"/>
                <a:gd name="connsiteX4" fmla="*/ 0 w 1844040"/>
                <a:gd name="connsiteY4" fmla="*/ 34290 h 401164"/>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0817"/>
                <a:gd name="connsiteX1" fmla="*/ 0 w 1844040"/>
                <a:gd name="connsiteY1" fmla="*/ 381000 h 420817"/>
                <a:gd name="connsiteX2" fmla="*/ 1844040 w 1844040"/>
                <a:gd name="connsiteY2" fmla="*/ 381000 h 420817"/>
                <a:gd name="connsiteX3" fmla="*/ 1844040 w 1844040"/>
                <a:gd name="connsiteY3" fmla="*/ 0 h 420817"/>
                <a:gd name="connsiteX4" fmla="*/ 0 w 1844040"/>
                <a:gd name="connsiteY4" fmla="*/ 34290 h 420817"/>
                <a:gd name="connsiteX0" fmla="*/ 0 w 1844040"/>
                <a:gd name="connsiteY0" fmla="*/ 34290 h 424060"/>
                <a:gd name="connsiteX1" fmla="*/ 0 w 1844040"/>
                <a:gd name="connsiteY1" fmla="*/ 381000 h 424060"/>
                <a:gd name="connsiteX2" fmla="*/ 1844040 w 1844040"/>
                <a:gd name="connsiteY2" fmla="*/ 381000 h 424060"/>
                <a:gd name="connsiteX3" fmla="*/ 1844040 w 1844040"/>
                <a:gd name="connsiteY3" fmla="*/ 0 h 424060"/>
                <a:gd name="connsiteX4" fmla="*/ 0 w 1844040"/>
                <a:gd name="connsiteY4" fmla="*/ 34290 h 424060"/>
                <a:gd name="connsiteX0" fmla="*/ 0 w 1848802"/>
                <a:gd name="connsiteY0" fmla="*/ 34290 h 423344"/>
                <a:gd name="connsiteX1" fmla="*/ 0 w 1848802"/>
                <a:gd name="connsiteY1" fmla="*/ 381000 h 423344"/>
                <a:gd name="connsiteX2" fmla="*/ 1848802 w 1848802"/>
                <a:gd name="connsiteY2" fmla="*/ 366713 h 423344"/>
                <a:gd name="connsiteX3" fmla="*/ 1844040 w 1848802"/>
                <a:gd name="connsiteY3" fmla="*/ 0 h 423344"/>
                <a:gd name="connsiteX4" fmla="*/ 0 w 1848802"/>
                <a:gd name="connsiteY4" fmla="*/ 34290 h 423344"/>
                <a:gd name="connsiteX0" fmla="*/ 0 w 1848802"/>
                <a:gd name="connsiteY0" fmla="*/ 34290 h 424139"/>
                <a:gd name="connsiteX1" fmla="*/ 0 w 1848802"/>
                <a:gd name="connsiteY1" fmla="*/ 381000 h 424139"/>
                <a:gd name="connsiteX2" fmla="*/ 1848802 w 1848802"/>
                <a:gd name="connsiteY2" fmla="*/ 366713 h 424139"/>
                <a:gd name="connsiteX3" fmla="*/ 1844040 w 1848802"/>
                <a:gd name="connsiteY3" fmla="*/ 0 h 424139"/>
                <a:gd name="connsiteX4" fmla="*/ 0 w 1848802"/>
                <a:gd name="connsiteY4" fmla="*/ 34290 h 424139"/>
                <a:gd name="connsiteX0" fmla="*/ 0 w 1848802"/>
                <a:gd name="connsiteY0" fmla="*/ 192446 h 582295"/>
                <a:gd name="connsiteX1" fmla="*/ 0 w 1848802"/>
                <a:gd name="connsiteY1" fmla="*/ 539156 h 582295"/>
                <a:gd name="connsiteX2" fmla="*/ 1848802 w 1848802"/>
                <a:gd name="connsiteY2" fmla="*/ 524869 h 582295"/>
                <a:gd name="connsiteX3" fmla="*/ 1844040 w 1848802"/>
                <a:gd name="connsiteY3" fmla="*/ 158156 h 582295"/>
                <a:gd name="connsiteX4" fmla="*/ 0 w 1848802"/>
                <a:gd name="connsiteY4" fmla="*/ 192446 h 582295"/>
                <a:gd name="connsiteX0" fmla="*/ 0 w 1848802"/>
                <a:gd name="connsiteY0" fmla="*/ 156865 h 546714"/>
                <a:gd name="connsiteX1" fmla="*/ 0 w 1848802"/>
                <a:gd name="connsiteY1" fmla="*/ 503575 h 546714"/>
                <a:gd name="connsiteX2" fmla="*/ 1848802 w 1848802"/>
                <a:gd name="connsiteY2" fmla="*/ 489288 h 546714"/>
                <a:gd name="connsiteX3" fmla="*/ 1844040 w 1848802"/>
                <a:gd name="connsiteY3" fmla="*/ 122575 h 546714"/>
                <a:gd name="connsiteX4" fmla="*/ 0 w 1848802"/>
                <a:gd name="connsiteY4" fmla="*/ 156865 h 546714"/>
                <a:gd name="connsiteX0" fmla="*/ 0 w 1848802"/>
                <a:gd name="connsiteY0" fmla="*/ 194120 h 583969"/>
                <a:gd name="connsiteX1" fmla="*/ 0 w 1848802"/>
                <a:gd name="connsiteY1" fmla="*/ 540830 h 583969"/>
                <a:gd name="connsiteX2" fmla="*/ 1848802 w 1848802"/>
                <a:gd name="connsiteY2" fmla="*/ 526543 h 583969"/>
                <a:gd name="connsiteX3" fmla="*/ 1844040 w 1848802"/>
                <a:gd name="connsiteY3" fmla="*/ 159830 h 583969"/>
                <a:gd name="connsiteX4" fmla="*/ 0 w 1848802"/>
                <a:gd name="connsiteY4" fmla="*/ 194120 h 583969"/>
                <a:gd name="connsiteX0" fmla="*/ 0 w 1848802"/>
                <a:gd name="connsiteY0" fmla="*/ 192023 h 581872"/>
                <a:gd name="connsiteX1" fmla="*/ 0 w 1848802"/>
                <a:gd name="connsiteY1" fmla="*/ 538733 h 581872"/>
                <a:gd name="connsiteX2" fmla="*/ 1848802 w 1848802"/>
                <a:gd name="connsiteY2" fmla="*/ 524446 h 581872"/>
                <a:gd name="connsiteX3" fmla="*/ 1844040 w 1848802"/>
                <a:gd name="connsiteY3" fmla="*/ 157733 h 581872"/>
                <a:gd name="connsiteX4" fmla="*/ 0 w 1848802"/>
                <a:gd name="connsiteY4" fmla="*/ 192023 h 58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802" h="581872">
                  <a:moveTo>
                    <a:pt x="0" y="192023"/>
                  </a:moveTo>
                  <a:lnTo>
                    <a:pt x="0" y="538733"/>
                  </a:lnTo>
                  <a:cubicBezTo>
                    <a:pt x="334883" y="762572"/>
                    <a:pt x="1656795" y="17238"/>
                    <a:pt x="1848802" y="524446"/>
                  </a:cubicBezTo>
                  <a:cubicBezTo>
                    <a:pt x="1847215" y="402208"/>
                    <a:pt x="1845627" y="279971"/>
                    <a:pt x="1844040" y="157733"/>
                  </a:cubicBezTo>
                  <a:cubicBezTo>
                    <a:pt x="1650842" y="-299943"/>
                    <a:pt x="336073" y="405621"/>
                    <a:pt x="0" y="192023"/>
                  </a:cubicBezTo>
                  <a:close/>
                </a:path>
              </a:pathLst>
            </a:custGeom>
            <a:solidFill>
              <a:srgbClr val="FFFFFF"/>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45" name="TextBox 48"/>
            <p:cNvSpPr txBox="1"/>
            <p:nvPr/>
          </p:nvSpPr>
          <p:spPr>
            <a:xfrm rot="20871923">
              <a:off x="8405490" y="3783169"/>
              <a:ext cx="276551" cy="200055"/>
            </a:xfrm>
            <a:prstGeom prst="rect">
              <a:avLst/>
            </a:prstGeom>
            <a:noFill/>
          </p:spPr>
          <p:txBody>
            <a:bodyPr wrap="none" lIns="0" tIns="0" rIns="0" bIns="0" rtlCol="0">
              <a:spAutoFit/>
            </a:bodyPr>
            <a:lstStyle/>
            <a:p>
              <a:pPr>
                <a:buFont typeface="Wingdings 2" pitchFamily="18" charset="2"/>
                <a:buNone/>
              </a:pPr>
              <a:r>
                <a:rPr lang="en-US" altLang="zh-CN" sz="1300" dirty="0">
                  <a:solidFill>
                    <a:srgbClr val="000000"/>
                  </a:solidFill>
                </a:rPr>
                <a:t>Text</a:t>
              </a:r>
              <a:endParaRPr lang="en-US" sz="1300" dirty="0">
                <a:solidFill>
                  <a:srgbClr val="000000"/>
                </a:solidFill>
              </a:endParaRPr>
            </a:p>
          </p:txBody>
        </p:sp>
      </p:grpSp>
      <p:cxnSp>
        <p:nvCxnSpPr>
          <p:cNvPr id="9" name="Straight Connector 7"/>
          <p:cNvCxnSpPr/>
          <p:nvPr/>
        </p:nvCxnSpPr>
        <p:spPr>
          <a:xfrm>
            <a:off x="2881358" y="4345440"/>
            <a:ext cx="1755961" cy="0"/>
          </a:xfrm>
          <a:prstGeom prst="line">
            <a:avLst/>
          </a:prstGeom>
          <a:noFill/>
          <a:ln>
            <a:solidFill>
              <a:srgbClr val="43B02A"/>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10402654" y="2803084"/>
            <a:ext cx="1089304" cy="1260384"/>
            <a:chOff x="10402654" y="2803084"/>
            <a:chExt cx="1089304" cy="1260384"/>
          </a:xfrm>
        </p:grpSpPr>
        <p:sp>
          <p:nvSpPr>
            <p:cNvPr id="64" name="Oval 49"/>
            <p:cNvSpPr/>
            <p:nvPr/>
          </p:nvSpPr>
          <p:spPr>
            <a:xfrm>
              <a:off x="10424091" y="3788831"/>
              <a:ext cx="372387" cy="134205"/>
            </a:xfrm>
            <a:prstGeom prst="ellipse">
              <a:avLst/>
            </a:pr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66" name="Oval 51"/>
            <p:cNvSpPr/>
            <p:nvPr/>
          </p:nvSpPr>
          <p:spPr>
            <a:xfrm>
              <a:off x="10402654" y="2803084"/>
              <a:ext cx="1089304" cy="1089302"/>
            </a:xfrm>
            <a:prstGeom prst="ellipse">
              <a:avLst/>
            </a:prstGeom>
            <a:solidFill>
              <a:srgbClr val="75787B"/>
            </a:solidFill>
            <a:ln w="12700" cap="flat" cmpd="sng" algn="ctr">
              <a:noFill/>
              <a:prstDash val="solid"/>
              <a:miter lim="800000"/>
            </a:ln>
            <a:effectLst/>
          </p:spPr>
          <p:txBody>
            <a:bodyPr lIns="0" rIns="0" rtlCol="0" anchor="ctr"/>
            <a:lstStyle/>
            <a:p>
              <a:pPr marL="0" marR="0" lvl="0" indent="0" algn="ctr" defTabSz="914400" eaLnBrk="1" fontAlgn="auto" latinLnBrk="0" hangingPunct="1">
                <a:spcAft>
                  <a:spcPts val="0"/>
                </a:spcAft>
                <a:buClrTx/>
                <a:buSzTx/>
                <a:buFontTx/>
                <a:buNone/>
                <a:tabLst/>
                <a:defRPr/>
              </a:pPr>
              <a:endParaRPr kumimoji="0" lang="en-US" sz="1300" b="1" i="0" u="none" strike="noStrike" kern="0" cap="none" spc="0" normalizeH="0" baseline="0" noProof="0" dirty="0">
                <a:ln>
                  <a:noFill/>
                </a:ln>
                <a:solidFill>
                  <a:prstClr val="white"/>
                </a:solidFill>
                <a:effectLst/>
                <a:uLnTx/>
                <a:uFillTx/>
                <a:latin typeface="+mj-lt"/>
                <a:ea typeface="+mn-ea"/>
                <a:cs typeface="+mn-cs"/>
              </a:endParaRPr>
            </a:p>
          </p:txBody>
        </p:sp>
        <p:sp>
          <p:nvSpPr>
            <p:cNvPr id="67" name="Oval 6"/>
            <p:cNvSpPr/>
            <p:nvPr/>
          </p:nvSpPr>
          <p:spPr>
            <a:xfrm rot="827270">
              <a:off x="10981508" y="3875434"/>
              <a:ext cx="482591" cy="168984"/>
            </a:xfrm>
            <a:custGeom>
              <a:avLst/>
              <a:gdLst>
                <a:gd name="connsiteX0" fmla="*/ 0 w 852122"/>
                <a:gd name="connsiteY0" fmla="*/ 181372 h 362744"/>
                <a:gd name="connsiteX1" fmla="*/ 426061 w 852122"/>
                <a:gd name="connsiteY1" fmla="*/ 0 h 362744"/>
                <a:gd name="connsiteX2" fmla="*/ 852122 w 852122"/>
                <a:gd name="connsiteY2" fmla="*/ 181372 h 362744"/>
                <a:gd name="connsiteX3" fmla="*/ 426061 w 852122"/>
                <a:gd name="connsiteY3" fmla="*/ 362744 h 362744"/>
                <a:gd name="connsiteX4" fmla="*/ 0 w 852122"/>
                <a:gd name="connsiteY4" fmla="*/ 181372 h 362744"/>
                <a:gd name="connsiteX0" fmla="*/ 371 w 852493"/>
                <a:gd name="connsiteY0" fmla="*/ 181372 h 303318"/>
                <a:gd name="connsiteX1" fmla="*/ 426432 w 852493"/>
                <a:gd name="connsiteY1" fmla="*/ 0 h 303318"/>
                <a:gd name="connsiteX2" fmla="*/ 852493 w 852493"/>
                <a:gd name="connsiteY2" fmla="*/ 181372 h 303318"/>
                <a:gd name="connsiteX3" fmla="*/ 373845 w 852493"/>
                <a:gd name="connsiteY3" fmla="*/ 303318 h 303318"/>
                <a:gd name="connsiteX4" fmla="*/ 371 w 852493"/>
                <a:gd name="connsiteY4" fmla="*/ 181372 h 303318"/>
                <a:gd name="connsiteX0" fmla="*/ 379 w 852501"/>
                <a:gd name="connsiteY0" fmla="*/ 181372 h 303540"/>
                <a:gd name="connsiteX1" fmla="*/ 426440 w 852501"/>
                <a:gd name="connsiteY1" fmla="*/ 0 h 303540"/>
                <a:gd name="connsiteX2" fmla="*/ 852501 w 852501"/>
                <a:gd name="connsiteY2" fmla="*/ 181372 h 303540"/>
                <a:gd name="connsiteX3" fmla="*/ 373853 w 852501"/>
                <a:gd name="connsiteY3" fmla="*/ 303318 h 303540"/>
                <a:gd name="connsiteX4" fmla="*/ 379 w 852501"/>
                <a:gd name="connsiteY4" fmla="*/ 181372 h 303540"/>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17994 w 870116"/>
                <a:gd name="connsiteY0" fmla="*/ 181372 h 303318"/>
                <a:gd name="connsiteX1" fmla="*/ 444055 w 870116"/>
                <a:gd name="connsiteY1" fmla="*/ 0 h 303318"/>
                <a:gd name="connsiteX2" fmla="*/ 870116 w 870116"/>
                <a:gd name="connsiteY2" fmla="*/ 181372 h 303318"/>
                <a:gd name="connsiteX3" fmla="*/ 391468 w 870116"/>
                <a:gd name="connsiteY3" fmla="*/ 303318 h 303318"/>
                <a:gd name="connsiteX4" fmla="*/ 17994 w 870116"/>
                <a:gd name="connsiteY4" fmla="*/ 181372 h 303318"/>
                <a:gd name="connsiteX0" fmla="*/ 14106 w 866228"/>
                <a:gd name="connsiteY0" fmla="*/ 181372 h 303318"/>
                <a:gd name="connsiteX1" fmla="*/ 440167 w 866228"/>
                <a:gd name="connsiteY1" fmla="*/ 0 h 303318"/>
                <a:gd name="connsiteX2" fmla="*/ 866228 w 866228"/>
                <a:gd name="connsiteY2" fmla="*/ 181372 h 303318"/>
                <a:gd name="connsiteX3" fmla="*/ 387580 w 866228"/>
                <a:gd name="connsiteY3" fmla="*/ 303318 h 303318"/>
                <a:gd name="connsiteX4" fmla="*/ 14106 w 866228"/>
                <a:gd name="connsiteY4" fmla="*/ 181372 h 30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228" h="303318">
                  <a:moveTo>
                    <a:pt x="14106" y="181372"/>
                  </a:moveTo>
                  <a:cubicBezTo>
                    <a:pt x="98484" y="74259"/>
                    <a:pt x="298147" y="0"/>
                    <a:pt x="440167" y="0"/>
                  </a:cubicBezTo>
                  <a:cubicBezTo>
                    <a:pt x="582187" y="0"/>
                    <a:pt x="866228" y="81203"/>
                    <a:pt x="866228" y="181372"/>
                  </a:cubicBezTo>
                  <a:cubicBezTo>
                    <a:pt x="853289" y="268779"/>
                    <a:pt x="529600" y="303318"/>
                    <a:pt x="387580" y="303318"/>
                  </a:cubicBezTo>
                  <a:cubicBezTo>
                    <a:pt x="245560" y="303318"/>
                    <a:pt x="-70272" y="288485"/>
                    <a:pt x="14106" y="181372"/>
                  </a:cubicBezTo>
                  <a:close/>
                </a:path>
              </a:pathLst>
            </a:cu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68" name="Freeform 53"/>
            <p:cNvSpPr/>
            <p:nvPr/>
          </p:nvSpPr>
          <p:spPr>
            <a:xfrm>
              <a:off x="10424754" y="3739297"/>
              <a:ext cx="1030002" cy="324171"/>
            </a:xfrm>
            <a:custGeom>
              <a:avLst/>
              <a:gdLst>
                <a:gd name="connsiteX0" fmla="*/ 0 w 1844040"/>
                <a:gd name="connsiteY0" fmla="*/ 34290 h 381000"/>
                <a:gd name="connsiteX1" fmla="*/ 0 w 1844040"/>
                <a:gd name="connsiteY1" fmla="*/ 381000 h 381000"/>
                <a:gd name="connsiteX2" fmla="*/ 1844040 w 1844040"/>
                <a:gd name="connsiteY2" fmla="*/ 381000 h 381000"/>
                <a:gd name="connsiteX3" fmla="*/ 1844040 w 1844040"/>
                <a:gd name="connsiteY3" fmla="*/ 0 h 381000"/>
                <a:gd name="connsiteX4" fmla="*/ 0 w 1844040"/>
                <a:gd name="connsiteY4" fmla="*/ 34290 h 381000"/>
                <a:gd name="connsiteX0" fmla="*/ 0 w 1844040"/>
                <a:gd name="connsiteY0" fmla="*/ 34290 h 430212"/>
                <a:gd name="connsiteX1" fmla="*/ 0 w 1844040"/>
                <a:gd name="connsiteY1" fmla="*/ 381000 h 430212"/>
                <a:gd name="connsiteX2" fmla="*/ 1844040 w 1844040"/>
                <a:gd name="connsiteY2" fmla="*/ 381000 h 430212"/>
                <a:gd name="connsiteX3" fmla="*/ 1844040 w 1844040"/>
                <a:gd name="connsiteY3" fmla="*/ 0 h 430212"/>
                <a:gd name="connsiteX4" fmla="*/ 0 w 1844040"/>
                <a:gd name="connsiteY4" fmla="*/ 34290 h 430212"/>
                <a:gd name="connsiteX0" fmla="*/ 0 w 1844040"/>
                <a:gd name="connsiteY0" fmla="*/ 34290 h 395252"/>
                <a:gd name="connsiteX1" fmla="*/ 0 w 1844040"/>
                <a:gd name="connsiteY1" fmla="*/ 381000 h 395252"/>
                <a:gd name="connsiteX2" fmla="*/ 1844040 w 1844040"/>
                <a:gd name="connsiteY2" fmla="*/ 381000 h 395252"/>
                <a:gd name="connsiteX3" fmla="*/ 1844040 w 1844040"/>
                <a:gd name="connsiteY3" fmla="*/ 0 h 395252"/>
                <a:gd name="connsiteX4" fmla="*/ 0 w 1844040"/>
                <a:gd name="connsiteY4" fmla="*/ 34290 h 395252"/>
                <a:gd name="connsiteX0" fmla="*/ 0 w 1844040"/>
                <a:gd name="connsiteY0" fmla="*/ 34290 h 394486"/>
                <a:gd name="connsiteX1" fmla="*/ 0 w 1844040"/>
                <a:gd name="connsiteY1" fmla="*/ 381000 h 394486"/>
                <a:gd name="connsiteX2" fmla="*/ 1844040 w 1844040"/>
                <a:gd name="connsiteY2" fmla="*/ 381000 h 394486"/>
                <a:gd name="connsiteX3" fmla="*/ 1844040 w 1844040"/>
                <a:gd name="connsiteY3" fmla="*/ 0 h 394486"/>
                <a:gd name="connsiteX4" fmla="*/ 0 w 1844040"/>
                <a:gd name="connsiteY4" fmla="*/ 34290 h 394486"/>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6996"/>
                <a:gd name="connsiteX1" fmla="*/ 0 w 1844040"/>
                <a:gd name="connsiteY1" fmla="*/ 381000 h 416996"/>
                <a:gd name="connsiteX2" fmla="*/ 1844040 w 1844040"/>
                <a:gd name="connsiteY2" fmla="*/ 381000 h 416996"/>
                <a:gd name="connsiteX3" fmla="*/ 1844040 w 1844040"/>
                <a:gd name="connsiteY3" fmla="*/ 0 h 416996"/>
                <a:gd name="connsiteX4" fmla="*/ 0 w 1844040"/>
                <a:gd name="connsiteY4" fmla="*/ 34290 h 416996"/>
                <a:gd name="connsiteX0" fmla="*/ 0 w 1844040"/>
                <a:gd name="connsiteY0" fmla="*/ 34290 h 417972"/>
                <a:gd name="connsiteX1" fmla="*/ 0 w 1844040"/>
                <a:gd name="connsiteY1" fmla="*/ 381000 h 417972"/>
                <a:gd name="connsiteX2" fmla="*/ 1844040 w 1844040"/>
                <a:gd name="connsiteY2" fmla="*/ 381000 h 417972"/>
                <a:gd name="connsiteX3" fmla="*/ 1844040 w 1844040"/>
                <a:gd name="connsiteY3" fmla="*/ 0 h 417972"/>
                <a:gd name="connsiteX4" fmla="*/ 0 w 1844040"/>
                <a:gd name="connsiteY4" fmla="*/ 34290 h 417972"/>
                <a:gd name="connsiteX0" fmla="*/ 0 w 1844040"/>
                <a:gd name="connsiteY0" fmla="*/ 34290 h 418507"/>
                <a:gd name="connsiteX1" fmla="*/ 0 w 1844040"/>
                <a:gd name="connsiteY1" fmla="*/ 381000 h 418507"/>
                <a:gd name="connsiteX2" fmla="*/ 1844040 w 1844040"/>
                <a:gd name="connsiteY2" fmla="*/ 381000 h 418507"/>
                <a:gd name="connsiteX3" fmla="*/ 1844040 w 1844040"/>
                <a:gd name="connsiteY3" fmla="*/ 0 h 418507"/>
                <a:gd name="connsiteX4" fmla="*/ 0 w 1844040"/>
                <a:gd name="connsiteY4" fmla="*/ 34290 h 418507"/>
                <a:gd name="connsiteX0" fmla="*/ 0 w 1844040"/>
                <a:gd name="connsiteY0" fmla="*/ 34290 h 401164"/>
                <a:gd name="connsiteX1" fmla="*/ 0 w 1844040"/>
                <a:gd name="connsiteY1" fmla="*/ 381000 h 401164"/>
                <a:gd name="connsiteX2" fmla="*/ 1844040 w 1844040"/>
                <a:gd name="connsiteY2" fmla="*/ 381000 h 401164"/>
                <a:gd name="connsiteX3" fmla="*/ 1844040 w 1844040"/>
                <a:gd name="connsiteY3" fmla="*/ 0 h 401164"/>
                <a:gd name="connsiteX4" fmla="*/ 0 w 1844040"/>
                <a:gd name="connsiteY4" fmla="*/ 34290 h 401164"/>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0817"/>
                <a:gd name="connsiteX1" fmla="*/ 0 w 1844040"/>
                <a:gd name="connsiteY1" fmla="*/ 381000 h 420817"/>
                <a:gd name="connsiteX2" fmla="*/ 1844040 w 1844040"/>
                <a:gd name="connsiteY2" fmla="*/ 381000 h 420817"/>
                <a:gd name="connsiteX3" fmla="*/ 1844040 w 1844040"/>
                <a:gd name="connsiteY3" fmla="*/ 0 h 420817"/>
                <a:gd name="connsiteX4" fmla="*/ 0 w 1844040"/>
                <a:gd name="connsiteY4" fmla="*/ 34290 h 420817"/>
                <a:gd name="connsiteX0" fmla="*/ 0 w 1844040"/>
                <a:gd name="connsiteY0" fmla="*/ 34290 h 424060"/>
                <a:gd name="connsiteX1" fmla="*/ 0 w 1844040"/>
                <a:gd name="connsiteY1" fmla="*/ 381000 h 424060"/>
                <a:gd name="connsiteX2" fmla="*/ 1844040 w 1844040"/>
                <a:gd name="connsiteY2" fmla="*/ 381000 h 424060"/>
                <a:gd name="connsiteX3" fmla="*/ 1844040 w 1844040"/>
                <a:gd name="connsiteY3" fmla="*/ 0 h 424060"/>
                <a:gd name="connsiteX4" fmla="*/ 0 w 1844040"/>
                <a:gd name="connsiteY4" fmla="*/ 34290 h 424060"/>
                <a:gd name="connsiteX0" fmla="*/ 0 w 1848802"/>
                <a:gd name="connsiteY0" fmla="*/ 34290 h 423344"/>
                <a:gd name="connsiteX1" fmla="*/ 0 w 1848802"/>
                <a:gd name="connsiteY1" fmla="*/ 381000 h 423344"/>
                <a:gd name="connsiteX2" fmla="*/ 1848802 w 1848802"/>
                <a:gd name="connsiteY2" fmla="*/ 366713 h 423344"/>
                <a:gd name="connsiteX3" fmla="*/ 1844040 w 1848802"/>
                <a:gd name="connsiteY3" fmla="*/ 0 h 423344"/>
                <a:gd name="connsiteX4" fmla="*/ 0 w 1848802"/>
                <a:gd name="connsiteY4" fmla="*/ 34290 h 423344"/>
                <a:gd name="connsiteX0" fmla="*/ 0 w 1848802"/>
                <a:gd name="connsiteY0" fmla="*/ 34290 h 424139"/>
                <a:gd name="connsiteX1" fmla="*/ 0 w 1848802"/>
                <a:gd name="connsiteY1" fmla="*/ 381000 h 424139"/>
                <a:gd name="connsiteX2" fmla="*/ 1848802 w 1848802"/>
                <a:gd name="connsiteY2" fmla="*/ 366713 h 424139"/>
                <a:gd name="connsiteX3" fmla="*/ 1844040 w 1848802"/>
                <a:gd name="connsiteY3" fmla="*/ 0 h 424139"/>
                <a:gd name="connsiteX4" fmla="*/ 0 w 1848802"/>
                <a:gd name="connsiteY4" fmla="*/ 34290 h 424139"/>
                <a:gd name="connsiteX0" fmla="*/ 0 w 1848802"/>
                <a:gd name="connsiteY0" fmla="*/ 192446 h 582295"/>
                <a:gd name="connsiteX1" fmla="*/ 0 w 1848802"/>
                <a:gd name="connsiteY1" fmla="*/ 539156 h 582295"/>
                <a:gd name="connsiteX2" fmla="*/ 1848802 w 1848802"/>
                <a:gd name="connsiteY2" fmla="*/ 524869 h 582295"/>
                <a:gd name="connsiteX3" fmla="*/ 1844040 w 1848802"/>
                <a:gd name="connsiteY3" fmla="*/ 158156 h 582295"/>
                <a:gd name="connsiteX4" fmla="*/ 0 w 1848802"/>
                <a:gd name="connsiteY4" fmla="*/ 192446 h 582295"/>
                <a:gd name="connsiteX0" fmla="*/ 0 w 1848802"/>
                <a:gd name="connsiteY0" fmla="*/ 156865 h 546714"/>
                <a:gd name="connsiteX1" fmla="*/ 0 w 1848802"/>
                <a:gd name="connsiteY1" fmla="*/ 503575 h 546714"/>
                <a:gd name="connsiteX2" fmla="*/ 1848802 w 1848802"/>
                <a:gd name="connsiteY2" fmla="*/ 489288 h 546714"/>
                <a:gd name="connsiteX3" fmla="*/ 1844040 w 1848802"/>
                <a:gd name="connsiteY3" fmla="*/ 122575 h 546714"/>
                <a:gd name="connsiteX4" fmla="*/ 0 w 1848802"/>
                <a:gd name="connsiteY4" fmla="*/ 156865 h 546714"/>
                <a:gd name="connsiteX0" fmla="*/ 0 w 1848802"/>
                <a:gd name="connsiteY0" fmla="*/ 194120 h 583969"/>
                <a:gd name="connsiteX1" fmla="*/ 0 w 1848802"/>
                <a:gd name="connsiteY1" fmla="*/ 540830 h 583969"/>
                <a:gd name="connsiteX2" fmla="*/ 1848802 w 1848802"/>
                <a:gd name="connsiteY2" fmla="*/ 526543 h 583969"/>
                <a:gd name="connsiteX3" fmla="*/ 1844040 w 1848802"/>
                <a:gd name="connsiteY3" fmla="*/ 159830 h 583969"/>
                <a:gd name="connsiteX4" fmla="*/ 0 w 1848802"/>
                <a:gd name="connsiteY4" fmla="*/ 194120 h 583969"/>
                <a:gd name="connsiteX0" fmla="*/ 0 w 1848802"/>
                <a:gd name="connsiteY0" fmla="*/ 192023 h 581872"/>
                <a:gd name="connsiteX1" fmla="*/ 0 w 1848802"/>
                <a:gd name="connsiteY1" fmla="*/ 538733 h 581872"/>
                <a:gd name="connsiteX2" fmla="*/ 1848802 w 1848802"/>
                <a:gd name="connsiteY2" fmla="*/ 524446 h 581872"/>
                <a:gd name="connsiteX3" fmla="*/ 1844040 w 1848802"/>
                <a:gd name="connsiteY3" fmla="*/ 157733 h 581872"/>
                <a:gd name="connsiteX4" fmla="*/ 0 w 1848802"/>
                <a:gd name="connsiteY4" fmla="*/ 192023 h 58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802" h="581872">
                  <a:moveTo>
                    <a:pt x="0" y="192023"/>
                  </a:moveTo>
                  <a:lnTo>
                    <a:pt x="0" y="538733"/>
                  </a:lnTo>
                  <a:cubicBezTo>
                    <a:pt x="334883" y="762572"/>
                    <a:pt x="1656795" y="17238"/>
                    <a:pt x="1848802" y="524446"/>
                  </a:cubicBezTo>
                  <a:cubicBezTo>
                    <a:pt x="1847215" y="402208"/>
                    <a:pt x="1845627" y="279971"/>
                    <a:pt x="1844040" y="157733"/>
                  </a:cubicBezTo>
                  <a:cubicBezTo>
                    <a:pt x="1650842" y="-299943"/>
                    <a:pt x="336073" y="405621"/>
                    <a:pt x="0" y="192023"/>
                  </a:cubicBezTo>
                  <a:close/>
                </a:path>
              </a:pathLst>
            </a:custGeom>
            <a:solidFill>
              <a:srgbClr val="FFFFFF"/>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63" name="TextBox 48"/>
            <p:cNvSpPr txBox="1"/>
            <p:nvPr/>
          </p:nvSpPr>
          <p:spPr>
            <a:xfrm rot="20871923">
              <a:off x="10801479" y="3783169"/>
              <a:ext cx="276551" cy="200055"/>
            </a:xfrm>
            <a:prstGeom prst="rect">
              <a:avLst/>
            </a:prstGeom>
            <a:noFill/>
          </p:spPr>
          <p:txBody>
            <a:bodyPr wrap="none" lIns="0" tIns="0" rIns="0" bIns="0" rtlCol="0">
              <a:spAutoFit/>
            </a:bodyPr>
            <a:lstStyle/>
            <a:p>
              <a:pPr>
                <a:buFont typeface="Wingdings 2" pitchFamily="18" charset="2"/>
                <a:buNone/>
              </a:pPr>
              <a:r>
                <a:rPr lang="en-US" altLang="zh-CN" sz="1300" dirty="0">
                  <a:solidFill>
                    <a:srgbClr val="000000"/>
                  </a:solidFill>
                </a:rPr>
                <a:t>Text</a:t>
              </a:r>
              <a:endParaRPr lang="en-US" sz="1300" dirty="0">
                <a:solidFill>
                  <a:srgbClr val="000000"/>
                </a:solidFill>
              </a:endParaRPr>
            </a:p>
          </p:txBody>
        </p:sp>
      </p:grpSp>
      <p:cxnSp>
        <p:nvCxnSpPr>
          <p:cNvPr id="59" name="Straight Connector 7"/>
          <p:cNvCxnSpPr/>
          <p:nvPr/>
        </p:nvCxnSpPr>
        <p:spPr>
          <a:xfrm>
            <a:off x="10069326" y="4345440"/>
            <a:ext cx="1755961" cy="0"/>
          </a:xfrm>
          <a:prstGeom prst="line">
            <a:avLst/>
          </a:prstGeom>
          <a:noFill/>
          <a:ln>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69" name="Straight Connector 7"/>
          <p:cNvCxnSpPr/>
          <p:nvPr/>
        </p:nvCxnSpPr>
        <p:spPr>
          <a:xfrm>
            <a:off x="485368" y="4345440"/>
            <a:ext cx="1755961" cy="0"/>
          </a:xfrm>
          <a:prstGeom prst="line">
            <a:avLst/>
          </a:prstGeom>
          <a:noFill/>
          <a:ln>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70" name="Straight Connector 7"/>
          <p:cNvCxnSpPr/>
          <p:nvPr/>
        </p:nvCxnSpPr>
        <p:spPr>
          <a:xfrm>
            <a:off x="5277348" y="4345440"/>
            <a:ext cx="1755961" cy="0"/>
          </a:xfrm>
          <a:prstGeom prst="line">
            <a:avLst/>
          </a:prstGeom>
          <a:noFill/>
          <a:ln>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71" name="Straight Connector 7"/>
          <p:cNvCxnSpPr/>
          <p:nvPr/>
        </p:nvCxnSpPr>
        <p:spPr>
          <a:xfrm>
            <a:off x="7673338" y="4345440"/>
            <a:ext cx="1755961" cy="0"/>
          </a:xfrm>
          <a:prstGeom prst="line">
            <a:avLst/>
          </a:prstGeom>
          <a:noFill/>
          <a:ln>
            <a:solidFill>
              <a:srgbClr val="43B02A"/>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148368061"/>
      </p:ext>
    </p:extLst>
  </p:cSld>
  <p:clrMapOvr>
    <a:masterClrMapping/>
  </p:clrMapOvr>
  <p:transition>
    <p:fade/>
  </p:transition>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bk object 16">
            <a:extLst>
              <a:ext uri="{FF2B5EF4-FFF2-40B4-BE49-F238E27FC236}">
                <a16:creationId xmlns:a16="http://schemas.microsoft.com/office/drawing/2014/main" id="{A73654DF-9989-2B40-8F39-8A35A6F1748E}"/>
              </a:ext>
            </a:extLst>
          </p:cNvPr>
          <p:cNvSpPr/>
          <p:nvPr/>
        </p:nvSpPr>
        <p:spPr>
          <a:xfrm>
            <a:off x="2679229" y="4750536"/>
            <a:ext cx="373978" cy="708688"/>
          </a:xfrm>
          <a:custGeom>
            <a:avLst/>
            <a:gdLst/>
            <a:ahLst/>
            <a:cxnLst/>
            <a:rect l="l" t="t" r="r" b="b"/>
            <a:pathLst>
              <a:path w="254000" h="481329">
                <a:moveTo>
                  <a:pt x="253619" y="481126"/>
                </a:moveTo>
                <a:lnTo>
                  <a:pt x="0" y="481126"/>
                </a:lnTo>
                <a:lnTo>
                  <a:pt x="0" y="0"/>
                </a:lnTo>
                <a:lnTo>
                  <a:pt x="253619" y="0"/>
                </a:lnTo>
                <a:lnTo>
                  <a:pt x="253619" y="481126"/>
                </a:lnTo>
                <a:close/>
              </a:path>
            </a:pathLst>
          </a:custGeom>
          <a:solidFill>
            <a:srgbClr val="AB7942"/>
          </a:solidFill>
        </p:spPr>
        <p:txBody>
          <a:bodyPr wrap="square" lIns="0" tIns="0" rIns="0" bIns="0" rtlCol="0"/>
          <a:lstStyle/>
          <a:p>
            <a:endParaRPr dirty="0"/>
          </a:p>
        </p:txBody>
      </p:sp>
      <p:sp>
        <p:nvSpPr>
          <p:cNvPr id="21" name="bk object 17">
            <a:extLst>
              <a:ext uri="{FF2B5EF4-FFF2-40B4-BE49-F238E27FC236}">
                <a16:creationId xmlns:a16="http://schemas.microsoft.com/office/drawing/2014/main" id="{46F98AC1-6790-6A4C-929A-478965BB457D}"/>
              </a:ext>
            </a:extLst>
          </p:cNvPr>
          <p:cNvSpPr/>
          <p:nvPr/>
        </p:nvSpPr>
        <p:spPr>
          <a:xfrm>
            <a:off x="4141072" y="4750536"/>
            <a:ext cx="373978" cy="708688"/>
          </a:xfrm>
          <a:custGeom>
            <a:avLst/>
            <a:gdLst/>
            <a:ahLst/>
            <a:cxnLst/>
            <a:rect l="l" t="t" r="r" b="b"/>
            <a:pathLst>
              <a:path w="254000" h="481329">
                <a:moveTo>
                  <a:pt x="253619" y="481126"/>
                </a:moveTo>
                <a:lnTo>
                  <a:pt x="0" y="481126"/>
                </a:lnTo>
                <a:lnTo>
                  <a:pt x="0" y="0"/>
                </a:lnTo>
                <a:lnTo>
                  <a:pt x="253619" y="0"/>
                </a:lnTo>
                <a:lnTo>
                  <a:pt x="253619" y="481126"/>
                </a:lnTo>
                <a:close/>
              </a:path>
            </a:pathLst>
          </a:custGeom>
          <a:solidFill>
            <a:srgbClr val="AB7942"/>
          </a:solidFill>
        </p:spPr>
        <p:txBody>
          <a:bodyPr wrap="square" lIns="0" tIns="0" rIns="0" bIns="0" rtlCol="0"/>
          <a:lstStyle/>
          <a:p>
            <a:endParaRPr dirty="0"/>
          </a:p>
        </p:txBody>
      </p:sp>
      <p:sp>
        <p:nvSpPr>
          <p:cNvPr id="22" name="bk object 18">
            <a:extLst>
              <a:ext uri="{FF2B5EF4-FFF2-40B4-BE49-F238E27FC236}">
                <a16:creationId xmlns:a16="http://schemas.microsoft.com/office/drawing/2014/main" id="{7C72A0F7-AEF7-1942-A426-8E58534E2B3F}"/>
              </a:ext>
            </a:extLst>
          </p:cNvPr>
          <p:cNvSpPr/>
          <p:nvPr/>
        </p:nvSpPr>
        <p:spPr>
          <a:xfrm>
            <a:off x="6119864" y="4750536"/>
            <a:ext cx="373978" cy="708688"/>
          </a:xfrm>
          <a:custGeom>
            <a:avLst/>
            <a:gdLst/>
            <a:ahLst/>
            <a:cxnLst/>
            <a:rect l="l" t="t" r="r" b="b"/>
            <a:pathLst>
              <a:path w="254000" h="481329">
                <a:moveTo>
                  <a:pt x="253618" y="481126"/>
                </a:moveTo>
                <a:lnTo>
                  <a:pt x="0" y="481126"/>
                </a:lnTo>
                <a:lnTo>
                  <a:pt x="0" y="0"/>
                </a:lnTo>
                <a:lnTo>
                  <a:pt x="253618" y="0"/>
                </a:lnTo>
                <a:lnTo>
                  <a:pt x="253618" y="481126"/>
                </a:lnTo>
                <a:close/>
              </a:path>
            </a:pathLst>
          </a:custGeom>
          <a:solidFill>
            <a:srgbClr val="AB7942"/>
          </a:solidFill>
        </p:spPr>
        <p:txBody>
          <a:bodyPr wrap="square" lIns="0" tIns="0" rIns="0" bIns="0" rtlCol="0"/>
          <a:lstStyle/>
          <a:p>
            <a:endParaRPr dirty="0"/>
          </a:p>
        </p:txBody>
      </p:sp>
      <p:sp>
        <p:nvSpPr>
          <p:cNvPr id="23" name="bk object 19">
            <a:extLst>
              <a:ext uri="{FF2B5EF4-FFF2-40B4-BE49-F238E27FC236}">
                <a16:creationId xmlns:a16="http://schemas.microsoft.com/office/drawing/2014/main" id="{E106ED0D-6AD2-6248-BF89-488DC6D67352}"/>
              </a:ext>
            </a:extLst>
          </p:cNvPr>
          <p:cNvSpPr/>
          <p:nvPr/>
        </p:nvSpPr>
        <p:spPr>
          <a:xfrm>
            <a:off x="8168536" y="4750536"/>
            <a:ext cx="373978" cy="708688"/>
          </a:xfrm>
          <a:custGeom>
            <a:avLst/>
            <a:gdLst/>
            <a:ahLst/>
            <a:cxnLst/>
            <a:rect l="l" t="t" r="r" b="b"/>
            <a:pathLst>
              <a:path w="254000" h="481329">
                <a:moveTo>
                  <a:pt x="253618" y="481126"/>
                </a:moveTo>
                <a:lnTo>
                  <a:pt x="0" y="481126"/>
                </a:lnTo>
                <a:lnTo>
                  <a:pt x="0" y="0"/>
                </a:lnTo>
                <a:lnTo>
                  <a:pt x="253618" y="0"/>
                </a:lnTo>
                <a:lnTo>
                  <a:pt x="253618" y="481126"/>
                </a:lnTo>
                <a:close/>
              </a:path>
            </a:pathLst>
          </a:custGeom>
          <a:solidFill>
            <a:srgbClr val="AB7942"/>
          </a:solidFill>
        </p:spPr>
        <p:txBody>
          <a:bodyPr wrap="square" lIns="0" tIns="0" rIns="0" bIns="0" rtlCol="0"/>
          <a:lstStyle/>
          <a:p>
            <a:endParaRPr dirty="0"/>
          </a:p>
        </p:txBody>
      </p:sp>
      <p:sp>
        <p:nvSpPr>
          <p:cNvPr id="24" name="bk object 20">
            <a:extLst>
              <a:ext uri="{FF2B5EF4-FFF2-40B4-BE49-F238E27FC236}">
                <a16:creationId xmlns:a16="http://schemas.microsoft.com/office/drawing/2014/main" id="{4768F6E5-7676-2548-8130-04B159539EFB}"/>
              </a:ext>
            </a:extLst>
          </p:cNvPr>
          <p:cNvSpPr/>
          <p:nvPr/>
        </p:nvSpPr>
        <p:spPr>
          <a:xfrm>
            <a:off x="2090669" y="2974609"/>
            <a:ext cx="1551075" cy="1974605"/>
          </a:xfrm>
          <a:custGeom>
            <a:avLst/>
            <a:gdLst/>
            <a:ahLst/>
            <a:cxnLst/>
            <a:rect l="l" t="t" r="r" b="b"/>
            <a:pathLst>
              <a:path w="1053464" h="1341120">
                <a:moveTo>
                  <a:pt x="526554" y="0"/>
                </a:moveTo>
                <a:lnTo>
                  <a:pt x="0" y="1340802"/>
                </a:lnTo>
                <a:lnTo>
                  <a:pt x="1053109" y="1340802"/>
                </a:lnTo>
                <a:lnTo>
                  <a:pt x="526554" y="0"/>
                </a:lnTo>
                <a:close/>
              </a:path>
            </a:pathLst>
          </a:custGeom>
          <a:solidFill>
            <a:schemeClr val="accent4"/>
          </a:solidFill>
        </p:spPr>
        <p:txBody>
          <a:bodyPr wrap="square" lIns="0" tIns="0" rIns="0" bIns="0" rtlCol="0"/>
          <a:lstStyle/>
          <a:p>
            <a:endParaRPr dirty="0"/>
          </a:p>
        </p:txBody>
      </p:sp>
      <p:sp>
        <p:nvSpPr>
          <p:cNvPr id="25" name="bk object 21">
            <a:extLst>
              <a:ext uri="{FF2B5EF4-FFF2-40B4-BE49-F238E27FC236}">
                <a16:creationId xmlns:a16="http://schemas.microsoft.com/office/drawing/2014/main" id="{6BEB7D29-1FA6-BA4E-8EEF-30CD3740ED5B}"/>
              </a:ext>
            </a:extLst>
          </p:cNvPr>
          <p:cNvSpPr/>
          <p:nvPr/>
        </p:nvSpPr>
        <p:spPr>
          <a:xfrm>
            <a:off x="3305637" y="2345968"/>
            <a:ext cx="2044725" cy="2602886"/>
          </a:xfrm>
          <a:custGeom>
            <a:avLst/>
            <a:gdLst/>
            <a:ahLst/>
            <a:cxnLst/>
            <a:rect l="l" t="t" r="r" b="b"/>
            <a:pathLst>
              <a:path w="1388745" h="1767839">
                <a:moveTo>
                  <a:pt x="694232" y="0"/>
                </a:moveTo>
                <a:lnTo>
                  <a:pt x="0" y="1767763"/>
                </a:lnTo>
                <a:lnTo>
                  <a:pt x="1388452" y="1767763"/>
                </a:lnTo>
                <a:lnTo>
                  <a:pt x="694232" y="0"/>
                </a:lnTo>
                <a:close/>
              </a:path>
            </a:pathLst>
          </a:custGeom>
          <a:solidFill>
            <a:schemeClr val="accent3"/>
          </a:solidFill>
        </p:spPr>
        <p:txBody>
          <a:bodyPr wrap="square" lIns="0" tIns="0" rIns="0" bIns="0" rtlCol="0"/>
          <a:lstStyle/>
          <a:p>
            <a:endParaRPr dirty="0"/>
          </a:p>
        </p:txBody>
      </p:sp>
      <p:sp>
        <p:nvSpPr>
          <p:cNvPr id="26" name="bk object 22">
            <a:extLst>
              <a:ext uri="{FF2B5EF4-FFF2-40B4-BE49-F238E27FC236}">
                <a16:creationId xmlns:a16="http://schemas.microsoft.com/office/drawing/2014/main" id="{DCBB3C78-AAC0-F746-A2B3-DBBFAAD2ADDE}"/>
              </a:ext>
            </a:extLst>
          </p:cNvPr>
          <p:cNvSpPr/>
          <p:nvPr/>
        </p:nvSpPr>
        <p:spPr>
          <a:xfrm>
            <a:off x="5201333" y="1776584"/>
            <a:ext cx="2491863" cy="3172516"/>
          </a:xfrm>
          <a:custGeom>
            <a:avLst/>
            <a:gdLst/>
            <a:ahLst/>
            <a:cxnLst/>
            <a:rect l="l" t="t" r="r" b="b"/>
            <a:pathLst>
              <a:path w="1227454" h="1562735">
                <a:moveTo>
                  <a:pt x="613613" y="0"/>
                </a:moveTo>
                <a:lnTo>
                  <a:pt x="0" y="1562493"/>
                </a:lnTo>
                <a:lnTo>
                  <a:pt x="1227226" y="1562493"/>
                </a:lnTo>
                <a:lnTo>
                  <a:pt x="613613" y="0"/>
                </a:lnTo>
                <a:close/>
              </a:path>
            </a:pathLst>
          </a:custGeom>
          <a:solidFill>
            <a:schemeClr val="accent2"/>
          </a:solidFill>
        </p:spPr>
        <p:txBody>
          <a:bodyPr wrap="square" lIns="0" tIns="0" rIns="0" bIns="0" rtlCol="0"/>
          <a:lstStyle/>
          <a:p>
            <a:endParaRPr dirty="0"/>
          </a:p>
        </p:txBody>
      </p:sp>
      <p:sp>
        <p:nvSpPr>
          <p:cNvPr id="27" name="bk object 23">
            <a:extLst>
              <a:ext uri="{FF2B5EF4-FFF2-40B4-BE49-F238E27FC236}">
                <a16:creationId xmlns:a16="http://schemas.microsoft.com/office/drawing/2014/main" id="{4BD4E163-1B49-6046-BD25-06F4B1A6CE18}"/>
              </a:ext>
            </a:extLst>
          </p:cNvPr>
          <p:cNvSpPr/>
          <p:nvPr/>
        </p:nvSpPr>
        <p:spPr>
          <a:xfrm>
            <a:off x="6811508" y="1017785"/>
            <a:ext cx="3088124" cy="3931444"/>
          </a:xfrm>
          <a:custGeom>
            <a:avLst/>
            <a:gdLst/>
            <a:ahLst/>
            <a:cxnLst/>
            <a:rect l="l" t="t" r="r" b="b"/>
            <a:pathLst>
              <a:path w="2097404" h="2670175">
                <a:moveTo>
                  <a:pt x="1048486" y="0"/>
                </a:moveTo>
                <a:lnTo>
                  <a:pt x="0" y="2669844"/>
                </a:lnTo>
                <a:lnTo>
                  <a:pt x="2096960" y="2669844"/>
                </a:lnTo>
                <a:lnTo>
                  <a:pt x="1048486" y="0"/>
                </a:lnTo>
                <a:close/>
              </a:path>
            </a:pathLst>
          </a:custGeom>
          <a:solidFill>
            <a:schemeClr val="accent1"/>
          </a:solidFill>
        </p:spPr>
        <p:txBody>
          <a:bodyPr wrap="square" lIns="0" tIns="0" rIns="0" bIns="0" rtlCol="0"/>
          <a:lstStyle/>
          <a:p>
            <a:endParaRPr dirty="0"/>
          </a:p>
        </p:txBody>
      </p:sp>
      <p:sp>
        <p:nvSpPr>
          <p:cNvPr id="28" name="bk object 24">
            <a:extLst>
              <a:ext uri="{FF2B5EF4-FFF2-40B4-BE49-F238E27FC236}">
                <a16:creationId xmlns:a16="http://schemas.microsoft.com/office/drawing/2014/main" id="{68E1B47E-1AF8-124E-9547-B982818A0331}"/>
              </a:ext>
            </a:extLst>
          </p:cNvPr>
          <p:cNvSpPr/>
          <p:nvPr/>
        </p:nvSpPr>
        <p:spPr>
          <a:xfrm>
            <a:off x="1533973" y="3665807"/>
            <a:ext cx="1166812" cy="540398"/>
          </a:xfrm>
          <a:custGeom>
            <a:avLst/>
            <a:gdLst/>
            <a:ahLst/>
            <a:cxnLst/>
            <a:rect l="l" t="t" r="r" b="b"/>
            <a:pathLst>
              <a:path w="792480" h="367030">
                <a:moveTo>
                  <a:pt x="183375" y="0"/>
                </a:moveTo>
                <a:lnTo>
                  <a:pt x="134628" y="6550"/>
                </a:lnTo>
                <a:lnTo>
                  <a:pt x="90824" y="25037"/>
                </a:lnTo>
                <a:lnTo>
                  <a:pt x="53711" y="53711"/>
                </a:lnTo>
                <a:lnTo>
                  <a:pt x="25037" y="90824"/>
                </a:lnTo>
                <a:lnTo>
                  <a:pt x="6550" y="134628"/>
                </a:lnTo>
                <a:lnTo>
                  <a:pt x="0" y="183375"/>
                </a:lnTo>
                <a:lnTo>
                  <a:pt x="6195" y="230814"/>
                </a:lnTo>
                <a:lnTo>
                  <a:pt x="23713" y="273626"/>
                </a:lnTo>
                <a:lnTo>
                  <a:pt x="50947" y="310207"/>
                </a:lnTo>
                <a:lnTo>
                  <a:pt x="86294" y="338954"/>
                </a:lnTo>
                <a:lnTo>
                  <a:pt x="128147" y="358264"/>
                </a:lnTo>
                <a:lnTo>
                  <a:pt x="174904" y="366534"/>
                </a:lnTo>
                <a:lnTo>
                  <a:pt x="174929" y="366750"/>
                </a:lnTo>
                <a:lnTo>
                  <a:pt x="672261" y="366610"/>
                </a:lnTo>
                <a:lnTo>
                  <a:pt x="719118" y="355353"/>
                </a:lnTo>
                <a:lnTo>
                  <a:pt x="757196" y="328271"/>
                </a:lnTo>
                <a:lnTo>
                  <a:pt x="782772" y="289085"/>
                </a:lnTo>
                <a:lnTo>
                  <a:pt x="792124" y="241515"/>
                </a:lnTo>
                <a:lnTo>
                  <a:pt x="782282" y="192769"/>
                </a:lnTo>
                <a:lnTo>
                  <a:pt x="756794" y="154965"/>
                </a:lnTo>
                <a:lnTo>
                  <a:pt x="576414" y="154965"/>
                </a:lnTo>
                <a:lnTo>
                  <a:pt x="573811" y="153161"/>
                </a:lnTo>
                <a:lnTo>
                  <a:pt x="571169" y="151409"/>
                </a:lnTo>
                <a:lnTo>
                  <a:pt x="568490" y="149694"/>
                </a:lnTo>
                <a:lnTo>
                  <a:pt x="547764" y="120882"/>
                </a:lnTo>
                <a:lnTo>
                  <a:pt x="542646" y="116763"/>
                </a:lnTo>
                <a:lnTo>
                  <a:pt x="354215" y="116763"/>
                </a:lnTo>
                <a:lnTo>
                  <a:pt x="333677" y="78383"/>
                </a:lnTo>
                <a:lnTo>
                  <a:pt x="304959" y="46146"/>
                </a:lnTo>
                <a:lnTo>
                  <a:pt x="269427" y="21422"/>
                </a:lnTo>
                <a:lnTo>
                  <a:pt x="228444" y="5584"/>
                </a:lnTo>
                <a:lnTo>
                  <a:pt x="183375" y="0"/>
                </a:lnTo>
                <a:close/>
              </a:path>
              <a:path w="792480" h="367030">
                <a:moveTo>
                  <a:pt x="666889" y="116281"/>
                </a:moveTo>
                <a:lnTo>
                  <a:pt x="640946" y="118975"/>
                </a:lnTo>
                <a:lnTo>
                  <a:pt x="616856" y="126688"/>
                </a:lnTo>
                <a:lnTo>
                  <a:pt x="595164" y="138869"/>
                </a:lnTo>
                <a:lnTo>
                  <a:pt x="576414" y="154965"/>
                </a:lnTo>
                <a:lnTo>
                  <a:pt x="756794" y="154965"/>
                </a:lnTo>
                <a:lnTo>
                  <a:pt x="755443" y="152961"/>
                </a:lnTo>
                <a:lnTo>
                  <a:pt x="715636" y="126122"/>
                </a:lnTo>
                <a:lnTo>
                  <a:pt x="666889" y="116281"/>
                </a:lnTo>
                <a:close/>
              </a:path>
              <a:path w="792480" h="367030">
                <a:moveTo>
                  <a:pt x="448970" y="78828"/>
                </a:moveTo>
                <a:lnTo>
                  <a:pt x="421977" y="81459"/>
                </a:lnTo>
                <a:lnTo>
                  <a:pt x="396830" y="89004"/>
                </a:lnTo>
                <a:lnTo>
                  <a:pt x="374064" y="100945"/>
                </a:lnTo>
                <a:lnTo>
                  <a:pt x="354215" y="116763"/>
                </a:lnTo>
                <a:lnTo>
                  <a:pt x="542646" y="116763"/>
                </a:lnTo>
                <a:lnTo>
                  <a:pt x="519941" y="98493"/>
                </a:lnTo>
                <a:lnTo>
                  <a:pt x="486511" y="83988"/>
                </a:lnTo>
                <a:lnTo>
                  <a:pt x="448970" y="78828"/>
                </a:lnTo>
                <a:close/>
              </a:path>
            </a:pathLst>
          </a:custGeom>
          <a:solidFill>
            <a:schemeClr val="bg1">
              <a:lumMod val="95000"/>
            </a:schemeClr>
          </a:solidFill>
        </p:spPr>
        <p:txBody>
          <a:bodyPr wrap="square" lIns="0" tIns="0" rIns="0" bIns="0" rtlCol="0"/>
          <a:lstStyle/>
          <a:p>
            <a:endParaRPr dirty="0"/>
          </a:p>
        </p:txBody>
      </p:sp>
      <p:sp>
        <p:nvSpPr>
          <p:cNvPr id="29" name="bk object 25">
            <a:extLst>
              <a:ext uri="{FF2B5EF4-FFF2-40B4-BE49-F238E27FC236}">
                <a16:creationId xmlns:a16="http://schemas.microsoft.com/office/drawing/2014/main" id="{C7BCF3A3-B00A-9E43-8E67-C8870B6E8485}"/>
              </a:ext>
            </a:extLst>
          </p:cNvPr>
          <p:cNvSpPr/>
          <p:nvPr/>
        </p:nvSpPr>
        <p:spPr>
          <a:xfrm>
            <a:off x="8564742" y="2316179"/>
            <a:ext cx="2406547" cy="1161202"/>
          </a:xfrm>
          <a:custGeom>
            <a:avLst/>
            <a:gdLst/>
            <a:ahLst/>
            <a:cxnLst/>
            <a:rect l="l" t="t" r="r" b="b"/>
            <a:pathLst>
              <a:path w="1634489" h="788670">
                <a:moveTo>
                  <a:pt x="275056" y="238112"/>
                </a:moveTo>
                <a:lnTo>
                  <a:pt x="225616" y="242543"/>
                </a:lnTo>
                <a:lnTo>
                  <a:pt x="179082" y="255321"/>
                </a:lnTo>
                <a:lnTo>
                  <a:pt x="136232" y="275666"/>
                </a:lnTo>
                <a:lnTo>
                  <a:pt x="97843" y="302803"/>
                </a:lnTo>
                <a:lnTo>
                  <a:pt x="64691" y="335955"/>
                </a:lnTo>
                <a:lnTo>
                  <a:pt x="37554" y="374344"/>
                </a:lnTo>
                <a:lnTo>
                  <a:pt x="17208" y="417194"/>
                </a:lnTo>
                <a:lnTo>
                  <a:pt x="4431" y="463728"/>
                </a:lnTo>
                <a:lnTo>
                  <a:pt x="0" y="513168"/>
                </a:lnTo>
                <a:lnTo>
                  <a:pt x="4431" y="562613"/>
                </a:lnTo>
                <a:lnTo>
                  <a:pt x="17208" y="609149"/>
                </a:lnTo>
                <a:lnTo>
                  <a:pt x="37554" y="652002"/>
                </a:lnTo>
                <a:lnTo>
                  <a:pt x="64691" y="690392"/>
                </a:lnTo>
                <a:lnTo>
                  <a:pt x="97843" y="723545"/>
                </a:lnTo>
                <a:lnTo>
                  <a:pt x="136232" y="750683"/>
                </a:lnTo>
                <a:lnTo>
                  <a:pt x="179082" y="771029"/>
                </a:lnTo>
                <a:lnTo>
                  <a:pt x="225616" y="783806"/>
                </a:lnTo>
                <a:lnTo>
                  <a:pt x="275056" y="788238"/>
                </a:lnTo>
                <a:lnTo>
                  <a:pt x="1358887" y="788238"/>
                </a:lnTo>
                <a:lnTo>
                  <a:pt x="1408331" y="783806"/>
                </a:lnTo>
                <a:lnTo>
                  <a:pt x="1454866" y="771029"/>
                </a:lnTo>
                <a:lnTo>
                  <a:pt x="1497717" y="750683"/>
                </a:lnTo>
                <a:lnTo>
                  <a:pt x="1536105" y="723545"/>
                </a:lnTo>
                <a:lnTo>
                  <a:pt x="1569256" y="690392"/>
                </a:lnTo>
                <a:lnTo>
                  <a:pt x="1596392" y="652002"/>
                </a:lnTo>
                <a:lnTo>
                  <a:pt x="1616736" y="609149"/>
                </a:lnTo>
                <a:lnTo>
                  <a:pt x="1629512" y="562613"/>
                </a:lnTo>
                <a:lnTo>
                  <a:pt x="1633943" y="513168"/>
                </a:lnTo>
                <a:lnTo>
                  <a:pt x="1629512" y="463728"/>
                </a:lnTo>
                <a:lnTo>
                  <a:pt x="1616736" y="417194"/>
                </a:lnTo>
                <a:lnTo>
                  <a:pt x="1596392" y="374344"/>
                </a:lnTo>
                <a:lnTo>
                  <a:pt x="1569256" y="335955"/>
                </a:lnTo>
                <a:lnTo>
                  <a:pt x="1536105" y="302803"/>
                </a:lnTo>
                <a:lnTo>
                  <a:pt x="1188059" y="297675"/>
                </a:lnTo>
                <a:lnTo>
                  <a:pt x="1183748" y="284099"/>
                </a:lnTo>
                <a:lnTo>
                  <a:pt x="427316" y="284099"/>
                </a:lnTo>
                <a:lnTo>
                  <a:pt x="393051" y="264665"/>
                </a:lnTo>
                <a:lnTo>
                  <a:pt x="355954" y="250218"/>
                </a:lnTo>
                <a:lnTo>
                  <a:pt x="316472" y="241215"/>
                </a:lnTo>
                <a:lnTo>
                  <a:pt x="275056" y="238112"/>
                </a:lnTo>
                <a:close/>
              </a:path>
              <a:path w="1634489" h="788670">
                <a:moveTo>
                  <a:pt x="1358887" y="238112"/>
                </a:moveTo>
                <a:lnTo>
                  <a:pt x="1311555" y="242180"/>
                </a:lnTo>
                <a:lnTo>
                  <a:pt x="1266858" y="253925"/>
                </a:lnTo>
                <a:lnTo>
                  <a:pt x="1225468" y="272654"/>
                </a:lnTo>
                <a:lnTo>
                  <a:pt x="1188059" y="297675"/>
                </a:lnTo>
                <a:lnTo>
                  <a:pt x="1528851" y="297675"/>
                </a:lnTo>
                <a:lnTo>
                  <a:pt x="1497717" y="275666"/>
                </a:lnTo>
                <a:lnTo>
                  <a:pt x="1454866" y="255321"/>
                </a:lnTo>
                <a:lnTo>
                  <a:pt x="1408331" y="242543"/>
                </a:lnTo>
                <a:lnTo>
                  <a:pt x="1358887" y="238112"/>
                </a:lnTo>
                <a:close/>
              </a:path>
              <a:path w="1634489" h="788670">
                <a:moveTo>
                  <a:pt x="805853" y="0"/>
                </a:moveTo>
                <a:lnTo>
                  <a:pt x="757656" y="2917"/>
                </a:lnTo>
                <a:lnTo>
                  <a:pt x="711192" y="11442"/>
                </a:lnTo>
                <a:lnTo>
                  <a:pt x="666800" y="25233"/>
                </a:lnTo>
                <a:lnTo>
                  <a:pt x="624824" y="43947"/>
                </a:lnTo>
                <a:lnTo>
                  <a:pt x="585605" y="67244"/>
                </a:lnTo>
                <a:lnTo>
                  <a:pt x="549484" y="94780"/>
                </a:lnTo>
                <a:lnTo>
                  <a:pt x="516803" y="126215"/>
                </a:lnTo>
                <a:lnTo>
                  <a:pt x="487904" y="161206"/>
                </a:lnTo>
                <a:lnTo>
                  <a:pt x="463129" y="199411"/>
                </a:lnTo>
                <a:lnTo>
                  <a:pt x="442819" y="240489"/>
                </a:lnTo>
                <a:lnTo>
                  <a:pt x="427316" y="284099"/>
                </a:lnTo>
                <a:lnTo>
                  <a:pt x="1183748" y="284099"/>
                </a:lnTo>
                <a:lnTo>
                  <a:pt x="1154000" y="209277"/>
                </a:lnTo>
                <a:lnTo>
                  <a:pt x="1129583" y="169308"/>
                </a:lnTo>
                <a:lnTo>
                  <a:pt x="1100736" y="132653"/>
                </a:lnTo>
                <a:lnTo>
                  <a:pt x="1067828" y="99683"/>
                </a:lnTo>
                <a:lnTo>
                  <a:pt x="1031230" y="70769"/>
                </a:lnTo>
                <a:lnTo>
                  <a:pt x="991313" y="46280"/>
                </a:lnTo>
                <a:lnTo>
                  <a:pt x="948446" y="26588"/>
                </a:lnTo>
                <a:lnTo>
                  <a:pt x="903000" y="12064"/>
                </a:lnTo>
                <a:lnTo>
                  <a:pt x="855345" y="3077"/>
                </a:lnTo>
                <a:lnTo>
                  <a:pt x="805853" y="0"/>
                </a:lnTo>
                <a:close/>
              </a:path>
            </a:pathLst>
          </a:custGeom>
          <a:solidFill>
            <a:schemeClr val="bg1">
              <a:lumMod val="95000"/>
            </a:schemeClr>
          </a:solidFill>
        </p:spPr>
        <p:txBody>
          <a:bodyPr wrap="square" lIns="0" tIns="0" rIns="0" bIns="0" rtlCol="0"/>
          <a:lstStyle/>
          <a:p>
            <a:endParaRPr dirty="0"/>
          </a:p>
        </p:txBody>
      </p:sp>
      <p:sp>
        <p:nvSpPr>
          <p:cNvPr id="30" name="bk object 26">
            <a:extLst>
              <a:ext uri="{FF2B5EF4-FFF2-40B4-BE49-F238E27FC236}">
                <a16:creationId xmlns:a16="http://schemas.microsoft.com/office/drawing/2014/main" id="{698D3DD8-33E8-C747-887F-5C1817881EDC}"/>
              </a:ext>
            </a:extLst>
          </p:cNvPr>
          <p:cNvSpPr/>
          <p:nvPr/>
        </p:nvSpPr>
        <p:spPr>
          <a:xfrm>
            <a:off x="8636291" y="1821071"/>
            <a:ext cx="700274" cy="113128"/>
          </a:xfrm>
          <a:custGeom>
            <a:avLst/>
            <a:gdLst/>
            <a:ahLst/>
            <a:cxnLst/>
            <a:rect l="l" t="t" r="r" b="b"/>
            <a:pathLst>
              <a:path w="475614" h="76835">
                <a:moveTo>
                  <a:pt x="129628" y="0"/>
                </a:moveTo>
                <a:lnTo>
                  <a:pt x="85148" y="5761"/>
                </a:lnTo>
                <a:lnTo>
                  <a:pt x="49298" y="19580"/>
                </a:lnTo>
                <a:lnTo>
                  <a:pt x="5816" y="50609"/>
                </a:lnTo>
                <a:lnTo>
                  <a:pt x="0" y="65239"/>
                </a:lnTo>
                <a:lnTo>
                  <a:pt x="11074" y="76619"/>
                </a:lnTo>
                <a:lnTo>
                  <a:pt x="20167" y="76733"/>
                </a:lnTo>
                <a:lnTo>
                  <a:pt x="25857" y="71196"/>
                </a:lnTo>
                <a:lnTo>
                  <a:pt x="38560" y="60345"/>
                </a:lnTo>
                <a:lnTo>
                  <a:pt x="60679" y="46220"/>
                </a:lnTo>
                <a:lnTo>
                  <a:pt x="91338" y="33968"/>
                </a:lnTo>
                <a:lnTo>
                  <a:pt x="129666" y="28740"/>
                </a:lnTo>
                <a:lnTo>
                  <a:pt x="225332" y="28740"/>
                </a:lnTo>
                <a:lnTo>
                  <a:pt x="219604" y="24910"/>
                </a:lnTo>
                <a:lnTo>
                  <a:pt x="195560" y="13009"/>
                </a:lnTo>
                <a:lnTo>
                  <a:pt x="165840" y="3830"/>
                </a:lnTo>
                <a:lnTo>
                  <a:pt x="130886" y="12"/>
                </a:lnTo>
                <a:lnTo>
                  <a:pt x="129628" y="0"/>
                </a:lnTo>
                <a:close/>
              </a:path>
              <a:path w="475614" h="76835">
                <a:moveTo>
                  <a:pt x="440396" y="28740"/>
                </a:moveTo>
                <a:lnTo>
                  <a:pt x="344373" y="28740"/>
                </a:lnTo>
                <a:lnTo>
                  <a:pt x="383086" y="33841"/>
                </a:lnTo>
                <a:lnTo>
                  <a:pt x="414053" y="46091"/>
                </a:lnTo>
                <a:lnTo>
                  <a:pt x="436382" y="60279"/>
                </a:lnTo>
                <a:lnTo>
                  <a:pt x="449186" y="71196"/>
                </a:lnTo>
                <a:lnTo>
                  <a:pt x="451980" y="73914"/>
                </a:lnTo>
                <a:lnTo>
                  <a:pt x="455599" y="75272"/>
                </a:lnTo>
                <a:lnTo>
                  <a:pt x="462965" y="75272"/>
                </a:lnTo>
                <a:lnTo>
                  <a:pt x="466699" y="73825"/>
                </a:lnTo>
                <a:lnTo>
                  <a:pt x="475056" y="65239"/>
                </a:lnTo>
                <a:lnTo>
                  <a:pt x="474929" y="56146"/>
                </a:lnTo>
                <a:lnTo>
                  <a:pt x="469252" y="50609"/>
                </a:lnTo>
                <a:lnTo>
                  <a:pt x="452396" y="36256"/>
                </a:lnTo>
                <a:lnTo>
                  <a:pt x="440396" y="28740"/>
                </a:lnTo>
                <a:close/>
              </a:path>
              <a:path w="475614" h="76835">
                <a:moveTo>
                  <a:pt x="225332" y="28740"/>
                </a:moveTo>
                <a:lnTo>
                  <a:pt x="130682" y="28740"/>
                </a:lnTo>
                <a:lnTo>
                  <a:pt x="165206" y="33175"/>
                </a:lnTo>
                <a:lnTo>
                  <a:pt x="193365" y="43424"/>
                </a:lnTo>
                <a:lnTo>
                  <a:pt x="214516" y="55697"/>
                </a:lnTo>
                <a:lnTo>
                  <a:pt x="228015" y="66205"/>
                </a:lnTo>
                <a:lnTo>
                  <a:pt x="237528" y="74599"/>
                </a:lnTo>
                <a:lnTo>
                  <a:pt x="247040" y="66205"/>
                </a:lnTo>
                <a:lnTo>
                  <a:pt x="260541" y="55697"/>
                </a:lnTo>
                <a:lnTo>
                  <a:pt x="281695" y="43424"/>
                </a:lnTo>
                <a:lnTo>
                  <a:pt x="299640" y="36893"/>
                </a:lnTo>
                <a:lnTo>
                  <a:pt x="237528" y="36893"/>
                </a:lnTo>
                <a:lnTo>
                  <a:pt x="225332" y="28740"/>
                </a:lnTo>
                <a:close/>
              </a:path>
              <a:path w="475614" h="76835">
                <a:moveTo>
                  <a:pt x="345439" y="0"/>
                </a:moveTo>
                <a:lnTo>
                  <a:pt x="279504" y="13009"/>
                </a:lnTo>
                <a:lnTo>
                  <a:pt x="237528" y="36893"/>
                </a:lnTo>
                <a:lnTo>
                  <a:pt x="299640" y="36893"/>
                </a:lnTo>
                <a:lnTo>
                  <a:pt x="309855" y="33175"/>
                </a:lnTo>
                <a:lnTo>
                  <a:pt x="344373" y="28740"/>
                </a:lnTo>
                <a:lnTo>
                  <a:pt x="440396" y="28740"/>
                </a:lnTo>
                <a:lnTo>
                  <a:pt x="425759" y="19575"/>
                </a:lnTo>
                <a:lnTo>
                  <a:pt x="389912" y="5759"/>
                </a:lnTo>
                <a:lnTo>
                  <a:pt x="345439" y="0"/>
                </a:lnTo>
                <a:close/>
              </a:path>
            </a:pathLst>
          </a:custGeom>
          <a:solidFill>
            <a:schemeClr val="tx1"/>
          </a:solidFill>
        </p:spPr>
        <p:txBody>
          <a:bodyPr wrap="square" lIns="0" tIns="0" rIns="0" bIns="0" rtlCol="0"/>
          <a:lstStyle/>
          <a:p>
            <a:endParaRPr dirty="0"/>
          </a:p>
        </p:txBody>
      </p:sp>
      <p:sp>
        <p:nvSpPr>
          <p:cNvPr id="31" name="bk object 27">
            <a:extLst>
              <a:ext uri="{FF2B5EF4-FFF2-40B4-BE49-F238E27FC236}">
                <a16:creationId xmlns:a16="http://schemas.microsoft.com/office/drawing/2014/main" id="{54B6CECA-3EB1-7B4C-8FCC-BD78A6A3CEB8}"/>
              </a:ext>
            </a:extLst>
          </p:cNvPr>
          <p:cNvSpPr/>
          <p:nvPr/>
        </p:nvSpPr>
        <p:spPr>
          <a:xfrm>
            <a:off x="8309899" y="1663455"/>
            <a:ext cx="700274" cy="113128"/>
          </a:xfrm>
          <a:custGeom>
            <a:avLst/>
            <a:gdLst/>
            <a:ahLst/>
            <a:cxnLst/>
            <a:rect l="l" t="t" r="r" b="b"/>
            <a:pathLst>
              <a:path w="475614" h="76835">
                <a:moveTo>
                  <a:pt x="130873" y="0"/>
                </a:moveTo>
                <a:lnTo>
                  <a:pt x="129616" y="0"/>
                </a:lnTo>
                <a:lnTo>
                  <a:pt x="85140" y="5759"/>
                </a:lnTo>
                <a:lnTo>
                  <a:pt x="49293" y="19575"/>
                </a:lnTo>
                <a:lnTo>
                  <a:pt x="5804" y="50609"/>
                </a:lnTo>
                <a:lnTo>
                  <a:pt x="0" y="65252"/>
                </a:lnTo>
                <a:lnTo>
                  <a:pt x="11062" y="76619"/>
                </a:lnTo>
                <a:lnTo>
                  <a:pt x="20167" y="76733"/>
                </a:lnTo>
                <a:lnTo>
                  <a:pt x="25844" y="71196"/>
                </a:lnTo>
                <a:lnTo>
                  <a:pt x="38548" y="60345"/>
                </a:lnTo>
                <a:lnTo>
                  <a:pt x="60668" y="46220"/>
                </a:lnTo>
                <a:lnTo>
                  <a:pt x="91331" y="33968"/>
                </a:lnTo>
                <a:lnTo>
                  <a:pt x="129667" y="28740"/>
                </a:lnTo>
                <a:lnTo>
                  <a:pt x="225325" y="28740"/>
                </a:lnTo>
                <a:lnTo>
                  <a:pt x="219592" y="24904"/>
                </a:lnTo>
                <a:lnTo>
                  <a:pt x="195548" y="13003"/>
                </a:lnTo>
                <a:lnTo>
                  <a:pt x="165828" y="3823"/>
                </a:lnTo>
                <a:lnTo>
                  <a:pt x="130873" y="0"/>
                </a:lnTo>
                <a:close/>
              </a:path>
              <a:path w="475614" h="76835">
                <a:moveTo>
                  <a:pt x="440302" y="28740"/>
                </a:moveTo>
                <a:lnTo>
                  <a:pt x="345364" y="28740"/>
                </a:lnTo>
                <a:lnTo>
                  <a:pt x="383705" y="33968"/>
                </a:lnTo>
                <a:lnTo>
                  <a:pt x="414366" y="46220"/>
                </a:lnTo>
                <a:lnTo>
                  <a:pt x="436479" y="60345"/>
                </a:lnTo>
                <a:lnTo>
                  <a:pt x="449173" y="71196"/>
                </a:lnTo>
                <a:lnTo>
                  <a:pt x="451967" y="73914"/>
                </a:lnTo>
                <a:lnTo>
                  <a:pt x="455587" y="75272"/>
                </a:lnTo>
                <a:lnTo>
                  <a:pt x="462953" y="75272"/>
                </a:lnTo>
                <a:lnTo>
                  <a:pt x="466687" y="73825"/>
                </a:lnTo>
                <a:lnTo>
                  <a:pt x="475043" y="65252"/>
                </a:lnTo>
                <a:lnTo>
                  <a:pt x="474916" y="56146"/>
                </a:lnTo>
                <a:lnTo>
                  <a:pt x="469239" y="50609"/>
                </a:lnTo>
                <a:lnTo>
                  <a:pt x="452224" y="36161"/>
                </a:lnTo>
                <a:lnTo>
                  <a:pt x="440302" y="28740"/>
                </a:lnTo>
                <a:close/>
              </a:path>
              <a:path w="475614" h="76835">
                <a:moveTo>
                  <a:pt x="225325" y="28740"/>
                </a:moveTo>
                <a:lnTo>
                  <a:pt x="130670" y="28740"/>
                </a:lnTo>
                <a:lnTo>
                  <a:pt x="165199" y="33175"/>
                </a:lnTo>
                <a:lnTo>
                  <a:pt x="193357" y="43422"/>
                </a:lnTo>
                <a:lnTo>
                  <a:pt x="214506" y="55691"/>
                </a:lnTo>
                <a:lnTo>
                  <a:pt x="228003" y="66192"/>
                </a:lnTo>
                <a:lnTo>
                  <a:pt x="237515" y="74599"/>
                </a:lnTo>
                <a:lnTo>
                  <a:pt x="247028" y="66192"/>
                </a:lnTo>
                <a:lnTo>
                  <a:pt x="260528" y="55691"/>
                </a:lnTo>
                <a:lnTo>
                  <a:pt x="281683" y="43422"/>
                </a:lnTo>
                <a:lnTo>
                  <a:pt x="299626" y="36893"/>
                </a:lnTo>
                <a:lnTo>
                  <a:pt x="237515" y="36893"/>
                </a:lnTo>
                <a:lnTo>
                  <a:pt x="225325" y="28740"/>
                </a:lnTo>
                <a:close/>
              </a:path>
              <a:path w="475614" h="76835">
                <a:moveTo>
                  <a:pt x="344157" y="0"/>
                </a:moveTo>
                <a:lnTo>
                  <a:pt x="309210" y="3825"/>
                </a:lnTo>
                <a:lnTo>
                  <a:pt x="279492" y="13007"/>
                </a:lnTo>
                <a:lnTo>
                  <a:pt x="255446" y="24910"/>
                </a:lnTo>
                <a:lnTo>
                  <a:pt x="237515" y="36893"/>
                </a:lnTo>
                <a:lnTo>
                  <a:pt x="299626" y="36893"/>
                </a:lnTo>
                <a:lnTo>
                  <a:pt x="309843" y="33175"/>
                </a:lnTo>
                <a:lnTo>
                  <a:pt x="344360" y="28740"/>
                </a:lnTo>
                <a:lnTo>
                  <a:pt x="440302" y="28740"/>
                </a:lnTo>
                <a:lnTo>
                  <a:pt x="425282" y="19389"/>
                </a:lnTo>
                <a:lnTo>
                  <a:pt x="389047" y="5575"/>
                </a:lnTo>
                <a:lnTo>
                  <a:pt x="344157" y="0"/>
                </a:lnTo>
                <a:close/>
              </a:path>
            </a:pathLst>
          </a:custGeom>
          <a:solidFill>
            <a:schemeClr val="tx1"/>
          </a:solidFill>
        </p:spPr>
        <p:txBody>
          <a:bodyPr wrap="square" lIns="0" tIns="0" rIns="0" bIns="0" rtlCol="0"/>
          <a:lstStyle/>
          <a:p>
            <a:endParaRPr dirty="0"/>
          </a:p>
        </p:txBody>
      </p:sp>
      <p:sp>
        <p:nvSpPr>
          <p:cNvPr id="32" name="bk object 28">
            <a:extLst>
              <a:ext uri="{FF2B5EF4-FFF2-40B4-BE49-F238E27FC236}">
                <a16:creationId xmlns:a16="http://schemas.microsoft.com/office/drawing/2014/main" id="{AAA19350-C124-4245-8434-E2E5E2AF2F52}"/>
              </a:ext>
            </a:extLst>
          </p:cNvPr>
          <p:cNvSpPr/>
          <p:nvPr/>
        </p:nvSpPr>
        <p:spPr>
          <a:xfrm>
            <a:off x="5064546" y="2347021"/>
            <a:ext cx="459993" cy="87885"/>
          </a:xfrm>
          <a:custGeom>
            <a:avLst/>
            <a:gdLst/>
            <a:ahLst/>
            <a:cxnLst/>
            <a:rect l="l" t="t" r="r" b="b"/>
            <a:pathLst>
              <a:path w="312419" h="59689">
                <a:moveTo>
                  <a:pt x="88493" y="0"/>
                </a:moveTo>
                <a:lnTo>
                  <a:pt x="87655" y="0"/>
                </a:lnTo>
                <a:lnTo>
                  <a:pt x="58208" y="3813"/>
                </a:lnTo>
                <a:lnTo>
                  <a:pt x="16835" y="24002"/>
                </a:lnTo>
                <a:lnTo>
                  <a:pt x="0" y="47815"/>
                </a:lnTo>
                <a:lnTo>
                  <a:pt x="10833" y="58940"/>
                </a:lnTo>
                <a:lnTo>
                  <a:pt x="19735" y="59067"/>
                </a:lnTo>
                <a:lnTo>
                  <a:pt x="25298" y="53644"/>
                </a:lnTo>
                <a:lnTo>
                  <a:pt x="32933" y="47121"/>
                </a:lnTo>
                <a:lnTo>
                  <a:pt x="46227" y="38628"/>
                </a:lnTo>
                <a:lnTo>
                  <a:pt x="64656" y="31261"/>
                </a:lnTo>
                <a:lnTo>
                  <a:pt x="87693" y="28117"/>
                </a:lnTo>
                <a:lnTo>
                  <a:pt x="300177" y="28117"/>
                </a:lnTo>
                <a:lnTo>
                  <a:pt x="295344" y="24002"/>
                </a:lnTo>
                <a:lnTo>
                  <a:pt x="292505" y="22224"/>
                </a:lnTo>
                <a:lnTo>
                  <a:pt x="156095" y="22224"/>
                </a:lnTo>
                <a:lnTo>
                  <a:pt x="144104" y="14712"/>
                </a:lnTo>
                <a:lnTo>
                  <a:pt x="128685" y="7578"/>
                </a:lnTo>
                <a:lnTo>
                  <a:pt x="110072" y="2211"/>
                </a:lnTo>
                <a:lnTo>
                  <a:pt x="88493" y="0"/>
                </a:lnTo>
                <a:close/>
              </a:path>
              <a:path w="312419" h="59689">
                <a:moveTo>
                  <a:pt x="300177" y="28117"/>
                </a:moveTo>
                <a:lnTo>
                  <a:pt x="224497" y="28117"/>
                </a:lnTo>
                <a:lnTo>
                  <a:pt x="247527" y="31261"/>
                </a:lnTo>
                <a:lnTo>
                  <a:pt x="265952" y="38628"/>
                </a:lnTo>
                <a:lnTo>
                  <a:pt x="279245" y="47121"/>
                </a:lnTo>
                <a:lnTo>
                  <a:pt x="286880" y="53644"/>
                </a:lnTo>
                <a:lnTo>
                  <a:pt x="292442" y="59067"/>
                </a:lnTo>
                <a:lnTo>
                  <a:pt x="301345" y="58940"/>
                </a:lnTo>
                <a:lnTo>
                  <a:pt x="312178" y="47815"/>
                </a:lnTo>
                <a:lnTo>
                  <a:pt x="312064" y="38912"/>
                </a:lnTo>
                <a:lnTo>
                  <a:pt x="306501" y="33502"/>
                </a:lnTo>
                <a:lnTo>
                  <a:pt x="300177" y="28117"/>
                </a:lnTo>
                <a:close/>
              </a:path>
              <a:path w="312419" h="59689">
                <a:moveTo>
                  <a:pt x="223888" y="28117"/>
                </a:moveTo>
                <a:lnTo>
                  <a:pt x="88303" y="28117"/>
                </a:lnTo>
                <a:lnTo>
                  <a:pt x="109041" y="30786"/>
                </a:lnTo>
                <a:lnTo>
                  <a:pt x="125961" y="36949"/>
                </a:lnTo>
                <a:lnTo>
                  <a:pt x="138673" y="44328"/>
                </a:lnTo>
                <a:lnTo>
                  <a:pt x="146788" y="50647"/>
                </a:lnTo>
                <a:lnTo>
                  <a:pt x="156082" y="58864"/>
                </a:lnTo>
                <a:lnTo>
                  <a:pt x="165408" y="50634"/>
                </a:lnTo>
                <a:lnTo>
                  <a:pt x="173523" y="44323"/>
                </a:lnTo>
                <a:lnTo>
                  <a:pt x="186233" y="36947"/>
                </a:lnTo>
                <a:lnTo>
                  <a:pt x="203151" y="30785"/>
                </a:lnTo>
                <a:lnTo>
                  <a:pt x="223888" y="28117"/>
                </a:lnTo>
                <a:close/>
              </a:path>
              <a:path w="312419" h="59689">
                <a:moveTo>
                  <a:pt x="224523" y="0"/>
                </a:moveTo>
                <a:lnTo>
                  <a:pt x="223685" y="0"/>
                </a:lnTo>
                <a:lnTo>
                  <a:pt x="202119" y="2211"/>
                </a:lnTo>
                <a:lnTo>
                  <a:pt x="183508" y="7578"/>
                </a:lnTo>
                <a:lnTo>
                  <a:pt x="168088" y="14712"/>
                </a:lnTo>
                <a:lnTo>
                  <a:pt x="156095" y="22224"/>
                </a:lnTo>
                <a:lnTo>
                  <a:pt x="292505" y="22224"/>
                </a:lnTo>
                <a:lnTo>
                  <a:pt x="277709" y="12960"/>
                </a:lnTo>
                <a:lnTo>
                  <a:pt x="253975" y="3813"/>
                </a:lnTo>
                <a:lnTo>
                  <a:pt x="224523" y="0"/>
                </a:lnTo>
                <a:close/>
              </a:path>
            </a:pathLst>
          </a:custGeom>
          <a:solidFill>
            <a:schemeClr val="tx1"/>
          </a:solidFill>
        </p:spPr>
        <p:txBody>
          <a:bodyPr wrap="square" lIns="0" tIns="0" rIns="0" bIns="0" rtlCol="0"/>
          <a:lstStyle/>
          <a:p>
            <a:endParaRPr dirty="0"/>
          </a:p>
        </p:txBody>
      </p:sp>
      <p:sp>
        <p:nvSpPr>
          <p:cNvPr id="33" name="bk object 29">
            <a:extLst>
              <a:ext uri="{FF2B5EF4-FFF2-40B4-BE49-F238E27FC236}">
                <a16:creationId xmlns:a16="http://schemas.microsoft.com/office/drawing/2014/main" id="{555276FB-7931-DC44-9197-28347D0B7073}"/>
              </a:ext>
            </a:extLst>
          </p:cNvPr>
          <p:cNvSpPr/>
          <p:nvPr/>
        </p:nvSpPr>
        <p:spPr>
          <a:xfrm>
            <a:off x="4822795" y="2165631"/>
            <a:ext cx="335646" cy="63577"/>
          </a:xfrm>
          <a:custGeom>
            <a:avLst/>
            <a:gdLst/>
            <a:ahLst/>
            <a:cxnLst/>
            <a:rect l="l" t="t" r="r" b="b"/>
            <a:pathLst>
              <a:path w="227964" h="43180">
                <a:moveTo>
                  <a:pt x="64592" y="0"/>
                </a:moveTo>
                <a:lnTo>
                  <a:pt x="63982" y="0"/>
                </a:lnTo>
                <a:lnTo>
                  <a:pt x="42473" y="2784"/>
                </a:lnTo>
                <a:lnTo>
                  <a:pt x="4140" y="24460"/>
                </a:lnTo>
                <a:lnTo>
                  <a:pt x="0" y="34912"/>
                </a:lnTo>
                <a:lnTo>
                  <a:pt x="7899" y="43027"/>
                </a:lnTo>
                <a:lnTo>
                  <a:pt x="14401" y="43116"/>
                </a:lnTo>
                <a:lnTo>
                  <a:pt x="18465" y="39154"/>
                </a:lnTo>
                <a:lnTo>
                  <a:pt x="24143" y="34348"/>
                </a:lnTo>
                <a:lnTo>
                  <a:pt x="33870" y="28195"/>
                </a:lnTo>
                <a:lnTo>
                  <a:pt x="47451" y="22825"/>
                </a:lnTo>
                <a:lnTo>
                  <a:pt x="64439" y="20523"/>
                </a:lnTo>
                <a:lnTo>
                  <a:pt x="219103" y="20523"/>
                </a:lnTo>
                <a:lnTo>
                  <a:pt x="215580" y="17520"/>
                </a:lnTo>
                <a:lnTo>
                  <a:pt x="213500" y="16217"/>
                </a:lnTo>
                <a:lnTo>
                  <a:pt x="113931" y="16217"/>
                </a:lnTo>
                <a:lnTo>
                  <a:pt x="105184" y="10733"/>
                </a:lnTo>
                <a:lnTo>
                  <a:pt x="93933" y="5527"/>
                </a:lnTo>
                <a:lnTo>
                  <a:pt x="80347" y="1612"/>
                </a:lnTo>
                <a:lnTo>
                  <a:pt x="64592" y="0"/>
                </a:lnTo>
                <a:close/>
              </a:path>
              <a:path w="227964" h="43180">
                <a:moveTo>
                  <a:pt x="219103" y="20523"/>
                </a:moveTo>
                <a:lnTo>
                  <a:pt x="163423" y="20523"/>
                </a:lnTo>
                <a:lnTo>
                  <a:pt x="180365" y="22707"/>
                </a:lnTo>
                <a:lnTo>
                  <a:pt x="193955" y="28090"/>
                </a:lnTo>
                <a:lnTo>
                  <a:pt x="203822" y="34387"/>
                </a:lnTo>
                <a:lnTo>
                  <a:pt x="209410" y="39154"/>
                </a:lnTo>
                <a:lnTo>
                  <a:pt x="213461" y="43116"/>
                </a:lnTo>
                <a:lnTo>
                  <a:pt x="219964" y="43027"/>
                </a:lnTo>
                <a:lnTo>
                  <a:pt x="227863" y="34912"/>
                </a:lnTo>
                <a:lnTo>
                  <a:pt x="227787" y="28409"/>
                </a:lnTo>
                <a:lnTo>
                  <a:pt x="223723" y="24460"/>
                </a:lnTo>
                <a:lnTo>
                  <a:pt x="219103" y="20523"/>
                </a:lnTo>
                <a:close/>
              </a:path>
              <a:path w="227964" h="43180">
                <a:moveTo>
                  <a:pt x="163423" y="20523"/>
                </a:moveTo>
                <a:lnTo>
                  <a:pt x="64439" y="20523"/>
                </a:lnTo>
                <a:lnTo>
                  <a:pt x="79590" y="22473"/>
                </a:lnTo>
                <a:lnTo>
                  <a:pt x="91941" y="26968"/>
                </a:lnTo>
                <a:lnTo>
                  <a:pt x="101215" y="32349"/>
                </a:lnTo>
                <a:lnTo>
                  <a:pt x="107137" y="36957"/>
                </a:lnTo>
                <a:lnTo>
                  <a:pt x="113931" y="42976"/>
                </a:lnTo>
                <a:lnTo>
                  <a:pt x="120726" y="36957"/>
                </a:lnTo>
                <a:lnTo>
                  <a:pt x="126647" y="32349"/>
                </a:lnTo>
                <a:lnTo>
                  <a:pt x="135921" y="26968"/>
                </a:lnTo>
                <a:lnTo>
                  <a:pt x="148272" y="22473"/>
                </a:lnTo>
                <a:lnTo>
                  <a:pt x="163423" y="20523"/>
                </a:lnTo>
                <a:close/>
              </a:path>
              <a:path w="227964" h="43180">
                <a:moveTo>
                  <a:pt x="163880" y="0"/>
                </a:moveTo>
                <a:lnTo>
                  <a:pt x="163271" y="0"/>
                </a:lnTo>
                <a:lnTo>
                  <a:pt x="147516" y="1612"/>
                </a:lnTo>
                <a:lnTo>
                  <a:pt x="133929" y="5527"/>
                </a:lnTo>
                <a:lnTo>
                  <a:pt x="122678" y="10733"/>
                </a:lnTo>
                <a:lnTo>
                  <a:pt x="113931" y="16217"/>
                </a:lnTo>
                <a:lnTo>
                  <a:pt x="213500" y="16217"/>
                </a:lnTo>
                <a:lnTo>
                  <a:pt x="202707" y="9458"/>
                </a:lnTo>
                <a:lnTo>
                  <a:pt x="185382" y="2782"/>
                </a:lnTo>
                <a:lnTo>
                  <a:pt x="163880" y="0"/>
                </a:lnTo>
                <a:close/>
              </a:path>
            </a:pathLst>
          </a:custGeom>
          <a:solidFill>
            <a:schemeClr val="tx1"/>
          </a:solidFill>
        </p:spPr>
        <p:txBody>
          <a:bodyPr wrap="square" lIns="0" tIns="0" rIns="0" bIns="0" rtlCol="0"/>
          <a:lstStyle/>
          <a:p>
            <a:endParaRPr dirty="0"/>
          </a:p>
        </p:txBody>
      </p:sp>
      <p:sp>
        <p:nvSpPr>
          <p:cNvPr id="34" name="bk object 30">
            <a:extLst>
              <a:ext uri="{FF2B5EF4-FFF2-40B4-BE49-F238E27FC236}">
                <a16:creationId xmlns:a16="http://schemas.microsoft.com/office/drawing/2014/main" id="{27B9449B-27C6-6643-8936-BC75EDC7ED9F}"/>
              </a:ext>
            </a:extLst>
          </p:cNvPr>
          <p:cNvSpPr/>
          <p:nvPr/>
        </p:nvSpPr>
        <p:spPr>
          <a:xfrm>
            <a:off x="2090669" y="5463974"/>
            <a:ext cx="7808964" cy="113521"/>
          </a:xfrm>
          <a:custGeom>
            <a:avLst/>
            <a:gdLst/>
            <a:ahLst/>
            <a:cxnLst/>
            <a:rect l="l" t="t" r="r" b="b"/>
            <a:pathLst>
              <a:path w="5986145" h="86995">
                <a:moveTo>
                  <a:pt x="0" y="86423"/>
                </a:moveTo>
                <a:lnTo>
                  <a:pt x="5986119" y="86423"/>
                </a:lnTo>
                <a:lnTo>
                  <a:pt x="5986119" y="0"/>
                </a:lnTo>
                <a:lnTo>
                  <a:pt x="0" y="0"/>
                </a:lnTo>
                <a:lnTo>
                  <a:pt x="0" y="86423"/>
                </a:lnTo>
                <a:close/>
              </a:path>
            </a:pathLst>
          </a:custGeom>
          <a:solidFill>
            <a:srgbClr val="DCDDDE"/>
          </a:solidFill>
        </p:spPr>
        <p:txBody>
          <a:bodyPr wrap="square" lIns="0" tIns="0" rIns="0" bIns="0" rtlCol="0"/>
          <a:lstStyle/>
          <a:p>
            <a:endParaRPr dirty="0"/>
          </a:p>
        </p:txBody>
      </p:sp>
      <p:sp>
        <p:nvSpPr>
          <p:cNvPr id="36" name="object 8">
            <a:extLst>
              <a:ext uri="{FF2B5EF4-FFF2-40B4-BE49-F238E27FC236}">
                <a16:creationId xmlns:a16="http://schemas.microsoft.com/office/drawing/2014/main" id="{EB078404-3288-6444-91EC-EDF00CA10A2B}"/>
              </a:ext>
            </a:extLst>
          </p:cNvPr>
          <p:cNvSpPr txBox="1"/>
          <p:nvPr/>
        </p:nvSpPr>
        <p:spPr>
          <a:xfrm>
            <a:off x="2391237" y="5711183"/>
            <a:ext cx="914400" cy="338554"/>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100" dirty="0"/>
              <a:t>Lorem ipsum dolor sit </a:t>
            </a:r>
          </a:p>
        </p:txBody>
      </p:sp>
      <p:sp>
        <p:nvSpPr>
          <p:cNvPr id="37" name="object 8">
            <a:extLst>
              <a:ext uri="{FF2B5EF4-FFF2-40B4-BE49-F238E27FC236}">
                <a16:creationId xmlns:a16="http://schemas.microsoft.com/office/drawing/2014/main" id="{E758554B-A3A8-E942-ABC1-52162B1D4FE3}"/>
              </a:ext>
            </a:extLst>
          </p:cNvPr>
          <p:cNvSpPr txBox="1"/>
          <p:nvPr/>
        </p:nvSpPr>
        <p:spPr>
          <a:xfrm>
            <a:off x="3870799" y="5711182"/>
            <a:ext cx="914400" cy="338554"/>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100" dirty="0"/>
              <a:t>Lorem ipsum dolor sit </a:t>
            </a:r>
          </a:p>
        </p:txBody>
      </p:sp>
      <p:sp>
        <p:nvSpPr>
          <p:cNvPr id="38" name="object 8">
            <a:extLst>
              <a:ext uri="{FF2B5EF4-FFF2-40B4-BE49-F238E27FC236}">
                <a16:creationId xmlns:a16="http://schemas.microsoft.com/office/drawing/2014/main" id="{EC29A46F-FC8C-3941-BF8A-1DC0487EAD4E}"/>
              </a:ext>
            </a:extLst>
          </p:cNvPr>
          <p:cNvSpPr txBox="1"/>
          <p:nvPr/>
        </p:nvSpPr>
        <p:spPr>
          <a:xfrm>
            <a:off x="5849653" y="5711183"/>
            <a:ext cx="914400" cy="338554"/>
          </a:xfrm>
          <a:prstGeom prst="rect">
            <a:avLst/>
          </a:prstGeom>
        </p:spPr>
        <p:txBody>
          <a:bodyPr vert="horz" wrap="square" lIns="0" tIns="0" rIns="0" bIns="0" rtlCol="0">
            <a:spAutoFit/>
          </a:bodyPr>
          <a:lstStyle>
            <a:defPPr>
              <a:defRPr lang="en-US"/>
            </a:defPPr>
            <a:lvl1pPr>
              <a:lnSpc>
                <a:spcPct val="100000"/>
              </a:lnSpc>
              <a:defRPr sz="800" spc="-5">
                <a:solidFill>
                  <a:srgbClr val="3D3C3D"/>
                </a:solidFill>
                <a:cs typeface="Arial"/>
              </a:defRPr>
            </a:lvl1pPr>
          </a:lstStyle>
          <a:p>
            <a:pPr algn="ctr"/>
            <a:r>
              <a:rPr lang="en-US" sz="1100" dirty="0"/>
              <a:t>Lorem ipsum dolor sit </a:t>
            </a:r>
          </a:p>
        </p:txBody>
      </p:sp>
      <p:sp>
        <p:nvSpPr>
          <p:cNvPr id="39" name="object 8">
            <a:extLst>
              <a:ext uri="{FF2B5EF4-FFF2-40B4-BE49-F238E27FC236}">
                <a16:creationId xmlns:a16="http://schemas.microsoft.com/office/drawing/2014/main" id="{3C61B1CB-FDB9-A94A-B7B8-267C7EB2096A}"/>
              </a:ext>
            </a:extLst>
          </p:cNvPr>
          <p:cNvSpPr txBox="1"/>
          <p:nvPr/>
        </p:nvSpPr>
        <p:spPr>
          <a:xfrm>
            <a:off x="8072028" y="5711183"/>
            <a:ext cx="914400" cy="338554"/>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100" dirty="0"/>
              <a:t>Lorem ipsum dolor sit </a:t>
            </a:r>
          </a:p>
        </p:txBody>
      </p:sp>
    </p:spTree>
    <p:custDataLst>
      <p:tags r:id="rId1"/>
    </p:custDataLst>
    <p:extLst>
      <p:ext uri="{BB962C8B-B14F-4D97-AF65-F5344CB8AC3E}">
        <p14:creationId xmlns:p14="http://schemas.microsoft.com/office/powerpoint/2010/main" val="385568261"/>
      </p:ext>
    </p:extLst>
  </p:cSld>
  <p:clrMapOvr>
    <a:masterClrMapping/>
  </p:clrMapOvr>
  <p:transition>
    <p:fade/>
  </p:transition>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E833BF1A-FD21-4BCA-8266-EF989121704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9221" t="29398" r="17922" b="13718"/>
          <a:stretch/>
        </p:blipFill>
        <p:spPr>
          <a:xfrm>
            <a:off x="2275820" y="4293529"/>
            <a:ext cx="2661027" cy="1605413"/>
          </a:xfrm>
          <a:prstGeom prst="rect">
            <a:avLst/>
          </a:prstGeom>
        </p:spPr>
      </p:pic>
      <p:grpSp>
        <p:nvGrpSpPr>
          <p:cNvPr id="93" name="组合 92">
            <a:extLst>
              <a:ext uri="{FF2B5EF4-FFF2-40B4-BE49-F238E27FC236}">
                <a16:creationId xmlns:a16="http://schemas.microsoft.com/office/drawing/2014/main" id="{E1D9D777-0092-48F3-B419-BFB8E71B3FED}"/>
              </a:ext>
            </a:extLst>
          </p:cNvPr>
          <p:cNvGrpSpPr/>
          <p:nvPr/>
        </p:nvGrpSpPr>
        <p:grpSpPr>
          <a:xfrm>
            <a:off x="939334" y="1849830"/>
            <a:ext cx="5506184" cy="2935612"/>
            <a:chOff x="939334" y="2324392"/>
            <a:chExt cx="5506184" cy="2935612"/>
          </a:xfrm>
        </p:grpSpPr>
        <p:sp>
          <p:nvSpPr>
            <p:cNvPr id="6" name="Line 5">
              <a:extLst>
                <a:ext uri="{FF2B5EF4-FFF2-40B4-BE49-F238E27FC236}">
                  <a16:creationId xmlns:a16="http://schemas.microsoft.com/office/drawing/2014/main" id="{71F5E4EE-196C-438C-B9B9-8B001A2A65BD}"/>
                </a:ext>
              </a:extLst>
            </p:cNvPr>
            <p:cNvSpPr>
              <a:spLocks noChangeShapeType="1"/>
            </p:cNvSpPr>
            <p:nvPr/>
          </p:nvSpPr>
          <p:spPr bwMode="auto">
            <a:xfrm flipV="1">
              <a:off x="3481238" y="3309994"/>
              <a:ext cx="0" cy="1390025"/>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Line 6">
              <a:extLst>
                <a:ext uri="{FF2B5EF4-FFF2-40B4-BE49-F238E27FC236}">
                  <a16:creationId xmlns:a16="http://schemas.microsoft.com/office/drawing/2014/main" id="{9F15932B-7933-4E31-9CD6-66DE1A496114}"/>
                </a:ext>
              </a:extLst>
            </p:cNvPr>
            <p:cNvSpPr>
              <a:spLocks noChangeShapeType="1"/>
            </p:cNvSpPr>
            <p:nvPr/>
          </p:nvSpPr>
          <p:spPr bwMode="auto">
            <a:xfrm>
              <a:off x="3309229" y="3358354"/>
              <a:ext cx="177743" cy="185386"/>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Line 7">
              <a:extLst>
                <a:ext uri="{FF2B5EF4-FFF2-40B4-BE49-F238E27FC236}">
                  <a16:creationId xmlns:a16="http://schemas.microsoft.com/office/drawing/2014/main" id="{352A3D9F-CF57-41FE-8626-EBA7FF8E2C7D}"/>
                </a:ext>
              </a:extLst>
            </p:cNvPr>
            <p:cNvSpPr>
              <a:spLocks noChangeShapeType="1"/>
            </p:cNvSpPr>
            <p:nvPr/>
          </p:nvSpPr>
          <p:spPr bwMode="auto">
            <a:xfrm flipV="1">
              <a:off x="3485060" y="3826600"/>
              <a:ext cx="258013" cy="275214"/>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8">
              <a:extLst>
                <a:ext uri="{FF2B5EF4-FFF2-40B4-BE49-F238E27FC236}">
                  <a16:creationId xmlns:a16="http://schemas.microsoft.com/office/drawing/2014/main" id="{770EE241-5308-4124-9204-A8E296129049}"/>
                </a:ext>
              </a:extLst>
            </p:cNvPr>
            <p:cNvSpPr>
              <a:spLocks/>
            </p:cNvSpPr>
            <p:nvPr/>
          </p:nvSpPr>
          <p:spPr bwMode="auto">
            <a:xfrm flipH="1">
              <a:off x="2483588" y="2595783"/>
              <a:ext cx="1003384" cy="1100854"/>
            </a:xfrm>
            <a:custGeom>
              <a:avLst/>
              <a:gdLst>
                <a:gd name="T0" fmla="*/ 525 w 525"/>
                <a:gd name="T1" fmla="*/ 0 h 576"/>
                <a:gd name="T2" fmla="*/ 525 w 525"/>
                <a:gd name="T3" fmla="*/ 574 h 576"/>
                <a:gd name="T4" fmla="*/ 0 w 525"/>
                <a:gd name="T5" fmla="*/ 576 h 576"/>
              </a:gdLst>
              <a:ahLst/>
              <a:cxnLst>
                <a:cxn ang="0">
                  <a:pos x="T0" y="T1"/>
                </a:cxn>
                <a:cxn ang="0">
                  <a:pos x="T2" y="T3"/>
                </a:cxn>
                <a:cxn ang="0">
                  <a:pos x="T4" y="T5"/>
                </a:cxn>
              </a:cxnLst>
              <a:rect l="0" t="0" r="r" b="b"/>
              <a:pathLst>
                <a:path w="525" h="576">
                  <a:moveTo>
                    <a:pt x="525" y="0"/>
                  </a:moveTo>
                  <a:lnTo>
                    <a:pt x="525" y="574"/>
                  </a:lnTo>
                  <a:lnTo>
                    <a:pt x="0" y="576"/>
                  </a:lnTo>
                </a:path>
              </a:pathLst>
            </a:custGeom>
            <a:noFill/>
            <a:ln w="19050" cap="flat">
              <a:solidFill>
                <a:srgbClr val="75787B"/>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Line 9">
              <a:extLst>
                <a:ext uri="{FF2B5EF4-FFF2-40B4-BE49-F238E27FC236}">
                  <a16:creationId xmlns:a16="http://schemas.microsoft.com/office/drawing/2014/main" id="{D3D6C4BD-0B4B-46C5-8A82-91C494AA2D05}"/>
                </a:ext>
              </a:extLst>
            </p:cNvPr>
            <p:cNvSpPr>
              <a:spLocks noChangeShapeType="1"/>
            </p:cNvSpPr>
            <p:nvPr/>
          </p:nvSpPr>
          <p:spPr bwMode="auto">
            <a:xfrm>
              <a:off x="2133837" y="2790726"/>
              <a:ext cx="349751" cy="355484"/>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Freeform 10">
              <a:extLst>
                <a:ext uri="{FF2B5EF4-FFF2-40B4-BE49-F238E27FC236}">
                  <a16:creationId xmlns:a16="http://schemas.microsoft.com/office/drawing/2014/main" id="{C58C463C-62F9-4137-8896-6BB473D6BAD8}"/>
                </a:ext>
              </a:extLst>
            </p:cNvPr>
            <p:cNvSpPr>
              <a:spLocks/>
            </p:cNvSpPr>
            <p:nvPr/>
          </p:nvSpPr>
          <p:spPr bwMode="auto">
            <a:xfrm flipH="1">
              <a:off x="1671326" y="3960384"/>
              <a:ext cx="1697151" cy="739636"/>
            </a:xfrm>
            <a:custGeom>
              <a:avLst/>
              <a:gdLst>
                <a:gd name="T0" fmla="*/ 0 w 888"/>
                <a:gd name="T1" fmla="*/ 387 h 387"/>
                <a:gd name="T2" fmla="*/ 0 w 888"/>
                <a:gd name="T3" fmla="*/ 0 h 387"/>
                <a:gd name="T4" fmla="*/ 888 w 888"/>
                <a:gd name="T5" fmla="*/ 0 h 387"/>
              </a:gdLst>
              <a:ahLst/>
              <a:cxnLst>
                <a:cxn ang="0">
                  <a:pos x="T0" y="T1"/>
                </a:cxn>
                <a:cxn ang="0">
                  <a:pos x="T2" y="T3"/>
                </a:cxn>
                <a:cxn ang="0">
                  <a:pos x="T4" y="T5"/>
                </a:cxn>
              </a:cxnLst>
              <a:rect l="0" t="0" r="r" b="b"/>
              <a:pathLst>
                <a:path w="888" h="387">
                  <a:moveTo>
                    <a:pt x="0" y="387"/>
                  </a:moveTo>
                  <a:lnTo>
                    <a:pt x="0" y="0"/>
                  </a:lnTo>
                  <a:lnTo>
                    <a:pt x="888" y="0"/>
                  </a:lnTo>
                </a:path>
              </a:pathLst>
            </a:custGeom>
            <a:noFill/>
            <a:ln w="19050" cap="flat">
              <a:solidFill>
                <a:srgbClr val="75787B"/>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Line 11">
              <a:extLst>
                <a:ext uri="{FF2B5EF4-FFF2-40B4-BE49-F238E27FC236}">
                  <a16:creationId xmlns:a16="http://schemas.microsoft.com/office/drawing/2014/main" id="{A931C01E-8B1F-4073-8627-3DF25248123A}"/>
                </a:ext>
              </a:extLst>
            </p:cNvPr>
            <p:cNvSpPr>
              <a:spLocks noChangeShapeType="1"/>
            </p:cNvSpPr>
            <p:nvPr/>
          </p:nvSpPr>
          <p:spPr bwMode="auto">
            <a:xfrm>
              <a:off x="2049745" y="3581965"/>
              <a:ext cx="405176" cy="378419"/>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Line 12">
              <a:extLst>
                <a:ext uri="{FF2B5EF4-FFF2-40B4-BE49-F238E27FC236}">
                  <a16:creationId xmlns:a16="http://schemas.microsoft.com/office/drawing/2014/main" id="{AD276B4F-19E7-405E-95FA-703F98C7560D}"/>
                </a:ext>
              </a:extLst>
            </p:cNvPr>
            <p:cNvSpPr>
              <a:spLocks noChangeShapeType="1"/>
            </p:cNvSpPr>
            <p:nvPr/>
          </p:nvSpPr>
          <p:spPr bwMode="auto">
            <a:xfrm flipV="1">
              <a:off x="2049745" y="3960384"/>
              <a:ext cx="405176" cy="382241"/>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Line 13">
              <a:extLst>
                <a:ext uri="{FF2B5EF4-FFF2-40B4-BE49-F238E27FC236}">
                  <a16:creationId xmlns:a16="http://schemas.microsoft.com/office/drawing/2014/main" id="{1A79E257-304D-4DC5-B54A-63458F3532CD}"/>
                </a:ext>
              </a:extLst>
            </p:cNvPr>
            <p:cNvSpPr>
              <a:spLocks noChangeShapeType="1"/>
            </p:cNvSpPr>
            <p:nvPr/>
          </p:nvSpPr>
          <p:spPr bwMode="auto">
            <a:xfrm flipH="1">
              <a:off x="939334" y="4464942"/>
              <a:ext cx="598208" cy="0"/>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Line 14">
              <a:extLst>
                <a:ext uri="{FF2B5EF4-FFF2-40B4-BE49-F238E27FC236}">
                  <a16:creationId xmlns:a16="http://schemas.microsoft.com/office/drawing/2014/main" id="{E9FCCC68-051F-4AFF-A426-507A9D737388}"/>
                </a:ext>
              </a:extLst>
            </p:cNvPr>
            <p:cNvSpPr>
              <a:spLocks noChangeShapeType="1"/>
            </p:cNvSpPr>
            <p:nvPr/>
          </p:nvSpPr>
          <p:spPr bwMode="auto">
            <a:xfrm flipH="1">
              <a:off x="1214548" y="4854828"/>
              <a:ext cx="370774" cy="405176"/>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Freeform 15">
              <a:extLst>
                <a:ext uri="{FF2B5EF4-FFF2-40B4-BE49-F238E27FC236}">
                  <a16:creationId xmlns:a16="http://schemas.microsoft.com/office/drawing/2014/main" id="{CB4FB562-A721-4609-B957-0212665D3E74}"/>
                </a:ext>
              </a:extLst>
            </p:cNvPr>
            <p:cNvSpPr>
              <a:spLocks/>
            </p:cNvSpPr>
            <p:nvPr/>
          </p:nvSpPr>
          <p:spPr bwMode="auto">
            <a:xfrm flipH="1">
              <a:off x="3628401" y="3591521"/>
              <a:ext cx="817996" cy="1104677"/>
            </a:xfrm>
            <a:custGeom>
              <a:avLst/>
              <a:gdLst>
                <a:gd name="T0" fmla="*/ 428 w 428"/>
                <a:gd name="T1" fmla="*/ 578 h 578"/>
                <a:gd name="T2" fmla="*/ 425 w 428"/>
                <a:gd name="T3" fmla="*/ 236 h 578"/>
                <a:gd name="T4" fmla="*/ 0 w 428"/>
                <a:gd name="T5" fmla="*/ 236 h 578"/>
                <a:gd name="T6" fmla="*/ 0 w 428"/>
                <a:gd name="T7" fmla="*/ 0 h 578"/>
              </a:gdLst>
              <a:ahLst/>
              <a:cxnLst>
                <a:cxn ang="0">
                  <a:pos x="T0" y="T1"/>
                </a:cxn>
                <a:cxn ang="0">
                  <a:pos x="T2" y="T3"/>
                </a:cxn>
                <a:cxn ang="0">
                  <a:pos x="T4" y="T5"/>
                </a:cxn>
                <a:cxn ang="0">
                  <a:pos x="T6" y="T7"/>
                </a:cxn>
              </a:cxnLst>
              <a:rect l="0" t="0" r="r" b="b"/>
              <a:pathLst>
                <a:path w="428" h="578">
                  <a:moveTo>
                    <a:pt x="428" y="578"/>
                  </a:moveTo>
                  <a:lnTo>
                    <a:pt x="425" y="236"/>
                  </a:lnTo>
                  <a:lnTo>
                    <a:pt x="0" y="236"/>
                  </a:lnTo>
                  <a:lnTo>
                    <a:pt x="0" y="0"/>
                  </a:lnTo>
                </a:path>
              </a:pathLst>
            </a:custGeom>
            <a:noFill/>
            <a:ln w="19050" cap="flat">
              <a:solidFill>
                <a:srgbClr val="75787B"/>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Line 16">
              <a:extLst>
                <a:ext uri="{FF2B5EF4-FFF2-40B4-BE49-F238E27FC236}">
                  <a16:creationId xmlns:a16="http://schemas.microsoft.com/office/drawing/2014/main" id="{BBEEBBE1-14A9-40BA-97D0-76809959388C}"/>
                </a:ext>
              </a:extLst>
            </p:cNvPr>
            <p:cNvSpPr>
              <a:spLocks noChangeShapeType="1"/>
            </p:cNvSpPr>
            <p:nvPr/>
          </p:nvSpPr>
          <p:spPr bwMode="auto">
            <a:xfrm flipV="1">
              <a:off x="4438752" y="2324392"/>
              <a:ext cx="15290" cy="611586"/>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 name="Line 17">
              <a:extLst>
                <a:ext uri="{FF2B5EF4-FFF2-40B4-BE49-F238E27FC236}">
                  <a16:creationId xmlns:a16="http://schemas.microsoft.com/office/drawing/2014/main" id="{51A9BAA9-6BD2-4DB7-981A-C80A115B9992}"/>
                </a:ext>
              </a:extLst>
            </p:cNvPr>
            <p:cNvSpPr>
              <a:spLocks noChangeShapeType="1"/>
            </p:cNvSpPr>
            <p:nvPr/>
          </p:nvSpPr>
          <p:spPr bwMode="auto">
            <a:xfrm flipH="1" flipV="1">
              <a:off x="3978151" y="2796459"/>
              <a:ext cx="263746" cy="252279"/>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Line 18">
              <a:extLst>
                <a:ext uri="{FF2B5EF4-FFF2-40B4-BE49-F238E27FC236}">
                  <a16:creationId xmlns:a16="http://schemas.microsoft.com/office/drawing/2014/main" id="{822EE904-1A1C-40A7-8D10-19EFE79E4B68}"/>
                </a:ext>
              </a:extLst>
            </p:cNvPr>
            <p:cNvSpPr>
              <a:spLocks noChangeShapeType="1"/>
            </p:cNvSpPr>
            <p:nvPr/>
          </p:nvSpPr>
          <p:spPr bwMode="auto">
            <a:xfrm flipV="1">
              <a:off x="4679563" y="2796459"/>
              <a:ext cx="254191" cy="248457"/>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Freeform 19">
              <a:extLst>
                <a:ext uri="{FF2B5EF4-FFF2-40B4-BE49-F238E27FC236}">
                  <a16:creationId xmlns:a16="http://schemas.microsoft.com/office/drawing/2014/main" id="{13EDD7C6-BEB9-446D-AE34-FB39E20B06E9}"/>
                </a:ext>
              </a:extLst>
            </p:cNvPr>
            <p:cNvSpPr>
              <a:spLocks/>
            </p:cNvSpPr>
            <p:nvPr/>
          </p:nvSpPr>
          <p:spPr bwMode="auto">
            <a:xfrm flipH="1">
              <a:off x="3746896" y="4172527"/>
              <a:ext cx="1116144" cy="523670"/>
            </a:xfrm>
            <a:custGeom>
              <a:avLst/>
              <a:gdLst>
                <a:gd name="T0" fmla="*/ 584 w 584"/>
                <a:gd name="T1" fmla="*/ 274 h 274"/>
                <a:gd name="T2" fmla="*/ 582 w 584"/>
                <a:gd name="T3" fmla="*/ 0 h 274"/>
                <a:gd name="T4" fmla="*/ 0 w 584"/>
                <a:gd name="T5" fmla="*/ 0 h 274"/>
              </a:gdLst>
              <a:ahLst/>
              <a:cxnLst>
                <a:cxn ang="0">
                  <a:pos x="T0" y="T1"/>
                </a:cxn>
                <a:cxn ang="0">
                  <a:pos x="T2" y="T3"/>
                </a:cxn>
                <a:cxn ang="0">
                  <a:pos x="T4" y="T5"/>
                </a:cxn>
              </a:cxnLst>
              <a:rect l="0" t="0" r="r" b="b"/>
              <a:pathLst>
                <a:path w="584" h="274">
                  <a:moveTo>
                    <a:pt x="584" y="274"/>
                  </a:moveTo>
                  <a:lnTo>
                    <a:pt x="582" y="0"/>
                  </a:lnTo>
                  <a:lnTo>
                    <a:pt x="0" y="0"/>
                  </a:lnTo>
                </a:path>
              </a:pathLst>
            </a:custGeom>
            <a:noFill/>
            <a:ln w="19050" cap="flat">
              <a:solidFill>
                <a:srgbClr val="75787B"/>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Line 20">
              <a:extLst>
                <a:ext uri="{FF2B5EF4-FFF2-40B4-BE49-F238E27FC236}">
                  <a16:creationId xmlns:a16="http://schemas.microsoft.com/office/drawing/2014/main" id="{C2B985F7-6DC4-4CA5-BCCE-1A72DD0C8FF2}"/>
                </a:ext>
              </a:extLst>
            </p:cNvPr>
            <p:cNvSpPr>
              <a:spLocks noChangeShapeType="1"/>
            </p:cNvSpPr>
            <p:nvPr/>
          </p:nvSpPr>
          <p:spPr bwMode="auto">
            <a:xfrm flipV="1">
              <a:off x="5546712" y="4180171"/>
              <a:ext cx="738266" cy="6236"/>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 name="Line 21">
              <a:extLst>
                <a:ext uri="{FF2B5EF4-FFF2-40B4-BE49-F238E27FC236}">
                  <a16:creationId xmlns:a16="http://schemas.microsoft.com/office/drawing/2014/main" id="{465A4AF4-6DB8-4F85-9FAB-423B04D86932}"/>
                </a:ext>
              </a:extLst>
            </p:cNvPr>
            <p:cNvSpPr>
              <a:spLocks noChangeShapeType="1"/>
            </p:cNvSpPr>
            <p:nvPr/>
          </p:nvSpPr>
          <p:spPr bwMode="auto">
            <a:xfrm flipV="1">
              <a:off x="5226168" y="3438624"/>
              <a:ext cx="441489" cy="451045"/>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3" name="Line 22">
              <a:extLst>
                <a:ext uri="{FF2B5EF4-FFF2-40B4-BE49-F238E27FC236}">
                  <a16:creationId xmlns:a16="http://schemas.microsoft.com/office/drawing/2014/main" id="{BC32F450-E1ED-4B76-AEB2-FBD7A4756F4E}"/>
                </a:ext>
              </a:extLst>
            </p:cNvPr>
            <p:cNvSpPr>
              <a:spLocks noChangeShapeType="1"/>
            </p:cNvSpPr>
            <p:nvPr/>
          </p:nvSpPr>
          <p:spPr bwMode="auto">
            <a:xfrm>
              <a:off x="5229992" y="4491699"/>
              <a:ext cx="412820" cy="372684"/>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4" name="Line 23">
              <a:extLst>
                <a:ext uri="{FF2B5EF4-FFF2-40B4-BE49-F238E27FC236}">
                  <a16:creationId xmlns:a16="http://schemas.microsoft.com/office/drawing/2014/main" id="{C5A0C63C-2346-401A-A7E4-3963D64CE5F5}"/>
                </a:ext>
              </a:extLst>
            </p:cNvPr>
            <p:cNvSpPr>
              <a:spLocks noChangeShapeType="1"/>
            </p:cNvSpPr>
            <p:nvPr/>
          </p:nvSpPr>
          <p:spPr bwMode="auto">
            <a:xfrm flipV="1">
              <a:off x="6051810" y="2712366"/>
              <a:ext cx="393708" cy="403264"/>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5" name="Group 146">
            <a:extLst>
              <a:ext uri="{FF2B5EF4-FFF2-40B4-BE49-F238E27FC236}">
                <a16:creationId xmlns:a16="http://schemas.microsoft.com/office/drawing/2014/main" id="{C94AA2AC-39F8-4654-B5B4-16DEFB66A243}"/>
              </a:ext>
            </a:extLst>
          </p:cNvPr>
          <p:cNvGrpSpPr/>
          <p:nvPr/>
        </p:nvGrpSpPr>
        <p:grpSpPr>
          <a:xfrm>
            <a:off x="4933754" y="1735293"/>
            <a:ext cx="612957" cy="498780"/>
            <a:chOff x="1550139" y="1314466"/>
            <a:chExt cx="509139" cy="414300"/>
          </a:xfrm>
          <a:solidFill>
            <a:srgbClr val="00A3E0"/>
          </a:solidFill>
        </p:grpSpPr>
        <p:sp>
          <p:nvSpPr>
            <p:cNvPr id="26" name="Freeform 5">
              <a:extLst>
                <a:ext uri="{FF2B5EF4-FFF2-40B4-BE49-F238E27FC236}">
                  <a16:creationId xmlns:a16="http://schemas.microsoft.com/office/drawing/2014/main" id="{F992FDB5-672C-457C-B9C1-6B7CDA1E9F8F}"/>
                </a:ext>
              </a:extLst>
            </p:cNvPr>
            <p:cNvSpPr>
              <a:spLocks noEditPoints="1"/>
            </p:cNvSpPr>
            <p:nvPr/>
          </p:nvSpPr>
          <p:spPr bwMode="auto">
            <a:xfrm>
              <a:off x="1550139" y="1314466"/>
              <a:ext cx="509139" cy="414300"/>
            </a:xfrm>
            <a:custGeom>
              <a:avLst/>
              <a:gdLst>
                <a:gd name="T0" fmla="*/ 78 w 153"/>
                <a:gd name="T1" fmla="*/ 0 h 125"/>
                <a:gd name="T2" fmla="*/ 0 w 153"/>
                <a:gd name="T3" fmla="*/ 69 h 125"/>
                <a:gd name="T4" fmla="*/ 15 w 153"/>
                <a:gd name="T5" fmla="*/ 69 h 125"/>
                <a:gd name="T6" fmla="*/ 21 w 153"/>
                <a:gd name="T7" fmla="*/ 64 h 125"/>
                <a:gd name="T8" fmla="*/ 21 w 153"/>
                <a:gd name="T9" fmla="*/ 121 h 125"/>
                <a:gd name="T10" fmla="*/ 24 w 153"/>
                <a:gd name="T11" fmla="*/ 125 h 125"/>
                <a:gd name="T12" fmla="*/ 62 w 153"/>
                <a:gd name="T13" fmla="*/ 125 h 125"/>
                <a:gd name="T14" fmla="*/ 63 w 153"/>
                <a:gd name="T15" fmla="*/ 93 h 125"/>
                <a:gd name="T16" fmla="*/ 67 w 153"/>
                <a:gd name="T17" fmla="*/ 88 h 125"/>
                <a:gd name="T18" fmla="*/ 83 w 153"/>
                <a:gd name="T19" fmla="*/ 88 h 125"/>
                <a:gd name="T20" fmla="*/ 89 w 153"/>
                <a:gd name="T21" fmla="*/ 93 h 125"/>
                <a:gd name="T22" fmla="*/ 89 w 153"/>
                <a:gd name="T23" fmla="*/ 125 h 125"/>
                <a:gd name="T24" fmla="*/ 126 w 153"/>
                <a:gd name="T25" fmla="*/ 125 h 125"/>
                <a:gd name="T26" fmla="*/ 130 w 153"/>
                <a:gd name="T27" fmla="*/ 120 h 125"/>
                <a:gd name="T28" fmla="*/ 130 w 153"/>
                <a:gd name="T29" fmla="*/ 63 h 125"/>
                <a:gd name="T30" fmla="*/ 136 w 153"/>
                <a:gd name="T31" fmla="*/ 69 h 125"/>
                <a:gd name="T32" fmla="*/ 153 w 153"/>
                <a:gd name="T33" fmla="*/ 69 h 125"/>
                <a:gd name="T34" fmla="*/ 78 w 153"/>
                <a:gd name="T35" fmla="*/ 0 h 125"/>
                <a:gd name="T36" fmla="*/ 76 w 153"/>
                <a:gd name="T37" fmla="*/ 76 h 125"/>
                <a:gd name="T38" fmla="*/ 60 w 153"/>
                <a:gd name="T39" fmla="*/ 60 h 125"/>
                <a:gd name="T40" fmla="*/ 76 w 153"/>
                <a:gd name="T41" fmla="*/ 43 h 125"/>
                <a:gd name="T42" fmla="*/ 92 w 153"/>
                <a:gd name="T43" fmla="*/ 60 h 125"/>
                <a:gd name="T44" fmla="*/ 76 w 153"/>
                <a:gd name="T45" fmla="*/ 7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 h="125">
                  <a:moveTo>
                    <a:pt x="78" y="0"/>
                  </a:moveTo>
                  <a:cubicBezTo>
                    <a:pt x="0" y="69"/>
                    <a:pt x="0" y="69"/>
                    <a:pt x="0" y="69"/>
                  </a:cubicBezTo>
                  <a:cubicBezTo>
                    <a:pt x="0" y="69"/>
                    <a:pt x="5" y="78"/>
                    <a:pt x="15" y="69"/>
                  </a:cubicBezTo>
                  <a:cubicBezTo>
                    <a:pt x="21" y="64"/>
                    <a:pt x="21" y="64"/>
                    <a:pt x="21" y="64"/>
                  </a:cubicBezTo>
                  <a:cubicBezTo>
                    <a:pt x="21" y="121"/>
                    <a:pt x="21" y="121"/>
                    <a:pt x="21" y="121"/>
                  </a:cubicBezTo>
                  <a:cubicBezTo>
                    <a:pt x="21" y="121"/>
                    <a:pt x="21" y="125"/>
                    <a:pt x="24" y="125"/>
                  </a:cubicBezTo>
                  <a:cubicBezTo>
                    <a:pt x="28" y="125"/>
                    <a:pt x="62" y="125"/>
                    <a:pt x="62" y="125"/>
                  </a:cubicBezTo>
                  <a:cubicBezTo>
                    <a:pt x="63" y="93"/>
                    <a:pt x="63" y="93"/>
                    <a:pt x="63" y="93"/>
                  </a:cubicBezTo>
                  <a:cubicBezTo>
                    <a:pt x="63" y="93"/>
                    <a:pt x="62" y="88"/>
                    <a:pt x="67" y="88"/>
                  </a:cubicBezTo>
                  <a:cubicBezTo>
                    <a:pt x="83" y="88"/>
                    <a:pt x="83" y="88"/>
                    <a:pt x="83" y="88"/>
                  </a:cubicBezTo>
                  <a:cubicBezTo>
                    <a:pt x="89" y="88"/>
                    <a:pt x="89" y="93"/>
                    <a:pt x="89" y="93"/>
                  </a:cubicBezTo>
                  <a:cubicBezTo>
                    <a:pt x="89" y="125"/>
                    <a:pt x="89" y="125"/>
                    <a:pt x="89" y="125"/>
                  </a:cubicBezTo>
                  <a:cubicBezTo>
                    <a:pt x="89" y="125"/>
                    <a:pt x="121" y="125"/>
                    <a:pt x="126" y="125"/>
                  </a:cubicBezTo>
                  <a:cubicBezTo>
                    <a:pt x="131" y="125"/>
                    <a:pt x="130" y="120"/>
                    <a:pt x="130" y="120"/>
                  </a:cubicBezTo>
                  <a:cubicBezTo>
                    <a:pt x="130" y="63"/>
                    <a:pt x="130" y="63"/>
                    <a:pt x="130" y="63"/>
                  </a:cubicBezTo>
                  <a:cubicBezTo>
                    <a:pt x="136" y="69"/>
                    <a:pt x="136" y="69"/>
                    <a:pt x="136" y="69"/>
                  </a:cubicBezTo>
                  <a:cubicBezTo>
                    <a:pt x="148" y="77"/>
                    <a:pt x="153" y="69"/>
                    <a:pt x="153" y="69"/>
                  </a:cubicBezTo>
                  <a:lnTo>
                    <a:pt x="78" y="0"/>
                  </a:lnTo>
                  <a:close/>
                  <a:moveTo>
                    <a:pt x="76" y="76"/>
                  </a:moveTo>
                  <a:cubicBezTo>
                    <a:pt x="67" y="76"/>
                    <a:pt x="60" y="69"/>
                    <a:pt x="60" y="60"/>
                  </a:cubicBezTo>
                  <a:cubicBezTo>
                    <a:pt x="60" y="50"/>
                    <a:pt x="67" y="43"/>
                    <a:pt x="76" y="43"/>
                  </a:cubicBezTo>
                  <a:cubicBezTo>
                    <a:pt x="85" y="43"/>
                    <a:pt x="92" y="50"/>
                    <a:pt x="92" y="60"/>
                  </a:cubicBezTo>
                  <a:cubicBezTo>
                    <a:pt x="92" y="69"/>
                    <a:pt x="85" y="76"/>
                    <a:pt x="76"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Freeform 6">
              <a:extLst>
                <a:ext uri="{FF2B5EF4-FFF2-40B4-BE49-F238E27FC236}">
                  <a16:creationId xmlns:a16="http://schemas.microsoft.com/office/drawing/2014/main" id="{E0002F16-541C-4A2F-8982-836AAAA34098}"/>
                </a:ext>
              </a:extLst>
            </p:cNvPr>
            <p:cNvSpPr>
              <a:spLocks/>
            </p:cNvSpPr>
            <p:nvPr/>
          </p:nvSpPr>
          <p:spPr bwMode="auto">
            <a:xfrm>
              <a:off x="1949464" y="1366877"/>
              <a:ext cx="49916" cy="102328"/>
            </a:xfrm>
            <a:custGeom>
              <a:avLst/>
              <a:gdLst>
                <a:gd name="T0" fmla="*/ 20 w 20"/>
                <a:gd name="T1" fmla="*/ 41 h 41"/>
                <a:gd name="T2" fmla="*/ 20 w 20"/>
                <a:gd name="T3" fmla="*/ 0 h 41"/>
                <a:gd name="T4" fmla="*/ 0 w 20"/>
                <a:gd name="T5" fmla="*/ 0 h 41"/>
                <a:gd name="T6" fmla="*/ 0 w 20"/>
                <a:gd name="T7" fmla="*/ 24 h 41"/>
                <a:gd name="T8" fmla="*/ 20 w 20"/>
                <a:gd name="T9" fmla="*/ 41 h 41"/>
              </a:gdLst>
              <a:ahLst/>
              <a:cxnLst>
                <a:cxn ang="0">
                  <a:pos x="T0" y="T1"/>
                </a:cxn>
                <a:cxn ang="0">
                  <a:pos x="T2" y="T3"/>
                </a:cxn>
                <a:cxn ang="0">
                  <a:pos x="T4" y="T5"/>
                </a:cxn>
                <a:cxn ang="0">
                  <a:pos x="T6" y="T7"/>
                </a:cxn>
                <a:cxn ang="0">
                  <a:pos x="T8" y="T9"/>
                </a:cxn>
              </a:cxnLst>
              <a:rect l="0" t="0" r="r" b="b"/>
              <a:pathLst>
                <a:path w="20" h="41">
                  <a:moveTo>
                    <a:pt x="20" y="41"/>
                  </a:moveTo>
                  <a:lnTo>
                    <a:pt x="20" y="0"/>
                  </a:lnTo>
                  <a:lnTo>
                    <a:pt x="0" y="0"/>
                  </a:lnTo>
                  <a:lnTo>
                    <a:pt x="0" y="24"/>
                  </a:lnTo>
                  <a:lnTo>
                    <a:pt x="2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Oval 7">
              <a:extLst>
                <a:ext uri="{FF2B5EF4-FFF2-40B4-BE49-F238E27FC236}">
                  <a16:creationId xmlns:a16="http://schemas.microsoft.com/office/drawing/2014/main" id="{24696201-2AE5-4FFA-9C37-BB1DE6AC5121}"/>
                </a:ext>
              </a:extLst>
            </p:cNvPr>
            <p:cNvSpPr>
              <a:spLocks noChangeArrowheads="1"/>
            </p:cNvSpPr>
            <p:nvPr/>
          </p:nvSpPr>
          <p:spPr bwMode="auto">
            <a:xfrm>
              <a:off x="1777255" y="1484179"/>
              <a:ext cx="52412" cy="5490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9" name="Group 150">
            <a:extLst>
              <a:ext uri="{FF2B5EF4-FFF2-40B4-BE49-F238E27FC236}">
                <a16:creationId xmlns:a16="http://schemas.microsoft.com/office/drawing/2014/main" id="{22E52525-B94A-4B8B-90B4-062F30CDAF26}"/>
              </a:ext>
            </a:extLst>
          </p:cNvPr>
          <p:cNvGrpSpPr/>
          <p:nvPr/>
        </p:nvGrpSpPr>
        <p:grpSpPr>
          <a:xfrm>
            <a:off x="6248664" y="3512830"/>
            <a:ext cx="522819" cy="519813"/>
            <a:chOff x="2306360" y="1306978"/>
            <a:chExt cx="434268" cy="431771"/>
          </a:xfrm>
          <a:solidFill>
            <a:srgbClr val="00ABAB"/>
          </a:solidFill>
        </p:grpSpPr>
        <p:sp>
          <p:nvSpPr>
            <p:cNvPr id="30" name="Freeform 8">
              <a:extLst>
                <a:ext uri="{FF2B5EF4-FFF2-40B4-BE49-F238E27FC236}">
                  <a16:creationId xmlns:a16="http://schemas.microsoft.com/office/drawing/2014/main" id="{A0713FD1-7200-4457-81D6-2AF605774C2A}"/>
                </a:ext>
              </a:extLst>
            </p:cNvPr>
            <p:cNvSpPr>
              <a:spLocks/>
            </p:cNvSpPr>
            <p:nvPr/>
          </p:nvSpPr>
          <p:spPr bwMode="auto">
            <a:xfrm>
              <a:off x="2306360" y="1623943"/>
              <a:ext cx="114806" cy="114806"/>
            </a:xfrm>
            <a:custGeom>
              <a:avLst/>
              <a:gdLst>
                <a:gd name="T0" fmla="*/ 21 w 46"/>
                <a:gd name="T1" fmla="*/ 0 h 46"/>
                <a:gd name="T2" fmla="*/ 0 w 46"/>
                <a:gd name="T3" fmla="*/ 46 h 46"/>
                <a:gd name="T4" fmla="*/ 46 w 46"/>
                <a:gd name="T5" fmla="*/ 25 h 46"/>
                <a:gd name="T6" fmla="*/ 46 w 46"/>
                <a:gd name="T7" fmla="*/ 26 h 46"/>
                <a:gd name="T8" fmla="*/ 21 w 46"/>
                <a:gd name="T9" fmla="*/ 0 h 46"/>
                <a:gd name="T10" fmla="*/ 21 w 46"/>
                <a:gd name="T11" fmla="*/ 0 h 46"/>
              </a:gdLst>
              <a:ahLst/>
              <a:cxnLst>
                <a:cxn ang="0">
                  <a:pos x="T0" y="T1"/>
                </a:cxn>
                <a:cxn ang="0">
                  <a:pos x="T2" y="T3"/>
                </a:cxn>
                <a:cxn ang="0">
                  <a:pos x="T4" y="T5"/>
                </a:cxn>
                <a:cxn ang="0">
                  <a:pos x="T6" y="T7"/>
                </a:cxn>
                <a:cxn ang="0">
                  <a:pos x="T8" y="T9"/>
                </a:cxn>
                <a:cxn ang="0">
                  <a:pos x="T10" y="T11"/>
                </a:cxn>
              </a:cxnLst>
              <a:rect l="0" t="0" r="r" b="b"/>
              <a:pathLst>
                <a:path w="46" h="46">
                  <a:moveTo>
                    <a:pt x="21" y="0"/>
                  </a:moveTo>
                  <a:lnTo>
                    <a:pt x="0" y="46"/>
                  </a:lnTo>
                  <a:lnTo>
                    <a:pt x="46" y="25"/>
                  </a:lnTo>
                  <a:lnTo>
                    <a:pt x="46" y="26"/>
                  </a:lnTo>
                  <a:lnTo>
                    <a:pt x="21"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Freeform 9">
              <a:extLst>
                <a:ext uri="{FF2B5EF4-FFF2-40B4-BE49-F238E27FC236}">
                  <a16:creationId xmlns:a16="http://schemas.microsoft.com/office/drawing/2014/main" id="{CCF442D4-B58F-4F22-8FB4-86A1DDAEDB9A}"/>
                </a:ext>
              </a:extLst>
            </p:cNvPr>
            <p:cNvSpPr>
              <a:spLocks/>
            </p:cNvSpPr>
            <p:nvPr/>
          </p:nvSpPr>
          <p:spPr bwMode="auto">
            <a:xfrm>
              <a:off x="2371251" y="1344415"/>
              <a:ext cx="289511" cy="292007"/>
            </a:xfrm>
            <a:custGeom>
              <a:avLst/>
              <a:gdLst>
                <a:gd name="T0" fmla="*/ 105 w 116"/>
                <a:gd name="T1" fmla="*/ 0 h 117"/>
                <a:gd name="T2" fmla="*/ 0 w 116"/>
                <a:gd name="T3" fmla="*/ 106 h 117"/>
                <a:gd name="T4" fmla="*/ 11 w 116"/>
                <a:gd name="T5" fmla="*/ 117 h 117"/>
                <a:gd name="T6" fmla="*/ 116 w 116"/>
                <a:gd name="T7" fmla="*/ 10 h 117"/>
                <a:gd name="T8" fmla="*/ 105 w 116"/>
                <a:gd name="T9" fmla="*/ 0 h 117"/>
              </a:gdLst>
              <a:ahLst/>
              <a:cxnLst>
                <a:cxn ang="0">
                  <a:pos x="T0" y="T1"/>
                </a:cxn>
                <a:cxn ang="0">
                  <a:pos x="T2" y="T3"/>
                </a:cxn>
                <a:cxn ang="0">
                  <a:pos x="T4" y="T5"/>
                </a:cxn>
                <a:cxn ang="0">
                  <a:pos x="T6" y="T7"/>
                </a:cxn>
                <a:cxn ang="0">
                  <a:pos x="T8" y="T9"/>
                </a:cxn>
              </a:cxnLst>
              <a:rect l="0" t="0" r="r" b="b"/>
              <a:pathLst>
                <a:path w="116" h="117">
                  <a:moveTo>
                    <a:pt x="105" y="0"/>
                  </a:moveTo>
                  <a:lnTo>
                    <a:pt x="0" y="106"/>
                  </a:lnTo>
                  <a:lnTo>
                    <a:pt x="11" y="117"/>
                  </a:lnTo>
                  <a:lnTo>
                    <a:pt x="116" y="1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Freeform 10">
              <a:extLst>
                <a:ext uri="{FF2B5EF4-FFF2-40B4-BE49-F238E27FC236}">
                  <a16:creationId xmlns:a16="http://schemas.microsoft.com/office/drawing/2014/main" id="{92B40B39-53DC-4FE0-9D0D-FBF2394051E4}"/>
                </a:ext>
              </a:extLst>
            </p:cNvPr>
            <p:cNvSpPr>
              <a:spLocks/>
            </p:cNvSpPr>
            <p:nvPr/>
          </p:nvSpPr>
          <p:spPr bwMode="auto">
            <a:xfrm>
              <a:off x="2411183" y="1384348"/>
              <a:ext cx="289511" cy="292007"/>
            </a:xfrm>
            <a:custGeom>
              <a:avLst/>
              <a:gdLst>
                <a:gd name="T0" fmla="*/ 107 w 116"/>
                <a:gd name="T1" fmla="*/ 0 h 117"/>
                <a:gd name="T2" fmla="*/ 0 w 116"/>
                <a:gd name="T3" fmla="*/ 106 h 117"/>
                <a:gd name="T4" fmla="*/ 11 w 116"/>
                <a:gd name="T5" fmla="*/ 117 h 117"/>
                <a:gd name="T6" fmla="*/ 116 w 116"/>
                <a:gd name="T7" fmla="*/ 10 h 117"/>
                <a:gd name="T8" fmla="*/ 107 w 116"/>
                <a:gd name="T9" fmla="*/ 0 h 117"/>
              </a:gdLst>
              <a:ahLst/>
              <a:cxnLst>
                <a:cxn ang="0">
                  <a:pos x="T0" y="T1"/>
                </a:cxn>
                <a:cxn ang="0">
                  <a:pos x="T2" y="T3"/>
                </a:cxn>
                <a:cxn ang="0">
                  <a:pos x="T4" y="T5"/>
                </a:cxn>
                <a:cxn ang="0">
                  <a:pos x="T6" y="T7"/>
                </a:cxn>
                <a:cxn ang="0">
                  <a:pos x="T8" y="T9"/>
                </a:cxn>
              </a:cxnLst>
              <a:rect l="0" t="0" r="r" b="b"/>
              <a:pathLst>
                <a:path w="116" h="117">
                  <a:moveTo>
                    <a:pt x="107" y="0"/>
                  </a:moveTo>
                  <a:lnTo>
                    <a:pt x="0" y="106"/>
                  </a:lnTo>
                  <a:lnTo>
                    <a:pt x="11" y="117"/>
                  </a:lnTo>
                  <a:lnTo>
                    <a:pt x="116" y="10"/>
                  </a:lnTo>
                  <a:lnTo>
                    <a:pt x="1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Freeform 11">
              <a:extLst>
                <a:ext uri="{FF2B5EF4-FFF2-40B4-BE49-F238E27FC236}">
                  <a16:creationId xmlns:a16="http://schemas.microsoft.com/office/drawing/2014/main" id="{4478764F-20EC-40E7-AB67-77716A7A7DAE}"/>
                </a:ext>
              </a:extLst>
            </p:cNvPr>
            <p:cNvSpPr>
              <a:spLocks/>
            </p:cNvSpPr>
            <p:nvPr/>
          </p:nvSpPr>
          <p:spPr bwMode="auto">
            <a:xfrm>
              <a:off x="2653275" y="1306978"/>
              <a:ext cx="87353" cy="87353"/>
            </a:xfrm>
            <a:custGeom>
              <a:avLst/>
              <a:gdLst>
                <a:gd name="T0" fmla="*/ 17 w 26"/>
                <a:gd name="T1" fmla="*/ 8 h 26"/>
                <a:gd name="T2" fmla="*/ 0 w 26"/>
                <a:gd name="T3" fmla="*/ 7 h 26"/>
                <a:gd name="T4" fmla="*/ 19 w 26"/>
                <a:gd name="T5" fmla="*/ 26 h 26"/>
                <a:gd name="T6" fmla="*/ 17 w 26"/>
                <a:gd name="T7" fmla="*/ 8 h 26"/>
              </a:gdLst>
              <a:ahLst/>
              <a:cxnLst>
                <a:cxn ang="0">
                  <a:pos x="T0" y="T1"/>
                </a:cxn>
                <a:cxn ang="0">
                  <a:pos x="T2" y="T3"/>
                </a:cxn>
                <a:cxn ang="0">
                  <a:pos x="T4" y="T5"/>
                </a:cxn>
                <a:cxn ang="0">
                  <a:pos x="T6" y="T7"/>
                </a:cxn>
              </a:cxnLst>
              <a:rect l="0" t="0" r="r" b="b"/>
              <a:pathLst>
                <a:path w="26" h="26">
                  <a:moveTo>
                    <a:pt x="17" y="8"/>
                  </a:moveTo>
                  <a:cubicBezTo>
                    <a:pt x="9" y="0"/>
                    <a:pt x="0" y="7"/>
                    <a:pt x="0" y="7"/>
                  </a:cubicBezTo>
                  <a:cubicBezTo>
                    <a:pt x="19" y="26"/>
                    <a:pt x="19" y="26"/>
                    <a:pt x="19" y="26"/>
                  </a:cubicBezTo>
                  <a:cubicBezTo>
                    <a:pt x="19" y="26"/>
                    <a:pt x="26" y="17"/>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34" name="Group 162">
            <a:extLst>
              <a:ext uri="{FF2B5EF4-FFF2-40B4-BE49-F238E27FC236}">
                <a16:creationId xmlns:a16="http://schemas.microsoft.com/office/drawing/2014/main" id="{E1DE6BAC-02E5-4A68-A3C2-C37CB4FB537F}"/>
              </a:ext>
            </a:extLst>
          </p:cNvPr>
          <p:cNvGrpSpPr/>
          <p:nvPr/>
        </p:nvGrpSpPr>
        <p:grpSpPr>
          <a:xfrm>
            <a:off x="2238962" y="1641768"/>
            <a:ext cx="561879" cy="399623"/>
            <a:chOff x="4362884" y="1304483"/>
            <a:chExt cx="466712" cy="331938"/>
          </a:xfrm>
          <a:solidFill>
            <a:srgbClr val="00A3E0"/>
          </a:solidFill>
        </p:grpSpPr>
        <p:sp>
          <p:nvSpPr>
            <p:cNvPr id="35" name="Freeform 32">
              <a:extLst>
                <a:ext uri="{FF2B5EF4-FFF2-40B4-BE49-F238E27FC236}">
                  <a16:creationId xmlns:a16="http://schemas.microsoft.com/office/drawing/2014/main" id="{E9EB2FFB-5D1E-4AEC-88AB-565152A346D3}"/>
                </a:ext>
              </a:extLst>
            </p:cNvPr>
            <p:cNvSpPr>
              <a:spLocks/>
            </p:cNvSpPr>
            <p:nvPr/>
          </p:nvSpPr>
          <p:spPr bwMode="auto">
            <a:xfrm>
              <a:off x="4362884" y="1366877"/>
              <a:ext cx="466712" cy="269544"/>
            </a:xfrm>
            <a:custGeom>
              <a:avLst/>
              <a:gdLst>
                <a:gd name="T0" fmla="*/ 0 w 187"/>
                <a:gd name="T1" fmla="*/ 0 h 108"/>
                <a:gd name="T2" fmla="*/ 0 w 187"/>
                <a:gd name="T3" fmla="*/ 108 h 108"/>
                <a:gd name="T4" fmla="*/ 187 w 187"/>
                <a:gd name="T5" fmla="*/ 108 h 108"/>
                <a:gd name="T6" fmla="*/ 187 w 187"/>
                <a:gd name="T7" fmla="*/ 0 h 108"/>
                <a:gd name="T8" fmla="*/ 94 w 187"/>
                <a:gd name="T9" fmla="*/ 67 h 108"/>
                <a:gd name="T10" fmla="*/ 0 w 187"/>
                <a:gd name="T11" fmla="*/ 0 h 108"/>
              </a:gdLst>
              <a:ahLst/>
              <a:cxnLst>
                <a:cxn ang="0">
                  <a:pos x="T0" y="T1"/>
                </a:cxn>
                <a:cxn ang="0">
                  <a:pos x="T2" y="T3"/>
                </a:cxn>
                <a:cxn ang="0">
                  <a:pos x="T4" y="T5"/>
                </a:cxn>
                <a:cxn ang="0">
                  <a:pos x="T6" y="T7"/>
                </a:cxn>
                <a:cxn ang="0">
                  <a:pos x="T8" y="T9"/>
                </a:cxn>
                <a:cxn ang="0">
                  <a:pos x="T10" y="T11"/>
                </a:cxn>
              </a:cxnLst>
              <a:rect l="0" t="0" r="r" b="b"/>
              <a:pathLst>
                <a:path w="187" h="108">
                  <a:moveTo>
                    <a:pt x="0" y="0"/>
                  </a:moveTo>
                  <a:lnTo>
                    <a:pt x="0" y="108"/>
                  </a:lnTo>
                  <a:lnTo>
                    <a:pt x="187" y="108"/>
                  </a:lnTo>
                  <a:lnTo>
                    <a:pt x="187" y="0"/>
                  </a:lnTo>
                  <a:lnTo>
                    <a:pt x="94" y="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6" name="Freeform 33">
              <a:extLst>
                <a:ext uri="{FF2B5EF4-FFF2-40B4-BE49-F238E27FC236}">
                  <a16:creationId xmlns:a16="http://schemas.microsoft.com/office/drawing/2014/main" id="{1F696ED3-284A-44A0-975D-24F18C57E7D9}"/>
                </a:ext>
              </a:extLst>
            </p:cNvPr>
            <p:cNvSpPr>
              <a:spLocks/>
            </p:cNvSpPr>
            <p:nvPr/>
          </p:nvSpPr>
          <p:spPr bwMode="auto">
            <a:xfrm>
              <a:off x="4362884" y="1304483"/>
              <a:ext cx="466712" cy="192176"/>
            </a:xfrm>
            <a:custGeom>
              <a:avLst/>
              <a:gdLst>
                <a:gd name="T0" fmla="*/ 187 w 187"/>
                <a:gd name="T1" fmla="*/ 9 h 77"/>
                <a:gd name="T2" fmla="*/ 187 w 187"/>
                <a:gd name="T3" fmla="*/ 0 h 77"/>
                <a:gd name="T4" fmla="*/ 0 w 187"/>
                <a:gd name="T5" fmla="*/ 0 h 77"/>
                <a:gd name="T6" fmla="*/ 0 w 187"/>
                <a:gd name="T7" fmla="*/ 10 h 77"/>
                <a:gd name="T8" fmla="*/ 94 w 187"/>
                <a:gd name="T9" fmla="*/ 77 h 77"/>
                <a:gd name="T10" fmla="*/ 187 w 187"/>
                <a:gd name="T11" fmla="*/ 9 h 77"/>
              </a:gdLst>
              <a:ahLst/>
              <a:cxnLst>
                <a:cxn ang="0">
                  <a:pos x="T0" y="T1"/>
                </a:cxn>
                <a:cxn ang="0">
                  <a:pos x="T2" y="T3"/>
                </a:cxn>
                <a:cxn ang="0">
                  <a:pos x="T4" y="T5"/>
                </a:cxn>
                <a:cxn ang="0">
                  <a:pos x="T6" y="T7"/>
                </a:cxn>
                <a:cxn ang="0">
                  <a:pos x="T8" y="T9"/>
                </a:cxn>
                <a:cxn ang="0">
                  <a:pos x="T10" y="T11"/>
                </a:cxn>
              </a:cxnLst>
              <a:rect l="0" t="0" r="r" b="b"/>
              <a:pathLst>
                <a:path w="187" h="77">
                  <a:moveTo>
                    <a:pt x="187" y="9"/>
                  </a:moveTo>
                  <a:lnTo>
                    <a:pt x="187" y="0"/>
                  </a:lnTo>
                  <a:lnTo>
                    <a:pt x="0" y="0"/>
                  </a:lnTo>
                  <a:lnTo>
                    <a:pt x="0" y="10"/>
                  </a:lnTo>
                  <a:lnTo>
                    <a:pt x="94" y="77"/>
                  </a:lnTo>
                  <a:lnTo>
                    <a:pt x="18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7" name="Freeform 34">
            <a:extLst>
              <a:ext uri="{FF2B5EF4-FFF2-40B4-BE49-F238E27FC236}">
                <a16:creationId xmlns:a16="http://schemas.microsoft.com/office/drawing/2014/main" id="{19342057-256E-4976-88A4-405C2FC06263}"/>
              </a:ext>
            </a:extLst>
          </p:cNvPr>
          <p:cNvSpPr>
            <a:spLocks/>
          </p:cNvSpPr>
          <p:nvPr/>
        </p:nvSpPr>
        <p:spPr bwMode="auto">
          <a:xfrm>
            <a:off x="5627672" y="4380266"/>
            <a:ext cx="543850" cy="480751"/>
          </a:xfrm>
          <a:custGeom>
            <a:avLst/>
            <a:gdLst>
              <a:gd name="T0" fmla="*/ 136 w 136"/>
              <a:gd name="T1" fmla="*/ 48 h 120"/>
              <a:gd name="T2" fmla="*/ 68 w 136"/>
              <a:gd name="T3" fmla="*/ 0 h 120"/>
              <a:gd name="T4" fmla="*/ 0 w 136"/>
              <a:gd name="T5" fmla="*/ 48 h 120"/>
              <a:gd name="T6" fmla="*/ 37 w 136"/>
              <a:gd name="T7" fmla="*/ 91 h 120"/>
              <a:gd name="T8" fmla="*/ 22 w 136"/>
              <a:gd name="T9" fmla="*/ 120 h 120"/>
              <a:gd name="T10" fmla="*/ 73 w 136"/>
              <a:gd name="T11" fmla="*/ 96 h 120"/>
              <a:gd name="T12" fmla="*/ 136 w 13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36" h="120">
                <a:moveTo>
                  <a:pt x="136" y="48"/>
                </a:moveTo>
                <a:cubicBezTo>
                  <a:pt x="136" y="22"/>
                  <a:pt x="106" y="0"/>
                  <a:pt x="68" y="0"/>
                </a:cubicBezTo>
                <a:cubicBezTo>
                  <a:pt x="31" y="0"/>
                  <a:pt x="0" y="22"/>
                  <a:pt x="0" y="48"/>
                </a:cubicBezTo>
                <a:cubicBezTo>
                  <a:pt x="0" y="67"/>
                  <a:pt x="15" y="83"/>
                  <a:pt x="37" y="91"/>
                </a:cubicBezTo>
                <a:cubicBezTo>
                  <a:pt x="38" y="96"/>
                  <a:pt x="37" y="106"/>
                  <a:pt x="22" y="120"/>
                </a:cubicBezTo>
                <a:cubicBezTo>
                  <a:pt x="22" y="120"/>
                  <a:pt x="54" y="111"/>
                  <a:pt x="73" y="96"/>
                </a:cubicBezTo>
                <a:cubicBezTo>
                  <a:pt x="108" y="94"/>
                  <a:pt x="136" y="73"/>
                  <a:pt x="136" y="48"/>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 name="Freeform 45">
            <a:extLst>
              <a:ext uri="{FF2B5EF4-FFF2-40B4-BE49-F238E27FC236}">
                <a16:creationId xmlns:a16="http://schemas.microsoft.com/office/drawing/2014/main" id="{DD9CF6EA-28B5-473B-86C6-4BE6D49117D2}"/>
              </a:ext>
            </a:extLst>
          </p:cNvPr>
          <p:cNvSpPr>
            <a:spLocks noEditPoints="1"/>
          </p:cNvSpPr>
          <p:nvPr/>
        </p:nvSpPr>
        <p:spPr bwMode="auto">
          <a:xfrm>
            <a:off x="6545073" y="1760452"/>
            <a:ext cx="435681" cy="561879"/>
          </a:xfrm>
          <a:custGeom>
            <a:avLst/>
            <a:gdLst>
              <a:gd name="T0" fmla="*/ 104 w 109"/>
              <a:gd name="T1" fmla="*/ 67 h 141"/>
              <a:gd name="T2" fmla="*/ 96 w 109"/>
              <a:gd name="T3" fmla="*/ 67 h 141"/>
              <a:gd name="T4" fmla="*/ 96 w 109"/>
              <a:gd name="T5" fmla="*/ 44 h 141"/>
              <a:gd name="T6" fmla="*/ 84 w 109"/>
              <a:gd name="T7" fmla="*/ 13 h 141"/>
              <a:gd name="T8" fmla="*/ 55 w 109"/>
              <a:gd name="T9" fmla="*/ 0 h 141"/>
              <a:gd name="T10" fmla="*/ 25 w 109"/>
              <a:gd name="T11" fmla="*/ 13 h 141"/>
              <a:gd name="T12" fmla="*/ 13 w 109"/>
              <a:gd name="T13" fmla="*/ 44 h 141"/>
              <a:gd name="T14" fmla="*/ 13 w 109"/>
              <a:gd name="T15" fmla="*/ 67 h 141"/>
              <a:gd name="T16" fmla="*/ 6 w 109"/>
              <a:gd name="T17" fmla="*/ 67 h 141"/>
              <a:gd name="T18" fmla="*/ 0 w 109"/>
              <a:gd name="T19" fmla="*/ 73 h 141"/>
              <a:gd name="T20" fmla="*/ 0 w 109"/>
              <a:gd name="T21" fmla="*/ 136 h 141"/>
              <a:gd name="T22" fmla="*/ 6 w 109"/>
              <a:gd name="T23" fmla="*/ 141 h 141"/>
              <a:gd name="T24" fmla="*/ 104 w 109"/>
              <a:gd name="T25" fmla="*/ 141 h 141"/>
              <a:gd name="T26" fmla="*/ 109 w 109"/>
              <a:gd name="T27" fmla="*/ 136 h 141"/>
              <a:gd name="T28" fmla="*/ 109 w 109"/>
              <a:gd name="T29" fmla="*/ 73 h 141"/>
              <a:gd name="T30" fmla="*/ 104 w 109"/>
              <a:gd name="T31" fmla="*/ 67 h 141"/>
              <a:gd name="T32" fmla="*/ 67 w 109"/>
              <a:gd name="T33" fmla="*/ 124 h 141"/>
              <a:gd name="T34" fmla="*/ 55 w 109"/>
              <a:gd name="T35" fmla="*/ 136 h 141"/>
              <a:gd name="T36" fmla="*/ 43 w 109"/>
              <a:gd name="T37" fmla="*/ 124 h 141"/>
              <a:gd name="T38" fmla="*/ 43 w 109"/>
              <a:gd name="T39" fmla="*/ 102 h 141"/>
              <a:gd name="T40" fmla="*/ 55 w 109"/>
              <a:gd name="T41" fmla="*/ 90 h 141"/>
              <a:gd name="T42" fmla="*/ 67 w 109"/>
              <a:gd name="T43" fmla="*/ 102 h 141"/>
              <a:gd name="T44" fmla="*/ 67 w 109"/>
              <a:gd name="T45" fmla="*/ 124 h 141"/>
              <a:gd name="T46" fmla="*/ 77 w 109"/>
              <a:gd name="T47" fmla="*/ 67 h 141"/>
              <a:gd name="T48" fmla="*/ 33 w 109"/>
              <a:gd name="T49" fmla="*/ 67 h 141"/>
              <a:gd name="T50" fmla="*/ 33 w 109"/>
              <a:gd name="T51" fmla="*/ 44 h 141"/>
              <a:gd name="T52" fmla="*/ 39 w 109"/>
              <a:gd name="T53" fmla="*/ 26 h 141"/>
              <a:gd name="T54" fmla="*/ 55 w 109"/>
              <a:gd name="T55" fmla="*/ 19 h 141"/>
              <a:gd name="T56" fmla="*/ 70 w 109"/>
              <a:gd name="T57" fmla="*/ 26 h 141"/>
              <a:gd name="T58" fmla="*/ 77 w 109"/>
              <a:gd name="T59" fmla="*/ 44 h 141"/>
              <a:gd name="T60" fmla="*/ 77 w 109"/>
              <a:gd name="T61" fmla="*/ 6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41">
                <a:moveTo>
                  <a:pt x="104" y="67"/>
                </a:moveTo>
                <a:cubicBezTo>
                  <a:pt x="96" y="67"/>
                  <a:pt x="96" y="67"/>
                  <a:pt x="96" y="67"/>
                </a:cubicBezTo>
                <a:cubicBezTo>
                  <a:pt x="96" y="44"/>
                  <a:pt x="96" y="44"/>
                  <a:pt x="96" y="44"/>
                </a:cubicBezTo>
                <a:cubicBezTo>
                  <a:pt x="96" y="32"/>
                  <a:pt x="92" y="21"/>
                  <a:pt x="84" y="13"/>
                </a:cubicBezTo>
                <a:cubicBezTo>
                  <a:pt x="77" y="5"/>
                  <a:pt x="66" y="0"/>
                  <a:pt x="55" y="0"/>
                </a:cubicBezTo>
                <a:cubicBezTo>
                  <a:pt x="43" y="0"/>
                  <a:pt x="32" y="5"/>
                  <a:pt x="25" y="13"/>
                </a:cubicBezTo>
                <a:cubicBezTo>
                  <a:pt x="18" y="21"/>
                  <a:pt x="13" y="32"/>
                  <a:pt x="13" y="44"/>
                </a:cubicBezTo>
                <a:cubicBezTo>
                  <a:pt x="13" y="67"/>
                  <a:pt x="13" y="67"/>
                  <a:pt x="13" y="67"/>
                </a:cubicBezTo>
                <a:cubicBezTo>
                  <a:pt x="6" y="67"/>
                  <a:pt x="6" y="67"/>
                  <a:pt x="6" y="67"/>
                </a:cubicBezTo>
                <a:cubicBezTo>
                  <a:pt x="3" y="67"/>
                  <a:pt x="0" y="70"/>
                  <a:pt x="0" y="73"/>
                </a:cubicBezTo>
                <a:cubicBezTo>
                  <a:pt x="0" y="136"/>
                  <a:pt x="0" y="136"/>
                  <a:pt x="0" y="136"/>
                </a:cubicBezTo>
                <a:cubicBezTo>
                  <a:pt x="0" y="139"/>
                  <a:pt x="3" y="141"/>
                  <a:pt x="6" y="141"/>
                </a:cubicBezTo>
                <a:cubicBezTo>
                  <a:pt x="104" y="141"/>
                  <a:pt x="104" y="141"/>
                  <a:pt x="104" y="141"/>
                </a:cubicBezTo>
                <a:cubicBezTo>
                  <a:pt x="107" y="141"/>
                  <a:pt x="109" y="139"/>
                  <a:pt x="109" y="136"/>
                </a:cubicBezTo>
                <a:cubicBezTo>
                  <a:pt x="109" y="73"/>
                  <a:pt x="109" y="73"/>
                  <a:pt x="109" y="73"/>
                </a:cubicBezTo>
                <a:cubicBezTo>
                  <a:pt x="109" y="70"/>
                  <a:pt x="107" y="67"/>
                  <a:pt x="104" y="67"/>
                </a:cubicBezTo>
                <a:close/>
                <a:moveTo>
                  <a:pt x="67" y="124"/>
                </a:moveTo>
                <a:cubicBezTo>
                  <a:pt x="67" y="130"/>
                  <a:pt x="61" y="136"/>
                  <a:pt x="55" y="136"/>
                </a:cubicBezTo>
                <a:cubicBezTo>
                  <a:pt x="48" y="136"/>
                  <a:pt x="43" y="130"/>
                  <a:pt x="43" y="124"/>
                </a:cubicBezTo>
                <a:cubicBezTo>
                  <a:pt x="43" y="102"/>
                  <a:pt x="43" y="102"/>
                  <a:pt x="43" y="102"/>
                </a:cubicBezTo>
                <a:cubicBezTo>
                  <a:pt x="43" y="95"/>
                  <a:pt x="48" y="90"/>
                  <a:pt x="55" y="90"/>
                </a:cubicBezTo>
                <a:cubicBezTo>
                  <a:pt x="61" y="90"/>
                  <a:pt x="67" y="95"/>
                  <a:pt x="67" y="102"/>
                </a:cubicBezTo>
                <a:lnTo>
                  <a:pt x="67" y="124"/>
                </a:lnTo>
                <a:close/>
                <a:moveTo>
                  <a:pt x="77" y="67"/>
                </a:moveTo>
                <a:cubicBezTo>
                  <a:pt x="33" y="67"/>
                  <a:pt x="33" y="67"/>
                  <a:pt x="33" y="67"/>
                </a:cubicBezTo>
                <a:cubicBezTo>
                  <a:pt x="33" y="44"/>
                  <a:pt x="33" y="44"/>
                  <a:pt x="33" y="44"/>
                </a:cubicBezTo>
                <a:cubicBezTo>
                  <a:pt x="33" y="37"/>
                  <a:pt x="35" y="31"/>
                  <a:pt x="39" y="26"/>
                </a:cubicBezTo>
                <a:cubicBezTo>
                  <a:pt x="44" y="22"/>
                  <a:pt x="49" y="19"/>
                  <a:pt x="55" y="19"/>
                </a:cubicBezTo>
                <a:cubicBezTo>
                  <a:pt x="61" y="19"/>
                  <a:pt x="66" y="22"/>
                  <a:pt x="70" y="26"/>
                </a:cubicBezTo>
                <a:cubicBezTo>
                  <a:pt x="74" y="31"/>
                  <a:pt x="77" y="37"/>
                  <a:pt x="77" y="44"/>
                </a:cubicBezTo>
                <a:lnTo>
                  <a:pt x="77" y="67"/>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39" name="Group 168">
            <a:extLst>
              <a:ext uri="{FF2B5EF4-FFF2-40B4-BE49-F238E27FC236}">
                <a16:creationId xmlns:a16="http://schemas.microsoft.com/office/drawing/2014/main" id="{ACDD8B00-1417-4AE3-A07F-17F5A1506C99}"/>
              </a:ext>
            </a:extLst>
          </p:cNvPr>
          <p:cNvGrpSpPr/>
          <p:nvPr/>
        </p:nvGrpSpPr>
        <p:grpSpPr>
          <a:xfrm>
            <a:off x="1671326" y="2672437"/>
            <a:ext cx="510798" cy="540845"/>
            <a:chOff x="3659074" y="3351023"/>
            <a:chExt cx="424283" cy="449241"/>
          </a:xfrm>
          <a:solidFill>
            <a:srgbClr val="00ABAB"/>
          </a:solidFill>
        </p:grpSpPr>
        <p:sp>
          <p:nvSpPr>
            <p:cNvPr id="40" name="Freeform 47">
              <a:extLst>
                <a:ext uri="{FF2B5EF4-FFF2-40B4-BE49-F238E27FC236}">
                  <a16:creationId xmlns:a16="http://schemas.microsoft.com/office/drawing/2014/main" id="{7DE16691-D046-42AE-AA75-BE85ED618723}"/>
                </a:ext>
              </a:extLst>
            </p:cNvPr>
            <p:cNvSpPr>
              <a:spLocks/>
            </p:cNvSpPr>
            <p:nvPr/>
          </p:nvSpPr>
          <p:spPr bwMode="auto">
            <a:xfrm>
              <a:off x="3659074" y="3518240"/>
              <a:ext cx="199662" cy="282024"/>
            </a:xfrm>
            <a:custGeom>
              <a:avLst/>
              <a:gdLst>
                <a:gd name="T0" fmla="*/ 43 w 60"/>
                <a:gd name="T1" fmla="*/ 49 h 85"/>
                <a:gd name="T2" fmla="*/ 44 w 60"/>
                <a:gd name="T3" fmla="*/ 40 h 85"/>
                <a:gd name="T4" fmla="*/ 32 w 60"/>
                <a:gd name="T5" fmla="*/ 4 h 85"/>
                <a:gd name="T6" fmla="*/ 26 w 60"/>
                <a:gd name="T7" fmla="*/ 2 h 85"/>
                <a:gd name="T8" fmla="*/ 12 w 60"/>
                <a:gd name="T9" fmla="*/ 7 h 85"/>
                <a:gd name="T10" fmla="*/ 4 w 60"/>
                <a:gd name="T11" fmla="*/ 22 h 85"/>
                <a:gd name="T12" fmla="*/ 9 w 60"/>
                <a:gd name="T13" fmla="*/ 37 h 85"/>
                <a:gd name="T14" fmla="*/ 25 w 60"/>
                <a:gd name="T15" fmla="*/ 46 h 85"/>
                <a:gd name="T16" fmla="*/ 31 w 60"/>
                <a:gd name="T17" fmla="*/ 52 h 85"/>
                <a:gd name="T18" fmla="*/ 41 w 60"/>
                <a:gd name="T19" fmla="*/ 80 h 85"/>
                <a:gd name="T20" fmla="*/ 46 w 60"/>
                <a:gd name="T21" fmla="*/ 83 h 85"/>
                <a:gd name="T22" fmla="*/ 49 w 60"/>
                <a:gd name="T23" fmla="*/ 70 h 85"/>
                <a:gd name="T24" fmla="*/ 43 w 60"/>
                <a:gd name="T25" fmla="*/ 4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85">
                  <a:moveTo>
                    <a:pt x="43" y="49"/>
                  </a:moveTo>
                  <a:cubicBezTo>
                    <a:pt x="43" y="49"/>
                    <a:pt x="45" y="43"/>
                    <a:pt x="44" y="40"/>
                  </a:cubicBezTo>
                  <a:cubicBezTo>
                    <a:pt x="32" y="4"/>
                    <a:pt x="32" y="4"/>
                    <a:pt x="32" y="4"/>
                  </a:cubicBezTo>
                  <a:cubicBezTo>
                    <a:pt x="32" y="4"/>
                    <a:pt x="31" y="0"/>
                    <a:pt x="26" y="2"/>
                  </a:cubicBezTo>
                  <a:cubicBezTo>
                    <a:pt x="12" y="7"/>
                    <a:pt x="12" y="7"/>
                    <a:pt x="12" y="7"/>
                  </a:cubicBezTo>
                  <a:cubicBezTo>
                    <a:pt x="12" y="7"/>
                    <a:pt x="0" y="11"/>
                    <a:pt x="4" y="22"/>
                  </a:cubicBezTo>
                  <a:cubicBezTo>
                    <a:pt x="9" y="37"/>
                    <a:pt x="9" y="37"/>
                    <a:pt x="9" y="37"/>
                  </a:cubicBezTo>
                  <a:cubicBezTo>
                    <a:pt x="9" y="37"/>
                    <a:pt x="14" y="50"/>
                    <a:pt x="25" y="46"/>
                  </a:cubicBezTo>
                  <a:cubicBezTo>
                    <a:pt x="25" y="46"/>
                    <a:pt x="29" y="45"/>
                    <a:pt x="31" y="52"/>
                  </a:cubicBezTo>
                  <a:cubicBezTo>
                    <a:pt x="41" y="80"/>
                    <a:pt x="41" y="80"/>
                    <a:pt x="41" y="80"/>
                  </a:cubicBezTo>
                  <a:cubicBezTo>
                    <a:pt x="41" y="80"/>
                    <a:pt x="41" y="85"/>
                    <a:pt x="46" y="83"/>
                  </a:cubicBezTo>
                  <a:cubicBezTo>
                    <a:pt x="46" y="83"/>
                    <a:pt x="60" y="81"/>
                    <a:pt x="49" y="70"/>
                  </a:cubicBezTo>
                  <a:cubicBezTo>
                    <a:pt x="52" y="63"/>
                    <a:pt x="43" y="58"/>
                    <a:pt x="4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Freeform 48">
              <a:extLst>
                <a:ext uri="{FF2B5EF4-FFF2-40B4-BE49-F238E27FC236}">
                  <a16:creationId xmlns:a16="http://schemas.microsoft.com/office/drawing/2014/main" id="{AA7F7901-C772-4657-B39F-2D31457455F2}"/>
                </a:ext>
              </a:extLst>
            </p:cNvPr>
            <p:cNvSpPr>
              <a:spLocks/>
            </p:cNvSpPr>
            <p:nvPr/>
          </p:nvSpPr>
          <p:spPr bwMode="auto">
            <a:xfrm>
              <a:off x="3768888" y="3351023"/>
              <a:ext cx="272041" cy="316965"/>
            </a:xfrm>
            <a:custGeom>
              <a:avLst/>
              <a:gdLst>
                <a:gd name="T0" fmla="*/ 70 w 82"/>
                <a:gd name="T1" fmla="*/ 58 h 95"/>
                <a:gd name="T2" fmla="*/ 73 w 82"/>
                <a:gd name="T3" fmla="*/ 45 h 95"/>
                <a:gd name="T4" fmla="*/ 62 w 82"/>
                <a:gd name="T5" fmla="*/ 36 h 95"/>
                <a:gd name="T6" fmla="*/ 52 w 82"/>
                <a:gd name="T7" fmla="*/ 4 h 95"/>
                <a:gd name="T8" fmla="*/ 48 w 82"/>
                <a:gd name="T9" fmla="*/ 6 h 95"/>
                <a:gd name="T10" fmla="*/ 4 w 82"/>
                <a:gd name="T11" fmla="*/ 47 h 95"/>
                <a:gd name="T12" fmla="*/ 2 w 82"/>
                <a:gd name="T13" fmla="*/ 52 h 95"/>
                <a:gd name="T14" fmla="*/ 12 w 82"/>
                <a:gd name="T15" fmla="*/ 83 h 95"/>
                <a:gd name="T16" fmla="*/ 17 w 82"/>
                <a:gd name="T17" fmla="*/ 85 h 95"/>
                <a:gd name="T18" fmla="*/ 78 w 82"/>
                <a:gd name="T19" fmla="*/ 92 h 95"/>
                <a:gd name="T20" fmla="*/ 81 w 82"/>
                <a:gd name="T21" fmla="*/ 91 h 95"/>
                <a:gd name="T22" fmla="*/ 70 w 82"/>
                <a:gd name="T23" fmla="*/ 5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95">
                  <a:moveTo>
                    <a:pt x="70" y="58"/>
                  </a:moveTo>
                  <a:cubicBezTo>
                    <a:pt x="73" y="55"/>
                    <a:pt x="75" y="50"/>
                    <a:pt x="73" y="45"/>
                  </a:cubicBezTo>
                  <a:cubicBezTo>
                    <a:pt x="71" y="40"/>
                    <a:pt x="67" y="37"/>
                    <a:pt x="62" y="36"/>
                  </a:cubicBezTo>
                  <a:cubicBezTo>
                    <a:pt x="52" y="4"/>
                    <a:pt x="52" y="4"/>
                    <a:pt x="52" y="4"/>
                  </a:cubicBezTo>
                  <a:cubicBezTo>
                    <a:pt x="50" y="0"/>
                    <a:pt x="48" y="6"/>
                    <a:pt x="48" y="6"/>
                  </a:cubicBezTo>
                  <a:cubicBezTo>
                    <a:pt x="40" y="38"/>
                    <a:pt x="4" y="47"/>
                    <a:pt x="4" y="47"/>
                  </a:cubicBezTo>
                  <a:cubicBezTo>
                    <a:pt x="0" y="49"/>
                    <a:pt x="2" y="52"/>
                    <a:pt x="2" y="52"/>
                  </a:cubicBezTo>
                  <a:cubicBezTo>
                    <a:pt x="12" y="83"/>
                    <a:pt x="12" y="83"/>
                    <a:pt x="12" y="83"/>
                  </a:cubicBezTo>
                  <a:cubicBezTo>
                    <a:pt x="14" y="86"/>
                    <a:pt x="17" y="85"/>
                    <a:pt x="17" y="85"/>
                  </a:cubicBezTo>
                  <a:cubicBezTo>
                    <a:pt x="56" y="72"/>
                    <a:pt x="78" y="92"/>
                    <a:pt x="78" y="92"/>
                  </a:cubicBezTo>
                  <a:cubicBezTo>
                    <a:pt x="78" y="92"/>
                    <a:pt x="82" y="95"/>
                    <a:pt x="81" y="91"/>
                  </a:cubicBezTo>
                  <a:lnTo>
                    <a:pt x="7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Freeform 49">
              <a:extLst>
                <a:ext uri="{FF2B5EF4-FFF2-40B4-BE49-F238E27FC236}">
                  <a16:creationId xmlns:a16="http://schemas.microsoft.com/office/drawing/2014/main" id="{B1E57A75-F69E-48CA-A0BC-469299086FBF}"/>
                </a:ext>
              </a:extLst>
            </p:cNvPr>
            <p:cNvSpPr>
              <a:spLocks/>
            </p:cNvSpPr>
            <p:nvPr/>
          </p:nvSpPr>
          <p:spPr bwMode="auto">
            <a:xfrm>
              <a:off x="4003491" y="3410922"/>
              <a:ext cx="44924" cy="57404"/>
            </a:xfrm>
            <a:custGeom>
              <a:avLst/>
              <a:gdLst>
                <a:gd name="T0" fmla="*/ 18 w 18"/>
                <a:gd name="T1" fmla="*/ 3 h 23"/>
                <a:gd name="T2" fmla="*/ 15 w 18"/>
                <a:gd name="T3" fmla="*/ 0 h 23"/>
                <a:gd name="T4" fmla="*/ 0 w 18"/>
                <a:gd name="T5" fmla="*/ 20 h 23"/>
                <a:gd name="T6" fmla="*/ 3 w 18"/>
                <a:gd name="T7" fmla="*/ 23 h 23"/>
                <a:gd name="T8" fmla="*/ 18 w 18"/>
                <a:gd name="T9" fmla="*/ 3 h 23"/>
              </a:gdLst>
              <a:ahLst/>
              <a:cxnLst>
                <a:cxn ang="0">
                  <a:pos x="T0" y="T1"/>
                </a:cxn>
                <a:cxn ang="0">
                  <a:pos x="T2" y="T3"/>
                </a:cxn>
                <a:cxn ang="0">
                  <a:pos x="T4" y="T5"/>
                </a:cxn>
                <a:cxn ang="0">
                  <a:pos x="T6" y="T7"/>
                </a:cxn>
                <a:cxn ang="0">
                  <a:pos x="T8" y="T9"/>
                </a:cxn>
              </a:cxnLst>
              <a:rect l="0" t="0" r="r" b="b"/>
              <a:pathLst>
                <a:path w="18" h="23">
                  <a:moveTo>
                    <a:pt x="18" y="3"/>
                  </a:moveTo>
                  <a:lnTo>
                    <a:pt x="15" y="0"/>
                  </a:lnTo>
                  <a:lnTo>
                    <a:pt x="0" y="20"/>
                  </a:lnTo>
                  <a:lnTo>
                    <a:pt x="3" y="23"/>
                  </a:lnTo>
                  <a:lnTo>
                    <a:pt x="1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Freeform 50">
              <a:extLst>
                <a:ext uri="{FF2B5EF4-FFF2-40B4-BE49-F238E27FC236}">
                  <a16:creationId xmlns:a16="http://schemas.microsoft.com/office/drawing/2014/main" id="{E137C77E-33DB-4B47-9FBF-0287602D59FA}"/>
                </a:ext>
              </a:extLst>
            </p:cNvPr>
            <p:cNvSpPr>
              <a:spLocks/>
            </p:cNvSpPr>
            <p:nvPr/>
          </p:nvSpPr>
          <p:spPr bwMode="auto">
            <a:xfrm>
              <a:off x="4023458" y="3538206"/>
              <a:ext cx="59899" cy="37438"/>
            </a:xfrm>
            <a:custGeom>
              <a:avLst/>
              <a:gdLst>
                <a:gd name="T0" fmla="*/ 0 w 24"/>
                <a:gd name="T1" fmla="*/ 3 h 15"/>
                <a:gd name="T2" fmla="*/ 23 w 24"/>
                <a:gd name="T3" fmla="*/ 15 h 15"/>
                <a:gd name="T4" fmla="*/ 24 w 24"/>
                <a:gd name="T5" fmla="*/ 12 h 15"/>
                <a:gd name="T6" fmla="*/ 3 w 24"/>
                <a:gd name="T7" fmla="*/ 0 h 15"/>
                <a:gd name="T8" fmla="*/ 0 w 24"/>
                <a:gd name="T9" fmla="*/ 3 h 15"/>
              </a:gdLst>
              <a:ahLst/>
              <a:cxnLst>
                <a:cxn ang="0">
                  <a:pos x="T0" y="T1"/>
                </a:cxn>
                <a:cxn ang="0">
                  <a:pos x="T2" y="T3"/>
                </a:cxn>
                <a:cxn ang="0">
                  <a:pos x="T4" y="T5"/>
                </a:cxn>
                <a:cxn ang="0">
                  <a:pos x="T6" y="T7"/>
                </a:cxn>
                <a:cxn ang="0">
                  <a:pos x="T8" y="T9"/>
                </a:cxn>
              </a:cxnLst>
              <a:rect l="0" t="0" r="r" b="b"/>
              <a:pathLst>
                <a:path w="24" h="15">
                  <a:moveTo>
                    <a:pt x="0" y="3"/>
                  </a:moveTo>
                  <a:lnTo>
                    <a:pt x="23" y="15"/>
                  </a:lnTo>
                  <a:lnTo>
                    <a:pt x="24" y="12"/>
                  </a:lnTo>
                  <a:lnTo>
                    <a:pt x="3"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51">
              <a:extLst>
                <a:ext uri="{FF2B5EF4-FFF2-40B4-BE49-F238E27FC236}">
                  <a16:creationId xmlns:a16="http://schemas.microsoft.com/office/drawing/2014/main" id="{AB3E36F6-50F2-4321-A66D-C9DF39B0E184}"/>
                </a:ext>
              </a:extLst>
            </p:cNvPr>
            <p:cNvSpPr>
              <a:spLocks/>
            </p:cNvSpPr>
            <p:nvPr/>
          </p:nvSpPr>
          <p:spPr bwMode="auto">
            <a:xfrm>
              <a:off x="4023458" y="3478307"/>
              <a:ext cx="59899" cy="27454"/>
            </a:xfrm>
            <a:custGeom>
              <a:avLst/>
              <a:gdLst>
                <a:gd name="T0" fmla="*/ 0 w 24"/>
                <a:gd name="T1" fmla="*/ 11 h 11"/>
                <a:gd name="T2" fmla="*/ 24 w 24"/>
                <a:gd name="T3" fmla="*/ 3 h 11"/>
                <a:gd name="T4" fmla="*/ 24 w 24"/>
                <a:gd name="T5" fmla="*/ 0 h 11"/>
                <a:gd name="T6" fmla="*/ 0 w 24"/>
                <a:gd name="T7" fmla="*/ 7 h 11"/>
                <a:gd name="T8" fmla="*/ 0 w 24"/>
                <a:gd name="T9" fmla="*/ 11 h 11"/>
              </a:gdLst>
              <a:ahLst/>
              <a:cxnLst>
                <a:cxn ang="0">
                  <a:pos x="T0" y="T1"/>
                </a:cxn>
                <a:cxn ang="0">
                  <a:pos x="T2" y="T3"/>
                </a:cxn>
                <a:cxn ang="0">
                  <a:pos x="T4" y="T5"/>
                </a:cxn>
                <a:cxn ang="0">
                  <a:pos x="T6" y="T7"/>
                </a:cxn>
                <a:cxn ang="0">
                  <a:pos x="T8" y="T9"/>
                </a:cxn>
              </a:cxnLst>
              <a:rect l="0" t="0" r="r" b="b"/>
              <a:pathLst>
                <a:path w="24" h="11">
                  <a:moveTo>
                    <a:pt x="0" y="11"/>
                  </a:moveTo>
                  <a:lnTo>
                    <a:pt x="24" y="3"/>
                  </a:lnTo>
                  <a:lnTo>
                    <a:pt x="24" y="0"/>
                  </a:lnTo>
                  <a:lnTo>
                    <a:pt x="0" y="7"/>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45" name="Group 174">
            <a:extLst>
              <a:ext uri="{FF2B5EF4-FFF2-40B4-BE49-F238E27FC236}">
                <a16:creationId xmlns:a16="http://schemas.microsoft.com/office/drawing/2014/main" id="{8FBEEC0E-C72B-41ED-A1AE-4D137A4E2532}"/>
              </a:ext>
            </a:extLst>
          </p:cNvPr>
          <p:cNvGrpSpPr/>
          <p:nvPr/>
        </p:nvGrpSpPr>
        <p:grpSpPr>
          <a:xfrm>
            <a:off x="4940646" y="3463893"/>
            <a:ext cx="503906" cy="495908"/>
            <a:chOff x="1587575" y="2265358"/>
            <a:chExt cx="314468" cy="309477"/>
          </a:xfrm>
          <a:solidFill>
            <a:srgbClr val="00A3E0"/>
          </a:solidFill>
        </p:grpSpPr>
        <p:sp>
          <p:nvSpPr>
            <p:cNvPr id="46" name="Freeform 59">
              <a:extLst>
                <a:ext uri="{FF2B5EF4-FFF2-40B4-BE49-F238E27FC236}">
                  <a16:creationId xmlns:a16="http://schemas.microsoft.com/office/drawing/2014/main" id="{96196865-D531-49A8-B673-8956D2E43827}"/>
                </a:ext>
              </a:extLst>
            </p:cNvPr>
            <p:cNvSpPr>
              <a:spLocks noEditPoints="1"/>
            </p:cNvSpPr>
            <p:nvPr/>
          </p:nvSpPr>
          <p:spPr bwMode="auto">
            <a:xfrm>
              <a:off x="1587575" y="2265358"/>
              <a:ext cx="314468" cy="309477"/>
            </a:xfrm>
            <a:custGeom>
              <a:avLst/>
              <a:gdLst>
                <a:gd name="T0" fmla="*/ 82 w 95"/>
                <a:gd name="T1" fmla="*/ 57 h 93"/>
                <a:gd name="T2" fmla="*/ 95 w 95"/>
                <a:gd name="T3" fmla="*/ 51 h 93"/>
                <a:gd name="T4" fmla="*/ 95 w 95"/>
                <a:gd name="T5" fmla="*/ 41 h 93"/>
                <a:gd name="T6" fmla="*/ 82 w 95"/>
                <a:gd name="T7" fmla="*/ 36 h 93"/>
                <a:gd name="T8" fmla="*/ 80 w 95"/>
                <a:gd name="T9" fmla="*/ 30 h 93"/>
                <a:gd name="T10" fmla="*/ 85 w 95"/>
                <a:gd name="T11" fmla="*/ 17 h 93"/>
                <a:gd name="T12" fmla="*/ 77 w 95"/>
                <a:gd name="T13" fmla="*/ 10 h 93"/>
                <a:gd name="T14" fmla="*/ 64 w 95"/>
                <a:gd name="T15" fmla="*/ 15 h 93"/>
                <a:gd name="T16" fmla="*/ 59 w 95"/>
                <a:gd name="T17" fmla="*/ 13 h 93"/>
                <a:gd name="T18" fmla="*/ 53 w 95"/>
                <a:gd name="T19" fmla="*/ 0 h 93"/>
                <a:gd name="T20" fmla="*/ 42 w 95"/>
                <a:gd name="T21" fmla="*/ 0 h 93"/>
                <a:gd name="T22" fmla="*/ 37 w 95"/>
                <a:gd name="T23" fmla="*/ 13 h 93"/>
                <a:gd name="T24" fmla="*/ 31 w 95"/>
                <a:gd name="T25" fmla="*/ 15 h 93"/>
                <a:gd name="T26" fmla="*/ 18 w 95"/>
                <a:gd name="T27" fmla="*/ 10 h 93"/>
                <a:gd name="T28" fmla="*/ 10 w 95"/>
                <a:gd name="T29" fmla="*/ 17 h 93"/>
                <a:gd name="T30" fmla="*/ 16 w 95"/>
                <a:gd name="T31" fmla="*/ 30 h 93"/>
                <a:gd name="T32" fmla="*/ 13 w 95"/>
                <a:gd name="T33" fmla="*/ 36 h 93"/>
                <a:gd name="T34" fmla="*/ 0 w 95"/>
                <a:gd name="T35" fmla="*/ 41 h 93"/>
                <a:gd name="T36" fmla="*/ 0 w 95"/>
                <a:gd name="T37" fmla="*/ 52 h 93"/>
                <a:gd name="T38" fmla="*/ 13 w 95"/>
                <a:gd name="T39" fmla="*/ 57 h 93"/>
                <a:gd name="T40" fmla="*/ 16 w 95"/>
                <a:gd name="T41" fmla="*/ 63 h 93"/>
                <a:gd name="T42" fmla="*/ 11 w 95"/>
                <a:gd name="T43" fmla="*/ 76 h 93"/>
                <a:gd name="T44" fmla="*/ 18 w 95"/>
                <a:gd name="T45" fmla="*/ 83 h 93"/>
                <a:gd name="T46" fmla="*/ 31 w 95"/>
                <a:gd name="T47" fmla="*/ 78 h 93"/>
                <a:gd name="T48" fmla="*/ 37 w 95"/>
                <a:gd name="T49" fmla="*/ 80 h 93"/>
                <a:gd name="T50" fmla="*/ 43 w 95"/>
                <a:gd name="T51" fmla="*/ 93 h 93"/>
                <a:gd name="T52" fmla="*/ 53 w 95"/>
                <a:gd name="T53" fmla="*/ 93 h 93"/>
                <a:gd name="T54" fmla="*/ 59 w 95"/>
                <a:gd name="T55" fmla="*/ 80 h 93"/>
                <a:gd name="T56" fmla="*/ 64 w 95"/>
                <a:gd name="T57" fmla="*/ 78 h 93"/>
                <a:gd name="T58" fmla="*/ 78 w 95"/>
                <a:gd name="T59" fmla="*/ 83 h 93"/>
                <a:gd name="T60" fmla="*/ 85 w 95"/>
                <a:gd name="T61" fmla="*/ 75 h 93"/>
                <a:gd name="T62" fmla="*/ 80 w 95"/>
                <a:gd name="T63" fmla="*/ 63 h 93"/>
                <a:gd name="T64" fmla="*/ 82 w 95"/>
                <a:gd name="T65" fmla="*/ 57 h 93"/>
                <a:gd name="T66" fmla="*/ 48 w 95"/>
                <a:gd name="T67" fmla="*/ 61 h 93"/>
                <a:gd name="T68" fmla="*/ 33 w 95"/>
                <a:gd name="T69" fmla="*/ 46 h 93"/>
                <a:gd name="T70" fmla="*/ 48 w 95"/>
                <a:gd name="T71" fmla="*/ 32 h 93"/>
                <a:gd name="T72" fmla="*/ 63 w 95"/>
                <a:gd name="T73" fmla="*/ 46 h 93"/>
                <a:gd name="T74" fmla="*/ 48 w 95"/>
                <a:gd name="T75" fmla="*/ 6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3">
                  <a:moveTo>
                    <a:pt x="82" y="57"/>
                  </a:moveTo>
                  <a:cubicBezTo>
                    <a:pt x="82" y="57"/>
                    <a:pt x="95" y="52"/>
                    <a:pt x="95" y="51"/>
                  </a:cubicBezTo>
                  <a:cubicBezTo>
                    <a:pt x="95" y="41"/>
                    <a:pt x="95" y="41"/>
                    <a:pt x="95" y="41"/>
                  </a:cubicBezTo>
                  <a:cubicBezTo>
                    <a:pt x="95" y="40"/>
                    <a:pt x="82" y="36"/>
                    <a:pt x="82" y="36"/>
                  </a:cubicBezTo>
                  <a:cubicBezTo>
                    <a:pt x="80" y="30"/>
                    <a:pt x="80" y="30"/>
                    <a:pt x="80" y="30"/>
                  </a:cubicBezTo>
                  <a:cubicBezTo>
                    <a:pt x="80" y="30"/>
                    <a:pt x="85" y="17"/>
                    <a:pt x="85" y="17"/>
                  </a:cubicBezTo>
                  <a:cubicBezTo>
                    <a:pt x="77" y="10"/>
                    <a:pt x="77" y="10"/>
                    <a:pt x="77" y="10"/>
                  </a:cubicBezTo>
                  <a:cubicBezTo>
                    <a:pt x="77" y="9"/>
                    <a:pt x="64" y="15"/>
                    <a:pt x="64" y="15"/>
                  </a:cubicBezTo>
                  <a:cubicBezTo>
                    <a:pt x="59" y="13"/>
                    <a:pt x="59" y="13"/>
                    <a:pt x="59" y="13"/>
                  </a:cubicBezTo>
                  <a:cubicBezTo>
                    <a:pt x="59" y="13"/>
                    <a:pt x="53" y="0"/>
                    <a:pt x="53" y="0"/>
                  </a:cubicBezTo>
                  <a:cubicBezTo>
                    <a:pt x="42" y="0"/>
                    <a:pt x="42" y="0"/>
                    <a:pt x="42" y="0"/>
                  </a:cubicBezTo>
                  <a:cubicBezTo>
                    <a:pt x="42" y="0"/>
                    <a:pt x="37" y="13"/>
                    <a:pt x="37" y="13"/>
                  </a:cubicBezTo>
                  <a:cubicBezTo>
                    <a:pt x="31" y="15"/>
                    <a:pt x="31" y="15"/>
                    <a:pt x="31" y="15"/>
                  </a:cubicBezTo>
                  <a:cubicBezTo>
                    <a:pt x="31" y="15"/>
                    <a:pt x="18" y="10"/>
                    <a:pt x="18" y="10"/>
                  </a:cubicBezTo>
                  <a:cubicBezTo>
                    <a:pt x="10" y="17"/>
                    <a:pt x="10" y="17"/>
                    <a:pt x="10" y="17"/>
                  </a:cubicBezTo>
                  <a:cubicBezTo>
                    <a:pt x="10" y="18"/>
                    <a:pt x="16" y="30"/>
                    <a:pt x="16" y="30"/>
                  </a:cubicBezTo>
                  <a:cubicBezTo>
                    <a:pt x="13" y="36"/>
                    <a:pt x="13" y="36"/>
                    <a:pt x="13" y="36"/>
                  </a:cubicBezTo>
                  <a:cubicBezTo>
                    <a:pt x="13" y="36"/>
                    <a:pt x="0" y="41"/>
                    <a:pt x="0" y="41"/>
                  </a:cubicBezTo>
                  <a:cubicBezTo>
                    <a:pt x="0" y="52"/>
                    <a:pt x="0" y="52"/>
                    <a:pt x="0" y="52"/>
                  </a:cubicBezTo>
                  <a:cubicBezTo>
                    <a:pt x="0" y="52"/>
                    <a:pt x="13" y="57"/>
                    <a:pt x="13" y="57"/>
                  </a:cubicBezTo>
                  <a:cubicBezTo>
                    <a:pt x="16" y="63"/>
                    <a:pt x="16" y="63"/>
                    <a:pt x="16" y="63"/>
                  </a:cubicBezTo>
                  <a:cubicBezTo>
                    <a:pt x="16" y="63"/>
                    <a:pt x="10" y="75"/>
                    <a:pt x="11" y="76"/>
                  </a:cubicBezTo>
                  <a:cubicBezTo>
                    <a:pt x="18" y="83"/>
                    <a:pt x="18" y="83"/>
                    <a:pt x="18" y="83"/>
                  </a:cubicBezTo>
                  <a:cubicBezTo>
                    <a:pt x="19" y="84"/>
                    <a:pt x="31" y="78"/>
                    <a:pt x="31" y="78"/>
                  </a:cubicBezTo>
                  <a:cubicBezTo>
                    <a:pt x="37" y="80"/>
                    <a:pt x="37" y="80"/>
                    <a:pt x="37" y="80"/>
                  </a:cubicBezTo>
                  <a:cubicBezTo>
                    <a:pt x="37" y="80"/>
                    <a:pt x="42" y="93"/>
                    <a:pt x="43" y="93"/>
                  </a:cubicBezTo>
                  <a:cubicBezTo>
                    <a:pt x="53" y="93"/>
                    <a:pt x="53" y="93"/>
                    <a:pt x="53" y="93"/>
                  </a:cubicBezTo>
                  <a:cubicBezTo>
                    <a:pt x="54" y="93"/>
                    <a:pt x="59" y="80"/>
                    <a:pt x="59" y="80"/>
                  </a:cubicBezTo>
                  <a:cubicBezTo>
                    <a:pt x="64" y="78"/>
                    <a:pt x="64" y="78"/>
                    <a:pt x="64" y="78"/>
                  </a:cubicBezTo>
                  <a:cubicBezTo>
                    <a:pt x="64" y="78"/>
                    <a:pt x="77" y="83"/>
                    <a:pt x="78" y="83"/>
                  </a:cubicBezTo>
                  <a:cubicBezTo>
                    <a:pt x="85" y="75"/>
                    <a:pt x="85" y="75"/>
                    <a:pt x="85" y="75"/>
                  </a:cubicBezTo>
                  <a:cubicBezTo>
                    <a:pt x="86" y="75"/>
                    <a:pt x="80" y="63"/>
                    <a:pt x="80" y="63"/>
                  </a:cubicBezTo>
                  <a:lnTo>
                    <a:pt x="82" y="57"/>
                  </a:lnTo>
                  <a:close/>
                  <a:moveTo>
                    <a:pt x="48" y="61"/>
                  </a:moveTo>
                  <a:cubicBezTo>
                    <a:pt x="39" y="61"/>
                    <a:pt x="33" y="55"/>
                    <a:pt x="33" y="46"/>
                  </a:cubicBezTo>
                  <a:cubicBezTo>
                    <a:pt x="33" y="38"/>
                    <a:pt x="39" y="32"/>
                    <a:pt x="48" y="32"/>
                  </a:cubicBezTo>
                  <a:cubicBezTo>
                    <a:pt x="56" y="32"/>
                    <a:pt x="63" y="38"/>
                    <a:pt x="63" y="46"/>
                  </a:cubicBezTo>
                  <a:cubicBezTo>
                    <a:pt x="63" y="55"/>
                    <a:pt x="56" y="61"/>
                    <a:pt x="48"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 name="Oval 60">
              <a:extLst>
                <a:ext uri="{FF2B5EF4-FFF2-40B4-BE49-F238E27FC236}">
                  <a16:creationId xmlns:a16="http://schemas.microsoft.com/office/drawing/2014/main" id="{566523FD-FFD1-433C-AE88-7ECD2E4AADCE}"/>
                </a:ext>
              </a:extLst>
            </p:cNvPr>
            <p:cNvSpPr>
              <a:spLocks noChangeArrowheads="1"/>
            </p:cNvSpPr>
            <p:nvPr/>
          </p:nvSpPr>
          <p:spPr bwMode="auto">
            <a:xfrm>
              <a:off x="1712364" y="2387652"/>
              <a:ext cx="64890" cy="623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48" name="Freeform 63">
            <a:extLst>
              <a:ext uri="{FF2B5EF4-FFF2-40B4-BE49-F238E27FC236}">
                <a16:creationId xmlns:a16="http://schemas.microsoft.com/office/drawing/2014/main" id="{D7D870FE-C3F8-430C-8D5F-41B18D16D55B}"/>
              </a:ext>
            </a:extLst>
          </p:cNvPr>
          <p:cNvSpPr>
            <a:spLocks noEditPoints="1"/>
          </p:cNvSpPr>
          <p:nvPr/>
        </p:nvSpPr>
        <p:spPr bwMode="auto">
          <a:xfrm>
            <a:off x="1224464" y="3235250"/>
            <a:ext cx="408638" cy="552864"/>
          </a:xfrm>
          <a:custGeom>
            <a:avLst/>
            <a:gdLst>
              <a:gd name="T0" fmla="*/ 92 w 102"/>
              <a:gd name="T1" fmla="*/ 0 h 138"/>
              <a:gd name="T2" fmla="*/ 10 w 102"/>
              <a:gd name="T3" fmla="*/ 0 h 138"/>
              <a:gd name="T4" fmla="*/ 0 w 102"/>
              <a:gd name="T5" fmla="*/ 10 h 138"/>
              <a:gd name="T6" fmla="*/ 0 w 102"/>
              <a:gd name="T7" fmla="*/ 129 h 138"/>
              <a:gd name="T8" fmla="*/ 10 w 102"/>
              <a:gd name="T9" fmla="*/ 138 h 138"/>
              <a:gd name="T10" fmla="*/ 92 w 102"/>
              <a:gd name="T11" fmla="*/ 138 h 138"/>
              <a:gd name="T12" fmla="*/ 102 w 102"/>
              <a:gd name="T13" fmla="*/ 129 h 138"/>
              <a:gd name="T14" fmla="*/ 102 w 102"/>
              <a:gd name="T15" fmla="*/ 10 h 138"/>
              <a:gd name="T16" fmla="*/ 92 w 102"/>
              <a:gd name="T17" fmla="*/ 0 h 138"/>
              <a:gd name="T18" fmla="*/ 51 w 102"/>
              <a:gd name="T19" fmla="*/ 135 h 138"/>
              <a:gd name="T20" fmla="*/ 45 w 102"/>
              <a:gd name="T21" fmla="*/ 129 h 138"/>
              <a:gd name="T22" fmla="*/ 51 w 102"/>
              <a:gd name="T23" fmla="*/ 124 h 138"/>
              <a:gd name="T24" fmla="*/ 57 w 102"/>
              <a:gd name="T25" fmla="*/ 129 h 138"/>
              <a:gd name="T26" fmla="*/ 51 w 102"/>
              <a:gd name="T27" fmla="*/ 135 h 138"/>
              <a:gd name="T28" fmla="*/ 92 w 102"/>
              <a:gd name="T29" fmla="*/ 119 h 138"/>
              <a:gd name="T30" fmla="*/ 10 w 102"/>
              <a:gd name="T31" fmla="*/ 119 h 138"/>
              <a:gd name="T32" fmla="*/ 10 w 102"/>
              <a:gd name="T33" fmla="*/ 11 h 138"/>
              <a:gd name="T34" fmla="*/ 92 w 102"/>
              <a:gd name="T35" fmla="*/ 11 h 138"/>
              <a:gd name="T36" fmla="*/ 92 w 102"/>
              <a:gd name="T37"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2" h="138">
                <a:moveTo>
                  <a:pt x="92" y="0"/>
                </a:moveTo>
                <a:cubicBezTo>
                  <a:pt x="10" y="0"/>
                  <a:pt x="10" y="0"/>
                  <a:pt x="10" y="0"/>
                </a:cubicBezTo>
                <a:cubicBezTo>
                  <a:pt x="5" y="0"/>
                  <a:pt x="0" y="4"/>
                  <a:pt x="0" y="10"/>
                </a:cubicBezTo>
                <a:cubicBezTo>
                  <a:pt x="0" y="129"/>
                  <a:pt x="0" y="129"/>
                  <a:pt x="0" y="129"/>
                </a:cubicBezTo>
                <a:cubicBezTo>
                  <a:pt x="0" y="134"/>
                  <a:pt x="5" y="138"/>
                  <a:pt x="10" y="138"/>
                </a:cubicBezTo>
                <a:cubicBezTo>
                  <a:pt x="92" y="138"/>
                  <a:pt x="92" y="138"/>
                  <a:pt x="92" y="138"/>
                </a:cubicBezTo>
                <a:cubicBezTo>
                  <a:pt x="97" y="138"/>
                  <a:pt x="102" y="134"/>
                  <a:pt x="102" y="129"/>
                </a:cubicBezTo>
                <a:cubicBezTo>
                  <a:pt x="102" y="10"/>
                  <a:pt x="102" y="10"/>
                  <a:pt x="102" y="10"/>
                </a:cubicBezTo>
                <a:cubicBezTo>
                  <a:pt x="102" y="4"/>
                  <a:pt x="97" y="0"/>
                  <a:pt x="92" y="0"/>
                </a:cubicBezTo>
                <a:close/>
                <a:moveTo>
                  <a:pt x="51" y="135"/>
                </a:moveTo>
                <a:cubicBezTo>
                  <a:pt x="48" y="135"/>
                  <a:pt x="45" y="132"/>
                  <a:pt x="45" y="129"/>
                </a:cubicBezTo>
                <a:cubicBezTo>
                  <a:pt x="45" y="126"/>
                  <a:pt x="48" y="124"/>
                  <a:pt x="51" y="124"/>
                </a:cubicBezTo>
                <a:cubicBezTo>
                  <a:pt x="54" y="124"/>
                  <a:pt x="57" y="126"/>
                  <a:pt x="57" y="129"/>
                </a:cubicBezTo>
                <a:cubicBezTo>
                  <a:pt x="57" y="132"/>
                  <a:pt x="54" y="135"/>
                  <a:pt x="51" y="135"/>
                </a:cubicBezTo>
                <a:close/>
                <a:moveTo>
                  <a:pt x="92" y="119"/>
                </a:moveTo>
                <a:cubicBezTo>
                  <a:pt x="10" y="119"/>
                  <a:pt x="10" y="119"/>
                  <a:pt x="10" y="119"/>
                </a:cubicBezTo>
                <a:cubicBezTo>
                  <a:pt x="10" y="11"/>
                  <a:pt x="10" y="11"/>
                  <a:pt x="10" y="11"/>
                </a:cubicBezTo>
                <a:cubicBezTo>
                  <a:pt x="92" y="11"/>
                  <a:pt x="92" y="11"/>
                  <a:pt x="92" y="11"/>
                </a:cubicBezTo>
                <a:lnTo>
                  <a:pt x="92" y="119"/>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49" name="Group 190">
            <a:extLst>
              <a:ext uri="{FF2B5EF4-FFF2-40B4-BE49-F238E27FC236}">
                <a16:creationId xmlns:a16="http://schemas.microsoft.com/office/drawing/2014/main" id="{947EB195-0CA0-46D6-BAB6-5AFA6E638051}"/>
              </a:ext>
            </a:extLst>
          </p:cNvPr>
          <p:cNvGrpSpPr/>
          <p:nvPr/>
        </p:nvGrpSpPr>
        <p:grpSpPr>
          <a:xfrm>
            <a:off x="4288952" y="1266180"/>
            <a:ext cx="390611" cy="489766"/>
            <a:chOff x="5106627" y="2260366"/>
            <a:chExt cx="324452" cy="406813"/>
          </a:xfrm>
          <a:solidFill>
            <a:srgbClr val="43B02A"/>
          </a:solidFill>
        </p:grpSpPr>
        <p:sp>
          <p:nvSpPr>
            <p:cNvPr id="50" name="Freeform 80">
              <a:extLst>
                <a:ext uri="{FF2B5EF4-FFF2-40B4-BE49-F238E27FC236}">
                  <a16:creationId xmlns:a16="http://schemas.microsoft.com/office/drawing/2014/main" id="{59A34C5D-CA5F-415A-A27E-0D342F3A63EF}"/>
                </a:ext>
              </a:extLst>
            </p:cNvPr>
            <p:cNvSpPr>
              <a:spLocks/>
            </p:cNvSpPr>
            <p:nvPr/>
          </p:nvSpPr>
          <p:spPr bwMode="auto">
            <a:xfrm>
              <a:off x="5106627" y="2430079"/>
              <a:ext cx="324452" cy="134772"/>
            </a:xfrm>
            <a:custGeom>
              <a:avLst/>
              <a:gdLst>
                <a:gd name="T0" fmla="*/ 49 w 98"/>
                <a:gd name="T1" fmla="*/ 16 h 40"/>
                <a:gd name="T2" fmla="*/ 2 w 98"/>
                <a:gd name="T3" fmla="*/ 0 h 40"/>
                <a:gd name="T4" fmla="*/ 0 w 98"/>
                <a:gd name="T5" fmla="*/ 5 h 40"/>
                <a:gd name="T6" fmla="*/ 0 w 98"/>
                <a:gd name="T7" fmla="*/ 20 h 40"/>
                <a:gd name="T8" fmla="*/ 49 w 98"/>
                <a:gd name="T9" fmla="*/ 40 h 40"/>
                <a:gd name="T10" fmla="*/ 98 w 98"/>
                <a:gd name="T11" fmla="*/ 20 h 40"/>
                <a:gd name="T12" fmla="*/ 98 w 98"/>
                <a:gd name="T13" fmla="*/ 5 h 40"/>
                <a:gd name="T14" fmla="*/ 96 w 98"/>
                <a:gd name="T15" fmla="*/ 0 h 40"/>
                <a:gd name="T16" fmla="*/ 49 w 98"/>
                <a:gd name="T1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0">
                  <a:moveTo>
                    <a:pt x="49" y="16"/>
                  </a:moveTo>
                  <a:cubicBezTo>
                    <a:pt x="26" y="16"/>
                    <a:pt x="7" y="9"/>
                    <a:pt x="2" y="0"/>
                  </a:cubicBezTo>
                  <a:cubicBezTo>
                    <a:pt x="1" y="2"/>
                    <a:pt x="0" y="3"/>
                    <a:pt x="0" y="5"/>
                  </a:cubicBezTo>
                  <a:cubicBezTo>
                    <a:pt x="0" y="20"/>
                    <a:pt x="0" y="20"/>
                    <a:pt x="0" y="20"/>
                  </a:cubicBezTo>
                  <a:cubicBezTo>
                    <a:pt x="0" y="31"/>
                    <a:pt x="22" y="40"/>
                    <a:pt x="49" y="40"/>
                  </a:cubicBezTo>
                  <a:cubicBezTo>
                    <a:pt x="76" y="40"/>
                    <a:pt x="98" y="31"/>
                    <a:pt x="98" y="20"/>
                  </a:cubicBezTo>
                  <a:cubicBezTo>
                    <a:pt x="98" y="5"/>
                    <a:pt x="98" y="5"/>
                    <a:pt x="98" y="5"/>
                  </a:cubicBezTo>
                  <a:cubicBezTo>
                    <a:pt x="98" y="3"/>
                    <a:pt x="97" y="2"/>
                    <a:pt x="96" y="0"/>
                  </a:cubicBezTo>
                  <a:cubicBezTo>
                    <a:pt x="91" y="9"/>
                    <a:pt x="72" y="16"/>
                    <a:pt x="49"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 name="Freeform 81">
              <a:extLst>
                <a:ext uri="{FF2B5EF4-FFF2-40B4-BE49-F238E27FC236}">
                  <a16:creationId xmlns:a16="http://schemas.microsoft.com/office/drawing/2014/main" id="{44630A5C-C9A2-4DBC-B686-F09C4938E649}"/>
                </a:ext>
              </a:extLst>
            </p:cNvPr>
            <p:cNvSpPr>
              <a:spLocks/>
            </p:cNvSpPr>
            <p:nvPr/>
          </p:nvSpPr>
          <p:spPr bwMode="auto">
            <a:xfrm>
              <a:off x="5106627" y="2534902"/>
              <a:ext cx="324452" cy="132277"/>
            </a:xfrm>
            <a:custGeom>
              <a:avLst/>
              <a:gdLst>
                <a:gd name="T0" fmla="*/ 49 w 98"/>
                <a:gd name="T1" fmla="*/ 15 h 40"/>
                <a:gd name="T2" fmla="*/ 2 w 98"/>
                <a:gd name="T3" fmla="*/ 0 h 40"/>
                <a:gd name="T4" fmla="*/ 0 w 98"/>
                <a:gd name="T5" fmla="*/ 4 h 40"/>
                <a:gd name="T6" fmla="*/ 0 w 98"/>
                <a:gd name="T7" fmla="*/ 19 h 40"/>
                <a:gd name="T8" fmla="*/ 49 w 98"/>
                <a:gd name="T9" fmla="*/ 40 h 40"/>
                <a:gd name="T10" fmla="*/ 98 w 98"/>
                <a:gd name="T11" fmla="*/ 19 h 40"/>
                <a:gd name="T12" fmla="*/ 98 w 98"/>
                <a:gd name="T13" fmla="*/ 4 h 40"/>
                <a:gd name="T14" fmla="*/ 96 w 98"/>
                <a:gd name="T15" fmla="*/ 0 h 40"/>
                <a:gd name="T16" fmla="*/ 49 w 98"/>
                <a:gd name="T17"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0">
                  <a:moveTo>
                    <a:pt x="49" y="15"/>
                  </a:moveTo>
                  <a:cubicBezTo>
                    <a:pt x="26" y="15"/>
                    <a:pt x="7" y="9"/>
                    <a:pt x="2" y="0"/>
                  </a:cubicBezTo>
                  <a:cubicBezTo>
                    <a:pt x="1" y="1"/>
                    <a:pt x="0" y="3"/>
                    <a:pt x="0" y="4"/>
                  </a:cubicBezTo>
                  <a:cubicBezTo>
                    <a:pt x="0" y="19"/>
                    <a:pt x="0" y="19"/>
                    <a:pt x="0" y="19"/>
                  </a:cubicBezTo>
                  <a:cubicBezTo>
                    <a:pt x="0" y="31"/>
                    <a:pt x="22" y="40"/>
                    <a:pt x="49" y="40"/>
                  </a:cubicBezTo>
                  <a:cubicBezTo>
                    <a:pt x="76" y="40"/>
                    <a:pt x="98" y="31"/>
                    <a:pt x="98" y="19"/>
                  </a:cubicBezTo>
                  <a:cubicBezTo>
                    <a:pt x="98" y="4"/>
                    <a:pt x="98" y="4"/>
                    <a:pt x="98" y="4"/>
                  </a:cubicBezTo>
                  <a:cubicBezTo>
                    <a:pt x="98" y="3"/>
                    <a:pt x="97" y="1"/>
                    <a:pt x="96" y="0"/>
                  </a:cubicBezTo>
                  <a:cubicBezTo>
                    <a:pt x="91" y="9"/>
                    <a:pt x="72" y="15"/>
                    <a:pt x="4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2" name="Freeform 82">
              <a:extLst>
                <a:ext uri="{FF2B5EF4-FFF2-40B4-BE49-F238E27FC236}">
                  <a16:creationId xmlns:a16="http://schemas.microsoft.com/office/drawing/2014/main" id="{21C6007A-53C4-461A-8FA4-68B0E291B007}"/>
                </a:ext>
              </a:extLst>
            </p:cNvPr>
            <p:cNvSpPr>
              <a:spLocks/>
            </p:cNvSpPr>
            <p:nvPr/>
          </p:nvSpPr>
          <p:spPr bwMode="auto">
            <a:xfrm>
              <a:off x="5106627" y="2330248"/>
              <a:ext cx="324452" cy="137269"/>
            </a:xfrm>
            <a:custGeom>
              <a:avLst/>
              <a:gdLst>
                <a:gd name="T0" fmla="*/ 96 w 98"/>
                <a:gd name="T1" fmla="*/ 0 h 41"/>
                <a:gd name="T2" fmla="*/ 49 w 98"/>
                <a:gd name="T3" fmla="*/ 15 h 41"/>
                <a:gd name="T4" fmla="*/ 2 w 98"/>
                <a:gd name="T5" fmla="*/ 0 h 41"/>
                <a:gd name="T6" fmla="*/ 0 w 98"/>
                <a:gd name="T7" fmla="*/ 5 h 41"/>
                <a:gd name="T8" fmla="*/ 0 w 98"/>
                <a:gd name="T9" fmla="*/ 20 h 41"/>
                <a:gd name="T10" fmla="*/ 49 w 98"/>
                <a:gd name="T11" fmla="*/ 41 h 41"/>
                <a:gd name="T12" fmla="*/ 98 w 98"/>
                <a:gd name="T13" fmla="*/ 20 h 41"/>
                <a:gd name="T14" fmla="*/ 98 w 98"/>
                <a:gd name="T15" fmla="*/ 5 h 41"/>
                <a:gd name="T16" fmla="*/ 96 w 9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1">
                  <a:moveTo>
                    <a:pt x="96" y="0"/>
                  </a:moveTo>
                  <a:cubicBezTo>
                    <a:pt x="95" y="9"/>
                    <a:pt x="75" y="15"/>
                    <a:pt x="49" y="15"/>
                  </a:cubicBezTo>
                  <a:cubicBezTo>
                    <a:pt x="24" y="15"/>
                    <a:pt x="3" y="9"/>
                    <a:pt x="2" y="0"/>
                  </a:cubicBezTo>
                  <a:cubicBezTo>
                    <a:pt x="1" y="2"/>
                    <a:pt x="0" y="3"/>
                    <a:pt x="0" y="5"/>
                  </a:cubicBezTo>
                  <a:cubicBezTo>
                    <a:pt x="0" y="20"/>
                    <a:pt x="0" y="20"/>
                    <a:pt x="0" y="20"/>
                  </a:cubicBezTo>
                  <a:cubicBezTo>
                    <a:pt x="0" y="31"/>
                    <a:pt x="22" y="41"/>
                    <a:pt x="49" y="41"/>
                  </a:cubicBezTo>
                  <a:cubicBezTo>
                    <a:pt x="76" y="41"/>
                    <a:pt x="98" y="31"/>
                    <a:pt x="98" y="20"/>
                  </a:cubicBezTo>
                  <a:cubicBezTo>
                    <a:pt x="98" y="5"/>
                    <a:pt x="98" y="5"/>
                    <a:pt x="98" y="5"/>
                  </a:cubicBezTo>
                  <a:cubicBezTo>
                    <a:pt x="98" y="3"/>
                    <a:pt x="97" y="2"/>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3" name="Oval 83">
              <a:extLst>
                <a:ext uri="{FF2B5EF4-FFF2-40B4-BE49-F238E27FC236}">
                  <a16:creationId xmlns:a16="http://schemas.microsoft.com/office/drawing/2014/main" id="{9EF872FB-3BBC-436E-90E7-086FDAB10D7B}"/>
                </a:ext>
              </a:extLst>
            </p:cNvPr>
            <p:cNvSpPr>
              <a:spLocks noChangeArrowheads="1"/>
            </p:cNvSpPr>
            <p:nvPr/>
          </p:nvSpPr>
          <p:spPr bwMode="auto">
            <a:xfrm>
              <a:off x="5111618" y="2260366"/>
              <a:ext cx="316965" cy="1073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4" name="Group 195">
            <a:extLst>
              <a:ext uri="{FF2B5EF4-FFF2-40B4-BE49-F238E27FC236}">
                <a16:creationId xmlns:a16="http://schemas.microsoft.com/office/drawing/2014/main" id="{F857E04E-AF02-439C-9146-98B2A93AF278}"/>
              </a:ext>
            </a:extLst>
          </p:cNvPr>
          <p:cNvGrpSpPr/>
          <p:nvPr/>
        </p:nvGrpSpPr>
        <p:grpSpPr>
          <a:xfrm>
            <a:off x="4248389" y="2526884"/>
            <a:ext cx="424565" cy="513803"/>
            <a:chOff x="427038" y="3595610"/>
            <a:chExt cx="391838" cy="474198"/>
          </a:xfrm>
          <a:solidFill>
            <a:srgbClr val="046A38"/>
          </a:solidFill>
        </p:grpSpPr>
        <p:sp>
          <p:nvSpPr>
            <p:cNvPr id="55" name="Freeform 89">
              <a:extLst>
                <a:ext uri="{FF2B5EF4-FFF2-40B4-BE49-F238E27FC236}">
                  <a16:creationId xmlns:a16="http://schemas.microsoft.com/office/drawing/2014/main" id="{95ABBA2D-9B81-41AF-8FA9-C7CB1DAC2C8F}"/>
                </a:ext>
              </a:extLst>
            </p:cNvPr>
            <p:cNvSpPr>
              <a:spLocks/>
            </p:cNvSpPr>
            <p:nvPr/>
          </p:nvSpPr>
          <p:spPr bwMode="auto">
            <a:xfrm>
              <a:off x="486937" y="3655509"/>
              <a:ext cx="272041" cy="257066"/>
            </a:xfrm>
            <a:custGeom>
              <a:avLst/>
              <a:gdLst>
                <a:gd name="T0" fmla="*/ 57 w 82"/>
                <a:gd name="T1" fmla="*/ 67 h 78"/>
                <a:gd name="T2" fmla="*/ 57 w 82"/>
                <a:gd name="T3" fmla="*/ 78 h 78"/>
                <a:gd name="T4" fmla="*/ 82 w 82"/>
                <a:gd name="T5" fmla="*/ 40 h 78"/>
                <a:gd name="T6" fmla="*/ 41 w 82"/>
                <a:gd name="T7" fmla="*/ 0 h 78"/>
                <a:gd name="T8" fmla="*/ 0 w 82"/>
                <a:gd name="T9" fmla="*/ 40 h 78"/>
                <a:gd name="T10" fmla="*/ 25 w 82"/>
                <a:gd name="T11" fmla="*/ 78 h 78"/>
                <a:gd name="T12" fmla="*/ 25 w 82"/>
                <a:gd name="T13" fmla="*/ 67 h 78"/>
                <a:gd name="T14" fmla="*/ 10 w 82"/>
                <a:gd name="T15" fmla="*/ 40 h 78"/>
                <a:gd name="T16" fmla="*/ 41 w 82"/>
                <a:gd name="T17" fmla="*/ 10 h 78"/>
                <a:gd name="T18" fmla="*/ 72 w 82"/>
                <a:gd name="T19" fmla="*/ 40 h 78"/>
                <a:gd name="T20" fmla="*/ 57 w 82"/>
                <a:gd name="T21" fmla="*/ 6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78">
                  <a:moveTo>
                    <a:pt x="57" y="67"/>
                  </a:moveTo>
                  <a:cubicBezTo>
                    <a:pt x="57" y="78"/>
                    <a:pt x="57" y="78"/>
                    <a:pt x="57" y="78"/>
                  </a:cubicBezTo>
                  <a:cubicBezTo>
                    <a:pt x="71" y="72"/>
                    <a:pt x="82" y="57"/>
                    <a:pt x="82" y="40"/>
                  </a:cubicBezTo>
                  <a:cubicBezTo>
                    <a:pt x="82" y="18"/>
                    <a:pt x="63" y="0"/>
                    <a:pt x="41" y="0"/>
                  </a:cubicBezTo>
                  <a:cubicBezTo>
                    <a:pt x="19" y="0"/>
                    <a:pt x="0" y="18"/>
                    <a:pt x="0" y="40"/>
                  </a:cubicBezTo>
                  <a:cubicBezTo>
                    <a:pt x="0" y="57"/>
                    <a:pt x="10" y="72"/>
                    <a:pt x="25" y="78"/>
                  </a:cubicBezTo>
                  <a:cubicBezTo>
                    <a:pt x="25" y="67"/>
                    <a:pt x="25" y="67"/>
                    <a:pt x="25" y="67"/>
                  </a:cubicBezTo>
                  <a:cubicBezTo>
                    <a:pt x="16" y="61"/>
                    <a:pt x="10" y="52"/>
                    <a:pt x="10" y="40"/>
                  </a:cubicBezTo>
                  <a:cubicBezTo>
                    <a:pt x="10" y="23"/>
                    <a:pt x="24" y="10"/>
                    <a:pt x="41" y="10"/>
                  </a:cubicBezTo>
                  <a:cubicBezTo>
                    <a:pt x="58" y="10"/>
                    <a:pt x="72" y="23"/>
                    <a:pt x="72" y="40"/>
                  </a:cubicBezTo>
                  <a:cubicBezTo>
                    <a:pt x="72" y="52"/>
                    <a:pt x="66" y="62"/>
                    <a:pt x="57"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Freeform 90">
              <a:extLst>
                <a:ext uri="{FF2B5EF4-FFF2-40B4-BE49-F238E27FC236}">
                  <a16:creationId xmlns:a16="http://schemas.microsoft.com/office/drawing/2014/main" id="{85FA1F18-9623-4615-B08A-5061438EF5B0}"/>
                </a:ext>
              </a:extLst>
            </p:cNvPr>
            <p:cNvSpPr>
              <a:spLocks/>
            </p:cNvSpPr>
            <p:nvPr/>
          </p:nvSpPr>
          <p:spPr bwMode="auto">
            <a:xfrm>
              <a:off x="427038" y="3595610"/>
              <a:ext cx="391838" cy="381855"/>
            </a:xfrm>
            <a:custGeom>
              <a:avLst/>
              <a:gdLst>
                <a:gd name="T0" fmla="*/ 59 w 118"/>
                <a:gd name="T1" fmla="*/ 0 h 115"/>
                <a:gd name="T2" fmla="*/ 0 w 118"/>
                <a:gd name="T3" fmla="*/ 58 h 115"/>
                <a:gd name="T4" fmla="*/ 43 w 118"/>
                <a:gd name="T5" fmla="*/ 115 h 115"/>
                <a:gd name="T6" fmla="*/ 43 w 118"/>
                <a:gd name="T7" fmla="*/ 107 h 115"/>
                <a:gd name="T8" fmla="*/ 8 w 118"/>
                <a:gd name="T9" fmla="*/ 58 h 115"/>
                <a:gd name="T10" fmla="*/ 59 w 118"/>
                <a:gd name="T11" fmla="*/ 8 h 115"/>
                <a:gd name="T12" fmla="*/ 110 w 118"/>
                <a:gd name="T13" fmla="*/ 58 h 115"/>
                <a:gd name="T14" fmla="*/ 75 w 118"/>
                <a:gd name="T15" fmla="*/ 107 h 115"/>
                <a:gd name="T16" fmla="*/ 75 w 118"/>
                <a:gd name="T17" fmla="*/ 115 h 115"/>
                <a:gd name="T18" fmla="*/ 118 w 118"/>
                <a:gd name="T19" fmla="*/ 58 h 115"/>
                <a:gd name="T20" fmla="*/ 59 w 118"/>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15">
                  <a:moveTo>
                    <a:pt x="59" y="0"/>
                  </a:moveTo>
                  <a:cubicBezTo>
                    <a:pt x="26" y="0"/>
                    <a:pt x="0" y="26"/>
                    <a:pt x="0" y="58"/>
                  </a:cubicBezTo>
                  <a:cubicBezTo>
                    <a:pt x="0" y="85"/>
                    <a:pt x="18" y="108"/>
                    <a:pt x="43" y="115"/>
                  </a:cubicBezTo>
                  <a:cubicBezTo>
                    <a:pt x="43" y="107"/>
                    <a:pt x="43" y="107"/>
                    <a:pt x="43" y="107"/>
                  </a:cubicBezTo>
                  <a:cubicBezTo>
                    <a:pt x="23" y="100"/>
                    <a:pt x="8" y="81"/>
                    <a:pt x="8" y="58"/>
                  </a:cubicBezTo>
                  <a:cubicBezTo>
                    <a:pt x="8" y="30"/>
                    <a:pt x="31" y="8"/>
                    <a:pt x="59" y="8"/>
                  </a:cubicBezTo>
                  <a:cubicBezTo>
                    <a:pt x="87" y="8"/>
                    <a:pt x="110" y="30"/>
                    <a:pt x="110" y="58"/>
                  </a:cubicBezTo>
                  <a:cubicBezTo>
                    <a:pt x="110" y="81"/>
                    <a:pt x="95" y="100"/>
                    <a:pt x="75" y="107"/>
                  </a:cubicBezTo>
                  <a:cubicBezTo>
                    <a:pt x="75" y="115"/>
                    <a:pt x="75" y="115"/>
                    <a:pt x="75" y="115"/>
                  </a:cubicBezTo>
                  <a:cubicBezTo>
                    <a:pt x="100" y="108"/>
                    <a:pt x="118" y="86"/>
                    <a:pt x="118" y="58"/>
                  </a:cubicBezTo>
                  <a:cubicBezTo>
                    <a:pt x="118" y="26"/>
                    <a:pt x="92"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 name="Freeform 91">
              <a:extLst>
                <a:ext uri="{FF2B5EF4-FFF2-40B4-BE49-F238E27FC236}">
                  <a16:creationId xmlns:a16="http://schemas.microsoft.com/office/drawing/2014/main" id="{D10A3224-49C7-47E7-85E6-3BABF8145069}"/>
                </a:ext>
              </a:extLst>
            </p:cNvPr>
            <p:cNvSpPr>
              <a:spLocks/>
            </p:cNvSpPr>
            <p:nvPr/>
          </p:nvSpPr>
          <p:spPr bwMode="auto">
            <a:xfrm>
              <a:off x="566802" y="3750348"/>
              <a:ext cx="119797" cy="319460"/>
            </a:xfrm>
            <a:custGeom>
              <a:avLst/>
              <a:gdLst>
                <a:gd name="T0" fmla="*/ 24 w 36"/>
                <a:gd name="T1" fmla="*/ 82 h 96"/>
                <a:gd name="T2" fmla="*/ 24 w 36"/>
                <a:gd name="T3" fmla="*/ 21 h 96"/>
                <a:gd name="T4" fmla="*/ 29 w 36"/>
                <a:gd name="T5" fmla="*/ 12 h 96"/>
                <a:gd name="T6" fmla="*/ 17 w 36"/>
                <a:gd name="T7" fmla="*/ 0 h 96"/>
                <a:gd name="T8" fmla="*/ 5 w 36"/>
                <a:gd name="T9" fmla="*/ 12 h 96"/>
                <a:gd name="T10" fmla="*/ 10 w 36"/>
                <a:gd name="T11" fmla="*/ 21 h 96"/>
                <a:gd name="T12" fmla="*/ 10 w 36"/>
                <a:gd name="T13" fmla="*/ 21 h 96"/>
                <a:gd name="T14" fmla="*/ 10 w 36"/>
                <a:gd name="T15" fmla="*/ 82 h 96"/>
                <a:gd name="T16" fmla="*/ 0 w 36"/>
                <a:gd name="T17" fmla="*/ 96 h 96"/>
                <a:gd name="T18" fmla="*/ 36 w 36"/>
                <a:gd name="T19" fmla="*/ 96 h 96"/>
                <a:gd name="T20" fmla="*/ 24 w 36"/>
                <a:gd name="T21"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96">
                  <a:moveTo>
                    <a:pt x="24" y="82"/>
                  </a:moveTo>
                  <a:cubicBezTo>
                    <a:pt x="24" y="79"/>
                    <a:pt x="24" y="22"/>
                    <a:pt x="24" y="21"/>
                  </a:cubicBezTo>
                  <a:cubicBezTo>
                    <a:pt x="27" y="19"/>
                    <a:pt x="29" y="16"/>
                    <a:pt x="29" y="12"/>
                  </a:cubicBezTo>
                  <a:cubicBezTo>
                    <a:pt x="29" y="5"/>
                    <a:pt x="24" y="0"/>
                    <a:pt x="17" y="0"/>
                  </a:cubicBezTo>
                  <a:cubicBezTo>
                    <a:pt x="10" y="0"/>
                    <a:pt x="5" y="5"/>
                    <a:pt x="5" y="12"/>
                  </a:cubicBezTo>
                  <a:cubicBezTo>
                    <a:pt x="5" y="16"/>
                    <a:pt x="7" y="19"/>
                    <a:pt x="10" y="21"/>
                  </a:cubicBezTo>
                  <a:cubicBezTo>
                    <a:pt x="10" y="21"/>
                    <a:pt x="10" y="21"/>
                    <a:pt x="10" y="21"/>
                  </a:cubicBezTo>
                  <a:cubicBezTo>
                    <a:pt x="10" y="21"/>
                    <a:pt x="10" y="78"/>
                    <a:pt x="10" y="82"/>
                  </a:cubicBezTo>
                  <a:cubicBezTo>
                    <a:pt x="10" y="92"/>
                    <a:pt x="0" y="96"/>
                    <a:pt x="0" y="96"/>
                  </a:cubicBezTo>
                  <a:cubicBezTo>
                    <a:pt x="36" y="96"/>
                    <a:pt x="36" y="96"/>
                    <a:pt x="36" y="96"/>
                  </a:cubicBezTo>
                  <a:cubicBezTo>
                    <a:pt x="36" y="96"/>
                    <a:pt x="24" y="92"/>
                    <a:pt x="24"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8" name="Group 199">
            <a:extLst>
              <a:ext uri="{FF2B5EF4-FFF2-40B4-BE49-F238E27FC236}">
                <a16:creationId xmlns:a16="http://schemas.microsoft.com/office/drawing/2014/main" id="{08ED452D-DF28-47BD-A955-406E2EB2DAFF}"/>
              </a:ext>
            </a:extLst>
          </p:cNvPr>
          <p:cNvGrpSpPr/>
          <p:nvPr/>
        </p:nvGrpSpPr>
        <p:grpSpPr>
          <a:xfrm>
            <a:off x="3218070" y="2369236"/>
            <a:ext cx="528826" cy="390611"/>
            <a:chOff x="2563427" y="3717902"/>
            <a:chExt cx="439257" cy="324452"/>
          </a:xfrm>
          <a:solidFill>
            <a:srgbClr val="86BC25"/>
          </a:solidFill>
        </p:grpSpPr>
        <p:sp>
          <p:nvSpPr>
            <p:cNvPr id="59" name="Freeform 92">
              <a:extLst>
                <a:ext uri="{FF2B5EF4-FFF2-40B4-BE49-F238E27FC236}">
                  <a16:creationId xmlns:a16="http://schemas.microsoft.com/office/drawing/2014/main" id="{ED6BE859-D09F-474A-82E1-8FD7C9059CDD}"/>
                </a:ext>
              </a:extLst>
            </p:cNvPr>
            <p:cNvSpPr>
              <a:spLocks/>
            </p:cNvSpPr>
            <p:nvPr/>
          </p:nvSpPr>
          <p:spPr bwMode="auto">
            <a:xfrm>
              <a:off x="2720660" y="3942523"/>
              <a:ext cx="127286" cy="99831"/>
            </a:xfrm>
            <a:custGeom>
              <a:avLst/>
              <a:gdLst>
                <a:gd name="T0" fmla="*/ 37 w 38"/>
                <a:gd name="T1" fmla="*/ 10 h 30"/>
                <a:gd name="T2" fmla="*/ 1 w 38"/>
                <a:gd name="T3" fmla="*/ 11 h 30"/>
                <a:gd name="T4" fmla="*/ 1 w 38"/>
                <a:gd name="T5" fmla="*/ 13 h 30"/>
                <a:gd name="T6" fmla="*/ 19 w 38"/>
                <a:gd name="T7" fmla="*/ 30 h 30"/>
                <a:gd name="T8" fmla="*/ 36 w 38"/>
                <a:gd name="T9" fmla="*/ 13 h 30"/>
                <a:gd name="T10" fmla="*/ 37 w 38"/>
                <a:gd name="T11" fmla="*/ 10 h 30"/>
              </a:gdLst>
              <a:ahLst/>
              <a:cxnLst>
                <a:cxn ang="0">
                  <a:pos x="T0" y="T1"/>
                </a:cxn>
                <a:cxn ang="0">
                  <a:pos x="T2" y="T3"/>
                </a:cxn>
                <a:cxn ang="0">
                  <a:pos x="T4" y="T5"/>
                </a:cxn>
                <a:cxn ang="0">
                  <a:pos x="T6" y="T7"/>
                </a:cxn>
                <a:cxn ang="0">
                  <a:pos x="T8" y="T9"/>
                </a:cxn>
                <a:cxn ang="0">
                  <a:pos x="T10" y="T11"/>
                </a:cxn>
              </a:cxnLst>
              <a:rect l="0" t="0" r="r" b="b"/>
              <a:pathLst>
                <a:path w="38" h="30">
                  <a:moveTo>
                    <a:pt x="37" y="10"/>
                  </a:moveTo>
                  <a:cubicBezTo>
                    <a:pt x="26" y="1"/>
                    <a:pt x="12" y="0"/>
                    <a:pt x="1" y="11"/>
                  </a:cubicBezTo>
                  <a:cubicBezTo>
                    <a:pt x="1" y="11"/>
                    <a:pt x="0" y="12"/>
                    <a:pt x="1" y="13"/>
                  </a:cubicBezTo>
                  <a:cubicBezTo>
                    <a:pt x="19" y="30"/>
                    <a:pt x="19" y="30"/>
                    <a:pt x="19" y="30"/>
                  </a:cubicBezTo>
                  <a:cubicBezTo>
                    <a:pt x="36" y="13"/>
                    <a:pt x="36" y="13"/>
                    <a:pt x="36" y="13"/>
                  </a:cubicBezTo>
                  <a:cubicBezTo>
                    <a:pt x="38" y="11"/>
                    <a:pt x="37" y="11"/>
                    <a:pt x="3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0" name="Freeform 93">
              <a:extLst>
                <a:ext uri="{FF2B5EF4-FFF2-40B4-BE49-F238E27FC236}">
                  <a16:creationId xmlns:a16="http://schemas.microsoft.com/office/drawing/2014/main" id="{ECF9A466-AAEB-4812-AA5F-F98E07187353}"/>
                </a:ext>
              </a:extLst>
            </p:cNvPr>
            <p:cNvSpPr>
              <a:spLocks/>
            </p:cNvSpPr>
            <p:nvPr/>
          </p:nvSpPr>
          <p:spPr bwMode="auto">
            <a:xfrm>
              <a:off x="2638300" y="3830213"/>
              <a:ext cx="292007" cy="129781"/>
            </a:xfrm>
            <a:custGeom>
              <a:avLst/>
              <a:gdLst>
                <a:gd name="T0" fmla="*/ 87 w 88"/>
                <a:gd name="T1" fmla="*/ 23 h 39"/>
                <a:gd name="T2" fmla="*/ 0 w 88"/>
                <a:gd name="T3" fmla="*/ 24 h 39"/>
                <a:gd name="T4" fmla="*/ 0 w 88"/>
                <a:gd name="T5" fmla="*/ 26 h 39"/>
                <a:gd name="T6" fmla="*/ 13 w 88"/>
                <a:gd name="T7" fmla="*/ 38 h 39"/>
                <a:gd name="T8" fmla="*/ 15 w 88"/>
                <a:gd name="T9" fmla="*/ 38 h 39"/>
                <a:gd name="T10" fmla="*/ 73 w 88"/>
                <a:gd name="T11" fmla="*/ 38 h 39"/>
                <a:gd name="T12" fmla="*/ 75 w 88"/>
                <a:gd name="T13" fmla="*/ 38 h 39"/>
                <a:gd name="T14" fmla="*/ 88 w 88"/>
                <a:gd name="T15" fmla="*/ 26 h 39"/>
                <a:gd name="T16" fmla="*/ 88 w 88"/>
                <a:gd name="T17" fmla="*/ 26 h 39"/>
                <a:gd name="T18" fmla="*/ 88 w 88"/>
                <a:gd name="T19" fmla="*/ 24 h 39"/>
                <a:gd name="T20" fmla="*/ 87 w 88"/>
                <a:gd name="T21"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39">
                  <a:moveTo>
                    <a:pt x="87" y="23"/>
                  </a:moveTo>
                  <a:cubicBezTo>
                    <a:pt x="63" y="0"/>
                    <a:pt x="24" y="0"/>
                    <a:pt x="0" y="24"/>
                  </a:cubicBezTo>
                  <a:cubicBezTo>
                    <a:pt x="0" y="24"/>
                    <a:pt x="0" y="25"/>
                    <a:pt x="0" y="26"/>
                  </a:cubicBezTo>
                  <a:cubicBezTo>
                    <a:pt x="13" y="38"/>
                    <a:pt x="13" y="38"/>
                    <a:pt x="13" y="38"/>
                  </a:cubicBezTo>
                  <a:cubicBezTo>
                    <a:pt x="13" y="39"/>
                    <a:pt x="14" y="39"/>
                    <a:pt x="15" y="38"/>
                  </a:cubicBezTo>
                  <a:cubicBezTo>
                    <a:pt x="31" y="22"/>
                    <a:pt x="57" y="22"/>
                    <a:pt x="73" y="38"/>
                  </a:cubicBezTo>
                  <a:cubicBezTo>
                    <a:pt x="74" y="39"/>
                    <a:pt x="75" y="39"/>
                    <a:pt x="75" y="38"/>
                  </a:cubicBezTo>
                  <a:cubicBezTo>
                    <a:pt x="88" y="26"/>
                    <a:pt x="88" y="26"/>
                    <a:pt x="88" y="26"/>
                  </a:cubicBezTo>
                  <a:cubicBezTo>
                    <a:pt x="88" y="26"/>
                    <a:pt x="88" y="26"/>
                    <a:pt x="88" y="26"/>
                  </a:cubicBezTo>
                  <a:cubicBezTo>
                    <a:pt x="88" y="25"/>
                    <a:pt x="88" y="24"/>
                    <a:pt x="88" y="24"/>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1" name="Freeform 94">
              <a:extLst>
                <a:ext uri="{FF2B5EF4-FFF2-40B4-BE49-F238E27FC236}">
                  <a16:creationId xmlns:a16="http://schemas.microsoft.com/office/drawing/2014/main" id="{C8C35126-F088-427C-85F6-D36ABDCFC36E}"/>
                </a:ext>
              </a:extLst>
            </p:cNvPr>
            <p:cNvSpPr>
              <a:spLocks/>
            </p:cNvSpPr>
            <p:nvPr/>
          </p:nvSpPr>
          <p:spPr bwMode="auto">
            <a:xfrm>
              <a:off x="2563427" y="3717902"/>
              <a:ext cx="439257" cy="169713"/>
            </a:xfrm>
            <a:custGeom>
              <a:avLst/>
              <a:gdLst>
                <a:gd name="T0" fmla="*/ 131 w 132"/>
                <a:gd name="T1" fmla="*/ 36 h 51"/>
                <a:gd name="T2" fmla="*/ 131 w 132"/>
                <a:gd name="T3" fmla="*/ 36 h 51"/>
                <a:gd name="T4" fmla="*/ 1 w 132"/>
                <a:gd name="T5" fmla="*/ 36 h 51"/>
                <a:gd name="T6" fmla="*/ 1 w 132"/>
                <a:gd name="T7" fmla="*/ 38 h 51"/>
                <a:gd name="T8" fmla="*/ 14 w 132"/>
                <a:gd name="T9" fmla="*/ 51 h 51"/>
                <a:gd name="T10" fmla="*/ 16 w 132"/>
                <a:gd name="T11" fmla="*/ 51 h 51"/>
                <a:gd name="T12" fmla="*/ 116 w 132"/>
                <a:gd name="T13" fmla="*/ 51 h 51"/>
                <a:gd name="T14" fmla="*/ 118 w 132"/>
                <a:gd name="T15" fmla="*/ 51 h 51"/>
                <a:gd name="T16" fmla="*/ 131 w 132"/>
                <a:gd name="T17" fmla="*/ 38 h 51"/>
                <a:gd name="T18" fmla="*/ 131 w 132"/>
                <a:gd name="T19" fmla="*/ 38 h 51"/>
                <a:gd name="T20" fmla="*/ 131 w 132"/>
                <a:gd name="T21"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51">
                  <a:moveTo>
                    <a:pt x="131" y="36"/>
                  </a:moveTo>
                  <a:cubicBezTo>
                    <a:pt x="131" y="36"/>
                    <a:pt x="131" y="36"/>
                    <a:pt x="131" y="36"/>
                  </a:cubicBezTo>
                  <a:cubicBezTo>
                    <a:pt x="95" y="0"/>
                    <a:pt x="37" y="0"/>
                    <a:pt x="1" y="36"/>
                  </a:cubicBezTo>
                  <a:cubicBezTo>
                    <a:pt x="0" y="37"/>
                    <a:pt x="0" y="37"/>
                    <a:pt x="1" y="38"/>
                  </a:cubicBezTo>
                  <a:cubicBezTo>
                    <a:pt x="14" y="51"/>
                    <a:pt x="14" y="51"/>
                    <a:pt x="14" y="51"/>
                  </a:cubicBezTo>
                  <a:cubicBezTo>
                    <a:pt x="14" y="51"/>
                    <a:pt x="15" y="51"/>
                    <a:pt x="16" y="51"/>
                  </a:cubicBezTo>
                  <a:cubicBezTo>
                    <a:pt x="43" y="23"/>
                    <a:pt x="89" y="23"/>
                    <a:pt x="116" y="51"/>
                  </a:cubicBezTo>
                  <a:cubicBezTo>
                    <a:pt x="117" y="51"/>
                    <a:pt x="118" y="51"/>
                    <a:pt x="118" y="51"/>
                  </a:cubicBezTo>
                  <a:cubicBezTo>
                    <a:pt x="131" y="38"/>
                    <a:pt x="131" y="38"/>
                    <a:pt x="131" y="38"/>
                  </a:cubicBezTo>
                  <a:cubicBezTo>
                    <a:pt x="131" y="38"/>
                    <a:pt x="131" y="38"/>
                    <a:pt x="131" y="38"/>
                  </a:cubicBezTo>
                  <a:cubicBezTo>
                    <a:pt x="132" y="37"/>
                    <a:pt x="132" y="36"/>
                    <a:pt x="13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62" name="Group 203">
            <a:extLst>
              <a:ext uri="{FF2B5EF4-FFF2-40B4-BE49-F238E27FC236}">
                <a16:creationId xmlns:a16="http://schemas.microsoft.com/office/drawing/2014/main" id="{2A1599EB-054A-4995-B6A4-F05E58C4E53A}"/>
              </a:ext>
            </a:extLst>
          </p:cNvPr>
          <p:cNvGrpSpPr/>
          <p:nvPr/>
        </p:nvGrpSpPr>
        <p:grpSpPr>
          <a:xfrm>
            <a:off x="2716374" y="2676482"/>
            <a:ext cx="501785" cy="312488"/>
            <a:chOff x="2942785" y="3296116"/>
            <a:chExt cx="416796" cy="259561"/>
          </a:xfrm>
          <a:solidFill>
            <a:srgbClr val="97999B"/>
          </a:solidFill>
        </p:grpSpPr>
        <p:sp>
          <p:nvSpPr>
            <p:cNvPr id="63" name="Freeform 95">
              <a:extLst>
                <a:ext uri="{FF2B5EF4-FFF2-40B4-BE49-F238E27FC236}">
                  <a16:creationId xmlns:a16="http://schemas.microsoft.com/office/drawing/2014/main" id="{567AEF6A-7A70-4010-B135-BA93C0627144}"/>
                </a:ext>
              </a:extLst>
            </p:cNvPr>
            <p:cNvSpPr>
              <a:spLocks noEditPoints="1"/>
            </p:cNvSpPr>
            <p:nvPr/>
          </p:nvSpPr>
          <p:spPr bwMode="auto">
            <a:xfrm>
              <a:off x="2942785" y="3296116"/>
              <a:ext cx="416796" cy="259561"/>
            </a:xfrm>
            <a:custGeom>
              <a:avLst/>
              <a:gdLst>
                <a:gd name="T0" fmla="*/ 113 w 125"/>
                <a:gd name="T1" fmla="*/ 18 h 78"/>
                <a:gd name="T2" fmla="*/ 113 w 125"/>
                <a:gd name="T3" fmla="*/ 0 h 78"/>
                <a:gd name="T4" fmla="*/ 0 w 125"/>
                <a:gd name="T5" fmla="*/ 0 h 78"/>
                <a:gd name="T6" fmla="*/ 0 w 125"/>
                <a:gd name="T7" fmla="*/ 78 h 78"/>
                <a:gd name="T8" fmla="*/ 113 w 125"/>
                <a:gd name="T9" fmla="*/ 78 h 78"/>
                <a:gd name="T10" fmla="*/ 113 w 125"/>
                <a:gd name="T11" fmla="*/ 60 h 78"/>
                <a:gd name="T12" fmla="*/ 125 w 125"/>
                <a:gd name="T13" fmla="*/ 54 h 78"/>
                <a:gd name="T14" fmla="*/ 125 w 125"/>
                <a:gd name="T15" fmla="*/ 25 h 78"/>
                <a:gd name="T16" fmla="*/ 113 w 125"/>
                <a:gd name="T17" fmla="*/ 18 h 78"/>
                <a:gd name="T18" fmla="*/ 104 w 125"/>
                <a:gd name="T19" fmla="*/ 68 h 78"/>
                <a:gd name="T20" fmla="*/ 10 w 125"/>
                <a:gd name="T21" fmla="*/ 68 h 78"/>
                <a:gd name="T22" fmla="*/ 10 w 125"/>
                <a:gd name="T23" fmla="*/ 9 h 78"/>
                <a:gd name="T24" fmla="*/ 104 w 125"/>
                <a:gd name="T25" fmla="*/ 9 h 78"/>
                <a:gd name="T26" fmla="*/ 104 w 125"/>
                <a:gd name="T2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8">
                  <a:moveTo>
                    <a:pt x="113" y="18"/>
                  </a:moveTo>
                  <a:cubicBezTo>
                    <a:pt x="113" y="0"/>
                    <a:pt x="113" y="0"/>
                    <a:pt x="113" y="0"/>
                  </a:cubicBezTo>
                  <a:cubicBezTo>
                    <a:pt x="0" y="0"/>
                    <a:pt x="0" y="0"/>
                    <a:pt x="0" y="0"/>
                  </a:cubicBezTo>
                  <a:cubicBezTo>
                    <a:pt x="0" y="78"/>
                    <a:pt x="0" y="78"/>
                    <a:pt x="0" y="78"/>
                  </a:cubicBezTo>
                  <a:cubicBezTo>
                    <a:pt x="113" y="78"/>
                    <a:pt x="113" y="78"/>
                    <a:pt x="113" y="78"/>
                  </a:cubicBezTo>
                  <a:cubicBezTo>
                    <a:pt x="113" y="60"/>
                    <a:pt x="113" y="60"/>
                    <a:pt x="113" y="60"/>
                  </a:cubicBezTo>
                  <a:cubicBezTo>
                    <a:pt x="117" y="60"/>
                    <a:pt x="125" y="61"/>
                    <a:pt x="125" y="54"/>
                  </a:cubicBezTo>
                  <a:cubicBezTo>
                    <a:pt x="125" y="25"/>
                    <a:pt x="125" y="25"/>
                    <a:pt x="125" y="25"/>
                  </a:cubicBezTo>
                  <a:cubicBezTo>
                    <a:pt x="125" y="17"/>
                    <a:pt x="116" y="18"/>
                    <a:pt x="113" y="18"/>
                  </a:cubicBezTo>
                  <a:close/>
                  <a:moveTo>
                    <a:pt x="104" y="68"/>
                  </a:moveTo>
                  <a:cubicBezTo>
                    <a:pt x="10" y="68"/>
                    <a:pt x="10" y="68"/>
                    <a:pt x="10" y="68"/>
                  </a:cubicBezTo>
                  <a:cubicBezTo>
                    <a:pt x="10" y="9"/>
                    <a:pt x="10" y="9"/>
                    <a:pt x="10" y="9"/>
                  </a:cubicBezTo>
                  <a:cubicBezTo>
                    <a:pt x="104" y="9"/>
                    <a:pt x="104" y="9"/>
                    <a:pt x="104" y="9"/>
                  </a:cubicBezTo>
                  <a:lnTo>
                    <a:pt x="10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4" name="Rectangle 96">
              <a:extLst>
                <a:ext uri="{FF2B5EF4-FFF2-40B4-BE49-F238E27FC236}">
                  <a16:creationId xmlns:a16="http://schemas.microsoft.com/office/drawing/2014/main" id="{F60202F8-1624-48B2-80AB-09C5DE9E2F37}"/>
                </a:ext>
              </a:extLst>
            </p:cNvPr>
            <p:cNvSpPr>
              <a:spLocks noChangeArrowheads="1"/>
            </p:cNvSpPr>
            <p:nvPr/>
          </p:nvSpPr>
          <p:spPr bwMode="auto">
            <a:xfrm>
              <a:off x="3000187" y="3351023"/>
              <a:ext cx="79865" cy="1447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5" name="Rectangle 97">
              <a:extLst>
                <a:ext uri="{FF2B5EF4-FFF2-40B4-BE49-F238E27FC236}">
                  <a16:creationId xmlns:a16="http://schemas.microsoft.com/office/drawing/2014/main" id="{23EB896E-D5C2-4BC5-8640-73EB5CE2ECAF}"/>
                </a:ext>
              </a:extLst>
            </p:cNvPr>
            <p:cNvSpPr>
              <a:spLocks noChangeArrowheads="1"/>
            </p:cNvSpPr>
            <p:nvPr/>
          </p:nvSpPr>
          <p:spPr bwMode="auto">
            <a:xfrm>
              <a:off x="3092532" y="3351023"/>
              <a:ext cx="77370" cy="1447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66" name="Freeform 103">
            <a:extLst>
              <a:ext uri="{FF2B5EF4-FFF2-40B4-BE49-F238E27FC236}">
                <a16:creationId xmlns:a16="http://schemas.microsoft.com/office/drawing/2014/main" id="{8347D2F4-983C-4C78-9A88-6D407C74E076}"/>
              </a:ext>
            </a:extLst>
          </p:cNvPr>
          <p:cNvSpPr>
            <a:spLocks noEditPoints="1"/>
          </p:cNvSpPr>
          <p:nvPr/>
        </p:nvSpPr>
        <p:spPr bwMode="auto">
          <a:xfrm>
            <a:off x="5614252" y="2564541"/>
            <a:ext cx="453710" cy="447700"/>
          </a:xfrm>
          <a:custGeom>
            <a:avLst/>
            <a:gdLst>
              <a:gd name="T0" fmla="*/ 14 w 113"/>
              <a:gd name="T1" fmla="*/ 13 h 112"/>
              <a:gd name="T2" fmla="*/ 14 w 113"/>
              <a:gd name="T3" fmla="*/ 63 h 112"/>
              <a:gd name="T4" fmla="*/ 49 w 113"/>
              <a:gd name="T5" fmla="*/ 71 h 112"/>
              <a:gd name="T6" fmla="*/ 60 w 113"/>
              <a:gd name="T7" fmla="*/ 82 h 112"/>
              <a:gd name="T8" fmla="*/ 75 w 113"/>
              <a:gd name="T9" fmla="*/ 79 h 112"/>
              <a:gd name="T10" fmla="*/ 75 w 113"/>
              <a:gd name="T11" fmla="*/ 93 h 112"/>
              <a:gd name="T12" fmla="*/ 78 w 113"/>
              <a:gd name="T13" fmla="*/ 97 h 112"/>
              <a:gd name="T14" fmla="*/ 92 w 113"/>
              <a:gd name="T15" fmla="*/ 97 h 112"/>
              <a:gd name="T16" fmla="*/ 91 w 113"/>
              <a:gd name="T17" fmla="*/ 112 h 112"/>
              <a:gd name="T18" fmla="*/ 113 w 113"/>
              <a:gd name="T19" fmla="*/ 112 h 112"/>
              <a:gd name="T20" fmla="*/ 113 w 113"/>
              <a:gd name="T21" fmla="*/ 91 h 112"/>
              <a:gd name="T22" fmla="*/ 71 w 113"/>
              <a:gd name="T23" fmla="*/ 49 h 112"/>
              <a:gd name="T24" fmla="*/ 63 w 113"/>
              <a:gd name="T25" fmla="*/ 13 h 112"/>
              <a:gd name="T26" fmla="*/ 14 w 113"/>
              <a:gd name="T27" fmla="*/ 13 h 112"/>
              <a:gd name="T28" fmla="*/ 17 w 113"/>
              <a:gd name="T29" fmla="*/ 53 h 112"/>
              <a:gd name="T30" fmla="*/ 20 w 113"/>
              <a:gd name="T31" fmla="*/ 20 h 112"/>
              <a:gd name="T32" fmla="*/ 53 w 113"/>
              <a:gd name="T33" fmla="*/ 17 h 112"/>
              <a:gd name="T34" fmla="*/ 17 w 113"/>
              <a:gd name="T35" fmla="*/ 5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112">
                <a:moveTo>
                  <a:pt x="14" y="13"/>
                </a:moveTo>
                <a:cubicBezTo>
                  <a:pt x="0" y="27"/>
                  <a:pt x="0" y="49"/>
                  <a:pt x="14" y="63"/>
                </a:cubicBezTo>
                <a:cubicBezTo>
                  <a:pt x="23" y="72"/>
                  <a:pt x="37" y="75"/>
                  <a:pt x="49" y="71"/>
                </a:cubicBezTo>
                <a:cubicBezTo>
                  <a:pt x="60" y="82"/>
                  <a:pt x="60" y="82"/>
                  <a:pt x="60" y="82"/>
                </a:cubicBezTo>
                <a:cubicBezTo>
                  <a:pt x="60" y="82"/>
                  <a:pt x="70" y="74"/>
                  <a:pt x="75" y="79"/>
                </a:cubicBezTo>
                <a:cubicBezTo>
                  <a:pt x="79" y="83"/>
                  <a:pt x="76" y="89"/>
                  <a:pt x="75" y="93"/>
                </a:cubicBezTo>
                <a:cubicBezTo>
                  <a:pt x="74" y="95"/>
                  <a:pt x="73" y="99"/>
                  <a:pt x="78" y="97"/>
                </a:cubicBezTo>
                <a:cubicBezTo>
                  <a:pt x="81" y="96"/>
                  <a:pt x="88" y="92"/>
                  <a:pt x="92" y="97"/>
                </a:cubicBezTo>
                <a:cubicBezTo>
                  <a:pt x="97" y="102"/>
                  <a:pt x="91" y="112"/>
                  <a:pt x="91" y="112"/>
                </a:cubicBezTo>
                <a:cubicBezTo>
                  <a:pt x="113" y="112"/>
                  <a:pt x="113" y="112"/>
                  <a:pt x="113" y="112"/>
                </a:cubicBezTo>
                <a:cubicBezTo>
                  <a:pt x="113" y="91"/>
                  <a:pt x="113" y="91"/>
                  <a:pt x="113" y="91"/>
                </a:cubicBezTo>
                <a:cubicBezTo>
                  <a:pt x="71" y="49"/>
                  <a:pt x="71" y="49"/>
                  <a:pt x="71" y="49"/>
                </a:cubicBezTo>
                <a:cubicBezTo>
                  <a:pt x="75" y="37"/>
                  <a:pt x="72" y="23"/>
                  <a:pt x="63" y="13"/>
                </a:cubicBezTo>
                <a:cubicBezTo>
                  <a:pt x="49" y="0"/>
                  <a:pt x="27" y="0"/>
                  <a:pt x="14" y="13"/>
                </a:cubicBezTo>
                <a:close/>
                <a:moveTo>
                  <a:pt x="17" y="53"/>
                </a:moveTo>
                <a:cubicBezTo>
                  <a:pt x="11" y="43"/>
                  <a:pt x="12" y="29"/>
                  <a:pt x="20" y="20"/>
                </a:cubicBezTo>
                <a:cubicBezTo>
                  <a:pt x="29" y="12"/>
                  <a:pt x="43" y="11"/>
                  <a:pt x="53" y="17"/>
                </a:cubicBezTo>
                <a:lnTo>
                  <a:pt x="17" y="53"/>
                </a:ln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7" name="Freeform 104">
            <a:extLst>
              <a:ext uri="{FF2B5EF4-FFF2-40B4-BE49-F238E27FC236}">
                <a16:creationId xmlns:a16="http://schemas.microsoft.com/office/drawing/2014/main" id="{429CEC48-4806-478D-93F1-01F38535A499}"/>
              </a:ext>
            </a:extLst>
          </p:cNvPr>
          <p:cNvSpPr>
            <a:spLocks noEditPoints="1"/>
          </p:cNvSpPr>
          <p:nvPr/>
        </p:nvSpPr>
        <p:spPr bwMode="auto">
          <a:xfrm>
            <a:off x="780306" y="4635945"/>
            <a:ext cx="480751" cy="474741"/>
          </a:xfrm>
          <a:custGeom>
            <a:avLst/>
            <a:gdLst>
              <a:gd name="T0" fmla="*/ 53 w 120"/>
              <a:gd name="T1" fmla="*/ 35 h 118"/>
              <a:gd name="T2" fmla="*/ 47 w 120"/>
              <a:gd name="T3" fmla="*/ 9 h 118"/>
              <a:gd name="T4" fmla="*/ 21 w 120"/>
              <a:gd name="T5" fmla="*/ 2 h 118"/>
              <a:gd name="T6" fmla="*/ 36 w 120"/>
              <a:gd name="T7" fmla="*/ 17 h 118"/>
              <a:gd name="T8" fmla="*/ 32 w 120"/>
              <a:gd name="T9" fmla="*/ 32 h 118"/>
              <a:gd name="T10" fmla="*/ 17 w 120"/>
              <a:gd name="T11" fmla="*/ 36 h 118"/>
              <a:gd name="T12" fmla="*/ 2 w 120"/>
              <a:gd name="T13" fmla="*/ 21 h 118"/>
              <a:gd name="T14" fmla="*/ 9 w 120"/>
              <a:gd name="T15" fmla="*/ 47 h 118"/>
              <a:gd name="T16" fmla="*/ 36 w 120"/>
              <a:gd name="T17" fmla="*/ 53 h 118"/>
              <a:gd name="T18" fmla="*/ 36 w 120"/>
              <a:gd name="T19" fmla="*/ 53 h 118"/>
              <a:gd name="T20" fmla="*/ 98 w 120"/>
              <a:gd name="T21" fmla="*/ 115 h 118"/>
              <a:gd name="T22" fmla="*/ 107 w 120"/>
              <a:gd name="T23" fmla="*/ 118 h 118"/>
              <a:gd name="T24" fmla="*/ 115 w 120"/>
              <a:gd name="T25" fmla="*/ 115 h 118"/>
              <a:gd name="T26" fmla="*/ 115 w 120"/>
              <a:gd name="T27" fmla="*/ 97 h 118"/>
              <a:gd name="T28" fmla="*/ 53 w 120"/>
              <a:gd name="T29" fmla="*/ 35 h 118"/>
              <a:gd name="T30" fmla="*/ 108 w 120"/>
              <a:gd name="T31" fmla="*/ 113 h 118"/>
              <a:gd name="T32" fmla="*/ 103 w 120"/>
              <a:gd name="T33" fmla="*/ 108 h 118"/>
              <a:gd name="T34" fmla="*/ 108 w 120"/>
              <a:gd name="T35" fmla="*/ 103 h 118"/>
              <a:gd name="T36" fmla="*/ 113 w 120"/>
              <a:gd name="T37" fmla="*/ 108 h 118"/>
              <a:gd name="T38" fmla="*/ 108 w 120"/>
              <a:gd name="T39" fmla="*/ 11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18">
                <a:moveTo>
                  <a:pt x="53" y="35"/>
                </a:moveTo>
                <a:cubicBezTo>
                  <a:pt x="56" y="26"/>
                  <a:pt x="54" y="16"/>
                  <a:pt x="47" y="9"/>
                </a:cubicBezTo>
                <a:cubicBezTo>
                  <a:pt x="40" y="2"/>
                  <a:pt x="30" y="0"/>
                  <a:pt x="21" y="2"/>
                </a:cubicBezTo>
                <a:cubicBezTo>
                  <a:pt x="36" y="17"/>
                  <a:pt x="36" y="17"/>
                  <a:pt x="36" y="17"/>
                </a:cubicBezTo>
                <a:cubicBezTo>
                  <a:pt x="32" y="32"/>
                  <a:pt x="32" y="32"/>
                  <a:pt x="32" y="32"/>
                </a:cubicBezTo>
                <a:cubicBezTo>
                  <a:pt x="17" y="36"/>
                  <a:pt x="17" y="36"/>
                  <a:pt x="17" y="36"/>
                </a:cubicBezTo>
                <a:cubicBezTo>
                  <a:pt x="2" y="21"/>
                  <a:pt x="2" y="21"/>
                  <a:pt x="2" y="21"/>
                </a:cubicBezTo>
                <a:cubicBezTo>
                  <a:pt x="0" y="30"/>
                  <a:pt x="2" y="40"/>
                  <a:pt x="9" y="47"/>
                </a:cubicBezTo>
                <a:cubicBezTo>
                  <a:pt x="17" y="54"/>
                  <a:pt x="27" y="56"/>
                  <a:pt x="36" y="53"/>
                </a:cubicBezTo>
                <a:cubicBezTo>
                  <a:pt x="36" y="53"/>
                  <a:pt x="36" y="53"/>
                  <a:pt x="36" y="53"/>
                </a:cubicBezTo>
                <a:cubicBezTo>
                  <a:pt x="98" y="115"/>
                  <a:pt x="98" y="115"/>
                  <a:pt x="98" y="115"/>
                </a:cubicBezTo>
                <a:cubicBezTo>
                  <a:pt x="100" y="117"/>
                  <a:pt x="103" y="118"/>
                  <a:pt x="107" y="118"/>
                </a:cubicBezTo>
                <a:cubicBezTo>
                  <a:pt x="110" y="118"/>
                  <a:pt x="113" y="117"/>
                  <a:pt x="115" y="115"/>
                </a:cubicBezTo>
                <a:cubicBezTo>
                  <a:pt x="120" y="110"/>
                  <a:pt x="120" y="102"/>
                  <a:pt x="115" y="97"/>
                </a:cubicBezTo>
                <a:lnTo>
                  <a:pt x="53" y="35"/>
                </a:lnTo>
                <a:close/>
                <a:moveTo>
                  <a:pt x="108" y="113"/>
                </a:moveTo>
                <a:cubicBezTo>
                  <a:pt x="105" y="113"/>
                  <a:pt x="103" y="110"/>
                  <a:pt x="103" y="108"/>
                </a:cubicBezTo>
                <a:cubicBezTo>
                  <a:pt x="103" y="105"/>
                  <a:pt x="105" y="103"/>
                  <a:pt x="108" y="103"/>
                </a:cubicBezTo>
                <a:cubicBezTo>
                  <a:pt x="110" y="103"/>
                  <a:pt x="113" y="105"/>
                  <a:pt x="113" y="108"/>
                </a:cubicBezTo>
                <a:cubicBezTo>
                  <a:pt x="113" y="110"/>
                  <a:pt x="110" y="113"/>
                  <a:pt x="108" y="113"/>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Freeform 105">
            <a:extLst>
              <a:ext uri="{FF2B5EF4-FFF2-40B4-BE49-F238E27FC236}">
                <a16:creationId xmlns:a16="http://schemas.microsoft.com/office/drawing/2014/main" id="{241BA0DD-EFD6-4049-9DB0-B65B6A126F4F}"/>
              </a:ext>
            </a:extLst>
          </p:cNvPr>
          <p:cNvSpPr>
            <a:spLocks noEditPoints="1"/>
          </p:cNvSpPr>
          <p:nvPr/>
        </p:nvSpPr>
        <p:spPr bwMode="auto">
          <a:xfrm>
            <a:off x="1633102" y="3959264"/>
            <a:ext cx="416643" cy="367488"/>
          </a:xfrm>
          <a:custGeom>
            <a:avLst/>
            <a:gdLst>
              <a:gd name="T0" fmla="*/ 133 w 134"/>
              <a:gd name="T1" fmla="*/ 16 h 118"/>
              <a:gd name="T2" fmla="*/ 121 w 134"/>
              <a:gd name="T3" fmla="*/ 4 h 118"/>
              <a:gd name="T4" fmla="*/ 115 w 134"/>
              <a:gd name="T5" fmla="*/ 4 h 118"/>
              <a:gd name="T6" fmla="*/ 114 w 134"/>
              <a:gd name="T7" fmla="*/ 7 h 118"/>
              <a:gd name="T8" fmla="*/ 111 w 134"/>
              <a:gd name="T9" fmla="*/ 8 h 118"/>
              <a:gd name="T10" fmla="*/ 111 w 134"/>
              <a:gd name="T11" fmla="*/ 8 h 118"/>
              <a:gd name="T12" fmla="*/ 81 w 134"/>
              <a:gd name="T13" fmla="*/ 39 h 118"/>
              <a:gd name="T14" fmla="*/ 79 w 134"/>
              <a:gd name="T15" fmla="*/ 46 h 118"/>
              <a:gd name="T16" fmla="*/ 82 w 134"/>
              <a:gd name="T17" fmla="*/ 50 h 118"/>
              <a:gd name="T18" fmla="*/ 82 w 134"/>
              <a:gd name="T19" fmla="*/ 50 h 118"/>
              <a:gd name="T20" fmla="*/ 82 w 134"/>
              <a:gd name="T21" fmla="*/ 50 h 118"/>
              <a:gd name="T22" fmla="*/ 76 w 134"/>
              <a:gd name="T23" fmla="*/ 57 h 118"/>
              <a:gd name="T24" fmla="*/ 54 w 134"/>
              <a:gd name="T25" fmla="*/ 35 h 118"/>
              <a:gd name="T26" fmla="*/ 47 w 134"/>
              <a:gd name="T27" fmla="*/ 9 h 118"/>
              <a:gd name="T28" fmla="*/ 21 w 134"/>
              <a:gd name="T29" fmla="*/ 2 h 118"/>
              <a:gd name="T30" fmla="*/ 36 w 134"/>
              <a:gd name="T31" fmla="*/ 17 h 118"/>
              <a:gd name="T32" fmla="*/ 32 w 134"/>
              <a:gd name="T33" fmla="*/ 32 h 118"/>
              <a:gd name="T34" fmla="*/ 18 w 134"/>
              <a:gd name="T35" fmla="*/ 36 h 118"/>
              <a:gd name="T36" fmla="*/ 3 w 134"/>
              <a:gd name="T37" fmla="*/ 21 h 118"/>
              <a:gd name="T38" fmla="*/ 9 w 134"/>
              <a:gd name="T39" fmla="*/ 46 h 118"/>
              <a:gd name="T40" fmla="*/ 36 w 134"/>
              <a:gd name="T41" fmla="*/ 53 h 118"/>
              <a:gd name="T42" fmla="*/ 36 w 134"/>
              <a:gd name="T43" fmla="*/ 53 h 118"/>
              <a:gd name="T44" fmla="*/ 58 w 134"/>
              <a:gd name="T45" fmla="*/ 74 h 118"/>
              <a:gd name="T46" fmla="*/ 37 w 134"/>
              <a:gd name="T47" fmla="*/ 95 h 118"/>
              <a:gd name="T48" fmla="*/ 36 w 134"/>
              <a:gd name="T49" fmla="*/ 94 h 118"/>
              <a:gd name="T50" fmla="*/ 31 w 134"/>
              <a:gd name="T51" fmla="*/ 98 h 118"/>
              <a:gd name="T52" fmla="*/ 21 w 134"/>
              <a:gd name="T53" fmla="*/ 114 h 118"/>
              <a:gd name="T54" fmla="*/ 23 w 134"/>
              <a:gd name="T55" fmla="*/ 116 h 118"/>
              <a:gd name="T56" fmla="*/ 39 w 134"/>
              <a:gd name="T57" fmla="*/ 107 h 118"/>
              <a:gd name="T58" fmla="*/ 43 w 134"/>
              <a:gd name="T59" fmla="*/ 101 h 118"/>
              <a:gd name="T60" fmla="*/ 42 w 134"/>
              <a:gd name="T61" fmla="*/ 100 h 118"/>
              <a:gd name="T62" fmla="*/ 63 w 134"/>
              <a:gd name="T63" fmla="*/ 79 h 118"/>
              <a:gd name="T64" fmla="*/ 98 w 134"/>
              <a:gd name="T65" fmla="*/ 114 h 118"/>
              <a:gd name="T66" fmla="*/ 107 w 134"/>
              <a:gd name="T67" fmla="*/ 118 h 118"/>
              <a:gd name="T68" fmla="*/ 116 w 134"/>
              <a:gd name="T69" fmla="*/ 114 h 118"/>
              <a:gd name="T70" fmla="*/ 116 w 134"/>
              <a:gd name="T71" fmla="*/ 97 h 118"/>
              <a:gd name="T72" fmla="*/ 80 w 134"/>
              <a:gd name="T73" fmla="*/ 61 h 118"/>
              <a:gd name="T74" fmla="*/ 87 w 134"/>
              <a:gd name="T75" fmla="*/ 55 h 118"/>
              <a:gd name="T76" fmla="*/ 90 w 134"/>
              <a:gd name="T77" fmla="*/ 58 h 118"/>
              <a:gd name="T78" fmla="*/ 98 w 134"/>
              <a:gd name="T79" fmla="*/ 56 h 118"/>
              <a:gd name="T80" fmla="*/ 128 w 134"/>
              <a:gd name="T81" fmla="*/ 26 h 118"/>
              <a:gd name="T82" fmla="*/ 128 w 134"/>
              <a:gd name="T83" fmla="*/ 25 h 118"/>
              <a:gd name="T84" fmla="*/ 128 w 134"/>
              <a:gd name="T85" fmla="*/ 25 h 118"/>
              <a:gd name="T86" fmla="*/ 129 w 134"/>
              <a:gd name="T87" fmla="*/ 23 h 118"/>
              <a:gd name="T88" fmla="*/ 133 w 134"/>
              <a:gd name="T89" fmla="*/ 22 h 118"/>
              <a:gd name="T90" fmla="*/ 133 w 134"/>
              <a:gd name="T91" fmla="*/ 16 h 118"/>
              <a:gd name="T92" fmla="*/ 108 w 134"/>
              <a:gd name="T93" fmla="*/ 103 h 118"/>
              <a:gd name="T94" fmla="*/ 113 w 134"/>
              <a:gd name="T95" fmla="*/ 107 h 118"/>
              <a:gd name="T96" fmla="*/ 108 w 134"/>
              <a:gd name="T97" fmla="*/ 112 h 118"/>
              <a:gd name="T98" fmla="*/ 103 w 134"/>
              <a:gd name="T99" fmla="*/ 107 h 118"/>
              <a:gd name="T100" fmla="*/ 108 w 134"/>
              <a:gd name="T101" fmla="*/ 103 h 118"/>
              <a:gd name="T102" fmla="*/ 91 w 134"/>
              <a:gd name="T103" fmla="*/ 40 h 118"/>
              <a:gd name="T104" fmla="*/ 89 w 134"/>
              <a:gd name="T105" fmla="*/ 38 h 118"/>
              <a:gd name="T106" fmla="*/ 111 w 134"/>
              <a:gd name="T107" fmla="*/ 16 h 118"/>
              <a:gd name="T108" fmla="*/ 113 w 134"/>
              <a:gd name="T109" fmla="*/ 18 h 118"/>
              <a:gd name="T110" fmla="*/ 91 w 134"/>
              <a:gd name="T111" fmla="*/ 40 h 118"/>
              <a:gd name="T112" fmla="*/ 98 w 134"/>
              <a:gd name="T113" fmla="*/ 48 h 118"/>
              <a:gd name="T114" fmla="*/ 96 w 134"/>
              <a:gd name="T115" fmla="*/ 46 h 118"/>
              <a:gd name="T116" fmla="*/ 119 w 134"/>
              <a:gd name="T117" fmla="*/ 23 h 118"/>
              <a:gd name="T118" fmla="*/ 121 w 134"/>
              <a:gd name="T119" fmla="*/ 25 h 118"/>
              <a:gd name="T120" fmla="*/ 98 w 134"/>
              <a:gd name="T121" fmla="*/ 4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118">
                <a:moveTo>
                  <a:pt x="133" y="16"/>
                </a:moveTo>
                <a:cubicBezTo>
                  <a:pt x="121" y="4"/>
                  <a:pt x="121" y="4"/>
                  <a:pt x="121" y="4"/>
                </a:cubicBezTo>
                <a:cubicBezTo>
                  <a:pt x="119" y="2"/>
                  <a:pt x="117" y="2"/>
                  <a:pt x="115" y="4"/>
                </a:cubicBezTo>
                <a:cubicBezTo>
                  <a:pt x="114" y="5"/>
                  <a:pt x="114" y="6"/>
                  <a:pt x="114" y="7"/>
                </a:cubicBezTo>
                <a:cubicBezTo>
                  <a:pt x="113" y="7"/>
                  <a:pt x="112" y="8"/>
                  <a:pt x="111" y="8"/>
                </a:cubicBezTo>
                <a:cubicBezTo>
                  <a:pt x="111" y="8"/>
                  <a:pt x="111" y="8"/>
                  <a:pt x="111" y="8"/>
                </a:cubicBezTo>
                <a:cubicBezTo>
                  <a:pt x="81" y="39"/>
                  <a:pt x="81" y="39"/>
                  <a:pt x="81" y="39"/>
                </a:cubicBezTo>
                <a:cubicBezTo>
                  <a:pt x="81" y="41"/>
                  <a:pt x="80" y="44"/>
                  <a:pt x="79" y="46"/>
                </a:cubicBezTo>
                <a:cubicBezTo>
                  <a:pt x="82" y="50"/>
                  <a:pt x="82" y="50"/>
                  <a:pt x="82" y="50"/>
                </a:cubicBezTo>
                <a:cubicBezTo>
                  <a:pt x="82" y="50"/>
                  <a:pt x="82" y="50"/>
                  <a:pt x="82" y="50"/>
                </a:cubicBezTo>
                <a:cubicBezTo>
                  <a:pt x="82" y="50"/>
                  <a:pt x="82" y="50"/>
                  <a:pt x="82" y="50"/>
                </a:cubicBezTo>
                <a:cubicBezTo>
                  <a:pt x="76" y="57"/>
                  <a:pt x="76" y="57"/>
                  <a:pt x="76" y="57"/>
                </a:cubicBezTo>
                <a:cubicBezTo>
                  <a:pt x="54" y="35"/>
                  <a:pt x="54" y="35"/>
                  <a:pt x="54" y="35"/>
                </a:cubicBezTo>
                <a:cubicBezTo>
                  <a:pt x="56" y="26"/>
                  <a:pt x="54" y="16"/>
                  <a:pt x="47" y="9"/>
                </a:cubicBezTo>
                <a:cubicBezTo>
                  <a:pt x="40" y="2"/>
                  <a:pt x="30" y="0"/>
                  <a:pt x="21" y="2"/>
                </a:cubicBezTo>
                <a:cubicBezTo>
                  <a:pt x="36" y="17"/>
                  <a:pt x="36" y="17"/>
                  <a:pt x="36" y="17"/>
                </a:cubicBezTo>
                <a:cubicBezTo>
                  <a:pt x="32" y="32"/>
                  <a:pt x="32" y="32"/>
                  <a:pt x="32" y="32"/>
                </a:cubicBezTo>
                <a:cubicBezTo>
                  <a:pt x="18" y="36"/>
                  <a:pt x="18" y="36"/>
                  <a:pt x="18" y="36"/>
                </a:cubicBezTo>
                <a:cubicBezTo>
                  <a:pt x="3" y="21"/>
                  <a:pt x="3" y="21"/>
                  <a:pt x="3" y="21"/>
                </a:cubicBezTo>
                <a:cubicBezTo>
                  <a:pt x="0" y="29"/>
                  <a:pt x="2" y="39"/>
                  <a:pt x="9" y="46"/>
                </a:cubicBezTo>
                <a:cubicBezTo>
                  <a:pt x="17" y="53"/>
                  <a:pt x="27" y="56"/>
                  <a:pt x="36" y="53"/>
                </a:cubicBezTo>
                <a:cubicBezTo>
                  <a:pt x="36" y="53"/>
                  <a:pt x="36" y="53"/>
                  <a:pt x="36" y="53"/>
                </a:cubicBezTo>
                <a:cubicBezTo>
                  <a:pt x="58" y="74"/>
                  <a:pt x="58" y="74"/>
                  <a:pt x="58" y="74"/>
                </a:cubicBezTo>
                <a:cubicBezTo>
                  <a:pt x="37" y="95"/>
                  <a:pt x="37" y="95"/>
                  <a:pt x="37" y="95"/>
                </a:cubicBezTo>
                <a:cubicBezTo>
                  <a:pt x="36" y="94"/>
                  <a:pt x="36" y="94"/>
                  <a:pt x="36" y="94"/>
                </a:cubicBezTo>
                <a:cubicBezTo>
                  <a:pt x="31" y="98"/>
                  <a:pt x="31" y="98"/>
                  <a:pt x="31" y="98"/>
                </a:cubicBezTo>
                <a:cubicBezTo>
                  <a:pt x="21" y="114"/>
                  <a:pt x="21" y="114"/>
                  <a:pt x="21" y="114"/>
                </a:cubicBezTo>
                <a:cubicBezTo>
                  <a:pt x="23" y="116"/>
                  <a:pt x="23" y="116"/>
                  <a:pt x="23" y="116"/>
                </a:cubicBezTo>
                <a:cubicBezTo>
                  <a:pt x="39" y="107"/>
                  <a:pt x="39" y="107"/>
                  <a:pt x="39" y="107"/>
                </a:cubicBezTo>
                <a:cubicBezTo>
                  <a:pt x="43" y="101"/>
                  <a:pt x="43" y="101"/>
                  <a:pt x="43" y="101"/>
                </a:cubicBezTo>
                <a:cubicBezTo>
                  <a:pt x="42" y="100"/>
                  <a:pt x="42" y="100"/>
                  <a:pt x="42" y="100"/>
                </a:cubicBezTo>
                <a:cubicBezTo>
                  <a:pt x="63" y="79"/>
                  <a:pt x="63" y="79"/>
                  <a:pt x="63" y="79"/>
                </a:cubicBezTo>
                <a:cubicBezTo>
                  <a:pt x="98" y="114"/>
                  <a:pt x="98" y="114"/>
                  <a:pt x="98" y="114"/>
                </a:cubicBezTo>
                <a:cubicBezTo>
                  <a:pt x="100" y="117"/>
                  <a:pt x="104" y="118"/>
                  <a:pt x="107" y="118"/>
                </a:cubicBezTo>
                <a:cubicBezTo>
                  <a:pt x="110" y="118"/>
                  <a:pt x="113" y="117"/>
                  <a:pt x="116" y="114"/>
                </a:cubicBezTo>
                <a:cubicBezTo>
                  <a:pt x="121" y="109"/>
                  <a:pt x="121" y="102"/>
                  <a:pt x="116" y="97"/>
                </a:cubicBezTo>
                <a:cubicBezTo>
                  <a:pt x="80" y="61"/>
                  <a:pt x="80" y="61"/>
                  <a:pt x="80" y="61"/>
                </a:cubicBezTo>
                <a:cubicBezTo>
                  <a:pt x="87" y="55"/>
                  <a:pt x="87" y="55"/>
                  <a:pt x="87" y="55"/>
                </a:cubicBezTo>
                <a:cubicBezTo>
                  <a:pt x="90" y="58"/>
                  <a:pt x="90" y="58"/>
                  <a:pt x="90" y="58"/>
                </a:cubicBezTo>
                <a:cubicBezTo>
                  <a:pt x="92" y="56"/>
                  <a:pt x="95" y="56"/>
                  <a:pt x="98" y="56"/>
                </a:cubicBezTo>
                <a:cubicBezTo>
                  <a:pt x="128" y="26"/>
                  <a:pt x="128" y="26"/>
                  <a:pt x="128" y="26"/>
                </a:cubicBezTo>
                <a:cubicBezTo>
                  <a:pt x="128" y="25"/>
                  <a:pt x="128" y="25"/>
                  <a:pt x="128" y="25"/>
                </a:cubicBezTo>
                <a:cubicBezTo>
                  <a:pt x="128" y="25"/>
                  <a:pt x="128" y="25"/>
                  <a:pt x="128" y="25"/>
                </a:cubicBezTo>
                <a:cubicBezTo>
                  <a:pt x="129" y="24"/>
                  <a:pt x="129" y="24"/>
                  <a:pt x="129" y="23"/>
                </a:cubicBezTo>
                <a:cubicBezTo>
                  <a:pt x="130" y="23"/>
                  <a:pt x="132" y="23"/>
                  <a:pt x="133" y="22"/>
                </a:cubicBezTo>
                <a:cubicBezTo>
                  <a:pt x="134" y="20"/>
                  <a:pt x="134" y="17"/>
                  <a:pt x="133" y="16"/>
                </a:cubicBezTo>
                <a:close/>
                <a:moveTo>
                  <a:pt x="108" y="103"/>
                </a:moveTo>
                <a:cubicBezTo>
                  <a:pt x="111" y="103"/>
                  <a:pt x="113" y="105"/>
                  <a:pt x="113" y="107"/>
                </a:cubicBezTo>
                <a:cubicBezTo>
                  <a:pt x="113" y="110"/>
                  <a:pt x="111" y="112"/>
                  <a:pt x="108" y="112"/>
                </a:cubicBezTo>
                <a:cubicBezTo>
                  <a:pt x="105" y="112"/>
                  <a:pt x="103" y="110"/>
                  <a:pt x="103" y="107"/>
                </a:cubicBezTo>
                <a:cubicBezTo>
                  <a:pt x="103" y="105"/>
                  <a:pt x="105" y="103"/>
                  <a:pt x="108" y="103"/>
                </a:cubicBezTo>
                <a:close/>
                <a:moveTo>
                  <a:pt x="91" y="40"/>
                </a:moveTo>
                <a:cubicBezTo>
                  <a:pt x="89" y="38"/>
                  <a:pt x="89" y="38"/>
                  <a:pt x="89" y="38"/>
                </a:cubicBezTo>
                <a:cubicBezTo>
                  <a:pt x="111" y="16"/>
                  <a:pt x="111" y="16"/>
                  <a:pt x="111" y="16"/>
                </a:cubicBezTo>
                <a:cubicBezTo>
                  <a:pt x="113" y="18"/>
                  <a:pt x="113" y="18"/>
                  <a:pt x="113" y="18"/>
                </a:cubicBezTo>
                <a:lnTo>
                  <a:pt x="91" y="40"/>
                </a:lnTo>
                <a:close/>
                <a:moveTo>
                  <a:pt x="98" y="48"/>
                </a:moveTo>
                <a:cubicBezTo>
                  <a:pt x="96" y="46"/>
                  <a:pt x="96" y="46"/>
                  <a:pt x="96" y="46"/>
                </a:cubicBezTo>
                <a:cubicBezTo>
                  <a:pt x="119" y="23"/>
                  <a:pt x="119" y="23"/>
                  <a:pt x="119" y="23"/>
                </a:cubicBezTo>
                <a:cubicBezTo>
                  <a:pt x="121" y="25"/>
                  <a:pt x="121" y="25"/>
                  <a:pt x="121" y="25"/>
                </a:cubicBezTo>
                <a:lnTo>
                  <a:pt x="98" y="48"/>
                </a:ln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9" name="Freeform 106">
            <a:extLst>
              <a:ext uri="{FF2B5EF4-FFF2-40B4-BE49-F238E27FC236}">
                <a16:creationId xmlns:a16="http://schemas.microsoft.com/office/drawing/2014/main" id="{90B1F965-E800-4EFE-80EE-5C2D868DC964}"/>
              </a:ext>
            </a:extLst>
          </p:cNvPr>
          <p:cNvSpPr>
            <a:spLocks noEditPoints="1"/>
          </p:cNvSpPr>
          <p:nvPr/>
        </p:nvSpPr>
        <p:spPr bwMode="auto">
          <a:xfrm>
            <a:off x="490182" y="3801923"/>
            <a:ext cx="321503" cy="432675"/>
          </a:xfrm>
          <a:custGeom>
            <a:avLst/>
            <a:gdLst>
              <a:gd name="T0" fmla="*/ 0 w 107"/>
              <a:gd name="T1" fmla="*/ 0 h 144"/>
              <a:gd name="T2" fmla="*/ 0 w 107"/>
              <a:gd name="T3" fmla="*/ 144 h 144"/>
              <a:gd name="T4" fmla="*/ 80 w 107"/>
              <a:gd name="T5" fmla="*/ 144 h 144"/>
              <a:gd name="T6" fmla="*/ 107 w 107"/>
              <a:gd name="T7" fmla="*/ 113 h 144"/>
              <a:gd name="T8" fmla="*/ 107 w 107"/>
              <a:gd name="T9" fmla="*/ 0 h 144"/>
              <a:gd name="T10" fmla="*/ 0 w 107"/>
              <a:gd name="T11" fmla="*/ 0 h 144"/>
              <a:gd name="T12" fmla="*/ 9 w 107"/>
              <a:gd name="T13" fmla="*/ 134 h 144"/>
              <a:gd name="T14" fmla="*/ 9 w 107"/>
              <a:gd name="T15" fmla="*/ 9 h 144"/>
              <a:gd name="T16" fmla="*/ 99 w 107"/>
              <a:gd name="T17" fmla="*/ 9 h 144"/>
              <a:gd name="T18" fmla="*/ 99 w 107"/>
              <a:gd name="T19" fmla="*/ 102 h 144"/>
              <a:gd name="T20" fmla="*/ 72 w 107"/>
              <a:gd name="T21" fmla="*/ 102 h 144"/>
              <a:gd name="T22" fmla="*/ 72 w 107"/>
              <a:gd name="T23" fmla="*/ 134 h 144"/>
              <a:gd name="T24" fmla="*/ 9 w 107"/>
              <a:gd name="T25" fmla="*/ 13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44">
                <a:moveTo>
                  <a:pt x="0" y="0"/>
                </a:moveTo>
                <a:lnTo>
                  <a:pt x="0" y="144"/>
                </a:lnTo>
                <a:lnTo>
                  <a:pt x="80" y="144"/>
                </a:lnTo>
                <a:lnTo>
                  <a:pt x="107" y="113"/>
                </a:lnTo>
                <a:lnTo>
                  <a:pt x="107" y="0"/>
                </a:lnTo>
                <a:lnTo>
                  <a:pt x="0" y="0"/>
                </a:lnTo>
                <a:close/>
                <a:moveTo>
                  <a:pt x="9" y="134"/>
                </a:moveTo>
                <a:lnTo>
                  <a:pt x="9" y="9"/>
                </a:lnTo>
                <a:lnTo>
                  <a:pt x="99" y="9"/>
                </a:lnTo>
                <a:lnTo>
                  <a:pt x="99" y="102"/>
                </a:lnTo>
                <a:lnTo>
                  <a:pt x="72" y="102"/>
                </a:lnTo>
                <a:lnTo>
                  <a:pt x="72" y="134"/>
                </a:lnTo>
                <a:lnTo>
                  <a:pt x="9" y="134"/>
                </a:ln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70" name="Group 218">
            <a:extLst>
              <a:ext uri="{FF2B5EF4-FFF2-40B4-BE49-F238E27FC236}">
                <a16:creationId xmlns:a16="http://schemas.microsoft.com/office/drawing/2014/main" id="{505469DE-51A0-43BC-AF1B-909FED7E0BB7}"/>
              </a:ext>
            </a:extLst>
          </p:cNvPr>
          <p:cNvGrpSpPr/>
          <p:nvPr/>
        </p:nvGrpSpPr>
        <p:grpSpPr>
          <a:xfrm>
            <a:off x="3617863" y="1808525"/>
            <a:ext cx="336525" cy="612959"/>
            <a:chOff x="3536781" y="2689641"/>
            <a:chExt cx="279527" cy="509141"/>
          </a:xfrm>
          <a:solidFill>
            <a:srgbClr val="00ABAB"/>
          </a:solidFill>
        </p:grpSpPr>
        <p:sp>
          <p:nvSpPr>
            <p:cNvPr id="71" name="Freeform 121">
              <a:extLst>
                <a:ext uri="{FF2B5EF4-FFF2-40B4-BE49-F238E27FC236}">
                  <a16:creationId xmlns:a16="http://schemas.microsoft.com/office/drawing/2014/main" id="{984E16D8-8F9A-4F26-B929-870932C92C25}"/>
                </a:ext>
              </a:extLst>
            </p:cNvPr>
            <p:cNvSpPr>
              <a:spLocks noEditPoints="1"/>
            </p:cNvSpPr>
            <p:nvPr/>
          </p:nvSpPr>
          <p:spPr bwMode="auto">
            <a:xfrm>
              <a:off x="3536781" y="2689641"/>
              <a:ext cx="279527" cy="381855"/>
            </a:xfrm>
            <a:custGeom>
              <a:avLst/>
              <a:gdLst>
                <a:gd name="T0" fmla="*/ 42 w 84"/>
                <a:gd name="T1" fmla="*/ 5 h 115"/>
                <a:gd name="T2" fmla="*/ 79 w 84"/>
                <a:gd name="T3" fmla="*/ 42 h 115"/>
                <a:gd name="T4" fmla="*/ 56 w 84"/>
                <a:gd name="T5" fmla="*/ 111 h 115"/>
                <a:gd name="T6" fmla="*/ 31 w 84"/>
                <a:gd name="T7" fmla="*/ 111 h 115"/>
                <a:gd name="T8" fmla="*/ 4 w 84"/>
                <a:gd name="T9" fmla="*/ 42 h 115"/>
                <a:gd name="T10" fmla="*/ 42 w 84"/>
                <a:gd name="T11" fmla="*/ 5 h 115"/>
                <a:gd name="T12" fmla="*/ 42 w 84"/>
                <a:gd name="T13" fmla="*/ 0 h 115"/>
                <a:gd name="T14" fmla="*/ 0 w 84"/>
                <a:gd name="T15" fmla="*/ 42 h 115"/>
                <a:gd name="T16" fmla="*/ 29 w 84"/>
                <a:gd name="T17" fmla="*/ 115 h 115"/>
                <a:gd name="T18" fmla="*/ 58 w 84"/>
                <a:gd name="T19" fmla="*/ 115 h 115"/>
                <a:gd name="T20" fmla="*/ 84 w 84"/>
                <a:gd name="T21" fmla="*/ 42 h 115"/>
                <a:gd name="T22" fmla="*/ 42 w 84"/>
                <a:gd name="T23"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115">
                  <a:moveTo>
                    <a:pt x="42" y="5"/>
                  </a:moveTo>
                  <a:cubicBezTo>
                    <a:pt x="63" y="5"/>
                    <a:pt x="79" y="22"/>
                    <a:pt x="79" y="42"/>
                  </a:cubicBezTo>
                  <a:cubicBezTo>
                    <a:pt x="79" y="60"/>
                    <a:pt x="60" y="101"/>
                    <a:pt x="56" y="111"/>
                  </a:cubicBezTo>
                  <a:cubicBezTo>
                    <a:pt x="31" y="111"/>
                    <a:pt x="31" y="111"/>
                    <a:pt x="31" y="111"/>
                  </a:cubicBezTo>
                  <a:cubicBezTo>
                    <a:pt x="23" y="95"/>
                    <a:pt x="4" y="58"/>
                    <a:pt x="4" y="42"/>
                  </a:cubicBezTo>
                  <a:cubicBezTo>
                    <a:pt x="4" y="22"/>
                    <a:pt x="21" y="5"/>
                    <a:pt x="42" y="5"/>
                  </a:cubicBezTo>
                  <a:moveTo>
                    <a:pt x="42" y="0"/>
                  </a:moveTo>
                  <a:cubicBezTo>
                    <a:pt x="19" y="0"/>
                    <a:pt x="0" y="19"/>
                    <a:pt x="0" y="42"/>
                  </a:cubicBezTo>
                  <a:cubicBezTo>
                    <a:pt x="0" y="63"/>
                    <a:pt x="29" y="115"/>
                    <a:pt x="29" y="115"/>
                  </a:cubicBezTo>
                  <a:cubicBezTo>
                    <a:pt x="58" y="115"/>
                    <a:pt x="58" y="115"/>
                    <a:pt x="58" y="115"/>
                  </a:cubicBezTo>
                  <a:cubicBezTo>
                    <a:pt x="58" y="115"/>
                    <a:pt x="84" y="63"/>
                    <a:pt x="84" y="42"/>
                  </a:cubicBezTo>
                  <a:cubicBezTo>
                    <a:pt x="84" y="19"/>
                    <a:pt x="65"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2" name="Freeform 122">
              <a:extLst>
                <a:ext uri="{FF2B5EF4-FFF2-40B4-BE49-F238E27FC236}">
                  <a16:creationId xmlns:a16="http://schemas.microsoft.com/office/drawing/2014/main" id="{46F3D298-1BF4-454D-A38C-ED0A54554942}"/>
                </a:ext>
              </a:extLst>
            </p:cNvPr>
            <p:cNvSpPr>
              <a:spLocks/>
            </p:cNvSpPr>
            <p:nvPr/>
          </p:nvSpPr>
          <p:spPr bwMode="auto">
            <a:xfrm>
              <a:off x="3631621" y="3166335"/>
              <a:ext cx="97336" cy="9983"/>
            </a:xfrm>
            <a:custGeom>
              <a:avLst/>
              <a:gdLst>
                <a:gd name="T0" fmla="*/ 1 w 29"/>
                <a:gd name="T1" fmla="*/ 3 h 3"/>
                <a:gd name="T2" fmla="*/ 27 w 29"/>
                <a:gd name="T3" fmla="*/ 3 h 3"/>
                <a:gd name="T4" fmla="*/ 29 w 29"/>
                <a:gd name="T5" fmla="*/ 0 h 3"/>
                <a:gd name="T6" fmla="*/ 0 w 29"/>
                <a:gd name="T7" fmla="*/ 0 h 3"/>
                <a:gd name="T8" fmla="*/ 1 w 29"/>
                <a:gd name="T9" fmla="*/ 3 h 3"/>
              </a:gdLst>
              <a:ahLst/>
              <a:cxnLst>
                <a:cxn ang="0">
                  <a:pos x="T0" y="T1"/>
                </a:cxn>
                <a:cxn ang="0">
                  <a:pos x="T2" y="T3"/>
                </a:cxn>
                <a:cxn ang="0">
                  <a:pos x="T4" y="T5"/>
                </a:cxn>
                <a:cxn ang="0">
                  <a:pos x="T6" y="T7"/>
                </a:cxn>
                <a:cxn ang="0">
                  <a:pos x="T8" y="T9"/>
                </a:cxn>
              </a:cxnLst>
              <a:rect l="0" t="0" r="r" b="b"/>
              <a:pathLst>
                <a:path w="29" h="3">
                  <a:moveTo>
                    <a:pt x="1" y="3"/>
                  </a:moveTo>
                  <a:cubicBezTo>
                    <a:pt x="27" y="3"/>
                    <a:pt x="27" y="3"/>
                    <a:pt x="27" y="3"/>
                  </a:cubicBezTo>
                  <a:cubicBezTo>
                    <a:pt x="28" y="2"/>
                    <a:pt x="28" y="1"/>
                    <a:pt x="29" y="0"/>
                  </a:cubicBezTo>
                  <a:cubicBezTo>
                    <a:pt x="0" y="0"/>
                    <a:pt x="0" y="0"/>
                    <a:pt x="0" y="0"/>
                  </a:cubicBezTo>
                  <a:cubicBezTo>
                    <a:pt x="0" y="1"/>
                    <a:pt x="1"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3" name="Freeform 123">
              <a:extLst>
                <a:ext uri="{FF2B5EF4-FFF2-40B4-BE49-F238E27FC236}">
                  <a16:creationId xmlns:a16="http://schemas.microsoft.com/office/drawing/2014/main" id="{021496CF-205F-4655-8C3D-3A1C099EF82E}"/>
                </a:ext>
              </a:extLst>
            </p:cNvPr>
            <p:cNvSpPr>
              <a:spLocks/>
            </p:cNvSpPr>
            <p:nvPr/>
          </p:nvSpPr>
          <p:spPr bwMode="auto">
            <a:xfrm>
              <a:off x="3646596" y="3186302"/>
              <a:ext cx="69882" cy="12480"/>
            </a:xfrm>
            <a:custGeom>
              <a:avLst/>
              <a:gdLst>
                <a:gd name="T0" fmla="*/ 10 w 21"/>
                <a:gd name="T1" fmla="*/ 4 h 4"/>
                <a:gd name="T2" fmla="*/ 21 w 21"/>
                <a:gd name="T3" fmla="*/ 0 h 4"/>
                <a:gd name="T4" fmla="*/ 0 w 21"/>
                <a:gd name="T5" fmla="*/ 0 h 4"/>
                <a:gd name="T6" fmla="*/ 10 w 21"/>
                <a:gd name="T7" fmla="*/ 4 h 4"/>
              </a:gdLst>
              <a:ahLst/>
              <a:cxnLst>
                <a:cxn ang="0">
                  <a:pos x="T0" y="T1"/>
                </a:cxn>
                <a:cxn ang="0">
                  <a:pos x="T2" y="T3"/>
                </a:cxn>
                <a:cxn ang="0">
                  <a:pos x="T4" y="T5"/>
                </a:cxn>
                <a:cxn ang="0">
                  <a:pos x="T6" y="T7"/>
                </a:cxn>
              </a:cxnLst>
              <a:rect l="0" t="0" r="r" b="b"/>
              <a:pathLst>
                <a:path w="21" h="4">
                  <a:moveTo>
                    <a:pt x="10" y="4"/>
                  </a:moveTo>
                  <a:cubicBezTo>
                    <a:pt x="14" y="4"/>
                    <a:pt x="18" y="2"/>
                    <a:pt x="21" y="0"/>
                  </a:cubicBezTo>
                  <a:cubicBezTo>
                    <a:pt x="0" y="0"/>
                    <a:pt x="0" y="0"/>
                    <a:pt x="0" y="0"/>
                  </a:cubicBezTo>
                  <a:cubicBezTo>
                    <a:pt x="2" y="2"/>
                    <a:pt x="6"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4" name="Freeform 124">
              <a:extLst>
                <a:ext uri="{FF2B5EF4-FFF2-40B4-BE49-F238E27FC236}">
                  <a16:creationId xmlns:a16="http://schemas.microsoft.com/office/drawing/2014/main" id="{BC168F2B-DFDF-432A-B6F6-E157B4DC7DBE}"/>
                </a:ext>
              </a:extLst>
            </p:cNvPr>
            <p:cNvSpPr>
              <a:spLocks/>
            </p:cNvSpPr>
            <p:nvPr/>
          </p:nvSpPr>
          <p:spPr bwMode="auto">
            <a:xfrm>
              <a:off x="3629124" y="3086470"/>
              <a:ext cx="102328" cy="69882"/>
            </a:xfrm>
            <a:custGeom>
              <a:avLst/>
              <a:gdLst>
                <a:gd name="T0" fmla="*/ 31 w 31"/>
                <a:gd name="T1" fmla="*/ 0 h 21"/>
                <a:gd name="T2" fmla="*/ 0 w 31"/>
                <a:gd name="T3" fmla="*/ 0 h 21"/>
                <a:gd name="T4" fmla="*/ 0 w 31"/>
                <a:gd name="T5" fmla="*/ 19 h 21"/>
                <a:gd name="T6" fmla="*/ 0 w 31"/>
                <a:gd name="T7" fmla="*/ 21 h 21"/>
                <a:gd name="T8" fmla="*/ 30 w 31"/>
                <a:gd name="T9" fmla="*/ 21 h 21"/>
                <a:gd name="T10" fmla="*/ 31 w 31"/>
                <a:gd name="T11" fmla="*/ 19 h 21"/>
                <a:gd name="T12" fmla="*/ 31 w 3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1" h="21">
                  <a:moveTo>
                    <a:pt x="31" y="0"/>
                  </a:moveTo>
                  <a:cubicBezTo>
                    <a:pt x="0" y="0"/>
                    <a:pt x="0" y="0"/>
                    <a:pt x="0" y="0"/>
                  </a:cubicBezTo>
                  <a:cubicBezTo>
                    <a:pt x="0" y="19"/>
                    <a:pt x="0" y="19"/>
                    <a:pt x="0" y="19"/>
                  </a:cubicBezTo>
                  <a:cubicBezTo>
                    <a:pt x="0" y="20"/>
                    <a:pt x="0" y="20"/>
                    <a:pt x="0" y="21"/>
                  </a:cubicBezTo>
                  <a:cubicBezTo>
                    <a:pt x="30" y="21"/>
                    <a:pt x="30" y="21"/>
                    <a:pt x="30" y="21"/>
                  </a:cubicBezTo>
                  <a:cubicBezTo>
                    <a:pt x="30" y="20"/>
                    <a:pt x="31" y="20"/>
                    <a:pt x="31" y="19"/>
                  </a:cubicBez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5" name="Freeform 125">
              <a:extLst>
                <a:ext uri="{FF2B5EF4-FFF2-40B4-BE49-F238E27FC236}">
                  <a16:creationId xmlns:a16="http://schemas.microsoft.com/office/drawing/2014/main" id="{0C01EE22-F1C5-445E-BAA3-B4FAAF4EB4AD}"/>
                </a:ext>
              </a:extLst>
            </p:cNvPr>
            <p:cNvSpPr>
              <a:spLocks noEditPoints="1"/>
            </p:cNvSpPr>
            <p:nvPr/>
          </p:nvSpPr>
          <p:spPr bwMode="auto">
            <a:xfrm>
              <a:off x="3626629" y="2864345"/>
              <a:ext cx="104823" cy="207151"/>
            </a:xfrm>
            <a:custGeom>
              <a:avLst/>
              <a:gdLst>
                <a:gd name="T0" fmla="*/ 42 w 42"/>
                <a:gd name="T1" fmla="*/ 2 h 83"/>
                <a:gd name="T2" fmla="*/ 42 w 42"/>
                <a:gd name="T3" fmla="*/ 2 h 83"/>
                <a:gd name="T4" fmla="*/ 42 w 42"/>
                <a:gd name="T5" fmla="*/ 2 h 83"/>
                <a:gd name="T6" fmla="*/ 37 w 42"/>
                <a:gd name="T7" fmla="*/ 0 h 83"/>
                <a:gd name="T8" fmla="*/ 20 w 42"/>
                <a:gd name="T9" fmla="*/ 6 h 83"/>
                <a:gd name="T10" fmla="*/ 5 w 42"/>
                <a:gd name="T11" fmla="*/ 0 h 83"/>
                <a:gd name="T12" fmla="*/ 0 w 42"/>
                <a:gd name="T13" fmla="*/ 1 h 83"/>
                <a:gd name="T14" fmla="*/ 0 w 42"/>
                <a:gd name="T15" fmla="*/ 2 h 83"/>
                <a:gd name="T16" fmla="*/ 0 w 42"/>
                <a:gd name="T17" fmla="*/ 2 h 83"/>
                <a:gd name="T18" fmla="*/ 18 w 42"/>
                <a:gd name="T19" fmla="*/ 83 h 83"/>
                <a:gd name="T20" fmla="*/ 24 w 42"/>
                <a:gd name="T21" fmla="*/ 83 h 83"/>
                <a:gd name="T22" fmla="*/ 42 w 42"/>
                <a:gd name="T23" fmla="*/ 2 h 83"/>
                <a:gd name="T24" fmla="*/ 42 w 42"/>
                <a:gd name="T25" fmla="*/ 2 h 83"/>
                <a:gd name="T26" fmla="*/ 42 w 42"/>
                <a:gd name="T27" fmla="*/ 2 h 83"/>
                <a:gd name="T28" fmla="*/ 21 w 42"/>
                <a:gd name="T29" fmla="*/ 73 h 83"/>
                <a:gd name="T30" fmla="*/ 5 w 42"/>
                <a:gd name="T31" fmla="*/ 4 h 83"/>
                <a:gd name="T32" fmla="*/ 20 w 42"/>
                <a:gd name="T33" fmla="*/ 9 h 83"/>
                <a:gd name="T34" fmla="*/ 37 w 42"/>
                <a:gd name="T35" fmla="*/ 4 h 83"/>
                <a:gd name="T36" fmla="*/ 21 w 42"/>
                <a:gd name="T37" fmla="*/ 7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83">
                  <a:moveTo>
                    <a:pt x="42" y="2"/>
                  </a:moveTo>
                  <a:lnTo>
                    <a:pt x="42" y="2"/>
                  </a:lnTo>
                  <a:lnTo>
                    <a:pt x="42" y="2"/>
                  </a:lnTo>
                  <a:lnTo>
                    <a:pt x="37" y="0"/>
                  </a:lnTo>
                  <a:lnTo>
                    <a:pt x="20" y="6"/>
                  </a:lnTo>
                  <a:lnTo>
                    <a:pt x="5" y="0"/>
                  </a:lnTo>
                  <a:lnTo>
                    <a:pt x="0" y="1"/>
                  </a:lnTo>
                  <a:lnTo>
                    <a:pt x="0" y="2"/>
                  </a:lnTo>
                  <a:lnTo>
                    <a:pt x="0" y="2"/>
                  </a:lnTo>
                  <a:lnTo>
                    <a:pt x="18" y="83"/>
                  </a:lnTo>
                  <a:lnTo>
                    <a:pt x="24" y="83"/>
                  </a:lnTo>
                  <a:lnTo>
                    <a:pt x="42" y="2"/>
                  </a:lnTo>
                  <a:lnTo>
                    <a:pt x="42" y="2"/>
                  </a:lnTo>
                  <a:lnTo>
                    <a:pt x="42" y="2"/>
                  </a:lnTo>
                  <a:close/>
                  <a:moveTo>
                    <a:pt x="21" y="73"/>
                  </a:moveTo>
                  <a:lnTo>
                    <a:pt x="5" y="4"/>
                  </a:lnTo>
                  <a:lnTo>
                    <a:pt x="20" y="9"/>
                  </a:lnTo>
                  <a:lnTo>
                    <a:pt x="37" y="4"/>
                  </a:lnTo>
                  <a:lnTo>
                    <a:pt x="21"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76" name="Group 224">
            <a:extLst>
              <a:ext uri="{FF2B5EF4-FFF2-40B4-BE49-F238E27FC236}">
                <a16:creationId xmlns:a16="http://schemas.microsoft.com/office/drawing/2014/main" id="{151D0DAB-B506-45C0-9175-987507835300}"/>
              </a:ext>
            </a:extLst>
          </p:cNvPr>
          <p:cNvGrpSpPr/>
          <p:nvPr/>
        </p:nvGrpSpPr>
        <p:grpSpPr>
          <a:xfrm>
            <a:off x="3721249" y="2895862"/>
            <a:ext cx="513803" cy="531830"/>
            <a:chOff x="1163293" y="4009909"/>
            <a:chExt cx="426779" cy="441753"/>
          </a:xfrm>
          <a:solidFill>
            <a:srgbClr val="6FC2B4"/>
          </a:solidFill>
        </p:grpSpPr>
        <p:sp>
          <p:nvSpPr>
            <p:cNvPr id="77" name="Freeform 129">
              <a:extLst>
                <a:ext uri="{FF2B5EF4-FFF2-40B4-BE49-F238E27FC236}">
                  <a16:creationId xmlns:a16="http://schemas.microsoft.com/office/drawing/2014/main" id="{965B3274-DEA9-4DDE-961B-E22F577C546A}"/>
                </a:ext>
              </a:extLst>
            </p:cNvPr>
            <p:cNvSpPr>
              <a:spLocks/>
            </p:cNvSpPr>
            <p:nvPr/>
          </p:nvSpPr>
          <p:spPr bwMode="auto">
            <a:xfrm>
              <a:off x="1163293" y="4192101"/>
              <a:ext cx="426779" cy="157235"/>
            </a:xfrm>
            <a:custGeom>
              <a:avLst/>
              <a:gdLst>
                <a:gd name="T0" fmla="*/ 86 w 171"/>
                <a:gd name="T1" fmla="*/ 36 h 63"/>
                <a:gd name="T2" fmla="*/ 24 w 171"/>
                <a:gd name="T3" fmla="*/ 0 h 63"/>
                <a:gd name="T4" fmla="*/ 0 w 171"/>
                <a:gd name="T5" fmla="*/ 15 h 63"/>
                <a:gd name="T6" fmla="*/ 86 w 171"/>
                <a:gd name="T7" fmla="*/ 63 h 63"/>
                <a:gd name="T8" fmla="*/ 171 w 171"/>
                <a:gd name="T9" fmla="*/ 15 h 63"/>
                <a:gd name="T10" fmla="*/ 147 w 171"/>
                <a:gd name="T11" fmla="*/ 0 h 63"/>
                <a:gd name="T12" fmla="*/ 86 w 171"/>
                <a:gd name="T13" fmla="*/ 36 h 63"/>
              </a:gdLst>
              <a:ahLst/>
              <a:cxnLst>
                <a:cxn ang="0">
                  <a:pos x="T0" y="T1"/>
                </a:cxn>
                <a:cxn ang="0">
                  <a:pos x="T2" y="T3"/>
                </a:cxn>
                <a:cxn ang="0">
                  <a:pos x="T4" y="T5"/>
                </a:cxn>
                <a:cxn ang="0">
                  <a:pos x="T6" y="T7"/>
                </a:cxn>
                <a:cxn ang="0">
                  <a:pos x="T8" y="T9"/>
                </a:cxn>
                <a:cxn ang="0">
                  <a:pos x="T10" y="T11"/>
                </a:cxn>
                <a:cxn ang="0">
                  <a:pos x="T12" y="T13"/>
                </a:cxn>
              </a:cxnLst>
              <a:rect l="0" t="0" r="r" b="b"/>
              <a:pathLst>
                <a:path w="171" h="63">
                  <a:moveTo>
                    <a:pt x="86" y="36"/>
                  </a:moveTo>
                  <a:lnTo>
                    <a:pt x="24" y="0"/>
                  </a:lnTo>
                  <a:lnTo>
                    <a:pt x="0" y="15"/>
                  </a:lnTo>
                  <a:lnTo>
                    <a:pt x="86" y="63"/>
                  </a:lnTo>
                  <a:lnTo>
                    <a:pt x="171" y="15"/>
                  </a:lnTo>
                  <a:lnTo>
                    <a:pt x="147" y="0"/>
                  </a:lnTo>
                  <a:lnTo>
                    <a:pt x="8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8" name="Freeform 130">
              <a:extLst>
                <a:ext uri="{FF2B5EF4-FFF2-40B4-BE49-F238E27FC236}">
                  <a16:creationId xmlns:a16="http://schemas.microsoft.com/office/drawing/2014/main" id="{956A422F-BA98-4863-99EB-9001E4B7A5A7}"/>
                </a:ext>
              </a:extLst>
            </p:cNvPr>
            <p:cNvSpPr>
              <a:spLocks/>
            </p:cNvSpPr>
            <p:nvPr/>
          </p:nvSpPr>
          <p:spPr bwMode="auto">
            <a:xfrm>
              <a:off x="1163293" y="4296924"/>
              <a:ext cx="426779" cy="154738"/>
            </a:xfrm>
            <a:custGeom>
              <a:avLst/>
              <a:gdLst>
                <a:gd name="T0" fmla="*/ 86 w 171"/>
                <a:gd name="T1" fmla="*/ 34 h 62"/>
                <a:gd name="T2" fmla="*/ 24 w 171"/>
                <a:gd name="T3" fmla="*/ 0 h 62"/>
                <a:gd name="T4" fmla="*/ 0 w 171"/>
                <a:gd name="T5" fmla="*/ 13 h 62"/>
                <a:gd name="T6" fmla="*/ 86 w 171"/>
                <a:gd name="T7" fmla="*/ 62 h 62"/>
                <a:gd name="T8" fmla="*/ 171 w 171"/>
                <a:gd name="T9" fmla="*/ 13 h 62"/>
                <a:gd name="T10" fmla="*/ 147 w 171"/>
                <a:gd name="T11" fmla="*/ 0 h 62"/>
                <a:gd name="T12" fmla="*/ 86 w 171"/>
                <a:gd name="T13" fmla="*/ 34 h 62"/>
              </a:gdLst>
              <a:ahLst/>
              <a:cxnLst>
                <a:cxn ang="0">
                  <a:pos x="T0" y="T1"/>
                </a:cxn>
                <a:cxn ang="0">
                  <a:pos x="T2" y="T3"/>
                </a:cxn>
                <a:cxn ang="0">
                  <a:pos x="T4" y="T5"/>
                </a:cxn>
                <a:cxn ang="0">
                  <a:pos x="T6" y="T7"/>
                </a:cxn>
                <a:cxn ang="0">
                  <a:pos x="T8" y="T9"/>
                </a:cxn>
                <a:cxn ang="0">
                  <a:pos x="T10" y="T11"/>
                </a:cxn>
                <a:cxn ang="0">
                  <a:pos x="T12" y="T13"/>
                </a:cxn>
              </a:cxnLst>
              <a:rect l="0" t="0" r="r" b="b"/>
              <a:pathLst>
                <a:path w="171" h="62">
                  <a:moveTo>
                    <a:pt x="86" y="34"/>
                  </a:moveTo>
                  <a:lnTo>
                    <a:pt x="24" y="0"/>
                  </a:lnTo>
                  <a:lnTo>
                    <a:pt x="0" y="13"/>
                  </a:lnTo>
                  <a:lnTo>
                    <a:pt x="86" y="62"/>
                  </a:lnTo>
                  <a:lnTo>
                    <a:pt x="171" y="13"/>
                  </a:lnTo>
                  <a:lnTo>
                    <a:pt x="147" y="0"/>
                  </a:lnTo>
                  <a:lnTo>
                    <a:pt x="86"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9" name="Freeform 131">
              <a:extLst>
                <a:ext uri="{FF2B5EF4-FFF2-40B4-BE49-F238E27FC236}">
                  <a16:creationId xmlns:a16="http://schemas.microsoft.com/office/drawing/2014/main" id="{91BCC578-43D1-4D8A-BBCB-668182FF4E09}"/>
                </a:ext>
              </a:extLst>
            </p:cNvPr>
            <p:cNvSpPr>
              <a:spLocks/>
            </p:cNvSpPr>
            <p:nvPr/>
          </p:nvSpPr>
          <p:spPr bwMode="auto">
            <a:xfrm>
              <a:off x="1163293" y="4009909"/>
              <a:ext cx="426779" cy="242092"/>
            </a:xfrm>
            <a:custGeom>
              <a:avLst/>
              <a:gdLst>
                <a:gd name="T0" fmla="*/ 171 w 171"/>
                <a:gd name="T1" fmla="*/ 48 h 97"/>
                <a:gd name="T2" fmla="*/ 86 w 171"/>
                <a:gd name="T3" fmla="*/ 0 h 97"/>
                <a:gd name="T4" fmla="*/ 0 w 171"/>
                <a:gd name="T5" fmla="*/ 48 h 97"/>
                <a:gd name="T6" fmla="*/ 86 w 171"/>
                <a:gd name="T7" fmla="*/ 97 h 97"/>
                <a:gd name="T8" fmla="*/ 171 w 171"/>
                <a:gd name="T9" fmla="*/ 48 h 97"/>
              </a:gdLst>
              <a:ahLst/>
              <a:cxnLst>
                <a:cxn ang="0">
                  <a:pos x="T0" y="T1"/>
                </a:cxn>
                <a:cxn ang="0">
                  <a:pos x="T2" y="T3"/>
                </a:cxn>
                <a:cxn ang="0">
                  <a:pos x="T4" y="T5"/>
                </a:cxn>
                <a:cxn ang="0">
                  <a:pos x="T6" y="T7"/>
                </a:cxn>
                <a:cxn ang="0">
                  <a:pos x="T8" y="T9"/>
                </a:cxn>
              </a:cxnLst>
              <a:rect l="0" t="0" r="r" b="b"/>
              <a:pathLst>
                <a:path w="171" h="97">
                  <a:moveTo>
                    <a:pt x="171" y="48"/>
                  </a:moveTo>
                  <a:lnTo>
                    <a:pt x="86" y="0"/>
                  </a:lnTo>
                  <a:lnTo>
                    <a:pt x="0" y="48"/>
                  </a:lnTo>
                  <a:lnTo>
                    <a:pt x="86" y="97"/>
                  </a:lnTo>
                  <a:lnTo>
                    <a:pt x="171"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80" name="Group 229">
            <a:extLst>
              <a:ext uri="{FF2B5EF4-FFF2-40B4-BE49-F238E27FC236}">
                <a16:creationId xmlns:a16="http://schemas.microsoft.com/office/drawing/2014/main" id="{F9BAAD9A-62E2-41FD-942C-21EE4E38DC33}"/>
              </a:ext>
            </a:extLst>
          </p:cNvPr>
          <p:cNvGrpSpPr/>
          <p:nvPr/>
        </p:nvGrpSpPr>
        <p:grpSpPr>
          <a:xfrm>
            <a:off x="1797312" y="1939612"/>
            <a:ext cx="336525" cy="501786"/>
            <a:chOff x="4669866" y="3800264"/>
            <a:chExt cx="279527" cy="416797"/>
          </a:xfrm>
          <a:solidFill>
            <a:srgbClr val="046A38"/>
          </a:solidFill>
        </p:grpSpPr>
        <p:sp>
          <p:nvSpPr>
            <p:cNvPr id="81" name="Freeform 141">
              <a:extLst>
                <a:ext uri="{FF2B5EF4-FFF2-40B4-BE49-F238E27FC236}">
                  <a16:creationId xmlns:a16="http://schemas.microsoft.com/office/drawing/2014/main" id="{E86DF6AF-7889-43EE-96F6-30D16D838B0D}"/>
                </a:ext>
              </a:extLst>
            </p:cNvPr>
            <p:cNvSpPr>
              <a:spLocks noEditPoints="1"/>
            </p:cNvSpPr>
            <p:nvPr/>
          </p:nvSpPr>
          <p:spPr bwMode="auto">
            <a:xfrm>
              <a:off x="4669866" y="3800264"/>
              <a:ext cx="279527" cy="316965"/>
            </a:xfrm>
            <a:custGeom>
              <a:avLst/>
              <a:gdLst>
                <a:gd name="T0" fmla="*/ 84 w 84"/>
                <a:gd name="T1" fmla="*/ 42 h 95"/>
                <a:gd name="T2" fmla="*/ 42 w 84"/>
                <a:gd name="T3" fmla="*/ 0 h 95"/>
                <a:gd name="T4" fmla="*/ 0 w 84"/>
                <a:gd name="T5" fmla="*/ 42 h 95"/>
                <a:gd name="T6" fmla="*/ 28 w 84"/>
                <a:gd name="T7" fmla="*/ 81 h 95"/>
                <a:gd name="T8" fmla="*/ 25 w 84"/>
                <a:gd name="T9" fmla="*/ 81 h 95"/>
                <a:gd name="T10" fmla="*/ 25 w 84"/>
                <a:gd name="T11" fmla="*/ 95 h 95"/>
                <a:gd name="T12" fmla="*/ 60 w 84"/>
                <a:gd name="T13" fmla="*/ 95 h 95"/>
                <a:gd name="T14" fmla="*/ 60 w 84"/>
                <a:gd name="T15" fmla="*/ 81 h 95"/>
                <a:gd name="T16" fmla="*/ 57 w 84"/>
                <a:gd name="T17" fmla="*/ 81 h 95"/>
                <a:gd name="T18" fmla="*/ 84 w 84"/>
                <a:gd name="T19" fmla="*/ 42 h 95"/>
                <a:gd name="T20" fmla="*/ 42 w 84"/>
                <a:gd name="T21" fmla="*/ 77 h 95"/>
                <a:gd name="T22" fmla="*/ 7 w 84"/>
                <a:gd name="T23" fmla="*/ 42 h 95"/>
                <a:gd name="T24" fmla="*/ 42 w 84"/>
                <a:gd name="T25" fmla="*/ 7 h 95"/>
                <a:gd name="T26" fmla="*/ 77 w 84"/>
                <a:gd name="T27" fmla="*/ 42 h 95"/>
                <a:gd name="T28" fmla="*/ 42 w 84"/>
                <a:gd name="T29" fmla="*/ 7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95">
                  <a:moveTo>
                    <a:pt x="84" y="42"/>
                  </a:moveTo>
                  <a:cubicBezTo>
                    <a:pt x="84" y="19"/>
                    <a:pt x="65" y="0"/>
                    <a:pt x="42" y="0"/>
                  </a:cubicBezTo>
                  <a:cubicBezTo>
                    <a:pt x="19" y="0"/>
                    <a:pt x="0" y="19"/>
                    <a:pt x="0" y="42"/>
                  </a:cubicBezTo>
                  <a:cubicBezTo>
                    <a:pt x="0" y="60"/>
                    <a:pt x="12" y="75"/>
                    <a:pt x="28" y="81"/>
                  </a:cubicBezTo>
                  <a:cubicBezTo>
                    <a:pt x="25" y="81"/>
                    <a:pt x="25" y="81"/>
                    <a:pt x="25" y="81"/>
                  </a:cubicBezTo>
                  <a:cubicBezTo>
                    <a:pt x="25" y="95"/>
                    <a:pt x="25" y="95"/>
                    <a:pt x="25" y="95"/>
                  </a:cubicBezTo>
                  <a:cubicBezTo>
                    <a:pt x="60" y="95"/>
                    <a:pt x="60" y="95"/>
                    <a:pt x="60" y="95"/>
                  </a:cubicBezTo>
                  <a:cubicBezTo>
                    <a:pt x="60" y="81"/>
                    <a:pt x="60" y="81"/>
                    <a:pt x="60" y="81"/>
                  </a:cubicBezTo>
                  <a:cubicBezTo>
                    <a:pt x="57" y="81"/>
                    <a:pt x="57" y="81"/>
                    <a:pt x="57" y="81"/>
                  </a:cubicBezTo>
                  <a:cubicBezTo>
                    <a:pt x="73" y="75"/>
                    <a:pt x="84" y="60"/>
                    <a:pt x="84" y="42"/>
                  </a:cubicBezTo>
                  <a:close/>
                  <a:moveTo>
                    <a:pt x="42" y="77"/>
                  </a:moveTo>
                  <a:cubicBezTo>
                    <a:pt x="23" y="77"/>
                    <a:pt x="7" y="61"/>
                    <a:pt x="7" y="42"/>
                  </a:cubicBezTo>
                  <a:cubicBezTo>
                    <a:pt x="7" y="23"/>
                    <a:pt x="23" y="7"/>
                    <a:pt x="42" y="7"/>
                  </a:cubicBezTo>
                  <a:cubicBezTo>
                    <a:pt x="62" y="7"/>
                    <a:pt x="77" y="23"/>
                    <a:pt x="77" y="42"/>
                  </a:cubicBezTo>
                  <a:cubicBezTo>
                    <a:pt x="77" y="61"/>
                    <a:pt x="62" y="77"/>
                    <a:pt x="4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2" name="Rectangle 142">
              <a:extLst>
                <a:ext uri="{FF2B5EF4-FFF2-40B4-BE49-F238E27FC236}">
                  <a16:creationId xmlns:a16="http://schemas.microsoft.com/office/drawing/2014/main" id="{AEF5E02A-42BE-4C24-B6C8-E437C2E28D22}"/>
                </a:ext>
              </a:extLst>
            </p:cNvPr>
            <p:cNvSpPr>
              <a:spLocks noChangeArrowheads="1"/>
            </p:cNvSpPr>
            <p:nvPr/>
          </p:nvSpPr>
          <p:spPr bwMode="auto">
            <a:xfrm>
              <a:off x="4752226" y="4127210"/>
              <a:ext cx="117302" cy="424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3" name="Freeform 143">
              <a:extLst>
                <a:ext uri="{FF2B5EF4-FFF2-40B4-BE49-F238E27FC236}">
                  <a16:creationId xmlns:a16="http://schemas.microsoft.com/office/drawing/2014/main" id="{4A702F84-3300-4CA9-9BD3-669927D4CB05}"/>
                </a:ext>
              </a:extLst>
            </p:cNvPr>
            <p:cNvSpPr>
              <a:spLocks/>
            </p:cNvSpPr>
            <p:nvPr/>
          </p:nvSpPr>
          <p:spPr bwMode="auto">
            <a:xfrm>
              <a:off x="4752226" y="4179623"/>
              <a:ext cx="117302" cy="37438"/>
            </a:xfrm>
            <a:custGeom>
              <a:avLst/>
              <a:gdLst>
                <a:gd name="T0" fmla="*/ 0 w 47"/>
                <a:gd name="T1" fmla="*/ 9 h 15"/>
                <a:gd name="T2" fmla="*/ 16 w 47"/>
                <a:gd name="T3" fmla="*/ 9 h 15"/>
                <a:gd name="T4" fmla="*/ 16 w 47"/>
                <a:gd name="T5" fmla="*/ 15 h 15"/>
                <a:gd name="T6" fmla="*/ 31 w 47"/>
                <a:gd name="T7" fmla="*/ 15 h 15"/>
                <a:gd name="T8" fmla="*/ 31 w 47"/>
                <a:gd name="T9" fmla="*/ 9 h 15"/>
                <a:gd name="T10" fmla="*/ 47 w 47"/>
                <a:gd name="T11" fmla="*/ 9 h 15"/>
                <a:gd name="T12" fmla="*/ 47 w 47"/>
                <a:gd name="T13" fmla="*/ 0 h 15"/>
                <a:gd name="T14" fmla="*/ 0 w 47"/>
                <a:gd name="T15" fmla="*/ 0 h 15"/>
                <a:gd name="T16" fmla="*/ 0 w 47"/>
                <a:gd name="T17"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15">
                  <a:moveTo>
                    <a:pt x="0" y="9"/>
                  </a:moveTo>
                  <a:lnTo>
                    <a:pt x="16" y="9"/>
                  </a:lnTo>
                  <a:lnTo>
                    <a:pt x="16" y="15"/>
                  </a:lnTo>
                  <a:lnTo>
                    <a:pt x="31" y="15"/>
                  </a:lnTo>
                  <a:lnTo>
                    <a:pt x="31" y="9"/>
                  </a:lnTo>
                  <a:lnTo>
                    <a:pt x="47" y="9"/>
                  </a:lnTo>
                  <a:lnTo>
                    <a:pt x="47" y="0"/>
                  </a:lnTo>
                  <a:lnTo>
                    <a:pt x="0" y="0"/>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4" name="Freeform 144">
              <a:extLst>
                <a:ext uri="{FF2B5EF4-FFF2-40B4-BE49-F238E27FC236}">
                  <a16:creationId xmlns:a16="http://schemas.microsoft.com/office/drawing/2014/main" id="{E502643E-16D3-4FE9-9E8C-5696D30C44EB}"/>
                </a:ext>
              </a:extLst>
            </p:cNvPr>
            <p:cNvSpPr>
              <a:spLocks noEditPoints="1"/>
            </p:cNvSpPr>
            <p:nvPr/>
          </p:nvSpPr>
          <p:spPr bwMode="auto">
            <a:xfrm>
              <a:off x="4769697" y="3890112"/>
              <a:ext cx="82362" cy="162227"/>
            </a:xfrm>
            <a:custGeom>
              <a:avLst/>
              <a:gdLst>
                <a:gd name="T0" fmla="*/ 32 w 33"/>
                <a:gd name="T1" fmla="*/ 3 h 65"/>
                <a:gd name="T2" fmla="*/ 28 w 33"/>
                <a:gd name="T3" fmla="*/ 0 h 65"/>
                <a:gd name="T4" fmla="*/ 16 w 33"/>
                <a:gd name="T5" fmla="*/ 5 h 65"/>
                <a:gd name="T6" fmla="*/ 4 w 33"/>
                <a:gd name="T7" fmla="*/ 0 h 65"/>
                <a:gd name="T8" fmla="*/ 0 w 33"/>
                <a:gd name="T9" fmla="*/ 3 h 65"/>
                <a:gd name="T10" fmla="*/ 0 w 33"/>
                <a:gd name="T11" fmla="*/ 3 h 65"/>
                <a:gd name="T12" fmla="*/ 0 w 33"/>
                <a:gd name="T13" fmla="*/ 3 h 65"/>
                <a:gd name="T14" fmla="*/ 15 w 33"/>
                <a:gd name="T15" fmla="*/ 65 h 65"/>
                <a:gd name="T16" fmla="*/ 19 w 33"/>
                <a:gd name="T17" fmla="*/ 65 h 65"/>
                <a:gd name="T18" fmla="*/ 33 w 33"/>
                <a:gd name="T19" fmla="*/ 3 h 65"/>
                <a:gd name="T20" fmla="*/ 33 w 33"/>
                <a:gd name="T21" fmla="*/ 3 h 65"/>
                <a:gd name="T22" fmla="*/ 33 w 33"/>
                <a:gd name="T23" fmla="*/ 3 h 65"/>
                <a:gd name="T24" fmla="*/ 33 w 33"/>
                <a:gd name="T25" fmla="*/ 3 h 65"/>
                <a:gd name="T26" fmla="*/ 32 w 33"/>
                <a:gd name="T27" fmla="*/ 3 h 65"/>
                <a:gd name="T28" fmla="*/ 16 w 33"/>
                <a:gd name="T29" fmla="*/ 57 h 65"/>
                <a:gd name="T30" fmla="*/ 4 w 33"/>
                <a:gd name="T31" fmla="*/ 4 h 65"/>
                <a:gd name="T32" fmla="*/ 16 w 33"/>
                <a:gd name="T33" fmla="*/ 8 h 65"/>
                <a:gd name="T34" fmla="*/ 29 w 33"/>
                <a:gd name="T35" fmla="*/ 4 h 65"/>
                <a:gd name="T36" fmla="*/ 16 w 33"/>
                <a:gd name="T37"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65">
                  <a:moveTo>
                    <a:pt x="32" y="3"/>
                  </a:moveTo>
                  <a:lnTo>
                    <a:pt x="28" y="0"/>
                  </a:lnTo>
                  <a:lnTo>
                    <a:pt x="16" y="5"/>
                  </a:lnTo>
                  <a:lnTo>
                    <a:pt x="4" y="0"/>
                  </a:lnTo>
                  <a:lnTo>
                    <a:pt x="0" y="3"/>
                  </a:lnTo>
                  <a:lnTo>
                    <a:pt x="0" y="3"/>
                  </a:lnTo>
                  <a:lnTo>
                    <a:pt x="0" y="3"/>
                  </a:lnTo>
                  <a:lnTo>
                    <a:pt x="15" y="65"/>
                  </a:lnTo>
                  <a:lnTo>
                    <a:pt x="19" y="65"/>
                  </a:lnTo>
                  <a:lnTo>
                    <a:pt x="33" y="3"/>
                  </a:lnTo>
                  <a:lnTo>
                    <a:pt x="33" y="3"/>
                  </a:lnTo>
                  <a:lnTo>
                    <a:pt x="33" y="3"/>
                  </a:lnTo>
                  <a:lnTo>
                    <a:pt x="33" y="3"/>
                  </a:lnTo>
                  <a:lnTo>
                    <a:pt x="32" y="3"/>
                  </a:lnTo>
                  <a:close/>
                  <a:moveTo>
                    <a:pt x="16" y="57"/>
                  </a:moveTo>
                  <a:lnTo>
                    <a:pt x="4" y="4"/>
                  </a:lnTo>
                  <a:lnTo>
                    <a:pt x="16" y="8"/>
                  </a:lnTo>
                  <a:lnTo>
                    <a:pt x="29" y="4"/>
                  </a:lnTo>
                  <a:lnTo>
                    <a:pt x="16"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85" name="Right Brace 239">
            <a:extLst>
              <a:ext uri="{FF2B5EF4-FFF2-40B4-BE49-F238E27FC236}">
                <a16:creationId xmlns:a16="http://schemas.microsoft.com/office/drawing/2014/main" id="{709ED388-B288-4826-9F92-C60F0C32C179}"/>
              </a:ext>
            </a:extLst>
          </p:cNvPr>
          <p:cNvSpPr/>
          <p:nvPr/>
        </p:nvSpPr>
        <p:spPr>
          <a:xfrm>
            <a:off x="7462261" y="1357918"/>
            <a:ext cx="274802" cy="4311680"/>
          </a:xfrm>
          <a:prstGeom prst="rightBrac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86" name="Text Box 10">
            <a:extLst>
              <a:ext uri="{FF2B5EF4-FFF2-40B4-BE49-F238E27FC236}">
                <a16:creationId xmlns:a16="http://schemas.microsoft.com/office/drawing/2014/main" id="{93F68388-9622-4501-B036-47D60B53BD44}"/>
              </a:ext>
            </a:extLst>
          </p:cNvPr>
          <p:cNvSpPr txBox="1">
            <a:spLocks noChangeArrowheads="1"/>
          </p:cNvSpPr>
          <p:nvPr/>
        </p:nvSpPr>
        <p:spPr bwMode="auto">
          <a:xfrm>
            <a:off x="7737474" y="3009199"/>
            <a:ext cx="3984626" cy="415498"/>
          </a:xfrm>
          <a:prstGeom prst="rect">
            <a:avLst/>
          </a:prstGeom>
          <a:noFill/>
          <a:ln w="9525">
            <a:noFill/>
            <a:miter lim="800000"/>
            <a:headEnd/>
            <a:tailEnd/>
          </a:ln>
        </p:spPr>
        <p:txBody>
          <a:bodyPr wrap="square" lIns="45720" tIns="22860" rIns="45720" bIns="22860">
            <a:spAutoFit/>
          </a:bodyPr>
          <a:lstStyle/>
          <a:p>
            <a:pPr defTabSz="1088232"/>
            <a:r>
              <a:rPr lang="en-US" sz="1200" i="1" dirty="0">
                <a:solidFill>
                  <a:schemeClr val="bg1">
                    <a:lumMod val="65000"/>
                  </a:schemeClr>
                </a:solidFill>
                <a:latin typeface="+mj-lt"/>
                <a:ea typeface="Open Sans" pitchFamily="34" charset="0"/>
                <a:cs typeface="Open Sans" pitchFamily="34" charset="0"/>
              </a:rPr>
              <a:t>xxxxxxxxxxxxxxxxxxxxxxxxxxxxxxxxxxxxxxxxxxxxxxxxxxxxxxxxxxxxxxxxxxxxxxxxxxxx</a:t>
            </a:r>
          </a:p>
        </p:txBody>
      </p:sp>
      <p:sp>
        <p:nvSpPr>
          <p:cNvPr id="87" name="Text Box 10">
            <a:extLst>
              <a:ext uri="{FF2B5EF4-FFF2-40B4-BE49-F238E27FC236}">
                <a16:creationId xmlns:a16="http://schemas.microsoft.com/office/drawing/2014/main" id="{14E4596C-0EFD-4345-8E4B-D5FA1A19B2DA}"/>
              </a:ext>
            </a:extLst>
          </p:cNvPr>
          <p:cNvSpPr txBox="1">
            <a:spLocks noChangeArrowheads="1"/>
          </p:cNvSpPr>
          <p:nvPr/>
        </p:nvSpPr>
        <p:spPr bwMode="auto">
          <a:xfrm>
            <a:off x="7737474" y="4112454"/>
            <a:ext cx="3984626" cy="1531188"/>
          </a:xfrm>
          <a:prstGeom prst="rect">
            <a:avLst/>
          </a:prstGeom>
          <a:noFill/>
          <a:ln w="9525">
            <a:noFill/>
            <a:miter lim="800000"/>
            <a:headEnd/>
            <a:tailEnd/>
          </a:ln>
        </p:spPr>
        <p:txBody>
          <a:bodyPr wrap="square" lIns="45720" tIns="22860" rIns="45720" bIns="22860">
            <a:spAutoFit/>
          </a:bodyPr>
          <a:lstStyle/>
          <a:p>
            <a:pPr defTabSz="1088232"/>
            <a:r>
              <a:rPr lang="en-US" sz="1400" b="1" dirty="0" err="1">
                <a:solidFill>
                  <a:srgbClr val="86BC25"/>
                </a:solidFill>
                <a:latin typeface="+mj-lt"/>
                <a:ea typeface="Open Sans" pitchFamily="34" charset="0"/>
                <a:cs typeface="Open Sans" pitchFamily="34" charset="0"/>
              </a:rPr>
              <a:t>xxxxxxxxxxxxxxxxxxxxxx</a:t>
            </a:r>
            <a:endParaRPr lang="en-US" sz="1400" b="1" dirty="0">
              <a:solidFill>
                <a:srgbClr val="86BC25"/>
              </a:solidFill>
              <a:latin typeface="+mj-lt"/>
              <a:ea typeface="Open Sans" pitchFamily="34" charset="0"/>
              <a:cs typeface="Open Sans" pitchFamily="34" charset="0"/>
            </a:endParaRPr>
          </a:p>
          <a:p>
            <a:pPr defTabSz="1088232"/>
            <a:endParaRPr lang="en-US" sz="900" b="1" dirty="0">
              <a:solidFill>
                <a:srgbClr val="45C1A4"/>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xxx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x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xxxxxxxxxxxxx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88" name="Text Box 10">
            <a:extLst>
              <a:ext uri="{FF2B5EF4-FFF2-40B4-BE49-F238E27FC236}">
                <a16:creationId xmlns:a16="http://schemas.microsoft.com/office/drawing/2014/main" id="{CD8F11F9-2E86-4FC1-A25D-741724C29803}"/>
              </a:ext>
            </a:extLst>
          </p:cNvPr>
          <p:cNvSpPr txBox="1">
            <a:spLocks noChangeArrowheads="1"/>
          </p:cNvSpPr>
          <p:nvPr/>
        </p:nvSpPr>
        <p:spPr bwMode="auto">
          <a:xfrm>
            <a:off x="8670040" y="1082704"/>
            <a:ext cx="3160221" cy="723275"/>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600" b="1" dirty="0" err="1">
                <a:solidFill>
                  <a:srgbClr val="97999B"/>
                </a:solidFill>
                <a:ea typeface="Open Sans" pitchFamily="34" charset="0"/>
                <a:cs typeface="Open Sans" pitchFamily="34" charset="0"/>
              </a:rPr>
              <a:t>xxxxxxxx</a:t>
            </a:r>
            <a:endParaRPr lang="en-US" altLang="zh-CN" sz="1600" b="1" dirty="0">
              <a:solidFill>
                <a:srgbClr val="97999B"/>
              </a:solidFill>
              <a:ea typeface="Open Sans" pitchFamily="34" charset="0"/>
              <a:cs typeface="Open Sans" pitchFamily="34" charset="0"/>
            </a:endParaRPr>
          </a:p>
          <a:p>
            <a:pPr defTabSz="1088232"/>
            <a:r>
              <a:rPr lang="en-US" altLang="zh-CN" sz="1200" dirty="0" err="1">
                <a:solidFill>
                  <a:schemeClr val="bg1">
                    <a:lumMod val="65000"/>
                  </a:schemeClr>
                </a:solidFill>
                <a:ea typeface="Open Sans" pitchFamily="34" charset="0"/>
                <a:cs typeface="Open Sans" pitchFamily="34" charset="0"/>
              </a:rPr>
              <a:t>xxxxxxxxxxxxxxxxxxxxxxxxxx</a:t>
            </a:r>
            <a:endParaRPr lang="en-US" altLang="zh-CN" sz="1200" dirty="0">
              <a:solidFill>
                <a:schemeClr val="bg1">
                  <a:lumMod val="65000"/>
                </a:schemeClr>
              </a:solidFill>
              <a:ea typeface="Open Sans" pitchFamily="34" charset="0"/>
              <a:cs typeface="Open Sans" pitchFamily="34" charset="0"/>
            </a:endParaRPr>
          </a:p>
        </p:txBody>
      </p:sp>
      <p:sp>
        <p:nvSpPr>
          <p:cNvPr id="89" name="Oval 243">
            <a:extLst>
              <a:ext uri="{FF2B5EF4-FFF2-40B4-BE49-F238E27FC236}">
                <a16:creationId xmlns:a16="http://schemas.microsoft.com/office/drawing/2014/main" id="{BBEE390F-FB66-4A44-B9B1-091A19C3AC9B}"/>
              </a:ext>
            </a:extLst>
          </p:cNvPr>
          <p:cNvSpPr/>
          <p:nvPr/>
        </p:nvSpPr>
        <p:spPr>
          <a:xfrm>
            <a:off x="7755982" y="1243787"/>
            <a:ext cx="662400" cy="662340"/>
          </a:xfrm>
          <a:prstGeom prst="ellipse">
            <a:avLst/>
          </a:prstGeom>
          <a:solidFill>
            <a:srgbClr val="A7A8AA"/>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90" name="Text Box 10">
            <a:extLst>
              <a:ext uri="{FF2B5EF4-FFF2-40B4-BE49-F238E27FC236}">
                <a16:creationId xmlns:a16="http://schemas.microsoft.com/office/drawing/2014/main" id="{B7825E9F-9213-4E9D-8E7B-1E23850668C0}"/>
              </a:ext>
            </a:extLst>
          </p:cNvPr>
          <p:cNvSpPr txBox="1">
            <a:spLocks noChangeArrowheads="1"/>
          </p:cNvSpPr>
          <p:nvPr/>
        </p:nvSpPr>
        <p:spPr bwMode="auto">
          <a:xfrm>
            <a:off x="8670039" y="1908345"/>
            <a:ext cx="3160221" cy="723275"/>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600" b="1" dirty="0" err="1">
                <a:solidFill>
                  <a:srgbClr val="00ABAB"/>
                </a:solidFill>
                <a:ea typeface="Open Sans" pitchFamily="34" charset="0"/>
                <a:cs typeface="Open Sans" pitchFamily="34" charset="0"/>
              </a:rPr>
              <a:t>xxxxxxxx</a:t>
            </a:r>
            <a:endParaRPr lang="en-US" altLang="zh-CN" sz="1600" b="1" dirty="0">
              <a:solidFill>
                <a:srgbClr val="00ABAB"/>
              </a:solidFill>
              <a:ea typeface="Open Sans" pitchFamily="34" charset="0"/>
              <a:cs typeface="Open Sans" pitchFamily="34" charset="0"/>
            </a:endParaRPr>
          </a:p>
          <a:p>
            <a:pPr defTabSz="1088232"/>
            <a:r>
              <a:rPr lang="en-US" altLang="zh-CN" sz="1200" dirty="0" err="1">
                <a:solidFill>
                  <a:schemeClr val="bg1">
                    <a:lumMod val="65000"/>
                  </a:schemeClr>
                </a:solidFill>
                <a:ea typeface="Open Sans" pitchFamily="34" charset="0"/>
                <a:cs typeface="Open Sans" pitchFamily="34" charset="0"/>
              </a:rPr>
              <a:t>xxxxxxxxxxxxxxxxxxxxxxxxxx</a:t>
            </a:r>
            <a:endParaRPr lang="en-US" altLang="zh-CN" sz="1200" dirty="0">
              <a:solidFill>
                <a:schemeClr val="bg1">
                  <a:lumMod val="65000"/>
                </a:schemeClr>
              </a:solidFill>
              <a:ea typeface="Open Sans" pitchFamily="34" charset="0"/>
              <a:cs typeface="Open Sans" pitchFamily="34" charset="0"/>
            </a:endParaRPr>
          </a:p>
        </p:txBody>
      </p:sp>
      <p:sp>
        <p:nvSpPr>
          <p:cNvPr id="91" name="Oval 248">
            <a:extLst>
              <a:ext uri="{FF2B5EF4-FFF2-40B4-BE49-F238E27FC236}">
                <a16:creationId xmlns:a16="http://schemas.microsoft.com/office/drawing/2014/main" id="{3A5CE54D-BBA1-4C29-A23B-C2E16938BFAA}"/>
              </a:ext>
            </a:extLst>
          </p:cNvPr>
          <p:cNvSpPr/>
          <p:nvPr/>
        </p:nvSpPr>
        <p:spPr>
          <a:xfrm>
            <a:off x="7755982" y="2069430"/>
            <a:ext cx="662400" cy="662340"/>
          </a:xfrm>
          <a:prstGeom prst="ellipse">
            <a:avLst/>
          </a:prstGeom>
          <a:solidFill>
            <a:srgbClr val="00ABAB"/>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Tree>
    <p:custDataLst>
      <p:tags r:id="rId1"/>
    </p:custDataLst>
    <p:extLst>
      <p:ext uri="{BB962C8B-B14F-4D97-AF65-F5344CB8AC3E}">
        <p14:creationId xmlns:p14="http://schemas.microsoft.com/office/powerpoint/2010/main" val="2542936453"/>
      </p:ext>
    </p:extLst>
  </p:cSld>
  <p:clrMapOvr>
    <a:masterClrMapping/>
  </p:clrMapOvr>
  <p:transition>
    <p:fade/>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272C0DB-23FE-4D9F-BF88-8A2A93B7CF60}"/>
              </a:ext>
            </a:extLst>
          </p:cNvPr>
          <p:cNvSpPr>
            <a:spLocks noGrp="1"/>
          </p:cNvSpPr>
          <p:nvPr>
            <p:ph type="body" sz="quarter" idx="4294967295"/>
          </p:nvPr>
        </p:nvSpPr>
        <p:spPr>
          <a:xfrm>
            <a:off x="0" y="650875"/>
            <a:ext cx="11188700" cy="757238"/>
          </a:xfrm>
        </p:spPr>
        <p:txBody>
          <a:bodyPr/>
          <a:lstStyle/>
          <a:p>
            <a:r>
              <a:rPr lang="en-US"/>
              <a:t> </a:t>
            </a:r>
          </a:p>
        </p:txBody>
      </p:sp>
      <p:sp>
        <p:nvSpPr>
          <p:cNvPr id="3" name="Title 2">
            <a:extLst>
              <a:ext uri="{FF2B5EF4-FFF2-40B4-BE49-F238E27FC236}">
                <a16:creationId xmlns:a16="http://schemas.microsoft.com/office/drawing/2014/main" id="{178963D2-2ECA-4D17-A61F-FE00E8220EE9}"/>
              </a:ext>
            </a:extLst>
          </p:cNvPr>
          <p:cNvSpPr>
            <a:spLocks noGrp="1"/>
          </p:cNvSpPr>
          <p:nvPr>
            <p:ph type="title" idx="4294967295"/>
          </p:nvPr>
        </p:nvSpPr>
        <p:spPr>
          <a:xfrm>
            <a:off x="0" y="317500"/>
            <a:ext cx="11188700" cy="333375"/>
          </a:xfrm>
        </p:spPr>
        <p:txBody>
          <a:bodyPr/>
          <a:lstStyle/>
          <a:p>
            <a:r>
              <a:rPr lang="en-US"/>
              <a:t> </a:t>
            </a:r>
          </a:p>
        </p:txBody>
      </p:sp>
      <p:grpSp>
        <p:nvGrpSpPr>
          <p:cNvPr id="4" name="Group 3">
            <a:extLst>
              <a:ext uri="{FF2B5EF4-FFF2-40B4-BE49-F238E27FC236}">
                <a16:creationId xmlns:a16="http://schemas.microsoft.com/office/drawing/2014/main" id="{94A6ECB7-F9E1-443F-A8FA-D25EEE29A09B}"/>
              </a:ext>
            </a:extLst>
          </p:cNvPr>
          <p:cNvGrpSpPr/>
          <p:nvPr/>
        </p:nvGrpSpPr>
        <p:grpSpPr>
          <a:xfrm>
            <a:off x="1644910" y="-28186"/>
            <a:ext cx="8845034" cy="6886186"/>
            <a:chOff x="1911896" y="0"/>
            <a:chExt cx="7232105" cy="5630461"/>
          </a:xfrm>
        </p:grpSpPr>
        <p:grpSp>
          <p:nvGrpSpPr>
            <p:cNvPr id="5" name="Group 4">
              <a:extLst>
                <a:ext uri="{FF2B5EF4-FFF2-40B4-BE49-F238E27FC236}">
                  <a16:creationId xmlns:a16="http://schemas.microsoft.com/office/drawing/2014/main" id="{8033B72F-1402-497A-A225-794D552A4918}"/>
                </a:ext>
              </a:extLst>
            </p:cNvPr>
            <p:cNvGrpSpPr/>
            <p:nvPr/>
          </p:nvGrpSpPr>
          <p:grpSpPr>
            <a:xfrm>
              <a:off x="4056737" y="11663"/>
              <a:ext cx="5087264" cy="3747537"/>
              <a:chOff x="-340543" y="373857"/>
              <a:chExt cx="2503560" cy="1844250"/>
            </a:xfrm>
          </p:grpSpPr>
          <p:grpSp>
            <p:nvGrpSpPr>
              <p:cNvPr id="45" name="Group 44">
                <a:extLst>
                  <a:ext uri="{FF2B5EF4-FFF2-40B4-BE49-F238E27FC236}">
                    <a16:creationId xmlns:a16="http://schemas.microsoft.com/office/drawing/2014/main" id="{FD9917D4-CF5F-4EC7-847E-6E74CACD0749}"/>
                  </a:ext>
                </a:extLst>
              </p:cNvPr>
              <p:cNvGrpSpPr/>
              <p:nvPr/>
            </p:nvGrpSpPr>
            <p:grpSpPr>
              <a:xfrm>
                <a:off x="486187" y="840583"/>
                <a:ext cx="1058491" cy="921541"/>
                <a:chOff x="964818" y="912020"/>
                <a:chExt cx="1058491" cy="921541"/>
              </a:xfrm>
            </p:grpSpPr>
            <p:cxnSp>
              <p:nvCxnSpPr>
                <p:cNvPr id="61" name="Straight Connector 60">
                  <a:extLst>
                    <a:ext uri="{FF2B5EF4-FFF2-40B4-BE49-F238E27FC236}">
                      <a16:creationId xmlns:a16="http://schemas.microsoft.com/office/drawing/2014/main" id="{3439AC1E-AF8F-4386-BEDF-E1A0B8C4EB13}"/>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D8AB4FB-95AB-417F-9DD6-79039C1169EB}"/>
                    </a:ext>
                  </a:extLst>
                </p:cNvPr>
                <p:cNvCxnSpPr/>
                <p:nvPr/>
              </p:nvCxnSpPr>
              <p:spPr>
                <a:xfrm flipH="1" flipV="1">
                  <a:off x="964818" y="1365115"/>
                  <a:ext cx="232395" cy="4684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1B857-31F6-4B45-937A-BAB4CB7B2CCC}"/>
                    </a:ext>
                  </a:extLst>
                </p:cNvPr>
                <p:cNvCxnSpPr/>
                <p:nvPr/>
              </p:nvCxnSpPr>
              <p:spPr>
                <a:xfrm>
                  <a:off x="1803693" y="912699"/>
                  <a:ext cx="219616" cy="45693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49EE95F-1512-4304-BC8E-C1157BDED63E}"/>
                    </a:ext>
                  </a:extLst>
                </p:cNvPr>
                <p:cNvCxnSpPr/>
                <p:nvPr/>
              </p:nvCxnSpPr>
              <p:spPr>
                <a:xfrm flipH="1">
                  <a:off x="964818" y="912020"/>
                  <a:ext cx="232391" cy="45216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D2226C10-A486-45B5-BCA7-03079095A014}"/>
                  </a:ext>
                </a:extLst>
              </p:cNvPr>
              <p:cNvGrpSpPr/>
              <p:nvPr/>
            </p:nvGrpSpPr>
            <p:grpSpPr>
              <a:xfrm>
                <a:off x="484705" y="373857"/>
                <a:ext cx="1072921" cy="467404"/>
                <a:chOff x="963336" y="1362695"/>
                <a:chExt cx="1072921" cy="467404"/>
              </a:xfrm>
            </p:grpSpPr>
            <p:cxnSp>
              <p:nvCxnSpPr>
                <p:cNvPr id="58" name="Straight Connector 57">
                  <a:extLst>
                    <a:ext uri="{FF2B5EF4-FFF2-40B4-BE49-F238E27FC236}">
                      <a16:creationId xmlns:a16="http://schemas.microsoft.com/office/drawing/2014/main" id="{1B04E851-FAA4-48BA-84AE-492BF53B5928}"/>
                    </a:ext>
                  </a:extLst>
                </p:cNvPr>
                <p:cNvCxnSpPr/>
                <p:nvPr/>
              </p:nvCxnSpPr>
              <p:spPr>
                <a:xfrm>
                  <a:off x="1195455" y="1829595"/>
                  <a:ext cx="608238" cy="504"/>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3CA0ACE-C4E4-4791-ABF4-73CEA0F095BE}"/>
                    </a:ext>
                  </a:extLst>
                </p:cNvPr>
                <p:cNvCxnSpPr/>
                <p:nvPr/>
              </p:nvCxnSpPr>
              <p:spPr>
                <a:xfrm flipV="1">
                  <a:off x="1802764" y="1369322"/>
                  <a:ext cx="233493" cy="45984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64BAE1F-6D56-496C-A4D2-3E8DB2E91870}"/>
                    </a:ext>
                  </a:extLst>
                </p:cNvPr>
                <p:cNvCxnSpPr/>
                <p:nvPr/>
              </p:nvCxnSpPr>
              <p:spPr>
                <a:xfrm flipH="1" flipV="1">
                  <a:off x="963336" y="1362695"/>
                  <a:ext cx="234657" cy="46554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86D6686C-40B9-4835-847F-DA155358E5C0}"/>
                  </a:ext>
                </a:extLst>
              </p:cNvPr>
              <p:cNvGrpSpPr/>
              <p:nvPr/>
            </p:nvGrpSpPr>
            <p:grpSpPr>
              <a:xfrm>
                <a:off x="-340543" y="373857"/>
                <a:ext cx="826095" cy="919053"/>
                <a:chOff x="966085" y="912019"/>
                <a:chExt cx="826095" cy="919053"/>
              </a:xfrm>
            </p:grpSpPr>
            <p:cxnSp>
              <p:nvCxnSpPr>
                <p:cNvPr id="54" name="Straight Connector 53">
                  <a:extLst>
                    <a:ext uri="{FF2B5EF4-FFF2-40B4-BE49-F238E27FC236}">
                      <a16:creationId xmlns:a16="http://schemas.microsoft.com/office/drawing/2014/main" id="{604239FE-3A01-4519-8768-2C2E663142F7}"/>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085E13A-098B-45A9-AE62-36B3210C9DCE}"/>
                    </a:ext>
                  </a:extLst>
                </p:cNvPr>
                <p:cNvCxnSpPr/>
                <p:nvPr/>
              </p:nvCxnSpPr>
              <p:spPr>
                <a:xfrm flipH="1" flipV="1">
                  <a:off x="966788" y="1373981"/>
                  <a:ext cx="227760" cy="45693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51FA86-4E85-4D0B-B0B0-26A2366CC2FD}"/>
                    </a:ext>
                  </a:extLst>
                </p:cNvPr>
                <p:cNvCxnSpPr/>
                <p:nvPr/>
              </p:nvCxnSpPr>
              <p:spPr>
                <a:xfrm>
                  <a:off x="1197769" y="912019"/>
                  <a:ext cx="593564" cy="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CCCCDE0-A540-407C-B5E0-7A48E36ABDD6}"/>
                    </a:ext>
                  </a:extLst>
                </p:cNvPr>
                <p:cNvCxnSpPr/>
                <p:nvPr/>
              </p:nvCxnSpPr>
              <p:spPr>
                <a:xfrm flipH="1">
                  <a:off x="966085" y="912020"/>
                  <a:ext cx="231124" cy="4635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9057B402-3508-401D-9F12-6DDE69FD3A7C}"/>
                  </a:ext>
                </a:extLst>
              </p:cNvPr>
              <p:cNvGrpSpPr/>
              <p:nvPr/>
            </p:nvGrpSpPr>
            <p:grpSpPr>
              <a:xfrm>
                <a:off x="1545917" y="381289"/>
                <a:ext cx="617100" cy="918149"/>
                <a:chOff x="1192938" y="919451"/>
                <a:chExt cx="617100" cy="918149"/>
              </a:xfrm>
            </p:grpSpPr>
            <p:cxnSp>
              <p:nvCxnSpPr>
                <p:cNvPr id="52" name="Straight Connector 51">
                  <a:extLst>
                    <a:ext uri="{FF2B5EF4-FFF2-40B4-BE49-F238E27FC236}">
                      <a16:creationId xmlns:a16="http://schemas.microsoft.com/office/drawing/2014/main" id="{6B2320A2-5892-45BE-9250-AC282CD9CEA2}"/>
                    </a:ext>
                  </a:extLst>
                </p:cNvPr>
                <p:cNvCxnSpPr/>
                <p:nvPr/>
              </p:nvCxnSpPr>
              <p:spPr>
                <a:xfrm flipV="1">
                  <a:off x="1192938" y="1831072"/>
                  <a:ext cx="599242" cy="652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7FD0F51-B4FD-4CEF-A8C5-15423F13B7CD}"/>
                    </a:ext>
                  </a:extLst>
                </p:cNvPr>
                <p:cNvCxnSpPr/>
                <p:nvPr/>
              </p:nvCxnSpPr>
              <p:spPr>
                <a:xfrm>
                  <a:off x="1205201" y="919451"/>
                  <a:ext cx="604837" cy="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0D054362-BFA4-46EC-A89F-CFB734ECBF9F}"/>
                  </a:ext>
                </a:extLst>
              </p:cNvPr>
              <p:cNvGrpSpPr/>
              <p:nvPr/>
            </p:nvGrpSpPr>
            <p:grpSpPr>
              <a:xfrm>
                <a:off x="1316129" y="1299439"/>
                <a:ext cx="231126" cy="918668"/>
                <a:chOff x="966085" y="914892"/>
                <a:chExt cx="231126" cy="918668"/>
              </a:xfrm>
            </p:grpSpPr>
            <p:cxnSp>
              <p:nvCxnSpPr>
                <p:cNvPr id="50" name="Straight Connector 49">
                  <a:extLst>
                    <a:ext uri="{FF2B5EF4-FFF2-40B4-BE49-F238E27FC236}">
                      <a16:creationId xmlns:a16="http://schemas.microsoft.com/office/drawing/2014/main" id="{CDB02F80-BBAC-4A06-BC9C-54B35B101525}"/>
                    </a:ext>
                  </a:extLst>
                </p:cNvPr>
                <p:cNvCxnSpPr/>
                <p:nvPr/>
              </p:nvCxnSpPr>
              <p:spPr>
                <a:xfrm flipH="1" flipV="1">
                  <a:off x="966788" y="1373981"/>
                  <a:ext cx="230423" cy="459579"/>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D97CEFE-047B-443F-9119-2EEA80FA61C4}"/>
                    </a:ext>
                  </a:extLst>
                </p:cNvPr>
                <p:cNvCxnSpPr/>
                <p:nvPr/>
              </p:nvCxnSpPr>
              <p:spPr>
                <a:xfrm flipH="1">
                  <a:off x="966085" y="914892"/>
                  <a:ext cx="229788" cy="460674"/>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grpSp>
          <p:nvGrpSpPr>
            <p:cNvPr id="6" name="Group 5">
              <a:extLst>
                <a:ext uri="{FF2B5EF4-FFF2-40B4-BE49-F238E27FC236}">
                  <a16:creationId xmlns:a16="http://schemas.microsoft.com/office/drawing/2014/main" id="{FEC84A1F-3213-4B91-9496-A1140F285D9A}"/>
                </a:ext>
              </a:extLst>
            </p:cNvPr>
            <p:cNvGrpSpPr/>
            <p:nvPr/>
          </p:nvGrpSpPr>
          <p:grpSpPr>
            <a:xfrm>
              <a:off x="4056737" y="1882924"/>
              <a:ext cx="5087264" cy="3747537"/>
              <a:chOff x="-340543" y="373857"/>
              <a:chExt cx="2503560" cy="1844250"/>
            </a:xfrm>
          </p:grpSpPr>
          <p:grpSp>
            <p:nvGrpSpPr>
              <p:cNvPr id="29" name="Group 28">
                <a:extLst>
                  <a:ext uri="{FF2B5EF4-FFF2-40B4-BE49-F238E27FC236}">
                    <a16:creationId xmlns:a16="http://schemas.microsoft.com/office/drawing/2014/main" id="{2F909F23-A47D-4FE7-AB0F-258B626096AD}"/>
                  </a:ext>
                </a:extLst>
              </p:cNvPr>
              <p:cNvGrpSpPr/>
              <p:nvPr/>
            </p:nvGrpSpPr>
            <p:grpSpPr>
              <a:xfrm>
                <a:off x="486187" y="840583"/>
                <a:ext cx="827362" cy="921541"/>
                <a:chOff x="964818" y="912020"/>
                <a:chExt cx="827362" cy="921541"/>
              </a:xfrm>
            </p:grpSpPr>
            <p:cxnSp>
              <p:nvCxnSpPr>
                <p:cNvPr id="42" name="Straight Connector 41">
                  <a:extLst>
                    <a:ext uri="{FF2B5EF4-FFF2-40B4-BE49-F238E27FC236}">
                      <a16:creationId xmlns:a16="http://schemas.microsoft.com/office/drawing/2014/main" id="{F15A9A46-9C10-4E10-9CA6-7A31F1BF8084}"/>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F28BA5B-A405-4C1D-BE06-C622005134EB}"/>
                    </a:ext>
                  </a:extLst>
                </p:cNvPr>
                <p:cNvCxnSpPr/>
                <p:nvPr/>
              </p:nvCxnSpPr>
              <p:spPr>
                <a:xfrm flipH="1" flipV="1">
                  <a:off x="964818" y="1365115"/>
                  <a:ext cx="232395" cy="4684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24A0702-878C-4D18-A118-9497E1F12C79}"/>
                    </a:ext>
                  </a:extLst>
                </p:cNvPr>
                <p:cNvCxnSpPr/>
                <p:nvPr/>
              </p:nvCxnSpPr>
              <p:spPr>
                <a:xfrm flipH="1">
                  <a:off x="964818" y="912020"/>
                  <a:ext cx="232391" cy="45216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cxnSp>
            <p:nvCxnSpPr>
              <p:cNvPr id="30" name="Straight Connector 29">
                <a:extLst>
                  <a:ext uri="{FF2B5EF4-FFF2-40B4-BE49-F238E27FC236}">
                    <a16:creationId xmlns:a16="http://schemas.microsoft.com/office/drawing/2014/main" id="{03CC5913-5819-49C0-832F-1B18042DAB79}"/>
                  </a:ext>
                </a:extLst>
              </p:cNvPr>
              <p:cNvCxnSpPr/>
              <p:nvPr/>
            </p:nvCxnSpPr>
            <p:spPr>
              <a:xfrm flipH="1" flipV="1">
                <a:off x="484705" y="373857"/>
                <a:ext cx="234657" cy="46554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1EBD6C91-416B-4CB5-93D8-C6A37729A4B6}"/>
                  </a:ext>
                </a:extLst>
              </p:cNvPr>
              <p:cNvGrpSpPr/>
              <p:nvPr/>
            </p:nvGrpSpPr>
            <p:grpSpPr>
              <a:xfrm>
                <a:off x="-340543" y="373858"/>
                <a:ext cx="826095" cy="919052"/>
                <a:chOff x="966085" y="912020"/>
                <a:chExt cx="826095" cy="919052"/>
              </a:xfrm>
            </p:grpSpPr>
            <p:cxnSp>
              <p:nvCxnSpPr>
                <p:cNvPr id="39" name="Straight Connector 38">
                  <a:extLst>
                    <a:ext uri="{FF2B5EF4-FFF2-40B4-BE49-F238E27FC236}">
                      <a16:creationId xmlns:a16="http://schemas.microsoft.com/office/drawing/2014/main" id="{66FF5880-6BCC-44C5-9A14-943E665570BC}"/>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E39618F-8734-4604-9699-8591D98ED605}"/>
                    </a:ext>
                  </a:extLst>
                </p:cNvPr>
                <p:cNvCxnSpPr/>
                <p:nvPr/>
              </p:nvCxnSpPr>
              <p:spPr>
                <a:xfrm flipH="1" flipV="1">
                  <a:off x="966788" y="1373981"/>
                  <a:ext cx="227760" cy="45693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ABA6463-0E77-4AC7-938D-CBA193246C8D}"/>
                    </a:ext>
                  </a:extLst>
                </p:cNvPr>
                <p:cNvCxnSpPr/>
                <p:nvPr/>
              </p:nvCxnSpPr>
              <p:spPr>
                <a:xfrm flipH="1">
                  <a:off x="966085" y="912020"/>
                  <a:ext cx="231124" cy="4635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639D361D-1F2D-4DD9-A85A-2147132D9985}"/>
                  </a:ext>
                </a:extLst>
              </p:cNvPr>
              <p:cNvGrpSpPr/>
              <p:nvPr/>
            </p:nvGrpSpPr>
            <p:grpSpPr>
              <a:xfrm>
                <a:off x="1545917" y="381289"/>
                <a:ext cx="617100" cy="918149"/>
                <a:chOff x="1192938" y="919451"/>
                <a:chExt cx="617100" cy="918149"/>
              </a:xfrm>
            </p:grpSpPr>
            <p:cxnSp>
              <p:nvCxnSpPr>
                <p:cNvPr id="37" name="Straight Connector 36">
                  <a:extLst>
                    <a:ext uri="{FF2B5EF4-FFF2-40B4-BE49-F238E27FC236}">
                      <a16:creationId xmlns:a16="http://schemas.microsoft.com/office/drawing/2014/main" id="{F9EF3A03-0595-4BF2-9191-2DD3E67CBF4B}"/>
                    </a:ext>
                  </a:extLst>
                </p:cNvPr>
                <p:cNvCxnSpPr/>
                <p:nvPr/>
              </p:nvCxnSpPr>
              <p:spPr>
                <a:xfrm flipV="1">
                  <a:off x="1192938" y="1831072"/>
                  <a:ext cx="599242" cy="652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0DDA94D-DD0D-439F-AABC-D1F799EE7534}"/>
                    </a:ext>
                  </a:extLst>
                </p:cNvPr>
                <p:cNvCxnSpPr/>
                <p:nvPr/>
              </p:nvCxnSpPr>
              <p:spPr>
                <a:xfrm>
                  <a:off x="1205201" y="919451"/>
                  <a:ext cx="604837" cy="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B4D2F4BD-B9C3-4589-9EE1-CA4B82B29DD4}"/>
                  </a:ext>
                </a:extLst>
              </p:cNvPr>
              <p:cNvGrpSpPr/>
              <p:nvPr/>
            </p:nvGrpSpPr>
            <p:grpSpPr>
              <a:xfrm>
                <a:off x="1316129" y="1299439"/>
                <a:ext cx="231126" cy="918668"/>
                <a:chOff x="966085" y="914892"/>
                <a:chExt cx="231126" cy="918668"/>
              </a:xfrm>
            </p:grpSpPr>
            <p:cxnSp>
              <p:nvCxnSpPr>
                <p:cNvPr id="35" name="Straight Connector 34">
                  <a:extLst>
                    <a:ext uri="{FF2B5EF4-FFF2-40B4-BE49-F238E27FC236}">
                      <a16:creationId xmlns:a16="http://schemas.microsoft.com/office/drawing/2014/main" id="{0C43AE5B-CB70-4D65-A780-0218CE1E53B9}"/>
                    </a:ext>
                  </a:extLst>
                </p:cNvPr>
                <p:cNvCxnSpPr/>
                <p:nvPr/>
              </p:nvCxnSpPr>
              <p:spPr>
                <a:xfrm flipH="1" flipV="1">
                  <a:off x="966788" y="1373981"/>
                  <a:ext cx="230423" cy="459579"/>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9AF5F30-BCE0-4379-B2F4-5041F70D73A7}"/>
                    </a:ext>
                  </a:extLst>
                </p:cNvPr>
                <p:cNvCxnSpPr/>
                <p:nvPr/>
              </p:nvCxnSpPr>
              <p:spPr>
                <a:xfrm flipH="1">
                  <a:off x="966085" y="914892"/>
                  <a:ext cx="229788" cy="460674"/>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cxnSp>
            <p:nvCxnSpPr>
              <p:cNvPr id="34" name="Straight Connector 33">
                <a:extLst>
                  <a:ext uri="{FF2B5EF4-FFF2-40B4-BE49-F238E27FC236}">
                    <a16:creationId xmlns:a16="http://schemas.microsoft.com/office/drawing/2014/main" id="{F5C7A2CB-89E0-429A-BCA3-AE6AD99813F2}"/>
                  </a:ext>
                </a:extLst>
              </p:cNvPr>
              <p:cNvCxnSpPr/>
              <p:nvPr/>
            </p:nvCxnSpPr>
            <p:spPr>
              <a:xfrm flipH="1">
                <a:off x="445627" y="1760339"/>
                <a:ext cx="272188" cy="45776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4DD469EE-94D7-4A3E-AF5F-F11B539B7F2A}"/>
                </a:ext>
              </a:extLst>
            </p:cNvPr>
            <p:cNvGrpSpPr/>
            <p:nvPr/>
          </p:nvGrpSpPr>
          <p:grpSpPr>
            <a:xfrm>
              <a:off x="1911896" y="0"/>
              <a:ext cx="5087264" cy="3747537"/>
              <a:chOff x="-340543" y="373857"/>
              <a:chExt cx="2503560" cy="1844250"/>
            </a:xfrm>
          </p:grpSpPr>
          <p:grpSp>
            <p:nvGrpSpPr>
              <p:cNvPr id="8" name="Group 7">
                <a:extLst>
                  <a:ext uri="{FF2B5EF4-FFF2-40B4-BE49-F238E27FC236}">
                    <a16:creationId xmlns:a16="http://schemas.microsoft.com/office/drawing/2014/main" id="{69CD2265-1070-42C0-93A3-FDE0739E5526}"/>
                  </a:ext>
                </a:extLst>
              </p:cNvPr>
              <p:cNvGrpSpPr/>
              <p:nvPr/>
            </p:nvGrpSpPr>
            <p:grpSpPr>
              <a:xfrm>
                <a:off x="486187" y="840583"/>
                <a:ext cx="1058491" cy="921541"/>
                <a:chOff x="964818" y="912020"/>
                <a:chExt cx="1058491" cy="921541"/>
              </a:xfrm>
            </p:grpSpPr>
            <p:cxnSp>
              <p:nvCxnSpPr>
                <p:cNvPr id="25" name="Straight Connector 24">
                  <a:extLst>
                    <a:ext uri="{FF2B5EF4-FFF2-40B4-BE49-F238E27FC236}">
                      <a16:creationId xmlns:a16="http://schemas.microsoft.com/office/drawing/2014/main" id="{F7320FCD-896E-4BB3-AD34-4038A94200B0}"/>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B574D64-FBD5-4767-BD5F-0AEF2381B9B0}"/>
                    </a:ext>
                  </a:extLst>
                </p:cNvPr>
                <p:cNvCxnSpPr/>
                <p:nvPr/>
              </p:nvCxnSpPr>
              <p:spPr>
                <a:xfrm flipH="1" flipV="1">
                  <a:off x="964818" y="1365115"/>
                  <a:ext cx="232395" cy="4684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929E0AC-4FF6-4534-B62F-EDF100D27166}"/>
                    </a:ext>
                  </a:extLst>
                </p:cNvPr>
                <p:cNvCxnSpPr/>
                <p:nvPr/>
              </p:nvCxnSpPr>
              <p:spPr>
                <a:xfrm>
                  <a:off x="1803693" y="912699"/>
                  <a:ext cx="219616" cy="45693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B3820C1-D9C3-4F50-AA90-702A5BDBAC9F}"/>
                    </a:ext>
                  </a:extLst>
                </p:cNvPr>
                <p:cNvCxnSpPr/>
                <p:nvPr/>
              </p:nvCxnSpPr>
              <p:spPr>
                <a:xfrm flipH="1">
                  <a:off x="964818" y="912020"/>
                  <a:ext cx="232391" cy="45216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30BCC5C9-CE60-4CD4-B097-D0CC8B259BAD}"/>
                  </a:ext>
                </a:extLst>
              </p:cNvPr>
              <p:cNvGrpSpPr/>
              <p:nvPr/>
            </p:nvGrpSpPr>
            <p:grpSpPr>
              <a:xfrm>
                <a:off x="484705" y="373857"/>
                <a:ext cx="1072921" cy="467404"/>
                <a:chOff x="963336" y="1362695"/>
                <a:chExt cx="1072921" cy="467404"/>
              </a:xfrm>
            </p:grpSpPr>
            <p:cxnSp>
              <p:nvCxnSpPr>
                <p:cNvPr id="22" name="Straight Connector 21">
                  <a:extLst>
                    <a:ext uri="{FF2B5EF4-FFF2-40B4-BE49-F238E27FC236}">
                      <a16:creationId xmlns:a16="http://schemas.microsoft.com/office/drawing/2014/main" id="{84292072-3B27-454A-AE83-6D61B29BD182}"/>
                    </a:ext>
                  </a:extLst>
                </p:cNvPr>
                <p:cNvCxnSpPr/>
                <p:nvPr/>
              </p:nvCxnSpPr>
              <p:spPr>
                <a:xfrm>
                  <a:off x="1195455" y="1829595"/>
                  <a:ext cx="608238" cy="504"/>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52DE6AC-5CD8-49DD-B345-470D07CB2CC4}"/>
                    </a:ext>
                  </a:extLst>
                </p:cNvPr>
                <p:cNvCxnSpPr/>
                <p:nvPr/>
              </p:nvCxnSpPr>
              <p:spPr>
                <a:xfrm flipV="1">
                  <a:off x="1802764" y="1369322"/>
                  <a:ext cx="233493" cy="45984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5B9001E-4C71-4615-BC0F-1DB2CD636A3F}"/>
                    </a:ext>
                  </a:extLst>
                </p:cNvPr>
                <p:cNvCxnSpPr/>
                <p:nvPr/>
              </p:nvCxnSpPr>
              <p:spPr>
                <a:xfrm flipH="1" flipV="1">
                  <a:off x="963336" y="1362695"/>
                  <a:ext cx="234657" cy="46554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1A620686-B9D6-4951-835A-F592E0C38FA5}"/>
                  </a:ext>
                </a:extLst>
              </p:cNvPr>
              <p:cNvGrpSpPr/>
              <p:nvPr/>
            </p:nvGrpSpPr>
            <p:grpSpPr>
              <a:xfrm>
                <a:off x="-340543" y="373857"/>
                <a:ext cx="826095" cy="919053"/>
                <a:chOff x="966085" y="912019"/>
                <a:chExt cx="826095" cy="919053"/>
              </a:xfrm>
            </p:grpSpPr>
            <p:cxnSp>
              <p:nvCxnSpPr>
                <p:cNvPr id="18" name="Straight Connector 17">
                  <a:extLst>
                    <a:ext uri="{FF2B5EF4-FFF2-40B4-BE49-F238E27FC236}">
                      <a16:creationId xmlns:a16="http://schemas.microsoft.com/office/drawing/2014/main" id="{E7E17C4D-43D4-41EE-8A4A-910043253441}"/>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FE5280B-8D95-4BA9-95C8-735B315FB4A4}"/>
                    </a:ext>
                  </a:extLst>
                </p:cNvPr>
                <p:cNvCxnSpPr/>
                <p:nvPr/>
              </p:nvCxnSpPr>
              <p:spPr>
                <a:xfrm flipH="1" flipV="1">
                  <a:off x="966788" y="1373981"/>
                  <a:ext cx="227760" cy="45693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79A19A7-8203-4B1F-94A7-5D8255916B20}"/>
                    </a:ext>
                  </a:extLst>
                </p:cNvPr>
                <p:cNvCxnSpPr/>
                <p:nvPr/>
              </p:nvCxnSpPr>
              <p:spPr>
                <a:xfrm>
                  <a:off x="1197769" y="912019"/>
                  <a:ext cx="593564" cy="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DF81705-1676-491C-BA4E-17770CED523E}"/>
                    </a:ext>
                  </a:extLst>
                </p:cNvPr>
                <p:cNvCxnSpPr/>
                <p:nvPr/>
              </p:nvCxnSpPr>
              <p:spPr>
                <a:xfrm flipH="1">
                  <a:off x="966085" y="912020"/>
                  <a:ext cx="231124" cy="4635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7CCD1FA9-28CE-4449-8413-7B8ABBBB0EEC}"/>
                  </a:ext>
                </a:extLst>
              </p:cNvPr>
              <p:cNvGrpSpPr/>
              <p:nvPr/>
            </p:nvGrpSpPr>
            <p:grpSpPr>
              <a:xfrm>
                <a:off x="1545917" y="381289"/>
                <a:ext cx="617100" cy="918149"/>
                <a:chOff x="1192938" y="919451"/>
                <a:chExt cx="617100" cy="918149"/>
              </a:xfrm>
            </p:grpSpPr>
            <p:cxnSp>
              <p:nvCxnSpPr>
                <p:cNvPr id="16" name="Straight Connector 15">
                  <a:extLst>
                    <a:ext uri="{FF2B5EF4-FFF2-40B4-BE49-F238E27FC236}">
                      <a16:creationId xmlns:a16="http://schemas.microsoft.com/office/drawing/2014/main" id="{22AF7711-9650-42CF-A399-E56CC7FA757F}"/>
                    </a:ext>
                  </a:extLst>
                </p:cNvPr>
                <p:cNvCxnSpPr/>
                <p:nvPr/>
              </p:nvCxnSpPr>
              <p:spPr>
                <a:xfrm flipV="1">
                  <a:off x="1192938" y="1831072"/>
                  <a:ext cx="599242" cy="652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DE61E8A-3217-495B-BC79-D7B731E46F7B}"/>
                    </a:ext>
                  </a:extLst>
                </p:cNvPr>
                <p:cNvCxnSpPr/>
                <p:nvPr/>
              </p:nvCxnSpPr>
              <p:spPr>
                <a:xfrm>
                  <a:off x="1205201" y="919451"/>
                  <a:ext cx="604837" cy="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24919C1F-70D7-4DC6-A93D-CBB1F505E4E5}"/>
                  </a:ext>
                </a:extLst>
              </p:cNvPr>
              <p:cNvGrpSpPr/>
              <p:nvPr/>
            </p:nvGrpSpPr>
            <p:grpSpPr>
              <a:xfrm>
                <a:off x="1316129" y="1299439"/>
                <a:ext cx="231126" cy="918668"/>
                <a:chOff x="966085" y="914892"/>
                <a:chExt cx="231126" cy="918668"/>
              </a:xfrm>
            </p:grpSpPr>
            <p:cxnSp>
              <p:nvCxnSpPr>
                <p:cNvPr id="14" name="Straight Connector 13">
                  <a:extLst>
                    <a:ext uri="{FF2B5EF4-FFF2-40B4-BE49-F238E27FC236}">
                      <a16:creationId xmlns:a16="http://schemas.microsoft.com/office/drawing/2014/main" id="{55BEBAC1-691F-4232-8E5C-9F78CBAF751A}"/>
                    </a:ext>
                  </a:extLst>
                </p:cNvPr>
                <p:cNvCxnSpPr/>
                <p:nvPr/>
              </p:nvCxnSpPr>
              <p:spPr>
                <a:xfrm flipH="1" flipV="1">
                  <a:off x="966788" y="1373981"/>
                  <a:ext cx="230423" cy="459579"/>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450BC82-483D-4ED6-A5D7-DF36686C0F8B}"/>
                    </a:ext>
                  </a:extLst>
                </p:cNvPr>
                <p:cNvCxnSpPr/>
                <p:nvPr/>
              </p:nvCxnSpPr>
              <p:spPr>
                <a:xfrm flipH="1">
                  <a:off x="966085" y="914892"/>
                  <a:ext cx="229788" cy="460674"/>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cxnSp>
            <p:nvCxnSpPr>
              <p:cNvPr id="13" name="Straight Connector 12">
                <a:extLst>
                  <a:ext uri="{FF2B5EF4-FFF2-40B4-BE49-F238E27FC236}">
                    <a16:creationId xmlns:a16="http://schemas.microsoft.com/office/drawing/2014/main" id="{2D51B76C-FF9D-431E-9CAB-697FD7852769}"/>
                  </a:ext>
                </a:extLst>
              </p:cNvPr>
              <p:cNvCxnSpPr/>
              <p:nvPr/>
            </p:nvCxnSpPr>
            <p:spPr>
              <a:xfrm flipH="1">
                <a:off x="445627" y="1760339"/>
                <a:ext cx="272188" cy="45776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65" name="Hexagon 64">
            <a:extLst>
              <a:ext uri="{FF2B5EF4-FFF2-40B4-BE49-F238E27FC236}">
                <a16:creationId xmlns:a16="http://schemas.microsoft.com/office/drawing/2014/main" id="{A4E17203-1D27-4769-AA1E-FC0F1DCEF982}"/>
              </a:ext>
            </a:extLst>
          </p:cNvPr>
          <p:cNvSpPr/>
          <p:nvPr/>
        </p:nvSpPr>
        <p:spPr bwMode="gray">
          <a:xfrm>
            <a:off x="8522363" y="4023420"/>
            <a:ext cx="1369123" cy="1180279"/>
          </a:xfrm>
          <a:prstGeom prst="hexagon">
            <a:avLst/>
          </a:prstGeom>
          <a:solidFill>
            <a:schemeClr val="bg1">
              <a:lumMod val="95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6" name="Hexagon 65">
            <a:extLst>
              <a:ext uri="{FF2B5EF4-FFF2-40B4-BE49-F238E27FC236}">
                <a16:creationId xmlns:a16="http://schemas.microsoft.com/office/drawing/2014/main" id="{CD80BD5B-7624-4B8B-A1C4-E6C1ADEF7A71}"/>
              </a:ext>
            </a:extLst>
          </p:cNvPr>
          <p:cNvSpPr/>
          <p:nvPr/>
        </p:nvSpPr>
        <p:spPr bwMode="gray">
          <a:xfrm>
            <a:off x="2489200" y="2111829"/>
            <a:ext cx="7213600" cy="2322286"/>
          </a:xfrm>
          <a:prstGeom prst="hexagon">
            <a:avLst/>
          </a:prstGeom>
          <a:solidFill>
            <a:schemeClr val="accent6">
              <a:lumMod val="20000"/>
              <a:lumOff val="80000"/>
              <a:alpha val="50000"/>
            </a:schemeClr>
          </a:solidFill>
          <a:ln w="15875" algn="ctr">
            <a:solidFill>
              <a:srgbClr val="00A3E0"/>
            </a:solidFill>
            <a:miter lim="800000"/>
            <a:headEnd/>
            <a:tailEnd/>
          </a:ln>
        </p:spPr>
        <p:txBody>
          <a:bodyPr wrap="square" lIns="0" tIns="88900" rIns="0" bIns="88900" rtlCol="0" anchor="ctr"/>
          <a:lstStyle/>
          <a:p>
            <a:pPr algn="ctr">
              <a:lnSpc>
                <a:spcPts val="3000"/>
              </a:lnSpc>
              <a:spcAft>
                <a:spcPts val="1200"/>
              </a:spcAft>
            </a:pPr>
            <a:r>
              <a:rPr lang="en-US" dirty="0"/>
              <a:t>Lorem ipsum dolor sit Lorem ipsum dolor sit </a:t>
            </a:r>
            <a:endParaRPr lang="en-US" sz="2400" dirty="0"/>
          </a:p>
          <a:p>
            <a:pPr algn="ctr">
              <a:lnSpc>
                <a:spcPts val="4000"/>
              </a:lnSpc>
              <a:spcAft>
                <a:spcPts val="1200"/>
              </a:spcAft>
            </a:pPr>
            <a:r>
              <a:rPr lang="en-US" sz="2800" i="1" dirty="0">
                <a:solidFill>
                  <a:srgbClr val="0076A8"/>
                </a:solidFill>
              </a:rPr>
              <a:t>“Lorem ipsum dolor sit Lorem ipsum dolor sit Lorem ipsum dolor sit ” </a:t>
            </a:r>
          </a:p>
        </p:txBody>
      </p:sp>
      <p:sp>
        <p:nvSpPr>
          <p:cNvPr id="67" name="Hexagon 66">
            <a:extLst>
              <a:ext uri="{FF2B5EF4-FFF2-40B4-BE49-F238E27FC236}">
                <a16:creationId xmlns:a16="http://schemas.microsoft.com/office/drawing/2014/main" id="{AB8C38B5-414E-4B6A-B671-1BAA853A8A9D}"/>
              </a:ext>
            </a:extLst>
          </p:cNvPr>
          <p:cNvSpPr/>
          <p:nvPr/>
        </p:nvSpPr>
        <p:spPr bwMode="gray">
          <a:xfrm>
            <a:off x="2575648" y="3786855"/>
            <a:ext cx="619369" cy="533939"/>
          </a:xfrm>
          <a:prstGeom prst="hexagon">
            <a:avLst/>
          </a:prstGeom>
          <a:solidFill>
            <a:schemeClr val="accent6"/>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8" name="Hexagon 67">
            <a:extLst>
              <a:ext uri="{FF2B5EF4-FFF2-40B4-BE49-F238E27FC236}">
                <a16:creationId xmlns:a16="http://schemas.microsoft.com/office/drawing/2014/main" id="{F5030C37-F7BE-498E-99A9-3E2E9EACE563}"/>
              </a:ext>
            </a:extLst>
          </p:cNvPr>
          <p:cNvSpPr/>
          <p:nvPr/>
        </p:nvSpPr>
        <p:spPr bwMode="gray">
          <a:xfrm>
            <a:off x="8782714" y="1844860"/>
            <a:ext cx="619369" cy="533939"/>
          </a:xfrm>
          <a:prstGeom prst="hexagon">
            <a:avLst/>
          </a:prstGeom>
          <a:solidFill>
            <a:schemeClr val="accent6"/>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9" name="Hexagon 68">
            <a:extLst>
              <a:ext uri="{FF2B5EF4-FFF2-40B4-BE49-F238E27FC236}">
                <a16:creationId xmlns:a16="http://schemas.microsoft.com/office/drawing/2014/main" id="{5E9BA319-BA03-49AE-9A3E-15302081DCA2}"/>
              </a:ext>
            </a:extLst>
          </p:cNvPr>
          <p:cNvSpPr/>
          <p:nvPr/>
        </p:nvSpPr>
        <p:spPr bwMode="gray">
          <a:xfrm>
            <a:off x="1524001" y="3952126"/>
            <a:ext cx="911923" cy="786141"/>
          </a:xfrm>
          <a:prstGeom prst="hexagon">
            <a:avLst/>
          </a:prstGeom>
          <a:solidFill>
            <a:schemeClr val="bg1">
              <a:lumMod val="95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0" name="Hexagon 69">
            <a:extLst>
              <a:ext uri="{FF2B5EF4-FFF2-40B4-BE49-F238E27FC236}">
                <a16:creationId xmlns:a16="http://schemas.microsoft.com/office/drawing/2014/main" id="{11E1EC50-8A55-409C-9D30-4F01482D9C5D}"/>
              </a:ext>
            </a:extLst>
          </p:cNvPr>
          <p:cNvSpPr/>
          <p:nvPr/>
        </p:nvSpPr>
        <p:spPr bwMode="gray">
          <a:xfrm>
            <a:off x="4267815" y="1483966"/>
            <a:ext cx="911923" cy="786141"/>
          </a:xfrm>
          <a:prstGeom prst="hexagon">
            <a:avLst/>
          </a:prstGeom>
          <a:solidFill>
            <a:schemeClr val="bg1">
              <a:lumMod val="95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1" name="Hexagon 110">
            <a:extLst>
              <a:ext uri="{FF2B5EF4-FFF2-40B4-BE49-F238E27FC236}">
                <a16:creationId xmlns:a16="http://schemas.microsoft.com/office/drawing/2014/main" id="{62885E18-F992-4FE6-B56A-1DAEEEF1FE82}"/>
              </a:ext>
            </a:extLst>
          </p:cNvPr>
          <p:cNvSpPr/>
          <p:nvPr/>
        </p:nvSpPr>
        <p:spPr bwMode="gray">
          <a:xfrm>
            <a:off x="6632270" y="-20107"/>
            <a:ext cx="2048084" cy="882795"/>
          </a:xfrm>
          <a:custGeom>
            <a:avLst/>
            <a:gdLst>
              <a:gd name="connsiteX0" fmla="*/ 0 w 2048084"/>
              <a:gd name="connsiteY0" fmla="*/ 882796 h 1765591"/>
              <a:gd name="connsiteX1" fmla="*/ 441398 w 2048084"/>
              <a:gd name="connsiteY1" fmla="*/ 0 h 1765591"/>
              <a:gd name="connsiteX2" fmla="*/ 1606686 w 2048084"/>
              <a:gd name="connsiteY2" fmla="*/ 0 h 1765591"/>
              <a:gd name="connsiteX3" fmla="*/ 2048084 w 2048084"/>
              <a:gd name="connsiteY3" fmla="*/ 882796 h 1765591"/>
              <a:gd name="connsiteX4" fmla="*/ 1606686 w 2048084"/>
              <a:gd name="connsiteY4" fmla="*/ 1765591 h 1765591"/>
              <a:gd name="connsiteX5" fmla="*/ 441398 w 2048084"/>
              <a:gd name="connsiteY5" fmla="*/ 1765591 h 1765591"/>
              <a:gd name="connsiteX6" fmla="*/ 0 w 2048084"/>
              <a:gd name="connsiteY6" fmla="*/ 882796 h 1765591"/>
              <a:gd name="connsiteX0" fmla="*/ 0 w 2048084"/>
              <a:gd name="connsiteY0" fmla="*/ 882796 h 1765591"/>
              <a:gd name="connsiteX1" fmla="*/ 1606686 w 2048084"/>
              <a:gd name="connsiteY1" fmla="*/ 0 h 1765591"/>
              <a:gd name="connsiteX2" fmla="*/ 2048084 w 2048084"/>
              <a:gd name="connsiteY2" fmla="*/ 882796 h 1765591"/>
              <a:gd name="connsiteX3" fmla="*/ 1606686 w 2048084"/>
              <a:gd name="connsiteY3" fmla="*/ 1765591 h 1765591"/>
              <a:gd name="connsiteX4" fmla="*/ 441398 w 2048084"/>
              <a:gd name="connsiteY4" fmla="*/ 1765591 h 1765591"/>
              <a:gd name="connsiteX5" fmla="*/ 0 w 2048084"/>
              <a:gd name="connsiteY5" fmla="*/ 882796 h 1765591"/>
              <a:gd name="connsiteX0" fmla="*/ 0 w 2048084"/>
              <a:gd name="connsiteY0" fmla="*/ 0 h 882795"/>
              <a:gd name="connsiteX1" fmla="*/ 2048084 w 2048084"/>
              <a:gd name="connsiteY1" fmla="*/ 0 h 882795"/>
              <a:gd name="connsiteX2" fmla="*/ 1606686 w 2048084"/>
              <a:gd name="connsiteY2" fmla="*/ 882795 h 882795"/>
              <a:gd name="connsiteX3" fmla="*/ 441398 w 2048084"/>
              <a:gd name="connsiteY3" fmla="*/ 882795 h 882795"/>
              <a:gd name="connsiteX4" fmla="*/ 0 w 2048084"/>
              <a:gd name="connsiteY4" fmla="*/ 0 h 88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8084" h="882795">
                <a:moveTo>
                  <a:pt x="0" y="0"/>
                </a:moveTo>
                <a:lnTo>
                  <a:pt x="2048084" y="0"/>
                </a:lnTo>
                <a:lnTo>
                  <a:pt x="1606686" y="882795"/>
                </a:lnTo>
                <a:lnTo>
                  <a:pt x="441398" y="882795"/>
                </a:lnTo>
                <a:lnTo>
                  <a:pt x="0" y="0"/>
                </a:lnTo>
                <a:close/>
              </a:path>
            </a:pathLst>
          </a:custGeom>
          <a:solidFill>
            <a:schemeClr val="accent1"/>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2" name="Hexagon 110">
            <a:extLst>
              <a:ext uri="{FF2B5EF4-FFF2-40B4-BE49-F238E27FC236}">
                <a16:creationId xmlns:a16="http://schemas.microsoft.com/office/drawing/2014/main" id="{24B5DB06-9218-48D8-B1F0-0C6CB790629C}"/>
              </a:ext>
            </a:extLst>
          </p:cNvPr>
          <p:cNvSpPr/>
          <p:nvPr/>
        </p:nvSpPr>
        <p:spPr bwMode="gray">
          <a:xfrm flipV="1">
            <a:off x="3306789" y="5958078"/>
            <a:ext cx="2048084" cy="882795"/>
          </a:xfrm>
          <a:custGeom>
            <a:avLst/>
            <a:gdLst>
              <a:gd name="connsiteX0" fmla="*/ 0 w 2048084"/>
              <a:gd name="connsiteY0" fmla="*/ 882796 h 1765591"/>
              <a:gd name="connsiteX1" fmla="*/ 441398 w 2048084"/>
              <a:gd name="connsiteY1" fmla="*/ 0 h 1765591"/>
              <a:gd name="connsiteX2" fmla="*/ 1606686 w 2048084"/>
              <a:gd name="connsiteY2" fmla="*/ 0 h 1765591"/>
              <a:gd name="connsiteX3" fmla="*/ 2048084 w 2048084"/>
              <a:gd name="connsiteY3" fmla="*/ 882796 h 1765591"/>
              <a:gd name="connsiteX4" fmla="*/ 1606686 w 2048084"/>
              <a:gd name="connsiteY4" fmla="*/ 1765591 h 1765591"/>
              <a:gd name="connsiteX5" fmla="*/ 441398 w 2048084"/>
              <a:gd name="connsiteY5" fmla="*/ 1765591 h 1765591"/>
              <a:gd name="connsiteX6" fmla="*/ 0 w 2048084"/>
              <a:gd name="connsiteY6" fmla="*/ 882796 h 1765591"/>
              <a:gd name="connsiteX0" fmla="*/ 0 w 2048084"/>
              <a:gd name="connsiteY0" fmla="*/ 882796 h 1765591"/>
              <a:gd name="connsiteX1" fmla="*/ 1606686 w 2048084"/>
              <a:gd name="connsiteY1" fmla="*/ 0 h 1765591"/>
              <a:gd name="connsiteX2" fmla="*/ 2048084 w 2048084"/>
              <a:gd name="connsiteY2" fmla="*/ 882796 h 1765591"/>
              <a:gd name="connsiteX3" fmla="*/ 1606686 w 2048084"/>
              <a:gd name="connsiteY3" fmla="*/ 1765591 h 1765591"/>
              <a:gd name="connsiteX4" fmla="*/ 441398 w 2048084"/>
              <a:gd name="connsiteY4" fmla="*/ 1765591 h 1765591"/>
              <a:gd name="connsiteX5" fmla="*/ 0 w 2048084"/>
              <a:gd name="connsiteY5" fmla="*/ 882796 h 1765591"/>
              <a:gd name="connsiteX0" fmla="*/ 0 w 2048084"/>
              <a:gd name="connsiteY0" fmla="*/ 0 h 882795"/>
              <a:gd name="connsiteX1" fmla="*/ 2048084 w 2048084"/>
              <a:gd name="connsiteY1" fmla="*/ 0 h 882795"/>
              <a:gd name="connsiteX2" fmla="*/ 1606686 w 2048084"/>
              <a:gd name="connsiteY2" fmla="*/ 882795 h 882795"/>
              <a:gd name="connsiteX3" fmla="*/ 441398 w 2048084"/>
              <a:gd name="connsiteY3" fmla="*/ 882795 h 882795"/>
              <a:gd name="connsiteX4" fmla="*/ 0 w 2048084"/>
              <a:gd name="connsiteY4" fmla="*/ 0 h 88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8084" h="882795">
                <a:moveTo>
                  <a:pt x="0" y="0"/>
                </a:moveTo>
                <a:lnTo>
                  <a:pt x="2048084" y="0"/>
                </a:lnTo>
                <a:lnTo>
                  <a:pt x="1606686" y="882795"/>
                </a:lnTo>
                <a:lnTo>
                  <a:pt x="441398" y="882795"/>
                </a:lnTo>
                <a:lnTo>
                  <a:pt x="0" y="0"/>
                </a:lnTo>
                <a:close/>
              </a:path>
            </a:pathLst>
          </a:custGeom>
          <a:solidFill>
            <a:schemeClr val="accent1"/>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3" name="Hexagon 72">
            <a:extLst>
              <a:ext uri="{FF2B5EF4-FFF2-40B4-BE49-F238E27FC236}">
                <a16:creationId xmlns:a16="http://schemas.microsoft.com/office/drawing/2014/main" id="{075D78C2-CAD5-4B8E-8C82-5C106219DF56}"/>
              </a:ext>
            </a:extLst>
          </p:cNvPr>
          <p:cNvSpPr/>
          <p:nvPr/>
        </p:nvSpPr>
        <p:spPr bwMode="gray">
          <a:xfrm>
            <a:off x="2573999" y="4630872"/>
            <a:ext cx="423884" cy="365417"/>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4" name="Hexagon 73">
            <a:extLst>
              <a:ext uri="{FF2B5EF4-FFF2-40B4-BE49-F238E27FC236}">
                <a16:creationId xmlns:a16="http://schemas.microsoft.com/office/drawing/2014/main" id="{6B319DD4-5E90-40F2-A5AE-FBDA232E7DE7}"/>
              </a:ext>
            </a:extLst>
          </p:cNvPr>
          <p:cNvSpPr/>
          <p:nvPr/>
        </p:nvSpPr>
        <p:spPr bwMode="gray">
          <a:xfrm>
            <a:off x="3697648" y="1623990"/>
            <a:ext cx="239271" cy="206268"/>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5" name="Hexagon 74">
            <a:extLst>
              <a:ext uri="{FF2B5EF4-FFF2-40B4-BE49-F238E27FC236}">
                <a16:creationId xmlns:a16="http://schemas.microsoft.com/office/drawing/2014/main" id="{F8B00951-4FD9-497E-9D90-ABF229FA3005}"/>
              </a:ext>
            </a:extLst>
          </p:cNvPr>
          <p:cNvSpPr/>
          <p:nvPr/>
        </p:nvSpPr>
        <p:spPr bwMode="gray">
          <a:xfrm>
            <a:off x="4301085" y="4287011"/>
            <a:ext cx="2488836" cy="2145549"/>
          </a:xfrm>
          <a:prstGeom prst="hexagon">
            <a:avLst/>
          </a:prstGeom>
          <a:solidFill>
            <a:schemeClr val="bg1">
              <a:lumMod val="95000"/>
              <a:alpha val="31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6" name="Hexagon 75">
            <a:extLst>
              <a:ext uri="{FF2B5EF4-FFF2-40B4-BE49-F238E27FC236}">
                <a16:creationId xmlns:a16="http://schemas.microsoft.com/office/drawing/2014/main" id="{EF6D4FBD-BBA4-4247-8617-B2BA482ADCD2}"/>
              </a:ext>
            </a:extLst>
          </p:cNvPr>
          <p:cNvSpPr/>
          <p:nvPr/>
        </p:nvSpPr>
        <p:spPr bwMode="gray">
          <a:xfrm>
            <a:off x="224558" y="862688"/>
            <a:ext cx="2731873" cy="2355064"/>
          </a:xfrm>
          <a:prstGeom prst="hexagon">
            <a:avLst/>
          </a:prstGeom>
          <a:solidFill>
            <a:schemeClr val="accent1">
              <a:alpha val="31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7" name="Hexagon 76">
            <a:extLst>
              <a:ext uri="{FF2B5EF4-FFF2-40B4-BE49-F238E27FC236}">
                <a16:creationId xmlns:a16="http://schemas.microsoft.com/office/drawing/2014/main" id="{4D88CF14-386A-4C75-A6AE-4BC2B45155CC}"/>
              </a:ext>
            </a:extLst>
          </p:cNvPr>
          <p:cNvSpPr/>
          <p:nvPr/>
        </p:nvSpPr>
        <p:spPr bwMode="gray">
          <a:xfrm>
            <a:off x="9568940" y="1685032"/>
            <a:ext cx="1842009" cy="1587940"/>
          </a:xfrm>
          <a:prstGeom prst="hexagon">
            <a:avLst/>
          </a:prstGeom>
          <a:solidFill>
            <a:schemeClr val="accent1">
              <a:alpha val="31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8" name="Hexagon 77">
            <a:extLst>
              <a:ext uri="{FF2B5EF4-FFF2-40B4-BE49-F238E27FC236}">
                <a16:creationId xmlns:a16="http://schemas.microsoft.com/office/drawing/2014/main" id="{1FAE8ABE-D224-4C5D-8E04-C7AF2728F621}"/>
              </a:ext>
            </a:extLst>
          </p:cNvPr>
          <p:cNvSpPr/>
          <p:nvPr/>
        </p:nvSpPr>
        <p:spPr bwMode="gray">
          <a:xfrm>
            <a:off x="2617681" y="4560606"/>
            <a:ext cx="1548048" cy="1334525"/>
          </a:xfrm>
          <a:prstGeom prst="hexagon">
            <a:avLst/>
          </a:prstGeom>
          <a:solidFill>
            <a:schemeClr val="accent1">
              <a:alpha val="31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9" name="Hexagon 78">
            <a:extLst>
              <a:ext uri="{FF2B5EF4-FFF2-40B4-BE49-F238E27FC236}">
                <a16:creationId xmlns:a16="http://schemas.microsoft.com/office/drawing/2014/main" id="{BC14C980-A8D9-4A6E-98F1-50B21CBF4334}"/>
              </a:ext>
            </a:extLst>
          </p:cNvPr>
          <p:cNvSpPr/>
          <p:nvPr/>
        </p:nvSpPr>
        <p:spPr bwMode="gray">
          <a:xfrm>
            <a:off x="9568939" y="2706597"/>
            <a:ext cx="423884" cy="365417"/>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0" name="Hexagon 79">
            <a:extLst>
              <a:ext uri="{FF2B5EF4-FFF2-40B4-BE49-F238E27FC236}">
                <a16:creationId xmlns:a16="http://schemas.microsoft.com/office/drawing/2014/main" id="{C0E1C652-BD5F-4111-BF7A-86F7D790AB51}"/>
              </a:ext>
            </a:extLst>
          </p:cNvPr>
          <p:cNvSpPr/>
          <p:nvPr/>
        </p:nvSpPr>
        <p:spPr bwMode="gray">
          <a:xfrm>
            <a:off x="7465716" y="741258"/>
            <a:ext cx="289518" cy="249585"/>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81" name="Group 80">
            <a:extLst>
              <a:ext uri="{FF2B5EF4-FFF2-40B4-BE49-F238E27FC236}">
                <a16:creationId xmlns:a16="http://schemas.microsoft.com/office/drawing/2014/main" id="{BCF7C84F-74D9-419D-B2EF-2D605D872D71}"/>
              </a:ext>
            </a:extLst>
          </p:cNvPr>
          <p:cNvGrpSpPr/>
          <p:nvPr/>
        </p:nvGrpSpPr>
        <p:grpSpPr>
          <a:xfrm>
            <a:off x="7780554" y="5446913"/>
            <a:ext cx="755889" cy="760748"/>
            <a:chOff x="6256553" y="5446913"/>
            <a:chExt cx="755889" cy="760748"/>
          </a:xfrm>
        </p:grpSpPr>
        <p:sp>
          <p:nvSpPr>
            <p:cNvPr id="82" name="Hexagon 81">
              <a:extLst>
                <a:ext uri="{FF2B5EF4-FFF2-40B4-BE49-F238E27FC236}">
                  <a16:creationId xmlns:a16="http://schemas.microsoft.com/office/drawing/2014/main" id="{E70AC076-BB08-4467-B193-FE4309BB0034}"/>
                </a:ext>
              </a:extLst>
            </p:cNvPr>
            <p:cNvSpPr/>
            <p:nvPr/>
          </p:nvSpPr>
          <p:spPr bwMode="gray">
            <a:xfrm>
              <a:off x="6256553" y="5833284"/>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3" name="Hexagon 82">
              <a:extLst>
                <a:ext uri="{FF2B5EF4-FFF2-40B4-BE49-F238E27FC236}">
                  <a16:creationId xmlns:a16="http://schemas.microsoft.com/office/drawing/2014/main" id="{4E9E5163-64A6-44B3-84B0-DC0E43BC33DF}"/>
                </a:ext>
              </a:extLst>
            </p:cNvPr>
            <p:cNvSpPr/>
            <p:nvPr/>
          </p:nvSpPr>
          <p:spPr bwMode="gray">
            <a:xfrm>
              <a:off x="6494678" y="5958076"/>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4" name="Hexagon 83">
              <a:extLst>
                <a:ext uri="{FF2B5EF4-FFF2-40B4-BE49-F238E27FC236}">
                  <a16:creationId xmlns:a16="http://schemas.microsoft.com/office/drawing/2014/main" id="{871757A1-7AB5-40E4-AF33-1AFF76F1E7EA}"/>
                </a:ext>
              </a:extLst>
            </p:cNvPr>
            <p:cNvSpPr/>
            <p:nvPr/>
          </p:nvSpPr>
          <p:spPr bwMode="gray">
            <a:xfrm>
              <a:off x="6256553" y="5581060"/>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5" name="Hexagon 84">
              <a:extLst>
                <a:ext uri="{FF2B5EF4-FFF2-40B4-BE49-F238E27FC236}">
                  <a16:creationId xmlns:a16="http://schemas.microsoft.com/office/drawing/2014/main" id="{BF06F73C-714A-4C14-94F1-590BB42B75A1}"/>
                </a:ext>
              </a:extLst>
            </p:cNvPr>
            <p:cNvSpPr/>
            <p:nvPr/>
          </p:nvSpPr>
          <p:spPr bwMode="gray">
            <a:xfrm>
              <a:off x="6494678" y="5702683"/>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6" name="Hexagon 85">
              <a:extLst>
                <a:ext uri="{FF2B5EF4-FFF2-40B4-BE49-F238E27FC236}">
                  <a16:creationId xmlns:a16="http://schemas.microsoft.com/office/drawing/2014/main" id="{313D3827-99C1-4FB6-856B-8EA48D09717E}"/>
                </a:ext>
              </a:extLst>
            </p:cNvPr>
            <p:cNvSpPr/>
            <p:nvPr/>
          </p:nvSpPr>
          <p:spPr bwMode="gray">
            <a:xfrm>
              <a:off x="6478375" y="5446913"/>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7" name="Hexagon 86">
              <a:extLst>
                <a:ext uri="{FF2B5EF4-FFF2-40B4-BE49-F238E27FC236}">
                  <a16:creationId xmlns:a16="http://schemas.microsoft.com/office/drawing/2014/main" id="{BC060214-A4AA-4E75-A1A1-2574FC22D192}"/>
                </a:ext>
              </a:extLst>
            </p:cNvPr>
            <p:cNvSpPr/>
            <p:nvPr/>
          </p:nvSpPr>
          <p:spPr bwMode="gray">
            <a:xfrm>
              <a:off x="6722924" y="5558463"/>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88" name="Hexagon 87">
            <a:extLst>
              <a:ext uri="{FF2B5EF4-FFF2-40B4-BE49-F238E27FC236}">
                <a16:creationId xmlns:a16="http://schemas.microsoft.com/office/drawing/2014/main" id="{53076668-C0DC-42C3-8AA2-4855099905C1}"/>
              </a:ext>
            </a:extLst>
          </p:cNvPr>
          <p:cNvSpPr/>
          <p:nvPr/>
        </p:nvSpPr>
        <p:spPr bwMode="gray">
          <a:xfrm>
            <a:off x="7335539" y="4317569"/>
            <a:ext cx="239271" cy="206268"/>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9" name="Hexagon 88">
            <a:extLst>
              <a:ext uri="{FF2B5EF4-FFF2-40B4-BE49-F238E27FC236}">
                <a16:creationId xmlns:a16="http://schemas.microsoft.com/office/drawing/2014/main" id="{F619514B-D70F-4D50-A7B0-AC0A65A42ED9}"/>
              </a:ext>
            </a:extLst>
          </p:cNvPr>
          <p:cNvSpPr/>
          <p:nvPr/>
        </p:nvSpPr>
        <p:spPr bwMode="gray">
          <a:xfrm>
            <a:off x="2481143" y="-82378"/>
            <a:ext cx="239271" cy="206268"/>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0" name="Hexagon 89">
            <a:extLst>
              <a:ext uri="{FF2B5EF4-FFF2-40B4-BE49-F238E27FC236}">
                <a16:creationId xmlns:a16="http://schemas.microsoft.com/office/drawing/2014/main" id="{C5D4EC2B-A39B-49E2-A973-D399F3C5D169}"/>
              </a:ext>
            </a:extLst>
          </p:cNvPr>
          <p:cNvSpPr/>
          <p:nvPr/>
        </p:nvSpPr>
        <p:spPr bwMode="gray">
          <a:xfrm>
            <a:off x="8660815" y="1992813"/>
            <a:ext cx="239271" cy="206268"/>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custDataLst>
      <p:tags r:id="rId1"/>
    </p:custDataLst>
    <p:extLst>
      <p:ext uri="{BB962C8B-B14F-4D97-AF65-F5344CB8AC3E}">
        <p14:creationId xmlns:p14="http://schemas.microsoft.com/office/powerpoint/2010/main" val="2798750017"/>
      </p:ext>
    </p:extLst>
  </p:cSld>
  <p:clrMapOvr>
    <a:masterClrMapping/>
  </p:clrMapOvr>
  <p:transition>
    <p:fade/>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8D2B462-0DCA-40D5-9DA9-224996D1B0F7}"/>
              </a:ext>
            </a:extLst>
          </p:cNvPr>
          <p:cNvGrpSpPr/>
          <p:nvPr/>
        </p:nvGrpSpPr>
        <p:grpSpPr>
          <a:xfrm>
            <a:off x="3951990" y="1638533"/>
            <a:ext cx="4086089" cy="4764150"/>
            <a:chOff x="4133850" y="1974056"/>
            <a:chExt cx="1906191" cy="3253978"/>
          </a:xfrm>
        </p:grpSpPr>
        <p:sp>
          <p:nvSpPr>
            <p:cNvPr id="5" name="Freeform: Shape 4">
              <a:extLst>
                <a:ext uri="{FF2B5EF4-FFF2-40B4-BE49-F238E27FC236}">
                  <a16:creationId xmlns:a16="http://schemas.microsoft.com/office/drawing/2014/main" id="{F78CC635-6FD7-4516-ADF6-638CAF1117FF}"/>
                </a:ext>
              </a:extLst>
            </p:cNvPr>
            <p:cNvSpPr/>
            <p:nvPr/>
          </p:nvSpPr>
          <p:spPr bwMode="gray">
            <a:xfrm>
              <a:off x="5110163" y="1974056"/>
              <a:ext cx="454818" cy="507207"/>
            </a:xfrm>
            <a:custGeom>
              <a:avLst/>
              <a:gdLst>
                <a:gd name="connsiteX0" fmla="*/ 57150 w 454818"/>
                <a:gd name="connsiteY0" fmla="*/ 0 h 507207"/>
                <a:gd name="connsiteX1" fmla="*/ 0 w 454818"/>
                <a:gd name="connsiteY1" fmla="*/ 450057 h 507207"/>
                <a:gd name="connsiteX2" fmla="*/ 454818 w 454818"/>
                <a:gd name="connsiteY2" fmla="*/ 507207 h 507207"/>
                <a:gd name="connsiteX3" fmla="*/ 57150 w 454818"/>
                <a:gd name="connsiteY3" fmla="*/ 0 h 507207"/>
              </a:gdLst>
              <a:ahLst/>
              <a:cxnLst>
                <a:cxn ang="0">
                  <a:pos x="connsiteX0" y="connsiteY0"/>
                </a:cxn>
                <a:cxn ang="0">
                  <a:pos x="connsiteX1" y="connsiteY1"/>
                </a:cxn>
                <a:cxn ang="0">
                  <a:pos x="connsiteX2" y="connsiteY2"/>
                </a:cxn>
                <a:cxn ang="0">
                  <a:pos x="connsiteX3" y="connsiteY3"/>
                </a:cxn>
              </a:cxnLst>
              <a:rect l="l" t="t" r="r" b="b"/>
              <a:pathLst>
                <a:path w="454818" h="507207">
                  <a:moveTo>
                    <a:pt x="57150" y="0"/>
                  </a:moveTo>
                  <a:lnTo>
                    <a:pt x="0" y="450057"/>
                  </a:lnTo>
                  <a:lnTo>
                    <a:pt x="454818" y="507207"/>
                  </a:lnTo>
                  <a:lnTo>
                    <a:pt x="57150" y="0"/>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Freeform: Shape 5">
              <a:extLst>
                <a:ext uri="{FF2B5EF4-FFF2-40B4-BE49-F238E27FC236}">
                  <a16:creationId xmlns:a16="http://schemas.microsoft.com/office/drawing/2014/main" id="{41AA4709-816D-4D02-9CFB-DF4D0F734293}"/>
                </a:ext>
              </a:extLst>
            </p:cNvPr>
            <p:cNvSpPr/>
            <p:nvPr/>
          </p:nvSpPr>
          <p:spPr bwMode="gray">
            <a:xfrm flipH="1">
              <a:off x="4873983" y="1974056"/>
              <a:ext cx="292892" cy="454820"/>
            </a:xfrm>
            <a:custGeom>
              <a:avLst/>
              <a:gdLst>
                <a:gd name="connsiteX0" fmla="*/ 57150 w 454818"/>
                <a:gd name="connsiteY0" fmla="*/ 0 h 507207"/>
                <a:gd name="connsiteX1" fmla="*/ 0 w 454818"/>
                <a:gd name="connsiteY1" fmla="*/ 450057 h 507207"/>
                <a:gd name="connsiteX2" fmla="*/ 454818 w 454818"/>
                <a:gd name="connsiteY2" fmla="*/ 507207 h 507207"/>
                <a:gd name="connsiteX3" fmla="*/ 57150 w 454818"/>
                <a:gd name="connsiteY3" fmla="*/ 0 h 507207"/>
                <a:gd name="connsiteX0" fmla="*/ 0 w 507205"/>
                <a:gd name="connsiteY0" fmla="*/ 0 h 485776"/>
                <a:gd name="connsiteX1" fmla="*/ 52387 w 507205"/>
                <a:gd name="connsiteY1" fmla="*/ 428626 h 485776"/>
                <a:gd name="connsiteX2" fmla="*/ 507205 w 507205"/>
                <a:gd name="connsiteY2" fmla="*/ 485776 h 485776"/>
                <a:gd name="connsiteX3" fmla="*/ 0 w 507205"/>
                <a:gd name="connsiteY3" fmla="*/ 0 h 485776"/>
                <a:gd name="connsiteX0" fmla="*/ 0 w 345280"/>
                <a:gd name="connsiteY0" fmla="*/ 0 h 428626"/>
                <a:gd name="connsiteX1" fmla="*/ 52387 w 345280"/>
                <a:gd name="connsiteY1" fmla="*/ 428626 h 428626"/>
                <a:gd name="connsiteX2" fmla="*/ 345280 w 345280"/>
                <a:gd name="connsiteY2" fmla="*/ 350045 h 428626"/>
                <a:gd name="connsiteX3" fmla="*/ 0 w 345280"/>
                <a:gd name="connsiteY3" fmla="*/ 0 h 428626"/>
                <a:gd name="connsiteX0" fmla="*/ 0 w 269080"/>
                <a:gd name="connsiteY0" fmla="*/ 0 h 428626"/>
                <a:gd name="connsiteX1" fmla="*/ 52387 w 269080"/>
                <a:gd name="connsiteY1" fmla="*/ 428626 h 428626"/>
                <a:gd name="connsiteX2" fmla="*/ 269080 w 269080"/>
                <a:gd name="connsiteY2" fmla="*/ 354807 h 428626"/>
                <a:gd name="connsiteX3" fmla="*/ 0 w 269080"/>
                <a:gd name="connsiteY3" fmla="*/ 0 h 428626"/>
                <a:gd name="connsiteX0" fmla="*/ 0 w 269080"/>
                <a:gd name="connsiteY0" fmla="*/ 0 h 454820"/>
                <a:gd name="connsiteX1" fmla="*/ 57149 w 269080"/>
                <a:gd name="connsiteY1" fmla="*/ 454820 h 454820"/>
                <a:gd name="connsiteX2" fmla="*/ 269080 w 269080"/>
                <a:gd name="connsiteY2" fmla="*/ 354807 h 454820"/>
                <a:gd name="connsiteX3" fmla="*/ 0 w 269080"/>
                <a:gd name="connsiteY3" fmla="*/ 0 h 454820"/>
                <a:gd name="connsiteX0" fmla="*/ 0 w 292892"/>
                <a:gd name="connsiteY0" fmla="*/ 0 h 454820"/>
                <a:gd name="connsiteX1" fmla="*/ 57149 w 292892"/>
                <a:gd name="connsiteY1" fmla="*/ 454820 h 454820"/>
                <a:gd name="connsiteX2" fmla="*/ 292892 w 292892"/>
                <a:gd name="connsiteY2" fmla="*/ 383382 h 454820"/>
                <a:gd name="connsiteX3" fmla="*/ 0 w 292892"/>
                <a:gd name="connsiteY3" fmla="*/ 0 h 454820"/>
              </a:gdLst>
              <a:ahLst/>
              <a:cxnLst>
                <a:cxn ang="0">
                  <a:pos x="connsiteX0" y="connsiteY0"/>
                </a:cxn>
                <a:cxn ang="0">
                  <a:pos x="connsiteX1" y="connsiteY1"/>
                </a:cxn>
                <a:cxn ang="0">
                  <a:pos x="connsiteX2" y="connsiteY2"/>
                </a:cxn>
                <a:cxn ang="0">
                  <a:pos x="connsiteX3" y="connsiteY3"/>
                </a:cxn>
              </a:cxnLst>
              <a:rect l="l" t="t" r="r" b="b"/>
              <a:pathLst>
                <a:path w="292892" h="454820">
                  <a:moveTo>
                    <a:pt x="0" y="0"/>
                  </a:moveTo>
                  <a:lnTo>
                    <a:pt x="57149" y="454820"/>
                  </a:lnTo>
                  <a:lnTo>
                    <a:pt x="292892" y="383382"/>
                  </a:lnTo>
                  <a:lnTo>
                    <a:pt x="0" y="0"/>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Freeform: Shape 6">
              <a:extLst>
                <a:ext uri="{FF2B5EF4-FFF2-40B4-BE49-F238E27FC236}">
                  <a16:creationId xmlns:a16="http://schemas.microsoft.com/office/drawing/2014/main" id="{674FEFD3-D89F-4FA8-8EDE-64BF48E16362}"/>
                </a:ext>
              </a:extLst>
            </p:cNvPr>
            <p:cNvSpPr/>
            <p:nvPr/>
          </p:nvSpPr>
          <p:spPr bwMode="gray">
            <a:xfrm>
              <a:off x="5100077" y="2426670"/>
              <a:ext cx="473834" cy="256868"/>
            </a:xfrm>
            <a:custGeom>
              <a:avLst/>
              <a:gdLst>
                <a:gd name="connsiteX0" fmla="*/ 0 w 466725"/>
                <a:gd name="connsiteY0" fmla="*/ 0 h 246459"/>
                <a:gd name="connsiteX1" fmla="*/ 123825 w 466725"/>
                <a:gd name="connsiteY1" fmla="*/ 246459 h 246459"/>
                <a:gd name="connsiteX2" fmla="*/ 466725 w 466725"/>
                <a:gd name="connsiteY2" fmla="*/ 55959 h 246459"/>
                <a:gd name="connsiteX3" fmla="*/ 0 w 466725"/>
                <a:gd name="connsiteY3" fmla="*/ 0 h 246459"/>
                <a:gd name="connsiteX0" fmla="*/ 0 w 466725"/>
                <a:gd name="connsiteY0" fmla="*/ 0 h 254266"/>
                <a:gd name="connsiteX1" fmla="*/ 123825 w 466725"/>
                <a:gd name="connsiteY1" fmla="*/ 254266 h 254266"/>
                <a:gd name="connsiteX2" fmla="*/ 466725 w 466725"/>
                <a:gd name="connsiteY2" fmla="*/ 55959 h 254266"/>
                <a:gd name="connsiteX3" fmla="*/ 0 w 466725"/>
                <a:gd name="connsiteY3" fmla="*/ 0 h 254266"/>
                <a:gd name="connsiteX0" fmla="*/ 0 w 472057"/>
                <a:gd name="connsiteY0" fmla="*/ 0 h 254266"/>
                <a:gd name="connsiteX1" fmla="*/ 129157 w 472057"/>
                <a:gd name="connsiteY1" fmla="*/ 254266 h 254266"/>
                <a:gd name="connsiteX2" fmla="*/ 472057 w 472057"/>
                <a:gd name="connsiteY2" fmla="*/ 55959 h 254266"/>
                <a:gd name="connsiteX3" fmla="*/ 0 w 472057"/>
                <a:gd name="connsiteY3" fmla="*/ 0 h 254266"/>
                <a:gd name="connsiteX0" fmla="*/ 0 w 473834"/>
                <a:gd name="connsiteY0" fmla="*/ 0 h 256868"/>
                <a:gd name="connsiteX1" fmla="*/ 130934 w 473834"/>
                <a:gd name="connsiteY1" fmla="*/ 256868 h 256868"/>
                <a:gd name="connsiteX2" fmla="*/ 473834 w 473834"/>
                <a:gd name="connsiteY2" fmla="*/ 58561 h 256868"/>
                <a:gd name="connsiteX3" fmla="*/ 0 w 473834"/>
                <a:gd name="connsiteY3" fmla="*/ 0 h 256868"/>
              </a:gdLst>
              <a:ahLst/>
              <a:cxnLst>
                <a:cxn ang="0">
                  <a:pos x="connsiteX0" y="connsiteY0"/>
                </a:cxn>
                <a:cxn ang="0">
                  <a:pos x="connsiteX1" y="connsiteY1"/>
                </a:cxn>
                <a:cxn ang="0">
                  <a:pos x="connsiteX2" y="connsiteY2"/>
                </a:cxn>
                <a:cxn ang="0">
                  <a:pos x="connsiteX3" y="connsiteY3"/>
                </a:cxn>
              </a:cxnLst>
              <a:rect l="l" t="t" r="r" b="b"/>
              <a:pathLst>
                <a:path w="473834" h="256868">
                  <a:moveTo>
                    <a:pt x="0" y="0"/>
                  </a:moveTo>
                  <a:lnTo>
                    <a:pt x="130934" y="256868"/>
                  </a:lnTo>
                  <a:lnTo>
                    <a:pt x="473834" y="58561"/>
                  </a:lnTo>
                  <a:lnTo>
                    <a:pt x="0" y="0"/>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Freeform: Shape 7">
              <a:extLst>
                <a:ext uri="{FF2B5EF4-FFF2-40B4-BE49-F238E27FC236}">
                  <a16:creationId xmlns:a16="http://schemas.microsoft.com/office/drawing/2014/main" id="{CD397239-E2AE-4141-9345-C203FB1673D3}"/>
                </a:ext>
              </a:extLst>
            </p:cNvPr>
            <p:cNvSpPr/>
            <p:nvPr/>
          </p:nvSpPr>
          <p:spPr bwMode="gray">
            <a:xfrm>
              <a:off x="5236369" y="2483644"/>
              <a:ext cx="340519" cy="395287"/>
            </a:xfrm>
            <a:custGeom>
              <a:avLst/>
              <a:gdLst>
                <a:gd name="connsiteX0" fmla="*/ 0 w 340519"/>
                <a:gd name="connsiteY0" fmla="*/ 195262 h 395287"/>
                <a:gd name="connsiteX1" fmla="*/ 279797 w 340519"/>
                <a:gd name="connsiteY1" fmla="*/ 395287 h 395287"/>
                <a:gd name="connsiteX2" fmla="*/ 340519 w 340519"/>
                <a:gd name="connsiteY2" fmla="*/ 0 h 395287"/>
                <a:gd name="connsiteX3" fmla="*/ 0 w 340519"/>
                <a:gd name="connsiteY3" fmla="*/ 195262 h 395287"/>
              </a:gdLst>
              <a:ahLst/>
              <a:cxnLst>
                <a:cxn ang="0">
                  <a:pos x="connsiteX0" y="connsiteY0"/>
                </a:cxn>
                <a:cxn ang="0">
                  <a:pos x="connsiteX1" y="connsiteY1"/>
                </a:cxn>
                <a:cxn ang="0">
                  <a:pos x="connsiteX2" y="connsiteY2"/>
                </a:cxn>
                <a:cxn ang="0">
                  <a:pos x="connsiteX3" y="connsiteY3"/>
                </a:cxn>
              </a:cxnLst>
              <a:rect l="l" t="t" r="r" b="b"/>
              <a:pathLst>
                <a:path w="340519" h="395287">
                  <a:moveTo>
                    <a:pt x="0" y="195262"/>
                  </a:moveTo>
                  <a:lnTo>
                    <a:pt x="279797" y="395287"/>
                  </a:lnTo>
                  <a:lnTo>
                    <a:pt x="340519" y="0"/>
                  </a:lnTo>
                  <a:lnTo>
                    <a:pt x="0" y="195262"/>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Freeform: Shape 8">
              <a:extLst>
                <a:ext uri="{FF2B5EF4-FFF2-40B4-BE49-F238E27FC236}">
                  <a16:creationId xmlns:a16="http://schemas.microsoft.com/office/drawing/2014/main" id="{F90B049D-60C2-4005-9973-BCCEC52E2AA2}"/>
                </a:ext>
              </a:extLst>
            </p:cNvPr>
            <p:cNvSpPr/>
            <p:nvPr/>
          </p:nvSpPr>
          <p:spPr bwMode="gray">
            <a:xfrm>
              <a:off x="5519738" y="2490788"/>
              <a:ext cx="207168" cy="391715"/>
            </a:xfrm>
            <a:custGeom>
              <a:avLst/>
              <a:gdLst>
                <a:gd name="connsiteX0" fmla="*/ 0 w 207168"/>
                <a:gd name="connsiteY0" fmla="*/ 391715 h 391715"/>
                <a:gd name="connsiteX1" fmla="*/ 207168 w 207168"/>
                <a:gd name="connsiteY1" fmla="*/ 322659 h 391715"/>
                <a:gd name="connsiteX2" fmla="*/ 57150 w 207168"/>
                <a:gd name="connsiteY2" fmla="*/ 0 h 391715"/>
                <a:gd name="connsiteX3" fmla="*/ 0 w 207168"/>
                <a:gd name="connsiteY3" fmla="*/ 391715 h 391715"/>
              </a:gdLst>
              <a:ahLst/>
              <a:cxnLst>
                <a:cxn ang="0">
                  <a:pos x="connsiteX0" y="connsiteY0"/>
                </a:cxn>
                <a:cxn ang="0">
                  <a:pos x="connsiteX1" y="connsiteY1"/>
                </a:cxn>
                <a:cxn ang="0">
                  <a:pos x="connsiteX2" y="connsiteY2"/>
                </a:cxn>
                <a:cxn ang="0">
                  <a:pos x="connsiteX3" y="connsiteY3"/>
                </a:cxn>
              </a:cxnLst>
              <a:rect l="l" t="t" r="r" b="b"/>
              <a:pathLst>
                <a:path w="207168" h="391715">
                  <a:moveTo>
                    <a:pt x="0" y="391715"/>
                  </a:moveTo>
                  <a:lnTo>
                    <a:pt x="207168" y="322659"/>
                  </a:lnTo>
                  <a:lnTo>
                    <a:pt x="57150" y="0"/>
                  </a:lnTo>
                  <a:lnTo>
                    <a:pt x="0" y="391715"/>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Freeform: Shape 9">
              <a:extLst>
                <a:ext uri="{FF2B5EF4-FFF2-40B4-BE49-F238E27FC236}">
                  <a16:creationId xmlns:a16="http://schemas.microsoft.com/office/drawing/2014/main" id="{43519338-5036-44F2-841C-00DCEF8FC83A}"/>
                </a:ext>
              </a:extLst>
            </p:cNvPr>
            <p:cNvSpPr/>
            <p:nvPr/>
          </p:nvSpPr>
          <p:spPr bwMode="gray">
            <a:xfrm>
              <a:off x="5697141" y="2696766"/>
              <a:ext cx="139303" cy="108347"/>
            </a:xfrm>
            <a:custGeom>
              <a:avLst/>
              <a:gdLst>
                <a:gd name="connsiteX0" fmla="*/ 27384 w 139303"/>
                <a:gd name="connsiteY0" fmla="*/ 108347 h 108347"/>
                <a:gd name="connsiteX1" fmla="*/ 0 w 139303"/>
                <a:gd name="connsiteY1" fmla="*/ 50006 h 108347"/>
                <a:gd name="connsiteX2" fmla="*/ 139303 w 139303"/>
                <a:gd name="connsiteY2" fmla="*/ 0 h 108347"/>
                <a:gd name="connsiteX3" fmla="*/ 27384 w 139303"/>
                <a:gd name="connsiteY3" fmla="*/ 108347 h 108347"/>
              </a:gdLst>
              <a:ahLst/>
              <a:cxnLst>
                <a:cxn ang="0">
                  <a:pos x="connsiteX0" y="connsiteY0"/>
                </a:cxn>
                <a:cxn ang="0">
                  <a:pos x="connsiteX1" y="connsiteY1"/>
                </a:cxn>
                <a:cxn ang="0">
                  <a:pos x="connsiteX2" y="connsiteY2"/>
                </a:cxn>
                <a:cxn ang="0">
                  <a:pos x="connsiteX3" y="connsiteY3"/>
                </a:cxn>
              </a:cxnLst>
              <a:rect l="l" t="t" r="r" b="b"/>
              <a:pathLst>
                <a:path w="139303" h="108347">
                  <a:moveTo>
                    <a:pt x="27384" y="108347"/>
                  </a:moveTo>
                  <a:lnTo>
                    <a:pt x="0" y="50006"/>
                  </a:lnTo>
                  <a:lnTo>
                    <a:pt x="139303" y="0"/>
                  </a:lnTo>
                  <a:lnTo>
                    <a:pt x="27384" y="108347"/>
                  </a:lnTo>
                  <a:close/>
                </a:path>
              </a:pathLst>
            </a:cu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Freeform: Shape 10">
              <a:extLst>
                <a:ext uri="{FF2B5EF4-FFF2-40B4-BE49-F238E27FC236}">
                  <a16:creationId xmlns:a16="http://schemas.microsoft.com/office/drawing/2014/main" id="{DDC25431-0FFB-4CCB-90A9-E99CC791D552}"/>
                </a:ext>
              </a:extLst>
            </p:cNvPr>
            <p:cNvSpPr/>
            <p:nvPr/>
          </p:nvSpPr>
          <p:spPr bwMode="gray">
            <a:xfrm>
              <a:off x="5086350" y="2432447"/>
              <a:ext cx="144066" cy="594122"/>
            </a:xfrm>
            <a:custGeom>
              <a:avLst/>
              <a:gdLst>
                <a:gd name="connsiteX0" fmla="*/ 16669 w 144066"/>
                <a:gd name="connsiteY0" fmla="*/ 0 h 594122"/>
                <a:gd name="connsiteX1" fmla="*/ 0 w 144066"/>
                <a:gd name="connsiteY1" fmla="*/ 594122 h 594122"/>
                <a:gd name="connsiteX2" fmla="*/ 144066 w 144066"/>
                <a:gd name="connsiteY2" fmla="*/ 252412 h 594122"/>
                <a:gd name="connsiteX3" fmla="*/ 16669 w 144066"/>
                <a:gd name="connsiteY3" fmla="*/ 0 h 594122"/>
              </a:gdLst>
              <a:ahLst/>
              <a:cxnLst>
                <a:cxn ang="0">
                  <a:pos x="connsiteX0" y="connsiteY0"/>
                </a:cxn>
                <a:cxn ang="0">
                  <a:pos x="connsiteX1" y="connsiteY1"/>
                </a:cxn>
                <a:cxn ang="0">
                  <a:pos x="connsiteX2" y="connsiteY2"/>
                </a:cxn>
                <a:cxn ang="0">
                  <a:pos x="connsiteX3" y="connsiteY3"/>
                </a:cxn>
              </a:cxnLst>
              <a:rect l="l" t="t" r="r" b="b"/>
              <a:pathLst>
                <a:path w="144066" h="594122">
                  <a:moveTo>
                    <a:pt x="16669" y="0"/>
                  </a:moveTo>
                  <a:lnTo>
                    <a:pt x="0" y="594122"/>
                  </a:lnTo>
                  <a:lnTo>
                    <a:pt x="144066" y="252412"/>
                  </a:lnTo>
                  <a:lnTo>
                    <a:pt x="16669" y="0"/>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Freeform: Shape 11">
              <a:extLst>
                <a:ext uri="{FF2B5EF4-FFF2-40B4-BE49-F238E27FC236}">
                  <a16:creationId xmlns:a16="http://schemas.microsoft.com/office/drawing/2014/main" id="{75E98BEA-FBA5-4C1B-9C6D-701587CF06F7}"/>
                </a:ext>
              </a:extLst>
            </p:cNvPr>
            <p:cNvSpPr/>
            <p:nvPr/>
          </p:nvSpPr>
          <p:spPr bwMode="gray">
            <a:xfrm>
              <a:off x="4487466" y="2351484"/>
              <a:ext cx="620315" cy="494110"/>
            </a:xfrm>
            <a:custGeom>
              <a:avLst/>
              <a:gdLst>
                <a:gd name="connsiteX0" fmla="*/ 382190 w 620315"/>
                <a:gd name="connsiteY0" fmla="*/ 0 h 494110"/>
                <a:gd name="connsiteX1" fmla="*/ 620315 w 620315"/>
                <a:gd name="connsiteY1" fmla="*/ 73819 h 494110"/>
                <a:gd name="connsiteX2" fmla="*/ 0 w 620315"/>
                <a:gd name="connsiteY2" fmla="*/ 494110 h 494110"/>
                <a:gd name="connsiteX3" fmla="*/ 382190 w 620315"/>
                <a:gd name="connsiteY3" fmla="*/ 0 h 494110"/>
              </a:gdLst>
              <a:ahLst/>
              <a:cxnLst>
                <a:cxn ang="0">
                  <a:pos x="connsiteX0" y="connsiteY0"/>
                </a:cxn>
                <a:cxn ang="0">
                  <a:pos x="connsiteX1" y="connsiteY1"/>
                </a:cxn>
                <a:cxn ang="0">
                  <a:pos x="connsiteX2" y="connsiteY2"/>
                </a:cxn>
                <a:cxn ang="0">
                  <a:pos x="connsiteX3" y="connsiteY3"/>
                </a:cxn>
              </a:cxnLst>
              <a:rect l="l" t="t" r="r" b="b"/>
              <a:pathLst>
                <a:path w="620315" h="494110">
                  <a:moveTo>
                    <a:pt x="382190" y="0"/>
                  </a:moveTo>
                  <a:lnTo>
                    <a:pt x="620315" y="73819"/>
                  </a:lnTo>
                  <a:lnTo>
                    <a:pt x="0" y="494110"/>
                  </a:lnTo>
                  <a:lnTo>
                    <a:pt x="382190" y="0"/>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Freeform: Shape 12">
              <a:extLst>
                <a:ext uri="{FF2B5EF4-FFF2-40B4-BE49-F238E27FC236}">
                  <a16:creationId xmlns:a16="http://schemas.microsoft.com/office/drawing/2014/main" id="{D946FA7D-6C5A-402A-BF98-FCD393BFC0C5}"/>
                </a:ext>
              </a:extLst>
            </p:cNvPr>
            <p:cNvSpPr/>
            <p:nvPr/>
          </p:nvSpPr>
          <p:spPr bwMode="gray">
            <a:xfrm>
              <a:off x="4482703" y="2425303"/>
              <a:ext cx="626269" cy="597694"/>
            </a:xfrm>
            <a:custGeom>
              <a:avLst/>
              <a:gdLst>
                <a:gd name="connsiteX0" fmla="*/ 0 w 626269"/>
                <a:gd name="connsiteY0" fmla="*/ 421481 h 597694"/>
                <a:gd name="connsiteX1" fmla="*/ 626269 w 626269"/>
                <a:gd name="connsiteY1" fmla="*/ 0 h 597694"/>
                <a:gd name="connsiteX2" fmla="*/ 603647 w 626269"/>
                <a:gd name="connsiteY2" fmla="*/ 597694 h 597694"/>
                <a:gd name="connsiteX3" fmla="*/ 0 w 626269"/>
                <a:gd name="connsiteY3" fmla="*/ 421481 h 597694"/>
              </a:gdLst>
              <a:ahLst/>
              <a:cxnLst>
                <a:cxn ang="0">
                  <a:pos x="connsiteX0" y="connsiteY0"/>
                </a:cxn>
                <a:cxn ang="0">
                  <a:pos x="connsiteX1" y="connsiteY1"/>
                </a:cxn>
                <a:cxn ang="0">
                  <a:pos x="connsiteX2" y="connsiteY2"/>
                </a:cxn>
                <a:cxn ang="0">
                  <a:pos x="connsiteX3" y="connsiteY3"/>
                </a:cxn>
              </a:cxnLst>
              <a:rect l="l" t="t" r="r" b="b"/>
              <a:pathLst>
                <a:path w="626269" h="597694">
                  <a:moveTo>
                    <a:pt x="0" y="421481"/>
                  </a:moveTo>
                  <a:lnTo>
                    <a:pt x="626269" y="0"/>
                  </a:lnTo>
                  <a:lnTo>
                    <a:pt x="603647" y="597694"/>
                  </a:lnTo>
                  <a:lnTo>
                    <a:pt x="0" y="421481"/>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Freeform: Shape 13">
              <a:extLst>
                <a:ext uri="{FF2B5EF4-FFF2-40B4-BE49-F238E27FC236}">
                  <a16:creationId xmlns:a16="http://schemas.microsoft.com/office/drawing/2014/main" id="{95EA8720-35F0-4F6B-B1AF-86BB1162AD52}"/>
                </a:ext>
              </a:extLst>
            </p:cNvPr>
            <p:cNvSpPr/>
            <p:nvPr/>
          </p:nvSpPr>
          <p:spPr bwMode="gray">
            <a:xfrm>
              <a:off x="4368403" y="2849166"/>
              <a:ext cx="716756" cy="298847"/>
            </a:xfrm>
            <a:custGeom>
              <a:avLst/>
              <a:gdLst>
                <a:gd name="connsiteX0" fmla="*/ 109538 w 716756"/>
                <a:gd name="connsiteY0" fmla="*/ 0 h 298847"/>
                <a:gd name="connsiteX1" fmla="*/ 0 w 716756"/>
                <a:gd name="connsiteY1" fmla="*/ 298847 h 298847"/>
                <a:gd name="connsiteX2" fmla="*/ 716756 w 716756"/>
                <a:gd name="connsiteY2" fmla="*/ 177403 h 298847"/>
                <a:gd name="connsiteX3" fmla="*/ 109538 w 716756"/>
                <a:gd name="connsiteY3" fmla="*/ 0 h 298847"/>
              </a:gdLst>
              <a:ahLst/>
              <a:cxnLst>
                <a:cxn ang="0">
                  <a:pos x="connsiteX0" y="connsiteY0"/>
                </a:cxn>
                <a:cxn ang="0">
                  <a:pos x="connsiteX1" y="connsiteY1"/>
                </a:cxn>
                <a:cxn ang="0">
                  <a:pos x="connsiteX2" y="connsiteY2"/>
                </a:cxn>
                <a:cxn ang="0">
                  <a:pos x="connsiteX3" y="connsiteY3"/>
                </a:cxn>
              </a:cxnLst>
              <a:rect l="l" t="t" r="r" b="b"/>
              <a:pathLst>
                <a:path w="716756" h="298847">
                  <a:moveTo>
                    <a:pt x="109538" y="0"/>
                  </a:moveTo>
                  <a:lnTo>
                    <a:pt x="0" y="298847"/>
                  </a:lnTo>
                  <a:lnTo>
                    <a:pt x="716756" y="177403"/>
                  </a:lnTo>
                  <a:lnTo>
                    <a:pt x="109538" y="0"/>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Freeform: Shape 14">
              <a:extLst>
                <a:ext uri="{FF2B5EF4-FFF2-40B4-BE49-F238E27FC236}">
                  <a16:creationId xmlns:a16="http://schemas.microsoft.com/office/drawing/2014/main" id="{2F922140-72D2-4FD8-AB2B-D0F00E48D2AC}"/>
                </a:ext>
              </a:extLst>
            </p:cNvPr>
            <p:cNvSpPr/>
            <p:nvPr/>
          </p:nvSpPr>
          <p:spPr bwMode="gray">
            <a:xfrm>
              <a:off x="5094684" y="2682478"/>
              <a:ext cx="423863" cy="340519"/>
            </a:xfrm>
            <a:custGeom>
              <a:avLst/>
              <a:gdLst>
                <a:gd name="connsiteX0" fmla="*/ 0 w 423863"/>
                <a:gd name="connsiteY0" fmla="*/ 340519 h 340519"/>
                <a:gd name="connsiteX1" fmla="*/ 141685 w 423863"/>
                <a:gd name="connsiteY1" fmla="*/ 0 h 340519"/>
                <a:gd name="connsiteX2" fmla="*/ 423863 w 423863"/>
                <a:gd name="connsiteY2" fmla="*/ 200025 h 340519"/>
                <a:gd name="connsiteX3" fmla="*/ 0 w 423863"/>
                <a:gd name="connsiteY3" fmla="*/ 340519 h 340519"/>
              </a:gdLst>
              <a:ahLst/>
              <a:cxnLst>
                <a:cxn ang="0">
                  <a:pos x="connsiteX0" y="connsiteY0"/>
                </a:cxn>
                <a:cxn ang="0">
                  <a:pos x="connsiteX1" y="connsiteY1"/>
                </a:cxn>
                <a:cxn ang="0">
                  <a:pos x="connsiteX2" y="connsiteY2"/>
                </a:cxn>
                <a:cxn ang="0">
                  <a:pos x="connsiteX3" y="connsiteY3"/>
                </a:cxn>
              </a:cxnLst>
              <a:rect l="l" t="t" r="r" b="b"/>
              <a:pathLst>
                <a:path w="423863" h="340519">
                  <a:moveTo>
                    <a:pt x="0" y="340519"/>
                  </a:moveTo>
                  <a:lnTo>
                    <a:pt x="141685" y="0"/>
                  </a:lnTo>
                  <a:lnTo>
                    <a:pt x="423863" y="200025"/>
                  </a:lnTo>
                  <a:lnTo>
                    <a:pt x="0" y="340519"/>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Freeform: Shape 15">
              <a:extLst>
                <a:ext uri="{FF2B5EF4-FFF2-40B4-BE49-F238E27FC236}">
                  <a16:creationId xmlns:a16="http://schemas.microsoft.com/office/drawing/2014/main" id="{6D4E6FEF-8169-49D8-96F0-F3BDB7A587FC}"/>
                </a:ext>
              </a:extLst>
            </p:cNvPr>
            <p:cNvSpPr/>
            <p:nvPr/>
          </p:nvSpPr>
          <p:spPr bwMode="gray">
            <a:xfrm>
              <a:off x="5093494" y="2815828"/>
              <a:ext cx="631031" cy="458391"/>
            </a:xfrm>
            <a:custGeom>
              <a:avLst/>
              <a:gdLst>
                <a:gd name="connsiteX0" fmla="*/ 0 w 631031"/>
                <a:gd name="connsiteY0" fmla="*/ 205978 h 458391"/>
                <a:gd name="connsiteX1" fmla="*/ 248840 w 631031"/>
                <a:gd name="connsiteY1" fmla="*/ 458391 h 458391"/>
                <a:gd name="connsiteX2" fmla="*/ 631031 w 631031"/>
                <a:gd name="connsiteY2" fmla="*/ 0 h 458391"/>
                <a:gd name="connsiteX3" fmla="*/ 0 w 631031"/>
                <a:gd name="connsiteY3" fmla="*/ 205978 h 458391"/>
              </a:gdLst>
              <a:ahLst/>
              <a:cxnLst>
                <a:cxn ang="0">
                  <a:pos x="connsiteX0" y="connsiteY0"/>
                </a:cxn>
                <a:cxn ang="0">
                  <a:pos x="connsiteX1" y="connsiteY1"/>
                </a:cxn>
                <a:cxn ang="0">
                  <a:pos x="connsiteX2" y="connsiteY2"/>
                </a:cxn>
                <a:cxn ang="0">
                  <a:pos x="connsiteX3" y="connsiteY3"/>
                </a:cxn>
              </a:cxnLst>
              <a:rect l="l" t="t" r="r" b="b"/>
              <a:pathLst>
                <a:path w="631031" h="458391">
                  <a:moveTo>
                    <a:pt x="0" y="205978"/>
                  </a:moveTo>
                  <a:lnTo>
                    <a:pt x="248840" y="458391"/>
                  </a:lnTo>
                  <a:lnTo>
                    <a:pt x="631031" y="0"/>
                  </a:lnTo>
                  <a:lnTo>
                    <a:pt x="0" y="205978"/>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Freeform: Shape 16">
              <a:extLst>
                <a:ext uri="{FF2B5EF4-FFF2-40B4-BE49-F238E27FC236}">
                  <a16:creationId xmlns:a16="http://schemas.microsoft.com/office/drawing/2014/main" id="{17E189C4-8F0A-45A8-B5D5-B515024CD66B}"/>
                </a:ext>
              </a:extLst>
            </p:cNvPr>
            <p:cNvSpPr/>
            <p:nvPr/>
          </p:nvSpPr>
          <p:spPr bwMode="gray">
            <a:xfrm>
              <a:off x="5348288" y="2811066"/>
              <a:ext cx="689371" cy="632222"/>
            </a:xfrm>
            <a:custGeom>
              <a:avLst/>
              <a:gdLst>
                <a:gd name="connsiteX0" fmla="*/ 379809 w 689371"/>
                <a:gd name="connsiteY0" fmla="*/ 0 h 632222"/>
                <a:gd name="connsiteX1" fmla="*/ 689371 w 689371"/>
                <a:gd name="connsiteY1" fmla="*/ 632222 h 632222"/>
                <a:gd name="connsiteX2" fmla="*/ 0 w 689371"/>
                <a:gd name="connsiteY2" fmla="*/ 463153 h 632222"/>
                <a:gd name="connsiteX3" fmla="*/ 379809 w 689371"/>
                <a:gd name="connsiteY3" fmla="*/ 0 h 632222"/>
              </a:gdLst>
              <a:ahLst/>
              <a:cxnLst>
                <a:cxn ang="0">
                  <a:pos x="connsiteX0" y="connsiteY0"/>
                </a:cxn>
                <a:cxn ang="0">
                  <a:pos x="connsiteX1" y="connsiteY1"/>
                </a:cxn>
                <a:cxn ang="0">
                  <a:pos x="connsiteX2" y="connsiteY2"/>
                </a:cxn>
                <a:cxn ang="0">
                  <a:pos x="connsiteX3" y="connsiteY3"/>
                </a:cxn>
              </a:cxnLst>
              <a:rect l="l" t="t" r="r" b="b"/>
              <a:pathLst>
                <a:path w="689371" h="632222">
                  <a:moveTo>
                    <a:pt x="379809" y="0"/>
                  </a:moveTo>
                  <a:lnTo>
                    <a:pt x="689371" y="632222"/>
                  </a:lnTo>
                  <a:lnTo>
                    <a:pt x="0" y="463153"/>
                  </a:lnTo>
                  <a:lnTo>
                    <a:pt x="379809" y="0"/>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Freeform: Shape 17">
              <a:extLst>
                <a:ext uri="{FF2B5EF4-FFF2-40B4-BE49-F238E27FC236}">
                  <a16:creationId xmlns:a16="http://schemas.microsoft.com/office/drawing/2014/main" id="{A147355D-00ED-4284-98C9-D21847EFABA6}"/>
                </a:ext>
              </a:extLst>
            </p:cNvPr>
            <p:cNvSpPr/>
            <p:nvPr/>
          </p:nvSpPr>
          <p:spPr bwMode="gray">
            <a:xfrm>
              <a:off x="5726906" y="2699147"/>
              <a:ext cx="309563" cy="744141"/>
            </a:xfrm>
            <a:custGeom>
              <a:avLst/>
              <a:gdLst>
                <a:gd name="connsiteX0" fmla="*/ 117872 w 309563"/>
                <a:gd name="connsiteY0" fmla="*/ 0 h 744141"/>
                <a:gd name="connsiteX1" fmla="*/ 309563 w 309563"/>
                <a:gd name="connsiteY1" fmla="*/ 744141 h 744141"/>
                <a:gd name="connsiteX2" fmla="*/ 0 w 309563"/>
                <a:gd name="connsiteY2" fmla="*/ 110728 h 744141"/>
                <a:gd name="connsiteX3" fmla="*/ 117872 w 309563"/>
                <a:gd name="connsiteY3" fmla="*/ 0 h 744141"/>
              </a:gdLst>
              <a:ahLst/>
              <a:cxnLst>
                <a:cxn ang="0">
                  <a:pos x="connsiteX0" y="connsiteY0"/>
                </a:cxn>
                <a:cxn ang="0">
                  <a:pos x="connsiteX1" y="connsiteY1"/>
                </a:cxn>
                <a:cxn ang="0">
                  <a:pos x="connsiteX2" y="connsiteY2"/>
                </a:cxn>
                <a:cxn ang="0">
                  <a:pos x="connsiteX3" y="connsiteY3"/>
                </a:cxn>
              </a:cxnLst>
              <a:rect l="l" t="t" r="r" b="b"/>
              <a:pathLst>
                <a:path w="309563" h="744141">
                  <a:moveTo>
                    <a:pt x="117872" y="0"/>
                  </a:moveTo>
                  <a:lnTo>
                    <a:pt x="309563" y="744141"/>
                  </a:lnTo>
                  <a:lnTo>
                    <a:pt x="0" y="110728"/>
                  </a:lnTo>
                  <a:lnTo>
                    <a:pt x="117872" y="0"/>
                  </a:lnTo>
                  <a:close/>
                </a:path>
              </a:pathLst>
            </a:cu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9" name="Freeform: Shape 18">
              <a:extLst>
                <a:ext uri="{FF2B5EF4-FFF2-40B4-BE49-F238E27FC236}">
                  <a16:creationId xmlns:a16="http://schemas.microsoft.com/office/drawing/2014/main" id="{67FD604E-055D-45BA-A33A-7841ED7477F6}"/>
                </a:ext>
              </a:extLst>
            </p:cNvPr>
            <p:cNvSpPr/>
            <p:nvPr/>
          </p:nvSpPr>
          <p:spPr bwMode="gray">
            <a:xfrm>
              <a:off x="4360069" y="3026569"/>
              <a:ext cx="727472" cy="1010840"/>
            </a:xfrm>
            <a:custGeom>
              <a:avLst/>
              <a:gdLst>
                <a:gd name="connsiteX0" fmla="*/ 0 w 727472"/>
                <a:gd name="connsiteY0" fmla="*/ 120253 h 1010840"/>
                <a:gd name="connsiteX1" fmla="*/ 727472 w 727472"/>
                <a:gd name="connsiteY1" fmla="*/ 0 h 1010840"/>
                <a:gd name="connsiteX2" fmla="*/ 247650 w 727472"/>
                <a:gd name="connsiteY2" fmla="*/ 1010840 h 1010840"/>
                <a:gd name="connsiteX3" fmla="*/ 0 w 727472"/>
                <a:gd name="connsiteY3" fmla="*/ 120253 h 1010840"/>
              </a:gdLst>
              <a:ahLst/>
              <a:cxnLst>
                <a:cxn ang="0">
                  <a:pos x="connsiteX0" y="connsiteY0"/>
                </a:cxn>
                <a:cxn ang="0">
                  <a:pos x="connsiteX1" y="connsiteY1"/>
                </a:cxn>
                <a:cxn ang="0">
                  <a:pos x="connsiteX2" y="connsiteY2"/>
                </a:cxn>
                <a:cxn ang="0">
                  <a:pos x="connsiteX3" y="connsiteY3"/>
                </a:cxn>
              </a:cxnLst>
              <a:rect l="l" t="t" r="r" b="b"/>
              <a:pathLst>
                <a:path w="727472" h="1010840">
                  <a:moveTo>
                    <a:pt x="0" y="120253"/>
                  </a:moveTo>
                  <a:lnTo>
                    <a:pt x="727472" y="0"/>
                  </a:lnTo>
                  <a:lnTo>
                    <a:pt x="247650" y="1010840"/>
                  </a:lnTo>
                  <a:lnTo>
                    <a:pt x="0" y="120253"/>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 name="Freeform: Shape 19">
              <a:extLst>
                <a:ext uri="{FF2B5EF4-FFF2-40B4-BE49-F238E27FC236}">
                  <a16:creationId xmlns:a16="http://schemas.microsoft.com/office/drawing/2014/main" id="{EC105934-8C9F-4A58-AFB4-DF5F7E6BC63E}"/>
                </a:ext>
              </a:extLst>
            </p:cNvPr>
            <p:cNvSpPr/>
            <p:nvPr/>
          </p:nvSpPr>
          <p:spPr bwMode="gray">
            <a:xfrm>
              <a:off x="4133850" y="3150394"/>
              <a:ext cx="470297" cy="887015"/>
            </a:xfrm>
            <a:custGeom>
              <a:avLst/>
              <a:gdLst>
                <a:gd name="connsiteX0" fmla="*/ 228600 w 470297"/>
                <a:gd name="connsiteY0" fmla="*/ 0 h 887015"/>
                <a:gd name="connsiteX1" fmla="*/ 0 w 470297"/>
                <a:gd name="connsiteY1" fmla="*/ 114300 h 887015"/>
                <a:gd name="connsiteX2" fmla="*/ 470297 w 470297"/>
                <a:gd name="connsiteY2" fmla="*/ 887015 h 887015"/>
                <a:gd name="connsiteX3" fmla="*/ 228600 w 470297"/>
                <a:gd name="connsiteY3" fmla="*/ 0 h 887015"/>
              </a:gdLst>
              <a:ahLst/>
              <a:cxnLst>
                <a:cxn ang="0">
                  <a:pos x="connsiteX0" y="connsiteY0"/>
                </a:cxn>
                <a:cxn ang="0">
                  <a:pos x="connsiteX1" y="connsiteY1"/>
                </a:cxn>
                <a:cxn ang="0">
                  <a:pos x="connsiteX2" y="connsiteY2"/>
                </a:cxn>
                <a:cxn ang="0">
                  <a:pos x="connsiteX3" y="connsiteY3"/>
                </a:cxn>
              </a:cxnLst>
              <a:rect l="l" t="t" r="r" b="b"/>
              <a:pathLst>
                <a:path w="470297" h="887015">
                  <a:moveTo>
                    <a:pt x="228600" y="0"/>
                  </a:moveTo>
                  <a:lnTo>
                    <a:pt x="0" y="114300"/>
                  </a:lnTo>
                  <a:lnTo>
                    <a:pt x="470297" y="887015"/>
                  </a:lnTo>
                  <a:lnTo>
                    <a:pt x="228600" y="0"/>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1" name="Freeform: Shape 20">
              <a:extLst>
                <a:ext uri="{FF2B5EF4-FFF2-40B4-BE49-F238E27FC236}">
                  <a16:creationId xmlns:a16="http://schemas.microsoft.com/office/drawing/2014/main" id="{27360D70-ED40-41E2-A27A-C3816169B56B}"/>
                </a:ext>
              </a:extLst>
            </p:cNvPr>
            <p:cNvSpPr/>
            <p:nvPr/>
          </p:nvSpPr>
          <p:spPr bwMode="gray">
            <a:xfrm>
              <a:off x="4607719" y="3024188"/>
              <a:ext cx="733425" cy="1012031"/>
            </a:xfrm>
            <a:custGeom>
              <a:avLst/>
              <a:gdLst>
                <a:gd name="connsiteX0" fmla="*/ 0 w 733425"/>
                <a:gd name="connsiteY0" fmla="*/ 1012031 h 1012031"/>
                <a:gd name="connsiteX1" fmla="*/ 733425 w 733425"/>
                <a:gd name="connsiteY1" fmla="*/ 806053 h 1012031"/>
                <a:gd name="connsiteX2" fmla="*/ 478631 w 733425"/>
                <a:gd name="connsiteY2" fmla="*/ 0 h 1012031"/>
                <a:gd name="connsiteX3" fmla="*/ 0 w 733425"/>
                <a:gd name="connsiteY3" fmla="*/ 1012031 h 1012031"/>
              </a:gdLst>
              <a:ahLst/>
              <a:cxnLst>
                <a:cxn ang="0">
                  <a:pos x="connsiteX0" y="connsiteY0"/>
                </a:cxn>
                <a:cxn ang="0">
                  <a:pos x="connsiteX1" y="connsiteY1"/>
                </a:cxn>
                <a:cxn ang="0">
                  <a:pos x="connsiteX2" y="connsiteY2"/>
                </a:cxn>
                <a:cxn ang="0">
                  <a:pos x="connsiteX3" y="connsiteY3"/>
                </a:cxn>
              </a:cxnLst>
              <a:rect l="l" t="t" r="r" b="b"/>
              <a:pathLst>
                <a:path w="733425" h="1012031">
                  <a:moveTo>
                    <a:pt x="0" y="1012031"/>
                  </a:moveTo>
                  <a:lnTo>
                    <a:pt x="733425" y="806053"/>
                  </a:lnTo>
                  <a:lnTo>
                    <a:pt x="478631" y="0"/>
                  </a:lnTo>
                  <a:lnTo>
                    <a:pt x="0" y="1012031"/>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2" name="Freeform: Shape 21">
              <a:extLst>
                <a:ext uri="{FF2B5EF4-FFF2-40B4-BE49-F238E27FC236}">
                  <a16:creationId xmlns:a16="http://schemas.microsoft.com/office/drawing/2014/main" id="{D4440C08-813A-42E4-8069-37FC67817AB8}"/>
                </a:ext>
              </a:extLst>
            </p:cNvPr>
            <p:cNvSpPr/>
            <p:nvPr/>
          </p:nvSpPr>
          <p:spPr bwMode="gray">
            <a:xfrm>
              <a:off x="5087541" y="3024188"/>
              <a:ext cx="255984" cy="804862"/>
            </a:xfrm>
            <a:custGeom>
              <a:avLst/>
              <a:gdLst>
                <a:gd name="connsiteX0" fmla="*/ 255984 w 255984"/>
                <a:gd name="connsiteY0" fmla="*/ 804862 h 804862"/>
                <a:gd name="connsiteX1" fmla="*/ 255984 w 255984"/>
                <a:gd name="connsiteY1" fmla="*/ 251221 h 804862"/>
                <a:gd name="connsiteX2" fmla="*/ 0 w 255984"/>
                <a:gd name="connsiteY2" fmla="*/ 0 h 804862"/>
                <a:gd name="connsiteX3" fmla="*/ 255984 w 255984"/>
                <a:gd name="connsiteY3" fmla="*/ 804862 h 804862"/>
              </a:gdLst>
              <a:ahLst/>
              <a:cxnLst>
                <a:cxn ang="0">
                  <a:pos x="connsiteX0" y="connsiteY0"/>
                </a:cxn>
                <a:cxn ang="0">
                  <a:pos x="connsiteX1" y="connsiteY1"/>
                </a:cxn>
                <a:cxn ang="0">
                  <a:pos x="connsiteX2" y="connsiteY2"/>
                </a:cxn>
                <a:cxn ang="0">
                  <a:pos x="connsiteX3" y="connsiteY3"/>
                </a:cxn>
              </a:cxnLst>
              <a:rect l="l" t="t" r="r" b="b"/>
              <a:pathLst>
                <a:path w="255984" h="804862">
                  <a:moveTo>
                    <a:pt x="255984" y="804862"/>
                  </a:moveTo>
                  <a:lnTo>
                    <a:pt x="255984" y="251221"/>
                  </a:lnTo>
                  <a:lnTo>
                    <a:pt x="0" y="0"/>
                  </a:lnTo>
                  <a:lnTo>
                    <a:pt x="255984" y="804862"/>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3" name="Freeform: Shape 22">
              <a:extLst>
                <a:ext uri="{FF2B5EF4-FFF2-40B4-BE49-F238E27FC236}">
                  <a16:creationId xmlns:a16="http://schemas.microsoft.com/office/drawing/2014/main" id="{10BA1928-BA28-43E7-9434-FF3FA25B713F}"/>
                </a:ext>
              </a:extLst>
            </p:cNvPr>
            <p:cNvSpPr/>
            <p:nvPr/>
          </p:nvSpPr>
          <p:spPr bwMode="gray">
            <a:xfrm>
              <a:off x="5343525" y="3271838"/>
              <a:ext cx="690563" cy="564356"/>
            </a:xfrm>
            <a:custGeom>
              <a:avLst/>
              <a:gdLst>
                <a:gd name="connsiteX0" fmla="*/ 0 w 690563"/>
                <a:gd name="connsiteY0" fmla="*/ 564356 h 564356"/>
                <a:gd name="connsiteX1" fmla="*/ 2381 w 690563"/>
                <a:gd name="connsiteY1" fmla="*/ 0 h 564356"/>
                <a:gd name="connsiteX2" fmla="*/ 690563 w 690563"/>
                <a:gd name="connsiteY2" fmla="*/ 173831 h 564356"/>
                <a:gd name="connsiteX3" fmla="*/ 0 w 690563"/>
                <a:gd name="connsiteY3" fmla="*/ 564356 h 564356"/>
              </a:gdLst>
              <a:ahLst/>
              <a:cxnLst>
                <a:cxn ang="0">
                  <a:pos x="connsiteX0" y="connsiteY0"/>
                </a:cxn>
                <a:cxn ang="0">
                  <a:pos x="connsiteX1" y="connsiteY1"/>
                </a:cxn>
                <a:cxn ang="0">
                  <a:pos x="connsiteX2" y="connsiteY2"/>
                </a:cxn>
                <a:cxn ang="0">
                  <a:pos x="connsiteX3" y="connsiteY3"/>
                </a:cxn>
              </a:cxnLst>
              <a:rect l="l" t="t" r="r" b="b"/>
              <a:pathLst>
                <a:path w="690563" h="564356">
                  <a:moveTo>
                    <a:pt x="0" y="564356"/>
                  </a:moveTo>
                  <a:cubicBezTo>
                    <a:pt x="794" y="376237"/>
                    <a:pt x="1587" y="188119"/>
                    <a:pt x="2381" y="0"/>
                  </a:cubicBezTo>
                  <a:lnTo>
                    <a:pt x="690563" y="173831"/>
                  </a:lnTo>
                  <a:lnTo>
                    <a:pt x="0" y="564356"/>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4" name="Freeform: Shape 23">
              <a:extLst>
                <a:ext uri="{FF2B5EF4-FFF2-40B4-BE49-F238E27FC236}">
                  <a16:creationId xmlns:a16="http://schemas.microsoft.com/office/drawing/2014/main" id="{EACE5683-0CDC-4FFB-A994-4D81AA4F02D9}"/>
                </a:ext>
              </a:extLst>
            </p:cNvPr>
            <p:cNvSpPr/>
            <p:nvPr/>
          </p:nvSpPr>
          <p:spPr bwMode="gray">
            <a:xfrm>
              <a:off x="5342334" y="3446859"/>
              <a:ext cx="697707" cy="570310"/>
            </a:xfrm>
            <a:custGeom>
              <a:avLst/>
              <a:gdLst>
                <a:gd name="connsiteX0" fmla="*/ 0 w 697707"/>
                <a:gd name="connsiteY0" fmla="*/ 390525 h 570310"/>
                <a:gd name="connsiteX1" fmla="*/ 390525 w 697707"/>
                <a:gd name="connsiteY1" fmla="*/ 570310 h 570310"/>
                <a:gd name="connsiteX2" fmla="*/ 697707 w 697707"/>
                <a:gd name="connsiteY2" fmla="*/ 0 h 570310"/>
                <a:gd name="connsiteX3" fmla="*/ 0 w 697707"/>
                <a:gd name="connsiteY3" fmla="*/ 390525 h 570310"/>
              </a:gdLst>
              <a:ahLst/>
              <a:cxnLst>
                <a:cxn ang="0">
                  <a:pos x="connsiteX0" y="connsiteY0"/>
                </a:cxn>
                <a:cxn ang="0">
                  <a:pos x="connsiteX1" y="connsiteY1"/>
                </a:cxn>
                <a:cxn ang="0">
                  <a:pos x="connsiteX2" y="connsiteY2"/>
                </a:cxn>
                <a:cxn ang="0">
                  <a:pos x="connsiteX3" y="connsiteY3"/>
                </a:cxn>
              </a:cxnLst>
              <a:rect l="l" t="t" r="r" b="b"/>
              <a:pathLst>
                <a:path w="697707" h="570310">
                  <a:moveTo>
                    <a:pt x="0" y="390525"/>
                  </a:moveTo>
                  <a:lnTo>
                    <a:pt x="390525" y="570310"/>
                  </a:lnTo>
                  <a:lnTo>
                    <a:pt x="697707" y="0"/>
                  </a:lnTo>
                  <a:lnTo>
                    <a:pt x="0" y="390525"/>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5" name="Freeform: Shape 24">
              <a:extLst>
                <a:ext uri="{FF2B5EF4-FFF2-40B4-BE49-F238E27FC236}">
                  <a16:creationId xmlns:a16="http://schemas.microsoft.com/office/drawing/2014/main" id="{87A8247B-3C96-48AB-A3A2-F2DFED988807}"/>
                </a:ext>
              </a:extLst>
            </p:cNvPr>
            <p:cNvSpPr/>
            <p:nvPr/>
          </p:nvSpPr>
          <p:spPr bwMode="gray">
            <a:xfrm>
              <a:off x="4133850" y="3263503"/>
              <a:ext cx="471488" cy="817960"/>
            </a:xfrm>
            <a:custGeom>
              <a:avLst/>
              <a:gdLst>
                <a:gd name="connsiteX0" fmla="*/ 0 w 471488"/>
                <a:gd name="connsiteY0" fmla="*/ 0 h 817960"/>
                <a:gd name="connsiteX1" fmla="*/ 471488 w 471488"/>
                <a:gd name="connsiteY1" fmla="*/ 776288 h 817960"/>
                <a:gd name="connsiteX2" fmla="*/ 266700 w 471488"/>
                <a:gd name="connsiteY2" fmla="*/ 817960 h 817960"/>
                <a:gd name="connsiteX3" fmla="*/ 0 w 471488"/>
                <a:gd name="connsiteY3" fmla="*/ 0 h 817960"/>
              </a:gdLst>
              <a:ahLst/>
              <a:cxnLst>
                <a:cxn ang="0">
                  <a:pos x="connsiteX0" y="connsiteY0"/>
                </a:cxn>
                <a:cxn ang="0">
                  <a:pos x="connsiteX1" y="connsiteY1"/>
                </a:cxn>
                <a:cxn ang="0">
                  <a:pos x="connsiteX2" y="connsiteY2"/>
                </a:cxn>
                <a:cxn ang="0">
                  <a:pos x="connsiteX3" y="connsiteY3"/>
                </a:cxn>
              </a:cxnLst>
              <a:rect l="l" t="t" r="r" b="b"/>
              <a:pathLst>
                <a:path w="471488" h="817960">
                  <a:moveTo>
                    <a:pt x="0" y="0"/>
                  </a:moveTo>
                  <a:lnTo>
                    <a:pt x="471488" y="776288"/>
                  </a:lnTo>
                  <a:lnTo>
                    <a:pt x="266700" y="817960"/>
                  </a:lnTo>
                  <a:lnTo>
                    <a:pt x="0" y="0"/>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6" name="Freeform: Shape 25">
              <a:extLst>
                <a:ext uri="{FF2B5EF4-FFF2-40B4-BE49-F238E27FC236}">
                  <a16:creationId xmlns:a16="http://schemas.microsoft.com/office/drawing/2014/main" id="{58621DED-1A29-49DA-95A7-BA4405A18EC4}"/>
                </a:ext>
              </a:extLst>
            </p:cNvPr>
            <p:cNvSpPr/>
            <p:nvPr/>
          </p:nvSpPr>
          <p:spPr bwMode="gray">
            <a:xfrm>
              <a:off x="4400550" y="4039791"/>
              <a:ext cx="345281" cy="523875"/>
            </a:xfrm>
            <a:custGeom>
              <a:avLst/>
              <a:gdLst>
                <a:gd name="connsiteX0" fmla="*/ 0 w 345281"/>
                <a:gd name="connsiteY0" fmla="*/ 40481 h 523875"/>
                <a:gd name="connsiteX1" fmla="*/ 205978 w 345281"/>
                <a:gd name="connsiteY1" fmla="*/ 0 h 523875"/>
                <a:gd name="connsiteX2" fmla="*/ 345281 w 345281"/>
                <a:gd name="connsiteY2" fmla="*/ 523875 h 523875"/>
                <a:gd name="connsiteX3" fmla="*/ 0 w 345281"/>
                <a:gd name="connsiteY3" fmla="*/ 40481 h 523875"/>
              </a:gdLst>
              <a:ahLst/>
              <a:cxnLst>
                <a:cxn ang="0">
                  <a:pos x="connsiteX0" y="connsiteY0"/>
                </a:cxn>
                <a:cxn ang="0">
                  <a:pos x="connsiteX1" y="connsiteY1"/>
                </a:cxn>
                <a:cxn ang="0">
                  <a:pos x="connsiteX2" y="connsiteY2"/>
                </a:cxn>
                <a:cxn ang="0">
                  <a:pos x="connsiteX3" y="connsiteY3"/>
                </a:cxn>
              </a:cxnLst>
              <a:rect l="l" t="t" r="r" b="b"/>
              <a:pathLst>
                <a:path w="345281" h="523875">
                  <a:moveTo>
                    <a:pt x="0" y="40481"/>
                  </a:moveTo>
                  <a:lnTo>
                    <a:pt x="205978" y="0"/>
                  </a:lnTo>
                  <a:lnTo>
                    <a:pt x="345281" y="523875"/>
                  </a:lnTo>
                  <a:lnTo>
                    <a:pt x="0" y="40481"/>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7" name="Freeform: Shape 26">
              <a:extLst>
                <a:ext uri="{FF2B5EF4-FFF2-40B4-BE49-F238E27FC236}">
                  <a16:creationId xmlns:a16="http://schemas.microsoft.com/office/drawing/2014/main" id="{B55505E2-33D8-4119-B930-60E89083AA46}"/>
                </a:ext>
              </a:extLst>
            </p:cNvPr>
            <p:cNvSpPr/>
            <p:nvPr/>
          </p:nvSpPr>
          <p:spPr bwMode="gray">
            <a:xfrm>
              <a:off x="4607719" y="3832622"/>
              <a:ext cx="733425" cy="603647"/>
            </a:xfrm>
            <a:custGeom>
              <a:avLst/>
              <a:gdLst>
                <a:gd name="connsiteX0" fmla="*/ 0 w 733425"/>
                <a:gd name="connsiteY0" fmla="*/ 204787 h 603647"/>
                <a:gd name="connsiteX1" fmla="*/ 644128 w 733425"/>
                <a:gd name="connsiteY1" fmla="*/ 603647 h 603647"/>
                <a:gd name="connsiteX2" fmla="*/ 733425 w 733425"/>
                <a:gd name="connsiteY2" fmla="*/ 0 h 603647"/>
                <a:gd name="connsiteX3" fmla="*/ 0 w 733425"/>
                <a:gd name="connsiteY3" fmla="*/ 204787 h 603647"/>
              </a:gdLst>
              <a:ahLst/>
              <a:cxnLst>
                <a:cxn ang="0">
                  <a:pos x="connsiteX0" y="connsiteY0"/>
                </a:cxn>
                <a:cxn ang="0">
                  <a:pos x="connsiteX1" y="connsiteY1"/>
                </a:cxn>
                <a:cxn ang="0">
                  <a:pos x="connsiteX2" y="connsiteY2"/>
                </a:cxn>
                <a:cxn ang="0">
                  <a:pos x="connsiteX3" y="connsiteY3"/>
                </a:cxn>
              </a:cxnLst>
              <a:rect l="l" t="t" r="r" b="b"/>
              <a:pathLst>
                <a:path w="733425" h="603647">
                  <a:moveTo>
                    <a:pt x="0" y="204787"/>
                  </a:moveTo>
                  <a:lnTo>
                    <a:pt x="644128" y="603647"/>
                  </a:lnTo>
                  <a:lnTo>
                    <a:pt x="733425" y="0"/>
                  </a:lnTo>
                  <a:lnTo>
                    <a:pt x="0" y="204787"/>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8" name="Freeform: Shape 27">
              <a:extLst>
                <a:ext uri="{FF2B5EF4-FFF2-40B4-BE49-F238E27FC236}">
                  <a16:creationId xmlns:a16="http://schemas.microsoft.com/office/drawing/2014/main" id="{4716B536-DDEF-4DEA-AA2F-6907E7777B55}"/>
                </a:ext>
              </a:extLst>
            </p:cNvPr>
            <p:cNvSpPr/>
            <p:nvPr/>
          </p:nvSpPr>
          <p:spPr bwMode="gray">
            <a:xfrm>
              <a:off x="5251847" y="3842147"/>
              <a:ext cx="479822" cy="591741"/>
            </a:xfrm>
            <a:custGeom>
              <a:avLst/>
              <a:gdLst>
                <a:gd name="connsiteX0" fmla="*/ 95250 w 479822"/>
                <a:gd name="connsiteY0" fmla="*/ 0 h 591741"/>
                <a:gd name="connsiteX1" fmla="*/ 0 w 479822"/>
                <a:gd name="connsiteY1" fmla="*/ 591741 h 591741"/>
                <a:gd name="connsiteX2" fmla="*/ 479822 w 479822"/>
                <a:gd name="connsiteY2" fmla="*/ 175022 h 591741"/>
                <a:gd name="connsiteX3" fmla="*/ 95250 w 479822"/>
                <a:gd name="connsiteY3" fmla="*/ 0 h 591741"/>
              </a:gdLst>
              <a:ahLst/>
              <a:cxnLst>
                <a:cxn ang="0">
                  <a:pos x="connsiteX0" y="connsiteY0"/>
                </a:cxn>
                <a:cxn ang="0">
                  <a:pos x="connsiteX1" y="connsiteY1"/>
                </a:cxn>
                <a:cxn ang="0">
                  <a:pos x="connsiteX2" y="connsiteY2"/>
                </a:cxn>
                <a:cxn ang="0">
                  <a:pos x="connsiteX3" y="connsiteY3"/>
                </a:cxn>
              </a:cxnLst>
              <a:rect l="l" t="t" r="r" b="b"/>
              <a:pathLst>
                <a:path w="479822" h="591741">
                  <a:moveTo>
                    <a:pt x="95250" y="0"/>
                  </a:moveTo>
                  <a:lnTo>
                    <a:pt x="0" y="591741"/>
                  </a:lnTo>
                  <a:lnTo>
                    <a:pt x="479822" y="175022"/>
                  </a:lnTo>
                  <a:lnTo>
                    <a:pt x="95250" y="0"/>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9" name="Freeform: Shape 28">
              <a:extLst>
                <a:ext uri="{FF2B5EF4-FFF2-40B4-BE49-F238E27FC236}">
                  <a16:creationId xmlns:a16="http://schemas.microsoft.com/office/drawing/2014/main" id="{4F5C8A84-97A1-4FBF-83C3-29D864CD8D1B}"/>
                </a:ext>
              </a:extLst>
            </p:cNvPr>
            <p:cNvSpPr/>
            <p:nvPr/>
          </p:nvSpPr>
          <p:spPr bwMode="gray">
            <a:xfrm>
              <a:off x="5255419" y="4023122"/>
              <a:ext cx="473869" cy="485775"/>
            </a:xfrm>
            <a:custGeom>
              <a:avLst/>
              <a:gdLst>
                <a:gd name="connsiteX0" fmla="*/ 0 w 473869"/>
                <a:gd name="connsiteY0" fmla="*/ 413147 h 485775"/>
                <a:gd name="connsiteX1" fmla="*/ 473869 w 473869"/>
                <a:gd name="connsiteY1" fmla="*/ 0 h 485775"/>
                <a:gd name="connsiteX2" fmla="*/ 353615 w 473869"/>
                <a:gd name="connsiteY2" fmla="*/ 485775 h 485775"/>
                <a:gd name="connsiteX3" fmla="*/ 0 w 473869"/>
                <a:gd name="connsiteY3" fmla="*/ 413147 h 485775"/>
              </a:gdLst>
              <a:ahLst/>
              <a:cxnLst>
                <a:cxn ang="0">
                  <a:pos x="connsiteX0" y="connsiteY0"/>
                </a:cxn>
                <a:cxn ang="0">
                  <a:pos x="connsiteX1" y="connsiteY1"/>
                </a:cxn>
                <a:cxn ang="0">
                  <a:pos x="connsiteX2" y="connsiteY2"/>
                </a:cxn>
                <a:cxn ang="0">
                  <a:pos x="connsiteX3" y="connsiteY3"/>
                </a:cxn>
              </a:cxnLst>
              <a:rect l="l" t="t" r="r" b="b"/>
              <a:pathLst>
                <a:path w="473869" h="485775">
                  <a:moveTo>
                    <a:pt x="0" y="413147"/>
                  </a:moveTo>
                  <a:lnTo>
                    <a:pt x="473869" y="0"/>
                  </a:lnTo>
                  <a:lnTo>
                    <a:pt x="353615" y="485775"/>
                  </a:lnTo>
                  <a:lnTo>
                    <a:pt x="0" y="413147"/>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0" name="Freeform: Shape 29">
              <a:extLst>
                <a:ext uri="{FF2B5EF4-FFF2-40B4-BE49-F238E27FC236}">
                  <a16:creationId xmlns:a16="http://schemas.microsoft.com/office/drawing/2014/main" id="{397961C6-273C-4CDF-96F2-B1DC8DB0A134}"/>
                </a:ext>
              </a:extLst>
            </p:cNvPr>
            <p:cNvSpPr/>
            <p:nvPr/>
          </p:nvSpPr>
          <p:spPr bwMode="gray">
            <a:xfrm>
              <a:off x="4607719" y="4039792"/>
              <a:ext cx="644128" cy="703658"/>
            </a:xfrm>
            <a:custGeom>
              <a:avLst/>
              <a:gdLst>
                <a:gd name="connsiteX0" fmla="*/ 0 w 647700"/>
                <a:gd name="connsiteY0" fmla="*/ 0 h 700087"/>
                <a:gd name="connsiteX1" fmla="*/ 523875 w 647700"/>
                <a:gd name="connsiteY1" fmla="*/ 700087 h 700087"/>
                <a:gd name="connsiteX2" fmla="*/ 647700 w 647700"/>
                <a:gd name="connsiteY2" fmla="*/ 389334 h 700087"/>
                <a:gd name="connsiteX3" fmla="*/ 0 w 647700"/>
                <a:gd name="connsiteY3" fmla="*/ 0 h 700087"/>
                <a:gd name="connsiteX0" fmla="*/ 0 w 644128"/>
                <a:gd name="connsiteY0" fmla="*/ 0 h 703658"/>
                <a:gd name="connsiteX1" fmla="*/ 520303 w 644128"/>
                <a:gd name="connsiteY1" fmla="*/ 703658 h 703658"/>
                <a:gd name="connsiteX2" fmla="*/ 644128 w 644128"/>
                <a:gd name="connsiteY2" fmla="*/ 392905 h 703658"/>
                <a:gd name="connsiteX3" fmla="*/ 0 w 644128"/>
                <a:gd name="connsiteY3" fmla="*/ 0 h 703658"/>
              </a:gdLst>
              <a:ahLst/>
              <a:cxnLst>
                <a:cxn ang="0">
                  <a:pos x="connsiteX0" y="connsiteY0"/>
                </a:cxn>
                <a:cxn ang="0">
                  <a:pos x="connsiteX1" y="connsiteY1"/>
                </a:cxn>
                <a:cxn ang="0">
                  <a:pos x="connsiteX2" y="connsiteY2"/>
                </a:cxn>
                <a:cxn ang="0">
                  <a:pos x="connsiteX3" y="connsiteY3"/>
                </a:cxn>
              </a:cxnLst>
              <a:rect l="l" t="t" r="r" b="b"/>
              <a:pathLst>
                <a:path w="644128" h="703658">
                  <a:moveTo>
                    <a:pt x="0" y="0"/>
                  </a:moveTo>
                  <a:lnTo>
                    <a:pt x="520303" y="703658"/>
                  </a:lnTo>
                  <a:lnTo>
                    <a:pt x="644128" y="392905"/>
                  </a:lnTo>
                  <a:lnTo>
                    <a:pt x="0" y="0"/>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1" name="Freeform: Shape 30">
              <a:extLst>
                <a:ext uri="{FF2B5EF4-FFF2-40B4-BE49-F238E27FC236}">
                  <a16:creationId xmlns:a16="http://schemas.microsoft.com/office/drawing/2014/main" id="{6FB501AF-3890-4DE9-925F-645AAA1E58FE}"/>
                </a:ext>
              </a:extLst>
            </p:cNvPr>
            <p:cNvSpPr/>
            <p:nvPr/>
          </p:nvSpPr>
          <p:spPr bwMode="gray">
            <a:xfrm>
              <a:off x="5126831" y="4435078"/>
              <a:ext cx="481013" cy="792956"/>
            </a:xfrm>
            <a:custGeom>
              <a:avLst/>
              <a:gdLst>
                <a:gd name="connsiteX0" fmla="*/ 0 w 481013"/>
                <a:gd name="connsiteY0" fmla="*/ 792956 h 792956"/>
                <a:gd name="connsiteX1" fmla="*/ 481013 w 481013"/>
                <a:gd name="connsiteY1" fmla="*/ 71438 h 792956"/>
                <a:gd name="connsiteX2" fmla="*/ 127397 w 481013"/>
                <a:gd name="connsiteY2" fmla="*/ 0 h 792956"/>
                <a:gd name="connsiteX3" fmla="*/ 0 w 481013"/>
                <a:gd name="connsiteY3" fmla="*/ 792956 h 792956"/>
              </a:gdLst>
              <a:ahLst/>
              <a:cxnLst>
                <a:cxn ang="0">
                  <a:pos x="connsiteX0" y="connsiteY0"/>
                </a:cxn>
                <a:cxn ang="0">
                  <a:pos x="connsiteX1" y="connsiteY1"/>
                </a:cxn>
                <a:cxn ang="0">
                  <a:pos x="connsiteX2" y="connsiteY2"/>
                </a:cxn>
                <a:cxn ang="0">
                  <a:pos x="connsiteX3" y="connsiteY3"/>
                </a:cxn>
              </a:cxnLst>
              <a:rect l="l" t="t" r="r" b="b"/>
              <a:pathLst>
                <a:path w="481013" h="792956">
                  <a:moveTo>
                    <a:pt x="0" y="792956"/>
                  </a:moveTo>
                  <a:lnTo>
                    <a:pt x="481013" y="71438"/>
                  </a:lnTo>
                  <a:lnTo>
                    <a:pt x="127397" y="0"/>
                  </a:lnTo>
                  <a:lnTo>
                    <a:pt x="0" y="792956"/>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2" name="Freeform: Shape 31">
              <a:extLst>
                <a:ext uri="{FF2B5EF4-FFF2-40B4-BE49-F238E27FC236}">
                  <a16:creationId xmlns:a16="http://schemas.microsoft.com/office/drawing/2014/main" id="{55A0E13E-DD1E-452A-A08F-880E313571EE}"/>
                </a:ext>
              </a:extLst>
            </p:cNvPr>
            <p:cNvSpPr/>
            <p:nvPr/>
          </p:nvSpPr>
          <p:spPr bwMode="gray">
            <a:xfrm>
              <a:off x="4744641" y="4561284"/>
              <a:ext cx="384572" cy="659607"/>
            </a:xfrm>
            <a:custGeom>
              <a:avLst/>
              <a:gdLst>
                <a:gd name="connsiteX0" fmla="*/ 0 w 384572"/>
                <a:gd name="connsiteY0" fmla="*/ 0 h 659607"/>
                <a:gd name="connsiteX1" fmla="*/ 384572 w 384572"/>
                <a:gd name="connsiteY1" fmla="*/ 183357 h 659607"/>
                <a:gd name="connsiteX2" fmla="*/ 382190 w 384572"/>
                <a:gd name="connsiteY2" fmla="*/ 659607 h 659607"/>
                <a:gd name="connsiteX3" fmla="*/ 0 w 384572"/>
                <a:gd name="connsiteY3" fmla="*/ 0 h 659607"/>
              </a:gdLst>
              <a:ahLst/>
              <a:cxnLst>
                <a:cxn ang="0">
                  <a:pos x="connsiteX0" y="connsiteY0"/>
                </a:cxn>
                <a:cxn ang="0">
                  <a:pos x="connsiteX1" y="connsiteY1"/>
                </a:cxn>
                <a:cxn ang="0">
                  <a:pos x="connsiteX2" y="connsiteY2"/>
                </a:cxn>
                <a:cxn ang="0">
                  <a:pos x="connsiteX3" y="connsiteY3"/>
                </a:cxn>
              </a:cxnLst>
              <a:rect l="l" t="t" r="r" b="b"/>
              <a:pathLst>
                <a:path w="384572" h="659607">
                  <a:moveTo>
                    <a:pt x="0" y="0"/>
                  </a:moveTo>
                  <a:lnTo>
                    <a:pt x="384572" y="183357"/>
                  </a:lnTo>
                  <a:lnTo>
                    <a:pt x="382190" y="659607"/>
                  </a:lnTo>
                  <a:lnTo>
                    <a:pt x="0" y="0"/>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3" name="Freeform: Shape 32">
              <a:extLst>
                <a:ext uri="{FF2B5EF4-FFF2-40B4-BE49-F238E27FC236}">
                  <a16:creationId xmlns:a16="http://schemas.microsoft.com/office/drawing/2014/main" id="{F986E363-666A-4052-B513-A90640244476}"/>
                </a:ext>
              </a:extLst>
            </p:cNvPr>
            <p:cNvSpPr/>
            <p:nvPr/>
          </p:nvSpPr>
          <p:spPr bwMode="gray">
            <a:xfrm>
              <a:off x="4606528" y="4036219"/>
              <a:ext cx="521494" cy="708422"/>
            </a:xfrm>
            <a:custGeom>
              <a:avLst/>
              <a:gdLst>
                <a:gd name="connsiteX0" fmla="*/ 138113 w 521494"/>
                <a:gd name="connsiteY0" fmla="*/ 523875 h 708422"/>
                <a:gd name="connsiteX1" fmla="*/ 0 w 521494"/>
                <a:gd name="connsiteY1" fmla="*/ 0 h 708422"/>
                <a:gd name="connsiteX2" fmla="*/ 521494 w 521494"/>
                <a:gd name="connsiteY2" fmla="*/ 708422 h 708422"/>
                <a:gd name="connsiteX3" fmla="*/ 138113 w 521494"/>
                <a:gd name="connsiteY3" fmla="*/ 523875 h 708422"/>
              </a:gdLst>
              <a:ahLst/>
              <a:cxnLst>
                <a:cxn ang="0">
                  <a:pos x="connsiteX0" y="connsiteY0"/>
                </a:cxn>
                <a:cxn ang="0">
                  <a:pos x="connsiteX1" y="connsiteY1"/>
                </a:cxn>
                <a:cxn ang="0">
                  <a:pos x="connsiteX2" y="connsiteY2"/>
                </a:cxn>
                <a:cxn ang="0">
                  <a:pos x="connsiteX3" y="connsiteY3"/>
                </a:cxn>
              </a:cxnLst>
              <a:rect l="l" t="t" r="r" b="b"/>
              <a:pathLst>
                <a:path w="521494" h="708422">
                  <a:moveTo>
                    <a:pt x="138113" y="523875"/>
                  </a:moveTo>
                  <a:lnTo>
                    <a:pt x="0" y="0"/>
                  </a:lnTo>
                  <a:lnTo>
                    <a:pt x="521494" y="708422"/>
                  </a:lnTo>
                  <a:lnTo>
                    <a:pt x="138113" y="523875"/>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4" name="Freeform: Shape 33">
              <a:extLst>
                <a:ext uri="{FF2B5EF4-FFF2-40B4-BE49-F238E27FC236}">
                  <a16:creationId xmlns:a16="http://schemas.microsoft.com/office/drawing/2014/main" id="{D75EE530-0175-440A-BBA3-47A8ED32D901}"/>
                </a:ext>
              </a:extLst>
            </p:cNvPr>
            <p:cNvSpPr/>
            <p:nvPr/>
          </p:nvSpPr>
          <p:spPr bwMode="gray">
            <a:xfrm>
              <a:off x="5125641" y="4432697"/>
              <a:ext cx="125015" cy="789384"/>
            </a:xfrm>
            <a:custGeom>
              <a:avLst/>
              <a:gdLst>
                <a:gd name="connsiteX0" fmla="*/ 0 w 125015"/>
                <a:gd name="connsiteY0" fmla="*/ 789384 h 789384"/>
                <a:gd name="connsiteX1" fmla="*/ 0 w 125015"/>
                <a:gd name="connsiteY1" fmla="*/ 311944 h 789384"/>
                <a:gd name="connsiteX2" fmla="*/ 125015 w 125015"/>
                <a:gd name="connsiteY2" fmla="*/ 0 h 789384"/>
                <a:gd name="connsiteX3" fmla="*/ 0 w 125015"/>
                <a:gd name="connsiteY3" fmla="*/ 789384 h 789384"/>
              </a:gdLst>
              <a:ahLst/>
              <a:cxnLst>
                <a:cxn ang="0">
                  <a:pos x="connsiteX0" y="connsiteY0"/>
                </a:cxn>
                <a:cxn ang="0">
                  <a:pos x="connsiteX1" y="connsiteY1"/>
                </a:cxn>
                <a:cxn ang="0">
                  <a:pos x="connsiteX2" y="connsiteY2"/>
                </a:cxn>
                <a:cxn ang="0">
                  <a:pos x="connsiteX3" y="connsiteY3"/>
                </a:cxn>
              </a:cxnLst>
              <a:rect l="l" t="t" r="r" b="b"/>
              <a:pathLst>
                <a:path w="125015" h="789384">
                  <a:moveTo>
                    <a:pt x="0" y="789384"/>
                  </a:moveTo>
                  <a:lnTo>
                    <a:pt x="0" y="311944"/>
                  </a:lnTo>
                  <a:lnTo>
                    <a:pt x="125015" y="0"/>
                  </a:lnTo>
                  <a:lnTo>
                    <a:pt x="0" y="789384"/>
                  </a:lnTo>
                  <a:close/>
                </a:path>
              </a:pathLst>
            </a:cu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36" name="TextBox 35">
            <a:extLst>
              <a:ext uri="{FF2B5EF4-FFF2-40B4-BE49-F238E27FC236}">
                <a16:creationId xmlns:a16="http://schemas.microsoft.com/office/drawing/2014/main" id="{2CB2D1D3-9069-4CA7-8552-03E27CA41E29}"/>
              </a:ext>
            </a:extLst>
          </p:cNvPr>
          <p:cNvSpPr txBox="1"/>
          <p:nvPr/>
        </p:nvSpPr>
        <p:spPr>
          <a:xfrm>
            <a:off x="5139457" y="1242828"/>
            <a:ext cx="1899431" cy="246221"/>
          </a:xfrm>
          <a:prstGeom prst="rect">
            <a:avLst/>
          </a:prstGeom>
          <a:noFill/>
        </p:spPr>
        <p:txBody>
          <a:bodyPr wrap="none" lIns="0" tIns="0" rIns="0" bIns="0" rtlCol="0">
            <a:spAutoFit/>
          </a:bodyPr>
          <a:lstStyle/>
          <a:p>
            <a:pPr>
              <a:spcBef>
                <a:spcPts val="600"/>
              </a:spcBef>
              <a:buSzPct val="100000"/>
            </a:pPr>
            <a:r>
              <a:rPr lang="en-US" sz="1600" b="1" dirty="0">
                <a:solidFill>
                  <a:srgbClr val="313131"/>
                </a:solidFill>
              </a:rPr>
              <a:t>Lorem ipsum dolor sit </a:t>
            </a:r>
          </a:p>
        </p:txBody>
      </p:sp>
      <p:sp>
        <p:nvSpPr>
          <p:cNvPr id="35" name="Freeform: Shape 34">
            <a:extLst>
              <a:ext uri="{FF2B5EF4-FFF2-40B4-BE49-F238E27FC236}">
                <a16:creationId xmlns:a16="http://schemas.microsoft.com/office/drawing/2014/main" id="{A773818B-50EC-4364-BD39-222D67B9534D}"/>
              </a:ext>
            </a:extLst>
          </p:cNvPr>
          <p:cNvSpPr/>
          <p:nvPr/>
        </p:nvSpPr>
        <p:spPr>
          <a:xfrm flipV="1">
            <a:off x="459422" y="2810208"/>
            <a:ext cx="11273159" cy="3582017"/>
          </a:xfrm>
          <a:custGeom>
            <a:avLst/>
            <a:gdLst>
              <a:gd name="connsiteX0" fmla="*/ 258996 w 11273159"/>
              <a:gd name="connsiteY0" fmla="*/ 2774295 h 2774295"/>
              <a:gd name="connsiteX1" fmla="*/ 466810 w 11273159"/>
              <a:gd name="connsiteY1" fmla="*/ 2693616 h 2774295"/>
              <a:gd name="connsiteX2" fmla="*/ 465197 w 11273159"/>
              <a:gd name="connsiteY2" fmla="*/ 2690813 h 2774295"/>
              <a:gd name="connsiteX3" fmla="*/ 468655 w 11273159"/>
              <a:gd name="connsiteY3" fmla="*/ 2690813 h 2774295"/>
              <a:gd name="connsiteX4" fmla="*/ 466274 w 11273159"/>
              <a:gd name="connsiteY4" fmla="*/ 2695014 h 2774295"/>
              <a:gd name="connsiteX5" fmla="*/ 674625 w 11273159"/>
              <a:gd name="connsiteY5" fmla="*/ 2774295 h 2774295"/>
              <a:gd name="connsiteX6" fmla="*/ 882440 w 11273159"/>
              <a:gd name="connsiteY6" fmla="*/ 2693616 h 2774295"/>
              <a:gd name="connsiteX7" fmla="*/ 880827 w 11273159"/>
              <a:gd name="connsiteY7" fmla="*/ 2690813 h 2774295"/>
              <a:gd name="connsiteX8" fmla="*/ 884284 w 11273159"/>
              <a:gd name="connsiteY8" fmla="*/ 2690813 h 2774295"/>
              <a:gd name="connsiteX9" fmla="*/ 881903 w 11273159"/>
              <a:gd name="connsiteY9" fmla="*/ 2695014 h 2774295"/>
              <a:gd name="connsiteX10" fmla="*/ 1090254 w 11273159"/>
              <a:gd name="connsiteY10" fmla="*/ 2774295 h 2774295"/>
              <a:gd name="connsiteX11" fmla="*/ 1298068 w 11273159"/>
              <a:gd name="connsiteY11" fmla="*/ 2693616 h 2774295"/>
              <a:gd name="connsiteX12" fmla="*/ 1296455 w 11273159"/>
              <a:gd name="connsiteY12" fmla="*/ 2690813 h 2774295"/>
              <a:gd name="connsiteX13" fmla="*/ 1299913 w 11273159"/>
              <a:gd name="connsiteY13" fmla="*/ 2690813 h 2774295"/>
              <a:gd name="connsiteX14" fmla="*/ 1297532 w 11273159"/>
              <a:gd name="connsiteY14" fmla="*/ 2695014 h 2774295"/>
              <a:gd name="connsiteX15" fmla="*/ 1505884 w 11273159"/>
              <a:gd name="connsiteY15" fmla="*/ 2774295 h 2774295"/>
              <a:gd name="connsiteX16" fmla="*/ 1713697 w 11273159"/>
              <a:gd name="connsiteY16" fmla="*/ 2693616 h 2774295"/>
              <a:gd name="connsiteX17" fmla="*/ 1712084 w 11273159"/>
              <a:gd name="connsiteY17" fmla="*/ 2690813 h 2774295"/>
              <a:gd name="connsiteX18" fmla="*/ 1715542 w 11273159"/>
              <a:gd name="connsiteY18" fmla="*/ 2690813 h 2774295"/>
              <a:gd name="connsiteX19" fmla="*/ 1713161 w 11273159"/>
              <a:gd name="connsiteY19" fmla="*/ 2695014 h 2774295"/>
              <a:gd name="connsiteX20" fmla="*/ 1921512 w 11273159"/>
              <a:gd name="connsiteY20" fmla="*/ 2774295 h 2774295"/>
              <a:gd name="connsiteX21" fmla="*/ 2129326 w 11273159"/>
              <a:gd name="connsiteY21" fmla="*/ 2693616 h 2774295"/>
              <a:gd name="connsiteX22" fmla="*/ 2127713 w 11273159"/>
              <a:gd name="connsiteY22" fmla="*/ 2690813 h 2774295"/>
              <a:gd name="connsiteX23" fmla="*/ 2131170 w 11273159"/>
              <a:gd name="connsiteY23" fmla="*/ 2690813 h 2774295"/>
              <a:gd name="connsiteX24" fmla="*/ 2128789 w 11273159"/>
              <a:gd name="connsiteY24" fmla="*/ 2695014 h 2774295"/>
              <a:gd name="connsiteX25" fmla="*/ 2337140 w 11273159"/>
              <a:gd name="connsiteY25" fmla="*/ 2774295 h 2774295"/>
              <a:gd name="connsiteX26" fmla="*/ 2544954 w 11273159"/>
              <a:gd name="connsiteY26" fmla="*/ 2693616 h 2774295"/>
              <a:gd name="connsiteX27" fmla="*/ 2543341 w 11273159"/>
              <a:gd name="connsiteY27" fmla="*/ 2690813 h 2774295"/>
              <a:gd name="connsiteX28" fmla="*/ 2546799 w 11273159"/>
              <a:gd name="connsiteY28" fmla="*/ 2690813 h 2774295"/>
              <a:gd name="connsiteX29" fmla="*/ 2544418 w 11273159"/>
              <a:gd name="connsiteY29" fmla="*/ 2695014 h 2774295"/>
              <a:gd name="connsiteX30" fmla="*/ 2752768 w 11273159"/>
              <a:gd name="connsiteY30" fmla="*/ 2774295 h 2774295"/>
              <a:gd name="connsiteX31" fmla="*/ 2960583 w 11273159"/>
              <a:gd name="connsiteY31" fmla="*/ 2693616 h 2774295"/>
              <a:gd name="connsiteX32" fmla="*/ 2958970 w 11273159"/>
              <a:gd name="connsiteY32" fmla="*/ 2690813 h 2774295"/>
              <a:gd name="connsiteX33" fmla="*/ 2962427 w 11273159"/>
              <a:gd name="connsiteY33" fmla="*/ 2690813 h 2774295"/>
              <a:gd name="connsiteX34" fmla="*/ 2960046 w 11273159"/>
              <a:gd name="connsiteY34" fmla="*/ 2695014 h 2774295"/>
              <a:gd name="connsiteX35" fmla="*/ 3168398 w 11273159"/>
              <a:gd name="connsiteY35" fmla="*/ 2774295 h 2774295"/>
              <a:gd name="connsiteX36" fmla="*/ 3376212 w 11273159"/>
              <a:gd name="connsiteY36" fmla="*/ 2693616 h 2774295"/>
              <a:gd name="connsiteX37" fmla="*/ 3374599 w 11273159"/>
              <a:gd name="connsiteY37" fmla="*/ 2690813 h 2774295"/>
              <a:gd name="connsiteX38" fmla="*/ 3378057 w 11273159"/>
              <a:gd name="connsiteY38" fmla="*/ 2690813 h 2774295"/>
              <a:gd name="connsiteX39" fmla="*/ 3375676 w 11273159"/>
              <a:gd name="connsiteY39" fmla="*/ 2695014 h 2774295"/>
              <a:gd name="connsiteX40" fmla="*/ 3584026 w 11273159"/>
              <a:gd name="connsiteY40" fmla="*/ 2774295 h 2774295"/>
              <a:gd name="connsiteX41" fmla="*/ 3791839 w 11273159"/>
              <a:gd name="connsiteY41" fmla="*/ 2693616 h 2774295"/>
              <a:gd name="connsiteX42" fmla="*/ 3790226 w 11273159"/>
              <a:gd name="connsiteY42" fmla="*/ 2690813 h 2774295"/>
              <a:gd name="connsiteX43" fmla="*/ 3793684 w 11273159"/>
              <a:gd name="connsiteY43" fmla="*/ 2690813 h 2774295"/>
              <a:gd name="connsiteX44" fmla="*/ 3791303 w 11273159"/>
              <a:gd name="connsiteY44" fmla="*/ 2695014 h 2774295"/>
              <a:gd name="connsiteX45" fmla="*/ 3999654 w 11273159"/>
              <a:gd name="connsiteY45" fmla="*/ 2774295 h 2774295"/>
              <a:gd name="connsiteX46" fmla="*/ 4207468 w 11273159"/>
              <a:gd name="connsiteY46" fmla="*/ 2693616 h 2774295"/>
              <a:gd name="connsiteX47" fmla="*/ 4205855 w 11273159"/>
              <a:gd name="connsiteY47" fmla="*/ 2690813 h 2774295"/>
              <a:gd name="connsiteX48" fmla="*/ 4209313 w 11273159"/>
              <a:gd name="connsiteY48" fmla="*/ 2690813 h 2774295"/>
              <a:gd name="connsiteX49" fmla="*/ 4206932 w 11273159"/>
              <a:gd name="connsiteY49" fmla="*/ 2695014 h 2774295"/>
              <a:gd name="connsiteX50" fmla="*/ 4415283 w 11273159"/>
              <a:gd name="connsiteY50" fmla="*/ 2774295 h 2774295"/>
              <a:gd name="connsiteX51" fmla="*/ 4623098 w 11273159"/>
              <a:gd name="connsiteY51" fmla="*/ 2693616 h 2774295"/>
              <a:gd name="connsiteX52" fmla="*/ 4621484 w 11273159"/>
              <a:gd name="connsiteY52" fmla="*/ 2690813 h 2774295"/>
              <a:gd name="connsiteX53" fmla="*/ 4624942 w 11273159"/>
              <a:gd name="connsiteY53" fmla="*/ 2690813 h 2774295"/>
              <a:gd name="connsiteX54" fmla="*/ 4622561 w 11273159"/>
              <a:gd name="connsiteY54" fmla="*/ 2695014 h 2774295"/>
              <a:gd name="connsiteX55" fmla="*/ 4830912 w 11273159"/>
              <a:gd name="connsiteY55" fmla="*/ 2774295 h 2774295"/>
              <a:gd name="connsiteX56" fmla="*/ 5038726 w 11273159"/>
              <a:gd name="connsiteY56" fmla="*/ 2693616 h 2774295"/>
              <a:gd name="connsiteX57" fmla="*/ 5037113 w 11273159"/>
              <a:gd name="connsiteY57" fmla="*/ 2690813 h 2774295"/>
              <a:gd name="connsiteX58" fmla="*/ 5040571 w 11273159"/>
              <a:gd name="connsiteY58" fmla="*/ 2690813 h 2774295"/>
              <a:gd name="connsiteX59" fmla="*/ 5038190 w 11273159"/>
              <a:gd name="connsiteY59" fmla="*/ 2695014 h 2774295"/>
              <a:gd name="connsiteX60" fmla="*/ 5246541 w 11273159"/>
              <a:gd name="connsiteY60" fmla="*/ 2774295 h 2774295"/>
              <a:gd name="connsiteX61" fmla="*/ 5454355 w 11273159"/>
              <a:gd name="connsiteY61" fmla="*/ 2693616 h 2774295"/>
              <a:gd name="connsiteX62" fmla="*/ 5452742 w 11273159"/>
              <a:gd name="connsiteY62" fmla="*/ 2690813 h 2774295"/>
              <a:gd name="connsiteX63" fmla="*/ 5456200 w 11273159"/>
              <a:gd name="connsiteY63" fmla="*/ 2690813 h 2774295"/>
              <a:gd name="connsiteX64" fmla="*/ 5453819 w 11273159"/>
              <a:gd name="connsiteY64" fmla="*/ 2695014 h 2774295"/>
              <a:gd name="connsiteX65" fmla="*/ 5662170 w 11273159"/>
              <a:gd name="connsiteY65" fmla="*/ 2774295 h 2774295"/>
              <a:gd name="connsiteX66" fmla="*/ 5869984 w 11273159"/>
              <a:gd name="connsiteY66" fmla="*/ 2693616 h 2774295"/>
              <a:gd name="connsiteX67" fmla="*/ 5868371 w 11273159"/>
              <a:gd name="connsiteY67" fmla="*/ 2690813 h 2774295"/>
              <a:gd name="connsiteX68" fmla="*/ 5871828 w 11273159"/>
              <a:gd name="connsiteY68" fmla="*/ 2690813 h 2774295"/>
              <a:gd name="connsiteX69" fmla="*/ 5869447 w 11273159"/>
              <a:gd name="connsiteY69" fmla="*/ 2695014 h 2774295"/>
              <a:gd name="connsiteX70" fmla="*/ 6077798 w 11273159"/>
              <a:gd name="connsiteY70" fmla="*/ 2774295 h 2774295"/>
              <a:gd name="connsiteX71" fmla="*/ 6285612 w 11273159"/>
              <a:gd name="connsiteY71" fmla="*/ 2693616 h 2774295"/>
              <a:gd name="connsiteX72" fmla="*/ 6283999 w 11273159"/>
              <a:gd name="connsiteY72" fmla="*/ 2690813 h 2774295"/>
              <a:gd name="connsiteX73" fmla="*/ 6287457 w 11273159"/>
              <a:gd name="connsiteY73" fmla="*/ 2690813 h 2774295"/>
              <a:gd name="connsiteX74" fmla="*/ 6285076 w 11273159"/>
              <a:gd name="connsiteY74" fmla="*/ 2695014 h 2774295"/>
              <a:gd name="connsiteX75" fmla="*/ 6493427 w 11273159"/>
              <a:gd name="connsiteY75" fmla="*/ 2774295 h 2774295"/>
              <a:gd name="connsiteX76" fmla="*/ 6701241 w 11273159"/>
              <a:gd name="connsiteY76" fmla="*/ 2693616 h 2774295"/>
              <a:gd name="connsiteX77" fmla="*/ 6699628 w 11273159"/>
              <a:gd name="connsiteY77" fmla="*/ 2690813 h 2774295"/>
              <a:gd name="connsiteX78" fmla="*/ 6703086 w 11273159"/>
              <a:gd name="connsiteY78" fmla="*/ 2690813 h 2774295"/>
              <a:gd name="connsiteX79" fmla="*/ 6700705 w 11273159"/>
              <a:gd name="connsiteY79" fmla="*/ 2695014 h 2774295"/>
              <a:gd name="connsiteX80" fmla="*/ 6909056 w 11273159"/>
              <a:gd name="connsiteY80" fmla="*/ 2774295 h 2774295"/>
              <a:gd name="connsiteX81" fmla="*/ 7116870 w 11273159"/>
              <a:gd name="connsiteY81" fmla="*/ 2693616 h 2774295"/>
              <a:gd name="connsiteX82" fmla="*/ 7115257 w 11273159"/>
              <a:gd name="connsiteY82" fmla="*/ 2690813 h 2774295"/>
              <a:gd name="connsiteX83" fmla="*/ 7118715 w 11273159"/>
              <a:gd name="connsiteY83" fmla="*/ 2690813 h 2774295"/>
              <a:gd name="connsiteX84" fmla="*/ 7116334 w 11273159"/>
              <a:gd name="connsiteY84" fmla="*/ 2695014 h 2774295"/>
              <a:gd name="connsiteX85" fmla="*/ 7324685 w 11273159"/>
              <a:gd name="connsiteY85" fmla="*/ 2774295 h 2774295"/>
              <a:gd name="connsiteX86" fmla="*/ 7532499 w 11273159"/>
              <a:gd name="connsiteY86" fmla="*/ 2693616 h 2774295"/>
              <a:gd name="connsiteX87" fmla="*/ 7530886 w 11273159"/>
              <a:gd name="connsiteY87" fmla="*/ 2690813 h 2774295"/>
              <a:gd name="connsiteX88" fmla="*/ 7534344 w 11273159"/>
              <a:gd name="connsiteY88" fmla="*/ 2690813 h 2774295"/>
              <a:gd name="connsiteX89" fmla="*/ 7531963 w 11273159"/>
              <a:gd name="connsiteY89" fmla="*/ 2695014 h 2774295"/>
              <a:gd name="connsiteX90" fmla="*/ 7740314 w 11273159"/>
              <a:gd name="connsiteY90" fmla="*/ 2774295 h 2774295"/>
              <a:gd name="connsiteX91" fmla="*/ 7948128 w 11273159"/>
              <a:gd name="connsiteY91" fmla="*/ 2693616 h 2774295"/>
              <a:gd name="connsiteX92" fmla="*/ 7946515 w 11273159"/>
              <a:gd name="connsiteY92" fmla="*/ 2690813 h 2774295"/>
              <a:gd name="connsiteX93" fmla="*/ 7949972 w 11273159"/>
              <a:gd name="connsiteY93" fmla="*/ 2690813 h 2774295"/>
              <a:gd name="connsiteX94" fmla="*/ 7947592 w 11273159"/>
              <a:gd name="connsiteY94" fmla="*/ 2695014 h 2774295"/>
              <a:gd name="connsiteX95" fmla="*/ 8155943 w 11273159"/>
              <a:gd name="connsiteY95" fmla="*/ 2774295 h 2774295"/>
              <a:gd name="connsiteX96" fmla="*/ 8363757 w 11273159"/>
              <a:gd name="connsiteY96" fmla="*/ 2693616 h 2774295"/>
              <a:gd name="connsiteX97" fmla="*/ 8362144 w 11273159"/>
              <a:gd name="connsiteY97" fmla="*/ 2690813 h 2774295"/>
              <a:gd name="connsiteX98" fmla="*/ 8365601 w 11273159"/>
              <a:gd name="connsiteY98" fmla="*/ 2690813 h 2774295"/>
              <a:gd name="connsiteX99" fmla="*/ 8363221 w 11273159"/>
              <a:gd name="connsiteY99" fmla="*/ 2695014 h 2774295"/>
              <a:gd name="connsiteX100" fmla="*/ 8571572 w 11273159"/>
              <a:gd name="connsiteY100" fmla="*/ 2774295 h 2774295"/>
              <a:gd name="connsiteX101" fmla="*/ 8779386 w 11273159"/>
              <a:gd name="connsiteY101" fmla="*/ 2693616 h 2774295"/>
              <a:gd name="connsiteX102" fmla="*/ 8777773 w 11273159"/>
              <a:gd name="connsiteY102" fmla="*/ 2690813 h 2774295"/>
              <a:gd name="connsiteX103" fmla="*/ 8781230 w 11273159"/>
              <a:gd name="connsiteY103" fmla="*/ 2690813 h 2774295"/>
              <a:gd name="connsiteX104" fmla="*/ 8778850 w 11273159"/>
              <a:gd name="connsiteY104" fmla="*/ 2695014 h 2774295"/>
              <a:gd name="connsiteX105" fmla="*/ 8987201 w 11273159"/>
              <a:gd name="connsiteY105" fmla="*/ 2774295 h 2774295"/>
              <a:gd name="connsiteX106" fmla="*/ 9195015 w 11273159"/>
              <a:gd name="connsiteY106" fmla="*/ 2693616 h 2774295"/>
              <a:gd name="connsiteX107" fmla="*/ 9193402 w 11273159"/>
              <a:gd name="connsiteY107" fmla="*/ 2690813 h 2774295"/>
              <a:gd name="connsiteX108" fmla="*/ 9196860 w 11273159"/>
              <a:gd name="connsiteY108" fmla="*/ 2690813 h 2774295"/>
              <a:gd name="connsiteX109" fmla="*/ 9194479 w 11273159"/>
              <a:gd name="connsiteY109" fmla="*/ 2695014 h 2774295"/>
              <a:gd name="connsiteX110" fmla="*/ 9402830 w 11273159"/>
              <a:gd name="connsiteY110" fmla="*/ 2774295 h 2774295"/>
              <a:gd name="connsiteX111" fmla="*/ 9610644 w 11273159"/>
              <a:gd name="connsiteY111" fmla="*/ 2693616 h 2774295"/>
              <a:gd name="connsiteX112" fmla="*/ 9609031 w 11273159"/>
              <a:gd name="connsiteY112" fmla="*/ 2690813 h 2774295"/>
              <a:gd name="connsiteX113" fmla="*/ 9612488 w 11273159"/>
              <a:gd name="connsiteY113" fmla="*/ 2690813 h 2774295"/>
              <a:gd name="connsiteX114" fmla="*/ 9610107 w 11273159"/>
              <a:gd name="connsiteY114" fmla="*/ 2695014 h 2774295"/>
              <a:gd name="connsiteX115" fmla="*/ 9818458 w 11273159"/>
              <a:gd name="connsiteY115" fmla="*/ 2774295 h 2774295"/>
              <a:gd name="connsiteX116" fmla="*/ 10026272 w 11273159"/>
              <a:gd name="connsiteY116" fmla="*/ 2693616 h 2774295"/>
              <a:gd name="connsiteX117" fmla="*/ 10024659 w 11273159"/>
              <a:gd name="connsiteY117" fmla="*/ 2690813 h 2774295"/>
              <a:gd name="connsiteX118" fmla="*/ 10028117 w 11273159"/>
              <a:gd name="connsiteY118" fmla="*/ 2690813 h 2774295"/>
              <a:gd name="connsiteX119" fmla="*/ 10025736 w 11273159"/>
              <a:gd name="connsiteY119" fmla="*/ 2695014 h 2774295"/>
              <a:gd name="connsiteX120" fmla="*/ 10234087 w 11273159"/>
              <a:gd name="connsiteY120" fmla="*/ 2774295 h 2774295"/>
              <a:gd name="connsiteX121" fmla="*/ 10441901 w 11273159"/>
              <a:gd name="connsiteY121" fmla="*/ 2693616 h 2774295"/>
              <a:gd name="connsiteX122" fmla="*/ 10440288 w 11273159"/>
              <a:gd name="connsiteY122" fmla="*/ 2690813 h 2774295"/>
              <a:gd name="connsiteX123" fmla="*/ 10443745 w 11273159"/>
              <a:gd name="connsiteY123" fmla="*/ 2690813 h 2774295"/>
              <a:gd name="connsiteX124" fmla="*/ 10441365 w 11273159"/>
              <a:gd name="connsiteY124" fmla="*/ 2695014 h 2774295"/>
              <a:gd name="connsiteX125" fmla="*/ 10649716 w 11273159"/>
              <a:gd name="connsiteY125" fmla="*/ 2774295 h 2774295"/>
              <a:gd name="connsiteX126" fmla="*/ 10857530 w 11273159"/>
              <a:gd name="connsiteY126" fmla="*/ 2693616 h 2774295"/>
              <a:gd name="connsiteX127" fmla="*/ 10855917 w 11273159"/>
              <a:gd name="connsiteY127" fmla="*/ 2690813 h 2774295"/>
              <a:gd name="connsiteX128" fmla="*/ 10859374 w 11273159"/>
              <a:gd name="connsiteY128" fmla="*/ 2690813 h 2774295"/>
              <a:gd name="connsiteX129" fmla="*/ 10856994 w 11273159"/>
              <a:gd name="connsiteY129" fmla="*/ 2695014 h 2774295"/>
              <a:gd name="connsiteX130" fmla="*/ 11065345 w 11273159"/>
              <a:gd name="connsiteY130" fmla="*/ 2774295 h 2774295"/>
              <a:gd name="connsiteX131" fmla="*/ 11273159 w 11273159"/>
              <a:gd name="connsiteY131" fmla="*/ 2693616 h 2774295"/>
              <a:gd name="connsiteX132" fmla="*/ 11252200 w 11273159"/>
              <a:gd name="connsiteY132" fmla="*/ 2657201 h 2774295"/>
              <a:gd name="connsiteX133" fmla="*/ 11252200 w 11273159"/>
              <a:gd name="connsiteY133" fmla="*/ 0 h 2774295"/>
              <a:gd name="connsiteX134" fmla="*/ 0 w 11273159"/>
              <a:gd name="connsiteY134" fmla="*/ 0 h 2774295"/>
              <a:gd name="connsiteX135" fmla="*/ 0 w 11273159"/>
              <a:gd name="connsiteY135" fmla="*/ 2690813 h 2774295"/>
              <a:gd name="connsiteX136" fmla="*/ 53027 w 11273159"/>
              <a:gd name="connsiteY136" fmla="*/ 2690813 h 2774295"/>
              <a:gd name="connsiteX137" fmla="*/ 50646 w 11273159"/>
              <a:gd name="connsiteY137" fmla="*/ 2695014 h 27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73159" h="2774295">
                <a:moveTo>
                  <a:pt x="258996" y="2774295"/>
                </a:moveTo>
                <a:lnTo>
                  <a:pt x="466810" y="2693616"/>
                </a:lnTo>
                <a:lnTo>
                  <a:pt x="465197" y="2690813"/>
                </a:lnTo>
                <a:lnTo>
                  <a:pt x="468655" y="2690813"/>
                </a:lnTo>
                <a:lnTo>
                  <a:pt x="466274" y="2695014"/>
                </a:lnTo>
                <a:lnTo>
                  <a:pt x="674625" y="2774295"/>
                </a:lnTo>
                <a:lnTo>
                  <a:pt x="882440" y="2693616"/>
                </a:lnTo>
                <a:lnTo>
                  <a:pt x="880827" y="2690813"/>
                </a:lnTo>
                <a:lnTo>
                  <a:pt x="884284" y="2690813"/>
                </a:lnTo>
                <a:lnTo>
                  <a:pt x="881903" y="2695014"/>
                </a:lnTo>
                <a:lnTo>
                  <a:pt x="1090254" y="2774295"/>
                </a:lnTo>
                <a:lnTo>
                  <a:pt x="1298068" y="2693616"/>
                </a:lnTo>
                <a:lnTo>
                  <a:pt x="1296455" y="2690813"/>
                </a:lnTo>
                <a:lnTo>
                  <a:pt x="1299913" y="2690813"/>
                </a:lnTo>
                <a:lnTo>
                  <a:pt x="1297532" y="2695014"/>
                </a:lnTo>
                <a:lnTo>
                  <a:pt x="1505884" y="2774295"/>
                </a:lnTo>
                <a:lnTo>
                  <a:pt x="1713697" y="2693616"/>
                </a:lnTo>
                <a:lnTo>
                  <a:pt x="1712084" y="2690813"/>
                </a:lnTo>
                <a:lnTo>
                  <a:pt x="1715542" y="2690813"/>
                </a:lnTo>
                <a:lnTo>
                  <a:pt x="1713161" y="2695014"/>
                </a:lnTo>
                <a:lnTo>
                  <a:pt x="1921512" y="2774295"/>
                </a:lnTo>
                <a:lnTo>
                  <a:pt x="2129326" y="2693616"/>
                </a:lnTo>
                <a:lnTo>
                  <a:pt x="2127713" y="2690813"/>
                </a:lnTo>
                <a:lnTo>
                  <a:pt x="2131170" y="2690813"/>
                </a:lnTo>
                <a:lnTo>
                  <a:pt x="2128789" y="2695014"/>
                </a:lnTo>
                <a:lnTo>
                  <a:pt x="2337140" y="2774295"/>
                </a:lnTo>
                <a:lnTo>
                  <a:pt x="2544954" y="2693616"/>
                </a:lnTo>
                <a:lnTo>
                  <a:pt x="2543341" y="2690813"/>
                </a:lnTo>
                <a:lnTo>
                  <a:pt x="2546799" y="2690813"/>
                </a:lnTo>
                <a:lnTo>
                  <a:pt x="2544418" y="2695014"/>
                </a:lnTo>
                <a:lnTo>
                  <a:pt x="2752768" y="2774295"/>
                </a:lnTo>
                <a:lnTo>
                  <a:pt x="2960583" y="2693616"/>
                </a:lnTo>
                <a:lnTo>
                  <a:pt x="2958970" y="2690813"/>
                </a:lnTo>
                <a:lnTo>
                  <a:pt x="2962427" y="2690813"/>
                </a:lnTo>
                <a:lnTo>
                  <a:pt x="2960046" y="2695014"/>
                </a:lnTo>
                <a:lnTo>
                  <a:pt x="3168398" y="2774295"/>
                </a:lnTo>
                <a:lnTo>
                  <a:pt x="3376212" y="2693616"/>
                </a:lnTo>
                <a:lnTo>
                  <a:pt x="3374599" y="2690813"/>
                </a:lnTo>
                <a:lnTo>
                  <a:pt x="3378057" y="2690813"/>
                </a:lnTo>
                <a:lnTo>
                  <a:pt x="3375676" y="2695014"/>
                </a:lnTo>
                <a:lnTo>
                  <a:pt x="3584026" y="2774295"/>
                </a:lnTo>
                <a:lnTo>
                  <a:pt x="3791839" y="2693616"/>
                </a:lnTo>
                <a:lnTo>
                  <a:pt x="3790226" y="2690813"/>
                </a:lnTo>
                <a:lnTo>
                  <a:pt x="3793684" y="2690813"/>
                </a:lnTo>
                <a:lnTo>
                  <a:pt x="3791303" y="2695014"/>
                </a:lnTo>
                <a:lnTo>
                  <a:pt x="3999654" y="2774295"/>
                </a:lnTo>
                <a:lnTo>
                  <a:pt x="4207468" y="2693616"/>
                </a:lnTo>
                <a:lnTo>
                  <a:pt x="4205855" y="2690813"/>
                </a:lnTo>
                <a:lnTo>
                  <a:pt x="4209313" y="2690813"/>
                </a:lnTo>
                <a:lnTo>
                  <a:pt x="4206932" y="2695014"/>
                </a:lnTo>
                <a:lnTo>
                  <a:pt x="4415283" y="2774295"/>
                </a:lnTo>
                <a:lnTo>
                  <a:pt x="4623098" y="2693616"/>
                </a:lnTo>
                <a:lnTo>
                  <a:pt x="4621484" y="2690813"/>
                </a:lnTo>
                <a:lnTo>
                  <a:pt x="4624942" y="2690813"/>
                </a:lnTo>
                <a:lnTo>
                  <a:pt x="4622561" y="2695014"/>
                </a:lnTo>
                <a:lnTo>
                  <a:pt x="4830912" y="2774295"/>
                </a:lnTo>
                <a:lnTo>
                  <a:pt x="5038726" y="2693616"/>
                </a:lnTo>
                <a:lnTo>
                  <a:pt x="5037113" y="2690813"/>
                </a:lnTo>
                <a:lnTo>
                  <a:pt x="5040571" y="2690813"/>
                </a:lnTo>
                <a:lnTo>
                  <a:pt x="5038190" y="2695014"/>
                </a:lnTo>
                <a:lnTo>
                  <a:pt x="5246541" y="2774295"/>
                </a:lnTo>
                <a:lnTo>
                  <a:pt x="5454355" y="2693616"/>
                </a:lnTo>
                <a:lnTo>
                  <a:pt x="5452742" y="2690813"/>
                </a:lnTo>
                <a:lnTo>
                  <a:pt x="5456200" y="2690813"/>
                </a:lnTo>
                <a:lnTo>
                  <a:pt x="5453819" y="2695014"/>
                </a:lnTo>
                <a:lnTo>
                  <a:pt x="5662170" y="2774295"/>
                </a:lnTo>
                <a:lnTo>
                  <a:pt x="5869984" y="2693616"/>
                </a:lnTo>
                <a:lnTo>
                  <a:pt x="5868371" y="2690813"/>
                </a:lnTo>
                <a:lnTo>
                  <a:pt x="5871828" y="2690813"/>
                </a:lnTo>
                <a:lnTo>
                  <a:pt x="5869447" y="2695014"/>
                </a:lnTo>
                <a:lnTo>
                  <a:pt x="6077798" y="2774295"/>
                </a:lnTo>
                <a:lnTo>
                  <a:pt x="6285612" y="2693616"/>
                </a:lnTo>
                <a:lnTo>
                  <a:pt x="6283999" y="2690813"/>
                </a:lnTo>
                <a:lnTo>
                  <a:pt x="6287457" y="2690813"/>
                </a:lnTo>
                <a:lnTo>
                  <a:pt x="6285076" y="2695014"/>
                </a:lnTo>
                <a:lnTo>
                  <a:pt x="6493427" y="2774295"/>
                </a:lnTo>
                <a:lnTo>
                  <a:pt x="6701241" y="2693616"/>
                </a:lnTo>
                <a:lnTo>
                  <a:pt x="6699628" y="2690813"/>
                </a:lnTo>
                <a:lnTo>
                  <a:pt x="6703086" y="2690813"/>
                </a:lnTo>
                <a:lnTo>
                  <a:pt x="6700705" y="2695014"/>
                </a:lnTo>
                <a:lnTo>
                  <a:pt x="6909056" y="2774295"/>
                </a:lnTo>
                <a:lnTo>
                  <a:pt x="7116870" y="2693616"/>
                </a:lnTo>
                <a:lnTo>
                  <a:pt x="7115257" y="2690813"/>
                </a:lnTo>
                <a:lnTo>
                  <a:pt x="7118715" y="2690813"/>
                </a:lnTo>
                <a:lnTo>
                  <a:pt x="7116334" y="2695014"/>
                </a:lnTo>
                <a:lnTo>
                  <a:pt x="7324685" y="2774295"/>
                </a:lnTo>
                <a:lnTo>
                  <a:pt x="7532499" y="2693616"/>
                </a:lnTo>
                <a:lnTo>
                  <a:pt x="7530886" y="2690813"/>
                </a:lnTo>
                <a:lnTo>
                  <a:pt x="7534344" y="2690813"/>
                </a:lnTo>
                <a:lnTo>
                  <a:pt x="7531963" y="2695014"/>
                </a:lnTo>
                <a:lnTo>
                  <a:pt x="7740314" y="2774295"/>
                </a:lnTo>
                <a:lnTo>
                  <a:pt x="7948128" y="2693616"/>
                </a:lnTo>
                <a:lnTo>
                  <a:pt x="7946515" y="2690813"/>
                </a:lnTo>
                <a:lnTo>
                  <a:pt x="7949972" y="2690813"/>
                </a:lnTo>
                <a:lnTo>
                  <a:pt x="7947592" y="2695014"/>
                </a:lnTo>
                <a:lnTo>
                  <a:pt x="8155943" y="2774295"/>
                </a:lnTo>
                <a:lnTo>
                  <a:pt x="8363757" y="2693616"/>
                </a:lnTo>
                <a:lnTo>
                  <a:pt x="8362144" y="2690813"/>
                </a:lnTo>
                <a:lnTo>
                  <a:pt x="8365601" y="2690813"/>
                </a:lnTo>
                <a:lnTo>
                  <a:pt x="8363221" y="2695014"/>
                </a:lnTo>
                <a:lnTo>
                  <a:pt x="8571572" y="2774295"/>
                </a:lnTo>
                <a:lnTo>
                  <a:pt x="8779386" y="2693616"/>
                </a:lnTo>
                <a:lnTo>
                  <a:pt x="8777773" y="2690813"/>
                </a:lnTo>
                <a:lnTo>
                  <a:pt x="8781230" y="2690813"/>
                </a:lnTo>
                <a:lnTo>
                  <a:pt x="8778850" y="2695014"/>
                </a:lnTo>
                <a:lnTo>
                  <a:pt x="8987201" y="2774295"/>
                </a:lnTo>
                <a:lnTo>
                  <a:pt x="9195015" y="2693616"/>
                </a:lnTo>
                <a:lnTo>
                  <a:pt x="9193402" y="2690813"/>
                </a:lnTo>
                <a:lnTo>
                  <a:pt x="9196860" y="2690813"/>
                </a:lnTo>
                <a:lnTo>
                  <a:pt x="9194479" y="2695014"/>
                </a:lnTo>
                <a:lnTo>
                  <a:pt x="9402830" y="2774295"/>
                </a:lnTo>
                <a:lnTo>
                  <a:pt x="9610644" y="2693616"/>
                </a:lnTo>
                <a:lnTo>
                  <a:pt x="9609031" y="2690813"/>
                </a:lnTo>
                <a:lnTo>
                  <a:pt x="9612488" y="2690813"/>
                </a:lnTo>
                <a:lnTo>
                  <a:pt x="9610107" y="2695014"/>
                </a:lnTo>
                <a:lnTo>
                  <a:pt x="9818458" y="2774295"/>
                </a:lnTo>
                <a:lnTo>
                  <a:pt x="10026272" y="2693616"/>
                </a:lnTo>
                <a:lnTo>
                  <a:pt x="10024659" y="2690813"/>
                </a:lnTo>
                <a:lnTo>
                  <a:pt x="10028117" y="2690813"/>
                </a:lnTo>
                <a:lnTo>
                  <a:pt x="10025736" y="2695014"/>
                </a:lnTo>
                <a:lnTo>
                  <a:pt x="10234087" y="2774295"/>
                </a:lnTo>
                <a:lnTo>
                  <a:pt x="10441901" y="2693616"/>
                </a:lnTo>
                <a:lnTo>
                  <a:pt x="10440288" y="2690813"/>
                </a:lnTo>
                <a:lnTo>
                  <a:pt x="10443745" y="2690813"/>
                </a:lnTo>
                <a:lnTo>
                  <a:pt x="10441365" y="2695014"/>
                </a:lnTo>
                <a:lnTo>
                  <a:pt x="10649716" y="2774295"/>
                </a:lnTo>
                <a:lnTo>
                  <a:pt x="10857530" y="2693616"/>
                </a:lnTo>
                <a:lnTo>
                  <a:pt x="10855917" y="2690813"/>
                </a:lnTo>
                <a:lnTo>
                  <a:pt x="10859374" y="2690813"/>
                </a:lnTo>
                <a:lnTo>
                  <a:pt x="10856994" y="2695014"/>
                </a:lnTo>
                <a:lnTo>
                  <a:pt x="11065345" y="2774295"/>
                </a:lnTo>
                <a:lnTo>
                  <a:pt x="11273159" y="2693616"/>
                </a:lnTo>
                <a:lnTo>
                  <a:pt x="11252200" y="2657201"/>
                </a:lnTo>
                <a:lnTo>
                  <a:pt x="11252200" y="0"/>
                </a:lnTo>
                <a:lnTo>
                  <a:pt x="0" y="0"/>
                </a:lnTo>
                <a:lnTo>
                  <a:pt x="0" y="2690813"/>
                </a:lnTo>
                <a:lnTo>
                  <a:pt x="53027" y="2690813"/>
                </a:lnTo>
                <a:lnTo>
                  <a:pt x="50646" y="2695014"/>
                </a:lnTo>
                <a:close/>
              </a:path>
            </a:pathLst>
          </a:custGeom>
          <a:solidFill>
            <a:srgbClr val="007CB0">
              <a:alpha val="29804"/>
            </a:srgb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376679612"/>
      </p:ext>
    </p:extLst>
  </p:cSld>
  <p:clrMapOvr>
    <a:masterClrMapping/>
  </p:clrMapOvr>
  <p:transition>
    <p:fade/>
  </p:transition>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Group 74">
            <a:extLst>
              <a:ext uri="{FF2B5EF4-FFF2-40B4-BE49-F238E27FC236}">
                <a16:creationId xmlns:a16="http://schemas.microsoft.com/office/drawing/2014/main" id="{3FDF55BC-5CFC-40B9-BC3B-26EE13A384B8}"/>
              </a:ext>
            </a:extLst>
          </p:cNvPr>
          <p:cNvGrpSpPr/>
          <p:nvPr/>
        </p:nvGrpSpPr>
        <p:grpSpPr>
          <a:xfrm>
            <a:off x="1969565" y="2205077"/>
            <a:ext cx="8318087" cy="3161499"/>
            <a:chOff x="568738" y="1741458"/>
            <a:chExt cx="11312038" cy="4299426"/>
          </a:xfrm>
        </p:grpSpPr>
        <p:sp>
          <p:nvSpPr>
            <p:cNvPr id="4" name="Oval 3">
              <a:extLst>
                <a:ext uri="{FF2B5EF4-FFF2-40B4-BE49-F238E27FC236}">
                  <a16:creationId xmlns:a16="http://schemas.microsoft.com/office/drawing/2014/main" id="{3FF7C580-D355-4762-863C-AAB8C900B464}"/>
                </a:ext>
              </a:extLst>
            </p:cNvPr>
            <p:cNvSpPr/>
            <p:nvPr/>
          </p:nvSpPr>
          <p:spPr bwMode="gray">
            <a:xfrm>
              <a:off x="597366" y="5761926"/>
              <a:ext cx="2434589" cy="155897"/>
            </a:xfrm>
            <a:prstGeom prst="ellipse">
              <a:avLst/>
            </a:prstGeom>
            <a:solidFill>
              <a:schemeClr val="tx1">
                <a:lumMod val="85000"/>
                <a:lumOff val="1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grpSp>
          <p:nvGrpSpPr>
            <p:cNvPr id="5" name="Group 4">
              <a:extLst>
                <a:ext uri="{FF2B5EF4-FFF2-40B4-BE49-F238E27FC236}">
                  <a16:creationId xmlns:a16="http://schemas.microsoft.com/office/drawing/2014/main" id="{016A22B2-3F73-424E-8869-87DB1F064A69}"/>
                </a:ext>
              </a:extLst>
            </p:cNvPr>
            <p:cNvGrpSpPr/>
            <p:nvPr/>
          </p:nvGrpSpPr>
          <p:grpSpPr>
            <a:xfrm>
              <a:off x="568738" y="2366380"/>
              <a:ext cx="3874406" cy="2990769"/>
              <a:chOff x="659493" y="2168155"/>
              <a:chExt cx="3874406" cy="2990769"/>
            </a:xfrm>
          </p:grpSpPr>
          <p:sp>
            <p:nvSpPr>
              <p:cNvPr id="6" name="Rectangle: Rounded Corners 5">
                <a:extLst>
                  <a:ext uri="{FF2B5EF4-FFF2-40B4-BE49-F238E27FC236}">
                    <a16:creationId xmlns:a16="http://schemas.microsoft.com/office/drawing/2014/main" id="{85925F31-1D36-42FE-B83F-0DEEF87D5FDD}"/>
                  </a:ext>
                </a:extLst>
              </p:cNvPr>
              <p:cNvSpPr/>
              <p:nvPr/>
            </p:nvSpPr>
            <p:spPr bwMode="gray">
              <a:xfrm rot="19800000" flipH="1">
                <a:off x="2492655" y="4250635"/>
                <a:ext cx="304800" cy="908289"/>
              </a:xfrm>
              <a:prstGeom prst="roundRect">
                <a:avLst>
                  <a:gd name="adj" fmla="val 50000"/>
                </a:avLst>
              </a:prstGeom>
              <a:noFill/>
              <a:ln w="28575" algn="ctr">
                <a:solidFill>
                  <a:schemeClr val="bg1">
                    <a:lumMod val="8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sp>
            <p:nvSpPr>
              <p:cNvPr id="7" name="Rectangle: Rounded Corners 6">
                <a:extLst>
                  <a:ext uri="{FF2B5EF4-FFF2-40B4-BE49-F238E27FC236}">
                    <a16:creationId xmlns:a16="http://schemas.microsoft.com/office/drawing/2014/main" id="{CDE65C94-CA87-4B85-8021-37E9E6DC9925}"/>
                  </a:ext>
                </a:extLst>
              </p:cNvPr>
              <p:cNvSpPr/>
              <p:nvPr/>
            </p:nvSpPr>
            <p:spPr bwMode="gray">
              <a:xfrm rot="1800000">
                <a:off x="921998" y="4250635"/>
                <a:ext cx="304800" cy="908289"/>
              </a:xfrm>
              <a:prstGeom prst="roundRect">
                <a:avLst>
                  <a:gd name="adj" fmla="val 50000"/>
                </a:avLst>
              </a:prstGeom>
              <a:noFill/>
              <a:ln w="28575" algn="ctr">
                <a:solidFill>
                  <a:schemeClr val="bg1">
                    <a:lumMod val="8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grpSp>
            <p:nvGrpSpPr>
              <p:cNvPr id="8" name="Group 7">
                <a:extLst>
                  <a:ext uri="{FF2B5EF4-FFF2-40B4-BE49-F238E27FC236}">
                    <a16:creationId xmlns:a16="http://schemas.microsoft.com/office/drawing/2014/main" id="{41703326-4C58-43AA-9CC1-093145807C2F}"/>
                  </a:ext>
                </a:extLst>
              </p:cNvPr>
              <p:cNvGrpSpPr/>
              <p:nvPr/>
            </p:nvGrpSpPr>
            <p:grpSpPr>
              <a:xfrm>
                <a:off x="685800" y="2362200"/>
                <a:ext cx="2434590" cy="2434590"/>
                <a:chOff x="1295400" y="2438400"/>
                <a:chExt cx="1981200" cy="1981200"/>
              </a:xfrm>
            </p:grpSpPr>
            <p:sp>
              <p:nvSpPr>
                <p:cNvPr id="22" name="Oval 21">
                  <a:extLst>
                    <a:ext uri="{FF2B5EF4-FFF2-40B4-BE49-F238E27FC236}">
                      <a16:creationId xmlns:a16="http://schemas.microsoft.com/office/drawing/2014/main" id="{80C9731E-9916-4C2E-9823-5C4B1C714198}"/>
                    </a:ext>
                  </a:extLst>
                </p:cNvPr>
                <p:cNvSpPr/>
                <p:nvPr/>
              </p:nvSpPr>
              <p:spPr bwMode="gray">
                <a:xfrm>
                  <a:off x="1295400" y="2438400"/>
                  <a:ext cx="1981200" cy="1981200"/>
                </a:xfrm>
                <a:prstGeom prst="ellipse">
                  <a:avLst/>
                </a:prstGeom>
                <a:solidFill>
                  <a:schemeClr val="tx1"/>
                </a:solidFill>
                <a:ln w="28575"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sp>
              <p:nvSpPr>
                <p:cNvPr id="23" name="Oval 22">
                  <a:extLst>
                    <a:ext uri="{FF2B5EF4-FFF2-40B4-BE49-F238E27FC236}">
                      <a16:creationId xmlns:a16="http://schemas.microsoft.com/office/drawing/2014/main" id="{8289E004-84E1-4312-80E3-2E8A5FC4E285}"/>
                    </a:ext>
                  </a:extLst>
                </p:cNvPr>
                <p:cNvSpPr/>
                <p:nvPr/>
              </p:nvSpPr>
              <p:spPr bwMode="gray">
                <a:xfrm>
                  <a:off x="2034540" y="3177540"/>
                  <a:ext cx="502920" cy="502920"/>
                </a:xfrm>
                <a:prstGeom prst="ellipse">
                  <a:avLst/>
                </a:prstGeom>
                <a:noFill/>
                <a:ln w="28575"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sp>
              <p:nvSpPr>
                <p:cNvPr id="24" name="Oval 23">
                  <a:extLst>
                    <a:ext uri="{FF2B5EF4-FFF2-40B4-BE49-F238E27FC236}">
                      <a16:creationId xmlns:a16="http://schemas.microsoft.com/office/drawing/2014/main" id="{6385F4FD-CAD5-4B5A-847B-CDDCE2F01375}"/>
                    </a:ext>
                  </a:extLst>
                </p:cNvPr>
                <p:cNvSpPr/>
                <p:nvPr/>
              </p:nvSpPr>
              <p:spPr bwMode="gray">
                <a:xfrm>
                  <a:off x="1611630" y="2739390"/>
                  <a:ext cx="1348740" cy="1348740"/>
                </a:xfrm>
                <a:prstGeom prst="ellipse">
                  <a:avLst/>
                </a:prstGeom>
                <a:noFill/>
                <a:ln w="28575"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grpSp>
          <p:grpSp>
            <p:nvGrpSpPr>
              <p:cNvPr id="9" name="Group 8">
                <a:extLst>
                  <a:ext uri="{FF2B5EF4-FFF2-40B4-BE49-F238E27FC236}">
                    <a16:creationId xmlns:a16="http://schemas.microsoft.com/office/drawing/2014/main" id="{AAEE802B-5D66-4D71-B031-963FB9E573FC}"/>
                  </a:ext>
                </a:extLst>
              </p:cNvPr>
              <p:cNvGrpSpPr/>
              <p:nvPr/>
            </p:nvGrpSpPr>
            <p:grpSpPr>
              <a:xfrm rot="19800000">
                <a:off x="1688245" y="2692226"/>
                <a:ext cx="2667000" cy="457200"/>
                <a:chOff x="4038600" y="2133600"/>
                <a:chExt cx="2667000" cy="457200"/>
              </a:xfrm>
            </p:grpSpPr>
            <p:cxnSp>
              <p:nvCxnSpPr>
                <p:cNvPr id="19" name="Straight Connector 18">
                  <a:extLst>
                    <a:ext uri="{FF2B5EF4-FFF2-40B4-BE49-F238E27FC236}">
                      <a16:creationId xmlns:a16="http://schemas.microsoft.com/office/drawing/2014/main" id="{7F40ACAB-9E01-48A7-8ECC-47B464A55E02}"/>
                    </a:ext>
                  </a:extLst>
                </p:cNvPr>
                <p:cNvCxnSpPr/>
                <p:nvPr/>
              </p:nvCxnSpPr>
              <p:spPr>
                <a:xfrm>
                  <a:off x="4038600" y="2362200"/>
                  <a:ext cx="2532062" cy="0"/>
                </a:xfrm>
                <a:prstGeom prst="line">
                  <a:avLst/>
                </a:prstGeom>
                <a:noFill/>
                <a:ln w="28575" cap="rnd" algn="ctr">
                  <a:solidFill>
                    <a:schemeClr val="accent1"/>
                  </a:solidFill>
                  <a:round/>
                  <a:headEnd/>
                  <a:tailEnd/>
                </a:ln>
              </p:spPr>
            </p:cxnSp>
            <p:sp>
              <p:nvSpPr>
                <p:cNvPr id="20" name="Parallelogram 19">
                  <a:extLst>
                    <a:ext uri="{FF2B5EF4-FFF2-40B4-BE49-F238E27FC236}">
                      <a16:creationId xmlns:a16="http://schemas.microsoft.com/office/drawing/2014/main" id="{10B05C21-4C93-424A-8DDC-FE04663EF43F}"/>
                    </a:ext>
                  </a:extLst>
                </p:cNvPr>
                <p:cNvSpPr/>
                <p:nvPr/>
              </p:nvSpPr>
              <p:spPr bwMode="gray">
                <a:xfrm>
                  <a:off x="6005513" y="2133600"/>
                  <a:ext cx="700087" cy="228600"/>
                </a:xfrm>
                <a:prstGeom prst="parallelogram">
                  <a:avLst>
                    <a:gd name="adj" fmla="val 50000"/>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sp>
              <p:nvSpPr>
                <p:cNvPr id="21" name="Parallelogram 20">
                  <a:extLst>
                    <a:ext uri="{FF2B5EF4-FFF2-40B4-BE49-F238E27FC236}">
                      <a16:creationId xmlns:a16="http://schemas.microsoft.com/office/drawing/2014/main" id="{188CC261-5C4F-408A-8EBF-58F5310CACCC}"/>
                    </a:ext>
                  </a:extLst>
                </p:cNvPr>
                <p:cNvSpPr/>
                <p:nvPr/>
              </p:nvSpPr>
              <p:spPr bwMode="gray">
                <a:xfrm flipV="1">
                  <a:off x="6005512" y="2362200"/>
                  <a:ext cx="700087" cy="228600"/>
                </a:xfrm>
                <a:prstGeom prst="parallelogram">
                  <a:avLst>
                    <a:gd name="adj" fmla="val 50000"/>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grpSp>
          <p:grpSp>
            <p:nvGrpSpPr>
              <p:cNvPr id="10" name="Group 9">
                <a:extLst>
                  <a:ext uri="{FF2B5EF4-FFF2-40B4-BE49-F238E27FC236}">
                    <a16:creationId xmlns:a16="http://schemas.microsoft.com/office/drawing/2014/main" id="{848FB0AB-EFE5-47AC-BE25-A704D664B21D}"/>
                  </a:ext>
                </a:extLst>
              </p:cNvPr>
              <p:cNvGrpSpPr/>
              <p:nvPr/>
            </p:nvGrpSpPr>
            <p:grpSpPr>
              <a:xfrm>
                <a:off x="1866899" y="3358977"/>
                <a:ext cx="2667000" cy="457200"/>
                <a:chOff x="4038600" y="2133600"/>
                <a:chExt cx="2667000" cy="457200"/>
              </a:xfrm>
            </p:grpSpPr>
            <p:cxnSp>
              <p:nvCxnSpPr>
                <p:cNvPr id="16" name="Straight Connector 15">
                  <a:extLst>
                    <a:ext uri="{FF2B5EF4-FFF2-40B4-BE49-F238E27FC236}">
                      <a16:creationId xmlns:a16="http://schemas.microsoft.com/office/drawing/2014/main" id="{6D99AB40-5E31-486E-BA14-64296F92F25D}"/>
                    </a:ext>
                  </a:extLst>
                </p:cNvPr>
                <p:cNvCxnSpPr/>
                <p:nvPr/>
              </p:nvCxnSpPr>
              <p:spPr>
                <a:xfrm>
                  <a:off x="4038600" y="2362200"/>
                  <a:ext cx="2532062" cy="0"/>
                </a:xfrm>
                <a:prstGeom prst="line">
                  <a:avLst/>
                </a:prstGeom>
                <a:noFill/>
                <a:ln w="28575" cap="rnd" algn="ctr">
                  <a:solidFill>
                    <a:srgbClr val="00A3E0"/>
                  </a:solidFill>
                  <a:round/>
                  <a:headEnd/>
                  <a:tailEnd/>
                </a:ln>
              </p:spPr>
            </p:cxnSp>
            <p:sp>
              <p:nvSpPr>
                <p:cNvPr id="17" name="Parallelogram 16">
                  <a:extLst>
                    <a:ext uri="{FF2B5EF4-FFF2-40B4-BE49-F238E27FC236}">
                      <a16:creationId xmlns:a16="http://schemas.microsoft.com/office/drawing/2014/main" id="{9B5A5172-31B2-45D5-99BA-E92BFC76827D}"/>
                    </a:ext>
                  </a:extLst>
                </p:cNvPr>
                <p:cNvSpPr/>
                <p:nvPr/>
              </p:nvSpPr>
              <p:spPr bwMode="gray">
                <a:xfrm>
                  <a:off x="6005513" y="2133600"/>
                  <a:ext cx="700087" cy="228600"/>
                </a:xfrm>
                <a:prstGeom prst="parallelogram">
                  <a:avLst>
                    <a:gd name="adj" fmla="val 50000"/>
                  </a:avLst>
                </a:prstGeom>
                <a:noFill/>
                <a:ln w="28575"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sp>
              <p:nvSpPr>
                <p:cNvPr id="18" name="Parallelogram 17">
                  <a:extLst>
                    <a:ext uri="{FF2B5EF4-FFF2-40B4-BE49-F238E27FC236}">
                      <a16:creationId xmlns:a16="http://schemas.microsoft.com/office/drawing/2014/main" id="{E9C8C470-011C-4E58-A4A8-A7B6C17F0B72}"/>
                    </a:ext>
                  </a:extLst>
                </p:cNvPr>
                <p:cNvSpPr/>
                <p:nvPr/>
              </p:nvSpPr>
              <p:spPr bwMode="gray">
                <a:xfrm flipV="1">
                  <a:off x="6005512" y="2362200"/>
                  <a:ext cx="700087" cy="228600"/>
                </a:xfrm>
                <a:prstGeom prst="parallelogram">
                  <a:avLst>
                    <a:gd name="adj" fmla="val 50000"/>
                  </a:avLst>
                </a:prstGeom>
                <a:noFill/>
                <a:ln w="28575"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grpSp>
          <p:grpSp>
            <p:nvGrpSpPr>
              <p:cNvPr id="11" name="Group 10">
                <a:extLst>
                  <a:ext uri="{FF2B5EF4-FFF2-40B4-BE49-F238E27FC236}">
                    <a16:creationId xmlns:a16="http://schemas.microsoft.com/office/drawing/2014/main" id="{E7C31819-E4FD-4BAE-BE94-266D70284A54}"/>
                  </a:ext>
                </a:extLst>
              </p:cNvPr>
              <p:cNvGrpSpPr/>
              <p:nvPr/>
            </p:nvGrpSpPr>
            <p:grpSpPr>
              <a:xfrm>
                <a:off x="1138237" y="2949799"/>
                <a:ext cx="217405" cy="217405"/>
                <a:chOff x="999196" y="3207345"/>
                <a:chExt cx="217405" cy="217405"/>
              </a:xfrm>
            </p:grpSpPr>
            <p:sp>
              <p:nvSpPr>
                <p:cNvPr id="14" name="Oval 13">
                  <a:extLst>
                    <a:ext uri="{FF2B5EF4-FFF2-40B4-BE49-F238E27FC236}">
                      <a16:creationId xmlns:a16="http://schemas.microsoft.com/office/drawing/2014/main" id="{A38B1A3D-EE6B-402D-BE02-61CD508A4E73}"/>
                    </a:ext>
                  </a:extLst>
                </p:cNvPr>
                <p:cNvSpPr/>
                <p:nvPr/>
              </p:nvSpPr>
              <p:spPr bwMode="gray">
                <a:xfrm>
                  <a:off x="999196" y="3207345"/>
                  <a:ext cx="217405" cy="217405"/>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sp>
              <p:nvSpPr>
                <p:cNvPr id="15" name="Oval 14">
                  <a:extLst>
                    <a:ext uri="{FF2B5EF4-FFF2-40B4-BE49-F238E27FC236}">
                      <a16:creationId xmlns:a16="http://schemas.microsoft.com/office/drawing/2014/main" id="{D376E21E-9EEF-42A0-A352-31542851E56C}"/>
                    </a:ext>
                  </a:extLst>
                </p:cNvPr>
                <p:cNvSpPr/>
                <p:nvPr/>
              </p:nvSpPr>
              <p:spPr bwMode="gray">
                <a:xfrm>
                  <a:off x="1073262" y="3281411"/>
                  <a:ext cx="69273" cy="6927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grpSp>
          <p:sp>
            <p:nvSpPr>
              <p:cNvPr id="12" name="Oval 34">
                <a:extLst>
                  <a:ext uri="{FF2B5EF4-FFF2-40B4-BE49-F238E27FC236}">
                    <a16:creationId xmlns:a16="http://schemas.microsoft.com/office/drawing/2014/main" id="{0636F221-16FA-475F-BBFE-D92514801E62}"/>
                  </a:ext>
                </a:extLst>
              </p:cNvPr>
              <p:cNvSpPr/>
              <p:nvPr/>
            </p:nvSpPr>
            <p:spPr bwMode="gray">
              <a:xfrm rot="442473">
                <a:off x="659493" y="2168155"/>
                <a:ext cx="1339025" cy="1339025"/>
              </a:xfrm>
              <a:custGeom>
                <a:avLst/>
                <a:gdLst>
                  <a:gd name="connsiteX0" fmla="*/ 0 w 2678049"/>
                  <a:gd name="connsiteY0" fmla="*/ 1339025 h 2678049"/>
                  <a:gd name="connsiteX1" fmla="*/ 1339025 w 2678049"/>
                  <a:gd name="connsiteY1" fmla="*/ 0 h 2678049"/>
                  <a:gd name="connsiteX2" fmla="*/ 2678050 w 2678049"/>
                  <a:gd name="connsiteY2" fmla="*/ 1339025 h 2678049"/>
                  <a:gd name="connsiteX3" fmla="*/ 1339025 w 2678049"/>
                  <a:gd name="connsiteY3" fmla="*/ 2678050 h 2678049"/>
                  <a:gd name="connsiteX4" fmla="*/ 0 w 2678049"/>
                  <a:gd name="connsiteY4" fmla="*/ 1339025 h 2678049"/>
                  <a:gd name="connsiteX0" fmla="*/ 2678050 w 2769490"/>
                  <a:gd name="connsiteY0" fmla="*/ 1339025 h 2678050"/>
                  <a:gd name="connsiteX1" fmla="*/ 1339025 w 2769490"/>
                  <a:gd name="connsiteY1" fmla="*/ 2678050 h 2678050"/>
                  <a:gd name="connsiteX2" fmla="*/ 0 w 2769490"/>
                  <a:gd name="connsiteY2" fmla="*/ 1339025 h 2678050"/>
                  <a:gd name="connsiteX3" fmla="*/ 1339025 w 2769490"/>
                  <a:gd name="connsiteY3" fmla="*/ 0 h 2678050"/>
                  <a:gd name="connsiteX4" fmla="*/ 2769490 w 2769490"/>
                  <a:gd name="connsiteY4" fmla="*/ 1430465 h 2678050"/>
                  <a:gd name="connsiteX0" fmla="*/ 2678050 w 2678050"/>
                  <a:gd name="connsiteY0" fmla="*/ 1339025 h 2678050"/>
                  <a:gd name="connsiteX1" fmla="*/ 1339025 w 2678050"/>
                  <a:gd name="connsiteY1" fmla="*/ 2678050 h 2678050"/>
                  <a:gd name="connsiteX2" fmla="*/ 0 w 2678050"/>
                  <a:gd name="connsiteY2" fmla="*/ 1339025 h 2678050"/>
                  <a:gd name="connsiteX3" fmla="*/ 1339025 w 2678050"/>
                  <a:gd name="connsiteY3" fmla="*/ 0 h 2678050"/>
                  <a:gd name="connsiteX0" fmla="*/ 1339025 w 1339025"/>
                  <a:gd name="connsiteY0" fmla="*/ 2678050 h 2678050"/>
                  <a:gd name="connsiteX1" fmla="*/ 0 w 1339025"/>
                  <a:gd name="connsiteY1" fmla="*/ 1339025 h 2678050"/>
                  <a:gd name="connsiteX2" fmla="*/ 1339025 w 1339025"/>
                  <a:gd name="connsiteY2" fmla="*/ 0 h 2678050"/>
                  <a:gd name="connsiteX0" fmla="*/ 0 w 1339025"/>
                  <a:gd name="connsiteY0" fmla="*/ 1339025 h 1339025"/>
                  <a:gd name="connsiteX1" fmla="*/ 1339025 w 1339025"/>
                  <a:gd name="connsiteY1" fmla="*/ 0 h 1339025"/>
                </a:gdLst>
                <a:ahLst/>
                <a:cxnLst>
                  <a:cxn ang="0">
                    <a:pos x="connsiteX0" y="connsiteY0"/>
                  </a:cxn>
                  <a:cxn ang="0">
                    <a:pos x="connsiteX1" y="connsiteY1"/>
                  </a:cxn>
                </a:cxnLst>
                <a:rect l="l" t="t" r="r" b="b"/>
                <a:pathLst>
                  <a:path w="1339025" h="1339025">
                    <a:moveTo>
                      <a:pt x="0" y="1339025"/>
                    </a:moveTo>
                    <a:cubicBezTo>
                      <a:pt x="0" y="599502"/>
                      <a:pt x="599502" y="0"/>
                      <a:pt x="1339025" y="0"/>
                    </a:cubicBezTo>
                  </a:path>
                </a:pathLst>
              </a:custGeom>
              <a:noFill/>
              <a:ln w="25400" cap="rnd" algn="ctr">
                <a:solidFill>
                  <a:srgbClr val="53565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sp>
            <p:nvSpPr>
              <p:cNvPr id="13" name="Oval 34">
                <a:extLst>
                  <a:ext uri="{FF2B5EF4-FFF2-40B4-BE49-F238E27FC236}">
                    <a16:creationId xmlns:a16="http://schemas.microsoft.com/office/drawing/2014/main" id="{289EAAA3-E6FA-42D4-B4A9-D3D93A97F600}"/>
                  </a:ext>
                </a:extLst>
              </p:cNvPr>
              <p:cNvSpPr/>
              <p:nvPr/>
            </p:nvSpPr>
            <p:spPr bwMode="gray">
              <a:xfrm rot="14242252">
                <a:off x="1653917" y="2927854"/>
                <a:ext cx="1106632" cy="2213265"/>
              </a:xfrm>
              <a:custGeom>
                <a:avLst/>
                <a:gdLst>
                  <a:gd name="connsiteX0" fmla="*/ 0 w 2678049"/>
                  <a:gd name="connsiteY0" fmla="*/ 1339025 h 2678049"/>
                  <a:gd name="connsiteX1" fmla="*/ 1339025 w 2678049"/>
                  <a:gd name="connsiteY1" fmla="*/ 0 h 2678049"/>
                  <a:gd name="connsiteX2" fmla="*/ 2678050 w 2678049"/>
                  <a:gd name="connsiteY2" fmla="*/ 1339025 h 2678049"/>
                  <a:gd name="connsiteX3" fmla="*/ 1339025 w 2678049"/>
                  <a:gd name="connsiteY3" fmla="*/ 2678050 h 2678049"/>
                  <a:gd name="connsiteX4" fmla="*/ 0 w 2678049"/>
                  <a:gd name="connsiteY4" fmla="*/ 1339025 h 2678049"/>
                  <a:gd name="connsiteX0" fmla="*/ 2678050 w 2769490"/>
                  <a:gd name="connsiteY0" fmla="*/ 1339025 h 2678050"/>
                  <a:gd name="connsiteX1" fmla="*/ 1339025 w 2769490"/>
                  <a:gd name="connsiteY1" fmla="*/ 2678050 h 2678050"/>
                  <a:gd name="connsiteX2" fmla="*/ 0 w 2769490"/>
                  <a:gd name="connsiteY2" fmla="*/ 1339025 h 2678050"/>
                  <a:gd name="connsiteX3" fmla="*/ 1339025 w 2769490"/>
                  <a:gd name="connsiteY3" fmla="*/ 0 h 2678050"/>
                  <a:gd name="connsiteX4" fmla="*/ 2769490 w 2769490"/>
                  <a:gd name="connsiteY4" fmla="*/ 1430465 h 2678050"/>
                  <a:gd name="connsiteX0" fmla="*/ 2678050 w 2678050"/>
                  <a:gd name="connsiteY0" fmla="*/ 1339025 h 2678050"/>
                  <a:gd name="connsiteX1" fmla="*/ 1339025 w 2678050"/>
                  <a:gd name="connsiteY1" fmla="*/ 2678050 h 2678050"/>
                  <a:gd name="connsiteX2" fmla="*/ 0 w 2678050"/>
                  <a:gd name="connsiteY2" fmla="*/ 1339025 h 2678050"/>
                  <a:gd name="connsiteX3" fmla="*/ 1339025 w 2678050"/>
                  <a:gd name="connsiteY3" fmla="*/ 0 h 2678050"/>
                  <a:gd name="connsiteX0" fmla="*/ 1339025 w 1339025"/>
                  <a:gd name="connsiteY0" fmla="*/ 2678050 h 2678050"/>
                  <a:gd name="connsiteX1" fmla="*/ 0 w 1339025"/>
                  <a:gd name="connsiteY1" fmla="*/ 1339025 h 2678050"/>
                  <a:gd name="connsiteX2" fmla="*/ 1339025 w 1339025"/>
                  <a:gd name="connsiteY2" fmla="*/ 0 h 2678050"/>
                </a:gdLst>
                <a:ahLst/>
                <a:cxnLst>
                  <a:cxn ang="0">
                    <a:pos x="connsiteX0" y="connsiteY0"/>
                  </a:cxn>
                  <a:cxn ang="0">
                    <a:pos x="connsiteX1" y="connsiteY1"/>
                  </a:cxn>
                  <a:cxn ang="0">
                    <a:pos x="connsiteX2" y="connsiteY2"/>
                  </a:cxn>
                </a:cxnLst>
                <a:rect l="l" t="t" r="r" b="b"/>
                <a:pathLst>
                  <a:path w="1339025" h="2678050">
                    <a:moveTo>
                      <a:pt x="1339025" y="2678050"/>
                    </a:moveTo>
                    <a:cubicBezTo>
                      <a:pt x="599502" y="2678050"/>
                      <a:pt x="0" y="2078548"/>
                      <a:pt x="0" y="1339025"/>
                    </a:cubicBezTo>
                    <a:cubicBezTo>
                      <a:pt x="0" y="599502"/>
                      <a:pt x="599502" y="0"/>
                      <a:pt x="1339025" y="0"/>
                    </a:cubicBezTo>
                  </a:path>
                </a:pathLst>
              </a:custGeom>
              <a:noFill/>
              <a:ln w="25400" cap="rnd" algn="ctr">
                <a:solidFill>
                  <a:srgbClr val="53565A"/>
                </a:solidFill>
                <a:prstDash val="sysDot"/>
                <a:round/>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grpSp>
        <p:sp>
          <p:nvSpPr>
            <p:cNvPr id="25" name="Text Placeholder 5">
              <a:extLst>
                <a:ext uri="{FF2B5EF4-FFF2-40B4-BE49-F238E27FC236}">
                  <a16:creationId xmlns:a16="http://schemas.microsoft.com/office/drawing/2014/main" id="{DA1AE1BE-8B22-4740-ACA8-7E805DD6D462}"/>
                </a:ext>
              </a:extLst>
            </p:cNvPr>
            <p:cNvSpPr txBox="1">
              <a:spLocks/>
            </p:cNvSpPr>
            <p:nvPr/>
          </p:nvSpPr>
          <p:spPr>
            <a:xfrm>
              <a:off x="5965506" y="1741458"/>
              <a:ext cx="5915270" cy="157141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106000"/>
                </a:lnSpc>
              </a:pPr>
              <a:r>
                <a:rPr lang="en-GB" sz="2400" b="1" dirty="0">
                  <a:solidFill>
                    <a:schemeClr val="bg1"/>
                  </a:solidFill>
                </a:rPr>
                <a:t>Lorem ipsum </a:t>
              </a:r>
              <a:r>
                <a:rPr lang="en-GB" sz="2400" b="1" dirty="0" err="1">
                  <a:solidFill>
                    <a:schemeClr val="bg1"/>
                  </a:solidFill>
                </a:rPr>
                <a:t>dolor</a:t>
              </a:r>
              <a:r>
                <a:rPr lang="en-GB" sz="2400" b="1" dirty="0">
                  <a:solidFill>
                    <a:schemeClr val="bg1"/>
                  </a:solidFill>
                </a:rPr>
                <a:t> sit Lorem ipsum </a:t>
              </a:r>
              <a:r>
                <a:rPr lang="en-GB" sz="2400" b="1" dirty="0" err="1">
                  <a:solidFill>
                    <a:schemeClr val="bg1"/>
                  </a:solidFill>
                </a:rPr>
                <a:t>dolor</a:t>
              </a:r>
              <a:r>
                <a:rPr lang="en-GB" sz="2400" b="1" dirty="0">
                  <a:solidFill>
                    <a:schemeClr val="bg1"/>
                  </a:solidFill>
                </a:rPr>
                <a:t> sit </a:t>
              </a:r>
            </a:p>
          </p:txBody>
        </p:sp>
        <p:sp>
          <p:nvSpPr>
            <p:cNvPr id="26" name="Text Placeholder 5">
              <a:extLst>
                <a:ext uri="{FF2B5EF4-FFF2-40B4-BE49-F238E27FC236}">
                  <a16:creationId xmlns:a16="http://schemas.microsoft.com/office/drawing/2014/main" id="{40ADA178-686D-466F-9722-F99778CF31DD}"/>
                </a:ext>
              </a:extLst>
            </p:cNvPr>
            <p:cNvSpPr txBox="1">
              <a:spLocks/>
            </p:cNvSpPr>
            <p:nvPr/>
          </p:nvSpPr>
          <p:spPr>
            <a:xfrm>
              <a:off x="4898164" y="3514812"/>
              <a:ext cx="4744312" cy="157441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106000"/>
                </a:lnSpc>
              </a:pPr>
              <a:r>
                <a:rPr lang="en-GB" sz="2400" dirty="0">
                  <a:solidFill>
                    <a:schemeClr val="bg1"/>
                  </a:solidFill>
                </a:rPr>
                <a:t>Lorem ipsum </a:t>
              </a:r>
              <a:r>
                <a:rPr lang="en-GB" sz="2400" dirty="0" err="1">
                  <a:solidFill>
                    <a:schemeClr val="bg1"/>
                  </a:solidFill>
                </a:rPr>
                <a:t>dolor</a:t>
              </a:r>
              <a:r>
                <a:rPr lang="en-GB" sz="2400" dirty="0">
                  <a:solidFill>
                    <a:schemeClr val="bg1"/>
                  </a:solidFill>
                </a:rPr>
                <a:t> sit Lorem ipsum </a:t>
              </a:r>
              <a:r>
                <a:rPr lang="en-GB" sz="2400" dirty="0" err="1">
                  <a:solidFill>
                    <a:schemeClr val="bg1"/>
                  </a:solidFill>
                </a:rPr>
                <a:t>dolor</a:t>
              </a:r>
              <a:r>
                <a:rPr lang="en-GB" sz="2400" dirty="0">
                  <a:solidFill>
                    <a:schemeClr val="bg1"/>
                  </a:solidFill>
                </a:rPr>
                <a:t> sit Lorem ipsum </a:t>
              </a:r>
              <a:r>
                <a:rPr lang="en-GB" sz="2400" dirty="0" err="1">
                  <a:solidFill>
                    <a:schemeClr val="bg1"/>
                  </a:solidFill>
                </a:rPr>
                <a:t>dolor</a:t>
              </a:r>
              <a:r>
                <a:rPr lang="en-GB" sz="2400" dirty="0">
                  <a:solidFill>
                    <a:schemeClr val="bg1"/>
                  </a:solidFill>
                </a:rPr>
                <a:t> sit </a:t>
              </a:r>
            </a:p>
          </p:txBody>
        </p:sp>
        <p:grpSp>
          <p:nvGrpSpPr>
            <p:cNvPr id="27" name="Group 26">
              <a:extLst>
                <a:ext uri="{FF2B5EF4-FFF2-40B4-BE49-F238E27FC236}">
                  <a16:creationId xmlns:a16="http://schemas.microsoft.com/office/drawing/2014/main" id="{6E185354-8E25-4D09-B6F1-EDC6A1060E7F}"/>
                </a:ext>
              </a:extLst>
            </p:cNvPr>
            <p:cNvGrpSpPr/>
            <p:nvPr/>
          </p:nvGrpSpPr>
          <p:grpSpPr>
            <a:xfrm>
              <a:off x="4800600" y="1743045"/>
              <a:ext cx="983190" cy="669562"/>
              <a:chOff x="977503" y="-2703512"/>
              <a:chExt cx="2756297" cy="1851887"/>
            </a:xfrm>
          </p:grpSpPr>
          <p:sp>
            <p:nvSpPr>
              <p:cNvPr id="28" name="Freeform 8">
                <a:extLst>
                  <a:ext uri="{FF2B5EF4-FFF2-40B4-BE49-F238E27FC236}">
                    <a16:creationId xmlns:a16="http://schemas.microsoft.com/office/drawing/2014/main" id="{8EE67DBB-F33F-464E-9C5B-EA4BA6571B65}"/>
                  </a:ext>
                </a:extLst>
              </p:cNvPr>
              <p:cNvSpPr>
                <a:spLocks noEditPoints="1"/>
              </p:cNvSpPr>
              <p:nvPr/>
            </p:nvSpPr>
            <p:spPr bwMode="auto">
              <a:xfrm>
                <a:off x="977503" y="-2703512"/>
                <a:ext cx="2756297" cy="1851887"/>
              </a:xfrm>
              <a:custGeom>
                <a:avLst/>
                <a:gdLst>
                  <a:gd name="T0" fmla="*/ 2974 w 4096"/>
                  <a:gd name="T1" fmla="*/ 368 h 2752"/>
                  <a:gd name="T2" fmla="*/ 2562 w 4096"/>
                  <a:gd name="T3" fmla="*/ 102 h 2752"/>
                  <a:gd name="T4" fmla="*/ 2050 w 4096"/>
                  <a:gd name="T5" fmla="*/ 0 h 2752"/>
                  <a:gd name="T6" fmla="*/ 1370 w 4096"/>
                  <a:gd name="T7" fmla="*/ 184 h 2752"/>
                  <a:gd name="T8" fmla="*/ 1514 w 4096"/>
                  <a:gd name="T9" fmla="*/ 244 h 2752"/>
                  <a:gd name="T10" fmla="*/ 1354 w 4096"/>
                  <a:gd name="T11" fmla="*/ 608 h 2752"/>
                  <a:gd name="T12" fmla="*/ 712 w 4096"/>
                  <a:gd name="T13" fmla="*/ 1214 h 2752"/>
                  <a:gd name="T14" fmla="*/ 828 w 4096"/>
                  <a:gd name="T15" fmla="*/ 1278 h 2752"/>
                  <a:gd name="T16" fmla="*/ 1222 w 4096"/>
                  <a:gd name="T17" fmla="*/ 1446 h 2752"/>
                  <a:gd name="T18" fmla="*/ 916 w 4096"/>
                  <a:gd name="T19" fmla="*/ 1626 h 2752"/>
                  <a:gd name="T20" fmla="*/ 698 w 4096"/>
                  <a:gd name="T21" fmla="*/ 1660 h 2752"/>
                  <a:gd name="T22" fmla="*/ 298 w 4096"/>
                  <a:gd name="T23" fmla="*/ 2024 h 2752"/>
                  <a:gd name="T24" fmla="*/ 98 w 4096"/>
                  <a:gd name="T25" fmla="*/ 2012 h 2752"/>
                  <a:gd name="T26" fmla="*/ 0 w 4096"/>
                  <a:gd name="T27" fmla="*/ 2178 h 2752"/>
                  <a:gd name="T28" fmla="*/ 116 w 4096"/>
                  <a:gd name="T29" fmla="*/ 2352 h 2752"/>
                  <a:gd name="T30" fmla="*/ 644 w 4096"/>
                  <a:gd name="T31" fmla="*/ 2534 h 2752"/>
                  <a:gd name="T32" fmla="*/ 726 w 4096"/>
                  <a:gd name="T33" fmla="*/ 2718 h 2752"/>
                  <a:gd name="T34" fmla="*/ 920 w 4096"/>
                  <a:gd name="T35" fmla="*/ 2728 h 2752"/>
                  <a:gd name="T36" fmla="*/ 1018 w 4096"/>
                  <a:gd name="T37" fmla="*/ 2562 h 2752"/>
                  <a:gd name="T38" fmla="*/ 904 w 4096"/>
                  <a:gd name="T39" fmla="*/ 2388 h 2752"/>
                  <a:gd name="T40" fmla="*/ 374 w 4096"/>
                  <a:gd name="T41" fmla="*/ 2206 h 2752"/>
                  <a:gd name="T42" fmla="*/ 830 w 4096"/>
                  <a:gd name="T43" fmla="*/ 1982 h 2752"/>
                  <a:gd name="T44" fmla="*/ 1280 w 4096"/>
                  <a:gd name="T45" fmla="*/ 1856 h 2752"/>
                  <a:gd name="T46" fmla="*/ 1568 w 4096"/>
                  <a:gd name="T47" fmla="*/ 2442 h 2752"/>
                  <a:gd name="T48" fmla="*/ 1212 w 4096"/>
                  <a:gd name="T49" fmla="*/ 2236 h 2752"/>
                  <a:gd name="T50" fmla="*/ 1028 w 4096"/>
                  <a:gd name="T51" fmla="*/ 2218 h 2752"/>
                  <a:gd name="T52" fmla="*/ 1412 w 4096"/>
                  <a:gd name="T53" fmla="*/ 2526 h 2752"/>
                  <a:gd name="T54" fmla="*/ 1882 w 4096"/>
                  <a:gd name="T55" fmla="*/ 2676 h 2752"/>
                  <a:gd name="T56" fmla="*/ 2464 w 4096"/>
                  <a:gd name="T57" fmla="*/ 2622 h 2752"/>
                  <a:gd name="T58" fmla="*/ 3012 w 4096"/>
                  <a:gd name="T59" fmla="*/ 2282 h 2752"/>
                  <a:gd name="T60" fmla="*/ 3344 w 4096"/>
                  <a:gd name="T61" fmla="*/ 1708 h 2752"/>
                  <a:gd name="T62" fmla="*/ 766 w 4096"/>
                  <a:gd name="T63" fmla="*/ 276 h 2752"/>
                  <a:gd name="T64" fmla="*/ 174 w 4096"/>
                  <a:gd name="T65" fmla="*/ 2110 h 2752"/>
                  <a:gd name="T66" fmla="*/ 256 w 4096"/>
                  <a:gd name="T67" fmla="*/ 2192 h 2752"/>
                  <a:gd name="T68" fmla="*/ 140 w 4096"/>
                  <a:gd name="T69" fmla="*/ 2226 h 2752"/>
                  <a:gd name="T70" fmla="*/ 868 w 4096"/>
                  <a:gd name="T71" fmla="*/ 2620 h 2752"/>
                  <a:gd name="T72" fmla="*/ 762 w 4096"/>
                  <a:gd name="T73" fmla="*/ 2562 h 2752"/>
                  <a:gd name="T74" fmla="*/ 856 w 4096"/>
                  <a:gd name="T75" fmla="*/ 2500 h 2752"/>
                  <a:gd name="T76" fmla="*/ 792 w 4096"/>
                  <a:gd name="T77" fmla="*/ 1848 h 2752"/>
                  <a:gd name="T78" fmla="*/ 804 w 4096"/>
                  <a:gd name="T79" fmla="*/ 1730 h 2752"/>
                  <a:gd name="T80" fmla="*/ 898 w 4096"/>
                  <a:gd name="T81" fmla="*/ 1792 h 2752"/>
                  <a:gd name="T82" fmla="*/ 2106 w 4096"/>
                  <a:gd name="T83" fmla="*/ 958 h 2752"/>
                  <a:gd name="T84" fmla="*/ 2740 w 4096"/>
                  <a:gd name="T85" fmla="*/ 1640 h 2752"/>
                  <a:gd name="T86" fmla="*/ 2588 w 4096"/>
                  <a:gd name="T87" fmla="*/ 2138 h 2752"/>
                  <a:gd name="T88" fmla="*/ 2314 w 4096"/>
                  <a:gd name="T89" fmla="*/ 2478 h 2752"/>
                  <a:gd name="T90" fmla="*/ 2138 w 4096"/>
                  <a:gd name="T91" fmla="*/ 130 h 2752"/>
                  <a:gd name="T92" fmla="*/ 2472 w 4096"/>
                  <a:gd name="T93" fmla="*/ 364 h 2752"/>
                  <a:gd name="T94" fmla="*/ 2696 w 4096"/>
                  <a:gd name="T95" fmla="*/ 838 h 2752"/>
                  <a:gd name="T96" fmla="*/ 1782 w 4096"/>
                  <a:gd name="T97" fmla="*/ 210 h 2752"/>
                  <a:gd name="T98" fmla="*/ 1434 w 4096"/>
                  <a:gd name="T99" fmla="*/ 738 h 2752"/>
                  <a:gd name="T100" fmla="*/ 1354 w 4096"/>
                  <a:gd name="T101" fmla="*/ 1098 h 2752"/>
                  <a:gd name="T102" fmla="*/ 1340 w 4096"/>
                  <a:gd name="T103" fmla="*/ 1346 h 2752"/>
                  <a:gd name="T104" fmla="*/ 1756 w 4096"/>
                  <a:gd name="T105" fmla="*/ 2458 h 2752"/>
                  <a:gd name="T106" fmla="*/ 1488 w 4096"/>
                  <a:gd name="T107" fmla="*/ 2092 h 2752"/>
                  <a:gd name="T108" fmla="*/ 2680 w 4096"/>
                  <a:gd name="T109" fmla="*/ 2394 h 2752"/>
                  <a:gd name="T110" fmla="*/ 2700 w 4096"/>
                  <a:gd name="T111" fmla="*/ 2186 h 2752"/>
                  <a:gd name="T112" fmla="*/ 3030 w 4096"/>
                  <a:gd name="T113" fmla="*/ 2076 h 2752"/>
                  <a:gd name="T114" fmla="*/ 2880 w 4096"/>
                  <a:gd name="T115" fmla="*/ 1344 h 2752"/>
                  <a:gd name="T116" fmla="*/ 2768 w 4096"/>
                  <a:gd name="T117" fmla="*/ 664 h 2752"/>
                  <a:gd name="T118" fmla="*/ 2548 w 4096"/>
                  <a:gd name="T119" fmla="*/ 226 h 2752"/>
                  <a:gd name="T120" fmla="*/ 3094 w 4096"/>
                  <a:gd name="T121" fmla="*/ 710 h 2752"/>
                  <a:gd name="T122" fmla="*/ 3070 w 4096"/>
                  <a:gd name="T123" fmla="*/ 83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96" h="2752">
                    <a:moveTo>
                      <a:pt x="3234" y="710"/>
                    </a:moveTo>
                    <a:lnTo>
                      <a:pt x="3234" y="710"/>
                    </a:lnTo>
                    <a:lnTo>
                      <a:pt x="3212" y="670"/>
                    </a:lnTo>
                    <a:lnTo>
                      <a:pt x="3190" y="632"/>
                    </a:lnTo>
                    <a:lnTo>
                      <a:pt x="3166" y="596"/>
                    </a:lnTo>
                    <a:lnTo>
                      <a:pt x="3142" y="560"/>
                    </a:lnTo>
                    <a:lnTo>
                      <a:pt x="3118" y="526"/>
                    </a:lnTo>
                    <a:lnTo>
                      <a:pt x="3090" y="492"/>
                    </a:lnTo>
                    <a:lnTo>
                      <a:pt x="3064" y="460"/>
                    </a:lnTo>
                    <a:lnTo>
                      <a:pt x="3034" y="428"/>
                    </a:lnTo>
                    <a:lnTo>
                      <a:pt x="3006" y="398"/>
                    </a:lnTo>
                    <a:lnTo>
                      <a:pt x="2974" y="368"/>
                    </a:lnTo>
                    <a:lnTo>
                      <a:pt x="2944" y="340"/>
                    </a:lnTo>
                    <a:lnTo>
                      <a:pt x="2910" y="312"/>
                    </a:lnTo>
                    <a:lnTo>
                      <a:pt x="2878" y="286"/>
                    </a:lnTo>
                    <a:lnTo>
                      <a:pt x="2844" y="260"/>
                    </a:lnTo>
                    <a:lnTo>
                      <a:pt x="2808" y="236"/>
                    </a:lnTo>
                    <a:lnTo>
                      <a:pt x="2772" y="212"/>
                    </a:lnTo>
                    <a:lnTo>
                      <a:pt x="2772" y="212"/>
                    </a:lnTo>
                    <a:lnTo>
                      <a:pt x="2732" y="186"/>
                    </a:lnTo>
                    <a:lnTo>
                      <a:pt x="2690" y="162"/>
                    </a:lnTo>
                    <a:lnTo>
                      <a:pt x="2648" y="140"/>
                    </a:lnTo>
                    <a:lnTo>
                      <a:pt x="2604" y="120"/>
                    </a:lnTo>
                    <a:lnTo>
                      <a:pt x="2562" y="102"/>
                    </a:lnTo>
                    <a:lnTo>
                      <a:pt x="2518" y="84"/>
                    </a:lnTo>
                    <a:lnTo>
                      <a:pt x="2472" y="68"/>
                    </a:lnTo>
                    <a:lnTo>
                      <a:pt x="2426" y="54"/>
                    </a:lnTo>
                    <a:lnTo>
                      <a:pt x="2382" y="42"/>
                    </a:lnTo>
                    <a:lnTo>
                      <a:pt x="2334" y="30"/>
                    </a:lnTo>
                    <a:lnTo>
                      <a:pt x="2288" y="22"/>
                    </a:lnTo>
                    <a:lnTo>
                      <a:pt x="2242" y="14"/>
                    </a:lnTo>
                    <a:lnTo>
                      <a:pt x="2194" y="8"/>
                    </a:lnTo>
                    <a:lnTo>
                      <a:pt x="2146" y="4"/>
                    </a:lnTo>
                    <a:lnTo>
                      <a:pt x="2098" y="0"/>
                    </a:lnTo>
                    <a:lnTo>
                      <a:pt x="2050" y="0"/>
                    </a:lnTo>
                    <a:lnTo>
                      <a:pt x="2050" y="0"/>
                    </a:lnTo>
                    <a:lnTo>
                      <a:pt x="1990" y="2"/>
                    </a:lnTo>
                    <a:lnTo>
                      <a:pt x="1930" y="6"/>
                    </a:lnTo>
                    <a:lnTo>
                      <a:pt x="1872" y="12"/>
                    </a:lnTo>
                    <a:lnTo>
                      <a:pt x="1812" y="22"/>
                    </a:lnTo>
                    <a:lnTo>
                      <a:pt x="1754" y="32"/>
                    </a:lnTo>
                    <a:lnTo>
                      <a:pt x="1696" y="48"/>
                    </a:lnTo>
                    <a:lnTo>
                      <a:pt x="1640" y="64"/>
                    </a:lnTo>
                    <a:lnTo>
                      <a:pt x="1584" y="84"/>
                    </a:lnTo>
                    <a:lnTo>
                      <a:pt x="1530" y="104"/>
                    </a:lnTo>
                    <a:lnTo>
                      <a:pt x="1476" y="128"/>
                    </a:lnTo>
                    <a:lnTo>
                      <a:pt x="1422" y="156"/>
                    </a:lnTo>
                    <a:lnTo>
                      <a:pt x="1370" y="184"/>
                    </a:lnTo>
                    <a:lnTo>
                      <a:pt x="1320" y="216"/>
                    </a:lnTo>
                    <a:lnTo>
                      <a:pt x="1270" y="248"/>
                    </a:lnTo>
                    <a:lnTo>
                      <a:pt x="1222" y="284"/>
                    </a:lnTo>
                    <a:lnTo>
                      <a:pt x="1176" y="322"/>
                    </a:lnTo>
                    <a:lnTo>
                      <a:pt x="1254" y="414"/>
                    </a:lnTo>
                    <a:lnTo>
                      <a:pt x="1254" y="414"/>
                    </a:lnTo>
                    <a:lnTo>
                      <a:pt x="1296" y="380"/>
                    </a:lnTo>
                    <a:lnTo>
                      <a:pt x="1336" y="350"/>
                    </a:lnTo>
                    <a:lnTo>
                      <a:pt x="1380" y="320"/>
                    </a:lnTo>
                    <a:lnTo>
                      <a:pt x="1424" y="292"/>
                    </a:lnTo>
                    <a:lnTo>
                      <a:pt x="1468" y="266"/>
                    </a:lnTo>
                    <a:lnTo>
                      <a:pt x="1514" y="244"/>
                    </a:lnTo>
                    <a:lnTo>
                      <a:pt x="1560" y="222"/>
                    </a:lnTo>
                    <a:lnTo>
                      <a:pt x="1608" y="202"/>
                    </a:lnTo>
                    <a:lnTo>
                      <a:pt x="1608" y="202"/>
                    </a:lnTo>
                    <a:lnTo>
                      <a:pt x="1568" y="246"/>
                    </a:lnTo>
                    <a:lnTo>
                      <a:pt x="1528" y="296"/>
                    </a:lnTo>
                    <a:lnTo>
                      <a:pt x="1490" y="350"/>
                    </a:lnTo>
                    <a:lnTo>
                      <a:pt x="1454" y="406"/>
                    </a:lnTo>
                    <a:lnTo>
                      <a:pt x="1454" y="406"/>
                    </a:lnTo>
                    <a:lnTo>
                      <a:pt x="1426" y="454"/>
                    </a:lnTo>
                    <a:lnTo>
                      <a:pt x="1400" y="504"/>
                    </a:lnTo>
                    <a:lnTo>
                      <a:pt x="1376" y="556"/>
                    </a:lnTo>
                    <a:lnTo>
                      <a:pt x="1354" y="608"/>
                    </a:lnTo>
                    <a:lnTo>
                      <a:pt x="1332" y="664"/>
                    </a:lnTo>
                    <a:lnTo>
                      <a:pt x="1314" y="720"/>
                    </a:lnTo>
                    <a:lnTo>
                      <a:pt x="1296" y="778"/>
                    </a:lnTo>
                    <a:lnTo>
                      <a:pt x="1280" y="838"/>
                    </a:lnTo>
                    <a:lnTo>
                      <a:pt x="950" y="838"/>
                    </a:lnTo>
                    <a:lnTo>
                      <a:pt x="950" y="572"/>
                    </a:lnTo>
                    <a:lnTo>
                      <a:pt x="1232" y="572"/>
                    </a:lnTo>
                    <a:lnTo>
                      <a:pt x="766" y="106"/>
                    </a:lnTo>
                    <a:lnTo>
                      <a:pt x="300" y="572"/>
                    </a:lnTo>
                    <a:lnTo>
                      <a:pt x="574" y="572"/>
                    </a:lnTo>
                    <a:lnTo>
                      <a:pt x="574" y="1214"/>
                    </a:lnTo>
                    <a:lnTo>
                      <a:pt x="712" y="1214"/>
                    </a:lnTo>
                    <a:lnTo>
                      <a:pt x="712" y="1214"/>
                    </a:lnTo>
                    <a:lnTo>
                      <a:pt x="708" y="1278"/>
                    </a:lnTo>
                    <a:lnTo>
                      <a:pt x="706" y="1344"/>
                    </a:lnTo>
                    <a:lnTo>
                      <a:pt x="706" y="1344"/>
                    </a:lnTo>
                    <a:lnTo>
                      <a:pt x="708" y="1412"/>
                    </a:lnTo>
                    <a:lnTo>
                      <a:pt x="712" y="1478"/>
                    </a:lnTo>
                    <a:lnTo>
                      <a:pt x="832" y="1466"/>
                    </a:lnTo>
                    <a:lnTo>
                      <a:pt x="832" y="1466"/>
                    </a:lnTo>
                    <a:lnTo>
                      <a:pt x="828" y="1406"/>
                    </a:lnTo>
                    <a:lnTo>
                      <a:pt x="826" y="1346"/>
                    </a:lnTo>
                    <a:lnTo>
                      <a:pt x="826" y="1346"/>
                    </a:lnTo>
                    <a:lnTo>
                      <a:pt x="828" y="1278"/>
                    </a:lnTo>
                    <a:lnTo>
                      <a:pt x="834" y="1214"/>
                    </a:lnTo>
                    <a:lnTo>
                      <a:pt x="950" y="1214"/>
                    </a:lnTo>
                    <a:lnTo>
                      <a:pt x="950" y="958"/>
                    </a:lnTo>
                    <a:lnTo>
                      <a:pt x="1254" y="958"/>
                    </a:lnTo>
                    <a:lnTo>
                      <a:pt x="1254" y="958"/>
                    </a:lnTo>
                    <a:lnTo>
                      <a:pt x="1246" y="1004"/>
                    </a:lnTo>
                    <a:lnTo>
                      <a:pt x="1240" y="1050"/>
                    </a:lnTo>
                    <a:lnTo>
                      <a:pt x="1228" y="1148"/>
                    </a:lnTo>
                    <a:lnTo>
                      <a:pt x="1222" y="1246"/>
                    </a:lnTo>
                    <a:lnTo>
                      <a:pt x="1220" y="1346"/>
                    </a:lnTo>
                    <a:lnTo>
                      <a:pt x="1220" y="1346"/>
                    </a:lnTo>
                    <a:lnTo>
                      <a:pt x="1222" y="1446"/>
                    </a:lnTo>
                    <a:lnTo>
                      <a:pt x="1228" y="1544"/>
                    </a:lnTo>
                    <a:lnTo>
                      <a:pt x="1240" y="1640"/>
                    </a:lnTo>
                    <a:lnTo>
                      <a:pt x="1254" y="1736"/>
                    </a:lnTo>
                    <a:lnTo>
                      <a:pt x="1010" y="1736"/>
                    </a:lnTo>
                    <a:lnTo>
                      <a:pt x="1010" y="1736"/>
                    </a:lnTo>
                    <a:lnTo>
                      <a:pt x="1004" y="1722"/>
                    </a:lnTo>
                    <a:lnTo>
                      <a:pt x="998" y="1708"/>
                    </a:lnTo>
                    <a:lnTo>
                      <a:pt x="990" y="1694"/>
                    </a:lnTo>
                    <a:lnTo>
                      <a:pt x="982" y="1682"/>
                    </a:lnTo>
                    <a:lnTo>
                      <a:pt x="964" y="1660"/>
                    </a:lnTo>
                    <a:lnTo>
                      <a:pt x="942" y="1640"/>
                    </a:lnTo>
                    <a:lnTo>
                      <a:pt x="916" y="1626"/>
                    </a:lnTo>
                    <a:lnTo>
                      <a:pt x="890" y="1614"/>
                    </a:lnTo>
                    <a:lnTo>
                      <a:pt x="860" y="1608"/>
                    </a:lnTo>
                    <a:lnTo>
                      <a:pt x="830" y="1606"/>
                    </a:lnTo>
                    <a:lnTo>
                      <a:pt x="830" y="1606"/>
                    </a:lnTo>
                    <a:lnTo>
                      <a:pt x="812" y="1606"/>
                    </a:lnTo>
                    <a:lnTo>
                      <a:pt x="792" y="1610"/>
                    </a:lnTo>
                    <a:lnTo>
                      <a:pt x="774" y="1614"/>
                    </a:lnTo>
                    <a:lnTo>
                      <a:pt x="758" y="1620"/>
                    </a:lnTo>
                    <a:lnTo>
                      <a:pt x="740" y="1628"/>
                    </a:lnTo>
                    <a:lnTo>
                      <a:pt x="726" y="1638"/>
                    </a:lnTo>
                    <a:lnTo>
                      <a:pt x="710" y="1648"/>
                    </a:lnTo>
                    <a:lnTo>
                      <a:pt x="698" y="1660"/>
                    </a:lnTo>
                    <a:lnTo>
                      <a:pt x="684" y="1674"/>
                    </a:lnTo>
                    <a:lnTo>
                      <a:pt x="674" y="1688"/>
                    </a:lnTo>
                    <a:lnTo>
                      <a:pt x="664" y="1704"/>
                    </a:lnTo>
                    <a:lnTo>
                      <a:pt x="656" y="1720"/>
                    </a:lnTo>
                    <a:lnTo>
                      <a:pt x="650" y="1738"/>
                    </a:lnTo>
                    <a:lnTo>
                      <a:pt x="646" y="1756"/>
                    </a:lnTo>
                    <a:lnTo>
                      <a:pt x="642" y="1774"/>
                    </a:lnTo>
                    <a:lnTo>
                      <a:pt x="642" y="1794"/>
                    </a:lnTo>
                    <a:lnTo>
                      <a:pt x="642" y="1794"/>
                    </a:lnTo>
                    <a:lnTo>
                      <a:pt x="644" y="1822"/>
                    </a:lnTo>
                    <a:lnTo>
                      <a:pt x="650" y="1848"/>
                    </a:lnTo>
                    <a:lnTo>
                      <a:pt x="298" y="2024"/>
                    </a:lnTo>
                    <a:lnTo>
                      <a:pt x="298" y="2024"/>
                    </a:lnTo>
                    <a:lnTo>
                      <a:pt x="274" y="2010"/>
                    </a:lnTo>
                    <a:lnTo>
                      <a:pt x="246" y="1998"/>
                    </a:lnTo>
                    <a:lnTo>
                      <a:pt x="218" y="1992"/>
                    </a:lnTo>
                    <a:lnTo>
                      <a:pt x="204" y="1990"/>
                    </a:lnTo>
                    <a:lnTo>
                      <a:pt x="188" y="1988"/>
                    </a:lnTo>
                    <a:lnTo>
                      <a:pt x="188" y="1988"/>
                    </a:lnTo>
                    <a:lnTo>
                      <a:pt x="170" y="1990"/>
                    </a:lnTo>
                    <a:lnTo>
                      <a:pt x="150" y="1992"/>
                    </a:lnTo>
                    <a:lnTo>
                      <a:pt x="132" y="1998"/>
                    </a:lnTo>
                    <a:lnTo>
                      <a:pt x="116" y="2004"/>
                    </a:lnTo>
                    <a:lnTo>
                      <a:pt x="98" y="2012"/>
                    </a:lnTo>
                    <a:lnTo>
                      <a:pt x="84" y="2022"/>
                    </a:lnTo>
                    <a:lnTo>
                      <a:pt x="68" y="2032"/>
                    </a:lnTo>
                    <a:lnTo>
                      <a:pt x="56" y="2044"/>
                    </a:lnTo>
                    <a:lnTo>
                      <a:pt x="44" y="2058"/>
                    </a:lnTo>
                    <a:lnTo>
                      <a:pt x="32" y="2072"/>
                    </a:lnTo>
                    <a:lnTo>
                      <a:pt x="22" y="2088"/>
                    </a:lnTo>
                    <a:lnTo>
                      <a:pt x="14" y="2104"/>
                    </a:lnTo>
                    <a:lnTo>
                      <a:pt x="8" y="2122"/>
                    </a:lnTo>
                    <a:lnTo>
                      <a:pt x="4" y="2140"/>
                    </a:lnTo>
                    <a:lnTo>
                      <a:pt x="0" y="2158"/>
                    </a:lnTo>
                    <a:lnTo>
                      <a:pt x="0" y="2178"/>
                    </a:lnTo>
                    <a:lnTo>
                      <a:pt x="0" y="2178"/>
                    </a:lnTo>
                    <a:lnTo>
                      <a:pt x="0" y="2196"/>
                    </a:lnTo>
                    <a:lnTo>
                      <a:pt x="4" y="2216"/>
                    </a:lnTo>
                    <a:lnTo>
                      <a:pt x="8" y="2234"/>
                    </a:lnTo>
                    <a:lnTo>
                      <a:pt x="14" y="2250"/>
                    </a:lnTo>
                    <a:lnTo>
                      <a:pt x="22" y="2268"/>
                    </a:lnTo>
                    <a:lnTo>
                      <a:pt x="32" y="2282"/>
                    </a:lnTo>
                    <a:lnTo>
                      <a:pt x="44" y="2298"/>
                    </a:lnTo>
                    <a:lnTo>
                      <a:pt x="56" y="2310"/>
                    </a:lnTo>
                    <a:lnTo>
                      <a:pt x="68" y="2322"/>
                    </a:lnTo>
                    <a:lnTo>
                      <a:pt x="84" y="2334"/>
                    </a:lnTo>
                    <a:lnTo>
                      <a:pt x="98" y="2344"/>
                    </a:lnTo>
                    <a:lnTo>
                      <a:pt x="116" y="2352"/>
                    </a:lnTo>
                    <a:lnTo>
                      <a:pt x="132" y="2358"/>
                    </a:lnTo>
                    <a:lnTo>
                      <a:pt x="150" y="2362"/>
                    </a:lnTo>
                    <a:lnTo>
                      <a:pt x="170" y="2364"/>
                    </a:lnTo>
                    <a:lnTo>
                      <a:pt x="188" y="2366"/>
                    </a:lnTo>
                    <a:lnTo>
                      <a:pt x="188" y="2366"/>
                    </a:lnTo>
                    <a:lnTo>
                      <a:pt x="218" y="2364"/>
                    </a:lnTo>
                    <a:lnTo>
                      <a:pt x="246" y="2356"/>
                    </a:lnTo>
                    <a:lnTo>
                      <a:pt x="274" y="2346"/>
                    </a:lnTo>
                    <a:lnTo>
                      <a:pt x="298" y="2332"/>
                    </a:lnTo>
                    <a:lnTo>
                      <a:pt x="650" y="2508"/>
                    </a:lnTo>
                    <a:lnTo>
                      <a:pt x="650" y="2508"/>
                    </a:lnTo>
                    <a:lnTo>
                      <a:pt x="644" y="2534"/>
                    </a:lnTo>
                    <a:lnTo>
                      <a:pt x="642" y="2562"/>
                    </a:lnTo>
                    <a:lnTo>
                      <a:pt x="642" y="2562"/>
                    </a:lnTo>
                    <a:lnTo>
                      <a:pt x="642" y="2582"/>
                    </a:lnTo>
                    <a:lnTo>
                      <a:pt x="646" y="2600"/>
                    </a:lnTo>
                    <a:lnTo>
                      <a:pt x="650" y="2618"/>
                    </a:lnTo>
                    <a:lnTo>
                      <a:pt x="656" y="2636"/>
                    </a:lnTo>
                    <a:lnTo>
                      <a:pt x="664" y="2652"/>
                    </a:lnTo>
                    <a:lnTo>
                      <a:pt x="674" y="2668"/>
                    </a:lnTo>
                    <a:lnTo>
                      <a:pt x="684" y="2682"/>
                    </a:lnTo>
                    <a:lnTo>
                      <a:pt x="698" y="2696"/>
                    </a:lnTo>
                    <a:lnTo>
                      <a:pt x="710" y="2708"/>
                    </a:lnTo>
                    <a:lnTo>
                      <a:pt x="726" y="2718"/>
                    </a:lnTo>
                    <a:lnTo>
                      <a:pt x="740" y="2728"/>
                    </a:lnTo>
                    <a:lnTo>
                      <a:pt x="758" y="2736"/>
                    </a:lnTo>
                    <a:lnTo>
                      <a:pt x="774" y="2742"/>
                    </a:lnTo>
                    <a:lnTo>
                      <a:pt x="792" y="2748"/>
                    </a:lnTo>
                    <a:lnTo>
                      <a:pt x="812" y="2750"/>
                    </a:lnTo>
                    <a:lnTo>
                      <a:pt x="830" y="2752"/>
                    </a:lnTo>
                    <a:lnTo>
                      <a:pt x="830" y="2752"/>
                    </a:lnTo>
                    <a:lnTo>
                      <a:pt x="850" y="2750"/>
                    </a:lnTo>
                    <a:lnTo>
                      <a:pt x="868" y="2748"/>
                    </a:lnTo>
                    <a:lnTo>
                      <a:pt x="886" y="2742"/>
                    </a:lnTo>
                    <a:lnTo>
                      <a:pt x="904" y="2736"/>
                    </a:lnTo>
                    <a:lnTo>
                      <a:pt x="920" y="2728"/>
                    </a:lnTo>
                    <a:lnTo>
                      <a:pt x="936" y="2718"/>
                    </a:lnTo>
                    <a:lnTo>
                      <a:pt x="950" y="2708"/>
                    </a:lnTo>
                    <a:lnTo>
                      <a:pt x="964" y="2696"/>
                    </a:lnTo>
                    <a:lnTo>
                      <a:pt x="976" y="2682"/>
                    </a:lnTo>
                    <a:lnTo>
                      <a:pt x="986" y="2668"/>
                    </a:lnTo>
                    <a:lnTo>
                      <a:pt x="996" y="2652"/>
                    </a:lnTo>
                    <a:lnTo>
                      <a:pt x="1004" y="2636"/>
                    </a:lnTo>
                    <a:lnTo>
                      <a:pt x="1010" y="2618"/>
                    </a:lnTo>
                    <a:lnTo>
                      <a:pt x="1016" y="2600"/>
                    </a:lnTo>
                    <a:lnTo>
                      <a:pt x="1018" y="2582"/>
                    </a:lnTo>
                    <a:lnTo>
                      <a:pt x="1018" y="2562"/>
                    </a:lnTo>
                    <a:lnTo>
                      <a:pt x="1018" y="2562"/>
                    </a:lnTo>
                    <a:lnTo>
                      <a:pt x="1018" y="2544"/>
                    </a:lnTo>
                    <a:lnTo>
                      <a:pt x="1016" y="2524"/>
                    </a:lnTo>
                    <a:lnTo>
                      <a:pt x="1010" y="2506"/>
                    </a:lnTo>
                    <a:lnTo>
                      <a:pt x="1004" y="2490"/>
                    </a:lnTo>
                    <a:lnTo>
                      <a:pt x="996" y="2472"/>
                    </a:lnTo>
                    <a:lnTo>
                      <a:pt x="986" y="2458"/>
                    </a:lnTo>
                    <a:lnTo>
                      <a:pt x="976" y="2442"/>
                    </a:lnTo>
                    <a:lnTo>
                      <a:pt x="964" y="2430"/>
                    </a:lnTo>
                    <a:lnTo>
                      <a:pt x="950" y="2418"/>
                    </a:lnTo>
                    <a:lnTo>
                      <a:pt x="936" y="2406"/>
                    </a:lnTo>
                    <a:lnTo>
                      <a:pt x="920" y="2396"/>
                    </a:lnTo>
                    <a:lnTo>
                      <a:pt x="904" y="2388"/>
                    </a:lnTo>
                    <a:lnTo>
                      <a:pt x="886" y="2382"/>
                    </a:lnTo>
                    <a:lnTo>
                      <a:pt x="868" y="2378"/>
                    </a:lnTo>
                    <a:lnTo>
                      <a:pt x="850" y="2374"/>
                    </a:lnTo>
                    <a:lnTo>
                      <a:pt x="830" y="2374"/>
                    </a:lnTo>
                    <a:lnTo>
                      <a:pt x="830" y="2374"/>
                    </a:lnTo>
                    <a:lnTo>
                      <a:pt x="800" y="2376"/>
                    </a:lnTo>
                    <a:lnTo>
                      <a:pt x="772" y="2384"/>
                    </a:lnTo>
                    <a:lnTo>
                      <a:pt x="746" y="2394"/>
                    </a:lnTo>
                    <a:lnTo>
                      <a:pt x="722" y="2408"/>
                    </a:lnTo>
                    <a:lnTo>
                      <a:pt x="368" y="2232"/>
                    </a:lnTo>
                    <a:lnTo>
                      <a:pt x="368" y="2232"/>
                    </a:lnTo>
                    <a:lnTo>
                      <a:pt x="374" y="2206"/>
                    </a:lnTo>
                    <a:lnTo>
                      <a:pt x="378" y="2178"/>
                    </a:lnTo>
                    <a:lnTo>
                      <a:pt x="378" y="2178"/>
                    </a:lnTo>
                    <a:lnTo>
                      <a:pt x="374" y="2150"/>
                    </a:lnTo>
                    <a:lnTo>
                      <a:pt x="368" y="2122"/>
                    </a:lnTo>
                    <a:lnTo>
                      <a:pt x="722" y="1946"/>
                    </a:lnTo>
                    <a:lnTo>
                      <a:pt x="722" y="1946"/>
                    </a:lnTo>
                    <a:lnTo>
                      <a:pt x="746" y="1962"/>
                    </a:lnTo>
                    <a:lnTo>
                      <a:pt x="772" y="1972"/>
                    </a:lnTo>
                    <a:lnTo>
                      <a:pt x="786" y="1976"/>
                    </a:lnTo>
                    <a:lnTo>
                      <a:pt x="800" y="1980"/>
                    </a:lnTo>
                    <a:lnTo>
                      <a:pt x="816" y="1982"/>
                    </a:lnTo>
                    <a:lnTo>
                      <a:pt x="830" y="1982"/>
                    </a:lnTo>
                    <a:lnTo>
                      <a:pt x="830" y="1982"/>
                    </a:lnTo>
                    <a:lnTo>
                      <a:pt x="846" y="1982"/>
                    </a:lnTo>
                    <a:lnTo>
                      <a:pt x="860" y="1980"/>
                    </a:lnTo>
                    <a:lnTo>
                      <a:pt x="890" y="1974"/>
                    </a:lnTo>
                    <a:lnTo>
                      <a:pt x="916" y="1962"/>
                    </a:lnTo>
                    <a:lnTo>
                      <a:pt x="942" y="1946"/>
                    </a:lnTo>
                    <a:lnTo>
                      <a:pt x="964" y="1928"/>
                    </a:lnTo>
                    <a:lnTo>
                      <a:pt x="982" y="1906"/>
                    </a:lnTo>
                    <a:lnTo>
                      <a:pt x="998" y="1882"/>
                    </a:lnTo>
                    <a:lnTo>
                      <a:pt x="1010" y="1856"/>
                    </a:lnTo>
                    <a:lnTo>
                      <a:pt x="1280" y="1856"/>
                    </a:lnTo>
                    <a:lnTo>
                      <a:pt x="1280" y="1856"/>
                    </a:lnTo>
                    <a:lnTo>
                      <a:pt x="1296" y="1914"/>
                    </a:lnTo>
                    <a:lnTo>
                      <a:pt x="1314" y="1970"/>
                    </a:lnTo>
                    <a:lnTo>
                      <a:pt x="1332" y="2026"/>
                    </a:lnTo>
                    <a:lnTo>
                      <a:pt x="1354" y="2080"/>
                    </a:lnTo>
                    <a:lnTo>
                      <a:pt x="1376" y="2134"/>
                    </a:lnTo>
                    <a:lnTo>
                      <a:pt x="1400" y="2186"/>
                    </a:lnTo>
                    <a:lnTo>
                      <a:pt x="1426" y="2236"/>
                    </a:lnTo>
                    <a:lnTo>
                      <a:pt x="1454" y="2284"/>
                    </a:lnTo>
                    <a:lnTo>
                      <a:pt x="1454" y="2284"/>
                    </a:lnTo>
                    <a:lnTo>
                      <a:pt x="1490" y="2340"/>
                    </a:lnTo>
                    <a:lnTo>
                      <a:pt x="1528" y="2392"/>
                    </a:lnTo>
                    <a:lnTo>
                      <a:pt x="1568" y="2442"/>
                    </a:lnTo>
                    <a:lnTo>
                      <a:pt x="1608" y="2486"/>
                    </a:lnTo>
                    <a:lnTo>
                      <a:pt x="1608" y="2486"/>
                    </a:lnTo>
                    <a:lnTo>
                      <a:pt x="1566" y="2468"/>
                    </a:lnTo>
                    <a:lnTo>
                      <a:pt x="1522" y="2448"/>
                    </a:lnTo>
                    <a:lnTo>
                      <a:pt x="1480" y="2428"/>
                    </a:lnTo>
                    <a:lnTo>
                      <a:pt x="1440" y="2404"/>
                    </a:lnTo>
                    <a:lnTo>
                      <a:pt x="1400" y="2380"/>
                    </a:lnTo>
                    <a:lnTo>
                      <a:pt x="1360" y="2354"/>
                    </a:lnTo>
                    <a:lnTo>
                      <a:pt x="1322" y="2328"/>
                    </a:lnTo>
                    <a:lnTo>
                      <a:pt x="1284" y="2298"/>
                    </a:lnTo>
                    <a:lnTo>
                      <a:pt x="1248" y="2268"/>
                    </a:lnTo>
                    <a:lnTo>
                      <a:pt x="1212" y="2236"/>
                    </a:lnTo>
                    <a:lnTo>
                      <a:pt x="1178" y="2202"/>
                    </a:lnTo>
                    <a:lnTo>
                      <a:pt x="1146" y="2168"/>
                    </a:lnTo>
                    <a:lnTo>
                      <a:pt x="1114" y="2132"/>
                    </a:lnTo>
                    <a:lnTo>
                      <a:pt x="1084" y="2096"/>
                    </a:lnTo>
                    <a:lnTo>
                      <a:pt x="1056" y="2056"/>
                    </a:lnTo>
                    <a:lnTo>
                      <a:pt x="1028" y="2016"/>
                    </a:lnTo>
                    <a:lnTo>
                      <a:pt x="928" y="2082"/>
                    </a:lnTo>
                    <a:lnTo>
                      <a:pt x="928" y="2082"/>
                    </a:lnTo>
                    <a:lnTo>
                      <a:pt x="952" y="2118"/>
                    </a:lnTo>
                    <a:lnTo>
                      <a:pt x="976" y="2152"/>
                    </a:lnTo>
                    <a:lnTo>
                      <a:pt x="1002" y="2184"/>
                    </a:lnTo>
                    <a:lnTo>
                      <a:pt x="1028" y="2218"/>
                    </a:lnTo>
                    <a:lnTo>
                      <a:pt x="1056" y="2248"/>
                    </a:lnTo>
                    <a:lnTo>
                      <a:pt x="1086" y="2278"/>
                    </a:lnTo>
                    <a:lnTo>
                      <a:pt x="1114" y="2308"/>
                    </a:lnTo>
                    <a:lnTo>
                      <a:pt x="1144" y="2336"/>
                    </a:lnTo>
                    <a:lnTo>
                      <a:pt x="1176" y="2364"/>
                    </a:lnTo>
                    <a:lnTo>
                      <a:pt x="1208" y="2390"/>
                    </a:lnTo>
                    <a:lnTo>
                      <a:pt x="1240" y="2416"/>
                    </a:lnTo>
                    <a:lnTo>
                      <a:pt x="1272" y="2440"/>
                    </a:lnTo>
                    <a:lnTo>
                      <a:pt x="1306" y="2464"/>
                    </a:lnTo>
                    <a:lnTo>
                      <a:pt x="1342" y="2486"/>
                    </a:lnTo>
                    <a:lnTo>
                      <a:pt x="1376" y="2506"/>
                    </a:lnTo>
                    <a:lnTo>
                      <a:pt x="1412" y="2526"/>
                    </a:lnTo>
                    <a:lnTo>
                      <a:pt x="1448" y="2546"/>
                    </a:lnTo>
                    <a:lnTo>
                      <a:pt x="1486" y="2564"/>
                    </a:lnTo>
                    <a:lnTo>
                      <a:pt x="1524" y="2580"/>
                    </a:lnTo>
                    <a:lnTo>
                      <a:pt x="1562" y="2596"/>
                    </a:lnTo>
                    <a:lnTo>
                      <a:pt x="1600" y="2610"/>
                    </a:lnTo>
                    <a:lnTo>
                      <a:pt x="1640" y="2624"/>
                    </a:lnTo>
                    <a:lnTo>
                      <a:pt x="1678" y="2636"/>
                    </a:lnTo>
                    <a:lnTo>
                      <a:pt x="1718" y="2646"/>
                    </a:lnTo>
                    <a:lnTo>
                      <a:pt x="1758" y="2656"/>
                    </a:lnTo>
                    <a:lnTo>
                      <a:pt x="1800" y="2664"/>
                    </a:lnTo>
                    <a:lnTo>
                      <a:pt x="1840" y="2670"/>
                    </a:lnTo>
                    <a:lnTo>
                      <a:pt x="1882" y="2676"/>
                    </a:lnTo>
                    <a:lnTo>
                      <a:pt x="1924" y="2682"/>
                    </a:lnTo>
                    <a:lnTo>
                      <a:pt x="1966" y="2684"/>
                    </a:lnTo>
                    <a:lnTo>
                      <a:pt x="2008" y="2686"/>
                    </a:lnTo>
                    <a:lnTo>
                      <a:pt x="2050" y="2686"/>
                    </a:lnTo>
                    <a:lnTo>
                      <a:pt x="2050" y="2686"/>
                    </a:lnTo>
                    <a:lnTo>
                      <a:pt x="2110" y="2686"/>
                    </a:lnTo>
                    <a:lnTo>
                      <a:pt x="2170" y="2682"/>
                    </a:lnTo>
                    <a:lnTo>
                      <a:pt x="2230" y="2676"/>
                    </a:lnTo>
                    <a:lnTo>
                      <a:pt x="2290" y="2666"/>
                    </a:lnTo>
                    <a:lnTo>
                      <a:pt x="2348" y="2654"/>
                    </a:lnTo>
                    <a:lnTo>
                      <a:pt x="2406" y="2640"/>
                    </a:lnTo>
                    <a:lnTo>
                      <a:pt x="2464" y="2622"/>
                    </a:lnTo>
                    <a:lnTo>
                      <a:pt x="2520" y="2604"/>
                    </a:lnTo>
                    <a:lnTo>
                      <a:pt x="2576" y="2582"/>
                    </a:lnTo>
                    <a:lnTo>
                      <a:pt x="2630" y="2556"/>
                    </a:lnTo>
                    <a:lnTo>
                      <a:pt x="2684" y="2530"/>
                    </a:lnTo>
                    <a:lnTo>
                      <a:pt x="2736" y="2500"/>
                    </a:lnTo>
                    <a:lnTo>
                      <a:pt x="2786" y="2470"/>
                    </a:lnTo>
                    <a:lnTo>
                      <a:pt x="2836" y="2436"/>
                    </a:lnTo>
                    <a:lnTo>
                      <a:pt x="2884" y="2398"/>
                    </a:lnTo>
                    <a:lnTo>
                      <a:pt x="2930" y="2360"/>
                    </a:lnTo>
                    <a:lnTo>
                      <a:pt x="2930" y="2360"/>
                    </a:lnTo>
                    <a:lnTo>
                      <a:pt x="2972" y="2322"/>
                    </a:lnTo>
                    <a:lnTo>
                      <a:pt x="3012" y="2282"/>
                    </a:lnTo>
                    <a:lnTo>
                      <a:pt x="3052" y="2242"/>
                    </a:lnTo>
                    <a:lnTo>
                      <a:pt x="3088" y="2198"/>
                    </a:lnTo>
                    <a:lnTo>
                      <a:pt x="3122" y="2154"/>
                    </a:lnTo>
                    <a:lnTo>
                      <a:pt x="3156" y="2108"/>
                    </a:lnTo>
                    <a:lnTo>
                      <a:pt x="3186" y="2062"/>
                    </a:lnTo>
                    <a:lnTo>
                      <a:pt x="3216" y="2014"/>
                    </a:lnTo>
                    <a:lnTo>
                      <a:pt x="3242" y="1964"/>
                    </a:lnTo>
                    <a:lnTo>
                      <a:pt x="3266" y="1914"/>
                    </a:lnTo>
                    <a:lnTo>
                      <a:pt x="3290" y="1864"/>
                    </a:lnTo>
                    <a:lnTo>
                      <a:pt x="3310" y="1812"/>
                    </a:lnTo>
                    <a:lnTo>
                      <a:pt x="3328" y="1760"/>
                    </a:lnTo>
                    <a:lnTo>
                      <a:pt x="3344" y="1708"/>
                    </a:lnTo>
                    <a:lnTo>
                      <a:pt x="3358" y="1654"/>
                    </a:lnTo>
                    <a:lnTo>
                      <a:pt x="3370" y="1600"/>
                    </a:lnTo>
                    <a:lnTo>
                      <a:pt x="3718" y="1600"/>
                    </a:lnTo>
                    <a:lnTo>
                      <a:pt x="3718" y="1938"/>
                    </a:lnTo>
                    <a:lnTo>
                      <a:pt x="4096" y="1560"/>
                    </a:lnTo>
                    <a:lnTo>
                      <a:pt x="4096" y="710"/>
                    </a:lnTo>
                    <a:lnTo>
                      <a:pt x="3234" y="710"/>
                    </a:lnTo>
                    <a:close/>
                    <a:moveTo>
                      <a:pt x="830" y="1094"/>
                    </a:moveTo>
                    <a:lnTo>
                      <a:pt x="694" y="1094"/>
                    </a:lnTo>
                    <a:lnTo>
                      <a:pt x="694" y="452"/>
                    </a:lnTo>
                    <a:lnTo>
                      <a:pt x="590" y="452"/>
                    </a:lnTo>
                    <a:lnTo>
                      <a:pt x="766" y="276"/>
                    </a:lnTo>
                    <a:lnTo>
                      <a:pt x="942" y="452"/>
                    </a:lnTo>
                    <a:lnTo>
                      <a:pt x="830" y="452"/>
                    </a:lnTo>
                    <a:lnTo>
                      <a:pt x="830" y="1094"/>
                    </a:lnTo>
                    <a:close/>
                    <a:moveTo>
                      <a:pt x="120" y="2178"/>
                    </a:moveTo>
                    <a:lnTo>
                      <a:pt x="120" y="2178"/>
                    </a:lnTo>
                    <a:lnTo>
                      <a:pt x="122" y="2164"/>
                    </a:lnTo>
                    <a:lnTo>
                      <a:pt x="126" y="2150"/>
                    </a:lnTo>
                    <a:lnTo>
                      <a:pt x="132" y="2140"/>
                    </a:lnTo>
                    <a:lnTo>
                      <a:pt x="140" y="2130"/>
                    </a:lnTo>
                    <a:lnTo>
                      <a:pt x="150" y="2120"/>
                    </a:lnTo>
                    <a:lnTo>
                      <a:pt x="162" y="2114"/>
                    </a:lnTo>
                    <a:lnTo>
                      <a:pt x="174" y="2110"/>
                    </a:lnTo>
                    <a:lnTo>
                      <a:pt x="188" y="2110"/>
                    </a:lnTo>
                    <a:lnTo>
                      <a:pt x="188" y="2110"/>
                    </a:lnTo>
                    <a:lnTo>
                      <a:pt x="202" y="2110"/>
                    </a:lnTo>
                    <a:lnTo>
                      <a:pt x="216" y="2114"/>
                    </a:lnTo>
                    <a:lnTo>
                      <a:pt x="226" y="2120"/>
                    </a:lnTo>
                    <a:lnTo>
                      <a:pt x="236" y="2130"/>
                    </a:lnTo>
                    <a:lnTo>
                      <a:pt x="246" y="2140"/>
                    </a:lnTo>
                    <a:lnTo>
                      <a:pt x="252" y="2150"/>
                    </a:lnTo>
                    <a:lnTo>
                      <a:pt x="256" y="2164"/>
                    </a:lnTo>
                    <a:lnTo>
                      <a:pt x="256" y="2178"/>
                    </a:lnTo>
                    <a:lnTo>
                      <a:pt x="256" y="2178"/>
                    </a:lnTo>
                    <a:lnTo>
                      <a:pt x="256" y="2192"/>
                    </a:lnTo>
                    <a:lnTo>
                      <a:pt x="252" y="2204"/>
                    </a:lnTo>
                    <a:lnTo>
                      <a:pt x="246" y="2216"/>
                    </a:lnTo>
                    <a:lnTo>
                      <a:pt x="236" y="2226"/>
                    </a:lnTo>
                    <a:lnTo>
                      <a:pt x="226" y="2234"/>
                    </a:lnTo>
                    <a:lnTo>
                      <a:pt x="216" y="2240"/>
                    </a:lnTo>
                    <a:lnTo>
                      <a:pt x="202" y="2244"/>
                    </a:lnTo>
                    <a:lnTo>
                      <a:pt x="188" y="2246"/>
                    </a:lnTo>
                    <a:lnTo>
                      <a:pt x="188" y="2246"/>
                    </a:lnTo>
                    <a:lnTo>
                      <a:pt x="174" y="2244"/>
                    </a:lnTo>
                    <a:lnTo>
                      <a:pt x="162" y="2240"/>
                    </a:lnTo>
                    <a:lnTo>
                      <a:pt x="150" y="2234"/>
                    </a:lnTo>
                    <a:lnTo>
                      <a:pt x="140" y="2226"/>
                    </a:lnTo>
                    <a:lnTo>
                      <a:pt x="132" y="2216"/>
                    </a:lnTo>
                    <a:lnTo>
                      <a:pt x="126" y="2204"/>
                    </a:lnTo>
                    <a:lnTo>
                      <a:pt x="122" y="2192"/>
                    </a:lnTo>
                    <a:lnTo>
                      <a:pt x="120" y="2178"/>
                    </a:lnTo>
                    <a:lnTo>
                      <a:pt x="120" y="2178"/>
                    </a:lnTo>
                    <a:close/>
                    <a:moveTo>
                      <a:pt x="898" y="2562"/>
                    </a:moveTo>
                    <a:lnTo>
                      <a:pt x="898" y="2562"/>
                    </a:lnTo>
                    <a:lnTo>
                      <a:pt x="898" y="2576"/>
                    </a:lnTo>
                    <a:lnTo>
                      <a:pt x="894" y="2590"/>
                    </a:lnTo>
                    <a:lnTo>
                      <a:pt x="886" y="2600"/>
                    </a:lnTo>
                    <a:lnTo>
                      <a:pt x="878" y="2610"/>
                    </a:lnTo>
                    <a:lnTo>
                      <a:pt x="868" y="2620"/>
                    </a:lnTo>
                    <a:lnTo>
                      <a:pt x="856" y="2626"/>
                    </a:lnTo>
                    <a:lnTo>
                      <a:pt x="844" y="2630"/>
                    </a:lnTo>
                    <a:lnTo>
                      <a:pt x="830" y="2630"/>
                    </a:lnTo>
                    <a:lnTo>
                      <a:pt x="830" y="2630"/>
                    </a:lnTo>
                    <a:lnTo>
                      <a:pt x="816" y="2630"/>
                    </a:lnTo>
                    <a:lnTo>
                      <a:pt x="804" y="2626"/>
                    </a:lnTo>
                    <a:lnTo>
                      <a:pt x="792" y="2620"/>
                    </a:lnTo>
                    <a:lnTo>
                      <a:pt x="782" y="2610"/>
                    </a:lnTo>
                    <a:lnTo>
                      <a:pt x="774" y="2600"/>
                    </a:lnTo>
                    <a:lnTo>
                      <a:pt x="768" y="2590"/>
                    </a:lnTo>
                    <a:lnTo>
                      <a:pt x="764" y="2576"/>
                    </a:lnTo>
                    <a:lnTo>
                      <a:pt x="762" y="2562"/>
                    </a:lnTo>
                    <a:lnTo>
                      <a:pt x="762" y="2562"/>
                    </a:lnTo>
                    <a:lnTo>
                      <a:pt x="764" y="2548"/>
                    </a:lnTo>
                    <a:lnTo>
                      <a:pt x="768" y="2536"/>
                    </a:lnTo>
                    <a:lnTo>
                      <a:pt x="774" y="2524"/>
                    </a:lnTo>
                    <a:lnTo>
                      <a:pt x="782" y="2514"/>
                    </a:lnTo>
                    <a:lnTo>
                      <a:pt x="792" y="2506"/>
                    </a:lnTo>
                    <a:lnTo>
                      <a:pt x="804" y="2500"/>
                    </a:lnTo>
                    <a:lnTo>
                      <a:pt x="816" y="2496"/>
                    </a:lnTo>
                    <a:lnTo>
                      <a:pt x="830" y="2494"/>
                    </a:lnTo>
                    <a:lnTo>
                      <a:pt x="830" y="2494"/>
                    </a:lnTo>
                    <a:lnTo>
                      <a:pt x="844" y="2496"/>
                    </a:lnTo>
                    <a:lnTo>
                      <a:pt x="856" y="2500"/>
                    </a:lnTo>
                    <a:lnTo>
                      <a:pt x="868" y="2506"/>
                    </a:lnTo>
                    <a:lnTo>
                      <a:pt x="878" y="2514"/>
                    </a:lnTo>
                    <a:lnTo>
                      <a:pt x="886" y="2524"/>
                    </a:lnTo>
                    <a:lnTo>
                      <a:pt x="894" y="2536"/>
                    </a:lnTo>
                    <a:lnTo>
                      <a:pt x="898" y="2548"/>
                    </a:lnTo>
                    <a:lnTo>
                      <a:pt x="898" y="2562"/>
                    </a:lnTo>
                    <a:lnTo>
                      <a:pt x="898" y="2562"/>
                    </a:lnTo>
                    <a:close/>
                    <a:moveTo>
                      <a:pt x="830" y="1860"/>
                    </a:moveTo>
                    <a:lnTo>
                      <a:pt x="830" y="1860"/>
                    </a:lnTo>
                    <a:lnTo>
                      <a:pt x="816" y="1860"/>
                    </a:lnTo>
                    <a:lnTo>
                      <a:pt x="804" y="1856"/>
                    </a:lnTo>
                    <a:lnTo>
                      <a:pt x="792" y="1848"/>
                    </a:lnTo>
                    <a:lnTo>
                      <a:pt x="782" y="1840"/>
                    </a:lnTo>
                    <a:lnTo>
                      <a:pt x="774" y="1830"/>
                    </a:lnTo>
                    <a:lnTo>
                      <a:pt x="768" y="1818"/>
                    </a:lnTo>
                    <a:lnTo>
                      <a:pt x="764" y="1806"/>
                    </a:lnTo>
                    <a:lnTo>
                      <a:pt x="762" y="1792"/>
                    </a:lnTo>
                    <a:lnTo>
                      <a:pt x="762" y="1792"/>
                    </a:lnTo>
                    <a:lnTo>
                      <a:pt x="764" y="1778"/>
                    </a:lnTo>
                    <a:lnTo>
                      <a:pt x="768" y="1766"/>
                    </a:lnTo>
                    <a:lnTo>
                      <a:pt x="774" y="1754"/>
                    </a:lnTo>
                    <a:lnTo>
                      <a:pt x="782" y="1744"/>
                    </a:lnTo>
                    <a:lnTo>
                      <a:pt x="792" y="1736"/>
                    </a:lnTo>
                    <a:lnTo>
                      <a:pt x="804" y="1730"/>
                    </a:lnTo>
                    <a:lnTo>
                      <a:pt x="816" y="1726"/>
                    </a:lnTo>
                    <a:lnTo>
                      <a:pt x="830" y="1724"/>
                    </a:lnTo>
                    <a:lnTo>
                      <a:pt x="830" y="1724"/>
                    </a:lnTo>
                    <a:lnTo>
                      <a:pt x="844" y="1726"/>
                    </a:lnTo>
                    <a:lnTo>
                      <a:pt x="856" y="1730"/>
                    </a:lnTo>
                    <a:lnTo>
                      <a:pt x="868" y="1736"/>
                    </a:lnTo>
                    <a:lnTo>
                      <a:pt x="878" y="1744"/>
                    </a:lnTo>
                    <a:lnTo>
                      <a:pt x="886" y="1754"/>
                    </a:lnTo>
                    <a:lnTo>
                      <a:pt x="894" y="1766"/>
                    </a:lnTo>
                    <a:lnTo>
                      <a:pt x="898" y="1778"/>
                    </a:lnTo>
                    <a:lnTo>
                      <a:pt x="898" y="1792"/>
                    </a:lnTo>
                    <a:lnTo>
                      <a:pt x="898" y="1792"/>
                    </a:lnTo>
                    <a:lnTo>
                      <a:pt x="898" y="1806"/>
                    </a:lnTo>
                    <a:lnTo>
                      <a:pt x="894" y="1818"/>
                    </a:lnTo>
                    <a:lnTo>
                      <a:pt x="886" y="1830"/>
                    </a:lnTo>
                    <a:lnTo>
                      <a:pt x="878" y="1840"/>
                    </a:lnTo>
                    <a:lnTo>
                      <a:pt x="868" y="1848"/>
                    </a:lnTo>
                    <a:lnTo>
                      <a:pt x="856" y="1856"/>
                    </a:lnTo>
                    <a:lnTo>
                      <a:pt x="844" y="1860"/>
                    </a:lnTo>
                    <a:lnTo>
                      <a:pt x="830" y="1860"/>
                    </a:lnTo>
                    <a:lnTo>
                      <a:pt x="830" y="1860"/>
                    </a:lnTo>
                    <a:close/>
                    <a:moveTo>
                      <a:pt x="2724" y="1736"/>
                    </a:moveTo>
                    <a:lnTo>
                      <a:pt x="2106" y="1736"/>
                    </a:lnTo>
                    <a:lnTo>
                      <a:pt x="2106" y="958"/>
                    </a:lnTo>
                    <a:lnTo>
                      <a:pt x="2724" y="958"/>
                    </a:lnTo>
                    <a:lnTo>
                      <a:pt x="2724" y="958"/>
                    </a:lnTo>
                    <a:lnTo>
                      <a:pt x="2732" y="1004"/>
                    </a:lnTo>
                    <a:lnTo>
                      <a:pt x="2740" y="1050"/>
                    </a:lnTo>
                    <a:lnTo>
                      <a:pt x="2746" y="1098"/>
                    </a:lnTo>
                    <a:lnTo>
                      <a:pt x="2750" y="1148"/>
                    </a:lnTo>
                    <a:lnTo>
                      <a:pt x="2758" y="1246"/>
                    </a:lnTo>
                    <a:lnTo>
                      <a:pt x="2760" y="1346"/>
                    </a:lnTo>
                    <a:lnTo>
                      <a:pt x="2760" y="1346"/>
                    </a:lnTo>
                    <a:lnTo>
                      <a:pt x="2758" y="1446"/>
                    </a:lnTo>
                    <a:lnTo>
                      <a:pt x="2750" y="1544"/>
                    </a:lnTo>
                    <a:lnTo>
                      <a:pt x="2740" y="1640"/>
                    </a:lnTo>
                    <a:lnTo>
                      <a:pt x="2724" y="1736"/>
                    </a:lnTo>
                    <a:lnTo>
                      <a:pt x="2724" y="1736"/>
                    </a:lnTo>
                    <a:close/>
                    <a:moveTo>
                      <a:pt x="2106" y="2562"/>
                    </a:moveTo>
                    <a:lnTo>
                      <a:pt x="2106" y="1856"/>
                    </a:lnTo>
                    <a:lnTo>
                      <a:pt x="2696" y="1856"/>
                    </a:lnTo>
                    <a:lnTo>
                      <a:pt x="2696" y="1856"/>
                    </a:lnTo>
                    <a:lnTo>
                      <a:pt x="2680" y="1904"/>
                    </a:lnTo>
                    <a:lnTo>
                      <a:pt x="2664" y="1952"/>
                    </a:lnTo>
                    <a:lnTo>
                      <a:pt x="2648" y="2000"/>
                    </a:lnTo>
                    <a:lnTo>
                      <a:pt x="2628" y="2046"/>
                    </a:lnTo>
                    <a:lnTo>
                      <a:pt x="2608" y="2092"/>
                    </a:lnTo>
                    <a:lnTo>
                      <a:pt x="2588" y="2138"/>
                    </a:lnTo>
                    <a:lnTo>
                      <a:pt x="2564" y="2180"/>
                    </a:lnTo>
                    <a:lnTo>
                      <a:pt x="2542" y="2222"/>
                    </a:lnTo>
                    <a:lnTo>
                      <a:pt x="2542" y="2222"/>
                    </a:lnTo>
                    <a:lnTo>
                      <a:pt x="2518" y="2258"/>
                    </a:lnTo>
                    <a:lnTo>
                      <a:pt x="2494" y="2292"/>
                    </a:lnTo>
                    <a:lnTo>
                      <a:pt x="2472" y="2326"/>
                    </a:lnTo>
                    <a:lnTo>
                      <a:pt x="2446" y="2356"/>
                    </a:lnTo>
                    <a:lnTo>
                      <a:pt x="2422" y="2384"/>
                    </a:lnTo>
                    <a:lnTo>
                      <a:pt x="2396" y="2410"/>
                    </a:lnTo>
                    <a:lnTo>
                      <a:pt x="2370" y="2436"/>
                    </a:lnTo>
                    <a:lnTo>
                      <a:pt x="2342" y="2458"/>
                    </a:lnTo>
                    <a:lnTo>
                      <a:pt x="2314" y="2478"/>
                    </a:lnTo>
                    <a:lnTo>
                      <a:pt x="2286" y="2496"/>
                    </a:lnTo>
                    <a:lnTo>
                      <a:pt x="2258" y="2512"/>
                    </a:lnTo>
                    <a:lnTo>
                      <a:pt x="2228" y="2526"/>
                    </a:lnTo>
                    <a:lnTo>
                      <a:pt x="2198" y="2538"/>
                    </a:lnTo>
                    <a:lnTo>
                      <a:pt x="2168" y="2548"/>
                    </a:lnTo>
                    <a:lnTo>
                      <a:pt x="2138" y="2556"/>
                    </a:lnTo>
                    <a:lnTo>
                      <a:pt x="2106" y="2562"/>
                    </a:lnTo>
                    <a:lnTo>
                      <a:pt x="2106" y="2562"/>
                    </a:lnTo>
                    <a:close/>
                    <a:moveTo>
                      <a:pt x="2106" y="838"/>
                    </a:moveTo>
                    <a:lnTo>
                      <a:pt x="2106" y="124"/>
                    </a:lnTo>
                    <a:lnTo>
                      <a:pt x="2106" y="124"/>
                    </a:lnTo>
                    <a:lnTo>
                      <a:pt x="2138" y="130"/>
                    </a:lnTo>
                    <a:lnTo>
                      <a:pt x="2168" y="138"/>
                    </a:lnTo>
                    <a:lnTo>
                      <a:pt x="2198" y="148"/>
                    </a:lnTo>
                    <a:lnTo>
                      <a:pt x="2228" y="160"/>
                    </a:lnTo>
                    <a:lnTo>
                      <a:pt x="2258" y="174"/>
                    </a:lnTo>
                    <a:lnTo>
                      <a:pt x="2286" y="190"/>
                    </a:lnTo>
                    <a:lnTo>
                      <a:pt x="2314" y="210"/>
                    </a:lnTo>
                    <a:lnTo>
                      <a:pt x="2342" y="230"/>
                    </a:lnTo>
                    <a:lnTo>
                      <a:pt x="2370" y="254"/>
                    </a:lnTo>
                    <a:lnTo>
                      <a:pt x="2396" y="278"/>
                    </a:lnTo>
                    <a:lnTo>
                      <a:pt x="2422" y="304"/>
                    </a:lnTo>
                    <a:lnTo>
                      <a:pt x="2446" y="334"/>
                    </a:lnTo>
                    <a:lnTo>
                      <a:pt x="2472" y="364"/>
                    </a:lnTo>
                    <a:lnTo>
                      <a:pt x="2494" y="398"/>
                    </a:lnTo>
                    <a:lnTo>
                      <a:pt x="2518" y="432"/>
                    </a:lnTo>
                    <a:lnTo>
                      <a:pt x="2542" y="468"/>
                    </a:lnTo>
                    <a:lnTo>
                      <a:pt x="2542" y="468"/>
                    </a:lnTo>
                    <a:lnTo>
                      <a:pt x="2564" y="510"/>
                    </a:lnTo>
                    <a:lnTo>
                      <a:pt x="2588" y="552"/>
                    </a:lnTo>
                    <a:lnTo>
                      <a:pt x="2608" y="596"/>
                    </a:lnTo>
                    <a:lnTo>
                      <a:pt x="2628" y="642"/>
                    </a:lnTo>
                    <a:lnTo>
                      <a:pt x="2648" y="690"/>
                    </a:lnTo>
                    <a:lnTo>
                      <a:pt x="2664" y="738"/>
                    </a:lnTo>
                    <a:lnTo>
                      <a:pt x="2680" y="786"/>
                    </a:lnTo>
                    <a:lnTo>
                      <a:pt x="2696" y="838"/>
                    </a:lnTo>
                    <a:lnTo>
                      <a:pt x="2106" y="838"/>
                    </a:lnTo>
                    <a:close/>
                    <a:moveTo>
                      <a:pt x="1554" y="468"/>
                    </a:moveTo>
                    <a:lnTo>
                      <a:pt x="1554" y="468"/>
                    </a:lnTo>
                    <a:lnTo>
                      <a:pt x="1578" y="432"/>
                    </a:lnTo>
                    <a:lnTo>
                      <a:pt x="1602" y="398"/>
                    </a:lnTo>
                    <a:lnTo>
                      <a:pt x="1626" y="364"/>
                    </a:lnTo>
                    <a:lnTo>
                      <a:pt x="1650" y="334"/>
                    </a:lnTo>
                    <a:lnTo>
                      <a:pt x="1676" y="304"/>
                    </a:lnTo>
                    <a:lnTo>
                      <a:pt x="1702" y="278"/>
                    </a:lnTo>
                    <a:lnTo>
                      <a:pt x="1728" y="254"/>
                    </a:lnTo>
                    <a:lnTo>
                      <a:pt x="1756" y="230"/>
                    </a:lnTo>
                    <a:lnTo>
                      <a:pt x="1782" y="210"/>
                    </a:lnTo>
                    <a:lnTo>
                      <a:pt x="1810" y="190"/>
                    </a:lnTo>
                    <a:lnTo>
                      <a:pt x="1838" y="174"/>
                    </a:lnTo>
                    <a:lnTo>
                      <a:pt x="1868" y="160"/>
                    </a:lnTo>
                    <a:lnTo>
                      <a:pt x="1896" y="148"/>
                    </a:lnTo>
                    <a:lnTo>
                      <a:pt x="1926" y="138"/>
                    </a:lnTo>
                    <a:lnTo>
                      <a:pt x="1956" y="130"/>
                    </a:lnTo>
                    <a:lnTo>
                      <a:pt x="1986" y="124"/>
                    </a:lnTo>
                    <a:lnTo>
                      <a:pt x="1986" y="838"/>
                    </a:lnTo>
                    <a:lnTo>
                      <a:pt x="1404" y="838"/>
                    </a:lnTo>
                    <a:lnTo>
                      <a:pt x="1404" y="838"/>
                    </a:lnTo>
                    <a:lnTo>
                      <a:pt x="1420" y="786"/>
                    </a:lnTo>
                    <a:lnTo>
                      <a:pt x="1434" y="738"/>
                    </a:lnTo>
                    <a:lnTo>
                      <a:pt x="1452" y="690"/>
                    </a:lnTo>
                    <a:lnTo>
                      <a:pt x="1470" y="642"/>
                    </a:lnTo>
                    <a:lnTo>
                      <a:pt x="1488" y="596"/>
                    </a:lnTo>
                    <a:lnTo>
                      <a:pt x="1510" y="552"/>
                    </a:lnTo>
                    <a:lnTo>
                      <a:pt x="1532" y="510"/>
                    </a:lnTo>
                    <a:lnTo>
                      <a:pt x="1554" y="468"/>
                    </a:lnTo>
                    <a:lnTo>
                      <a:pt x="1554" y="468"/>
                    </a:lnTo>
                    <a:close/>
                    <a:moveTo>
                      <a:pt x="1340" y="1346"/>
                    </a:moveTo>
                    <a:lnTo>
                      <a:pt x="1340" y="1346"/>
                    </a:lnTo>
                    <a:lnTo>
                      <a:pt x="1342" y="1246"/>
                    </a:lnTo>
                    <a:lnTo>
                      <a:pt x="1350" y="1148"/>
                    </a:lnTo>
                    <a:lnTo>
                      <a:pt x="1354" y="1098"/>
                    </a:lnTo>
                    <a:lnTo>
                      <a:pt x="1360" y="1050"/>
                    </a:lnTo>
                    <a:lnTo>
                      <a:pt x="1368" y="1004"/>
                    </a:lnTo>
                    <a:lnTo>
                      <a:pt x="1376" y="958"/>
                    </a:lnTo>
                    <a:lnTo>
                      <a:pt x="1986" y="958"/>
                    </a:lnTo>
                    <a:lnTo>
                      <a:pt x="1986" y="1736"/>
                    </a:lnTo>
                    <a:lnTo>
                      <a:pt x="1376" y="1736"/>
                    </a:lnTo>
                    <a:lnTo>
                      <a:pt x="1376" y="1736"/>
                    </a:lnTo>
                    <a:lnTo>
                      <a:pt x="1360" y="1640"/>
                    </a:lnTo>
                    <a:lnTo>
                      <a:pt x="1350" y="1544"/>
                    </a:lnTo>
                    <a:lnTo>
                      <a:pt x="1342" y="1446"/>
                    </a:lnTo>
                    <a:lnTo>
                      <a:pt x="1340" y="1346"/>
                    </a:lnTo>
                    <a:lnTo>
                      <a:pt x="1340" y="1346"/>
                    </a:lnTo>
                    <a:close/>
                    <a:moveTo>
                      <a:pt x="1404" y="1856"/>
                    </a:moveTo>
                    <a:lnTo>
                      <a:pt x="1986" y="1856"/>
                    </a:lnTo>
                    <a:lnTo>
                      <a:pt x="1986" y="2562"/>
                    </a:lnTo>
                    <a:lnTo>
                      <a:pt x="1986" y="2562"/>
                    </a:lnTo>
                    <a:lnTo>
                      <a:pt x="1956" y="2556"/>
                    </a:lnTo>
                    <a:lnTo>
                      <a:pt x="1926" y="2548"/>
                    </a:lnTo>
                    <a:lnTo>
                      <a:pt x="1896" y="2538"/>
                    </a:lnTo>
                    <a:lnTo>
                      <a:pt x="1868" y="2526"/>
                    </a:lnTo>
                    <a:lnTo>
                      <a:pt x="1838" y="2512"/>
                    </a:lnTo>
                    <a:lnTo>
                      <a:pt x="1810" y="2496"/>
                    </a:lnTo>
                    <a:lnTo>
                      <a:pt x="1782" y="2478"/>
                    </a:lnTo>
                    <a:lnTo>
                      <a:pt x="1756" y="2458"/>
                    </a:lnTo>
                    <a:lnTo>
                      <a:pt x="1728" y="2436"/>
                    </a:lnTo>
                    <a:lnTo>
                      <a:pt x="1702" y="2410"/>
                    </a:lnTo>
                    <a:lnTo>
                      <a:pt x="1676" y="2384"/>
                    </a:lnTo>
                    <a:lnTo>
                      <a:pt x="1650" y="2356"/>
                    </a:lnTo>
                    <a:lnTo>
                      <a:pt x="1626" y="2326"/>
                    </a:lnTo>
                    <a:lnTo>
                      <a:pt x="1602" y="2292"/>
                    </a:lnTo>
                    <a:lnTo>
                      <a:pt x="1578" y="2258"/>
                    </a:lnTo>
                    <a:lnTo>
                      <a:pt x="1554" y="2222"/>
                    </a:lnTo>
                    <a:lnTo>
                      <a:pt x="1554" y="2222"/>
                    </a:lnTo>
                    <a:lnTo>
                      <a:pt x="1532" y="2180"/>
                    </a:lnTo>
                    <a:lnTo>
                      <a:pt x="1510" y="2138"/>
                    </a:lnTo>
                    <a:lnTo>
                      <a:pt x="1488" y="2092"/>
                    </a:lnTo>
                    <a:lnTo>
                      <a:pt x="1470" y="2046"/>
                    </a:lnTo>
                    <a:lnTo>
                      <a:pt x="1452" y="2000"/>
                    </a:lnTo>
                    <a:lnTo>
                      <a:pt x="1434" y="1952"/>
                    </a:lnTo>
                    <a:lnTo>
                      <a:pt x="1420" y="1904"/>
                    </a:lnTo>
                    <a:lnTo>
                      <a:pt x="1404" y="1856"/>
                    </a:lnTo>
                    <a:lnTo>
                      <a:pt x="1404" y="1856"/>
                    </a:lnTo>
                    <a:close/>
                    <a:moveTo>
                      <a:pt x="2852" y="2270"/>
                    </a:moveTo>
                    <a:lnTo>
                      <a:pt x="2852" y="2270"/>
                    </a:lnTo>
                    <a:lnTo>
                      <a:pt x="2810" y="2304"/>
                    </a:lnTo>
                    <a:lnTo>
                      <a:pt x="2768" y="2336"/>
                    </a:lnTo>
                    <a:lnTo>
                      <a:pt x="2726" y="2366"/>
                    </a:lnTo>
                    <a:lnTo>
                      <a:pt x="2680" y="2394"/>
                    </a:lnTo>
                    <a:lnTo>
                      <a:pt x="2634" y="2420"/>
                    </a:lnTo>
                    <a:lnTo>
                      <a:pt x="2588" y="2444"/>
                    </a:lnTo>
                    <a:lnTo>
                      <a:pt x="2540" y="2466"/>
                    </a:lnTo>
                    <a:lnTo>
                      <a:pt x="2492" y="2486"/>
                    </a:lnTo>
                    <a:lnTo>
                      <a:pt x="2492" y="2486"/>
                    </a:lnTo>
                    <a:lnTo>
                      <a:pt x="2532" y="2440"/>
                    </a:lnTo>
                    <a:lnTo>
                      <a:pt x="2572" y="2392"/>
                    </a:lnTo>
                    <a:lnTo>
                      <a:pt x="2610" y="2340"/>
                    </a:lnTo>
                    <a:lnTo>
                      <a:pt x="2646" y="2284"/>
                    </a:lnTo>
                    <a:lnTo>
                      <a:pt x="2646" y="2284"/>
                    </a:lnTo>
                    <a:lnTo>
                      <a:pt x="2674" y="2236"/>
                    </a:lnTo>
                    <a:lnTo>
                      <a:pt x="2700" y="2186"/>
                    </a:lnTo>
                    <a:lnTo>
                      <a:pt x="2724" y="2134"/>
                    </a:lnTo>
                    <a:lnTo>
                      <a:pt x="2746" y="2080"/>
                    </a:lnTo>
                    <a:lnTo>
                      <a:pt x="2768" y="2026"/>
                    </a:lnTo>
                    <a:lnTo>
                      <a:pt x="2786" y="1970"/>
                    </a:lnTo>
                    <a:lnTo>
                      <a:pt x="2804" y="1914"/>
                    </a:lnTo>
                    <a:lnTo>
                      <a:pt x="2820" y="1856"/>
                    </a:lnTo>
                    <a:lnTo>
                      <a:pt x="3162" y="1856"/>
                    </a:lnTo>
                    <a:lnTo>
                      <a:pt x="3162" y="1856"/>
                    </a:lnTo>
                    <a:lnTo>
                      <a:pt x="3134" y="1914"/>
                    </a:lnTo>
                    <a:lnTo>
                      <a:pt x="3102" y="1970"/>
                    </a:lnTo>
                    <a:lnTo>
                      <a:pt x="3068" y="2024"/>
                    </a:lnTo>
                    <a:lnTo>
                      <a:pt x="3030" y="2076"/>
                    </a:lnTo>
                    <a:lnTo>
                      <a:pt x="2990" y="2128"/>
                    </a:lnTo>
                    <a:lnTo>
                      <a:pt x="2946" y="2178"/>
                    </a:lnTo>
                    <a:lnTo>
                      <a:pt x="2900" y="2224"/>
                    </a:lnTo>
                    <a:lnTo>
                      <a:pt x="2852" y="2270"/>
                    </a:lnTo>
                    <a:lnTo>
                      <a:pt x="2852" y="2270"/>
                    </a:lnTo>
                    <a:close/>
                    <a:moveTo>
                      <a:pt x="3210" y="1736"/>
                    </a:moveTo>
                    <a:lnTo>
                      <a:pt x="2846" y="1736"/>
                    </a:lnTo>
                    <a:lnTo>
                      <a:pt x="2846" y="1736"/>
                    </a:lnTo>
                    <a:lnTo>
                      <a:pt x="2860" y="1640"/>
                    </a:lnTo>
                    <a:lnTo>
                      <a:pt x="2872" y="1542"/>
                    </a:lnTo>
                    <a:lnTo>
                      <a:pt x="2878" y="1444"/>
                    </a:lnTo>
                    <a:lnTo>
                      <a:pt x="2880" y="1344"/>
                    </a:lnTo>
                    <a:lnTo>
                      <a:pt x="2880" y="1344"/>
                    </a:lnTo>
                    <a:lnTo>
                      <a:pt x="2880" y="1278"/>
                    </a:lnTo>
                    <a:lnTo>
                      <a:pt x="2876" y="1214"/>
                    </a:lnTo>
                    <a:lnTo>
                      <a:pt x="2872" y="1148"/>
                    </a:lnTo>
                    <a:lnTo>
                      <a:pt x="2866" y="1084"/>
                    </a:lnTo>
                    <a:lnTo>
                      <a:pt x="2856" y="1020"/>
                    </a:lnTo>
                    <a:lnTo>
                      <a:pt x="2846" y="958"/>
                    </a:lnTo>
                    <a:lnTo>
                      <a:pt x="2834" y="898"/>
                    </a:lnTo>
                    <a:lnTo>
                      <a:pt x="2820" y="836"/>
                    </a:lnTo>
                    <a:lnTo>
                      <a:pt x="2804" y="778"/>
                    </a:lnTo>
                    <a:lnTo>
                      <a:pt x="2786" y="720"/>
                    </a:lnTo>
                    <a:lnTo>
                      <a:pt x="2768" y="664"/>
                    </a:lnTo>
                    <a:lnTo>
                      <a:pt x="2746" y="608"/>
                    </a:lnTo>
                    <a:lnTo>
                      <a:pt x="2724" y="556"/>
                    </a:lnTo>
                    <a:lnTo>
                      <a:pt x="2700" y="504"/>
                    </a:lnTo>
                    <a:lnTo>
                      <a:pt x="2674" y="454"/>
                    </a:lnTo>
                    <a:lnTo>
                      <a:pt x="2646" y="406"/>
                    </a:lnTo>
                    <a:lnTo>
                      <a:pt x="2646" y="406"/>
                    </a:lnTo>
                    <a:lnTo>
                      <a:pt x="2610" y="348"/>
                    </a:lnTo>
                    <a:lnTo>
                      <a:pt x="2572" y="296"/>
                    </a:lnTo>
                    <a:lnTo>
                      <a:pt x="2532" y="246"/>
                    </a:lnTo>
                    <a:lnTo>
                      <a:pt x="2492" y="202"/>
                    </a:lnTo>
                    <a:lnTo>
                      <a:pt x="2492" y="202"/>
                    </a:lnTo>
                    <a:lnTo>
                      <a:pt x="2548" y="226"/>
                    </a:lnTo>
                    <a:lnTo>
                      <a:pt x="2602" y="252"/>
                    </a:lnTo>
                    <a:lnTo>
                      <a:pt x="2656" y="282"/>
                    </a:lnTo>
                    <a:lnTo>
                      <a:pt x="2708" y="314"/>
                    </a:lnTo>
                    <a:lnTo>
                      <a:pt x="2708" y="314"/>
                    </a:lnTo>
                    <a:lnTo>
                      <a:pt x="2766" y="352"/>
                    </a:lnTo>
                    <a:lnTo>
                      <a:pt x="2822" y="396"/>
                    </a:lnTo>
                    <a:lnTo>
                      <a:pt x="2874" y="440"/>
                    </a:lnTo>
                    <a:lnTo>
                      <a:pt x="2924" y="488"/>
                    </a:lnTo>
                    <a:lnTo>
                      <a:pt x="2972" y="540"/>
                    </a:lnTo>
                    <a:lnTo>
                      <a:pt x="3016" y="594"/>
                    </a:lnTo>
                    <a:lnTo>
                      <a:pt x="3056" y="650"/>
                    </a:lnTo>
                    <a:lnTo>
                      <a:pt x="3094" y="710"/>
                    </a:lnTo>
                    <a:lnTo>
                      <a:pt x="2948" y="710"/>
                    </a:lnTo>
                    <a:lnTo>
                      <a:pt x="2948" y="1600"/>
                    </a:lnTo>
                    <a:lnTo>
                      <a:pt x="3248" y="1600"/>
                    </a:lnTo>
                    <a:lnTo>
                      <a:pt x="3248" y="1600"/>
                    </a:lnTo>
                    <a:lnTo>
                      <a:pt x="3230" y="1664"/>
                    </a:lnTo>
                    <a:lnTo>
                      <a:pt x="3210" y="1736"/>
                    </a:lnTo>
                    <a:lnTo>
                      <a:pt x="3210" y="1736"/>
                    </a:lnTo>
                    <a:close/>
                    <a:moveTo>
                      <a:pt x="3976" y="1510"/>
                    </a:moveTo>
                    <a:lnTo>
                      <a:pt x="3840" y="1646"/>
                    </a:lnTo>
                    <a:lnTo>
                      <a:pt x="3840" y="1480"/>
                    </a:lnTo>
                    <a:lnTo>
                      <a:pt x="3070" y="1480"/>
                    </a:lnTo>
                    <a:lnTo>
                      <a:pt x="3070" y="830"/>
                    </a:lnTo>
                    <a:lnTo>
                      <a:pt x="3976" y="830"/>
                    </a:lnTo>
                    <a:lnTo>
                      <a:pt x="3976" y="1510"/>
                    </a:lnTo>
                    <a:close/>
                    <a:moveTo>
                      <a:pt x="3976" y="1510"/>
                    </a:moveTo>
                    <a:lnTo>
                      <a:pt x="3976" y="1510"/>
                    </a:lnTo>
                    <a:close/>
                  </a:path>
                </a:pathLst>
              </a:custGeom>
              <a:solidFill>
                <a:srgbClr val="87BD27"/>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29" name="Freeform 9">
                <a:extLst>
                  <a:ext uri="{FF2B5EF4-FFF2-40B4-BE49-F238E27FC236}">
                    <a16:creationId xmlns:a16="http://schemas.microsoft.com/office/drawing/2014/main" id="{AC32CB90-71C9-499C-BE4A-36B21959F0A0}"/>
                  </a:ext>
                </a:extLst>
              </p:cNvPr>
              <p:cNvSpPr>
                <a:spLocks/>
              </p:cNvSpPr>
              <p:nvPr/>
            </p:nvSpPr>
            <p:spPr bwMode="auto">
              <a:xfrm>
                <a:off x="977503" y="-2703512"/>
                <a:ext cx="2756297" cy="1851887"/>
              </a:xfrm>
              <a:custGeom>
                <a:avLst/>
                <a:gdLst>
                  <a:gd name="T0" fmla="*/ 3142 w 4096"/>
                  <a:gd name="T1" fmla="*/ 560 h 2752"/>
                  <a:gd name="T2" fmla="*/ 2974 w 4096"/>
                  <a:gd name="T3" fmla="*/ 368 h 2752"/>
                  <a:gd name="T4" fmla="*/ 2772 w 4096"/>
                  <a:gd name="T5" fmla="*/ 212 h 2752"/>
                  <a:gd name="T6" fmla="*/ 2562 w 4096"/>
                  <a:gd name="T7" fmla="*/ 102 h 2752"/>
                  <a:gd name="T8" fmla="*/ 2288 w 4096"/>
                  <a:gd name="T9" fmla="*/ 22 h 2752"/>
                  <a:gd name="T10" fmla="*/ 2050 w 4096"/>
                  <a:gd name="T11" fmla="*/ 0 h 2752"/>
                  <a:gd name="T12" fmla="*/ 1696 w 4096"/>
                  <a:gd name="T13" fmla="*/ 48 h 2752"/>
                  <a:gd name="T14" fmla="*/ 1370 w 4096"/>
                  <a:gd name="T15" fmla="*/ 184 h 2752"/>
                  <a:gd name="T16" fmla="*/ 1254 w 4096"/>
                  <a:gd name="T17" fmla="*/ 414 h 2752"/>
                  <a:gd name="T18" fmla="*/ 1514 w 4096"/>
                  <a:gd name="T19" fmla="*/ 244 h 2752"/>
                  <a:gd name="T20" fmla="*/ 1490 w 4096"/>
                  <a:gd name="T21" fmla="*/ 350 h 2752"/>
                  <a:gd name="T22" fmla="*/ 1354 w 4096"/>
                  <a:gd name="T23" fmla="*/ 608 h 2752"/>
                  <a:gd name="T24" fmla="*/ 950 w 4096"/>
                  <a:gd name="T25" fmla="*/ 572 h 2752"/>
                  <a:gd name="T26" fmla="*/ 712 w 4096"/>
                  <a:gd name="T27" fmla="*/ 1214 h 2752"/>
                  <a:gd name="T28" fmla="*/ 712 w 4096"/>
                  <a:gd name="T29" fmla="*/ 1478 h 2752"/>
                  <a:gd name="T30" fmla="*/ 828 w 4096"/>
                  <a:gd name="T31" fmla="*/ 1278 h 2752"/>
                  <a:gd name="T32" fmla="*/ 1246 w 4096"/>
                  <a:gd name="T33" fmla="*/ 1004 h 2752"/>
                  <a:gd name="T34" fmla="*/ 1222 w 4096"/>
                  <a:gd name="T35" fmla="*/ 1446 h 2752"/>
                  <a:gd name="T36" fmla="*/ 1004 w 4096"/>
                  <a:gd name="T37" fmla="*/ 1722 h 2752"/>
                  <a:gd name="T38" fmla="*/ 916 w 4096"/>
                  <a:gd name="T39" fmla="*/ 1626 h 2752"/>
                  <a:gd name="T40" fmla="*/ 792 w 4096"/>
                  <a:gd name="T41" fmla="*/ 1610 h 2752"/>
                  <a:gd name="T42" fmla="*/ 698 w 4096"/>
                  <a:gd name="T43" fmla="*/ 1660 h 2752"/>
                  <a:gd name="T44" fmla="*/ 646 w 4096"/>
                  <a:gd name="T45" fmla="*/ 1756 h 2752"/>
                  <a:gd name="T46" fmla="*/ 298 w 4096"/>
                  <a:gd name="T47" fmla="*/ 2024 h 2752"/>
                  <a:gd name="T48" fmla="*/ 188 w 4096"/>
                  <a:gd name="T49" fmla="*/ 1988 h 2752"/>
                  <a:gd name="T50" fmla="*/ 98 w 4096"/>
                  <a:gd name="T51" fmla="*/ 2012 h 2752"/>
                  <a:gd name="T52" fmla="*/ 22 w 4096"/>
                  <a:gd name="T53" fmla="*/ 2088 h 2752"/>
                  <a:gd name="T54" fmla="*/ 0 w 4096"/>
                  <a:gd name="T55" fmla="*/ 2178 h 2752"/>
                  <a:gd name="T56" fmla="*/ 32 w 4096"/>
                  <a:gd name="T57" fmla="*/ 2282 h 2752"/>
                  <a:gd name="T58" fmla="*/ 116 w 4096"/>
                  <a:gd name="T59" fmla="*/ 2352 h 2752"/>
                  <a:gd name="T60" fmla="*/ 218 w 4096"/>
                  <a:gd name="T61" fmla="*/ 2364 h 2752"/>
                  <a:gd name="T62" fmla="*/ 644 w 4096"/>
                  <a:gd name="T63" fmla="*/ 2534 h 2752"/>
                  <a:gd name="T64" fmla="*/ 656 w 4096"/>
                  <a:gd name="T65" fmla="*/ 2636 h 2752"/>
                  <a:gd name="T66" fmla="*/ 726 w 4096"/>
                  <a:gd name="T67" fmla="*/ 2718 h 2752"/>
                  <a:gd name="T68" fmla="*/ 830 w 4096"/>
                  <a:gd name="T69" fmla="*/ 2752 h 2752"/>
                  <a:gd name="T70" fmla="*/ 920 w 4096"/>
                  <a:gd name="T71" fmla="*/ 2728 h 2752"/>
                  <a:gd name="T72" fmla="*/ 996 w 4096"/>
                  <a:gd name="T73" fmla="*/ 2652 h 2752"/>
                  <a:gd name="T74" fmla="*/ 1018 w 4096"/>
                  <a:gd name="T75" fmla="*/ 2562 h 2752"/>
                  <a:gd name="T76" fmla="*/ 986 w 4096"/>
                  <a:gd name="T77" fmla="*/ 2458 h 2752"/>
                  <a:gd name="T78" fmla="*/ 904 w 4096"/>
                  <a:gd name="T79" fmla="*/ 2388 h 2752"/>
                  <a:gd name="T80" fmla="*/ 800 w 4096"/>
                  <a:gd name="T81" fmla="*/ 2376 h 2752"/>
                  <a:gd name="T82" fmla="*/ 374 w 4096"/>
                  <a:gd name="T83" fmla="*/ 2206 h 2752"/>
                  <a:gd name="T84" fmla="*/ 722 w 4096"/>
                  <a:gd name="T85" fmla="*/ 1946 h 2752"/>
                  <a:gd name="T86" fmla="*/ 830 w 4096"/>
                  <a:gd name="T87" fmla="*/ 1982 h 2752"/>
                  <a:gd name="T88" fmla="*/ 942 w 4096"/>
                  <a:gd name="T89" fmla="*/ 1946 h 2752"/>
                  <a:gd name="T90" fmla="*/ 1280 w 4096"/>
                  <a:gd name="T91" fmla="*/ 1856 h 2752"/>
                  <a:gd name="T92" fmla="*/ 1400 w 4096"/>
                  <a:gd name="T93" fmla="*/ 2186 h 2752"/>
                  <a:gd name="T94" fmla="*/ 1568 w 4096"/>
                  <a:gd name="T95" fmla="*/ 2442 h 2752"/>
                  <a:gd name="T96" fmla="*/ 1440 w 4096"/>
                  <a:gd name="T97" fmla="*/ 2404 h 2752"/>
                  <a:gd name="T98" fmla="*/ 1212 w 4096"/>
                  <a:gd name="T99" fmla="*/ 2236 h 2752"/>
                  <a:gd name="T100" fmla="*/ 1028 w 4096"/>
                  <a:gd name="T101" fmla="*/ 2016 h 2752"/>
                  <a:gd name="T102" fmla="*/ 1028 w 4096"/>
                  <a:gd name="T103" fmla="*/ 2218 h 2752"/>
                  <a:gd name="T104" fmla="*/ 1208 w 4096"/>
                  <a:gd name="T105" fmla="*/ 2390 h 2752"/>
                  <a:gd name="T106" fmla="*/ 1412 w 4096"/>
                  <a:gd name="T107" fmla="*/ 2526 h 2752"/>
                  <a:gd name="T108" fmla="*/ 1640 w 4096"/>
                  <a:gd name="T109" fmla="*/ 2624 h 2752"/>
                  <a:gd name="T110" fmla="*/ 1882 w 4096"/>
                  <a:gd name="T111" fmla="*/ 2676 h 2752"/>
                  <a:gd name="T112" fmla="*/ 2110 w 4096"/>
                  <a:gd name="T113" fmla="*/ 2686 h 2752"/>
                  <a:gd name="T114" fmla="*/ 2464 w 4096"/>
                  <a:gd name="T115" fmla="*/ 2622 h 2752"/>
                  <a:gd name="T116" fmla="*/ 2786 w 4096"/>
                  <a:gd name="T117" fmla="*/ 2470 h 2752"/>
                  <a:gd name="T118" fmla="*/ 3012 w 4096"/>
                  <a:gd name="T119" fmla="*/ 2282 h 2752"/>
                  <a:gd name="T120" fmla="*/ 3216 w 4096"/>
                  <a:gd name="T121" fmla="*/ 2014 h 2752"/>
                  <a:gd name="T122" fmla="*/ 3344 w 4096"/>
                  <a:gd name="T123" fmla="*/ 1708 h 2752"/>
                  <a:gd name="T124" fmla="*/ 4096 w 4096"/>
                  <a:gd name="T125" fmla="*/ 71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6" h="2752">
                    <a:moveTo>
                      <a:pt x="3234" y="710"/>
                    </a:moveTo>
                    <a:lnTo>
                      <a:pt x="3234" y="710"/>
                    </a:lnTo>
                    <a:lnTo>
                      <a:pt x="3212" y="670"/>
                    </a:lnTo>
                    <a:lnTo>
                      <a:pt x="3190" y="632"/>
                    </a:lnTo>
                    <a:lnTo>
                      <a:pt x="3166" y="596"/>
                    </a:lnTo>
                    <a:lnTo>
                      <a:pt x="3142" y="560"/>
                    </a:lnTo>
                    <a:lnTo>
                      <a:pt x="3118" y="526"/>
                    </a:lnTo>
                    <a:lnTo>
                      <a:pt x="3090" y="492"/>
                    </a:lnTo>
                    <a:lnTo>
                      <a:pt x="3064" y="460"/>
                    </a:lnTo>
                    <a:lnTo>
                      <a:pt x="3034" y="428"/>
                    </a:lnTo>
                    <a:lnTo>
                      <a:pt x="3006" y="398"/>
                    </a:lnTo>
                    <a:lnTo>
                      <a:pt x="2974" y="368"/>
                    </a:lnTo>
                    <a:lnTo>
                      <a:pt x="2944" y="340"/>
                    </a:lnTo>
                    <a:lnTo>
                      <a:pt x="2910" y="312"/>
                    </a:lnTo>
                    <a:lnTo>
                      <a:pt x="2878" y="286"/>
                    </a:lnTo>
                    <a:lnTo>
                      <a:pt x="2844" y="260"/>
                    </a:lnTo>
                    <a:lnTo>
                      <a:pt x="2808" y="236"/>
                    </a:lnTo>
                    <a:lnTo>
                      <a:pt x="2772" y="212"/>
                    </a:lnTo>
                    <a:lnTo>
                      <a:pt x="2772" y="212"/>
                    </a:lnTo>
                    <a:lnTo>
                      <a:pt x="2732" y="186"/>
                    </a:lnTo>
                    <a:lnTo>
                      <a:pt x="2690" y="162"/>
                    </a:lnTo>
                    <a:lnTo>
                      <a:pt x="2648" y="140"/>
                    </a:lnTo>
                    <a:lnTo>
                      <a:pt x="2604" y="120"/>
                    </a:lnTo>
                    <a:lnTo>
                      <a:pt x="2562" y="102"/>
                    </a:lnTo>
                    <a:lnTo>
                      <a:pt x="2518" y="84"/>
                    </a:lnTo>
                    <a:lnTo>
                      <a:pt x="2472" y="68"/>
                    </a:lnTo>
                    <a:lnTo>
                      <a:pt x="2426" y="54"/>
                    </a:lnTo>
                    <a:lnTo>
                      <a:pt x="2382" y="42"/>
                    </a:lnTo>
                    <a:lnTo>
                      <a:pt x="2334" y="30"/>
                    </a:lnTo>
                    <a:lnTo>
                      <a:pt x="2288" y="22"/>
                    </a:lnTo>
                    <a:lnTo>
                      <a:pt x="2242" y="14"/>
                    </a:lnTo>
                    <a:lnTo>
                      <a:pt x="2194" y="8"/>
                    </a:lnTo>
                    <a:lnTo>
                      <a:pt x="2146" y="4"/>
                    </a:lnTo>
                    <a:lnTo>
                      <a:pt x="2098" y="0"/>
                    </a:lnTo>
                    <a:lnTo>
                      <a:pt x="2050" y="0"/>
                    </a:lnTo>
                    <a:lnTo>
                      <a:pt x="2050" y="0"/>
                    </a:lnTo>
                    <a:lnTo>
                      <a:pt x="1990" y="2"/>
                    </a:lnTo>
                    <a:lnTo>
                      <a:pt x="1930" y="6"/>
                    </a:lnTo>
                    <a:lnTo>
                      <a:pt x="1872" y="12"/>
                    </a:lnTo>
                    <a:lnTo>
                      <a:pt x="1812" y="22"/>
                    </a:lnTo>
                    <a:lnTo>
                      <a:pt x="1754" y="32"/>
                    </a:lnTo>
                    <a:lnTo>
                      <a:pt x="1696" y="48"/>
                    </a:lnTo>
                    <a:lnTo>
                      <a:pt x="1640" y="64"/>
                    </a:lnTo>
                    <a:lnTo>
                      <a:pt x="1584" y="84"/>
                    </a:lnTo>
                    <a:lnTo>
                      <a:pt x="1530" y="104"/>
                    </a:lnTo>
                    <a:lnTo>
                      <a:pt x="1476" y="128"/>
                    </a:lnTo>
                    <a:lnTo>
                      <a:pt x="1422" y="156"/>
                    </a:lnTo>
                    <a:lnTo>
                      <a:pt x="1370" y="184"/>
                    </a:lnTo>
                    <a:lnTo>
                      <a:pt x="1320" y="216"/>
                    </a:lnTo>
                    <a:lnTo>
                      <a:pt x="1270" y="248"/>
                    </a:lnTo>
                    <a:lnTo>
                      <a:pt x="1222" y="284"/>
                    </a:lnTo>
                    <a:lnTo>
                      <a:pt x="1176" y="322"/>
                    </a:lnTo>
                    <a:lnTo>
                      <a:pt x="1254" y="414"/>
                    </a:lnTo>
                    <a:lnTo>
                      <a:pt x="1254" y="414"/>
                    </a:lnTo>
                    <a:lnTo>
                      <a:pt x="1296" y="380"/>
                    </a:lnTo>
                    <a:lnTo>
                      <a:pt x="1336" y="350"/>
                    </a:lnTo>
                    <a:lnTo>
                      <a:pt x="1380" y="320"/>
                    </a:lnTo>
                    <a:lnTo>
                      <a:pt x="1424" y="292"/>
                    </a:lnTo>
                    <a:lnTo>
                      <a:pt x="1468" y="266"/>
                    </a:lnTo>
                    <a:lnTo>
                      <a:pt x="1514" y="244"/>
                    </a:lnTo>
                    <a:lnTo>
                      <a:pt x="1560" y="222"/>
                    </a:lnTo>
                    <a:lnTo>
                      <a:pt x="1608" y="202"/>
                    </a:lnTo>
                    <a:lnTo>
                      <a:pt x="1608" y="202"/>
                    </a:lnTo>
                    <a:lnTo>
                      <a:pt x="1568" y="246"/>
                    </a:lnTo>
                    <a:lnTo>
                      <a:pt x="1528" y="296"/>
                    </a:lnTo>
                    <a:lnTo>
                      <a:pt x="1490" y="350"/>
                    </a:lnTo>
                    <a:lnTo>
                      <a:pt x="1454" y="406"/>
                    </a:lnTo>
                    <a:lnTo>
                      <a:pt x="1454" y="406"/>
                    </a:lnTo>
                    <a:lnTo>
                      <a:pt x="1426" y="454"/>
                    </a:lnTo>
                    <a:lnTo>
                      <a:pt x="1400" y="504"/>
                    </a:lnTo>
                    <a:lnTo>
                      <a:pt x="1376" y="556"/>
                    </a:lnTo>
                    <a:lnTo>
                      <a:pt x="1354" y="608"/>
                    </a:lnTo>
                    <a:lnTo>
                      <a:pt x="1332" y="664"/>
                    </a:lnTo>
                    <a:lnTo>
                      <a:pt x="1314" y="720"/>
                    </a:lnTo>
                    <a:lnTo>
                      <a:pt x="1296" y="778"/>
                    </a:lnTo>
                    <a:lnTo>
                      <a:pt x="1280" y="838"/>
                    </a:lnTo>
                    <a:lnTo>
                      <a:pt x="950" y="838"/>
                    </a:lnTo>
                    <a:lnTo>
                      <a:pt x="950" y="572"/>
                    </a:lnTo>
                    <a:lnTo>
                      <a:pt x="1232" y="572"/>
                    </a:lnTo>
                    <a:lnTo>
                      <a:pt x="766" y="106"/>
                    </a:lnTo>
                    <a:lnTo>
                      <a:pt x="300" y="572"/>
                    </a:lnTo>
                    <a:lnTo>
                      <a:pt x="574" y="572"/>
                    </a:lnTo>
                    <a:lnTo>
                      <a:pt x="574" y="1214"/>
                    </a:lnTo>
                    <a:lnTo>
                      <a:pt x="712" y="1214"/>
                    </a:lnTo>
                    <a:lnTo>
                      <a:pt x="712" y="1214"/>
                    </a:lnTo>
                    <a:lnTo>
                      <a:pt x="708" y="1278"/>
                    </a:lnTo>
                    <a:lnTo>
                      <a:pt x="706" y="1344"/>
                    </a:lnTo>
                    <a:lnTo>
                      <a:pt x="706" y="1344"/>
                    </a:lnTo>
                    <a:lnTo>
                      <a:pt x="708" y="1412"/>
                    </a:lnTo>
                    <a:lnTo>
                      <a:pt x="712" y="1478"/>
                    </a:lnTo>
                    <a:lnTo>
                      <a:pt x="832" y="1466"/>
                    </a:lnTo>
                    <a:lnTo>
                      <a:pt x="832" y="1466"/>
                    </a:lnTo>
                    <a:lnTo>
                      <a:pt x="828" y="1406"/>
                    </a:lnTo>
                    <a:lnTo>
                      <a:pt x="826" y="1346"/>
                    </a:lnTo>
                    <a:lnTo>
                      <a:pt x="826" y="1346"/>
                    </a:lnTo>
                    <a:lnTo>
                      <a:pt x="828" y="1278"/>
                    </a:lnTo>
                    <a:lnTo>
                      <a:pt x="834" y="1214"/>
                    </a:lnTo>
                    <a:lnTo>
                      <a:pt x="950" y="1214"/>
                    </a:lnTo>
                    <a:lnTo>
                      <a:pt x="950" y="958"/>
                    </a:lnTo>
                    <a:lnTo>
                      <a:pt x="1254" y="958"/>
                    </a:lnTo>
                    <a:lnTo>
                      <a:pt x="1254" y="958"/>
                    </a:lnTo>
                    <a:lnTo>
                      <a:pt x="1246" y="1004"/>
                    </a:lnTo>
                    <a:lnTo>
                      <a:pt x="1240" y="1050"/>
                    </a:lnTo>
                    <a:lnTo>
                      <a:pt x="1228" y="1148"/>
                    </a:lnTo>
                    <a:lnTo>
                      <a:pt x="1222" y="1246"/>
                    </a:lnTo>
                    <a:lnTo>
                      <a:pt x="1220" y="1346"/>
                    </a:lnTo>
                    <a:lnTo>
                      <a:pt x="1220" y="1346"/>
                    </a:lnTo>
                    <a:lnTo>
                      <a:pt x="1222" y="1446"/>
                    </a:lnTo>
                    <a:lnTo>
                      <a:pt x="1228" y="1544"/>
                    </a:lnTo>
                    <a:lnTo>
                      <a:pt x="1240" y="1640"/>
                    </a:lnTo>
                    <a:lnTo>
                      <a:pt x="1254" y="1736"/>
                    </a:lnTo>
                    <a:lnTo>
                      <a:pt x="1010" y="1736"/>
                    </a:lnTo>
                    <a:lnTo>
                      <a:pt x="1010" y="1736"/>
                    </a:lnTo>
                    <a:lnTo>
                      <a:pt x="1004" y="1722"/>
                    </a:lnTo>
                    <a:lnTo>
                      <a:pt x="998" y="1708"/>
                    </a:lnTo>
                    <a:lnTo>
                      <a:pt x="990" y="1694"/>
                    </a:lnTo>
                    <a:lnTo>
                      <a:pt x="982" y="1682"/>
                    </a:lnTo>
                    <a:lnTo>
                      <a:pt x="964" y="1660"/>
                    </a:lnTo>
                    <a:lnTo>
                      <a:pt x="942" y="1640"/>
                    </a:lnTo>
                    <a:lnTo>
                      <a:pt x="916" y="1626"/>
                    </a:lnTo>
                    <a:lnTo>
                      <a:pt x="890" y="1614"/>
                    </a:lnTo>
                    <a:lnTo>
                      <a:pt x="860" y="1608"/>
                    </a:lnTo>
                    <a:lnTo>
                      <a:pt x="830" y="1606"/>
                    </a:lnTo>
                    <a:lnTo>
                      <a:pt x="830" y="1606"/>
                    </a:lnTo>
                    <a:lnTo>
                      <a:pt x="812" y="1606"/>
                    </a:lnTo>
                    <a:lnTo>
                      <a:pt x="792" y="1610"/>
                    </a:lnTo>
                    <a:lnTo>
                      <a:pt x="774" y="1614"/>
                    </a:lnTo>
                    <a:lnTo>
                      <a:pt x="758" y="1620"/>
                    </a:lnTo>
                    <a:lnTo>
                      <a:pt x="740" y="1628"/>
                    </a:lnTo>
                    <a:lnTo>
                      <a:pt x="726" y="1638"/>
                    </a:lnTo>
                    <a:lnTo>
                      <a:pt x="710" y="1648"/>
                    </a:lnTo>
                    <a:lnTo>
                      <a:pt x="698" y="1660"/>
                    </a:lnTo>
                    <a:lnTo>
                      <a:pt x="684" y="1674"/>
                    </a:lnTo>
                    <a:lnTo>
                      <a:pt x="674" y="1688"/>
                    </a:lnTo>
                    <a:lnTo>
                      <a:pt x="664" y="1704"/>
                    </a:lnTo>
                    <a:lnTo>
                      <a:pt x="656" y="1720"/>
                    </a:lnTo>
                    <a:lnTo>
                      <a:pt x="650" y="1738"/>
                    </a:lnTo>
                    <a:lnTo>
                      <a:pt x="646" y="1756"/>
                    </a:lnTo>
                    <a:lnTo>
                      <a:pt x="642" y="1774"/>
                    </a:lnTo>
                    <a:lnTo>
                      <a:pt x="642" y="1794"/>
                    </a:lnTo>
                    <a:lnTo>
                      <a:pt x="642" y="1794"/>
                    </a:lnTo>
                    <a:lnTo>
                      <a:pt x="644" y="1822"/>
                    </a:lnTo>
                    <a:lnTo>
                      <a:pt x="650" y="1848"/>
                    </a:lnTo>
                    <a:lnTo>
                      <a:pt x="298" y="2024"/>
                    </a:lnTo>
                    <a:lnTo>
                      <a:pt x="298" y="2024"/>
                    </a:lnTo>
                    <a:lnTo>
                      <a:pt x="274" y="2010"/>
                    </a:lnTo>
                    <a:lnTo>
                      <a:pt x="246" y="1998"/>
                    </a:lnTo>
                    <a:lnTo>
                      <a:pt x="218" y="1992"/>
                    </a:lnTo>
                    <a:lnTo>
                      <a:pt x="204" y="1990"/>
                    </a:lnTo>
                    <a:lnTo>
                      <a:pt x="188" y="1988"/>
                    </a:lnTo>
                    <a:lnTo>
                      <a:pt x="188" y="1988"/>
                    </a:lnTo>
                    <a:lnTo>
                      <a:pt x="170" y="1990"/>
                    </a:lnTo>
                    <a:lnTo>
                      <a:pt x="150" y="1992"/>
                    </a:lnTo>
                    <a:lnTo>
                      <a:pt x="132" y="1998"/>
                    </a:lnTo>
                    <a:lnTo>
                      <a:pt x="116" y="2004"/>
                    </a:lnTo>
                    <a:lnTo>
                      <a:pt x="98" y="2012"/>
                    </a:lnTo>
                    <a:lnTo>
                      <a:pt x="84" y="2022"/>
                    </a:lnTo>
                    <a:lnTo>
                      <a:pt x="68" y="2032"/>
                    </a:lnTo>
                    <a:lnTo>
                      <a:pt x="56" y="2044"/>
                    </a:lnTo>
                    <a:lnTo>
                      <a:pt x="44" y="2058"/>
                    </a:lnTo>
                    <a:lnTo>
                      <a:pt x="32" y="2072"/>
                    </a:lnTo>
                    <a:lnTo>
                      <a:pt x="22" y="2088"/>
                    </a:lnTo>
                    <a:lnTo>
                      <a:pt x="14" y="2104"/>
                    </a:lnTo>
                    <a:lnTo>
                      <a:pt x="8" y="2122"/>
                    </a:lnTo>
                    <a:lnTo>
                      <a:pt x="4" y="2140"/>
                    </a:lnTo>
                    <a:lnTo>
                      <a:pt x="0" y="2158"/>
                    </a:lnTo>
                    <a:lnTo>
                      <a:pt x="0" y="2178"/>
                    </a:lnTo>
                    <a:lnTo>
                      <a:pt x="0" y="2178"/>
                    </a:lnTo>
                    <a:lnTo>
                      <a:pt x="0" y="2196"/>
                    </a:lnTo>
                    <a:lnTo>
                      <a:pt x="4" y="2216"/>
                    </a:lnTo>
                    <a:lnTo>
                      <a:pt x="8" y="2234"/>
                    </a:lnTo>
                    <a:lnTo>
                      <a:pt x="14" y="2250"/>
                    </a:lnTo>
                    <a:lnTo>
                      <a:pt x="22" y="2268"/>
                    </a:lnTo>
                    <a:lnTo>
                      <a:pt x="32" y="2282"/>
                    </a:lnTo>
                    <a:lnTo>
                      <a:pt x="44" y="2298"/>
                    </a:lnTo>
                    <a:lnTo>
                      <a:pt x="56" y="2310"/>
                    </a:lnTo>
                    <a:lnTo>
                      <a:pt x="68" y="2322"/>
                    </a:lnTo>
                    <a:lnTo>
                      <a:pt x="84" y="2334"/>
                    </a:lnTo>
                    <a:lnTo>
                      <a:pt x="98" y="2344"/>
                    </a:lnTo>
                    <a:lnTo>
                      <a:pt x="116" y="2352"/>
                    </a:lnTo>
                    <a:lnTo>
                      <a:pt x="132" y="2358"/>
                    </a:lnTo>
                    <a:lnTo>
                      <a:pt x="150" y="2362"/>
                    </a:lnTo>
                    <a:lnTo>
                      <a:pt x="170" y="2364"/>
                    </a:lnTo>
                    <a:lnTo>
                      <a:pt x="188" y="2366"/>
                    </a:lnTo>
                    <a:lnTo>
                      <a:pt x="188" y="2366"/>
                    </a:lnTo>
                    <a:lnTo>
                      <a:pt x="218" y="2364"/>
                    </a:lnTo>
                    <a:lnTo>
                      <a:pt x="246" y="2356"/>
                    </a:lnTo>
                    <a:lnTo>
                      <a:pt x="274" y="2346"/>
                    </a:lnTo>
                    <a:lnTo>
                      <a:pt x="298" y="2332"/>
                    </a:lnTo>
                    <a:lnTo>
                      <a:pt x="650" y="2508"/>
                    </a:lnTo>
                    <a:lnTo>
                      <a:pt x="650" y="2508"/>
                    </a:lnTo>
                    <a:lnTo>
                      <a:pt x="644" y="2534"/>
                    </a:lnTo>
                    <a:lnTo>
                      <a:pt x="642" y="2562"/>
                    </a:lnTo>
                    <a:lnTo>
                      <a:pt x="642" y="2562"/>
                    </a:lnTo>
                    <a:lnTo>
                      <a:pt x="642" y="2582"/>
                    </a:lnTo>
                    <a:lnTo>
                      <a:pt x="646" y="2600"/>
                    </a:lnTo>
                    <a:lnTo>
                      <a:pt x="650" y="2618"/>
                    </a:lnTo>
                    <a:lnTo>
                      <a:pt x="656" y="2636"/>
                    </a:lnTo>
                    <a:lnTo>
                      <a:pt x="664" y="2652"/>
                    </a:lnTo>
                    <a:lnTo>
                      <a:pt x="674" y="2668"/>
                    </a:lnTo>
                    <a:lnTo>
                      <a:pt x="684" y="2682"/>
                    </a:lnTo>
                    <a:lnTo>
                      <a:pt x="698" y="2696"/>
                    </a:lnTo>
                    <a:lnTo>
                      <a:pt x="710" y="2708"/>
                    </a:lnTo>
                    <a:lnTo>
                      <a:pt x="726" y="2718"/>
                    </a:lnTo>
                    <a:lnTo>
                      <a:pt x="740" y="2728"/>
                    </a:lnTo>
                    <a:lnTo>
                      <a:pt x="758" y="2736"/>
                    </a:lnTo>
                    <a:lnTo>
                      <a:pt x="774" y="2742"/>
                    </a:lnTo>
                    <a:lnTo>
                      <a:pt x="792" y="2748"/>
                    </a:lnTo>
                    <a:lnTo>
                      <a:pt x="812" y="2750"/>
                    </a:lnTo>
                    <a:lnTo>
                      <a:pt x="830" y="2752"/>
                    </a:lnTo>
                    <a:lnTo>
                      <a:pt x="830" y="2752"/>
                    </a:lnTo>
                    <a:lnTo>
                      <a:pt x="850" y="2750"/>
                    </a:lnTo>
                    <a:lnTo>
                      <a:pt x="868" y="2748"/>
                    </a:lnTo>
                    <a:lnTo>
                      <a:pt x="886" y="2742"/>
                    </a:lnTo>
                    <a:lnTo>
                      <a:pt x="904" y="2736"/>
                    </a:lnTo>
                    <a:lnTo>
                      <a:pt x="920" y="2728"/>
                    </a:lnTo>
                    <a:lnTo>
                      <a:pt x="936" y="2718"/>
                    </a:lnTo>
                    <a:lnTo>
                      <a:pt x="950" y="2708"/>
                    </a:lnTo>
                    <a:lnTo>
                      <a:pt x="964" y="2696"/>
                    </a:lnTo>
                    <a:lnTo>
                      <a:pt x="976" y="2682"/>
                    </a:lnTo>
                    <a:lnTo>
                      <a:pt x="986" y="2668"/>
                    </a:lnTo>
                    <a:lnTo>
                      <a:pt x="996" y="2652"/>
                    </a:lnTo>
                    <a:lnTo>
                      <a:pt x="1004" y="2636"/>
                    </a:lnTo>
                    <a:lnTo>
                      <a:pt x="1010" y="2618"/>
                    </a:lnTo>
                    <a:lnTo>
                      <a:pt x="1016" y="2600"/>
                    </a:lnTo>
                    <a:lnTo>
                      <a:pt x="1018" y="2582"/>
                    </a:lnTo>
                    <a:lnTo>
                      <a:pt x="1018" y="2562"/>
                    </a:lnTo>
                    <a:lnTo>
                      <a:pt x="1018" y="2562"/>
                    </a:lnTo>
                    <a:lnTo>
                      <a:pt x="1018" y="2544"/>
                    </a:lnTo>
                    <a:lnTo>
                      <a:pt x="1016" y="2524"/>
                    </a:lnTo>
                    <a:lnTo>
                      <a:pt x="1010" y="2506"/>
                    </a:lnTo>
                    <a:lnTo>
                      <a:pt x="1004" y="2490"/>
                    </a:lnTo>
                    <a:lnTo>
                      <a:pt x="996" y="2472"/>
                    </a:lnTo>
                    <a:lnTo>
                      <a:pt x="986" y="2458"/>
                    </a:lnTo>
                    <a:lnTo>
                      <a:pt x="976" y="2442"/>
                    </a:lnTo>
                    <a:lnTo>
                      <a:pt x="964" y="2430"/>
                    </a:lnTo>
                    <a:lnTo>
                      <a:pt x="950" y="2418"/>
                    </a:lnTo>
                    <a:lnTo>
                      <a:pt x="936" y="2406"/>
                    </a:lnTo>
                    <a:lnTo>
                      <a:pt x="920" y="2396"/>
                    </a:lnTo>
                    <a:lnTo>
                      <a:pt x="904" y="2388"/>
                    </a:lnTo>
                    <a:lnTo>
                      <a:pt x="886" y="2382"/>
                    </a:lnTo>
                    <a:lnTo>
                      <a:pt x="868" y="2378"/>
                    </a:lnTo>
                    <a:lnTo>
                      <a:pt x="850" y="2374"/>
                    </a:lnTo>
                    <a:lnTo>
                      <a:pt x="830" y="2374"/>
                    </a:lnTo>
                    <a:lnTo>
                      <a:pt x="830" y="2374"/>
                    </a:lnTo>
                    <a:lnTo>
                      <a:pt x="800" y="2376"/>
                    </a:lnTo>
                    <a:lnTo>
                      <a:pt x="772" y="2384"/>
                    </a:lnTo>
                    <a:lnTo>
                      <a:pt x="746" y="2394"/>
                    </a:lnTo>
                    <a:lnTo>
                      <a:pt x="722" y="2408"/>
                    </a:lnTo>
                    <a:lnTo>
                      <a:pt x="368" y="2232"/>
                    </a:lnTo>
                    <a:lnTo>
                      <a:pt x="368" y="2232"/>
                    </a:lnTo>
                    <a:lnTo>
                      <a:pt x="374" y="2206"/>
                    </a:lnTo>
                    <a:lnTo>
                      <a:pt x="378" y="2178"/>
                    </a:lnTo>
                    <a:lnTo>
                      <a:pt x="378" y="2178"/>
                    </a:lnTo>
                    <a:lnTo>
                      <a:pt x="374" y="2150"/>
                    </a:lnTo>
                    <a:lnTo>
                      <a:pt x="368" y="2122"/>
                    </a:lnTo>
                    <a:lnTo>
                      <a:pt x="722" y="1946"/>
                    </a:lnTo>
                    <a:lnTo>
                      <a:pt x="722" y="1946"/>
                    </a:lnTo>
                    <a:lnTo>
                      <a:pt x="746" y="1962"/>
                    </a:lnTo>
                    <a:lnTo>
                      <a:pt x="772" y="1972"/>
                    </a:lnTo>
                    <a:lnTo>
                      <a:pt x="786" y="1976"/>
                    </a:lnTo>
                    <a:lnTo>
                      <a:pt x="800" y="1980"/>
                    </a:lnTo>
                    <a:lnTo>
                      <a:pt x="816" y="1982"/>
                    </a:lnTo>
                    <a:lnTo>
                      <a:pt x="830" y="1982"/>
                    </a:lnTo>
                    <a:lnTo>
                      <a:pt x="830" y="1982"/>
                    </a:lnTo>
                    <a:lnTo>
                      <a:pt x="846" y="1982"/>
                    </a:lnTo>
                    <a:lnTo>
                      <a:pt x="860" y="1980"/>
                    </a:lnTo>
                    <a:lnTo>
                      <a:pt x="890" y="1974"/>
                    </a:lnTo>
                    <a:lnTo>
                      <a:pt x="916" y="1962"/>
                    </a:lnTo>
                    <a:lnTo>
                      <a:pt x="942" y="1946"/>
                    </a:lnTo>
                    <a:lnTo>
                      <a:pt x="964" y="1928"/>
                    </a:lnTo>
                    <a:lnTo>
                      <a:pt x="982" y="1906"/>
                    </a:lnTo>
                    <a:lnTo>
                      <a:pt x="998" y="1882"/>
                    </a:lnTo>
                    <a:lnTo>
                      <a:pt x="1010" y="1856"/>
                    </a:lnTo>
                    <a:lnTo>
                      <a:pt x="1280" y="1856"/>
                    </a:lnTo>
                    <a:lnTo>
                      <a:pt x="1280" y="1856"/>
                    </a:lnTo>
                    <a:lnTo>
                      <a:pt x="1296" y="1914"/>
                    </a:lnTo>
                    <a:lnTo>
                      <a:pt x="1314" y="1970"/>
                    </a:lnTo>
                    <a:lnTo>
                      <a:pt x="1332" y="2026"/>
                    </a:lnTo>
                    <a:lnTo>
                      <a:pt x="1354" y="2080"/>
                    </a:lnTo>
                    <a:lnTo>
                      <a:pt x="1376" y="2134"/>
                    </a:lnTo>
                    <a:lnTo>
                      <a:pt x="1400" y="2186"/>
                    </a:lnTo>
                    <a:lnTo>
                      <a:pt x="1426" y="2236"/>
                    </a:lnTo>
                    <a:lnTo>
                      <a:pt x="1454" y="2284"/>
                    </a:lnTo>
                    <a:lnTo>
                      <a:pt x="1454" y="2284"/>
                    </a:lnTo>
                    <a:lnTo>
                      <a:pt x="1490" y="2340"/>
                    </a:lnTo>
                    <a:lnTo>
                      <a:pt x="1528" y="2392"/>
                    </a:lnTo>
                    <a:lnTo>
                      <a:pt x="1568" y="2442"/>
                    </a:lnTo>
                    <a:lnTo>
                      <a:pt x="1608" y="2486"/>
                    </a:lnTo>
                    <a:lnTo>
                      <a:pt x="1608" y="2486"/>
                    </a:lnTo>
                    <a:lnTo>
                      <a:pt x="1566" y="2468"/>
                    </a:lnTo>
                    <a:lnTo>
                      <a:pt x="1522" y="2448"/>
                    </a:lnTo>
                    <a:lnTo>
                      <a:pt x="1480" y="2428"/>
                    </a:lnTo>
                    <a:lnTo>
                      <a:pt x="1440" y="2404"/>
                    </a:lnTo>
                    <a:lnTo>
                      <a:pt x="1400" y="2380"/>
                    </a:lnTo>
                    <a:lnTo>
                      <a:pt x="1360" y="2354"/>
                    </a:lnTo>
                    <a:lnTo>
                      <a:pt x="1322" y="2328"/>
                    </a:lnTo>
                    <a:lnTo>
                      <a:pt x="1284" y="2298"/>
                    </a:lnTo>
                    <a:lnTo>
                      <a:pt x="1248" y="2268"/>
                    </a:lnTo>
                    <a:lnTo>
                      <a:pt x="1212" y="2236"/>
                    </a:lnTo>
                    <a:lnTo>
                      <a:pt x="1178" y="2202"/>
                    </a:lnTo>
                    <a:lnTo>
                      <a:pt x="1146" y="2168"/>
                    </a:lnTo>
                    <a:lnTo>
                      <a:pt x="1114" y="2132"/>
                    </a:lnTo>
                    <a:lnTo>
                      <a:pt x="1084" y="2096"/>
                    </a:lnTo>
                    <a:lnTo>
                      <a:pt x="1056" y="2056"/>
                    </a:lnTo>
                    <a:lnTo>
                      <a:pt x="1028" y="2016"/>
                    </a:lnTo>
                    <a:lnTo>
                      <a:pt x="928" y="2082"/>
                    </a:lnTo>
                    <a:lnTo>
                      <a:pt x="928" y="2082"/>
                    </a:lnTo>
                    <a:lnTo>
                      <a:pt x="952" y="2118"/>
                    </a:lnTo>
                    <a:lnTo>
                      <a:pt x="976" y="2152"/>
                    </a:lnTo>
                    <a:lnTo>
                      <a:pt x="1002" y="2184"/>
                    </a:lnTo>
                    <a:lnTo>
                      <a:pt x="1028" y="2218"/>
                    </a:lnTo>
                    <a:lnTo>
                      <a:pt x="1056" y="2248"/>
                    </a:lnTo>
                    <a:lnTo>
                      <a:pt x="1086" y="2278"/>
                    </a:lnTo>
                    <a:lnTo>
                      <a:pt x="1114" y="2308"/>
                    </a:lnTo>
                    <a:lnTo>
                      <a:pt x="1144" y="2336"/>
                    </a:lnTo>
                    <a:lnTo>
                      <a:pt x="1176" y="2364"/>
                    </a:lnTo>
                    <a:lnTo>
                      <a:pt x="1208" y="2390"/>
                    </a:lnTo>
                    <a:lnTo>
                      <a:pt x="1240" y="2416"/>
                    </a:lnTo>
                    <a:lnTo>
                      <a:pt x="1272" y="2440"/>
                    </a:lnTo>
                    <a:lnTo>
                      <a:pt x="1306" y="2464"/>
                    </a:lnTo>
                    <a:lnTo>
                      <a:pt x="1342" y="2486"/>
                    </a:lnTo>
                    <a:lnTo>
                      <a:pt x="1376" y="2506"/>
                    </a:lnTo>
                    <a:lnTo>
                      <a:pt x="1412" y="2526"/>
                    </a:lnTo>
                    <a:lnTo>
                      <a:pt x="1448" y="2546"/>
                    </a:lnTo>
                    <a:lnTo>
                      <a:pt x="1486" y="2564"/>
                    </a:lnTo>
                    <a:lnTo>
                      <a:pt x="1524" y="2580"/>
                    </a:lnTo>
                    <a:lnTo>
                      <a:pt x="1562" y="2596"/>
                    </a:lnTo>
                    <a:lnTo>
                      <a:pt x="1600" y="2610"/>
                    </a:lnTo>
                    <a:lnTo>
                      <a:pt x="1640" y="2624"/>
                    </a:lnTo>
                    <a:lnTo>
                      <a:pt x="1678" y="2636"/>
                    </a:lnTo>
                    <a:lnTo>
                      <a:pt x="1718" y="2646"/>
                    </a:lnTo>
                    <a:lnTo>
                      <a:pt x="1758" y="2656"/>
                    </a:lnTo>
                    <a:lnTo>
                      <a:pt x="1800" y="2664"/>
                    </a:lnTo>
                    <a:lnTo>
                      <a:pt x="1840" y="2670"/>
                    </a:lnTo>
                    <a:lnTo>
                      <a:pt x="1882" y="2676"/>
                    </a:lnTo>
                    <a:lnTo>
                      <a:pt x="1924" y="2682"/>
                    </a:lnTo>
                    <a:lnTo>
                      <a:pt x="1966" y="2684"/>
                    </a:lnTo>
                    <a:lnTo>
                      <a:pt x="2008" y="2686"/>
                    </a:lnTo>
                    <a:lnTo>
                      <a:pt x="2050" y="2686"/>
                    </a:lnTo>
                    <a:lnTo>
                      <a:pt x="2050" y="2686"/>
                    </a:lnTo>
                    <a:lnTo>
                      <a:pt x="2110" y="2686"/>
                    </a:lnTo>
                    <a:lnTo>
                      <a:pt x="2170" y="2682"/>
                    </a:lnTo>
                    <a:lnTo>
                      <a:pt x="2230" y="2676"/>
                    </a:lnTo>
                    <a:lnTo>
                      <a:pt x="2290" y="2666"/>
                    </a:lnTo>
                    <a:lnTo>
                      <a:pt x="2348" y="2654"/>
                    </a:lnTo>
                    <a:lnTo>
                      <a:pt x="2406" y="2640"/>
                    </a:lnTo>
                    <a:lnTo>
                      <a:pt x="2464" y="2622"/>
                    </a:lnTo>
                    <a:lnTo>
                      <a:pt x="2520" y="2604"/>
                    </a:lnTo>
                    <a:lnTo>
                      <a:pt x="2576" y="2582"/>
                    </a:lnTo>
                    <a:lnTo>
                      <a:pt x="2630" y="2556"/>
                    </a:lnTo>
                    <a:lnTo>
                      <a:pt x="2684" y="2530"/>
                    </a:lnTo>
                    <a:lnTo>
                      <a:pt x="2736" y="2500"/>
                    </a:lnTo>
                    <a:lnTo>
                      <a:pt x="2786" y="2470"/>
                    </a:lnTo>
                    <a:lnTo>
                      <a:pt x="2836" y="2436"/>
                    </a:lnTo>
                    <a:lnTo>
                      <a:pt x="2884" y="2398"/>
                    </a:lnTo>
                    <a:lnTo>
                      <a:pt x="2930" y="2360"/>
                    </a:lnTo>
                    <a:lnTo>
                      <a:pt x="2930" y="2360"/>
                    </a:lnTo>
                    <a:lnTo>
                      <a:pt x="2972" y="2322"/>
                    </a:lnTo>
                    <a:lnTo>
                      <a:pt x="3012" y="2282"/>
                    </a:lnTo>
                    <a:lnTo>
                      <a:pt x="3052" y="2242"/>
                    </a:lnTo>
                    <a:lnTo>
                      <a:pt x="3088" y="2198"/>
                    </a:lnTo>
                    <a:lnTo>
                      <a:pt x="3122" y="2154"/>
                    </a:lnTo>
                    <a:lnTo>
                      <a:pt x="3156" y="2108"/>
                    </a:lnTo>
                    <a:lnTo>
                      <a:pt x="3186" y="2062"/>
                    </a:lnTo>
                    <a:lnTo>
                      <a:pt x="3216" y="2014"/>
                    </a:lnTo>
                    <a:lnTo>
                      <a:pt x="3242" y="1964"/>
                    </a:lnTo>
                    <a:lnTo>
                      <a:pt x="3266" y="1914"/>
                    </a:lnTo>
                    <a:lnTo>
                      <a:pt x="3290" y="1864"/>
                    </a:lnTo>
                    <a:lnTo>
                      <a:pt x="3310" y="1812"/>
                    </a:lnTo>
                    <a:lnTo>
                      <a:pt x="3328" y="1760"/>
                    </a:lnTo>
                    <a:lnTo>
                      <a:pt x="3344" y="1708"/>
                    </a:lnTo>
                    <a:lnTo>
                      <a:pt x="3358" y="1654"/>
                    </a:lnTo>
                    <a:lnTo>
                      <a:pt x="3370" y="1600"/>
                    </a:lnTo>
                    <a:lnTo>
                      <a:pt x="3718" y="1600"/>
                    </a:lnTo>
                    <a:lnTo>
                      <a:pt x="3718" y="1938"/>
                    </a:lnTo>
                    <a:lnTo>
                      <a:pt x="4096" y="1560"/>
                    </a:lnTo>
                    <a:lnTo>
                      <a:pt x="4096" y="710"/>
                    </a:lnTo>
                    <a:lnTo>
                      <a:pt x="3234" y="71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0">
                <a:extLst>
                  <a:ext uri="{FF2B5EF4-FFF2-40B4-BE49-F238E27FC236}">
                    <a16:creationId xmlns:a16="http://schemas.microsoft.com/office/drawing/2014/main" id="{AD23FD8C-A0D0-4EA6-85ED-061BF665730A}"/>
                  </a:ext>
                </a:extLst>
              </p:cNvPr>
              <p:cNvSpPr>
                <a:spLocks/>
              </p:cNvSpPr>
              <p:nvPr/>
            </p:nvSpPr>
            <p:spPr bwMode="auto">
              <a:xfrm>
                <a:off x="1374528" y="-2517785"/>
                <a:ext cx="236869" cy="550452"/>
              </a:xfrm>
              <a:custGeom>
                <a:avLst/>
                <a:gdLst>
                  <a:gd name="T0" fmla="*/ 240 w 352"/>
                  <a:gd name="T1" fmla="*/ 818 h 818"/>
                  <a:gd name="T2" fmla="*/ 104 w 352"/>
                  <a:gd name="T3" fmla="*/ 818 h 818"/>
                  <a:gd name="T4" fmla="*/ 104 w 352"/>
                  <a:gd name="T5" fmla="*/ 176 h 818"/>
                  <a:gd name="T6" fmla="*/ 0 w 352"/>
                  <a:gd name="T7" fmla="*/ 176 h 818"/>
                  <a:gd name="T8" fmla="*/ 176 w 352"/>
                  <a:gd name="T9" fmla="*/ 0 h 818"/>
                  <a:gd name="T10" fmla="*/ 352 w 352"/>
                  <a:gd name="T11" fmla="*/ 176 h 818"/>
                  <a:gd name="T12" fmla="*/ 240 w 352"/>
                  <a:gd name="T13" fmla="*/ 176 h 818"/>
                  <a:gd name="T14" fmla="*/ 240 w 352"/>
                  <a:gd name="T15" fmla="*/ 818 h 8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2" h="818">
                    <a:moveTo>
                      <a:pt x="240" y="818"/>
                    </a:moveTo>
                    <a:lnTo>
                      <a:pt x="104" y="818"/>
                    </a:lnTo>
                    <a:lnTo>
                      <a:pt x="104" y="176"/>
                    </a:lnTo>
                    <a:lnTo>
                      <a:pt x="0" y="176"/>
                    </a:lnTo>
                    <a:lnTo>
                      <a:pt x="176" y="0"/>
                    </a:lnTo>
                    <a:lnTo>
                      <a:pt x="352" y="176"/>
                    </a:lnTo>
                    <a:lnTo>
                      <a:pt x="240" y="176"/>
                    </a:lnTo>
                    <a:lnTo>
                      <a:pt x="240" y="8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11">
                <a:extLst>
                  <a:ext uri="{FF2B5EF4-FFF2-40B4-BE49-F238E27FC236}">
                    <a16:creationId xmlns:a16="http://schemas.microsoft.com/office/drawing/2014/main" id="{0B4F8391-4FF6-4447-A907-56582439B6D5}"/>
                  </a:ext>
                </a:extLst>
              </p:cNvPr>
              <p:cNvSpPr>
                <a:spLocks/>
              </p:cNvSpPr>
              <p:nvPr/>
            </p:nvSpPr>
            <p:spPr bwMode="auto">
              <a:xfrm>
                <a:off x="1058254" y="-1283642"/>
                <a:ext cx="91518" cy="91518"/>
              </a:xfrm>
              <a:custGeom>
                <a:avLst/>
                <a:gdLst>
                  <a:gd name="T0" fmla="*/ 0 w 136"/>
                  <a:gd name="T1" fmla="*/ 68 h 136"/>
                  <a:gd name="T2" fmla="*/ 0 w 136"/>
                  <a:gd name="T3" fmla="*/ 68 h 136"/>
                  <a:gd name="T4" fmla="*/ 2 w 136"/>
                  <a:gd name="T5" fmla="*/ 54 h 136"/>
                  <a:gd name="T6" fmla="*/ 6 w 136"/>
                  <a:gd name="T7" fmla="*/ 40 h 136"/>
                  <a:gd name="T8" fmla="*/ 12 w 136"/>
                  <a:gd name="T9" fmla="*/ 30 h 136"/>
                  <a:gd name="T10" fmla="*/ 20 w 136"/>
                  <a:gd name="T11" fmla="*/ 20 h 136"/>
                  <a:gd name="T12" fmla="*/ 30 w 136"/>
                  <a:gd name="T13" fmla="*/ 10 h 136"/>
                  <a:gd name="T14" fmla="*/ 42 w 136"/>
                  <a:gd name="T15" fmla="*/ 4 h 136"/>
                  <a:gd name="T16" fmla="*/ 54 w 136"/>
                  <a:gd name="T17" fmla="*/ 0 h 136"/>
                  <a:gd name="T18" fmla="*/ 68 w 136"/>
                  <a:gd name="T19" fmla="*/ 0 h 136"/>
                  <a:gd name="T20" fmla="*/ 68 w 136"/>
                  <a:gd name="T21" fmla="*/ 0 h 136"/>
                  <a:gd name="T22" fmla="*/ 82 w 136"/>
                  <a:gd name="T23" fmla="*/ 0 h 136"/>
                  <a:gd name="T24" fmla="*/ 96 w 136"/>
                  <a:gd name="T25" fmla="*/ 4 h 136"/>
                  <a:gd name="T26" fmla="*/ 106 w 136"/>
                  <a:gd name="T27" fmla="*/ 10 h 136"/>
                  <a:gd name="T28" fmla="*/ 116 w 136"/>
                  <a:gd name="T29" fmla="*/ 20 h 136"/>
                  <a:gd name="T30" fmla="*/ 126 w 136"/>
                  <a:gd name="T31" fmla="*/ 30 h 136"/>
                  <a:gd name="T32" fmla="*/ 132 w 136"/>
                  <a:gd name="T33" fmla="*/ 40 h 136"/>
                  <a:gd name="T34" fmla="*/ 136 w 136"/>
                  <a:gd name="T35" fmla="*/ 54 h 136"/>
                  <a:gd name="T36" fmla="*/ 136 w 136"/>
                  <a:gd name="T37" fmla="*/ 68 h 136"/>
                  <a:gd name="T38" fmla="*/ 136 w 136"/>
                  <a:gd name="T39" fmla="*/ 68 h 136"/>
                  <a:gd name="T40" fmla="*/ 136 w 136"/>
                  <a:gd name="T41" fmla="*/ 82 h 136"/>
                  <a:gd name="T42" fmla="*/ 132 w 136"/>
                  <a:gd name="T43" fmla="*/ 94 h 136"/>
                  <a:gd name="T44" fmla="*/ 126 w 136"/>
                  <a:gd name="T45" fmla="*/ 106 h 136"/>
                  <a:gd name="T46" fmla="*/ 116 w 136"/>
                  <a:gd name="T47" fmla="*/ 116 h 136"/>
                  <a:gd name="T48" fmla="*/ 106 w 136"/>
                  <a:gd name="T49" fmla="*/ 124 h 136"/>
                  <a:gd name="T50" fmla="*/ 96 w 136"/>
                  <a:gd name="T51" fmla="*/ 130 h 136"/>
                  <a:gd name="T52" fmla="*/ 82 w 136"/>
                  <a:gd name="T53" fmla="*/ 134 h 136"/>
                  <a:gd name="T54" fmla="*/ 68 w 136"/>
                  <a:gd name="T55" fmla="*/ 136 h 136"/>
                  <a:gd name="T56" fmla="*/ 68 w 136"/>
                  <a:gd name="T57" fmla="*/ 136 h 136"/>
                  <a:gd name="T58" fmla="*/ 54 w 136"/>
                  <a:gd name="T59" fmla="*/ 134 h 136"/>
                  <a:gd name="T60" fmla="*/ 42 w 136"/>
                  <a:gd name="T61" fmla="*/ 130 h 136"/>
                  <a:gd name="T62" fmla="*/ 30 w 136"/>
                  <a:gd name="T63" fmla="*/ 124 h 136"/>
                  <a:gd name="T64" fmla="*/ 20 w 136"/>
                  <a:gd name="T65" fmla="*/ 116 h 136"/>
                  <a:gd name="T66" fmla="*/ 12 w 136"/>
                  <a:gd name="T67" fmla="*/ 106 h 136"/>
                  <a:gd name="T68" fmla="*/ 6 w 136"/>
                  <a:gd name="T69" fmla="*/ 94 h 136"/>
                  <a:gd name="T70" fmla="*/ 2 w 136"/>
                  <a:gd name="T71" fmla="*/ 82 h 136"/>
                  <a:gd name="T72" fmla="*/ 0 w 136"/>
                  <a:gd name="T73" fmla="*/ 68 h 136"/>
                  <a:gd name="T74" fmla="*/ 0 w 136"/>
                  <a:gd name="T75"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36">
                    <a:moveTo>
                      <a:pt x="0" y="68"/>
                    </a:moveTo>
                    <a:lnTo>
                      <a:pt x="0" y="68"/>
                    </a:lnTo>
                    <a:lnTo>
                      <a:pt x="2" y="54"/>
                    </a:lnTo>
                    <a:lnTo>
                      <a:pt x="6" y="40"/>
                    </a:lnTo>
                    <a:lnTo>
                      <a:pt x="12" y="30"/>
                    </a:lnTo>
                    <a:lnTo>
                      <a:pt x="20" y="20"/>
                    </a:lnTo>
                    <a:lnTo>
                      <a:pt x="30" y="10"/>
                    </a:lnTo>
                    <a:lnTo>
                      <a:pt x="42" y="4"/>
                    </a:lnTo>
                    <a:lnTo>
                      <a:pt x="54" y="0"/>
                    </a:lnTo>
                    <a:lnTo>
                      <a:pt x="68" y="0"/>
                    </a:lnTo>
                    <a:lnTo>
                      <a:pt x="68" y="0"/>
                    </a:lnTo>
                    <a:lnTo>
                      <a:pt x="82" y="0"/>
                    </a:lnTo>
                    <a:lnTo>
                      <a:pt x="96" y="4"/>
                    </a:lnTo>
                    <a:lnTo>
                      <a:pt x="106" y="10"/>
                    </a:lnTo>
                    <a:lnTo>
                      <a:pt x="116" y="20"/>
                    </a:lnTo>
                    <a:lnTo>
                      <a:pt x="126" y="30"/>
                    </a:lnTo>
                    <a:lnTo>
                      <a:pt x="132" y="40"/>
                    </a:lnTo>
                    <a:lnTo>
                      <a:pt x="136" y="54"/>
                    </a:lnTo>
                    <a:lnTo>
                      <a:pt x="136" y="68"/>
                    </a:lnTo>
                    <a:lnTo>
                      <a:pt x="136" y="68"/>
                    </a:lnTo>
                    <a:lnTo>
                      <a:pt x="136" y="82"/>
                    </a:lnTo>
                    <a:lnTo>
                      <a:pt x="132" y="94"/>
                    </a:lnTo>
                    <a:lnTo>
                      <a:pt x="126" y="106"/>
                    </a:lnTo>
                    <a:lnTo>
                      <a:pt x="116" y="116"/>
                    </a:lnTo>
                    <a:lnTo>
                      <a:pt x="106" y="124"/>
                    </a:lnTo>
                    <a:lnTo>
                      <a:pt x="96" y="130"/>
                    </a:lnTo>
                    <a:lnTo>
                      <a:pt x="82" y="134"/>
                    </a:lnTo>
                    <a:lnTo>
                      <a:pt x="68" y="136"/>
                    </a:lnTo>
                    <a:lnTo>
                      <a:pt x="68" y="136"/>
                    </a:lnTo>
                    <a:lnTo>
                      <a:pt x="54" y="134"/>
                    </a:lnTo>
                    <a:lnTo>
                      <a:pt x="42" y="130"/>
                    </a:lnTo>
                    <a:lnTo>
                      <a:pt x="30" y="124"/>
                    </a:lnTo>
                    <a:lnTo>
                      <a:pt x="20" y="116"/>
                    </a:lnTo>
                    <a:lnTo>
                      <a:pt x="12" y="106"/>
                    </a:lnTo>
                    <a:lnTo>
                      <a:pt x="6" y="94"/>
                    </a:lnTo>
                    <a:lnTo>
                      <a:pt x="2" y="82"/>
                    </a:lnTo>
                    <a:lnTo>
                      <a:pt x="0" y="68"/>
                    </a:lnTo>
                    <a:lnTo>
                      <a:pt x="0" y="6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12">
                <a:extLst>
                  <a:ext uri="{FF2B5EF4-FFF2-40B4-BE49-F238E27FC236}">
                    <a16:creationId xmlns:a16="http://schemas.microsoft.com/office/drawing/2014/main" id="{5117DEAB-E085-48B8-A437-FD13F9993490}"/>
                  </a:ext>
                </a:extLst>
              </p:cNvPr>
              <p:cNvSpPr>
                <a:spLocks/>
              </p:cNvSpPr>
              <p:nvPr/>
            </p:nvSpPr>
            <p:spPr bwMode="auto">
              <a:xfrm>
                <a:off x="1490271" y="-1025239"/>
                <a:ext cx="91518" cy="91518"/>
              </a:xfrm>
              <a:custGeom>
                <a:avLst/>
                <a:gdLst>
                  <a:gd name="T0" fmla="*/ 136 w 136"/>
                  <a:gd name="T1" fmla="*/ 68 h 136"/>
                  <a:gd name="T2" fmla="*/ 136 w 136"/>
                  <a:gd name="T3" fmla="*/ 68 h 136"/>
                  <a:gd name="T4" fmla="*/ 136 w 136"/>
                  <a:gd name="T5" fmla="*/ 82 h 136"/>
                  <a:gd name="T6" fmla="*/ 132 w 136"/>
                  <a:gd name="T7" fmla="*/ 96 h 136"/>
                  <a:gd name="T8" fmla="*/ 124 w 136"/>
                  <a:gd name="T9" fmla="*/ 106 h 136"/>
                  <a:gd name="T10" fmla="*/ 116 w 136"/>
                  <a:gd name="T11" fmla="*/ 116 h 136"/>
                  <a:gd name="T12" fmla="*/ 106 w 136"/>
                  <a:gd name="T13" fmla="*/ 126 h 136"/>
                  <a:gd name="T14" fmla="*/ 94 w 136"/>
                  <a:gd name="T15" fmla="*/ 132 h 136"/>
                  <a:gd name="T16" fmla="*/ 82 w 136"/>
                  <a:gd name="T17" fmla="*/ 136 h 136"/>
                  <a:gd name="T18" fmla="*/ 68 w 136"/>
                  <a:gd name="T19" fmla="*/ 136 h 136"/>
                  <a:gd name="T20" fmla="*/ 68 w 136"/>
                  <a:gd name="T21" fmla="*/ 136 h 136"/>
                  <a:gd name="T22" fmla="*/ 54 w 136"/>
                  <a:gd name="T23" fmla="*/ 136 h 136"/>
                  <a:gd name="T24" fmla="*/ 42 w 136"/>
                  <a:gd name="T25" fmla="*/ 132 h 136"/>
                  <a:gd name="T26" fmla="*/ 30 w 136"/>
                  <a:gd name="T27" fmla="*/ 126 h 136"/>
                  <a:gd name="T28" fmla="*/ 20 w 136"/>
                  <a:gd name="T29" fmla="*/ 116 h 136"/>
                  <a:gd name="T30" fmla="*/ 12 w 136"/>
                  <a:gd name="T31" fmla="*/ 106 h 136"/>
                  <a:gd name="T32" fmla="*/ 6 w 136"/>
                  <a:gd name="T33" fmla="*/ 96 h 136"/>
                  <a:gd name="T34" fmla="*/ 2 w 136"/>
                  <a:gd name="T35" fmla="*/ 82 h 136"/>
                  <a:gd name="T36" fmla="*/ 0 w 136"/>
                  <a:gd name="T37" fmla="*/ 68 h 136"/>
                  <a:gd name="T38" fmla="*/ 0 w 136"/>
                  <a:gd name="T39" fmla="*/ 68 h 136"/>
                  <a:gd name="T40" fmla="*/ 2 w 136"/>
                  <a:gd name="T41" fmla="*/ 54 h 136"/>
                  <a:gd name="T42" fmla="*/ 6 w 136"/>
                  <a:gd name="T43" fmla="*/ 42 h 136"/>
                  <a:gd name="T44" fmla="*/ 12 w 136"/>
                  <a:gd name="T45" fmla="*/ 30 h 136"/>
                  <a:gd name="T46" fmla="*/ 20 w 136"/>
                  <a:gd name="T47" fmla="*/ 20 h 136"/>
                  <a:gd name="T48" fmla="*/ 30 w 136"/>
                  <a:gd name="T49" fmla="*/ 12 h 136"/>
                  <a:gd name="T50" fmla="*/ 42 w 136"/>
                  <a:gd name="T51" fmla="*/ 6 h 136"/>
                  <a:gd name="T52" fmla="*/ 54 w 136"/>
                  <a:gd name="T53" fmla="*/ 2 h 136"/>
                  <a:gd name="T54" fmla="*/ 68 w 136"/>
                  <a:gd name="T55" fmla="*/ 0 h 136"/>
                  <a:gd name="T56" fmla="*/ 68 w 136"/>
                  <a:gd name="T57" fmla="*/ 0 h 136"/>
                  <a:gd name="T58" fmla="*/ 82 w 136"/>
                  <a:gd name="T59" fmla="*/ 2 h 136"/>
                  <a:gd name="T60" fmla="*/ 94 w 136"/>
                  <a:gd name="T61" fmla="*/ 6 h 136"/>
                  <a:gd name="T62" fmla="*/ 106 w 136"/>
                  <a:gd name="T63" fmla="*/ 12 h 136"/>
                  <a:gd name="T64" fmla="*/ 116 w 136"/>
                  <a:gd name="T65" fmla="*/ 20 h 136"/>
                  <a:gd name="T66" fmla="*/ 124 w 136"/>
                  <a:gd name="T67" fmla="*/ 30 h 136"/>
                  <a:gd name="T68" fmla="*/ 132 w 136"/>
                  <a:gd name="T69" fmla="*/ 42 h 136"/>
                  <a:gd name="T70" fmla="*/ 136 w 136"/>
                  <a:gd name="T71" fmla="*/ 54 h 136"/>
                  <a:gd name="T72" fmla="*/ 136 w 136"/>
                  <a:gd name="T73" fmla="*/ 68 h 136"/>
                  <a:gd name="T74" fmla="*/ 136 w 136"/>
                  <a:gd name="T75"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36">
                    <a:moveTo>
                      <a:pt x="136" y="68"/>
                    </a:moveTo>
                    <a:lnTo>
                      <a:pt x="136" y="68"/>
                    </a:lnTo>
                    <a:lnTo>
                      <a:pt x="136" y="82"/>
                    </a:lnTo>
                    <a:lnTo>
                      <a:pt x="132" y="96"/>
                    </a:lnTo>
                    <a:lnTo>
                      <a:pt x="124" y="106"/>
                    </a:lnTo>
                    <a:lnTo>
                      <a:pt x="116" y="116"/>
                    </a:lnTo>
                    <a:lnTo>
                      <a:pt x="106" y="126"/>
                    </a:lnTo>
                    <a:lnTo>
                      <a:pt x="94" y="132"/>
                    </a:lnTo>
                    <a:lnTo>
                      <a:pt x="82" y="136"/>
                    </a:lnTo>
                    <a:lnTo>
                      <a:pt x="68" y="136"/>
                    </a:lnTo>
                    <a:lnTo>
                      <a:pt x="68" y="136"/>
                    </a:lnTo>
                    <a:lnTo>
                      <a:pt x="54" y="136"/>
                    </a:lnTo>
                    <a:lnTo>
                      <a:pt x="42" y="132"/>
                    </a:lnTo>
                    <a:lnTo>
                      <a:pt x="30" y="126"/>
                    </a:lnTo>
                    <a:lnTo>
                      <a:pt x="20" y="116"/>
                    </a:lnTo>
                    <a:lnTo>
                      <a:pt x="12" y="106"/>
                    </a:lnTo>
                    <a:lnTo>
                      <a:pt x="6" y="96"/>
                    </a:lnTo>
                    <a:lnTo>
                      <a:pt x="2" y="82"/>
                    </a:lnTo>
                    <a:lnTo>
                      <a:pt x="0" y="68"/>
                    </a:lnTo>
                    <a:lnTo>
                      <a:pt x="0" y="68"/>
                    </a:lnTo>
                    <a:lnTo>
                      <a:pt x="2" y="54"/>
                    </a:lnTo>
                    <a:lnTo>
                      <a:pt x="6" y="42"/>
                    </a:lnTo>
                    <a:lnTo>
                      <a:pt x="12" y="30"/>
                    </a:lnTo>
                    <a:lnTo>
                      <a:pt x="20" y="20"/>
                    </a:lnTo>
                    <a:lnTo>
                      <a:pt x="30" y="12"/>
                    </a:lnTo>
                    <a:lnTo>
                      <a:pt x="42" y="6"/>
                    </a:lnTo>
                    <a:lnTo>
                      <a:pt x="54" y="2"/>
                    </a:lnTo>
                    <a:lnTo>
                      <a:pt x="68" y="0"/>
                    </a:lnTo>
                    <a:lnTo>
                      <a:pt x="68" y="0"/>
                    </a:lnTo>
                    <a:lnTo>
                      <a:pt x="82" y="2"/>
                    </a:lnTo>
                    <a:lnTo>
                      <a:pt x="94" y="6"/>
                    </a:lnTo>
                    <a:lnTo>
                      <a:pt x="106" y="12"/>
                    </a:lnTo>
                    <a:lnTo>
                      <a:pt x="116" y="20"/>
                    </a:lnTo>
                    <a:lnTo>
                      <a:pt x="124" y="30"/>
                    </a:lnTo>
                    <a:lnTo>
                      <a:pt x="132" y="42"/>
                    </a:lnTo>
                    <a:lnTo>
                      <a:pt x="136" y="54"/>
                    </a:lnTo>
                    <a:lnTo>
                      <a:pt x="136" y="68"/>
                    </a:lnTo>
                    <a:lnTo>
                      <a:pt x="136" y="6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13">
                <a:extLst>
                  <a:ext uri="{FF2B5EF4-FFF2-40B4-BE49-F238E27FC236}">
                    <a16:creationId xmlns:a16="http://schemas.microsoft.com/office/drawing/2014/main" id="{07A7DFEF-83EB-4951-9FEF-10228772F538}"/>
                  </a:ext>
                </a:extLst>
              </p:cNvPr>
              <p:cNvSpPr>
                <a:spLocks/>
              </p:cNvSpPr>
              <p:nvPr/>
            </p:nvSpPr>
            <p:spPr bwMode="auto">
              <a:xfrm>
                <a:off x="1490271" y="-1543391"/>
                <a:ext cx="91518" cy="91518"/>
              </a:xfrm>
              <a:custGeom>
                <a:avLst/>
                <a:gdLst>
                  <a:gd name="T0" fmla="*/ 68 w 136"/>
                  <a:gd name="T1" fmla="*/ 136 h 136"/>
                  <a:gd name="T2" fmla="*/ 68 w 136"/>
                  <a:gd name="T3" fmla="*/ 136 h 136"/>
                  <a:gd name="T4" fmla="*/ 54 w 136"/>
                  <a:gd name="T5" fmla="*/ 136 h 136"/>
                  <a:gd name="T6" fmla="*/ 42 w 136"/>
                  <a:gd name="T7" fmla="*/ 132 h 136"/>
                  <a:gd name="T8" fmla="*/ 30 w 136"/>
                  <a:gd name="T9" fmla="*/ 124 h 136"/>
                  <a:gd name="T10" fmla="*/ 20 w 136"/>
                  <a:gd name="T11" fmla="*/ 116 h 136"/>
                  <a:gd name="T12" fmla="*/ 12 w 136"/>
                  <a:gd name="T13" fmla="*/ 106 h 136"/>
                  <a:gd name="T14" fmla="*/ 6 w 136"/>
                  <a:gd name="T15" fmla="*/ 94 h 136"/>
                  <a:gd name="T16" fmla="*/ 2 w 136"/>
                  <a:gd name="T17" fmla="*/ 82 h 136"/>
                  <a:gd name="T18" fmla="*/ 0 w 136"/>
                  <a:gd name="T19" fmla="*/ 68 h 136"/>
                  <a:gd name="T20" fmla="*/ 0 w 136"/>
                  <a:gd name="T21" fmla="*/ 68 h 136"/>
                  <a:gd name="T22" fmla="*/ 2 w 136"/>
                  <a:gd name="T23" fmla="*/ 54 h 136"/>
                  <a:gd name="T24" fmla="*/ 6 w 136"/>
                  <a:gd name="T25" fmla="*/ 42 h 136"/>
                  <a:gd name="T26" fmla="*/ 12 w 136"/>
                  <a:gd name="T27" fmla="*/ 30 h 136"/>
                  <a:gd name="T28" fmla="*/ 20 w 136"/>
                  <a:gd name="T29" fmla="*/ 20 h 136"/>
                  <a:gd name="T30" fmla="*/ 30 w 136"/>
                  <a:gd name="T31" fmla="*/ 12 h 136"/>
                  <a:gd name="T32" fmla="*/ 42 w 136"/>
                  <a:gd name="T33" fmla="*/ 6 h 136"/>
                  <a:gd name="T34" fmla="*/ 54 w 136"/>
                  <a:gd name="T35" fmla="*/ 2 h 136"/>
                  <a:gd name="T36" fmla="*/ 68 w 136"/>
                  <a:gd name="T37" fmla="*/ 0 h 136"/>
                  <a:gd name="T38" fmla="*/ 68 w 136"/>
                  <a:gd name="T39" fmla="*/ 0 h 136"/>
                  <a:gd name="T40" fmla="*/ 82 w 136"/>
                  <a:gd name="T41" fmla="*/ 2 h 136"/>
                  <a:gd name="T42" fmla="*/ 94 w 136"/>
                  <a:gd name="T43" fmla="*/ 6 h 136"/>
                  <a:gd name="T44" fmla="*/ 106 w 136"/>
                  <a:gd name="T45" fmla="*/ 12 h 136"/>
                  <a:gd name="T46" fmla="*/ 116 w 136"/>
                  <a:gd name="T47" fmla="*/ 20 h 136"/>
                  <a:gd name="T48" fmla="*/ 124 w 136"/>
                  <a:gd name="T49" fmla="*/ 30 h 136"/>
                  <a:gd name="T50" fmla="*/ 132 w 136"/>
                  <a:gd name="T51" fmla="*/ 42 h 136"/>
                  <a:gd name="T52" fmla="*/ 136 w 136"/>
                  <a:gd name="T53" fmla="*/ 54 h 136"/>
                  <a:gd name="T54" fmla="*/ 136 w 136"/>
                  <a:gd name="T55" fmla="*/ 68 h 136"/>
                  <a:gd name="T56" fmla="*/ 136 w 136"/>
                  <a:gd name="T57" fmla="*/ 68 h 136"/>
                  <a:gd name="T58" fmla="*/ 136 w 136"/>
                  <a:gd name="T59" fmla="*/ 82 h 136"/>
                  <a:gd name="T60" fmla="*/ 132 w 136"/>
                  <a:gd name="T61" fmla="*/ 94 h 136"/>
                  <a:gd name="T62" fmla="*/ 124 w 136"/>
                  <a:gd name="T63" fmla="*/ 106 h 136"/>
                  <a:gd name="T64" fmla="*/ 116 w 136"/>
                  <a:gd name="T65" fmla="*/ 116 h 136"/>
                  <a:gd name="T66" fmla="*/ 106 w 136"/>
                  <a:gd name="T67" fmla="*/ 124 h 136"/>
                  <a:gd name="T68" fmla="*/ 94 w 136"/>
                  <a:gd name="T69" fmla="*/ 132 h 136"/>
                  <a:gd name="T70" fmla="*/ 82 w 136"/>
                  <a:gd name="T71" fmla="*/ 136 h 136"/>
                  <a:gd name="T72" fmla="*/ 68 w 136"/>
                  <a:gd name="T73" fmla="*/ 136 h 136"/>
                  <a:gd name="T74" fmla="*/ 68 w 136"/>
                  <a:gd name="T7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36">
                    <a:moveTo>
                      <a:pt x="68" y="136"/>
                    </a:moveTo>
                    <a:lnTo>
                      <a:pt x="68" y="136"/>
                    </a:lnTo>
                    <a:lnTo>
                      <a:pt x="54" y="136"/>
                    </a:lnTo>
                    <a:lnTo>
                      <a:pt x="42" y="132"/>
                    </a:lnTo>
                    <a:lnTo>
                      <a:pt x="30" y="124"/>
                    </a:lnTo>
                    <a:lnTo>
                      <a:pt x="20" y="116"/>
                    </a:lnTo>
                    <a:lnTo>
                      <a:pt x="12" y="106"/>
                    </a:lnTo>
                    <a:lnTo>
                      <a:pt x="6" y="94"/>
                    </a:lnTo>
                    <a:lnTo>
                      <a:pt x="2" y="82"/>
                    </a:lnTo>
                    <a:lnTo>
                      <a:pt x="0" y="68"/>
                    </a:lnTo>
                    <a:lnTo>
                      <a:pt x="0" y="68"/>
                    </a:lnTo>
                    <a:lnTo>
                      <a:pt x="2" y="54"/>
                    </a:lnTo>
                    <a:lnTo>
                      <a:pt x="6" y="42"/>
                    </a:lnTo>
                    <a:lnTo>
                      <a:pt x="12" y="30"/>
                    </a:lnTo>
                    <a:lnTo>
                      <a:pt x="20" y="20"/>
                    </a:lnTo>
                    <a:lnTo>
                      <a:pt x="30" y="12"/>
                    </a:lnTo>
                    <a:lnTo>
                      <a:pt x="42" y="6"/>
                    </a:lnTo>
                    <a:lnTo>
                      <a:pt x="54" y="2"/>
                    </a:lnTo>
                    <a:lnTo>
                      <a:pt x="68" y="0"/>
                    </a:lnTo>
                    <a:lnTo>
                      <a:pt x="68" y="0"/>
                    </a:lnTo>
                    <a:lnTo>
                      <a:pt x="82" y="2"/>
                    </a:lnTo>
                    <a:lnTo>
                      <a:pt x="94" y="6"/>
                    </a:lnTo>
                    <a:lnTo>
                      <a:pt x="106" y="12"/>
                    </a:lnTo>
                    <a:lnTo>
                      <a:pt x="116" y="20"/>
                    </a:lnTo>
                    <a:lnTo>
                      <a:pt x="124" y="30"/>
                    </a:lnTo>
                    <a:lnTo>
                      <a:pt x="132" y="42"/>
                    </a:lnTo>
                    <a:lnTo>
                      <a:pt x="136" y="54"/>
                    </a:lnTo>
                    <a:lnTo>
                      <a:pt x="136" y="68"/>
                    </a:lnTo>
                    <a:lnTo>
                      <a:pt x="136" y="68"/>
                    </a:lnTo>
                    <a:lnTo>
                      <a:pt x="136" y="82"/>
                    </a:lnTo>
                    <a:lnTo>
                      <a:pt x="132" y="94"/>
                    </a:lnTo>
                    <a:lnTo>
                      <a:pt x="124" y="106"/>
                    </a:lnTo>
                    <a:lnTo>
                      <a:pt x="116" y="116"/>
                    </a:lnTo>
                    <a:lnTo>
                      <a:pt x="106" y="124"/>
                    </a:lnTo>
                    <a:lnTo>
                      <a:pt x="94" y="132"/>
                    </a:lnTo>
                    <a:lnTo>
                      <a:pt x="82" y="136"/>
                    </a:lnTo>
                    <a:lnTo>
                      <a:pt x="68" y="136"/>
                    </a:lnTo>
                    <a:lnTo>
                      <a:pt x="68" y="136"/>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14">
                <a:extLst>
                  <a:ext uri="{FF2B5EF4-FFF2-40B4-BE49-F238E27FC236}">
                    <a16:creationId xmlns:a16="http://schemas.microsoft.com/office/drawing/2014/main" id="{30B8895D-6769-4560-8CC9-CA2DC9784F22}"/>
                  </a:ext>
                </a:extLst>
              </p:cNvPr>
              <p:cNvSpPr>
                <a:spLocks/>
              </p:cNvSpPr>
              <p:nvPr/>
            </p:nvSpPr>
            <p:spPr bwMode="auto">
              <a:xfrm>
                <a:off x="2394681" y="-2058851"/>
                <a:ext cx="440092" cy="523535"/>
              </a:xfrm>
              <a:custGeom>
                <a:avLst/>
                <a:gdLst>
                  <a:gd name="T0" fmla="*/ 618 w 654"/>
                  <a:gd name="T1" fmla="*/ 778 h 778"/>
                  <a:gd name="T2" fmla="*/ 0 w 654"/>
                  <a:gd name="T3" fmla="*/ 778 h 778"/>
                  <a:gd name="T4" fmla="*/ 0 w 654"/>
                  <a:gd name="T5" fmla="*/ 0 h 778"/>
                  <a:gd name="T6" fmla="*/ 618 w 654"/>
                  <a:gd name="T7" fmla="*/ 0 h 778"/>
                  <a:gd name="T8" fmla="*/ 618 w 654"/>
                  <a:gd name="T9" fmla="*/ 0 h 778"/>
                  <a:gd name="T10" fmla="*/ 626 w 654"/>
                  <a:gd name="T11" fmla="*/ 46 h 778"/>
                  <a:gd name="T12" fmla="*/ 634 w 654"/>
                  <a:gd name="T13" fmla="*/ 92 h 778"/>
                  <a:gd name="T14" fmla="*/ 640 w 654"/>
                  <a:gd name="T15" fmla="*/ 140 h 778"/>
                  <a:gd name="T16" fmla="*/ 644 w 654"/>
                  <a:gd name="T17" fmla="*/ 190 h 778"/>
                  <a:gd name="T18" fmla="*/ 652 w 654"/>
                  <a:gd name="T19" fmla="*/ 288 h 778"/>
                  <a:gd name="T20" fmla="*/ 654 w 654"/>
                  <a:gd name="T21" fmla="*/ 388 h 778"/>
                  <a:gd name="T22" fmla="*/ 654 w 654"/>
                  <a:gd name="T23" fmla="*/ 388 h 778"/>
                  <a:gd name="T24" fmla="*/ 652 w 654"/>
                  <a:gd name="T25" fmla="*/ 488 h 778"/>
                  <a:gd name="T26" fmla="*/ 644 w 654"/>
                  <a:gd name="T27" fmla="*/ 586 h 778"/>
                  <a:gd name="T28" fmla="*/ 634 w 654"/>
                  <a:gd name="T29" fmla="*/ 682 h 778"/>
                  <a:gd name="T30" fmla="*/ 618 w 654"/>
                  <a:gd name="T31" fmla="*/ 778 h 778"/>
                  <a:gd name="T32" fmla="*/ 618 w 654"/>
                  <a:gd name="T33" fmla="*/ 778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778">
                    <a:moveTo>
                      <a:pt x="618" y="778"/>
                    </a:moveTo>
                    <a:lnTo>
                      <a:pt x="0" y="778"/>
                    </a:lnTo>
                    <a:lnTo>
                      <a:pt x="0" y="0"/>
                    </a:lnTo>
                    <a:lnTo>
                      <a:pt x="618" y="0"/>
                    </a:lnTo>
                    <a:lnTo>
                      <a:pt x="618" y="0"/>
                    </a:lnTo>
                    <a:lnTo>
                      <a:pt x="626" y="46"/>
                    </a:lnTo>
                    <a:lnTo>
                      <a:pt x="634" y="92"/>
                    </a:lnTo>
                    <a:lnTo>
                      <a:pt x="640" y="140"/>
                    </a:lnTo>
                    <a:lnTo>
                      <a:pt x="644" y="190"/>
                    </a:lnTo>
                    <a:lnTo>
                      <a:pt x="652" y="288"/>
                    </a:lnTo>
                    <a:lnTo>
                      <a:pt x="654" y="388"/>
                    </a:lnTo>
                    <a:lnTo>
                      <a:pt x="654" y="388"/>
                    </a:lnTo>
                    <a:lnTo>
                      <a:pt x="652" y="488"/>
                    </a:lnTo>
                    <a:lnTo>
                      <a:pt x="644" y="586"/>
                    </a:lnTo>
                    <a:lnTo>
                      <a:pt x="634" y="682"/>
                    </a:lnTo>
                    <a:lnTo>
                      <a:pt x="618" y="778"/>
                    </a:lnTo>
                    <a:lnTo>
                      <a:pt x="618" y="77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15">
                <a:extLst>
                  <a:ext uri="{FF2B5EF4-FFF2-40B4-BE49-F238E27FC236}">
                    <a16:creationId xmlns:a16="http://schemas.microsoft.com/office/drawing/2014/main" id="{C22757F9-2B97-43CF-9FF0-94B667DB00ED}"/>
                  </a:ext>
                </a:extLst>
              </p:cNvPr>
              <p:cNvSpPr>
                <a:spLocks/>
              </p:cNvSpPr>
              <p:nvPr/>
            </p:nvSpPr>
            <p:spPr bwMode="auto">
              <a:xfrm>
                <a:off x="2394681" y="-1454565"/>
                <a:ext cx="397025" cy="475084"/>
              </a:xfrm>
              <a:custGeom>
                <a:avLst/>
                <a:gdLst>
                  <a:gd name="T0" fmla="*/ 0 w 590"/>
                  <a:gd name="T1" fmla="*/ 706 h 706"/>
                  <a:gd name="T2" fmla="*/ 0 w 590"/>
                  <a:gd name="T3" fmla="*/ 0 h 706"/>
                  <a:gd name="T4" fmla="*/ 590 w 590"/>
                  <a:gd name="T5" fmla="*/ 0 h 706"/>
                  <a:gd name="T6" fmla="*/ 590 w 590"/>
                  <a:gd name="T7" fmla="*/ 0 h 706"/>
                  <a:gd name="T8" fmla="*/ 574 w 590"/>
                  <a:gd name="T9" fmla="*/ 48 h 706"/>
                  <a:gd name="T10" fmla="*/ 558 w 590"/>
                  <a:gd name="T11" fmla="*/ 96 h 706"/>
                  <a:gd name="T12" fmla="*/ 542 w 590"/>
                  <a:gd name="T13" fmla="*/ 144 h 706"/>
                  <a:gd name="T14" fmla="*/ 522 w 590"/>
                  <a:gd name="T15" fmla="*/ 190 h 706"/>
                  <a:gd name="T16" fmla="*/ 502 w 590"/>
                  <a:gd name="T17" fmla="*/ 236 h 706"/>
                  <a:gd name="T18" fmla="*/ 482 w 590"/>
                  <a:gd name="T19" fmla="*/ 282 h 706"/>
                  <a:gd name="T20" fmla="*/ 458 w 590"/>
                  <a:gd name="T21" fmla="*/ 324 h 706"/>
                  <a:gd name="T22" fmla="*/ 436 w 590"/>
                  <a:gd name="T23" fmla="*/ 366 h 706"/>
                  <a:gd name="T24" fmla="*/ 436 w 590"/>
                  <a:gd name="T25" fmla="*/ 366 h 706"/>
                  <a:gd name="T26" fmla="*/ 412 w 590"/>
                  <a:gd name="T27" fmla="*/ 402 h 706"/>
                  <a:gd name="T28" fmla="*/ 388 w 590"/>
                  <a:gd name="T29" fmla="*/ 436 h 706"/>
                  <a:gd name="T30" fmla="*/ 366 w 590"/>
                  <a:gd name="T31" fmla="*/ 470 h 706"/>
                  <a:gd name="T32" fmla="*/ 340 w 590"/>
                  <a:gd name="T33" fmla="*/ 500 h 706"/>
                  <a:gd name="T34" fmla="*/ 316 w 590"/>
                  <a:gd name="T35" fmla="*/ 528 h 706"/>
                  <a:gd name="T36" fmla="*/ 290 w 590"/>
                  <a:gd name="T37" fmla="*/ 554 h 706"/>
                  <a:gd name="T38" fmla="*/ 264 w 590"/>
                  <a:gd name="T39" fmla="*/ 580 h 706"/>
                  <a:gd name="T40" fmla="*/ 236 w 590"/>
                  <a:gd name="T41" fmla="*/ 602 h 706"/>
                  <a:gd name="T42" fmla="*/ 208 w 590"/>
                  <a:gd name="T43" fmla="*/ 622 h 706"/>
                  <a:gd name="T44" fmla="*/ 180 w 590"/>
                  <a:gd name="T45" fmla="*/ 640 h 706"/>
                  <a:gd name="T46" fmla="*/ 152 w 590"/>
                  <a:gd name="T47" fmla="*/ 656 h 706"/>
                  <a:gd name="T48" fmla="*/ 122 w 590"/>
                  <a:gd name="T49" fmla="*/ 670 h 706"/>
                  <a:gd name="T50" fmla="*/ 92 w 590"/>
                  <a:gd name="T51" fmla="*/ 682 h 706"/>
                  <a:gd name="T52" fmla="*/ 62 w 590"/>
                  <a:gd name="T53" fmla="*/ 692 h 706"/>
                  <a:gd name="T54" fmla="*/ 32 w 590"/>
                  <a:gd name="T55" fmla="*/ 700 h 706"/>
                  <a:gd name="T56" fmla="*/ 0 w 590"/>
                  <a:gd name="T57" fmla="*/ 706 h 706"/>
                  <a:gd name="T58" fmla="*/ 0 w 590"/>
                  <a:gd name="T59"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0" h="706">
                    <a:moveTo>
                      <a:pt x="0" y="706"/>
                    </a:moveTo>
                    <a:lnTo>
                      <a:pt x="0" y="0"/>
                    </a:lnTo>
                    <a:lnTo>
                      <a:pt x="590" y="0"/>
                    </a:lnTo>
                    <a:lnTo>
                      <a:pt x="590" y="0"/>
                    </a:lnTo>
                    <a:lnTo>
                      <a:pt x="574" y="48"/>
                    </a:lnTo>
                    <a:lnTo>
                      <a:pt x="558" y="96"/>
                    </a:lnTo>
                    <a:lnTo>
                      <a:pt x="542" y="144"/>
                    </a:lnTo>
                    <a:lnTo>
                      <a:pt x="522" y="190"/>
                    </a:lnTo>
                    <a:lnTo>
                      <a:pt x="502" y="236"/>
                    </a:lnTo>
                    <a:lnTo>
                      <a:pt x="482" y="282"/>
                    </a:lnTo>
                    <a:lnTo>
                      <a:pt x="458" y="324"/>
                    </a:lnTo>
                    <a:lnTo>
                      <a:pt x="436" y="366"/>
                    </a:lnTo>
                    <a:lnTo>
                      <a:pt x="436" y="366"/>
                    </a:lnTo>
                    <a:lnTo>
                      <a:pt x="412" y="402"/>
                    </a:lnTo>
                    <a:lnTo>
                      <a:pt x="388" y="436"/>
                    </a:lnTo>
                    <a:lnTo>
                      <a:pt x="366" y="470"/>
                    </a:lnTo>
                    <a:lnTo>
                      <a:pt x="340" y="500"/>
                    </a:lnTo>
                    <a:lnTo>
                      <a:pt x="316" y="528"/>
                    </a:lnTo>
                    <a:lnTo>
                      <a:pt x="290" y="554"/>
                    </a:lnTo>
                    <a:lnTo>
                      <a:pt x="264" y="580"/>
                    </a:lnTo>
                    <a:lnTo>
                      <a:pt x="236" y="602"/>
                    </a:lnTo>
                    <a:lnTo>
                      <a:pt x="208" y="622"/>
                    </a:lnTo>
                    <a:lnTo>
                      <a:pt x="180" y="640"/>
                    </a:lnTo>
                    <a:lnTo>
                      <a:pt x="152" y="656"/>
                    </a:lnTo>
                    <a:lnTo>
                      <a:pt x="122" y="670"/>
                    </a:lnTo>
                    <a:lnTo>
                      <a:pt x="92" y="682"/>
                    </a:lnTo>
                    <a:lnTo>
                      <a:pt x="62" y="692"/>
                    </a:lnTo>
                    <a:lnTo>
                      <a:pt x="32" y="700"/>
                    </a:lnTo>
                    <a:lnTo>
                      <a:pt x="0" y="706"/>
                    </a:lnTo>
                    <a:lnTo>
                      <a:pt x="0" y="706"/>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6" name="Freeform 16">
                <a:extLst>
                  <a:ext uri="{FF2B5EF4-FFF2-40B4-BE49-F238E27FC236}">
                    <a16:creationId xmlns:a16="http://schemas.microsoft.com/office/drawing/2014/main" id="{D4893676-EE95-47CB-9A7E-AE7B9CEB00AD}"/>
                  </a:ext>
                </a:extLst>
              </p:cNvPr>
              <p:cNvSpPr>
                <a:spLocks/>
              </p:cNvSpPr>
              <p:nvPr/>
            </p:nvSpPr>
            <p:spPr bwMode="auto">
              <a:xfrm>
                <a:off x="2394681" y="-2620069"/>
                <a:ext cx="397025" cy="480468"/>
              </a:xfrm>
              <a:custGeom>
                <a:avLst/>
                <a:gdLst>
                  <a:gd name="T0" fmla="*/ 0 w 590"/>
                  <a:gd name="T1" fmla="*/ 714 h 714"/>
                  <a:gd name="T2" fmla="*/ 0 w 590"/>
                  <a:gd name="T3" fmla="*/ 0 h 714"/>
                  <a:gd name="T4" fmla="*/ 0 w 590"/>
                  <a:gd name="T5" fmla="*/ 0 h 714"/>
                  <a:gd name="T6" fmla="*/ 32 w 590"/>
                  <a:gd name="T7" fmla="*/ 6 h 714"/>
                  <a:gd name="T8" fmla="*/ 62 w 590"/>
                  <a:gd name="T9" fmla="*/ 14 h 714"/>
                  <a:gd name="T10" fmla="*/ 92 w 590"/>
                  <a:gd name="T11" fmla="*/ 24 h 714"/>
                  <a:gd name="T12" fmla="*/ 122 w 590"/>
                  <a:gd name="T13" fmla="*/ 36 h 714"/>
                  <a:gd name="T14" fmla="*/ 152 w 590"/>
                  <a:gd name="T15" fmla="*/ 50 h 714"/>
                  <a:gd name="T16" fmla="*/ 180 w 590"/>
                  <a:gd name="T17" fmla="*/ 66 h 714"/>
                  <a:gd name="T18" fmla="*/ 208 w 590"/>
                  <a:gd name="T19" fmla="*/ 86 h 714"/>
                  <a:gd name="T20" fmla="*/ 236 w 590"/>
                  <a:gd name="T21" fmla="*/ 106 h 714"/>
                  <a:gd name="T22" fmla="*/ 264 w 590"/>
                  <a:gd name="T23" fmla="*/ 130 h 714"/>
                  <a:gd name="T24" fmla="*/ 290 w 590"/>
                  <a:gd name="T25" fmla="*/ 154 h 714"/>
                  <a:gd name="T26" fmla="*/ 316 w 590"/>
                  <a:gd name="T27" fmla="*/ 180 h 714"/>
                  <a:gd name="T28" fmla="*/ 340 w 590"/>
                  <a:gd name="T29" fmla="*/ 210 h 714"/>
                  <a:gd name="T30" fmla="*/ 366 w 590"/>
                  <a:gd name="T31" fmla="*/ 240 h 714"/>
                  <a:gd name="T32" fmla="*/ 388 w 590"/>
                  <a:gd name="T33" fmla="*/ 274 h 714"/>
                  <a:gd name="T34" fmla="*/ 412 w 590"/>
                  <a:gd name="T35" fmla="*/ 308 h 714"/>
                  <a:gd name="T36" fmla="*/ 436 w 590"/>
                  <a:gd name="T37" fmla="*/ 344 h 714"/>
                  <a:gd name="T38" fmla="*/ 436 w 590"/>
                  <a:gd name="T39" fmla="*/ 344 h 714"/>
                  <a:gd name="T40" fmla="*/ 458 w 590"/>
                  <a:gd name="T41" fmla="*/ 386 h 714"/>
                  <a:gd name="T42" fmla="*/ 482 w 590"/>
                  <a:gd name="T43" fmla="*/ 428 h 714"/>
                  <a:gd name="T44" fmla="*/ 502 w 590"/>
                  <a:gd name="T45" fmla="*/ 472 h 714"/>
                  <a:gd name="T46" fmla="*/ 522 w 590"/>
                  <a:gd name="T47" fmla="*/ 518 h 714"/>
                  <a:gd name="T48" fmla="*/ 542 w 590"/>
                  <a:gd name="T49" fmla="*/ 566 h 714"/>
                  <a:gd name="T50" fmla="*/ 558 w 590"/>
                  <a:gd name="T51" fmla="*/ 614 h 714"/>
                  <a:gd name="T52" fmla="*/ 574 w 590"/>
                  <a:gd name="T53" fmla="*/ 662 h 714"/>
                  <a:gd name="T54" fmla="*/ 590 w 590"/>
                  <a:gd name="T55" fmla="*/ 714 h 714"/>
                  <a:gd name="T56" fmla="*/ 0 w 590"/>
                  <a:gd name="T57" fmla="*/ 71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0" h="714">
                    <a:moveTo>
                      <a:pt x="0" y="714"/>
                    </a:moveTo>
                    <a:lnTo>
                      <a:pt x="0" y="0"/>
                    </a:lnTo>
                    <a:lnTo>
                      <a:pt x="0" y="0"/>
                    </a:lnTo>
                    <a:lnTo>
                      <a:pt x="32" y="6"/>
                    </a:lnTo>
                    <a:lnTo>
                      <a:pt x="62" y="14"/>
                    </a:lnTo>
                    <a:lnTo>
                      <a:pt x="92" y="24"/>
                    </a:lnTo>
                    <a:lnTo>
                      <a:pt x="122" y="36"/>
                    </a:lnTo>
                    <a:lnTo>
                      <a:pt x="152" y="50"/>
                    </a:lnTo>
                    <a:lnTo>
                      <a:pt x="180" y="66"/>
                    </a:lnTo>
                    <a:lnTo>
                      <a:pt x="208" y="86"/>
                    </a:lnTo>
                    <a:lnTo>
                      <a:pt x="236" y="106"/>
                    </a:lnTo>
                    <a:lnTo>
                      <a:pt x="264" y="130"/>
                    </a:lnTo>
                    <a:lnTo>
                      <a:pt x="290" y="154"/>
                    </a:lnTo>
                    <a:lnTo>
                      <a:pt x="316" y="180"/>
                    </a:lnTo>
                    <a:lnTo>
                      <a:pt x="340" y="210"/>
                    </a:lnTo>
                    <a:lnTo>
                      <a:pt x="366" y="240"/>
                    </a:lnTo>
                    <a:lnTo>
                      <a:pt x="388" y="274"/>
                    </a:lnTo>
                    <a:lnTo>
                      <a:pt x="412" y="308"/>
                    </a:lnTo>
                    <a:lnTo>
                      <a:pt x="436" y="344"/>
                    </a:lnTo>
                    <a:lnTo>
                      <a:pt x="436" y="344"/>
                    </a:lnTo>
                    <a:lnTo>
                      <a:pt x="458" y="386"/>
                    </a:lnTo>
                    <a:lnTo>
                      <a:pt x="482" y="428"/>
                    </a:lnTo>
                    <a:lnTo>
                      <a:pt x="502" y="472"/>
                    </a:lnTo>
                    <a:lnTo>
                      <a:pt x="522" y="518"/>
                    </a:lnTo>
                    <a:lnTo>
                      <a:pt x="542" y="566"/>
                    </a:lnTo>
                    <a:lnTo>
                      <a:pt x="558" y="614"/>
                    </a:lnTo>
                    <a:lnTo>
                      <a:pt x="574" y="662"/>
                    </a:lnTo>
                    <a:lnTo>
                      <a:pt x="590" y="714"/>
                    </a:lnTo>
                    <a:lnTo>
                      <a:pt x="0" y="714"/>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17">
                <a:extLst>
                  <a:ext uri="{FF2B5EF4-FFF2-40B4-BE49-F238E27FC236}">
                    <a16:creationId xmlns:a16="http://schemas.microsoft.com/office/drawing/2014/main" id="{7C9966D0-AF19-4B12-BF0C-CC003ED83255}"/>
                  </a:ext>
                </a:extLst>
              </p:cNvPr>
              <p:cNvSpPr>
                <a:spLocks/>
              </p:cNvSpPr>
              <p:nvPr/>
            </p:nvSpPr>
            <p:spPr bwMode="auto">
              <a:xfrm>
                <a:off x="1922288" y="-2620069"/>
                <a:ext cx="391642" cy="480468"/>
              </a:xfrm>
              <a:custGeom>
                <a:avLst/>
                <a:gdLst>
                  <a:gd name="T0" fmla="*/ 150 w 582"/>
                  <a:gd name="T1" fmla="*/ 344 h 714"/>
                  <a:gd name="T2" fmla="*/ 150 w 582"/>
                  <a:gd name="T3" fmla="*/ 344 h 714"/>
                  <a:gd name="T4" fmla="*/ 174 w 582"/>
                  <a:gd name="T5" fmla="*/ 308 h 714"/>
                  <a:gd name="T6" fmla="*/ 198 w 582"/>
                  <a:gd name="T7" fmla="*/ 274 h 714"/>
                  <a:gd name="T8" fmla="*/ 222 w 582"/>
                  <a:gd name="T9" fmla="*/ 240 h 714"/>
                  <a:gd name="T10" fmla="*/ 246 w 582"/>
                  <a:gd name="T11" fmla="*/ 210 h 714"/>
                  <a:gd name="T12" fmla="*/ 272 w 582"/>
                  <a:gd name="T13" fmla="*/ 180 h 714"/>
                  <a:gd name="T14" fmla="*/ 298 w 582"/>
                  <a:gd name="T15" fmla="*/ 154 h 714"/>
                  <a:gd name="T16" fmla="*/ 324 w 582"/>
                  <a:gd name="T17" fmla="*/ 130 h 714"/>
                  <a:gd name="T18" fmla="*/ 352 w 582"/>
                  <a:gd name="T19" fmla="*/ 106 h 714"/>
                  <a:gd name="T20" fmla="*/ 378 w 582"/>
                  <a:gd name="T21" fmla="*/ 86 h 714"/>
                  <a:gd name="T22" fmla="*/ 406 w 582"/>
                  <a:gd name="T23" fmla="*/ 66 h 714"/>
                  <a:gd name="T24" fmla="*/ 434 w 582"/>
                  <a:gd name="T25" fmla="*/ 50 h 714"/>
                  <a:gd name="T26" fmla="*/ 464 w 582"/>
                  <a:gd name="T27" fmla="*/ 36 h 714"/>
                  <a:gd name="T28" fmla="*/ 492 w 582"/>
                  <a:gd name="T29" fmla="*/ 24 h 714"/>
                  <a:gd name="T30" fmla="*/ 522 w 582"/>
                  <a:gd name="T31" fmla="*/ 14 h 714"/>
                  <a:gd name="T32" fmla="*/ 552 w 582"/>
                  <a:gd name="T33" fmla="*/ 6 h 714"/>
                  <a:gd name="T34" fmla="*/ 582 w 582"/>
                  <a:gd name="T35" fmla="*/ 0 h 714"/>
                  <a:gd name="T36" fmla="*/ 582 w 582"/>
                  <a:gd name="T37" fmla="*/ 714 h 714"/>
                  <a:gd name="T38" fmla="*/ 0 w 582"/>
                  <a:gd name="T39" fmla="*/ 714 h 714"/>
                  <a:gd name="T40" fmla="*/ 0 w 582"/>
                  <a:gd name="T41" fmla="*/ 714 h 714"/>
                  <a:gd name="T42" fmla="*/ 16 w 582"/>
                  <a:gd name="T43" fmla="*/ 662 h 714"/>
                  <a:gd name="T44" fmla="*/ 30 w 582"/>
                  <a:gd name="T45" fmla="*/ 614 h 714"/>
                  <a:gd name="T46" fmla="*/ 48 w 582"/>
                  <a:gd name="T47" fmla="*/ 566 h 714"/>
                  <a:gd name="T48" fmla="*/ 66 w 582"/>
                  <a:gd name="T49" fmla="*/ 518 h 714"/>
                  <a:gd name="T50" fmla="*/ 84 w 582"/>
                  <a:gd name="T51" fmla="*/ 472 h 714"/>
                  <a:gd name="T52" fmla="*/ 106 w 582"/>
                  <a:gd name="T53" fmla="*/ 428 h 714"/>
                  <a:gd name="T54" fmla="*/ 128 w 582"/>
                  <a:gd name="T55" fmla="*/ 386 h 714"/>
                  <a:gd name="T56" fmla="*/ 150 w 582"/>
                  <a:gd name="T57" fmla="*/ 344 h 714"/>
                  <a:gd name="T58" fmla="*/ 150 w 582"/>
                  <a:gd name="T59" fmla="*/ 34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2" h="714">
                    <a:moveTo>
                      <a:pt x="150" y="344"/>
                    </a:moveTo>
                    <a:lnTo>
                      <a:pt x="150" y="344"/>
                    </a:lnTo>
                    <a:lnTo>
                      <a:pt x="174" y="308"/>
                    </a:lnTo>
                    <a:lnTo>
                      <a:pt x="198" y="274"/>
                    </a:lnTo>
                    <a:lnTo>
                      <a:pt x="222" y="240"/>
                    </a:lnTo>
                    <a:lnTo>
                      <a:pt x="246" y="210"/>
                    </a:lnTo>
                    <a:lnTo>
                      <a:pt x="272" y="180"/>
                    </a:lnTo>
                    <a:lnTo>
                      <a:pt x="298" y="154"/>
                    </a:lnTo>
                    <a:lnTo>
                      <a:pt x="324" y="130"/>
                    </a:lnTo>
                    <a:lnTo>
                      <a:pt x="352" y="106"/>
                    </a:lnTo>
                    <a:lnTo>
                      <a:pt x="378" y="86"/>
                    </a:lnTo>
                    <a:lnTo>
                      <a:pt x="406" y="66"/>
                    </a:lnTo>
                    <a:lnTo>
                      <a:pt x="434" y="50"/>
                    </a:lnTo>
                    <a:lnTo>
                      <a:pt x="464" y="36"/>
                    </a:lnTo>
                    <a:lnTo>
                      <a:pt x="492" y="24"/>
                    </a:lnTo>
                    <a:lnTo>
                      <a:pt x="522" y="14"/>
                    </a:lnTo>
                    <a:lnTo>
                      <a:pt x="552" y="6"/>
                    </a:lnTo>
                    <a:lnTo>
                      <a:pt x="582" y="0"/>
                    </a:lnTo>
                    <a:lnTo>
                      <a:pt x="582" y="714"/>
                    </a:lnTo>
                    <a:lnTo>
                      <a:pt x="0" y="714"/>
                    </a:lnTo>
                    <a:lnTo>
                      <a:pt x="0" y="714"/>
                    </a:lnTo>
                    <a:lnTo>
                      <a:pt x="16" y="662"/>
                    </a:lnTo>
                    <a:lnTo>
                      <a:pt x="30" y="614"/>
                    </a:lnTo>
                    <a:lnTo>
                      <a:pt x="48" y="566"/>
                    </a:lnTo>
                    <a:lnTo>
                      <a:pt x="66" y="518"/>
                    </a:lnTo>
                    <a:lnTo>
                      <a:pt x="84" y="472"/>
                    </a:lnTo>
                    <a:lnTo>
                      <a:pt x="106" y="428"/>
                    </a:lnTo>
                    <a:lnTo>
                      <a:pt x="128" y="386"/>
                    </a:lnTo>
                    <a:lnTo>
                      <a:pt x="150" y="344"/>
                    </a:lnTo>
                    <a:lnTo>
                      <a:pt x="150" y="344"/>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18">
                <a:extLst>
                  <a:ext uri="{FF2B5EF4-FFF2-40B4-BE49-F238E27FC236}">
                    <a16:creationId xmlns:a16="http://schemas.microsoft.com/office/drawing/2014/main" id="{26936E5B-AC05-4848-8BCA-0C4C80422D82}"/>
                  </a:ext>
                </a:extLst>
              </p:cNvPr>
              <p:cNvSpPr>
                <a:spLocks/>
              </p:cNvSpPr>
              <p:nvPr/>
            </p:nvSpPr>
            <p:spPr bwMode="auto">
              <a:xfrm>
                <a:off x="1879221" y="-2058851"/>
                <a:ext cx="434709" cy="523535"/>
              </a:xfrm>
              <a:custGeom>
                <a:avLst/>
                <a:gdLst>
                  <a:gd name="T0" fmla="*/ 0 w 646"/>
                  <a:gd name="T1" fmla="*/ 388 h 778"/>
                  <a:gd name="T2" fmla="*/ 0 w 646"/>
                  <a:gd name="T3" fmla="*/ 388 h 778"/>
                  <a:gd name="T4" fmla="*/ 2 w 646"/>
                  <a:gd name="T5" fmla="*/ 288 h 778"/>
                  <a:gd name="T6" fmla="*/ 10 w 646"/>
                  <a:gd name="T7" fmla="*/ 190 h 778"/>
                  <a:gd name="T8" fmla="*/ 14 w 646"/>
                  <a:gd name="T9" fmla="*/ 140 h 778"/>
                  <a:gd name="T10" fmla="*/ 20 w 646"/>
                  <a:gd name="T11" fmla="*/ 92 h 778"/>
                  <a:gd name="T12" fmla="*/ 28 w 646"/>
                  <a:gd name="T13" fmla="*/ 46 h 778"/>
                  <a:gd name="T14" fmla="*/ 36 w 646"/>
                  <a:gd name="T15" fmla="*/ 0 h 778"/>
                  <a:gd name="T16" fmla="*/ 646 w 646"/>
                  <a:gd name="T17" fmla="*/ 0 h 778"/>
                  <a:gd name="T18" fmla="*/ 646 w 646"/>
                  <a:gd name="T19" fmla="*/ 778 h 778"/>
                  <a:gd name="T20" fmla="*/ 36 w 646"/>
                  <a:gd name="T21" fmla="*/ 778 h 778"/>
                  <a:gd name="T22" fmla="*/ 36 w 646"/>
                  <a:gd name="T23" fmla="*/ 778 h 778"/>
                  <a:gd name="T24" fmla="*/ 20 w 646"/>
                  <a:gd name="T25" fmla="*/ 682 h 778"/>
                  <a:gd name="T26" fmla="*/ 10 w 646"/>
                  <a:gd name="T27" fmla="*/ 586 h 778"/>
                  <a:gd name="T28" fmla="*/ 2 w 646"/>
                  <a:gd name="T29" fmla="*/ 488 h 778"/>
                  <a:gd name="T30" fmla="*/ 0 w 646"/>
                  <a:gd name="T31" fmla="*/ 388 h 778"/>
                  <a:gd name="T32" fmla="*/ 0 w 646"/>
                  <a:gd name="T33" fmla="*/ 388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6" h="778">
                    <a:moveTo>
                      <a:pt x="0" y="388"/>
                    </a:moveTo>
                    <a:lnTo>
                      <a:pt x="0" y="388"/>
                    </a:lnTo>
                    <a:lnTo>
                      <a:pt x="2" y="288"/>
                    </a:lnTo>
                    <a:lnTo>
                      <a:pt x="10" y="190"/>
                    </a:lnTo>
                    <a:lnTo>
                      <a:pt x="14" y="140"/>
                    </a:lnTo>
                    <a:lnTo>
                      <a:pt x="20" y="92"/>
                    </a:lnTo>
                    <a:lnTo>
                      <a:pt x="28" y="46"/>
                    </a:lnTo>
                    <a:lnTo>
                      <a:pt x="36" y="0"/>
                    </a:lnTo>
                    <a:lnTo>
                      <a:pt x="646" y="0"/>
                    </a:lnTo>
                    <a:lnTo>
                      <a:pt x="646" y="778"/>
                    </a:lnTo>
                    <a:lnTo>
                      <a:pt x="36" y="778"/>
                    </a:lnTo>
                    <a:lnTo>
                      <a:pt x="36" y="778"/>
                    </a:lnTo>
                    <a:lnTo>
                      <a:pt x="20" y="682"/>
                    </a:lnTo>
                    <a:lnTo>
                      <a:pt x="10" y="586"/>
                    </a:lnTo>
                    <a:lnTo>
                      <a:pt x="2" y="488"/>
                    </a:lnTo>
                    <a:lnTo>
                      <a:pt x="0" y="388"/>
                    </a:lnTo>
                    <a:lnTo>
                      <a:pt x="0" y="38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9" name="Freeform 19">
                <a:extLst>
                  <a:ext uri="{FF2B5EF4-FFF2-40B4-BE49-F238E27FC236}">
                    <a16:creationId xmlns:a16="http://schemas.microsoft.com/office/drawing/2014/main" id="{7EDF1D16-57B9-48D6-8586-EA90DAE1F111}"/>
                  </a:ext>
                </a:extLst>
              </p:cNvPr>
              <p:cNvSpPr>
                <a:spLocks/>
              </p:cNvSpPr>
              <p:nvPr/>
            </p:nvSpPr>
            <p:spPr bwMode="auto">
              <a:xfrm>
                <a:off x="1922288" y="-1454565"/>
                <a:ext cx="391642" cy="475084"/>
              </a:xfrm>
              <a:custGeom>
                <a:avLst/>
                <a:gdLst>
                  <a:gd name="T0" fmla="*/ 0 w 582"/>
                  <a:gd name="T1" fmla="*/ 0 h 706"/>
                  <a:gd name="T2" fmla="*/ 582 w 582"/>
                  <a:gd name="T3" fmla="*/ 0 h 706"/>
                  <a:gd name="T4" fmla="*/ 582 w 582"/>
                  <a:gd name="T5" fmla="*/ 706 h 706"/>
                  <a:gd name="T6" fmla="*/ 582 w 582"/>
                  <a:gd name="T7" fmla="*/ 706 h 706"/>
                  <a:gd name="T8" fmla="*/ 552 w 582"/>
                  <a:gd name="T9" fmla="*/ 700 h 706"/>
                  <a:gd name="T10" fmla="*/ 522 w 582"/>
                  <a:gd name="T11" fmla="*/ 692 h 706"/>
                  <a:gd name="T12" fmla="*/ 492 w 582"/>
                  <a:gd name="T13" fmla="*/ 682 h 706"/>
                  <a:gd name="T14" fmla="*/ 464 w 582"/>
                  <a:gd name="T15" fmla="*/ 670 h 706"/>
                  <a:gd name="T16" fmla="*/ 434 w 582"/>
                  <a:gd name="T17" fmla="*/ 656 h 706"/>
                  <a:gd name="T18" fmla="*/ 406 w 582"/>
                  <a:gd name="T19" fmla="*/ 640 h 706"/>
                  <a:gd name="T20" fmla="*/ 378 w 582"/>
                  <a:gd name="T21" fmla="*/ 622 h 706"/>
                  <a:gd name="T22" fmla="*/ 352 w 582"/>
                  <a:gd name="T23" fmla="*/ 602 h 706"/>
                  <a:gd name="T24" fmla="*/ 324 w 582"/>
                  <a:gd name="T25" fmla="*/ 580 h 706"/>
                  <a:gd name="T26" fmla="*/ 298 w 582"/>
                  <a:gd name="T27" fmla="*/ 554 h 706"/>
                  <a:gd name="T28" fmla="*/ 272 w 582"/>
                  <a:gd name="T29" fmla="*/ 528 h 706"/>
                  <a:gd name="T30" fmla="*/ 246 w 582"/>
                  <a:gd name="T31" fmla="*/ 500 h 706"/>
                  <a:gd name="T32" fmla="*/ 222 w 582"/>
                  <a:gd name="T33" fmla="*/ 470 h 706"/>
                  <a:gd name="T34" fmla="*/ 198 w 582"/>
                  <a:gd name="T35" fmla="*/ 436 h 706"/>
                  <a:gd name="T36" fmla="*/ 174 w 582"/>
                  <a:gd name="T37" fmla="*/ 402 h 706"/>
                  <a:gd name="T38" fmla="*/ 150 w 582"/>
                  <a:gd name="T39" fmla="*/ 366 h 706"/>
                  <a:gd name="T40" fmla="*/ 150 w 582"/>
                  <a:gd name="T41" fmla="*/ 366 h 706"/>
                  <a:gd name="T42" fmla="*/ 128 w 582"/>
                  <a:gd name="T43" fmla="*/ 324 h 706"/>
                  <a:gd name="T44" fmla="*/ 106 w 582"/>
                  <a:gd name="T45" fmla="*/ 282 h 706"/>
                  <a:gd name="T46" fmla="*/ 84 w 582"/>
                  <a:gd name="T47" fmla="*/ 236 h 706"/>
                  <a:gd name="T48" fmla="*/ 66 w 582"/>
                  <a:gd name="T49" fmla="*/ 190 h 706"/>
                  <a:gd name="T50" fmla="*/ 48 w 582"/>
                  <a:gd name="T51" fmla="*/ 144 h 706"/>
                  <a:gd name="T52" fmla="*/ 30 w 582"/>
                  <a:gd name="T53" fmla="*/ 96 h 706"/>
                  <a:gd name="T54" fmla="*/ 16 w 582"/>
                  <a:gd name="T55" fmla="*/ 48 h 706"/>
                  <a:gd name="T56" fmla="*/ 0 w 582"/>
                  <a:gd name="T57" fmla="*/ 0 h 706"/>
                  <a:gd name="T58" fmla="*/ 0 w 582"/>
                  <a:gd name="T59" fmla="*/ 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2" h="706">
                    <a:moveTo>
                      <a:pt x="0" y="0"/>
                    </a:moveTo>
                    <a:lnTo>
                      <a:pt x="582" y="0"/>
                    </a:lnTo>
                    <a:lnTo>
                      <a:pt x="582" y="706"/>
                    </a:lnTo>
                    <a:lnTo>
                      <a:pt x="582" y="706"/>
                    </a:lnTo>
                    <a:lnTo>
                      <a:pt x="552" y="700"/>
                    </a:lnTo>
                    <a:lnTo>
                      <a:pt x="522" y="692"/>
                    </a:lnTo>
                    <a:lnTo>
                      <a:pt x="492" y="682"/>
                    </a:lnTo>
                    <a:lnTo>
                      <a:pt x="464" y="670"/>
                    </a:lnTo>
                    <a:lnTo>
                      <a:pt x="434" y="656"/>
                    </a:lnTo>
                    <a:lnTo>
                      <a:pt x="406" y="640"/>
                    </a:lnTo>
                    <a:lnTo>
                      <a:pt x="378" y="622"/>
                    </a:lnTo>
                    <a:lnTo>
                      <a:pt x="352" y="602"/>
                    </a:lnTo>
                    <a:lnTo>
                      <a:pt x="324" y="580"/>
                    </a:lnTo>
                    <a:lnTo>
                      <a:pt x="298" y="554"/>
                    </a:lnTo>
                    <a:lnTo>
                      <a:pt x="272" y="528"/>
                    </a:lnTo>
                    <a:lnTo>
                      <a:pt x="246" y="500"/>
                    </a:lnTo>
                    <a:lnTo>
                      <a:pt x="222" y="470"/>
                    </a:lnTo>
                    <a:lnTo>
                      <a:pt x="198" y="436"/>
                    </a:lnTo>
                    <a:lnTo>
                      <a:pt x="174" y="402"/>
                    </a:lnTo>
                    <a:lnTo>
                      <a:pt x="150" y="366"/>
                    </a:lnTo>
                    <a:lnTo>
                      <a:pt x="150" y="366"/>
                    </a:lnTo>
                    <a:lnTo>
                      <a:pt x="128" y="324"/>
                    </a:lnTo>
                    <a:lnTo>
                      <a:pt x="106" y="282"/>
                    </a:lnTo>
                    <a:lnTo>
                      <a:pt x="84" y="236"/>
                    </a:lnTo>
                    <a:lnTo>
                      <a:pt x="66" y="190"/>
                    </a:lnTo>
                    <a:lnTo>
                      <a:pt x="48" y="144"/>
                    </a:lnTo>
                    <a:lnTo>
                      <a:pt x="30" y="96"/>
                    </a:lnTo>
                    <a:lnTo>
                      <a:pt x="16" y="48"/>
                    </a:lnTo>
                    <a:lnTo>
                      <a:pt x="0" y="0"/>
                    </a:lnTo>
                    <a:lnTo>
                      <a:pt x="0"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0" name="Freeform 20">
                <a:extLst>
                  <a:ext uri="{FF2B5EF4-FFF2-40B4-BE49-F238E27FC236}">
                    <a16:creationId xmlns:a16="http://schemas.microsoft.com/office/drawing/2014/main" id="{FD76F6DD-8B06-4E39-8E61-8F495537022E}"/>
                  </a:ext>
                </a:extLst>
              </p:cNvPr>
              <p:cNvSpPr>
                <a:spLocks/>
              </p:cNvSpPr>
              <p:nvPr/>
            </p:nvSpPr>
            <p:spPr bwMode="auto">
              <a:xfrm>
                <a:off x="2654430" y="-1454565"/>
                <a:ext cx="450859" cy="423942"/>
              </a:xfrm>
              <a:custGeom>
                <a:avLst/>
                <a:gdLst>
                  <a:gd name="T0" fmla="*/ 360 w 670"/>
                  <a:gd name="T1" fmla="*/ 414 h 630"/>
                  <a:gd name="T2" fmla="*/ 360 w 670"/>
                  <a:gd name="T3" fmla="*/ 414 h 630"/>
                  <a:gd name="T4" fmla="*/ 318 w 670"/>
                  <a:gd name="T5" fmla="*/ 448 h 630"/>
                  <a:gd name="T6" fmla="*/ 276 w 670"/>
                  <a:gd name="T7" fmla="*/ 480 h 630"/>
                  <a:gd name="T8" fmla="*/ 234 w 670"/>
                  <a:gd name="T9" fmla="*/ 510 h 630"/>
                  <a:gd name="T10" fmla="*/ 188 w 670"/>
                  <a:gd name="T11" fmla="*/ 538 h 630"/>
                  <a:gd name="T12" fmla="*/ 142 w 670"/>
                  <a:gd name="T13" fmla="*/ 564 h 630"/>
                  <a:gd name="T14" fmla="*/ 96 w 670"/>
                  <a:gd name="T15" fmla="*/ 588 h 630"/>
                  <a:gd name="T16" fmla="*/ 48 w 670"/>
                  <a:gd name="T17" fmla="*/ 610 h 630"/>
                  <a:gd name="T18" fmla="*/ 0 w 670"/>
                  <a:gd name="T19" fmla="*/ 630 h 630"/>
                  <a:gd name="T20" fmla="*/ 0 w 670"/>
                  <a:gd name="T21" fmla="*/ 630 h 630"/>
                  <a:gd name="T22" fmla="*/ 40 w 670"/>
                  <a:gd name="T23" fmla="*/ 584 h 630"/>
                  <a:gd name="T24" fmla="*/ 80 w 670"/>
                  <a:gd name="T25" fmla="*/ 536 h 630"/>
                  <a:gd name="T26" fmla="*/ 118 w 670"/>
                  <a:gd name="T27" fmla="*/ 484 h 630"/>
                  <a:gd name="T28" fmla="*/ 154 w 670"/>
                  <a:gd name="T29" fmla="*/ 428 h 630"/>
                  <a:gd name="T30" fmla="*/ 154 w 670"/>
                  <a:gd name="T31" fmla="*/ 428 h 630"/>
                  <a:gd name="T32" fmla="*/ 182 w 670"/>
                  <a:gd name="T33" fmla="*/ 380 h 630"/>
                  <a:gd name="T34" fmla="*/ 208 w 670"/>
                  <a:gd name="T35" fmla="*/ 330 h 630"/>
                  <a:gd name="T36" fmla="*/ 232 w 670"/>
                  <a:gd name="T37" fmla="*/ 278 h 630"/>
                  <a:gd name="T38" fmla="*/ 254 w 670"/>
                  <a:gd name="T39" fmla="*/ 224 h 630"/>
                  <a:gd name="T40" fmla="*/ 276 w 670"/>
                  <a:gd name="T41" fmla="*/ 170 h 630"/>
                  <a:gd name="T42" fmla="*/ 294 w 670"/>
                  <a:gd name="T43" fmla="*/ 114 h 630"/>
                  <a:gd name="T44" fmla="*/ 312 w 670"/>
                  <a:gd name="T45" fmla="*/ 58 h 630"/>
                  <a:gd name="T46" fmla="*/ 328 w 670"/>
                  <a:gd name="T47" fmla="*/ 0 h 630"/>
                  <a:gd name="T48" fmla="*/ 670 w 670"/>
                  <a:gd name="T49" fmla="*/ 0 h 630"/>
                  <a:gd name="T50" fmla="*/ 670 w 670"/>
                  <a:gd name="T51" fmla="*/ 0 h 630"/>
                  <a:gd name="T52" fmla="*/ 642 w 670"/>
                  <a:gd name="T53" fmla="*/ 58 h 630"/>
                  <a:gd name="T54" fmla="*/ 610 w 670"/>
                  <a:gd name="T55" fmla="*/ 114 h 630"/>
                  <a:gd name="T56" fmla="*/ 576 w 670"/>
                  <a:gd name="T57" fmla="*/ 168 h 630"/>
                  <a:gd name="T58" fmla="*/ 538 w 670"/>
                  <a:gd name="T59" fmla="*/ 220 h 630"/>
                  <a:gd name="T60" fmla="*/ 498 w 670"/>
                  <a:gd name="T61" fmla="*/ 272 h 630"/>
                  <a:gd name="T62" fmla="*/ 454 w 670"/>
                  <a:gd name="T63" fmla="*/ 322 h 630"/>
                  <a:gd name="T64" fmla="*/ 408 w 670"/>
                  <a:gd name="T65" fmla="*/ 368 h 630"/>
                  <a:gd name="T66" fmla="*/ 360 w 670"/>
                  <a:gd name="T67" fmla="*/ 414 h 630"/>
                  <a:gd name="T68" fmla="*/ 360 w 670"/>
                  <a:gd name="T69" fmla="*/ 414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70" h="630">
                    <a:moveTo>
                      <a:pt x="360" y="414"/>
                    </a:moveTo>
                    <a:lnTo>
                      <a:pt x="360" y="414"/>
                    </a:lnTo>
                    <a:lnTo>
                      <a:pt x="318" y="448"/>
                    </a:lnTo>
                    <a:lnTo>
                      <a:pt x="276" y="480"/>
                    </a:lnTo>
                    <a:lnTo>
                      <a:pt x="234" y="510"/>
                    </a:lnTo>
                    <a:lnTo>
                      <a:pt x="188" y="538"/>
                    </a:lnTo>
                    <a:lnTo>
                      <a:pt x="142" y="564"/>
                    </a:lnTo>
                    <a:lnTo>
                      <a:pt x="96" y="588"/>
                    </a:lnTo>
                    <a:lnTo>
                      <a:pt x="48" y="610"/>
                    </a:lnTo>
                    <a:lnTo>
                      <a:pt x="0" y="630"/>
                    </a:lnTo>
                    <a:lnTo>
                      <a:pt x="0" y="630"/>
                    </a:lnTo>
                    <a:lnTo>
                      <a:pt x="40" y="584"/>
                    </a:lnTo>
                    <a:lnTo>
                      <a:pt x="80" y="536"/>
                    </a:lnTo>
                    <a:lnTo>
                      <a:pt x="118" y="484"/>
                    </a:lnTo>
                    <a:lnTo>
                      <a:pt x="154" y="428"/>
                    </a:lnTo>
                    <a:lnTo>
                      <a:pt x="154" y="428"/>
                    </a:lnTo>
                    <a:lnTo>
                      <a:pt x="182" y="380"/>
                    </a:lnTo>
                    <a:lnTo>
                      <a:pt x="208" y="330"/>
                    </a:lnTo>
                    <a:lnTo>
                      <a:pt x="232" y="278"/>
                    </a:lnTo>
                    <a:lnTo>
                      <a:pt x="254" y="224"/>
                    </a:lnTo>
                    <a:lnTo>
                      <a:pt x="276" y="170"/>
                    </a:lnTo>
                    <a:lnTo>
                      <a:pt x="294" y="114"/>
                    </a:lnTo>
                    <a:lnTo>
                      <a:pt x="312" y="58"/>
                    </a:lnTo>
                    <a:lnTo>
                      <a:pt x="328" y="0"/>
                    </a:lnTo>
                    <a:lnTo>
                      <a:pt x="670" y="0"/>
                    </a:lnTo>
                    <a:lnTo>
                      <a:pt x="670" y="0"/>
                    </a:lnTo>
                    <a:lnTo>
                      <a:pt x="642" y="58"/>
                    </a:lnTo>
                    <a:lnTo>
                      <a:pt x="610" y="114"/>
                    </a:lnTo>
                    <a:lnTo>
                      <a:pt x="576" y="168"/>
                    </a:lnTo>
                    <a:lnTo>
                      <a:pt x="538" y="220"/>
                    </a:lnTo>
                    <a:lnTo>
                      <a:pt x="498" y="272"/>
                    </a:lnTo>
                    <a:lnTo>
                      <a:pt x="454" y="322"/>
                    </a:lnTo>
                    <a:lnTo>
                      <a:pt x="408" y="368"/>
                    </a:lnTo>
                    <a:lnTo>
                      <a:pt x="360" y="414"/>
                    </a:lnTo>
                    <a:lnTo>
                      <a:pt x="360" y="414"/>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21">
                <a:extLst>
                  <a:ext uri="{FF2B5EF4-FFF2-40B4-BE49-F238E27FC236}">
                    <a16:creationId xmlns:a16="http://schemas.microsoft.com/office/drawing/2014/main" id="{290B851A-E02B-4EDE-92EA-C632C234C502}"/>
                  </a:ext>
                </a:extLst>
              </p:cNvPr>
              <p:cNvSpPr>
                <a:spLocks/>
              </p:cNvSpPr>
              <p:nvPr/>
            </p:nvSpPr>
            <p:spPr bwMode="auto">
              <a:xfrm>
                <a:off x="2654430" y="-2567581"/>
                <a:ext cx="508731" cy="1032266"/>
              </a:xfrm>
              <a:custGeom>
                <a:avLst/>
                <a:gdLst>
                  <a:gd name="T0" fmla="*/ 718 w 756"/>
                  <a:gd name="T1" fmla="*/ 1534 h 1534"/>
                  <a:gd name="T2" fmla="*/ 354 w 756"/>
                  <a:gd name="T3" fmla="*/ 1534 h 1534"/>
                  <a:gd name="T4" fmla="*/ 354 w 756"/>
                  <a:gd name="T5" fmla="*/ 1534 h 1534"/>
                  <a:gd name="T6" fmla="*/ 368 w 756"/>
                  <a:gd name="T7" fmla="*/ 1438 h 1534"/>
                  <a:gd name="T8" fmla="*/ 380 w 756"/>
                  <a:gd name="T9" fmla="*/ 1340 h 1534"/>
                  <a:gd name="T10" fmla="*/ 386 w 756"/>
                  <a:gd name="T11" fmla="*/ 1242 h 1534"/>
                  <a:gd name="T12" fmla="*/ 388 w 756"/>
                  <a:gd name="T13" fmla="*/ 1142 h 1534"/>
                  <a:gd name="T14" fmla="*/ 388 w 756"/>
                  <a:gd name="T15" fmla="*/ 1142 h 1534"/>
                  <a:gd name="T16" fmla="*/ 388 w 756"/>
                  <a:gd name="T17" fmla="*/ 1076 h 1534"/>
                  <a:gd name="T18" fmla="*/ 384 w 756"/>
                  <a:gd name="T19" fmla="*/ 1012 h 1534"/>
                  <a:gd name="T20" fmla="*/ 380 w 756"/>
                  <a:gd name="T21" fmla="*/ 946 h 1534"/>
                  <a:gd name="T22" fmla="*/ 374 w 756"/>
                  <a:gd name="T23" fmla="*/ 882 h 1534"/>
                  <a:gd name="T24" fmla="*/ 364 w 756"/>
                  <a:gd name="T25" fmla="*/ 818 h 1534"/>
                  <a:gd name="T26" fmla="*/ 354 w 756"/>
                  <a:gd name="T27" fmla="*/ 756 h 1534"/>
                  <a:gd name="T28" fmla="*/ 342 w 756"/>
                  <a:gd name="T29" fmla="*/ 696 h 1534"/>
                  <a:gd name="T30" fmla="*/ 328 w 756"/>
                  <a:gd name="T31" fmla="*/ 634 h 1534"/>
                  <a:gd name="T32" fmla="*/ 312 w 756"/>
                  <a:gd name="T33" fmla="*/ 576 h 1534"/>
                  <a:gd name="T34" fmla="*/ 294 w 756"/>
                  <a:gd name="T35" fmla="*/ 518 h 1534"/>
                  <a:gd name="T36" fmla="*/ 276 w 756"/>
                  <a:gd name="T37" fmla="*/ 462 h 1534"/>
                  <a:gd name="T38" fmla="*/ 254 w 756"/>
                  <a:gd name="T39" fmla="*/ 406 h 1534"/>
                  <a:gd name="T40" fmla="*/ 232 w 756"/>
                  <a:gd name="T41" fmla="*/ 354 h 1534"/>
                  <a:gd name="T42" fmla="*/ 208 w 756"/>
                  <a:gd name="T43" fmla="*/ 302 h 1534"/>
                  <a:gd name="T44" fmla="*/ 182 w 756"/>
                  <a:gd name="T45" fmla="*/ 252 h 1534"/>
                  <a:gd name="T46" fmla="*/ 154 w 756"/>
                  <a:gd name="T47" fmla="*/ 204 h 1534"/>
                  <a:gd name="T48" fmla="*/ 154 w 756"/>
                  <a:gd name="T49" fmla="*/ 204 h 1534"/>
                  <a:gd name="T50" fmla="*/ 118 w 756"/>
                  <a:gd name="T51" fmla="*/ 146 h 1534"/>
                  <a:gd name="T52" fmla="*/ 80 w 756"/>
                  <a:gd name="T53" fmla="*/ 94 h 1534"/>
                  <a:gd name="T54" fmla="*/ 40 w 756"/>
                  <a:gd name="T55" fmla="*/ 44 h 1534"/>
                  <a:gd name="T56" fmla="*/ 0 w 756"/>
                  <a:gd name="T57" fmla="*/ 0 h 1534"/>
                  <a:gd name="T58" fmla="*/ 0 w 756"/>
                  <a:gd name="T59" fmla="*/ 0 h 1534"/>
                  <a:gd name="T60" fmla="*/ 56 w 756"/>
                  <a:gd name="T61" fmla="*/ 24 h 1534"/>
                  <a:gd name="T62" fmla="*/ 110 w 756"/>
                  <a:gd name="T63" fmla="*/ 50 h 1534"/>
                  <a:gd name="T64" fmla="*/ 164 w 756"/>
                  <a:gd name="T65" fmla="*/ 80 h 1534"/>
                  <a:gd name="T66" fmla="*/ 216 w 756"/>
                  <a:gd name="T67" fmla="*/ 112 h 1534"/>
                  <a:gd name="T68" fmla="*/ 216 w 756"/>
                  <a:gd name="T69" fmla="*/ 112 h 1534"/>
                  <a:gd name="T70" fmla="*/ 274 w 756"/>
                  <a:gd name="T71" fmla="*/ 150 h 1534"/>
                  <a:gd name="T72" fmla="*/ 330 w 756"/>
                  <a:gd name="T73" fmla="*/ 194 h 1534"/>
                  <a:gd name="T74" fmla="*/ 382 w 756"/>
                  <a:gd name="T75" fmla="*/ 238 h 1534"/>
                  <a:gd name="T76" fmla="*/ 432 w 756"/>
                  <a:gd name="T77" fmla="*/ 286 h 1534"/>
                  <a:gd name="T78" fmla="*/ 480 w 756"/>
                  <a:gd name="T79" fmla="*/ 338 h 1534"/>
                  <a:gd name="T80" fmla="*/ 524 w 756"/>
                  <a:gd name="T81" fmla="*/ 392 h 1534"/>
                  <a:gd name="T82" fmla="*/ 564 w 756"/>
                  <a:gd name="T83" fmla="*/ 448 h 1534"/>
                  <a:gd name="T84" fmla="*/ 602 w 756"/>
                  <a:gd name="T85" fmla="*/ 508 h 1534"/>
                  <a:gd name="T86" fmla="*/ 456 w 756"/>
                  <a:gd name="T87" fmla="*/ 508 h 1534"/>
                  <a:gd name="T88" fmla="*/ 456 w 756"/>
                  <a:gd name="T89" fmla="*/ 1398 h 1534"/>
                  <a:gd name="T90" fmla="*/ 756 w 756"/>
                  <a:gd name="T91" fmla="*/ 1398 h 1534"/>
                  <a:gd name="T92" fmla="*/ 756 w 756"/>
                  <a:gd name="T93" fmla="*/ 1398 h 1534"/>
                  <a:gd name="T94" fmla="*/ 738 w 756"/>
                  <a:gd name="T95" fmla="*/ 1462 h 1534"/>
                  <a:gd name="T96" fmla="*/ 718 w 756"/>
                  <a:gd name="T97" fmla="*/ 1534 h 1534"/>
                  <a:gd name="T98" fmla="*/ 718 w 756"/>
                  <a:gd name="T99" fmla="*/ 153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6" h="1534">
                    <a:moveTo>
                      <a:pt x="718" y="1534"/>
                    </a:moveTo>
                    <a:lnTo>
                      <a:pt x="354" y="1534"/>
                    </a:lnTo>
                    <a:lnTo>
                      <a:pt x="354" y="1534"/>
                    </a:lnTo>
                    <a:lnTo>
                      <a:pt x="368" y="1438"/>
                    </a:lnTo>
                    <a:lnTo>
                      <a:pt x="380" y="1340"/>
                    </a:lnTo>
                    <a:lnTo>
                      <a:pt x="386" y="1242"/>
                    </a:lnTo>
                    <a:lnTo>
                      <a:pt x="388" y="1142"/>
                    </a:lnTo>
                    <a:lnTo>
                      <a:pt x="388" y="1142"/>
                    </a:lnTo>
                    <a:lnTo>
                      <a:pt x="388" y="1076"/>
                    </a:lnTo>
                    <a:lnTo>
                      <a:pt x="384" y="1012"/>
                    </a:lnTo>
                    <a:lnTo>
                      <a:pt x="380" y="946"/>
                    </a:lnTo>
                    <a:lnTo>
                      <a:pt x="374" y="882"/>
                    </a:lnTo>
                    <a:lnTo>
                      <a:pt x="364" y="818"/>
                    </a:lnTo>
                    <a:lnTo>
                      <a:pt x="354" y="756"/>
                    </a:lnTo>
                    <a:lnTo>
                      <a:pt x="342" y="696"/>
                    </a:lnTo>
                    <a:lnTo>
                      <a:pt x="328" y="634"/>
                    </a:lnTo>
                    <a:lnTo>
                      <a:pt x="312" y="576"/>
                    </a:lnTo>
                    <a:lnTo>
                      <a:pt x="294" y="518"/>
                    </a:lnTo>
                    <a:lnTo>
                      <a:pt x="276" y="462"/>
                    </a:lnTo>
                    <a:lnTo>
                      <a:pt x="254" y="406"/>
                    </a:lnTo>
                    <a:lnTo>
                      <a:pt x="232" y="354"/>
                    </a:lnTo>
                    <a:lnTo>
                      <a:pt x="208" y="302"/>
                    </a:lnTo>
                    <a:lnTo>
                      <a:pt x="182" y="252"/>
                    </a:lnTo>
                    <a:lnTo>
                      <a:pt x="154" y="204"/>
                    </a:lnTo>
                    <a:lnTo>
                      <a:pt x="154" y="204"/>
                    </a:lnTo>
                    <a:lnTo>
                      <a:pt x="118" y="146"/>
                    </a:lnTo>
                    <a:lnTo>
                      <a:pt x="80" y="94"/>
                    </a:lnTo>
                    <a:lnTo>
                      <a:pt x="40" y="44"/>
                    </a:lnTo>
                    <a:lnTo>
                      <a:pt x="0" y="0"/>
                    </a:lnTo>
                    <a:lnTo>
                      <a:pt x="0" y="0"/>
                    </a:lnTo>
                    <a:lnTo>
                      <a:pt x="56" y="24"/>
                    </a:lnTo>
                    <a:lnTo>
                      <a:pt x="110" y="50"/>
                    </a:lnTo>
                    <a:lnTo>
                      <a:pt x="164" y="80"/>
                    </a:lnTo>
                    <a:lnTo>
                      <a:pt x="216" y="112"/>
                    </a:lnTo>
                    <a:lnTo>
                      <a:pt x="216" y="112"/>
                    </a:lnTo>
                    <a:lnTo>
                      <a:pt x="274" y="150"/>
                    </a:lnTo>
                    <a:lnTo>
                      <a:pt x="330" y="194"/>
                    </a:lnTo>
                    <a:lnTo>
                      <a:pt x="382" y="238"/>
                    </a:lnTo>
                    <a:lnTo>
                      <a:pt x="432" y="286"/>
                    </a:lnTo>
                    <a:lnTo>
                      <a:pt x="480" y="338"/>
                    </a:lnTo>
                    <a:lnTo>
                      <a:pt x="524" y="392"/>
                    </a:lnTo>
                    <a:lnTo>
                      <a:pt x="564" y="448"/>
                    </a:lnTo>
                    <a:lnTo>
                      <a:pt x="602" y="508"/>
                    </a:lnTo>
                    <a:lnTo>
                      <a:pt x="456" y="508"/>
                    </a:lnTo>
                    <a:lnTo>
                      <a:pt x="456" y="1398"/>
                    </a:lnTo>
                    <a:lnTo>
                      <a:pt x="756" y="1398"/>
                    </a:lnTo>
                    <a:lnTo>
                      <a:pt x="756" y="1398"/>
                    </a:lnTo>
                    <a:lnTo>
                      <a:pt x="738" y="1462"/>
                    </a:lnTo>
                    <a:lnTo>
                      <a:pt x="718" y="1534"/>
                    </a:lnTo>
                    <a:lnTo>
                      <a:pt x="718" y="1534"/>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22">
                <a:extLst>
                  <a:ext uri="{FF2B5EF4-FFF2-40B4-BE49-F238E27FC236}">
                    <a16:creationId xmlns:a16="http://schemas.microsoft.com/office/drawing/2014/main" id="{5F08E601-F468-4446-B2A9-B33B687B5979}"/>
                  </a:ext>
                </a:extLst>
              </p:cNvPr>
              <p:cNvSpPr>
                <a:spLocks/>
              </p:cNvSpPr>
              <p:nvPr/>
            </p:nvSpPr>
            <p:spPr bwMode="auto">
              <a:xfrm>
                <a:off x="3043380" y="-2144985"/>
                <a:ext cx="609669" cy="549106"/>
              </a:xfrm>
              <a:custGeom>
                <a:avLst/>
                <a:gdLst>
                  <a:gd name="T0" fmla="*/ 906 w 906"/>
                  <a:gd name="T1" fmla="*/ 680 h 816"/>
                  <a:gd name="T2" fmla="*/ 770 w 906"/>
                  <a:gd name="T3" fmla="*/ 816 h 816"/>
                  <a:gd name="T4" fmla="*/ 770 w 906"/>
                  <a:gd name="T5" fmla="*/ 650 h 816"/>
                  <a:gd name="T6" fmla="*/ 0 w 906"/>
                  <a:gd name="T7" fmla="*/ 650 h 816"/>
                  <a:gd name="T8" fmla="*/ 0 w 906"/>
                  <a:gd name="T9" fmla="*/ 0 h 816"/>
                  <a:gd name="T10" fmla="*/ 906 w 906"/>
                  <a:gd name="T11" fmla="*/ 0 h 816"/>
                  <a:gd name="T12" fmla="*/ 906 w 906"/>
                  <a:gd name="T13" fmla="*/ 680 h 816"/>
                </a:gdLst>
                <a:ahLst/>
                <a:cxnLst>
                  <a:cxn ang="0">
                    <a:pos x="T0" y="T1"/>
                  </a:cxn>
                  <a:cxn ang="0">
                    <a:pos x="T2" y="T3"/>
                  </a:cxn>
                  <a:cxn ang="0">
                    <a:pos x="T4" y="T5"/>
                  </a:cxn>
                  <a:cxn ang="0">
                    <a:pos x="T6" y="T7"/>
                  </a:cxn>
                  <a:cxn ang="0">
                    <a:pos x="T8" y="T9"/>
                  </a:cxn>
                  <a:cxn ang="0">
                    <a:pos x="T10" y="T11"/>
                  </a:cxn>
                  <a:cxn ang="0">
                    <a:pos x="T12" y="T13"/>
                  </a:cxn>
                </a:cxnLst>
                <a:rect l="0" t="0" r="r" b="b"/>
                <a:pathLst>
                  <a:path w="906" h="816">
                    <a:moveTo>
                      <a:pt x="906" y="680"/>
                    </a:moveTo>
                    <a:lnTo>
                      <a:pt x="770" y="816"/>
                    </a:lnTo>
                    <a:lnTo>
                      <a:pt x="770" y="650"/>
                    </a:lnTo>
                    <a:lnTo>
                      <a:pt x="0" y="650"/>
                    </a:lnTo>
                    <a:lnTo>
                      <a:pt x="0" y="0"/>
                    </a:lnTo>
                    <a:lnTo>
                      <a:pt x="906" y="0"/>
                    </a:lnTo>
                    <a:lnTo>
                      <a:pt x="906" y="68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3" name="Line 23">
                <a:extLst>
                  <a:ext uri="{FF2B5EF4-FFF2-40B4-BE49-F238E27FC236}">
                    <a16:creationId xmlns:a16="http://schemas.microsoft.com/office/drawing/2014/main" id="{E0E57A04-1AE0-4DAE-BBF0-022BC9C3D345}"/>
                  </a:ext>
                </a:extLst>
              </p:cNvPr>
              <p:cNvSpPr>
                <a:spLocks noChangeShapeType="1"/>
              </p:cNvSpPr>
              <p:nvPr/>
            </p:nvSpPr>
            <p:spPr bwMode="auto">
              <a:xfrm>
                <a:off x="3653049" y="-1687397"/>
                <a:ext cx="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4" name="Rectangle 24">
                <a:extLst>
                  <a:ext uri="{FF2B5EF4-FFF2-40B4-BE49-F238E27FC236}">
                    <a16:creationId xmlns:a16="http://schemas.microsoft.com/office/drawing/2014/main" id="{8178DD11-43FF-49CB-9430-2F47C5AA63EB}"/>
                  </a:ext>
                </a:extLst>
              </p:cNvPr>
              <p:cNvSpPr>
                <a:spLocks noChangeArrowheads="1"/>
              </p:cNvSpPr>
              <p:nvPr/>
            </p:nvSpPr>
            <p:spPr bwMode="auto">
              <a:xfrm>
                <a:off x="3134898" y="-1967333"/>
                <a:ext cx="86134" cy="80751"/>
              </a:xfrm>
              <a:prstGeom prst="rect">
                <a:avLst/>
              </a:prstGeom>
              <a:solidFill>
                <a:srgbClr val="87BD2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sz="1200"/>
              </a:p>
            </p:txBody>
          </p:sp>
          <p:sp>
            <p:nvSpPr>
              <p:cNvPr id="45" name="Rectangle 25">
                <a:extLst>
                  <a:ext uri="{FF2B5EF4-FFF2-40B4-BE49-F238E27FC236}">
                    <a16:creationId xmlns:a16="http://schemas.microsoft.com/office/drawing/2014/main" id="{5F9BE32B-1C55-42AE-82CC-6FACC2407B67}"/>
                  </a:ext>
                </a:extLst>
              </p:cNvPr>
              <p:cNvSpPr>
                <a:spLocks noChangeArrowheads="1"/>
              </p:cNvSpPr>
              <p:nvPr/>
            </p:nvSpPr>
            <p:spPr bwMode="auto">
              <a:xfrm>
                <a:off x="3307166" y="-1967333"/>
                <a:ext cx="86134" cy="80751"/>
              </a:xfrm>
              <a:prstGeom prst="rect">
                <a:avLst/>
              </a:prstGeom>
              <a:solidFill>
                <a:srgbClr val="87BD2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sz="1200"/>
              </a:p>
            </p:txBody>
          </p:sp>
          <p:sp>
            <p:nvSpPr>
              <p:cNvPr id="46" name="Rectangle 26">
                <a:extLst>
                  <a:ext uri="{FF2B5EF4-FFF2-40B4-BE49-F238E27FC236}">
                    <a16:creationId xmlns:a16="http://schemas.microsoft.com/office/drawing/2014/main" id="{443D1653-7F04-4A24-9D89-2B4F2D5A9AC8}"/>
                  </a:ext>
                </a:extLst>
              </p:cNvPr>
              <p:cNvSpPr>
                <a:spLocks noChangeArrowheads="1"/>
              </p:cNvSpPr>
              <p:nvPr/>
            </p:nvSpPr>
            <p:spPr bwMode="auto">
              <a:xfrm>
                <a:off x="3479435" y="-1967333"/>
                <a:ext cx="87480" cy="80751"/>
              </a:xfrm>
              <a:prstGeom prst="rect">
                <a:avLst/>
              </a:prstGeom>
              <a:solidFill>
                <a:srgbClr val="87BD2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sz="1200"/>
              </a:p>
            </p:txBody>
          </p:sp>
        </p:grpSp>
        <p:grpSp>
          <p:nvGrpSpPr>
            <p:cNvPr id="47" name="Group 46">
              <a:extLst>
                <a:ext uri="{FF2B5EF4-FFF2-40B4-BE49-F238E27FC236}">
                  <a16:creationId xmlns:a16="http://schemas.microsoft.com/office/drawing/2014/main" id="{3EF8058D-1EC4-40C2-9482-79499DBFDAA2}"/>
                </a:ext>
              </a:extLst>
            </p:cNvPr>
            <p:cNvGrpSpPr/>
            <p:nvPr/>
          </p:nvGrpSpPr>
          <p:grpSpPr>
            <a:xfrm>
              <a:off x="9775684" y="4189751"/>
              <a:ext cx="1907041" cy="1849415"/>
              <a:chOff x="9466716" y="4101032"/>
              <a:chExt cx="2259013" cy="2190751"/>
            </a:xfrm>
          </p:grpSpPr>
          <p:grpSp>
            <p:nvGrpSpPr>
              <p:cNvPr id="48" name="Group 47">
                <a:extLst>
                  <a:ext uri="{FF2B5EF4-FFF2-40B4-BE49-F238E27FC236}">
                    <a16:creationId xmlns:a16="http://schemas.microsoft.com/office/drawing/2014/main" id="{E8FB24E8-0A3E-47B8-B224-AFCDB419F163}"/>
                  </a:ext>
                </a:extLst>
              </p:cNvPr>
              <p:cNvGrpSpPr/>
              <p:nvPr/>
            </p:nvGrpSpPr>
            <p:grpSpPr>
              <a:xfrm>
                <a:off x="9466716" y="4551264"/>
                <a:ext cx="731520" cy="731520"/>
                <a:chOff x="9336881" y="4491568"/>
                <a:chExt cx="836613" cy="803275"/>
              </a:xfrm>
            </p:grpSpPr>
            <p:sp>
              <p:nvSpPr>
                <p:cNvPr id="65" name="Freeform 11">
                  <a:extLst>
                    <a:ext uri="{FF2B5EF4-FFF2-40B4-BE49-F238E27FC236}">
                      <a16:creationId xmlns:a16="http://schemas.microsoft.com/office/drawing/2014/main" id="{B2F528AC-3422-47EE-9EF4-3CC0C8930BE5}"/>
                    </a:ext>
                  </a:extLst>
                </p:cNvPr>
                <p:cNvSpPr>
                  <a:spLocks noEditPoints="1"/>
                </p:cNvSpPr>
                <p:nvPr/>
              </p:nvSpPr>
              <p:spPr bwMode="auto">
                <a:xfrm>
                  <a:off x="9336881" y="4491568"/>
                  <a:ext cx="836613" cy="803275"/>
                </a:xfrm>
                <a:custGeom>
                  <a:avLst/>
                  <a:gdLst>
                    <a:gd name="T0" fmla="*/ 235 w 236"/>
                    <a:gd name="T1" fmla="*/ 93 h 234"/>
                    <a:gd name="T2" fmla="*/ 218 w 236"/>
                    <a:gd name="T3" fmla="*/ 62 h 234"/>
                    <a:gd name="T4" fmla="*/ 198 w 236"/>
                    <a:gd name="T5" fmla="*/ 56 h 234"/>
                    <a:gd name="T6" fmla="*/ 198 w 236"/>
                    <a:gd name="T7" fmla="*/ 30 h 234"/>
                    <a:gd name="T8" fmla="*/ 166 w 236"/>
                    <a:gd name="T9" fmla="*/ 15 h 234"/>
                    <a:gd name="T10" fmla="*/ 146 w 236"/>
                    <a:gd name="T11" fmla="*/ 21 h 234"/>
                    <a:gd name="T12" fmla="*/ 130 w 236"/>
                    <a:gd name="T13" fmla="*/ 0 h 234"/>
                    <a:gd name="T14" fmla="*/ 96 w 236"/>
                    <a:gd name="T15" fmla="*/ 6 h 234"/>
                    <a:gd name="T16" fmla="*/ 83 w 236"/>
                    <a:gd name="T17" fmla="*/ 23 h 234"/>
                    <a:gd name="T18" fmla="*/ 59 w 236"/>
                    <a:gd name="T19" fmla="*/ 15 h 234"/>
                    <a:gd name="T20" fmla="*/ 34 w 236"/>
                    <a:gd name="T21" fmla="*/ 41 h 234"/>
                    <a:gd name="T22" fmla="*/ 34 w 236"/>
                    <a:gd name="T23" fmla="*/ 61 h 234"/>
                    <a:gd name="T24" fmla="*/ 9 w 236"/>
                    <a:gd name="T25" fmla="*/ 69 h 234"/>
                    <a:gd name="T26" fmla="*/ 4 w 236"/>
                    <a:gd name="T27" fmla="*/ 104 h 234"/>
                    <a:gd name="T28" fmla="*/ 17 w 236"/>
                    <a:gd name="T29" fmla="*/ 120 h 234"/>
                    <a:gd name="T30" fmla="*/ 1 w 236"/>
                    <a:gd name="T31" fmla="*/ 141 h 234"/>
                    <a:gd name="T32" fmla="*/ 18 w 236"/>
                    <a:gd name="T33" fmla="*/ 172 h 234"/>
                    <a:gd name="T34" fmla="*/ 37 w 236"/>
                    <a:gd name="T35" fmla="*/ 178 h 234"/>
                    <a:gd name="T36" fmla="*/ 37 w 236"/>
                    <a:gd name="T37" fmla="*/ 204 h 234"/>
                    <a:gd name="T38" fmla="*/ 69 w 236"/>
                    <a:gd name="T39" fmla="*/ 219 h 234"/>
                    <a:gd name="T40" fmla="*/ 89 w 236"/>
                    <a:gd name="T41" fmla="*/ 213 h 234"/>
                    <a:gd name="T42" fmla="*/ 106 w 236"/>
                    <a:gd name="T43" fmla="*/ 234 h 234"/>
                    <a:gd name="T44" fmla="*/ 140 w 236"/>
                    <a:gd name="T45" fmla="*/ 228 h 234"/>
                    <a:gd name="T46" fmla="*/ 152 w 236"/>
                    <a:gd name="T47" fmla="*/ 211 h 234"/>
                    <a:gd name="T48" fmla="*/ 178 w 236"/>
                    <a:gd name="T49" fmla="*/ 218 h 234"/>
                    <a:gd name="T50" fmla="*/ 201 w 236"/>
                    <a:gd name="T51" fmla="*/ 193 h 234"/>
                    <a:gd name="T52" fmla="*/ 201 w 236"/>
                    <a:gd name="T53" fmla="*/ 173 h 234"/>
                    <a:gd name="T54" fmla="*/ 226 w 236"/>
                    <a:gd name="T55" fmla="*/ 165 h 234"/>
                    <a:gd name="T56" fmla="*/ 231 w 236"/>
                    <a:gd name="T57" fmla="*/ 130 h 234"/>
                    <a:gd name="T58" fmla="*/ 219 w 236"/>
                    <a:gd name="T59" fmla="*/ 114 h 234"/>
                    <a:gd name="T60" fmla="*/ 201 w 236"/>
                    <a:gd name="T61" fmla="*/ 133 h 234"/>
                    <a:gd name="T62" fmla="*/ 209 w 236"/>
                    <a:gd name="T63" fmla="*/ 151 h 234"/>
                    <a:gd name="T64" fmla="*/ 186 w 236"/>
                    <a:gd name="T65" fmla="*/ 157 h 234"/>
                    <a:gd name="T66" fmla="*/ 176 w 236"/>
                    <a:gd name="T67" fmla="*/ 177 h 234"/>
                    <a:gd name="T68" fmla="*/ 171 w 236"/>
                    <a:gd name="T69" fmla="*/ 197 h 234"/>
                    <a:gd name="T70" fmla="*/ 149 w 236"/>
                    <a:gd name="T71" fmla="*/ 189 h 234"/>
                    <a:gd name="T72" fmla="*/ 129 w 236"/>
                    <a:gd name="T73" fmla="*/ 199 h 234"/>
                    <a:gd name="T74" fmla="*/ 113 w 236"/>
                    <a:gd name="T75" fmla="*/ 213 h 234"/>
                    <a:gd name="T76" fmla="*/ 99 w 236"/>
                    <a:gd name="T77" fmla="*/ 193 h 234"/>
                    <a:gd name="T78" fmla="*/ 77 w 236"/>
                    <a:gd name="T79" fmla="*/ 190 h 234"/>
                    <a:gd name="T80" fmla="*/ 56 w 236"/>
                    <a:gd name="T81" fmla="*/ 192 h 234"/>
                    <a:gd name="T82" fmla="*/ 57 w 236"/>
                    <a:gd name="T83" fmla="*/ 168 h 234"/>
                    <a:gd name="T84" fmla="*/ 41 w 236"/>
                    <a:gd name="T85" fmla="*/ 152 h 234"/>
                    <a:gd name="T86" fmla="*/ 23 w 236"/>
                    <a:gd name="T87" fmla="*/ 142 h 234"/>
                    <a:gd name="T88" fmla="*/ 38 w 236"/>
                    <a:gd name="T89" fmla="*/ 124 h 234"/>
                    <a:gd name="T90" fmla="*/ 34 w 236"/>
                    <a:gd name="T91" fmla="*/ 101 h 234"/>
                    <a:gd name="T92" fmla="*/ 26 w 236"/>
                    <a:gd name="T93" fmla="*/ 83 h 234"/>
                    <a:gd name="T94" fmla="*/ 49 w 236"/>
                    <a:gd name="T95" fmla="*/ 77 h 234"/>
                    <a:gd name="T96" fmla="*/ 59 w 236"/>
                    <a:gd name="T97" fmla="*/ 57 h 234"/>
                    <a:gd name="T98" fmla="*/ 64 w 236"/>
                    <a:gd name="T99" fmla="*/ 37 h 234"/>
                    <a:gd name="T100" fmla="*/ 86 w 236"/>
                    <a:gd name="T101" fmla="*/ 45 h 234"/>
                    <a:gd name="T102" fmla="*/ 107 w 236"/>
                    <a:gd name="T103" fmla="*/ 35 h 234"/>
                    <a:gd name="T104" fmla="*/ 123 w 236"/>
                    <a:gd name="T105" fmla="*/ 21 h 234"/>
                    <a:gd name="T106" fmla="*/ 136 w 236"/>
                    <a:gd name="T107" fmla="*/ 41 h 234"/>
                    <a:gd name="T108" fmla="*/ 158 w 236"/>
                    <a:gd name="T109" fmla="*/ 44 h 234"/>
                    <a:gd name="T110" fmla="*/ 179 w 236"/>
                    <a:gd name="T111" fmla="*/ 42 h 234"/>
                    <a:gd name="T112" fmla="*/ 178 w 236"/>
                    <a:gd name="T113" fmla="*/ 66 h 234"/>
                    <a:gd name="T114" fmla="*/ 194 w 236"/>
                    <a:gd name="T115" fmla="*/ 82 h 234"/>
                    <a:gd name="T116" fmla="*/ 212 w 236"/>
                    <a:gd name="T117" fmla="*/ 92 h 234"/>
                    <a:gd name="T118" fmla="*/ 197 w 236"/>
                    <a:gd name="T119" fmla="*/ 110 h 234"/>
                    <a:gd name="T120" fmla="*/ 201 w 236"/>
                    <a:gd name="T121" fmla="*/ 13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6" h="234">
                      <a:moveTo>
                        <a:pt x="231" y="104"/>
                      </a:moveTo>
                      <a:cubicBezTo>
                        <a:pt x="234" y="101"/>
                        <a:pt x="236" y="97"/>
                        <a:pt x="235" y="93"/>
                      </a:cubicBezTo>
                      <a:cubicBezTo>
                        <a:pt x="233" y="85"/>
                        <a:pt x="230" y="76"/>
                        <a:pt x="226" y="69"/>
                      </a:cubicBezTo>
                      <a:cubicBezTo>
                        <a:pt x="225" y="65"/>
                        <a:pt x="222" y="63"/>
                        <a:pt x="218" y="62"/>
                      </a:cubicBezTo>
                      <a:cubicBezTo>
                        <a:pt x="201" y="61"/>
                        <a:pt x="201" y="61"/>
                        <a:pt x="201" y="61"/>
                      </a:cubicBezTo>
                      <a:cubicBezTo>
                        <a:pt x="200" y="59"/>
                        <a:pt x="199" y="58"/>
                        <a:pt x="198" y="56"/>
                      </a:cubicBezTo>
                      <a:cubicBezTo>
                        <a:pt x="201" y="41"/>
                        <a:pt x="201" y="41"/>
                        <a:pt x="201" y="41"/>
                      </a:cubicBezTo>
                      <a:cubicBezTo>
                        <a:pt x="202" y="37"/>
                        <a:pt x="201" y="33"/>
                        <a:pt x="198" y="30"/>
                      </a:cubicBezTo>
                      <a:cubicBezTo>
                        <a:pt x="192" y="24"/>
                        <a:pt x="184" y="19"/>
                        <a:pt x="177" y="15"/>
                      </a:cubicBezTo>
                      <a:cubicBezTo>
                        <a:pt x="173" y="13"/>
                        <a:pt x="169" y="13"/>
                        <a:pt x="166" y="15"/>
                      </a:cubicBezTo>
                      <a:cubicBezTo>
                        <a:pt x="152" y="23"/>
                        <a:pt x="152" y="23"/>
                        <a:pt x="152" y="23"/>
                      </a:cubicBezTo>
                      <a:cubicBezTo>
                        <a:pt x="150" y="23"/>
                        <a:pt x="148" y="22"/>
                        <a:pt x="146" y="21"/>
                      </a:cubicBezTo>
                      <a:cubicBezTo>
                        <a:pt x="140" y="6"/>
                        <a:pt x="140" y="6"/>
                        <a:pt x="140" y="6"/>
                      </a:cubicBezTo>
                      <a:cubicBezTo>
                        <a:pt x="138" y="2"/>
                        <a:pt x="134" y="0"/>
                        <a:pt x="130" y="0"/>
                      </a:cubicBezTo>
                      <a:cubicBezTo>
                        <a:pt x="106" y="0"/>
                        <a:pt x="106" y="0"/>
                        <a:pt x="106" y="0"/>
                      </a:cubicBezTo>
                      <a:cubicBezTo>
                        <a:pt x="101" y="0"/>
                        <a:pt x="97" y="2"/>
                        <a:pt x="96" y="6"/>
                      </a:cubicBezTo>
                      <a:cubicBezTo>
                        <a:pt x="89" y="21"/>
                        <a:pt x="89" y="21"/>
                        <a:pt x="89" y="21"/>
                      </a:cubicBezTo>
                      <a:cubicBezTo>
                        <a:pt x="87" y="22"/>
                        <a:pt x="85" y="23"/>
                        <a:pt x="83" y="23"/>
                      </a:cubicBezTo>
                      <a:cubicBezTo>
                        <a:pt x="69" y="15"/>
                        <a:pt x="69" y="15"/>
                        <a:pt x="69" y="15"/>
                      </a:cubicBezTo>
                      <a:cubicBezTo>
                        <a:pt x="66" y="13"/>
                        <a:pt x="62" y="13"/>
                        <a:pt x="59" y="15"/>
                      </a:cubicBezTo>
                      <a:cubicBezTo>
                        <a:pt x="51" y="19"/>
                        <a:pt x="44" y="24"/>
                        <a:pt x="37" y="30"/>
                      </a:cubicBezTo>
                      <a:cubicBezTo>
                        <a:pt x="34" y="33"/>
                        <a:pt x="33" y="37"/>
                        <a:pt x="34" y="41"/>
                      </a:cubicBezTo>
                      <a:cubicBezTo>
                        <a:pt x="37" y="56"/>
                        <a:pt x="37" y="56"/>
                        <a:pt x="37" y="56"/>
                      </a:cubicBezTo>
                      <a:cubicBezTo>
                        <a:pt x="36" y="58"/>
                        <a:pt x="35" y="59"/>
                        <a:pt x="34" y="61"/>
                      </a:cubicBezTo>
                      <a:cubicBezTo>
                        <a:pt x="18" y="62"/>
                        <a:pt x="18" y="62"/>
                        <a:pt x="18" y="62"/>
                      </a:cubicBezTo>
                      <a:cubicBezTo>
                        <a:pt x="14" y="63"/>
                        <a:pt x="10" y="65"/>
                        <a:pt x="9" y="69"/>
                      </a:cubicBezTo>
                      <a:cubicBezTo>
                        <a:pt x="5" y="76"/>
                        <a:pt x="2" y="85"/>
                        <a:pt x="1" y="93"/>
                      </a:cubicBezTo>
                      <a:cubicBezTo>
                        <a:pt x="0" y="97"/>
                        <a:pt x="1" y="101"/>
                        <a:pt x="4" y="104"/>
                      </a:cubicBezTo>
                      <a:cubicBezTo>
                        <a:pt x="17" y="114"/>
                        <a:pt x="17" y="114"/>
                        <a:pt x="17" y="114"/>
                      </a:cubicBezTo>
                      <a:cubicBezTo>
                        <a:pt x="17" y="120"/>
                        <a:pt x="17" y="120"/>
                        <a:pt x="17" y="120"/>
                      </a:cubicBezTo>
                      <a:cubicBezTo>
                        <a:pt x="4" y="130"/>
                        <a:pt x="4" y="130"/>
                        <a:pt x="4" y="130"/>
                      </a:cubicBezTo>
                      <a:cubicBezTo>
                        <a:pt x="1" y="133"/>
                        <a:pt x="0" y="137"/>
                        <a:pt x="1" y="141"/>
                      </a:cubicBezTo>
                      <a:cubicBezTo>
                        <a:pt x="2" y="149"/>
                        <a:pt x="5" y="158"/>
                        <a:pt x="9" y="165"/>
                      </a:cubicBezTo>
                      <a:cubicBezTo>
                        <a:pt x="10" y="169"/>
                        <a:pt x="14" y="171"/>
                        <a:pt x="18" y="172"/>
                      </a:cubicBezTo>
                      <a:cubicBezTo>
                        <a:pt x="34" y="173"/>
                        <a:pt x="34" y="173"/>
                        <a:pt x="34" y="173"/>
                      </a:cubicBezTo>
                      <a:cubicBezTo>
                        <a:pt x="35" y="175"/>
                        <a:pt x="36" y="176"/>
                        <a:pt x="37" y="178"/>
                      </a:cubicBezTo>
                      <a:cubicBezTo>
                        <a:pt x="34" y="193"/>
                        <a:pt x="34" y="193"/>
                        <a:pt x="34" y="193"/>
                      </a:cubicBezTo>
                      <a:cubicBezTo>
                        <a:pt x="33" y="197"/>
                        <a:pt x="34" y="201"/>
                        <a:pt x="37" y="204"/>
                      </a:cubicBezTo>
                      <a:cubicBezTo>
                        <a:pt x="44" y="210"/>
                        <a:pt x="51" y="215"/>
                        <a:pt x="59" y="219"/>
                      </a:cubicBezTo>
                      <a:cubicBezTo>
                        <a:pt x="62" y="221"/>
                        <a:pt x="66" y="221"/>
                        <a:pt x="69" y="219"/>
                      </a:cubicBezTo>
                      <a:cubicBezTo>
                        <a:pt x="83" y="211"/>
                        <a:pt x="83" y="211"/>
                        <a:pt x="83" y="211"/>
                      </a:cubicBezTo>
                      <a:cubicBezTo>
                        <a:pt x="85" y="211"/>
                        <a:pt x="87" y="212"/>
                        <a:pt x="89" y="213"/>
                      </a:cubicBezTo>
                      <a:cubicBezTo>
                        <a:pt x="96" y="228"/>
                        <a:pt x="96" y="228"/>
                        <a:pt x="96" y="228"/>
                      </a:cubicBezTo>
                      <a:cubicBezTo>
                        <a:pt x="97" y="232"/>
                        <a:pt x="101" y="234"/>
                        <a:pt x="106" y="234"/>
                      </a:cubicBezTo>
                      <a:cubicBezTo>
                        <a:pt x="130" y="234"/>
                        <a:pt x="130" y="234"/>
                        <a:pt x="130" y="234"/>
                      </a:cubicBezTo>
                      <a:cubicBezTo>
                        <a:pt x="134" y="234"/>
                        <a:pt x="138" y="232"/>
                        <a:pt x="140" y="228"/>
                      </a:cubicBezTo>
                      <a:cubicBezTo>
                        <a:pt x="146" y="213"/>
                        <a:pt x="146" y="213"/>
                        <a:pt x="146" y="213"/>
                      </a:cubicBezTo>
                      <a:cubicBezTo>
                        <a:pt x="148" y="212"/>
                        <a:pt x="150" y="211"/>
                        <a:pt x="152" y="211"/>
                      </a:cubicBezTo>
                      <a:cubicBezTo>
                        <a:pt x="166" y="219"/>
                        <a:pt x="166" y="219"/>
                        <a:pt x="166" y="219"/>
                      </a:cubicBezTo>
                      <a:cubicBezTo>
                        <a:pt x="170" y="221"/>
                        <a:pt x="174" y="221"/>
                        <a:pt x="178" y="218"/>
                      </a:cubicBezTo>
                      <a:cubicBezTo>
                        <a:pt x="197" y="204"/>
                        <a:pt x="197" y="204"/>
                        <a:pt x="197" y="204"/>
                      </a:cubicBezTo>
                      <a:cubicBezTo>
                        <a:pt x="201" y="202"/>
                        <a:pt x="202" y="197"/>
                        <a:pt x="201" y="193"/>
                      </a:cubicBezTo>
                      <a:cubicBezTo>
                        <a:pt x="198" y="178"/>
                        <a:pt x="198" y="178"/>
                        <a:pt x="198" y="178"/>
                      </a:cubicBezTo>
                      <a:cubicBezTo>
                        <a:pt x="199" y="176"/>
                        <a:pt x="200" y="175"/>
                        <a:pt x="201" y="173"/>
                      </a:cubicBezTo>
                      <a:cubicBezTo>
                        <a:pt x="218" y="172"/>
                        <a:pt x="218" y="172"/>
                        <a:pt x="218" y="172"/>
                      </a:cubicBezTo>
                      <a:cubicBezTo>
                        <a:pt x="222" y="171"/>
                        <a:pt x="225" y="169"/>
                        <a:pt x="226" y="165"/>
                      </a:cubicBezTo>
                      <a:cubicBezTo>
                        <a:pt x="230" y="158"/>
                        <a:pt x="233" y="149"/>
                        <a:pt x="235" y="141"/>
                      </a:cubicBezTo>
                      <a:cubicBezTo>
                        <a:pt x="236" y="137"/>
                        <a:pt x="234" y="133"/>
                        <a:pt x="231" y="130"/>
                      </a:cubicBezTo>
                      <a:cubicBezTo>
                        <a:pt x="219" y="120"/>
                        <a:pt x="219" y="120"/>
                        <a:pt x="219" y="120"/>
                      </a:cubicBezTo>
                      <a:cubicBezTo>
                        <a:pt x="219" y="114"/>
                        <a:pt x="219" y="114"/>
                        <a:pt x="219" y="114"/>
                      </a:cubicBezTo>
                      <a:lnTo>
                        <a:pt x="231" y="104"/>
                      </a:lnTo>
                      <a:close/>
                      <a:moveTo>
                        <a:pt x="201" y="133"/>
                      </a:moveTo>
                      <a:cubicBezTo>
                        <a:pt x="212" y="142"/>
                        <a:pt x="212" y="142"/>
                        <a:pt x="212" y="142"/>
                      </a:cubicBezTo>
                      <a:cubicBezTo>
                        <a:pt x="212" y="145"/>
                        <a:pt x="211" y="148"/>
                        <a:pt x="209" y="151"/>
                      </a:cubicBezTo>
                      <a:cubicBezTo>
                        <a:pt x="194" y="152"/>
                        <a:pt x="194" y="152"/>
                        <a:pt x="194" y="152"/>
                      </a:cubicBezTo>
                      <a:cubicBezTo>
                        <a:pt x="191" y="153"/>
                        <a:pt x="188" y="155"/>
                        <a:pt x="186" y="157"/>
                      </a:cubicBezTo>
                      <a:cubicBezTo>
                        <a:pt x="184" y="161"/>
                        <a:pt x="181" y="165"/>
                        <a:pt x="178" y="168"/>
                      </a:cubicBezTo>
                      <a:cubicBezTo>
                        <a:pt x="176" y="171"/>
                        <a:pt x="175" y="174"/>
                        <a:pt x="176" y="177"/>
                      </a:cubicBezTo>
                      <a:cubicBezTo>
                        <a:pt x="179" y="191"/>
                        <a:pt x="179" y="191"/>
                        <a:pt x="179" y="191"/>
                      </a:cubicBezTo>
                      <a:cubicBezTo>
                        <a:pt x="171" y="197"/>
                        <a:pt x="171" y="197"/>
                        <a:pt x="171" y="197"/>
                      </a:cubicBezTo>
                      <a:cubicBezTo>
                        <a:pt x="158" y="190"/>
                        <a:pt x="158" y="190"/>
                        <a:pt x="158" y="190"/>
                      </a:cubicBezTo>
                      <a:cubicBezTo>
                        <a:pt x="155" y="188"/>
                        <a:pt x="152" y="188"/>
                        <a:pt x="149" y="189"/>
                      </a:cubicBezTo>
                      <a:cubicBezTo>
                        <a:pt x="145" y="191"/>
                        <a:pt x="140" y="192"/>
                        <a:pt x="136" y="193"/>
                      </a:cubicBezTo>
                      <a:cubicBezTo>
                        <a:pt x="133" y="194"/>
                        <a:pt x="130" y="196"/>
                        <a:pt x="129" y="199"/>
                      </a:cubicBezTo>
                      <a:cubicBezTo>
                        <a:pt x="123" y="213"/>
                        <a:pt x="123" y="213"/>
                        <a:pt x="123" y="213"/>
                      </a:cubicBezTo>
                      <a:cubicBezTo>
                        <a:pt x="113" y="213"/>
                        <a:pt x="113" y="213"/>
                        <a:pt x="113" y="213"/>
                      </a:cubicBezTo>
                      <a:cubicBezTo>
                        <a:pt x="107" y="199"/>
                        <a:pt x="107" y="199"/>
                        <a:pt x="107" y="199"/>
                      </a:cubicBezTo>
                      <a:cubicBezTo>
                        <a:pt x="105" y="196"/>
                        <a:pt x="103" y="194"/>
                        <a:pt x="99" y="193"/>
                      </a:cubicBezTo>
                      <a:cubicBezTo>
                        <a:pt x="95" y="192"/>
                        <a:pt x="91" y="191"/>
                        <a:pt x="86" y="189"/>
                      </a:cubicBezTo>
                      <a:cubicBezTo>
                        <a:pt x="83" y="188"/>
                        <a:pt x="80" y="188"/>
                        <a:pt x="77" y="190"/>
                      </a:cubicBezTo>
                      <a:cubicBezTo>
                        <a:pt x="64" y="197"/>
                        <a:pt x="64" y="197"/>
                        <a:pt x="64" y="197"/>
                      </a:cubicBezTo>
                      <a:cubicBezTo>
                        <a:pt x="61" y="196"/>
                        <a:pt x="59" y="194"/>
                        <a:pt x="56" y="192"/>
                      </a:cubicBezTo>
                      <a:cubicBezTo>
                        <a:pt x="59" y="177"/>
                        <a:pt x="59" y="177"/>
                        <a:pt x="59" y="177"/>
                      </a:cubicBezTo>
                      <a:cubicBezTo>
                        <a:pt x="60" y="174"/>
                        <a:pt x="59" y="171"/>
                        <a:pt x="57" y="168"/>
                      </a:cubicBezTo>
                      <a:cubicBezTo>
                        <a:pt x="54" y="165"/>
                        <a:pt x="51" y="161"/>
                        <a:pt x="49" y="157"/>
                      </a:cubicBezTo>
                      <a:cubicBezTo>
                        <a:pt x="47" y="155"/>
                        <a:pt x="44" y="153"/>
                        <a:pt x="41" y="152"/>
                      </a:cubicBezTo>
                      <a:cubicBezTo>
                        <a:pt x="26" y="151"/>
                        <a:pt x="26" y="151"/>
                        <a:pt x="26" y="151"/>
                      </a:cubicBezTo>
                      <a:cubicBezTo>
                        <a:pt x="25" y="148"/>
                        <a:pt x="24" y="145"/>
                        <a:pt x="23" y="142"/>
                      </a:cubicBezTo>
                      <a:cubicBezTo>
                        <a:pt x="34" y="133"/>
                        <a:pt x="34" y="133"/>
                        <a:pt x="34" y="133"/>
                      </a:cubicBezTo>
                      <a:cubicBezTo>
                        <a:pt x="37" y="131"/>
                        <a:pt x="38" y="128"/>
                        <a:pt x="38" y="124"/>
                      </a:cubicBezTo>
                      <a:cubicBezTo>
                        <a:pt x="38" y="110"/>
                        <a:pt x="38" y="110"/>
                        <a:pt x="38" y="110"/>
                      </a:cubicBezTo>
                      <a:cubicBezTo>
                        <a:pt x="38" y="106"/>
                        <a:pt x="37" y="103"/>
                        <a:pt x="34" y="101"/>
                      </a:cubicBezTo>
                      <a:cubicBezTo>
                        <a:pt x="23" y="92"/>
                        <a:pt x="23" y="92"/>
                        <a:pt x="23" y="92"/>
                      </a:cubicBezTo>
                      <a:cubicBezTo>
                        <a:pt x="24" y="89"/>
                        <a:pt x="25" y="86"/>
                        <a:pt x="26" y="83"/>
                      </a:cubicBezTo>
                      <a:cubicBezTo>
                        <a:pt x="41" y="82"/>
                        <a:pt x="41" y="82"/>
                        <a:pt x="41" y="82"/>
                      </a:cubicBezTo>
                      <a:cubicBezTo>
                        <a:pt x="44" y="81"/>
                        <a:pt x="47" y="79"/>
                        <a:pt x="49" y="77"/>
                      </a:cubicBezTo>
                      <a:cubicBezTo>
                        <a:pt x="51" y="73"/>
                        <a:pt x="54" y="69"/>
                        <a:pt x="57" y="66"/>
                      </a:cubicBezTo>
                      <a:cubicBezTo>
                        <a:pt x="59" y="63"/>
                        <a:pt x="60" y="60"/>
                        <a:pt x="59" y="57"/>
                      </a:cubicBezTo>
                      <a:cubicBezTo>
                        <a:pt x="56" y="42"/>
                        <a:pt x="56" y="42"/>
                        <a:pt x="56" y="42"/>
                      </a:cubicBezTo>
                      <a:cubicBezTo>
                        <a:pt x="59" y="40"/>
                        <a:pt x="61" y="38"/>
                        <a:pt x="64" y="37"/>
                      </a:cubicBezTo>
                      <a:cubicBezTo>
                        <a:pt x="77" y="44"/>
                        <a:pt x="77" y="44"/>
                        <a:pt x="77" y="44"/>
                      </a:cubicBezTo>
                      <a:cubicBezTo>
                        <a:pt x="80" y="46"/>
                        <a:pt x="83" y="46"/>
                        <a:pt x="86" y="45"/>
                      </a:cubicBezTo>
                      <a:cubicBezTo>
                        <a:pt x="91" y="43"/>
                        <a:pt x="95" y="42"/>
                        <a:pt x="99" y="41"/>
                      </a:cubicBezTo>
                      <a:cubicBezTo>
                        <a:pt x="103" y="40"/>
                        <a:pt x="105" y="38"/>
                        <a:pt x="107" y="35"/>
                      </a:cubicBezTo>
                      <a:cubicBezTo>
                        <a:pt x="113" y="21"/>
                        <a:pt x="113" y="21"/>
                        <a:pt x="113" y="21"/>
                      </a:cubicBezTo>
                      <a:cubicBezTo>
                        <a:pt x="123" y="21"/>
                        <a:pt x="123" y="21"/>
                        <a:pt x="123" y="21"/>
                      </a:cubicBezTo>
                      <a:cubicBezTo>
                        <a:pt x="129" y="35"/>
                        <a:pt x="129" y="35"/>
                        <a:pt x="129" y="35"/>
                      </a:cubicBezTo>
                      <a:cubicBezTo>
                        <a:pt x="130" y="38"/>
                        <a:pt x="133" y="40"/>
                        <a:pt x="136" y="41"/>
                      </a:cubicBezTo>
                      <a:cubicBezTo>
                        <a:pt x="140" y="42"/>
                        <a:pt x="145" y="43"/>
                        <a:pt x="149" y="45"/>
                      </a:cubicBezTo>
                      <a:cubicBezTo>
                        <a:pt x="152" y="46"/>
                        <a:pt x="155" y="46"/>
                        <a:pt x="158" y="44"/>
                      </a:cubicBezTo>
                      <a:cubicBezTo>
                        <a:pt x="171" y="37"/>
                        <a:pt x="171" y="37"/>
                        <a:pt x="171" y="37"/>
                      </a:cubicBezTo>
                      <a:cubicBezTo>
                        <a:pt x="174" y="38"/>
                        <a:pt x="177" y="40"/>
                        <a:pt x="179" y="42"/>
                      </a:cubicBezTo>
                      <a:cubicBezTo>
                        <a:pt x="176" y="57"/>
                        <a:pt x="176" y="57"/>
                        <a:pt x="176" y="57"/>
                      </a:cubicBezTo>
                      <a:cubicBezTo>
                        <a:pt x="175" y="60"/>
                        <a:pt x="176" y="63"/>
                        <a:pt x="178" y="66"/>
                      </a:cubicBezTo>
                      <a:cubicBezTo>
                        <a:pt x="181" y="69"/>
                        <a:pt x="184" y="73"/>
                        <a:pt x="186" y="77"/>
                      </a:cubicBezTo>
                      <a:cubicBezTo>
                        <a:pt x="188" y="79"/>
                        <a:pt x="191" y="81"/>
                        <a:pt x="194" y="82"/>
                      </a:cubicBezTo>
                      <a:cubicBezTo>
                        <a:pt x="209" y="83"/>
                        <a:pt x="209" y="83"/>
                        <a:pt x="209" y="83"/>
                      </a:cubicBezTo>
                      <a:cubicBezTo>
                        <a:pt x="211" y="86"/>
                        <a:pt x="212" y="89"/>
                        <a:pt x="212" y="92"/>
                      </a:cubicBezTo>
                      <a:cubicBezTo>
                        <a:pt x="201" y="101"/>
                        <a:pt x="201" y="101"/>
                        <a:pt x="201" y="101"/>
                      </a:cubicBezTo>
                      <a:cubicBezTo>
                        <a:pt x="199" y="103"/>
                        <a:pt x="197" y="106"/>
                        <a:pt x="197" y="110"/>
                      </a:cubicBezTo>
                      <a:cubicBezTo>
                        <a:pt x="197" y="124"/>
                        <a:pt x="197" y="124"/>
                        <a:pt x="197" y="124"/>
                      </a:cubicBezTo>
                      <a:cubicBezTo>
                        <a:pt x="197" y="128"/>
                        <a:pt x="199" y="131"/>
                        <a:pt x="201" y="133"/>
                      </a:cubicBezTo>
                      <a:close/>
                    </a:path>
                  </a:pathLst>
                </a:custGeom>
                <a:solidFill>
                  <a:srgbClr val="C4D600"/>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66" name="Freeform 12">
                  <a:extLst>
                    <a:ext uri="{FF2B5EF4-FFF2-40B4-BE49-F238E27FC236}">
                      <a16:creationId xmlns:a16="http://schemas.microsoft.com/office/drawing/2014/main" id="{4A5E0F3E-FEDD-40F1-BAD3-BF1B52188664}"/>
                    </a:ext>
                  </a:extLst>
                </p:cNvPr>
                <p:cNvSpPr>
                  <a:spLocks noEditPoints="1"/>
                </p:cNvSpPr>
                <p:nvPr/>
              </p:nvSpPr>
              <p:spPr bwMode="auto">
                <a:xfrm>
                  <a:off x="9563894" y="4710643"/>
                  <a:ext cx="379413" cy="365125"/>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solidFill>
                  <a:srgbClr val="C4D600"/>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grpSp>
          <p:sp>
            <p:nvSpPr>
              <p:cNvPr id="49" name="Freeform 13">
                <a:extLst>
                  <a:ext uri="{FF2B5EF4-FFF2-40B4-BE49-F238E27FC236}">
                    <a16:creationId xmlns:a16="http://schemas.microsoft.com/office/drawing/2014/main" id="{0C567089-DDB5-46D1-A8C4-C55F74214FE3}"/>
                  </a:ext>
                </a:extLst>
              </p:cNvPr>
              <p:cNvSpPr>
                <a:spLocks noEditPoints="1"/>
              </p:cNvSpPr>
              <p:nvPr/>
            </p:nvSpPr>
            <p:spPr bwMode="auto">
              <a:xfrm>
                <a:off x="9536567" y="5925070"/>
                <a:ext cx="376238" cy="366713"/>
              </a:xfrm>
              <a:custGeom>
                <a:avLst/>
                <a:gdLst>
                  <a:gd name="T0" fmla="*/ 96 w 106"/>
                  <a:gd name="T1" fmla="*/ 107 h 107"/>
                  <a:gd name="T2" fmla="*/ 106 w 106"/>
                  <a:gd name="T3" fmla="*/ 96 h 107"/>
                  <a:gd name="T4" fmla="*/ 106 w 106"/>
                  <a:gd name="T5" fmla="*/ 96 h 107"/>
                  <a:gd name="T6" fmla="*/ 106 w 106"/>
                  <a:gd name="T7" fmla="*/ 11 h 107"/>
                  <a:gd name="T8" fmla="*/ 96 w 106"/>
                  <a:gd name="T9" fmla="*/ 0 h 107"/>
                  <a:gd name="T10" fmla="*/ 96 w 106"/>
                  <a:gd name="T11" fmla="*/ 0 h 107"/>
                  <a:gd name="T12" fmla="*/ 10 w 106"/>
                  <a:gd name="T13" fmla="*/ 0 h 107"/>
                  <a:gd name="T14" fmla="*/ 0 w 106"/>
                  <a:gd name="T15" fmla="*/ 11 h 107"/>
                  <a:gd name="T16" fmla="*/ 0 w 106"/>
                  <a:gd name="T17" fmla="*/ 11 h 107"/>
                  <a:gd name="T18" fmla="*/ 0 w 106"/>
                  <a:gd name="T19" fmla="*/ 96 h 107"/>
                  <a:gd name="T20" fmla="*/ 10 w 106"/>
                  <a:gd name="T21" fmla="*/ 107 h 107"/>
                  <a:gd name="T22" fmla="*/ 10 w 106"/>
                  <a:gd name="T23" fmla="*/ 107 h 107"/>
                  <a:gd name="T24" fmla="*/ 96 w 106"/>
                  <a:gd name="T25" fmla="*/ 107 h 107"/>
                  <a:gd name="T26" fmla="*/ 21 w 106"/>
                  <a:gd name="T27" fmla="*/ 21 h 107"/>
                  <a:gd name="T28" fmla="*/ 85 w 106"/>
                  <a:gd name="T29" fmla="*/ 21 h 107"/>
                  <a:gd name="T30" fmla="*/ 85 w 106"/>
                  <a:gd name="T31" fmla="*/ 85 h 107"/>
                  <a:gd name="T32" fmla="*/ 21 w 106"/>
                  <a:gd name="T33" fmla="*/ 85 h 107"/>
                  <a:gd name="T34" fmla="*/ 21 w 106"/>
                  <a:gd name="T35" fmla="*/ 2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7">
                    <a:moveTo>
                      <a:pt x="96" y="107"/>
                    </a:moveTo>
                    <a:cubicBezTo>
                      <a:pt x="102" y="107"/>
                      <a:pt x="106" y="102"/>
                      <a:pt x="106" y="96"/>
                    </a:cubicBezTo>
                    <a:cubicBezTo>
                      <a:pt x="106" y="96"/>
                      <a:pt x="106" y="96"/>
                      <a:pt x="106" y="96"/>
                    </a:cubicBezTo>
                    <a:cubicBezTo>
                      <a:pt x="106" y="11"/>
                      <a:pt x="106" y="11"/>
                      <a:pt x="106" y="11"/>
                    </a:cubicBezTo>
                    <a:cubicBezTo>
                      <a:pt x="106" y="5"/>
                      <a:pt x="102" y="0"/>
                      <a:pt x="96" y="0"/>
                    </a:cubicBezTo>
                    <a:cubicBezTo>
                      <a:pt x="96" y="0"/>
                      <a:pt x="96" y="0"/>
                      <a:pt x="96" y="0"/>
                    </a:cubicBezTo>
                    <a:cubicBezTo>
                      <a:pt x="10" y="0"/>
                      <a:pt x="10" y="0"/>
                      <a:pt x="10" y="0"/>
                    </a:cubicBezTo>
                    <a:cubicBezTo>
                      <a:pt x="4" y="0"/>
                      <a:pt x="0" y="5"/>
                      <a:pt x="0" y="11"/>
                    </a:cubicBezTo>
                    <a:cubicBezTo>
                      <a:pt x="0" y="11"/>
                      <a:pt x="0" y="11"/>
                      <a:pt x="0" y="11"/>
                    </a:cubicBezTo>
                    <a:cubicBezTo>
                      <a:pt x="0" y="96"/>
                      <a:pt x="0" y="96"/>
                      <a:pt x="0" y="96"/>
                    </a:cubicBezTo>
                    <a:cubicBezTo>
                      <a:pt x="0" y="102"/>
                      <a:pt x="4" y="107"/>
                      <a:pt x="10" y="107"/>
                    </a:cubicBezTo>
                    <a:cubicBezTo>
                      <a:pt x="10" y="107"/>
                      <a:pt x="10" y="107"/>
                      <a:pt x="10" y="107"/>
                    </a:cubicBezTo>
                    <a:lnTo>
                      <a:pt x="96" y="107"/>
                    </a:lnTo>
                    <a:close/>
                    <a:moveTo>
                      <a:pt x="21" y="21"/>
                    </a:moveTo>
                    <a:cubicBezTo>
                      <a:pt x="85" y="21"/>
                      <a:pt x="85" y="21"/>
                      <a:pt x="85" y="21"/>
                    </a:cubicBezTo>
                    <a:cubicBezTo>
                      <a:pt x="85" y="85"/>
                      <a:pt x="85" y="85"/>
                      <a:pt x="85" y="85"/>
                    </a:cubicBezTo>
                    <a:cubicBezTo>
                      <a:pt x="21" y="85"/>
                      <a:pt x="21" y="85"/>
                      <a:pt x="21" y="85"/>
                    </a:cubicBezTo>
                    <a:lnTo>
                      <a:pt x="21" y="21"/>
                    </a:lnTo>
                    <a:close/>
                  </a:path>
                </a:pathLst>
              </a:custGeom>
              <a:solidFill>
                <a:schemeClr val="bg1">
                  <a:lumMod val="95000"/>
                </a:schemeClr>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50" name="Freeform 14">
                <a:extLst>
                  <a:ext uri="{FF2B5EF4-FFF2-40B4-BE49-F238E27FC236}">
                    <a16:creationId xmlns:a16="http://schemas.microsoft.com/office/drawing/2014/main" id="{D9129C28-8E2F-44E3-A4A2-4302CCBA65D3}"/>
                  </a:ext>
                </a:extLst>
              </p:cNvPr>
              <p:cNvSpPr>
                <a:spLocks noEditPoints="1"/>
              </p:cNvSpPr>
              <p:nvPr/>
            </p:nvSpPr>
            <p:spPr bwMode="auto">
              <a:xfrm>
                <a:off x="10103304" y="5813945"/>
                <a:ext cx="376238" cy="477838"/>
              </a:xfrm>
              <a:custGeom>
                <a:avLst/>
                <a:gdLst>
                  <a:gd name="T0" fmla="*/ 96 w 106"/>
                  <a:gd name="T1" fmla="*/ 139 h 139"/>
                  <a:gd name="T2" fmla="*/ 106 w 106"/>
                  <a:gd name="T3" fmla="*/ 128 h 139"/>
                  <a:gd name="T4" fmla="*/ 106 w 106"/>
                  <a:gd name="T5" fmla="*/ 128 h 139"/>
                  <a:gd name="T6" fmla="*/ 106 w 106"/>
                  <a:gd name="T7" fmla="*/ 11 h 139"/>
                  <a:gd name="T8" fmla="*/ 96 w 106"/>
                  <a:gd name="T9" fmla="*/ 0 h 139"/>
                  <a:gd name="T10" fmla="*/ 96 w 106"/>
                  <a:gd name="T11" fmla="*/ 0 h 139"/>
                  <a:gd name="T12" fmla="*/ 10 w 106"/>
                  <a:gd name="T13" fmla="*/ 0 h 139"/>
                  <a:gd name="T14" fmla="*/ 0 w 106"/>
                  <a:gd name="T15" fmla="*/ 11 h 139"/>
                  <a:gd name="T16" fmla="*/ 0 w 106"/>
                  <a:gd name="T17" fmla="*/ 11 h 139"/>
                  <a:gd name="T18" fmla="*/ 0 w 106"/>
                  <a:gd name="T19" fmla="*/ 128 h 139"/>
                  <a:gd name="T20" fmla="*/ 10 w 106"/>
                  <a:gd name="T21" fmla="*/ 139 h 139"/>
                  <a:gd name="T22" fmla="*/ 10 w 106"/>
                  <a:gd name="T23" fmla="*/ 139 h 139"/>
                  <a:gd name="T24" fmla="*/ 96 w 106"/>
                  <a:gd name="T25" fmla="*/ 139 h 139"/>
                  <a:gd name="T26" fmla="*/ 21 w 106"/>
                  <a:gd name="T27" fmla="*/ 21 h 139"/>
                  <a:gd name="T28" fmla="*/ 85 w 106"/>
                  <a:gd name="T29" fmla="*/ 21 h 139"/>
                  <a:gd name="T30" fmla="*/ 85 w 106"/>
                  <a:gd name="T31" fmla="*/ 117 h 139"/>
                  <a:gd name="T32" fmla="*/ 21 w 106"/>
                  <a:gd name="T33" fmla="*/ 117 h 139"/>
                  <a:gd name="T34" fmla="*/ 21 w 106"/>
                  <a:gd name="T35" fmla="*/ 2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39">
                    <a:moveTo>
                      <a:pt x="96" y="139"/>
                    </a:moveTo>
                    <a:cubicBezTo>
                      <a:pt x="102" y="139"/>
                      <a:pt x="106" y="134"/>
                      <a:pt x="106" y="128"/>
                    </a:cubicBezTo>
                    <a:cubicBezTo>
                      <a:pt x="106" y="128"/>
                      <a:pt x="106" y="128"/>
                      <a:pt x="106" y="128"/>
                    </a:cubicBezTo>
                    <a:cubicBezTo>
                      <a:pt x="106" y="11"/>
                      <a:pt x="106" y="11"/>
                      <a:pt x="106" y="11"/>
                    </a:cubicBezTo>
                    <a:cubicBezTo>
                      <a:pt x="106" y="5"/>
                      <a:pt x="102" y="0"/>
                      <a:pt x="96" y="0"/>
                    </a:cubicBezTo>
                    <a:cubicBezTo>
                      <a:pt x="96" y="0"/>
                      <a:pt x="96" y="0"/>
                      <a:pt x="96" y="0"/>
                    </a:cubicBezTo>
                    <a:cubicBezTo>
                      <a:pt x="10" y="0"/>
                      <a:pt x="10" y="0"/>
                      <a:pt x="10" y="0"/>
                    </a:cubicBezTo>
                    <a:cubicBezTo>
                      <a:pt x="4" y="0"/>
                      <a:pt x="0" y="5"/>
                      <a:pt x="0" y="11"/>
                    </a:cubicBezTo>
                    <a:cubicBezTo>
                      <a:pt x="0" y="11"/>
                      <a:pt x="0" y="11"/>
                      <a:pt x="0" y="11"/>
                    </a:cubicBezTo>
                    <a:cubicBezTo>
                      <a:pt x="0" y="128"/>
                      <a:pt x="0" y="128"/>
                      <a:pt x="0" y="128"/>
                    </a:cubicBezTo>
                    <a:cubicBezTo>
                      <a:pt x="0" y="134"/>
                      <a:pt x="4" y="139"/>
                      <a:pt x="10" y="139"/>
                    </a:cubicBezTo>
                    <a:cubicBezTo>
                      <a:pt x="10" y="139"/>
                      <a:pt x="10" y="139"/>
                      <a:pt x="10" y="139"/>
                    </a:cubicBezTo>
                    <a:lnTo>
                      <a:pt x="96" y="139"/>
                    </a:lnTo>
                    <a:close/>
                    <a:moveTo>
                      <a:pt x="21" y="21"/>
                    </a:moveTo>
                    <a:cubicBezTo>
                      <a:pt x="85" y="21"/>
                      <a:pt x="85" y="21"/>
                      <a:pt x="85" y="21"/>
                    </a:cubicBezTo>
                    <a:cubicBezTo>
                      <a:pt x="85" y="117"/>
                      <a:pt x="85" y="117"/>
                      <a:pt x="85" y="117"/>
                    </a:cubicBezTo>
                    <a:cubicBezTo>
                      <a:pt x="21" y="117"/>
                      <a:pt x="21" y="117"/>
                      <a:pt x="21" y="117"/>
                    </a:cubicBezTo>
                    <a:lnTo>
                      <a:pt x="21" y="21"/>
                    </a:lnTo>
                    <a:close/>
                  </a:path>
                </a:pathLst>
              </a:custGeom>
              <a:solidFill>
                <a:schemeClr val="bg1">
                  <a:lumMod val="95000"/>
                </a:schemeClr>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51" name="Freeform 15">
                <a:extLst>
                  <a:ext uri="{FF2B5EF4-FFF2-40B4-BE49-F238E27FC236}">
                    <a16:creationId xmlns:a16="http://schemas.microsoft.com/office/drawing/2014/main" id="{350DE8C1-B875-40D6-8F05-44738E08610F}"/>
                  </a:ext>
                </a:extLst>
              </p:cNvPr>
              <p:cNvSpPr>
                <a:spLocks noEditPoints="1"/>
              </p:cNvSpPr>
              <p:nvPr/>
            </p:nvSpPr>
            <p:spPr bwMode="auto">
              <a:xfrm>
                <a:off x="10670042" y="5666307"/>
                <a:ext cx="376238" cy="625475"/>
              </a:xfrm>
              <a:custGeom>
                <a:avLst/>
                <a:gdLst>
                  <a:gd name="T0" fmla="*/ 96 w 106"/>
                  <a:gd name="T1" fmla="*/ 0 h 182"/>
                  <a:gd name="T2" fmla="*/ 10 w 106"/>
                  <a:gd name="T3" fmla="*/ 0 h 182"/>
                  <a:gd name="T4" fmla="*/ 0 w 106"/>
                  <a:gd name="T5" fmla="*/ 11 h 182"/>
                  <a:gd name="T6" fmla="*/ 0 w 106"/>
                  <a:gd name="T7" fmla="*/ 11 h 182"/>
                  <a:gd name="T8" fmla="*/ 0 w 106"/>
                  <a:gd name="T9" fmla="*/ 171 h 182"/>
                  <a:gd name="T10" fmla="*/ 10 w 106"/>
                  <a:gd name="T11" fmla="*/ 182 h 182"/>
                  <a:gd name="T12" fmla="*/ 10 w 106"/>
                  <a:gd name="T13" fmla="*/ 182 h 182"/>
                  <a:gd name="T14" fmla="*/ 96 w 106"/>
                  <a:gd name="T15" fmla="*/ 182 h 182"/>
                  <a:gd name="T16" fmla="*/ 106 w 106"/>
                  <a:gd name="T17" fmla="*/ 171 h 182"/>
                  <a:gd name="T18" fmla="*/ 106 w 106"/>
                  <a:gd name="T19" fmla="*/ 171 h 182"/>
                  <a:gd name="T20" fmla="*/ 106 w 106"/>
                  <a:gd name="T21" fmla="*/ 11 h 182"/>
                  <a:gd name="T22" fmla="*/ 96 w 106"/>
                  <a:gd name="T23" fmla="*/ 0 h 182"/>
                  <a:gd name="T24" fmla="*/ 96 w 106"/>
                  <a:gd name="T25" fmla="*/ 0 h 182"/>
                  <a:gd name="T26" fmla="*/ 85 w 106"/>
                  <a:gd name="T27" fmla="*/ 160 h 182"/>
                  <a:gd name="T28" fmla="*/ 21 w 106"/>
                  <a:gd name="T29" fmla="*/ 160 h 182"/>
                  <a:gd name="T30" fmla="*/ 21 w 106"/>
                  <a:gd name="T31" fmla="*/ 22 h 182"/>
                  <a:gd name="T32" fmla="*/ 85 w 106"/>
                  <a:gd name="T33" fmla="*/ 22 h 182"/>
                  <a:gd name="T34" fmla="*/ 85 w 106"/>
                  <a:gd name="T35"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82">
                    <a:moveTo>
                      <a:pt x="96" y="0"/>
                    </a:moveTo>
                    <a:cubicBezTo>
                      <a:pt x="10" y="0"/>
                      <a:pt x="10" y="0"/>
                      <a:pt x="10" y="0"/>
                    </a:cubicBezTo>
                    <a:cubicBezTo>
                      <a:pt x="4" y="0"/>
                      <a:pt x="0" y="5"/>
                      <a:pt x="0" y="11"/>
                    </a:cubicBezTo>
                    <a:cubicBezTo>
                      <a:pt x="0" y="11"/>
                      <a:pt x="0" y="11"/>
                      <a:pt x="0" y="11"/>
                    </a:cubicBezTo>
                    <a:cubicBezTo>
                      <a:pt x="0" y="171"/>
                      <a:pt x="0" y="171"/>
                      <a:pt x="0" y="171"/>
                    </a:cubicBezTo>
                    <a:cubicBezTo>
                      <a:pt x="0" y="177"/>
                      <a:pt x="4" y="182"/>
                      <a:pt x="10" y="182"/>
                    </a:cubicBezTo>
                    <a:cubicBezTo>
                      <a:pt x="10" y="182"/>
                      <a:pt x="10" y="182"/>
                      <a:pt x="10" y="182"/>
                    </a:cubicBezTo>
                    <a:cubicBezTo>
                      <a:pt x="96" y="182"/>
                      <a:pt x="96" y="182"/>
                      <a:pt x="96" y="182"/>
                    </a:cubicBezTo>
                    <a:cubicBezTo>
                      <a:pt x="102" y="182"/>
                      <a:pt x="106" y="177"/>
                      <a:pt x="106" y="171"/>
                    </a:cubicBezTo>
                    <a:cubicBezTo>
                      <a:pt x="106" y="171"/>
                      <a:pt x="106" y="171"/>
                      <a:pt x="106" y="171"/>
                    </a:cubicBezTo>
                    <a:cubicBezTo>
                      <a:pt x="106" y="11"/>
                      <a:pt x="106" y="11"/>
                      <a:pt x="106" y="11"/>
                    </a:cubicBezTo>
                    <a:cubicBezTo>
                      <a:pt x="106" y="5"/>
                      <a:pt x="102" y="0"/>
                      <a:pt x="96" y="0"/>
                    </a:cubicBezTo>
                    <a:cubicBezTo>
                      <a:pt x="96" y="0"/>
                      <a:pt x="96" y="0"/>
                      <a:pt x="96" y="0"/>
                    </a:cubicBezTo>
                    <a:close/>
                    <a:moveTo>
                      <a:pt x="85" y="160"/>
                    </a:moveTo>
                    <a:cubicBezTo>
                      <a:pt x="21" y="160"/>
                      <a:pt x="21" y="160"/>
                      <a:pt x="21" y="160"/>
                    </a:cubicBezTo>
                    <a:cubicBezTo>
                      <a:pt x="21" y="22"/>
                      <a:pt x="21" y="22"/>
                      <a:pt x="21" y="22"/>
                    </a:cubicBezTo>
                    <a:cubicBezTo>
                      <a:pt x="85" y="22"/>
                      <a:pt x="85" y="22"/>
                      <a:pt x="85" y="22"/>
                    </a:cubicBezTo>
                    <a:lnTo>
                      <a:pt x="85" y="160"/>
                    </a:lnTo>
                    <a:close/>
                  </a:path>
                </a:pathLst>
              </a:custGeom>
              <a:solidFill>
                <a:schemeClr val="bg1">
                  <a:lumMod val="95000"/>
                </a:schemeClr>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52" name="Freeform 16">
                <a:extLst>
                  <a:ext uri="{FF2B5EF4-FFF2-40B4-BE49-F238E27FC236}">
                    <a16:creationId xmlns:a16="http://schemas.microsoft.com/office/drawing/2014/main" id="{006D9511-46EA-45BC-8E45-4D73CE529ABD}"/>
                  </a:ext>
                </a:extLst>
              </p:cNvPr>
              <p:cNvSpPr>
                <a:spLocks noEditPoints="1"/>
              </p:cNvSpPr>
              <p:nvPr/>
            </p:nvSpPr>
            <p:spPr bwMode="auto">
              <a:xfrm>
                <a:off x="11236779" y="5337695"/>
                <a:ext cx="376238" cy="954088"/>
              </a:xfrm>
              <a:custGeom>
                <a:avLst/>
                <a:gdLst>
                  <a:gd name="T0" fmla="*/ 10 w 106"/>
                  <a:gd name="T1" fmla="*/ 278 h 278"/>
                  <a:gd name="T2" fmla="*/ 96 w 106"/>
                  <a:gd name="T3" fmla="*/ 278 h 278"/>
                  <a:gd name="T4" fmla="*/ 106 w 106"/>
                  <a:gd name="T5" fmla="*/ 267 h 278"/>
                  <a:gd name="T6" fmla="*/ 106 w 106"/>
                  <a:gd name="T7" fmla="*/ 267 h 278"/>
                  <a:gd name="T8" fmla="*/ 106 w 106"/>
                  <a:gd name="T9" fmla="*/ 11 h 278"/>
                  <a:gd name="T10" fmla="*/ 96 w 106"/>
                  <a:gd name="T11" fmla="*/ 0 h 278"/>
                  <a:gd name="T12" fmla="*/ 96 w 106"/>
                  <a:gd name="T13" fmla="*/ 0 h 278"/>
                  <a:gd name="T14" fmla="*/ 10 w 106"/>
                  <a:gd name="T15" fmla="*/ 0 h 278"/>
                  <a:gd name="T16" fmla="*/ 0 w 106"/>
                  <a:gd name="T17" fmla="*/ 11 h 278"/>
                  <a:gd name="T18" fmla="*/ 0 w 106"/>
                  <a:gd name="T19" fmla="*/ 11 h 278"/>
                  <a:gd name="T20" fmla="*/ 0 w 106"/>
                  <a:gd name="T21" fmla="*/ 267 h 278"/>
                  <a:gd name="T22" fmla="*/ 10 w 106"/>
                  <a:gd name="T23" fmla="*/ 278 h 278"/>
                  <a:gd name="T24" fmla="*/ 10 w 106"/>
                  <a:gd name="T25" fmla="*/ 278 h 278"/>
                  <a:gd name="T26" fmla="*/ 21 w 106"/>
                  <a:gd name="T27" fmla="*/ 22 h 278"/>
                  <a:gd name="T28" fmla="*/ 85 w 106"/>
                  <a:gd name="T29" fmla="*/ 22 h 278"/>
                  <a:gd name="T30" fmla="*/ 85 w 106"/>
                  <a:gd name="T31" fmla="*/ 256 h 278"/>
                  <a:gd name="T32" fmla="*/ 21 w 106"/>
                  <a:gd name="T33" fmla="*/ 256 h 278"/>
                  <a:gd name="T34" fmla="*/ 21 w 106"/>
                  <a:gd name="T35" fmla="*/ 2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278">
                    <a:moveTo>
                      <a:pt x="10" y="278"/>
                    </a:moveTo>
                    <a:cubicBezTo>
                      <a:pt x="96" y="278"/>
                      <a:pt x="96" y="278"/>
                      <a:pt x="96" y="278"/>
                    </a:cubicBezTo>
                    <a:cubicBezTo>
                      <a:pt x="102" y="278"/>
                      <a:pt x="106" y="273"/>
                      <a:pt x="106" y="267"/>
                    </a:cubicBezTo>
                    <a:cubicBezTo>
                      <a:pt x="106" y="267"/>
                      <a:pt x="106" y="267"/>
                      <a:pt x="106" y="267"/>
                    </a:cubicBezTo>
                    <a:cubicBezTo>
                      <a:pt x="106" y="11"/>
                      <a:pt x="106" y="11"/>
                      <a:pt x="106" y="11"/>
                    </a:cubicBezTo>
                    <a:cubicBezTo>
                      <a:pt x="106" y="5"/>
                      <a:pt x="102" y="0"/>
                      <a:pt x="96" y="0"/>
                    </a:cubicBezTo>
                    <a:cubicBezTo>
                      <a:pt x="96" y="0"/>
                      <a:pt x="96" y="0"/>
                      <a:pt x="96" y="0"/>
                    </a:cubicBezTo>
                    <a:cubicBezTo>
                      <a:pt x="10" y="0"/>
                      <a:pt x="10" y="0"/>
                      <a:pt x="10" y="0"/>
                    </a:cubicBezTo>
                    <a:cubicBezTo>
                      <a:pt x="4" y="0"/>
                      <a:pt x="0" y="5"/>
                      <a:pt x="0" y="11"/>
                    </a:cubicBezTo>
                    <a:cubicBezTo>
                      <a:pt x="0" y="11"/>
                      <a:pt x="0" y="11"/>
                      <a:pt x="0" y="11"/>
                    </a:cubicBezTo>
                    <a:cubicBezTo>
                      <a:pt x="0" y="267"/>
                      <a:pt x="0" y="267"/>
                      <a:pt x="0" y="267"/>
                    </a:cubicBezTo>
                    <a:cubicBezTo>
                      <a:pt x="0" y="273"/>
                      <a:pt x="4" y="278"/>
                      <a:pt x="10" y="278"/>
                    </a:cubicBezTo>
                    <a:cubicBezTo>
                      <a:pt x="10" y="278"/>
                      <a:pt x="10" y="278"/>
                      <a:pt x="10" y="278"/>
                    </a:cubicBezTo>
                    <a:close/>
                    <a:moveTo>
                      <a:pt x="21" y="22"/>
                    </a:moveTo>
                    <a:cubicBezTo>
                      <a:pt x="85" y="22"/>
                      <a:pt x="85" y="22"/>
                      <a:pt x="85" y="22"/>
                    </a:cubicBezTo>
                    <a:cubicBezTo>
                      <a:pt x="85" y="256"/>
                      <a:pt x="85" y="256"/>
                      <a:pt x="85" y="256"/>
                    </a:cubicBezTo>
                    <a:cubicBezTo>
                      <a:pt x="21" y="256"/>
                      <a:pt x="21" y="256"/>
                      <a:pt x="21" y="256"/>
                    </a:cubicBezTo>
                    <a:lnTo>
                      <a:pt x="21" y="22"/>
                    </a:lnTo>
                    <a:close/>
                  </a:path>
                </a:pathLst>
              </a:custGeom>
              <a:solidFill>
                <a:schemeClr val="bg1">
                  <a:lumMod val="95000"/>
                </a:schemeClr>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53" name="Freeform 17">
                <a:extLst>
                  <a:ext uri="{FF2B5EF4-FFF2-40B4-BE49-F238E27FC236}">
                    <a16:creationId xmlns:a16="http://schemas.microsoft.com/office/drawing/2014/main" id="{F1C99EBC-A27A-40D8-B251-EBAEA774A982}"/>
                  </a:ext>
                </a:extLst>
              </p:cNvPr>
              <p:cNvSpPr>
                <a:spLocks/>
              </p:cNvSpPr>
              <p:nvPr/>
            </p:nvSpPr>
            <p:spPr bwMode="auto">
              <a:xfrm>
                <a:off x="9515929" y="4826520"/>
                <a:ext cx="1271588" cy="909638"/>
              </a:xfrm>
              <a:custGeom>
                <a:avLst/>
                <a:gdLst>
                  <a:gd name="T0" fmla="*/ 331 w 359"/>
                  <a:gd name="T1" fmla="*/ 120 h 265"/>
                  <a:gd name="T2" fmla="*/ 357 w 359"/>
                  <a:gd name="T3" fmla="*/ 35 h 265"/>
                  <a:gd name="T4" fmla="*/ 350 w 359"/>
                  <a:gd name="T5" fmla="*/ 22 h 265"/>
                  <a:gd name="T6" fmla="*/ 350 w 359"/>
                  <a:gd name="T7" fmla="*/ 22 h 265"/>
                  <a:gd name="T8" fmla="*/ 275 w 359"/>
                  <a:gd name="T9" fmla="*/ 0 h 265"/>
                  <a:gd name="T10" fmla="*/ 269 w 359"/>
                  <a:gd name="T11" fmla="*/ 21 h 265"/>
                  <a:gd name="T12" fmla="*/ 322 w 359"/>
                  <a:gd name="T13" fmla="*/ 36 h 265"/>
                  <a:gd name="T14" fmla="*/ 0 w 359"/>
                  <a:gd name="T15" fmla="*/ 247 h 265"/>
                  <a:gd name="T16" fmla="*/ 12 w 359"/>
                  <a:gd name="T17" fmla="*/ 265 h 265"/>
                  <a:gd name="T18" fmla="*/ 328 w 359"/>
                  <a:gd name="T19" fmla="*/ 57 h 265"/>
                  <a:gd name="T20" fmla="*/ 311 w 359"/>
                  <a:gd name="T21" fmla="*/ 114 h 265"/>
                  <a:gd name="T22" fmla="*/ 331 w 359"/>
                  <a:gd name="T23" fmla="*/ 12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9" h="265">
                    <a:moveTo>
                      <a:pt x="331" y="120"/>
                    </a:moveTo>
                    <a:cubicBezTo>
                      <a:pt x="357" y="35"/>
                      <a:pt x="357" y="35"/>
                      <a:pt x="357" y="35"/>
                    </a:cubicBezTo>
                    <a:cubicBezTo>
                      <a:pt x="359" y="30"/>
                      <a:pt x="356" y="24"/>
                      <a:pt x="350" y="22"/>
                    </a:cubicBezTo>
                    <a:cubicBezTo>
                      <a:pt x="350" y="22"/>
                      <a:pt x="350" y="22"/>
                      <a:pt x="350" y="22"/>
                    </a:cubicBezTo>
                    <a:cubicBezTo>
                      <a:pt x="275" y="0"/>
                      <a:pt x="275" y="0"/>
                      <a:pt x="275" y="0"/>
                    </a:cubicBezTo>
                    <a:cubicBezTo>
                      <a:pt x="269" y="21"/>
                      <a:pt x="269" y="21"/>
                      <a:pt x="269" y="21"/>
                    </a:cubicBezTo>
                    <a:cubicBezTo>
                      <a:pt x="322" y="36"/>
                      <a:pt x="322" y="36"/>
                      <a:pt x="322" y="36"/>
                    </a:cubicBezTo>
                    <a:cubicBezTo>
                      <a:pt x="0" y="247"/>
                      <a:pt x="0" y="247"/>
                      <a:pt x="0" y="247"/>
                    </a:cubicBezTo>
                    <a:cubicBezTo>
                      <a:pt x="12" y="265"/>
                      <a:pt x="12" y="265"/>
                      <a:pt x="12" y="265"/>
                    </a:cubicBezTo>
                    <a:cubicBezTo>
                      <a:pt x="328" y="57"/>
                      <a:pt x="328" y="57"/>
                      <a:pt x="328" y="57"/>
                    </a:cubicBezTo>
                    <a:cubicBezTo>
                      <a:pt x="311" y="114"/>
                      <a:pt x="311" y="114"/>
                      <a:pt x="311" y="114"/>
                    </a:cubicBezTo>
                    <a:lnTo>
                      <a:pt x="331" y="120"/>
                    </a:lnTo>
                    <a:close/>
                  </a:path>
                </a:pathLst>
              </a:custGeom>
              <a:solidFill>
                <a:srgbClr val="00A3E0"/>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54" name="Freeform 18">
                <a:extLst>
                  <a:ext uri="{FF2B5EF4-FFF2-40B4-BE49-F238E27FC236}">
                    <a16:creationId xmlns:a16="http://schemas.microsoft.com/office/drawing/2014/main" id="{74829CB1-BC5A-4653-9484-4A169B30661A}"/>
                  </a:ext>
                </a:extLst>
              </p:cNvPr>
              <p:cNvSpPr>
                <a:spLocks noEditPoints="1"/>
              </p:cNvSpPr>
              <p:nvPr/>
            </p:nvSpPr>
            <p:spPr bwMode="auto">
              <a:xfrm>
                <a:off x="10954204" y="4247877"/>
                <a:ext cx="609600" cy="596900"/>
              </a:xfrm>
              <a:custGeom>
                <a:avLst/>
                <a:gdLst>
                  <a:gd name="T0" fmla="*/ 1 w 172"/>
                  <a:gd name="T1" fmla="*/ 66 h 174"/>
                  <a:gd name="T2" fmla="*/ 3 w 172"/>
                  <a:gd name="T3" fmla="*/ 76 h 174"/>
                  <a:gd name="T4" fmla="*/ 37 w 172"/>
                  <a:gd name="T5" fmla="*/ 111 h 174"/>
                  <a:gd name="T6" fmla="*/ 29 w 172"/>
                  <a:gd name="T7" fmla="*/ 160 h 174"/>
                  <a:gd name="T8" fmla="*/ 38 w 172"/>
                  <a:gd name="T9" fmla="*/ 172 h 174"/>
                  <a:gd name="T10" fmla="*/ 45 w 172"/>
                  <a:gd name="T11" fmla="*/ 171 h 174"/>
                  <a:gd name="T12" fmla="*/ 86 w 172"/>
                  <a:gd name="T13" fmla="*/ 148 h 174"/>
                  <a:gd name="T14" fmla="*/ 127 w 172"/>
                  <a:gd name="T15" fmla="*/ 171 h 174"/>
                  <a:gd name="T16" fmla="*/ 141 w 172"/>
                  <a:gd name="T17" fmla="*/ 166 h 174"/>
                  <a:gd name="T18" fmla="*/ 142 w 172"/>
                  <a:gd name="T19" fmla="*/ 160 h 174"/>
                  <a:gd name="T20" fmla="*/ 134 w 172"/>
                  <a:gd name="T21" fmla="*/ 111 h 174"/>
                  <a:gd name="T22" fmla="*/ 168 w 172"/>
                  <a:gd name="T23" fmla="*/ 76 h 174"/>
                  <a:gd name="T24" fmla="*/ 168 w 172"/>
                  <a:gd name="T25" fmla="*/ 61 h 174"/>
                  <a:gd name="T26" fmla="*/ 162 w 172"/>
                  <a:gd name="T27" fmla="*/ 59 h 174"/>
                  <a:gd name="T28" fmla="*/ 116 w 172"/>
                  <a:gd name="T29" fmla="*/ 51 h 174"/>
                  <a:gd name="T30" fmla="*/ 95 w 172"/>
                  <a:gd name="T31" fmla="*/ 7 h 174"/>
                  <a:gd name="T32" fmla="*/ 81 w 172"/>
                  <a:gd name="T33" fmla="*/ 2 h 174"/>
                  <a:gd name="T34" fmla="*/ 76 w 172"/>
                  <a:gd name="T35" fmla="*/ 7 h 174"/>
                  <a:gd name="T36" fmla="*/ 55 w 172"/>
                  <a:gd name="T37" fmla="*/ 51 h 174"/>
                  <a:gd name="T38" fmla="*/ 9 w 172"/>
                  <a:gd name="T39" fmla="*/ 58 h 174"/>
                  <a:gd name="T40" fmla="*/ 1 w 172"/>
                  <a:gd name="T41" fmla="*/ 66 h 174"/>
                  <a:gd name="T42" fmla="*/ 64 w 172"/>
                  <a:gd name="T43" fmla="*/ 72 h 174"/>
                  <a:gd name="T44" fmla="*/ 72 w 172"/>
                  <a:gd name="T45" fmla="*/ 66 h 174"/>
                  <a:gd name="T46" fmla="*/ 86 w 172"/>
                  <a:gd name="T47" fmla="*/ 37 h 174"/>
                  <a:gd name="T48" fmla="*/ 99 w 172"/>
                  <a:gd name="T49" fmla="*/ 66 h 174"/>
                  <a:gd name="T50" fmla="*/ 107 w 172"/>
                  <a:gd name="T51" fmla="*/ 72 h 174"/>
                  <a:gd name="T52" fmla="*/ 138 w 172"/>
                  <a:gd name="T53" fmla="*/ 76 h 174"/>
                  <a:gd name="T54" fmla="*/ 115 w 172"/>
                  <a:gd name="T55" fmla="*/ 100 h 174"/>
                  <a:gd name="T56" fmla="*/ 112 w 172"/>
                  <a:gd name="T57" fmla="*/ 109 h 174"/>
                  <a:gd name="T58" fmla="*/ 118 w 172"/>
                  <a:gd name="T59" fmla="*/ 141 h 174"/>
                  <a:gd name="T60" fmla="*/ 91 w 172"/>
                  <a:gd name="T61" fmla="*/ 126 h 174"/>
                  <a:gd name="T62" fmla="*/ 81 w 172"/>
                  <a:gd name="T63" fmla="*/ 126 h 174"/>
                  <a:gd name="T64" fmla="*/ 54 w 172"/>
                  <a:gd name="T65" fmla="*/ 141 h 174"/>
                  <a:gd name="T66" fmla="*/ 59 w 172"/>
                  <a:gd name="T67" fmla="*/ 109 h 174"/>
                  <a:gd name="T68" fmla="*/ 56 w 172"/>
                  <a:gd name="T69" fmla="*/ 100 h 174"/>
                  <a:gd name="T70" fmla="*/ 33 w 172"/>
                  <a:gd name="T71" fmla="*/ 76 h 174"/>
                  <a:gd name="T72" fmla="*/ 64 w 172"/>
                  <a:gd name="T73" fmla="*/ 7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2" h="174">
                    <a:moveTo>
                      <a:pt x="1" y="66"/>
                    </a:moveTo>
                    <a:cubicBezTo>
                      <a:pt x="0" y="69"/>
                      <a:pt x="1" y="74"/>
                      <a:pt x="3" y="76"/>
                    </a:cubicBezTo>
                    <a:cubicBezTo>
                      <a:pt x="37" y="111"/>
                      <a:pt x="37" y="111"/>
                      <a:pt x="37" y="111"/>
                    </a:cubicBezTo>
                    <a:cubicBezTo>
                      <a:pt x="29" y="160"/>
                      <a:pt x="29" y="160"/>
                      <a:pt x="29" y="160"/>
                    </a:cubicBezTo>
                    <a:cubicBezTo>
                      <a:pt x="28" y="165"/>
                      <a:pt x="32" y="171"/>
                      <a:pt x="38" y="172"/>
                    </a:cubicBezTo>
                    <a:cubicBezTo>
                      <a:pt x="40" y="172"/>
                      <a:pt x="43" y="172"/>
                      <a:pt x="45" y="171"/>
                    </a:cubicBezTo>
                    <a:cubicBezTo>
                      <a:pt x="86" y="148"/>
                      <a:pt x="86" y="148"/>
                      <a:pt x="86" y="148"/>
                    </a:cubicBezTo>
                    <a:cubicBezTo>
                      <a:pt x="127" y="171"/>
                      <a:pt x="127" y="171"/>
                      <a:pt x="127" y="171"/>
                    </a:cubicBezTo>
                    <a:cubicBezTo>
                      <a:pt x="132" y="174"/>
                      <a:pt x="138" y="172"/>
                      <a:pt x="141" y="166"/>
                    </a:cubicBezTo>
                    <a:cubicBezTo>
                      <a:pt x="142" y="164"/>
                      <a:pt x="143" y="162"/>
                      <a:pt x="142" y="160"/>
                    </a:cubicBezTo>
                    <a:cubicBezTo>
                      <a:pt x="134" y="111"/>
                      <a:pt x="134" y="111"/>
                      <a:pt x="134" y="111"/>
                    </a:cubicBezTo>
                    <a:cubicBezTo>
                      <a:pt x="168" y="76"/>
                      <a:pt x="168" y="76"/>
                      <a:pt x="168" y="76"/>
                    </a:cubicBezTo>
                    <a:cubicBezTo>
                      <a:pt x="172" y="72"/>
                      <a:pt x="172" y="66"/>
                      <a:pt x="168" y="61"/>
                    </a:cubicBezTo>
                    <a:cubicBezTo>
                      <a:pt x="166" y="60"/>
                      <a:pt x="164" y="59"/>
                      <a:pt x="162" y="59"/>
                    </a:cubicBezTo>
                    <a:cubicBezTo>
                      <a:pt x="116" y="51"/>
                      <a:pt x="116" y="51"/>
                      <a:pt x="116" y="51"/>
                    </a:cubicBezTo>
                    <a:cubicBezTo>
                      <a:pt x="95" y="7"/>
                      <a:pt x="95" y="7"/>
                      <a:pt x="95" y="7"/>
                    </a:cubicBezTo>
                    <a:cubicBezTo>
                      <a:pt x="93" y="2"/>
                      <a:pt x="86" y="0"/>
                      <a:pt x="81" y="2"/>
                    </a:cubicBezTo>
                    <a:cubicBezTo>
                      <a:pt x="79" y="3"/>
                      <a:pt x="77" y="5"/>
                      <a:pt x="76" y="7"/>
                    </a:cubicBezTo>
                    <a:cubicBezTo>
                      <a:pt x="55" y="51"/>
                      <a:pt x="55" y="51"/>
                      <a:pt x="55" y="51"/>
                    </a:cubicBezTo>
                    <a:cubicBezTo>
                      <a:pt x="9" y="58"/>
                      <a:pt x="9" y="58"/>
                      <a:pt x="9" y="58"/>
                    </a:cubicBezTo>
                    <a:cubicBezTo>
                      <a:pt x="5" y="59"/>
                      <a:pt x="2" y="62"/>
                      <a:pt x="1" y="66"/>
                    </a:cubicBezTo>
                    <a:close/>
                    <a:moveTo>
                      <a:pt x="64" y="72"/>
                    </a:moveTo>
                    <a:cubicBezTo>
                      <a:pt x="68" y="71"/>
                      <a:pt x="71" y="69"/>
                      <a:pt x="72" y="66"/>
                    </a:cubicBezTo>
                    <a:cubicBezTo>
                      <a:pt x="86" y="37"/>
                      <a:pt x="86" y="37"/>
                      <a:pt x="86" y="37"/>
                    </a:cubicBezTo>
                    <a:cubicBezTo>
                      <a:pt x="99" y="66"/>
                      <a:pt x="99" y="66"/>
                      <a:pt x="99" y="66"/>
                    </a:cubicBezTo>
                    <a:cubicBezTo>
                      <a:pt x="101" y="69"/>
                      <a:pt x="104" y="71"/>
                      <a:pt x="107" y="72"/>
                    </a:cubicBezTo>
                    <a:cubicBezTo>
                      <a:pt x="138" y="76"/>
                      <a:pt x="138" y="76"/>
                      <a:pt x="138" y="76"/>
                    </a:cubicBezTo>
                    <a:cubicBezTo>
                      <a:pt x="115" y="100"/>
                      <a:pt x="115" y="100"/>
                      <a:pt x="115" y="100"/>
                    </a:cubicBezTo>
                    <a:cubicBezTo>
                      <a:pt x="113" y="102"/>
                      <a:pt x="112" y="106"/>
                      <a:pt x="112" y="109"/>
                    </a:cubicBezTo>
                    <a:cubicBezTo>
                      <a:pt x="118" y="141"/>
                      <a:pt x="118" y="141"/>
                      <a:pt x="118" y="141"/>
                    </a:cubicBezTo>
                    <a:cubicBezTo>
                      <a:pt x="91" y="126"/>
                      <a:pt x="91" y="126"/>
                      <a:pt x="91" y="126"/>
                    </a:cubicBezTo>
                    <a:cubicBezTo>
                      <a:pt x="88" y="125"/>
                      <a:pt x="84" y="125"/>
                      <a:pt x="81" y="126"/>
                    </a:cubicBezTo>
                    <a:cubicBezTo>
                      <a:pt x="54" y="141"/>
                      <a:pt x="54" y="141"/>
                      <a:pt x="54" y="141"/>
                    </a:cubicBezTo>
                    <a:cubicBezTo>
                      <a:pt x="59" y="109"/>
                      <a:pt x="59" y="109"/>
                      <a:pt x="59" y="109"/>
                    </a:cubicBezTo>
                    <a:cubicBezTo>
                      <a:pt x="59" y="106"/>
                      <a:pt x="58" y="102"/>
                      <a:pt x="56" y="100"/>
                    </a:cubicBezTo>
                    <a:cubicBezTo>
                      <a:pt x="33" y="76"/>
                      <a:pt x="33" y="76"/>
                      <a:pt x="33" y="76"/>
                    </a:cubicBezTo>
                    <a:lnTo>
                      <a:pt x="64" y="72"/>
                    </a:lnTo>
                    <a:close/>
                  </a:path>
                </a:pathLst>
              </a:custGeom>
              <a:solidFill>
                <a:srgbClr val="C4D600"/>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grpSp>
            <p:nvGrpSpPr>
              <p:cNvPr id="55" name="Group 54">
                <a:extLst>
                  <a:ext uri="{FF2B5EF4-FFF2-40B4-BE49-F238E27FC236}">
                    <a16:creationId xmlns:a16="http://schemas.microsoft.com/office/drawing/2014/main" id="{630BB256-AE39-485B-8B87-B1A461841DDE}"/>
                  </a:ext>
                </a:extLst>
              </p:cNvPr>
              <p:cNvGrpSpPr/>
              <p:nvPr/>
            </p:nvGrpSpPr>
            <p:grpSpPr>
              <a:xfrm>
                <a:off x="10744654" y="4101032"/>
                <a:ext cx="981075" cy="944563"/>
                <a:chOff x="8905875" y="7321550"/>
                <a:chExt cx="981075" cy="944563"/>
              </a:xfrm>
              <a:solidFill>
                <a:schemeClr val="bg1">
                  <a:lumMod val="95000"/>
                </a:schemeClr>
              </a:solidFill>
            </p:grpSpPr>
            <p:sp>
              <p:nvSpPr>
                <p:cNvPr id="56" name="Freeform 19">
                  <a:extLst>
                    <a:ext uri="{FF2B5EF4-FFF2-40B4-BE49-F238E27FC236}">
                      <a16:creationId xmlns:a16="http://schemas.microsoft.com/office/drawing/2014/main" id="{F0D9D68F-076C-477E-807F-25AF25537FDF}"/>
                    </a:ext>
                  </a:extLst>
                </p:cNvPr>
                <p:cNvSpPr>
                  <a:spLocks/>
                </p:cNvSpPr>
                <p:nvPr/>
              </p:nvSpPr>
              <p:spPr bwMode="auto">
                <a:xfrm>
                  <a:off x="9313863" y="8186738"/>
                  <a:ext cx="169863" cy="79375"/>
                </a:xfrm>
                <a:custGeom>
                  <a:avLst/>
                  <a:gdLst>
                    <a:gd name="T0" fmla="*/ 48 w 48"/>
                    <a:gd name="T1" fmla="*/ 21 h 23"/>
                    <a:gd name="T2" fmla="*/ 44 w 48"/>
                    <a:gd name="T3" fmla="*/ 0 h 23"/>
                    <a:gd name="T4" fmla="*/ 24 w 48"/>
                    <a:gd name="T5" fmla="*/ 2 h 23"/>
                    <a:gd name="T6" fmla="*/ 24 w 48"/>
                    <a:gd name="T7" fmla="*/ 2 h 23"/>
                    <a:gd name="T8" fmla="*/ 3 w 48"/>
                    <a:gd name="T9" fmla="*/ 0 h 23"/>
                    <a:gd name="T10" fmla="*/ 0 w 48"/>
                    <a:gd name="T11" fmla="*/ 21 h 23"/>
                    <a:gd name="T12" fmla="*/ 24 w 48"/>
                    <a:gd name="T13" fmla="*/ 23 h 23"/>
                    <a:gd name="T14" fmla="*/ 48 w 48"/>
                    <a:gd name="T15" fmla="*/ 2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3">
                      <a:moveTo>
                        <a:pt x="48" y="21"/>
                      </a:moveTo>
                      <a:cubicBezTo>
                        <a:pt x="44" y="0"/>
                        <a:pt x="44" y="0"/>
                        <a:pt x="44" y="0"/>
                      </a:cubicBezTo>
                      <a:cubicBezTo>
                        <a:pt x="37" y="1"/>
                        <a:pt x="31" y="2"/>
                        <a:pt x="24" y="2"/>
                      </a:cubicBezTo>
                      <a:cubicBezTo>
                        <a:pt x="24" y="2"/>
                        <a:pt x="24" y="2"/>
                        <a:pt x="24" y="2"/>
                      </a:cubicBezTo>
                      <a:cubicBezTo>
                        <a:pt x="17" y="2"/>
                        <a:pt x="10" y="1"/>
                        <a:pt x="3" y="0"/>
                      </a:cubicBezTo>
                      <a:cubicBezTo>
                        <a:pt x="0" y="21"/>
                        <a:pt x="0" y="21"/>
                        <a:pt x="0" y="21"/>
                      </a:cubicBezTo>
                      <a:cubicBezTo>
                        <a:pt x="8" y="22"/>
                        <a:pt x="16" y="23"/>
                        <a:pt x="24" y="23"/>
                      </a:cubicBezTo>
                      <a:cubicBezTo>
                        <a:pt x="32" y="23"/>
                        <a:pt x="40" y="22"/>
                        <a:pt x="48" y="21"/>
                      </a:cubicBez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57" name="Freeform 20">
                  <a:extLst>
                    <a:ext uri="{FF2B5EF4-FFF2-40B4-BE49-F238E27FC236}">
                      <a16:creationId xmlns:a16="http://schemas.microsoft.com/office/drawing/2014/main" id="{8F424FBD-12DB-4F37-A331-0929CE5D0F59}"/>
                    </a:ext>
                  </a:extLst>
                </p:cNvPr>
                <p:cNvSpPr>
                  <a:spLocks/>
                </p:cNvSpPr>
                <p:nvPr/>
              </p:nvSpPr>
              <p:spPr bwMode="auto">
                <a:xfrm>
                  <a:off x="9469438" y="7321550"/>
                  <a:ext cx="173038" cy="117475"/>
                </a:xfrm>
                <a:custGeom>
                  <a:avLst/>
                  <a:gdLst>
                    <a:gd name="T0" fmla="*/ 49 w 49"/>
                    <a:gd name="T1" fmla="*/ 16 h 34"/>
                    <a:gd name="T2" fmla="*/ 3 w 49"/>
                    <a:gd name="T3" fmla="*/ 0 h 34"/>
                    <a:gd name="T4" fmla="*/ 0 w 49"/>
                    <a:gd name="T5" fmla="*/ 21 h 34"/>
                    <a:gd name="T6" fmla="*/ 38 w 49"/>
                    <a:gd name="T7" fmla="*/ 34 h 34"/>
                    <a:gd name="T8" fmla="*/ 49 w 49"/>
                    <a:gd name="T9" fmla="*/ 16 h 34"/>
                  </a:gdLst>
                  <a:ahLst/>
                  <a:cxnLst>
                    <a:cxn ang="0">
                      <a:pos x="T0" y="T1"/>
                    </a:cxn>
                    <a:cxn ang="0">
                      <a:pos x="T2" y="T3"/>
                    </a:cxn>
                    <a:cxn ang="0">
                      <a:pos x="T4" y="T5"/>
                    </a:cxn>
                    <a:cxn ang="0">
                      <a:pos x="T6" y="T7"/>
                    </a:cxn>
                    <a:cxn ang="0">
                      <a:pos x="T8" y="T9"/>
                    </a:cxn>
                  </a:cxnLst>
                  <a:rect l="0" t="0" r="r" b="b"/>
                  <a:pathLst>
                    <a:path w="49" h="34">
                      <a:moveTo>
                        <a:pt x="49" y="16"/>
                      </a:moveTo>
                      <a:cubicBezTo>
                        <a:pt x="35" y="8"/>
                        <a:pt x="19" y="2"/>
                        <a:pt x="3" y="0"/>
                      </a:cubicBezTo>
                      <a:cubicBezTo>
                        <a:pt x="0" y="21"/>
                        <a:pt x="0" y="21"/>
                        <a:pt x="0" y="21"/>
                      </a:cubicBezTo>
                      <a:cubicBezTo>
                        <a:pt x="13" y="23"/>
                        <a:pt x="26" y="28"/>
                        <a:pt x="38" y="34"/>
                      </a:cubicBezTo>
                      <a:lnTo>
                        <a:pt x="49" y="16"/>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58" name="Freeform 21">
                  <a:extLst>
                    <a:ext uri="{FF2B5EF4-FFF2-40B4-BE49-F238E27FC236}">
                      <a16:creationId xmlns:a16="http://schemas.microsoft.com/office/drawing/2014/main" id="{5A208D97-D1DF-4AF5-BF6A-9AD0EDF6CE04}"/>
                    </a:ext>
                  </a:extLst>
                </p:cNvPr>
                <p:cNvSpPr>
                  <a:spLocks/>
                </p:cNvSpPr>
                <p:nvPr/>
              </p:nvSpPr>
              <p:spPr bwMode="auto">
                <a:xfrm>
                  <a:off x="9150350" y="7321550"/>
                  <a:ext cx="173038" cy="120650"/>
                </a:xfrm>
                <a:custGeom>
                  <a:avLst/>
                  <a:gdLst>
                    <a:gd name="T0" fmla="*/ 45 w 49"/>
                    <a:gd name="T1" fmla="*/ 0 h 35"/>
                    <a:gd name="T2" fmla="*/ 0 w 49"/>
                    <a:gd name="T3" fmla="*/ 16 h 35"/>
                    <a:gd name="T4" fmla="*/ 11 w 49"/>
                    <a:gd name="T5" fmla="*/ 35 h 35"/>
                    <a:gd name="T6" fmla="*/ 49 w 49"/>
                    <a:gd name="T7" fmla="*/ 21 h 35"/>
                    <a:gd name="T8" fmla="*/ 45 w 49"/>
                    <a:gd name="T9" fmla="*/ 0 h 35"/>
                  </a:gdLst>
                  <a:ahLst/>
                  <a:cxnLst>
                    <a:cxn ang="0">
                      <a:pos x="T0" y="T1"/>
                    </a:cxn>
                    <a:cxn ang="0">
                      <a:pos x="T2" y="T3"/>
                    </a:cxn>
                    <a:cxn ang="0">
                      <a:pos x="T4" y="T5"/>
                    </a:cxn>
                    <a:cxn ang="0">
                      <a:pos x="T6" y="T7"/>
                    </a:cxn>
                    <a:cxn ang="0">
                      <a:pos x="T8" y="T9"/>
                    </a:cxn>
                  </a:cxnLst>
                  <a:rect l="0" t="0" r="r" b="b"/>
                  <a:pathLst>
                    <a:path w="49" h="35">
                      <a:moveTo>
                        <a:pt x="45" y="0"/>
                      </a:moveTo>
                      <a:cubicBezTo>
                        <a:pt x="29" y="3"/>
                        <a:pt x="14" y="8"/>
                        <a:pt x="0" y="16"/>
                      </a:cubicBezTo>
                      <a:cubicBezTo>
                        <a:pt x="11" y="35"/>
                        <a:pt x="11" y="35"/>
                        <a:pt x="11" y="35"/>
                      </a:cubicBezTo>
                      <a:cubicBezTo>
                        <a:pt x="23" y="28"/>
                        <a:pt x="35" y="23"/>
                        <a:pt x="49" y="21"/>
                      </a:cubicBezTo>
                      <a:lnTo>
                        <a:pt x="45" y="0"/>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59" name="Freeform 22">
                  <a:extLst>
                    <a:ext uri="{FF2B5EF4-FFF2-40B4-BE49-F238E27FC236}">
                      <a16:creationId xmlns:a16="http://schemas.microsoft.com/office/drawing/2014/main" id="{242118F5-EDC4-420B-96BB-6ABB6A23E7F6}"/>
                    </a:ext>
                  </a:extLst>
                </p:cNvPr>
                <p:cNvSpPr>
                  <a:spLocks/>
                </p:cNvSpPr>
                <p:nvPr/>
              </p:nvSpPr>
              <p:spPr bwMode="auto">
                <a:xfrm>
                  <a:off x="9604375" y="8050213"/>
                  <a:ext cx="169863" cy="150813"/>
                </a:xfrm>
                <a:custGeom>
                  <a:avLst/>
                  <a:gdLst>
                    <a:gd name="T0" fmla="*/ 0 w 48"/>
                    <a:gd name="T1" fmla="*/ 26 h 44"/>
                    <a:gd name="T2" fmla="*/ 11 w 48"/>
                    <a:gd name="T3" fmla="*/ 44 h 44"/>
                    <a:gd name="T4" fmla="*/ 48 w 48"/>
                    <a:gd name="T5" fmla="*/ 13 h 44"/>
                    <a:gd name="T6" fmla="*/ 32 w 48"/>
                    <a:gd name="T7" fmla="*/ 0 h 44"/>
                    <a:gd name="T8" fmla="*/ 0 w 48"/>
                    <a:gd name="T9" fmla="*/ 26 h 44"/>
                  </a:gdLst>
                  <a:ahLst/>
                  <a:cxnLst>
                    <a:cxn ang="0">
                      <a:pos x="T0" y="T1"/>
                    </a:cxn>
                    <a:cxn ang="0">
                      <a:pos x="T2" y="T3"/>
                    </a:cxn>
                    <a:cxn ang="0">
                      <a:pos x="T4" y="T5"/>
                    </a:cxn>
                    <a:cxn ang="0">
                      <a:pos x="T6" y="T7"/>
                    </a:cxn>
                    <a:cxn ang="0">
                      <a:pos x="T8" y="T9"/>
                    </a:cxn>
                  </a:cxnLst>
                  <a:rect l="0" t="0" r="r" b="b"/>
                  <a:pathLst>
                    <a:path w="48" h="44">
                      <a:moveTo>
                        <a:pt x="0" y="26"/>
                      </a:moveTo>
                      <a:cubicBezTo>
                        <a:pt x="11" y="44"/>
                        <a:pt x="11" y="44"/>
                        <a:pt x="11" y="44"/>
                      </a:cubicBezTo>
                      <a:cubicBezTo>
                        <a:pt x="25" y="36"/>
                        <a:pt x="38" y="26"/>
                        <a:pt x="48" y="13"/>
                      </a:cubicBezTo>
                      <a:cubicBezTo>
                        <a:pt x="32" y="0"/>
                        <a:pt x="32" y="0"/>
                        <a:pt x="32" y="0"/>
                      </a:cubicBezTo>
                      <a:cubicBezTo>
                        <a:pt x="23" y="10"/>
                        <a:pt x="12" y="19"/>
                        <a:pt x="0" y="26"/>
                      </a:cubicBez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60" name="Freeform 23">
                  <a:extLst>
                    <a:ext uri="{FF2B5EF4-FFF2-40B4-BE49-F238E27FC236}">
                      <a16:creationId xmlns:a16="http://schemas.microsoft.com/office/drawing/2014/main" id="{F3E8C5B5-AA72-4373-983A-D5E650FF9FA3}"/>
                    </a:ext>
                  </a:extLst>
                </p:cNvPr>
                <p:cNvSpPr>
                  <a:spLocks/>
                </p:cNvSpPr>
                <p:nvPr/>
              </p:nvSpPr>
              <p:spPr bwMode="auto">
                <a:xfrm>
                  <a:off x="9788525" y="7788275"/>
                  <a:ext cx="98425" cy="165100"/>
                </a:xfrm>
                <a:custGeom>
                  <a:avLst/>
                  <a:gdLst>
                    <a:gd name="T0" fmla="*/ 20 w 28"/>
                    <a:gd name="T1" fmla="*/ 48 h 48"/>
                    <a:gd name="T2" fmla="*/ 28 w 28"/>
                    <a:gd name="T3" fmla="*/ 0 h 48"/>
                    <a:gd name="T4" fmla="*/ 24 w 28"/>
                    <a:gd name="T5" fmla="*/ 0 h 48"/>
                    <a:gd name="T6" fmla="*/ 7 w 28"/>
                    <a:gd name="T7" fmla="*/ 0 h 48"/>
                    <a:gd name="T8" fmla="*/ 0 w 28"/>
                    <a:gd name="T9" fmla="*/ 40 h 48"/>
                    <a:gd name="T10" fmla="*/ 20 w 28"/>
                    <a:gd name="T11" fmla="*/ 48 h 48"/>
                  </a:gdLst>
                  <a:ahLst/>
                  <a:cxnLst>
                    <a:cxn ang="0">
                      <a:pos x="T0" y="T1"/>
                    </a:cxn>
                    <a:cxn ang="0">
                      <a:pos x="T2" y="T3"/>
                    </a:cxn>
                    <a:cxn ang="0">
                      <a:pos x="T4" y="T5"/>
                    </a:cxn>
                    <a:cxn ang="0">
                      <a:pos x="T6" y="T7"/>
                    </a:cxn>
                    <a:cxn ang="0">
                      <a:pos x="T8" y="T9"/>
                    </a:cxn>
                    <a:cxn ang="0">
                      <a:pos x="T10" y="T11"/>
                    </a:cxn>
                  </a:cxnLst>
                  <a:rect l="0" t="0" r="r" b="b"/>
                  <a:pathLst>
                    <a:path w="28" h="48">
                      <a:moveTo>
                        <a:pt x="20" y="48"/>
                      </a:moveTo>
                      <a:cubicBezTo>
                        <a:pt x="26" y="32"/>
                        <a:pt x="28" y="16"/>
                        <a:pt x="28" y="0"/>
                      </a:cubicBezTo>
                      <a:cubicBezTo>
                        <a:pt x="24" y="0"/>
                        <a:pt x="24" y="0"/>
                        <a:pt x="24" y="0"/>
                      </a:cubicBezTo>
                      <a:cubicBezTo>
                        <a:pt x="7" y="0"/>
                        <a:pt x="7" y="0"/>
                        <a:pt x="7" y="0"/>
                      </a:cubicBezTo>
                      <a:cubicBezTo>
                        <a:pt x="7" y="14"/>
                        <a:pt x="5" y="28"/>
                        <a:pt x="0" y="40"/>
                      </a:cubicBezTo>
                      <a:lnTo>
                        <a:pt x="20" y="48"/>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61" name="Freeform 24">
                  <a:extLst>
                    <a:ext uri="{FF2B5EF4-FFF2-40B4-BE49-F238E27FC236}">
                      <a16:creationId xmlns:a16="http://schemas.microsoft.com/office/drawing/2014/main" id="{23D66B44-FFE6-4172-9A0F-F43214AE7985}"/>
                    </a:ext>
                  </a:extLst>
                </p:cNvPr>
                <p:cNvSpPr>
                  <a:spLocks/>
                </p:cNvSpPr>
                <p:nvPr/>
              </p:nvSpPr>
              <p:spPr bwMode="auto">
                <a:xfrm>
                  <a:off x="9713913" y="7483475"/>
                  <a:ext cx="144463" cy="168275"/>
                </a:xfrm>
                <a:custGeom>
                  <a:avLst/>
                  <a:gdLst>
                    <a:gd name="T0" fmla="*/ 0 w 41"/>
                    <a:gd name="T1" fmla="*/ 14 h 49"/>
                    <a:gd name="T2" fmla="*/ 21 w 41"/>
                    <a:gd name="T3" fmla="*/ 49 h 49"/>
                    <a:gd name="T4" fmla="*/ 41 w 41"/>
                    <a:gd name="T5" fmla="*/ 41 h 49"/>
                    <a:gd name="T6" fmla="*/ 17 w 41"/>
                    <a:gd name="T7" fmla="*/ 0 h 49"/>
                    <a:gd name="T8" fmla="*/ 0 w 41"/>
                    <a:gd name="T9" fmla="*/ 14 h 49"/>
                  </a:gdLst>
                  <a:ahLst/>
                  <a:cxnLst>
                    <a:cxn ang="0">
                      <a:pos x="T0" y="T1"/>
                    </a:cxn>
                    <a:cxn ang="0">
                      <a:pos x="T2" y="T3"/>
                    </a:cxn>
                    <a:cxn ang="0">
                      <a:pos x="T4" y="T5"/>
                    </a:cxn>
                    <a:cxn ang="0">
                      <a:pos x="T6" y="T7"/>
                    </a:cxn>
                    <a:cxn ang="0">
                      <a:pos x="T8" y="T9"/>
                    </a:cxn>
                  </a:cxnLst>
                  <a:rect l="0" t="0" r="r" b="b"/>
                  <a:pathLst>
                    <a:path w="41" h="49">
                      <a:moveTo>
                        <a:pt x="0" y="14"/>
                      </a:moveTo>
                      <a:cubicBezTo>
                        <a:pt x="9" y="24"/>
                        <a:pt x="16" y="36"/>
                        <a:pt x="21" y="49"/>
                      </a:cubicBezTo>
                      <a:cubicBezTo>
                        <a:pt x="41" y="41"/>
                        <a:pt x="41" y="41"/>
                        <a:pt x="41" y="41"/>
                      </a:cubicBezTo>
                      <a:cubicBezTo>
                        <a:pt x="35" y="26"/>
                        <a:pt x="27" y="12"/>
                        <a:pt x="17" y="0"/>
                      </a:cubicBezTo>
                      <a:lnTo>
                        <a:pt x="0" y="14"/>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62" name="Freeform 25">
                  <a:extLst>
                    <a:ext uri="{FF2B5EF4-FFF2-40B4-BE49-F238E27FC236}">
                      <a16:creationId xmlns:a16="http://schemas.microsoft.com/office/drawing/2014/main" id="{D45C7745-AE08-433E-82F1-3670CC0E3861}"/>
                    </a:ext>
                  </a:extLst>
                </p:cNvPr>
                <p:cNvSpPr>
                  <a:spLocks/>
                </p:cNvSpPr>
                <p:nvPr/>
              </p:nvSpPr>
              <p:spPr bwMode="auto">
                <a:xfrm>
                  <a:off x="8934450" y="7483475"/>
                  <a:ext cx="144463" cy="168275"/>
                </a:xfrm>
                <a:custGeom>
                  <a:avLst/>
                  <a:gdLst>
                    <a:gd name="T0" fmla="*/ 0 w 41"/>
                    <a:gd name="T1" fmla="*/ 42 h 49"/>
                    <a:gd name="T2" fmla="*/ 20 w 41"/>
                    <a:gd name="T3" fmla="*/ 49 h 49"/>
                    <a:gd name="T4" fmla="*/ 41 w 41"/>
                    <a:gd name="T5" fmla="*/ 14 h 49"/>
                    <a:gd name="T6" fmla="*/ 24 w 41"/>
                    <a:gd name="T7" fmla="*/ 0 h 49"/>
                    <a:gd name="T8" fmla="*/ 0 w 41"/>
                    <a:gd name="T9" fmla="*/ 42 h 49"/>
                  </a:gdLst>
                  <a:ahLst/>
                  <a:cxnLst>
                    <a:cxn ang="0">
                      <a:pos x="T0" y="T1"/>
                    </a:cxn>
                    <a:cxn ang="0">
                      <a:pos x="T2" y="T3"/>
                    </a:cxn>
                    <a:cxn ang="0">
                      <a:pos x="T4" y="T5"/>
                    </a:cxn>
                    <a:cxn ang="0">
                      <a:pos x="T6" y="T7"/>
                    </a:cxn>
                    <a:cxn ang="0">
                      <a:pos x="T8" y="T9"/>
                    </a:cxn>
                  </a:cxnLst>
                  <a:rect l="0" t="0" r="r" b="b"/>
                  <a:pathLst>
                    <a:path w="41" h="49">
                      <a:moveTo>
                        <a:pt x="0" y="42"/>
                      </a:moveTo>
                      <a:cubicBezTo>
                        <a:pt x="20" y="49"/>
                        <a:pt x="20" y="49"/>
                        <a:pt x="20" y="49"/>
                      </a:cubicBezTo>
                      <a:cubicBezTo>
                        <a:pt x="25" y="37"/>
                        <a:pt x="32" y="25"/>
                        <a:pt x="41" y="14"/>
                      </a:cubicBezTo>
                      <a:cubicBezTo>
                        <a:pt x="24" y="0"/>
                        <a:pt x="24" y="0"/>
                        <a:pt x="24" y="0"/>
                      </a:cubicBezTo>
                      <a:cubicBezTo>
                        <a:pt x="14" y="13"/>
                        <a:pt x="6" y="27"/>
                        <a:pt x="0" y="42"/>
                      </a:cubicBez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63" name="Freeform 26">
                  <a:extLst>
                    <a:ext uri="{FF2B5EF4-FFF2-40B4-BE49-F238E27FC236}">
                      <a16:creationId xmlns:a16="http://schemas.microsoft.com/office/drawing/2014/main" id="{7EF48C23-9A6A-4EAF-A8F8-5803FF8E3A5F}"/>
                    </a:ext>
                  </a:extLst>
                </p:cNvPr>
                <p:cNvSpPr>
                  <a:spLocks/>
                </p:cNvSpPr>
                <p:nvPr/>
              </p:nvSpPr>
              <p:spPr bwMode="auto">
                <a:xfrm>
                  <a:off x="9023350" y="8050213"/>
                  <a:ext cx="165100" cy="153988"/>
                </a:xfrm>
                <a:custGeom>
                  <a:avLst/>
                  <a:gdLst>
                    <a:gd name="T0" fmla="*/ 0 w 47"/>
                    <a:gd name="T1" fmla="*/ 14 h 45"/>
                    <a:gd name="T2" fmla="*/ 36 w 47"/>
                    <a:gd name="T3" fmla="*/ 45 h 45"/>
                    <a:gd name="T4" fmla="*/ 47 w 47"/>
                    <a:gd name="T5" fmla="*/ 26 h 45"/>
                    <a:gd name="T6" fmla="*/ 16 w 47"/>
                    <a:gd name="T7" fmla="*/ 0 h 45"/>
                    <a:gd name="T8" fmla="*/ 0 w 47"/>
                    <a:gd name="T9" fmla="*/ 14 h 45"/>
                  </a:gdLst>
                  <a:ahLst/>
                  <a:cxnLst>
                    <a:cxn ang="0">
                      <a:pos x="T0" y="T1"/>
                    </a:cxn>
                    <a:cxn ang="0">
                      <a:pos x="T2" y="T3"/>
                    </a:cxn>
                    <a:cxn ang="0">
                      <a:pos x="T4" y="T5"/>
                    </a:cxn>
                    <a:cxn ang="0">
                      <a:pos x="T6" y="T7"/>
                    </a:cxn>
                    <a:cxn ang="0">
                      <a:pos x="T8" y="T9"/>
                    </a:cxn>
                  </a:cxnLst>
                  <a:rect l="0" t="0" r="r" b="b"/>
                  <a:pathLst>
                    <a:path w="47" h="45">
                      <a:moveTo>
                        <a:pt x="0" y="14"/>
                      </a:moveTo>
                      <a:cubicBezTo>
                        <a:pt x="10" y="26"/>
                        <a:pt x="22" y="36"/>
                        <a:pt x="36" y="45"/>
                      </a:cubicBezTo>
                      <a:cubicBezTo>
                        <a:pt x="47" y="26"/>
                        <a:pt x="47" y="26"/>
                        <a:pt x="47" y="26"/>
                      </a:cubicBezTo>
                      <a:cubicBezTo>
                        <a:pt x="35" y="19"/>
                        <a:pt x="25" y="10"/>
                        <a:pt x="16" y="0"/>
                      </a:cubicBezTo>
                      <a:lnTo>
                        <a:pt x="0" y="14"/>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64" name="Freeform 27">
                  <a:extLst>
                    <a:ext uri="{FF2B5EF4-FFF2-40B4-BE49-F238E27FC236}">
                      <a16:creationId xmlns:a16="http://schemas.microsoft.com/office/drawing/2014/main" id="{9427B795-C742-47E6-ACC4-E6532814D73C}"/>
                    </a:ext>
                  </a:extLst>
                </p:cNvPr>
                <p:cNvSpPr>
                  <a:spLocks/>
                </p:cNvSpPr>
                <p:nvPr/>
              </p:nvSpPr>
              <p:spPr bwMode="auto">
                <a:xfrm>
                  <a:off x="8905875" y="7793038"/>
                  <a:ext cx="98425" cy="160338"/>
                </a:xfrm>
                <a:custGeom>
                  <a:avLst/>
                  <a:gdLst>
                    <a:gd name="T0" fmla="*/ 8 w 28"/>
                    <a:gd name="T1" fmla="*/ 47 h 47"/>
                    <a:gd name="T2" fmla="*/ 28 w 28"/>
                    <a:gd name="T3" fmla="*/ 40 h 47"/>
                    <a:gd name="T4" fmla="*/ 21 w 28"/>
                    <a:gd name="T5" fmla="*/ 0 h 47"/>
                    <a:gd name="T6" fmla="*/ 0 w 28"/>
                    <a:gd name="T7" fmla="*/ 0 h 47"/>
                    <a:gd name="T8" fmla="*/ 8 w 28"/>
                    <a:gd name="T9" fmla="*/ 47 h 47"/>
                  </a:gdLst>
                  <a:ahLst/>
                  <a:cxnLst>
                    <a:cxn ang="0">
                      <a:pos x="T0" y="T1"/>
                    </a:cxn>
                    <a:cxn ang="0">
                      <a:pos x="T2" y="T3"/>
                    </a:cxn>
                    <a:cxn ang="0">
                      <a:pos x="T4" y="T5"/>
                    </a:cxn>
                    <a:cxn ang="0">
                      <a:pos x="T6" y="T7"/>
                    </a:cxn>
                    <a:cxn ang="0">
                      <a:pos x="T8" y="T9"/>
                    </a:cxn>
                  </a:cxnLst>
                  <a:rect l="0" t="0" r="r" b="b"/>
                  <a:pathLst>
                    <a:path w="28" h="47">
                      <a:moveTo>
                        <a:pt x="8" y="47"/>
                      </a:moveTo>
                      <a:cubicBezTo>
                        <a:pt x="28" y="40"/>
                        <a:pt x="28" y="40"/>
                        <a:pt x="28" y="40"/>
                      </a:cubicBezTo>
                      <a:cubicBezTo>
                        <a:pt x="24" y="27"/>
                        <a:pt x="21" y="13"/>
                        <a:pt x="21" y="0"/>
                      </a:cubicBezTo>
                      <a:cubicBezTo>
                        <a:pt x="0" y="0"/>
                        <a:pt x="0" y="0"/>
                        <a:pt x="0" y="0"/>
                      </a:cubicBezTo>
                      <a:cubicBezTo>
                        <a:pt x="0" y="16"/>
                        <a:pt x="3" y="32"/>
                        <a:pt x="8" y="47"/>
                      </a:cubicBez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grpSp>
        </p:grpSp>
        <p:grpSp>
          <p:nvGrpSpPr>
            <p:cNvPr id="67" name="Group 66">
              <a:extLst>
                <a:ext uri="{FF2B5EF4-FFF2-40B4-BE49-F238E27FC236}">
                  <a16:creationId xmlns:a16="http://schemas.microsoft.com/office/drawing/2014/main" id="{0702079F-A566-451E-93ED-0D717929EFAF}"/>
                </a:ext>
              </a:extLst>
            </p:cNvPr>
            <p:cNvGrpSpPr/>
            <p:nvPr/>
          </p:nvGrpSpPr>
          <p:grpSpPr>
            <a:xfrm>
              <a:off x="4942222" y="6040884"/>
              <a:ext cx="3326279" cy="0"/>
              <a:chOff x="4942222" y="5949739"/>
              <a:chExt cx="3326279" cy="0"/>
            </a:xfrm>
          </p:grpSpPr>
          <p:cxnSp>
            <p:nvCxnSpPr>
              <p:cNvPr id="68" name="Straight Connector 67">
                <a:extLst>
                  <a:ext uri="{FF2B5EF4-FFF2-40B4-BE49-F238E27FC236}">
                    <a16:creationId xmlns:a16="http://schemas.microsoft.com/office/drawing/2014/main" id="{8A4D488A-896C-4263-8FD2-8EFED5FFB9DE}"/>
                  </a:ext>
                </a:extLst>
              </p:cNvPr>
              <p:cNvCxnSpPr/>
              <p:nvPr/>
            </p:nvCxnSpPr>
            <p:spPr>
              <a:xfrm>
                <a:off x="4942222" y="5949739"/>
                <a:ext cx="2601578"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74DE1AD-5C79-4388-998C-9D4C5DE89220}"/>
                  </a:ext>
                </a:extLst>
              </p:cNvPr>
              <p:cNvCxnSpPr>
                <a:cxnSpLocks/>
              </p:cNvCxnSpPr>
              <p:nvPr/>
            </p:nvCxnSpPr>
            <p:spPr>
              <a:xfrm>
                <a:off x="7772400" y="5949739"/>
                <a:ext cx="320675"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F6112F4B-5DAF-47FC-B409-062B6A1EBCA1}"/>
                  </a:ext>
                </a:extLst>
              </p:cNvPr>
              <p:cNvCxnSpPr>
                <a:cxnSpLocks/>
              </p:cNvCxnSpPr>
              <p:nvPr/>
            </p:nvCxnSpPr>
            <p:spPr>
              <a:xfrm>
                <a:off x="8242116" y="5949739"/>
                <a:ext cx="26385"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95EA11FB-56F1-4582-9E46-0637A68F4684}"/>
                </a:ext>
              </a:extLst>
            </p:cNvPr>
            <p:cNvGrpSpPr/>
            <p:nvPr/>
          </p:nvGrpSpPr>
          <p:grpSpPr>
            <a:xfrm flipH="1">
              <a:off x="8219751" y="3209836"/>
              <a:ext cx="3326279" cy="0"/>
              <a:chOff x="4942222" y="5949739"/>
              <a:chExt cx="3326279" cy="0"/>
            </a:xfrm>
          </p:grpSpPr>
          <p:cxnSp>
            <p:nvCxnSpPr>
              <p:cNvPr id="72" name="Straight Connector 71">
                <a:extLst>
                  <a:ext uri="{FF2B5EF4-FFF2-40B4-BE49-F238E27FC236}">
                    <a16:creationId xmlns:a16="http://schemas.microsoft.com/office/drawing/2014/main" id="{50AAB0A4-8395-4115-AB94-07AED07347E2}"/>
                  </a:ext>
                </a:extLst>
              </p:cNvPr>
              <p:cNvCxnSpPr/>
              <p:nvPr/>
            </p:nvCxnSpPr>
            <p:spPr>
              <a:xfrm>
                <a:off x="4942222" y="5949739"/>
                <a:ext cx="2601578"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EE9BBAD-F573-4BBE-BABD-F955A5838C56}"/>
                  </a:ext>
                </a:extLst>
              </p:cNvPr>
              <p:cNvCxnSpPr>
                <a:cxnSpLocks/>
              </p:cNvCxnSpPr>
              <p:nvPr/>
            </p:nvCxnSpPr>
            <p:spPr>
              <a:xfrm>
                <a:off x="7772400" y="5949739"/>
                <a:ext cx="320675"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8033F72-F426-4846-B604-F0A34DDD2B8B}"/>
                  </a:ext>
                </a:extLst>
              </p:cNvPr>
              <p:cNvCxnSpPr>
                <a:cxnSpLocks/>
              </p:cNvCxnSpPr>
              <p:nvPr/>
            </p:nvCxnSpPr>
            <p:spPr>
              <a:xfrm>
                <a:off x="8242116" y="5949739"/>
                <a:ext cx="26385"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grpSp>
      </p:grpSp>
    </p:spTree>
    <p:custDataLst>
      <p:tags r:id="rId1"/>
    </p:custDataLst>
    <p:extLst>
      <p:ext uri="{BB962C8B-B14F-4D97-AF65-F5344CB8AC3E}">
        <p14:creationId xmlns:p14="http://schemas.microsoft.com/office/powerpoint/2010/main" val="3021531698"/>
      </p:ext>
    </p:extLst>
  </p:cSld>
  <p:clrMapOvr>
    <a:masterClrMapping/>
  </p:clrMapOvr>
  <p:transition>
    <p:fade/>
  </p:transition>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a:extLst>
              <a:ext uri="{FF2B5EF4-FFF2-40B4-BE49-F238E27FC236}">
                <a16:creationId xmlns:a16="http://schemas.microsoft.com/office/drawing/2014/main" id="{934481F2-B6D5-40FC-BEA3-D31D66DB84C2}"/>
              </a:ext>
            </a:extLst>
          </p:cNvPr>
          <p:cNvGrpSpPr/>
          <p:nvPr/>
        </p:nvGrpSpPr>
        <p:grpSpPr>
          <a:xfrm>
            <a:off x="2030707" y="398580"/>
            <a:ext cx="1445567" cy="1445567"/>
            <a:chOff x="2459509" y="4014579"/>
            <a:chExt cx="1445567" cy="1445567"/>
          </a:xfrm>
        </p:grpSpPr>
        <p:sp>
          <p:nvSpPr>
            <p:cNvPr id="89" name="Oval 88">
              <a:extLst>
                <a:ext uri="{FF2B5EF4-FFF2-40B4-BE49-F238E27FC236}">
                  <a16:creationId xmlns:a16="http://schemas.microsoft.com/office/drawing/2014/main" id="{483FFE51-06AA-4E19-83E5-7EB8133AC512}"/>
                </a:ext>
              </a:extLst>
            </p:cNvPr>
            <p:cNvSpPr/>
            <p:nvPr/>
          </p:nvSpPr>
          <p:spPr bwMode="gray">
            <a:xfrm>
              <a:off x="2459509" y="4014579"/>
              <a:ext cx="1445567" cy="1445567"/>
            </a:xfrm>
            <a:prstGeom prst="ellipse">
              <a:avLst/>
            </a:prstGeom>
            <a:solidFill>
              <a:schemeClr val="tx1"/>
            </a:solidFill>
            <a:ln w="19050" algn="ctr">
              <a:noFill/>
              <a:miter lim="800000"/>
              <a:headEnd/>
              <a:tailEnd/>
            </a:ln>
          </p:spPr>
          <p:txBody>
            <a:bodyPr wrap="square" lIns="88900" tIns="88900" rIns="88900" bIns="88900"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p>
          </p:txBody>
        </p:sp>
        <p:grpSp>
          <p:nvGrpSpPr>
            <p:cNvPr id="90" name="Group 89">
              <a:extLst>
                <a:ext uri="{FF2B5EF4-FFF2-40B4-BE49-F238E27FC236}">
                  <a16:creationId xmlns:a16="http://schemas.microsoft.com/office/drawing/2014/main" id="{D55D4E34-37CE-442B-855B-712BB9130C53}"/>
                </a:ext>
              </a:extLst>
            </p:cNvPr>
            <p:cNvGrpSpPr/>
            <p:nvPr/>
          </p:nvGrpSpPr>
          <p:grpSpPr>
            <a:xfrm>
              <a:off x="2766895" y="4395228"/>
              <a:ext cx="830793" cy="535530"/>
              <a:chOff x="1948095" y="4369627"/>
              <a:chExt cx="830793" cy="535530"/>
            </a:xfrm>
          </p:grpSpPr>
          <p:grpSp>
            <p:nvGrpSpPr>
              <p:cNvPr id="92" name="Group 91">
                <a:extLst>
                  <a:ext uri="{FF2B5EF4-FFF2-40B4-BE49-F238E27FC236}">
                    <a16:creationId xmlns:a16="http://schemas.microsoft.com/office/drawing/2014/main" id="{DABE4E9B-A20F-4B08-80F8-BBAD16B46F0C}"/>
                  </a:ext>
                </a:extLst>
              </p:cNvPr>
              <p:cNvGrpSpPr/>
              <p:nvPr/>
            </p:nvGrpSpPr>
            <p:grpSpPr>
              <a:xfrm>
                <a:off x="2187696" y="4369627"/>
                <a:ext cx="351593" cy="321723"/>
                <a:chOff x="10697407" y="3657600"/>
                <a:chExt cx="550788" cy="503995"/>
              </a:xfrm>
            </p:grpSpPr>
            <p:sp>
              <p:nvSpPr>
                <p:cNvPr id="99" name="Oval 59">
                  <a:extLst>
                    <a:ext uri="{FF2B5EF4-FFF2-40B4-BE49-F238E27FC236}">
                      <a16:creationId xmlns:a16="http://schemas.microsoft.com/office/drawing/2014/main" id="{58E7EC5B-4788-4B00-A983-111EEE8F0228}"/>
                    </a:ext>
                  </a:extLst>
                </p:cNvPr>
                <p:cNvSpPr/>
                <p:nvPr/>
              </p:nvSpPr>
              <p:spPr bwMode="gray">
                <a:xfrm>
                  <a:off x="10697407" y="3886201"/>
                  <a:ext cx="550788" cy="275394"/>
                </a:xfrm>
                <a:custGeom>
                  <a:avLst/>
                  <a:gdLst>
                    <a:gd name="connsiteX0" fmla="*/ 0 w 550787"/>
                    <a:gd name="connsiteY0" fmla="*/ 275394 h 550787"/>
                    <a:gd name="connsiteX1" fmla="*/ 275394 w 550787"/>
                    <a:gd name="connsiteY1" fmla="*/ 0 h 550787"/>
                    <a:gd name="connsiteX2" fmla="*/ 550788 w 550787"/>
                    <a:gd name="connsiteY2" fmla="*/ 275394 h 550787"/>
                    <a:gd name="connsiteX3" fmla="*/ 275394 w 550787"/>
                    <a:gd name="connsiteY3" fmla="*/ 550788 h 550787"/>
                    <a:gd name="connsiteX4" fmla="*/ 0 w 550787"/>
                    <a:gd name="connsiteY4" fmla="*/ 275394 h 550787"/>
                    <a:gd name="connsiteX0" fmla="*/ 275394 w 550788"/>
                    <a:gd name="connsiteY0" fmla="*/ 550788 h 642228"/>
                    <a:gd name="connsiteX1" fmla="*/ 0 w 550788"/>
                    <a:gd name="connsiteY1" fmla="*/ 275394 h 642228"/>
                    <a:gd name="connsiteX2" fmla="*/ 275394 w 550788"/>
                    <a:gd name="connsiteY2" fmla="*/ 0 h 642228"/>
                    <a:gd name="connsiteX3" fmla="*/ 550788 w 550788"/>
                    <a:gd name="connsiteY3" fmla="*/ 275394 h 642228"/>
                    <a:gd name="connsiteX4" fmla="*/ 366834 w 550788"/>
                    <a:gd name="connsiteY4" fmla="*/ 642228 h 642228"/>
                    <a:gd name="connsiteX0" fmla="*/ 275394 w 550788"/>
                    <a:gd name="connsiteY0" fmla="*/ 550788 h 550788"/>
                    <a:gd name="connsiteX1" fmla="*/ 0 w 550788"/>
                    <a:gd name="connsiteY1" fmla="*/ 275394 h 550788"/>
                    <a:gd name="connsiteX2" fmla="*/ 275394 w 550788"/>
                    <a:gd name="connsiteY2" fmla="*/ 0 h 550788"/>
                    <a:gd name="connsiteX3" fmla="*/ 550788 w 550788"/>
                    <a:gd name="connsiteY3" fmla="*/ 275394 h 550788"/>
                    <a:gd name="connsiteX0" fmla="*/ 0 w 550788"/>
                    <a:gd name="connsiteY0" fmla="*/ 275394 h 275394"/>
                    <a:gd name="connsiteX1" fmla="*/ 275394 w 550788"/>
                    <a:gd name="connsiteY1" fmla="*/ 0 h 275394"/>
                    <a:gd name="connsiteX2" fmla="*/ 550788 w 550788"/>
                    <a:gd name="connsiteY2" fmla="*/ 275394 h 275394"/>
                  </a:gdLst>
                  <a:ahLst/>
                  <a:cxnLst>
                    <a:cxn ang="0">
                      <a:pos x="connsiteX0" y="connsiteY0"/>
                    </a:cxn>
                    <a:cxn ang="0">
                      <a:pos x="connsiteX1" y="connsiteY1"/>
                    </a:cxn>
                    <a:cxn ang="0">
                      <a:pos x="connsiteX2" y="connsiteY2"/>
                    </a:cxn>
                  </a:cxnLst>
                  <a:rect l="l" t="t" r="r" b="b"/>
                  <a:pathLst>
                    <a:path w="550788" h="275394">
                      <a:moveTo>
                        <a:pt x="0" y="275394"/>
                      </a:moveTo>
                      <a:cubicBezTo>
                        <a:pt x="0" y="123298"/>
                        <a:pt x="123298" y="0"/>
                        <a:pt x="275394" y="0"/>
                      </a:cubicBezTo>
                      <a:cubicBezTo>
                        <a:pt x="427490" y="0"/>
                        <a:pt x="550788" y="123298"/>
                        <a:pt x="550788" y="275394"/>
                      </a:cubicBezTo>
                    </a:path>
                  </a:pathLst>
                </a:custGeom>
                <a:solidFill>
                  <a:schemeClr val="tx1"/>
                </a:solidFill>
                <a:ln w="19050"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0" name="Oval 99">
                  <a:extLst>
                    <a:ext uri="{FF2B5EF4-FFF2-40B4-BE49-F238E27FC236}">
                      <a16:creationId xmlns:a16="http://schemas.microsoft.com/office/drawing/2014/main" id="{1F9B407A-F031-4226-8744-7911C080816A}"/>
                    </a:ext>
                  </a:extLst>
                </p:cNvPr>
                <p:cNvSpPr/>
                <p:nvPr/>
              </p:nvSpPr>
              <p:spPr bwMode="gray">
                <a:xfrm>
                  <a:off x="10820401" y="3657600"/>
                  <a:ext cx="304800" cy="304800"/>
                </a:xfrm>
                <a:prstGeom prst="ellipse">
                  <a:avLst/>
                </a:prstGeom>
                <a:solidFill>
                  <a:schemeClr val="tx1"/>
                </a:solidFill>
                <a:ln w="19050" algn="ctr">
                  <a:solidFill>
                    <a:srgbClr val="A7A8A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a:solidFill>
                      <a:schemeClr val="bg1"/>
                    </a:solidFill>
                  </a:endParaRPr>
                </a:p>
              </p:txBody>
            </p:sp>
          </p:grpSp>
          <p:grpSp>
            <p:nvGrpSpPr>
              <p:cNvPr id="93" name="Group 92">
                <a:extLst>
                  <a:ext uri="{FF2B5EF4-FFF2-40B4-BE49-F238E27FC236}">
                    <a16:creationId xmlns:a16="http://schemas.microsoft.com/office/drawing/2014/main" id="{39F116AF-96B2-4502-8F92-85BCC0643BFF}"/>
                  </a:ext>
                </a:extLst>
              </p:cNvPr>
              <p:cNvGrpSpPr/>
              <p:nvPr/>
            </p:nvGrpSpPr>
            <p:grpSpPr>
              <a:xfrm>
                <a:off x="1948095" y="4583434"/>
                <a:ext cx="351593" cy="321723"/>
                <a:chOff x="10697407" y="3657600"/>
                <a:chExt cx="550788" cy="503995"/>
              </a:xfrm>
            </p:grpSpPr>
            <p:sp>
              <p:nvSpPr>
                <p:cNvPr id="97" name="Oval 59">
                  <a:extLst>
                    <a:ext uri="{FF2B5EF4-FFF2-40B4-BE49-F238E27FC236}">
                      <a16:creationId xmlns:a16="http://schemas.microsoft.com/office/drawing/2014/main" id="{31BC6942-3BEE-4BF9-80BC-2EADEAAEEBD9}"/>
                    </a:ext>
                  </a:extLst>
                </p:cNvPr>
                <p:cNvSpPr/>
                <p:nvPr/>
              </p:nvSpPr>
              <p:spPr bwMode="gray">
                <a:xfrm>
                  <a:off x="10697407" y="3886201"/>
                  <a:ext cx="550788" cy="275394"/>
                </a:xfrm>
                <a:custGeom>
                  <a:avLst/>
                  <a:gdLst>
                    <a:gd name="connsiteX0" fmla="*/ 0 w 550787"/>
                    <a:gd name="connsiteY0" fmla="*/ 275394 h 550787"/>
                    <a:gd name="connsiteX1" fmla="*/ 275394 w 550787"/>
                    <a:gd name="connsiteY1" fmla="*/ 0 h 550787"/>
                    <a:gd name="connsiteX2" fmla="*/ 550788 w 550787"/>
                    <a:gd name="connsiteY2" fmla="*/ 275394 h 550787"/>
                    <a:gd name="connsiteX3" fmla="*/ 275394 w 550787"/>
                    <a:gd name="connsiteY3" fmla="*/ 550788 h 550787"/>
                    <a:gd name="connsiteX4" fmla="*/ 0 w 550787"/>
                    <a:gd name="connsiteY4" fmla="*/ 275394 h 550787"/>
                    <a:gd name="connsiteX0" fmla="*/ 275394 w 550788"/>
                    <a:gd name="connsiteY0" fmla="*/ 550788 h 642228"/>
                    <a:gd name="connsiteX1" fmla="*/ 0 w 550788"/>
                    <a:gd name="connsiteY1" fmla="*/ 275394 h 642228"/>
                    <a:gd name="connsiteX2" fmla="*/ 275394 w 550788"/>
                    <a:gd name="connsiteY2" fmla="*/ 0 h 642228"/>
                    <a:gd name="connsiteX3" fmla="*/ 550788 w 550788"/>
                    <a:gd name="connsiteY3" fmla="*/ 275394 h 642228"/>
                    <a:gd name="connsiteX4" fmla="*/ 366834 w 550788"/>
                    <a:gd name="connsiteY4" fmla="*/ 642228 h 642228"/>
                    <a:gd name="connsiteX0" fmla="*/ 275394 w 550788"/>
                    <a:gd name="connsiteY0" fmla="*/ 550788 h 550788"/>
                    <a:gd name="connsiteX1" fmla="*/ 0 w 550788"/>
                    <a:gd name="connsiteY1" fmla="*/ 275394 h 550788"/>
                    <a:gd name="connsiteX2" fmla="*/ 275394 w 550788"/>
                    <a:gd name="connsiteY2" fmla="*/ 0 h 550788"/>
                    <a:gd name="connsiteX3" fmla="*/ 550788 w 550788"/>
                    <a:gd name="connsiteY3" fmla="*/ 275394 h 550788"/>
                    <a:gd name="connsiteX0" fmla="*/ 0 w 550788"/>
                    <a:gd name="connsiteY0" fmla="*/ 275394 h 275394"/>
                    <a:gd name="connsiteX1" fmla="*/ 275394 w 550788"/>
                    <a:gd name="connsiteY1" fmla="*/ 0 h 275394"/>
                    <a:gd name="connsiteX2" fmla="*/ 550788 w 550788"/>
                    <a:gd name="connsiteY2" fmla="*/ 275394 h 275394"/>
                  </a:gdLst>
                  <a:ahLst/>
                  <a:cxnLst>
                    <a:cxn ang="0">
                      <a:pos x="connsiteX0" y="connsiteY0"/>
                    </a:cxn>
                    <a:cxn ang="0">
                      <a:pos x="connsiteX1" y="connsiteY1"/>
                    </a:cxn>
                    <a:cxn ang="0">
                      <a:pos x="connsiteX2" y="connsiteY2"/>
                    </a:cxn>
                  </a:cxnLst>
                  <a:rect l="l" t="t" r="r" b="b"/>
                  <a:pathLst>
                    <a:path w="550788" h="275394">
                      <a:moveTo>
                        <a:pt x="0" y="275394"/>
                      </a:moveTo>
                      <a:cubicBezTo>
                        <a:pt x="0" y="123298"/>
                        <a:pt x="123298" y="0"/>
                        <a:pt x="275394" y="0"/>
                      </a:cubicBezTo>
                      <a:cubicBezTo>
                        <a:pt x="427490" y="0"/>
                        <a:pt x="550788" y="123298"/>
                        <a:pt x="550788" y="275394"/>
                      </a:cubicBezTo>
                    </a:path>
                  </a:pathLst>
                </a:custGeom>
                <a:solidFill>
                  <a:schemeClr val="tx1"/>
                </a:solidFill>
                <a:ln w="19050"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8" name="Oval 97">
                  <a:extLst>
                    <a:ext uri="{FF2B5EF4-FFF2-40B4-BE49-F238E27FC236}">
                      <a16:creationId xmlns:a16="http://schemas.microsoft.com/office/drawing/2014/main" id="{29DA0B39-E846-4D62-AB43-2B0AD4C75B26}"/>
                    </a:ext>
                  </a:extLst>
                </p:cNvPr>
                <p:cNvSpPr/>
                <p:nvPr/>
              </p:nvSpPr>
              <p:spPr bwMode="gray">
                <a:xfrm>
                  <a:off x="10820401" y="3657600"/>
                  <a:ext cx="304800" cy="304800"/>
                </a:xfrm>
                <a:prstGeom prst="ellipse">
                  <a:avLst/>
                </a:prstGeom>
                <a:solidFill>
                  <a:schemeClr val="tx1"/>
                </a:solidFill>
                <a:ln w="19050" algn="ctr">
                  <a:solidFill>
                    <a:srgbClr val="A7A8A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a:solidFill>
                      <a:schemeClr val="bg1"/>
                    </a:solidFill>
                  </a:endParaRPr>
                </a:p>
              </p:txBody>
            </p:sp>
          </p:grpSp>
          <p:grpSp>
            <p:nvGrpSpPr>
              <p:cNvPr id="94" name="Group 93">
                <a:extLst>
                  <a:ext uri="{FF2B5EF4-FFF2-40B4-BE49-F238E27FC236}">
                    <a16:creationId xmlns:a16="http://schemas.microsoft.com/office/drawing/2014/main" id="{9E672094-A462-466C-8F88-8C4D31E15F5E}"/>
                  </a:ext>
                </a:extLst>
              </p:cNvPr>
              <p:cNvGrpSpPr/>
              <p:nvPr/>
            </p:nvGrpSpPr>
            <p:grpSpPr>
              <a:xfrm>
                <a:off x="2427295" y="4583434"/>
                <a:ext cx="351593" cy="321723"/>
                <a:chOff x="10697407" y="3657600"/>
                <a:chExt cx="550788" cy="503995"/>
              </a:xfrm>
            </p:grpSpPr>
            <p:sp>
              <p:nvSpPr>
                <p:cNvPr id="95" name="Oval 59">
                  <a:extLst>
                    <a:ext uri="{FF2B5EF4-FFF2-40B4-BE49-F238E27FC236}">
                      <a16:creationId xmlns:a16="http://schemas.microsoft.com/office/drawing/2014/main" id="{939CBD6E-DDFC-48E5-8A7A-F2BCAC31CDE0}"/>
                    </a:ext>
                  </a:extLst>
                </p:cNvPr>
                <p:cNvSpPr/>
                <p:nvPr/>
              </p:nvSpPr>
              <p:spPr bwMode="gray">
                <a:xfrm>
                  <a:off x="10697407" y="3886201"/>
                  <a:ext cx="550788" cy="275394"/>
                </a:xfrm>
                <a:custGeom>
                  <a:avLst/>
                  <a:gdLst>
                    <a:gd name="connsiteX0" fmla="*/ 0 w 550787"/>
                    <a:gd name="connsiteY0" fmla="*/ 275394 h 550787"/>
                    <a:gd name="connsiteX1" fmla="*/ 275394 w 550787"/>
                    <a:gd name="connsiteY1" fmla="*/ 0 h 550787"/>
                    <a:gd name="connsiteX2" fmla="*/ 550788 w 550787"/>
                    <a:gd name="connsiteY2" fmla="*/ 275394 h 550787"/>
                    <a:gd name="connsiteX3" fmla="*/ 275394 w 550787"/>
                    <a:gd name="connsiteY3" fmla="*/ 550788 h 550787"/>
                    <a:gd name="connsiteX4" fmla="*/ 0 w 550787"/>
                    <a:gd name="connsiteY4" fmla="*/ 275394 h 550787"/>
                    <a:gd name="connsiteX0" fmla="*/ 275394 w 550788"/>
                    <a:gd name="connsiteY0" fmla="*/ 550788 h 642228"/>
                    <a:gd name="connsiteX1" fmla="*/ 0 w 550788"/>
                    <a:gd name="connsiteY1" fmla="*/ 275394 h 642228"/>
                    <a:gd name="connsiteX2" fmla="*/ 275394 w 550788"/>
                    <a:gd name="connsiteY2" fmla="*/ 0 h 642228"/>
                    <a:gd name="connsiteX3" fmla="*/ 550788 w 550788"/>
                    <a:gd name="connsiteY3" fmla="*/ 275394 h 642228"/>
                    <a:gd name="connsiteX4" fmla="*/ 366834 w 550788"/>
                    <a:gd name="connsiteY4" fmla="*/ 642228 h 642228"/>
                    <a:gd name="connsiteX0" fmla="*/ 275394 w 550788"/>
                    <a:gd name="connsiteY0" fmla="*/ 550788 h 550788"/>
                    <a:gd name="connsiteX1" fmla="*/ 0 w 550788"/>
                    <a:gd name="connsiteY1" fmla="*/ 275394 h 550788"/>
                    <a:gd name="connsiteX2" fmla="*/ 275394 w 550788"/>
                    <a:gd name="connsiteY2" fmla="*/ 0 h 550788"/>
                    <a:gd name="connsiteX3" fmla="*/ 550788 w 550788"/>
                    <a:gd name="connsiteY3" fmla="*/ 275394 h 550788"/>
                    <a:gd name="connsiteX0" fmla="*/ 0 w 550788"/>
                    <a:gd name="connsiteY0" fmla="*/ 275394 h 275394"/>
                    <a:gd name="connsiteX1" fmla="*/ 275394 w 550788"/>
                    <a:gd name="connsiteY1" fmla="*/ 0 h 275394"/>
                    <a:gd name="connsiteX2" fmla="*/ 550788 w 550788"/>
                    <a:gd name="connsiteY2" fmla="*/ 275394 h 275394"/>
                  </a:gdLst>
                  <a:ahLst/>
                  <a:cxnLst>
                    <a:cxn ang="0">
                      <a:pos x="connsiteX0" y="connsiteY0"/>
                    </a:cxn>
                    <a:cxn ang="0">
                      <a:pos x="connsiteX1" y="connsiteY1"/>
                    </a:cxn>
                    <a:cxn ang="0">
                      <a:pos x="connsiteX2" y="connsiteY2"/>
                    </a:cxn>
                  </a:cxnLst>
                  <a:rect l="l" t="t" r="r" b="b"/>
                  <a:pathLst>
                    <a:path w="550788" h="275394">
                      <a:moveTo>
                        <a:pt x="0" y="275394"/>
                      </a:moveTo>
                      <a:cubicBezTo>
                        <a:pt x="0" y="123298"/>
                        <a:pt x="123298" y="0"/>
                        <a:pt x="275394" y="0"/>
                      </a:cubicBezTo>
                      <a:cubicBezTo>
                        <a:pt x="427490" y="0"/>
                        <a:pt x="550788" y="123298"/>
                        <a:pt x="550788" y="275394"/>
                      </a:cubicBezTo>
                    </a:path>
                  </a:pathLst>
                </a:custGeom>
                <a:solidFill>
                  <a:schemeClr val="tx1"/>
                </a:solidFill>
                <a:ln w="19050"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6" name="Oval 95">
                  <a:extLst>
                    <a:ext uri="{FF2B5EF4-FFF2-40B4-BE49-F238E27FC236}">
                      <a16:creationId xmlns:a16="http://schemas.microsoft.com/office/drawing/2014/main" id="{204CA404-FEE7-449A-AE28-93691F78298B}"/>
                    </a:ext>
                  </a:extLst>
                </p:cNvPr>
                <p:cNvSpPr/>
                <p:nvPr/>
              </p:nvSpPr>
              <p:spPr bwMode="gray">
                <a:xfrm>
                  <a:off x="10820401" y="3657600"/>
                  <a:ext cx="304800" cy="304800"/>
                </a:xfrm>
                <a:prstGeom prst="ellipse">
                  <a:avLst/>
                </a:prstGeom>
                <a:solidFill>
                  <a:schemeClr val="tx1"/>
                </a:solidFill>
                <a:ln w="19050" algn="ctr">
                  <a:solidFill>
                    <a:srgbClr val="A7A8A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a:solidFill>
                      <a:schemeClr val="bg1"/>
                    </a:solidFill>
                  </a:endParaRPr>
                </a:p>
              </p:txBody>
            </p:sp>
          </p:grpSp>
        </p:grpSp>
        <p:sp>
          <p:nvSpPr>
            <p:cNvPr id="91" name="Oval 90">
              <a:extLst>
                <a:ext uri="{FF2B5EF4-FFF2-40B4-BE49-F238E27FC236}">
                  <a16:creationId xmlns:a16="http://schemas.microsoft.com/office/drawing/2014/main" id="{084463F4-DA65-45FA-90B0-880E962BE051}"/>
                </a:ext>
              </a:extLst>
            </p:cNvPr>
            <p:cNvSpPr/>
            <p:nvPr/>
          </p:nvSpPr>
          <p:spPr bwMode="gray">
            <a:xfrm>
              <a:off x="2615532" y="4172087"/>
              <a:ext cx="1133520" cy="1152382"/>
            </a:xfrm>
            <a:prstGeom prst="ellipse">
              <a:avLst/>
            </a:prstGeom>
            <a:noFill/>
            <a:ln w="12700" algn="ctr">
              <a:solidFill>
                <a:srgbClr val="A7A8AA"/>
              </a:solidFill>
              <a:prstDash val="sysDot"/>
              <a:miter lim="800000"/>
              <a:headEnd type="none"/>
              <a:tailEnd type="oval"/>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101" name="Group 100">
            <a:extLst>
              <a:ext uri="{FF2B5EF4-FFF2-40B4-BE49-F238E27FC236}">
                <a16:creationId xmlns:a16="http://schemas.microsoft.com/office/drawing/2014/main" id="{5CC6CDC7-9431-4694-BA8A-13AF670EF6BB}"/>
              </a:ext>
            </a:extLst>
          </p:cNvPr>
          <p:cNvGrpSpPr/>
          <p:nvPr/>
        </p:nvGrpSpPr>
        <p:grpSpPr>
          <a:xfrm rot="1635668">
            <a:off x="8798571" y="-532381"/>
            <a:ext cx="1625115" cy="8316857"/>
            <a:chOff x="9381594" y="402586"/>
            <a:chExt cx="1219202" cy="6239514"/>
          </a:xfrm>
        </p:grpSpPr>
        <p:sp>
          <p:nvSpPr>
            <p:cNvPr id="102" name="Freeform: Shape 101">
              <a:extLst>
                <a:ext uri="{FF2B5EF4-FFF2-40B4-BE49-F238E27FC236}">
                  <a16:creationId xmlns:a16="http://schemas.microsoft.com/office/drawing/2014/main" id="{0E417F64-BC0C-4C1E-BF20-0784E7DD6B43}"/>
                </a:ext>
              </a:extLst>
            </p:cNvPr>
            <p:cNvSpPr/>
            <p:nvPr/>
          </p:nvSpPr>
          <p:spPr bwMode="gray">
            <a:xfrm flipH="1">
              <a:off x="9390062" y="402586"/>
              <a:ext cx="1202266" cy="6189133"/>
            </a:xfrm>
            <a:custGeom>
              <a:avLst/>
              <a:gdLst>
                <a:gd name="connsiteX0" fmla="*/ 0 w 1202266"/>
                <a:gd name="connsiteY0" fmla="*/ 0 h 6189133"/>
                <a:gd name="connsiteX1" fmla="*/ 1193800 w 1202266"/>
                <a:gd name="connsiteY1" fmla="*/ 1219200 h 6189133"/>
                <a:gd name="connsiteX2" fmla="*/ 8466 w 1202266"/>
                <a:gd name="connsiteY2" fmla="*/ 2446866 h 6189133"/>
                <a:gd name="connsiteX3" fmla="*/ 1193800 w 1202266"/>
                <a:gd name="connsiteY3" fmla="*/ 3699933 h 6189133"/>
                <a:gd name="connsiteX4" fmla="*/ 4233 w 1202266"/>
                <a:gd name="connsiteY4" fmla="*/ 4948766 h 6189133"/>
                <a:gd name="connsiteX5" fmla="*/ 1202266 w 1202266"/>
                <a:gd name="connsiteY5" fmla="*/ 6189133 h 618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2266" h="6189133">
                  <a:moveTo>
                    <a:pt x="0" y="0"/>
                  </a:moveTo>
                  <a:cubicBezTo>
                    <a:pt x="596194" y="405694"/>
                    <a:pt x="1192389" y="811389"/>
                    <a:pt x="1193800" y="1219200"/>
                  </a:cubicBezTo>
                  <a:cubicBezTo>
                    <a:pt x="1195211" y="1627011"/>
                    <a:pt x="8466" y="2033411"/>
                    <a:pt x="8466" y="2446866"/>
                  </a:cubicBezTo>
                  <a:cubicBezTo>
                    <a:pt x="8466" y="2860321"/>
                    <a:pt x="1194505" y="3282950"/>
                    <a:pt x="1193800" y="3699933"/>
                  </a:cubicBezTo>
                  <a:cubicBezTo>
                    <a:pt x="1193095" y="4116916"/>
                    <a:pt x="2822" y="4533899"/>
                    <a:pt x="4233" y="4948766"/>
                  </a:cubicBezTo>
                  <a:cubicBezTo>
                    <a:pt x="5644" y="5363633"/>
                    <a:pt x="1023055" y="5974644"/>
                    <a:pt x="1202266" y="6189133"/>
                  </a:cubicBezTo>
                </a:path>
              </a:pathLst>
            </a:custGeom>
            <a:noFill/>
            <a:ln w="19050" algn="ctr">
              <a:solidFill>
                <a:schemeClr val="bg1">
                  <a:lumMod val="85000"/>
                </a:schemeClr>
              </a:solidFill>
              <a:miter lim="800000"/>
              <a:headEnd/>
              <a:tailEnd/>
            </a:ln>
          </p:spPr>
          <p:txBody>
            <a:bodyPr rtlCol="0" anchor="ctr"/>
            <a:lstStyle/>
            <a:p>
              <a:pPr algn="ctr"/>
              <a:endParaRPr lang="en-US"/>
            </a:p>
          </p:txBody>
        </p:sp>
        <p:sp>
          <p:nvSpPr>
            <p:cNvPr id="103" name="Freeform: Shape 102">
              <a:extLst>
                <a:ext uri="{FF2B5EF4-FFF2-40B4-BE49-F238E27FC236}">
                  <a16:creationId xmlns:a16="http://schemas.microsoft.com/office/drawing/2014/main" id="{9B19BD29-0B95-4C53-8207-36A72073A2F6}"/>
                </a:ext>
              </a:extLst>
            </p:cNvPr>
            <p:cNvSpPr/>
            <p:nvPr/>
          </p:nvSpPr>
          <p:spPr bwMode="gray">
            <a:xfrm>
              <a:off x="9381594" y="457200"/>
              <a:ext cx="1219202" cy="6184900"/>
            </a:xfrm>
            <a:custGeom>
              <a:avLst/>
              <a:gdLst>
                <a:gd name="connsiteX0" fmla="*/ 12701 w 1219202"/>
                <a:gd name="connsiteY0" fmla="*/ 0 h 6184900"/>
                <a:gd name="connsiteX1" fmla="*/ 1210734 w 1219202"/>
                <a:gd name="connsiteY1" fmla="*/ 1181100 h 6184900"/>
                <a:gd name="connsiteX2" fmla="*/ 1 w 1219202"/>
                <a:gd name="connsiteY2" fmla="*/ 2434166 h 6184900"/>
                <a:gd name="connsiteX3" fmla="*/ 1219201 w 1219202"/>
                <a:gd name="connsiteY3" fmla="*/ 3678766 h 6184900"/>
                <a:gd name="connsiteX4" fmla="*/ 8468 w 1219202"/>
                <a:gd name="connsiteY4" fmla="*/ 4936066 h 6184900"/>
                <a:gd name="connsiteX5" fmla="*/ 1210734 w 1219202"/>
                <a:gd name="connsiteY5" fmla="*/ 6184900 h 618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2" h="6184900">
                  <a:moveTo>
                    <a:pt x="12701" y="0"/>
                  </a:moveTo>
                  <a:cubicBezTo>
                    <a:pt x="612776" y="387703"/>
                    <a:pt x="1212851" y="775406"/>
                    <a:pt x="1210734" y="1181100"/>
                  </a:cubicBezTo>
                  <a:cubicBezTo>
                    <a:pt x="1208617" y="1586794"/>
                    <a:pt x="-1410" y="2017888"/>
                    <a:pt x="1" y="2434166"/>
                  </a:cubicBezTo>
                  <a:cubicBezTo>
                    <a:pt x="1412" y="2850444"/>
                    <a:pt x="1217790" y="3261783"/>
                    <a:pt x="1219201" y="3678766"/>
                  </a:cubicBezTo>
                  <a:cubicBezTo>
                    <a:pt x="1220612" y="4095749"/>
                    <a:pt x="9879" y="4518377"/>
                    <a:pt x="8468" y="4936066"/>
                  </a:cubicBezTo>
                  <a:cubicBezTo>
                    <a:pt x="7057" y="5353755"/>
                    <a:pt x="1311629" y="6074128"/>
                    <a:pt x="1210734" y="6184900"/>
                  </a:cubicBezTo>
                </a:path>
              </a:pathLst>
            </a:custGeom>
            <a:noFill/>
            <a:ln w="19050" algn="ctr">
              <a:solidFill>
                <a:schemeClr val="accent1"/>
              </a:solidFill>
              <a:miter lim="800000"/>
              <a:headEnd/>
              <a:tailEnd/>
            </a:ln>
          </p:spPr>
          <p:txBody>
            <a:bodyPr rtlCol="0" anchor="ctr"/>
            <a:lstStyle/>
            <a:p>
              <a:pPr algn="ctr"/>
              <a:endParaRPr lang="en-US"/>
            </a:p>
          </p:txBody>
        </p:sp>
        <p:cxnSp>
          <p:nvCxnSpPr>
            <p:cNvPr id="104" name="Straight Connector 103">
              <a:extLst>
                <a:ext uri="{FF2B5EF4-FFF2-40B4-BE49-F238E27FC236}">
                  <a16:creationId xmlns:a16="http://schemas.microsoft.com/office/drawing/2014/main" id="{764D4DF7-9711-4BC5-8738-96C2F740CF3B}"/>
                </a:ext>
              </a:extLst>
            </p:cNvPr>
            <p:cNvCxnSpPr>
              <a:cxnSpLocks/>
            </p:cNvCxnSpPr>
            <p:nvPr/>
          </p:nvCxnSpPr>
          <p:spPr>
            <a:xfrm>
              <a:off x="9770269" y="1014943"/>
              <a:ext cx="416982" cy="0"/>
            </a:xfrm>
            <a:prstGeom prst="line">
              <a:avLst/>
            </a:prstGeom>
            <a:noFill/>
            <a:ln w="19050" algn="ctr">
              <a:solidFill>
                <a:schemeClr val="bg1">
                  <a:lumMod val="85000"/>
                </a:schemeClr>
              </a:solidFill>
              <a:miter lim="800000"/>
              <a:headEnd type="oval"/>
              <a:tailEnd type="oval"/>
            </a:ln>
          </p:spPr>
        </p:cxnSp>
        <p:cxnSp>
          <p:nvCxnSpPr>
            <p:cNvPr id="105" name="Straight Connector 104">
              <a:extLst>
                <a:ext uri="{FF2B5EF4-FFF2-40B4-BE49-F238E27FC236}">
                  <a16:creationId xmlns:a16="http://schemas.microsoft.com/office/drawing/2014/main" id="{8F184E5F-4138-457A-AAA5-CB7E4E0C3C11}"/>
                </a:ext>
              </a:extLst>
            </p:cNvPr>
            <p:cNvCxnSpPr>
              <a:cxnSpLocks/>
            </p:cNvCxnSpPr>
            <p:nvPr/>
          </p:nvCxnSpPr>
          <p:spPr>
            <a:xfrm>
              <a:off x="9565481" y="1233674"/>
              <a:ext cx="853679" cy="0"/>
            </a:xfrm>
            <a:prstGeom prst="line">
              <a:avLst/>
            </a:prstGeom>
            <a:noFill/>
            <a:ln w="19050" algn="ctr">
              <a:solidFill>
                <a:schemeClr val="accent1"/>
              </a:solidFill>
              <a:miter lim="800000"/>
              <a:headEnd type="oval"/>
              <a:tailEnd type="oval"/>
            </a:ln>
          </p:spPr>
        </p:cxnSp>
        <p:cxnSp>
          <p:nvCxnSpPr>
            <p:cNvPr id="106" name="Straight Connector 105">
              <a:extLst>
                <a:ext uri="{FF2B5EF4-FFF2-40B4-BE49-F238E27FC236}">
                  <a16:creationId xmlns:a16="http://schemas.microsoft.com/office/drawing/2014/main" id="{EE8805D2-BC0F-4985-8885-3F04C62539D7}"/>
                </a:ext>
              </a:extLst>
            </p:cNvPr>
            <p:cNvCxnSpPr>
              <a:cxnSpLocks/>
            </p:cNvCxnSpPr>
            <p:nvPr/>
          </p:nvCxnSpPr>
          <p:spPr>
            <a:xfrm>
              <a:off x="9435703" y="1452405"/>
              <a:ext cx="1113235" cy="0"/>
            </a:xfrm>
            <a:prstGeom prst="line">
              <a:avLst/>
            </a:prstGeom>
            <a:noFill/>
            <a:ln w="19050" algn="ctr">
              <a:solidFill>
                <a:schemeClr val="bg1">
                  <a:lumMod val="85000"/>
                </a:schemeClr>
              </a:solidFill>
              <a:miter lim="800000"/>
              <a:headEnd type="oval"/>
              <a:tailEnd type="oval"/>
            </a:ln>
          </p:spPr>
        </p:cxnSp>
        <p:cxnSp>
          <p:nvCxnSpPr>
            <p:cNvPr id="107" name="Straight Connector 106">
              <a:extLst>
                <a:ext uri="{FF2B5EF4-FFF2-40B4-BE49-F238E27FC236}">
                  <a16:creationId xmlns:a16="http://schemas.microsoft.com/office/drawing/2014/main" id="{83ECD08D-57A3-42C1-90D6-73F20D43FCCF}"/>
                </a:ext>
              </a:extLst>
            </p:cNvPr>
            <p:cNvCxnSpPr>
              <a:cxnSpLocks/>
            </p:cNvCxnSpPr>
            <p:nvPr/>
          </p:nvCxnSpPr>
          <p:spPr>
            <a:xfrm>
              <a:off x="9411891" y="1671136"/>
              <a:ext cx="1177528" cy="0"/>
            </a:xfrm>
            <a:prstGeom prst="line">
              <a:avLst/>
            </a:prstGeom>
            <a:noFill/>
            <a:ln w="19050" algn="ctr">
              <a:solidFill>
                <a:schemeClr val="accent1"/>
              </a:solidFill>
              <a:miter lim="800000"/>
              <a:headEnd type="oval"/>
              <a:tailEnd type="oval"/>
            </a:ln>
          </p:spPr>
        </p:cxnSp>
        <p:cxnSp>
          <p:nvCxnSpPr>
            <p:cNvPr id="108" name="Straight Connector 107">
              <a:extLst>
                <a:ext uri="{FF2B5EF4-FFF2-40B4-BE49-F238E27FC236}">
                  <a16:creationId xmlns:a16="http://schemas.microsoft.com/office/drawing/2014/main" id="{E685DCB9-93A8-4951-8965-D45CE0462319}"/>
                </a:ext>
              </a:extLst>
            </p:cNvPr>
            <p:cNvCxnSpPr>
              <a:cxnSpLocks/>
            </p:cNvCxnSpPr>
            <p:nvPr/>
          </p:nvCxnSpPr>
          <p:spPr>
            <a:xfrm>
              <a:off x="9542859" y="1889867"/>
              <a:ext cx="910829" cy="0"/>
            </a:xfrm>
            <a:prstGeom prst="line">
              <a:avLst/>
            </a:prstGeom>
            <a:noFill/>
            <a:ln w="19050" algn="ctr">
              <a:solidFill>
                <a:schemeClr val="bg1">
                  <a:lumMod val="85000"/>
                </a:schemeClr>
              </a:solidFill>
              <a:miter lim="800000"/>
              <a:headEnd type="oval"/>
              <a:tailEnd type="oval"/>
            </a:ln>
          </p:spPr>
        </p:cxnSp>
        <p:cxnSp>
          <p:nvCxnSpPr>
            <p:cNvPr id="109" name="Straight Connector 108">
              <a:extLst>
                <a:ext uri="{FF2B5EF4-FFF2-40B4-BE49-F238E27FC236}">
                  <a16:creationId xmlns:a16="http://schemas.microsoft.com/office/drawing/2014/main" id="{34D8391A-B53B-4309-BA40-97A3E878A976}"/>
                </a:ext>
              </a:extLst>
            </p:cNvPr>
            <p:cNvCxnSpPr/>
            <p:nvPr/>
          </p:nvCxnSpPr>
          <p:spPr>
            <a:xfrm>
              <a:off x="9816307" y="2108597"/>
              <a:ext cx="392112" cy="0"/>
            </a:xfrm>
            <a:prstGeom prst="line">
              <a:avLst/>
            </a:prstGeom>
            <a:noFill/>
            <a:ln w="19050" algn="ctr">
              <a:solidFill>
                <a:schemeClr val="accent1"/>
              </a:solidFill>
              <a:miter lim="800000"/>
              <a:headEnd type="oval"/>
              <a:tailEnd type="oval"/>
            </a:ln>
          </p:spPr>
        </p:cxnSp>
        <p:cxnSp>
          <p:nvCxnSpPr>
            <p:cNvPr id="110" name="Straight Connector 109">
              <a:extLst>
                <a:ext uri="{FF2B5EF4-FFF2-40B4-BE49-F238E27FC236}">
                  <a16:creationId xmlns:a16="http://schemas.microsoft.com/office/drawing/2014/main" id="{285B806D-CE0C-4C48-A220-41923057D429}"/>
                </a:ext>
              </a:extLst>
            </p:cNvPr>
            <p:cNvCxnSpPr>
              <a:cxnSpLocks/>
            </p:cNvCxnSpPr>
            <p:nvPr/>
          </p:nvCxnSpPr>
          <p:spPr>
            <a:xfrm>
              <a:off x="9845344" y="3581400"/>
              <a:ext cx="228600" cy="0"/>
            </a:xfrm>
            <a:prstGeom prst="line">
              <a:avLst/>
            </a:prstGeom>
            <a:noFill/>
            <a:ln w="19050" algn="ctr">
              <a:solidFill>
                <a:schemeClr val="bg1">
                  <a:lumMod val="85000"/>
                </a:schemeClr>
              </a:solidFill>
              <a:miter lim="800000"/>
              <a:headEnd type="oval"/>
              <a:tailEnd type="oval"/>
            </a:ln>
          </p:spPr>
        </p:cxnSp>
        <p:cxnSp>
          <p:nvCxnSpPr>
            <p:cNvPr id="111" name="Straight Connector 110">
              <a:extLst>
                <a:ext uri="{FF2B5EF4-FFF2-40B4-BE49-F238E27FC236}">
                  <a16:creationId xmlns:a16="http://schemas.microsoft.com/office/drawing/2014/main" id="{73FF63FF-4032-46E2-9F84-475BAF4CD39C}"/>
                </a:ext>
              </a:extLst>
            </p:cNvPr>
            <p:cNvCxnSpPr>
              <a:cxnSpLocks/>
            </p:cNvCxnSpPr>
            <p:nvPr/>
          </p:nvCxnSpPr>
          <p:spPr>
            <a:xfrm>
              <a:off x="9599613" y="3763963"/>
              <a:ext cx="749300" cy="0"/>
            </a:xfrm>
            <a:prstGeom prst="line">
              <a:avLst/>
            </a:prstGeom>
            <a:noFill/>
            <a:ln w="19050" algn="ctr">
              <a:solidFill>
                <a:schemeClr val="accent1"/>
              </a:solidFill>
              <a:miter lim="800000"/>
              <a:headEnd type="oval"/>
              <a:tailEnd type="oval"/>
            </a:ln>
          </p:spPr>
        </p:cxnSp>
        <p:cxnSp>
          <p:nvCxnSpPr>
            <p:cNvPr id="112" name="Straight Connector 111">
              <a:extLst>
                <a:ext uri="{FF2B5EF4-FFF2-40B4-BE49-F238E27FC236}">
                  <a16:creationId xmlns:a16="http://schemas.microsoft.com/office/drawing/2014/main" id="{687507D6-C449-4C6B-8E38-1110AC055F61}"/>
                </a:ext>
              </a:extLst>
            </p:cNvPr>
            <p:cNvCxnSpPr>
              <a:cxnSpLocks/>
            </p:cNvCxnSpPr>
            <p:nvPr/>
          </p:nvCxnSpPr>
          <p:spPr>
            <a:xfrm>
              <a:off x="9442846" y="3987112"/>
              <a:ext cx="1113235" cy="0"/>
            </a:xfrm>
            <a:prstGeom prst="line">
              <a:avLst/>
            </a:prstGeom>
            <a:noFill/>
            <a:ln w="19050" algn="ctr">
              <a:solidFill>
                <a:schemeClr val="bg1">
                  <a:lumMod val="85000"/>
                </a:schemeClr>
              </a:solidFill>
              <a:miter lim="800000"/>
              <a:headEnd type="oval"/>
              <a:tailEnd type="oval"/>
            </a:ln>
          </p:spPr>
        </p:cxnSp>
        <p:cxnSp>
          <p:nvCxnSpPr>
            <p:cNvPr id="113" name="Straight Connector 112">
              <a:extLst>
                <a:ext uri="{FF2B5EF4-FFF2-40B4-BE49-F238E27FC236}">
                  <a16:creationId xmlns:a16="http://schemas.microsoft.com/office/drawing/2014/main" id="{B523FA88-7AD5-4258-87CA-326CAC800A5D}"/>
                </a:ext>
              </a:extLst>
            </p:cNvPr>
            <p:cNvCxnSpPr>
              <a:cxnSpLocks/>
            </p:cNvCxnSpPr>
            <p:nvPr/>
          </p:nvCxnSpPr>
          <p:spPr>
            <a:xfrm>
              <a:off x="9419034" y="4205843"/>
              <a:ext cx="1177528" cy="0"/>
            </a:xfrm>
            <a:prstGeom prst="line">
              <a:avLst/>
            </a:prstGeom>
            <a:noFill/>
            <a:ln w="19050" algn="ctr">
              <a:solidFill>
                <a:schemeClr val="accent1"/>
              </a:solidFill>
              <a:miter lim="800000"/>
              <a:headEnd type="oval"/>
              <a:tailEnd type="oval"/>
            </a:ln>
          </p:spPr>
        </p:cxnSp>
        <p:cxnSp>
          <p:nvCxnSpPr>
            <p:cNvPr id="114" name="Straight Connector 113">
              <a:extLst>
                <a:ext uri="{FF2B5EF4-FFF2-40B4-BE49-F238E27FC236}">
                  <a16:creationId xmlns:a16="http://schemas.microsoft.com/office/drawing/2014/main" id="{C01677C6-3F98-49DB-A9D9-1493718A31FB}"/>
                </a:ext>
              </a:extLst>
            </p:cNvPr>
            <p:cNvCxnSpPr>
              <a:cxnSpLocks/>
            </p:cNvCxnSpPr>
            <p:nvPr/>
          </p:nvCxnSpPr>
          <p:spPr>
            <a:xfrm>
              <a:off x="9601200" y="4419600"/>
              <a:ext cx="835753" cy="0"/>
            </a:xfrm>
            <a:prstGeom prst="line">
              <a:avLst/>
            </a:prstGeom>
            <a:noFill/>
            <a:ln w="19050" algn="ctr">
              <a:solidFill>
                <a:schemeClr val="bg1">
                  <a:lumMod val="85000"/>
                </a:schemeClr>
              </a:solidFill>
              <a:miter lim="800000"/>
              <a:headEnd type="oval"/>
              <a:tailEnd type="oval"/>
            </a:ln>
          </p:spPr>
        </p:cxnSp>
        <p:cxnSp>
          <p:nvCxnSpPr>
            <p:cNvPr id="115" name="Straight Connector 114">
              <a:extLst>
                <a:ext uri="{FF2B5EF4-FFF2-40B4-BE49-F238E27FC236}">
                  <a16:creationId xmlns:a16="http://schemas.microsoft.com/office/drawing/2014/main" id="{A7055DBD-D57F-49DC-B950-AA78CB3BCD3E}"/>
                </a:ext>
              </a:extLst>
            </p:cNvPr>
            <p:cNvCxnSpPr/>
            <p:nvPr/>
          </p:nvCxnSpPr>
          <p:spPr>
            <a:xfrm>
              <a:off x="9822656" y="4605338"/>
              <a:ext cx="392112" cy="0"/>
            </a:xfrm>
            <a:prstGeom prst="line">
              <a:avLst/>
            </a:prstGeom>
            <a:noFill/>
            <a:ln w="19050" algn="ctr">
              <a:solidFill>
                <a:schemeClr val="accent1"/>
              </a:solidFill>
              <a:miter lim="800000"/>
              <a:headEnd type="oval"/>
              <a:tailEnd type="oval"/>
            </a:ln>
          </p:spPr>
        </p:cxnSp>
        <p:cxnSp>
          <p:nvCxnSpPr>
            <p:cNvPr id="116" name="Straight Connector 115">
              <a:extLst>
                <a:ext uri="{FF2B5EF4-FFF2-40B4-BE49-F238E27FC236}">
                  <a16:creationId xmlns:a16="http://schemas.microsoft.com/office/drawing/2014/main" id="{01D8BFB1-07A2-4776-972A-84E7C35F55DF}"/>
                </a:ext>
              </a:extLst>
            </p:cNvPr>
            <p:cNvCxnSpPr>
              <a:cxnSpLocks/>
            </p:cNvCxnSpPr>
            <p:nvPr/>
          </p:nvCxnSpPr>
          <p:spPr>
            <a:xfrm>
              <a:off x="9845344" y="4858768"/>
              <a:ext cx="346842" cy="0"/>
            </a:xfrm>
            <a:prstGeom prst="line">
              <a:avLst/>
            </a:prstGeom>
            <a:noFill/>
            <a:ln w="19050" algn="ctr">
              <a:solidFill>
                <a:schemeClr val="bg1">
                  <a:lumMod val="85000"/>
                </a:schemeClr>
              </a:solidFill>
              <a:miter lim="800000"/>
              <a:headEnd type="oval"/>
              <a:tailEnd type="oval"/>
            </a:ln>
          </p:spPr>
        </p:cxnSp>
        <p:cxnSp>
          <p:nvCxnSpPr>
            <p:cNvPr id="117" name="Straight Connector 116">
              <a:extLst>
                <a:ext uri="{FF2B5EF4-FFF2-40B4-BE49-F238E27FC236}">
                  <a16:creationId xmlns:a16="http://schemas.microsoft.com/office/drawing/2014/main" id="{51297174-FD2C-4F47-B5B0-C0D9EB3F13D4}"/>
                </a:ext>
              </a:extLst>
            </p:cNvPr>
            <p:cNvCxnSpPr>
              <a:cxnSpLocks/>
            </p:cNvCxnSpPr>
            <p:nvPr/>
          </p:nvCxnSpPr>
          <p:spPr>
            <a:xfrm>
              <a:off x="9570416" y="5077499"/>
              <a:ext cx="853679" cy="0"/>
            </a:xfrm>
            <a:prstGeom prst="line">
              <a:avLst/>
            </a:prstGeom>
            <a:noFill/>
            <a:ln w="19050" algn="ctr">
              <a:solidFill>
                <a:schemeClr val="accent1"/>
              </a:solidFill>
              <a:miter lim="800000"/>
              <a:headEnd type="oval"/>
              <a:tailEnd type="oval"/>
            </a:ln>
          </p:spPr>
        </p:cxnSp>
        <p:cxnSp>
          <p:nvCxnSpPr>
            <p:cNvPr id="118" name="Straight Connector 117">
              <a:extLst>
                <a:ext uri="{FF2B5EF4-FFF2-40B4-BE49-F238E27FC236}">
                  <a16:creationId xmlns:a16="http://schemas.microsoft.com/office/drawing/2014/main" id="{B854A4C3-467F-4DEC-8A08-3F8A61CD96A2}"/>
                </a:ext>
              </a:extLst>
            </p:cNvPr>
            <p:cNvCxnSpPr>
              <a:cxnSpLocks/>
            </p:cNvCxnSpPr>
            <p:nvPr/>
          </p:nvCxnSpPr>
          <p:spPr>
            <a:xfrm>
              <a:off x="9414272" y="5291138"/>
              <a:ext cx="1169194" cy="8334"/>
            </a:xfrm>
            <a:prstGeom prst="line">
              <a:avLst/>
            </a:prstGeom>
            <a:noFill/>
            <a:ln w="19050" algn="ctr">
              <a:solidFill>
                <a:schemeClr val="bg1">
                  <a:lumMod val="85000"/>
                </a:schemeClr>
              </a:solidFill>
              <a:miter lim="800000"/>
              <a:headEnd type="oval"/>
              <a:tailEnd type="oval"/>
            </a:ln>
          </p:spPr>
        </p:cxnSp>
        <p:cxnSp>
          <p:nvCxnSpPr>
            <p:cNvPr id="187" name="Straight Connector 186">
              <a:extLst>
                <a:ext uri="{FF2B5EF4-FFF2-40B4-BE49-F238E27FC236}">
                  <a16:creationId xmlns:a16="http://schemas.microsoft.com/office/drawing/2014/main" id="{5C4EFD38-828E-4CF5-92EA-AB3C2FFECC57}"/>
                </a:ext>
              </a:extLst>
            </p:cNvPr>
            <p:cNvCxnSpPr>
              <a:cxnSpLocks/>
            </p:cNvCxnSpPr>
            <p:nvPr/>
          </p:nvCxnSpPr>
          <p:spPr>
            <a:xfrm>
              <a:off x="9416826" y="5514961"/>
              <a:ext cx="1132112" cy="0"/>
            </a:xfrm>
            <a:prstGeom prst="line">
              <a:avLst/>
            </a:prstGeom>
            <a:noFill/>
            <a:ln w="19050" algn="ctr">
              <a:solidFill>
                <a:schemeClr val="accent1"/>
              </a:solidFill>
              <a:miter lim="800000"/>
              <a:headEnd type="oval"/>
              <a:tailEnd type="oval"/>
            </a:ln>
          </p:spPr>
        </p:cxnSp>
        <p:cxnSp>
          <p:nvCxnSpPr>
            <p:cNvPr id="188" name="Straight Connector 187">
              <a:extLst>
                <a:ext uri="{FF2B5EF4-FFF2-40B4-BE49-F238E27FC236}">
                  <a16:creationId xmlns:a16="http://schemas.microsoft.com/office/drawing/2014/main" id="{A98E5E02-3DB0-4931-BB70-091A63FC70A1}"/>
                </a:ext>
              </a:extLst>
            </p:cNvPr>
            <p:cNvCxnSpPr>
              <a:cxnSpLocks/>
            </p:cNvCxnSpPr>
            <p:nvPr/>
          </p:nvCxnSpPr>
          <p:spPr>
            <a:xfrm>
              <a:off x="9567863" y="5731669"/>
              <a:ext cx="822721" cy="4762"/>
            </a:xfrm>
            <a:prstGeom prst="line">
              <a:avLst/>
            </a:prstGeom>
            <a:noFill/>
            <a:ln w="19050" algn="ctr">
              <a:solidFill>
                <a:schemeClr val="bg1">
                  <a:lumMod val="85000"/>
                </a:schemeClr>
              </a:solidFill>
              <a:miter lim="800000"/>
              <a:headEnd type="oval"/>
              <a:tailEnd type="oval"/>
            </a:ln>
          </p:spPr>
        </p:cxnSp>
        <p:cxnSp>
          <p:nvCxnSpPr>
            <p:cNvPr id="189" name="Straight Connector 188">
              <a:extLst>
                <a:ext uri="{FF2B5EF4-FFF2-40B4-BE49-F238E27FC236}">
                  <a16:creationId xmlns:a16="http://schemas.microsoft.com/office/drawing/2014/main" id="{3F536546-2F4F-41C0-921B-1192F72ACB5F}"/>
                </a:ext>
              </a:extLst>
            </p:cNvPr>
            <p:cNvCxnSpPr>
              <a:cxnSpLocks/>
            </p:cNvCxnSpPr>
            <p:nvPr/>
          </p:nvCxnSpPr>
          <p:spPr>
            <a:xfrm flipV="1">
              <a:off x="9800034" y="5943600"/>
              <a:ext cx="370482" cy="1191"/>
            </a:xfrm>
            <a:prstGeom prst="line">
              <a:avLst/>
            </a:prstGeom>
            <a:noFill/>
            <a:ln w="19050" algn="ctr">
              <a:solidFill>
                <a:schemeClr val="accent1"/>
              </a:solidFill>
              <a:miter lim="800000"/>
              <a:headEnd type="oval"/>
              <a:tailEnd type="oval"/>
            </a:ln>
          </p:spPr>
        </p:cxnSp>
        <p:cxnSp>
          <p:nvCxnSpPr>
            <p:cNvPr id="190" name="Straight Connector 189">
              <a:extLst>
                <a:ext uri="{FF2B5EF4-FFF2-40B4-BE49-F238E27FC236}">
                  <a16:creationId xmlns:a16="http://schemas.microsoft.com/office/drawing/2014/main" id="{6CC981F1-D7D7-4C56-9CB8-0087C16FE7E6}"/>
                </a:ext>
              </a:extLst>
            </p:cNvPr>
            <p:cNvCxnSpPr>
              <a:cxnSpLocks/>
            </p:cNvCxnSpPr>
            <p:nvPr/>
          </p:nvCxnSpPr>
          <p:spPr>
            <a:xfrm>
              <a:off x="9877425" y="2327275"/>
              <a:ext cx="274638" cy="4763"/>
            </a:xfrm>
            <a:prstGeom prst="line">
              <a:avLst/>
            </a:prstGeom>
            <a:noFill/>
            <a:ln w="19050" algn="ctr">
              <a:solidFill>
                <a:schemeClr val="bg1">
                  <a:lumMod val="85000"/>
                </a:schemeClr>
              </a:solidFill>
              <a:miter lim="800000"/>
              <a:headEnd type="oval"/>
              <a:tailEnd type="oval"/>
            </a:ln>
          </p:spPr>
        </p:cxnSp>
        <p:cxnSp>
          <p:nvCxnSpPr>
            <p:cNvPr id="191" name="Straight Connector 190">
              <a:extLst>
                <a:ext uri="{FF2B5EF4-FFF2-40B4-BE49-F238E27FC236}">
                  <a16:creationId xmlns:a16="http://schemas.microsoft.com/office/drawing/2014/main" id="{259B53AF-14D7-447B-835E-FF9DA6D6B672}"/>
                </a:ext>
              </a:extLst>
            </p:cNvPr>
            <p:cNvCxnSpPr>
              <a:cxnSpLocks/>
            </p:cNvCxnSpPr>
            <p:nvPr/>
          </p:nvCxnSpPr>
          <p:spPr>
            <a:xfrm>
              <a:off x="9604375" y="2533650"/>
              <a:ext cx="798050" cy="2328"/>
            </a:xfrm>
            <a:prstGeom prst="line">
              <a:avLst/>
            </a:prstGeom>
            <a:noFill/>
            <a:ln w="19050" algn="ctr">
              <a:solidFill>
                <a:schemeClr val="accent1"/>
              </a:solidFill>
              <a:miter lim="800000"/>
              <a:headEnd type="oval"/>
              <a:tailEnd type="oval"/>
            </a:ln>
          </p:spPr>
        </p:cxnSp>
        <p:cxnSp>
          <p:nvCxnSpPr>
            <p:cNvPr id="192" name="Straight Connector 191">
              <a:extLst>
                <a:ext uri="{FF2B5EF4-FFF2-40B4-BE49-F238E27FC236}">
                  <a16:creationId xmlns:a16="http://schemas.microsoft.com/office/drawing/2014/main" id="{4D841D7E-208E-4E82-B523-FDEE81CBFB26}"/>
                </a:ext>
              </a:extLst>
            </p:cNvPr>
            <p:cNvCxnSpPr>
              <a:cxnSpLocks/>
            </p:cNvCxnSpPr>
            <p:nvPr/>
          </p:nvCxnSpPr>
          <p:spPr>
            <a:xfrm flipV="1">
              <a:off x="9418968" y="2746375"/>
              <a:ext cx="1139495" cy="8334"/>
            </a:xfrm>
            <a:prstGeom prst="line">
              <a:avLst/>
            </a:prstGeom>
            <a:noFill/>
            <a:ln w="19050" algn="ctr">
              <a:solidFill>
                <a:schemeClr val="bg1">
                  <a:lumMod val="85000"/>
                </a:schemeClr>
              </a:solidFill>
              <a:miter lim="800000"/>
              <a:headEnd type="oval"/>
              <a:tailEnd type="oval"/>
            </a:ln>
          </p:spPr>
        </p:cxnSp>
        <p:cxnSp>
          <p:nvCxnSpPr>
            <p:cNvPr id="193" name="Straight Connector 192">
              <a:extLst>
                <a:ext uri="{FF2B5EF4-FFF2-40B4-BE49-F238E27FC236}">
                  <a16:creationId xmlns:a16="http://schemas.microsoft.com/office/drawing/2014/main" id="{864F80C9-7A5D-43C4-8AB5-D5AAE928303A}"/>
                </a:ext>
              </a:extLst>
            </p:cNvPr>
            <p:cNvCxnSpPr>
              <a:cxnSpLocks/>
            </p:cNvCxnSpPr>
            <p:nvPr/>
          </p:nvCxnSpPr>
          <p:spPr>
            <a:xfrm flipV="1">
              <a:off x="9395156" y="2971800"/>
              <a:ext cx="1153782" cy="1640"/>
            </a:xfrm>
            <a:prstGeom prst="line">
              <a:avLst/>
            </a:prstGeom>
            <a:noFill/>
            <a:ln w="19050" algn="ctr">
              <a:solidFill>
                <a:schemeClr val="accent1"/>
              </a:solidFill>
              <a:miter lim="800000"/>
              <a:headEnd type="oval"/>
              <a:tailEnd type="oval"/>
            </a:ln>
          </p:spPr>
        </p:cxnSp>
        <p:cxnSp>
          <p:nvCxnSpPr>
            <p:cNvPr id="194" name="Straight Connector 193">
              <a:extLst>
                <a:ext uri="{FF2B5EF4-FFF2-40B4-BE49-F238E27FC236}">
                  <a16:creationId xmlns:a16="http://schemas.microsoft.com/office/drawing/2014/main" id="{FD309875-EC9A-4267-B5C1-49597D3BCC42}"/>
                </a:ext>
              </a:extLst>
            </p:cNvPr>
            <p:cNvCxnSpPr>
              <a:cxnSpLocks/>
            </p:cNvCxnSpPr>
            <p:nvPr/>
          </p:nvCxnSpPr>
          <p:spPr>
            <a:xfrm>
              <a:off x="9547225" y="3186113"/>
              <a:ext cx="820738" cy="4762"/>
            </a:xfrm>
            <a:prstGeom prst="line">
              <a:avLst/>
            </a:prstGeom>
            <a:noFill/>
            <a:ln w="19050" algn="ctr">
              <a:solidFill>
                <a:schemeClr val="bg1">
                  <a:lumMod val="85000"/>
                </a:schemeClr>
              </a:solidFill>
              <a:miter lim="800000"/>
              <a:headEnd type="oval"/>
              <a:tailEnd type="oval"/>
            </a:ln>
          </p:spPr>
        </p:cxnSp>
        <p:cxnSp>
          <p:nvCxnSpPr>
            <p:cNvPr id="195" name="Straight Connector 194">
              <a:extLst>
                <a:ext uri="{FF2B5EF4-FFF2-40B4-BE49-F238E27FC236}">
                  <a16:creationId xmlns:a16="http://schemas.microsoft.com/office/drawing/2014/main" id="{EF26D51E-3895-4F1D-9D42-CB278C3CD82C}"/>
                </a:ext>
              </a:extLst>
            </p:cNvPr>
            <p:cNvCxnSpPr>
              <a:cxnSpLocks/>
            </p:cNvCxnSpPr>
            <p:nvPr/>
          </p:nvCxnSpPr>
          <p:spPr>
            <a:xfrm>
              <a:off x="9790113" y="3386138"/>
              <a:ext cx="319087" cy="1587"/>
            </a:xfrm>
            <a:prstGeom prst="line">
              <a:avLst/>
            </a:prstGeom>
            <a:noFill/>
            <a:ln w="19050" algn="ctr">
              <a:solidFill>
                <a:schemeClr val="accent1"/>
              </a:solidFill>
              <a:miter lim="800000"/>
              <a:headEnd type="oval"/>
              <a:tailEnd type="oval"/>
            </a:ln>
          </p:spPr>
        </p:cxnSp>
        <p:cxnSp>
          <p:nvCxnSpPr>
            <p:cNvPr id="196" name="Straight Connector 195">
              <a:extLst>
                <a:ext uri="{FF2B5EF4-FFF2-40B4-BE49-F238E27FC236}">
                  <a16:creationId xmlns:a16="http://schemas.microsoft.com/office/drawing/2014/main" id="{2402D575-94CA-48E0-BDA6-7D72F0B5A31A}"/>
                </a:ext>
              </a:extLst>
            </p:cNvPr>
            <p:cNvCxnSpPr>
              <a:cxnSpLocks/>
            </p:cNvCxnSpPr>
            <p:nvPr/>
          </p:nvCxnSpPr>
          <p:spPr>
            <a:xfrm flipV="1">
              <a:off x="9491596" y="527050"/>
              <a:ext cx="906529" cy="6350"/>
            </a:xfrm>
            <a:prstGeom prst="line">
              <a:avLst/>
            </a:prstGeom>
            <a:noFill/>
            <a:ln w="19050" algn="ctr">
              <a:solidFill>
                <a:schemeClr val="bg1">
                  <a:lumMod val="85000"/>
                </a:schemeClr>
              </a:solidFill>
              <a:miter lim="800000"/>
              <a:headEnd type="oval"/>
              <a:tailEnd type="oval"/>
            </a:ln>
          </p:spPr>
        </p:cxnSp>
        <p:cxnSp>
          <p:nvCxnSpPr>
            <p:cNvPr id="197" name="Straight Connector 196">
              <a:extLst>
                <a:ext uri="{FF2B5EF4-FFF2-40B4-BE49-F238E27FC236}">
                  <a16:creationId xmlns:a16="http://schemas.microsoft.com/office/drawing/2014/main" id="{FE57ECD4-7D25-407F-ADE4-8FE2091E0723}"/>
                </a:ext>
              </a:extLst>
            </p:cNvPr>
            <p:cNvCxnSpPr/>
            <p:nvPr/>
          </p:nvCxnSpPr>
          <p:spPr>
            <a:xfrm>
              <a:off x="9765308" y="705227"/>
              <a:ext cx="392112" cy="0"/>
            </a:xfrm>
            <a:prstGeom prst="line">
              <a:avLst/>
            </a:prstGeom>
            <a:noFill/>
            <a:ln w="19050" algn="ctr">
              <a:solidFill>
                <a:schemeClr val="accent1"/>
              </a:solidFill>
              <a:miter lim="800000"/>
              <a:headEnd type="oval"/>
              <a:tailEnd type="oval"/>
            </a:ln>
          </p:spPr>
        </p:cxnSp>
        <p:cxnSp>
          <p:nvCxnSpPr>
            <p:cNvPr id="198" name="Straight Connector 197">
              <a:extLst>
                <a:ext uri="{FF2B5EF4-FFF2-40B4-BE49-F238E27FC236}">
                  <a16:creationId xmlns:a16="http://schemas.microsoft.com/office/drawing/2014/main" id="{80C02633-381E-4103-B4B9-07F231E6FAD8}"/>
                </a:ext>
              </a:extLst>
            </p:cNvPr>
            <p:cNvCxnSpPr>
              <a:cxnSpLocks/>
            </p:cNvCxnSpPr>
            <p:nvPr/>
          </p:nvCxnSpPr>
          <p:spPr>
            <a:xfrm flipV="1">
              <a:off x="9530424" y="6472238"/>
              <a:ext cx="906529" cy="6350"/>
            </a:xfrm>
            <a:prstGeom prst="line">
              <a:avLst/>
            </a:prstGeom>
            <a:noFill/>
            <a:ln w="19050" algn="ctr">
              <a:solidFill>
                <a:schemeClr val="accent1"/>
              </a:solidFill>
              <a:miter lim="800000"/>
              <a:headEnd type="oval"/>
              <a:tailEnd type="oval"/>
            </a:ln>
          </p:spPr>
        </p:cxnSp>
        <p:cxnSp>
          <p:nvCxnSpPr>
            <p:cNvPr id="199" name="Straight Connector 198">
              <a:extLst>
                <a:ext uri="{FF2B5EF4-FFF2-40B4-BE49-F238E27FC236}">
                  <a16:creationId xmlns:a16="http://schemas.microsoft.com/office/drawing/2014/main" id="{73665CEA-587D-407E-BED5-1FD90D7F30C9}"/>
                </a:ext>
              </a:extLst>
            </p:cNvPr>
            <p:cNvCxnSpPr/>
            <p:nvPr/>
          </p:nvCxnSpPr>
          <p:spPr>
            <a:xfrm>
              <a:off x="9790113" y="6248400"/>
              <a:ext cx="392112" cy="0"/>
            </a:xfrm>
            <a:prstGeom prst="line">
              <a:avLst/>
            </a:prstGeom>
            <a:noFill/>
            <a:ln w="19050" algn="ctr">
              <a:solidFill>
                <a:schemeClr val="bg1">
                  <a:lumMod val="85000"/>
                </a:schemeClr>
              </a:solidFill>
              <a:miter lim="800000"/>
              <a:headEnd type="oval"/>
              <a:tailEnd type="oval"/>
            </a:ln>
          </p:spPr>
        </p:cxnSp>
      </p:grpSp>
      <p:grpSp>
        <p:nvGrpSpPr>
          <p:cNvPr id="2" name="Group 1"/>
          <p:cNvGrpSpPr/>
          <p:nvPr/>
        </p:nvGrpSpPr>
        <p:grpSpPr>
          <a:xfrm>
            <a:off x="999119" y="1805719"/>
            <a:ext cx="6725686" cy="4296309"/>
            <a:chOff x="2779242" y="1402503"/>
            <a:chExt cx="6725686" cy="4296309"/>
          </a:xfrm>
        </p:grpSpPr>
        <p:grpSp>
          <p:nvGrpSpPr>
            <p:cNvPr id="46" name="Group 45">
              <a:extLst>
                <a:ext uri="{FF2B5EF4-FFF2-40B4-BE49-F238E27FC236}">
                  <a16:creationId xmlns:a16="http://schemas.microsoft.com/office/drawing/2014/main" id="{532B230E-4485-479A-AEF0-22B24B8F0649}"/>
                </a:ext>
              </a:extLst>
            </p:cNvPr>
            <p:cNvGrpSpPr/>
            <p:nvPr/>
          </p:nvGrpSpPr>
          <p:grpSpPr>
            <a:xfrm>
              <a:off x="3805272" y="1437978"/>
              <a:ext cx="4659361" cy="4168035"/>
              <a:chOff x="3762236" y="1997680"/>
              <a:chExt cx="4667529" cy="4175342"/>
            </a:xfrm>
          </p:grpSpPr>
          <p:sp>
            <p:nvSpPr>
              <p:cNvPr id="47" name="Oval 46">
                <a:extLst>
                  <a:ext uri="{FF2B5EF4-FFF2-40B4-BE49-F238E27FC236}">
                    <a16:creationId xmlns:a16="http://schemas.microsoft.com/office/drawing/2014/main" id="{688B40F8-04A7-4BAD-B86C-5D2DB5E03595}"/>
                  </a:ext>
                </a:extLst>
              </p:cNvPr>
              <p:cNvSpPr/>
              <p:nvPr/>
            </p:nvSpPr>
            <p:spPr bwMode="gray">
              <a:xfrm>
                <a:off x="6147935" y="2945454"/>
                <a:ext cx="424983" cy="424983"/>
              </a:xfrm>
              <a:prstGeom prst="ellipse">
                <a:avLst/>
              </a:prstGeom>
              <a:solidFill>
                <a:srgbClr val="00A3E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48" name="Oval 47">
                <a:extLst>
                  <a:ext uri="{FF2B5EF4-FFF2-40B4-BE49-F238E27FC236}">
                    <a16:creationId xmlns:a16="http://schemas.microsoft.com/office/drawing/2014/main" id="{19808705-40F2-431E-824E-56030762160D}"/>
                  </a:ext>
                </a:extLst>
              </p:cNvPr>
              <p:cNvSpPr/>
              <p:nvPr/>
            </p:nvSpPr>
            <p:spPr bwMode="gray">
              <a:xfrm>
                <a:off x="3762236" y="3863031"/>
                <a:ext cx="386348" cy="386348"/>
              </a:xfrm>
              <a:prstGeom prst="ellipse">
                <a:avLst/>
              </a:prstGeom>
              <a:solidFill>
                <a:schemeClr val="accent3">
                  <a:lumMod val="7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49" name="Oval 48">
                <a:extLst>
                  <a:ext uri="{FF2B5EF4-FFF2-40B4-BE49-F238E27FC236}">
                    <a16:creationId xmlns:a16="http://schemas.microsoft.com/office/drawing/2014/main" id="{C80304B5-7CED-4283-9033-2BDDC42861A9}"/>
                  </a:ext>
                </a:extLst>
              </p:cNvPr>
              <p:cNvSpPr/>
              <p:nvPr/>
            </p:nvSpPr>
            <p:spPr bwMode="gray">
              <a:xfrm>
                <a:off x="7152440" y="4003082"/>
                <a:ext cx="386348" cy="386348"/>
              </a:xfrm>
              <a:prstGeom prst="ellipse">
                <a:avLst/>
              </a:prstGeom>
              <a:solidFill>
                <a:srgbClr val="00A3E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0" name="Oval 49">
                <a:extLst>
                  <a:ext uri="{FF2B5EF4-FFF2-40B4-BE49-F238E27FC236}">
                    <a16:creationId xmlns:a16="http://schemas.microsoft.com/office/drawing/2014/main" id="{95AF4210-3145-4E17-A096-7B6BB242D49D}"/>
                  </a:ext>
                </a:extLst>
              </p:cNvPr>
              <p:cNvSpPr/>
              <p:nvPr/>
            </p:nvSpPr>
            <p:spPr bwMode="gray">
              <a:xfrm>
                <a:off x="5392801" y="3334877"/>
                <a:ext cx="351225" cy="351225"/>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1" name="Oval 50">
                <a:extLst>
                  <a:ext uri="{FF2B5EF4-FFF2-40B4-BE49-F238E27FC236}">
                    <a16:creationId xmlns:a16="http://schemas.microsoft.com/office/drawing/2014/main" id="{A519FAA8-1379-490E-8A4B-2A3F9F4750FF}"/>
                  </a:ext>
                </a:extLst>
              </p:cNvPr>
              <p:cNvSpPr/>
              <p:nvPr/>
            </p:nvSpPr>
            <p:spPr bwMode="gray">
              <a:xfrm>
                <a:off x="4494288" y="2938616"/>
                <a:ext cx="290269" cy="290269"/>
              </a:xfrm>
              <a:prstGeom prst="ellipse">
                <a:avLst/>
              </a:prstGeom>
              <a:gradFill flip="none" rotWithShape="1">
                <a:gsLst>
                  <a:gs pos="0">
                    <a:schemeClr val="accent3">
                      <a:lumMod val="40000"/>
                      <a:lumOff val="60000"/>
                    </a:schemeClr>
                  </a:gs>
                  <a:gs pos="67000">
                    <a:srgbClr val="00A3E0"/>
                  </a:gs>
                </a:gsLst>
                <a:lin ang="2700000" scaled="1"/>
                <a:tileRect/>
              </a:gra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2" name="Oval 51">
                <a:extLst>
                  <a:ext uri="{FF2B5EF4-FFF2-40B4-BE49-F238E27FC236}">
                    <a16:creationId xmlns:a16="http://schemas.microsoft.com/office/drawing/2014/main" id="{316B5F34-18CD-4B9A-BA9D-B4C63E0267F0}"/>
                  </a:ext>
                </a:extLst>
              </p:cNvPr>
              <p:cNvSpPr/>
              <p:nvPr/>
            </p:nvSpPr>
            <p:spPr bwMode="gray">
              <a:xfrm>
                <a:off x="8017994" y="2864676"/>
                <a:ext cx="198257" cy="198257"/>
              </a:xfrm>
              <a:prstGeom prst="ellipse">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3" name="Oval 52">
                <a:extLst>
                  <a:ext uri="{FF2B5EF4-FFF2-40B4-BE49-F238E27FC236}">
                    <a16:creationId xmlns:a16="http://schemas.microsoft.com/office/drawing/2014/main" id="{39E35BBE-9865-419B-9008-F852B33E9E72}"/>
                  </a:ext>
                </a:extLst>
              </p:cNvPr>
              <p:cNvSpPr/>
              <p:nvPr/>
            </p:nvSpPr>
            <p:spPr bwMode="gray">
              <a:xfrm>
                <a:off x="7287837" y="2649816"/>
                <a:ext cx="163850" cy="163850"/>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4" name="Oval 53">
                <a:extLst>
                  <a:ext uri="{FF2B5EF4-FFF2-40B4-BE49-F238E27FC236}">
                    <a16:creationId xmlns:a16="http://schemas.microsoft.com/office/drawing/2014/main" id="{EA1CD69D-FB49-439E-B2BF-865BF088CAB5}"/>
                  </a:ext>
                </a:extLst>
              </p:cNvPr>
              <p:cNvSpPr/>
              <p:nvPr/>
            </p:nvSpPr>
            <p:spPr bwMode="gray">
              <a:xfrm>
                <a:off x="7697138" y="3209138"/>
                <a:ext cx="135412" cy="135412"/>
              </a:xfrm>
              <a:prstGeom prst="ellipse">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5" name="Oval 54">
                <a:extLst>
                  <a:ext uri="{FF2B5EF4-FFF2-40B4-BE49-F238E27FC236}">
                    <a16:creationId xmlns:a16="http://schemas.microsoft.com/office/drawing/2014/main" id="{6CC0225B-EFAF-4A64-903F-A19A15BF03A5}"/>
                  </a:ext>
                </a:extLst>
              </p:cNvPr>
              <p:cNvSpPr/>
              <p:nvPr/>
            </p:nvSpPr>
            <p:spPr bwMode="gray">
              <a:xfrm>
                <a:off x="6862605" y="3449703"/>
                <a:ext cx="111912" cy="111912"/>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6" name="Oval 55">
                <a:extLst>
                  <a:ext uri="{FF2B5EF4-FFF2-40B4-BE49-F238E27FC236}">
                    <a16:creationId xmlns:a16="http://schemas.microsoft.com/office/drawing/2014/main" id="{F572A804-884D-47AF-B090-24DCBD3920DC}"/>
                  </a:ext>
                </a:extLst>
              </p:cNvPr>
              <p:cNvSpPr/>
              <p:nvPr/>
            </p:nvSpPr>
            <p:spPr bwMode="gray">
              <a:xfrm>
                <a:off x="4952749" y="4395743"/>
                <a:ext cx="218083" cy="218083"/>
              </a:xfrm>
              <a:prstGeom prst="ellipse">
                <a:avLst/>
              </a:prstGeom>
              <a:solidFill>
                <a:srgbClr val="43B02A"/>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7" name="Oval 56">
                <a:extLst>
                  <a:ext uri="{FF2B5EF4-FFF2-40B4-BE49-F238E27FC236}">
                    <a16:creationId xmlns:a16="http://schemas.microsoft.com/office/drawing/2014/main" id="{84EF7D69-CC71-45D3-B9E1-A1CA0FA021CD}"/>
                  </a:ext>
                </a:extLst>
              </p:cNvPr>
              <p:cNvSpPr/>
              <p:nvPr/>
            </p:nvSpPr>
            <p:spPr bwMode="gray">
              <a:xfrm>
                <a:off x="5227166" y="2213425"/>
                <a:ext cx="218083" cy="218083"/>
              </a:xfrm>
              <a:prstGeom prst="ellipse">
                <a:avLst/>
              </a:prstGeom>
              <a:solidFill>
                <a:srgbClr val="C4D60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8" name="Oval 57">
                <a:extLst>
                  <a:ext uri="{FF2B5EF4-FFF2-40B4-BE49-F238E27FC236}">
                    <a16:creationId xmlns:a16="http://schemas.microsoft.com/office/drawing/2014/main" id="{E2522FEC-72BC-4B31-BF0B-A1E7CAA45B67}"/>
                  </a:ext>
                </a:extLst>
              </p:cNvPr>
              <p:cNvSpPr/>
              <p:nvPr/>
            </p:nvSpPr>
            <p:spPr bwMode="gray">
              <a:xfrm>
                <a:off x="3878647" y="3075369"/>
                <a:ext cx="239892" cy="239892"/>
              </a:xfrm>
              <a:prstGeom prst="ellipse">
                <a:avLst/>
              </a:prstGeom>
              <a:solidFill>
                <a:schemeClr val="accent1">
                  <a:lumMod val="40000"/>
                  <a:lumOff val="60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nvGrpSpPr>
              <p:cNvPr id="59" name="Group 58">
                <a:extLst>
                  <a:ext uri="{FF2B5EF4-FFF2-40B4-BE49-F238E27FC236}">
                    <a16:creationId xmlns:a16="http://schemas.microsoft.com/office/drawing/2014/main" id="{C7E88608-AD1E-41CE-99E6-3C2460E13442}"/>
                  </a:ext>
                </a:extLst>
              </p:cNvPr>
              <p:cNvGrpSpPr/>
              <p:nvPr/>
            </p:nvGrpSpPr>
            <p:grpSpPr>
              <a:xfrm>
                <a:off x="6477685" y="4280660"/>
                <a:ext cx="315304" cy="1892360"/>
                <a:chOff x="4654550" y="3394076"/>
                <a:chExt cx="250825" cy="1505373"/>
              </a:xfrm>
            </p:grpSpPr>
            <p:cxnSp>
              <p:nvCxnSpPr>
                <p:cNvPr id="131" name="Straight Connector 130">
                  <a:extLst>
                    <a:ext uri="{FF2B5EF4-FFF2-40B4-BE49-F238E27FC236}">
                      <a16:creationId xmlns:a16="http://schemas.microsoft.com/office/drawing/2014/main" id="{CF3AABD5-8F78-4BD4-9C03-6198A59403BE}"/>
                    </a:ext>
                  </a:extLst>
                </p:cNvPr>
                <p:cNvCxnSpPr/>
                <p:nvPr/>
              </p:nvCxnSpPr>
              <p:spPr>
                <a:xfrm flipV="1">
                  <a:off x="4654550" y="3644900"/>
                  <a:ext cx="0" cy="1092200"/>
                </a:xfrm>
                <a:prstGeom prst="line">
                  <a:avLst/>
                </a:prstGeom>
                <a:ln w="19050" cap="rnd">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97A1795-537F-4346-AC2B-FAD0E2C241B7}"/>
                    </a:ext>
                  </a:extLst>
                </p:cNvPr>
                <p:cNvCxnSpPr>
                  <a:cxnSpLocks/>
                </p:cNvCxnSpPr>
                <p:nvPr/>
              </p:nvCxnSpPr>
              <p:spPr>
                <a:xfrm flipV="1">
                  <a:off x="4654550" y="3394076"/>
                  <a:ext cx="250825" cy="250824"/>
                </a:xfrm>
                <a:prstGeom prst="line">
                  <a:avLst/>
                </a:prstGeom>
                <a:ln w="19050" cap="rnd">
                  <a:solidFill>
                    <a:srgbClr val="00A3E0"/>
                  </a:solidFill>
                  <a:tailEnd type="ova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A70E201A-0FDB-409B-8476-8561C435C319}"/>
                    </a:ext>
                  </a:extLst>
                </p:cNvPr>
                <p:cNvCxnSpPr/>
                <p:nvPr/>
              </p:nvCxnSpPr>
              <p:spPr>
                <a:xfrm flipV="1">
                  <a:off x="4654550" y="4737100"/>
                  <a:ext cx="0" cy="162349"/>
                </a:xfrm>
                <a:prstGeom prst="line">
                  <a:avLst/>
                </a:prstGeom>
                <a:ln w="50800" cap="flat">
                  <a:solidFill>
                    <a:srgbClr val="00A3E0"/>
                  </a:solidFill>
                  <a:beve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FB2A5E9-3DC5-4274-AB13-E208B02176AF}"/>
                  </a:ext>
                </a:extLst>
              </p:cNvPr>
              <p:cNvGrpSpPr/>
              <p:nvPr/>
            </p:nvGrpSpPr>
            <p:grpSpPr>
              <a:xfrm>
                <a:off x="6754926" y="4814070"/>
                <a:ext cx="215357" cy="1358950"/>
                <a:chOff x="4654550" y="3394076"/>
                <a:chExt cx="250825" cy="1582758"/>
              </a:xfrm>
            </p:grpSpPr>
            <p:cxnSp>
              <p:nvCxnSpPr>
                <p:cNvPr id="128" name="Straight Connector 127">
                  <a:extLst>
                    <a:ext uri="{FF2B5EF4-FFF2-40B4-BE49-F238E27FC236}">
                      <a16:creationId xmlns:a16="http://schemas.microsoft.com/office/drawing/2014/main" id="{9DF4B227-243A-445C-B6EA-171E89450E03}"/>
                    </a:ext>
                  </a:extLst>
                </p:cNvPr>
                <p:cNvCxnSpPr/>
                <p:nvPr/>
              </p:nvCxnSpPr>
              <p:spPr>
                <a:xfrm flipV="1">
                  <a:off x="4654550" y="3644900"/>
                  <a:ext cx="0" cy="109220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70AC472-0D40-4B53-81EF-05A0ED061B2A}"/>
                    </a:ext>
                  </a:extLst>
                </p:cNvPr>
                <p:cNvCxnSpPr>
                  <a:cxnSpLocks/>
                </p:cNvCxnSpPr>
                <p:nvPr/>
              </p:nvCxnSpPr>
              <p:spPr>
                <a:xfrm flipV="1">
                  <a:off x="4654550" y="3394076"/>
                  <a:ext cx="250825" cy="250824"/>
                </a:xfrm>
                <a:prstGeom prst="line">
                  <a:avLst/>
                </a:prstGeom>
                <a:ln w="19050" cap="rnd">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F32BC45C-DE6A-4CEF-95BB-21570B14C053}"/>
                    </a:ext>
                  </a:extLst>
                </p:cNvPr>
                <p:cNvCxnSpPr>
                  <a:cxnSpLocks/>
                </p:cNvCxnSpPr>
                <p:nvPr/>
              </p:nvCxnSpPr>
              <p:spPr>
                <a:xfrm flipV="1">
                  <a:off x="4654550" y="4737101"/>
                  <a:ext cx="0" cy="239733"/>
                </a:xfrm>
                <a:prstGeom prst="line">
                  <a:avLst/>
                </a:prstGeom>
                <a:ln w="50800" cap="flat">
                  <a:solidFill>
                    <a:schemeClr val="accent1"/>
                  </a:solidFill>
                  <a:bevel/>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80C55D23-3A45-4115-A7DA-0DBE00B6E435}"/>
                  </a:ext>
                </a:extLst>
              </p:cNvPr>
              <p:cNvGrpSpPr/>
              <p:nvPr/>
            </p:nvGrpSpPr>
            <p:grpSpPr>
              <a:xfrm flipH="1">
                <a:off x="5852408" y="4049621"/>
                <a:ext cx="353800" cy="2123401"/>
                <a:chOff x="4654550" y="3394076"/>
                <a:chExt cx="250825" cy="1505373"/>
              </a:xfrm>
            </p:grpSpPr>
            <p:cxnSp>
              <p:nvCxnSpPr>
                <p:cNvPr id="125" name="Straight Connector 124">
                  <a:extLst>
                    <a:ext uri="{FF2B5EF4-FFF2-40B4-BE49-F238E27FC236}">
                      <a16:creationId xmlns:a16="http://schemas.microsoft.com/office/drawing/2014/main" id="{A518C866-46E7-4998-BDEB-FCD43830E888}"/>
                    </a:ext>
                  </a:extLst>
                </p:cNvPr>
                <p:cNvCxnSpPr/>
                <p:nvPr/>
              </p:nvCxnSpPr>
              <p:spPr>
                <a:xfrm flipV="1">
                  <a:off x="4654550" y="3644900"/>
                  <a:ext cx="0" cy="109220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EB9670A1-D04A-4213-B7CB-027362B70101}"/>
                    </a:ext>
                  </a:extLst>
                </p:cNvPr>
                <p:cNvCxnSpPr>
                  <a:cxnSpLocks/>
                </p:cNvCxnSpPr>
                <p:nvPr/>
              </p:nvCxnSpPr>
              <p:spPr>
                <a:xfrm flipV="1">
                  <a:off x="4654550" y="3394076"/>
                  <a:ext cx="250825" cy="250824"/>
                </a:xfrm>
                <a:prstGeom prst="line">
                  <a:avLst/>
                </a:prstGeom>
                <a:ln w="19050" cap="rnd">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361E98C9-8D77-428A-A2C7-FDDEFA416859}"/>
                    </a:ext>
                  </a:extLst>
                </p:cNvPr>
                <p:cNvCxnSpPr/>
                <p:nvPr/>
              </p:nvCxnSpPr>
              <p:spPr>
                <a:xfrm flipV="1">
                  <a:off x="4654550" y="4737100"/>
                  <a:ext cx="0" cy="162349"/>
                </a:xfrm>
                <a:prstGeom prst="line">
                  <a:avLst/>
                </a:prstGeom>
                <a:ln w="50800" cap="flat">
                  <a:solidFill>
                    <a:schemeClr val="accent1"/>
                  </a:solidFill>
                  <a:beve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97F1BC2-6EC6-4D84-9B9E-A78DCB89BAFE}"/>
                  </a:ext>
                </a:extLst>
              </p:cNvPr>
              <p:cNvGrpSpPr/>
              <p:nvPr/>
            </p:nvGrpSpPr>
            <p:grpSpPr>
              <a:xfrm flipH="1">
                <a:off x="5687317" y="4648156"/>
                <a:ext cx="241652" cy="1524866"/>
                <a:chOff x="4654550" y="3394076"/>
                <a:chExt cx="250825" cy="1582758"/>
              </a:xfrm>
            </p:grpSpPr>
            <p:cxnSp>
              <p:nvCxnSpPr>
                <p:cNvPr id="122" name="Straight Connector 121">
                  <a:extLst>
                    <a:ext uri="{FF2B5EF4-FFF2-40B4-BE49-F238E27FC236}">
                      <a16:creationId xmlns:a16="http://schemas.microsoft.com/office/drawing/2014/main" id="{77411DBE-F1BF-4ED4-BB7E-128A19181521}"/>
                    </a:ext>
                  </a:extLst>
                </p:cNvPr>
                <p:cNvCxnSpPr/>
                <p:nvPr/>
              </p:nvCxnSpPr>
              <p:spPr>
                <a:xfrm flipV="1">
                  <a:off x="4654550" y="3644900"/>
                  <a:ext cx="0" cy="1092200"/>
                </a:xfrm>
                <a:prstGeom prst="line">
                  <a:avLst/>
                </a:prstGeom>
                <a:ln w="19050" cap="rnd">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0109046-53D1-4EEC-B7A6-E5DDAA9B99E7}"/>
                    </a:ext>
                  </a:extLst>
                </p:cNvPr>
                <p:cNvCxnSpPr>
                  <a:cxnSpLocks/>
                </p:cNvCxnSpPr>
                <p:nvPr/>
              </p:nvCxnSpPr>
              <p:spPr>
                <a:xfrm flipV="1">
                  <a:off x="4654550" y="3394076"/>
                  <a:ext cx="250825" cy="250824"/>
                </a:xfrm>
                <a:prstGeom prst="line">
                  <a:avLst/>
                </a:prstGeom>
                <a:ln w="19050" cap="rnd">
                  <a:solidFill>
                    <a:srgbClr val="00A3E0"/>
                  </a:solidFill>
                  <a:tailEnd type="ova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04948B9-499F-4C18-83ED-EBCCF02E013F}"/>
                    </a:ext>
                  </a:extLst>
                </p:cNvPr>
                <p:cNvCxnSpPr>
                  <a:cxnSpLocks/>
                </p:cNvCxnSpPr>
                <p:nvPr/>
              </p:nvCxnSpPr>
              <p:spPr>
                <a:xfrm flipV="1">
                  <a:off x="4654550" y="4737101"/>
                  <a:ext cx="0" cy="239733"/>
                </a:xfrm>
                <a:prstGeom prst="line">
                  <a:avLst/>
                </a:prstGeom>
                <a:ln w="50800" cap="flat">
                  <a:solidFill>
                    <a:srgbClr val="00A3E0"/>
                  </a:solidFill>
                  <a:bevel/>
                </a:ln>
              </p:spPr>
              <p:style>
                <a:lnRef idx="1">
                  <a:schemeClr val="accent1"/>
                </a:lnRef>
                <a:fillRef idx="0">
                  <a:schemeClr val="accent1"/>
                </a:fillRef>
                <a:effectRef idx="0">
                  <a:schemeClr val="accent1"/>
                </a:effectRef>
                <a:fontRef idx="minor">
                  <a:schemeClr val="tx1"/>
                </a:fontRef>
              </p:style>
            </p:cxnSp>
          </p:grpSp>
          <p:cxnSp>
            <p:nvCxnSpPr>
              <p:cNvPr id="63" name="Straight Connector 62">
                <a:extLst>
                  <a:ext uri="{FF2B5EF4-FFF2-40B4-BE49-F238E27FC236}">
                    <a16:creationId xmlns:a16="http://schemas.microsoft.com/office/drawing/2014/main" id="{CE838EDB-4F2B-4777-B610-A97A913D4732}"/>
                  </a:ext>
                </a:extLst>
              </p:cNvPr>
              <p:cNvCxnSpPr>
                <a:cxnSpLocks/>
                <a:stCxn id="49" idx="6"/>
              </p:cNvCxnSpPr>
              <p:nvPr/>
            </p:nvCxnSpPr>
            <p:spPr>
              <a:xfrm flipV="1">
                <a:off x="7538789" y="3750989"/>
                <a:ext cx="702559" cy="44526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F0C87D-5670-4A2F-9B67-AE6D70CE46F8}"/>
                  </a:ext>
                </a:extLst>
              </p:cNvPr>
              <p:cNvCxnSpPr>
                <a:cxnSpLocks/>
                <a:stCxn id="49" idx="1"/>
                <a:endCxn id="55" idx="4"/>
              </p:cNvCxnSpPr>
              <p:nvPr/>
            </p:nvCxnSpPr>
            <p:spPr>
              <a:xfrm flipH="1" flipV="1">
                <a:off x="6918561" y="3561614"/>
                <a:ext cx="290458" cy="498047"/>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6F01B30-632D-4E9D-BE12-1C29980F54D1}"/>
                  </a:ext>
                </a:extLst>
              </p:cNvPr>
              <p:cNvCxnSpPr>
                <a:cxnSpLocks/>
                <a:stCxn id="53" idx="3"/>
                <a:endCxn id="55" idx="0"/>
              </p:cNvCxnSpPr>
              <p:nvPr/>
            </p:nvCxnSpPr>
            <p:spPr>
              <a:xfrm flipH="1">
                <a:off x="6918561" y="2789671"/>
                <a:ext cx="393270" cy="660032"/>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0B11F30-2743-4C79-A205-172A36CE37E0}"/>
                  </a:ext>
                </a:extLst>
              </p:cNvPr>
              <p:cNvCxnSpPr>
                <a:cxnSpLocks/>
                <a:stCxn id="52" idx="1"/>
                <a:endCxn id="53" idx="6"/>
              </p:cNvCxnSpPr>
              <p:nvPr/>
            </p:nvCxnSpPr>
            <p:spPr>
              <a:xfrm flipH="1" flipV="1">
                <a:off x="7451687" y="2731741"/>
                <a:ext cx="595341" cy="16196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9CD9C4D-4073-40C8-9B86-9DF17A13A7E9}"/>
                  </a:ext>
                </a:extLst>
              </p:cNvPr>
              <p:cNvCxnSpPr>
                <a:cxnSpLocks/>
                <a:stCxn id="121" idx="0"/>
                <a:endCxn id="52" idx="5"/>
              </p:cNvCxnSpPr>
              <p:nvPr/>
            </p:nvCxnSpPr>
            <p:spPr>
              <a:xfrm flipH="1" flipV="1">
                <a:off x="8187217" y="3033899"/>
                <a:ext cx="122602" cy="58924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A387C1E-CC1E-4FD9-B60F-DF6F492E24C9}"/>
                  </a:ext>
                </a:extLst>
              </p:cNvPr>
              <p:cNvCxnSpPr>
                <a:cxnSpLocks/>
                <a:stCxn id="49" idx="0"/>
                <a:endCxn id="54" idx="3"/>
              </p:cNvCxnSpPr>
              <p:nvPr/>
            </p:nvCxnSpPr>
            <p:spPr>
              <a:xfrm flipV="1">
                <a:off x="7345614" y="3324720"/>
                <a:ext cx="371354" cy="678362"/>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CB007BD-0F40-4FB5-8EFA-6B84799A916D}"/>
                  </a:ext>
                </a:extLst>
              </p:cNvPr>
              <p:cNvCxnSpPr>
                <a:cxnSpLocks/>
                <a:stCxn id="54" idx="2"/>
                <a:endCxn id="55" idx="6"/>
              </p:cNvCxnSpPr>
              <p:nvPr/>
            </p:nvCxnSpPr>
            <p:spPr>
              <a:xfrm flipH="1">
                <a:off x="6974516" y="3276845"/>
                <a:ext cx="722622" cy="22881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6D13D9B-8474-482A-AE8B-55F4ED3E30F3}"/>
                  </a:ext>
                </a:extLst>
              </p:cNvPr>
              <p:cNvCxnSpPr>
                <a:cxnSpLocks/>
                <a:stCxn id="54" idx="1"/>
                <a:endCxn id="53" idx="5"/>
              </p:cNvCxnSpPr>
              <p:nvPr/>
            </p:nvCxnSpPr>
            <p:spPr>
              <a:xfrm flipH="1" flipV="1">
                <a:off x="7427692" y="2789671"/>
                <a:ext cx="289276" cy="43929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8D55AF2-20FB-4D58-9D1B-D9C59FB5B46D}"/>
                  </a:ext>
                </a:extLst>
              </p:cNvPr>
              <p:cNvCxnSpPr>
                <a:cxnSpLocks/>
                <a:stCxn id="54" idx="7"/>
                <a:endCxn id="52" idx="4"/>
              </p:cNvCxnSpPr>
              <p:nvPr/>
            </p:nvCxnSpPr>
            <p:spPr>
              <a:xfrm flipV="1">
                <a:off x="7812720" y="3062933"/>
                <a:ext cx="304403" cy="16603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94940372-A628-4185-8CC6-BBC602D1D1AD}"/>
                  </a:ext>
                </a:extLst>
              </p:cNvPr>
              <p:cNvCxnSpPr>
                <a:cxnSpLocks/>
                <a:stCxn id="121" idx="1"/>
                <a:endCxn id="54" idx="5"/>
              </p:cNvCxnSpPr>
              <p:nvPr/>
            </p:nvCxnSpPr>
            <p:spPr>
              <a:xfrm flipH="1" flipV="1">
                <a:off x="7812720" y="3324720"/>
                <a:ext cx="412285" cy="33355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C5AD096-159E-4161-9706-BC8DB3FA1170}"/>
                  </a:ext>
                </a:extLst>
              </p:cNvPr>
              <p:cNvCxnSpPr>
                <a:cxnSpLocks/>
                <a:stCxn id="48" idx="5"/>
                <a:endCxn id="56" idx="2"/>
              </p:cNvCxnSpPr>
              <p:nvPr/>
            </p:nvCxnSpPr>
            <p:spPr>
              <a:xfrm>
                <a:off x="4092005" y="4192800"/>
                <a:ext cx="860744" cy="31198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C5D477C8-71F6-48B3-A454-345C5A54C797}"/>
                  </a:ext>
                </a:extLst>
              </p:cNvPr>
              <p:cNvCxnSpPr>
                <a:cxnSpLocks/>
                <a:stCxn id="50" idx="3"/>
                <a:endCxn id="56" idx="7"/>
              </p:cNvCxnSpPr>
              <p:nvPr/>
            </p:nvCxnSpPr>
            <p:spPr>
              <a:xfrm flipH="1">
                <a:off x="5138894" y="3634666"/>
                <a:ext cx="305343" cy="79301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6EE534B-8F71-4554-9F97-F6B286A0FB3F}"/>
                  </a:ext>
                </a:extLst>
              </p:cNvPr>
              <p:cNvCxnSpPr>
                <a:cxnSpLocks/>
                <a:stCxn id="47" idx="3"/>
                <a:endCxn id="50" idx="6"/>
              </p:cNvCxnSpPr>
              <p:nvPr/>
            </p:nvCxnSpPr>
            <p:spPr>
              <a:xfrm flipH="1">
                <a:off x="5744027" y="3308200"/>
                <a:ext cx="466146" cy="20229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AB2D9D0-2299-46F8-9D06-D89CC36655F5}"/>
                  </a:ext>
                </a:extLst>
              </p:cNvPr>
              <p:cNvCxnSpPr>
                <a:cxnSpLocks/>
                <a:stCxn id="55" idx="2"/>
                <a:endCxn id="47" idx="5"/>
              </p:cNvCxnSpPr>
              <p:nvPr/>
            </p:nvCxnSpPr>
            <p:spPr>
              <a:xfrm flipH="1" flipV="1">
                <a:off x="6510681" y="3308200"/>
                <a:ext cx="351924" cy="197459"/>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987F946-BC6E-4321-A675-E4671C9F3920}"/>
                  </a:ext>
                </a:extLst>
              </p:cNvPr>
              <p:cNvCxnSpPr>
                <a:cxnSpLocks/>
                <a:stCxn id="48" idx="0"/>
                <a:endCxn id="58" idx="4"/>
              </p:cNvCxnSpPr>
              <p:nvPr/>
            </p:nvCxnSpPr>
            <p:spPr>
              <a:xfrm flipV="1">
                <a:off x="3955410" y="3315261"/>
                <a:ext cx="43183" cy="54777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6B3300D-8BBE-4699-8A59-E08A06A9DB0C}"/>
                  </a:ext>
                </a:extLst>
              </p:cNvPr>
              <p:cNvCxnSpPr>
                <a:cxnSpLocks/>
                <a:stCxn id="58" idx="6"/>
                <a:endCxn id="51" idx="2"/>
              </p:cNvCxnSpPr>
              <p:nvPr/>
            </p:nvCxnSpPr>
            <p:spPr>
              <a:xfrm flipV="1">
                <a:off x="4118539" y="3083750"/>
                <a:ext cx="375749" cy="11156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5E156DA-6F1B-4851-897E-AB57607A9651}"/>
                  </a:ext>
                </a:extLst>
              </p:cNvPr>
              <p:cNvCxnSpPr>
                <a:cxnSpLocks/>
                <a:stCxn id="51" idx="7"/>
                <a:endCxn id="57" idx="3"/>
              </p:cNvCxnSpPr>
              <p:nvPr/>
            </p:nvCxnSpPr>
            <p:spPr>
              <a:xfrm flipV="1">
                <a:off x="4742048" y="2399570"/>
                <a:ext cx="517056" cy="58155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4E1B4FF-33F7-487D-AE3A-129642DD1567}"/>
                  </a:ext>
                </a:extLst>
              </p:cNvPr>
              <p:cNvCxnSpPr>
                <a:cxnSpLocks/>
                <a:stCxn id="57" idx="6"/>
              </p:cNvCxnSpPr>
              <p:nvPr/>
            </p:nvCxnSpPr>
            <p:spPr>
              <a:xfrm flipV="1">
                <a:off x="5445248" y="2117626"/>
                <a:ext cx="818704" cy="20484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BF40A4BE-A0DA-424C-91EF-6EB2840683AA}"/>
                  </a:ext>
                </a:extLst>
              </p:cNvPr>
              <p:cNvCxnSpPr>
                <a:cxnSpLocks/>
                <a:stCxn id="120" idx="5"/>
                <a:endCxn id="53" idx="1"/>
              </p:cNvCxnSpPr>
              <p:nvPr/>
            </p:nvCxnSpPr>
            <p:spPr>
              <a:xfrm>
                <a:off x="6445241" y="2202440"/>
                <a:ext cx="866591" cy="47137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F386A8A-26B2-4532-80B6-5B44415437C6}"/>
                  </a:ext>
                </a:extLst>
              </p:cNvPr>
              <p:cNvCxnSpPr>
                <a:cxnSpLocks/>
                <a:stCxn id="47" idx="7"/>
                <a:endCxn id="53" idx="2"/>
              </p:cNvCxnSpPr>
              <p:nvPr/>
            </p:nvCxnSpPr>
            <p:spPr>
              <a:xfrm flipV="1">
                <a:off x="6510681" y="2731741"/>
                <a:ext cx="777156" cy="27595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F0DE769-B8FE-421C-B89D-2D0F33AE688A}"/>
                  </a:ext>
                </a:extLst>
              </p:cNvPr>
              <p:cNvCxnSpPr>
                <a:cxnSpLocks/>
                <a:stCxn id="47" idx="0"/>
                <a:endCxn id="120" idx="4"/>
              </p:cNvCxnSpPr>
              <p:nvPr/>
            </p:nvCxnSpPr>
            <p:spPr>
              <a:xfrm flipV="1">
                <a:off x="6360427" y="2237572"/>
                <a:ext cx="0" cy="707883"/>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7F04EF7-365D-400F-8C8E-CE0E02888ECA}"/>
                  </a:ext>
                </a:extLst>
              </p:cNvPr>
              <p:cNvCxnSpPr>
                <a:cxnSpLocks/>
                <a:stCxn id="47" idx="1"/>
                <a:endCxn id="57" idx="5"/>
              </p:cNvCxnSpPr>
              <p:nvPr/>
            </p:nvCxnSpPr>
            <p:spPr>
              <a:xfrm flipH="1" flipV="1">
                <a:off x="5413311" y="2399570"/>
                <a:ext cx="796861" cy="60812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D49D395-1C8A-4757-BAA4-5F1C4037890B}"/>
                  </a:ext>
                </a:extLst>
              </p:cNvPr>
              <p:cNvCxnSpPr>
                <a:cxnSpLocks/>
                <a:stCxn id="50" idx="1"/>
                <a:endCxn id="57" idx="4"/>
              </p:cNvCxnSpPr>
              <p:nvPr/>
            </p:nvCxnSpPr>
            <p:spPr>
              <a:xfrm flipH="1" flipV="1">
                <a:off x="5336208" y="2431508"/>
                <a:ext cx="108029" cy="95480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6FA3C5C7-E143-4CBA-9FEA-7CBA9A6D72D7}"/>
                  </a:ext>
                </a:extLst>
              </p:cNvPr>
              <p:cNvCxnSpPr>
                <a:cxnSpLocks/>
                <a:stCxn id="50" idx="2"/>
                <a:endCxn id="51" idx="5"/>
              </p:cNvCxnSpPr>
              <p:nvPr/>
            </p:nvCxnSpPr>
            <p:spPr>
              <a:xfrm flipH="1" flipV="1">
                <a:off x="4742048" y="3186376"/>
                <a:ext cx="650753" cy="32411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61BF17E4-9778-4C18-9185-C36D5151290E}"/>
                  </a:ext>
                </a:extLst>
              </p:cNvPr>
              <p:cNvCxnSpPr>
                <a:cxnSpLocks/>
                <a:stCxn id="56" idx="0"/>
                <a:endCxn id="51" idx="4"/>
              </p:cNvCxnSpPr>
              <p:nvPr/>
            </p:nvCxnSpPr>
            <p:spPr>
              <a:xfrm flipH="1" flipV="1">
                <a:off x="4639423" y="3228885"/>
                <a:ext cx="422368" cy="116685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8FFBCB7-E21C-41BD-A867-3126CB8454DF}"/>
                  </a:ext>
                </a:extLst>
              </p:cNvPr>
              <p:cNvCxnSpPr>
                <a:cxnSpLocks/>
                <a:stCxn id="48" idx="7"/>
                <a:endCxn id="51" idx="3"/>
              </p:cNvCxnSpPr>
              <p:nvPr/>
            </p:nvCxnSpPr>
            <p:spPr>
              <a:xfrm flipV="1">
                <a:off x="4092005" y="3186376"/>
                <a:ext cx="444792" cy="73323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94711511-1D9F-454C-98DE-3E67CE992B1A}"/>
                  </a:ext>
                </a:extLst>
              </p:cNvPr>
              <p:cNvSpPr/>
              <p:nvPr/>
            </p:nvSpPr>
            <p:spPr bwMode="gray">
              <a:xfrm>
                <a:off x="6240481" y="1997680"/>
                <a:ext cx="239892" cy="239892"/>
              </a:xfrm>
              <a:prstGeom prst="ellipse">
                <a:avLst/>
              </a:prstGeom>
              <a:solidFill>
                <a:schemeClr val="accent3">
                  <a:lumMod val="40000"/>
                  <a:lumOff val="60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21" name="Oval 120">
                <a:extLst>
                  <a:ext uri="{FF2B5EF4-FFF2-40B4-BE49-F238E27FC236}">
                    <a16:creationId xmlns:a16="http://schemas.microsoft.com/office/drawing/2014/main" id="{9803F5F5-E65E-474E-BA35-EA645452B3EB}"/>
                  </a:ext>
                </a:extLst>
              </p:cNvPr>
              <p:cNvSpPr/>
              <p:nvPr/>
            </p:nvSpPr>
            <p:spPr bwMode="gray">
              <a:xfrm>
                <a:off x="8189873" y="3623139"/>
                <a:ext cx="239892" cy="239892"/>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sp>
          <p:nvSpPr>
            <p:cNvPr id="134" name="Rectangle 133">
              <a:extLst>
                <a:ext uri="{FF2B5EF4-FFF2-40B4-BE49-F238E27FC236}">
                  <a16:creationId xmlns:a16="http://schemas.microsoft.com/office/drawing/2014/main" id="{F0D11AFC-E092-4991-A062-23C44A903C32}"/>
                </a:ext>
              </a:extLst>
            </p:cNvPr>
            <p:cNvSpPr/>
            <p:nvPr/>
          </p:nvSpPr>
          <p:spPr bwMode="gray">
            <a:xfrm>
              <a:off x="3515576" y="1402503"/>
              <a:ext cx="5238750" cy="4296309"/>
            </a:xfrm>
            <a:prstGeom prst="rect">
              <a:avLst/>
            </a:prstGeom>
            <a:solidFill>
              <a:schemeClr val="tx1">
                <a:alpha val="83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nvGrpSpPr>
            <p:cNvPr id="135" name="Group 134">
              <a:extLst>
                <a:ext uri="{FF2B5EF4-FFF2-40B4-BE49-F238E27FC236}">
                  <a16:creationId xmlns:a16="http://schemas.microsoft.com/office/drawing/2014/main" id="{B7BB32C6-A291-4BAA-A2FB-A2677870A671}"/>
                </a:ext>
              </a:extLst>
            </p:cNvPr>
            <p:cNvGrpSpPr/>
            <p:nvPr/>
          </p:nvGrpSpPr>
          <p:grpSpPr>
            <a:xfrm>
              <a:off x="4345678" y="2355511"/>
              <a:ext cx="3500647" cy="3131507"/>
              <a:chOff x="3762236" y="1997680"/>
              <a:chExt cx="4667529" cy="4175342"/>
            </a:xfrm>
          </p:grpSpPr>
          <p:sp>
            <p:nvSpPr>
              <p:cNvPr id="136" name="Oval 135">
                <a:extLst>
                  <a:ext uri="{FF2B5EF4-FFF2-40B4-BE49-F238E27FC236}">
                    <a16:creationId xmlns:a16="http://schemas.microsoft.com/office/drawing/2014/main" id="{7A402B87-FE01-49D7-B358-0536DAF50078}"/>
                  </a:ext>
                </a:extLst>
              </p:cNvPr>
              <p:cNvSpPr/>
              <p:nvPr/>
            </p:nvSpPr>
            <p:spPr bwMode="gray">
              <a:xfrm>
                <a:off x="6147935" y="2945454"/>
                <a:ext cx="424983" cy="424983"/>
              </a:xfrm>
              <a:prstGeom prst="ellipse">
                <a:avLst/>
              </a:prstGeom>
              <a:solidFill>
                <a:srgbClr val="00A3E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37" name="Oval 136">
                <a:extLst>
                  <a:ext uri="{FF2B5EF4-FFF2-40B4-BE49-F238E27FC236}">
                    <a16:creationId xmlns:a16="http://schemas.microsoft.com/office/drawing/2014/main" id="{6837E0AD-2D7A-4049-AECC-7CA2B235AC28}"/>
                  </a:ext>
                </a:extLst>
              </p:cNvPr>
              <p:cNvSpPr/>
              <p:nvPr/>
            </p:nvSpPr>
            <p:spPr bwMode="gray">
              <a:xfrm>
                <a:off x="3762236" y="3863031"/>
                <a:ext cx="386348" cy="386348"/>
              </a:xfrm>
              <a:prstGeom prst="ellipse">
                <a:avLst/>
              </a:prstGeom>
              <a:solidFill>
                <a:schemeClr val="accent3">
                  <a:lumMod val="7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38" name="Oval 137">
                <a:extLst>
                  <a:ext uri="{FF2B5EF4-FFF2-40B4-BE49-F238E27FC236}">
                    <a16:creationId xmlns:a16="http://schemas.microsoft.com/office/drawing/2014/main" id="{B2D05AE8-CD5A-44A8-A1F9-4F7FEC66BDD9}"/>
                  </a:ext>
                </a:extLst>
              </p:cNvPr>
              <p:cNvSpPr/>
              <p:nvPr/>
            </p:nvSpPr>
            <p:spPr bwMode="gray">
              <a:xfrm>
                <a:off x="7152440" y="4003082"/>
                <a:ext cx="386348" cy="386348"/>
              </a:xfrm>
              <a:prstGeom prst="ellipse">
                <a:avLst/>
              </a:prstGeom>
              <a:solidFill>
                <a:srgbClr val="00A3E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39" name="Oval 138">
                <a:extLst>
                  <a:ext uri="{FF2B5EF4-FFF2-40B4-BE49-F238E27FC236}">
                    <a16:creationId xmlns:a16="http://schemas.microsoft.com/office/drawing/2014/main" id="{C2922E17-EEA0-4037-B69B-798CAD33737F}"/>
                  </a:ext>
                </a:extLst>
              </p:cNvPr>
              <p:cNvSpPr/>
              <p:nvPr/>
            </p:nvSpPr>
            <p:spPr bwMode="gray">
              <a:xfrm>
                <a:off x="5392801" y="3334877"/>
                <a:ext cx="351225" cy="351225"/>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0" name="Oval 139">
                <a:extLst>
                  <a:ext uri="{FF2B5EF4-FFF2-40B4-BE49-F238E27FC236}">
                    <a16:creationId xmlns:a16="http://schemas.microsoft.com/office/drawing/2014/main" id="{88C936C3-B425-47E7-8180-B7718EA367AC}"/>
                  </a:ext>
                </a:extLst>
              </p:cNvPr>
              <p:cNvSpPr/>
              <p:nvPr/>
            </p:nvSpPr>
            <p:spPr bwMode="gray">
              <a:xfrm>
                <a:off x="4494288" y="2938616"/>
                <a:ext cx="290269" cy="290269"/>
              </a:xfrm>
              <a:prstGeom prst="ellipse">
                <a:avLst/>
              </a:prstGeom>
              <a:gradFill flip="none" rotWithShape="1">
                <a:gsLst>
                  <a:gs pos="0">
                    <a:schemeClr val="accent3">
                      <a:lumMod val="40000"/>
                      <a:lumOff val="60000"/>
                    </a:schemeClr>
                  </a:gs>
                  <a:gs pos="67000">
                    <a:srgbClr val="00A3E0"/>
                  </a:gs>
                </a:gsLst>
                <a:lin ang="2700000" scaled="1"/>
                <a:tileRect/>
              </a:gra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1" name="Oval 140">
                <a:extLst>
                  <a:ext uri="{FF2B5EF4-FFF2-40B4-BE49-F238E27FC236}">
                    <a16:creationId xmlns:a16="http://schemas.microsoft.com/office/drawing/2014/main" id="{D8F61667-BC9F-4F4C-8776-D9674ADE14D2}"/>
                  </a:ext>
                </a:extLst>
              </p:cNvPr>
              <p:cNvSpPr/>
              <p:nvPr/>
            </p:nvSpPr>
            <p:spPr bwMode="gray">
              <a:xfrm>
                <a:off x="8017994" y="2864676"/>
                <a:ext cx="198257" cy="198257"/>
              </a:xfrm>
              <a:prstGeom prst="ellipse">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2" name="Oval 141">
                <a:extLst>
                  <a:ext uri="{FF2B5EF4-FFF2-40B4-BE49-F238E27FC236}">
                    <a16:creationId xmlns:a16="http://schemas.microsoft.com/office/drawing/2014/main" id="{A1EC9EAD-93EF-407F-B8D4-A1E85D97756F}"/>
                  </a:ext>
                </a:extLst>
              </p:cNvPr>
              <p:cNvSpPr/>
              <p:nvPr/>
            </p:nvSpPr>
            <p:spPr bwMode="gray">
              <a:xfrm>
                <a:off x="7287837" y="2649816"/>
                <a:ext cx="163850" cy="163850"/>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3" name="Oval 142">
                <a:extLst>
                  <a:ext uri="{FF2B5EF4-FFF2-40B4-BE49-F238E27FC236}">
                    <a16:creationId xmlns:a16="http://schemas.microsoft.com/office/drawing/2014/main" id="{C1CDC0E9-949E-434F-A1AA-509008089534}"/>
                  </a:ext>
                </a:extLst>
              </p:cNvPr>
              <p:cNvSpPr/>
              <p:nvPr/>
            </p:nvSpPr>
            <p:spPr bwMode="gray">
              <a:xfrm>
                <a:off x="7697138" y="3209138"/>
                <a:ext cx="135412" cy="135412"/>
              </a:xfrm>
              <a:prstGeom prst="ellipse">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4" name="Oval 143">
                <a:extLst>
                  <a:ext uri="{FF2B5EF4-FFF2-40B4-BE49-F238E27FC236}">
                    <a16:creationId xmlns:a16="http://schemas.microsoft.com/office/drawing/2014/main" id="{B385EB9C-819B-48D1-BFAC-C27D1CC0AFA1}"/>
                  </a:ext>
                </a:extLst>
              </p:cNvPr>
              <p:cNvSpPr/>
              <p:nvPr/>
            </p:nvSpPr>
            <p:spPr bwMode="gray">
              <a:xfrm>
                <a:off x="6862605" y="3449703"/>
                <a:ext cx="111912" cy="111912"/>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5" name="Oval 144">
                <a:extLst>
                  <a:ext uri="{FF2B5EF4-FFF2-40B4-BE49-F238E27FC236}">
                    <a16:creationId xmlns:a16="http://schemas.microsoft.com/office/drawing/2014/main" id="{D4AA6BB6-6F59-422C-B93F-3BA07B99F6C6}"/>
                  </a:ext>
                </a:extLst>
              </p:cNvPr>
              <p:cNvSpPr/>
              <p:nvPr/>
            </p:nvSpPr>
            <p:spPr bwMode="gray">
              <a:xfrm>
                <a:off x="4952749" y="4395743"/>
                <a:ext cx="218083" cy="218083"/>
              </a:xfrm>
              <a:prstGeom prst="ellipse">
                <a:avLst/>
              </a:prstGeom>
              <a:solidFill>
                <a:srgbClr val="43B02A"/>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6" name="Oval 145">
                <a:extLst>
                  <a:ext uri="{FF2B5EF4-FFF2-40B4-BE49-F238E27FC236}">
                    <a16:creationId xmlns:a16="http://schemas.microsoft.com/office/drawing/2014/main" id="{2C000C4A-0DFB-44C8-B94C-AE54AB711463}"/>
                  </a:ext>
                </a:extLst>
              </p:cNvPr>
              <p:cNvSpPr/>
              <p:nvPr/>
            </p:nvSpPr>
            <p:spPr bwMode="gray">
              <a:xfrm>
                <a:off x="5227166" y="2213425"/>
                <a:ext cx="218083" cy="218083"/>
              </a:xfrm>
              <a:prstGeom prst="ellipse">
                <a:avLst/>
              </a:prstGeom>
              <a:solidFill>
                <a:srgbClr val="C4D60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7" name="Oval 146">
                <a:extLst>
                  <a:ext uri="{FF2B5EF4-FFF2-40B4-BE49-F238E27FC236}">
                    <a16:creationId xmlns:a16="http://schemas.microsoft.com/office/drawing/2014/main" id="{79788487-88DF-4BCC-960A-54B208E38197}"/>
                  </a:ext>
                </a:extLst>
              </p:cNvPr>
              <p:cNvSpPr/>
              <p:nvPr/>
            </p:nvSpPr>
            <p:spPr bwMode="gray">
              <a:xfrm>
                <a:off x="3878647" y="3075369"/>
                <a:ext cx="239892" cy="239892"/>
              </a:xfrm>
              <a:prstGeom prst="ellipse">
                <a:avLst/>
              </a:prstGeom>
              <a:solidFill>
                <a:schemeClr val="accent1">
                  <a:lumMod val="40000"/>
                  <a:lumOff val="60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nvGrpSpPr>
              <p:cNvPr id="148" name="Group 147">
                <a:extLst>
                  <a:ext uri="{FF2B5EF4-FFF2-40B4-BE49-F238E27FC236}">
                    <a16:creationId xmlns:a16="http://schemas.microsoft.com/office/drawing/2014/main" id="{84285461-4CF1-4904-B680-B10F9CCFE106}"/>
                  </a:ext>
                </a:extLst>
              </p:cNvPr>
              <p:cNvGrpSpPr/>
              <p:nvPr/>
            </p:nvGrpSpPr>
            <p:grpSpPr>
              <a:xfrm>
                <a:off x="6477685" y="4280660"/>
                <a:ext cx="315304" cy="1892360"/>
                <a:chOff x="4654550" y="3394076"/>
                <a:chExt cx="250825" cy="1505373"/>
              </a:xfrm>
            </p:grpSpPr>
            <p:cxnSp>
              <p:nvCxnSpPr>
                <p:cNvPr id="202" name="Straight Connector 201">
                  <a:extLst>
                    <a:ext uri="{FF2B5EF4-FFF2-40B4-BE49-F238E27FC236}">
                      <a16:creationId xmlns:a16="http://schemas.microsoft.com/office/drawing/2014/main" id="{74F6CDA5-EF7B-4EAD-849D-6F4801DC68A7}"/>
                    </a:ext>
                  </a:extLst>
                </p:cNvPr>
                <p:cNvCxnSpPr/>
                <p:nvPr/>
              </p:nvCxnSpPr>
              <p:spPr>
                <a:xfrm flipV="1">
                  <a:off x="4654550" y="3644900"/>
                  <a:ext cx="0" cy="1092200"/>
                </a:xfrm>
                <a:prstGeom prst="line">
                  <a:avLst/>
                </a:prstGeom>
                <a:ln w="19050" cap="rnd">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A02283AF-7BCB-487C-AB87-9E0D9C28A11A}"/>
                    </a:ext>
                  </a:extLst>
                </p:cNvPr>
                <p:cNvCxnSpPr>
                  <a:cxnSpLocks/>
                </p:cNvCxnSpPr>
                <p:nvPr/>
              </p:nvCxnSpPr>
              <p:spPr>
                <a:xfrm flipV="1">
                  <a:off x="4654550" y="3394076"/>
                  <a:ext cx="250825" cy="250824"/>
                </a:xfrm>
                <a:prstGeom prst="line">
                  <a:avLst/>
                </a:prstGeom>
                <a:ln w="19050" cap="rnd">
                  <a:solidFill>
                    <a:srgbClr val="00A3E0"/>
                  </a:solidFill>
                  <a:tailEnd type="ova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784748DB-6B04-46FD-9841-6A4BC1B9C219}"/>
                    </a:ext>
                  </a:extLst>
                </p:cNvPr>
                <p:cNvCxnSpPr/>
                <p:nvPr/>
              </p:nvCxnSpPr>
              <p:spPr>
                <a:xfrm flipV="1">
                  <a:off x="4654550" y="4737100"/>
                  <a:ext cx="0" cy="162349"/>
                </a:xfrm>
                <a:prstGeom prst="line">
                  <a:avLst/>
                </a:prstGeom>
                <a:ln w="50800" cap="flat">
                  <a:solidFill>
                    <a:srgbClr val="00A3E0"/>
                  </a:solidFill>
                  <a:bevel/>
                </a:ln>
              </p:spPr>
              <p:style>
                <a:lnRef idx="1">
                  <a:schemeClr val="accent1"/>
                </a:lnRef>
                <a:fillRef idx="0">
                  <a:schemeClr val="accent1"/>
                </a:fillRef>
                <a:effectRef idx="0">
                  <a:schemeClr val="accent1"/>
                </a:effectRef>
                <a:fontRef idx="minor">
                  <a:schemeClr val="tx1"/>
                </a:fontRef>
              </p:style>
            </p:cxnSp>
          </p:grpSp>
          <p:grpSp>
            <p:nvGrpSpPr>
              <p:cNvPr id="149" name="Group 148">
                <a:extLst>
                  <a:ext uri="{FF2B5EF4-FFF2-40B4-BE49-F238E27FC236}">
                    <a16:creationId xmlns:a16="http://schemas.microsoft.com/office/drawing/2014/main" id="{2FB00316-8333-47F7-B858-FE62B6BEEB9C}"/>
                  </a:ext>
                </a:extLst>
              </p:cNvPr>
              <p:cNvGrpSpPr/>
              <p:nvPr/>
            </p:nvGrpSpPr>
            <p:grpSpPr>
              <a:xfrm>
                <a:off x="6754926" y="4814070"/>
                <a:ext cx="215357" cy="1358950"/>
                <a:chOff x="4654550" y="3394076"/>
                <a:chExt cx="250825" cy="1582758"/>
              </a:xfrm>
            </p:grpSpPr>
            <p:cxnSp>
              <p:nvCxnSpPr>
                <p:cNvPr id="186" name="Straight Connector 185">
                  <a:extLst>
                    <a:ext uri="{FF2B5EF4-FFF2-40B4-BE49-F238E27FC236}">
                      <a16:creationId xmlns:a16="http://schemas.microsoft.com/office/drawing/2014/main" id="{20B85C7B-8950-4D2C-A894-C3AD1417BD1F}"/>
                    </a:ext>
                  </a:extLst>
                </p:cNvPr>
                <p:cNvCxnSpPr/>
                <p:nvPr/>
              </p:nvCxnSpPr>
              <p:spPr>
                <a:xfrm flipV="1">
                  <a:off x="4654550" y="3644900"/>
                  <a:ext cx="0" cy="109220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A829DC91-D704-4EC8-AF1A-E4CA7E415D0C}"/>
                    </a:ext>
                  </a:extLst>
                </p:cNvPr>
                <p:cNvCxnSpPr>
                  <a:cxnSpLocks/>
                </p:cNvCxnSpPr>
                <p:nvPr/>
              </p:nvCxnSpPr>
              <p:spPr>
                <a:xfrm flipV="1">
                  <a:off x="4654550" y="3394076"/>
                  <a:ext cx="250825" cy="250824"/>
                </a:xfrm>
                <a:prstGeom prst="line">
                  <a:avLst/>
                </a:prstGeom>
                <a:ln w="19050" cap="rnd">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13E95AB0-2FE5-4766-9E99-D306140A7D3E}"/>
                    </a:ext>
                  </a:extLst>
                </p:cNvPr>
                <p:cNvCxnSpPr>
                  <a:cxnSpLocks/>
                </p:cNvCxnSpPr>
                <p:nvPr/>
              </p:nvCxnSpPr>
              <p:spPr>
                <a:xfrm flipV="1">
                  <a:off x="4654550" y="4737101"/>
                  <a:ext cx="0" cy="239733"/>
                </a:xfrm>
                <a:prstGeom prst="line">
                  <a:avLst/>
                </a:prstGeom>
                <a:ln w="50800" cap="flat">
                  <a:solidFill>
                    <a:schemeClr val="accent1"/>
                  </a:solidFill>
                  <a:bevel/>
                </a:ln>
              </p:spPr>
              <p:style>
                <a:lnRef idx="1">
                  <a:schemeClr val="accent1"/>
                </a:lnRef>
                <a:fillRef idx="0">
                  <a:schemeClr val="accent1"/>
                </a:fillRef>
                <a:effectRef idx="0">
                  <a:schemeClr val="accent1"/>
                </a:effectRef>
                <a:fontRef idx="minor">
                  <a:schemeClr val="tx1"/>
                </a:fontRef>
              </p:style>
            </p:cxnSp>
          </p:grpSp>
          <p:grpSp>
            <p:nvGrpSpPr>
              <p:cNvPr id="150" name="Group 149">
                <a:extLst>
                  <a:ext uri="{FF2B5EF4-FFF2-40B4-BE49-F238E27FC236}">
                    <a16:creationId xmlns:a16="http://schemas.microsoft.com/office/drawing/2014/main" id="{AF918CCA-6EA4-424F-8029-8A134821B8E8}"/>
                  </a:ext>
                </a:extLst>
              </p:cNvPr>
              <p:cNvGrpSpPr/>
              <p:nvPr/>
            </p:nvGrpSpPr>
            <p:grpSpPr>
              <a:xfrm flipH="1">
                <a:off x="5852408" y="4049621"/>
                <a:ext cx="353800" cy="2123401"/>
                <a:chOff x="4654550" y="3394076"/>
                <a:chExt cx="250825" cy="1505373"/>
              </a:xfrm>
            </p:grpSpPr>
            <p:cxnSp>
              <p:nvCxnSpPr>
                <p:cNvPr id="183" name="Straight Connector 182">
                  <a:extLst>
                    <a:ext uri="{FF2B5EF4-FFF2-40B4-BE49-F238E27FC236}">
                      <a16:creationId xmlns:a16="http://schemas.microsoft.com/office/drawing/2014/main" id="{A70D1757-DA9C-418E-8689-D99B8DF11066}"/>
                    </a:ext>
                  </a:extLst>
                </p:cNvPr>
                <p:cNvCxnSpPr/>
                <p:nvPr/>
              </p:nvCxnSpPr>
              <p:spPr>
                <a:xfrm flipV="1">
                  <a:off x="4654550" y="3644900"/>
                  <a:ext cx="0" cy="109220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5728AA95-756D-4B47-8351-22B1BC8618FE}"/>
                    </a:ext>
                  </a:extLst>
                </p:cNvPr>
                <p:cNvCxnSpPr>
                  <a:cxnSpLocks/>
                </p:cNvCxnSpPr>
                <p:nvPr/>
              </p:nvCxnSpPr>
              <p:spPr>
                <a:xfrm flipV="1">
                  <a:off x="4654550" y="3394076"/>
                  <a:ext cx="250825" cy="250824"/>
                </a:xfrm>
                <a:prstGeom prst="line">
                  <a:avLst/>
                </a:prstGeom>
                <a:ln w="19050" cap="rnd">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182355F1-7C47-45DC-BFC2-2F02FF67AAD3}"/>
                    </a:ext>
                  </a:extLst>
                </p:cNvPr>
                <p:cNvCxnSpPr/>
                <p:nvPr/>
              </p:nvCxnSpPr>
              <p:spPr>
                <a:xfrm flipV="1">
                  <a:off x="4654550" y="4737100"/>
                  <a:ext cx="0" cy="162349"/>
                </a:xfrm>
                <a:prstGeom prst="line">
                  <a:avLst/>
                </a:prstGeom>
                <a:ln w="50800" cap="flat">
                  <a:solidFill>
                    <a:schemeClr val="accent1"/>
                  </a:solidFill>
                  <a:beve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C3506E9B-D10F-4F83-9E51-6913A7632E3C}"/>
                  </a:ext>
                </a:extLst>
              </p:cNvPr>
              <p:cNvGrpSpPr/>
              <p:nvPr/>
            </p:nvGrpSpPr>
            <p:grpSpPr>
              <a:xfrm flipH="1">
                <a:off x="5687317" y="4648156"/>
                <a:ext cx="241652" cy="1524866"/>
                <a:chOff x="4654550" y="3394076"/>
                <a:chExt cx="250825" cy="1582758"/>
              </a:xfrm>
            </p:grpSpPr>
            <p:cxnSp>
              <p:nvCxnSpPr>
                <p:cNvPr id="180" name="Straight Connector 179">
                  <a:extLst>
                    <a:ext uri="{FF2B5EF4-FFF2-40B4-BE49-F238E27FC236}">
                      <a16:creationId xmlns:a16="http://schemas.microsoft.com/office/drawing/2014/main" id="{C8779F89-820B-4D44-B4DB-1C694159D03C}"/>
                    </a:ext>
                  </a:extLst>
                </p:cNvPr>
                <p:cNvCxnSpPr/>
                <p:nvPr/>
              </p:nvCxnSpPr>
              <p:spPr>
                <a:xfrm flipV="1">
                  <a:off x="4654550" y="3644900"/>
                  <a:ext cx="0" cy="1092200"/>
                </a:xfrm>
                <a:prstGeom prst="line">
                  <a:avLst/>
                </a:prstGeom>
                <a:ln w="19050" cap="rnd">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EDF3E530-8D34-4090-83C3-BFA9CA2282CD}"/>
                    </a:ext>
                  </a:extLst>
                </p:cNvPr>
                <p:cNvCxnSpPr>
                  <a:cxnSpLocks/>
                </p:cNvCxnSpPr>
                <p:nvPr/>
              </p:nvCxnSpPr>
              <p:spPr>
                <a:xfrm flipV="1">
                  <a:off x="4654550" y="3394076"/>
                  <a:ext cx="250825" cy="250824"/>
                </a:xfrm>
                <a:prstGeom prst="line">
                  <a:avLst/>
                </a:prstGeom>
                <a:ln w="19050" cap="rnd">
                  <a:solidFill>
                    <a:srgbClr val="00A3E0"/>
                  </a:solidFill>
                  <a:tailEnd type="ova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71C93772-DE83-4112-9ED1-EEDA365C3870}"/>
                    </a:ext>
                  </a:extLst>
                </p:cNvPr>
                <p:cNvCxnSpPr>
                  <a:cxnSpLocks/>
                </p:cNvCxnSpPr>
                <p:nvPr/>
              </p:nvCxnSpPr>
              <p:spPr>
                <a:xfrm flipV="1">
                  <a:off x="4654550" y="4737101"/>
                  <a:ext cx="0" cy="239733"/>
                </a:xfrm>
                <a:prstGeom prst="line">
                  <a:avLst/>
                </a:prstGeom>
                <a:ln w="50800" cap="flat">
                  <a:solidFill>
                    <a:srgbClr val="00A3E0"/>
                  </a:solidFill>
                  <a:bevel/>
                </a:ln>
              </p:spPr>
              <p:style>
                <a:lnRef idx="1">
                  <a:schemeClr val="accent1"/>
                </a:lnRef>
                <a:fillRef idx="0">
                  <a:schemeClr val="accent1"/>
                </a:fillRef>
                <a:effectRef idx="0">
                  <a:schemeClr val="accent1"/>
                </a:effectRef>
                <a:fontRef idx="minor">
                  <a:schemeClr val="tx1"/>
                </a:fontRef>
              </p:style>
            </p:cxnSp>
          </p:grpSp>
          <p:cxnSp>
            <p:nvCxnSpPr>
              <p:cNvPr id="152" name="Straight Connector 151">
                <a:extLst>
                  <a:ext uri="{FF2B5EF4-FFF2-40B4-BE49-F238E27FC236}">
                    <a16:creationId xmlns:a16="http://schemas.microsoft.com/office/drawing/2014/main" id="{1497B23D-2564-405D-BE7B-E789D27F38DA}"/>
                  </a:ext>
                </a:extLst>
              </p:cNvPr>
              <p:cNvCxnSpPr>
                <a:cxnSpLocks/>
                <a:stCxn id="138" idx="6"/>
              </p:cNvCxnSpPr>
              <p:nvPr/>
            </p:nvCxnSpPr>
            <p:spPr>
              <a:xfrm flipV="1">
                <a:off x="7538789" y="3750989"/>
                <a:ext cx="702559" cy="44526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754BB5D5-A815-4E23-9682-51FF69E3751D}"/>
                  </a:ext>
                </a:extLst>
              </p:cNvPr>
              <p:cNvCxnSpPr>
                <a:cxnSpLocks/>
                <a:stCxn id="138" idx="1"/>
                <a:endCxn id="144" idx="4"/>
              </p:cNvCxnSpPr>
              <p:nvPr/>
            </p:nvCxnSpPr>
            <p:spPr>
              <a:xfrm flipH="1" flipV="1">
                <a:off x="6918561" y="3561614"/>
                <a:ext cx="290458" cy="498047"/>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8503D870-4F27-40FA-B792-7BE9F7DBF907}"/>
                  </a:ext>
                </a:extLst>
              </p:cNvPr>
              <p:cNvCxnSpPr>
                <a:cxnSpLocks/>
                <a:stCxn id="142" idx="3"/>
                <a:endCxn id="144" idx="0"/>
              </p:cNvCxnSpPr>
              <p:nvPr/>
            </p:nvCxnSpPr>
            <p:spPr>
              <a:xfrm flipH="1">
                <a:off x="6918561" y="2789671"/>
                <a:ext cx="393270" cy="660032"/>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761FB9AA-8F23-41BA-97B5-7FA26EAB3EFA}"/>
                  </a:ext>
                </a:extLst>
              </p:cNvPr>
              <p:cNvCxnSpPr>
                <a:cxnSpLocks/>
                <a:stCxn id="141" idx="1"/>
                <a:endCxn id="142" idx="6"/>
              </p:cNvCxnSpPr>
              <p:nvPr/>
            </p:nvCxnSpPr>
            <p:spPr>
              <a:xfrm flipH="1" flipV="1">
                <a:off x="7451687" y="2731741"/>
                <a:ext cx="595341" cy="16196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6AA71D33-BF29-4868-AC02-BDF7B0B6F793}"/>
                  </a:ext>
                </a:extLst>
              </p:cNvPr>
              <p:cNvCxnSpPr>
                <a:cxnSpLocks/>
                <a:stCxn id="179" idx="0"/>
                <a:endCxn id="141" idx="5"/>
              </p:cNvCxnSpPr>
              <p:nvPr/>
            </p:nvCxnSpPr>
            <p:spPr>
              <a:xfrm flipH="1" flipV="1">
                <a:off x="8187217" y="3033899"/>
                <a:ext cx="122602" cy="58924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F8BE7A18-BEE8-430A-BDC7-78D38D367C6E}"/>
                  </a:ext>
                </a:extLst>
              </p:cNvPr>
              <p:cNvCxnSpPr>
                <a:cxnSpLocks/>
                <a:stCxn id="138" idx="0"/>
                <a:endCxn id="143" idx="3"/>
              </p:cNvCxnSpPr>
              <p:nvPr/>
            </p:nvCxnSpPr>
            <p:spPr>
              <a:xfrm flipV="1">
                <a:off x="7345614" y="3324720"/>
                <a:ext cx="371354" cy="678362"/>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D04FADEC-7602-48CC-868A-C7928E7AFC6D}"/>
                  </a:ext>
                </a:extLst>
              </p:cNvPr>
              <p:cNvCxnSpPr>
                <a:cxnSpLocks/>
                <a:stCxn id="143" idx="2"/>
                <a:endCxn id="144" idx="6"/>
              </p:cNvCxnSpPr>
              <p:nvPr/>
            </p:nvCxnSpPr>
            <p:spPr>
              <a:xfrm flipH="1">
                <a:off x="6974516" y="3276845"/>
                <a:ext cx="722622" cy="22881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4AEB14B7-80E9-452F-8AC0-8AC6F71EA2FB}"/>
                  </a:ext>
                </a:extLst>
              </p:cNvPr>
              <p:cNvCxnSpPr>
                <a:cxnSpLocks/>
                <a:stCxn id="143" idx="1"/>
                <a:endCxn id="142" idx="5"/>
              </p:cNvCxnSpPr>
              <p:nvPr/>
            </p:nvCxnSpPr>
            <p:spPr>
              <a:xfrm flipH="1" flipV="1">
                <a:off x="7427692" y="2789671"/>
                <a:ext cx="289276" cy="43929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DA628D3-1AC5-4D2D-AB3A-98B6F6B02A70}"/>
                  </a:ext>
                </a:extLst>
              </p:cNvPr>
              <p:cNvCxnSpPr>
                <a:cxnSpLocks/>
                <a:stCxn id="143" idx="7"/>
                <a:endCxn id="141" idx="4"/>
              </p:cNvCxnSpPr>
              <p:nvPr/>
            </p:nvCxnSpPr>
            <p:spPr>
              <a:xfrm flipV="1">
                <a:off x="7812720" y="3062933"/>
                <a:ext cx="304403" cy="16603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2A56E409-E70C-406A-A225-E6F1F8CF28E0}"/>
                  </a:ext>
                </a:extLst>
              </p:cNvPr>
              <p:cNvCxnSpPr>
                <a:cxnSpLocks/>
                <a:stCxn id="179" idx="1"/>
                <a:endCxn id="143" idx="5"/>
              </p:cNvCxnSpPr>
              <p:nvPr/>
            </p:nvCxnSpPr>
            <p:spPr>
              <a:xfrm flipH="1" flipV="1">
                <a:off x="7812720" y="3324720"/>
                <a:ext cx="412285" cy="33355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E67435BB-CC09-4571-8C26-E5D805F500DC}"/>
                  </a:ext>
                </a:extLst>
              </p:cNvPr>
              <p:cNvCxnSpPr>
                <a:cxnSpLocks/>
                <a:stCxn id="137" idx="5"/>
                <a:endCxn id="145" idx="2"/>
              </p:cNvCxnSpPr>
              <p:nvPr/>
            </p:nvCxnSpPr>
            <p:spPr>
              <a:xfrm>
                <a:off x="4092005" y="4192800"/>
                <a:ext cx="860744" cy="31198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FEEBBBB3-D8D8-4364-BAF3-8E303DBE8DB8}"/>
                  </a:ext>
                </a:extLst>
              </p:cNvPr>
              <p:cNvCxnSpPr>
                <a:cxnSpLocks/>
                <a:stCxn id="139" idx="3"/>
                <a:endCxn id="145" idx="7"/>
              </p:cNvCxnSpPr>
              <p:nvPr/>
            </p:nvCxnSpPr>
            <p:spPr>
              <a:xfrm flipH="1">
                <a:off x="5138894" y="3634666"/>
                <a:ext cx="305343" cy="79301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989765ED-E2A8-45F2-AA91-DE4174808150}"/>
                  </a:ext>
                </a:extLst>
              </p:cNvPr>
              <p:cNvCxnSpPr>
                <a:cxnSpLocks/>
                <a:stCxn id="136" idx="3"/>
                <a:endCxn id="139" idx="6"/>
              </p:cNvCxnSpPr>
              <p:nvPr/>
            </p:nvCxnSpPr>
            <p:spPr>
              <a:xfrm flipH="1">
                <a:off x="5744027" y="3308200"/>
                <a:ext cx="466146" cy="20229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6E8EE8DF-21B5-473C-B6D5-8744EB874740}"/>
                  </a:ext>
                </a:extLst>
              </p:cNvPr>
              <p:cNvCxnSpPr>
                <a:cxnSpLocks/>
                <a:stCxn id="144" idx="2"/>
                <a:endCxn id="136" idx="5"/>
              </p:cNvCxnSpPr>
              <p:nvPr/>
            </p:nvCxnSpPr>
            <p:spPr>
              <a:xfrm flipH="1" flipV="1">
                <a:off x="6510681" y="3308200"/>
                <a:ext cx="351924" cy="197459"/>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FD6C69AA-26AF-478C-AD83-9B8DBE0DE270}"/>
                  </a:ext>
                </a:extLst>
              </p:cNvPr>
              <p:cNvCxnSpPr>
                <a:cxnSpLocks/>
                <a:stCxn id="137" idx="0"/>
                <a:endCxn id="147" idx="4"/>
              </p:cNvCxnSpPr>
              <p:nvPr/>
            </p:nvCxnSpPr>
            <p:spPr>
              <a:xfrm flipV="1">
                <a:off x="3955410" y="3315261"/>
                <a:ext cx="43183" cy="54777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06A1B409-E0EF-4BFD-B1A5-E9E67E2AD64E}"/>
                  </a:ext>
                </a:extLst>
              </p:cNvPr>
              <p:cNvCxnSpPr>
                <a:cxnSpLocks/>
                <a:stCxn id="147" idx="6"/>
                <a:endCxn id="140" idx="2"/>
              </p:cNvCxnSpPr>
              <p:nvPr/>
            </p:nvCxnSpPr>
            <p:spPr>
              <a:xfrm flipV="1">
                <a:off x="4118539" y="3083750"/>
                <a:ext cx="375749" cy="11156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FF8203B9-7F6F-4EFD-906E-17F209F91A94}"/>
                  </a:ext>
                </a:extLst>
              </p:cNvPr>
              <p:cNvCxnSpPr>
                <a:cxnSpLocks/>
                <a:stCxn id="140" idx="7"/>
                <a:endCxn id="146" idx="3"/>
              </p:cNvCxnSpPr>
              <p:nvPr/>
            </p:nvCxnSpPr>
            <p:spPr>
              <a:xfrm flipV="1">
                <a:off x="4742048" y="2399570"/>
                <a:ext cx="517056" cy="58155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146B52FA-9366-4C5A-B16A-D8540FB54C84}"/>
                  </a:ext>
                </a:extLst>
              </p:cNvPr>
              <p:cNvCxnSpPr>
                <a:cxnSpLocks/>
                <a:stCxn id="146" idx="6"/>
              </p:cNvCxnSpPr>
              <p:nvPr/>
            </p:nvCxnSpPr>
            <p:spPr>
              <a:xfrm flipV="1">
                <a:off x="5445248" y="2117626"/>
                <a:ext cx="818704" cy="20484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178A3AAF-9896-446F-8B7F-8B8AB21271AD}"/>
                  </a:ext>
                </a:extLst>
              </p:cNvPr>
              <p:cNvCxnSpPr>
                <a:cxnSpLocks/>
                <a:stCxn id="178" idx="5"/>
                <a:endCxn id="142" idx="1"/>
              </p:cNvCxnSpPr>
              <p:nvPr/>
            </p:nvCxnSpPr>
            <p:spPr>
              <a:xfrm>
                <a:off x="6445241" y="2202440"/>
                <a:ext cx="866591" cy="47137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0C55D0CA-751F-4889-A5D3-FE8205103C2E}"/>
                  </a:ext>
                </a:extLst>
              </p:cNvPr>
              <p:cNvCxnSpPr>
                <a:cxnSpLocks/>
                <a:stCxn id="136" idx="7"/>
                <a:endCxn id="142" idx="2"/>
              </p:cNvCxnSpPr>
              <p:nvPr/>
            </p:nvCxnSpPr>
            <p:spPr>
              <a:xfrm flipV="1">
                <a:off x="6510681" y="2731741"/>
                <a:ext cx="777156" cy="27595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2F6F3F3C-89D6-4DE0-92DC-6DBAD2345E9A}"/>
                  </a:ext>
                </a:extLst>
              </p:cNvPr>
              <p:cNvCxnSpPr>
                <a:cxnSpLocks/>
                <a:stCxn id="136" idx="0"/>
                <a:endCxn id="178" idx="4"/>
              </p:cNvCxnSpPr>
              <p:nvPr/>
            </p:nvCxnSpPr>
            <p:spPr>
              <a:xfrm flipV="1">
                <a:off x="6360427" y="2237572"/>
                <a:ext cx="0" cy="707883"/>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9CC90EAE-A88A-40E6-B8D0-AD46AE151E49}"/>
                  </a:ext>
                </a:extLst>
              </p:cNvPr>
              <p:cNvCxnSpPr>
                <a:cxnSpLocks/>
                <a:stCxn id="136" idx="1"/>
                <a:endCxn id="146" idx="5"/>
              </p:cNvCxnSpPr>
              <p:nvPr/>
            </p:nvCxnSpPr>
            <p:spPr>
              <a:xfrm flipH="1" flipV="1">
                <a:off x="5413311" y="2399570"/>
                <a:ext cx="796861" cy="60812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C1A9E1D8-663D-4BC0-8D0B-C43C966622C4}"/>
                  </a:ext>
                </a:extLst>
              </p:cNvPr>
              <p:cNvCxnSpPr>
                <a:cxnSpLocks/>
                <a:stCxn id="139" idx="1"/>
                <a:endCxn id="146" idx="4"/>
              </p:cNvCxnSpPr>
              <p:nvPr/>
            </p:nvCxnSpPr>
            <p:spPr>
              <a:xfrm flipH="1" flipV="1">
                <a:off x="5336208" y="2431508"/>
                <a:ext cx="108029" cy="95480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BE4F162B-45F6-45CF-9CD5-1F7AEE3446D4}"/>
                  </a:ext>
                </a:extLst>
              </p:cNvPr>
              <p:cNvCxnSpPr>
                <a:cxnSpLocks/>
                <a:stCxn id="139" idx="2"/>
                <a:endCxn id="140" idx="5"/>
              </p:cNvCxnSpPr>
              <p:nvPr/>
            </p:nvCxnSpPr>
            <p:spPr>
              <a:xfrm flipH="1" flipV="1">
                <a:off x="4742048" y="3186376"/>
                <a:ext cx="650753" cy="32411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40B8176-7236-4E8A-9220-3D5197EDE6AF}"/>
                  </a:ext>
                </a:extLst>
              </p:cNvPr>
              <p:cNvCxnSpPr>
                <a:cxnSpLocks/>
                <a:stCxn id="145" idx="0"/>
                <a:endCxn id="140" idx="4"/>
              </p:cNvCxnSpPr>
              <p:nvPr/>
            </p:nvCxnSpPr>
            <p:spPr>
              <a:xfrm flipH="1" flipV="1">
                <a:off x="4639423" y="3228885"/>
                <a:ext cx="422368" cy="116685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65A5510C-B70F-4B01-A8DB-21A40CB3BD9C}"/>
                  </a:ext>
                </a:extLst>
              </p:cNvPr>
              <p:cNvCxnSpPr>
                <a:cxnSpLocks/>
                <a:stCxn id="137" idx="7"/>
                <a:endCxn id="140" idx="3"/>
              </p:cNvCxnSpPr>
              <p:nvPr/>
            </p:nvCxnSpPr>
            <p:spPr>
              <a:xfrm flipV="1">
                <a:off x="4092005" y="3186376"/>
                <a:ext cx="444792" cy="73323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78" name="Oval 177">
                <a:extLst>
                  <a:ext uri="{FF2B5EF4-FFF2-40B4-BE49-F238E27FC236}">
                    <a16:creationId xmlns:a16="http://schemas.microsoft.com/office/drawing/2014/main" id="{781021D5-0623-4492-975A-D31E77A28F3D}"/>
                  </a:ext>
                </a:extLst>
              </p:cNvPr>
              <p:cNvSpPr/>
              <p:nvPr/>
            </p:nvSpPr>
            <p:spPr bwMode="gray">
              <a:xfrm>
                <a:off x="6240481" y="1997680"/>
                <a:ext cx="239892" cy="239892"/>
              </a:xfrm>
              <a:prstGeom prst="ellipse">
                <a:avLst/>
              </a:prstGeom>
              <a:solidFill>
                <a:schemeClr val="accent3">
                  <a:lumMod val="40000"/>
                  <a:lumOff val="60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79" name="Oval 178">
                <a:extLst>
                  <a:ext uri="{FF2B5EF4-FFF2-40B4-BE49-F238E27FC236}">
                    <a16:creationId xmlns:a16="http://schemas.microsoft.com/office/drawing/2014/main" id="{3A6D2730-7D92-4C92-B46E-FA9C7FE232BC}"/>
                  </a:ext>
                </a:extLst>
              </p:cNvPr>
              <p:cNvSpPr/>
              <p:nvPr/>
            </p:nvSpPr>
            <p:spPr bwMode="gray">
              <a:xfrm>
                <a:off x="8189873" y="3623139"/>
                <a:ext cx="239892" cy="239892"/>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sp>
          <p:nvSpPr>
            <p:cNvPr id="205" name="Oval 204"/>
            <p:cNvSpPr/>
            <p:nvPr/>
          </p:nvSpPr>
          <p:spPr bwMode="gray">
            <a:xfrm>
              <a:off x="2843572" y="2865555"/>
              <a:ext cx="1058441" cy="1058901"/>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r>
                <a:rPr lang="en-GB" sz="1050" dirty="0">
                  <a:solidFill>
                    <a:schemeClr val="bg1"/>
                  </a:solidFill>
                </a:rPr>
                <a:t>Lorem ipsum </a:t>
              </a:r>
              <a:r>
                <a:rPr lang="en-GB" sz="1050" dirty="0" err="1">
                  <a:solidFill>
                    <a:schemeClr val="bg1"/>
                  </a:solidFill>
                </a:rPr>
                <a:t>dolor</a:t>
              </a:r>
              <a:r>
                <a:rPr lang="en-GB" sz="1050" dirty="0">
                  <a:solidFill>
                    <a:schemeClr val="bg1"/>
                  </a:solidFill>
                </a:rPr>
                <a:t> sit </a:t>
              </a:r>
            </a:p>
          </p:txBody>
        </p:sp>
        <p:sp>
          <p:nvSpPr>
            <p:cNvPr id="206" name="Oval 205"/>
            <p:cNvSpPr/>
            <p:nvPr/>
          </p:nvSpPr>
          <p:spPr bwMode="gray">
            <a:xfrm>
              <a:off x="8382157" y="2865555"/>
              <a:ext cx="1058441" cy="1058901"/>
            </a:xfrm>
            <a:prstGeom prst="ellipse">
              <a:avLst/>
            </a:prstGeom>
            <a:solidFill>
              <a:srgbClr val="00A3E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r>
                <a:rPr lang="en-GB" sz="1050" dirty="0">
                  <a:solidFill>
                    <a:schemeClr val="bg1"/>
                  </a:solidFill>
                </a:rPr>
                <a:t>Lorem ipsum </a:t>
              </a:r>
              <a:r>
                <a:rPr lang="en-GB" sz="1050" dirty="0" err="1">
                  <a:solidFill>
                    <a:schemeClr val="bg1"/>
                  </a:solidFill>
                </a:rPr>
                <a:t>dolor</a:t>
              </a:r>
              <a:r>
                <a:rPr lang="en-GB" sz="1050" dirty="0">
                  <a:solidFill>
                    <a:schemeClr val="bg1"/>
                  </a:solidFill>
                </a:rPr>
                <a:t> sit </a:t>
              </a:r>
            </a:p>
          </p:txBody>
        </p:sp>
        <p:sp>
          <p:nvSpPr>
            <p:cNvPr id="207" name="Oval 206">
              <a:extLst>
                <a:ext uri="{FF2B5EF4-FFF2-40B4-BE49-F238E27FC236}">
                  <a16:creationId xmlns:a16="http://schemas.microsoft.com/office/drawing/2014/main" id="{385FBC3C-2858-4A00-8AC7-935E6DF59692}"/>
                </a:ext>
              </a:extLst>
            </p:cNvPr>
            <p:cNvSpPr/>
            <p:nvPr/>
          </p:nvSpPr>
          <p:spPr bwMode="gray">
            <a:xfrm>
              <a:off x="8317827" y="2801456"/>
              <a:ext cx="1187101" cy="1187101"/>
            </a:xfrm>
            <a:prstGeom prst="ellipse">
              <a:avLst/>
            </a:prstGeom>
            <a:noFill/>
            <a:ln w="25400" cap="rnd" algn="ctr">
              <a:solidFill>
                <a:srgbClr val="00A3E0"/>
              </a:solidFill>
              <a:prstDash val="sysDot"/>
              <a:round/>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208" name="Oval 207">
              <a:extLst>
                <a:ext uri="{FF2B5EF4-FFF2-40B4-BE49-F238E27FC236}">
                  <a16:creationId xmlns:a16="http://schemas.microsoft.com/office/drawing/2014/main" id="{D46D2B3A-FCEC-4D9E-851D-89A84DBC39A2}"/>
                </a:ext>
              </a:extLst>
            </p:cNvPr>
            <p:cNvSpPr/>
            <p:nvPr/>
          </p:nvSpPr>
          <p:spPr bwMode="gray">
            <a:xfrm>
              <a:off x="2779242" y="2801456"/>
              <a:ext cx="1187101" cy="1187101"/>
            </a:xfrm>
            <a:prstGeom prst="ellipse">
              <a:avLst/>
            </a:prstGeom>
            <a:noFill/>
            <a:ln w="25400" cap="rnd" algn="ctr">
              <a:solidFill>
                <a:schemeClr val="accent1"/>
              </a:solidFill>
              <a:prstDash val="sysDot"/>
              <a:round/>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spTree>
    <p:custDataLst>
      <p:tags r:id="rId1"/>
    </p:custDataLst>
    <p:extLst>
      <p:ext uri="{BB962C8B-B14F-4D97-AF65-F5344CB8AC3E}">
        <p14:creationId xmlns:p14="http://schemas.microsoft.com/office/powerpoint/2010/main" val="2064356272"/>
      </p:ext>
    </p:extLst>
  </p:cSld>
  <p:clrMapOvr>
    <a:masterClrMapping/>
  </p:clrMapOvr>
  <p:transition>
    <p:fade/>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C7367119-94D6-B546-83C6-3CE3333343C8}"/>
              </a:ext>
            </a:extLst>
          </p:cNvPr>
          <p:cNvSpPr>
            <a:spLocks noEditPoints="1"/>
          </p:cNvSpPr>
          <p:nvPr/>
        </p:nvSpPr>
        <p:spPr bwMode="auto">
          <a:xfrm>
            <a:off x="2954176" y="62217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Freeform 6">
            <a:extLst>
              <a:ext uri="{FF2B5EF4-FFF2-40B4-BE49-F238E27FC236}">
                <a16:creationId xmlns:a16="http://schemas.microsoft.com/office/drawing/2014/main" id="{90E5CF38-A352-144B-9898-E608B89459EB}"/>
              </a:ext>
            </a:extLst>
          </p:cNvPr>
          <p:cNvSpPr>
            <a:spLocks noEditPoints="1"/>
          </p:cNvSpPr>
          <p:nvPr/>
        </p:nvSpPr>
        <p:spPr bwMode="auto">
          <a:xfrm>
            <a:off x="2952151" y="6218700"/>
            <a:ext cx="54661" cy="55674"/>
          </a:xfrm>
          <a:custGeom>
            <a:avLst/>
            <a:gdLst>
              <a:gd name="T0" fmla="*/ 2 w 54"/>
              <a:gd name="T1" fmla="*/ 3 h 55"/>
              <a:gd name="T2" fmla="*/ 2 w 54"/>
              <a:gd name="T3" fmla="*/ 5 h 55"/>
              <a:gd name="T4" fmla="*/ 49 w 54"/>
              <a:gd name="T5" fmla="*/ 5 h 55"/>
              <a:gd name="T6" fmla="*/ 49 w 54"/>
              <a:gd name="T7" fmla="*/ 50 h 55"/>
              <a:gd name="T8" fmla="*/ 4 w 54"/>
              <a:gd name="T9" fmla="*/ 50 h 55"/>
              <a:gd name="T10" fmla="*/ 4 w 54"/>
              <a:gd name="T11" fmla="*/ 3 h 55"/>
              <a:gd name="T12" fmla="*/ 2 w 54"/>
              <a:gd name="T13" fmla="*/ 3 h 55"/>
              <a:gd name="T14" fmla="*/ 2 w 54"/>
              <a:gd name="T15" fmla="*/ 5 h 55"/>
              <a:gd name="T16" fmla="*/ 2 w 54"/>
              <a:gd name="T17" fmla="*/ 3 h 55"/>
              <a:gd name="T18" fmla="*/ 0 w 54"/>
              <a:gd name="T19" fmla="*/ 3 h 55"/>
              <a:gd name="T20" fmla="*/ 0 w 54"/>
              <a:gd name="T21" fmla="*/ 55 h 55"/>
              <a:gd name="T22" fmla="*/ 54 w 54"/>
              <a:gd name="T23" fmla="*/ 55 h 55"/>
              <a:gd name="T24" fmla="*/ 54 w 54"/>
              <a:gd name="T25" fmla="*/ 0 h 55"/>
              <a:gd name="T26" fmla="*/ 0 w 54"/>
              <a:gd name="T27" fmla="*/ 0 h 55"/>
              <a:gd name="T28" fmla="*/ 0 w 54"/>
              <a:gd name="T29" fmla="*/ 3 h 55"/>
              <a:gd name="T30" fmla="*/ 2 w 54"/>
              <a:gd name="T31" fmla="*/ 3 h 55"/>
              <a:gd name="T32" fmla="*/ 40 w 54"/>
              <a:gd name="T33" fmla="*/ 14 h 55"/>
              <a:gd name="T34" fmla="*/ 40 w 54"/>
              <a:gd name="T35" fmla="*/ 12 h 55"/>
              <a:gd name="T36" fmla="*/ 11 w 54"/>
              <a:gd name="T37" fmla="*/ 12 h 55"/>
              <a:gd name="T38" fmla="*/ 11 w 54"/>
              <a:gd name="T39" fmla="*/ 43 h 55"/>
              <a:gd name="T40" fmla="*/ 42 w 54"/>
              <a:gd name="T41" fmla="*/ 43 h 55"/>
              <a:gd name="T42" fmla="*/ 42 w 54"/>
              <a:gd name="T43" fmla="*/ 12 h 55"/>
              <a:gd name="T44" fmla="*/ 40 w 54"/>
              <a:gd name="T45" fmla="*/ 12 h 55"/>
              <a:gd name="T46" fmla="*/ 40 w 54"/>
              <a:gd name="T47" fmla="*/ 14 h 55"/>
              <a:gd name="T48" fmla="*/ 38 w 54"/>
              <a:gd name="T49" fmla="*/ 14 h 55"/>
              <a:gd name="T50" fmla="*/ 38 w 54"/>
              <a:gd name="T51" fmla="*/ 38 h 55"/>
              <a:gd name="T52" fmla="*/ 16 w 54"/>
              <a:gd name="T53" fmla="*/ 38 h 55"/>
              <a:gd name="T54" fmla="*/ 16 w 54"/>
              <a:gd name="T55" fmla="*/ 17 h 55"/>
              <a:gd name="T56" fmla="*/ 40 w 54"/>
              <a:gd name="T57" fmla="*/ 17 h 55"/>
              <a:gd name="T58" fmla="*/ 40 w 54"/>
              <a:gd name="T59" fmla="*/ 14 h 55"/>
              <a:gd name="T60" fmla="*/ 38 w 54"/>
              <a:gd name="T61" fmla="*/ 14 h 55"/>
              <a:gd name="T62" fmla="*/ 40 w 54"/>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55">
                <a:moveTo>
                  <a:pt x="2" y="3"/>
                </a:moveTo>
                <a:lnTo>
                  <a:pt x="2" y="5"/>
                </a:lnTo>
                <a:lnTo>
                  <a:pt x="49" y="5"/>
                </a:lnTo>
                <a:lnTo>
                  <a:pt x="49" y="50"/>
                </a:lnTo>
                <a:lnTo>
                  <a:pt x="4" y="50"/>
                </a:lnTo>
                <a:lnTo>
                  <a:pt x="4" y="3"/>
                </a:lnTo>
                <a:lnTo>
                  <a:pt x="2" y="3"/>
                </a:lnTo>
                <a:lnTo>
                  <a:pt x="2" y="5"/>
                </a:lnTo>
                <a:lnTo>
                  <a:pt x="2" y="3"/>
                </a:lnTo>
                <a:lnTo>
                  <a:pt x="0" y="3"/>
                </a:lnTo>
                <a:lnTo>
                  <a:pt x="0" y="55"/>
                </a:lnTo>
                <a:lnTo>
                  <a:pt x="54" y="55"/>
                </a:lnTo>
                <a:lnTo>
                  <a:pt x="54" y="0"/>
                </a:lnTo>
                <a:lnTo>
                  <a:pt x="0" y="0"/>
                </a:lnTo>
                <a:lnTo>
                  <a:pt x="0" y="3"/>
                </a:lnTo>
                <a:lnTo>
                  <a:pt x="2" y="3"/>
                </a:lnTo>
                <a:close/>
                <a:moveTo>
                  <a:pt x="40" y="14"/>
                </a:moveTo>
                <a:lnTo>
                  <a:pt x="40" y="12"/>
                </a:lnTo>
                <a:lnTo>
                  <a:pt x="11" y="12"/>
                </a:lnTo>
                <a:lnTo>
                  <a:pt x="11" y="43"/>
                </a:lnTo>
                <a:lnTo>
                  <a:pt x="42" y="43"/>
                </a:lnTo>
                <a:lnTo>
                  <a:pt x="42" y="12"/>
                </a:lnTo>
                <a:lnTo>
                  <a:pt x="40" y="12"/>
                </a:lnTo>
                <a:lnTo>
                  <a:pt x="40" y="14"/>
                </a:lnTo>
                <a:lnTo>
                  <a:pt x="38" y="14"/>
                </a:lnTo>
                <a:lnTo>
                  <a:pt x="38" y="38"/>
                </a:lnTo>
                <a:lnTo>
                  <a:pt x="16" y="38"/>
                </a:lnTo>
                <a:lnTo>
                  <a:pt x="16" y="17"/>
                </a:lnTo>
                <a:lnTo>
                  <a:pt x="40" y="17"/>
                </a:lnTo>
                <a:lnTo>
                  <a:pt x="40" y="14"/>
                </a:lnTo>
                <a:lnTo>
                  <a:pt x="38" y="14"/>
                </a:lnTo>
                <a:lnTo>
                  <a:pt x="40"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Freeform 7">
            <a:extLst>
              <a:ext uri="{FF2B5EF4-FFF2-40B4-BE49-F238E27FC236}">
                <a16:creationId xmlns:a16="http://schemas.microsoft.com/office/drawing/2014/main" id="{FC6E9570-D2AB-024E-AB67-08C1DAE8D6D6}"/>
              </a:ext>
            </a:extLst>
          </p:cNvPr>
          <p:cNvSpPr>
            <a:spLocks noEditPoints="1"/>
          </p:cNvSpPr>
          <p:nvPr/>
        </p:nvSpPr>
        <p:spPr bwMode="auto">
          <a:xfrm>
            <a:off x="2882306" y="62217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8">
            <a:extLst>
              <a:ext uri="{FF2B5EF4-FFF2-40B4-BE49-F238E27FC236}">
                <a16:creationId xmlns:a16="http://schemas.microsoft.com/office/drawing/2014/main" id="{11943AA7-FAEF-F241-89F8-497B9CA4DAF7}"/>
              </a:ext>
            </a:extLst>
          </p:cNvPr>
          <p:cNvSpPr>
            <a:spLocks noEditPoints="1"/>
          </p:cNvSpPr>
          <p:nvPr/>
        </p:nvSpPr>
        <p:spPr bwMode="auto">
          <a:xfrm>
            <a:off x="2879270" y="6218700"/>
            <a:ext cx="55674" cy="55674"/>
          </a:xfrm>
          <a:custGeom>
            <a:avLst/>
            <a:gdLst>
              <a:gd name="T0" fmla="*/ 3 w 55"/>
              <a:gd name="T1" fmla="*/ 3 h 55"/>
              <a:gd name="T2" fmla="*/ 3 w 55"/>
              <a:gd name="T3" fmla="*/ 5 h 55"/>
              <a:gd name="T4" fmla="*/ 50 w 55"/>
              <a:gd name="T5" fmla="*/ 5 h 55"/>
              <a:gd name="T6" fmla="*/ 50 w 55"/>
              <a:gd name="T7" fmla="*/ 50 h 55"/>
              <a:gd name="T8" fmla="*/ 5 w 55"/>
              <a:gd name="T9" fmla="*/ 50 h 55"/>
              <a:gd name="T10" fmla="*/ 5 w 55"/>
              <a:gd name="T11" fmla="*/ 3 h 55"/>
              <a:gd name="T12" fmla="*/ 3 w 55"/>
              <a:gd name="T13" fmla="*/ 3 h 55"/>
              <a:gd name="T14" fmla="*/ 3 w 55"/>
              <a:gd name="T15" fmla="*/ 5 h 55"/>
              <a:gd name="T16" fmla="*/ 3 w 55"/>
              <a:gd name="T17" fmla="*/ 3 h 55"/>
              <a:gd name="T18" fmla="*/ 0 w 55"/>
              <a:gd name="T19" fmla="*/ 3 h 55"/>
              <a:gd name="T20" fmla="*/ 0 w 55"/>
              <a:gd name="T21" fmla="*/ 55 h 55"/>
              <a:gd name="T22" fmla="*/ 55 w 55"/>
              <a:gd name="T23" fmla="*/ 55 h 55"/>
              <a:gd name="T24" fmla="*/ 55 w 55"/>
              <a:gd name="T25" fmla="*/ 0 h 55"/>
              <a:gd name="T26" fmla="*/ 0 w 55"/>
              <a:gd name="T27" fmla="*/ 0 h 55"/>
              <a:gd name="T28" fmla="*/ 0 w 55"/>
              <a:gd name="T29" fmla="*/ 3 h 55"/>
              <a:gd name="T30" fmla="*/ 3 w 55"/>
              <a:gd name="T31" fmla="*/ 3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3"/>
                </a:moveTo>
                <a:lnTo>
                  <a:pt x="3" y="5"/>
                </a:lnTo>
                <a:lnTo>
                  <a:pt x="50" y="5"/>
                </a:lnTo>
                <a:lnTo>
                  <a:pt x="50" y="50"/>
                </a:lnTo>
                <a:lnTo>
                  <a:pt x="5" y="50"/>
                </a:lnTo>
                <a:lnTo>
                  <a:pt x="5" y="3"/>
                </a:lnTo>
                <a:lnTo>
                  <a:pt x="3" y="3"/>
                </a:lnTo>
                <a:lnTo>
                  <a:pt x="3" y="5"/>
                </a:lnTo>
                <a:lnTo>
                  <a:pt x="3" y="3"/>
                </a:lnTo>
                <a:lnTo>
                  <a:pt x="0" y="3"/>
                </a:lnTo>
                <a:lnTo>
                  <a:pt x="0" y="55"/>
                </a:lnTo>
                <a:lnTo>
                  <a:pt x="55" y="55"/>
                </a:lnTo>
                <a:lnTo>
                  <a:pt x="55" y="0"/>
                </a:lnTo>
                <a:lnTo>
                  <a:pt x="0" y="0"/>
                </a:lnTo>
                <a:lnTo>
                  <a:pt x="0" y="3"/>
                </a:lnTo>
                <a:lnTo>
                  <a:pt x="3" y="3"/>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9">
            <a:extLst>
              <a:ext uri="{FF2B5EF4-FFF2-40B4-BE49-F238E27FC236}">
                <a16:creationId xmlns:a16="http://schemas.microsoft.com/office/drawing/2014/main" id="{1F356B4D-260E-1842-B08C-4CDD484A3CC5}"/>
              </a:ext>
            </a:extLst>
          </p:cNvPr>
          <p:cNvSpPr>
            <a:spLocks noEditPoints="1"/>
          </p:cNvSpPr>
          <p:nvPr/>
        </p:nvSpPr>
        <p:spPr bwMode="auto">
          <a:xfrm>
            <a:off x="9170378" y="6271337"/>
            <a:ext cx="50612" cy="50612"/>
          </a:xfrm>
          <a:custGeom>
            <a:avLst/>
            <a:gdLst>
              <a:gd name="T0" fmla="*/ 0 w 50"/>
              <a:gd name="T1" fmla="*/ 0 h 50"/>
              <a:gd name="T2" fmla="*/ 50 w 50"/>
              <a:gd name="T3" fmla="*/ 0 h 50"/>
              <a:gd name="T4" fmla="*/ 50 w 50"/>
              <a:gd name="T5" fmla="*/ 50 h 50"/>
              <a:gd name="T6" fmla="*/ 0 w 50"/>
              <a:gd name="T7" fmla="*/ 50 h 50"/>
              <a:gd name="T8" fmla="*/ 0 w 50"/>
              <a:gd name="T9" fmla="*/ 0 h 50"/>
              <a:gd name="T10" fmla="*/ 38 w 50"/>
              <a:gd name="T11" fmla="*/ 12 h 50"/>
              <a:gd name="T12" fmla="*/ 12 w 50"/>
              <a:gd name="T13" fmla="*/ 12 h 50"/>
              <a:gd name="T14" fmla="*/ 12 w 50"/>
              <a:gd name="T15" fmla="*/ 38 h 50"/>
              <a:gd name="T16" fmla="*/ 38 w 50"/>
              <a:gd name="T17" fmla="*/ 38 h 50"/>
              <a:gd name="T18" fmla="*/ 38 w 50"/>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0" y="0"/>
                </a:moveTo>
                <a:lnTo>
                  <a:pt x="50" y="0"/>
                </a:lnTo>
                <a:lnTo>
                  <a:pt x="50" y="50"/>
                </a:lnTo>
                <a:lnTo>
                  <a:pt x="0" y="50"/>
                </a:lnTo>
                <a:lnTo>
                  <a:pt x="0" y="0"/>
                </a:lnTo>
                <a:close/>
                <a:moveTo>
                  <a:pt x="38" y="12"/>
                </a:moveTo>
                <a:lnTo>
                  <a:pt x="12" y="12"/>
                </a:lnTo>
                <a:lnTo>
                  <a:pt x="12" y="38"/>
                </a:lnTo>
                <a:lnTo>
                  <a:pt x="38" y="38"/>
                </a:lnTo>
                <a:lnTo>
                  <a:pt x="38"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10">
            <a:extLst>
              <a:ext uri="{FF2B5EF4-FFF2-40B4-BE49-F238E27FC236}">
                <a16:creationId xmlns:a16="http://schemas.microsoft.com/office/drawing/2014/main" id="{D9404F84-9B91-F247-AC3B-589C6E9312A1}"/>
              </a:ext>
            </a:extLst>
          </p:cNvPr>
          <p:cNvSpPr>
            <a:spLocks noEditPoints="1"/>
          </p:cNvSpPr>
          <p:nvPr/>
        </p:nvSpPr>
        <p:spPr bwMode="auto">
          <a:xfrm>
            <a:off x="9167342" y="6269312"/>
            <a:ext cx="55674" cy="55674"/>
          </a:xfrm>
          <a:custGeom>
            <a:avLst/>
            <a:gdLst>
              <a:gd name="T0" fmla="*/ 3 w 55"/>
              <a:gd name="T1" fmla="*/ 2 h 55"/>
              <a:gd name="T2" fmla="*/ 3 w 55"/>
              <a:gd name="T3" fmla="*/ 5 h 55"/>
              <a:gd name="T4" fmla="*/ 50 w 55"/>
              <a:gd name="T5" fmla="*/ 5 h 55"/>
              <a:gd name="T6" fmla="*/ 50 w 55"/>
              <a:gd name="T7" fmla="*/ 50 h 55"/>
              <a:gd name="T8" fmla="*/ 5 w 55"/>
              <a:gd name="T9" fmla="*/ 50 h 55"/>
              <a:gd name="T10" fmla="*/ 5 w 55"/>
              <a:gd name="T11" fmla="*/ 2 h 55"/>
              <a:gd name="T12" fmla="*/ 3 w 55"/>
              <a:gd name="T13" fmla="*/ 2 h 55"/>
              <a:gd name="T14" fmla="*/ 3 w 55"/>
              <a:gd name="T15" fmla="*/ 5 h 55"/>
              <a:gd name="T16" fmla="*/ 3 w 55"/>
              <a:gd name="T17" fmla="*/ 2 h 55"/>
              <a:gd name="T18" fmla="*/ 0 w 55"/>
              <a:gd name="T19" fmla="*/ 2 h 55"/>
              <a:gd name="T20" fmla="*/ 0 w 55"/>
              <a:gd name="T21" fmla="*/ 55 h 55"/>
              <a:gd name="T22" fmla="*/ 55 w 55"/>
              <a:gd name="T23" fmla="*/ 55 h 55"/>
              <a:gd name="T24" fmla="*/ 55 w 55"/>
              <a:gd name="T25" fmla="*/ 0 h 55"/>
              <a:gd name="T26" fmla="*/ 0 w 55"/>
              <a:gd name="T27" fmla="*/ 0 h 55"/>
              <a:gd name="T28" fmla="*/ 0 w 55"/>
              <a:gd name="T29" fmla="*/ 2 h 55"/>
              <a:gd name="T30" fmla="*/ 3 w 55"/>
              <a:gd name="T31" fmla="*/ 2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2"/>
                </a:moveTo>
                <a:lnTo>
                  <a:pt x="3" y="5"/>
                </a:lnTo>
                <a:lnTo>
                  <a:pt x="50" y="5"/>
                </a:lnTo>
                <a:lnTo>
                  <a:pt x="50" y="50"/>
                </a:lnTo>
                <a:lnTo>
                  <a:pt x="5" y="50"/>
                </a:lnTo>
                <a:lnTo>
                  <a:pt x="5" y="2"/>
                </a:lnTo>
                <a:lnTo>
                  <a:pt x="3" y="2"/>
                </a:lnTo>
                <a:lnTo>
                  <a:pt x="3" y="5"/>
                </a:lnTo>
                <a:lnTo>
                  <a:pt x="3" y="2"/>
                </a:lnTo>
                <a:lnTo>
                  <a:pt x="0" y="2"/>
                </a:lnTo>
                <a:lnTo>
                  <a:pt x="0" y="55"/>
                </a:lnTo>
                <a:lnTo>
                  <a:pt x="55" y="55"/>
                </a:lnTo>
                <a:lnTo>
                  <a:pt x="55" y="0"/>
                </a:lnTo>
                <a:lnTo>
                  <a:pt x="0" y="0"/>
                </a:lnTo>
                <a:lnTo>
                  <a:pt x="0" y="2"/>
                </a:lnTo>
                <a:lnTo>
                  <a:pt x="3" y="2"/>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11">
            <a:extLst>
              <a:ext uri="{FF2B5EF4-FFF2-40B4-BE49-F238E27FC236}">
                <a16:creationId xmlns:a16="http://schemas.microsoft.com/office/drawing/2014/main" id="{FB1AF890-F13D-8E4F-82F5-1C7E89FF2AE3}"/>
              </a:ext>
            </a:extLst>
          </p:cNvPr>
          <p:cNvSpPr>
            <a:spLocks noEditPoints="1"/>
          </p:cNvSpPr>
          <p:nvPr/>
        </p:nvSpPr>
        <p:spPr bwMode="auto">
          <a:xfrm>
            <a:off x="9098509" y="6271337"/>
            <a:ext cx="52637" cy="50612"/>
          </a:xfrm>
          <a:custGeom>
            <a:avLst/>
            <a:gdLst>
              <a:gd name="T0" fmla="*/ 0 w 52"/>
              <a:gd name="T1" fmla="*/ 0 h 50"/>
              <a:gd name="T2" fmla="*/ 52 w 52"/>
              <a:gd name="T3" fmla="*/ 0 h 50"/>
              <a:gd name="T4" fmla="*/ 52 w 52"/>
              <a:gd name="T5" fmla="*/ 50 h 50"/>
              <a:gd name="T6" fmla="*/ 0 w 52"/>
              <a:gd name="T7" fmla="*/ 50 h 50"/>
              <a:gd name="T8" fmla="*/ 0 w 52"/>
              <a:gd name="T9" fmla="*/ 0 h 50"/>
              <a:gd name="T10" fmla="*/ 38 w 52"/>
              <a:gd name="T11" fmla="*/ 12 h 50"/>
              <a:gd name="T12" fmla="*/ 14 w 52"/>
              <a:gd name="T13" fmla="*/ 12 h 50"/>
              <a:gd name="T14" fmla="*/ 14 w 52"/>
              <a:gd name="T15" fmla="*/ 38 h 50"/>
              <a:gd name="T16" fmla="*/ 38 w 52"/>
              <a:gd name="T17" fmla="*/ 38 h 50"/>
              <a:gd name="T18" fmla="*/ 38 w 52"/>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0">
                <a:moveTo>
                  <a:pt x="0" y="0"/>
                </a:moveTo>
                <a:lnTo>
                  <a:pt x="52" y="0"/>
                </a:lnTo>
                <a:lnTo>
                  <a:pt x="52" y="50"/>
                </a:lnTo>
                <a:lnTo>
                  <a:pt x="0" y="50"/>
                </a:lnTo>
                <a:lnTo>
                  <a:pt x="0" y="0"/>
                </a:lnTo>
                <a:close/>
                <a:moveTo>
                  <a:pt x="38" y="12"/>
                </a:moveTo>
                <a:lnTo>
                  <a:pt x="14" y="12"/>
                </a:lnTo>
                <a:lnTo>
                  <a:pt x="14" y="38"/>
                </a:lnTo>
                <a:lnTo>
                  <a:pt x="38" y="38"/>
                </a:lnTo>
                <a:lnTo>
                  <a:pt x="38"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12">
            <a:extLst>
              <a:ext uri="{FF2B5EF4-FFF2-40B4-BE49-F238E27FC236}">
                <a16:creationId xmlns:a16="http://schemas.microsoft.com/office/drawing/2014/main" id="{B9380725-04A3-3D43-AA87-DCED643D4B05}"/>
              </a:ext>
            </a:extLst>
          </p:cNvPr>
          <p:cNvSpPr>
            <a:spLocks noEditPoints="1"/>
          </p:cNvSpPr>
          <p:nvPr/>
        </p:nvSpPr>
        <p:spPr bwMode="auto">
          <a:xfrm>
            <a:off x="9095472" y="6269312"/>
            <a:ext cx="57698" cy="55674"/>
          </a:xfrm>
          <a:custGeom>
            <a:avLst/>
            <a:gdLst>
              <a:gd name="T0" fmla="*/ 3 w 57"/>
              <a:gd name="T1" fmla="*/ 2 h 55"/>
              <a:gd name="T2" fmla="*/ 3 w 57"/>
              <a:gd name="T3" fmla="*/ 5 h 55"/>
              <a:gd name="T4" fmla="*/ 52 w 57"/>
              <a:gd name="T5" fmla="*/ 5 h 55"/>
              <a:gd name="T6" fmla="*/ 52 w 57"/>
              <a:gd name="T7" fmla="*/ 50 h 55"/>
              <a:gd name="T8" fmla="*/ 5 w 57"/>
              <a:gd name="T9" fmla="*/ 50 h 55"/>
              <a:gd name="T10" fmla="*/ 5 w 57"/>
              <a:gd name="T11" fmla="*/ 2 h 55"/>
              <a:gd name="T12" fmla="*/ 3 w 57"/>
              <a:gd name="T13" fmla="*/ 2 h 55"/>
              <a:gd name="T14" fmla="*/ 3 w 57"/>
              <a:gd name="T15" fmla="*/ 5 h 55"/>
              <a:gd name="T16" fmla="*/ 3 w 57"/>
              <a:gd name="T17" fmla="*/ 2 h 55"/>
              <a:gd name="T18" fmla="*/ 0 w 57"/>
              <a:gd name="T19" fmla="*/ 2 h 55"/>
              <a:gd name="T20" fmla="*/ 0 w 57"/>
              <a:gd name="T21" fmla="*/ 55 h 55"/>
              <a:gd name="T22" fmla="*/ 57 w 57"/>
              <a:gd name="T23" fmla="*/ 55 h 55"/>
              <a:gd name="T24" fmla="*/ 57 w 57"/>
              <a:gd name="T25" fmla="*/ 0 h 55"/>
              <a:gd name="T26" fmla="*/ 0 w 57"/>
              <a:gd name="T27" fmla="*/ 0 h 55"/>
              <a:gd name="T28" fmla="*/ 0 w 57"/>
              <a:gd name="T29" fmla="*/ 2 h 55"/>
              <a:gd name="T30" fmla="*/ 3 w 57"/>
              <a:gd name="T31" fmla="*/ 2 h 55"/>
              <a:gd name="T32" fmla="*/ 41 w 57"/>
              <a:gd name="T33" fmla="*/ 14 h 55"/>
              <a:gd name="T34" fmla="*/ 41 w 57"/>
              <a:gd name="T35" fmla="*/ 12 h 55"/>
              <a:gd name="T36" fmla="*/ 14 w 57"/>
              <a:gd name="T37" fmla="*/ 12 h 55"/>
              <a:gd name="T38" fmla="*/ 14 w 57"/>
              <a:gd name="T39" fmla="*/ 43 h 55"/>
              <a:gd name="T40" fmla="*/ 43 w 57"/>
              <a:gd name="T41" fmla="*/ 43 h 55"/>
              <a:gd name="T42" fmla="*/ 43 w 57"/>
              <a:gd name="T43" fmla="*/ 12 h 55"/>
              <a:gd name="T44" fmla="*/ 41 w 57"/>
              <a:gd name="T45" fmla="*/ 12 h 55"/>
              <a:gd name="T46" fmla="*/ 41 w 57"/>
              <a:gd name="T47" fmla="*/ 14 h 55"/>
              <a:gd name="T48" fmla="*/ 38 w 57"/>
              <a:gd name="T49" fmla="*/ 14 h 55"/>
              <a:gd name="T50" fmla="*/ 38 w 57"/>
              <a:gd name="T51" fmla="*/ 38 h 55"/>
              <a:gd name="T52" fmla="*/ 19 w 57"/>
              <a:gd name="T53" fmla="*/ 38 h 55"/>
              <a:gd name="T54" fmla="*/ 19 w 57"/>
              <a:gd name="T55" fmla="*/ 17 h 55"/>
              <a:gd name="T56" fmla="*/ 41 w 57"/>
              <a:gd name="T57" fmla="*/ 17 h 55"/>
              <a:gd name="T58" fmla="*/ 41 w 57"/>
              <a:gd name="T59" fmla="*/ 14 h 55"/>
              <a:gd name="T60" fmla="*/ 38 w 57"/>
              <a:gd name="T61" fmla="*/ 14 h 55"/>
              <a:gd name="T62" fmla="*/ 41 w 57"/>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55">
                <a:moveTo>
                  <a:pt x="3" y="2"/>
                </a:moveTo>
                <a:lnTo>
                  <a:pt x="3" y="5"/>
                </a:lnTo>
                <a:lnTo>
                  <a:pt x="52" y="5"/>
                </a:lnTo>
                <a:lnTo>
                  <a:pt x="52" y="50"/>
                </a:lnTo>
                <a:lnTo>
                  <a:pt x="5" y="50"/>
                </a:lnTo>
                <a:lnTo>
                  <a:pt x="5" y="2"/>
                </a:lnTo>
                <a:lnTo>
                  <a:pt x="3" y="2"/>
                </a:lnTo>
                <a:lnTo>
                  <a:pt x="3" y="5"/>
                </a:lnTo>
                <a:lnTo>
                  <a:pt x="3" y="2"/>
                </a:lnTo>
                <a:lnTo>
                  <a:pt x="0" y="2"/>
                </a:lnTo>
                <a:lnTo>
                  <a:pt x="0" y="55"/>
                </a:lnTo>
                <a:lnTo>
                  <a:pt x="57" y="55"/>
                </a:lnTo>
                <a:lnTo>
                  <a:pt x="57" y="0"/>
                </a:lnTo>
                <a:lnTo>
                  <a:pt x="0" y="0"/>
                </a:lnTo>
                <a:lnTo>
                  <a:pt x="0" y="2"/>
                </a:lnTo>
                <a:lnTo>
                  <a:pt x="3" y="2"/>
                </a:lnTo>
                <a:close/>
                <a:moveTo>
                  <a:pt x="41" y="14"/>
                </a:moveTo>
                <a:lnTo>
                  <a:pt x="41" y="12"/>
                </a:lnTo>
                <a:lnTo>
                  <a:pt x="14" y="12"/>
                </a:lnTo>
                <a:lnTo>
                  <a:pt x="14" y="43"/>
                </a:lnTo>
                <a:lnTo>
                  <a:pt x="43" y="43"/>
                </a:lnTo>
                <a:lnTo>
                  <a:pt x="43" y="12"/>
                </a:lnTo>
                <a:lnTo>
                  <a:pt x="41" y="12"/>
                </a:lnTo>
                <a:lnTo>
                  <a:pt x="41" y="14"/>
                </a:lnTo>
                <a:lnTo>
                  <a:pt x="38" y="14"/>
                </a:lnTo>
                <a:lnTo>
                  <a:pt x="38" y="38"/>
                </a:lnTo>
                <a:lnTo>
                  <a:pt x="19" y="38"/>
                </a:lnTo>
                <a:lnTo>
                  <a:pt x="19"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3">
            <a:extLst>
              <a:ext uri="{FF2B5EF4-FFF2-40B4-BE49-F238E27FC236}">
                <a16:creationId xmlns:a16="http://schemas.microsoft.com/office/drawing/2014/main" id="{86FD7481-82C0-764C-B46E-41006D95FF08}"/>
              </a:ext>
            </a:extLst>
          </p:cNvPr>
          <p:cNvSpPr>
            <a:spLocks noEditPoints="1"/>
          </p:cNvSpPr>
          <p:nvPr/>
        </p:nvSpPr>
        <p:spPr bwMode="auto">
          <a:xfrm>
            <a:off x="3069572" y="5666014"/>
            <a:ext cx="112359" cy="111347"/>
          </a:xfrm>
          <a:custGeom>
            <a:avLst/>
            <a:gdLst>
              <a:gd name="T0" fmla="*/ 0 w 47"/>
              <a:gd name="T1" fmla="*/ 23 h 46"/>
              <a:gd name="T2" fmla="*/ 23 w 47"/>
              <a:gd name="T3" fmla="*/ 0 h 46"/>
              <a:gd name="T4" fmla="*/ 47 w 47"/>
              <a:gd name="T5" fmla="*/ 23 h 46"/>
              <a:gd name="T6" fmla="*/ 23 w 47"/>
              <a:gd name="T7" fmla="*/ 46 h 46"/>
              <a:gd name="T8" fmla="*/ 0 w 47"/>
              <a:gd name="T9" fmla="*/ 23 h 46"/>
              <a:gd name="T10" fmla="*/ 5 w 47"/>
              <a:gd name="T11" fmla="*/ 23 h 46"/>
              <a:gd name="T12" fmla="*/ 23 w 47"/>
              <a:gd name="T13" fmla="*/ 42 h 46"/>
              <a:gd name="T14" fmla="*/ 42 w 47"/>
              <a:gd name="T15" fmla="*/ 23 h 46"/>
              <a:gd name="T16" fmla="*/ 23 w 47"/>
              <a:gd name="T17" fmla="*/ 5 h 46"/>
              <a:gd name="T18" fmla="*/ 5 w 47"/>
              <a:gd name="T1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6">
                <a:moveTo>
                  <a:pt x="0" y="23"/>
                </a:moveTo>
                <a:cubicBezTo>
                  <a:pt x="0" y="10"/>
                  <a:pt x="11" y="0"/>
                  <a:pt x="23" y="0"/>
                </a:cubicBezTo>
                <a:cubicBezTo>
                  <a:pt x="36" y="0"/>
                  <a:pt x="47" y="10"/>
                  <a:pt x="47" y="23"/>
                </a:cubicBezTo>
                <a:cubicBezTo>
                  <a:pt x="47" y="36"/>
                  <a:pt x="36" y="46"/>
                  <a:pt x="23" y="46"/>
                </a:cubicBezTo>
                <a:cubicBezTo>
                  <a:pt x="11" y="46"/>
                  <a:pt x="0" y="36"/>
                  <a:pt x="0" y="23"/>
                </a:cubicBezTo>
                <a:close/>
                <a:moveTo>
                  <a:pt x="5" y="23"/>
                </a:moveTo>
                <a:cubicBezTo>
                  <a:pt x="5" y="33"/>
                  <a:pt x="13" y="42"/>
                  <a:pt x="23" y="42"/>
                </a:cubicBezTo>
                <a:cubicBezTo>
                  <a:pt x="34" y="42"/>
                  <a:pt x="42" y="33"/>
                  <a:pt x="42" y="23"/>
                </a:cubicBezTo>
                <a:cubicBezTo>
                  <a:pt x="42" y="13"/>
                  <a:pt x="34" y="5"/>
                  <a:pt x="23" y="5"/>
                </a:cubicBezTo>
                <a:cubicBezTo>
                  <a:pt x="13" y="5"/>
                  <a:pt x="5" y="13"/>
                  <a:pt x="5" y="2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id="{D82E6B7F-74B5-7E48-942E-48BCF1661BEB}"/>
              </a:ext>
            </a:extLst>
          </p:cNvPr>
          <p:cNvSpPr>
            <a:spLocks noEditPoints="1"/>
          </p:cNvSpPr>
          <p:nvPr/>
        </p:nvSpPr>
        <p:spPr bwMode="auto">
          <a:xfrm>
            <a:off x="3066535" y="5661965"/>
            <a:ext cx="118433" cy="119445"/>
          </a:xfrm>
          <a:custGeom>
            <a:avLst/>
            <a:gdLst>
              <a:gd name="T0" fmla="*/ 1 w 49"/>
              <a:gd name="T1" fmla="*/ 25 h 50"/>
              <a:gd name="T2" fmla="*/ 3 w 49"/>
              <a:gd name="T3" fmla="*/ 25 h 50"/>
              <a:gd name="T4" fmla="*/ 9 w 49"/>
              <a:gd name="T5" fmla="*/ 10 h 50"/>
              <a:gd name="T6" fmla="*/ 24 w 49"/>
              <a:gd name="T7" fmla="*/ 3 h 50"/>
              <a:gd name="T8" fmla="*/ 40 w 49"/>
              <a:gd name="T9" fmla="*/ 10 h 50"/>
              <a:gd name="T10" fmla="*/ 46 w 49"/>
              <a:gd name="T11" fmla="*/ 25 h 50"/>
              <a:gd name="T12" fmla="*/ 40 w 49"/>
              <a:gd name="T13" fmla="*/ 40 h 50"/>
              <a:gd name="T14" fmla="*/ 24 w 49"/>
              <a:gd name="T15" fmla="*/ 47 h 50"/>
              <a:gd name="T16" fmla="*/ 9 w 49"/>
              <a:gd name="T17" fmla="*/ 40 h 50"/>
              <a:gd name="T18" fmla="*/ 3 w 49"/>
              <a:gd name="T19" fmla="*/ 25 h 50"/>
              <a:gd name="T20" fmla="*/ 1 w 49"/>
              <a:gd name="T21" fmla="*/ 25 h 50"/>
              <a:gd name="T22" fmla="*/ 0 w 49"/>
              <a:gd name="T23" fmla="*/ 25 h 50"/>
              <a:gd name="T24" fmla="*/ 24 w 49"/>
              <a:gd name="T25" fmla="*/ 50 h 50"/>
              <a:gd name="T26" fmla="*/ 49 w 49"/>
              <a:gd name="T27" fmla="*/ 25 h 50"/>
              <a:gd name="T28" fmla="*/ 24 w 49"/>
              <a:gd name="T29" fmla="*/ 0 h 50"/>
              <a:gd name="T30" fmla="*/ 0 w 49"/>
              <a:gd name="T31" fmla="*/ 25 h 50"/>
              <a:gd name="T32" fmla="*/ 1 w 49"/>
              <a:gd name="T33" fmla="*/ 25 h 50"/>
              <a:gd name="T34" fmla="*/ 6 w 49"/>
              <a:gd name="T35" fmla="*/ 25 h 50"/>
              <a:gd name="T36" fmla="*/ 4 w 49"/>
              <a:gd name="T37" fmla="*/ 25 h 50"/>
              <a:gd name="T38" fmla="*/ 24 w 49"/>
              <a:gd name="T39" fmla="*/ 45 h 50"/>
              <a:gd name="T40" fmla="*/ 44 w 49"/>
              <a:gd name="T41" fmla="*/ 25 h 50"/>
              <a:gd name="T42" fmla="*/ 24 w 49"/>
              <a:gd name="T43" fmla="*/ 5 h 50"/>
              <a:gd name="T44" fmla="*/ 4 w 49"/>
              <a:gd name="T45" fmla="*/ 25 h 50"/>
              <a:gd name="T46" fmla="*/ 6 w 49"/>
              <a:gd name="T47" fmla="*/ 25 h 50"/>
              <a:gd name="T48" fmla="*/ 7 w 49"/>
              <a:gd name="T49" fmla="*/ 25 h 50"/>
              <a:gd name="T50" fmla="*/ 12 w 49"/>
              <a:gd name="T51" fmla="*/ 13 h 50"/>
              <a:gd name="T52" fmla="*/ 24 w 49"/>
              <a:gd name="T53" fmla="*/ 8 h 50"/>
              <a:gd name="T54" fmla="*/ 36 w 49"/>
              <a:gd name="T55" fmla="*/ 13 h 50"/>
              <a:gd name="T56" fmla="*/ 41 w 49"/>
              <a:gd name="T57" fmla="*/ 25 h 50"/>
              <a:gd name="T58" fmla="*/ 36 w 49"/>
              <a:gd name="T59" fmla="*/ 37 h 50"/>
              <a:gd name="T60" fmla="*/ 24 w 49"/>
              <a:gd name="T61" fmla="*/ 42 h 50"/>
              <a:gd name="T62" fmla="*/ 12 w 49"/>
              <a:gd name="T63" fmla="*/ 37 h 50"/>
              <a:gd name="T64" fmla="*/ 7 w 49"/>
              <a:gd name="T65" fmla="*/ 25 h 50"/>
              <a:gd name="T66" fmla="*/ 6 w 49"/>
              <a:gd name="T6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50">
                <a:moveTo>
                  <a:pt x="1" y="25"/>
                </a:moveTo>
                <a:cubicBezTo>
                  <a:pt x="3" y="25"/>
                  <a:pt x="3" y="25"/>
                  <a:pt x="3" y="25"/>
                </a:cubicBezTo>
                <a:cubicBezTo>
                  <a:pt x="3" y="19"/>
                  <a:pt x="5" y="14"/>
                  <a:pt x="9" y="10"/>
                </a:cubicBezTo>
                <a:cubicBezTo>
                  <a:pt x="13" y="6"/>
                  <a:pt x="18" y="3"/>
                  <a:pt x="24" y="3"/>
                </a:cubicBezTo>
                <a:cubicBezTo>
                  <a:pt x="30" y="3"/>
                  <a:pt x="36" y="6"/>
                  <a:pt x="40" y="10"/>
                </a:cubicBezTo>
                <a:cubicBezTo>
                  <a:pt x="44" y="14"/>
                  <a:pt x="46" y="19"/>
                  <a:pt x="46" y="25"/>
                </a:cubicBezTo>
                <a:cubicBezTo>
                  <a:pt x="46" y="31"/>
                  <a:pt x="44" y="37"/>
                  <a:pt x="40" y="40"/>
                </a:cubicBezTo>
                <a:cubicBezTo>
                  <a:pt x="36" y="44"/>
                  <a:pt x="30" y="47"/>
                  <a:pt x="24" y="47"/>
                </a:cubicBezTo>
                <a:cubicBezTo>
                  <a:pt x="18" y="47"/>
                  <a:pt x="13" y="44"/>
                  <a:pt x="9" y="40"/>
                </a:cubicBezTo>
                <a:cubicBezTo>
                  <a:pt x="5" y="37"/>
                  <a:pt x="3" y="31"/>
                  <a:pt x="3" y="25"/>
                </a:cubicBezTo>
                <a:cubicBezTo>
                  <a:pt x="1" y="25"/>
                  <a:pt x="1" y="25"/>
                  <a:pt x="1" y="25"/>
                </a:cubicBezTo>
                <a:cubicBezTo>
                  <a:pt x="0" y="25"/>
                  <a:pt x="0" y="25"/>
                  <a:pt x="0" y="25"/>
                </a:cubicBezTo>
                <a:cubicBezTo>
                  <a:pt x="0" y="39"/>
                  <a:pt x="11" y="50"/>
                  <a:pt x="24" y="50"/>
                </a:cubicBezTo>
                <a:cubicBezTo>
                  <a:pt x="38" y="50"/>
                  <a:pt x="49" y="39"/>
                  <a:pt x="49" y="25"/>
                </a:cubicBezTo>
                <a:cubicBezTo>
                  <a:pt x="49" y="12"/>
                  <a:pt x="38" y="0"/>
                  <a:pt x="24" y="0"/>
                </a:cubicBezTo>
                <a:cubicBezTo>
                  <a:pt x="11" y="0"/>
                  <a:pt x="0" y="12"/>
                  <a:pt x="0" y="25"/>
                </a:cubicBezTo>
                <a:lnTo>
                  <a:pt x="1" y="25"/>
                </a:lnTo>
                <a:close/>
                <a:moveTo>
                  <a:pt x="6" y="25"/>
                </a:moveTo>
                <a:cubicBezTo>
                  <a:pt x="4" y="25"/>
                  <a:pt x="4" y="25"/>
                  <a:pt x="4" y="25"/>
                </a:cubicBezTo>
                <a:cubicBezTo>
                  <a:pt x="4" y="36"/>
                  <a:pt x="13" y="45"/>
                  <a:pt x="24" y="45"/>
                </a:cubicBezTo>
                <a:cubicBezTo>
                  <a:pt x="36" y="45"/>
                  <a:pt x="44" y="36"/>
                  <a:pt x="44" y="25"/>
                </a:cubicBezTo>
                <a:cubicBezTo>
                  <a:pt x="44" y="14"/>
                  <a:pt x="36" y="5"/>
                  <a:pt x="24" y="5"/>
                </a:cubicBezTo>
                <a:cubicBezTo>
                  <a:pt x="13" y="5"/>
                  <a:pt x="4" y="14"/>
                  <a:pt x="4" y="25"/>
                </a:cubicBezTo>
                <a:cubicBezTo>
                  <a:pt x="6" y="25"/>
                  <a:pt x="6" y="25"/>
                  <a:pt x="6" y="25"/>
                </a:cubicBezTo>
                <a:cubicBezTo>
                  <a:pt x="7" y="25"/>
                  <a:pt x="7" y="25"/>
                  <a:pt x="7" y="25"/>
                </a:cubicBezTo>
                <a:cubicBezTo>
                  <a:pt x="7" y="20"/>
                  <a:pt x="9" y="16"/>
                  <a:pt x="12" y="13"/>
                </a:cubicBezTo>
                <a:cubicBezTo>
                  <a:pt x="16" y="10"/>
                  <a:pt x="20" y="8"/>
                  <a:pt x="24" y="8"/>
                </a:cubicBezTo>
                <a:cubicBezTo>
                  <a:pt x="29" y="8"/>
                  <a:pt x="33" y="10"/>
                  <a:pt x="36" y="13"/>
                </a:cubicBezTo>
                <a:cubicBezTo>
                  <a:pt x="40" y="16"/>
                  <a:pt x="41" y="20"/>
                  <a:pt x="41" y="25"/>
                </a:cubicBezTo>
                <a:cubicBezTo>
                  <a:pt x="41" y="30"/>
                  <a:pt x="40" y="34"/>
                  <a:pt x="36" y="37"/>
                </a:cubicBezTo>
                <a:cubicBezTo>
                  <a:pt x="33" y="40"/>
                  <a:pt x="29" y="42"/>
                  <a:pt x="24" y="42"/>
                </a:cubicBezTo>
                <a:cubicBezTo>
                  <a:pt x="20" y="42"/>
                  <a:pt x="16" y="40"/>
                  <a:pt x="12" y="37"/>
                </a:cubicBezTo>
                <a:cubicBezTo>
                  <a:pt x="9" y="34"/>
                  <a:pt x="7" y="30"/>
                  <a:pt x="7" y="25"/>
                </a:cubicBezTo>
                <a:lnTo>
                  <a:pt x="6" y="2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5">
            <a:extLst>
              <a:ext uri="{FF2B5EF4-FFF2-40B4-BE49-F238E27FC236}">
                <a16:creationId xmlns:a16="http://schemas.microsoft.com/office/drawing/2014/main" id="{CB94E591-AC49-2C4C-8112-79CD9AE224D2}"/>
              </a:ext>
            </a:extLst>
          </p:cNvPr>
          <p:cNvSpPr>
            <a:spLocks noEditPoints="1"/>
          </p:cNvSpPr>
          <p:nvPr/>
        </p:nvSpPr>
        <p:spPr bwMode="auto">
          <a:xfrm>
            <a:off x="3100952" y="5695369"/>
            <a:ext cx="50612" cy="52637"/>
          </a:xfrm>
          <a:custGeom>
            <a:avLst/>
            <a:gdLst>
              <a:gd name="T0" fmla="*/ 0 w 21"/>
              <a:gd name="T1" fmla="*/ 11 h 22"/>
              <a:gd name="T2" fmla="*/ 10 w 21"/>
              <a:gd name="T3" fmla="*/ 0 h 22"/>
              <a:gd name="T4" fmla="*/ 21 w 21"/>
              <a:gd name="T5" fmla="*/ 11 h 22"/>
              <a:gd name="T6" fmla="*/ 10 w 21"/>
              <a:gd name="T7" fmla="*/ 22 h 22"/>
              <a:gd name="T8" fmla="*/ 0 w 21"/>
              <a:gd name="T9" fmla="*/ 11 h 22"/>
              <a:gd name="T10" fmla="*/ 4 w 21"/>
              <a:gd name="T11" fmla="*/ 11 h 22"/>
              <a:gd name="T12" fmla="*/ 10 w 21"/>
              <a:gd name="T13" fmla="*/ 17 h 22"/>
              <a:gd name="T14" fmla="*/ 17 w 21"/>
              <a:gd name="T15" fmla="*/ 11 h 22"/>
              <a:gd name="T16" fmla="*/ 10 w 21"/>
              <a:gd name="T17" fmla="*/ 5 h 22"/>
              <a:gd name="T18" fmla="*/ 4 w 21"/>
              <a:gd name="T1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2">
                <a:moveTo>
                  <a:pt x="0" y="11"/>
                </a:moveTo>
                <a:cubicBezTo>
                  <a:pt x="0" y="5"/>
                  <a:pt x="5" y="0"/>
                  <a:pt x="10" y="0"/>
                </a:cubicBezTo>
                <a:cubicBezTo>
                  <a:pt x="16" y="0"/>
                  <a:pt x="21" y="5"/>
                  <a:pt x="21" y="11"/>
                </a:cubicBezTo>
                <a:cubicBezTo>
                  <a:pt x="21" y="17"/>
                  <a:pt x="16" y="22"/>
                  <a:pt x="10" y="22"/>
                </a:cubicBezTo>
                <a:cubicBezTo>
                  <a:pt x="5" y="22"/>
                  <a:pt x="0" y="17"/>
                  <a:pt x="0" y="11"/>
                </a:cubicBezTo>
                <a:close/>
                <a:moveTo>
                  <a:pt x="4" y="11"/>
                </a:moveTo>
                <a:cubicBezTo>
                  <a:pt x="4" y="15"/>
                  <a:pt x="7" y="17"/>
                  <a:pt x="10" y="17"/>
                </a:cubicBezTo>
                <a:cubicBezTo>
                  <a:pt x="14" y="17"/>
                  <a:pt x="17" y="15"/>
                  <a:pt x="17" y="11"/>
                </a:cubicBezTo>
                <a:cubicBezTo>
                  <a:pt x="17" y="8"/>
                  <a:pt x="14" y="5"/>
                  <a:pt x="10" y="5"/>
                </a:cubicBezTo>
                <a:cubicBezTo>
                  <a:pt x="7" y="5"/>
                  <a:pt x="4" y="8"/>
                  <a:pt x="4" y="1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6">
            <a:extLst>
              <a:ext uri="{FF2B5EF4-FFF2-40B4-BE49-F238E27FC236}">
                <a16:creationId xmlns:a16="http://schemas.microsoft.com/office/drawing/2014/main" id="{7F39A891-E298-9246-AEFD-D53B3B90E14A}"/>
              </a:ext>
            </a:extLst>
          </p:cNvPr>
          <p:cNvSpPr>
            <a:spLocks noEditPoints="1"/>
          </p:cNvSpPr>
          <p:nvPr/>
        </p:nvSpPr>
        <p:spPr bwMode="auto">
          <a:xfrm>
            <a:off x="3095890" y="5693345"/>
            <a:ext cx="59723" cy="56686"/>
          </a:xfrm>
          <a:custGeom>
            <a:avLst/>
            <a:gdLst>
              <a:gd name="T0" fmla="*/ 2 w 25"/>
              <a:gd name="T1" fmla="*/ 12 h 24"/>
              <a:gd name="T2" fmla="*/ 3 w 25"/>
              <a:gd name="T3" fmla="*/ 12 h 24"/>
              <a:gd name="T4" fmla="*/ 12 w 25"/>
              <a:gd name="T5" fmla="*/ 3 h 24"/>
              <a:gd name="T6" fmla="*/ 22 w 25"/>
              <a:gd name="T7" fmla="*/ 12 h 24"/>
              <a:gd name="T8" fmla="*/ 12 w 25"/>
              <a:gd name="T9" fmla="*/ 21 h 24"/>
              <a:gd name="T10" fmla="*/ 3 w 25"/>
              <a:gd name="T11" fmla="*/ 12 h 24"/>
              <a:gd name="T12" fmla="*/ 2 w 25"/>
              <a:gd name="T13" fmla="*/ 12 h 24"/>
              <a:gd name="T14" fmla="*/ 0 w 25"/>
              <a:gd name="T15" fmla="*/ 12 h 24"/>
              <a:gd name="T16" fmla="*/ 12 w 25"/>
              <a:gd name="T17" fmla="*/ 24 h 24"/>
              <a:gd name="T18" fmla="*/ 25 w 25"/>
              <a:gd name="T19" fmla="*/ 12 h 24"/>
              <a:gd name="T20" fmla="*/ 12 w 25"/>
              <a:gd name="T21" fmla="*/ 0 h 24"/>
              <a:gd name="T22" fmla="*/ 0 w 25"/>
              <a:gd name="T23" fmla="*/ 12 h 24"/>
              <a:gd name="T24" fmla="*/ 2 w 25"/>
              <a:gd name="T25" fmla="*/ 12 h 24"/>
              <a:gd name="T26" fmla="*/ 6 w 25"/>
              <a:gd name="T27" fmla="*/ 12 h 24"/>
              <a:gd name="T28" fmla="*/ 5 w 25"/>
              <a:gd name="T29" fmla="*/ 12 h 24"/>
              <a:gd name="T30" fmla="*/ 12 w 25"/>
              <a:gd name="T31" fmla="*/ 20 h 24"/>
              <a:gd name="T32" fmla="*/ 20 w 25"/>
              <a:gd name="T33" fmla="*/ 12 h 24"/>
              <a:gd name="T34" fmla="*/ 12 w 25"/>
              <a:gd name="T35" fmla="*/ 5 h 24"/>
              <a:gd name="T36" fmla="*/ 5 w 25"/>
              <a:gd name="T37" fmla="*/ 12 h 24"/>
              <a:gd name="T38" fmla="*/ 6 w 25"/>
              <a:gd name="T39" fmla="*/ 12 h 24"/>
              <a:gd name="T40" fmla="*/ 8 w 25"/>
              <a:gd name="T41" fmla="*/ 12 h 24"/>
              <a:gd name="T42" fmla="*/ 12 w 25"/>
              <a:gd name="T43" fmla="*/ 8 h 24"/>
              <a:gd name="T44" fmla="*/ 17 w 25"/>
              <a:gd name="T45" fmla="*/ 12 h 24"/>
              <a:gd name="T46" fmla="*/ 12 w 25"/>
              <a:gd name="T47" fmla="*/ 17 h 24"/>
              <a:gd name="T48" fmla="*/ 8 w 25"/>
              <a:gd name="T49" fmla="*/ 12 h 24"/>
              <a:gd name="T50" fmla="*/ 6 w 25"/>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24">
                <a:moveTo>
                  <a:pt x="2" y="12"/>
                </a:moveTo>
                <a:cubicBezTo>
                  <a:pt x="3" y="12"/>
                  <a:pt x="3" y="12"/>
                  <a:pt x="3" y="12"/>
                </a:cubicBezTo>
                <a:cubicBezTo>
                  <a:pt x="3" y="7"/>
                  <a:pt x="7" y="3"/>
                  <a:pt x="12" y="3"/>
                </a:cubicBezTo>
                <a:cubicBezTo>
                  <a:pt x="18" y="3"/>
                  <a:pt x="22" y="7"/>
                  <a:pt x="22" y="12"/>
                </a:cubicBezTo>
                <a:cubicBezTo>
                  <a:pt x="22" y="17"/>
                  <a:pt x="18" y="21"/>
                  <a:pt x="12" y="21"/>
                </a:cubicBezTo>
                <a:cubicBezTo>
                  <a:pt x="7" y="21"/>
                  <a:pt x="3" y="17"/>
                  <a:pt x="3" y="12"/>
                </a:cubicBezTo>
                <a:cubicBezTo>
                  <a:pt x="2" y="12"/>
                  <a:pt x="2" y="12"/>
                  <a:pt x="2" y="12"/>
                </a:cubicBezTo>
                <a:cubicBezTo>
                  <a:pt x="0" y="12"/>
                  <a:pt x="0" y="12"/>
                  <a:pt x="0" y="12"/>
                </a:cubicBezTo>
                <a:cubicBezTo>
                  <a:pt x="0" y="19"/>
                  <a:pt x="6" y="24"/>
                  <a:pt x="12" y="24"/>
                </a:cubicBezTo>
                <a:cubicBezTo>
                  <a:pt x="19" y="24"/>
                  <a:pt x="25" y="19"/>
                  <a:pt x="25" y="12"/>
                </a:cubicBezTo>
                <a:cubicBezTo>
                  <a:pt x="25" y="5"/>
                  <a:pt x="19" y="0"/>
                  <a:pt x="12" y="0"/>
                </a:cubicBezTo>
                <a:cubicBezTo>
                  <a:pt x="6" y="0"/>
                  <a:pt x="0" y="5"/>
                  <a:pt x="0" y="12"/>
                </a:cubicBezTo>
                <a:lnTo>
                  <a:pt x="2" y="12"/>
                </a:lnTo>
                <a:close/>
                <a:moveTo>
                  <a:pt x="6" y="12"/>
                </a:moveTo>
                <a:cubicBezTo>
                  <a:pt x="5" y="12"/>
                  <a:pt x="5" y="12"/>
                  <a:pt x="5" y="12"/>
                </a:cubicBezTo>
                <a:cubicBezTo>
                  <a:pt x="5" y="16"/>
                  <a:pt x="8" y="20"/>
                  <a:pt x="12" y="20"/>
                </a:cubicBezTo>
                <a:cubicBezTo>
                  <a:pt x="17" y="20"/>
                  <a:pt x="20" y="16"/>
                  <a:pt x="20" y="12"/>
                </a:cubicBezTo>
                <a:cubicBezTo>
                  <a:pt x="20" y="8"/>
                  <a:pt x="17" y="5"/>
                  <a:pt x="12" y="5"/>
                </a:cubicBezTo>
                <a:cubicBezTo>
                  <a:pt x="8" y="5"/>
                  <a:pt x="5" y="8"/>
                  <a:pt x="5" y="12"/>
                </a:cubicBezTo>
                <a:cubicBezTo>
                  <a:pt x="6" y="12"/>
                  <a:pt x="6" y="12"/>
                  <a:pt x="6" y="12"/>
                </a:cubicBezTo>
                <a:cubicBezTo>
                  <a:pt x="8" y="12"/>
                  <a:pt x="8" y="12"/>
                  <a:pt x="8" y="12"/>
                </a:cubicBezTo>
                <a:cubicBezTo>
                  <a:pt x="8" y="10"/>
                  <a:pt x="10" y="8"/>
                  <a:pt x="12" y="8"/>
                </a:cubicBezTo>
                <a:cubicBezTo>
                  <a:pt x="15" y="8"/>
                  <a:pt x="17" y="10"/>
                  <a:pt x="17" y="12"/>
                </a:cubicBezTo>
                <a:cubicBezTo>
                  <a:pt x="17" y="15"/>
                  <a:pt x="15" y="17"/>
                  <a:pt x="12" y="17"/>
                </a:cubicBezTo>
                <a:cubicBezTo>
                  <a:pt x="10" y="17"/>
                  <a:pt x="8" y="15"/>
                  <a:pt x="8" y="12"/>
                </a:cubicBezTo>
                <a:lnTo>
                  <a:pt x="6"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7">
            <a:extLst>
              <a:ext uri="{FF2B5EF4-FFF2-40B4-BE49-F238E27FC236}">
                <a16:creationId xmlns:a16="http://schemas.microsoft.com/office/drawing/2014/main" id="{B6C8D9C7-90B3-7742-8070-18A682F69A7F}"/>
              </a:ext>
            </a:extLst>
          </p:cNvPr>
          <p:cNvSpPr>
            <a:spLocks noEditPoints="1"/>
          </p:cNvSpPr>
          <p:nvPr/>
        </p:nvSpPr>
        <p:spPr bwMode="auto">
          <a:xfrm>
            <a:off x="3684005" y="5569851"/>
            <a:ext cx="69845" cy="69845"/>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6"/>
                  <a:pt x="7" y="0"/>
                  <a:pt x="15" y="0"/>
                </a:cubicBezTo>
                <a:cubicBezTo>
                  <a:pt x="23" y="0"/>
                  <a:pt x="29" y="6"/>
                  <a:pt x="29" y="14"/>
                </a:cubicBezTo>
                <a:cubicBezTo>
                  <a:pt x="29" y="22"/>
                  <a:pt x="23"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rgbClr val="5DB8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8">
            <a:extLst>
              <a:ext uri="{FF2B5EF4-FFF2-40B4-BE49-F238E27FC236}">
                <a16:creationId xmlns:a16="http://schemas.microsoft.com/office/drawing/2014/main" id="{02E49FA9-7786-694B-8965-37BF354F2DBF}"/>
              </a:ext>
            </a:extLst>
          </p:cNvPr>
          <p:cNvSpPr>
            <a:spLocks noEditPoints="1"/>
          </p:cNvSpPr>
          <p:nvPr/>
        </p:nvSpPr>
        <p:spPr bwMode="auto">
          <a:xfrm>
            <a:off x="3681981" y="5567826"/>
            <a:ext cx="76931" cy="74906"/>
          </a:xfrm>
          <a:custGeom>
            <a:avLst/>
            <a:gdLst>
              <a:gd name="T0" fmla="*/ 16 w 32"/>
              <a:gd name="T1" fmla="*/ 30 h 31"/>
              <a:gd name="T2" fmla="*/ 16 w 32"/>
              <a:gd name="T3" fmla="*/ 28 h 31"/>
              <a:gd name="T4" fmla="*/ 7 w 32"/>
              <a:gd name="T5" fmla="*/ 24 h 31"/>
              <a:gd name="T6" fmla="*/ 3 w 32"/>
              <a:gd name="T7" fmla="*/ 15 h 31"/>
              <a:gd name="T8" fmla="*/ 7 w 32"/>
              <a:gd name="T9" fmla="*/ 6 h 31"/>
              <a:gd name="T10" fmla="*/ 16 w 32"/>
              <a:gd name="T11" fmla="*/ 2 h 31"/>
              <a:gd name="T12" fmla="*/ 25 w 32"/>
              <a:gd name="T13" fmla="*/ 6 h 31"/>
              <a:gd name="T14" fmla="*/ 29 w 32"/>
              <a:gd name="T15" fmla="*/ 15 h 31"/>
              <a:gd name="T16" fmla="*/ 25 w 32"/>
              <a:gd name="T17" fmla="*/ 24 h 31"/>
              <a:gd name="T18" fmla="*/ 16 w 32"/>
              <a:gd name="T19" fmla="*/ 28 h 31"/>
              <a:gd name="T20" fmla="*/ 16 w 32"/>
              <a:gd name="T21" fmla="*/ 30 h 31"/>
              <a:gd name="T22" fmla="*/ 16 w 32"/>
              <a:gd name="T23" fmla="*/ 31 h 31"/>
              <a:gd name="T24" fmla="*/ 32 w 32"/>
              <a:gd name="T25" fmla="*/ 15 h 31"/>
              <a:gd name="T26" fmla="*/ 16 w 32"/>
              <a:gd name="T27" fmla="*/ 0 h 31"/>
              <a:gd name="T28" fmla="*/ 0 w 32"/>
              <a:gd name="T29" fmla="*/ 15 h 31"/>
              <a:gd name="T30" fmla="*/ 16 w 32"/>
              <a:gd name="T31" fmla="*/ 31 h 31"/>
              <a:gd name="T32" fmla="*/ 16 w 32"/>
              <a:gd name="T33" fmla="*/ 30 h 31"/>
              <a:gd name="T34" fmla="*/ 16 w 32"/>
              <a:gd name="T35" fmla="*/ 6 h 31"/>
              <a:gd name="T36" fmla="*/ 16 w 32"/>
              <a:gd name="T37" fmla="*/ 4 h 31"/>
              <a:gd name="T38" fmla="*/ 5 w 32"/>
              <a:gd name="T39" fmla="*/ 15 h 31"/>
              <a:gd name="T40" fmla="*/ 16 w 32"/>
              <a:gd name="T41" fmla="*/ 26 h 31"/>
              <a:gd name="T42" fmla="*/ 27 w 32"/>
              <a:gd name="T43" fmla="*/ 15 h 31"/>
              <a:gd name="T44" fmla="*/ 16 w 32"/>
              <a:gd name="T45" fmla="*/ 4 h 31"/>
              <a:gd name="T46" fmla="*/ 16 w 32"/>
              <a:gd name="T47" fmla="*/ 6 h 31"/>
              <a:gd name="T48" fmla="*/ 16 w 32"/>
              <a:gd name="T49" fmla="*/ 7 h 31"/>
              <a:gd name="T50" fmla="*/ 24 w 32"/>
              <a:gd name="T51" fmla="*/ 15 h 31"/>
              <a:gd name="T52" fmla="*/ 16 w 32"/>
              <a:gd name="T53" fmla="*/ 23 h 31"/>
              <a:gd name="T54" fmla="*/ 8 w 32"/>
              <a:gd name="T55" fmla="*/ 15 h 31"/>
              <a:gd name="T56" fmla="*/ 16 w 32"/>
              <a:gd name="T57" fmla="*/ 7 h 31"/>
              <a:gd name="T58" fmla="*/ 16 w 32"/>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16" y="30"/>
                </a:moveTo>
                <a:cubicBezTo>
                  <a:pt x="16" y="28"/>
                  <a:pt x="16" y="28"/>
                  <a:pt x="16" y="28"/>
                </a:cubicBezTo>
                <a:cubicBezTo>
                  <a:pt x="12" y="28"/>
                  <a:pt x="9" y="27"/>
                  <a:pt x="7" y="24"/>
                </a:cubicBezTo>
                <a:cubicBezTo>
                  <a:pt x="4" y="22"/>
                  <a:pt x="3" y="19"/>
                  <a:pt x="3" y="15"/>
                </a:cubicBezTo>
                <a:cubicBezTo>
                  <a:pt x="3" y="12"/>
                  <a:pt x="4" y="9"/>
                  <a:pt x="7" y="6"/>
                </a:cubicBezTo>
                <a:cubicBezTo>
                  <a:pt x="9" y="4"/>
                  <a:pt x="12" y="3"/>
                  <a:pt x="16" y="2"/>
                </a:cubicBezTo>
                <a:cubicBezTo>
                  <a:pt x="19" y="3"/>
                  <a:pt x="22" y="4"/>
                  <a:pt x="25" y="6"/>
                </a:cubicBezTo>
                <a:cubicBezTo>
                  <a:pt x="27" y="9"/>
                  <a:pt x="29" y="12"/>
                  <a:pt x="29" y="15"/>
                </a:cubicBezTo>
                <a:cubicBezTo>
                  <a:pt x="29" y="19"/>
                  <a:pt x="27" y="22"/>
                  <a:pt x="25" y="24"/>
                </a:cubicBezTo>
                <a:cubicBezTo>
                  <a:pt x="22" y="27"/>
                  <a:pt x="19" y="28"/>
                  <a:pt x="16" y="28"/>
                </a:cubicBezTo>
                <a:cubicBezTo>
                  <a:pt x="16" y="30"/>
                  <a:pt x="16" y="30"/>
                  <a:pt x="16" y="30"/>
                </a:cubicBezTo>
                <a:cubicBezTo>
                  <a:pt x="16" y="31"/>
                  <a:pt x="16" y="31"/>
                  <a:pt x="16" y="31"/>
                </a:cubicBezTo>
                <a:cubicBezTo>
                  <a:pt x="24" y="31"/>
                  <a:pt x="32" y="24"/>
                  <a:pt x="32" y="15"/>
                </a:cubicBezTo>
                <a:cubicBezTo>
                  <a:pt x="32" y="7"/>
                  <a:pt x="24" y="0"/>
                  <a:pt x="16" y="0"/>
                </a:cubicBezTo>
                <a:cubicBezTo>
                  <a:pt x="7" y="0"/>
                  <a:pt x="0" y="7"/>
                  <a:pt x="0" y="15"/>
                </a:cubicBezTo>
                <a:cubicBezTo>
                  <a:pt x="0" y="24"/>
                  <a:pt x="7" y="31"/>
                  <a:pt x="16" y="31"/>
                </a:cubicBezTo>
                <a:lnTo>
                  <a:pt x="16" y="30"/>
                </a:lnTo>
                <a:close/>
                <a:moveTo>
                  <a:pt x="16" y="6"/>
                </a:moveTo>
                <a:cubicBezTo>
                  <a:pt x="16" y="4"/>
                  <a:pt x="16" y="4"/>
                  <a:pt x="16" y="4"/>
                </a:cubicBezTo>
                <a:cubicBezTo>
                  <a:pt x="10" y="4"/>
                  <a:pt x="5" y="9"/>
                  <a:pt x="5" y="15"/>
                </a:cubicBezTo>
                <a:cubicBezTo>
                  <a:pt x="5" y="21"/>
                  <a:pt x="10" y="26"/>
                  <a:pt x="16" y="26"/>
                </a:cubicBezTo>
                <a:cubicBezTo>
                  <a:pt x="22" y="26"/>
                  <a:pt x="27" y="21"/>
                  <a:pt x="27" y="15"/>
                </a:cubicBezTo>
                <a:cubicBezTo>
                  <a:pt x="27" y="9"/>
                  <a:pt x="22" y="4"/>
                  <a:pt x="16" y="4"/>
                </a:cubicBezTo>
                <a:cubicBezTo>
                  <a:pt x="16" y="6"/>
                  <a:pt x="16" y="6"/>
                  <a:pt x="16" y="6"/>
                </a:cubicBezTo>
                <a:cubicBezTo>
                  <a:pt x="16" y="7"/>
                  <a:pt x="16" y="7"/>
                  <a:pt x="16" y="7"/>
                </a:cubicBezTo>
                <a:cubicBezTo>
                  <a:pt x="20" y="7"/>
                  <a:pt x="24" y="11"/>
                  <a:pt x="24" y="15"/>
                </a:cubicBezTo>
                <a:cubicBezTo>
                  <a:pt x="24" y="20"/>
                  <a:pt x="20" y="23"/>
                  <a:pt x="16" y="23"/>
                </a:cubicBezTo>
                <a:cubicBezTo>
                  <a:pt x="11" y="23"/>
                  <a:pt x="8" y="20"/>
                  <a:pt x="8" y="15"/>
                </a:cubicBezTo>
                <a:cubicBezTo>
                  <a:pt x="8" y="11"/>
                  <a:pt x="11" y="7"/>
                  <a:pt x="16" y="7"/>
                </a:cubicBezTo>
                <a:lnTo>
                  <a:pt x="16" y="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9">
            <a:extLst>
              <a:ext uri="{FF2B5EF4-FFF2-40B4-BE49-F238E27FC236}">
                <a16:creationId xmlns:a16="http://schemas.microsoft.com/office/drawing/2014/main" id="{F8A2EDE0-4A75-4349-AD9F-059736C18B5C}"/>
              </a:ext>
            </a:extLst>
          </p:cNvPr>
          <p:cNvSpPr>
            <a:spLocks noEditPoints="1"/>
          </p:cNvSpPr>
          <p:nvPr/>
        </p:nvSpPr>
        <p:spPr bwMode="auto">
          <a:xfrm>
            <a:off x="2766910" y="6125574"/>
            <a:ext cx="66808" cy="69845"/>
          </a:xfrm>
          <a:custGeom>
            <a:avLst/>
            <a:gdLst>
              <a:gd name="T0" fmla="*/ 0 w 28"/>
              <a:gd name="T1" fmla="*/ 15 h 29"/>
              <a:gd name="T2" fmla="*/ 14 w 28"/>
              <a:gd name="T3" fmla="*/ 0 h 29"/>
              <a:gd name="T4" fmla="*/ 28 w 28"/>
              <a:gd name="T5" fmla="*/ 15 h 29"/>
              <a:gd name="T6" fmla="*/ 14 w 28"/>
              <a:gd name="T7" fmla="*/ 29 h 29"/>
              <a:gd name="T8" fmla="*/ 0 w 28"/>
              <a:gd name="T9" fmla="*/ 15 h 29"/>
              <a:gd name="T10" fmla="*/ 4 w 28"/>
              <a:gd name="T11" fmla="*/ 15 h 29"/>
              <a:gd name="T12" fmla="*/ 14 w 28"/>
              <a:gd name="T13" fmla="*/ 24 h 29"/>
              <a:gd name="T14" fmla="*/ 24 w 28"/>
              <a:gd name="T15" fmla="*/ 15 h 29"/>
              <a:gd name="T16" fmla="*/ 14 w 28"/>
              <a:gd name="T17" fmla="*/ 5 h 29"/>
              <a:gd name="T18" fmla="*/ 4 w 28"/>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9">
                <a:moveTo>
                  <a:pt x="0" y="15"/>
                </a:moveTo>
                <a:cubicBezTo>
                  <a:pt x="0" y="7"/>
                  <a:pt x="6" y="0"/>
                  <a:pt x="14" y="0"/>
                </a:cubicBezTo>
                <a:cubicBezTo>
                  <a:pt x="22" y="0"/>
                  <a:pt x="28" y="7"/>
                  <a:pt x="28" y="15"/>
                </a:cubicBezTo>
                <a:cubicBezTo>
                  <a:pt x="28" y="22"/>
                  <a:pt x="22" y="29"/>
                  <a:pt x="14" y="29"/>
                </a:cubicBezTo>
                <a:cubicBezTo>
                  <a:pt x="6" y="29"/>
                  <a:pt x="0" y="22"/>
                  <a:pt x="0" y="15"/>
                </a:cubicBezTo>
                <a:close/>
                <a:moveTo>
                  <a:pt x="4" y="15"/>
                </a:moveTo>
                <a:cubicBezTo>
                  <a:pt x="4" y="20"/>
                  <a:pt x="9" y="24"/>
                  <a:pt x="14" y="24"/>
                </a:cubicBezTo>
                <a:cubicBezTo>
                  <a:pt x="19" y="24"/>
                  <a:pt x="24" y="20"/>
                  <a:pt x="24" y="15"/>
                </a:cubicBezTo>
                <a:cubicBezTo>
                  <a:pt x="24" y="9"/>
                  <a:pt x="19" y="5"/>
                  <a:pt x="14" y="5"/>
                </a:cubicBezTo>
                <a:cubicBezTo>
                  <a:pt x="9" y="5"/>
                  <a:pt x="4" y="9"/>
                  <a:pt x="4" y="15"/>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20">
            <a:extLst>
              <a:ext uri="{FF2B5EF4-FFF2-40B4-BE49-F238E27FC236}">
                <a16:creationId xmlns:a16="http://schemas.microsoft.com/office/drawing/2014/main" id="{68C54CFF-86F1-754F-A133-1CE06DCA0304}"/>
              </a:ext>
            </a:extLst>
          </p:cNvPr>
          <p:cNvSpPr>
            <a:spLocks noEditPoints="1"/>
          </p:cNvSpPr>
          <p:nvPr/>
        </p:nvSpPr>
        <p:spPr bwMode="auto">
          <a:xfrm>
            <a:off x="2761849" y="6122537"/>
            <a:ext cx="76931" cy="74906"/>
          </a:xfrm>
          <a:custGeom>
            <a:avLst/>
            <a:gdLst>
              <a:gd name="T0" fmla="*/ 2 w 32"/>
              <a:gd name="T1" fmla="*/ 16 h 31"/>
              <a:gd name="T2" fmla="*/ 3 w 32"/>
              <a:gd name="T3" fmla="*/ 16 h 31"/>
              <a:gd name="T4" fmla="*/ 7 w 32"/>
              <a:gd name="T5" fmla="*/ 6 h 31"/>
              <a:gd name="T6" fmla="*/ 16 w 32"/>
              <a:gd name="T7" fmla="*/ 3 h 31"/>
              <a:gd name="T8" fmla="*/ 25 w 32"/>
              <a:gd name="T9" fmla="*/ 6 h 31"/>
              <a:gd name="T10" fmla="*/ 29 w 32"/>
              <a:gd name="T11" fmla="*/ 16 h 31"/>
              <a:gd name="T12" fmla="*/ 25 w 32"/>
              <a:gd name="T13" fmla="*/ 25 h 31"/>
              <a:gd name="T14" fmla="*/ 16 w 32"/>
              <a:gd name="T15" fmla="*/ 28 h 31"/>
              <a:gd name="T16" fmla="*/ 7 w 32"/>
              <a:gd name="T17" fmla="*/ 25 h 31"/>
              <a:gd name="T18" fmla="*/ 3 w 32"/>
              <a:gd name="T19" fmla="*/ 16 h 31"/>
              <a:gd name="T20" fmla="*/ 2 w 32"/>
              <a:gd name="T21" fmla="*/ 16 h 31"/>
              <a:gd name="T22" fmla="*/ 0 w 32"/>
              <a:gd name="T23" fmla="*/ 16 h 31"/>
              <a:gd name="T24" fmla="*/ 16 w 32"/>
              <a:gd name="T25" fmla="*/ 31 h 31"/>
              <a:gd name="T26" fmla="*/ 32 w 32"/>
              <a:gd name="T27" fmla="*/ 16 h 31"/>
              <a:gd name="T28" fmla="*/ 16 w 32"/>
              <a:gd name="T29" fmla="*/ 0 h 31"/>
              <a:gd name="T30" fmla="*/ 0 w 32"/>
              <a:gd name="T31" fmla="*/ 16 h 31"/>
              <a:gd name="T32" fmla="*/ 2 w 32"/>
              <a:gd name="T33" fmla="*/ 16 h 31"/>
              <a:gd name="T34" fmla="*/ 6 w 32"/>
              <a:gd name="T35" fmla="*/ 16 h 31"/>
              <a:gd name="T36" fmla="*/ 5 w 32"/>
              <a:gd name="T37" fmla="*/ 16 h 31"/>
              <a:gd name="T38" fmla="*/ 16 w 32"/>
              <a:gd name="T39" fmla="*/ 27 h 31"/>
              <a:gd name="T40" fmla="*/ 27 w 32"/>
              <a:gd name="T41" fmla="*/ 16 h 31"/>
              <a:gd name="T42" fmla="*/ 16 w 32"/>
              <a:gd name="T43" fmla="*/ 4 h 31"/>
              <a:gd name="T44" fmla="*/ 5 w 32"/>
              <a:gd name="T45" fmla="*/ 16 h 31"/>
              <a:gd name="T46" fmla="*/ 6 w 32"/>
              <a:gd name="T47" fmla="*/ 16 h 31"/>
              <a:gd name="T48" fmla="*/ 8 w 32"/>
              <a:gd name="T49" fmla="*/ 16 h 31"/>
              <a:gd name="T50" fmla="*/ 16 w 32"/>
              <a:gd name="T51" fmla="*/ 7 h 31"/>
              <a:gd name="T52" fmla="*/ 24 w 32"/>
              <a:gd name="T53" fmla="*/ 16 h 31"/>
              <a:gd name="T54" fmla="*/ 16 w 32"/>
              <a:gd name="T55" fmla="*/ 24 h 31"/>
              <a:gd name="T56" fmla="*/ 8 w 32"/>
              <a:gd name="T57" fmla="*/ 16 h 31"/>
              <a:gd name="T58" fmla="*/ 6 w 32"/>
              <a:gd name="T59"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2" y="16"/>
                </a:moveTo>
                <a:cubicBezTo>
                  <a:pt x="3" y="16"/>
                  <a:pt x="3" y="16"/>
                  <a:pt x="3" y="16"/>
                </a:cubicBezTo>
                <a:cubicBezTo>
                  <a:pt x="3" y="12"/>
                  <a:pt x="5" y="9"/>
                  <a:pt x="7" y="6"/>
                </a:cubicBezTo>
                <a:cubicBezTo>
                  <a:pt x="9" y="4"/>
                  <a:pt x="13" y="3"/>
                  <a:pt x="16" y="3"/>
                </a:cubicBezTo>
                <a:cubicBezTo>
                  <a:pt x="20" y="3"/>
                  <a:pt x="23" y="4"/>
                  <a:pt x="25" y="6"/>
                </a:cubicBezTo>
                <a:cubicBezTo>
                  <a:pt x="27" y="9"/>
                  <a:pt x="29" y="12"/>
                  <a:pt x="29" y="16"/>
                </a:cubicBezTo>
                <a:cubicBezTo>
                  <a:pt x="29" y="19"/>
                  <a:pt x="27" y="22"/>
                  <a:pt x="25" y="25"/>
                </a:cubicBezTo>
                <a:cubicBezTo>
                  <a:pt x="23" y="27"/>
                  <a:pt x="20" y="28"/>
                  <a:pt x="16" y="28"/>
                </a:cubicBezTo>
                <a:cubicBezTo>
                  <a:pt x="13" y="28"/>
                  <a:pt x="9" y="27"/>
                  <a:pt x="7" y="25"/>
                </a:cubicBezTo>
                <a:cubicBezTo>
                  <a:pt x="5" y="22"/>
                  <a:pt x="3" y="19"/>
                  <a:pt x="3" y="16"/>
                </a:cubicBezTo>
                <a:cubicBezTo>
                  <a:pt x="2" y="16"/>
                  <a:pt x="2" y="16"/>
                  <a:pt x="2" y="16"/>
                </a:cubicBezTo>
                <a:cubicBezTo>
                  <a:pt x="0" y="16"/>
                  <a:pt x="0" y="16"/>
                  <a:pt x="0" y="16"/>
                </a:cubicBezTo>
                <a:cubicBezTo>
                  <a:pt x="0" y="24"/>
                  <a:pt x="7" y="31"/>
                  <a:pt x="16" y="31"/>
                </a:cubicBezTo>
                <a:cubicBezTo>
                  <a:pt x="25" y="31"/>
                  <a:pt x="32" y="24"/>
                  <a:pt x="32" y="16"/>
                </a:cubicBezTo>
                <a:cubicBezTo>
                  <a:pt x="32" y="7"/>
                  <a:pt x="25" y="0"/>
                  <a:pt x="16" y="0"/>
                </a:cubicBezTo>
                <a:cubicBezTo>
                  <a:pt x="7" y="0"/>
                  <a:pt x="0" y="7"/>
                  <a:pt x="0" y="16"/>
                </a:cubicBezTo>
                <a:lnTo>
                  <a:pt x="2" y="16"/>
                </a:lnTo>
                <a:close/>
                <a:moveTo>
                  <a:pt x="6" y="16"/>
                </a:moveTo>
                <a:cubicBezTo>
                  <a:pt x="5" y="16"/>
                  <a:pt x="5" y="16"/>
                  <a:pt x="5" y="16"/>
                </a:cubicBezTo>
                <a:cubicBezTo>
                  <a:pt x="5" y="22"/>
                  <a:pt x="10" y="27"/>
                  <a:pt x="16" y="27"/>
                </a:cubicBezTo>
                <a:cubicBezTo>
                  <a:pt x="22" y="27"/>
                  <a:pt x="27" y="22"/>
                  <a:pt x="27" y="16"/>
                </a:cubicBezTo>
                <a:cubicBezTo>
                  <a:pt x="27" y="9"/>
                  <a:pt x="22" y="4"/>
                  <a:pt x="16" y="4"/>
                </a:cubicBezTo>
                <a:cubicBezTo>
                  <a:pt x="10" y="4"/>
                  <a:pt x="5" y="9"/>
                  <a:pt x="5" y="16"/>
                </a:cubicBezTo>
                <a:cubicBezTo>
                  <a:pt x="6" y="16"/>
                  <a:pt x="6" y="16"/>
                  <a:pt x="6" y="16"/>
                </a:cubicBezTo>
                <a:cubicBezTo>
                  <a:pt x="8" y="16"/>
                  <a:pt x="8" y="16"/>
                  <a:pt x="8" y="16"/>
                </a:cubicBezTo>
                <a:cubicBezTo>
                  <a:pt x="8" y="11"/>
                  <a:pt x="12" y="7"/>
                  <a:pt x="16" y="7"/>
                </a:cubicBezTo>
                <a:cubicBezTo>
                  <a:pt x="21" y="7"/>
                  <a:pt x="24" y="11"/>
                  <a:pt x="24" y="16"/>
                </a:cubicBezTo>
                <a:cubicBezTo>
                  <a:pt x="24" y="20"/>
                  <a:pt x="21" y="24"/>
                  <a:pt x="16" y="24"/>
                </a:cubicBezTo>
                <a:cubicBezTo>
                  <a:pt x="12" y="24"/>
                  <a:pt x="8" y="20"/>
                  <a:pt x="8" y="16"/>
                </a:cubicBezTo>
                <a:lnTo>
                  <a:pt x="6" y="1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21">
            <a:extLst>
              <a:ext uri="{FF2B5EF4-FFF2-40B4-BE49-F238E27FC236}">
                <a16:creationId xmlns:a16="http://schemas.microsoft.com/office/drawing/2014/main" id="{0F2624FF-3533-F042-9837-7543CFA586F5}"/>
              </a:ext>
            </a:extLst>
          </p:cNvPr>
          <p:cNvSpPr>
            <a:spLocks noEditPoints="1"/>
          </p:cNvSpPr>
          <p:nvPr/>
        </p:nvSpPr>
        <p:spPr bwMode="auto">
          <a:xfrm>
            <a:off x="2291155" y="6036496"/>
            <a:ext cx="78955" cy="96163"/>
          </a:xfrm>
          <a:custGeom>
            <a:avLst/>
            <a:gdLst>
              <a:gd name="T0" fmla="*/ 0 w 78"/>
              <a:gd name="T1" fmla="*/ 47 h 95"/>
              <a:gd name="T2" fmla="*/ 78 w 78"/>
              <a:gd name="T3" fmla="*/ 0 h 95"/>
              <a:gd name="T4" fmla="*/ 78 w 78"/>
              <a:gd name="T5" fmla="*/ 95 h 95"/>
              <a:gd name="T6" fmla="*/ 0 w 78"/>
              <a:gd name="T7" fmla="*/ 47 h 95"/>
              <a:gd name="T8" fmla="*/ 21 w 78"/>
              <a:gd name="T9" fmla="*/ 47 h 95"/>
              <a:gd name="T10" fmla="*/ 69 w 78"/>
              <a:gd name="T11" fmla="*/ 76 h 95"/>
              <a:gd name="T12" fmla="*/ 69 w 78"/>
              <a:gd name="T13" fmla="*/ 21 h 95"/>
              <a:gd name="T14" fmla="*/ 21 w 78"/>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5">
                <a:moveTo>
                  <a:pt x="0" y="47"/>
                </a:moveTo>
                <a:lnTo>
                  <a:pt x="78" y="0"/>
                </a:lnTo>
                <a:lnTo>
                  <a:pt x="78" y="95"/>
                </a:lnTo>
                <a:lnTo>
                  <a:pt x="0" y="47"/>
                </a:lnTo>
                <a:close/>
                <a:moveTo>
                  <a:pt x="21" y="47"/>
                </a:moveTo>
                <a:lnTo>
                  <a:pt x="69" y="76"/>
                </a:lnTo>
                <a:lnTo>
                  <a:pt x="69" y="21"/>
                </a:lnTo>
                <a:lnTo>
                  <a:pt x="21" y="4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2">
            <a:extLst>
              <a:ext uri="{FF2B5EF4-FFF2-40B4-BE49-F238E27FC236}">
                <a16:creationId xmlns:a16="http://schemas.microsoft.com/office/drawing/2014/main" id="{C4FAC834-D502-3143-948B-ED97A3581815}"/>
              </a:ext>
            </a:extLst>
          </p:cNvPr>
          <p:cNvSpPr>
            <a:spLocks noEditPoints="1"/>
          </p:cNvSpPr>
          <p:nvPr/>
        </p:nvSpPr>
        <p:spPr bwMode="auto">
          <a:xfrm>
            <a:off x="2284069" y="60314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5 w 90"/>
              <a:gd name="T17" fmla="*/ 55 h 105"/>
              <a:gd name="T18" fmla="*/ 90 w 90"/>
              <a:gd name="T19" fmla="*/ 105 h 105"/>
              <a:gd name="T20" fmla="*/ 90 w 90"/>
              <a:gd name="T21" fmla="*/ 0 h 105"/>
              <a:gd name="T22" fmla="*/ 0 w 90"/>
              <a:gd name="T23" fmla="*/ 52 h 105"/>
              <a:gd name="T24" fmla="*/ 5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1 w 90"/>
              <a:gd name="T43" fmla="*/ 55 h 105"/>
              <a:gd name="T44" fmla="*/ 71 w 90"/>
              <a:gd name="T45" fmla="*/ 31 h 105"/>
              <a:gd name="T46" fmla="*/ 71 w 90"/>
              <a:gd name="T47" fmla="*/ 74 h 105"/>
              <a:gd name="T48" fmla="*/ 31 w 90"/>
              <a:gd name="T49" fmla="*/ 50 h 105"/>
              <a:gd name="T50" fmla="*/ 28 w 90"/>
              <a:gd name="T51" fmla="*/ 52 h 105"/>
              <a:gd name="T52" fmla="*/ 31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5" y="55"/>
                </a:lnTo>
                <a:lnTo>
                  <a:pt x="90" y="105"/>
                </a:lnTo>
                <a:lnTo>
                  <a:pt x="90" y="0"/>
                </a:lnTo>
                <a:lnTo>
                  <a:pt x="0" y="52"/>
                </a:lnTo>
                <a:lnTo>
                  <a:pt x="5" y="55"/>
                </a:lnTo>
                <a:lnTo>
                  <a:pt x="7" y="52"/>
                </a:lnTo>
                <a:close/>
                <a:moveTo>
                  <a:pt x="28" y="52"/>
                </a:moveTo>
                <a:lnTo>
                  <a:pt x="26" y="55"/>
                </a:lnTo>
                <a:lnTo>
                  <a:pt x="78" y="86"/>
                </a:lnTo>
                <a:lnTo>
                  <a:pt x="78" y="19"/>
                </a:lnTo>
                <a:lnTo>
                  <a:pt x="21" y="52"/>
                </a:lnTo>
                <a:lnTo>
                  <a:pt x="26" y="55"/>
                </a:lnTo>
                <a:lnTo>
                  <a:pt x="28" y="52"/>
                </a:lnTo>
                <a:lnTo>
                  <a:pt x="31" y="55"/>
                </a:lnTo>
                <a:lnTo>
                  <a:pt x="71" y="31"/>
                </a:lnTo>
                <a:lnTo>
                  <a:pt x="71" y="74"/>
                </a:lnTo>
                <a:lnTo>
                  <a:pt x="31" y="50"/>
                </a:lnTo>
                <a:lnTo>
                  <a:pt x="28" y="52"/>
                </a:lnTo>
                <a:lnTo>
                  <a:pt x="31" y="55"/>
                </a:lnTo>
                <a:lnTo>
                  <a:pt x="28" y="5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23">
            <a:extLst>
              <a:ext uri="{FF2B5EF4-FFF2-40B4-BE49-F238E27FC236}">
                <a16:creationId xmlns:a16="http://schemas.microsoft.com/office/drawing/2014/main" id="{B4361B7B-4108-574E-A94D-CD7960BE41ED}"/>
              </a:ext>
            </a:extLst>
          </p:cNvPr>
          <p:cNvSpPr>
            <a:spLocks noEditPoints="1"/>
          </p:cNvSpPr>
          <p:nvPr/>
        </p:nvSpPr>
        <p:spPr bwMode="auto">
          <a:xfrm>
            <a:off x="2185881" y="6036496"/>
            <a:ext cx="80980" cy="96163"/>
          </a:xfrm>
          <a:custGeom>
            <a:avLst/>
            <a:gdLst>
              <a:gd name="T0" fmla="*/ 0 w 80"/>
              <a:gd name="T1" fmla="*/ 47 h 95"/>
              <a:gd name="T2" fmla="*/ 80 w 80"/>
              <a:gd name="T3" fmla="*/ 0 h 95"/>
              <a:gd name="T4" fmla="*/ 80 w 80"/>
              <a:gd name="T5" fmla="*/ 95 h 95"/>
              <a:gd name="T6" fmla="*/ 0 w 80"/>
              <a:gd name="T7" fmla="*/ 47 h 95"/>
              <a:gd name="T8" fmla="*/ 21 w 80"/>
              <a:gd name="T9" fmla="*/ 47 h 95"/>
              <a:gd name="T10" fmla="*/ 68 w 80"/>
              <a:gd name="T11" fmla="*/ 76 h 95"/>
              <a:gd name="T12" fmla="*/ 68 w 80"/>
              <a:gd name="T13" fmla="*/ 21 h 95"/>
              <a:gd name="T14" fmla="*/ 21 w 80"/>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5">
                <a:moveTo>
                  <a:pt x="0" y="47"/>
                </a:moveTo>
                <a:lnTo>
                  <a:pt x="80" y="0"/>
                </a:lnTo>
                <a:lnTo>
                  <a:pt x="80" y="95"/>
                </a:lnTo>
                <a:lnTo>
                  <a:pt x="0" y="47"/>
                </a:lnTo>
                <a:close/>
                <a:moveTo>
                  <a:pt x="21" y="47"/>
                </a:moveTo>
                <a:lnTo>
                  <a:pt x="68" y="76"/>
                </a:lnTo>
                <a:lnTo>
                  <a:pt x="68" y="21"/>
                </a:lnTo>
                <a:lnTo>
                  <a:pt x="21" y="4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24">
            <a:extLst>
              <a:ext uri="{FF2B5EF4-FFF2-40B4-BE49-F238E27FC236}">
                <a16:creationId xmlns:a16="http://schemas.microsoft.com/office/drawing/2014/main" id="{AB185A4F-DE42-B24D-A2F2-45DFEDC8475D}"/>
              </a:ext>
            </a:extLst>
          </p:cNvPr>
          <p:cNvSpPr>
            <a:spLocks noEditPoints="1"/>
          </p:cNvSpPr>
          <p:nvPr/>
        </p:nvSpPr>
        <p:spPr bwMode="auto">
          <a:xfrm>
            <a:off x="2178795" y="60314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4 w 90"/>
              <a:gd name="T17" fmla="*/ 55 h 105"/>
              <a:gd name="T18" fmla="*/ 90 w 90"/>
              <a:gd name="T19" fmla="*/ 105 h 105"/>
              <a:gd name="T20" fmla="*/ 90 w 90"/>
              <a:gd name="T21" fmla="*/ 0 h 105"/>
              <a:gd name="T22" fmla="*/ 0 w 90"/>
              <a:gd name="T23" fmla="*/ 52 h 105"/>
              <a:gd name="T24" fmla="*/ 4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0 w 90"/>
              <a:gd name="T43" fmla="*/ 55 h 105"/>
              <a:gd name="T44" fmla="*/ 71 w 90"/>
              <a:gd name="T45" fmla="*/ 31 h 105"/>
              <a:gd name="T46" fmla="*/ 71 w 90"/>
              <a:gd name="T47" fmla="*/ 74 h 105"/>
              <a:gd name="T48" fmla="*/ 30 w 90"/>
              <a:gd name="T49" fmla="*/ 50 h 105"/>
              <a:gd name="T50" fmla="*/ 28 w 90"/>
              <a:gd name="T51" fmla="*/ 52 h 105"/>
              <a:gd name="T52" fmla="*/ 30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4" y="55"/>
                </a:lnTo>
                <a:lnTo>
                  <a:pt x="90" y="105"/>
                </a:lnTo>
                <a:lnTo>
                  <a:pt x="90" y="0"/>
                </a:lnTo>
                <a:lnTo>
                  <a:pt x="0" y="52"/>
                </a:lnTo>
                <a:lnTo>
                  <a:pt x="4" y="55"/>
                </a:lnTo>
                <a:lnTo>
                  <a:pt x="7" y="52"/>
                </a:lnTo>
                <a:close/>
                <a:moveTo>
                  <a:pt x="28" y="52"/>
                </a:moveTo>
                <a:lnTo>
                  <a:pt x="26" y="55"/>
                </a:lnTo>
                <a:lnTo>
                  <a:pt x="78" y="86"/>
                </a:lnTo>
                <a:lnTo>
                  <a:pt x="78" y="19"/>
                </a:lnTo>
                <a:lnTo>
                  <a:pt x="21" y="52"/>
                </a:lnTo>
                <a:lnTo>
                  <a:pt x="26" y="55"/>
                </a:lnTo>
                <a:lnTo>
                  <a:pt x="28" y="52"/>
                </a:lnTo>
                <a:lnTo>
                  <a:pt x="30" y="55"/>
                </a:lnTo>
                <a:lnTo>
                  <a:pt x="71" y="31"/>
                </a:lnTo>
                <a:lnTo>
                  <a:pt x="71" y="74"/>
                </a:lnTo>
                <a:lnTo>
                  <a:pt x="30" y="50"/>
                </a:lnTo>
                <a:lnTo>
                  <a:pt x="28" y="52"/>
                </a:lnTo>
                <a:lnTo>
                  <a:pt x="30" y="55"/>
                </a:lnTo>
                <a:lnTo>
                  <a:pt x="28" y="5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25">
            <a:extLst>
              <a:ext uri="{FF2B5EF4-FFF2-40B4-BE49-F238E27FC236}">
                <a16:creationId xmlns:a16="http://schemas.microsoft.com/office/drawing/2014/main" id="{9D9AEEEC-B4C6-F04D-A872-225B6C57E0F2}"/>
              </a:ext>
            </a:extLst>
          </p:cNvPr>
          <p:cNvSpPr>
            <a:spLocks noEditPoints="1"/>
          </p:cNvSpPr>
          <p:nvPr/>
        </p:nvSpPr>
        <p:spPr bwMode="auto">
          <a:xfrm>
            <a:off x="9259456" y="6151892"/>
            <a:ext cx="110335" cy="112359"/>
          </a:xfrm>
          <a:custGeom>
            <a:avLst/>
            <a:gdLst>
              <a:gd name="T0" fmla="*/ 0 w 46"/>
              <a:gd name="T1" fmla="*/ 24 h 47"/>
              <a:gd name="T2" fmla="*/ 23 w 46"/>
              <a:gd name="T3" fmla="*/ 0 h 47"/>
              <a:gd name="T4" fmla="*/ 46 w 46"/>
              <a:gd name="T5" fmla="*/ 24 h 47"/>
              <a:gd name="T6" fmla="*/ 23 w 46"/>
              <a:gd name="T7" fmla="*/ 47 h 47"/>
              <a:gd name="T8" fmla="*/ 0 w 46"/>
              <a:gd name="T9" fmla="*/ 24 h 47"/>
              <a:gd name="T10" fmla="*/ 5 w 46"/>
              <a:gd name="T11" fmla="*/ 24 h 47"/>
              <a:gd name="T12" fmla="*/ 23 w 46"/>
              <a:gd name="T13" fmla="*/ 42 h 47"/>
              <a:gd name="T14" fmla="*/ 42 w 46"/>
              <a:gd name="T15" fmla="*/ 24 h 47"/>
              <a:gd name="T16" fmla="*/ 23 w 46"/>
              <a:gd name="T17" fmla="*/ 5 h 47"/>
              <a:gd name="T18" fmla="*/ 5 w 46"/>
              <a:gd name="T19"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7">
                <a:moveTo>
                  <a:pt x="0" y="24"/>
                </a:moveTo>
                <a:cubicBezTo>
                  <a:pt x="0" y="11"/>
                  <a:pt x="10" y="0"/>
                  <a:pt x="23" y="0"/>
                </a:cubicBezTo>
                <a:cubicBezTo>
                  <a:pt x="36" y="0"/>
                  <a:pt x="46" y="11"/>
                  <a:pt x="46" y="24"/>
                </a:cubicBezTo>
                <a:cubicBezTo>
                  <a:pt x="46" y="36"/>
                  <a:pt x="36" y="47"/>
                  <a:pt x="23" y="47"/>
                </a:cubicBezTo>
                <a:cubicBezTo>
                  <a:pt x="10" y="47"/>
                  <a:pt x="0" y="36"/>
                  <a:pt x="0" y="24"/>
                </a:cubicBezTo>
                <a:close/>
                <a:moveTo>
                  <a:pt x="5" y="24"/>
                </a:moveTo>
                <a:cubicBezTo>
                  <a:pt x="5" y="34"/>
                  <a:pt x="13" y="42"/>
                  <a:pt x="23" y="42"/>
                </a:cubicBezTo>
                <a:cubicBezTo>
                  <a:pt x="33" y="42"/>
                  <a:pt x="42" y="34"/>
                  <a:pt x="42" y="24"/>
                </a:cubicBezTo>
                <a:cubicBezTo>
                  <a:pt x="42" y="13"/>
                  <a:pt x="33" y="5"/>
                  <a:pt x="23" y="5"/>
                </a:cubicBezTo>
                <a:cubicBezTo>
                  <a:pt x="13" y="5"/>
                  <a:pt x="5" y="13"/>
                  <a:pt x="5" y="24"/>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26">
            <a:extLst>
              <a:ext uri="{FF2B5EF4-FFF2-40B4-BE49-F238E27FC236}">
                <a16:creationId xmlns:a16="http://schemas.microsoft.com/office/drawing/2014/main" id="{9C9CFBB8-AC74-C547-AA9A-66AB822CC8A7}"/>
              </a:ext>
            </a:extLst>
          </p:cNvPr>
          <p:cNvSpPr>
            <a:spLocks noEditPoints="1"/>
          </p:cNvSpPr>
          <p:nvPr/>
        </p:nvSpPr>
        <p:spPr bwMode="auto">
          <a:xfrm>
            <a:off x="9254395" y="6148855"/>
            <a:ext cx="119445" cy="118433"/>
          </a:xfrm>
          <a:custGeom>
            <a:avLst/>
            <a:gdLst>
              <a:gd name="T0" fmla="*/ 2 w 50"/>
              <a:gd name="T1" fmla="*/ 25 h 49"/>
              <a:gd name="T2" fmla="*/ 3 w 50"/>
              <a:gd name="T3" fmla="*/ 25 h 49"/>
              <a:gd name="T4" fmla="*/ 10 w 50"/>
              <a:gd name="T5" fmla="*/ 9 h 49"/>
              <a:gd name="T6" fmla="*/ 25 w 50"/>
              <a:gd name="T7" fmla="*/ 3 h 49"/>
              <a:gd name="T8" fmla="*/ 40 w 50"/>
              <a:gd name="T9" fmla="*/ 9 h 49"/>
              <a:gd name="T10" fmla="*/ 47 w 50"/>
              <a:gd name="T11" fmla="*/ 25 h 49"/>
              <a:gd name="T12" fmla="*/ 40 w 50"/>
              <a:gd name="T13" fmla="*/ 40 h 49"/>
              <a:gd name="T14" fmla="*/ 25 w 50"/>
              <a:gd name="T15" fmla="*/ 46 h 49"/>
              <a:gd name="T16" fmla="*/ 10 w 50"/>
              <a:gd name="T17" fmla="*/ 40 h 49"/>
              <a:gd name="T18" fmla="*/ 3 w 50"/>
              <a:gd name="T19" fmla="*/ 25 h 49"/>
              <a:gd name="T20" fmla="*/ 2 w 50"/>
              <a:gd name="T21" fmla="*/ 25 h 49"/>
              <a:gd name="T22" fmla="*/ 0 w 50"/>
              <a:gd name="T23" fmla="*/ 25 h 49"/>
              <a:gd name="T24" fmla="*/ 25 w 50"/>
              <a:gd name="T25" fmla="*/ 49 h 49"/>
              <a:gd name="T26" fmla="*/ 50 w 50"/>
              <a:gd name="T27" fmla="*/ 25 h 49"/>
              <a:gd name="T28" fmla="*/ 25 w 50"/>
              <a:gd name="T29" fmla="*/ 0 h 49"/>
              <a:gd name="T30" fmla="*/ 0 w 50"/>
              <a:gd name="T31" fmla="*/ 25 h 49"/>
              <a:gd name="T32" fmla="*/ 2 w 50"/>
              <a:gd name="T33" fmla="*/ 25 h 49"/>
              <a:gd name="T34" fmla="*/ 7 w 50"/>
              <a:gd name="T35" fmla="*/ 25 h 49"/>
              <a:gd name="T36" fmla="*/ 5 w 50"/>
              <a:gd name="T37" fmla="*/ 25 h 49"/>
              <a:gd name="T38" fmla="*/ 25 w 50"/>
              <a:gd name="T39" fmla="*/ 45 h 49"/>
              <a:gd name="T40" fmla="*/ 45 w 50"/>
              <a:gd name="T41" fmla="*/ 25 h 49"/>
              <a:gd name="T42" fmla="*/ 25 w 50"/>
              <a:gd name="T43" fmla="*/ 5 h 49"/>
              <a:gd name="T44" fmla="*/ 5 w 50"/>
              <a:gd name="T45" fmla="*/ 25 h 49"/>
              <a:gd name="T46" fmla="*/ 7 w 50"/>
              <a:gd name="T47" fmla="*/ 25 h 49"/>
              <a:gd name="T48" fmla="*/ 8 w 50"/>
              <a:gd name="T49" fmla="*/ 25 h 49"/>
              <a:gd name="T50" fmla="*/ 13 w 50"/>
              <a:gd name="T51" fmla="*/ 13 h 49"/>
              <a:gd name="T52" fmla="*/ 25 w 50"/>
              <a:gd name="T53" fmla="*/ 8 h 49"/>
              <a:gd name="T54" fmla="*/ 37 w 50"/>
              <a:gd name="T55" fmla="*/ 13 h 49"/>
              <a:gd name="T56" fmla="*/ 42 w 50"/>
              <a:gd name="T57" fmla="*/ 25 h 49"/>
              <a:gd name="T58" fmla="*/ 37 w 50"/>
              <a:gd name="T59" fmla="*/ 37 h 49"/>
              <a:gd name="T60" fmla="*/ 25 w 50"/>
              <a:gd name="T61" fmla="*/ 42 h 49"/>
              <a:gd name="T62" fmla="*/ 13 w 50"/>
              <a:gd name="T63" fmla="*/ 37 h 49"/>
              <a:gd name="T64" fmla="*/ 8 w 50"/>
              <a:gd name="T65" fmla="*/ 25 h 49"/>
              <a:gd name="T66" fmla="*/ 7 w 50"/>
              <a:gd name="T67"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49">
                <a:moveTo>
                  <a:pt x="2" y="25"/>
                </a:moveTo>
                <a:cubicBezTo>
                  <a:pt x="3" y="25"/>
                  <a:pt x="3" y="25"/>
                  <a:pt x="3" y="25"/>
                </a:cubicBezTo>
                <a:cubicBezTo>
                  <a:pt x="3" y="19"/>
                  <a:pt x="6" y="13"/>
                  <a:pt x="10" y="9"/>
                </a:cubicBezTo>
                <a:cubicBezTo>
                  <a:pt x="14" y="5"/>
                  <a:pt x="19" y="3"/>
                  <a:pt x="25" y="3"/>
                </a:cubicBezTo>
                <a:cubicBezTo>
                  <a:pt x="31" y="3"/>
                  <a:pt x="36" y="5"/>
                  <a:pt x="40" y="9"/>
                </a:cubicBezTo>
                <a:cubicBezTo>
                  <a:pt x="44" y="13"/>
                  <a:pt x="47" y="19"/>
                  <a:pt x="47" y="25"/>
                </a:cubicBezTo>
                <a:cubicBezTo>
                  <a:pt x="47" y="31"/>
                  <a:pt x="44" y="36"/>
                  <a:pt x="40" y="40"/>
                </a:cubicBezTo>
                <a:cubicBezTo>
                  <a:pt x="36" y="44"/>
                  <a:pt x="31" y="46"/>
                  <a:pt x="25" y="46"/>
                </a:cubicBezTo>
                <a:cubicBezTo>
                  <a:pt x="19" y="46"/>
                  <a:pt x="14" y="44"/>
                  <a:pt x="10" y="40"/>
                </a:cubicBezTo>
                <a:cubicBezTo>
                  <a:pt x="6" y="36"/>
                  <a:pt x="3" y="31"/>
                  <a:pt x="3" y="25"/>
                </a:cubicBezTo>
                <a:cubicBezTo>
                  <a:pt x="2" y="25"/>
                  <a:pt x="2" y="25"/>
                  <a:pt x="2" y="25"/>
                </a:cubicBezTo>
                <a:cubicBezTo>
                  <a:pt x="0" y="25"/>
                  <a:pt x="0" y="25"/>
                  <a:pt x="0" y="25"/>
                </a:cubicBezTo>
                <a:cubicBezTo>
                  <a:pt x="0" y="38"/>
                  <a:pt x="11" y="49"/>
                  <a:pt x="25" y="49"/>
                </a:cubicBezTo>
                <a:cubicBezTo>
                  <a:pt x="39" y="49"/>
                  <a:pt x="50" y="38"/>
                  <a:pt x="50" y="25"/>
                </a:cubicBezTo>
                <a:cubicBezTo>
                  <a:pt x="50" y="11"/>
                  <a:pt x="39" y="0"/>
                  <a:pt x="25" y="0"/>
                </a:cubicBezTo>
                <a:cubicBezTo>
                  <a:pt x="11" y="0"/>
                  <a:pt x="0" y="11"/>
                  <a:pt x="0" y="25"/>
                </a:cubicBezTo>
                <a:lnTo>
                  <a:pt x="2" y="25"/>
                </a:lnTo>
                <a:close/>
                <a:moveTo>
                  <a:pt x="7" y="25"/>
                </a:moveTo>
                <a:cubicBezTo>
                  <a:pt x="5" y="25"/>
                  <a:pt x="5" y="25"/>
                  <a:pt x="5" y="25"/>
                </a:cubicBezTo>
                <a:cubicBezTo>
                  <a:pt x="5" y="36"/>
                  <a:pt x="14" y="45"/>
                  <a:pt x="25" y="45"/>
                </a:cubicBezTo>
                <a:cubicBezTo>
                  <a:pt x="36" y="45"/>
                  <a:pt x="45" y="36"/>
                  <a:pt x="45" y="25"/>
                </a:cubicBezTo>
                <a:cubicBezTo>
                  <a:pt x="45" y="14"/>
                  <a:pt x="36" y="5"/>
                  <a:pt x="25" y="5"/>
                </a:cubicBezTo>
                <a:cubicBezTo>
                  <a:pt x="14" y="5"/>
                  <a:pt x="5" y="14"/>
                  <a:pt x="5" y="25"/>
                </a:cubicBezTo>
                <a:cubicBezTo>
                  <a:pt x="7" y="25"/>
                  <a:pt x="7" y="25"/>
                  <a:pt x="7" y="25"/>
                </a:cubicBezTo>
                <a:cubicBezTo>
                  <a:pt x="8" y="25"/>
                  <a:pt x="8" y="25"/>
                  <a:pt x="8" y="25"/>
                </a:cubicBezTo>
                <a:cubicBezTo>
                  <a:pt x="8" y="20"/>
                  <a:pt x="10" y="16"/>
                  <a:pt x="13" y="13"/>
                </a:cubicBezTo>
                <a:cubicBezTo>
                  <a:pt x="16" y="9"/>
                  <a:pt x="20" y="8"/>
                  <a:pt x="25" y="8"/>
                </a:cubicBezTo>
                <a:cubicBezTo>
                  <a:pt x="30" y="8"/>
                  <a:pt x="34" y="9"/>
                  <a:pt x="37" y="13"/>
                </a:cubicBezTo>
                <a:cubicBezTo>
                  <a:pt x="40" y="16"/>
                  <a:pt x="42" y="20"/>
                  <a:pt x="42" y="25"/>
                </a:cubicBezTo>
                <a:cubicBezTo>
                  <a:pt x="42" y="29"/>
                  <a:pt x="40" y="33"/>
                  <a:pt x="37" y="37"/>
                </a:cubicBezTo>
                <a:cubicBezTo>
                  <a:pt x="34" y="40"/>
                  <a:pt x="30" y="42"/>
                  <a:pt x="25" y="42"/>
                </a:cubicBezTo>
                <a:cubicBezTo>
                  <a:pt x="20" y="42"/>
                  <a:pt x="16" y="40"/>
                  <a:pt x="13" y="37"/>
                </a:cubicBezTo>
                <a:cubicBezTo>
                  <a:pt x="10" y="33"/>
                  <a:pt x="8" y="29"/>
                  <a:pt x="8" y="25"/>
                </a:cubicBezTo>
                <a:lnTo>
                  <a:pt x="7" y="2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27">
            <a:extLst>
              <a:ext uri="{FF2B5EF4-FFF2-40B4-BE49-F238E27FC236}">
                <a16:creationId xmlns:a16="http://schemas.microsoft.com/office/drawing/2014/main" id="{68B2FF7B-610A-FC47-8452-93D545A0BB7C}"/>
              </a:ext>
            </a:extLst>
          </p:cNvPr>
          <p:cNvSpPr>
            <a:spLocks noEditPoints="1"/>
          </p:cNvSpPr>
          <p:nvPr/>
        </p:nvSpPr>
        <p:spPr bwMode="auto">
          <a:xfrm>
            <a:off x="9287799" y="6183272"/>
            <a:ext cx="52637" cy="49600"/>
          </a:xfrm>
          <a:custGeom>
            <a:avLst/>
            <a:gdLst>
              <a:gd name="T0" fmla="*/ 0 w 22"/>
              <a:gd name="T1" fmla="*/ 11 h 21"/>
              <a:gd name="T2" fmla="*/ 11 w 22"/>
              <a:gd name="T3" fmla="*/ 0 h 21"/>
              <a:gd name="T4" fmla="*/ 22 w 22"/>
              <a:gd name="T5" fmla="*/ 11 h 21"/>
              <a:gd name="T6" fmla="*/ 11 w 22"/>
              <a:gd name="T7" fmla="*/ 21 h 21"/>
              <a:gd name="T8" fmla="*/ 0 w 22"/>
              <a:gd name="T9" fmla="*/ 11 h 21"/>
              <a:gd name="T10" fmla="*/ 5 w 22"/>
              <a:gd name="T11" fmla="*/ 11 h 21"/>
              <a:gd name="T12" fmla="*/ 11 w 22"/>
              <a:gd name="T13" fmla="*/ 17 h 21"/>
              <a:gd name="T14" fmla="*/ 17 w 22"/>
              <a:gd name="T15" fmla="*/ 11 h 21"/>
              <a:gd name="T16" fmla="*/ 11 w 22"/>
              <a:gd name="T17" fmla="*/ 4 h 21"/>
              <a:gd name="T18" fmla="*/ 5 w 22"/>
              <a:gd name="T19"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0" y="11"/>
                </a:moveTo>
                <a:cubicBezTo>
                  <a:pt x="0" y="5"/>
                  <a:pt x="5" y="0"/>
                  <a:pt x="11" y="0"/>
                </a:cubicBezTo>
                <a:cubicBezTo>
                  <a:pt x="17" y="0"/>
                  <a:pt x="22" y="5"/>
                  <a:pt x="22" y="11"/>
                </a:cubicBezTo>
                <a:cubicBezTo>
                  <a:pt x="22" y="17"/>
                  <a:pt x="17" y="21"/>
                  <a:pt x="11" y="21"/>
                </a:cubicBezTo>
                <a:cubicBezTo>
                  <a:pt x="5" y="21"/>
                  <a:pt x="0" y="17"/>
                  <a:pt x="0" y="11"/>
                </a:cubicBezTo>
                <a:close/>
                <a:moveTo>
                  <a:pt x="5" y="11"/>
                </a:moveTo>
                <a:cubicBezTo>
                  <a:pt x="5" y="14"/>
                  <a:pt x="8" y="17"/>
                  <a:pt x="11" y="17"/>
                </a:cubicBezTo>
                <a:cubicBezTo>
                  <a:pt x="14" y="17"/>
                  <a:pt x="17" y="14"/>
                  <a:pt x="17" y="11"/>
                </a:cubicBezTo>
                <a:cubicBezTo>
                  <a:pt x="17" y="7"/>
                  <a:pt x="14" y="4"/>
                  <a:pt x="11" y="4"/>
                </a:cubicBezTo>
                <a:cubicBezTo>
                  <a:pt x="8" y="4"/>
                  <a:pt x="5" y="7"/>
                  <a:pt x="5" y="1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28">
            <a:extLst>
              <a:ext uri="{FF2B5EF4-FFF2-40B4-BE49-F238E27FC236}">
                <a16:creationId xmlns:a16="http://schemas.microsoft.com/office/drawing/2014/main" id="{B8FF4AE2-15EC-0543-9737-F9C9E085103D}"/>
              </a:ext>
            </a:extLst>
          </p:cNvPr>
          <p:cNvSpPr>
            <a:spLocks noEditPoints="1"/>
          </p:cNvSpPr>
          <p:nvPr/>
        </p:nvSpPr>
        <p:spPr bwMode="auto">
          <a:xfrm>
            <a:off x="9285774" y="6178210"/>
            <a:ext cx="57698" cy="59723"/>
          </a:xfrm>
          <a:custGeom>
            <a:avLst/>
            <a:gdLst>
              <a:gd name="T0" fmla="*/ 1 w 24"/>
              <a:gd name="T1" fmla="*/ 13 h 25"/>
              <a:gd name="T2" fmla="*/ 3 w 24"/>
              <a:gd name="T3" fmla="*/ 13 h 25"/>
              <a:gd name="T4" fmla="*/ 12 w 24"/>
              <a:gd name="T5" fmla="*/ 3 h 25"/>
              <a:gd name="T6" fmla="*/ 21 w 24"/>
              <a:gd name="T7" fmla="*/ 13 h 25"/>
              <a:gd name="T8" fmla="*/ 12 w 24"/>
              <a:gd name="T9" fmla="*/ 22 h 25"/>
              <a:gd name="T10" fmla="*/ 3 w 24"/>
              <a:gd name="T11" fmla="*/ 13 h 25"/>
              <a:gd name="T12" fmla="*/ 1 w 24"/>
              <a:gd name="T13" fmla="*/ 13 h 25"/>
              <a:gd name="T14" fmla="*/ 0 w 24"/>
              <a:gd name="T15" fmla="*/ 13 h 25"/>
              <a:gd name="T16" fmla="*/ 12 w 24"/>
              <a:gd name="T17" fmla="*/ 25 h 25"/>
              <a:gd name="T18" fmla="*/ 24 w 24"/>
              <a:gd name="T19" fmla="*/ 13 h 25"/>
              <a:gd name="T20" fmla="*/ 12 w 24"/>
              <a:gd name="T21" fmla="*/ 0 h 25"/>
              <a:gd name="T22" fmla="*/ 0 w 24"/>
              <a:gd name="T23" fmla="*/ 13 h 25"/>
              <a:gd name="T24" fmla="*/ 1 w 24"/>
              <a:gd name="T25" fmla="*/ 13 h 25"/>
              <a:gd name="T26" fmla="*/ 6 w 24"/>
              <a:gd name="T27" fmla="*/ 13 h 25"/>
              <a:gd name="T28" fmla="*/ 4 w 24"/>
              <a:gd name="T29" fmla="*/ 13 h 25"/>
              <a:gd name="T30" fmla="*/ 12 w 24"/>
              <a:gd name="T31" fmla="*/ 20 h 25"/>
              <a:gd name="T32" fmla="*/ 20 w 24"/>
              <a:gd name="T33" fmla="*/ 13 h 25"/>
              <a:gd name="T34" fmla="*/ 12 w 24"/>
              <a:gd name="T35" fmla="*/ 5 h 25"/>
              <a:gd name="T36" fmla="*/ 4 w 24"/>
              <a:gd name="T37" fmla="*/ 13 h 25"/>
              <a:gd name="T38" fmla="*/ 6 w 24"/>
              <a:gd name="T39" fmla="*/ 13 h 25"/>
              <a:gd name="T40" fmla="*/ 7 w 24"/>
              <a:gd name="T41" fmla="*/ 13 h 25"/>
              <a:gd name="T42" fmla="*/ 12 w 24"/>
              <a:gd name="T43" fmla="*/ 8 h 25"/>
              <a:gd name="T44" fmla="*/ 17 w 24"/>
              <a:gd name="T45" fmla="*/ 13 h 25"/>
              <a:gd name="T46" fmla="*/ 12 w 24"/>
              <a:gd name="T47" fmla="*/ 17 h 25"/>
              <a:gd name="T48" fmla="*/ 7 w 24"/>
              <a:gd name="T49" fmla="*/ 13 h 25"/>
              <a:gd name="T50" fmla="*/ 6 w 24"/>
              <a:gd name="T5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5">
                <a:moveTo>
                  <a:pt x="1" y="13"/>
                </a:moveTo>
                <a:cubicBezTo>
                  <a:pt x="3" y="13"/>
                  <a:pt x="3" y="13"/>
                  <a:pt x="3" y="13"/>
                </a:cubicBezTo>
                <a:cubicBezTo>
                  <a:pt x="3" y="7"/>
                  <a:pt x="7" y="3"/>
                  <a:pt x="12" y="3"/>
                </a:cubicBezTo>
                <a:cubicBezTo>
                  <a:pt x="17" y="3"/>
                  <a:pt x="21" y="7"/>
                  <a:pt x="21" y="13"/>
                </a:cubicBezTo>
                <a:cubicBezTo>
                  <a:pt x="21" y="18"/>
                  <a:pt x="17" y="22"/>
                  <a:pt x="12" y="22"/>
                </a:cubicBezTo>
                <a:cubicBezTo>
                  <a:pt x="7" y="22"/>
                  <a:pt x="3" y="18"/>
                  <a:pt x="3" y="13"/>
                </a:cubicBezTo>
                <a:cubicBezTo>
                  <a:pt x="1" y="13"/>
                  <a:pt x="1" y="13"/>
                  <a:pt x="1" y="13"/>
                </a:cubicBezTo>
                <a:cubicBezTo>
                  <a:pt x="0" y="13"/>
                  <a:pt x="0" y="13"/>
                  <a:pt x="0" y="13"/>
                </a:cubicBezTo>
                <a:cubicBezTo>
                  <a:pt x="0" y="19"/>
                  <a:pt x="5" y="25"/>
                  <a:pt x="12" y="25"/>
                </a:cubicBezTo>
                <a:cubicBezTo>
                  <a:pt x="19" y="25"/>
                  <a:pt x="24" y="19"/>
                  <a:pt x="24" y="13"/>
                </a:cubicBezTo>
                <a:cubicBezTo>
                  <a:pt x="24" y="6"/>
                  <a:pt x="19" y="0"/>
                  <a:pt x="12" y="0"/>
                </a:cubicBezTo>
                <a:cubicBezTo>
                  <a:pt x="5" y="0"/>
                  <a:pt x="0" y="6"/>
                  <a:pt x="0" y="13"/>
                </a:cubicBezTo>
                <a:lnTo>
                  <a:pt x="1" y="13"/>
                </a:lnTo>
                <a:close/>
                <a:moveTo>
                  <a:pt x="6" y="13"/>
                </a:moveTo>
                <a:cubicBezTo>
                  <a:pt x="4" y="13"/>
                  <a:pt x="4" y="13"/>
                  <a:pt x="4" y="13"/>
                </a:cubicBezTo>
                <a:cubicBezTo>
                  <a:pt x="4" y="17"/>
                  <a:pt x="8" y="20"/>
                  <a:pt x="12" y="20"/>
                </a:cubicBezTo>
                <a:cubicBezTo>
                  <a:pt x="16" y="20"/>
                  <a:pt x="20" y="17"/>
                  <a:pt x="20" y="13"/>
                </a:cubicBezTo>
                <a:cubicBezTo>
                  <a:pt x="20" y="8"/>
                  <a:pt x="16" y="5"/>
                  <a:pt x="12" y="5"/>
                </a:cubicBezTo>
                <a:cubicBezTo>
                  <a:pt x="8" y="5"/>
                  <a:pt x="4" y="8"/>
                  <a:pt x="4" y="13"/>
                </a:cubicBezTo>
                <a:cubicBezTo>
                  <a:pt x="6" y="13"/>
                  <a:pt x="6" y="13"/>
                  <a:pt x="6" y="13"/>
                </a:cubicBezTo>
                <a:cubicBezTo>
                  <a:pt x="7" y="13"/>
                  <a:pt x="7" y="13"/>
                  <a:pt x="7" y="13"/>
                </a:cubicBezTo>
                <a:cubicBezTo>
                  <a:pt x="7" y="10"/>
                  <a:pt x="10" y="8"/>
                  <a:pt x="12" y="8"/>
                </a:cubicBezTo>
                <a:cubicBezTo>
                  <a:pt x="15" y="8"/>
                  <a:pt x="17" y="10"/>
                  <a:pt x="17" y="13"/>
                </a:cubicBezTo>
                <a:cubicBezTo>
                  <a:pt x="17" y="15"/>
                  <a:pt x="15" y="17"/>
                  <a:pt x="12" y="17"/>
                </a:cubicBezTo>
                <a:cubicBezTo>
                  <a:pt x="10" y="17"/>
                  <a:pt x="7" y="15"/>
                  <a:pt x="7" y="13"/>
                </a:cubicBezTo>
                <a:lnTo>
                  <a:pt x="6" y="13"/>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29">
            <a:extLst>
              <a:ext uri="{FF2B5EF4-FFF2-40B4-BE49-F238E27FC236}">
                <a16:creationId xmlns:a16="http://schemas.microsoft.com/office/drawing/2014/main" id="{8C5C2556-A792-3B49-AF42-9E0E8CFBEBDB}"/>
              </a:ext>
            </a:extLst>
          </p:cNvPr>
          <p:cNvSpPr>
            <a:spLocks noEditPoints="1"/>
          </p:cNvSpPr>
          <p:nvPr/>
        </p:nvSpPr>
        <p:spPr bwMode="auto">
          <a:xfrm>
            <a:off x="9515554" y="5606291"/>
            <a:ext cx="81992" cy="94139"/>
          </a:xfrm>
          <a:custGeom>
            <a:avLst/>
            <a:gdLst>
              <a:gd name="T0" fmla="*/ 0 w 81"/>
              <a:gd name="T1" fmla="*/ 93 h 93"/>
              <a:gd name="T2" fmla="*/ 0 w 81"/>
              <a:gd name="T3" fmla="*/ 0 h 93"/>
              <a:gd name="T4" fmla="*/ 81 w 81"/>
              <a:gd name="T5" fmla="*/ 45 h 93"/>
              <a:gd name="T6" fmla="*/ 0 w 81"/>
              <a:gd name="T7" fmla="*/ 93 h 93"/>
              <a:gd name="T8" fmla="*/ 10 w 81"/>
              <a:gd name="T9" fmla="*/ 19 h 93"/>
              <a:gd name="T10" fmla="*/ 10 w 81"/>
              <a:gd name="T11" fmla="*/ 74 h 93"/>
              <a:gd name="T12" fmla="*/ 57 w 81"/>
              <a:gd name="T13" fmla="*/ 45 h 93"/>
              <a:gd name="T14" fmla="*/ 10 w 81"/>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3">
                <a:moveTo>
                  <a:pt x="0" y="93"/>
                </a:moveTo>
                <a:lnTo>
                  <a:pt x="0" y="0"/>
                </a:lnTo>
                <a:lnTo>
                  <a:pt x="81" y="45"/>
                </a:lnTo>
                <a:lnTo>
                  <a:pt x="0" y="93"/>
                </a:lnTo>
                <a:close/>
                <a:moveTo>
                  <a:pt x="10" y="19"/>
                </a:moveTo>
                <a:lnTo>
                  <a:pt x="10" y="74"/>
                </a:lnTo>
                <a:lnTo>
                  <a:pt x="57" y="45"/>
                </a:lnTo>
                <a:lnTo>
                  <a:pt x="10" y="1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30">
            <a:extLst>
              <a:ext uri="{FF2B5EF4-FFF2-40B4-BE49-F238E27FC236}">
                <a16:creationId xmlns:a16="http://schemas.microsoft.com/office/drawing/2014/main" id="{4E807473-57EE-BE40-81B8-9132BA8270C5}"/>
              </a:ext>
            </a:extLst>
          </p:cNvPr>
          <p:cNvSpPr>
            <a:spLocks noEditPoints="1"/>
          </p:cNvSpPr>
          <p:nvPr/>
        </p:nvSpPr>
        <p:spPr bwMode="auto">
          <a:xfrm>
            <a:off x="9511505" y="5599206"/>
            <a:ext cx="93127" cy="108310"/>
          </a:xfrm>
          <a:custGeom>
            <a:avLst/>
            <a:gdLst>
              <a:gd name="T0" fmla="*/ 4 w 92"/>
              <a:gd name="T1" fmla="*/ 100 h 107"/>
              <a:gd name="T2" fmla="*/ 7 w 92"/>
              <a:gd name="T3" fmla="*/ 100 h 107"/>
              <a:gd name="T4" fmla="*/ 7 w 92"/>
              <a:gd name="T5" fmla="*/ 12 h 107"/>
              <a:gd name="T6" fmla="*/ 78 w 92"/>
              <a:gd name="T7" fmla="*/ 52 h 107"/>
              <a:gd name="T8" fmla="*/ 2 w 92"/>
              <a:gd name="T9" fmla="*/ 97 h 107"/>
              <a:gd name="T10" fmla="*/ 4 w 92"/>
              <a:gd name="T11" fmla="*/ 100 h 107"/>
              <a:gd name="T12" fmla="*/ 7 w 92"/>
              <a:gd name="T13" fmla="*/ 100 h 107"/>
              <a:gd name="T14" fmla="*/ 4 w 92"/>
              <a:gd name="T15" fmla="*/ 100 h 107"/>
              <a:gd name="T16" fmla="*/ 4 w 92"/>
              <a:gd name="T17" fmla="*/ 102 h 107"/>
              <a:gd name="T18" fmla="*/ 92 w 92"/>
              <a:gd name="T19" fmla="*/ 52 h 107"/>
              <a:gd name="T20" fmla="*/ 0 w 92"/>
              <a:gd name="T21" fmla="*/ 0 h 107"/>
              <a:gd name="T22" fmla="*/ 0 w 92"/>
              <a:gd name="T23" fmla="*/ 107 h 107"/>
              <a:gd name="T24" fmla="*/ 4 w 92"/>
              <a:gd name="T25" fmla="*/ 102 h 107"/>
              <a:gd name="T26" fmla="*/ 4 w 92"/>
              <a:gd name="T27" fmla="*/ 100 h 107"/>
              <a:gd name="T28" fmla="*/ 14 w 92"/>
              <a:gd name="T29" fmla="*/ 26 h 107"/>
              <a:gd name="T30" fmla="*/ 12 w 92"/>
              <a:gd name="T31" fmla="*/ 26 h 107"/>
              <a:gd name="T32" fmla="*/ 12 w 92"/>
              <a:gd name="T33" fmla="*/ 88 h 107"/>
              <a:gd name="T34" fmla="*/ 69 w 92"/>
              <a:gd name="T35" fmla="*/ 52 h 107"/>
              <a:gd name="T36" fmla="*/ 12 w 92"/>
              <a:gd name="T37" fmla="*/ 19 h 107"/>
              <a:gd name="T38" fmla="*/ 12 w 92"/>
              <a:gd name="T39" fmla="*/ 26 h 107"/>
              <a:gd name="T40" fmla="*/ 14 w 92"/>
              <a:gd name="T41" fmla="*/ 26 h 107"/>
              <a:gd name="T42" fmla="*/ 14 w 92"/>
              <a:gd name="T43" fmla="*/ 28 h 107"/>
              <a:gd name="T44" fmla="*/ 54 w 92"/>
              <a:gd name="T45" fmla="*/ 52 h 107"/>
              <a:gd name="T46" fmla="*/ 19 w 92"/>
              <a:gd name="T47" fmla="*/ 74 h 107"/>
              <a:gd name="T48" fmla="*/ 19 w 92"/>
              <a:gd name="T49" fmla="*/ 26 h 107"/>
              <a:gd name="T50" fmla="*/ 14 w 92"/>
              <a:gd name="T51" fmla="*/ 26 h 107"/>
              <a:gd name="T52" fmla="*/ 14 w 92"/>
              <a:gd name="T53" fmla="*/ 28 h 107"/>
              <a:gd name="T54" fmla="*/ 14 w 92"/>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107">
                <a:moveTo>
                  <a:pt x="4" y="100"/>
                </a:moveTo>
                <a:lnTo>
                  <a:pt x="7" y="100"/>
                </a:lnTo>
                <a:lnTo>
                  <a:pt x="7" y="12"/>
                </a:lnTo>
                <a:lnTo>
                  <a:pt x="78" y="52"/>
                </a:lnTo>
                <a:lnTo>
                  <a:pt x="2" y="97"/>
                </a:lnTo>
                <a:lnTo>
                  <a:pt x="4" y="100"/>
                </a:lnTo>
                <a:lnTo>
                  <a:pt x="7" y="100"/>
                </a:lnTo>
                <a:lnTo>
                  <a:pt x="4" y="100"/>
                </a:lnTo>
                <a:lnTo>
                  <a:pt x="4" y="102"/>
                </a:lnTo>
                <a:lnTo>
                  <a:pt x="92" y="52"/>
                </a:lnTo>
                <a:lnTo>
                  <a:pt x="0" y="0"/>
                </a:lnTo>
                <a:lnTo>
                  <a:pt x="0" y="107"/>
                </a:lnTo>
                <a:lnTo>
                  <a:pt x="4" y="102"/>
                </a:lnTo>
                <a:lnTo>
                  <a:pt x="4" y="100"/>
                </a:lnTo>
                <a:close/>
                <a:moveTo>
                  <a:pt x="14" y="26"/>
                </a:moveTo>
                <a:lnTo>
                  <a:pt x="12" y="26"/>
                </a:lnTo>
                <a:lnTo>
                  <a:pt x="12" y="88"/>
                </a:lnTo>
                <a:lnTo>
                  <a:pt x="69" y="52"/>
                </a:lnTo>
                <a:lnTo>
                  <a:pt x="12" y="19"/>
                </a:lnTo>
                <a:lnTo>
                  <a:pt x="12" y="26"/>
                </a:lnTo>
                <a:lnTo>
                  <a:pt x="14" y="26"/>
                </a:lnTo>
                <a:lnTo>
                  <a:pt x="14" y="28"/>
                </a:lnTo>
                <a:lnTo>
                  <a:pt x="54" y="52"/>
                </a:lnTo>
                <a:lnTo>
                  <a:pt x="19" y="74"/>
                </a:lnTo>
                <a:lnTo>
                  <a:pt x="19" y="26"/>
                </a:lnTo>
                <a:lnTo>
                  <a:pt x="14" y="26"/>
                </a:lnTo>
                <a:lnTo>
                  <a:pt x="14" y="28"/>
                </a:lnTo>
                <a:lnTo>
                  <a:pt x="14" y="2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1">
            <a:extLst>
              <a:ext uri="{FF2B5EF4-FFF2-40B4-BE49-F238E27FC236}">
                <a16:creationId xmlns:a16="http://schemas.microsoft.com/office/drawing/2014/main" id="{E5A4E895-B593-844A-ABAF-7D57F3AF3183}"/>
              </a:ext>
            </a:extLst>
          </p:cNvPr>
          <p:cNvSpPr>
            <a:spLocks noEditPoints="1"/>
          </p:cNvSpPr>
          <p:nvPr/>
        </p:nvSpPr>
        <p:spPr bwMode="auto">
          <a:xfrm>
            <a:off x="9619816" y="5606291"/>
            <a:ext cx="80980" cy="94139"/>
          </a:xfrm>
          <a:custGeom>
            <a:avLst/>
            <a:gdLst>
              <a:gd name="T0" fmla="*/ 0 w 80"/>
              <a:gd name="T1" fmla="*/ 93 h 93"/>
              <a:gd name="T2" fmla="*/ 0 w 80"/>
              <a:gd name="T3" fmla="*/ 0 h 93"/>
              <a:gd name="T4" fmla="*/ 80 w 80"/>
              <a:gd name="T5" fmla="*/ 45 h 93"/>
              <a:gd name="T6" fmla="*/ 0 w 80"/>
              <a:gd name="T7" fmla="*/ 93 h 93"/>
              <a:gd name="T8" fmla="*/ 11 w 80"/>
              <a:gd name="T9" fmla="*/ 19 h 93"/>
              <a:gd name="T10" fmla="*/ 11 w 80"/>
              <a:gd name="T11" fmla="*/ 74 h 93"/>
              <a:gd name="T12" fmla="*/ 59 w 80"/>
              <a:gd name="T13" fmla="*/ 45 h 93"/>
              <a:gd name="T14" fmla="*/ 11 w 80"/>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3">
                <a:moveTo>
                  <a:pt x="0" y="93"/>
                </a:moveTo>
                <a:lnTo>
                  <a:pt x="0" y="0"/>
                </a:lnTo>
                <a:lnTo>
                  <a:pt x="80" y="45"/>
                </a:lnTo>
                <a:lnTo>
                  <a:pt x="0" y="93"/>
                </a:lnTo>
                <a:close/>
                <a:moveTo>
                  <a:pt x="11" y="19"/>
                </a:moveTo>
                <a:lnTo>
                  <a:pt x="11" y="74"/>
                </a:lnTo>
                <a:lnTo>
                  <a:pt x="59" y="45"/>
                </a:lnTo>
                <a:lnTo>
                  <a:pt x="11" y="1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32">
            <a:extLst>
              <a:ext uri="{FF2B5EF4-FFF2-40B4-BE49-F238E27FC236}">
                <a16:creationId xmlns:a16="http://schemas.microsoft.com/office/drawing/2014/main" id="{4D9BFC1B-B842-284B-BA99-02228C15E969}"/>
              </a:ext>
            </a:extLst>
          </p:cNvPr>
          <p:cNvSpPr>
            <a:spLocks noEditPoints="1"/>
          </p:cNvSpPr>
          <p:nvPr/>
        </p:nvSpPr>
        <p:spPr bwMode="auto">
          <a:xfrm>
            <a:off x="9616779" y="5599206"/>
            <a:ext cx="91102" cy="108310"/>
          </a:xfrm>
          <a:custGeom>
            <a:avLst/>
            <a:gdLst>
              <a:gd name="T0" fmla="*/ 3 w 90"/>
              <a:gd name="T1" fmla="*/ 100 h 107"/>
              <a:gd name="T2" fmla="*/ 7 w 90"/>
              <a:gd name="T3" fmla="*/ 100 h 107"/>
              <a:gd name="T4" fmla="*/ 7 w 90"/>
              <a:gd name="T5" fmla="*/ 12 h 107"/>
              <a:gd name="T6" fmla="*/ 76 w 90"/>
              <a:gd name="T7" fmla="*/ 52 h 107"/>
              <a:gd name="T8" fmla="*/ 3 w 90"/>
              <a:gd name="T9" fmla="*/ 97 h 107"/>
              <a:gd name="T10" fmla="*/ 3 w 90"/>
              <a:gd name="T11" fmla="*/ 100 h 107"/>
              <a:gd name="T12" fmla="*/ 7 w 90"/>
              <a:gd name="T13" fmla="*/ 100 h 107"/>
              <a:gd name="T14" fmla="*/ 3 w 90"/>
              <a:gd name="T15" fmla="*/ 100 h 107"/>
              <a:gd name="T16" fmla="*/ 5 w 90"/>
              <a:gd name="T17" fmla="*/ 102 h 107"/>
              <a:gd name="T18" fmla="*/ 90 w 90"/>
              <a:gd name="T19" fmla="*/ 52 h 107"/>
              <a:gd name="T20" fmla="*/ 0 w 90"/>
              <a:gd name="T21" fmla="*/ 0 h 107"/>
              <a:gd name="T22" fmla="*/ 0 w 90"/>
              <a:gd name="T23" fmla="*/ 107 h 107"/>
              <a:gd name="T24" fmla="*/ 5 w 90"/>
              <a:gd name="T25" fmla="*/ 102 h 107"/>
              <a:gd name="T26" fmla="*/ 3 w 90"/>
              <a:gd name="T27" fmla="*/ 100 h 107"/>
              <a:gd name="T28" fmla="*/ 14 w 90"/>
              <a:gd name="T29" fmla="*/ 26 h 107"/>
              <a:gd name="T30" fmla="*/ 12 w 90"/>
              <a:gd name="T31" fmla="*/ 26 h 107"/>
              <a:gd name="T32" fmla="*/ 12 w 90"/>
              <a:gd name="T33" fmla="*/ 88 h 107"/>
              <a:gd name="T34" fmla="*/ 69 w 90"/>
              <a:gd name="T35" fmla="*/ 52 h 107"/>
              <a:gd name="T36" fmla="*/ 12 w 90"/>
              <a:gd name="T37" fmla="*/ 19 h 107"/>
              <a:gd name="T38" fmla="*/ 12 w 90"/>
              <a:gd name="T39" fmla="*/ 26 h 107"/>
              <a:gd name="T40" fmla="*/ 14 w 90"/>
              <a:gd name="T41" fmla="*/ 26 h 107"/>
              <a:gd name="T42" fmla="*/ 12 w 90"/>
              <a:gd name="T43" fmla="*/ 28 h 107"/>
              <a:gd name="T44" fmla="*/ 55 w 90"/>
              <a:gd name="T45" fmla="*/ 52 h 107"/>
              <a:gd name="T46" fmla="*/ 19 w 90"/>
              <a:gd name="T47" fmla="*/ 74 h 107"/>
              <a:gd name="T48" fmla="*/ 19 w 90"/>
              <a:gd name="T49" fmla="*/ 26 h 107"/>
              <a:gd name="T50" fmla="*/ 14 w 90"/>
              <a:gd name="T51" fmla="*/ 26 h 107"/>
              <a:gd name="T52" fmla="*/ 12 w 90"/>
              <a:gd name="T53" fmla="*/ 28 h 107"/>
              <a:gd name="T54" fmla="*/ 14 w 90"/>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7">
                <a:moveTo>
                  <a:pt x="3" y="100"/>
                </a:moveTo>
                <a:lnTo>
                  <a:pt x="7" y="100"/>
                </a:lnTo>
                <a:lnTo>
                  <a:pt x="7" y="12"/>
                </a:lnTo>
                <a:lnTo>
                  <a:pt x="76" y="52"/>
                </a:lnTo>
                <a:lnTo>
                  <a:pt x="3" y="97"/>
                </a:lnTo>
                <a:lnTo>
                  <a:pt x="3" y="100"/>
                </a:lnTo>
                <a:lnTo>
                  <a:pt x="7" y="100"/>
                </a:lnTo>
                <a:lnTo>
                  <a:pt x="3" y="100"/>
                </a:lnTo>
                <a:lnTo>
                  <a:pt x="5" y="102"/>
                </a:lnTo>
                <a:lnTo>
                  <a:pt x="90" y="52"/>
                </a:lnTo>
                <a:lnTo>
                  <a:pt x="0" y="0"/>
                </a:lnTo>
                <a:lnTo>
                  <a:pt x="0" y="107"/>
                </a:lnTo>
                <a:lnTo>
                  <a:pt x="5" y="102"/>
                </a:lnTo>
                <a:lnTo>
                  <a:pt x="3" y="100"/>
                </a:lnTo>
                <a:close/>
                <a:moveTo>
                  <a:pt x="14" y="26"/>
                </a:moveTo>
                <a:lnTo>
                  <a:pt x="12" y="26"/>
                </a:lnTo>
                <a:lnTo>
                  <a:pt x="12" y="88"/>
                </a:lnTo>
                <a:lnTo>
                  <a:pt x="69" y="52"/>
                </a:lnTo>
                <a:lnTo>
                  <a:pt x="12" y="19"/>
                </a:lnTo>
                <a:lnTo>
                  <a:pt x="12" y="26"/>
                </a:lnTo>
                <a:lnTo>
                  <a:pt x="14" y="26"/>
                </a:lnTo>
                <a:lnTo>
                  <a:pt x="12" y="28"/>
                </a:lnTo>
                <a:lnTo>
                  <a:pt x="55" y="52"/>
                </a:lnTo>
                <a:lnTo>
                  <a:pt x="19" y="74"/>
                </a:lnTo>
                <a:lnTo>
                  <a:pt x="19" y="26"/>
                </a:lnTo>
                <a:lnTo>
                  <a:pt x="14" y="26"/>
                </a:lnTo>
                <a:lnTo>
                  <a:pt x="12" y="28"/>
                </a:lnTo>
                <a:lnTo>
                  <a:pt x="14" y="2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33">
            <a:extLst>
              <a:ext uri="{FF2B5EF4-FFF2-40B4-BE49-F238E27FC236}">
                <a16:creationId xmlns:a16="http://schemas.microsoft.com/office/drawing/2014/main" id="{10B98D02-7C8B-C440-8F2A-9B450FC0807C}"/>
              </a:ext>
            </a:extLst>
          </p:cNvPr>
          <p:cNvSpPr>
            <a:spLocks noEditPoints="1"/>
          </p:cNvSpPr>
          <p:nvPr/>
        </p:nvSpPr>
        <p:spPr bwMode="auto">
          <a:xfrm>
            <a:off x="8963880" y="5842145"/>
            <a:ext cx="69845" cy="68833"/>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5 h 29"/>
              <a:gd name="T12" fmla="*/ 5 w 29"/>
              <a:gd name="T13" fmla="*/ 15 h 29"/>
              <a:gd name="T14" fmla="*/ 15 w 29"/>
              <a:gd name="T15" fmla="*/ 24 h 29"/>
              <a:gd name="T16" fmla="*/ 24 w 29"/>
              <a:gd name="T17" fmla="*/ 15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5"/>
                </a:cubicBezTo>
                <a:cubicBezTo>
                  <a:pt x="0" y="7"/>
                  <a:pt x="7" y="0"/>
                  <a:pt x="15" y="0"/>
                </a:cubicBezTo>
                <a:cubicBezTo>
                  <a:pt x="22" y="0"/>
                  <a:pt x="29" y="7"/>
                  <a:pt x="29" y="15"/>
                </a:cubicBezTo>
                <a:cubicBezTo>
                  <a:pt x="29" y="22"/>
                  <a:pt x="22" y="29"/>
                  <a:pt x="15" y="29"/>
                </a:cubicBezTo>
                <a:close/>
                <a:moveTo>
                  <a:pt x="15" y="5"/>
                </a:moveTo>
                <a:cubicBezTo>
                  <a:pt x="9" y="5"/>
                  <a:pt x="5" y="9"/>
                  <a:pt x="5" y="15"/>
                </a:cubicBezTo>
                <a:cubicBezTo>
                  <a:pt x="5" y="20"/>
                  <a:pt x="9" y="24"/>
                  <a:pt x="15" y="24"/>
                </a:cubicBezTo>
                <a:cubicBezTo>
                  <a:pt x="20" y="24"/>
                  <a:pt x="24" y="20"/>
                  <a:pt x="24" y="15"/>
                </a:cubicBezTo>
                <a:cubicBezTo>
                  <a:pt x="24" y="9"/>
                  <a:pt x="20" y="5"/>
                  <a:pt x="15" y="5"/>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34">
            <a:extLst>
              <a:ext uri="{FF2B5EF4-FFF2-40B4-BE49-F238E27FC236}">
                <a16:creationId xmlns:a16="http://schemas.microsoft.com/office/drawing/2014/main" id="{6CF850F9-F9BC-D145-AE25-C269039A6387}"/>
              </a:ext>
            </a:extLst>
          </p:cNvPr>
          <p:cNvSpPr>
            <a:spLocks noEditPoints="1"/>
          </p:cNvSpPr>
          <p:nvPr/>
        </p:nvSpPr>
        <p:spPr bwMode="auto">
          <a:xfrm>
            <a:off x="8960843" y="5839108"/>
            <a:ext cx="74906" cy="74906"/>
          </a:xfrm>
          <a:custGeom>
            <a:avLst/>
            <a:gdLst>
              <a:gd name="T0" fmla="*/ 16 w 31"/>
              <a:gd name="T1" fmla="*/ 30 h 31"/>
              <a:gd name="T2" fmla="*/ 16 w 31"/>
              <a:gd name="T3" fmla="*/ 28 h 31"/>
              <a:gd name="T4" fmla="*/ 6 w 31"/>
              <a:gd name="T5" fmla="*/ 25 h 31"/>
              <a:gd name="T6" fmla="*/ 3 w 31"/>
              <a:gd name="T7" fmla="*/ 16 h 31"/>
              <a:gd name="T8" fmla="*/ 6 w 31"/>
              <a:gd name="T9" fmla="*/ 7 h 31"/>
              <a:gd name="T10" fmla="*/ 16 w 31"/>
              <a:gd name="T11" fmla="*/ 3 h 31"/>
              <a:gd name="T12" fmla="*/ 25 w 31"/>
              <a:gd name="T13" fmla="*/ 7 h 31"/>
              <a:gd name="T14" fmla="*/ 28 w 31"/>
              <a:gd name="T15" fmla="*/ 16 h 31"/>
              <a:gd name="T16" fmla="*/ 25 w 31"/>
              <a:gd name="T17" fmla="*/ 25 h 31"/>
              <a:gd name="T18" fmla="*/ 16 w 31"/>
              <a:gd name="T19" fmla="*/ 28 h 31"/>
              <a:gd name="T20" fmla="*/ 16 w 31"/>
              <a:gd name="T21" fmla="*/ 30 h 31"/>
              <a:gd name="T22" fmla="*/ 16 w 31"/>
              <a:gd name="T23" fmla="*/ 31 h 31"/>
              <a:gd name="T24" fmla="*/ 31 w 31"/>
              <a:gd name="T25" fmla="*/ 16 h 31"/>
              <a:gd name="T26" fmla="*/ 16 w 31"/>
              <a:gd name="T27" fmla="*/ 0 h 31"/>
              <a:gd name="T28" fmla="*/ 0 w 31"/>
              <a:gd name="T29" fmla="*/ 16 h 31"/>
              <a:gd name="T30" fmla="*/ 16 w 31"/>
              <a:gd name="T31" fmla="*/ 31 h 31"/>
              <a:gd name="T32" fmla="*/ 16 w 31"/>
              <a:gd name="T33" fmla="*/ 30 h 31"/>
              <a:gd name="T34" fmla="*/ 16 w 31"/>
              <a:gd name="T35" fmla="*/ 6 h 31"/>
              <a:gd name="T36" fmla="*/ 16 w 31"/>
              <a:gd name="T37" fmla="*/ 4 h 31"/>
              <a:gd name="T38" fmla="*/ 4 w 31"/>
              <a:gd name="T39" fmla="*/ 16 h 31"/>
              <a:gd name="T40" fmla="*/ 16 w 31"/>
              <a:gd name="T41" fmla="*/ 27 h 31"/>
              <a:gd name="T42" fmla="*/ 27 w 31"/>
              <a:gd name="T43" fmla="*/ 16 h 31"/>
              <a:gd name="T44" fmla="*/ 16 w 31"/>
              <a:gd name="T45" fmla="*/ 4 h 31"/>
              <a:gd name="T46" fmla="*/ 16 w 31"/>
              <a:gd name="T47" fmla="*/ 6 h 31"/>
              <a:gd name="T48" fmla="*/ 16 w 31"/>
              <a:gd name="T49" fmla="*/ 7 h 31"/>
              <a:gd name="T50" fmla="*/ 24 w 31"/>
              <a:gd name="T51" fmla="*/ 16 h 31"/>
              <a:gd name="T52" fmla="*/ 16 w 31"/>
              <a:gd name="T53" fmla="*/ 24 h 31"/>
              <a:gd name="T54" fmla="*/ 7 w 31"/>
              <a:gd name="T55" fmla="*/ 16 h 31"/>
              <a:gd name="T56" fmla="*/ 16 w 31"/>
              <a:gd name="T57" fmla="*/ 7 h 31"/>
              <a:gd name="T58" fmla="*/ 16 w 31"/>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 h="31">
                <a:moveTo>
                  <a:pt x="16" y="30"/>
                </a:moveTo>
                <a:cubicBezTo>
                  <a:pt x="16" y="28"/>
                  <a:pt x="16" y="28"/>
                  <a:pt x="16" y="28"/>
                </a:cubicBezTo>
                <a:cubicBezTo>
                  <a:pt x="12" y="28"/>
                  <a:pt x="9" y="27"/>
                  <a:pt x="6" y="25"/>
                </a:cubicBezTo>
                <a:cubicBezTo>
                  <a:pt x="4" y="22"/>
                  <a:pt x="3" y="19"/>
                  <a:pt x="3" y="16"/>
                </a:cubicBezTo>
                <a:cubicBezTo>
                  <a:pt x="3" y="12"/>
                  <a:pt x="4" y="9"/>
                  <a:pt x="6" y="7"/>
                </a:cubicBezTo>
                <a:cubicBezTo>
                  <a:pt x="9" y="4"/>
                  <a:pt x="12" y="3"/>
                  <a:pt x="16" y="3"/>
                </a:cubicBezTo>
                <a:cubicBezTo>
                  <a:pt x="19" y="3"/>
                  <a:pt x="22" y="4"/>
                  <a:pt x="25" y="7"/>
                </a:cubicBezTo>
                <a:cubicBezTo>
                  <a:pt x="27" y="9"/>
                  <a:pt x="28" y="12"/>
                  <a:pt x="28" y="16"/>
                </a:cubicBezTo>
                <a:cubicBezTo>
                  <a:pt x="28" y="19"/>
                  <a:pt x="27" y="22"/>
                  <a:pt x="25" y="25"/>
                </a:cubicBezTo>
                <a:cubicBezTo>
                  <a:pt x="22" y="27"/>
                  <a:pt x="19" y="28"/>
                  <a:pt x="16" y="28"/>
                </a:cubicBezTo>
                <a:cubicBezTo>
                  <a:pt x="16" y="30"/>
                  <a:pt x="16" y="30"/>
                  <a:pt x="16" y="30"/>
                </a:cubicBezTo>
                <a:cubicBezTo>
                  <a:pt x="16" y="31"/>
                  <a:pt x="16" y="31"/>
                  <a:pt x="16" y="31"/>
                </a:cubicBezTo>
                <a:cubicBezTo>
                  <a:pt x="24" y="31"/>
                  <a:pt x="31" y="24"/>
                  <a:pt x="31" y="16"/>
                </a:cubicBezTo>
                <a:cubicBezTo>
                  <a:pt x="31" y="7"/>
                  <a:pt x="24" y="0"/>
                  <a:pt x="16" y="0"/>
                </a:cubicBezTo>
                <a:cubicBezTo>
                  <a:pt x="7" y="0"/>
                  <a:pt x="0" y="7"/>
                  <a:pt x="0" y="16"/>
                </a:cubicBezTo>
                <a:cubicBezTo>
                  <a:pt x="0" y="24"/>
                  <a:pt x="7" y="31"/>
                  <a:pt x="16" y="31"/>
                </a:cubicBezTo>
                <a:lnTo>
                  <a:pt x="16" y="30"/>
                </a:lnTo>
                <a:close/>
                <a:moveTo>
                  <a:pt x="16" y="6"/>
                </a:moveTo>
                <a:cubicBezTo>
                  <a:pt x="16" y="4"/>
                  <a:pt x="16" y="4"/>
                  <a:pt x="16" y="4"/>
                </a:cubicBezTo>
                <a:cubicBezTo>
                  <a:pt x="9" y="4"/>
                  <a:pt x="4" y="9"/>
                  <a:pt x="4" y="16"/>
                </a:cubicBezTo>
                <a:cubicBezTo>
                  <a:pt x="4" y="22"/>
                  <a:pt x="9" y="27"/>
                  <a:pt x="16" y="27"/>
                </a:cubicBezTo>
                <a:cubicBezTo>
                  <a:pt x="22" y="27"/>
                  <a:pt x="27" y="22"/>
                  <a:pt x="27" y="16"/>
                </a:cubicBezTo>
                <a:cubicBezTo>
                  <a:pt x="27" y="9"/>
                  <a:pt x="22" y="4"/>
                  <a:pt x="16" y="4"/>
                </a:cubicBezTo>
                <a:cubicBezTo>
                  <a:pt x="16" y="6"/>
                  <a:pt x="16" y="6"/>
                  <a:pt x="16" y="6"/>
                </a:cubicBezTo>
                <a:cubicBezTo>
                  <a:pt x="16" y="7"/>
                  <a:pt x="16" y="7"/>
                  <a:pt x="16" y="7"/>
                </a:cubicBezTo>
                <a:cubicBezTo>
                  <a:pt x="20" y="7"/>
                  <a:pt x="24" y="11"/>
                  <a:pt x="24" y="16"/>
                </a:cubicBezTo>
                <a:cubicBezTo>
                  <a:pt x="24" y="20"/>
                  <a:pt x="20" y="24"/>
                  <a:pt x="16" y="24"/>
                </a:cubicBezTo>
                <a:cubicBezTo>
                  <a:pt x="11" y="24"/>
                  <a:pt x="7" y="20"/>
                  <a:pt x="7" y="16"/>
                </a:cubicBezTo>
                <a:cubicBezTo>
                  <a:pt x="7" y="11"/>
                  <a:pt x="11" y="7"/>
                  <a:pt x="16" y="7"/>
                </a:cubicBezTo>
                <a:lnTo>
                  <a:pt x="16" y="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35">
            <a:extLst>
              <a:ext uri="{FF2B5EF4-FFF2-40B4-BE49-F238E27FC236}">
                <a16:creationId xmlns:a16="http://schemas.microsoft.com/office/drawing/2014/main" id="{5CFF0837-4033-2444-B308-E2BB3991AD1C}"/>
              </a:ext>
            </a:extLst>
          </p:cNvPr>
          <p:cNvSpPr>
            <a:spLocks noEditPoints="1"/>
          </p:cNvSpPr>
          <p:nvPr/>
        </p:nvSpPr>
        <p:spPr bwMode="auto">
          <a:xfrm>
            <a:off x="8752321" y="5445344"/>
            <a:ext cx="86041" cy="45551"/>
          </a:xfrm>
          <a:custGeom>
            <a:avLst/>
            <a:gdLst>
              <a:gd name="T0" fmla="*/ 85 w 85"/>
              <a:gd name="T1" fmla="*/ 45 h 45"/>
              <a:gd name="T2" fmla="*/ 0 w 85"/>
              <a:gd name="T3" fmla="*/ 45 h 45"/>
              <a:gd name="T4" fmla="*/ 0 w 85"/>
              <a:gd name="T5" fmla="*/ 0 h 45"/>
              <a:gd name="T6" fmla="*/ 85 w 85"/>
              <a:gd name="T7" fmla="*/ 0 h 45"/>
              <a:gd name="T8" fmla="*/ 85 w 85"/>
              <a:gd name="T9" fmla="*/ 45 h 45"/>
              <a:gd name="T10" fmla="*/ 9 w 85"/>
              <a:gd name="T11" fmla="*/ 36 h 45"/>
              <a:gd name="T12" fmla="*/ 73 w 85"/>
              <a:gd name="T13" fmla="*/ 36 h 45"/>
              <a:gd name="T14" fmla="*/ 73 w 85"/>
              <a:gd name="T15" fmla="*/ 12 h 45"/>
              <a:gd name="T16" fmla="*/ 9 w 85"/>
              <a:gd name="T17" fmla="*/ 12 h 45"/>
              <a:gd name="T18" fmla="*/ 9 w 85"/>
              <a:gd name="T19"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45">
                <a:moveTo>
                  <a:pt x="85" y="45"/>
                </a:moveTo>
                <a:lnTo>
                  <a:pt x="0" y="45"/>
                </a:lnTo>
                <a:lnTo>
                  <a:pt x="0" y="0"/>
                </a:lnTo>
                <a:lnTo>
                  <a:pt x="85" y="0"/>
                </a:lnTo>
                <a:lnTo>
                  <a:pt x="85" y="45"/>
                </a:lnTo>
                <a:close/>
                <a:moveTo>
                  <a:pt x="9" y="36"/>
                </a:moveTo>
                <a:lnTo>
                  <a:pt x="73" y="36"/>
                </a:lnTo>
                <a:lnTo>
                  <a:pt x="73" y="12"/>
                </a:lnTo>
                <a:lnTo>
                  <a:pt x="9" y="12"/>
                </a:lnTo>
                <a:lnTo>
                  <a:pt x="9" y="3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36">
            <a:extLst>
              <a:ext uri="{FF2B5EF4-FFF2-40B4-BE49-F238E27FC236}">
                <a16:creationId xmlns:a16="http://schemas.microsoft.com/office/drawing/2014/main" id="{E7CA7773-3C4F-6142-9328-90F1392EF82F}"/>
              </a:ext>
            </a:extLst>
          </p:cNvPr>
          <p:cNvSpPr>
            <a:spLocks noEditPoints="1"/>
          </p:cNvSpPr>
          <p:nvPr/>
        </p:nvSpPr>
        <p:spPr bwMode="auto">
          <a:xfrm>
            <a:off x="8747260" y="5443320"/>
            <a:ext cx="94139" cy="52637"/>
          </a:xfrm>
          <a:custGeom>
            <a:avLst/>
            <a:gdLst>
              <a:gd name="T0" fmla="*/ 90 w 93"/>
              <a:gd name="T1" fmla="*/ 47 h 52"/>
              <a:gd name="T2" fmla="*/ 90 w 93"/>
              <a:gd name="T3" fmla="*/ 45 h 52"/>
              <a:gd name="T4" fmla="*/ 7 w 93"/>
              <a:gd name="T5" fmla="*/ 45 h 52"/>
              <a:gd name="T6" fmla="*/ 7 w 93"/>
              <a:gd name="T7" fmla="*/ 7 h 52"/>
              <a:gd name="T8" fmla="*/ 86 w 93"/>
              <a:gd name="T9" fmla="*/ 7 h 52"/>
              <a:gd name="T10" fmla="*/ 86 w 93"/>
              <a:gd name="T11" fmla="*/ 47 h 52"/>
              <a:gd name="T12" fmla="*/ 90 w 93"/>
              <a:gd name="T13" fmla="*/ 47 h 52"/>
              <a:gd name="T14" fmla="*/ 90 w 93"/>
              <a:gd name="T15" fmla="*/ 45 h 52"/>
              <a:gd name="T16" fmla="*/ 90 w 93"/>
              <a:gd name="T17" fmla="*/ 47 h 52"/>
              <a:gd name="T18" fmla="*/ 93 w 93"/>
              <a:gd name="T19" fmla="*/ 47 h 52"/>
              <a:gd name="T20" fmla="*/ 93 w 93"/>
              <a:gd name="T21" fmla="*/ 0 h 52"/>
              <a:gd name="T22" fmla="*/ 0 w 93"/>
              <a:gd name="T23" fmla="*/ 0 h 52"/>
              <a:gd name="T24" fmla="*/ 0 w 93"/>
              <a:gd name="T25" fmla="*/ 52 h 52"/>
              <a:gd name="T26" fmla="*/ 93 w 93"/>
              <a:gd name="T27" fmla="*/ 52 h 52"/>
              <a:gd name="T28" fmla="*/ 93 w 93"/>
              <a:gd name="T29" fmla="*/ 47 h 52"/>
              <a:gd name="T30" fmla="*/ 90 w 93"/>
              <a:gd name="T31" fmla="*/ 47 h 52"/>
              <a:gd name="T32" fmla="*/ 14 w 93"/>
              <a:gd name="T33" fmla="*/ 38 h 52"/>
              <a:gd name="T34" fmla="*/ 14 w 93"/>
              <a:gd name="T35" fmla="*/ 40 h 52"/>
              <a:gd name="T36" fmla="*/ 83 w 93"/>
              <a:gd name="T37" fmla="*/ 40 h 52"/>
              <a:gd name="T38" fmla="*/ 83 w 93"/>
              <a:gd name="T39" fmla="*/ 9 h 52"/>
              <a:gd name="T40" fmla="*/ 12 w 93"/>
              <a:gd name="T41" fmla="*/ 9 h 52"/>
              <a:gd name="T42" fmla="*/ 12 w 93"/>
              <a:gd name="T43" fmla="*/ 40 h 52"/>
              <a:gd name="T44" fmla="*/ 14 w 93"/>
              <a:gd name="T45" fmla="*/ 40 h 52"/>
              <a:gd name="T46" fmla="*/ 14 w 93"/>
              <a:gd name="T47" fmla="*/ 38 h 52"/>
              <a:gd name="T48" fmla="*/ 19 w 93"/>
              <a:gd name="T49" fmla="*/ 38 h 52"/>
              <a:gd name="T50" fmla="*/ 19 w 93"/>
              <a:gd name="T51" fmla="*/ 16 h 52"/>
              <a:gd name="T52" fmla="*/ 76 w 93"/>
              <a:gd name="T53" fmla="*/ 16 h 52"/>
              <a:gd name="T54" fmla="*/ 76 w 93"/>
              <a:gd name="T55" fmla="*/ 33 h 52"/>
              <a:gd name="T56" fmla="*/ 14 w 93"/>
              <a:gd name="T57" fmla="*/ 33 h 52"/>
              <a:gd name="T58" fmla="*/ 14 w 93"/>
              <a:gd name="T59" fmla="*/ 38 h 52"/>
              <a:gd name="T60" fmla="*/ 19 w 93"/>
              <a:gd name="T61" fmla="*/ 38 h 52"/>
              <a:gd name="T62" fmla="*/ 14 w 93"/>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 h="52">
                <a:moveTo>
                  <a:pt x="90" y="47"/>
                </a:moveTo>
                <a:lnTo>
                  <a:pt x="90" y="45"/>
                </a:lnTo>
                <a:lnTo>
                  <a:pt x="7" y="45"/>
                </a:lnTo>
                <a:lnTo>
                  <a:pt x="7" y="7"/>
                </a:lnTo>
                <a:lnTo>
                  <a:pt x="86" y="7"/>
                </a:lnTo>
                <a:lnTo>
                  <a:pt x="86" y="47"/>
                </a:lnTo>
                <a:lnTo>
                  <a:pt x="90" y="47"/>
                </a:lnTo>
                <a:lnTo>
                  <a:pt x="90" y="45"/>
                </a:lnTo>
                <a:lnTo>
                  <a:pt x="90" y="47"/>
                </a:lnTo>
                <a:lnTo>
                  <a:pt x="93" y="47"/>
                </a:lnTo>
                <a:lnTo>
                  <a:pt x="93" y="0"/>
                </a:lnTo>
                <a:lnTo>
                  <a:pt x="0" y="0"/>
                </a:lnTo>
                <a:lnTo>
                  <a:pt x="0" y="52"/>
                </a:lnTo>
                <a:lnTo>
                  <a:pt x="93" y="52"/>
                </a:lnTo>
                <a:lnTo>
                  <a:pt x="93" y="47"/>
                </a:lnTo>
                <a:lnTo>
                  <a:pt x="90" y="47"/>
                </a:lnTo>
                <a:close/>
                <a:moveTo>
                  <a:pt x="14" y="38"/>
                </a:moveTo>
                <a:lnTo>
                  <a:pt x="14" y="40"/>
                </a:lnTo>
                <a:lnTo>
                  <a:pt x="83" y="40"/>
                </a:lnTo>
                <a:lnTo>
                  <a:pt x="83" y="9"/>
                </a:lnTo>
                <a:lnTo>
                  <a:pt x="12" y="9"/>
                </a:lnTo>
                <a:lnTo>
                  <a:pt x="12" y="40"/>
                </a:lnTo>
                <a:lnTo>
                  <a:pt x="14" y="40"/>
                </a:lnTo>
                <a:lnTo>
                  <a:pt x="14" y="38"/>
                </a:lnTo>
                <a:lnTo>
                  <a:pt x="19" y="38"/>
                </a:lnTo>
                <a:lnTo>
                  <a:pt x="19" y="16"/>
                </a:lnTo>
                <a:lnTo>
                  <a:pt x="76" y="16"/>
                </a:lnTo>
                <a:lnTo>
                  <a:pt x="76" y="33"/>
                </a:lnTo>
                <a:lnTo>
                  <a:pt x="14" y="33"/>
                </a:lnTo>
                <a:lnTo>
                  <a:pt x="14" y="38"/>
                </a:lnTo>
                <a:lnTo>
                  <a:pt x="19" y="38"/>
                </a:lnTo>
                <a:lnTo>
                  <a:pt x="14" y="3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37">
            <a:extLst>
              <a:ext uri="{FF2B5EF4-FFF2-40B4-BE49-F238E27FC236}">
                <a16:creationId xmlns:a16="http://schemas.microsoft.com/office/drawing/2014/main" id="{465C4756-4BBF-854F-B2A3-27F433CAB213}"/>
              </a:ext>
            </a:extLst>
          </p:cNvPr>
          <p:cNvSpPr>
            <a:spLocks noEditPoints="1"/>
          </p:cNvSpPr>
          <p:nvPr/>
        </p:nvSpPr>
        <p:spPr bwMode="auto">
          <a:xfrm>
            <a:off x="8752321" y="5513165"/>
            <a:ext cx="45551" cy="47576"/>
          </a:xfrm>
          <a:custGeom>
            <a:avLst/>
            <a:gdLst>
              <a:gd name="T0" fmla="*/ 45 w 45"/>
              <a:gd name="T1" fmla="*/ 47 h 47"/>
              <a:gd name="T2" fmla="*/ 0 w 45"/>
              <a:gd name="T3" fmla="*/ 47 h 47"/>
              <a:gd name="T4" fmla="*/ 0 w 45"/>
              <a:gd name="T5" fmla="*/ 0 h 47"/>
              <a:gd name="T6" fmla="*/ 45 w 45"/>
              <a:gd name="T7" fmla="*/ 0 h 47"/>
              <a:gd name="T8" fmla="*/ 45 w 45"/>
              <a:gd name="T9" fmla="*/ 47 h 47"/>
              <a:gd name="T10" fmla="*/ 9 w 45"/>
              <a:gd name="T11" fmla="*/ 35 h 47"/>
              <a:gd name="T12" fmla="*/ 33 w 45"/>
              <a:gd name="T13" fmla="*/ 35 h 47"/>
              <a:gd name="T14" fmla="*/ 33 w 45"/>
              <a:gd name="T15" fmla="*/ 11 h 47"/>
              <a:gd name="T16" fmla="*/ 9 w 45"/>
              <a:gd name="T17" fmla="*/ 11 h 47"/>
              <a:gd name="T18" fmla="*/ 9 w 45"/>
              <a:gd name="T1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7">
                <a:moveTo>
                  <a:pt x="45" y="47"/>
                </a:moveTo>
                <a:lnTo>
                  <a:pt x="0" y="47"/>
                </a:lnTo>
                <a:lnTo>
                  <a:pt x="0" y="0"/>
                </a:lnTo>
                <a:lnTo>
                  <a:pt x="45" y="0"/>
                </a:lnTo>
                <a:lnTo>
                  <a:pt x="45" y="47"/>
                </a:lnTo>
                <a:close/>
                <a:moveTo>
                  <a:pt x="9" y="35"/>
                </a:moveTo>
                <a:lnTo>
                  <a:pt x="33" y="35"/>
                </a:lnTo>
                <a:lnTo>
                  <a:pt x="33" y="11"/>
                </a:lnTo>
                <a:lnTo>
                  <a:pt x="9" y="11"/>
                </a:lnTo>
                <a:lnTo>
                  <a:pt x="9" y="3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38">
            <a:extLst>
              <a:ext uri="{FF2B5EF4-FFF2-40B4-BE49-F238E27FC236}">
                <a16:creationId xmlns:a16="http://schemas.microsoft.com/office/drawing/2014/main" id="{EA77C179-6CBC-6E4F-8248-F01BA93BFA9D}"/>
              </a:ext>
            </a:extLst>
          </p:cNvPr>
          <p:cNvSpPr>
            <a:spLocks noEditPoints="1"/>
          </p:cNvSpPr>
          <p:nvPr/>
        </p:nvSpPr>
        <p:spPr bwMode="auto">
          <a:xfrm>
            <a:off x="8747260" y="5510128"/>
            <a:ext cx="55674" cy="52637"/>
          </a:xfrm>
          <a:custGeom>
            <a:avLst/>
            <a:gdLst>
              <a:gd name="T0" fmla="*/ 50 w 55"/>
              <a:gd name="T1" fmla="*/ 50 h 52"/>
              <a:gd name="T2" fmla="*/ 50 w 55"/>
              <a:gd name="T3" fmla="*/ 45 h 52"/>
              <a:gd name="T4" fmla="*/ 7 w 55"/>
              <a:gd name="T5" fmla="*/ 45 h 52"/>
              <a:gd name="T6" fmla="*/ 7 w 55"/>
              <a:gd name="T7" fmla="*/ 7 h 52"/>
              <a:gd name="T8" fmla="*/ 48 w 55"/>
              <a:gd name="T9" fmla="*/ 7 h 52"/>
              <a:gd name="T10" fmla="*/ 48 w 55"/>
              <a:gd name="T11" fmla="*/ 50 h 52"/>
              <a:gd name="T12" fmla="*/ 50 w 55"/>
              <a:gd name="T13" fmla="*/ 50 h 52"/>
              <a:gd name="T14" fmla="*/ 50 w 55"/>
              <a:gd name="T15" fmla="*/ 45 h 52"/>
              <a:gd name="T16" fmla="*/ 50 w 55"/>
              <a:gd name="T17" fmla="*/ 50 h 52"/>
              <a:gd name="T18" fmla="*/ 55 w 55"/>
              <a:gd name="T19" fmla="*/ 50 h 52"/>
              <a:gd name="T20" fmla="*/ 55 w 55"/>
              <a:gd name="T21" fmla="*/ 0 h 52"/>
              <a:gd name="T22" fmla="*/ 0 w 55"/>
              <a:gd name="T23" fmla="*/ 0 h 52"/>
              <a:gd name="T24" fmla="*/ 0 w 55"/>
              <a:gd name="T25" fmla="*/ 52 h 52"/>
              <a:gd name="T26" fmla="*/ 55 w 55"/>
              <a:gd name="T27" fmla="*/ 52 h 52"/>
              <a:gd name="T28" fmla="*/ 55 w 55"/>
              <a:gd name="T29" fmla="*/ 50 h 52"/>
              <a:gd name="T30" fmla="*/ 50 w 55"/>
              <a:gd name="T31" fmla="*/ 50 h 52"/>
              <a:gd name="T32" fmla="*/ 14 w 55"/>
              <a:gd name="T33" fmla="*/ 38 h 52"/>
              <a:gd name="T34" fmla="*/ 14 w 55"/>
              <a:gd name="T35" fmla="*/ 40 h 52"/>
              <a:gd name="T36" fmla="*/ 43 w 55"/>
              <a:gd name="T37" fmla="*/ 40 h 52"/>
              <a:gd name="T38" fmla="*/ 43 w 55"/>
              <a:gd name="T39" fmla="*/ 10 h 52"/>
              <a:gd name="T40" fmla="*/ 12 w 55"/>
              <a:gd name="T41" fmla="*/ 10 h 52"/>
              <a:gd name="T42" fmla="*/ 12 w 55"/>
              <a:gd name="T43" fmla="*/ 40 h 52"/>
              <a:gd name="T44" fmla="*/ 14 w 55"/>
              <a:gd name="T45" fmla="*/ 40 h 52"/>
              <a:gd name="T46" fmla="*/ 14 w 55"/>
              <a:gd name="T47" fmla="*/ 38 h 52"/>
              <a:gd name="T48" fmla="*/ 19 w 55"/>
              <a:gd name="T49" fmla="*/ 38 h 52"/>
              <a:gd name="T50" fmla="*/ 19 w 55"/>
              <a:gd name="T51" fmla="*/ 17 h 52"/>
              <a:gd name="T52" fmla="*/ 36 w 55"/>
              <a:gd name="T53" fmla="*/ 17 h 52"/>
              <a:gd name="T54" fmla="*/ 36 w 55"/>
              <a:gd name="T55" fmla="*/ 33 h 52"/>
              <a:gd name="T56" fmla="*/ 14 w 55"/>
              <a:gd name="T57" fmla="*/ 33 h 52"/>
              <a:gd name="T58" fmla="*/ 14 w 55"/>
              <a:gd name="T59" fmla="*/ 38 h 52"/>
              <a:gd name="T60" fmla="*/ 19 w 55"/>
              <a:gd name="T61" fmla="*/ 38 h 52"/>
              <a:gd name="T62" fmla="*/ 14 w 55"/>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2">
                <a:moveTo>
                  <a:pt x="50" y="50"/>
                </a:moveTo>
                <a:lnTo>
                  <a:pt x="50" y="45"/>
                </a:lnTo>
                <a:lnTo>
                  <a:pt x="7" y="45"/>
                </a:lnTo>
                <a:lnTo>
                  <a:pt x="7" y="7"/>
                </a:lnTo>
                <a:lnTo>
                  <a:pt x="48" y="7"/>
                </a:lnTo>
                <a:lnTo>
                  <a:pt x="48" y="50"/>
                </a:lnTo>
                <a:lnTo>
                  <a:pt x="50" y="50"/>
                </a:lnTo>
                <a:lnTo>
                  <a:pt x="50" y="45"/>
                </a:lnTo>
                <a:lnTo>
                  <a:pt x="50" y="50"/>
                </a:lnTo>
                <a:lnTo>
                  <a:pt x="55" y="50"/>
                </a:lnTo>
                <a:lnTo>
                  <a:pt x="55" y="0"/>
                </a:lnTo>
                <a:lnTo>
                  <a:pt x="0" y="0"/>
                </a:lnTo>
                <a:lnTo>
                  <a:pt x="0" y="52"/>
                </a:lnTo>
                <a:lnTo>
                  <a:pt x="55" y="52"/>
                </a:lnTo>
                <a:lnTo>
                  <a:pt x="55" y="50"/>
                </a:lnTo>
                <a:lnTo>
                  <a:pt x="50" y="50"/>
                </a:lnTo>
                <a:close/>
                <a:moveTo>
                  <a:pt x="14" y="38"/>
                </a:moveTo>
                <a:lnTo>
                  <a:pt x="14" y="40"/>
                </a:lnTo>
                <a:lnTo>
                  <a:pt x="43" y="40"/>
                </a:lnTo>
                <a:lnTo>
                  <a:pt x="43" y="10"/>
                </a:lnTo>
                <a:lnTo>
                  <a:pt x="12" y="10"/>
                </a:lnTo>
                <a:lnTo>
                  <a:pt x="12" y="40"/>
                </a:lnTo>
                <a:lnTo>
                  <a:pt x="14" y="40"/>
                </a:lnTo>
                <a:lnTo>
                  <a:pt x="14" y="38"/>
                </a:lnTo>
                <a:lnTo>
                  <a:pt x="19" y="38"/>
                </a:lnTo>
                <a:lnTo>
                  <a:pt x="19" y="17"/>
                </a:lnTo>
                <a:lnTo>
                  <a:pt x="36" y="17"/>
                </a:lnTo>
                <a:lnTo>
                  <a:pt x="36" y="33"/>
                </a:lnTo>
                <a:lnTo>
                  <a:pt x="14" y="33"/>
                </a:lnTo>
                <a:lnTo>
                  <a:pt x="14" y="38"/>
                </a:lnTo>
                <a:lnTo>
                  <a:pt x="19" y="38"/>
                </a:lnTo>
                <a:lnTo>
                  <a:pt x="14" y="3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39">
            <a:extLst>
              <a:ext uri="{FF2B5EF4-FFF2-40B4-BE49-F238E27FC236}">
                <a16:creationId xmlns:a16="http://schemas.microsoft.com/office/drawing/2014/main" id="{A33C3609-5757-DD4E-A30B-1B0FD661FB22}"/>
              </a:ext>
            </a:extLst>
          </p:cNvPr>
          <p:cNvSpPr>
            <a:spLocks/>
          </p:cNvSpPr>
          <p:nvPr/>
        </p:nvSpPr>
        <p:spPr bwMode="auto">
          <a:xfrm>
            <a:off x="6229804" y="3932037"/>
            <a:ext cx="433241" cy="451462"/>
          </a:xfrm>
          <a:custGeom>
            <a:avLst/>
            <a:gdLst>
              <a:gd name="T0" fmla="*/ 90 w 180"/>
              <a:gd name="T1" fmla="*/ 4 h 188"/>
              <a:gd name="T2" fmla="*/ 90 w 180"/>
              <a:gd name="T3" fmla="*/ 0 h 188"/>
              <a:gd name="T4" fmla="*/ 0 w 180"/>
              <a:gd name="T5" fmla="*/ 90 h 188"/>
              <a:gd name="T6" fmla="*/ 22 w 180"/>
              <a:gd name="T7" fmla="*/ 148 h 188"/>
              <a:gd name="T8" fmla="*/ 25 w 180"/>
              <a:gd name="T9" fmla="*/ 145 h 188"/>
              <a:gd name="T10" fmla="*/ 21 w 180"/>
              <a:gd name="T11" fmla="*/ 143 h 188"/>
              <a:gd name="T12" fmla="*/ 1 w 180"/>
              <a:gd name="T13" fmla="*/ 181 h 188"/>
              <a:gd name="T14" fmla="*/ 2 w 180"/>
              <a:gd name="T15" fmla="*/ 186 h 188"/>
              <a:gd name="T16" fmla="*/ 7 w 180"/>
              <a:gd name="T17" fmla="*/ 187 h 188"/>
              <a:gd name="T18" fmla="*/ 43 w 180"/>
              <a:gd name="T19" fmla="*/ 164 h 188"/>
              <a:gd name="T20" fmla="*/ 41 w 180"/>
              <a:gd name="T21" fmla="*/ 160 h 188"/>
              <a:gd name="T22" fmla="*/ 39 w 180"/>
              <a:gd name="T23" fmla="*/ 164 h 188"/>
              <a:gd name="T24" fmla="*/ 90 w 180"/>
              <a:gd name="T25" fmla="*/ 180 h 188"/>
              <a:gd name="T26" fmla="*/ 180 w 180"/>
              <a:gd name="T27" fmla="*/ 90 h 188"/>
              <a:gd name="T28" fmla="*/ 90 w 180"/>
              <a:gd name="T29" fmla="*/ 0 h 188"/>
              <a:gd name="T30" fmla="*/ 90 w 180"/>
              <a:gd name="T31" fmla="*/ 4 h 188"/>
              <a:gd name="T32" fmla="*/ 90 w 180"/>
              <a:gd name="T33" fmla="*/ 8 h 188"/>
              <a:gd name="T34" fmla="*/ 148 w 180"/>
              <a:gd name="T35" fmla="*/ 32 h 188"/>
              <a:gd name="T36" fmla="*/ 172 w 180"/>
              <a:gd name="T37" fmla="*/ 90 h 188"/>
              <a:gd name="T38" fmla="*/ 148 w 180"/>
              <a:gd name="T39" fmla="*/ 148 h 188"/>
              <a:gd name="T40" fmla="*/ 90 w 180"/>
              <a:gd name="T41" fmla="*/ 172 h 188"/>
              <a:gd name="T42" fmla="*/ 43 w 180"/>
              <a:gd name="T43" fmla="*/ 157 h 188"/>
              <a:gd name="T44" fmla="*/ 39 w 180"/>
              <a:gd name="T45" fmla="*/ 157 h 188"/>
              <a:gd name="T46" fmla="*/ 15 w 180"/>
              <a:gd name="T47" fmla="*/ 172 h 188"/>
              <a:gd name="T48" fmla="*/ 28 w 180"/>
              <a:gd name="T49" fmla="*/ 147 h 188"/>
              <a:gd name="T50" fmla="*/ 28 w 180"/>
              <a:gd name="T51" fmla="*/ 143 h 188"/>
              <a:gd name="T52" fmla="*/ 8 w 180"/>
              <a:gd name="T53" fmla="*/ 90 h 188"/>
              <a:gd name="T54" fmla="*/ 32 w 180"/>
              <a:gd name="T55" fmla="*/ 32 h 188"/>
              <a:gd name="T56" fmla="*/ 90 w 180"/>
              <a:gd name="T57" fmla="*/ 8 h 188"/>
              <a:gd name="T58" fmla="*/ 90 w 180"/>
              <a:gd name="T59" fmla="*/ 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88">
                <a:moveTo>
                  <a:pt x="90" y="4"/>
                </a:moveTo>
                <a:cubicBezTo>
                  <a:pt x="90" y="0"/>
                  <a:pt x="90" y="0"/>
                  <a:pt x="90" y="0"/>
                </a:cubicBezTo>
                <a:cubicBezTo>
                  <a:pt x="41" y="0"/>
                  <a:pt x="0" y="40"/>
                  <a:pt x="0" y="90"/>
                </a:cubicBezTo>
                <a:cubicBezTo>
                  <a:pt x="0" y="112"/>
                  <a:pt x="8" y="132"/>
                  <a:pt x="22" y="148"/>
                </a:cubicBezTo>
                <a:cubicBezTo>
                  <a:pt x="25" y="145"/>
                  <a:pt x="25" y="145"/>
                  <a:pt x="25" y="145"/>
                </a:cubicBezTo>
                <a:cubicBezTo>
                  <a:pt x="21" y="143"/>
                  <a:pt x="21" y="143"/>
                  <a:pt x="21" y="143"/>
                </a:cubicBezTo>
                <a:cubicBezTo>
                  <a:pt x="1" y="181"/>
                  <a:pt x="1" y="181"/>
                  <a:pt x="1" y="181"/>
                </a:cubicBezTo>
                <a:cubicBezTo>
                  <a:pt x="0" y="183"/>
                  <a:pt x="1" y="185"/>
                  <a:pt x="2" y="186"/>
                </a:cubicBezTo>
                <a:cubicBezTo>
                  <a:pt x="3" y="187"/>
                  <a:pt x="5" y="188"/>
                  <a:pt x="7" y="187"/>
                </a:cubicBezTo>
                <a:cubicBezTo>
                  <a:pt x="43" y="164"/>
                  <a:pt x="43" y="164"/>
                  <a:pt x="43" y="164"/>
                </a:cubicBezTo>
                <a:cubicBezTo>
                  <a:pt x="41" y="160"/>
                  <a:pt x="41" y="160"/>
                  <a:pt x="41" y="160"/>
                </a:cubicBezTo>
                <a:cubicBezTo>
                  <a:pt x="39" y="164"/>
                  <a:pt x="39" y="164"/>
                  <a:pt x="39" y="164"/>
                </a:cubicBezTo>
                <a:cubicBezTo>
                  <a:pt x="53" y="174"/>
                  <a:pt x="71" y="180"/>
                  <a:pt x="90" y="180"/>
                </a:cubicBezTo>
                <a:cubicBezTo>
                  <a:pt x="140" y="180"/>
                  <a:pt x="180" y="139"/>
                  <a:pt x="180" y="90"/>
                </a:cubicBezTo>
                <a:cubicBezTo>
                  <a:pt x="180" y="40"/>
                  <a:pt x="140" y="0"/>
                  <a:pt x="90" y="0"/>
                </a:cubicBezTo>
                <a:cubicBezTo>
                  <a:pt x="90" y="4"/>
                  <a:pt x="90" y="4"/>
                  <a:pt x="90" y="4"/>
                </a:cubicBezTo>
                <a:cubicBezTo>
                  <a:pt x="90" y="8"/>
                  <a:pt x="90" y="8"/>
                  <a:pt x="90" y="8"/>
                </a:cubicBezTo>
                <a:cubicBezTo>
                  <a:pt x="113" y="8"/>
                  <a:pt x="133" y="17"/>
                  <a:pt x="148" y="32"/>
                </a:cubicBezTo>
                <a:cubicBezTo>
                  <a:pt x="163" y="47"/>
                  <a:pt x="172" y="67"/>
                  <a:pt x="172" y="90"/>
                </a:cubicBezTo>
                <a:cubicBezTo>
                  <a:pt x="172" y="112"/>
                  <a:pt x="163" y="133"/>
                  <a:pt x="148" y="148"/>
                </a:cubicBezTo>
                <a:cubicBezTo>
                  <a:pt x="133" y="163"/>
                  <a:pt x="113" y="172"/>
                  <a:pt x="90" y="172"/>
                </a:cubicBezTo>
                <a:cubicBezTo>
                  <a:pt x="73" y="172"/>
                  <a:pt x="57" y="166"/>
                  <a:pt x="43" y="157"/>
                </a:cubicBezTo>
                <a:cubicBezTo>
                  <a:pt x="42" y="156"/>
                  <a:pt x="40" y="156"/>
                  <a:pt x="39" y="157"/>
                </a:cubicBezTo>
                <a:cubicBezTo>
                  <a:pt x="15" y="172"/>
                  <a:pt x="15" y="172"/>
                  <a:pt x="15" y="172"/>
                </a:cubicBezTo>
                <a:cubicBezTo>
                  <a:pt x="28" y="147"/>
                  <a:pt x="28" y="147"/>
                  <a:pt x="28" y="147"/>
                </a:cubicBezTo>
                <a:cubicBezTo>
                  <a:pt x="29" y="146"/>
                  <a:pt x="29" y="144"/>
                  <a:pt x="28" y="143"/>
                </a:cubicBezTo>
                <a:cubicBezTo>
                  <a:pt x="16" y="128"/>
                  <a:pt x="8" y="110"/>
                  <a:pt x="8" y="90"/>
                </a:cubicBezTo>
                <a:cubicBezTo>
                  <a:pt x="8" y="67"/>
                  <a:pt x="18" y="47"/>
                  <a:pt x="32" y="32"/>
                </a:cubicBezTo>
                <a:cubicBezTo>
                  <a:pt x="47" y="17"/>
                  <a:pt x="68" y="8"/>
                  <a:pt x="90" y="8"/>
                </a:cubicBezTo>
                <a:lnTo>
                  <a:pt x="90" y="4"/>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0">
            <a:extLst>
              <a:ext uri="{FF2B5EF4-FFF2-40B4-BE49-F238E27FC236}">
                <a16:creationId xmlns:a16="http://schemas.microsoft.com/office/drawing/2014/main" id="{F70103D7-0C2C-2348-8E97-79963DA9FCC8}"/>
              </a:ext>
            </a:extLst>
          </p:cNvPr>
          <p:cNvSpPr>
            <a:spLocks/>
          </p:cNvSpPr>
          <p:nvPr/>
        </p:nvSpPr>
        <p:spPr bwMode="auto">
          <a:xfrm>
            <a:off x="6292563" y="3996821"/>
            <a:ext cx="302662" cy="300637"/>
          </a:xfrm>
          <a:custGeom>
            <a:avLst/>
            <a:gdLst>
              <a:gd name="T0" fmla="*/ 122 w 126"/>
              <a:gd name="T1" fmla="*/ 63 h 125"/>
              <a:gd name="T2" fmla="*/ 118 w 126"/>
              <a:gd name="T3" fmla="*/ 63 h 125"/>
              <a:gd name="T4" fmla="*/ 102 w 126"/>
              <a:gd name="T5" fmla="*/ 101 h 125"/>
              <a:gd name="T6" fmla="*/ 63 w 126"/>
              <a:gd name="T7" fmla="*/ 117 h 125"/>
              <a:gd name="T8" fmla="*/ 24 w 126"/>
              <a:gd name="T9" fmla="*/ 101 h 125"/>
              <a:gd name="T10" fmla="*/ 8 w 126"/>
              <a:gd name="T11" fmla="*/ 63 h 125"/>
              <a:gd name="T12" fmla="*/ 24 w 126"/>
              <a:gd name="T13" fmla="*/ 24 h 125"/>
              <a:gd name="T14" fmla="*/ 63 w 126"/>
              <a:gd name="T15" fmla="*/ 8 h 125"/>
              <a:gd name="T16" fmla="*/ 102 w 126"/>
              <a:gd name="T17" fmla="*/ 24 h 125"/>
              <a:gd name="T18" fmla="*/ 118 w 126"/>
              <a:gd name="T19" fmla="*/ 63 h 125"/>
              <a:gd name="T20" fmla="*/ 122 w 126"/>
              <a:gd name="T21" fmla="*/ 63 h 125"/>
              <a:gd name="T22" fmla="*/ 126 w 126"/>
              <a:gd name="T23" fmla="*/ 63 h 125"/>
              <a:gd name="T24" fmla="*/ 63 w 126"/>
              <a:gd name="T25" fmla="*/ 0 h 125"/>
              <a:gd name="T26" fmla="*/ 0 w 126"/>
              <a:gd name="T27" fmla="*/ 63 h 125"/>
              <a:gd name="T28" fmla="*/ 63 w 126"/>
              <a:gd name="T29" fmla="*/ 125 h 125"/>
              <a:gd name="T30" fmla="*/ 126 w 126"/>
              <a:gd name="T31" fmla="*/ 63 h 125"/>
              <a:gd name="T32" fmla="*/ 122 w 126"/>
              <a:gd name="T33" fmla="*/ 6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 h="125">
                <a:moveTo>
                  <a:pt x="122" y="63"/>
                </a:moveTo>
                <a:cubicBezTo>
                  <a:pt x="118" y="63"/>
                  <a:pt x="118" y="63"/>
                  <a:pt x="118" y="63"/>
                </a:cubicBezTo>
                <a:cubicBezTo>
                  <a:pt x="118" y="78"/>
                  <a:pt x="112" y="91"/>
                  <a:pt x="102" y="101"/>
                </a:cubicBezTo>
                <a:cubicBezTo>
                  <a:pt x="92" y="111"/>
                  <a:pt x="78" y="117"/>
                  <a:pt x="63" y="117"/>
                </a:cubicBezTo>
                <a:cubicBezTo>
                  <a:pt x="48" y="117"/>
                  <a:pt x="34" y="111"/>
                  <a:pt x="24" y="101"/>
                </a:cubicBezTo>
                <a:cubicBezTo>
                  <a:pt x="15" y="91"/>
                  <a:pt x="8" y="78"/>
                  <a:pt x="8" y="63"/>
                </a:cubicBezTo>
                <a:cubicBezTo>
                  <a:pt x="8" y="48"/>
                  <a:pt x="15" y="34"/>
                  <a:pt x="24" y="24"/>
                </a:cubicBezTo>
                <a:cubicBezTo>
                  <a:pt x="34" y="14"/>
                  <a:pt x="48" y="8"/>
                  <a:pt x="63" y="8"/>
                </a:cubicBezTo>
                <a:cubicBezTo>
                  <a:pt x="78" y="8"/>
                  <a:pt x="92" y="14"/>
                  <a:pt x="102" y="24"/>
                </a:cubicBezTo>
                <a:cubicBezTo>
                  <a:pt x="112" y="34"/>
                  <a:pt x="118" y="48"/>
                  <a:pt x="118" y="63"/>
                </a:cubicBezTo>
                <a:cubicBezTo>
                  <a:pt x="122" y="63"/>
                  <a:pt x="122" y="63"/>
                  <a:pt x="122" y="63"/>
                </a:cubicBezTo>
                <a:cubicBezTo>
                  <a:pt x="126" y="63"/>
                  <a:pt x="126" y="63"/>
                  <a:pt x="126" y="63"/>
                </a:cubicBezTo>
                <a:cubicBezTo>
                  <a:pt x="126" y="28"/>
                  <a:pt x="98" y="0"/>
                  <a:pt x="63" y="0"/>
                </a:cubicBezTo>
                <a:cubicBezTo>
                  <a:pt x="28" y="0"/>
                  <a:pt x="0" y="28"/>
                  <a:pt x="0" y="63"/>
                </a:cubicBezTo>
                <a:cubicBezTo>
                  <a:pt x="0" y="97"/>
                  <a:pt x="28" y="125"/>
                  <a:pt x="63" y="125"/>
                </a:cubicBezTo>
                <a:cubicBezTo>
                  <a:pt x="98" y="125"/>
                  <a:pt x="126" y="97"/>
                  <a:pt x="126" y="63"/>
                </a:cubicBezTo>
                <a:lnTo>
                  <a:pt x="122" y="6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1">
            <a:extLst>
              <a:ext uri="{FF2B5EF4-FFF2-40B4-BE49-F238E27FC236}">
                <a16:creationId xmlns:a16="http://schemas.microsoft.com/office/drawing/2014/main" id="{82007A4E-44F6-5F42-AE8E-CAC7B0F8251D}"/>
              </a:ext>
            </a:extLst>
          </p:cNvPr>
          <p:cNvSpPr>
            <a:spLocks/>
          </p:cNvSpPr>
          <p:nvPr/>
        </p:nvSpPr>
        <p:spPr bwMode="auto">
          <a:xfrm>
            <a:off x="6379616" y="4047433"/>
            <a:ext cx="131592" cy="187265"/>
          </a:xfrm>
          <a:custGeom>
            <a:avLst/>
            <a:gdLst>
              <a:gd name="T0" fmla="*/ 47 w 55"/>
              <a:gd name="T1" fmla="*/ 2 h 78"/>
              <a:gd name="T2" fmla="*/ 1 w 55"/>
              <a:gd name="T3" fmla="*/ 71 h 78"/>
              <a:gd name="T4" fmla="*/ 2 w 55"/>
              <a:gd name="T5" fmla="*/ 76 h 78"/>
              <a:gd name="T6" fmla="*/ 8 w 55"/>
              <a:gd name="T7" fmla="*/ 75 h 78"/>
              <a:gd name="T8" fmla="*/ 53 w 55"/>
              <a:gd name="T9" fmla="*/ 7 h 78"/>
              <a:gd name="T10" fmla="*/ 52 w 55"/>
              <a:gd name="T11" fmla="*/ 1 h 78"/>
              <a:gd name="T12" fmla="*/ 47 w 55"/>
              <a:gd name="T13" fmla="*/ 2 h 78"/>
            </a:gdLst>
            <a:ahLst/>
            <a:cxnLst>
              <a:cxn ang="0">
                <a:pos x="T0" y="T1"/>
              </a:cxn>
              <a:cxn ang="0">
                <a:pos x="T2" y="T3"/>
              </a:cxn>
              <a:cxn ang="0">
                <a:pos x="T4" y="T5"/>
              </a:cxn>
              <a:cxn ang="0">
                <a:pos x="T6" y="T7"/>
              </a:cxn>
              <a:cxn ang="0">
                <a:pos x="T8" y="T9"/>
              </a:cxn>
              <a:cxn ang="0">
                <a:pos x="T10" y="T11"/>
              </a:cxn>
              <a:cxn ang="0">
                <a:pos x="T12" y="T13"/>
              </a:cxn>
            </a:cxnLst>
            <a:rect l="0" t="0" r="r" b="b"/>
            <a:pathLst>
              <a:path w="55" h="78">
                <a:moveTo>
                  <a:pt x="47" y="2"/>
                </a:moveTo>
                <a:cubicBezTo>
                  <a:pt x="1" y="71"/>
                  <a:pt x="1" y="71"/>
                  <a:pt x="1" y="71"/>
                </a:cubicBezTo>
                <a:cubicBezTo>
                  <a:pt x="0" y="73"/>
                  <a:pt x="1" y="75"/>
                  <a:pt x="2" y="76"/>
                </a:cubicBezTo>
                <a:cubicBezTo>
                  <a:pt x="4" y="78"/>
                  <a:pt x="7" y="77"/>
                  <a:pt x="8" y="75"/>
                </a:cubicBezTo>
                <a:cubicBezTo>
                  <a:pt x="53" y="7"/>
                  <a:pt x="53" y="7"/>
                  <a:pt x="53" y="7"/>
                </a:cubicBezTo>
                <a:cubicBezTo>
                  <a:pt x="55" y="5"/>
                  <a:pt x="54" y="2"/>
                  <a:pt x="52" y="1"/>
                </a:cubicBezTo>
                <a:cubicBezTo>
                  <a:pt x="50" y="0"/>
                  <a:pt x="48" y="0"/>
                  <a:pt x="47" y="2"/>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2">
            <a:extLst>
              <a:ext uri="{FF2B5EF4-FFF2-40B4-BE49-F238E27FC236}">
                <a16:creationId xmlns:a16="http://schemas.microsoft.com/office/drawing/2014/main" id="{0E2038E3-3040-1343-8836-35DB0E866EC2}"/>
              </a:ext>
            </a:extLst>
          </p:cNvPr>
          <p:cNvSpPr>
            <a:spLocks/>
          </p:cNvSpPr>
          <p:nvPr/>
        </p:nvSpPr>
        <p:spPr bwMode="auto">
          <a:xfrm>
            <a:off x="6362408" y="4049457"/>
            <a:ext cx="66808" cy="101225"/>
          </a:xfrm>
          <a:custGeom>
            <a:avLst/>
            <a:gdLst>
              <a:gd name="T0" fmla="*/ 24 w 28"/>
              <a:gd name="T1" fmla="*/ 28 h 42"/>
              <a:gd name="T2" fmla="*/ 20 w 28"/>
              <a:gd name="T3" fmla="*/ 28 h 42"/>
              <a:gd name="T4" fmla="*/ 14 w 28"/>
              <a:gd name="T5" fmla="*/ 34 h 42"/>
              <a:gd name="T6" fmla="*/ 8 w 28"/>
              <a:gd name="T7" fmla="*/ 28 h 42"/>
              <a:gd name="T8" fmla="*/ 8 w 28"/>
              <a:gd name="T9" fmla="*/ 14 h 42"/>
              <a:gd name="T10" fmla="*/ 14 w 28"/>
              <a:gd name="T11" fmla="*/ 8 h 42"/>
              <a:gd name="T12" fmla="*/ 20 w 28"/>
              <a:gd name="T13" fmla="*/ 14 h 42"/>
              <a:gd name="T14" fmla="*/ 20 w 28"/>
              <a:gd name="T15" fmla="*/ 28 h 42"/>
              <a:gd name="T16" fmla="*/ 24 w 28"/>
              <a:gd name="T17" fmla="*/ 28 h 42"/>
              <a:gd name="T18" fmla="*/ 28 w 28"/>
              <a:gd name="T19" fmla="*/ 28 h 42"/>
              <a:gd name="T20" fmla="*/ 28 w 28"/>
              <a:gd name="T21" fmla="*/ 14 h 42"/>
              <a:gd name="T22" fmla="*/ 14 w 28"/>
              <a:gd name="T23" fmla="*/ 0 h 42"/>
              <a:gd name="T24" fmla="*/ 0 w 28"/>
              <a:gd name="T25" fmla="*/ 14 h 42"/>
              <a:gd name="T26" fmla="*/ 0 w 28"/>
              <a:gd name="T27" fmla="*/ 28 h 42"/>
              <a:gd name="T28" fmla="*/ 14 w 28"/>
              <a:gd name="T29" fmla="*/ 42 h 42"/>
              <a:gd name="T30" fmla="*/ 28 w 28"/>
              <a:gd name="T31" fmla="*/ 28 h 42"/>
              <a:gd name="T32" fmla="*/ 24 w 28"/>
              <a:gd name="T33"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2">
                <a:moveTo>
                  <a:pt x="24" y="28"/>
                </a:moveTo>
                <a:cubicBezTo>
                  <a:pt x="20" y="28"/>
                  <a:pt x="20" y="28"/>
                  <a:pt x="20" y="28"/>
                </a:cubicBezTo>
                <a:cubicBezTo>
                  <a:pt x="20" y="31"/>
                  <a:pt x="17" y="34"/>
                  <a:pt x="14" y="34"/>
                </a:cubicBezTo>
                <a:cubicBezTo>
                  <a:pt x="10" y="34"/>
                  <a:pt x="8" y="31"/>
                  <a:pt x="8" y="28"/>
                </a:cubicBezTo>
                <a:cubicBezTo>
                  <a:pt x="8" y="14"/>
                  <a:pt x="8" y="14"/>
                  <a:pt x="8" y="14"/>
                </a:cubicBezTo>
                <a:cubicBezTo>
                  <a:pt x="8" y="11"/>
                  <a:pt x="10" y="8"/>
                  <a:pt x="14" y="8"/>
                </a:cubicBezTo>
                <a:cubicBezTo>
                  <a:pt x="17" y="8"/>
                  <a:pt x="20" y="11"/>
                  <a:pt x="20" y="14"/>
                </a:cubicBezTo>
                <a:cubicBezTo>
                  <a:pt x="20" y="28"/>
                  <a:pt x="20" y="28"/>
                  <a:pt x="20" y="28"/>
                </a:cubicBezTo>
                <a:cubicBezTo>
                  <a:pt x="24" y="28"/>
                  <a:pt x="24" y="28"/>
                  <a:pt x="24" y="28"/>
                </a:cubicBezTo>
                <a:cubicBezTo>
                  <a:pt x="28" y="28"/>
                  <a:pt x="28" y="28"/>
                  <a:pt x="28" y="28"/>
                </a:cubicBezTo>
                <a:cubicBezTo>
                  <a:pt x="28" y="14"/>
                  <a:pt x="28" y="14"/>
                  <a:pt x="28" y="14"/>
                </a:cubicBezTo>
                <a:cubicBezTo>
                  <a:pt x="28" y="7"/>
                  <a:pt x="21" y="0"/>
                  <a:pt x="14" y="0"/>
                </a:cubicBezTo>
                <a:cubicBezTo>
                  <a:pt x="6" y="0"/>
                  <a:pt x="0" y="7"/>
                  <a:pt x="0" y="14"/>
                </a:cubicBezTo>
                <a:cubicBezTo>
                  <a:pt x="0" y="28"/>
                  <a:pt x="0" y="28"/>
                  <a:pt x="0" y="28"/>
                </a:cubicBezTo>
                <a:cubicBezTo>
                  <a:pt x="0" y="35"/>
                  <a:pt x="6" y="42"/>
                  <a:pt x="14" y="42"/>
                </a:cubicBezTo>
                <a:cubicBezTo>
                  <a:pt x="21" y="42"/>
                  <a:pt x="28" y="35"/>
                  <a:pt x="28" y="28"/>
                </a:cubicBezTo>
                <a:lnTo>
                  <a:pt x="24" y="28"/>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43">
            <a:extLst>
              <a:ext uri="{FF2B5EF4-FFF2-40B4-BE49-F238E27FC236}">
                <a16:creationId xmlns:a16="http://schemas.microsoft.com/office/drawing/2014/main" id="{58649E2D-F111-4D48-9E58-C2E2003986D1}"/>
              </a:ext>
            </a:extLst>
          </p:cNvPr>
          <p:cNvSpPr>
            <a:spLocks/>
          </p:cNvSpPr>
          <p:nvPr/>
        </p:nvSpPr>
        <p:spPr bwMode="auto">
          <a:xfrm>
            <a:off x="6460596" y="4131449"/>
            <a:ext cx="67820" cy="98188"/>
          </a:xfrm>
          <a:custGeom>
            <a:avLst/>
            <a:gdLst>
              <a:gd name="T0" fmla="*/ 24 w 28"/>
              <a:gd name="T1" fmla="*/ 27 h 41"/>
              <a:gd name="T2" fmla="*/ 20 w 28"/>
              <a:gd name="T3" fmla="*/ 27 h 41"/>
              <a:gd name="T4" fmla="*/ 14 w 28"/>
              <a:gd name="T5" fmla="*/ 33 h 41"/>
              <a:gd name="T6" fmla="*/ 8 w 28"/>
              <a:gd name="T7" fmla="*/ 27 h 41"/>
              <a:gd name="T8" fmla="*/ 8 w 28"/>
              <a:gd name="T9" fmla="*/ 14 h 41"/>
              <a:gd name="T10" fmla="*/ 14 w 28"/>
              <a:gd name="T11" fmla="*/ 8 h 41"/>
              <a:gd name="T12" fmla="*/ 20 w 28"/>
              <a:gd name="T13" fmla="*/ 14 h 41"/>
              <a:gd name="T14" fmla="*/ 20 w 28"/>
              <a:gd name="T15" fmla="*/ 27 h 41"/>
              <a:gd name="T16" fmla="*/ 24 w 28"/>
              <a:gd name="T17" fmla="*/ 27 h 41"/>
              <a:gd name="T18" fmla="*/ 28 w 28"/>
              <a:gd name="T19" fmla="*/ 27 h 41"/>
              <a:gd name="T20" fmla="*/ 28 w 28"/>
              <a:gd name="T21" fmla="*/ 14 h 41"/>
              <a:gd name="T22" fmla="*/ 14 w 28"/>
              <a:gd name="T23" fmla="*/ 0 h 41"/>
              <a:gd name="T24" fmla="*/ 0 w 28"/>
              <a:gd name="T25" fmla="*/ 14 h 41"/>
              <a:gd name="T26" fmla="*/ 0 w 28"/>
              <a:gd name="T27" fmla="*/ 27 h 41"/>
              <a:gd name="T28" fmla="*/ 14 w 28"/>
              <a:gd name="T29" fmla="*/ 41 h 41"/>
              <a:gd name="T30" fmla="*/ 28 w 28"/>
              <a:gd name="T31" fmla="*/ 27 h 41"/>
              <a:gd name="T32" fmla="*/ 24 w 28"/>
              <a:gd name="T33"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1">
                <a:moveTo>
                  <a:pt x="24" y="27"/>
                </a:moveTo>
                <a:cubicBezTo>
                  <a:pt x="20" y="27"/>
                  <a:pt x="20" y="27"/>
                  <a:pt x="20" y="27"/>
                </a:cubicBezTo>
                <a:cubicBezTo>
                  <a:pt x="20" y="31"/>
                  <a:pt x="17" y="33"/>
                  <a:pt x="14" y="33"/>
                </a:cubicBezTo>
                <a:cubicBezTo>
                  <a:pt x="11" y="33"/>
                  <a:pt x="8" y="31"/>
                  <a:pt x="8" y="27"/>
                </a:cubicBezTo>
                <a:cubicBezTo>
                  <a:pt x="8" y="14"/>
                  <a:pt x="8" y="14"/>
                  <a:pt x="8" y="14"/>
                </a:cubicBezTo>
                <a:cubicBezTo>
                  <a:pt x="8" y="11"/>
                  <a:pt x="11" y="8"/>
                  <a:pt x="14" y="8"/>
                </a:cubicBezTo>
                <a:cubicBezTo>
                  <a:pt x="17" y="8"/>
                  <a:pt x="20" y="11"/>
                  <a:pt x="20" y="14"/>
                </a:cubicBezTo>
                <a:cubicBezTo>
                  <a:pt x="20" y="27"/>
                  <a:pt x="20" y="27"/>
                  <a:pt x="20" y="27"/>
                </a:cubicBezTo>
                <a:cubicBezTo>
                  <a:pt x="24" y="27"/>
                  <a:pt x="24" y="27"/>
                  <a:pt x="24" y="27"/>
                </a:cubicBezTo>
                <a:cubicBezTo>
                  <a:pt x="28" y="27"/>
                  <a:pt x="28" y="27"/>
                  <a:pt x="28" y="27"/>
                </a:cubicBezTo>
                <a:cubicBezTo>
                  <a:pt x="28" y="14"/>
                  <a:pt x="28" y="14"/>
                  <a:pt x="28" y="14"/>
                </a:cubicBezTo>
                <a:cubicBezTo>
                  <a:pt x="28" y="6"/>
                  <a:pt x="22" y="0"/>
                  <a:pt x="14" y="0"/>
                </a:cubicBezTo>
                <a:cubicBezTo>
                  <a:pt x="6" y="0"/>
                  <a:pt x="0" y="6"/>
                  <a:pt x="0" y="14"/>
                </a:cubicBezTo>
                <a:cubicBezTo>
                  <a:pt x="0" y="27"/>
                  <a:pt x="0" y="27"/>
                  <a:pt x="0" y="27"/>
                </a:cubicBezTo>
                <a:cubicBezTo>
                  <a:pt x="0" y="35"/>
                  <a:pt x="6" y="41"/>
                  <a:pt x="14" y="41"/>
                </a:cubicBezTo>
                <a:cubicBezTo>
                  <a:pt x="22" y="41"/>
                  <a:pt x="28" y="35"/>
                  <a:pt x="28" y="27"/>
                </a:cubicBezTo>
                <a:lnTo>
                  <a:pt x="24" y="27"/>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4">
            <a:extLst>
              <a:ext uri="{FF2B5EF4-FFF2-40B4-BE49-F238E27FC236}">
                <a16:creationId xmlns:a16="http://schemas.microsoft.com/office/drawing/2014/main" id="{6A4917C1-1B57-4E4C-98C9-DE0DDCA8C201}"/>
              </a:ext>
            </a:extLst>
          </p:cNvPr>
          <p:cNvSpPr>
            <a:spLocks noEditPoints="1"/>
          </p:cNvSpPr>
          <p:nvPr/>
        </p:nvSpPr>
        <p:spPr bwMode="auto">
          <a:xfrm>
            <a:off x="4513035" y="2289162"/>
            <a:ext cx="69845" cy="68833"/>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7"/>
                  <a:pt x="7" y="0"/>
                  <a:pt x="15" y="0"/>
                </a:cubicBezTo>
                <a:cubicBezTo>
                  <a:pt x="22" y="0"/>
                  <a:pt x="29" y="7"/>
                  <a:pt x="29" y="14"/>
                </a:cubicBezTo>
                <a:cubicBezTo>
                  <a:pt x="29" y="22"/>
                  <a:pt x="22"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45">
            <a:extLst>
              <a:ext uri="{FF2B5EF4-FFF2-40B4-BE49-F238E27FC236}">
                <a16:creationId xmlns:a16="http://schemas.microsoft.com/office/drawing/2014/main" id="{916C56C9-6FB6-084D-8725-015B7FB379ED}"/>
              </a:ext>
            </a:extLst>
          </p:cNvPr>
          <p:cNvSpPr>
            <a:spLocks/>
          </p:cNvSpPr>
          <p:nvPr/>
        </p:nvSpPr>
        <p:spPr bwMode="auto">
          <a:xfrm>
            <a:off x="4810635" y="3564592"/>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7"/>
                  <a:pt x="8" y="45"/>
                </a:cubicBezTo>
                <a:cubicBezTo>
                  <a:pt x="0" y="32"/>
                  <a:pt x="3" y="16"/>
                  <a:pt x="16" y="8"/>
                </a:cubicBezTo>
                <a:cubicBezTo>
                  <a:pt x="28" y="0"/>
                  <a:pt x="45" y="3"/>
                  <a:pt x="53" y="16"/>
                </a:cubicBezTo>
                <a:cubicBezTo>
                  <a:pt x="61" y="28"/>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6">
            <a:extLst>
              <a:ext uri="{FF2B5EF4-FFF2-40B4-BE49-F238E27FC236}">
                <a16:creationId xmlns:a16="http://schemas.microsoft.com/office/drawing/2014/main" id="{57DDB9E5-6358-BE4B-8250-2C4C05CB92CC}"/>
              </a:ext>
            </a:extLst>
          </p:cNvPr>
          <p:cNvSpPr>
            <a:spLocks/>
          </p:cNvSpPr>
          <p:nvPr/>
        </p:nvSpPr>
        <p:spPr bwMode="auto">
          <a:xfrm>
            <a:off x="4808610" y="3561555"/>
            <a:ext cx="148800" cy="149812"/>
          </a:xfrm>
          <a:custGeom>
            <a:avLst/>
            <a:gdLst>
              <a:gd name="T0" fmla="*/ 46 w 62"/>
              <a:gd name="T1" fmla="*/ 54 h 62"/>
              <a:gd name="T2" fmla="*/ 44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1 h 62"/>
              <a:gd name="T20" fmla="*/ 46 w 62"/>
              <a:gd name="T21" fmla="*/ 54 h 62"/>
              <a:gd name="T22" fmla="*/ 48 w 62"/>
              <a:gd name="T23" fmla="*/ 57 h 62"/>
              <a:gd name="T24" fmla="*/ 62 w 62"/>
              <a:gd name="T25" fmla="*/ 31 h 62"/>
              <a:gd name="T26" fmla="*/ 57 w 62"/>
              <a:gd name="T27" fmla="*/ 15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1"/>
                  <a:pt x="44" y="51"/>
                  <a:pt x="44" y="51"/>
                </a:cubicBezTo>
                <a:cubicBezTo>
                  <a:pt x="40" y="53"/>
                  <a:pt x="36" y="54"/>
                  <a:pt x="31" y="54"/>
                </a:cubicBezTo>
                <a:cubicBezTo>
                  <a:pt x="24" y="54"/>
                  <a:pt x="16" y="50"/>
                  <a:pt x="12" y="44"/>
                </a:cubicBezTo>
                <a:cubicBezTo>
                  <a:pt x="10" y="40"/>
                  <a:pt x="8" y="35"/>
                  <a:pt x="8" y="31"/>
                </a:cubicBezTo>
                <a:cubicBezTo>
                  <a:pt x="8" y="24"/>
                  <a:pt x="12" y="16"/>
                  <a:pt x="19" y="12"/>
                </a:cubicBezTo>
                <a:cubicBezTo>
                  <a:pt x="23" y="10"/>
                  <a:pt x="27" y="8"/>
                  <a:pt x="31" y="8"/>
                </a:cubicBezTo>
                <a:cubicBezTo>
                  <a:pt x="39" y="8"/>
                  <a:pt x="46" y="12"/>
                  <a:pt x="51" y="19"/>
                </a:cubicBezTo>
                <a:cubicBezTo>
                  <a:pt x="53" y="23"/>
                  <a:pt x="54" y="27"/>
                  <a:pt x="54" y="31"/>
                </a:cubicBezTo>
                <a:cubicBezTo>
                  <a:pt x="54" y="39"/>
                  <a:pt x="50" y="46"/>
                  <a:pt x="44" y="51"/>
                </a:cubicBezTo>
                <a:cubicBezTo>
                  <a:pt x="46" y="54"/>
                  <a:pt x="46" y="54"/>
                  <a:pt x="46" y="54"/>
                </a:cubicBezTo>
                <a:cubicBezTo>
                  <a:pt x="48" y="57"/>
                  <a:pt x="48" y="57"/>
                  <a:pt x="48" y="57"/>
                </a:cubicBezTo>
                <a:cubicBezTo>
                  <a:pt x="57" y="51"/>
                  <a:pt x="62" y="41"/>
                  <a:pt x="62" y="31"/>
                </a:cubicBezTo>
                <a:cubicBezTo>
                  <a:pt x="62" y="26"/>
                  <a:pt x="61" y="20"/>
                  <a:pt x="57" y="15"/>
                </a:cubicBezTo>
                <a:cubicBezTo>
                  <a:pt x="51" y="5"/>
                  <a:pt x="41" y="0"/>
                  <a:pt x="31" y="0"/>
                </a:cubicBezTo>
                <a:cubicBezTo>
                  <a:pt x="26" y="0"/>
                  <a:pt x="20" y="2"/>
                  <a:pt x="15" y="5"/>
                </a:cubicBezTo>
                <a:cubicBezTo>
                  <a:pt x="6" y="11"/>
                  <a:pt x="0" y="21"/>
                  <a:pt x="0" y="31"/>
                </a:cubicBezTo>
                <a:cubicBezTo>
                  <a:pt x="0" y="37"/>
                  <a:pt x="2" y="43"/>
                  <a:pt x="5" y="48"/>
                </a:cubicBezTo>
                <a:cubicBezTo>
                  <a:pt x="11" y="57"/>
                  <a:pt x="21" y="62"/>
                  <a:pt x="31" y="62"/>
                </a:cubicBezTo>
                <a:cubicBezTo>
                  <a:pt x="37" y="62"/>
                  <a:pt x="43" y="61"/>
                  <a:pt x="48" y="57"/>
                </a:cubicBezTo>
                <a:lnTo>
                  <a:pt x="46"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7">
            <a:extLst>
              <a:ext uri="{FF2B5EF4-FFF2-40B4-BE49-F238E27FC236}">
                <a16:creationId xmlns:a16="http://schemas.microsoft.com/office/drawing/2014/main" id="{6D887196-34EF-5245-A1F0-9B0C1018B407}"/>
              </a:ext>
            </a:extLst>
          </p:cNvPr>
          <p:cNvSpPr>
            <a:spLocks/>
          </p:cNvSpPr>
          <p:nvPr/>
        </p:nvSpPr>
        <p:spPr bwMode="auto">
          <a:xfrm>
            <a:off x="5812758" y="2737587"/>
            <a:ext cx="1575055" cy="771331"/>
          </a:xfrm>
          <a:custGeom>
            <a:avLst/>
            <a:gdLst>
              <a:gd name="T0" fmla="*/ 645 w 656"/>
              <a:gd name="T1" fmla="*/ 2 h 321"/>
              <a:gd name="T2" fmla="*/ 554 w 656"/>
              <a:gd name="T3" fmla="*/ 97 h 321"/>
              <a:gd name="T4" fmla="*/ 355 w 656"/>
              <a:gd name="T5" fmla="*/ 118 h 321"/>
              <a:gd name="T6" fmla="*/ 351 w 656"/>
              <a:gd name="T7" fmla="*/ 120 h 321"/>
              <a:gd name="T8" fmla="*/ 230 w 656"/>
              <a:gd name="T9" fmla="*/ 270 h 321"/>
              <a:gd name="T10" fmla="*/ 6 w 656"/>
              <a:gd name="T11" fmla="*/ 308 h 321"/>
              <a:gd name="T12" fmla="*/ 1 w 656"/>
              <a:gd name="T13" fmla="*/ 315 h 321"/>
              <a:gd name="T14" fmla="*/ 8 w 656"/>
              <a:gd name="T15" fmla="*/ 320 h 321"/>
              <a:gd name="T16" fmla="*/ 235 w 656"/>
              <a:gd name="T17" fmla="*/ 281 h 321"/>
              <a:gd name="T18" fmla="*/ 238 w 656"/>
              <a:gd name="T19" fmla="*/ 279 h 321"/>
              <a:gd name="T20" fmla="*/ 359 w 656"/>
              <a:gd name="T21" fmla="*/ 130 h 321"/>
              <a:gd name="T22" fmla="*/ 557 w 656"/>
              <a:gd name="T23" fmla="*/ 108 h 321"/>
              <a:gd name="T24" fmla="*/ 561 w 656"/>
              <a:gd name="T25" fmla="*/ 106 h 321"/>
              <a:gd name="T26" fmla="*/ 654 w 656"/>
              <a:gd name="T27" fmla="*/ 11 h 321"/>
              <a:gd name="T28" fmla="*/ 653 w 656"/>
              <a:gd name="T29" fmla="*/ 2 h 321"/>
              <a:gd name="T30" fmla="*/ 645 w 656"/>
              <a:gd name="T31" fmla="*/ 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6" h="321">
                <a:moveTo>
                  <a:pt x="645" y="2"/>
                </a:moveTo>
                <a:cubicBezTo>
                  <a:pt x="554" y="97"/>
                  <a:pt x="554" y="97"/>
                  <a:pt x="554" y="97"/>
                </a:cubicBezTo>
                <a:cubicBezTo>
                  <a:pt x="355" y="118"/>
                  <a:pt x="355" y="118"/>
                  <a:pt x="355" y="118"/>
                </a:cubicBezTo>
                <a:cubicBezTo>
                  <a:pt x="354" y="118"/>
                  <a:pt x="352" y="119"/>
                  <a:pt x="351" y="120"/>
                </a:cubicBezTo>
                <a:cubicBezTo>
                  <a:pt x="230" y="270"/>
                  <a:pt x="230" y="270"/>
                  <a:pt x="230" y="270"/>
                </a:cubicBezTo>
                <a:cubicBezTo>
                  <a:pt x="6" y="308"/>
                  <a:pt x="6" y="308"/>
                  <a:pt x="6" y="308"/>
                </a:cubicBezTo>
                <a:cubicBezTo>
                  <a:pt x="3" y="309"/>
                  <a:pt x="0" y="312"/>
                  <a:pt x="1" y="315"/>
                </a:cubicBezTo>
                <a:cubicBezTo>
                  <a:pt x="2" y="318"/>
                  <a:pt x="5" y="321"/>
                  <a:pt x="8" y="320"/>
                </a:cubicBezTo>
                <a:cubicBezTo>
                  <a:pt x="235" y="281"/>
                  <a:pt x="235" y="281"/>
                  <a:pt x="235" y="281"/>
                </a:cubicBezTo>
                <a:cubicBezTo>
                  <a:pt x="236" y="281"/>
                  <a:pt x="237" y="280"/>
                  <a:pt x="238" y="279"/>
                </a:cubicBezTo>
                <a:cubicBezTo>
                  <a:pt x="359" y="130"/>
                  <a:pt x="359" y="130"/>
                  <a:pt x="359" y="130"/>
                </a:cubicBezTo>
                <a:cubicBezTo>
                  <a:pt x="557" y="108"/>
                  <a:pt x="557" y="108"/>
                  <a:pt x="557" y="108"/>
                </a:cubicBezTo>
                <a:cubicBezTo>
                  <a:pt x="559" y="108"/>
                  <a:pt x="560" y="107"/>
                  <a:pt x="561" y="106"/>
                </a:cubicBezTo>
                <a:cubicBezTo>
                  <a:pt x="654" y="11"/>
                  <a:pt x="654" y="11"/>
                  <a:pt x="654" y="11"/>
                </a:cubicBezTo>
                <a:cubicBezTo>
                  <a:pt x="656" y="8"/>
                  <a:pt x="656" y="5"/>
                  <a:pt x="653" y="2"/>
                </a:cubicBezTo>
                <a:cubicBezTo>
                  <a:pt x="651" y="0"/>
                  <a:pt x="647" y="0"/>
                  <a:pt x="645" y="2"/>
                </a:cubicBez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8">
            <a:extLst>
              <a:ext uri="{FF2B5EF4-FFF2-40B4-BE49-F238E27FC236}">
                <a16:creationId xmlns:a16="http://schemas.microsoft.com/office/drawing/2014/main" id="{6DB50FA1-D78D-AA4D-8A75-57A44297CC2F}"/>
              </a:ext>
            </a:extLst>
          </p:cNvPr>
          <p:cNvSpPr>
            <a:spLocks/>
          </p:cNvSpPr>
          <p:nvPr/>
        </p:nvSpPr>
        <p:spPr bwMode="auto">
          <a:xfrm>
            <a:off x="6316857" y="3372265"/>
            <a:ext cx="81992" cy="81992"/>
          </a:xfrm>
          <a:custGeom>
            <a:avLst/>
            <a:gdLst>
              <a:gd name="T0" fmla="*/ 25 w 34"/>
              <a:gd name="T1" fmla="*/ 29 h 34"/>
              <a:gd name="T2" fmla="*/ 4 w 34"/>
              <a:gd name="T3" fmla="*/ 25 h 34"/>
              <a:gd name="T4" fmla="*/ 9 w 34"/>
              <a:gd name="T5" fmla="*/ 4 h 34"/>
              <a:gd name="T6" fmla="*/ 29 w 34"/>
              <a:gd name="T7" fmla="*/ 9 h 34"/>
              <a:gd name="T8" fmla="*/ 25 w 34"/>
              <a:gd name="T9" fmla="*/ 29 h 34"/>
            </a:gdLst>
            <a:ahLst/>
            <a:cxnLst>
              <a:cxn ang="0">
                <a:pos x="T0" y="T1"/>
              </a:cxn>
              <a:cxn ang="0">
                <a:pos x="T2" y="T3"/>
              </a:cxn>
              <a:cxn ang="0">
                <a:pos x="T4" y="T5"/>
              </a:cxn>
              <a:cxn ang="0">
                <a:pos x="T6" y="T7"/>
              </a:cxn>
              <a:cxn ang="0">
                <a:pos x="T8" y="T9"/>
              </a:cxn>
            </a:cxnLst>
            <a:rect l="0" t="0" r="r" b="b"/>
            <a:pathLst>
              <a:path w="34" h="34">
                <a:moveTo>
                  <a:pt x="25" y="29"/>
                </a:moveTo>
                <a:cubicBezTo>
                  <a:pt x="18" y="34"/>
                  <a:pt x="8" y="32"/>
                  <a:pt x="4" y="25"/>
                </a:cubicBezTo>
                <a:cubicBezTo>
                  <a:pt x="0" y="18"/>
                  <a:pt x="2" y="9"/>
                  <a:pt x="9" y="4"/>
                </a:cubicBezTo>
                <a:cubicBezTo>
                  <a:pt x="16" y="0"/>
                  <a:pt x="25" y="2"/>
                  <a:pt x="29" y="9"/>
                </a:cubicBezTo>
                <a:cubicBezTo>
                  <a:pt x="34" y="16"/>
                  <a:pt x="31" y="25"/>
                  <a:pt x="2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9">
            <a:extLst>
              <a:ext uri="{FF2B5EF4-FFF2-40B4-BE49-F238E27FC236}">
                <a16:creationId xmlns:a16="http://schemas.microsoft.com/office/drawing/2014/main" id="{3652E9F5-5337-1E4A-B4DA-645B22E069DF}"/>
              </a:ext>
            </a:extLst>
          </p:cNvPr>
          <p:cNvSpPr>
            <a:spLocks/>
          </p:cNvSpPr>
          <p:nvPr/>
        </p:nvSpPr>
        <p:spPr bwMode="auto">
          <a:xfrm>
            <a:off x="6311796" y="3367204"/>
            <a:ext cx="89078" cy="91102"/>
          </a:xfrm>
          <a:custGeom>
            <a:avLst/>
            <a:gdLst>
              <a:gd name="T0" fmla="*/ 27 w 37"/>
              <a:gd name="T1" fmla="*/ 31 h 38"/>
              <a:gd name="T2" fmla="*/ 24 w 37"/>
              <a:gd name="T3" fmla="*/ 28 h 38"/>
              <a:gd name="T4" fmla="*/ 19 w 37"/>
              <a:gd name="T5" fmla="*/ 30 h 38"/>
              <a:gd name="T6" fmla="*/ 9 w 37"/>
              <a:gd name="T7" fmla="*/ 25 h 38"/>
              <a:gd name="T8" fmla="*/ 8 w 37"/>
              <a:gd name="T9" fmla="*/ 19 h 38"/>
              <a:gd name="T10" fmla="*/ 13 w 37"/>
              <a:gd name="T11" fmla="*/ 10 h 38"/>
              <a:gd name="T12" fmla="*/ 19 w 37"/>
              <a:gd name="T13" fmla="*/ 8 h 38"/>
              <a:gd name="T14" fmla="*/ 28 w 37"/>
              <a:gd name="T15" fmla="*/ 13 h 38"/>
              <a:gd name="T16" fmla="*/ 29 w 37"/>
              <a:gd name="T17" fmla="*/ 19 h 38"/>
              <a:gd name="T18" fmla="*/ 24 w 37"/>
              <a:gd name="T19" fmla="*/ 28 h 38"/>
              <a:gd name="T20" fmla="*/ 27 w 37"/>
              <a:gd name="T21" fmla="*/ 31 h 38"/>
              <a:gd name="T22" fmla="*/ 29 w 37"/>
              <a:gd name="T23" fmla="*/ 35 h 38"/>
              <a:gd name="T24" fmla="*/ 37 w 37"/>
              <a:gd name="T25" fmla="*/ 19 h 38"/>
              <a:gd name="T26" fmla="*/ 34 w 37"/>
              <a:gd name="T27" fmla="*/ 9 h 38"/>
              <a:gd name="T28" fmla="*/ 19 w 37"/>
              <a:gd name="T29" fmla="*/ 0 h 38"/>
              <a:gd name="T30" fmla="*/ 8 w 37"/>
              <a:gd name="T31" fmla="*/ 3 h 38"/>
              <a:gd name="T32" fmla="*/ 0 w 37"/>
              <a:gd name="T33" fmla="*/ 19 h 38"/>
              <a:gd name="T34" fmla="*/ 3 w 37"/>
              <a:gd name="T35" fmla="*/ 29 h 38"/>
              <a:gd name="T36" fmla="*/ 19 w 37"/>
              <a:gd name="T37" fmla="*/ 38 h 38"/>
              <a:gd name="T38" fmla="*/ 29 w 37"/>
              <a:gd name="T39" fmla="*/ 35 h 38"/>
              <a:gd name="T40" fmla="*/ 27 w 37"/>
              <a:gd name="T41"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38">
                <a:moveTo>
                  <a:pt x="27" y="31"/>
                </a:moveTo>
                <a:cubicBezTo>
                  <a:pt x="24" y="28"/>
                  <a:pt x="24" y="28"/>
                  <a:pt x="24" y="28"/>
                </a:cubicBezTo>
                <a:cubicBezTo>
                  <a:pt x="23" y="29"/>
                  <a:pt x="21" y="30"/>
                  <a:pt x="19" y="30"/>
                </a:cubicBezTo>
                <a:cubicBezTo>
                  <a:pt x="15" y="30"/>
                  <a:pt x="11" y="28"/>
                  <a:pt x="9" y="25"/>
                </a:cubicBezTo>
                <a:cubicBezTo>
                  <a:pt x="8" y="23"/>
                  <a:pt x="8" y="21"/>
                  <a:pt x="8" y="19"/>
                </a:cubicBezTo>
                <a:cubicBezTo>
                  <a:pt x="8" y="15"/>
                  <a:pt x="9" y="12"/>
                  <a:pt x="13" y="10"/>
                </a:cubicBezTo>
                <a:cubicBezTo>
                  <a:pt x="15" y="8"/>
                  <a:pt x="17" y="8"/>
                  <a:pt x="19" y="8"/>
                </a:cubicBezTo>
                <a:cubicBezTo>
                  <a:pt x="22" y="8"/>
                  <a:pt x="26" y="10"/>
                  <a:pt x="28" y="13"/>
                </a:cubicBezTo>
                <a:cubicBezTo>
                  <a:pt x="29" y="15"/>
                  <a:pt x="29" y="17"/>
                  <a:pt x="29" y="19"/>
                </a:cubicBezTo>
                <a:cubicBezTo>
                  <a:pt x="29" y="22"/>
                  <a:pt x="28" y="26"/>
                  <a:pt x="24" y="28"/>
                </a:cubicBezTo>
                <a:cubicBezTo>
                  <a:pt x="27" y="31"/>
                  <a:pt x="27" y="31"/>
                  <a:pt x="27" y="31"/>
                </a:cubicBezTo>
                <a:cubicBezTo>
                  <a:pt x="29" y="35"/>
                  <a:pt x="29" y="35"/>
                  <a:pt x="29" y="35"/>
                </a:cubicBezTo>
                <a:cubicBezTo>
                  <a:pt x="34" y="31"/>
                  <a:pt x="37" y="25"/>
                  <a:pt x="37" y="19"/>
                </a:cubicBezTo>
                <a:cubicBezTo>
                  <a:pt x="37" y="15"/>
                  <a:pt x="36" y="12"/>
                  <a:pt x="34" y="9"/>
                </a:cubicBezTo>
                <a:cubicBezTo>
                  <a:pt x="31" y="3"/>
                  <a:pt x="25" y="0"/>
                  <a:pt x="19" y="0"/>
                </a:cubicBezTo>
                <a:cubicBezTo>
                  <a:pt x="15" y="0"/>
                  <a:pt x="12" y="1"/>
                  <a:pt x="8" y="3"/>
                </a:cubicBezTo>
                <a:cubicBezTo>
                  <a:pt x="3" y="6"/>
                  <a:pt x="0" y="13"/>
                  <a:pt x="0" y="19"/>
                </a:cubicBezTo>
                <a:cubicBezTo>
                  <a:pt x="0" y="22"/>
                  <a:pt x="1" y="26"/>
                  <a:pt x="3" y="29"/>
                </a:cubicBezTo>
                <a:cubicBezTo>
                  <a:pt x="6" y="35"/>
                  <a:pt x="12" y="38"/>
                  <a:pt x="19" y="38"/>
                </a:cubicBezTo>
                <a:cubicBezTo>
                  <a:pt x="22" y="38"/>
                  <a:pt x="26" y="37"/>
                  <a:pt x="29" y="35"/>
                </a:cubicBezTo>
                <a:lnTo>
                  <a:pt x="27" y="31"/>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2">
            <a:extLst>
              <a:ext uri="{FF2B5EF4-FFF2-40B4-BE49-F238E27FC236}">
                <a16:creationId xmlns:a16="http://schemas.microsoft.com/office/drawing/2014/main" id="{6BAC0039-0222-B74C-9F9F-71ABFA000BBF}"/>
              </a:ext>
            </a:extLst>
          </p:cNvPr>
          <p:cNvSpPr>
            <a:spLocks/>
          </p:cNvSpPr>
          <p:nvPr/>
        </p:nvSpPr>
        <p:spPr bwMode="auto">
          <a:xfrm>
            <a:off x="6612433" y="2966354"/>
            <a:ext cx="145763" cy="148800"/>
          </a:xfrm>
          <a:custGeom>
            <a:avLst/>
            <a:gdLst>
              <a:gd name="T0" fmla="*/ 45 w 61"/>
              <a:gd name="T1" fmla="*/ 54 h 62"/>
              <a:gd name="T2" fmla="*/ 8 w 61"/>
              <a:gd name="T3" fmla="*/ 46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6"/>
                </a:cubicBezTo>
                <a:cubicBezTo>
                  <a:pt x="0" y="33"/>
                  <a:pt x="4" y="16"/>
                  <a:pt x="16" y="8"/>
                </a:cubicBezTo>
                <a:cubicBezTo>
                  <a:pt x="29" y="0"/>
                  <a:pt x="45" y="4"/>
                  <a:pt x="53" y="17"/>
                </a:cubicBezTo>
                <a:cubicBezTo>
                  <a:pt x="61" y="29"/>
                  <a:pt x="57"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3">
            <a:extLst>
              <a:ext uri="{FF2B5EF4-FFF2-40B4-BE49-F238E27FC236}">
                <a16:creationId xmlns:a16="http://schemas.microsoft.com/office/drawing/2014/main" id="{CEF57AC8-E622-5F41-B994-F8126FE7CFA3}"/>
              </a:ext>
            </a:extLst>
          </p:cNvPr>
          <p:cNvSpPr>
            <a:spLocks/>
          </p:cNvSpPr>
          <p:nvPr/>
        </p:nvSpPr>
        <p:spPr bwMode="auto">
          <a:xfrm>
            <a:off x="6612433" y="2966354"/>
            <a:ext cx="145763" cy="148800"/>
          </a:xfrm>
          <a:custGeom>
            <a:avLst/>
            <a:gdLst>
              <a:gd name="T0" fmla="*/ 45 w 61"/>
              <a:gd name="T1" fmla="*/ 54 h 62"/>
              <a:gd name="T2" fmla="*/ 43 w 61"/>
              <a:gd name="T3" fmla="*/ 50 h 62"/>
              <a:gd name="T4" fmla="*/ 31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4 h 62"/>
              <a:gd name="T22" fmla="*/ 47 w 61"/>
              <a:gd name="T23" fmla="*/ 57 h 62"/>
              <a:gd name="T24" fmla="*/ 61 w 61"/>
              <a:gd name="T25" fmla="*/ 31 h 62"/>
              <a:gd name="T26" fmla="*/ 57 w 61"/>
              <a:gd name="T27" fmla="*/ 15 h 62"/>
              <a:gd name="T28" fmla="*/ 30 w 61"/>
              <a:gd name="T29" fmla="*/ 0 h 62"/>
              <a:gd name="T30" fmla="*/ 14 w 61"/>
              <a:gd name="T31" fmla="*/ 5 h 62"/>
              <a:gd name="T32" fmla="*/ 0 w 61"/>
              <a:gd name="T33" fmla="*/ 31 h 62"/>
              <a:gd name="T34" fmla="*/ 4 w 61"/>
              <a:gd name="T35" fmla="*/ 48 h 62"/>
              <a:gd name="T36" fmla="*/ 31 w 61"/>
              <a:gd name="T37" fmla="*/ 62 h 62"/>
              <a:gd name="T38" fmla="*/ 47 w 61"/>
              <a:gd name="T39" fmla="*/ 57 h 62"/>
              <a:gd name="T40" fmla="*/ 45 w 61"/>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4"/>
                </a:moveTo>
                <a:cubicBezTo>
                  <a:pt x="43" y="50"/>
                  <a:pt x="43" y="50"/>
                  <a:pt x="43" y="50"/>
                </a:cubicBezTo>
                <a:cubicBezTo>
                  <a:pt x="39" y="53"/>
                  <a:pt x="35" y="54"/>
                  <a:pt x="31" y="54"/>
                </a:cubicBezTo>
                <a:cubicBezTo>
                  <a:pt x="23" y="54"/>
                  <a:pt x="16" y="50"/>
                  <a:pt x="11" y="43"/>
                </a:cubicBezTo>
                <a:cubicBezTo>
                  <a:pt x="9" y="40"/>
                  <a:pt x="8" y="35"/>
                  <a:pt x="8" y="31"/>
                </a:cubicBezTo>
                <a:cubicBezTo>
                  <a:pt x="8" y="24"/>
                  <a:pt x="11" y="16"/>
                  <a:pt x="18" y="12"/>
                </a:cubicBezTo>
                <a:cubicBezTo>
                  <a:pt x="22" y="9"/>
                  <a:pt x="26" y="8"/>
                  <a:pt x="30" y="8"/>
                </a:cubicBezTo>
                <a:cubicBezTo>
                  <a:pt x="38" y="8"/>
                  <a:pt x="45" y="12"/>
                  <a:pt x="50" y="19"/>
                </a:cubicBezTo>
                <a:cubicBezTo>
                  <a:pt x="52" y="23"/>
                  <a:pt x="53" y="27"/>
                  <a:pt x="53" y="31"/>
                </a:cubicBezTo>
                <a:cubicBezTo>
                  <a:pt x="53" y="39"/>
                  <a:pt x="50" y="46"/>
                  <a:pt x="43" y="50"/>
                </a:cubicBezTo>
                <a:cubicBezTo>
                  <a:pt x="45" y="54"/>
                  <a:pt x="45" y="54"/>
                  <a:pt x="45" y="54"/>
                </a:cubicBezTo>
                <a:cubicBezTo>
                  <a:pt x="47" y="57"/>
                  <a:pt x="47" y="57"/>
                  <a:pt x="47" y="57"/>
                </a:cubicBezTo>
                <a:cubicBezTo>
                  <a:pt x="56" y="51"/>
                  <a:pt x="61" y="41"/>
                  <a:pt x="61" y="31"/>
                </a:cubicBezTo>
                <a:cubicBezTo>
                  <a:pt x="61" y="25"/>
                  <a:pt x="60" y="20"/>
                  <a:pt x="57" y="15"/>
                </a:cubicBezTo>
                <a:cubicBezTo>
                  <a:pt x="51" y="5"/>
                  <a:pt x="41" y="0"/>
                  <a:pt x="30" y="0"/>
                </a:cubicBezTo>
                <a:cubicBezTo>
                  <a:pt x="25" y="0"/>
                  <a:pt x="19" y="2"/>
                  <a:pt x="14" y="5"/>
                </a:cubicBezTo>
                <a:cubicBezTo>
                  <a:pt x="5" y="11"/>
                  <a:pt x="0" y="21"/>
                  <a:pt x="0" y="31"/>
                </a:cubicBezTo>
                <a:cubicBezTo>
                  <a:pt x="0" y="37"/>
                  <a:pt x="1" y="43"/>
                  <a:pt x="4" y="48"/>
                </a:cubicBezTo>
                <a:cubicBezTo>
                  <a:pt x="10" y="57"/>
                  <a:pt x="20" y="62"/>
                  <a:pt x="31" y="62"/>
                </a:cubicBezTo>
                <a:cubicBezTo>
                  <a:pt x="36" y="62"/>
                  <a:pt x="42" y="60"/>
                  <a:pt x="47" y="57"/>
                </a:cubicBezTo>
                <a:lnTo>
                  <a:pt x="45" y="54"/>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4">
            <a:extLst>
              <a:ext uri="{FF2B5EF4-FFF2-40B4-BE49-F238E27FC236}">
                <a16:creationId xmlns:a16="http://schemas.microsoft.com/office/drawing/2014/main" id="{495880D4-0529-5E44-AFBC-C23E8E7D0D43}"/>
              </a:ext>
            </a:extLst>
          </p:cNvPr>
          <p:cNvSpPr>
            <a:spLocks/>
          </p:cNvSpPr>
          <p:nvPr/>
        </p:nvSpPr>
        <p:spPr bwMode="auto">
          <a:xfrm>
            <a:off x="7073005" y="2920803"/>
            <a:ext cx="118433" cy="115396"/>
          </a:xfrm>
          <a:custGeom>
            <a:avLst/>
            <a:gdLst>
              <a:gd name="T0" fmla="*/ 36 w 49"/>
              <a:gd name="T1" fmla="*/ 42 h 48"/>
              <a:gd name="T2" fmla="*/ 6 w 49"/>
              <a:gd name="T3" fmla="*/ 36 h 48"/>
              <a:gd name="T4" fmla="*/ 13 w 49"/>
              <a:gd name="T5" fmla="*/ 6 h 48"/>
              <a:gd name="T6" fmla="*/ 43 w 49"/>
              <a:gd name="T7" fmla="*/ 12 h 48"/>
              <a:gd name="T8" fmla="*/ 36 w 49"/>
              <a:gd name="T9" fmla="*/ 42 h 48"/>
            </a:gdLst>
            <a:ahLst/>
            <a:cxnLst>
              <a:cxn ang="0">
                <a:pos x="T0" y="T1"/>
              </a:cxn>
              <a:cxn ang="0">
                <a:pos x="T2" y="T3"/>
              </a:cxn>
              <a:cxn ang="0">
                <a:pos x="T4" y="T5"/>
              </a:cxn>
              <a:cxn ang="0">
                <a:pos x="T6" y="T7"/>
              </a:cxn>
              <a:cxn ang="0">
                <a:pos x="T8" y="T9"/>
              </a:cxn>
            </a:cxnLst>
            <a:rect l="0" t="0" r="r" b="b"/>
            <a:pathLst>
              <a:path w="49" h="48">
                <a:moveTo>
                  <a:pt x="36" y="42"/>
                </a:moveTo>
                <a:cubicBezTo>
                  <a:pt x="26" y="48"/>
                  <a:pt x="13" y="45"/>
                  <a:pt x="6" y="36"/>
                </a:cubicBezTo>
                <a:cubicBezTo>
                  <a:pt x="0" y="26"/>
                  <a:pt x="3" y="12"/>
                  <a:pt x="13" y="6"/>
                </a:cubicBezTo>
                <a:cubicBezTo>
                  <a:pt x="23" y="0"/>
                  <a:pt x="36" y="2"/>
                  <a:pt x="43" y="12"/>
                </a:cubicBezTo>
                <a:cubicBezTo>
                  <a:pt x="49" y="22"/>
                  <a:pt x="46" y="36"/>
                  <a:pt x="36"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5">
            <a:extLst>
              <a:ext uri="{FF2B5EF4-FFF2-40B4-BE49-F238E27FC236}">
                <a16:creationId xmlns:a16="http://schemas.microsoft.com/office/drawing/2014/main" id="{24436F26-E00C-D446-B3BC-07366B9B4DE9}"/>
              </a:ext>
            </a:extLst>
          </p:cNvPr>
          <p:cNvSpPr>
            <a:spLocks/>
          </p:cNvSpPr>
          <p:nvPr/>
        </p:nvSpPr>
        <p:spPr bwMode="auto">
          <a:xfrm>
            <a:off x="7070980" y="2917767"/>
            <a:ext cx="122482" cy="120457"/>
          </a:xfrm>
          <a:custGeom>
            <a:avLst/>
            <a:gdLst>
              <a:gd name="T0" fmla="*/ 37 w 51"/>
              <a:gd name="T1" fmla="*/ 43 h 50"/>
              <a:gd name="T2" fmla="*/ 35 w 51"/>
              <a:gd name="T3" fmla="*/ 40 h 50"/>
              <a:gd name="T4" fmla="*/ 25 w 51"/>
              <a:gd name="T5" fmla="*/ 42 h 50"/>
              <a:gd name="T6" fmla="*/ 11 w 51"/>
              <a:gd name="T7" fmla="*/ 34 h 50"/>
              <a:gd name="T8" fmla="*/ 8 w 51"/>
              <a:gd name="T9" fmla="*/ 25 h 50"/>
              <a:gd name="T10" fmla="*/ 16 w 51"/>
              <a:gd name="T11" fmla="*/ 10 h 50"/>
              <a:gd name="T12" fmla="*/ 25 w 51"/>
              <a:gd name="T13" fmla="*/ 8 h 50"/>
              <a:gd name="T14" fmla="*/ 40 w 51"/>
              <a:gd name="T15" fmla="*/ 16 h 50"/>
              <a:gd name="T16" fmla="*/ 43 w 51"/>
              <a:gd name="T17" fmla="*/ 25 h 50"/>
              <a:gd name="T18" fmla="*/ 35 w 51"/>
              <a:gd name="T19" fmla="*/ 40 h 50"/>
              <a:gd name="T20" fmla="*/ 37 w 51"/>
              <a:gd name="T21" fmla="*/ 43 h 50"/>
              <a:gd name="T22" fmla="*/ 39 w 51"/>
              <a:gd name="T23" fmla="*/ 46 h 50"/>
              <a:gd name="T24" fmla="*/ 51 w 51"/>
              <a:gd name="T25" fmla="*/ 25 h 50"/>
              <a:gd name="T26" fmla="*/ 47 w 51"/>
              <a:gd name="T27" fmla="*/ 11 h 50"/>
              <a:gd name="T28" fmla="*/ 25 w 51"/>
              <a:gd name="T29" fmla="*/ 0 h 50"/>
              <a:gd name="T30" fmla="*/ 12 w 51"/>
              <a:gd name="T31" fmla="*/ 4 h 50"/>
              <a:gd name="T32" fmla="*/ 0 w 51"/>
              <a:gd name="T33" fmla="*/ 25 h 50"/>
              <a:gd name="T34" fmla="*/ 4 w 51"/>
              <a:gd name="T35" fmla="*/ 39 h 50"/>
              <a:gd name="T36" fmla="*/ 25 w 51"/>
              <a:gd name="T37" fmla="*/ 50 h 50"/>
              <a:gd name="T38" fmla="*/ 39 w 51"/>
              <a:gd name="T39" fmla="*/ 46 h 50"/>
              <a:gd name="T40" fmla="*/ 37 w 51"/>
              <a:gd name="T41"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0">
                <a:moveTo>
                  <a:pt x="37" y="43"/>
                </a:moveTo>
                <a:cubicBezTo>
                  <a:pt x="35" y="40"/>
                  <a:pt x="35" y="40"/>
                  <a:pt x="35" y="40"/>
                </a:cubicBezTo>
                <a:cubicBezTo>
                  <a:pt x="32" y="42"/>
                  <a:pt x="29" y="42"/>
                  <a:pt x="25" y="42"/>
                </a:cubicBezTo>
                <a:cubicBezTo>
                  <a:pt x="20" y="42"/>
                  <a:pt x="14" y="40"/>
                  <a:pt x="11" y="34"/>
                </a:cubicBezTo>
                <a:cubicBezTo>
                  <a:pt x="9" y="31"/>
                  <a:pt x="8" y="28"/>
                  <a:pt x="8" y="25"/>
                </a:cubicBezTo>
                <a:cubicBezTo>
                  <a:pt x="8" y="19"/>
                  <a:pt x="11" y="14"/>
                  <a:pt x="16" y="10"/>
                </a:cubicBezTo>
                <a:cubicBezTo>
                  <a:pt x="19" y="8"/>
                  <a:pt x="22" y="8"/>
                  <a:pt x="25" y="8"/>
                </a:cubicBezTo>
                <a:cubicBezTo>
                  <a:pt x="31" y="8"/>
                  <a:pt x="37" y="10"/>
                  <a:pt x="40" y="16"/>
                </a:cubicBezTo>
                <a:cubicBezTo>
                  <a:pt x="42" y="19"/>
                  <a:pt x="43" y="22"/>
                  <a:pt x="43" y="25"/>
                </a:cubicBezTo>
                <a:cubicBezTo>
                  <a:pt x="43" y="31"/>
                  <a:pt x="40" y="36"/>
                  <a:pt x="35" y="40"/>
                </a:cubicBezTo>
                <a:cubicBezTo>
                  <a:pt x="37" y="43"/>
                  <a:pt x="37" y="43"/>
                  <a:pt x="37" y="43"/>
                </a:cubicBezTo>
                <a:cubicBezTo>
                  <a:pt x="39" y="46"/>
                  <a:pt x="39" y="46"/>
                  <a:pt x="39" y="46"/>
                </a:cubicBezTo>
                <a:cubicBezTo>
                  <a:pt x="47" y="42"/>
                  <a:pt x="51" y="33"/>
                  <a:pt x="51" y="25"/>
                </a:cubicBezTo>
                <a:cubicBezTo>
                  <a:pt x="51" y="20"/>
                  <a:pt x="50" y="16"/>
                  <a:pt x="47" y="11"/>
                </a:cubicBezTo>
                <a:cubicBezTo>
                  <a:pt x="42" y="4"/>
                  <a:pt x="34" y="0"/>
                  <a:pt x="25" y="0"/>
                </a:cubicBezTo>
                <a:cubicBezTo>
                  <a:pt x="21" y="0"/>
                  <a:pt x="16" y="1"/>
                  <a:pt x="12" y="4"/>
                </a:cubicBezTo>
                <a:cubicBezTo>
                  <a:pt x="4" y="8"/>
                  <a:pt x="0" y="17"/>
                  <a:pt x="0" y="25"/>
                </a:cubicBezTo>
                <a:cubicBezTo>
                  <a:pt x="0" y="30"/>
                  <a:pt x="1" y="34"/>
                  <a:pt x="4" y="39"/>
                </a:cubicBezTo>
                <a:cubicBezTo>
                  <a:pt x="9" y="46"/>
                  <a:pt x="17" y="50"/>
                  <a:pt x="25" y="50"/>
                </a:cubicBezTo>
                <a:cubicBezTo>
                  <a:pt x="30" y="50"/>
                  <a:pt x="35" y="49"/>
                  <a:pt x="39" y="46"/>
                </a:cubicBezTo>
                <a:lnTo>
                  <a:pt x="37" y="43"/>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6">
            <a:extLst>
              <a:ext uri="{FF2B5EF4-FFF2-40B4-BE49-F238E27FC236}">
                <a16:creationId xmlns:a16="http://schemas.microsoft.com/office/drawing/2014/main" id="{F44D7402-E2EB-E345-ABF1-C2AA0E57430A}"/>
              </a:ext>
            </a:extLst>
          </p:cNvPr>
          <p:cNvSpPr>
            <a:spLocks noEditPoints="1"/>
          </p:cNvSpPr>
          <p:nvPr/>
        </p:nvSpPr>
        <p:spPr bwMode="auto">
          <a:xfrm>
            <a:off x="3699189" y="5077899"/>
            <a:ext cx="66808" cy="6680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3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9" y="4"/>
                  <a:pt x="4" y="9"/>
                  <a:pt x="4" y="14"/>
                </a:cubicBezTo>
                <a:cubicBezTo>
                  <a:pt x="4" y="19"/>
                  <a:pt x="9" y="23"/>
                  <a:pt x="14" y="23"/>
                </a:cubicBezTo>
                <a:cubicBezTo>
                  <a:pt x="19" y="23"/>
                  <a:pt x="24" y="19"/>
                  <a:pt x="24" y="14"/>
                </a:cubicBezTo>
                <a:cubicBezTo>
                  <a:pt x="24" y="9"/>
                  <a:pt x="19" y="4"/>
                  <a:pt x="14" y="4"/>
                </a:cubicBezTo>
                <a:close/>
              </a:path>
            </a:pathLst>
          </a:custGeom>
          <a:solidFill>
            <a:srgbClr val="C6C3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57">
            <a:extLst>
              <a:ext uri="{FF2B5EF4-FFF2-40B4-BE49-F238E27FC236}">
                <a16:creationId xmlns:a16="http://schemas.microsoft.com/office/drawing/2014/main" id="{4A447F1D-7427-244B-BEFC-051E9BF27352}"/>
              </a:ext>
            </a:extLst>
          </p:cNvPr>
          <p:cNvSpPr>
            <a:spLocks noChangeArrowheads="1"/>
          </p:cNvSpPr>
          <p:nvPr/>
        </p:nvSpPr>
        <p:spPr bwMode="auto">
          <a:xfrm>
            <a:off x="5790489" y="4705393"/>
            <a:ext cx="166008" cy="29355"/>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58">
            <a:extLst>
              <a:ext uri="{FF2B5EF4-FFF2-40B4-BE49-F238E27FC236}">
                <a16:creationId xmlns:a16="http://schemas.microsoft.com/office/drawing/2014/main" id="{9561DEDC-FBA4-1A42-8538-1A8E4F2B5B68}"/>
              </a:ext>
            </a:extLst>
          </p:cNvPr>
          <p:cNvSpPr>
            <a:spLocks noChangeArrowheads="1"/>
          </p:cNvSpPr>
          <p:nvPr/>
        </p:nvSpPr>
        <p:spPr bwMode="auto">
          <a:xfrm>
            <a:off x="5790489" y="4628462"/>
            <a:ext cx="166008" cy="31380"/>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9">
            <a:extLst>
              <a:ext uri="{FF2B5EF4-FFF2-40B4-BE49-F238E27FC236}">
                <a16:creationId xmlns:a16="http://schemas.microsoft.com/office/drawing/2014/main" id="{43BA4E97-BF96-3B47-A7F4-1A851DEA12F9}"/>
              </a:ext>
            </a:extLst>
          </p:cNvPr>
          <p:cNvSpPr>
            <a:spLocks noChangeArrowheads="1"/>
          </p:cNvSpPr>
          <p:nvPr/>
        </p:nvSpPr>
        <p:spPr bwMode="auto">
          <a:xfrm>
            <a:off x="5790489" y="4556593"/>
            <a:ext cx="166008" cy="28343"/>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0">
            <a:extLst>
              <a:ext uri="{FF2B5EF4-FFF2-40B4-BE49-F238E27FC236}">
                <a16:creationId xmlns:a16="http://schemas.microsoft.com/office/drawing/2014/main" id="{EC90C2C9-64C8-A645-947A-B837A44EAE55}"/>
              </a:ext>
            </a:extLst>
          </p:cNvPr>
          <p:cNvSpPr>
            <a:spLocks/>
          </p:cNvSpPr>
          <p:nvPr/>
        </p:nvSpPr>
        <p:spPr bwMode="auto">
          <a:xfrm>
            <a:off x="4047402" y="3912804"/>
            <a:ext cx="88065" cy="86041"/>
          </a:xfrm>
          <a:custGeom>
            <a:avLst/>
            <a:gdLst>
              <a:gd name="T0" fmla="*/ 27 w 37"/>
              <a:gd name="T1" fmla="*/ 31 h 36"/>
              <a:gd name="T2" fmla="*/ 5 w 37"/>
              <a:gd name="T3" fmla="*/ 27 h 36"/>
              <a:gd name="T4" fmla="*/ 10 w 37"/>
              <a:gd name="T5" fmla="*/ 4 h 36"/>
              <a:gd name="T6" fmla="*/ 32 w 37"/>
              <a:gd name="T7" fmla="*/ 9 h 36"/>
              <a:gd name="T8" fmla="*/ 27 w 37"/>
              <a:gd name="T9" fmla="*/ 31 h 36"/>
            </a:gdLst>
            <a:ahLst/>
            <a:cxnLst>
              <a:cxn ang="0">
                <a:pos x="T0" y="T1"/>
              </a:cxn>
              <a:cxn ang="0">
                <a:pos x="T2" y="T3"/>
              </a:cxn>
              <a:cxn ang="0">
                <a:pos x="T4" y="T5"/>
              </a:cxn>
              <a:cxn ang="0">
                <a:pos x="T6" y="T7"/>
              </a:cxn>
              <a:cxn ang="0">
                <a:pos x="T8" y="T9"/>
              </a:cxn>
            </a:cxnLst>
            <a:rect l="0" t="0" r="r" b="b"/>
            <a:pathLst>
              <a:path w="37" h="36">
                <a:moveTo>
                  <a:pt x="27" y="31"/>
                </a:moveTo>
                <a:cubicBezTo>
                  <a:pt x="19" y="36"/>
                  <a:pt x="9" y="34"/>
                  <a:pt x="5" y="27"/>
                </a:cubicBezTo>
                <a:cubicBezTo>
                  <a:pt x="0" y="19"/>
                  <a:pt x="2" y="9"/>
                  <a:pt x="10" y="4"/>
                </a:cubicBezTo>
                <a:cubicBezTo>
                  <a:pt x="17" y="0"/>
                  <a:pt x="27" y="2"/>
                  <a:pt x="32" y="9"/>
                </a:cubicBezTo>
                <a:cubicBezTo>
                  <a:pt x="37" y="17"/>
                  <a:pt x="34" y="27"/>
                  <a:pt x="27" y="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61">
            <a:extLst>
              <a:ext uri="{FF2B5EF4-FFF2-40B4-BE49-F238E27FC236}">
                <a16:creationId xmlns:a16="http://schemas.microsoft.com/office/drawing/2014/main" id="{80CEC6D4-5FE4-2441-A861-7051B61ACE7A}"/>
              </a:ext>
            </a:extLst>
          </p:cNvPr>
          <p:cNvSpPr>
            <a:spLocks/>
          </p:cNvSpPr>
          <p:nvPr/>
        </p:nvSpPr>
        <p:spPr bwMode="auto">
          <a:xfrm>
            <a:off x="4042340" y="3907743"/>
            <a:ext cx="96163" cy="96163"/>
          </a:xfrm>
          <a:custGeom>
            <a:avLst/>
            <a:gdLst>
              <a:gd name="T0" fmla="*/ 29 w 40"/>
              <a:gd name="T1" fmla="*/ 33 h 40"/>
              <a:gd name="T2" fmla="*/ 27 w 40"/>
              <a:gd name="T3" fmla="*/ 30 h 40"/>
              <a:gd name="T4" fmla="*/ 20 w 40"/>
              <a:gd name="T5" fmla="*/ 32 h 40"/>
              <a:gd name="T6" fmla="*/ 10 w 40"/>
              <a:gd name="T7" fmla="*/ 26 h 40"/>
              <a:gd name="T8" fmla="*/ 8 w 40"/>
              <a:gd name="T9" fmla="*/ 20 h 40"/>
              <a:gd name="T10" fmla="*/ 14 w 40"/>
              <a:gd name="T11" fmla="*/ 10 h 40"/>
              <a:gd name="T12" fmla="*/ 14 w 40"/>
              <a:gd name="T13" fmla="*/ 10 h 40"/>
              <a:gd name="T14" fmla="*/ 20 w 40"/>
              <a:gd name="T15" fmla="*/ 8 h 40"/>
              <a:gd name="T16" fmla="*/ 30 w 40"/>
              <a:gd name="T17" fmla="*/ 13 h 40"/>
              <a:gd name="T18" fmla="*/ 32 w 40"/>
              <a:gd name="T19" fmla="*/ 20 h 40"/>
              <a:gd name="T20" fmla="*/ 27 w 40"/>
              <a:gd name="T21" fmla="*/ 30 h 40"/>
              <a:gd name="T22" fmla="*/ 29 w 40"/>
              <a:gd name="T23" fmla="*/ 33 h 40"/>
              <a:gd name="T24" fmla="*/ 31 w 40"/>
              <a:gd name="T25" fmla="*/ 37 h 40"/>
              <a:gd name="T26" fmla="*/ 40 w 40"/>
              <a:gd name="T27" fmla="*/ 20 h 40"/>
              <a:gd name="T28" fmla="*/ 37 w 40"/>
              <a:gd name="T29" fmla="*/ 9 h 40"/>
              <a:gd name="T30" fmla="*/ 20 w 40"/>
              <a:gd name="T31" fmla="*/ 0 h 40"/>
              <a:gd name="T32" fmla="*/ 9 w 40"/>
              <a:gd name="T33" fmla="*/ 3 h 40"/>
              <a:gd name="T34" fmla="*/ 10 w 40"/>
              <a:gd name="T35" fmla="*/ 3 h 40"/>
              <a:gd name="T36" fmla="*/ 0 w 40"/>
              <a:gd name="T37" fmla="*/ 20 h 40"/>
              <a:gd name="T38" fmla="*/ 3 w 40"/>
              <a:gd name="T39" fmla="*/ 31 h 40"/>
              <a:gd name="T40" fmla="*/ 20 w 40"/>
              <a:gd name="T41" fmla="*/ 40 h 40"/>
              <a:gd name="T42" fmla="*/ 31 w 40"/>
              <a:gd name="T43" fmla="*/ 37 h 40"/>
              <a:gd name="T44" fmla="*/ 29 w 40"/>
              <a:gd name="T4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40">
                <a:moveTo>
                  <a:pt x="29" y="33"/>
                </a:moveTo>
                <a:cubicBezTo>
                  <a:pt x="27" y="30"/>
                  <a:pt x="27" y="30"/>
                  <a:pt x="27" y="30"/>
                </a:cubicBezTo>
                <a:cubicBezTo>
                  <a:pt x="25" y="31"/>
                  <a:pt x="23" y="32"/>
                  <a:pt x="20" y="32"/>
                </a:cubicBezTo>
                <a:cubicBezTo>
                  <a:pt x="16" y="32"/>
                  <a:pt x="12" y="30"/>
                  <a:pt x="10" y="26"/>
                </a:cubicBezTo>
                <a:cubicBezTo>
                  <a:pt x="9" y="24"/>
                  <a:pt x="8" y="22"/>
                  <a:pt x="8" y="20"/>
                </a:cubicBezTo>
                <a:cubicBezTo>
                  <a:pt x="8" y="16"/>
                  <a:pt x="10" y="12"/>
                  <a:pt x="14" y="10"/>
                </a:cubicBezTo>
                <a:cubicBezTo>
                  <a:pt x="14" y="10"/>
                  <a:pt x="14" y="10"/>
                  <a:pt x="14" y="10"/>
                </a:cubicBezTo>
                <a:cubicBezTo>
                  <a:pt x="16" y="8"/>
                  <a:pt x="18" y="8"/>
                  <a:pt x="20" y="8"/>
                </a:cubicBezTo>
                <a:cubicBezTo>
                  <a:pt x="24" y="8"/>
                  <a:pt x="28" y="10"/>
                  <a:pt x="30" y="13"/>
                </a:cubicBezTo>
                <a:cubicBezTo>
                  <a:pt x="32" y="15"/>
                  <a:pt x="32" y="18"/>
                  <a:pt x="32" y="20"/>
                </a:cubicBezTo>
                <a:cubicBezTo>
                  <a:pt x="32" y="24"/>
                  <a:pt x="30" y="28"/>
                  <a:pt x="27" y="30"/>
                </a:cubicBezTo>
                <a:cubicBezTo>
                  <a:pt x="29" y="33"/>
                  <a:pt x="29" y="33"/>
                  <a:pt x="29" y="33"/>
                </a:cubicBezTo>
                <a:cubicBezTo>
                  <a:pt x="31" y="37"/>
                  <a:pt x="31" y="37"/>
                  <a:pt x="31" y="37"/>
                </a:cubicBezTo>
                <a:cubicBezTo>
                  <a:pt x="37" y="33"/>
                  <a:pt x="40" y="27"/>
                  <a:pt x="40" y="20"/>
                </a:cubicBezTo>
                <a:cubicBezTo>
                  <a:pt x="40" y="16"/>
                  <a:pt x="39" y="12"/>
                  <a:pt x="37" y="9"/>
                </a:cubicBezTo>
                <a:cubicBezTo>
                  <a:pt x="33" y="3"/>
                  <a:pt x="27" y="0"/>
                  <a:pt x="20" y="0"/>
                </a:cubicBezTo>
                <a:cubicBezTo>
                  <a:pt x="17" y="0"/>
                  <a:pt x="13" y="1"/>
                  <a:pt x="9" y="3"/>
                </a:cubicBezTo>
                <a:cubicBezTo>
                  <a:pt x="10" y="3"/>
                  <a:pt x="10" y="3"/>
                  <a:pt x="10" y="3"/>
                </a:cubicBezTo>
                <a:cubicBezTo>
                  <a:pt x="3" y="7"/>
                  <a:pt x="0" y="13"/>
                  <a:pt x="0" y="20"/>
                </a:cubicBezTo>
                <a:cubicBezTo>
                  <a:pt x="0" y="24"/>
                  <a:pt x="1" y="27"/>
                  <a:pt x="3" y="31"/>
                </a:cubicBezTo>
                <a:cubicBezTo>
                  <a:pt x="7" y="37"/>
                  <a:pt x="14" y="40"/>
                  <a:pt x="20" y="40"/>
                </a:cubicBezTo>
                <a:cubicBezTo>
                  <a:pt x="24" y="40"/>
                  <a:pt x="28" y="39"/>
                  <a:pt x="31" y="37"/>
                </a:cubicBezTo>
                <a:lnTo>
                  <a:pt x="29" y="3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2">
            <a:extLst>
              <a:ext uri="{FF2B5EF4-FFF2-40B4-BE49-F238E27FC236}">
                <a16:creationId xmlns:a16="http://schemas.microsoft.com/office/drawing/2014/main" id="{87132945-E355-D444-A283-286BA8D2D018}"/>
              </a:ext>
            </a:extLst>
          </p:cNvPr>
          <p:cNvSpPr>
            <a:spLocks/>
          </p:cNvSpPr>
          <p:nvPr/>
        </p:nvSpPr>
        <p:spPr bwMode="auto">
          <a:xfrm>
            <a:off x="4868333" y="4474601"/>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3">
            <a:extLst>
              <a:ext uri="{FF2B5EF4-FFF2-40B4-BE49-F238E27FC236}">
                <a16:creationId xmlns:a16="http://schemas.microsoft.com/office/drawing/2014/main" id="{F1448F09-5949-D343-9D69-365917B661E0}"/>
              </a:ext>
            </a:extLst>
          </p:cNvPr>
          <p:cNvSpPr>
            <a:spLocks/>
          </p:cNvSpPr>
          <p:nvPr/>
        </p:nvSpPr>
        <p:spPr bwMode="auto">
          <a:xfrm>
            <a:off x="4866309" y="4474601"/>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1 h 62"/>
              <a:gd name="T12" fmla="*/ 31 w 62"/>
              <a:gd name="T13" fmla="*/ 8 h 62"/>
              <a:gd name="T14" fmla="*/ 51 w 62"/>
              <a:gd name="T15" fmla="*/ 18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2"/>
                  <a:pt x="36" y="54"/>
                  <a:pt x="31" y="54"/>
                </a:cubicBezTo>
                <a:cubicBezTo>
                  <a:pt x="24" y="54"/>
                  <a:pt x="16" y="50"/>
                  <a:pt x="12" y="43"/>
                </a:cubicBezTo>
                <a:cubicBezTo>
                  <a:pt x="10" y="39"/>
                  <a:pt x="8" y="35"/>
                  <a:pt x="8" y="31"/>
                </a:cubicBezTo>
                <a:cubicBezTo>
                  <a:pt x="8" y="23"/>
                  <a:pt x="12" y="16"/>
                  <a:pt x="19" y="11"/>
                </a:cubicBezTo>
                <a:cubicBezTo>
                  <a:pt x="23" y="9"/>
                  <a:pt x="27" y="8"/>
                  <a:pt x="31" y="8"/>
                </a:cubicBezTo>
                <a:cubicBezTo>
                  <a:pt x="39" y="8"/>
                  <a:pt x="46" y="12"/>
                  <a:pt x="51" y="18"/>
                </a:cubicBezTo>
                <a:cubicBezTo>
                  <a:pt x="53" y="22"/>
                  <a:pt x="54" y="26"/>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0"/>
                  <a:pt x="0" y="21"/>
                  <a:pt x="0" y="31"/>
                </a:cubicBezTo>
                <a:cubicBezTo>
                  <a:pt x="0" y="36"/>
                  <a:pt x="2" y="42"/>
                  <a:pt x="5" y="47"/>
                </a:cubicBezTo>
                <a:cubicBezTo>
                  <a:pt x="11" y="56"/>
                  <a:pt x="21" y="62"/>
                  <a:pt x="31" y="62"/>
                </a:cubicBezTo>
                <a:cubicBezTo>
                  <a:pt x="37" y="62"/>
                  <a:pt x="43" y="60"/>
                  <a:pt x="48" y="57"/>
                </a:cubicBezTo>
                <a:lnTo>
                  <a:pt x="46" y="5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4">
            <a:extLst>
              <a:ext uri="{FF2B5EF4-FFF2-40B4-BE49-F238E27FC236}">
                <a16:creationId xmlns:a16="http://schemas.microsoft.com/office/drawing/2014/main" id="{EDC36781-34E7-474D-B3CD-70DCEB0EED60}"/>
              </a:ext>
            </a:extLst>
          </p:cNvPr>
          <p:cNvSpPr>
            <a:spLocks/>
          </p:cNvSpPr>
          <p:nvPr/>
        </p:nvSpPr>
        <p:spPr bwMode="auto">
          <a:xfrm>
            <a:off x="5492889" y="417700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6"/>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5">
            <a:extLst>
              <a:ext uri="{FF2B5EF4-FFF2-40B4-BE49-F238E27FC236}">
                <a16:creationId xmlns:a16="http://schemas.microsoft.com/office/drawing/2014/main" id="{8A62CAD5-7794-2F41-B072-154F3FEB7A31}"/>
              </a:ext>
            </a:extLst>
          </p:cNvPr>
          <p:cNvSpPr>
            <a:spLocks/>
          </p:cNvSpPr>
          <p:nvPr/>
        </p:nvSpPr>
        <p:spPr bwMode="auto">
          <a:xfrm>
            <a:off x="5490864" y="4177000"/>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3"/>
                  <a:pt x="35"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2"/>
                  <a:pt x="54" y="27"/>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1"/>
                  <a:pt x="0" y="21"/>
                  <a:pt x="0" y="31"/>
                </a:cubicBezTo>
                <a:cubicBezTo>
                  <a:pt x="0" y="36"/>
                  <a:pt x="2" y="42"/>
                  <a:pt x="5" y="47"/>
                </a:cubicBezTo>
                <a:cubicBezTo>
                  <a:pt x="11" y="57"/>
                  <a:pt x="21" y="62"/>
                  <a:pt x="31" y="62"/>
                </a:cubicBezTo>
                <a:cubicBezTo>
                  <a:pt x="37" y="62"/>
                  <a:pt x="43" y="60"/>
                  <a:pt x="48" y="57"/>
                </a:cubicBezTo>
                <a:lnTo>
                  <a:pt x="46" y="5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6">
            <a:extLst>
              <a:ext uri="{FF2B5EF4-FFF2-40B4-BE49-F238E27FC236}">
                <a16:creationId xmlns:a16="http://schemas.microsoft.com/office/drawing/2014/main" id="{B879D622-E3A3-4649-B70E-7E779C0E1A8F}"/>
              </a:ext>
            </a:extLst>
          </p:cNvPr>
          <p:cNvSpPr>
            <a:spLocks/>
          </p:cNvSpPr>
          <p:nvPr/>
        </p:nvSpPr>
        <p:spPr bwMode="auto">
          <a:xfrm>
            <a:off x="5903861" y="4339972"/>
            <a:ext cx="108310" cy="108310"/>
          </a:xfrm>
          <a:custGeom>
            <a:avLst/>
            <a:gdLst>
              <a:gd name="T0" fmla="*/ 33 w 45"/>
              <a:gd name="T1" fmla="*/ 39 h 45"/>
              <a:gd name="T2" fmla="*/ 6 w 45"/>
              <a:gd name="T3" fmla="*/ 33 h 45"/>
              <a:gd name="T4" fmla="*/ 12 w 45"/>
              <a:gd name="T5" fmla="*/ 6 h 45"/>
              <a:gd name="T6" fmla="*/ 39 w 45"/>
              <a:gd name="T7" fmla="*/ 12 h 45"/>
              <a:gd name="T8" fmla="*/ 33 w 45"/>
              <a:gd name="T9" fmla="*/ 39 h 45"/>
            </a:gdLst>
            <a:ahLst/>
            <a:cxnLst>
              <a:cxn ang="0">
                <a:pos x="T0" y="T1"/>
              </a:cxn>
              <a:cxn ang="0">
                <a:pos x="T2" y="T3"/>
              </a:cxn>
              <a:cxn ang="0">
                <a:pos x="T4" y="T5"/>
              </a:cxn>
              <a:cxn ang="0">
                <a:pos x="T6" y="T7"/>
              </a:cxn>
              <a:cxn ang="0">
                <a:pos x="T8" y="T9"/>
              </a:cxn>
            </a:cxnLst>
            <a:rect l="0" t="0" r="r" b="b"/>
            <a:pathLst>
              <a:path w="45" h="45">
                <a:moveTo>
                  <a:pt x="33" y="39"/>
                </a:moveTo>
                <a:cubicBezTo>
                  <a:pt x="24" y="45"/>
                  <a:pt x="12" y="42"/>
                  <a:pt x="6" y="33"/>
                </a:cubicBezTo>
                <a:cubicBezTo>
                  <a:pt x="0" y="24"/>
                  <a:pt x="3" y="11"/>
                  <a:pt x="12" y="6"/>
                </a:cubicBezTo>
                <a:cubicBezTo>
                  <a:pt x="21" y="0"/>
                  <a:pt x="33" y="3"/>
                  <a:pt x="39" y="12"/>
                </a:cubicBezTo>
                <a:cubicBezTo>
                  <a:pt x="45" y="21"/>
                  <a:pt x="42" y="33"/>
                  <a:pt x="33"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7">
            <a:extLst>
              <a:ext uri="{FF2B5EF4-FFF2-40B4-BE49-F238E27FC236}">
                <a16:creationId xmlns:a16="http://schemas.microsoft.com/office/drawing/2014/main" id="{0739FD08-5116-734B-AA79-29D0A130DA8B}"/>
              </a:ext>
            </a:extLst>
          </p:cNvPr>
          <p:cNvSpPr>
            <a:spLocks/>
          </p:cNvSpPr>
          <p:nvPr/>
        </p:nvSpPr>
        <p:spPr bwMode="auto">
          <a:xfrm>
            <a:off x="5900824" y="4337948"/>
            <a:ext cx="113372" cy="113372"/>
          </a:xfrm>
          <a:custGeom>
            <a:avLst/>
            <a:gdLst>
              <a:gd name="T0" fmla="*/ 34 w 47"/>
              <a:gd name="T1" fmla="*/ 40 h 47"/>
              <a:gd name="T2" fmla="*/ 32 w 47"/>
              <a:gd name="T3" fmla="*/ 37 h 47"/>
              <a:gd name="T4" fmla="*/ 23 w 47"/>
              <a:gd name="T5" fmla="*/ 39 h 47"/>
              <a:gd name="T6" fmla="*/ 10 w 47"/>
              <a:gd name="T7" fmla="*/ 32 h 47"/>
              <a:gd name="T8" fmla="*/ 8 w 47"/>
              <a:gd name="T9" fmla="*/ 23 h 47"/>
              <a:gd name="T10" fmla="*/ 15 w 47"/>
              <a:gd name="T11" fmla="*/ 10 h 47"/>
              <a:gd name="T12" fmla="*/ 23 w 47"/>
              <a:gd name="T13" fmla="*/ 8 h 47"/>
              <a:gd name="T14" fmla="*/ 37 w 47"/>
              <a:gd name="T15" fmla="*/ 15 h 47"/>
              <a:gd name="T16" fmla="*/ 39 w 47"/>
              <a:gd name="T17" fmla="*/ 23 h 47"/>
              <a:gd name="T18" fmla="*/ 32 w 47"/>
              <a:gd name="T19" fmla="*/ 37 h 47"/>
              <a:gd name="T20" fmla="*/ 34 w 47"/>
              <a:gd name="T21" fmla="*/ 40 h 47"/>
              <a:gd name="T22" fmla="*/ 36 w 47"/>
              <a:gd name="T23" fmla="*/ 43 h 47"/>
              <a:gd name="T24" fmla="*/ 47 w 47"/>
              <a:gd name="T25" fmla="*/ 23 h 47"/>
              <a:gd name="T26" fmla="*/ 43 w 47"/>
              <a:gd name="T27" fmla="*/ 11 h 47"/>
              <a:gd name="T28" fmla="*/ 23 w 47"/>
              <a:gd name="T29" fmla="*/ 0 h 47"/>
              <a:gd name="T30" fmla="*/ 11 w 47"/>
              <a:gd name="T31" fmla="*/ 3 h 47"/>
              <a:gd name="T32" fmla="*/ 0 w 47"/>
              <a:gd name="T33" fmla="*/ 23 h 47"/>
              <a:gd name="T34" fmla="*/ 3 w 47"/>
              <a:gd name="T35" fmla="*/ 36 h 47"/>
              <a:gd name="T36" fmla="*/ 23 w 47"/>
              <a:gd name="T37" fmla="*/ 47 h 47"/>
              <a:gd name="T38" fmla="*/ 36 w 47"/>
              <a:gd name="T39" fmla="*/ 43 h 47"/>
              <a:gd name="T40" fmla="*/ 34 w 47"/>
              <a:gd name="T41"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47">
                <a:moveTo>
                  <a:pt x="34" y="40"/>
                </a:moveTo>
                <a:cubicBezTo>
                  <a:pt x="32" y="37"/>
                  <a:pt x="32" y="37"/>
                  <a:pt x="32" y="37"/>
                </a:cubicBezTo>
                <a:cubicBezTo>
                  <a:pt x="29" y="38"/>
                  <a:pt x="26" y="39"/>
                  <a:pt x="23" y="39"/>
                </a:cubicBezTo>
                <a:cubicBezTo>
                  <a:pt x="18" y="39"/>
                  <a:pt x="13" y="36"/>
                  <a:pt x="10" y="32"/>
                </a:cubicBezTo>
                <a:cubicBezTo>
                  <a:pt x="8" y="29"/>
                  <a:pt x="8" y="26"/>
                  <a:pt x="8" y="23"/>
                </a:cubicBezTo>
                <a:cubicBezTo>
                  <a:pt x="8" y="18"/>
                  <a:pt x="10" y="13"/>
                  <a:pt x="15" y="10"/>
                </a:cubicBezTo>
                <a:cubicBezTo>
                  <a:pt x="18" y="8"/>
                  <a:pt x="20" y="8"/>
                  <a:pt x="23" y="8"/>
                </a:cubicBezTo>
                <a:cubicBezTo>
                  <a:pt x="29" y="8"/>
                  <a:pt x="34" y="10"/>
                  <a:pt x="37" y="15"/>
                </a:cubicBezTo>
                <a:cubicBezTo>
                  <a:pt x="38" y="17"/>
                  <a:pt x="39" y="20"/>
                  <a:pt x="39" y="23"/>
                </a:cubicBezTo>
                <a:cubicBezTo>
                  <a:pt x="39" y="28"/>
                  <a:pt x="37" y="34"/>
                  <a:pt x="32" y="37"/>
                </a:cubicBezTo>
                <a:cubicBezTo>
                  <a:pt x="34" y="40"/>
                  <a:pt x="34" y="40"/>
                  <a:pt x="34" y="40"/>
                </a:cubicBezTo>
                <a:cubicBezTo>
                  <a:pt x="36" y="43"/>
                  <a:pt x="36" y="43"/>
                  <a:pt x="36" y="43"/>
                </a:cubicBezTo>
                <a:cubicBezTo>
                  <a:pt x="43" y="39"/>
                  <a:pt x="47" y="31"/>
                  <a:pt x="47" y="23"/>
                </a:cubicBezTo>
                <a:cubicBezTo>
                  <a:pt x="47" y="19"/>
                  <a:pt x="46" y="14"/>
                  <a:pt x="43" y="11"/>
                </a:cubicBezTo>
                <a:cubicBezTo>
                  <a:pt x="39" y="3"/>
                  <a:pt x="31" y="0"/>
                  <a:pt x="23" y="0"/>
                </a:cubicBezTo>
                <a:cubicBezTo>
                  <a:pt x="19" y="0"/>
                  <a:pt x="15" y="1"/>
                  <a:pt x="11" y="3"/>
                </a:cubicBezTo>
                <a:cubicBezTo>
                  <a:pt x="4" y="8"/>
                  <a:pt x="0" y="15"/>
                  <a:pt x="0" y="23"/>
                </a:cubicBezTo>
                <a:cubicBezTo>
                  <a:pt x="0" y="28"/>
                  <a:pt x="1" y="32"/>
                  <a:pt x="3" y="36"/>
                </a:cubicBezTo>
                <a:cubicBezTo>
                  <a:pt x="8" y="43"/>
                  <a:pt x="16" y="47"/>
                  <a:pt x="23" y="47"/>
                </a:cubicBezTo>
                <a:cubicBezTo>
                  <a:pt x="28" y="47"/>
                  <a:pt x="32" y="46"/>
                  <a:pt x="36" y="43"/>
                </a:cubicBezTo>
                <a:lnTo>
                  <a:pt x="34" y="40"/>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8">
            <a:extLst>
              <a:ext uri="{FF2B5EF4-FFF2-40B4-BE49-F238E27FC236}">
                <a16:creationId xmlns:a16="http://schemas.microsoft.com/office/drawing/2014/main" id="{A7CD5FF2-F334-B94E-AF6D-00D9440920C8}"/>
              </a:ext>
            </a:extLst>
          </p:cNvPr>
          <p:cNvSpPr>
            <a:spLocks/>
          </p:cNvSpPr>
          <p:nvPr/>
        </p:nvSpPr>
        <p:spPr bwMode="auto">
          <a:xfrm>
            <a:off x="3751826" y="3470453"/>
            <a:ext cx="148800" cy="146776"/>
          </a:xfrm>
          <a:custGeom>
            <a:avLst/>
            <a:gdLst>
              <a:gd name="T0" fmla="*/ 45 w 62"/>
              <a:gd name="T1" fmla="*/ 53 h 61"/>
              <a:gd name="T2" fmla="*/ 8 w 62"/>
              <a:gd name="T3" fmla="*/ 45 h 61"/>
              <a:gd name="T4" fmla="*/ 17 w 62"/>
              <a:gd name="T5" fmla="*/ 8 h 61"/>
              <a:gd name="T6" fmla="*/ 54 w 62"/>
              <a:gd name="T7" fmla="*/ 16 h 61"/>
              <a:gd name="T8" fmla="*/ 45 w 62"/>
              <a:gd name="T9" fmla="*/ 53 h 61"/>
            </a:gdLst>
            <a:ahLst/>
            <a:cxnLst>
              <a:cxn ang="0">
                <a:pos x="T0" y="T1"/>
              </a:cxn>
              <a:cxn ang="0">
                <a:pos x="T2" y="T3"/>
              </a:cxn>
              <a:cxn ang="0">
                <a:pos x="T4" y="T5"/>
              </a:cxn>
              <a:cxn ang="0">
                <a:pos x="T6" y="T7"/>
              </a:cxn>
              <a:cxn ang="0">
                <a:pos x="T8" y="T9"/>
              </a:cxn>
            </a:cxnLst>
            <a:rect l="0" t="0" r="r" b="b"/>
            <a:pathLst>
              <a:path w="62" h="61">
                <a:moveTo>
                  <a:pt x="45" y="53"/>
                </a:moveTo>
                <a:cubicBezTo>
                  <a:pt x="33" y="61"/>
                  <a:pt x="16" y="57"/>
                  <a:pt x="8" y="45"/>
                </a:cubicBezTo>
                <a:cubicBezTo>
                  <a:pt x="0" y="32"/>
                  <a:pt x="4" y="16"/>
                  <a:pt x="17" y="8"/>
                </a:cubicBezTo>
                <a:cubicBezTo>
                  <a:pt x="29" y="0"/>
                  <a:pt x="46" y="3"/>
                  <a:pt x="54" y="16"/>
                </a:cubicBezTo>
                <a:cubicBezTo>
                  <a:pt x="62" y="28"/>
                  <a:pt x="58" y="45"/>
                  <a:pt x="45" y="5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69">
            <a:extLst>
              <a:ext uri="{FF2B5EF4-FFF2-40B4-BE49-F238E27FC236}">
                <a16:creationId xmlns:a16="http://schemas.microsoft.com/office/drawing/2014/main" id="{863EF23F-671D-8B40-8BD9-AB984D2DFF75}"/>
              </a:ext>
            </a:extLst>
          </p:cNvPr>
          <p:cNvSpPr>
            <a:spLocks/>
          </p:cNvSpPr>
          <p:nvPr/>
        </p:nvSpPr>
        <p:spPr bwMode="auto">
          <a:xfrm>
            <a:off x="3751826" y="3468428"/>
            <a:ext cx="148800" cy="148800"/>
          </a:xfrm>
          <a:custGeom>
            <a:avLst/>
            <a:gdLst>
              <a:gd name="T0" fmla="*/ 45 w 62"/>
              <a:gd name="T1" fmla="*/ 54 h 62"/>
              <a:gd name="T2" fmla="*/ 43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1 h 62"/>
              <a:gd name="T20" fmla="*/ 45 w 62"/>
              <a:gd name="T21" fmla="*/ 54 h 62"/>
              <a:gd name="T22" fmla="*/ 48 w 62"/>
              <a:gd name="T23" fmla="*/ 57 h 62"/>
              <a:gd name="T24" fmla="*/ 62 w 62"/>
              <a:gd name="T25" fmla="*/ 31 h 62"/>
              <a:gd name="T26" fmla="*/ 57 w 62"/>
              <a:gd name="T27" fmla="*/ 15 h 62"/>
              <a:gd name="T28" fmla="*/ 31 w 62"/>
              <a:gd name="T29" fmla="*/ 0 h 62"/>
              <a:gd name="T30" fmla="*/ 14 w 62"/>
              <a:gd name="T31" fmla="*/ 5 h 62"/>
              <a:gd name="T32" fmla="*/ 0 w 62"/>
              <a:gd name="T33" fmla="*/ 31 h 62"/>
              <a:gd name="T34" fmla="*/ 5 w 62"/>
              <a:gd name="T35" fmla="*/ 48 h 62"/>
              <a:gd name="T36" fmla="*/ 31 w 62"/>
              <a:gd name="T37" fmla="*/ 62 h 62"/>
              <a:gd name="T38" fmla="*/ 48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1"/>
                  <a:pt x="43" y="51"/>
                  <a:pt x="43" y="51"/>
                </a:cubicBezTo>
                <a:cubicBezTo>
                  <a:pt x="39" y="53"/>
                  <a:pt x="35" y="54"/>
                  <a:pt x="31" y="54"/>
                </a:cubicBezTo>
                <a:cubicBezTo>
                  <a:pt x="23" y="54"/>
                  <a:pt x="16" y="50"/>
                  <a:pt x="12" y="44"/>
                </a:cubicBezTo>
                <a:cubicBezTo>
                  <a:pt x="9" y="40"/>
                  <a:pt x="8" y="35"/>
                  <a:pt x="8" y="31"/>
                </a:cubicBezTo>
                <a:cubicBezTo>
                  <a:pt x="8" y="24"/>
                  <a:pt x="12" y="16"/>
                  <a:pt x="19" y="12"/>
                </a:cubicBezTo>
                <a:cubicBezTo>
                  <a:pt x="23" y="10"/>
                  <a:pt x="27" y="8"/>
                  <a:pt x="31" y="8"/>
                </a:cubicBezTo>
                <a:cubicBezTo>
                  <a:pt x="39" y="8"/>
                  <a:pt x="46" y="12"/>
                  <a:pt x="50" y="19"/>
                </a:cubicBezTo>
                <a:cubicBezTo>
                  <a:pt x="53" y="23"/>
                  <a:pt x="54" y="27"/>
                  <a:pt x="54" y="31"/>
                </a:cubicBezTo>
                <a:cubicBezTo>
                  <a:pt x="54" y="39"/>
                  <a:pt x="50" y="46"/>
                  <a:pt x="43" y="51"/>
                </a:cubicBezTo>
                <a:cubicBezTo>
                  <a:pt x="45" y="54"/>
                  <a:pt x="45" y="54"/>
                  <a:pt x="45" y="54"/>
                </a:cubicBezTo>
                <a:cubicBezTo>
                  <a:pt x="48" y="57"/>
                  <a:pt x="48" y="57"/>
                  <a:pt x="48" y="57"/>
                </a:cubicBezTo>
                <a:cubicBezTo>
                  <a:pt x="57" y="51"/>
                  <a:pt x="62" y="41"/>
                  <a:pt x="62" y="31"/>
                </a:cubicBezTo>
                <a:cubicBezTo>
                  <a:pt x="62" y="26"/>
                  <a:pt x="60" y="20"/>
                  <a:pt x="57" y="15"/>
                </a:cubicBezTo>
                <a:cubicBezTo>
                  <a:pt x="51" y="5"/>
                  <a:pt x="41" y="0"/>
                  <a:pt x="31" y="0"/>
                </a:cubicBezTo>
                <a:cubicBezTo>
                  <a:pt x="25" y="0"/>
                  <a:pt x="20" y="2"/>
                  <a:pt x="14" y="5"/>
                </a:cubicBezTo>
                <a:cubicBezTo>
                  <a:pt x="5" y="11"/>
                  <a:pt x="0" y="21"/>
                  <a:pt x="0" y="31"/>
                </a:cubicBezTo>
                <a:cubicBezTo>
                  <a:pt x="0" y="37"/>
                  <a:pt x="2" y="43"/>
                  <a:pt x="5" y="48"/>
                </a:cubicBezTo>
                <a:cubicBezTo>
                  <a:pt x="11" y="57"/>
                  <a:pt x="21" y="62"/>
                  <a:pt x="31" y="62"/>
                </a:cubicBezTo>
                <a:cubicBezTo>
                  <a:pt x="37" y="62"/>
                  <a:pt x="42" y="61"/>
                  <a:pt x="48" y="57"/>
                </a:cubicBezTo>
                <a:lnTo>
                  <a:pt x="45"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0">
            <a:extLst>
              <a:ext uri="{FF2B5EF4-FFF2-40B4-BE49-F238E27FC236}">
                <a16:creationId xmlns:a16="http://schemas.microsoft.com/office/drawing/2014/main" id="{06904866-C456-4B45-B32C-7D8110C25020}"/>
              </a:ext>
            </a:extLst>
          </p:cNvPr>
          <p:cNvSpPr>
            <a:spLocks/>
          </p:cNvSpPr>
          <p:nvPr/>
        </p:nvSpPr>
        <p:spPr bwMode="auto">
          <a:xfrm>
            <a:off x="4392577" y="2437962"/>
            <a:ext cx="146776" cy="145763"/>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71">
            <a:extLst>
              <a:ext uri="{FF2B5EF4-FFF2-40B4-BE49-F238E27FC236}">
                <a16:creationId xmlns:a16="http://schemas.microsoft.com/office/drawing/2014/main" id="{90E6C5DA-BB37-6147-9C13-B55D7C27ABE7}"/>
              </a:ext>
            </a:extLst>
          </p:cNvPr>
          <p:cNvSpPr>
            <a:spLocks/>
          </p:cNvSpPr>
          <p:nvPr/>
        </p:nvSpPr>
        <p:spPr bwMode="auto">
          <a:xfrm>
            <a:off x="4392577" y="2437962"/>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1"/>
                  <a:pt x="14" y="5"/>
                </a:cubicBezTo>
                <a:cubicBezTo>
                  <a:pt x="5" y="11"/>
                  <a:pt x="0" y="21"/>
                  <a:pt x="0" y="31"/>
                </a:cubicBezTo>
                <a:cubicBezTo>
                  <a:pt x="0" y="36"/>
                  <a:pt x="1" y="42"/>
                  <a:pt x="4" y="47"/>
                </a:cubicBezTo>
                <a:cubicBezTo>
                  <a:pt x="10" y="57"/>
                  <a:pt x="20" y="62"/>
                  <a:pt x="30" y="62"/>
                </a:cubicBezTo>
                <a:cubicBezTo>
                  <a:pt x="36" y="62"/>
                  <a:pt x="42" y="60"/>
                  <a:pt x="47" y="57"/>
                </a:cubicBezTo>
                <a:lnTo>
                  <a:pt x="45"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2">
            <a:extLst>
              <a:ext uri="{FF2B5EF4-FFF2-40B4-BE49-F238E27FC236}">
                <a16:creationId xmlns:a16="http://schemas.microsoft.com/office/drawing/2014/main" id="{DB254F0F-4384-6B4B-9709-21B0B0B19D6E}"/>
              </a:ext>
            </a:extLst>
          </p:cNvPr>
          <p:cNvSpPr>
            <a:spLocks/>
          </p:cNvSpPr>
          <p:nvPr/>
        </p:nvSpPr>
        <p:spPr bwMode="auto">
          <a:xfrm>
            <a:off x="4854162" y="4171939"/>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73">
            <a:extLst>
              <a:ext uri="{FF2B5EF4-FFF2-40B4-BE49-F238E27FC236}">
                <a16:creationId xmlns:a16="http://schemas.microsoft.com/office/drawing/2014/main" id="{2290569E-A963-F14A-9E6B-656AA31BC3E1}"/>
              </a:ext>
            </a:extLst>
          </p:cNvPr>
          <p:cNvSpPr>
            <a:spLocks/>
          </p:cNvSpPr>
          <p:nvPr/>
        </p:nvSpPr>
        <p:spPr bwMode="auto">
          <a:xfrm>
            <a:off x="4854162" y="4171939"/>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2"/>
                  <a:pt x="14" y="5"/>
                </a:cubicBezTo>
                <a:cubicBezTo>
                  <a:pt x="5" y="11"/>
                  <a:pt x="0" y="21"/>
                  <a:pt x="0" y="31"/>
                </a:cubicBezTo>
                <a:cubicBezTo>
                  <a:pt x="0" y="37"/>
                  <a:pt x="1" y="42"/>
                  <a:pt x="4" y="47"/>
                </a:cubicBezTo>
                <a:cubicBezTo>
                  <a:pt x="10" y="57"/>
                  <a:pt x="20" y="62"/>
                  <a:pt x="30" y="62"/>
                </a:cubicBezTo>
                <a:cubicBezTo>
                  <a:pt x="36" y="62"/>
                  <a:pt x="42" y="60"/>
                  <a:pt x="47" y="57"/>
                </a:cubicBezTo>
                <a:cubicBezTo>
                  <a:pt x="45" y="53"/>
                  <a:pt x="45" y="53"/>
                  <a:pt x="45" y="53"/>
                </a:cubicBezTo>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4">
            <a:extLst>
              <a:ext uri="{FF2B5EF4-FFF2-40B4-BE49-F238E27FC236}">
                <a16:creationId xmlns:a16="http://schemas.microsoft.com/office/drawing/2014/main" id="{6130B7BA-EA0A-6248-A377-14052AB2CE0A}"/>
              </a:ext>
            </a:extLst>
          </p:cNvPr>
          <p:cNvSpPr>
            <a:spLocks/>
          </p:cNvSpPr>
          <p:nvPr/>
        </p:nvSpPr>
        <p:spPr bwMode="auto">
          <a:xfrm>
            <a:off x="4854162" y="4162829"/>
            <a:ext cx="127543" cy="69845"/>
          </a:xfrm>
          <a:custGeom>
            <a:avLst/>
            <a:gdLst>
              <a:gd name="T0" fmla="*/ 29 w 53"/>
              <a:gd name="T1" fmla="*/ 0 h 29"/>
              <a:gd name="T2" fmla="*/ 0 w 53"/>
              <a:gd name="T3" fmla="*/ 29 h 29"/>
              <a:gd name="T4" fmla="*/ 14 w 53"/>
              <a:gd name="T5" fmla="*/ 9 h 29"/>
              <a:gd name="T6" fmla="*/ 30 w 53"/>
              <a:gd name="T7" fmla="*/ 4 h 29"/>
              <a:gd name="T8" fmla="*/ 30 w 53"/>
              <a:gd name="T9" fmla="*/ 4 h 29"/>
              <a:gd name="T10" fmla="*/ 53 w 53"/>
              <a:gd name="T11" fmla="*/ 14 h 29"/>
              <a:gd name="T12" fmla="*/ 29 w 53"/>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53" h="29">
                <a:moveTo>
                  <a:pt x="29" y="0"/>
                </a:moveTo>
                <a:cubicBezTo>
                  <a:pt x="13" y="0"/>
                  <a:pt x="0" y="13"/>
                  <a:pt x="0" y="29"/>
                </a:cubicBezTo>
                <a:cubicBezTo>
                  <a:pt x="2" y="21"/>
                  <a:pt x="6" y="14"/>
                  <a:pt x="14" y="9"/>
                </a:cubicBezTo>
                <a:cubicBezTo>
                  <a:pt x="19" y="6"/>
                  <a:pt x="25" y="4"/>
                  <a:pt x="30" y="4"/>
                </a:cubicBezTo>
                <a:cubicBezTo>
                  <a:pt x="30" y="4"/>
                  <a:pt x="30" y="4"/>
                  <a:pt x="30" y="4"/>
                </a:cubicBezTo>
                <a:cubicBezTo>
                  <a:pt x="39" y="4"/>
                  <a:pt x="47" y="7"/>
                  <a:pt x="53" y="14"/>
                </a:cubicBezTo>
                <a:cubicBezTo>
                  <a:pt x="48" y="6"/>
                  <a:pt x="39" y="0"/>
                  <a:pt x="29" y="0"/>
                </a:cubicBezTo>
              </a:path>
            </a:pathLst>
          </a:custGeom>
          <a:solidFill>
            <a:srgbClr val="87B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75">
            <a:extLst>
              <a:ext uri="{FF2B5EF4-FFF2-40B4-BE49-F238E27FC236}">
                <a16:creationId xmlns:a16="http://schemas.microsoft.com/office/drawing/2014/main" id="{44DB9E77-B7F5-5140-86BC-0F0CE49ACAA2}"/>
              </a:ext>
            </a:extLst>
          </p:cNvPr>
          <p:cNvSpPr>
            <a:spLocks noEditPoints="1"/>
          </p:cNvSpPr>
          <p:nvPr/>
        </p:nvSpPr>
        <p:spPr bwMode="auto">
          <a:xfrm>
            <a:off x="4873394" y="4191172"/>
            <a:ext cx="108310" cy="110335"/>
          </a:xfrm>
          <a:custGeom>
            <a:avLst/>
            <a:gdLst>
              <a:gd name="T0" fmla="*/ 21 w 45"/>
              <a:gd name="T1" fmla="*/ 34 h 46"/>
              <a:gd name="T2" fmla="*/ 4 w 45"/>
              <a:gd name="T3" fmla="*/ 17 h 46"/>
              <a:gd name="T4" fmla="*/ 21 w 45"/>
              <a:gd name="T5" fmla="*/ 0 h 46"/>
              <a:gd name="T6" fmla="*/ 38 w 45"/>
              <a:gd name="T7" fmla="*/ 17 h 46"/>
              <a:gd name="T8" fmla="*/ 21 w 45"/>
              <a:gd name="T9" fmla="*/ 34 h 46"/>
              <a:gd name="T10" fmla="*/ 22 w 45"/>
              <a:gd name="T11" fmla="*/ 0 h 46"/>
              <a:gd name="T12" fmla="*/ 10 w 45"/>
              <a:gd name="T13" fmla="*/ 4 h 46"/>
              <a:gd name="T14" fmla="*/ 0 w 45"/>
              <a:gd name="T15" fmla="*/ 23 h 46"/>
              <a:gd name="T16" fmla="*/ 3 w 45"/>
              <a:gd name="T17" fmla="*/ 35 h 46"/>
              <a:gd name="T18" fmla="*/ 22 w 45"/>
              <a:gd name="T19" fmla="*/ 46 h 46"/>
              <a:gd name="T20" fmla="*/ 25 w 45"/>
              <a:gd name="T21" fmla="*/ 46 h 46"/>
              <a:gd name="T22" fmla="*/ 32 w 45"/>
              <a:gd name="T23" fmla="*/ 43 h 46"/>
              <a:gd name="T24" fmla="*/ 35 w 45"/>
              <a:gd name="T25" fmla="*/ 42 h 46"/>
              <a:gd name="T26" fmla="*/ 35 w 45"/>
              <a:gd name="T27" fmla="*/ 42 h 46"/>
              <a:gd name="T28" fmla="*/ 45 w 45"/>
              <a:gd name="T29" fmla="*/ 23 h 46"/>
              <a:gd name="T30" fmla="*/ 42 w 45"/>
              <a:gd name="T31" fmla="*/ 11 h 46"/>
              <a:gd name="T32" fmla="*/ 22 w 45"/>
              <a:gd name="T3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46">
                <a:moveTo>
                  <a:pt x="21" y="34"/>
                </a:moveTo>
                <a:cubicBezTo>
                  <a:pt x="12" y="34"/>
                  <a:pt x="4" y="26"/>
                  <a:pt x="4" y="17"/>
                </a:cubicBezTo>
                <a:cubicBezTo>
                  <a:pt x="4" y="8"/>
                  <a:pt x="12" y="0"/>
                  <a:pt x="21" y="0"/>
                </a:cubicBezTo>
                <a:cubicBezTo>
                  <a:pt x="30" y="0"/>
                  <a:pt x="38" y="8"/>
                  <a:pt x="38" y="17"/>
                </a:cubicBezTo>
                <a:cubicBezTo>
                  <a:pt x="38" y="26"/>
                  <a:pt x="30" y="34"/>
                  <a:pt x="21" y="34"/>
                </a:cubicBezTo>
                <a:moveTo>
                  <a:pt x="22" y="0"/>
                </a:moveTo>
                <a:cubicBezTo>
                  <a:pt x="18" y="0"/>
                  <a:pt x="14" y="1"/>
                  <a:pt x="10" y="4"/>
                </a:cubicBezTo>
                <a:cubicBezTo>
                  <a:pt x="3" y="8"/>
                  <a:pt x="0" y="15"/>
                  <a:pt x="0" y="23"/>
                </a:cubicBezTo>
                <a:cubicBezTo>
                  <a:pt x="0" y="27"/>
                  <a:pt x="1" y="31"/>
                  <a:pt x="3" y="35"/>
                </a:cubicBezTo>
                <a:cubicBezTo>
                  <a:pt x="8" y="42"/>
                  <a:pt x="15" y="46"/>
                  <a:pt x="22" y="46"/>
                </a:cubicBezTo>
                <a:cubicBezTo>
                  <a:pt x="23" y="46"/>
                  <a:pt x="24" y="46"/>
                  <a:pt x="25" y="46"/>
                </a:cubicBezTo>
                <a:cubicBezTo>
                  <a:pt x="27" y="45"/>
                  <a:pt x="30" y="44"/>
                  <a:pt x="32" y="43"/>
                </a:cubicBezTo>
                <a:cubicBezTo>
                  <a:pt x="33" y="43"/>
                  <a:pt x="34" y="43"/>
                  <a:pt x="35" y="42"/>
                </a:cubicBezTo>
                <a:cubicBezTo>
                  <a:pt x="35" y="42"/>
                  <a:pt x="35" y="42"/>
                  <a:pt x="35" y="42"/>
                </a:cubicBezTo>
                <a:cubicBezTo>
                  <a:pt x="42" y="38"/>
                  <a:pt x="45" y="30"/>
                  <a:pt x="45" y="23"/>
                </a:cubicBezTo>
                <a:cubicBezTo>
                  <a:pt x="45" y="19"/>
                  <a:pt x="44" y="14"/>
                  <a:pt x="42" y="11"/>
                </a:cubicBezTo>
                <a:cubicBezTo>
                  <a:pt x="37" y="4"/>
                  <a:pt x="30" y="0"/>
                  <a:pt x="22" y="0"/>
                </a:cubicBezTo>
              </a:path>
            </a:pathLst>
          </a:custGeom>
          <a:solidFill>
            <a:srgbClr val="86BF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6">
            <a:extLst>
              <a:ext uri="{FF2B5EF4-FFF2-40B4-BE49-F238E27FC236}">
                <a16:creationId xmlns:a16="http://schemas.microsoft.com/office/drawing/2014/main" id="{4A8AE15C-1345-FF45-AEF4-2A663D09FF01}"/>
              </a:ext>
            </a:extLst>
          </p:cNvPr>
          <p:cNvSpPr>
            <a:spLocks/>
          </p:cNvSpPr>
          <p:nvPr/>
        </p:nvSpPr>
        <p:spPr bwMode="auto">
          <a:xfrm>
            <a:off x="4854162" y="4171939"/>
            <a:ext cx="138678" cy="129567"/>
          </a:xfrm>
          <a:custGeom>
            <a:avLst/>
            <a:gdLst>
              <a:gd name="T0" fmla="*/ 30 w 58"/>
              <a:gd name="T1" fmla="*/ 0 h 54"/>
              <a:gd name="T2" fmla="*/ 30 w 58"/>
              <a:gd name="T3" fmla="*/ 0 h 54"/>
              <a:gd name="T4" fmla="*/ 14 w 58"/>
              <a:gd name="T5" fmla="*/ 5 h 54"/>
              <a:gd name="T6" fmla="*/ 0 w 58"/>
              <a:gd name="T7" fmla="*/ 25 h 54"/>
              <a:gd name="T8" fmla="*/ 0 w 58"/>
              <a:gd name="T9" fmla="*/ 25 h 54"/>
              <a:gd name="T10" fmla="*/ 29 w 58"/>
              <a:gd name="T11" fmla="*/ 54 h 54"/>
              <a:gd name="T12" fmla="*/ 33 w 58"/>
              <a:gd name="T13" fmla="*/ 54 h 54"/>
              <a:gd name="T14" fmla="*/ 30 w 58"/>
              <a:gd name="T15" fmla="*/ 54 h 54"/>
              <a:gd name="T16" fmla="*/ 11 w 58"/>
              <a:gd name="T17" fmla="*/ 43 h 54"/>
              <a:gd name="T18" fmla="*/ 8 w 58"/>
              <a:gd name="T19" fmla="*/ 31 h 54"/>
              <a:gd name="T20" fmla="*/ 18 w 58"/>
              <a:gd name="T21" fmla="*/ 12 h 54"/>
              <a:gd name="T22" fmla="*/ 30 w 58"/>
              <a:gd name="T23" fmla="*/ 8 h 54"/>
              <a:gd name="T24" fmla="*/ 50 w 58"/>
              <a:gd name="T25" fmla="*/ 19 h 54"/>
              <a:gd name="T26" fmla="*/ 53 w 58"/>
              <a:gd name="T27" fmla="*/ 31 h 54"/>
              <a:gd name="T28" fmla="*/ 43 w 58"/>
              <a:gd name="T29" fmla="*/ 50 h 54"/>
              <a:gd name="T30" fmla="*/ 43 w 58"/>
              <a:gd name="T31" fmla="*/ 50 h 54"/>
              <a:gd name="T32" fmla="*/ 40 w 58"/>
              <a:gd name="T33" fmla="*/ 51 h 54"/>
              <a:gd name="T34" fmla="*/ 58 w 58"/>
              <a:gd name="T35" fmla="*/ 25 h 54"/>
              <a:gd name="T36" fmla="*/ 53 w 58"/>
              <a:gd name="T37" fmla="*/ 10 h 54"/>
              <a:gd name="T38" fmla="*/ 30 w 58"/>
              <a:gd name="T3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4">
                <a:moveTo>
                  <a:pt x="30" y="0"/>
                </a:moveTo>
                <a:cubicBezTo>
                  <a:pt x="30" y="0"/>
                  <a:pt x="30" y="0"/>
                  <a:pt x="30" y="0"/>
                </a:cubicBezTo>
                <a:cubicBezTo>
                  <a:pt x="25" y="0"/>
                  <a:pt x="19" y="2"/>
                  <a:pt x="14" y="5"/>
                </a:cubicBezTo>
                <a:cubicBezTo>
                  <a:pt x="6" y="10"/>
                  <a:pt x="2" y="17"/>
                  <a:pt x="0" y="25"/>
                </a:cubicBezTo>
                <a:cubicBezTo>
                  <a:pt x="0" y="25"/>
                  <a:pt x="0" y="25"/>
                  <a:pt x="0" y="25"/>
                </a:cubicBezTo>
                <a:cubicBezTo>
                  <a:pt x="0" y="41"/>
                  <a:pt x="13" y="54"/>
                  <a:pt x="29" y="54"/>
                </a:cubicBezTo>
                <a:cubicBezTo>
                  <a:pt x="30" y="54"/>
                  <a:pt x="31" y="54"/>
                  <a:pt x="33" y="54"/>
                </a:cubicBezTo>
                <a:cubicBezTo>
                  <a:pt x="32" y="54"/>
                  <a:pt x="31"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3" y="50"/>
                  <a:pt x="43" y="50"/>
                  <a:pt x="43" y="50"/>
                </a:cubicBezTo>
                <a:cubicBezTo>
                  <a:pt x="42" y="51"/>
                  <a:pt x="41" y="51"/>
                  <a:pt x="40" y="51"/>
                </a:cubicBezTo>
                <a:cubicBezTo>
                  <a:pt x="50" y="47"/>
                  <a:pt x="58" y="37"/>
                  <a:pt x="58" y="25"/>
                </a:cubicBezTo>
                <a:cubicBezTo>
                  <a:pt x="58" y="20"/>
                  <a:pt x="56" y="14"/>
                  <a:pt x="53" y="10"/>
                </a:cubicBezTo>
                <a:cubicBezTo>
                  <a:pt x="47" y="3"/>
                  <a:pt x="39" y="0"/>
                  <a:pt x="30" y="0"/>
                </a:cubicBezTo>
              </a:path>
            </a:pathLst>
          </a:custGeom>
          <a:solidFill>
            <a:srgbClr val="6CAB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7">
            <a:extLst>
              <a:ext uri="{FF2B5EF4-FFF2-40B4-BE49-F238E27FC236}">
                <a16:creationId xmlns:a16="http://schemas.microsoft.com/office/drawing/2014/main" id="{03709817-C919-1449-9D48-7EDB69228369}"/>
              </a:ext>
            </a:extLst>
          </p:cNvPr>
          <p:cNvSpPr>
            <a:spLocks noEditPoints="1"/>
          </p:cNvSpPr>
          <p:nvPr/>
        </p:nvSpPr>
        <p:spPr bwMode="auto">
          <a:xfrm>
            <a:off x="4796464" y="4105131"/>
            <a:ext cx="254074" cy="254074"/>
          </a:xfrm>
          <a:custGeom>
            <a:avLst/>
            <a:gdLst>
              <a:gd name="T0" fmla="*/ 53 w 106"/>
              <a:gd name="T1" fmla="*/ 97 h 106"/>
              <a:gd name="T2" fmla="*/ 9 w 106"/>
              <a:gd name="T3" fmla="*/ 53 h 106"/>
              <a:gd name="T4" fmla="*/ 53 w 106"/>
              <a:gd name="T5" fmla="*/ 10 h 106"/>
              <a:gd name="T6" fmla="*/ 96 w 106"/>
              <a:gd name="T7" fmla="*/ 53 h 106"/>
              <a:gd name="T8" fmla="*/ 53 w 106"/>
              <a:gd name="T9" fmla="*/ 97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97"/>
                </a:moveTo>
                <a:cubicBezTo>
                  <a:pt x="29" y="97"/>
                  <a:pt x="9" y="77"/>
                  <a:pt x="9" y="53"/>
                </a:cubicBezTo>
                <a:cubicBezTo>
                  <a:pt x="9" y="29"/>
                  <a:pt x="29" y="10"/>
                  <a:pt x="53" y="10"/>
                </a:cubicBezTo>
                <a:cubicBezTo>
                  <a:pt x="77" y="10"/>
                  <a:pt x="96" y="29"/>
                  <a:pt x="96" y="53"/>
                </a:cubicBezTo>
                <a:cubicBezTo>
                  <a:pt x="96" y="77"/>
                  <a:pt x="77" y="97"/>
                  <a:pt x="53" y="97"/>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path>
            </a:pathLst>
          </a:custGeom>
          <a:solidFill>
            <a:srgbClr val="90C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8">
            <a:extLst>
              <a:ext uri="{FF2B5EF4-FFF2-40B4-BE49-F238E27FC236}">
                <a16:creationId xmlns:a16="http://schemas.microsoft.com/office/drawing/2014/main" id="{128F66C1-5A0C-0742-9FD7-B83CC7502DF1}"/>
              </a:ext>
            </a:extLst>
          </p:cNvPr>
          <p:cNvSpPr>
            <a:spLocks noEditPoints="1"/>
          </p:cNvSpPr>
          <p:nvPr/>
        </p:nvSpPr>
        <p:spPr bwMode="auto">
          <a:xfrm>
            <a:off x="4747876" y="4059580"/>
            <a:ext cx="349225" cy="348213"/>
          </a:xfrm>
          <a:custGeom>
            <a:avLst/>
            <a:gdLst>
              <a:gd name="T0" fmla="*/ 73 w 145"/>
              <a:gd name="T1" fmla="*/ 138 h 145"/>
              <a:gd name="T2" fmla="*/ 7 w 145"/>
              <a:gd name="T3" fmla="*/ 74 h 145"/>
              <a:gd name="T4" fmla="*/ 7 w 145"/>
              <a:gd name="T5" fmla="*/ 72 h 145"/>
              <a:gd name="T6" fmla="*/ 73 w 145"/>
              <a:gd name="T7" fmla="*/ 6 h 145"/>
              <a:gd name="T8" fmla="*/ 139 w 145"/>
              <a:gd name="T9" fmla="*/ 72 h 145"/>
              <a:gd name="T10" fmla="*/ 73 w 145"/>
              <a:gd name="T11" fmla="*/ 138 h 145"/>
              <a:gd name="T12" fmla="*/ 73 w 145"/>
              <a:gd name="T13" fmla="*/ 0 h 145"/>
              <a:gd name="T14" fmla="*/ 0 w 145"/>
              <a:gd name="T15" fmla="*/ 72 h 145"/>
              <a:gd name="T16" fmla="*/ 0 w 145"/>
              <a:gd name="T17" fmla="*/ 74 h 145"/>
              <a:gd name="T18" fmla="*/ 73 w 145"/>
              <a:gd name="T19" fmla="*/ 145 h 145"/>
              <a:gd name="T20" fmla="*/ 145 w 145"/>
              <a:gd name="T21" fmla="*/ 72 h 145"/>
              <a:gd name="T22" fmla="*/ 73 w 145"/>
              <a:gd name="T2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5">
                <a:moveTo>
                  <a:pt x="73" y="138"/>
                </a:moveTo>
                <a:cubicBezTo>
                  <a:pt x="37" y="138"/>
                  <a:pt x="7" y="109"/>
                  <a:pt x="7" y="74"/>
                </a:cubicBezTo>
                <a:cubicBezTo>
                  <a:pt x="7" y="73"/>
                  <a:pt x="7" y="73"/>
                  <a:pt x="7" y="72"/>
                </a:cubicBezTo>
                <a:cubicBezTo>
                  <a:pt x="7" y="36"/>
                  <a:pt x="36" y="6"/>
                  <a:pt x="73" y="6"/>
                </a:cubicBezTo>
                <a:cubicBezTo>
                  <a:pt x="109" y="6"/>
                  <a:pt x="139" y="36"/>
                  <a:pt x="139" y="72"/>
                </a:cubicBezTo>
                <a:cubicBezTo>
                  <a:pt x="139" y="109"/>
                  <a:pt x="109" y="138"/>
                  <a:pt x="73" y="138"/>
                </a:cubicBezTo>
                <a:moveTo>
                  <a:pt x="73" y="0"/>
                </a:moveTo>
                <a:cubicBezTo>
                  <a:pt x="33" y="0"/>
                  <a:pt x="0" y="32"/>
                  <a:pt x="0" y="72"/>
                </a:cubicBezTo>
                <a:cubicBezTo>
                  <a:pt x="0" y="73"/>
                  <a:pt x="0" y="73"/>
                  <a:pt x="0" y="74"/>
                </a:cubicBezTo>
                <a:cubicBezTo>
                  <a:pt x="1" y="113"/>
                  <a:pt x="34" y="145"/>
                  <a:pt x="73" y="145"/>
                </a:cubicBezTo>
                <a:cubicBezTo>
                  <a:pt x="113" y="145"/>
                  <a:pt x="145" y="112"/>
                  <a:pt x="145" y="72"/>
                </a:cubicBezTo>
                <a:cubicBezTo>
                  <a:pt x="145" y="32"/>
                  <a:pt x="113" y="0"/>
                  <a:pt x="73" y="0"/>
                </a:cubicBezTo>
              </a:path>
            </a:pathLst>
          </a:custGeom>
          <a:solidFill>
            <a:srgbClr val="B9D7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9">
            <a:extLst>
              <a:ext uri="{FF2B5EF4-FFF2-40B4-BE49-F238E27FC236}">
                <a16:creationId xmlns:a16="http://schemas.microsoft.com/office/drawing/2014/main" id="{5A8ADA9B-42B5-5D4E-B88E-0B61D897ADE9}"/>
              </a:ext>
            </a:extLst>
          </p:cNvPr>
          <p:cNvSpPr>
            <a:spLocks noEditPoints="1"/>
          </p:cNvSpPr>
          <p:nvPr/>
        </p:nvSpPr>
        <p:spPr bwMode="auto">
          <a:xfrm>
            <a:off x="4700300" y="4008968"/>
            <a:ext cx="446400" cy="446400"/>
          </a:xfrm>
          <a:custGeom>
            <a:avLst/>
            <a:gdLst>
              <a:gd name="T0" fmla="*/ 93 w 186"/>
              <a:gd name="T1" fmla="*/ 181 h 186"/>
              <a:gd name="T2" fmla="*/ 5 w 186"/>
              <a:gd name="T3" fmla="*/ 93 h 186"/>
              <a:gd name="T4" fmla="*/ 93 w 186"/>
              <a:gd name="T5" fmla="*/ 5 h 186"/>
              <a:gd name="T6" fmla="*/ 181 w 186"/>
              <a:gd name="T7" fmla="*/ 93 h 186"/>
              <a:gd name="T8" fmla="*/ 93 w 186"/>
              <a:gd name="T9" fmla="*/ 181 h 186"/>
              <a:gd name="T10" fmla="*/ 93 w 186"/>
              <a:gd name="T11" fmla="*/ 0 h 186"/>
              <a:gd name="T12" fmla="*/ 0 w 186"/>
              <a:gd name="T13" fmla="*/ 93 h 186"/>
              <a:gd name="T14" fmla="*/ 93 w 186"/>
              <a:gd name="T15" fmla="*/ 186 h 186"/>
              <a:gd name="T16" fmla="*/ 186 w 186"/>
              <a:gd name="T17" fmla="*/ 93 h 186"/>
              <a:gd name="T18" fmla="*/ 93 w 186"/>
              <a:gd name="T1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86">
                <a:moveTo>
                  <a:pt x="93" y="181"/>
                </a:moveTo>
                <a:cubicBezTo>
                  <a:pt x="44" y="181"/>
                  <a:pt x="5" y="142"/>
                  <a:pt x="5" y="93"/>
                </a:cubicBezTo>
                <a:cubicBezTo>
                  <a:pt x="5" y="45"/>
                  <a:pt x="44" y="5"/>
                  <a:pt x="93" y="5"/>
                </a:cubicBezTo>
                <a:cubicBezTo>
                  <a:pt x="141" y="5"/>
                  <a:pt x="181" y="45"/>
                  <a:pt x="181" y="93"/>
                </a:cubicBezTo>
                <a:cubicBezTo>
                  <a:pt x="181" y="142"/>
                  <a:pt x="141" y="181"/>
                  <a:pt x="93" y="181"/>
                </a:cubicBezTo>
                <a:moveTo>
                  <a:pt x="93" y="0"/>
                </a:moveTo>
                <a:cubicBezTo>
                  <a:pt x="42" y="0"/>
                  <a:pt x="0" y="42"/>
                  <a:pt x="0" y="93"/>
                </a:cubicBezTo>
                <a:cubicBezTo>
                  <a:pt x="0" y="144"/>
                  <a:pt x="42" y="186"/>
                  <a:pt x="93" y="186"/>
                </a:cubicBezTo>
                <a:cubicBezTo>
                  <a:pt x="144" y="186"/>
                  <a:pt x="186" y="144"/>
                  <a:pt x="186" y="93"/>
                </a:cubicBezTo>
                <a:cubicBezTo>
                  <a:pt x="186" y="42"/>
                  <a:pt x="144" y="0"/>
                  <a:pt x="93" y="0"/>
                </a:cubicBezTo>
              </a:path>
            </a:pathLst>
          </a:custGeom>
          <a:solidFill>
            <a:srgbClr val="DEEC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80">
            <a:extLst>
              <a:ext uri="{FF2B5EF4-FFF2-40B4-BE49-F238E27FC236}">
                <a16:creationId xmlns:a16="http://schemas.microsoft.com/office/drawing/2014/main" id="{DA40CE45-BDBF-9A45-8099-83FD71079154}"/>
              </a:ext>
            </a:extLst>
          </p:cNvPr>
          <p:cNvSpPr>
            <a:spLocks noChangeArrowheads="1"/>
          </p:cNvSpPr>
          <p:nvPr/>
        </p:nvSpPr>
        <p:spPr bwMode="auto">
          <a:xfrm>
            <a:off x="4906798" y="4217490"/>
            <a:ext cx="31380" cy="31380"/>
          </a:xfrm>
          <a:prstGeom prst="ellipse">
            <a:avLst/>
          </a:prstGeom>
          <a:solidFill>
            <a:srgbClr val="5EA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1">
            <a:extLst>
              <a:ext uri="{FF2B5EF4-FFF2-40B4-BE49-F238E27FC236}">
                <a16:creationId xmlns:a16="http://schemas.microsoft.com/office/drawing/2014/main" id="{B711643E-A3E7-8D47-95F7-720A1528FC5D}"/>
              </a:ext>
            </a:extLst>
          </p:cNvPr>
          <p:cNvSpPr>
            <a:spLocks/>
          </p:cNvSpPr>
          <p:nvPr/>
        </p:nvSpPr>
        <p:spPr bwMode="auto">
          <a:xfrm>
            <a:off x="3499776" y="5735859"/>
            <a:ext cx="11135" cy="0"/>
          </a:xfrm>
          <a:custGeom>
            <a:avLst/>
            <a:gdLst>
              <a:gd name="T0" fmla="*/ 11 w 11"/>
              <a:gd name="T1" fmla="*/ 0 w 11"/>
              <a:gd name="T2" fmla="*/ 11 w 11"/>
            </a:gdLst>
            <a:ahLst/>
            <a:cxnLst>
              <a:cxn ang="0">
                <a:pos x="T0" y="0"/>
              </a:cxn>
              <a:cxn ang="0">
                <a:pos x="T1" y="0"/>
              </a:cxn>
              <a:cxn ang="0">
                <a:pos x="T2" y="0"/>
              </a:cxn>
            </a:cxnLst>
            <a:rect l="0" t="0" r="r" b="b"/>
            <a:pathLst>
              <a:path w="11">
                <a:moveTo>
                  <a:pt x="11" y="0"/>
                </a:moveTo>
                <a:lnTo>
                  <a:pt x="0" y="0"/>
                </a:lnTo>
                <a:lnTo>
                  <a:pt x="11" y="0"/>
                </a:lnTo>
                <a:close/>
              </a:path>
            </a:pathLst>
          </a:custGeom>
          <a:solidFill>
            <a:srgbClr val="0D70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Line 82">
            <a:extLst>
              <a:ext uri="{FF2B5EF4-FFF2-40B4-BE49-F238E27FC236}">
                <a16:creationId xmlns:a16="http://schemas.microsoft.com/office/drawing/2014/main" id="{F3638653-0585-B54C-829D-9878006CFC39}"/>
              </a:ext>
            </a:extLst>
          </p:cNvPr>
          <p:cNvSpPr>
            <a:spLocks noChangeShapeType="1"/>
          </p:cNvSpPr>
          <p:nvPr/>
        </p:nvSpPr>
        <p:spPr bwMode="auto">
          <a:xfrm flipH="1">
            <a:off x="3499776" y="5735859"/>
            <a:ext cx="1113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83">
            <a:extLst>
              <a:ext uri="{FF2B5EF4-FFF2-40B4-BE49-F238E27FC236}">
                <a16:creationId xmlns:a16="http://schemas.microsoft.com/office/drawing/2014/main" id="{F2CCFCE9-BEB6-4E42-9584-50FA9E6C7B59}"/>
              </a:ext>
            </a:extLst>
          </p:cNvPr>
          <p:cNvSpPr>
            <a:spLocks/>
          </p:cNvSpPr>
          <p:nvPr/>
        </p:nvSpPr>
        <p:spPr bwMode="auto">
          <a:xfrm>
            <a:off x="4051450" y="2442011"/>
            <a:ext cx="1780541" cy="2856558"/>
          </a:xfrm>
          <a:custGeom>
            <a:avLst/>
            <a:gdLst>
              <a:gd name="T0" fmla="*/ 576 w 741"/>
              <a:gd name="T1" fmla="*/ 1189 h 1189"/>
              <a:gd name="T2" fmla="*/ 576 w 741"/>
              <a:gd name="T3" fmla="*/ 537 h 1189"/>
              <a:gd name="T4" fmla="*/ 664 w 741"/>
              <a:gd name="T5" fmla="*/ 537 h 1189"/>
              <a:gd name="T6" fmla="*/ 708 w 741"/>
              <a:gd name="T7" fmla="*/ 452 h 1189"/>
              <a:gd name="T8" fmla="*/ 429 w 741"/>
              <a:gd name="T9" fmla="*/ 47 h 1189"/>
              <a:gd name="T10" fmla="*/ 312 w 741"/>
              <a:gd name="T11" fmla="*/ 47 h 1189"/>
              <a:gd name="T12" fmla="*/ 32 w 741"/>
              <a:gd name="T13" fmla="*/ 452 h 1189"/>
              <a:gd name="T14" fmla="*/ 77 w 741"/>
              <a:gd name="T15" fmla="*/ 537 h 1189"/>
              <a:gd name="T16" fmla="*/ 165 w 741"/>
              <a:gd name="T17" fmla="*/ 537 h 1189"/>
              <a:gd name="T18" fmla="*/ 165 w 741"/>
              <a:gd name="T19" fmla="*/ 1189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1189">
                <a:moveTo>
                  <a:pt x="576" y="1189"/>
                </a:moveTo>
                <a:cubicBezTo>
                  <a:pt x="576" y="537"/>
                  <a:pt x="576" y="537"/>
                  <a:pt x="576" y="537"/>
                </a:cubicBezTo>
                <a:cubicBezTo>
                  <a:pt x="664" y="537"/>
                  <a:pt x="664" y="537"/>
                  <a:pt x="664" y="537"/>
                </a:cubicBezTo>
                <a:cubicBezTo>
                  <a:pt x="721" y="537"/>
                  <a:pt x="741" y="499"/>
                  <a:pt x="708" y="452"/>
                </a:cubicBezTo>
                <a:cubicBezTo>
                  <a:pt x="429" y="47"/>
                  <a:pt x="429" y="47"/>
                  <a:pt x="429" y="47"/>
                </a:cubicBezTo>
                <a:cubicBezTo>
                  <a:pt x="397" y="0"/>
                  <a:pt x="344" y="0"/>
                  <a:pt x="312" y="47"/>
                </a:cubicBezTo>
                <a:cubicBezTo>
                  <a:pt x="32" y="452"/>
                  <a:pt x="32" y="452"/>
                  <a:pt x="32" y="452"/>
                </a:cubicBezTo>
                <a:cubicBezTo>
                  <a:pt x="0" y="499"/>
                  <a:pt x="20" y="537"/>
                  <a:pt x="77" y="537"/>
                </a:cubicBezTo>
                <a:cubicBezTo>
                  <a:pt x="165" y="537"/>
                  <a:pt x="165" y="537"/>
                  <a:pt x="165" y="537"/>
                </a:cubicBezTo>
                <a:cubicBezTo>
                  <a:pt x="165" y="1189"/>
                  <a:pt x="165" y="1189"/>
                  <a:pt x="165" y="1189"/>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84">
            <a:extLst>
              <a:ext uri="{FF2B5EF4-FFF2-40B4-BE49-F238E27FC236}">
                <a16:creationId xmlns:a16="http://schemas.microsoft.com/office/drawing/2014/main" id="{D80C7F9E-9228-FD45-829E-91BEF22F3DE2}"/>
              </a:ext>
            </a:extLst>
          </p:cNvPr>
          <p:cNvSpPr>
            <a:spLocks/>
          </p:cNvSpPr>
          <p:nvPr/>
        </p:nvSpPr>
        <p:spPr bwMode="auto">
          <a:xfrm>
            <a:off x="4077769" y="2454158"/>
            <a:ext cx="1726892" cy="2844411"/>
          </a:xfrm>
          <a:custGeom>
            <a:avLst/>
            <a:gdLst>
              <a:gd name="T0" fmla="*/ 571 w 719"/>
              <a:gd name="T1" fmla="*/ 1184 h 1184"/>
              <a:gd name="T2" fmla="*/ 571 w 719"/>
              <a:gd name="T3" fmla="*/ 538 h 1184"/>
              <a:gd name="T4" fmla="*/ 653 w 719"/>
              <a:gd name="T5" fmla="*/ 538 h 1184"/>
              <a:gd name="T6" fmla="*/ 701 w 719"/>
              <a:gd name="T7" fmla="*/ 525 h 1184"/>
              <a:gd name="T8" fmla="*/ 714 w 719"/>
              <a:gd name="T9" fmla="*/ 509 h 1184"/>
              <a:gd name="T10" fmla="*/ 719 w 719"/>
              <a:gd name="T11" fmla="*/ 489 h 1184"/>
              <a:gd name="T12" fmla="*/ 702 w 719"/>
              <a:gd name="T13" fmla="*/ 443 h 1184"/>
              <a:gd name="T14" fmla="*/ 423 w 719"/>
              <a:gd name="T15" fmla="*/ 38 h 1184"/>
              <a:gd name="T16" fmla="*/ 394 w 719"/>
              <a:gd name="T17" fmla="*/ 10 h 1184"/>
              <a:gd name="T18" fmla="*/ 359 w 719"/>
              <a:gd name="T19" fmla="*/ 0 h 1184"/>
              <a:gd name="T20" fmla="*/ 325 w 719"/>
              <a:gd name="T21" fmla="*/ 10 h 1184"/>
              <a:gd name="T22" fmla="*/ 296 w 719"/>
              <a:gd name="T23" fmla="*/ 38 h 1184"/>
              <a:gd name="T24" fmla="*/ 16 w 719"/>
              <a:gd name="T25" fmla="*/ 443 h 1184"/>
              <a:gd name="T26" fmla="*/ 0 w 719"/>
              <a:gd name="T27" fmla="*/ 489 h 1184"/>
              <a:gd name="T28" fmla="*/ 5 w 719"/>
              <a:gd name="T29" fmla="*/ 509 h 1184"/>
              <a:gd name="T30" fmla="*/ 28 w 719"/>
              <a:gd name="T31" fmla="*/ 531 h 1184"/>
              <a:gd name="T32" fmla="*/ 66 w 719"/>
              <a:gd name="T33" fmla="*/ 538 h 1184"/>
              <a:gd name="T34" fmla="*/ 148 w 719"/>
              <a:gd name="T35" fmla="*/ 538 h 1184"/>
              <a:gd name="T36" fmla="*/ 148 w 719"/>
              <a:gd name="T37" fmla="*/ 1184 h 1184"/>
              <a:gd name="T38" fmla="*/ 160 w 719"/>
              <a:gd name="T39" fmla="*/ 1184 h 1184"/>
              <a:gd name="T40" fmla="*/ 160 w 719"/>
              <a:gd name="T41" fmla="*/ 526 h 1184"/>
              <a:gd name="T42" fmla="*/ 66 w 719"/>
              <a:gd name="T43" fmla="*/ 526 h 1184"/>
              <a:gd name="T44" fmla="*/ 25 w 719"/>
              <a:gd name="T45" fmla="*/ 515 h 1184"/>
              <a:gd name="T46" fmla="*/ 15 w 719"/>
              <a:gd name="T47" fmla="*/ 504 h 1184"/>
              <a:gd name="T48" fmla="*/ 12 w 719"/>
              <a:gd name="T49" fmla="*/ 489 h 1184"/>
              <a:gd name="T50" fmla="*/ 26 w 719"/>
              <a:gd name="T51" fmla="*/ 450 h 1184"/>
              <a:gd name="T52" fmla="*/ 305 w 719"/>
              <a:gd name="T53" fmla="*/ 45 h 1184"/>
              <a:gd name="T54" fmla="*/ 331 w 719"/>
              <a:gd name="T55" fmla="*/ 20 h 1184"/>
              <a:gd name="T56" fmla="*/ 359 w 719"/>
              <a:gd name="T57" fmla="*/ 12 h 1184"/>
              <a:gd name="T58" fmla="*/ 388 w 719"/>
              <a:gd name="T59" fmla="*/ 20 h 1184"/>
              <a:gd name="T60" fmla="*/ 413 w 719"/>
              <a:gd name="T61" fmla="*/ 45 h 1184"/>
              <a:gd name="T62" fmla="*/ 693 w 719"/>
              <a:gd name="T63" fmla="*/ 450 h 1184"/>
              <a:gd name="T64" fmla="*/ 707 w 719"/>
              <a:gd name="T65" fmla="*/ 489 h 1184"/>
              <a:gd name="T66" fmla="*/ 704 w 719"/>
              <a:gd name="T67" fmla="*/ 504 h 1184"/>
              <a:gd name="T68" fmla="*/ 686 w 719"/>
              <a:gd name="T69" fmla="*/ 520 h 1184"/>
              <a:gd name="T70" fmla="*/ 653 w 719"/>
              <a:gd name="T71" fmla="*/ 526 h 1184"/>
              <a:gd name="T72" fmla="*/ 559 w 719"/>
              <a:gd name="T73" fmla="*/ 526 h 1184"/>
              <a:gd name="T74" fmla="*/ 559 w 719"/>
              <a:gd name="T75" fmla="*/ 1184 h 1184"/>
              <a:gd name="T76" fmla="*/ 571 w 719"/>
              <a:gd name="T77" fmla="*/ 118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9" h="1184">
                <a:moveTo>
                  <a:pt x="571" y="1184"/>
                </a:moveTo>
                <a:cubicBezTo>
                  <a:pt x="571" y="538"/>
                  <a:pt x="571" y="538"/>
                  <a:pt x="571" y="538"/>
                </a:cubicBezTo>
                <a:cubicBezTo>
                  <a:pt x="653" y="538"/>
                  <a:pt x="653" y="538"/>
                  <a:pt x="653" y="538"/>
                </a:cubicBezTo>
                <a:cubicBezTo>
                  <a:pt x="673" y="538"/>
                  <a:pt x="689" y="534"/>
                  <a:pt x="701" y="525"/>
                </a:cubicBezTo>
                <a:cubicBezTo>
                  <a:pt x="707" y="521"/>
                  <a:pt x="711" y="515"/>
                  <a:pt x="714" y="509"/>
                </a:cubicBezTo>
                <a:cubicBezTo>
                  <a:pt x="717" y="503"/>
                  <a:pt x="719" y="496"/>
                  <a:pt x="719" y="489"/>
                </a:cubicBezTo>
                <a:cubicBezTo>
                  <a:pt x="719" y="475"/>
                  <a:pt x="713" y="459"/>
                  <a:pt x="702" y="443"/>
                </a:cubicBezTo>
                <a:cubicBezTo>
                  <a:pt x="423" y="38"/>
                  <a:pt x="423" y="38"/>
                  <a:pt x="423" y="38"/>
                </a:cubicBezTo>
                <a:cubicBezTo>
                  <a:pt x="415" y="26"/>
                  <a:pt x="405" y="17"/>
                  <a:pt x="394" y="10"/>
                </a:cubicBezTo>
                <a:cubicBezTo>
                  <a:pt x="383" y="4"/>
                  <a:pt x="371" y="0"/>
                  <a:pt x="359" y="0"/>
                </a:cubicBezTo>
                <a:cubicBezTo>
                  <a:pt x="348" y="0"/>
                  <a:pt x="336" y="4"/>
                  <a:pt x="325" y="10"/>
                </a:cubicBezTo>
                <a:cubicBezTo>
                  <a:pt x="314" y="17"/>
                  <a:pt x="304" y="26"/>
                  <a:pt x="296" y="38"/>
                </a:cubicBezTo>
                <a:cubicBezTo>
                  <a:pt x="16" y="443"/>
                  <a:pt x="16" y="443"/>
                  <a:pt x="16" y="443"/>
                </a:cubicBezTo>
                <a:cubicBezTo>
                  <a:pt x="5" y="459"/>
                  <a:pt x="0" y="475"/>
                  <a:pt x="0" y="489"/>
                </a:cubicBezTo>
                <a:cubicBezTo>
                  <a:pt x="0" y="496"/>
                  <a:pt x="1" y="503"/>
                  <a:pt x="5" y="509"/>
                </a:cubicBezTo>
                <a:cubicBezTo>
                  <a:pt x="9" y="518"/>
                  <a:pt x="17" y="526"/>
                  <a:pt x="28" y="531"/>
                </a:cubicBezTo>
                <a:cubicBezTo>
                  <a:pt x="38" y="536"/>
                  <a:pt x="51" y="538"/>
                  <a:pt x="66" y="538"/>
                </a:cubicBezTo>
                <a:cubicBezTo>
                  <a:pt x="148" y="538"/>
                  <a:pt x="148" y="538"/>
                  <a:pt x="148" y="538"/>
                </a:cubicBezTo>
                <a:cubicBezTo>
                  <a:pt x="148" y="1184"/>
                  <a:pt x="148" y="1184"/>
                  <a:pt x="148" y="1184"/>
                </a:cubicBezTo>
                <a:cubicBezTo>
                  <a:pt x="160" y="1184"/>
                  <a:pt x="160" y="1184"/>
                  <a:pt x="160" y="1184"/>
                </a:cubicBezTo>
                <a:cubicBezTo>
                  <a:pt x="160" y="526"/>
                  <a:pt x="160" y="526"/>
                  <a:pt x="160" y="526"/>
                </a:cubicBezTo>
                <a:cubicBezTo>
                  <a:pt x="66" y="526"/>
                  <a:pt x="66" y="526"/>
                  <a:pt x="66" y="526"/>
                </a:cubicBezTo>
                <a:cubicBezTo>
                  <a:pt x="48" y="526"/>
                  <a:pt x="34" y="522"/>
                  <a:pt x="25" y="515"/>
                </a:cubicBezTo>
                <a:cubicBezTo>
                  <a:pt x="21" y="512"/>
                  <a:pt x="17" y="508"/>
                  <a:pt x="15" y="504"/>
                </a:cubicBezTo>
                <a:cubicBezTo>
                  <a:pt x="13" y="499"/>
                  <a:pt x="12" y="494"/>
                  <a:pt x="12" y="489"/>
                </a:cubicBezTo>
                <a:cubicBezTo>
                  <a:pt x="12" y="478"/>
                  <a:pt x="16" y="465"/>
                  <a:pt x="26" y="450"/>
                </a:cubicBezTo>
                <a:cubicBezTo>
                  <a:pt x="305" y="45"/>
                  <a:pt x="305" y="45"/>
                  <a:pt x="305" y="45"/>
                </a:cubicBezTo>
                <a:cubicBezTo>
                  <a:pt x="313" y="34"/>
                  <a:pt x="322" y="26"/>
                  <a:pt x="331" y="20"/>
                </a:cubicBezTo>
                <a:cubicBezTo>
                  <a:pt x="340" y="15"/>
                  <a:pt x="350" y="12"/>
                  <a:pt x="359" y="12"/>
                </a:cubicBezTo>
                <a:cubicBezTo>
                  <a:pt x="369" y="12"/>
                  <a:pt x="379" y="15"/>
                  <a:pt x="388" y="20"/>
                </a:cubicBezTo>
                <a:cubicBezTo>
                  <a:pt x="397" y="26"/>
                  <a:pt x="406" y="34"/>
                  <a:pt x="413" y="45"/>
                </a:cubicBezTo>
                <a:cubicBezTo>
                  <a:pt x="693" y="450"/>
                  <a:pt x="693" y="450"/>
                  <a:pt x="693" y="450"/>
                </a:cubicBezTo>
                <a:cubicBezTo>
                  <a:pt x="703" y="465"/>
                  <a:pt x="707" y="478"/>
                  <a:pt x="707" y="489"/>
                </a:cubicBezTo>
                <a:cubicBezTo>
                  <a:pt x="707" y="494"/>
                  <a:pt x="706" y="499"/>
                  <a:pt x="704" y="504"/>
                </a:cubicBezTo>
                <a:cubicBezTo>
                  <a:pt x="700" y="510"/>
                  <a:pt x="695" y="516"/>
                  <a:pt x="686" y="520"/>
                </a:cubicBezTo>
                <a:cubicBezTo>
                  <a:pt x="678" y="524"/>
                  <a:pt x="666" y="526"/>
                  <a:pt x="653" y="526"/>
                </a:cubicBezTo>
                <a:cubicBezTo>
                  <a:pt x="559" y="526"/>
                  <a:pt x="559" y="526"/>
                  <a:pt x="559" y="526"/>
                </a:cubicBezTo>
                <a:cubicBezTo>
                  <a:pt x="559" y="1184"/>
                  <a:pt x="559" y="1184"/>
                  <a:pt x="559" y="1184"/>
                </a:cubicBezTo>
                <a:cubicBezTo>
                  <a:pt x="571" y="1184"/>
                  <a:pt x="571" y="1184"/>
                  <a:pt x="571" y="1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5">
            <a:extLst>
              <a:ext uri="{FF2B5EF4-FFF2-40B4-BE49-F238E27FC236}">
                <a16:creationId xmlns:a16="http://schemas.microsoft.com/office/drawing/2014/main" id="{6B1B33EA-3C1C-5C4D-89BE-07BFE63BCC4F}"/>
              </a:ext>
            </a:extLst>
          </p:cNvPr>
          <p:cNvSpPr>
            <a:spLocks/>
          </p:cNvSpPr>
          <p:nvPr/>
        </p:nvSpPr>
        <p:spPr bwMode="auto">
          <a:xfrm>
            <a:off x="4604137" y="3047334"/>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7">
            <a:extLst>
              <a:ext uri="{FF2B5EF4-FFF2-40B4-BE49-F238E27FC236}">
                <a16:creationId xmlns:a16="http://schemas.microsoft.com/office/drawing/2014/main" id="{D89E1489-3D82-504E-82BA-FFF61D7FC1C6}"/>
              </a:ext>
            </a:extLst>
          </p:cNvPr>
          <p:cNvSpPr>
            <a:spLocks/>
          </p:cNvSpPr>
          <p:nvPr/>
        </p:nvSpPr>
        <p:spPr bwMode="auto">
          <a:xfrm>
            <a:off x="4586929" y="3031138"/>
            <a:ext cx="310760" cy="412996"/>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8">
            <a:extLst>
              <a:ext uri="{FF2B5EF4-FFF2-40B4-BE49-F238E27FC236}">
                <a16:creationId xmlns:a16="http://schemas.microsoft.com/office/drawing/2014/main" id="{E864D2A1-FE57-074A-9416-B14926EB3F84}"/>
              </a:ext>
            </a:extLst>
          </p:cNvPr>
          <p:cNvSpPr>
            <a:spLocks/>
          </p:cNvSpPr>
          <p:nvPr/>
        </p:nvSpPr>
        <p:spPr bwMode="auto">
          <a:xfrm>
            <a:off x="4604137" y="328824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90">
            <a:extLst>
              <a:ext uri="{FF2B5EF4-FFF2-40B4-BE49-F238E27FC236}">
                <a16:creationId xmlns:a16="http://schemas.microsoft.com/office/drawing/2014/main" id="{DE694D5C-5A16-774A-B430-4C859B43BA85}"/>
              </a:ext>
            </a:extLst>
          </p:cNvPr>
          <p:cNvSpPr>
            <a:spLocks/>
          </p:cNvSpPr>
          <p:nvPr/>
        </p:nvSpPr>
        <p:spPr bwMode="auto">
          <a:xfrm>
            <a:off x="4586929" y="3271040"/>
            <a:ext cx="310760" cy="412996"/>
          </a:xfrm>
          <a:custGeom>
            <a:avLst/>
            <a:gdLst>
              <a:gd name="T0" fmla="*/ 12 w 129"/>
              <a:gd name="T1" fmla="*/ 168 h 172"/>
              <a:gd name="T2" fmla="*/ 127 w 129"/>
              <a:gd name="T3" fmla="*/ 10 h 172"/>
              <a:gd name="T4" fmla="*/ 126 w 129"/>
              <a:gd name="T5" fmla="*/ 2 h 172"/>
              <a:gd name="T6" fmla="*/ 118 w 129"/>
              <a:gd name="T7" fmla="*/ 3 h 172"/>
              <a:gd name="T8" fmla="*/ 2 w 129"/>
              <a:gd name="T9" fmla="*/ 161 h 172"/>
              <a:gd name="T10" fmla="*/ 3 w 129"/>
              <a:gd name="T11" fmla="*/ 170 h 172"/>
              <a:gd name="T12" fmla="*/ 12 w 129"/>
              <a:gd name="T13" fmla="*/ 168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8"/>
                </a:moveTo>
                <a:cubicBezTo>
                  <a:pt x="127" y="10"/>
                  <a:pt x="127" y="10"/>
                  <a:pt x="127" y="10"/>
                </a:cubicBezTo>
                <a:cubicBezTo>
                  <a:pt x="129" y="8"/>
                  <a:pt x="129" y="4"/>
                  <a:pt x="126" y="2"/>
                </a:cubicBezTo>
                <a:cubicBezTo>
                  <a:pt x="123" y="0"/>
                  <a:pt x="120" y="1"/>
                  <a:pt x="118" y="3"/>
                </a:cubicBezTo>
                <a:cubicBezTo>
                  <a:pt x="2" y="161"/>
                  <a:pt x="2" y="161"/>
                  <a:pt x="2" y="161"/>
                </a:cubicBezTo>
                <a:cubicBezTo>
                  <a:pt x="0" y="164"/>
                  <a:pt x="1" y="168"/>
                  <a:pt x="3" y="170"/>
                </a:cubicBezTo>
                <a:cubicBezTo>
                  <a:pt x="6" y="172"/>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1">
            <a:extLst>
              <a:ext uri="{FF2B5EF4-FFF2-40B4-BE49-F238E27FC236}">
                <a16:creationId xmlns:a16="http://schemas.microsoft.com/office/drawing/2014/main" id="{C3929F16-A68B-6846-A63C-F067856CD977}"/>
              </a:ext>
            </a:extLst>
          </p:cNvPr>
          <p:cNvSpPr>
            <a:spLocks/>
          </p:cNvSpPr>
          <p:nvPr/>
        </p:nvSpPr>
        <p:spPr bwMode="auto">
          <a:xfrm>
            <a:off x="4604137" y="3528151"/>
            <a:ext cx="276343" cy="377568"/>
          </a:xfrm>
          <a:custGeom>
            <a:avLst/>
            <a:gdLst>
              <a:gd name="T0" fmla="*/ 0 w 273"/>
              <a:gd name="T1" fmla="*/ 373 h 373"/>
              <a:gd name="T2" fmla="*/ 273 w 273"/>
              <a:gd name="T3" fmla="*/ 0 h 373"/>
              <a:gd name="T4" fmla="*/ 0 w 273"/>
              <a:gd name="T5" fmla="*/ 373 h 373"/>
            </a:gdLst>
            <a:ahLst/>
            <a:cxnLst>
              <a:cxn ang="0">
                <a:pos x="T0" y="T1"/>
              </a:cxn>
              <a:cxn ang="0">
                <a:pos x="T2" y="T3"/>
              </a:cxn>
              <a:cxn ang="0">
                <a:pos x="T4" y="T5"/>
              </a:cxn>
            </a:cxnLst>
            <a:rect l="0" t="0" r="r" b="b"/>
            <a:pathLst>
              <a:path w="273" h="373">
                <a:moveTo>
                  <a:pt x="0" y="373"/>
                </a:moveTo>
                <a:lnTo>
                  <a:pt x="273" y="0"/>
                </a:lnTo>
                <a:lnTo>
                  <a:pt x="0" y="373"/>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Line 92">
            <a:extLst>
              <a:ext uri="{FF2B5EF4-FFF2-40B4-BE49-F238E27FC236}">
                <a16:creationId xmlns:a16="http://schemas.microsoft.com/office/drawing/2014/main" id="{F1D07E3D-0AD6-DC46-9A77-60508E3D267F}"/>
              </a:ext>
            </a:extLst>
          </p:cNvPr>
          <p:cNvSpPr>
            <a:spLocks noChangeShapeType="1"/>
          </p:cNvSpPr>
          <p:nvPr/>
        </p:nvSpPr>
        <p:spPr bwMode="auto">
          <a:xfrm flipV="1">
            <a:off x="4604137" y="3528151"/>
            <a:ext cx="276343" cy="37756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3">
            <a:extLst>
              <a:ext uri="{FF2B5EF4-FFF2-40B4-BE49-F238E27FC236}">
                <a16:creationId xmlns:a16="http://schemas.microsoft.com/office/drawing/2014/main" id="{C83D7701-70FB-3148-B720-172A71B0E285}"/>
              </a:ext>
            </a:extLst>
          </p:cNvPr>
          <p:cNvSpPr>
            <a:spLocks/>
          </p:cNvSpPr>
          <p:nvPr/>
        </p:nvSpPr>
        <p:spPr bwMode="auto">
          <a:xfrm>
            <a:off x="4586929" y="3511955"/>
            <a:ext cx="310760" cy="409960"/>
          </a:xfrm>
          <a:custGeom>
            <a:avLst/>
            <a:gdLst>
              <a:gd name="T0" fmla="*/ 12 w 129"/>
              <a:gd name="T1" fmla="*/ 168 h 171"/>
              <a:gd name="T2" fmla="*/ 127 w 129"/>
              <a:gd name="T3" fmla="*/ 10 h 171"/>
              <a:gd name="T4" fmla="*/ 126 w 129"/>
              <a:gd name="T5" fmla="*/ 2 h 171"/>
              <a:gd name="T6" fmla="*/ 118 w 129"/>
              <a:gd name="T7" fmla="*/ 3 h 171"/>
              <a:gd name="T8" fmla="*/ 2 w 129"/>
              <a:gd name="T9" fmla="*/ 161 h 171"/>
              <a:gd name="T10" fmla="*/ 3 w 129"/>
              <a:gd name="T11" fmla="*/ 169 h 171"/>
              <a:gd name="T12" fmla="*/ 12 w 129"/>
              <a:gd name="T13" fmla="*/ 168 h 171"/>
            </a:gdLst>
            <a:ahLst/>
            <a:cxnLst>
              <a:cxn ang="0">
                <a:pos x="T0" y="T1"/>
              </a:cxn>
              <a:cxn ang="0">
                <a:pos x="T2" y="T3"/>
              </a:cxn>
              <a:cxn ang="0">
                <a:pos x="T4" y="T5"/>
              </a:cxn>
              <a:cxn ang="0">
                <a:pos x="T6" y="T7"/>
              </a:cxn>
              <a:cxn ang="0">
                <a:pos x="T8" y="T9"/>
              </a:cxn>
              <a:cxn ang="0">
                <a:pos x="T10" y="T11"/>
              </a:cxn>
              <a:cxn ang="0">
                <a:pos x="T12" y="T13"/>
              </a:cxn>
            </a:cxnLst>
            <a:rect l="0" t="0" r="r" b="b"/>
            <a:pathLst>
              <a:path w="129" h="171">
                <a:moveTo>
                  <a:pt x="12" y="168"/>
                </a:moveTo>
                <a:cubicBezTo>
                  <a:pt x="127" y="10"/>
                  <a:pt x="127" y="10"/>
                  <a:pt x="127" y="10"/>
                </a:cubicBezTo>
                <a:cubicBezTo>
                  <a:pt x="129" y="7"/>
                  <a:pt x="129" y="4"/>
                  <a:pt x="126" y="2"/>
                </a:cubicBezTo>
                <a:cubicBezTo>
                  <a:pt x="123" y="0"/>
                  <a:pt x="120" y="0"/>
                  <a:pt x="118" y="3"/>
                </a:cubicBezTo>
                <a:cubicBezTo>
                  <a:pt x="2" y="161"/>
                  <a:pt x="2" y="161"/>
                  <a:pt x="2" y="161"/>
                </a:cubicBezTo>
                <a:cubicBezTo>
                  <a:pt x="0" y="164"/>
                  <a:pt x="1" y="167"/>
                  <a:pt x="3" y="169"/>
                </a:cubicBezTo>
                <a:cubicBezTo>
                  <a:pt x="6" y="171"/>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4">
            <a:extLst>
              <a:ext uri="{FF2B5EF4-FFF2-40B4-BE49-F238E27FC236}">
                <a16:creationId xmlns:a16="http://schemas.microsoft.com/office/drawing/2014/main" id="{6587DD28-1B55-FE45-B87B-6D3A0CA12050}"/>
              </a:ext>
            </a:extLst>
          </p:cNvPr>
          <p:cNvSpPr>
            <a:spLocks/>
          </p:cNvSpPr>
          <p:nvPr/>
        </p:nvSpPr>
        <p:spPr bwMode="auto">
          <a:xfrm>
            <a:off x="4604137" y="376602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6">
            <a:extLst>
              <a:ext uri="{FF2B5EF4-FFF2-40B4-BE49-F238E27FC236}">
                <a16:creationId xmlns:a16="http://schemas.microsoft.com/office/drawing/2014/main" id="{153C906D-0D37-4E42-9C8F-CC72668E49A0}"/>
              </a:ext>
            </a:extLst>
          </p:cNvPr>
          <p:cNvSpPr>
            <a:spLocks/>
          </p:cNvSpPr>
          <p:nvPr/>
        </p:nvSpPr>
        <p:spPr bwMode="auto">
          <a:xfrm>
            <a:off x="4586929" y="3748820"/>
            <a:ext cx="310760" cy="414009"/>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7">
            <a:extLst>
              <a:ext uri="{FF2B5EF4-FFF2-40B4-BE49-F238E27FC236}">
                <a16:creationId xmlns:a16="http://schemas.microsoft.com/office/drawing/2014/main" id="{A9C2715A-9D5E-384D-B98C-997A7395EB37}"/>
              </a:ext>
            </a:extLst>
          </p:cNvPr>
          <p:cNvSpPr>
            <a:spLocks/>
          </p:cNvSpPr>
          <p:nvPr/>
        </p:nvSpPr>
        <p:spPr bwMode="auto">
          <a:xfrm>
            <a:off x="4745851" y="4005931"/>
            <a:ext cx="134629" cy="183216"/>
          </a:xfrm>
          <a:custGeom>
            <a:avLst/>
            <a:gdLst>
              <a:gd name="T0" fmla="*/ 0 w 133"/>
              <a:gd name="T1" fmla="*/ 181 h 181"/>
              <a:gd name="T2" fmla="*/ 133 w 133"/>
              <a:gd name="T3" fmla="*/ 0 h 181"/>
              <a:gd name="T4" fmla="*/ 0 w 133"/>
              <a:gd name="T5" fmla="*/ 181 h 181"/>
            </a:gdLst>
            <a:ahLst/>
            <a:cxnLst>
              <a:cxn ang="0">
                <a:pos x="T0" y="T1"/>
              </a:cxn>
              <a:cxn ang="0">
                <a:pos x="T2" y="T3"/>
              </a:cxn>
              <a:cxn ang="0">
                <a:pos x="T4" y="T5"/>
              </a:cxn>
            </a:cxnLst>
            <a:rect l="0" t="0" r="r" b="b"/>
            <a:pathLst>
              <a:path w="133" h="181">
                <a:moveTo>
                  <a:pt x="0" y="181"/>
                </a:moveTo>
                <a:lnTo>
                  <a:pt x="133" y="0"/>
                </a:lnTo>
                <a:lnTo>
                  <a:pt x="0" y="181"/>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Line 98">
            <a:extLst>
              <a:ext uri="{FF2B5EF4-FFF2-40B4-BE49-F238E27FC236}">
                <a16:creationId xmlns:a16="http://schemas.microsoft.com/office/drawing/2014/main" id="{83327C71-F1B2-4D41-8B5D-7388FD90B146}"/>
              </a:ext>
            </a:extLst>
          </p:cNvPr>
          <p:cNvSpPr>
            <a:spLocks noChangeShapeType="1"/>
          </p:cNvSpPr>
          <p:nvPr/>
        </p:nvSpPr>
        <p:spPr bwMode="auto">
          <a:xfrm flipV="1">
            <a:off x="4745851" y="4005931"/>
            <a:ext cx="134629" cy="18321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9">
            <a:extLst>
              <a:ext uri="{FF2B5EF4-FFF2-40B4-BE49-F238E27FC236}">
                <a16:creationId xmlns:a16="http://schemas.microsoft.com/office/drawing/2014/main" id="{1836F753-8B8A-E44B-996D-44CEFCC3F667}"/>
              </a:ext>
            </a:extLst>
          </p:cNvPr>
          <p:cNvSpPr>
            <a:spLocks/>
          </p:cNvSpPr>
          <p:nvPr/>
        </p:nvSpPr>
        <p:spPr bwMode="auto">
          <a:xfrm>
            <a:off x="4731680" y="3989735"/>
            <a:ext cx="166008" cy="215608"/>
          </a:xfrm>
          <a:custGeom>
            <a:avLst/>
            <a:gdLst>
              <a:gd name="T0" fmla="*/ 11 w 69"/>
              <a:gd name="T1" fmla="*/ 87 h 90"/>
              <a:gd name="T2" fmla="*/ 67 w 69"/>
              <a:gd name="T3" fmla="*/ 10 h 90"/>
              <a:gd name="T4" fmla="*/ 66 w 69"/>
              <a:gd name="T5" fmla="*/ 2 h 90"/>
              <a:gd name="T6" fmla="*/ 58 w 69"/>
              <a:gd name="T7" fmla="*/ 3 h 90"/>
              <a:gd name="T8" fmla="*/ 2 w 69"/>
              <a:gd name="T9" fmla="*/ 80 h 90"/>
              <a:gd name="T10" fmla="*/ 3 w 69"/>
              <a:gd name="T11" fmla="*/ 88 h 90"/>
              <a:gd name="T12" fmla="*/ 11 w 69"/>
              <a:gd name="T13" fmla="*/ 87 h 90"/>
            </a:gdLst>
            <a:ahLst/>
            <a:cxnLst>
              <a:cxn ang="0">
                <a:pos x="T0" y="T1"/>
              </a:cxn>
              <a:cxn ang="0">
                <a:pos x="T2" y="T3"/>
              </a:cxn>
              <a:cxn ang="0">
                <a:pos x="T4" y="T5"/>
              </a:cxn>
              <a:cxn ang="0">
                <a:pos x="T6" y="T7"/>
              </a:cxn>
              <a:cxn ang="0">
                <a:pos x="T8" y="T9"/>
              </a:cxn>
              <a:cxn ang="0">
                <a:pos x="T10" y="T11"/>
              </a:cxn>
              <a:cxn ang="0">
                <a:pos x="T12" y="T13"/>
              </a:cxn>
            </a:cxnLst>
            <a:rect l="0" t="0" r="r" b="b"/>
            <a:pathLst>
              <a:path w="69" h="90">
                <a:moveTo>
                  <a:pt x="11" y="87"/>
                </a:moveTo>
                <a:cubicBezTo>
                  <a:pt x="67" y="10"/>
                  <a:pt x="67" y="10"/>
                  <a:pt x="67" y="10"/>
                </a:cubicBezTo>
                <a:cubicBezTo>
                  <a:pt x="69" y="8"/>
                  <a:pt x="69" y="4"/>
                  <a:pt x="66" y="2"/>
                </a:cubicBezTo>
                <a:cubicBezTo>
                  <a:pt x="63" y="0"/>
                  <a:pt x="60" y="1"/>
                  <a:pt x="58" y="3"/>
                </a:cubicBezTo>
                <a:cubicBezTo>
                  <a:pt x="2" y="80"/>
                  <a:pt x="2" y="80"/>
                  <a:pt x="2" y="80"/>
                </a:cubicBezTo>
                <a:cubicBezTo>
                  <a:pt x="0" y="82"/>
                  <a:pt x="0" y="86"/>
                  <a:pt x="3" y="88"/>
                </a:cubicBezTo>
                <a:cubicBezTo>
                  <a:pt x="6" y="90"/>
                  <a:pt x="9" y="90"/>
                  <a:pt x="11" y="87"/>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00">
            <a:extLst>
              <a:ext uri="{FF2B5EF4-FFF2-40B4-BE49-F238E27FC236}">
                <a16:creationId xmlns:a16="http://schemas.microsoft.com/office/drawing/2014/main" id="{48CE940D-7F2A-DE41-B5B5-F80A28AAE534}"/>
              </a:ext>
            </a:extLst>
          </p:cNvPr>
          <p:cNvSpPr>
            <a:spLocks/>
          </p:cNvSpPr>
          <p:nvPr/>
        </p:nvSpPr>
        <p:spPr bwMode="auto">
          <a:xfrm>
            <a:off x="3780169" y="4205343"/>
            <a:ext cx="1004148" cy="1612508"/>
          </a:xfrm>
          <a:custGeom>
            <a:avLst/>
            <a:gdLst>
              <a:gd name="T0" fmla="*/ 325 w 418"/>
              <a:gd name="T1" fmla="*/ 671 h 671"/>
              <a:gd name="T2" fmla="*/ 325 w 418"/>
              <a:gd name="T3" fmla="*/ 303 h 671"/>
              <a:gd name="T4" fmla="*/ 375 w 418"/>
              <a:gd name="T5" fmla="*/ 303 h 671"/>
              <a:gd name="T6" fmla="*/ 400 w 418"/>
              <a:gd name="T7" fmla="*/ 255 h 671"/>
              <a:gd name="T8" fmla="*/ 242 w 418"/>
              <a:gd name="T9" fmla="*/ 26 h 671"/>
              <a:gd name="T10" fmla="*/ 176 w 418"/>
              <a:gd name="T11" fmla="*/ 26 h 671"/>
              <a:gd name="T12" fmla="*/ 18 w 418"/>
              <a:gd name="T13" fmla="*/ 255 h 671"/>
              <a:gd name="T14" fmla="*/ 44 w 418"/>
              <a:gd name="T15" fmla="*/ 303 h 671"/>
              <a:gd name="T16" fmla="*/ 93 w 418"/>
              <a:gd name="T17" fmla="*/ 303 h 671"/>
              <a:gd name="T18" fmla="*/ 93 w 418"/>
              <a:gd name="T19" fmla="*/ 671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8" h="671">
                <a:moveTo>
                  <a:pt x="325" y="671"/>
                </a:moveTo>
                <a:cubicBezTo>
                  <a:pt x="325" y="303"/>
                  <a:pt x="325" y="303"/>
                  <a:pt x="325" y="303"/>
                </a:cubicBezTo>
                <a:cubicBezTo>
                  <a:pt x="375" y="303"/>
                  <a:pt x="375" y="303"/>
                  <a:pt x="375" y="303"/>
                </a:cubicBezTo>
                <a:cubicBezTo>
                  <a:pt x="407" y="303"/>
                  <a:pt x="418" y="282"/>
                  <a:pt x="400" y="255"/>
                </a:cubicBezTo>
                <a:cubicBezTo>
                  <a:pt x="242" y="26"/>
                  <a:pt x="242" y="26"/>
                  <a:pt x="242" y="26"/>
                </a:cubicBezTo>
                <a:cubicBezTo>
                  <a:pt x="224" y="0"/>
                  <a:pt x="194" y="0"/>
                  <a:pt x="176" y="26"/>
                </a:cubicBezTo>
                <a:cubicBezTo>
                  <a:pt x="18" y="255"/>
                  <a:pt x="18" y="255"/>
                  <a:pt x="18" y="255"/>
                </a:cubicBezTo>
                <a:cubicBezTo>
                  <a:pt x="0" y="282"/>
                  <a:pt x="11" y="303"/>
                  <a:pt x="44" y="303"/>
                </a:cubicBezTo>
                <a:cubicBezTo>
                  <a:pt x="93" y="303"/>
                  <a:pt x="93" y="303"/>
                  <a:pt x="93" y="303"/>
                </a:cubicBezTo>
                <a:cubicBezTo>
                  <a:pt x="93" y="671"/>
                  <a:pt x="93" y="671"/>
                  <a:pt x="93" y="671"/>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101">
            <a:extLst>
              <a:ext uri="{FF2B5EF4-FFF2-40B4-BE49-F238E27FC236}">
                <a16:creationId xmlns:a16="http://schemas.microsoft.com/office/drawing/2014/main" id="{2D67F4F3-9FA1-3B4B-954A-82339A7A33C8}"/>
              </a:ext>
            </a:extLst>
          </p:cNvPr>
          <p:cNvSpPr>
            <a:spLocks/>
          </p:cNvSpPr>
          <p:nvPr/>
        </p:nvSpPr>
        <p:spPr bwMode="auto">
          <a:xfrm>
            <a:off x="3787254" y="4205343"/>
            <a:ext cx="989977" cy="1626679"/>
          </a:xfrm>
          <a:custGeom>
            <a:avLst/>
            <a:gdLst>
              <a:gd name="T0" fmla="*/ 328 w 412"/>
              <a:gd name="T1" fmla="*/ 671 h 677"/>
              <a:gd name="T2" fmla="*/ 328 w 412"/>
              <a:gd name="T3" fmla="*/ 309 h 677"/>
              <a:gd name="T4" fmla="*/ 372 w 412"/>
              <a:gd name="T5" fmla="*/ 309 h 677"/>
              <a:gd name="T6" fmla="*/ 401 w 412"/>
              <a:gd name="T7" fmla="*/ 301 h 677"/>
              <a:gd name="T8" fmla="*/ 409 w 412"/>
              <a:gd name="T9" fmla="*/ 291 h 677"/>
              <a:gd name="T10" fmla="*/ 412 w 412"/>
              <a:gd name="T11" fmla="*/ 279 h 677"/>
              <a:gd name="T12" fmla="*/ 402 w 412"/>
              <a:gd name="T13" fmla="*/ 252 h 677"/>
              <a:gd name="T14" fmla="*/ 244 w 412"/>
              <a:gd name="T15" fmla="*/ 23 h 677"/>
              <a:gd name="T16" fmla="*/ 227 w 412"/>
              <a:gd name="T17" fmla="*/ 6 h 677"/>
              <a:gd name="T18" fmla="*/ 206 w 412"/>
              <a:gd name="T19" fmla="*/ 0 h 677"/>
              <a:gd name="T20" fmla="*/ 185 w 412"/>
              <a:gd name="T21" fmla="*/ 6 h 677"/>
              <a:gd name="T22" fmla="*/ 168 w 412"/>
              <a:gd name="T23" fmla="*/ 23 h 677"/>
              <a:gd name="T24" fmla="*/ 10 w 412"/>
              <a:gd name="T25" fmla="*/ 252 h 677"/>
              <a:gd name="T26" fmla="*/ 0 w 412"/>
              <a:gd name="T27" fmla="*/ 279 h 677"/>
              <a:gd name="T28" fmla="*/ 3 w 412"/>
              <a:gd name="T29" fmla="*/ 291 h 677"/>
              <a:gd name="T30" fmla="*/ 18 w 412"/>
              <a:gd name="T31" fmla="*/ 305 h 677"/>
              <a:gd name="T32" fmla="*/ 41 w 412"/>
              <a:gd name="T33" fmla="*/ 309 h 677"/>
              <a:gd name="T34" fmla="*/ 84 w 412"/>
              <a:gd name="T35" fmla="*/ 309 h 677"/>
              <a:gd name="T36" fmla="*/ 84 w 412"/>
              <a:gd name="T37" fmla="*/ 671 h 677"/>
              <a:gd name="T38" fmla="*/ 90 w 412"/>
              <a:gd name="T39" fmla="*/ 677 h 677"/>
              <a:gd name="T40" fmla="*/ 96 w 412"/>
              <a:gd name="T41" fmla="*/ 671 h 677"/>
              <a:gd name="T42" fmla="*/ 96 w 412"/>
              <a:gd name="T43" fmla="*/ 297 h 677"/>
              <a:gd name="T44" fmla="*/ 41 w 412"/>
              <a:gd name="T45" fmla="*/ 297 h 677"/>
              <a:gd name="T46" fmla="*/ 19 w 412"/>
              <a:gd name="T47" fmla="*/ 292 h 677"/>
              <a:gd name="T48" fmla="*/ 14 w 412"/>
              <a:gd name="T49" fmla="*/ 286 h 677"/>
              <a:gd name="T50" fmla="*/ 12 w 412"/>
              <a:gd name="T51" fmla="*/ 279 h 677"/>
              <a:gd name="T52" fmla="*/ 20 w 412"/>
              <a:gd name="T53" fmla="*/ 259 h 677"/>
              <a:gd name="T54" fmla="*/ 178 w 412"/>
              <a:gd name="T55" fmla="*/ 30 h 677"/>
              <a:gd name="T56" fmla="*/ 191 w 412"/>
              <a:gd name="T57" fmla="*/ 17 h 677"/>
              <a:gd name="T58" fmla="*/ 206 w 412"/>
              <a:gd name="T59" fmla="*/ 12 h 677"/>
              <a:gd name="T60" fmla="*/ 221 w 412"/>
              <a:gd name="T61" fmla="*/ 17 h 677"/>
              <a:gd name="T62" fmla="*/ 234 w 412"/>
              <a:gd name="T63" fmla="*/ 30 h 677"/>
              <a:gd name="T64" fmla="*/ 392 w 412"/>
              <a:gd name="T65" fmla="*/ 259 h 677"/>
              <a:gd name="T66" fmla="*/ 400 w 412"/>
              <a:gd name="T67" fmla="*/ 279 h 677"/>
              <a:gd name="T68" fmla="*/ 398 w 412"/>
              <a:gd name="T69" fmla="*/ 286 h 677"/>
              <a:gd name="T70" fmla="*/ 390 w 412"/>
              <a:gd name="T71" fmla="*/ 294 h 677"/>
              <a:gd name="T72" fmla="*/ 372 w 412"/>
              <a:gd name="T73" fmla="*/ 297 h 677"/>
              <a:gd name="T74" fmla="*/ 316 w 412"/>
              <a:gd name="T75" fmla="*/ 297 h 677"/>
              <a:gd name="T76" fmla="*/ 316 w 412"/>
              <a:gd name="T77" fmla="*/ 671 h 677"/>
              <a:gd name="T78" fmla="*/ 322 w 412"/>
              <a:gd name="T79" fmla="*/ 677 h 677"/>
              <a:gd name="T80" fmla="*/ 328 w 412"/>
              <a:gd name="T81" fmla="*/ 67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2" h="677">
                <a:moveTo>
                  <a:pt x="328" y="671"/>
                </a:moveTo>
                <a:cubicBezTo>
                  <a:pt x="328" y="309"/>
                  <a:pt x="328" y="309"/>
                  <a:pt x="328" y="309"/>
                </a:cubicBezTo>
                <a:cubicBezTo>
                  <a:pt x="372" y="309"/>
                  <a:pt x="372" y="309"/>
                  <a:pt x="372" y="309"/>
                </a:cubicBezTo>
                <a:cubicBezTo>
                  <a:pt x="384" y="309"/>
                  <a:pt x="393" y="307"/>
                  <a:pt x="401" y="301"/>
                </a:cubicBezTo>
                <a:cubicBezTo>
                  <a:pt x="404" y="299"/>
                  <a:pt x="407" y="295"/>
                  <a:pt x="409" y="291"/>
                </a:cubicBezTo>
                <a:cubicBezTo>
                  <a:pt x="411" y="288"/>
                  <a:pt x="412" y="283"/>
                  <a:pt x="412" y="279"/>
                </a:cubicBezTo>
                <a:cubicBezTo>
                  <a:pt x="412" y="270"/>
                  <a:pt x="408" y="261"/>
                  <a:pt x="402" y="252"/>
                </a:cubicBezTo>
                <a:cubicBezTo>
                  <a:pt x="244" y="23"/>
                  <a:pt x="244" y="23"/>
                  <a:pt x="244" y="23"/>
                </a:cubicBezTo>
                <a:cubicBezTo>
                  <a:pt x="239" y="16"/>
                  <a:pt x="233" y="10"/>
                  <a:pt x="227" y="6"/>
                </a:cubicBezTo>
                <a:cubicBezTo>
                  <a:pt x="220" y="2"/>
                  <a:pt x="213" y="0"/>
                  <a:pt x="206" y="0"/>
                </a:cubicBezTo>
                <a:cubicBezTo>
                  <a:pt x="199" y="0"/>
                  <a:pt x="192" y="2"/>
                  <a:pt x="185" y="6"/>
                </a:cubicBezTo>
                <a:cubicBezTo>
                  <a:pt x="179" y="10"/>
                  <a:pt x="173" y="16"/>
                  <a:pt x="168" y="23"/>
                </a:cubicBezTo>
                <a:cubicBezTo>
                  <a:pt x="10" y="252"/>
                  <a:pt x="10" y="252"/>
                  <a:pt x="10" y="252"/>
                </a:cubicBezTo>
                <a:cubicBezTo>
                  <a:pt x="4" y="261"/>
                  <a:pt x="0" y="270"/>
                  <a:pt x="0" y="279"/>
                </a:cubicBezTo>
                <a:cubicBezTo>
                  <a:pt x="0" y="283"/>
                  <a:pt x="1" y="288"/>
                  <a:pt x="3" y="291"/>
                </a:cubicBezTo>
                <a:cubicBezTo>
                  <a:pt x="6" y="297"/>
                  <a:pt x="11" y="302"/>
                  <a:pt x="18" y="305"/>
                </a:cubicBezTo>
                <a:cubicBezTo>
                  <a:pt x="24" y="308"/>
                  <a:pt x="32" y="309"/>
                  <a:pt x="41" y="309"/>
                </a:cubicBezTo>
                <a:cubicBezTo>
                  <a:pt x="84" y="309"/>
                  <a:pt x="84" y="309"/>
                  <a:pt x="84" y="309"/>
                </a:cubicBezTo>
                <a:cubicBezTo>
                  <a:pt x="84" y="671"/>
                  <a:pt x="84" y="671"/>
                  <a:pt x="84" y="671"/>
                </a:cubicBezTo>
                <a:cubicBezTo>
                  <a:pt x="84" y="675"/>
                  <a:pt x="86" y="677"/>
                  <a:pt x="90" y="677"/>
                </a:cubicBezTo>
                <a:cubicBezTo>
                  <a:pt x="93" y="677"/>
                  <a:pt x="96" y="675"/>
                  <a:pt x="96" y="671"/>
                </a:cubicBezTo>
                <a:cubicBezTo>
                  <a:pt x="96" y="297"/>
                  <a:pt x="96" y="297"/>
                  <a:pt x="96" y="297"/>
                </a:cubicBezTo>
                <a:cubicBezTo>
                  <a:pt x="41" y="297"/>
                  <a:pt x="41" y="297"/>
                  <a:pt x="41" y="297"/>
                </a:cubicBezTo>
                <a:cubicBezTo>
                  <a:pt x="31" y="297"/>
                  <a:pt x="23" y="295"/>
                  <a:pt x="19" y="292"/>
                </a:cubicBezTo>
                <a:cubicBezTo>
                  <a:pt x="17" y="290"/>
                  <a:pt x="15" y="288"/>
                  <a:pt x="14" y="286"/>
                </a:cubicBezTo>
                <a:cubicBezTo>
                  <a:pt x="13" y="284"/>
                  <a:pt x="12" y="282"/>
                  <a:pt x="12" y="279"/>
                </a:cubicBezTo>
                <a:cubicBezTo>
                  <a:pt x="12" y="273"/>
                  <a:pt x="15" y="266"/>
                  <a:pt x="20" y="259"/>
                </a:cubicBezTo>
                <a:cubicBezTo>
                  <a:pt x="178" y="30"/>
                  <a:pt x="178" y="30"/>
                  <a:pt x="178" y="30"/>
                </a:cubicBezTo>
                <a:cubicBezTo>
                  <a:pt x="182" y="24"/>
                  <a:pt x="187" y="19"/>
                  <a:pt x="191" y="17"/>
                </a:cubicBezTo>
                <a:cubicBezTo>
                  <a:pt x="196" y="14"/>
                  <a:pt x="201" y="12"/>
                  <a:pt x="206" y="12"/>
                </a:cubicBezTo>
                <a:cubicBezTo>
                  <a:pt x="211" y="12"/>
                  <a:pt x="216" y="14"/>
                  <a:pt x="221" y="17"/>
                </a:cubicBezTo>
                <a:cubicBezTo>
                  <a:pt x="226" y="19"/>
                  <a:pt x="230" y="24"/>
                  <a:pt x="234" y="30"/>
                </a:cubicBezTo>
                <a:cubicBezTo>
                  <a:pt x="392" y="259"/>
                  <a:pt x="392" y="259"/>
                  <a:pt x="392" y="259"/>
                </a:cubicBezTo>
                <a:cubicBezTo>
                  <a:pt x="398" y="266"/>
                  <a:pt x="400" y="273"/>
                  <a:pt x="400" y="279"/>
                </a:cubicBezTo>
                <a:cubicBezTo>
                  <a:pt x="400" y="282"/>
                  <a:pt x="399" y="284"/>
                  <a:pt x="398" y="286"/>
                </a:cubicBezTo>
                <a:cubicBezTo>
                  <a:pt x="397" y="289"/>
                  <a:pt x="394" y="292"/>
                  <a:pt x="390" y="294"/>
                </a:cubicBezTo>
                <a:cubicBezTo>
                  <a:pt x="385" y="296"/>
                  <a:pt x="379" y="297"/>
                  <a:pt x="372" y="297"/>
                </a:cubicBezTo>
                <a:cubicBezTo>
                  <a:pt x="316" y="297"/>
                  <a:pt x="316" y="297"/>
                  <a:pt x="316" y="297"/>
                </a:cubicBezTo>
                <a:cubicBezTo>
                  <a:pt x="316" y="671"/>
                  <a:pt x="316" y="671"/>
                  <a:pt x="316" y="671"/>
                </a:cubicBezTo>
                <a:cubicBezTo>
                  <a:pt x="316" y="675"/>
                  <a:pt x="319" y="677"/>
                  <a:pt x="322" y="677"/>
                </a:cubicBezTo>
                <a:cubicBezTo>
                  <a:pt x="326" y="677"/>
                  <a:pt x="328" y="675"/>
                  <a:pt x="328" y="671"/>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2">
            <a:extLst>
              <a:ext uri="{FF2B5EF4-FFF2-40B4-BE49-F238E27FC236}">
                <a16:creationId xmlns:a16="http://schemas.microsoft.com/office/drawing/2014/main" id="{AB795269-9796-8041-BED5-99C8C5FA1FCF}"/>
              </a:ext>
            </a:extLst>
          </p:cNvPr>
          <p:cNvSpPr>
            <a:spLocks/>
          </p:cNvSpPr>
          <p:nvPr/>
        </p:nvSpPr>
        <p:spPr bwMode="auto">
          <a:xfrm>
            <a:off x="4109149" y="4976675"/>
            <a:ext cx="0" cy="627592"/>
          </a:xfrm>
          <a:custGeom>
            <a:avLst/>
            <a:gdLst>
              <a:gd name="T0" fmla="*/ 0 h 620"/>
              <a:gd name="T1" fmla="*/ 620 h 620"/>
              <a:gd name="T2" fmla="*/ 0 h 620"/>
            </a:gdLst>
            <a:ahLst/>
            <a:cxnLst>
              <a:cxn ang="0">
                <a:pos x="0" y="T0"/>
              </a:cxn>
              <a:cxn ang="0">
                <a:pos x="0" y="T1"/>
              </a:cxn>
              <a:cxn ang="0">
                <a:pos x="0" y="T2"/>
              </a:cxn>
            </a:cxnLst>
            <a:rect l="0" t="0" r="r" b="b"/>
            <a:pathLst>
              <a:path h="620">
                <a:moveTo>
                  <a:pt x="0" y="0"/>
                </a:moveTo>
                <a:lnTo>
                  <a:pt x="0" y="620"/>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Line 103">
            <a:extLst>
              <a:ext uri="{FF2B5EF4-FFF2-40B4-BE49-F238E27FC236}">
                <a16:creationId xmlns:a16="http://schemas.microsoft.com/office/drawing/2014/main" id="{8CCA10A0-33ED-CF46-8C66-9FDCF53E026B}"/>
              </a:ext>
            </a:extLst>
          </p:cNvPr>
          <p:cNvSpPr>
            <a:spLocks noChangeShapeType="1"/>
          </p:cNvSpPr>
          <p:nvPr/>
        </p:nvSpPr>
        <p:spPr bwMode="auto">
          <a:xfrm>
            <a:off x="4109149" y="4976675"/>
            <a:ext cx="0" cy="62759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4">
            <a:extLst>
              <a:ext uri="{FF2B5EF4-FFF2-40B4-BE49-F238E27FC236}">
                <a16:creationId xmlns:a16="http://schemas.microsoft.com/office/drawing/2014/main" id="{DDD4FBA6-92FD-B243-8F6F-669E687CFA4E}"/>
              </a:ext>
            </a:extLst>
          </p:cNvPr>
          <p:cNvSpPr>
            <a:spLocks/>
          </p:cNvSpPr>
          <p:nvPr/>
        </p:nvSpPr>
        <p:spPr bwMode="auto">
          <a:xfrm>
            <a:off x="4094977" y="4962503"/>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2"/>
                  <a:pt x="3" y="14"/>
                  <a:pt x="6" y="14"/>
                </a:cubicBezTo>
                <a:cubicBezTo>
                  <a:pt x="9" y="14"/>
                  <a:pt x="12" y="12"/>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5">
            <a:extLst>
              <a:ext uri="{FF2B5EF4-FFF2-40B4-BE49-F238E27FC236}">
                <a16:creationId xmlns:a16="http://schemas.microsoft.com/office/drawing/2014/main" id="{5AAE1EFE-465D-484D-A9F9-D8A8716623B4}"/>
              </a:ext>
            </a:extLst>
          </p:cNvPr>
          <p:cNvSpPr>
            <a:spLocks noEditPoints="1"/>
          </p:cNvSpPr>
          <p:nvPr/>
        </p:nvSpPr>
        <p:spPr bwMode="auto">
          <a:xfrm>
            <a:off x="4094977" y="5015140"/>
            <a:ext cx="29355" cy="550662"/>
          </a:xfrm>
          <a:custGeom>
            <a:avLst/>
            <a:gdLst>
              <a:gd name="T0" fmla="*/ 0 w 12"/>
              <a:gd name="T1" fmla="*/ 223 h 229"/>
              <a:gd name="T2" fmla="*/ 12 w 12"/>
              <a:gd name="T3" fmla="*/ 223 h 229"/>
              <a:gd name="T4" fmla="*/ 6 w 12"/>
              <a:gd name="T5" fmla="*/ 213 h 229"/>
              <a:gd name="T6" fmla="*/ 0 w 12"/>
              <a:gd name="T7" fmla="*/ 195 h 229"/>
              <a:gd name="T8" fmla="*/ 6 w 12"/>
              <a:gd name="T9" fmla="*/ 205 h 229"/>
              <a:gd name="T10" fmla="*/ 12 w 12"/>
              <a:gd name="T11" fmla="*/ 195 h 229"/>
              <a:gd name="T12" fmla="*/ 0 w 12"/>
              <a:gd name="T13" fmla="*/ 195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8 h 229"/>
              <a:gd name="T30" fmla="*/ 12 w 12"/>
              <a:gd name="T31" fmla="*/ 128 h 229"/>
              <a:gd name="T32" fmla="*/ 6 w 12"/>
              <a:gd name="T33" fmla="*/ 118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3 h 229"/>
              <a:gd name="T50" fmla="*/ 6 w 12"/>
              <a:gd name="T51" fmla="*/ 63 h 229"/>
              <a:gd name="T52" fmla="*/ 12 w 12"/>
              <a:gd name="T53" fmla="*/ 53 h 229"/>
              <a:gd name="T54" fmla="*/ 0 w 12"/>
              <a:gd name="T55" fmla="*/ 53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6"/>
                  <a:pt x="3" y="229"/>
                  <a:pt x="6" y="229"/>
                </a:cubicBezTo>
                <a:cubicBezTo>
                  <a:pt x="9" y="229"/>
                  <a:pt x="12" y="226"/>
                  <a:pt x="12" y="223"/>
                </a:cubicBezTo>
                <a:cubicBezTo>
                  <a:pt x="12" y="219"/>
                  <a:pt x="12" y="219"/>
                  <a:pt x="12" y="219"/>
                </a:cubicBezTo>
                <a:cubicBezTo>
                  <a:pt x="12" y="216"/>
                  <a:pt x="9" y="213"/>
                  <a:pt x="6" y="213"/>
                </a:cubicBezTo>
                <a:cubicBezTo>
                  <a:pt x="3" y="213"/>
                  <a:pt x="0" y="216"/>
                  <a:pt x="0" y="219"/>
                </a:cubicBezTo>
                <a:close/>
                <a:moveTo>
                  <a:pt x="0" y="195"/>
                </a:moveTo>
                <a:cubicBezTo>
                  <a:pt x="0" y="199"/>
                  <a:pt x="0" y="199"/>
                  <a:pt x="0" y="199"/>
                </a:cubicBezTo>
                <a:cubicBezTo>
                  <a:pt x="0" y="203"/>
                  <a:pt x="3" y="205"/>
                  <a:pt x="6" y="205"/>
                </a:cubicBezTo>
                <a:cubicBezTo>
                  <a:pt x="9" y="205"/>
                  <a:pt x="12" y="203"/>
                  <a:pt x="12" y="199"/>
                </a:cubicBezTo>
                <a:cubicBezTo>
                  <a:pt x="12" y="195"/>
                  <a:pt x="12" y="195"/>
                  <a:pt x="12" y="195"/>
                </a:cubicBezTo>
                <a:cubicBezTo>
                  <a:pt x="12" y="192"/>
                  <a:pt x="9" y="189"/>
                  <a:pt x="6" y="189"/>
                </a:cubicBezTo>
                <a:cubicBezTo>
                  <a:pt x="3" y="189"/>
                  <a:pt x="0" y="192"/>
                  <a:pt x="0" y="195"/>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8"/>
                  <a:pt x="9" y="166"/>
                  <a:pt x="6" y="166"/>
                </a:cubicBezTo>
                <a:cubicBezTo>
                  <a:pt x="3" y="166"/>
                  <a:pt x="0" y="168"/>
                  <a:pt x="0" y="172"/>
                </a:cubicBezTo>
                <a:close/>
                <a:moveTo>
                  <a:pt x="0" y="148"/>
                </a:moveTo>
                <a:cubicBezTo>
                  <a:pt x="0" y="152"/>
                  <a:pt x="0" y="152"/>
                  <a:pt x="0" y="152"/>
                </a:cubicBezTo>
                <a:cubicBezTo>
                  <a:pt x="0" y="155"/>
                  <a:pt x="3" y="158"/>
                  <a:pt x="6" y="158"/>
                </a:cubicBezTo>
                <a:cubicBezTo>
                  <a:pt x="9" y="158"/>
                  <a:pt x="12" y="155"/>
                  <a:pt x="12" y="152"/>
                </a:cubicBezTo>
                <a:cubicBezTo>
                  <a:pt x="12" y="148"/>
                  <a:pt x="12" y="148"/>
                  <a:pt x="12" y="148"/>
                </a:cubicBezTo>
                <a:cubicBezTo>
                  <a:pt x="12" y="145"/>
                  <a:pt x="9" y="142"/>
                  <a:pt x="6" y="142"/>
                </a:cubicBezTo>
                <a:cubicBezTo>
                  <a:pt x="3" y="142"/>
                  <a:pt x="0" y="145"/>
                  <a:pt x="0" y="148"/>
                </a:cubicBezTo>
                <a:close/>
                <a:moveTo>
                  <a:pt x="0" y="124"/>
                </a:moveTo>
                <a:cubicBezTo>
                  <a:pt x="0" y="128"/>
                  <a:pt x="0" y="128"/>
                  <a:pt x="0" y="128"/>
                </a:cubicBezTo>
                <a:cubicBezTo>
                  <a:pt x="0" y="132"/>
                  <a:pt x="3" y="134"/>
                  <a:pt x="6" y="134"/>
                </a:cubicBezTo>
                <a:cubicBezTo>
                  <a:pt x="9" y="134"/>
                  <a:pt x="12" y="132"/>
                  <a:pt x="12" y="128"/>
                </a:cubicBezTo>
                <a:cubicBezTo>
                  <a:pt x="12" y="124"/>
                  <a:pt x="12" y="124"/>
                  <a:pt x="12" y="124"/>
                </a:cubicBezTo>
                <a:cubicBezTo>
                  <a:pt x="12" y="121"/>
                  <a:pt x="9" y="118"/>
                  <a:pt x="6" y="118"/>
                </a:cubicBezTo>
                <a:cubicBezTo>
                  <a:pt x="3" y="118"/>
                  <a:pt x="0" y="121"/>
                  <a:pt x="0" y="124"/>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7"/>
                  <a:pt x="9" y="95"/>
                  <a:pt x="6" y="95"/>
                </a:cubicBezTo>
                <a:cubicBezTo>
                  <a:pt x="3" y="95"/>
                  <a:pt x="0" y="97"/>
                  <a:pt x="0" y="101"/>
                </a:cubicBezTo>
                <a:close/>
                <a:moveTo>
                  <a:pt x="0" y="77"/>
                </a:moveTo>
                <a:cubicBezTo>
                  <a:pt x="0" y="81"/>
                  <a:pt x="0" y="81"/>
                  <a:pt x="0" y="81"/>
                </a:cubicBezTo>
                <a:cubicBezTo>
                  <a:pt x="0" y="84"/>
                  <a:pt x="3" y="87"/>
                  <a:pt x="6" y="87"/>
                </a:cubicBezTo>
                <a:cubicBezTo>
                  <a:pt x="9" y="87"/>
                  <a:pt x="12" y="84"/>
                  <a:pt x="12" y="81"/>
                </a:cubicBezTo>
                <a:cubicBezTo>
                  <a:pt x="12" y="77"/>
                  <a:pt x="12" y="77"/>
                  <a:pt x="12" y="77"/>
                </a:cubicBezTo>
                <a:cubicBezTo>
                  <a:pt x="12" y="74"/>
                  <a:pt x="9" y="71"/>
                  <a:pt x="6" y="71"/>
                </a:cubicBezTo>
                <a:cubicBezTo>
                  <a:pt x="3" y="71"/>
                  <a:pt x="0" y="74"/>
                  <a:pt x="0" y="77"/>
                </a:cubicBezTo>
                <a:close/>
                <a:moveTo>
                  <a:pt x="0" y="53"/>
                </a:moveTo>
                <a:cubicBezTo>
                  <a:pt x="0" y="57"/>
                  <a:pt x="0" y="57"/>
                  <a:pt x="0" y="57"/>
                </a:cubicBezTo>
                <a:cubicBezTo>
                  <a:pt x="0" y="61"/>
                  <a:pt x="3" y="63"/>
                  <a:pt x="6" y="63"/>
                </a:cubicBezTo>
                <a:cubicBezTo>
                  <a:pt x="9" y="63"/>
                  <a:pt x="12" y="61"/>
                  <a:pt x="12" y="57"/>
                </a:cubicBezTo>
                <a:cubicBezTo>
                  <a:pt x="12" y="53"/>
                  <a:pt x="12" y="53"/>
                  <a:pt x="12" y="53"/>
                </a:cubicBezTo>
                <a:cubicBezTo>
                  <a:pt x="12" y="50"/>
                  <a:pt x="9" y="47"/>
                  <a:pt x="6" y="47"/>
                </a:cubicBezTo>
                <a:cubicBezTo>
                  <a:pt x="3" y="47"/>
                  <a:pt x="0" y="50"/>
                  <a:pt x="0" y="53"/>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6"/>
                  <a:pt x="9" y="24"/>
                  <a:pt x="6" y="24"/>
                </a:cubicBezTo>
                <a:cubicBezTo>
                  <a:pt x="3" y="24"/>
                  <a:pt x="0" y="26"/>
                  <a:pt x="0" y="30"/>
                </a:cubicBezTo>
                <a:close/>
                <a:moveTo>
                  <a:pt x="0" y="6"/>
                </a:moveTo>
                <a:cubicBezTo>
                  <a:pt x="0" y="10"/>
                  <a:pt x="0" y="10"/>
                  <a:pt x="0" y="10"/>
                </a:cubicBezTo>
                <a:cubicBezTo>
                  <a:pt x="0" y="13"/>
                  <a:pt x="3" y="16"/>
                  <a:pt x="6" y="16"/>
                </a:cubicBezTo>
                <a:cubicBezTo>
                  <a:pt x="9" y="16"/>
                  <a:pt x="12" y="13"/>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6">
            <a:extLst>
              <a:ext uri="{FF2B5EF4-FFF2-40B4-BE49-F238E27FC236}">
                <a16:creationId xmlns:a16="http://schemas.microsoft.com/office/drawing/2014/main" id="{52E074E3-03E2-5049-8503-91BED3556313}"/>
              </a:ext>
            </a:extLst>
          </p:cNvPr>
          <p:cNvSpPr>
            <a:spLocks/>
          </p:cNvSpPr>
          <p:nvPr/>
        </p:nvSpPr>
        <p:spPr bwMode="auto">
          <a:xfrm>
            <a:off x="4094977" y="5585034"/>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07">
            <a:extLst>
              <a:ext uri="{FF2B5EF4-FFF2-40B4-BE49-F238E27FC236}">
                <a16:creationId xmlns:a16="http://schemas.microsoft.com/office/drawing/2014/main" id="{7A726631-F5D1-B64C-A0CB-EDD1ED44F758}"/>
              </a:ext>
            </a:extLst>
          </p:cNvPr>
          <p:cNvSpPr>
            <a:spLocks/>
          </p:cNvSpPr>
          <p:nvPr/>
        </p:nvSpPr>
        <p:spPr bwMode="auto">
          <a:xfrm>
            <a:off x="4184055" y="4864315"/>
            <a:ext cx="0" cy="624556"/>
          </a:xfrm>
          <a:custGeom>
            <a:avLst/>
            <a:gdLst>
              <a:gd name="T0" fmla="*/ 0 h 617"/>
              <a:gd name="T1" fmla="*/ 617 h 617"/>
              <a:gd name="T2" fmla="*/ 0 h 617"/>
            </a:gdLst>
            <a:ahLst/>
            <a:cxnLst>
              <a:cxn ang="0">
                <a:pos x="0" y="T0"/>
              </a:cxn>
              <a:cxn ang="0">
                <a:pos x="0" y="T1"/>
              </a:cxn>
              <a:cxn ang="0">
                <a:pos x="0" y="T2"/>
              </a:cxn>
            </a:cxnLst>
            <a:rect l="0" t="0" r="r" b="b"/>
            <a:pathLst>
              <a:path h="617">
                <a:moveTo>
                  <a:pt x="0" y="0"/>
                </a:moveTo>
                <a:lnTo>
                  <a:pt x="0" y="617"/>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Line 108">
            <a:extLst>
              <a:ext uri="{FF2B5EF4-FFF2-40B4-BE49-F238E27FC236}">
                <a16:creationId xmlns:a16="http://schemas.microsoft.com/office/drawing/2014/main" id="{44EB1403-07EB-6B45-BB9D-8EBB380BEC5F}"/>
              </a:ext>
            </a:extLst>
          </p:cNvPr>
          <p:cNvSpPr>
            <a:spLocks noChangeShapeType="1"/>
          </p:cNvSpPr>
          <p:nvPr/>
        </p:nvSpPr>
        <p:spPr bwMode="auto">
          <a:xfrm>
            <a:off x="4184055" y="4864315"/>
            <a:ext cx="0" cy="62455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9">
            <a:extLst>
              <a:ext uri="{FF2B5EF4-FFF2-40B4-BE49-F238E27FC236}">
                <a16:creationId xmlns:a16="http://schemas.microsoft.com/office/drawing/2014/main" id="{6C26D494-69AC-0142-A46D-9A74DD2EB381}"/>
              </a:ext>
            </a:extLst>
          </p:cNvPr>
          <p:cNvSpPr>
            <a:spLocks/>
          </p:cNvSpPr>
          <p:nvPr/>
        </p:nvSpPr>
        <p:spPr bwMode="auto">
          <a:xfrm>
            <a:off x="4169883" y="4849132"/>
            <a:ext cx="28343" cy="34416"/>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10">
            <a:extLst>
              <a:ext uri="{FF2B5EF4-FFF2-40B4-BE49-F238E27FC236}">
                <a16:creationId xmlns:a16="http://schemas.microsoft.com/office/drawing/2014/main" id="{9C50BC30-469C-4F48-87F4-091B345A2228}"/>
              </a:ext>
            </a:extLst>
          </p:cNvPr>
          <p:cNvSpPr>
            <a:spLocks noEditPoints="1"/>
          </p:cNvSpPr>
          <p:nvPr/>
        </p:nvSpPr>
        <p:spPr bwMode="auto">
          <a:xfrm>
            <a:off x="4169883" y="4899744"/>
            <a:ext cx="28343" cy="550662"/>
          </a:xfrm>
          <a:custGeom>
            <a:avLst/>
            <a:gdLst>
              <a:gd name="T0" fmla="*/ 0 w 12"/>
              <a:gd name="T1" fmla="*/ 223 h 229"/>
              <a:gd name="T2" fmla="*/ 12 w 12"/>
              <a:gd name="T3" fmla="*/ 223 h 229"/>
              <a:gd name="T4" fmla="*/ 6 w 12"/>
              <a:gd name="T5" fmla="*/ 213 h 229"/>
              <a:gd name="T6" fmla="*/ 0 w 12"/>
              <a:gd name="T7" fmla="*/ 196 h 229"/>
              <a:gd name="T8" fmla="*/ 6 w 12"/>
              <a:gd name="T9" fmla="*/ 206 h 229"/>
              <a:gd name="T10" fmla="*/ 12 w 12"/>
              <a:gd name="T11" fmla="*/ 196 h 229"/>
              <a:gd name="T12" fmla="*/ 0 w 12"/>
              <a:gd name="T13" fmla="*/ 196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9 h 229"/>
              <a:gd name="T30" fmla="*/ 12 w 12"/>
              <a:gd name="T31" fmla="*/ 129 h 229"/>
              <a:gd name="T32" fmla="*/ 6 w 12"/>
              <a:gd name="T33" fmla="*/ 119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4 h 229"/>
              <a:gd name="T50" fmla="*/ 6 w 12"/>
              <a:gd name="T51" fmla="*/ 64 h 229"/>
              <a:gd name="T52" fmla="*/ 12 w 12"/>
              <a:gd name="T53" fmla="*/ 54 h 229"/>
              <a:gd name="T54" fmla="*/ 0 w 12"/>
              <a:gd name="T55" fmla="*/ 54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7"/>
                  <a:pt x="3" y="229"/>
                  <a:pt x="6" y="229"/>
                </a:cubicBezTo>
                <a:cubicBezTo>
                  <a:pt x="9" y="229"/>
                  <a:pt x="12" y="227"/>
                  <a:pt x="12" y="223"/>
                </a:cubicBezTo>
                <a:cubicBezTo>
                  <a:pt x="12" y="219"/>
                  <a:pt x="12" y="219"/>
                  <a:pt x="12" y="219"/>
                </a:cubicBezTo>
                <a:cubicBezTo>
                  <a:pt x="12" y="216"/>
                  <a:pt x="9" y="213"/>
                  <a:pt x="6" y="213"/>
                </a:cubicBezTo>
                <a:cubicBezTo>
                  <a:pt x="3" y="213"/>
                  <a:pt x="0" y="216"/>
                  <a:pt x="0" y="219"/>
                </a:cubicBezTo>
                <a:close/>
                <a:moveTo>
                  <a:pt x="0" y="196"/>
                </a:moveTo>
                <a:cubicBezTo>
                  <a:pt x="0" y="200"/>
                  <a:pt x="0" y="200"/>
                  <a:pt x="0" y="200"/>
                </a:cubicBezTo>
                <a:cubicBezTo>
                  <a:pt x="0" y="203"/>
                  <a:pt x="3" y="206"/>
                  <a:pt x="6" y="206"/>
                </a:cubicBezTo>
                <a:cubicBezTo>
                  <a:pt x="9" y="206"/>
                  <a:pt x="12" y="203"/>
                  <a:pt x="12" y="200"/>
                </a:cubicBezTo>
                <a:cubicBezTo>
                  <a:pt x="12" y="196"/>
                  <a:pt x="12" y="196"/>
                  <a:pt x="12" y="196"/>
                </a:cubicBezTo>
                <a:cubicBezTo>
                  <a:pt x="12" y="192"/>
                  <a:pt x="9" y="190"/>
                  <a:pt x="6" y="190"/>
                </a:cubicBezTo>
                <a:cubicBezTo>
                  <a:pt x="3" y="190"/>
                  <a:pt x="0" y="192"/>
                  <a:pt x="0" y="196"/>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9"/>
                  <a:pt x="9" y="166"/>
                  <a:pt x="6" y="166"/>
                </a:cubicBezTo>
                <a:cubicBezTo>
                  <a:pt x="3" y="166"/>
                  <a:pt x="0" y="169"/>
                  <a:pt x="0" y="172"/>
                </a:cubicBezTo>
                <a:close/>
                <a:moveTo>
                  <a:pt x="0" y="148"/>
                </a:moveTo>
                <a:cubicBezTo>
                  <a:pt x="0" y="152"/>
                  <a:pt x="0" y="152"/>
                  <a:pt x="0" y="152"/>
                </a:cubicBezTo>
                <a:cubicBezTo>
                  <a:pt x="0" y="156"/>
                  <a:pt x="3" y="158"/>
                  <a:pt x="6" y="158"/>
                </a:cubicBezTo>
                <a:cubicBezTo>
                  <a:pt x="9" y="158"/>
                  <a:pt x="12" y="156"/>
                  <a:pt x="12" y="152"/>
                </a:cubicBezTo>
                <a:cubicBezTo>
                  <a:pt x="12" y="148"/>
                  <a:pt x="12" y="148"/>
                  <a:pt x="12" y="148"/>
                </a:cubicBezTo>
                <a:cubicBezTo>
                  <a:pt x="12" y="145"/>
                  <a:pt x="9" y="142"/>
                  <a:pt x="6" y="142"/>
                </a:cubicBezTo>
                <a:cubicBezTo>
                  <a:pt x="3" y="142"/>
                  <a:pt x="0" y="145"/>
                  <a:pt x="0" y="148"/>
                </a:cubicBezTo>
                <a:close/>
                <a:moveTo>
                  <a:pt x="0" y="125"/>
                </a:moveTo>
                <a:cubicBezTo>
                  <a:pt x="0" y="129"/>
                  <a:pt x="0" y="129"/>
                  <a:pt x="0" y="129"/>
                </a:cubicBezTo>
                <a:cubicBezTo>
                  <a:pt x="0" y="132"/>
                  <a:pt x="3" y="135"/>
                  <a:pt x="6" y="135"/>
                </a:cubicBezTo>
                <a:cubicBezTo>
                  <a:pt x="9" y="135"/>
                  <a:pt x="12" y="132"/>
                  <a:pt x="12" y="129"/>
                </a:cubicBezTo>
                <a:cubicBezTo>
                  <a:pt x="12" y="125"/>
                  <a:pt x="12" y="125"/>
                  <a:pt x="12" y="125"/>
                </a:cubicBezTo>
                <a:cubicBezTo>
                  <a:pt x="12" y="121"/>
                  <a:pt x="9" y="119"/>
                  <a:pt x="6" y="119"/>
                </a:cubicBezTo>
                <a:cubicBezTo>
                  <a:pt x="3" y="119"/>
                  <a:pt x="0" y="121"/>
                  <a:pt x="0" y="125"/>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8"/>
                  <a:pt x="9" y="95"/>
                  <a:pt x="6" y="95"/>
                </a:cubicBezTo>
                <a:cubicBezTo>
                  <a:pt x="3" y="95"/>
                  <a:pt x="0" y="98"/>
                  <a:pt x="0" y="101"/>
                </a:cubicBezTo>
                <a:close/>
                <a:moveTo>
                  <a:pt x="0" y="77"/>
                </a:moveTo>
                <a:cubicBezTo>
                  <a:pt x="0" y="81"/>
                  <a:pt x="0" y="81"/>
                  <a:pt x="0" y="81"/>
                </a:cubicBezTo>
                <a:cubicBezTo>
                  <a:pt x="0" y="85"/>
                  <a:pt x="3" y="87"/>
                  <a:pt x="6" y="87"/>
                </a:cubicBezTo>
                <a:cubicBezTo>
                  <a:pt x="9" y="87"/>
                  <a:pt x="12" y="85"/>
                  <a:pt x="12" y="81"/>
                </a:cubicBezTo>
                <a:cubicBezTo>
                  <a:pt x="12" y="77"/>
                  <a:pt x="12" y="77"/>
                  <a:pt x="12" y="77"/>
                </a:cubicBezTo>
                <a:cubicBezTo>
                  <a:pt x="12" y="74"/>
                  <a:pt x="9" y="71"/>
                  <a:pt x="6" y="71"/>
                </a:cubicBezTo>
                <a:cubicBezTo>
                  <a:pt x="3" y="71"/>
                  <a:pt x="0" y="74"/>
                  <a:pt x="0" y="77"/>
                </a:cubicBezTo>
                <a:close/>
                <a:moveTo>
                  <a:pt x="0" y="54"/>
                </a:moveTo>
                <a:cubicBezTo>
                  <a:pt x="0" y="58"/>
                  <a:pt x="0" y="58"/>
                  <a:pt x="0" y="58"/>
                </a:cubicBezTo>
                <a:cubicBezTo>
                  <a:pt x="0" y="61"/>
                  <a:pt x="3" y="64"/>
                  <a:pt x="6" y="64"/>
                </a:cubicBezTo>
                <a:cubicBezTo>
                  <a:pt x="9" y="64"/>
                  <a:pt x="12" y="61"/>
                  <a:pt x="12" y="58"/>
                </a:cubicBezTo>
                <a:cubicBezTo>
                  <a:pt x="12" y="54"/>
                  <a:pt x="12" y="54"/>
                  <a:pt x="12" y="54"/>
                </a:cubicBezTo>
                <a:cubicBezTo>
                  <a:pt x="12" y="50"/>
                  <a:pt x="9" y="48"/>
                  <a:pt x="6" y="48"/>
                </a:cubicBezTo>
                <a:cubicBezTo>
                  <a:pt x="3" y="48"/>
                  <a:pt x="0" y="50"/>
                  <a:pt x="0" y="54"/>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7"/>
                  <a:pt x="9" y="24"/>
                  <a:pt x="6" y="24"/>
                </a:cubicBezTo>
                <a:cubicBezTo>
                  <a:pt x="3" y="24"/>
                  <a:pt x="0" y="27"/>
                  <a:pt x="0" y="30"/>
                </a:cubicBezTo>
                <a:close/>
                <a:moveTo>
                  <a:pt x="0" y="6"/>
                </a:moveTo>
                <a:cubicBezTo>
                  <a:pt x="0" y="10"/>
                  <a:pt x="0" y="10"/>
                  <a:pt x="0" y="10"/>
                </a:cubicBezTo>
                <a:cubicBezTo>
                  <a:pt x="0" y="14"/>
                  <a:pt x="3" y="16"/>
                  <a:pt x="6" y="16"/>
                </a:cubicBezTo>
                <a:cubicBezTo>
                  <a:pt x="9" y="16"/>
                  <a:pt x="12" y="14"/>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1">
            <a:extLst>
              <a:ext uri="{FF2B5EF4-FFF2-40B4-BE49-F238E27FC236}">
                <a16:creationId xmlns:a16="http://schemas.microsoft.com/office/drawing/2014/main" id="{BA4A28BB-7200-1149-9815-FB0EFDE243AE}"/>
              </a:ext>
            </a:extLst>
          </p:cNvPr>
          <p:cNvSpPr>
            <a:spLocks/>
          </p:cNvSpPr>
          <p:nvPr/>
        </p:nvSpPr>
        <p:spPr bwMode="auto">
          <a:xfrm>
            <a:off x="4169883" y="5469638"/>
            <a:ext cx="28343"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12">
            <a:extLst>
              <a:ext uri="{FF2B5EF4-FFF2-40B4-BE49-F238E27FC236}">
                <a16:creationId xmlns:a16="http://schemas.microsoft.com/office/drawing/2014/main" id="{622A2776-65E4-AB40-9FF0-0AB0C54DF696}"/>
              </a:ext>
            </a:extLst>
          </p:cNvPr>
          <p:cNvSpPr>
            <a:spLocks/>
          </p:cNvSpPr>
          <p:nvPr/>
        </p:nvSpPr>
        <p:spPr bwMode="auto">
          <a:xfrm>
            <a:off x="4198226" y="56933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 name="T16" fmla="*/ 615 w 615"/>
              <a:gd name="T17" fmla="*/ 204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5" h="550">
                <a:moveTo>
                  <a:pt x="615" y="204"/>
                </a:moveTo>
                <a:lnTo>
                  <a:pt x="615" y="0"/>
                </a:lnTo>
                <a:lnTo>
                  <a:pt x="0" y="0"/>
                </a:lnTo>
                <a:lnTo>
                  <a:pt x="0" y="434"/>
                </a:lnTo>
                <a:lnTo>
                  <a:pt x="107" y="434"/>
                </a:lnTo>
                <a:lnTo>
                  <a:pt x="107" y="550"/>
                </a:lnTo>
                <a:lnTo>
                  <a:pt x="223" y="434"/>
                </a:lnTo>
                <a:lnTo>
                  <a:pt x="408" y="434"/>
                </a:lnTo>
                <a:lnTo>
                  <a:pt x="615" y="20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13">
            <a:extLst>
              <a:ext uri="{FF2B5EF4-FFF2-40B4-BE49-F238E27FC236}">
                <a16:creationId xmlns:a16="http://schemas.microsoft.com/office/drawing/2014/main" id="{1BB49D38-5038-BD43-B70F-781C575D705A}"/>
              </a:ext>
            </a:extLst>
          </p:cNvPr>
          <p:cNvSpPr>
            <a:spLocks/>
          </p:cNvSpPr>
          <p:nvPr/>
        </p:nvSpPr>
        <p:spPr bwMode="auto">
          <a:xfrm>
            <a:off x="4198226" y="56933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5" h="550">
                <a:moveTo>
                  <a:pt x="615" y="204"/>
                </a:moveTo>
                <a:lnTo>
                  <a:pt x="615" y="0"/>
                </a:lnTo>
                <a:lnTo>
                  <a:pt x="0" y="0"/>
                </a:lnTo>
                <a:lnTo>
                  <a:pt x="0" y="434"/>
                </a:lnTo>
                <a:lnTo>
                  <a:pt x="107" y="434"/>
                </a:lnTo>
                <a:lnTo>
                  <a:pt x="107" y="550"/>
                </a:lnTo>
                <a:lnTo>
                  <a:pt x="223" y="434"/>
                </a:lnTo>
                <a:lnTo>
                  <a:pt x="408" y="4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14">
            <a:extLst>
              <a:ext uri="{FF2B5EF4-FFF2-40B4-BE49-F238E27FC236}">
                <a16:creationId xmlns:a16="http://schemas.microsoft.com/office/drawing/2014/main" id="{C7844834-669E-5042-B4F6-F67791E8F971}"/>
              </a:ext>
            </a:extLst>
          </p:cNvPr>
          <p:cNvSpPr>
            <a:spLocks/>
          </p:cNvSpPr>
          <p:nvPr/>
        </p:nvSpPr>
        <p:spPr bwMode="auto">
          <a:xfrm>
            <a:off x="4184055" y="5678161"/>
            <a:ext cx="650874" cy="586090"/>
          </a:xfrm>
          <a:custGeom>
            <a:avLst/>
            <a:gdLst>
              <a:gd name="T0" fmla="*/ 271 w 271"/>
              <a:gd name="T1" fmla="*/ 92 h 244"/>
              <a:gd name="T2" fmla="*/ 271 w 271"/>
              <a:gd name="T3" fmla="*/ 6 h 244"/>
              <a:gd name="T4" fmla="*/ 269 w 271"/>
              <a:gd name="T5" fmla="*/ 1 h 244"/>
              <a:gd name="T6" fmla="*/ 265 w 271"/>
              <a:gd name="T7" fmla="*/ 0 h 244"/>
              <a:gd name="T8" fmla="*/ 6 w 271"/>
              <a:gd name="T9" fmla="*/ 0 h 244"/>
              <a:gd name="T10" fmla="*/ 2 w 271"/>
              <a:gd name="T11" fmla="*/ 1 h 244"/>
              <a:gd name="T12" fmla="*/ 0 w 271"/>
              <a:gd name="T13" fmla="*/ 6 h 244"/>
              <a:gd name="T14" fmla="*/ 0 w 271"/>
              <a:gd name="T15" fmla="*/ 189 h 244"/>
              <a:gd name="T16" fmla="*/ 2 w 271"/>
              <a:gd name="T17" fmla="*/ 193 h 244"/>
              <a:gd name="T18" fmla="*/ 6 w 271"/>
              <a:gd name="T19" fmla="*/ 195 h 244"/>
              <a:gd name="T20" fmla="*/ 45 w 271"/>
              <a:gd name="T21" fmla="*/ 195 h 244"/>
              <a:gd name="T22" fmla="*/ 45 w 271"/>
              <a:gd name="T23" fmla="*/ 238 h 244"/>
              <a:gd name="T24" fmla="*/ 49 w 271"/>
              <a:gd name="T25" fmla="*/ 243 h 244"/>
              <a:gd name="T26" fmla="*/ 56 w 271"/>
              <a:gd name="T27" fmla="*/ 242 h 244"/>
              <a:gd name="T28" fmla="*/ 102 w 271"/>
              <a:gd name="T29" fmla="*/ 195 h 244"/>
              <a:gd name="T30" fmla="*/ 178 w 271"/>
              <a:gd name="T31" fmla="*/ 195 h 244"/>
              <a:gd name="T32" fmla="*/ 184 w 271"/>
              <a:gd name="T33" fmla="*/ 189 h 244"/>
              <a:gd name="T34" fmla="*/ 178 w 271"/>
              <a:gd name="T35" fmla="*/ 183 h 244"/>
              <a:gd name="T36" fmla="*/ 100 w 271"/>
              <a:gd name="T37" fmla="*/ 183 h 244"/>
              <a:gd name="T38" fmla="*/ 96 w 271"/>
              <a:gd name="T39" fmla="*/ 185 h 244"/>
              <a:gd name="T40" fmla="*/ 57 w 271"/>
              <a:gd name="T41" fmla="*/ 223 h 244"/>
              <a:gd name="T42" fmla="*/ 57 w 271"/>
              <a:gd name="T43" fmla="*/ 189 h 244"/>
              <a:gd name="T44" fmla="*/ 56 w 271"/>
              <a:gd name="T45" fmla="*/ 185 h 244"/>
              <a:gd name="T46" fmla="*/ 51 w 271"/>
              <a:gd name="T47" fmla="*/ 183 h 244"/>
              <a:gd name="T48" fmla="*/ 12 w 271"/>
              <a:gd name="T49" fmla="*/ 183 h 244"/>
              <a:gd name="T50" fmla="*/ 12 w 271"/>
              <a:gd name="T51" fmla="*/ 12 h 244"/>
              <a:gd name="T52" fmla="*/ 259 w 271"/>
              <a:gd name="T53" fmla="*/ 12 h 244"/>
              <a:gd name="T54" fmla="*/ 259 w 271"/>
              <a:gd name="T55" fmla="*/ 92 h 244"/>
              <a:gd name="T56" fmla="*/ 265 w 271"/>
              <a:gd name="T57" fmla="*/ 98 h 244"/>
              <a:gd name="T58" fmla="*/ 271 w 271"/>
              <a:gd name="T59" fmla="*/ 9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244">
                <a:moveTo>
                  <a:pt x="271" y="92"/>
                </a:moveTo>
                <a:cubicBezTo>
                  <a:pt x="271" y="6"/>
                  <a:pt x="271" y="6"/>
                  <a:pt x="271" y="6"/>
                </a:cubicBezTo>
                <a:cubicBezTo>
                  <a:pt x="271" y="4"/>
                  <a:pt x="270" y="2"/>
                  <a:pt x="269" y="1"/>
                </a:cubicBezTo>
                <a:cubicBezTo>
                  <a:pt x="268" y="0"/>
                  <a:pt x="266" y="0"/>
                  <a:pt x="265" y="0"/>
                </a:cubicBezTo>
                <a:cubicBezTo>
                  <a:pt x="6" y="0"/>
                  <a:pt x="6" y="0"/>
                  <a:pt x="6" y="0"/>
                </a:cubicBezTo>
                <a:cubicBezTo>
                  <a:pt x="5" y="0"/>
                  <a:pt x="3" y="0"/>
                  <a:pt x="2" y="1"/>
                </a:cubicBezTo>
                <a:cubicBezTo>
                  <a:pt x="1" y="2"/>
                  <a:pt x="0" y="4"/>
                  <a:pt x="0" y="6"/>
                </a:cubicBezTo>
                <a:cubicBezTo>
                  <a:pt x="0" y="189"/>
                  <a:pt x="0" y="189"/>
                  <a:pt x="0" y="189"/>
                </a:cubicBezTo>
                <a:cubicBezTo>
                  <a:pt x="0" y="191"/>
                  <a:pt x="1" y="192"/>
                  <a:pt x="2" y="193"/>
                </a:cubicBezTo>
                <a:cubicBezTo>
                  <a:pt x="3" y="194"/>
                  <a:pt x="5" y="195"/>
                  <a:pt x="6" y="195"/>
                </a:cubicBezTo>
                <a:cubicBezTo>
                  <a:pt x="45" y="195"/>
                  <a:pt x="45" y="195"/>
                  <a:pt x="45" y="195"/>
                </a:cubicBezTo>
                <a:cubicBezTo>
                  <a:pt x="45" y="238"/>
                  <a:pt x="45" y="238"/>
                  <a:pt x="45" y="238"/>
                </a:cubicBezTo>
                <a:cubicBezTo>
                  <a:pt x="45" y="240"/>
                  <a:pt x="47" y="242"/>
                  <a:pt x="49" y="243"/>
                </a:cubicBezTo>
                <a:cubicBezTo>
                  <a:pt x="51" y="244"/>
                  <a:pt x="54" y="244"/>
                  <a:pt x="56" y="242"/>
                </a:cubicBezTo>
                <a:cubicBezTo>
                  <a:pt x="102" y="195"/>
                  <a:pt x="102" y="195"/>
                  <a:pt x="102" y="195"/>
                </a:cubicBezTo>
                <a:cubicBezTo>
                  <a:pt x="178" y="195"/>
                  <a:pt x="178" y="195"/>
                  <a:pt x="178" y="195"/>
                </a:cubicBezTo>
                <a:cubicBezTo>
                  <a:pt x="181" y="195"/>
                  <a:pt x="184" y="192"/>
                  <a:pt x="184" y="189"/>
                </a:cubicBezTo>
                <a:cubicBezTo>
                  <a:pt x="184" y="186"/>
                  <a:pt x="181" y="183"/>
                  <a:pt x="178" y="183"/>
                </a:cubicBezTo>
                <a:cubicBezTo>
                  <a:pt x="100" y="183"/>
                  <a:pt x="100" y="183"/>
                  <a:pt x="100" y="183"/>
                </a:cubicBezTo>
                <a:cubicBezTo>
                  <a:pt x="98" y="183"/>
                  <a:pt x="97" y="184"/>
                  <a:pt x="96" y="185"/>
                </a:cubicBezTo>
                <a:cubicBezTo>
                  <a:pt x="57" y="223"/>
                  <a:pt x="57" y="223"/>
                  <a:pt x="57" y="223"/>
                </a:cubicBezTo>
                <a:cubicBezTo>
                  <a:pt x="57" y="189"/>
                  <a:pt x="57" y="189"/>
                  <a:pt x="57" y="189"/>
                </a:cubicBezTo>
                <a:cubicBezTo>
                  <a:pt x="57" y="187"/>
                  <a:pt x="57" y="186"/>
                  <a:pt x="56" y="185"/>
                </a:cubicBezTo>
                <a:cubicBezTo>
                  <a:pt x="54" y="184"/>
                  <a:pt x="53" y="183"/>
                  <a:pt x="51" y="183"/>
                </a:cubicBezTo>
                <a:cubicBezTo>
                  <a:pt x="12" y="183"/>
                  <a:pt x="12" y="183"/>
                  <a:pt x="12" y="183"/>
                </a:cubicBezTo>
                <a:cubicBezTo>
                  <a:pt x="12" y="12"/>
                  <a:pt x="12" y="12"/>
                  <a:pt x="12" y="12"/>
                </a:cubicBezTo>
                <a:cubicBezTo>
                  <a:pt x="259" y="12"/>
                  <a:pt x="259" y="12"/>
                  <a:pt x="259" y="12"/>
                </a:cubicBezTo>
                <a:cubicBezTo>
                  <a:pt x="259" y="92"/>
                  <a:pt x="259" y="92"/>
                  <a:pt x="259" y="92"/>
                </a:cubicBezTo>
                <a:cubicBezTo>
                  <a:pt x="259" y="95"/>
                  <a:pt x="261" y="98"/>
                  <a:pt x="265" y="98"/>
                </a:cubicBezTo>
                <a:cubicBezTo>
                  <a:pt x="268" y="98"/>
                  <a:pt x="271" y="95"/>
                  <a:pt x="271" y="92"/>
                </a:cubicBez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15">
            <a:extLst>
              <a:ext uri="{FF2B5EF4-FFF2-40B4-BE49-F238E27FC236}">
                <a16:creationId xmlns:a16="http://schemas.microsoft.com/office/drawing/2014/main" id="{5389DC2F-5710-894A-8B03-755F6954BDFD}"/>
              </a:ext>
            </a:extLst>
          </p:cNvPr>
          <p:cNvSpPr>
            <a:spLocks/>
          </p:cNvSpPr>
          <p:nvPr/>
        </p:nvSpPr>
        <p:spPr bwMode="auto">
          <a:xfrm>
            <a:off x="4352088" y="5803679"/>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Line 116">
            <a:extLst>
              <a:ext uri="{FF2B5EF4-FFF2-40B4-BE49-F238E27FC236}">
                <a16:creationId xmlns:a16="http://schemas.microsoft.com/office/drawing/2014/main" id="{5DCD08FA-F159-5747-ADCA-3F84F2798F7A}"/>
              </a:ext>
            </a:extLst>
          </p:cNvPr>
          <p:cNvSpPr>
            <a:spLocks noChangeShapeType="1"/>
          </p:cNvSpPr>
          <p:nvPr/>
        </p:nvSpPr>
        <p:spPr bwMode="auto">
          <a:xfrm>
            <a:off x="4352088" y="5803679"/>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17">
            <a:extLst>
              <a:ext uri="{FF2B5EF4-FFF2-40B4-BE49-F238E27FC236}">
                <a16:creationId xmlns:a16="http://schemas.microsoft.com/office/drawing/2014/main" id="{5113670D-B631-734F-98C1-AAAF064CCD0A}"/>
              </a:ext>
            </a:extLst>
          </p:cNvPr>
          <p:cNvSpPr>
            <a:spLocks/>
          </p:cNvSpPr>
          <p:nvPr/>
        </p:nvSpPr>
        <p:spPr bwMode="auto">
          <a:xfrm>
            <a:off x="4337916" y="5788496"/>
            <a:ext cx="415021" cy="29355"/>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2"/>
                  <a:pt x="170" y="0"/>
                  <a:pt x="167" y="0"/>
                </a:cubicBezTo>
                <a:cubicBezTo>
                  <a:pt x="6" y="0"/>
                  <a:pt x="6" y="0"/>
                  <a:pt x="6" y="0"/>
                </a:cubicBezTo>
                <a:cubicBezTo>
                  <a:pt x="3" y="0"/>
                  <a:pt x="0" y="2"/>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18">
            <a:extLst>
              <a:ext uri="{FF2B5EF4-FFF2-40B4-BE49-F238E27FC236}">
                <a16:creationId xmlns:a16="http://schemas.microsoft.com/office/drawing/2014/main" id="{00AD8C9B-3E66-9F4A-AED5-0451C510F5E2}"/>
              </a:ext>
            </a:extLst>
          </p:cNvPr>
          <p:cNvSpPr>
            <a:spLocks/>
          </p:cNvSpPr>
          <p:nvPr/>
        </p:nvSpPr>
        <p:spPr bwMode="auto">
          <a:xfrm>
            <a:off x="4352088" y="5870488"/>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Line 119">
            <a:extLst>
              <a:ext uri="{FF2B5EF4-FFF2-40B4-BE49-F238E27FC236}">
                <a16:creationId xmlns:a16="http://schemas.microsoft.com/office/drawing/2014/main" id="{D38178F0-259F-C948-B07E-CDCA735E5DCE}"/>
              </a:ext>
            </a:extLst>
          </p:cNvPr>
          <p:cNvSpPr>
            <a:spLocks noChangeShapeType="1"/>
          </p:cNvSpPr>
          <p:nvPr/>
        </p:nvSpPr>
        <p:spPr bwMode="auto">
          <a:xfrm>
            <a:off x="4352088" y="5870488"/>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20">
            <a:extLst>
              <a:ext uri="{FF2B5EF4-FFF2-40B4-BE49-F238E27FC236}">
                <a16:creationId xmlns:a16="http://schemas.microsoft.com/office/drawing/2014/main" id="{8043CF2D-3887-1942-B6EB-9FDF310CA499}"/>
              </a:ext>
            </a:extLst>
          </p:cNvPr>
          <p:cNvSpPr>
            <a:spLocks/>
          </p:cNvSpPr>
          <p:nvPr/>
        </p:nvSpPr>
        <p:spPr bwMode="auto">
          <a:xfrm>
            <a:off x="4337916" y="5856316"/>
            <a:ext cx="415021" cy="28343"/>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3"/>
                  <a:pt x="170" y="0"/>
                  <a:pt x="167" y="0"/>
                </a:cubicBezTo>
                <a:cubicBezTo>
                  <a:pt x="6" y="0"/>
                  <a:pt x="6" y="0"/>
                  <a:pt x="6" y="0"/>
                </a:cubicBezTo>
                <a:cubicBezTo>
                  <a:pt x="3" y="0"/>
                  <a:pt x="0" y="3"/>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21">
            <a:extLst>
              <a:ext uri="{FF2B5EF4-FFF2-40B4-BE49-F238E27FC236}">
                <a16:creationId xmlns:a16="http://schemas.microsoft.com/office/drawing/2014/main" id="{2D9A4684-CF15-4A42-BF93-C34A88554C0C}"/>
              </a:ext>
            </a:extLst>
          </p:cNvPr>
          <p:cNvSpPr>
            <a:spLocks/>
          </p:cNvSpPr>
          <p:nvPr/>
        </p:nvSpPr>
        <p:spPr bwMode="auto">
          <a:xfrm>
            <a:off x="4352088" y="5938308"/>
            <a:ext cx="285453" cy="0"/>
          </a:xfrm>
          <a:custGeom>
            <a:avLst/>
            <a:gdLst>
              <a:gd name="T0" fmla="*/ 0 w 282"/>
              <a:gd name="T1" fmla="*/ 282 w 282"/>
              <a:gd name="T2" fmla="*/ 0 w 282"/>
            </a:gdLst>
            <a:ahLst/>
            <a:cxnLst>
              <a:cxn ang="0">
                <a:pos x="T0" y="0"/>
              </a:cxn>
              <a:cxn ang="0">
                <a:pos x="T1" y="0"/>
              </a:cxn>
              <a:cxn ang="0">
                <a:pos x="T2" y="0"/>
              </a:cxn>
            </a:cxnLst>
            <a:rect l="0" t="0" r="r" b="b"/>
            <a:pathLst>
              <a:path w="282">
                <a:moveTo>
                  <a:pt x="0" y="0"/>
                </a:moveTo>
                <a:lnTo>
                  <a:pt x="2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Line 122">
            <a:extLst>
              <a:ext uri="{FF2B5EF4-FFF2-40B4-BE49-F238E27FC236}">
                <a16:creationId xmlns:a16="http://schemas.microsoft.com/office/drawing/2014/main" id="{560BC743-A6E9-1143-BC81-50593F876654}"/>
              </a:ext>
            </a:extLst>
          </p:cNvPr>
          <p:cNvSpPr>
            <a:spLocks noChangeShapeType="1"/>
          </p:cNvSpPr>
          <p:nvPr/>
        </p:nvSpPr>
        <p:spPr bwMode="auto">
          <a:xfrm>
            <a:off x="4352088" y="5938308"/>
            <a:ext cx="28545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23">
            <a:extLst>
              <a:ext uri="{FF2B5EF4-FFF2-40B4-BE49-F238E27FC236}">
                <a16:creationId xmlns:a16="http://schemas.microsoft.com/office/drawing/2014/main" id="{B4156267-2E09-B841-AC41-92F0E2323E47}"/>
              </a:ext>
            </a:extLst>
          </p:cNvPr>
          <p:cNvSpPr>
            <a:spLocks/>
          </p:cNvSpPr>
          <p:nvPr/>
        </p:nvSpPr>
        <p:spPr bwMode="auto">
          <a:xfrm>
            <a:off x="4337916" y="5923124"/>
            <a:ext cx="314808" cy="29355"/>
          </a:xfrm>
          <a:custGeom>
            <a:avLst/>
            <a:gdLst>
              <a:gd name="T0" fmla="*/ 6 w 131"/>
              <a:gd name="T1" fmla="*/ 12 h 12"/>
              <a:gd name="T2" fmla="*/ 125 w 131"/>
              <a:gd name="T3" fmla="*/ 12 h 12"/>
              <a:gd name="T4" fmla="*/ 131 w 131"/>
              <a:gd name="T5" fmla="*/ 6 h 12"/>
              <a:gd name="T6" fmla="*/ 125 w 131"/>
              <a:gd name="T7" fmla="*/ 0 h 12"/>
              <a:gd name="T8" fmla="*/ 6 w 131"/>
              <a:gd name="T9" fmla="*/ 0 h 12"/>
              <a:gd name="T10" fmla="*/ 0 w 131"/>
              <a:gd name="T11" fmla="*/ 6 h 12"/>
              <a:gd name="T12" fmla="*/ 6 w 13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1" h="12">
                <a:moveTo>
                  <a:pt x="6" y="12"/>
                </a:moveTo>
                <a:cubicBezTo>
                  <a:pt x="125" y="12"/>
                  <a:pt x="125" y="12"/>
                  <a:pt x="125" y="12"/>
                </a:cubicBezTo>
                <a:cubicBezTo>
                  <a:pt x="128" y="12"/>
                  <a:pt x="131" y="10"/>
                  <a:pt x="131" y="6"/>
                </a:cubicBezTo>
                <a:cubicBezTo>
                  <a:pt x="131" y="3"/>
                  <a:pt x="128" y="0"/>
                  <a:pt x="125"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24">
            <a:extLst>
              <a:ext uri="{FF2B5EF4-FFF2-40B4-BE49-F238E27FC236}">
                <a16:creationId xmlns:a16="http://schemas.microsoft.com/office/drawing/2014/main" id="{B1E7003C-01E6-644C-B189-19C7350CA479}"/>
              </a:ext>
            </a:extLst>
          </p:cNvPr>
          <p:cNvSpPr>
            <a:spLocks/>
          </p:cNvSpPr>
          <p:nvPr/>
        </p:nvSpPr>
        <p:spPr bwMode="auto">
          <a:xfrm>
            <a:off x="4352088" y="6005116"/>
            <a:ext cx="242939" cy="0"/>
          </a:xfrm>
          <a:custGeom>
            <a:avLst/>
            <a:gdLst>
              <a:gd name="T0" fmla="*/ 0 w 240"/>
              <a:gd name="T1" fmla="*/ 240 w 240"/>
              <a:gd name="T2" fmla="*/ 0 w 240"/>
            </a:gdLst>
            <a:ahLst/>
            <a:cxnLst>
              <a:cxn ang="0">
                <a:pos x="T0" y="0"/>
              </a:cxn>
              <a:cxn ang="0">
                <a:pos x="T1" y="0"/>
              </a:cxn>
              <a:cxn ang="0">
                <a:pos x="T2" y="0"/>
              </a:cxn>
            </a:cxnLst>
            <a:rect l="0" t="0" r="r" b="b"/>
            <a:pathLst>
              <a:path w="240">
                <a:moveTo>
                  <a:pt x="0" y="0"/>
                </a:moveTo>
                <a:lnTo>
                  <a:pt x="24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Line 125">
            <a:extLst>
              <a:ext uri="{FF2B5EF4-FFF2-40B4-BE49-F238E27FC236}">
                <a16:creationId xmlns:a16="http://schemas.microsoft.com/office/drawing/2014/main" id="{2E80CAC8-6C4E-584F-8C21-52EF04D41EEF}"/>
              </a:ext>
            </a:extLst>
          </p:cNvPr>
          <p:cNvSpPr>
            <a:spLocks noChangeShapeType="1"/>
          </p:cNvSpPr>
          <p:nvPr/>
        </p:nvSpPr>
        <p:spPr bwMode="auto">
          <a:xfrm>
            <a:off x="4352088" y="6005116"/>
            <a:ext cx="242939"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26">
            <a:extLst>
              <a:ext uri="{FF2B5EF4-FFF2-40B4-BE49-F238E27FC236}">
                <a16:creationId xmlns:a16="http://schemas.microsoft.com/office/drawing/2014/main" id="{39C0026C-A948-344C-830F-085A12E23000}"/>
              </a:ext>
            </a:extLst>
          </p:cNvPr>
          <p:cNvSpPr>
            <a:spLocks/>
          </p:cNvSpPr>
          <p:nvPr/>
        </p:nvSpPr>
        <p:spPr bwMode="auto">
          <a:xfrm>
            <a:off x="4337916" y="5990945"/>
            <a:ext cx="271282" cy="28343"/>
          </a:xfrm>
          <a:custGeom>
            <a:avLst/>
            <a:gdLst>
              <a:gd name="T0" fmla="*/ 6 w 113"/>
              <a:gd name="T1" fmla="*/ 12 h 12"/>
              <a:gd name="T2" fmla="*/ 107 w 113"/>
              <a:gd name="T3" fmla="*/ 12 h 12"/>
              <a:gd name="T4" fmla="*/ 113 w 113"/>
              <a:gd name="T5" fmla="*/ 6 h 12"/>
              <a:gd name="T6" fmla="*/ 107 w 113"/>
              <a:gd name="T7" fmla="*/ 0 h 12"/>
              <a:gd name="T8" fmla="*/ 6 w 113"/>
              <a:gd name="T9" fmla="*/ 0 h 12"/>
              <a:gd name="T10" fmla="*/ 0 w 113"/>
              <a:gd name="T11" fmla="*/ 6 h 12"/>
              <a:gd name="T12" fmla="*/ 6 w 11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3" h="12">
                <a:moveTo>
                  <a:pt x="6" y="12"/>
                </a:moveTo>
                <a:cubicBezTo>
                  <a:pt x="107" y="12"/>
                  <a:pt x="107" y="12"/>
                  <a:pt x="107" y="12"/>
                </a:cubicBezTo>
                <a:cubicBezTo>
                  <a:pt x="111" y="12"/>
                  <a:pt x="113" y="10"/>
                  <a:pt x="113" y="6"/>
                </a:cubicBezTo>
                <a:cubicBezTo>
                  <a:pt x="113" y="3"/>
                  <a:pt x="111" y="0"/>
                  <a:pt x="107"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27">
            <a:extLst>
              <a:ext uri="{FF2B5EF4-FFF2-40B4-BE49-F238E27FC236}">
                <a16:creationId xmlns:a16="http://schemas.microsoft.com/office/drawing/2014/main" id="{99287475-642B-8D45-9723-A41AC233D4B2}"/>
              </a:ext>
            </a:extLst>
          </p:cNvPr>
          <p:cNvSpPr>
            <a:spLocks/>
          </p:cNvSpPr>
          <p:nvPr/>
        </p:nvSpPr>
        <p:spPr bwMode="auto">
          <a:xfrm>
            <a:off x="4275157" y="5803679"/>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Line 128">
            <a:extLst>
              <a:ext uri="{FF2B5EF4-FFF2-40B4-BE49-F238E27FC236}">
                <a16:creationId xmlns:a16="http://schemas.microsoft.com/office/drawing/2014/main" id="{F121346F-DAD4-6246-9D2D-45C866D17E77}"/>
              </a:ext>
            </a:extLst>
          </p:cNvPr>
          <p:cNvSpPr>
            <a:spLocks noChangeShapeType="1"/>
          </p:cNvSpPr>
          <p:nvPr/>
        </p:nvSpPr>
        <p:spPr bwMode="auto">
          <a:xfrm flipH="1">
            <a:off x="4275157" y="5803679"/>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29">
            <a:extLst>
              <a:ext uri="{FF2B5EF4-FFF2-40B4-BE49-F238E27FC236}">
                <a16:creationId xmlns:a16="http://schemas.microsoft.com/office/drawing/2014/main" id="{9A8B8FA8-02CF-A146-8DA2-7B42AC952A68}"/>
              </a:ext>
            </a:extLst>
          </p:cNvPr>
          <p:cNvSpPr>
            <a:spLocks/>
          </p:cNvSpPr>
          <p:nvPr/>
        </p:nvSpPr>
        <p:spPr bwMode="auto">
          <a:xfrm>
            <a:off x="4260985" y="5788496"/>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2"/>
                  <a:pt x="0" y="6"/>
                </a:cubicBezTo>
                <a:cubicBezTo>
                  <a:pt x="0" y="9"/>
                  <a:pt x="2" y="12"/>
                  <a:pt x="6" y="12"/>
                </a:cubicBezTo>
                <a:cubicBezTo>
                  <a:pt x="17" y="12"/>
                  <a:pt x="17" y="12"/>
                  <a:pt x="17" y="12"/>
                </a:cubicBezTo>
                <a:cubicBezTo>
                  <a:pt x="20" y="12"/>
                  <a:pt x="23" y="9"/>
                  <a:pt x="23" y="6"/>
                </a:cubicBezTo>
                <a:cubicBezTo>
                  <a:pt x="23" y="2"/>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30">
            <a:extLst>
              <a:ext uri="{FF2B5EF4-FFF2-40B4-BE49-F238E27FC236}">
                <a16:creationId xmlns:a16="http://schemas.microsoft.com/office/drawing/2014/main" id="{13171C50-8D16-564D-8CC7-AFD472EE89A3}"/>
              </a:ext>
            </a:extLst>
          </p:cNvPr>
          <p:cNvSpPr>
            <a:spLocks/>
          </p:cNvSpPr>
          <p:nvPr/>
        </p:nvSpPr>
        <p:spPr bwMode="auto">
          <a:xfrm>
            <a:off x="4275157" y="587048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Line 131">
            <a:extLst>
              <a:ext uri="{FF2B5EF4-FFF2-40B4-BE49-F238E27FC236}">
                <a16:creationId xmlns:a16="http://schemas.microsoft.com/office/drawing/2014/main" id="{95733B60-FB09-F349-AB7D-F831092B24C9}"/>
              </a:ext>
            </a:extLst>
          </p:cNvPr>
          <p:cNvSpPr>
            <a:spLocks noChangeShapeType="1"/>
          </p:cNvSpPr>
          <p:nvPr/>
        </p:nvSpPr>
        <p:spPr bwMode="auto">
          <a:xfrm flipH="1">
            <a:off x="4275157" y="587048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32">
            <a:extLst>
              <a:ext uri="{FF2B5EF4-FFF2-40B4-BE49-F238E27FC236}">
                <a16:creationId xmlns:a16="http://schemas.microsoft.com/office/drawing/2014/main" id="{5F85FCD8-474F-B545-815C-96C846CD618E}"/>
              </a:ext>
            </a:extLst>
          </p:cNvPr>
          <p:cNvSpPr>
            <a:spLocks/>
          </p:cNvSpPr>
          <p:nvPr/>
        </p:nvSpPr>
        <p:spPr bwMode="auto">
          <a:xfrm>
            <a:off x="4260985" y="5856316"/>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9"/>
                  <a:pt x="2" y="12"/>
                  <a:pt x="6" y="12"/>
                </a:cubicBezTo>
                <a:cubicBezTo>
                  <a:pt x="17" y="12"/>
                  <a:pt x="17" y="12"/>
                  <a:pt x="17" y="12"/>
                </a:cubicBezTo>
                <a:cubicBezTo>
                  <a:pt x="20" y="12"/>
                  <a:pt x="23" y="9"/>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33">
            <a:extLst>
              <a:ext uri="{FF2B5EF4-FFF2-40B4-BE49-F238E27FC236}">
                <a16:creationId xmlns:a16="http://schemas.microsoft.com/office/drawing/2014/main" id="{6551F086-1A44-074B-997F-072AF66A16AC}"/>
              </a:ext>
            </a:extLst>
          </p:cNvPr>
          <p:cNvSpPr>
            <a:spLocks/>
          </p:cNvSpPr>
          <p:nvPr/>
        </p:nvSpPr>
        <p:spPr bwMode="auto">
          <a:xfrm>
            <a:off x="4275157" y="593830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Line 134">
            <a:extLst>
              <a:ext uri="{FF2B5EF4-FFF2-40B4-BE49-F238E27FC236}">
                <a16:creationId xmlns:a16="http://schemas.microsoft.com/office/drawing/2014/main" id="{8D8E2725-1AD5-BA4A-A4F3-C1F64C153508}"/>
              </a:ext>
            </a:extLst>
          </p:cNvPr>
          <p:cNvSpPr>
            <a:spLocks noChangeShapeType="1"/>
          </p:cNvSpPr>
          <p:nvPr/>
        </p:nvSpPr>
        <p:spPr bwMode="auto">
          <a:xfrm flipH="1">
            <a:off x="4275157" y="593830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35">
            <a:extLst>
              <a:ext uri="{FF2B5EF4-FFF2-40B4-BE49-F238E27FC236}">
                <a16:creationId xmlns:a16="http://schemas.microsoft.com/office/drawing/2014/main" id="{733F257E-105A-A842-A8AF-74D2AC005126}"/>
              </a:ext>
            </a:extLst>
          </p:cNvPr>
          <p:cNvSpPr>
            <a:spLocks/>
          </p:cNvSpPr>
          <p:nvPr/>
        </p:nvSpPr>
        <p:spPr bwMode="auto">
          <a:xfrm>
            <a:off x="4260985" y="5923124"/>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36">
            <a:extLst>
              <a:ext uri="{FF2B5EF4-FFF2-40B4-BE49-F238E27FC236}">
                <a16:creationId xmlns:a16="http://schemas.microsoft.com/office/drawing/2014/main" id="{85CEB82C-613E-0F4C-B438-CA30F5D03A15}"/>
              </a:ext>
            </a:extLst>
          </p:cNvPr>
          <p:cNvSpPr>
            <a:spLocks/>
          </p:cNvSpPr>
          <p:nvPr/>
        </p:nvSpPr>
        <p:spPr bwMode="auto">
          <a:xfrm>
            <a:off x="4275157" y="6005116"/>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Line 137">
            <a:extLst>
              <a:ext uri="{FF2B5EF4-FFF2-40B4-BE49-F238E27FC236}">
                <a16:creationId xmlns:a16="http://schemas.microsoft.com/office/drawing/2014/main" id="{617C5554-B294-394F-95CB-BF6119CFAB85}"/>
              </a:ext>
            </a:extLst>
          </p:cNvPr>
          <p:cNvSpPr>
            <a:spLocks noChangeShapeType="1"/>
          </p:cNvSpPr>
          <p:nvPr/>
        </p:nvSpPr>
        <p:spPr bwMode="auto">
          <a:xfrm flipH="1">
            <a:off x="4275157" y="6005116"/>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38">
            <a:extLst>
              <a:ext uri="{FF2B5EF4-FFF2-40B4-BE49-F238E27FC236}">
                <a16:creationId xmlns:a16="http://schemas.microsoft.com/office/drawing/2014/main" id="{C6AB13D2-FB3F-F847-8E1A-35123E281825}"/>
              </a:ext>
            </a:extLst>
          </p:cNvPr>
          <p:cNvSpPr>
            <a:spLocks/>
          </p:cNvSpPr>
          <p:nvPr/>
        </p:nvSpPr>
        <p:spPr bwMode="auto">
          <a:xfrm>
            <a:off x="4260985" y="5990945"/>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39">
            <a:extLst>
              <a:ext uri="{FF2B5EF4-FFF2-40B4-BE49-F238E27FC236}">
                <a16:creationId xmlns:a16="http://schemas.microsoft.com/office/drawing/2014/main" id="{B9BD2F86-BD9D-7F4B-AE3D-098E4E318425}"/>
              </a:ext>
            </a:extLst>
          </p:cNvPr>
          <p:cNvSpPr>
            <a:spLocks/>
          </p:cNvSpPr>
          <p:nvPr/>
        </p:nvSpPr>
        <p:spPr bwMode="auto">
          <a:xfrm>
            <a:off x="4698276" y="5899843"/>
            <a:ext cx="119445" cy="208523"/>
          </a:xfrm>
          <a:custGeom>
            <a:avLst/>
            <a:gdLst>
              <a:gd name="T0" fmla="*/ 50 w 50"/>
              <a:gd name="T1" fmla="*/ 87 h 87"/>
              <a:gd name="T2" fmla="*/ 0 w 50"/>
              <a:gd name="T3" fmla="*/ 17 h 87"/>
              <a:gd name="T4" fmla="*/ 50 w 50"/>
              <a:gd name="T5" fmla="*/ 0 h 87"/>
              <a:gd name="T6" fmla="*/ 50 w 50"/>
              <a:gd name="T7" fmla="*/ 87 h 87"/>
            </a:gdLst>
            <a:ahLst/>
            <a:cxnLst>
              <a:cxn ang="0">
                <a:pos x="T0" y="T1"/>
              </a:cxn>
              <a:cxn ang="0">
                <a:pos x="T2" y="T3"/>
              </a:cxn>
              <a:cxn ang="0">
                <a:pos x="T4" y="T5"/>
              </a:cxn>
              <a:cxn ang="0">
                <a:pos x="T6" y="T7"/>
              </a:cxn>
            </a:cxnLst>
            <a:rect l="0" t="0" r="r" b="b"/>
            <a:pathLst>
              <a:path w="50" h="87">
                <a:moveTo>
                  <a:pt x="50" y="87"/>
                </a:moveTo>
                <a:cubicBezTo>
                  <a:pt x="0" y="17"/>
                  <a:pt x="0" y="17"/>
                  <a:pt x="0" y="17"/>
                </a:cubicBezTo>
                <a:cubicBezTo>
                  <a:pt x="15" y="6"/>
                  <a:pt x="31" y="0"/>
                  <a:pt x="50" y="0"/>
                </a:cubicBezTo>
                <a:lnTo>
                  <a:pt x="50" y="8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34" name="Freeform 140">
            <a:extLst>
              <a:ext uri="{FF2B5EF4-FFF2-40B4-BE49-F238E27FC236}">
                <a16:creationId xmlns:a16="http://schemas.microsoft.com/office/drawing/2014/main" id="{CE85A03D-2B19-D34F-A7AF-6FC4662BCC45}"/>
              </a:ext>
            </a:extLst>
          </p:cNvPr>
          <p:cNvSpPr>
            <a:spLocks/>
          </p:cNvSpPr>
          <p:nvPr/>
        </p:nvSpPr>
        <p:spPr bwMode="auto">
          <a:xfrm>
            <a:off x="4683092" y="5884659"/>
            <a:ext cx="148800" cy="237878"/>
          </a:xfrm>
          <a:custGeom>
            <a:avLst/>
            <a:gdLst>
              <a:gd name="T0" fmla="*/ 56 w 62"/>
              <a:gd name="T1" fmla="*/ 93 h 99"/>
              <a:gd name="T2" fmla="*/ 61 w 62"/>
              <a:gd name="T3" fmla="*/ 89 h 99"/>
              <a:gd name="T4" fmla="*/ 11 w 62"/>
              <a:gd name="T5" fmla="*/ 19 h 99"/>
              <a:gd name="T6" fmla="*/ 6 w 62"/>
              <a:gd name="T7" fmla="*/ 23 h 99"/>
              <a:gd name="T8" fmla="*/ 9 w 62"/>
              <a:gd name="T9" fmla="*/ 28 h 99"/>
              <a:gd name="T10" fmla="*/ 56 w 62"/>
              <a:gd name="T11" fmla="*/ 12 h 99"/>
              <a:gd name="T12" fmla="*/ 56 w 62"/>
              <a:gd name="T13" fmla="*/ 6 h 99"/>
              <a:gd name="T14" fmla="*/ 50 w 62"/>
              <a:gd name="T15" fmla="*/ 6 h 99"/>
              <a:gd name="T16" fmla="*/ 50 w 62"/>
              <a:gd name="T17" fmla="*/ 93 h 99"/>
              <a:gd name="T18" fmla="*/ 56 w 62"/>
              <a:gd name="T19" fmla="*/ 93 h 99"/>
              <a:gd name="T20" fmla="*/ 61 w 62"/>
              <a:gd name="T21" fmla="*/ 89 h 99"/>
              <a:gd name="T22" fmla="*/ 56 w 62"/>
              <a:gd name="T23" fmla="*/ 93 h 99"/>
              <a:gd name="T24" fmla="*/ 62 w 62"/>
              <a:gd name="T25" fmla="*/ 93 h 99"/>
              <a:gd name="T26" fmla="*/ 62 w 62"/>
              <a:gd name="T27" fmla="*/ 6 h 99"/>
              <a:gd name="T28" fmla="*/ 61 w 62"/>
              <a:gd name="T29" fmla="*/ 2 h 99"/>
              <a:gd name="T30" fmla="*/ 56 w 62"/>
              <a:gd name="T31" fmla="*/ 0 h 99"/>
              <a:gd name="T32" fmla="*/ 2 w 62"/>
              <a:gd name="T33" fmla="*/ 18 h 99"/>
              <a:gd name="T34" fmla="*/ 0 w 62"/>
              <a:gd name="T35" fmla="*/ 22 h 99"/>
              <a:gd name="T36" fmla="*/ 1 w 62"/>
              <a:gd name="T37" fmla="*/ 26 h 99"/>
              <a:gd name="T38" fmla="*/ 52 w 62"/>
              <a:gd name="T39" fmla="*/ 96 h 99"/>
              <a:gd name="T40" fmla="*/ 58 w 62"/>
              <a:gd name="T41" fmla="*/ 98 h 99"/>
              <a:gd name="T42" fmla="*/ 62 w 62"/>
              <a:gd name="T43" fmla="*/ 93 h 99"/>
              <a:gd name="T44" fmla="*/ 56 w 62"/>
              <a:gd name="T45"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99">
                <a:moveTo>
                  <a:pt x="56" y="93"/>
                </a:moveTo>
                <a:cubicBezTo>
                  <a:pt x="61" y="89"/>
                  <a:pt x="61" y="89"/>
                  <a:pt x="61" y="89"/>
                </a:cubicBezTo>
                <a:cubicBezTo>
                  <a:pt x="11" y="19"/>
                  <a:pt x="11" y="19"/>
                  <a:pt x="11" y="19"/>
                </a:cubicBezTo>
                <a:cubicBezTo>
                  <a:pt x="6" y="23"/>
                  <a:pt x="6" y="23"/>
                  <a:pt x="6" y="23"/>
                </a:cubicBezTo>
                <a:cubicBezTo>
                  <a:pt x="9" y="28"/>
                  <a:pt x="9" y="28"/>
                  <a:pt x="9" y="28"/>
                </a:cubicBezTo>
                <a:cubicBezTo>
                  <a:pt x="24" y="17"/>
                  <a:pt x="39" y="12"/>
                  <a:pt x="56" y="12"/>
                </a:cubicBezTo>
                <a:cubicBezTo>
                  <a:pt x="56" y="6"/>
                  <a:pt x="56" y="6"/>
                  <a:pt x="56" y="6"/>
                </a:cubicBezTo>
                <a:cubicBezTo>
                  <a:pt x="50" y="6"/>
                  <a:pt x="50" y="6"/>
                  <a:pt x="50" y="6"/>
                </a:cubicBezTo>
                <a:cubicBezTo>
                  <a:pt x="50" y="93"/>
                  <a:pt x="50" y="93"/>
                  <a:pt x="50" y="93"/>
                </a:cubicBezTo>
                <a:cubicBezTo>
                  <a:pt x="56" y="93"/>
                  <a:pt x="56" y="93"/>
                  <a:pt x="56" y="93"/>
                </a:cubicBezTo>
                <a:cubicBezTo>
                  <a:pt x="61" y="89"/>
                  <a:pt x="61" y="89"/>
                  <a:pt x="61" y="89"/>
                </a:cubicBezTo>
                <a:cubicBezTo>
                  <a:pt x="56" y="93"/>
                  <a:pt x="56" y="93"/>
                  <a:pt x="56" y="93"/>
                </a:cubicBezTo>
                <a:cubicBezTo>
                  <a:pt x="62" y="93"/>
                  <a:pt x="62" y="93"/>
                  <a:pt x="62" y="93"/>
                </a:cubicBezTo>
                <a:cubicBezTo>
                  <a:pt x="62" y="6"/>
                  <a:pt x="62" y="6"/>
                  <a:pt x="62" y="6"/>
                </a:cubicBezTo>
                <a:cubicBezTo>
                  <a:pt x="62" y="5"/>
                  <a:pt x="62" y="3"/>
                  <a:pt x="61" y="2"/>
                </a:cubicBezTo>
                <a:cubicBezTo>
                  <a:pt x="60" y="1"/>
                  <a:pt x="58" y="0"/>
                  <a:pt x="56" y="0"/>
                </a:cubicBezTo>
                <a:cubicBezTo>
                  <a:pt x="36" y="0"/>
                  <a:pt x="19" y="6"/>
                  <a:pt x="2" y="18"/>
                </a:cubicBezTo>
                <a:cubicBezTo>
                  <a:pt x="1" y="19"/>
                  <a:pt x="0" y="20"/>
                  <a:pt x="0" y="22"/>
                </a:cubicBezTo>
                <a:cubicBezTo>
                  <a:pt x="0" y="24"/>
                  <a:pt x="0" y="25"/>
                  <a:pt x="1" y="26"/>
                </a:cubicBezTo>
                <a:cubicBezTo>
                  <a:pt x="52" y="96"/>
                  <a:pt x="52" y="96"/>
                  <a:pt x="52" y="96"/>
                </a:cubicBezTo>
                <a:cubicBezTo>
                  <a:pt x="53" y="98"/>
                  <a:pt x="56" y="99"/>
                  <a:pt x="58" y="98"/>
                </a:cubicBezTo>
                <a:cubicBezTo>
                  <a:pt x="61" y="98"/>
                  <a:pt x="62" y="95"/>
                  <a:pt x="62" y="93"/>
                </a:cubicBezTo>
                <a:lnTo>
                  <a:pt x="5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41">
            <a:extLst>
              <a:ext uri="{FF2B5EF4-FFF2-40B4-BE49-F238E27FC236}">
                <a16:creationId xmlns:a16="http://schemas.microsoft.com/office/drawing/2014/main" id="{D857F676-C0EF-FA49-8DB2-CE32CA3C9D6A}"/>
              </a:ext>
            </a:extLst>
          </p:cNvPr>
          <p:cNvSpPr>
            <a:spLocks/>
          </p:cNvSpPr>
          <p:nvPr/>
        </p:nvSpPr>
        <p:spPr bwMode="auto">
          <a:xfrm>
            <a:off x="4611223" y="5899843"/>
            <a:ext cx="416033" cy="415021"/>
          </a:xfrm>
          <a:custGeom>
            <a:avLst/>
            <a:gdLst>
              <a:gd name="T0" fmla="*/ 86 w 173"/>
              <a:gd name="T1" fmla="*/ 87 h 173"/>
              <a:gd name="T2" fmla="*/ 86 w 173"/>
              <a:gd name="T3" fmla="*/ 0 h 173"/>
              <a:gd name="T4" fmla="*/ 173 w 173"/>
              <a:gd name="T5" fmla="*/ 87 h 173"/>
              <a:gd name="T6" fmla="*/ 86 w 173"/>
              <a:gd name="T7" fmla="*/ 173 h 173"/>
              <a:gd name="T8" fmla="*/ 0 w 173"/>
              <a:gd name="T9" fmla="*/ 87 h 173"/>
              <a:gd name="T10" fmla="*/ 36 w 173"/>
              <a:gd name="T11" fmla="*/ 17 h 173"/>
              <a:gd name="T12" fmla="*/ 86 w 173"/>
              <a:gd name="T13" fmla="*/ 87 h 173"/>
            </a:gdLst>
            <a:ahLst/>
            <a:cxnLst>
              <a:cxn ang="0">
                <a:pos x="T0" y="T1"/>
              </a:cxn>
              <a:cxn ang="0">
                <a:pos x="T2" y="T3"/>
              </a:cxn>
              <a:cxn ang="0">
                <a:pos x="T4" y="T5"/>
              </a:cxn>
              <a:cxn ang="0">
                <a:pos x="T6" y="T7"/>
              </a:cxn>
              <a:cxn ang="0">
                <a:pos x="T8" y="T9"/>
              </a:cxn>
              <a:cxn ang="0">
                <a:pos x="T10" y="T11"/>
              </a:cxn>
              <a:cxn ang="0">
                <a:pos x="T12" y="T13"/>
              </a:cxn>
            </a:cxnLst>
            <a:rect l="0" t="0" r="r" b="b"/>
            <a:pathLst>
              <a:path w="173" h="173">
                <a:moveTo>
                  <a:pt x="86" y="87"/>
                </a:moveTo>
                <a:cubicBezTo>
                  <a:pt x="86" y="0"/>
                  <a:pt x="86" y="0"/>
                  <a:pt x="86" y="0"/>
                </a:cubicBezTo>
                <a:cubicBezTo>
                  <a:pt x="134" y="0"/>
                  <a:pt x="173" y="39"/>
                  <a:pt x="173" y="87"/>
                </a:cubicBezTo>
                <a:cubicBezTo>
                  <a:pt x="173" y="134"/>
                  <a:pt x="134" y="173"/>
                  <a:pt x="86" y="173"/>
                </a:cubicBezTo>
                <a:cubicBezTo>
                  <a:pt x="39" y="173"/>
                  <a:pt x="0" y="134"/>
                  <a:pt x="0" y="87"/>
                </a:cubicBezTo>
                <a:cubicBezTo>
                  <a:pt x="0" y="58"/>
                  <a:pt x="13" y="34"/>
                  <a:pt x="36" y="17"/>
                </a:cubicBezTo>
                <a:lnTo>
                  <a:pt x="86" y="8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Freeform 142">
            <a:extLst>
              <a:ext uri="{FF2B5EF4-FFF2-40B4-BE49-F238E27FC236}">
                <a16:creationId xmlns:a16="http://schemas.microsoft.com/office/drawing/2014/main" id="{83F7EFEA-9171-FD4C-9649-7F09621CAC8E}"/>
              </a:ext>
            </a:extLst>
          </p:cNvPr>
          <p:cNvSpPr>
            <a:spLocks/>
          </p:cNvSpPr>
          <p:nvPr/>
        </p:nvSpPr>
        <p:spPr bwMode="auto">
          <a:xfrm>
            <a:off x="4597051" y="5884659"/>
            <a:ext cx="444376" cy="444376"/>
          </a:xfrm>
          <a:custGeom>
            <a:avLst/>
            <a:gdLst>
              <a:gd name="T0" fmla="*/ 92 w 185"/>
              <a:gd name="T1" fmla="*/ 93 h 185"/>
              <a:gd name="T2" fmla="*/ 98 w 185"/>
              <a:gd name="T3" fmla="*/ 93 h 185"/>
              <a:gd name="T4" fmla="*/ 98 w 185"/>
              <a:gd name="T5" fmla="*/ 6 h 185"/>
              <a:gd name="T6" fmla="*/ 92 w 185"/>
              <a:gd name="T7" fmla="*/ 6 h 185"/>
              <a:gd name="T8" fmla="*/ 92 w 185"/>
              <a:gd name="T9" fmla="*/ 12 h 185"/>
              <a:gd name="T10" fmla="*/ 149 w 185"/>
              <a:gd name="T11" fmla="*/ 36 h 185"/>
              <a:gd name="T12" fmla="*/ 173 w 185"/>
              <a:gd name="T13" fmla="*/ 93 h 185"/>
              <a:gd name="T14" fmla="*/ 149 w 185"/>
              <a:gd name="T15" fmla="*/ 149 h 185"/>
              <a:gd name="T16" fmla="*/ 92 w 185"/>
              <a:gd name="T17" fmla="*/ 173 h 185"/>
              <a:gd name="T18" fmla="*/ 36 w 185"/>
              <a:gd name="T19" fmla="*/ 149 h 185"/>
              <a:gd name="T20" fmla="*/ 12 w 185"/>
              <a:gd name="T21" fmla="*/ 93 h 185"/>
              <a:gd name="T22" fmla="*/ 21 w 185"/>
              <a:gd name="T23" fmla="*/ 56 h 185"/>
              <a:gd name="T24" fmla="*/ 45 w 185"/>
              <a:gd name="T25" fmla="*/ 28 h 185"/>
              <a:gd name="T26" fmla="*/ 42 w 185"/>
              <a:gd name="T27" fmla="*/ 23 h 185"/>
              <a:gd name="T28" fmla="*/ 37 w 185"/>
              <a:gd name="T29" fmla="*/ 26 h 185"/>
              <a:gd name="T30" fmla="*/ 88 w 185"/>
              <a:gd name="T31" fmla="*/ 96 h 185"/>
              <a:gd name="T32" fmla="*/ 94 w 185"/>
              <a:gd name="T33" fmla="*/ 98 h 185"/>
              <a:gd name="T34" fmla="*/ 98 w 185"/>
              <a:gd name="T35" fmla="*/ 93 h 185"/>
              <a:gd name="T36" fmla="*/ 92 w 185"/>
              <a:gd name="T37" fmla="*/ 93 h 185"/>
              <a:gd name="T38" fmla="*/ 97 w 185"/>
              <a:gd name="T39" fmla="*/ 89 h 185"/>
              <a:gd name="T40" fmla="*/ 47 w 185"/>
              <a:gd name="T41" fmla="*/ 19 h 185"/>
              <a:gd name="T42" fmla="*/ 38 w 185"/>
              <a:gd name="T43" fmla="*/ 18 h 185"/>
              <a:gd name="T44" fmla="*/ 10 w 185"/>
              <a:gd name="T45" fmla="*/ 51 h 185"/>
              <a:gd name="T46" fmla="*/ 0 w 185"/>
              <a:gd name="T47" fmla="*/ 93 h 185"/>
              <a:gd name="T48" fmla="*/ 92 w 185"/>
              <a:gd name="T49" fmla="*/ 185 h 185"/>
              <a:gd name="T50" fmla="*/ 185 w 185"/>
              <a:gd name="T51" fmla="*/ 93 h 185"/>
              <a:gd name="T52" fmla="*/ 92 w 185"/>
              <a:gd name="T53" fmla="*/ 0 h 185"/>
              <a:gd name="T54" fmla="*/ 88 w 185"/>
              <a:gd name="T55" fmla="*/ 2 h 185"/>
              <a:gd name="T56" fmla="*/ 86 w 185"/>
              <a:gd name="T57" fmla="*/ 6 h 185"/>
              <a:gd name="T58" fmla="*/ 86 w 185"/>
              <a:gd name="T59" fmla="*/ 93 h 185"/>
              <a:gd name="T60" fmla="*/ 92 w 185"/>
              <a:gd name="T61" fmla="*/ 93 h 185"/>
              <a:gd name="T62" fmla="*/ 97 w 185"/>
              <a:gd name="T63" fmla="*/ 89 h 185"/>
              <a:gd name="T64" fmla="*/ 92 w 185"/>
              <a:gd name="T65" fmla="*/ 9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185">
                <a:moveTo>
                  <a:pt x="92" y="93"/>
                </a:moveTo>
                <a:cubicBezTo>
                  <a:pt x="98" y="93"/>
                  <a:pt x="98" y="93"/>
                  <a:pt x="98" y="93"/>
                </a:cubicBezTo>
                <a:cubicBezTo>
                  <a:pt x="98" y="6"/>
                  <a:pt x="98" y="6"/>
                  <a:pt x="98" y="6"/>
                </a:cubicBezTo>
                <a:cubicBezTo>
                  <a:pt x="92" y="6"/>
                  <a:pt x="92" y="6"/>
                  <a:pt x="92" y="6"/>
                </a:cubicBezTo>
                <a:cubicBezTo>
                  <a:pt x="92" y="12"/>
                  <a:pt x="92" y="12"/>
                  <a:pt x="92" y="12"/>
                </a:cubicBezTo>
                <a:cubicBezTo>
                  <a:pt x="115" y="12"/>
                  <a:pt x="135" y="21"/>
                  <a:pt x="149" y="36"/>
                </a:cubicBezTo>
                <a:cubicBezTo>
                  <a:pt x="164" y="50"/>
                  <a:pt x="173" y="70"/>
                  <a:pt x="173" y="93"/>
                </a:cubicBezTo>
                <a:cubicBezTo>
                  <a:pt x="173" y="115"/>
                  <a:pt x="164" y="135"/>
                  <a:pt x="149" y="149"/>
                </a:cubicBezTo>
                <a:cubicBezTo>
                  <a:pt x="135" y="164"/>
                  <a:pt x="115" y="173"/>
                  <a:pt x="92" y="173"/>
                </a:cubicBezTo>
                <a:cubicBezTo>
                  <a:pt x="70" y="173"/>
                  <a:pt x="50" y="164"/>
                  <a:pt x="36" y="149"/>
                </a:cubicBezTo>
                <a:cubicBezTo>
                  <a:pt x="21" y="135"/>
                  <a:pt x="12" y="115"/>
                  <a:pt x="12" y="93"/>
                </a:cubicBezTo>
                <a:cubicBezTo>
                  <a:pt x="12" y="79"/>
                  <a:pt x="15" y="67"/>
                  <a:pt x="21" y="56"/>
                </a:cubicBezTo>
                <a:cubicBezTo>
                  <a:pt x="26" y="45"/>
                  <a:pt x="34" y="36"/>
                  <a:pt x="45" y="28"/>
                </a:cubicBezTo>
                <a:cubicBezTo>
                  <a:pt x="42" y="23"/>
                  <a:pt x="42" y="23"/>
                  <a:pt x="42" y="23"/>
                </a:cubicBezTo>
                <a:cubicBezTo>
                  <a:pt x="37" y="26"/>
                  <a:pt x="37" y="26"/>
                  <a:pt x="37" y="26"/>
                </a:cubicBezTo>
                <a:cubicBezTo>
                  <a:pt x="88" y="96"/>
                  <a:pt x="88" y="96"/>
                  <a:pt x="88" y="96"/>
                </a:cubicBezTo>
                <a:cubicBezTo>
                  <a:pt x="89" y="98"/>
                  <a:pt x="92" y="99"/>
                  <a:pt x="94" y="98"/>
                </a:cubicBezTo>
                <a:cubicBezTo>
                  <a:pt x="97" y="98"/>
                  <a:pt x="98" y="95"/>
                  <a:pt x="98" y="93"/>
                </a:cubicBezTo>
                <a:cubicBezTo>
                  <a:pt x="92" y="93"/>
                  <a:pt x="92" y="93"/>
                  <a:pt x="92" y="93"/>
                </a:cubicBezTo>
                <a:cubicBezTo>
                  <a:pt x="97" y="89"/>
                  <a:pt x="97" y="89"/>
                  <a:pt x="97" y="89"/>
                </a:cubicBezTo>
                <a:cubicBezTo>
                  <a:pt x="47" y="19"/>
                  <a:pt x="47" y="19"/>
                  <a:pt x="47" y="19"/>
                </a:cubicBezTo>
                <a:cubicBezTo>
                  <a:pt x="45" y="17"/>
                  <a:pt x="41" y="16"/>
                  <a:pt x="38" y="18"/>
                </a:cubicBezTo>
                <a:cubicBezTo>
                  <a:pt x="26" y="27"/>
                  <a:pt x="16" y="38"/>
                  <a:pt x="10" y="51"/>
                </a:cubicBezTo>
                <a:cubicBezTo>
                  <a:pt x="4" y="63"/>
                  <a:pt x="0" y="77"/>
                  <a:pt x="0" y="93"/>
                </a:cubicBezTo>
                <a:cubicBezTo>
                  <a:pt x="0" y="144"/>
                  <a:pt x="42" y="185"/>
                  <a:pt x="92" y="185"/>
                </a:cubicBezTo>
                <a:cubicBezTo>
                  <a:pt x="143" y="185"/>
                  <a:pt x="185" y="144"/>
                  <a:pt x="185" y="93"/>
                </a:cubicBezTo>
                <a:cubicBezTo>
                  <a:pt x="185" y="42"/>
                  <a:pt x="143" y="0"/>
                  <a:pt x="92" y="0"/>
                </a:cubicBezTo>
                <a:cubicBezTo>
                  <a:pt x="91" y="0"/>
                  <a:pt x="89" y="1"/>
                  <a:pt x="88" y="2"/>
                </a:cubicBezTo>
                <a:cubicBezTo>
                  <a:pt x="87" y="3"/>
                  <a:pt x="86" y="5"/>
                  <a:pt x="86" y="6"/>
                </a:cubicBezTo>
                <a:cubicBezTo>
                  <a:pt x="86" y="93"/>
                  <a:pt x="86" y="93"/>
                  <a:pt x="86" y="93"/>
                </a:cubicBezTo>
                <a:cubicBezTo>
                  <a:pt x="92" y="93"/>
                  <a:pt x="92" y="93"/>
                  <a:pt x="92" y="93"/>
                </a:cubicBezTo>
                <a:cubicBezTo>
                  <a:pt x="97" y="89"/>
                  <a:pt x="97" y="89"/>
                  <a:pt x="97" y="89"/>
                </a:cubicBezTo>
                <a:lnTo>
                  <a:pt x="92"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43">
            <a:extLst>
              <a:ext uri="{FF2B5EF4-FFF2-40B4-BE49-F238E27FC236}">
                <a16:creationId xmlns:a16="http://schemas.microsoft.com/office/drawing/2014/main" id="{52EF8E56-20A4-2F46-A5EC-9B7ADFBAB589}"/>
              </a:ext>
            </a:extLst>
          </p:cNvPr>
          <p:cNvSpPr>
            <a:spLocks/>
          </p:cNvSpPr>
          <p:nvPr/>
        </p:nvSpPr>
        <p:spPr bwMode="auto">
          <a:xfrm>
            <a:off x="4817721" y="5899843"/>
            <a:ext cx="232817" cy="271282"/>
          </a:xfrm>
          <a:custGeom>
            <a:avLst/>
            <a:gdLst>
              <a:gd name="T0" fmla="*/ 0 w 97"/>
              <a:gd name="T1" fmla="*/ 87 h 113"/>
              <a:gd name="T2" fmla="*/ 82 w 97"/>
              <a:gd name="T3" fmla="*/ 113 h 113"/>
              <a:gd name="T4" fmla="*/ 27 w 97"/>
              <a:gd name="T5" fmla="*/ 5 h 113"/>
              <a:gd name="T6" fmla="*/ 0 w 97"/>
              <a:gd name="T7" fmla="*/ 0 h 113"/>
              <a:gd name="T8" fmla="*/ 0 w 97"/>
              <a:gd name="T9" fmla="*/ 87 h 113"/>
            </a:gdLst>
            <a:ahLst/>
            <a:cxnLst>
              <a:cxn ang="0">
                <a:pos x="T0" y="T1"/>
              </a:cxn>
              <a:cxn ang="0">
                <a:pos x="T2" y="T3"/>
              </a:cxn>
              <a:cxn ang="0">
                <a:pos x="T4" y="T5"/>
              </a:cxn>
              <a:cxn ang="0">
                <a:pos x="T6" y="T7"/>
              </a:cxn>
              <a:cxn ang="0">
                <a:pos x="T8" y="T9"/>
              </a:cxn>
            </a:cxnLst>
            <a:rect l="0" t="0" r="r" b="b"/>
            <a:pathLst>
              <a:path w="97" h="113">
                <a:moveTo>
                  <a:pt x="0" y="87"/>
                </a:moveTo>
                <a:cubicBezTo>
                  <a:pt x="82" y="113"/>
                  <a:pt x="82" y="113"/>
                  <a:pt x="82" y="113"/>
                </a:cubicBezTo>
                <a:cubicBezTo>
                  <a:pt x="97" y="68"/>
                  <a:pt x="72" y="19"/>
                  <a:pt x="27" y="5"/>
                </a:cubicBezTo>
                <a:cubicBezTo>
                  <a:pt x="18" y="2"/>
                  <a:pt x="10" y="0"/>
                  <a:pt x="0" y="0"/>
                </a:cubicBezTo>
                <a:lnTo>
                  <a:pt x="0" y="8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38" name="Freeform 144">
            <a:extLst>
              <a:ext uri="{FF2B5EF4-FFF2-40B4-BE49-F238E27FC236}">
                <a16:creationId xmlns:a16="http://schemas.microsoft.com/office/drawing/2014/main" id="{BC5D6C16-D55A-F146-AA63-D086A3B58A51}"/>
              </a:ext>
            </a:extLst>
          </p:cNvPr>
          <p:cNvSpPr>
            <a:spLocks/>
          </p:cNvSpPr>
          <p:nvPr/>
        </p:nvSpPr>
        <p:spPr bwMode="auto">
          <a:xfrm>
            <a:off x="4803549" y="5884659"/>
            <a:ext cx="237878" cy="300637"/>
          </a:xfrm>
          <a:custGeom>
            <a:avLst/>
            <a:gdLst>
              <a:gd name="T0" fmla="*/ 6 w 99"/>
              <a:gd name="T1" fmla="*/ 93 h 125"/>
              <a:gd name="T2" fmla="*/ 5 w 99"/>
              <a:gd name="T3" fmla="*/ 98 h 125"/>
              <a:gd name="T4" fmla="*/ 87 w 99"/>
              <a:gd name="T5" fmla="*/ 125 h 125"/>
              <a:gd name="T6" fmla="*/ 91 w 99"/>
              <a:gd name="T7" fmla="*/ 125 h 125"/>
              <a:gd name="T8" fmla="*/ 94 w 99"/>
              <a:gd name="T9" fmla="*/ 121 h 125"/>
              <a:gd name="T10" fmla="*/ 99 w 99"/>
              <a:gd name="T11" fmla="*/ 93 h 125"/>
              <a:gd name="T12" fmla="*/ 35 w 99"/>
              <a:gd name="T13" fmla="*/ 5 h 125"/>
              <a:gd name="T14" fmla="*/ 35 w 99"/>
              <a:gd name="T15" fmla="*/ 5 h 125"/>
              <a:gd name="T16" fmla="*/ 6 w 99"/>
              <a:gd name="T17" fmla="*/ 0 h 125"/>
              <a:gd name="T18" fmla="*/ 2 w 99"/>
              <a:gd name="T19" fmla="*/ 2 h 125"/>
              <a:gd name="T20" fmla="*/ 0 w 99"/>
              <a:gd name="T21" fmla="*/ 6 h 125"/>
              <a:gd name="T22" fmla="*/ 0 w 99"/>
              <a:gd name="T23" fmla="*/ 93 h 125"/>
              <a:gd name="T24" fmla="*/ 5 w 99"/>
              <a:gd name="T25" fmla="*/ 98 h 125"/>
              <a:gd name="T26" fmla="*/ 6 w 99"/>
              <a:gd name="T27" fmla="*/ 93 h 125"/>
              <a:gd name="T28" fmla="*/ 12 w 99"/>
              <a:gd name="T29" fmla="*/ 93 h 125"/>
              <a:gd name="T30" fmla="*/ 12 w 99"/>
              <a:gd name="T31" fmla="*/ 6 h 125"/>
              <a:gd name="T32" fmla="*/ 6 w 99"/>
              <a:gd name="T33" fmla="*/ 6 h 125"/>
              <a:gd name="T34" fmla="*/ 6 w 99"/>
              <a:gd name="T35" fmla="*/ 12 h 125"/>
              <a:gd name="T36" fmla="*/ 31 w 99"/>
              <a:gd name="T37" fmla="*/ 16 h 125"/>
              <a:gd name="T38" fmla="*/ 31 w 99"/>
              <a:gd name="T39" fmla="*/ 16 h 125"/>
              <a:gd name="T40" fmla="*/ 87 w 99"/>
              <a:gd name="T41" fmla="*/ 93 h 125"/>
              <a:gd name="T42" fmla="*/ 83 w 99"/>
              <a:gd name="T43" fmla="*/ 117 h 125"/>
              <a:gd name="T44" fmla="*/ 88 w 99"/>
              <a:gd name="T45" fmla="*/ 119 h 125"/>
              <a:gd name="T46" fmla="*/ 90 w 99"/>
              <a:gd name="T47" fmla="*/ 114 h 125"/>
              <a:gd name="T48" fmla="*/ 8 w 99"/>
              <a:gd name="T49" fmla="*/ 87 h 125"/>
              <a:gd name="T50" fmla="*/ 6 w 99"/>
              <a:gd name="T51" fmla="*/ 93 h 125"/>
              <a:gd name="T52" fmla="*/ 12 w 99"/>
              <a:gd name="T53" fmla="*/ 93 h 125"/>
              <a:gd name="T54" fmla="*/ 6 w 99"/>
              <a:gd name="T55"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 h="125">
                <a:moveTo>
                  <a:pt x="6" y="93"/>
                </a:moveTo>
                <a:cubicBezTo>
                  <a:pt x="5" y="98"/>
                  <a:pt x="5" y="98"/>
                  <a:pt x="5" y="98"/>
                </a:cubicBezTo>
                <a:cubicBezTo>
                  <a:pt x="87" y="125"/>
                  <a:pt x="87" y="125"/>
                  <a:pt x="87" y="125"/>
                </a:cubicBezTo>
                <a:cubicBezTo>
                  <a:pt x="88" y="125"/>
                  <a:pt x="90" y="125"/>
                  <a:pt x="91" y="125"/>
                </a:cubicBezTo>
                <a:cubicBezTo>
                  <a:pt x="93" y="124"/>
                  <a:pt x="94" y="123"/>
                  <a:pt x="94" y="121"/>
                </a:cubicBezTo>
                <a:cubicBezTo>
                  <a:pt x="97" y="112"/>
                  <a:pt x="99" y="102"/>
                  <a:pt x="99" y="93"/>
                </a:cubicBezTo>
                <a:cubicBezTo>
                  <a:pt x="99" y="54"/>
                  <a:pt x="74" y="18"/>
                  <a:pt x="35" y="5"/>
                </a:cubicBezTo>
                <a:cubicBezTo>
                  <a:pt x="35" y="5"/>
                  <a:pt x="35" y="5"/>
                  <a:pt x="35" y="5"/>
                </a:cubicBezTo>
                <a:cubicBezTo>
                  <a:pt x="25" y="2"/>
                  <a:pt x="17" y="0"/>
                  <a:pt x="6" y="0"/>
                </a:cubicBezTo>
                <a:cubicBezTo>
                  <a:pt x="5" y="0"/>
                  <a:pt x="3" y="1"/>
                  <a:pt x="2" y="2"/>
                </a:cubicBezTo>
                <a:cubicBezTo>
                  <a:pt x="1" y="3"/>
                  <a:pt x="0" y="5"/>
                  <a:pt x="0" y="6"/>
                </a:cubicBezTo>
                <a:cubicBezTo>
                  <a:pt x="0" y="93"/>
                  <a:pt x="0" y="93"/>
                  <a:pt x="0" y="93"/>
                </a:cubicBezTo>
                <a:cubicBezTo>
                  <a:pt x="0" y="95"/>
                  <a:pt x="2" y="98"/>
                  <a:pt x="5" y="98"/>
                </a:cubicBezTo>
                <a:cubicBezTo>
                  <a:pt x="6" y="93"/>
                  <a:pt x="6" y="93"/>
                  <a:pt x="6" y="93"/>
                </a:cubicBezTo>
                <a:cubicBezTo>
                  <a:pt x="12" y="93"/>
                  <a:pt x="12" y="93"/>
                  <a:pt x="12" y="93"/>
                </a:cubicBezTo>
                <a:cubicBezTo>
                  <a:pt x="12" y="6"/>
                  <a:pt x="12" y="6"/>
                  <a:pt x="12" y="6"/>
                </a:cubicBezTo>
                <a:cubicBezTo>
                  <a:pt x="6" y="6"/>
                  <a:pt x="6" y="6"/>
                  <a:pt x="6" y="6"/>
                </a:cubicBezTo>
                <a:cubicBezTo>
                  <a:pt x="6" y="12"/>
                  <a:pt x="6" y="12"/>
                  <a:pt x="6" y="12"/>
                </a:cubicBezTo>
                <a:cubicBezTo>
                  <a:pt x="15" y="12"/>
                  <a:pt x="23" y="14"/>
                  <a:pt x="31" y="16"/>
                </a:cubicBezTo>
                <a:cubicBezTo>
                  <a:pt x="31" y="16"/>
                  <a:pt x="31" y="16"/>
                  <a:pt x="31" y="16"/>
                </a:cubicBezTo>
                <a:cubicBezTo>
                  <a:pt x="65" y="27"/>
                  <a:pt x="87" y="59"/>
                  <a:pt x="87" y="93"/>
                </a:cubicBezTo>
                <a:cubicBezTo>
                  <a:pt x="87" y="101"/>
                  <a:pt x="85" y="109"/>
                  <a:pt x="83" y="117"/>
                </a:cubicBezTo>
                <a:cubicBezTo>
                  <a:pt x="88" y="119"/>
                  <a:pt x="88" y="119"/>
                  <a:pt x="88" y="119"/>
                </a:cubicBezTo>
                <a:cubicBezTo>
                  <a:pt x="90" y="114"/>
                  <a:pt x="90" y="114"/>
                  <a:pt x="90" y="114"/>
                </a:cubicBezTo>
                <a:cubicBezTo>
                  <a:pt x="8" y="87"/>
                  <a:pt x="8" y="87"/>
                  <a:pt x="8" y="87"/>
                </a:cubicBezTo>
                <a:cubicBezTo>
                  <a:pt x="6" y="93"/>
                  <a:pt x="6" y="93"/>
                  <a:pt x="6" y="93"/>
                </a:cubicBezTo>
                <a:cubicBezTo>
                  <a:pt x="12" y="93"/>
                  <a:pt x="12" y="93"/>
                  <a:pt x="12" y="93"/>
                </a:cubicBezTo>
                <a:lnTo>
                  <a:pt x="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45">
            <a:extLst>
              <a:ext uri="{FF2B5EF4-FFF2-40B4-BE49-F238E27FC236}">
                <a16:creationId xmlns:a16="http://schemas.microsoft.com/office/drawing/2014/main" id="{8F568973-3091-AB4A-AF76-EC8769586B07}"/>
              </a:ext>
            </a:extLst>
          </p:cNvPr>
          <p:cNvSpPr>
            <a:spLocks/>
          </p:cNvSpPr>
          <p:nvPr/>
        </p:nvSpPr>
        <p:spPr bwMode="auto">
          <a:xfrm>
            <a:off x="2079595" y="4630487"/>
            <a:ext cx="1056785" cy="610384"/>
          </a:xfrm>
          <a:custGeom>
            <a:avLst/>
            <a:gdLst>
              <a:gd name="T0" fmla="*/ 11 w 440"/>
              <a:gd name="T1" fmla="*/ 251 h 254"/>
              <a:gd name="T2" fmla="*/ 147 w 440"/>
              <a:gd name="T3" fmla="*/ 125 h 254"/>
              <a:gd name="T4" fmla="*/ 240 w 440"/>
              <a:gd name="T5" fmla="*/ 136 h 254"/>
              <a:gd name="T6" fmla="*/ 244 w 440"/>
              <a:gd name="T7" fmla="*/ 134 h 254"/>
              <a:gd name="T8" fmla="*/ 283 w 440"/>
              <a:gd name="T9" fmla="*/ 103 h 254"/>
              <a:gd name="T10" fmla="*/ 351 w 440"/>
              <a:gd name="T11" fmla="*/ 100 h 254"/>
              <a:gd name="T12" fmla="*/ 355 w 440"/>
              <a:gd name="T13" fmla="*/ 98 h 254"/>
              <a:gd name="T14" fmla="*/ 438 w 440"/>
              <a:gd name="T15" fmla="*/ 10 h 254"/>
              <a:gd name="T16" fmla="*/ 438 w 440"/>
              <a:gd name="T17" fmla="*/ 2 h 254"/>
              <a:gd name="T18" fmla="*/ 429 w 440"/>
              <a:gd name="T19" fmla="*/ 2 h 254"/>
              <a:gd name="T20" fmla="*/ 348 w 440"/>
              <a:gd name="T21" fmla="*/ 88 h 254"/>
              <a:gd name="T22" fmla="*/ 281 w 440"/>
              <a:gd name="T23" fmla="*/ 91 h 254"/>
              <a:gd name="T24" fmla="*/ 277 w 440"/>
              <a:gd name="T25" fmla="*/ 92 h 254"/>
              <a:gd name="T26" fmla="*/ 239 w 440"/>
              <a:gd name="T27" fmla="*/ 124 h 254"/>
              <a:gd name="T28" fmla="*/ 146 w 440"/>
              <a:gd name="T29" fmla="*/ 113 h 254"/>
              <a:gd name="T30" fmla="*/ 141 w 440"/>
              <a:gd name="T31" fmla="*/ 114 h 254"/>
              <a:gd name="T32" fmla="*/ 2 w 440"/>
              <a:gd name="T33" fmla="*/ 243 h 254"/>
              <a:gd name="T34" fmla="*/ 2 w 440"/>
              <a:gd name="T35" fmla="*/ 251 h 254"/>
              <a:gd name="T36" fmla="*/ 11 w 440"/>
              <a:gd name="T37" fmla="*/ 25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 h="254">
                <a:moveTo>
                  <a:pt x="11" y="251"/>
                </a:moveTo>
                <a:cubicBezTo>
                  <a:pt x="147" y="125"/>
                  <a:pt x="147" y="125"/>
                  <a:pt x="147" y="125"/>
                </a:cubicBezTo>
                <a:cubicBezTo>
                  <a:pt x="240" y="136"/>
                  <a:pt x="240" y="136"/>
                  <a:pt x="240" y="136"/>
                </a:cubicBezTo>
                <a:cubicBezTo>
                  <a:pt x="241" y="136"/>
                  <a:pt x="243" y="136"/>
                  <a:pt x="244" y="134"/>
                </a:cubicBezTo>
                <a:cubicBezTo>
                  <a:pt x="283" y="103"/>
                  <a:pt x="283" y="103"/>
                  <a:pt x="283" y="103"/>
                </a:cubicBezTo>
                <a:cubicBezTo>
                  <a:pt x="351" y="100"/>
                  <a:pt x="351" y="100"/>
                  <a:pt x="351" y="100"/>
                </a:cubicBezTo>
                <a:cubicBezTo>
                  <a:pt x="352" y="100"/>
                  <a:pt x="354" y="100"/>
                  <a:pt x="355" y="98"/>
                </a:cubicBezTo>
                <a:cubicBezTo>
                  <a:pt x="438" y="10"/>
                  <a:pt x="438" y="10"/>
                  <a:pt x="438" y="10"/>
                </a:cubicBezTo>
                <a:cubicBezTo>
                  <a:pt x="440" y="8"/>
                  <a:pt x="440" y="4"/>
                  <a:pt x="438" y="2"/>
                </a:cubicBezTo>
                <a:cubicBezTo>
                  <a:pt x="435" y="0"/>
                  <a:pt x="432" y="0"/>
                  <a:pt x="429" y="2"/>
                </a:cubicBezTo>
                <a:cubicBezTo>
                  <a:pt x="348" y="88"/>
                  <a:pt x="348" y="88"/>
                  <a:pt x="348" y="88"/>
                </a:cubicBezTo>
                <a:cubicBezTo>
                  <a:pt x="281" y="91"/>
                  <a:pt x="281" y="91"/>
                  <a:pt x="281" y="91"/>
                </a:cubicBezTo>
                <a:cubicBezTo>
                  <a:pt x="279" y="91"/>
                  <a:pt x="278" y="91"/>
                  <a:pt x="277" y="92"/>
                </a:cubicBezTo>
                <a:cubicBezTo>
                  <a:pt x="239" y="124"/>
                  <a:pt x="239" y="124"/>
                  <a:pt x="239" y="124"/>
                </a:cubicBezTo>
                <a:cubicBezTo>
                  <a:pt x="146" y="113"/>
                  <a:pt x="146" y="113"/>
                  <a:pt x="146" y="113"/>
                </a:cubicBezTo>
                <a:cubicBezTo>
                  <a:pt x="144" y="113"/>
                  <a:pt x="142" y="113"/>
                  <a:pt x="141" y="114"/>
                </a:cubicBezTo>
                <a:cubicBezTo>
                  <a:pt x="2" y="243"/>
                  <a:pt x="2" y="243"/>
                  <a:pt x="2" y="243"/>
                </a:cubicBezTo>
                <a:cubicBezTo>
                  <a:pt x="0" y="245"/>
                  <a:pt x="0" y="249"/>
                  <a:pt x="2" y="251"/>
                </a:cubicBezTo>
                <a:cubicBezTo>
                  <a:pt x="4" y="254"/>
                  <a:pt x="8" y="254"/>
                  <a:pt x="11" y="251"/>
                </a:cubicBez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46">
            <a:extLst>
              <a:ext uri="{FF2B5EF4-FFF2-40B4-BE49-F238E27FC236}">
                <a16:creationId xmlns:a16="http://schemas.microsoft.com/office/drawing/2014/main" id="{EFAE6EE1-8DD9-A742-8ECE-F4D1014E1137}"/>
              </a:ext>
            </a:extLst>
          </p:cNvPr>
          <p:cNvSpPr>
            <a:spLocks/>
          </p:cNvSpPr>
          <p:nvPr/>
        </p:nvSpPr>
        <p:spPr bwMode="auto">
          <a:xfrm>
            <a:off x="2863074" y="4815728"/>
            <a:ext cx="91102" cy="91102"/>
          </a:xfrm>
          <a:custGeom>
            <a:avLst/>
            <a:gdLst>
              <a:gd name="T0" fmla="*/ 28 w 38"/>
              <a:gd name="T1" fmla="*/ 33 h 38"/>
              <a:gd name="T2" fmla="*/ 5 w 38"/>
              <a:gd name="T3" fmla="*/ 28 h 38"/>
              <a:gd name="T4" fmla="*/ 10 w 38"/>
              <a:gd name="T5" fmla="*/ 5 h 38"/>
              <a:gd name="T6" fmla="*/ 33 w 38"/>
              <a:gd name="T7" fmla="*/ 10 h 38"/>
              <a:gd name="T8" fmla="*/ 28 w 38"/>
              <a:gd name="T9" fmla="*/ 33 h 38"/>
            </a:gdLst>
            <a:ahLst/>
            <a:cxnLst>
              <a:cxn ang="0">
                <a:pos x="T0" y="T1"/>
              </a:cxn>
              <a:cxn ang="0">
                <a:pos x="T2" y="T3"/>
              </a:cxn>
              <a:cxn ang="0">
                <a:pos x="T4" y="T5"/>
              </a:cxn>
              <a:cxn ang="0">
                <a:pos x="T6" y="T7"/>
              </a:cxn>
              <a:cxn ang="0">
                <a:pos x="T8" y="T9"/>
              </a:cxn>
            </a:cxnLst>
            <a:rect l="0" t="0" r="r" b="b"/>
            <a:pathLst>
              <a:path w="38" h="38">
                <a:moveTo>
                  <a:pt x="28" y="33"/>
                </a:moveTo>
                <a:cubicBezTo>
                  <a:pt x="20" y="38"/>
                  <a:pt x="10" y="36"/>
                  <a:pt x="5" y="28"/>
                </a:cubicBezTo>
                <a:cubicBezTo>
                  <a:pt x="0" y="20"/>
                  <a:pt x="2" y="10"/>
                  <a:pt x="10" y="5"/>
                </a:cubicBezTo>
                <a:cubicBezTo>
                  <a:pt x="18" y="0"/>
                  <a:pt x="28" y="2"/>
                  <a:pt x="33" y="10"/>
                </a:cubicBezTo>
                <a:cubicBezTo>
                  <a:pt x="38" y="18"/>
                  <a:pt x="36" y="28"/>
                  <a:pt x="28"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47">
            <a:extLst>
              <a:ext uri="{FF2B5EF4-FFF2-40B4-BE49-F238E27FC236}">
                <a16:creationId xmlns:a16="http://schemas.microsoft.com/office/drawing/2014/main" id="{27763E51-BB48-C44F-84A2-9CF14E8A7868}"/>
              </a:ext>
            </a:extLst>
          </p:cNvPr>
          <p:cNvSpPr>
            <a:spLocks/>
          </p:cNvSpPr>
          <p:nvPr/>
        </p:nvSpPr>
        <p:spPr bwMode="auto">
          <a:xfrm>
            <a:off x="2858012" y="4810666"/>
            <a:ext cx="101225"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14 w 42"/>
              <a:gd name="T13" fmla="*/ 10 h 42"/>
              <a:gd name="T14" fmla="*/ 21 w 42"/>
              <a:gd name="T15" fmla="*/ 8 h 42"/>
              <a:gd name="T16" fmla="*/ 32 w 42"/>
              <a:gd name="T17" fmla="*/ 14 h 42"/>
              <a:gd name="T18" fmla="*/ 34 w 42"/>
              <a:gd name="T19" fmla="*/ 21 h 42"/>
              <a:gd name="T20" fmla="*/ 28 w 42"/>
              <a:gd name="T21" fmla="*/ 32 h 42"/>
              <a:gd name="T22" fmla="*/ 30 w 42"/>
              <a:gd name="T23" fmla="*/ 35 h 42"/>
              <a:gd name="T24" fmla="*/ 32 w 42"/>
              <a:gd name="T25" fmla="*/ 39 h 42"/>
              <a:gd name="T26" fmla="*/ 42 w 42"/>
              <a:gd name="T27" fmla="*/ 21 h 42"/>
              <a:gd name="T28" fmla="*/ 38 w 42"/>
              <a:gd name="T29" fmla="*/ 10 h 42"/>
              <a:gd name="T30" fmla="*/ 21 w 42"/>
              <a:gd name="T31" fmla="*/ 0 h 42"/>
              <a:gd name="T32" fmla="*/ 10 w 42"/>
              <a:gd name="T33" fmla="*/ 4 h 42"/>
              <a:gd name="T34" fmla="*/ 10 w 42"/>
              <a:gd name="T35" fmla="*/ 4 h 42"/>
              <a:gd name="T36" fmla="*/ 0 w 42"/>
              <a:gd name="T37" fmla="*/ 21 h 42"/>
              <a:gd name="T38" fmla="*/ 3 w 42"/>
              <a:gd name="T39" fmla="*/ 32 h 42"/>
              <a:gd name="T40" fmla="*/ 21 w 42"/>
              <a:gd name="T41" fmla="*/ 42 h 42"/>
              <a:gd name="T42" fmla="*/ 32 w 42"/>
              <a:gd name="T43" fmla="*/ 39 h 42"/>
              <a:gd name="T44" fmla="*/ 30 w 42"/>
              <a:gd name="T45"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42">
                <a:moveTo>
                  <a:pt x="30" y="35"/>
                </a:moveTo>
                <a:cubicBezTo>
                  <a:pt x="28" y="32"/>
                  <a:pt x="28" y="32"/>
                  <a:pt x="28" y="32"/>
                </a:cubicBezTo>
                <a:cubicBezTo>
                  <a:pt x="26" y="33"/>
                  <a:pt x="23" y="34"/>
                  <a:pt x="21" y="34"/>
                </a:cubicBezTo>
                <a:cubicBezTo>
                  <a:pt x="17" y="34"/>
                  <a:pt x="13" y="32"/>
                  <a:pt x="10" y="28"/>
                </a:cubicBezTo>
                <a:cubicBezTo>
                  <a:pt x="9" y="26"/>
                  <a:pt x="8" y="23"/>
                  <a:pt x="8" y="21"/>
                </a:cubicBezTo>
                <a:cubicBezTo>
                  <a:pt x="8" y="17"/>
                  <a:pt x="10" y="13"/>
                  <a:pt x="14" y="10"/>
                </a:cubicBezTo>
                <a:cubicBezTo>
                  <a:pt x="14" y="10"/>
                  <a:pt x="14" y="10"/>
                  <a:pt x="14" y="10"/>
                </a:cubicBezTo>
                <a:cubicBezTo>
                  <a:pt x="16" y="9"/>
                  <a:pt x="19" y="8"/>
                  <a:pt x="21" y="8"/>
                </a:cubicBezTo>
                <a:cubicBezTo>
                  <a:pt x="25" y="8"/>
                  <a:pt x="29" y="10"/>
                  <a:pt x="32" y="14"/>
                </a:cubicBezTo>
                <a:cubicBezTo>
                  <a:pt x="33" y="16"/>
                  <a:pt x="34" y="19"/>
                  <a:pt x="34" y="21"/>
                </a:cubicBezTo>
                <a:cubicBezTo>
                  <a:pt x="34" y="25"/>
                  <a:pt x="32" y="29"/>
                  <a:pt x="28" y="32"/>
                </a:cubicBezTo>
                <a:cubicBezTo>
                  <a:pt x="30" y="35"/>
                  <a:pt x="30" y="35"/>
                  <a:pt x="30" y="35"/>
                </a:cubicBezTo>
                <a:cubicBezTo>
                  <a:pt x="32" y="39"/>
                  <a:pt x="32" y="39"/>
                  <a:pt x="32" y="39"/>
                </a:cubicBezTo>
                <a:cubicBezTo>
                  <a:pt x="38" y="35"/>
                  <a:pt x="42" y="28"/>
                  <a:pt x="42" y="21"/>
                </a:cubicBezTo>
                <a:cubicBezTo>
                  <a:pt x="42" y="17"/>
                  <a:pt x="41" y="13"/>
                  <a:pt x="38" y="10"/>
                </a:cubicBezTo>
                <a:cubicBezTo>
                  <a:pt x="34" y="4"/>
                  <a:pt x="28" y="0"/>
                  <a:pt x="21" y="0"/>
                </a:cubicBezTo>
                <a:cubicBezTo>
                  <a:pt x="17" y="0"/>
                  <a:pt x="13" y="1"/>
                  <a:pt x="10" y="4"/>
                </a:cubicBezTo>
                <a:cubicBezTo>
                  <a:pt x="10" y="4"/>
                  <a:pt x="10" y="4"/>
                  <a:pt x="10" y="4"/>
                </a:cubicBezTo>
                <a:cubicBezTo>
                  <a:pt x="4" y="8"/>
                  <a:pt x="0" y="14"/>
                  <a:pt x="0" y="21"/>
                </a:cubicBezTo>
                <a:cubicBezTo>
                  <a:pt x="0" y="25"/>
                  <a:pt x="1" y="29"/>
                  <a:pt x="3" y="32"/>
                </a:cubicBezTo>
                <a:cubicBezTo>
                  <a:pt x="7" y="38"/>
                  <a:pt x="14" y="42"/>
                  <a:pt x="21" y="42"/>
                </a:cubicBezTo>
                <a:cubicBezTo>
                  <a:pt x="25" y="42"/>
                  <a:pt x="29" y="41"/>
                  <a:pt x="32" y="39"/>
                </a:cubicBezTo>
                <a:lnTo>
                  <a:pt x="30" y="35"/>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48">
            <a:extLst>
              <a:ext uri="{FF2B5EF4-FFF2-40B4-BE49-F238E27FC236}">
                <a16:creationId xmlns:a16="http://schemas.microsoft.com/office/drawing/2014/main" id="{C0A02149-EBB9-3D48-AA2F-58F4B6BCCC3D}"/>
              </a:ext>
            </a:extLst>
          </p:cNvPr>
          <p:cNvSpPr>
            <a:spLocks/>
          </p:cNvSpPr>
          <p:nvPr/>
        </p:nvSpPr>
        <p:spPr bwMode="auto">
          <a:xfrm>
            <a:off x="2039105" y="5179124"/>
            <a:ext cx="93127" cy="91102"/>
          </a:xfrm>
          <a:custGeom>
            <a:avLst/>
            <a:gdLst>
              <a:gd name="T0" fmla="*/ 28 w 39"/>
              <a:gd name="T1" fmla="*/ 33 h 38"/>
              <a:gd name="T2" fmla="*/ 5 w 39"/>
              <a:gd name="T3" fmla="*/ 28 h 38"/>
              <a:gd name="T4" fmla="*/ 11 w 39"/>
              <a:gd name="T5" fmla="*/ 5 h 38"/>
              <a:gd name="T6" fmla="*/ 34 w 39"/>
              <a:gd name="T7" fmla="*/ 10 h 38"/>
              <a:gd name="T8" fmla="*/ 28 w 39"/>
              <a:gd name="T9" fmla="*/ 33 h 38"/>
            </a:gdLst>
            <a:ahLst/>
            <a:cxnLst>
              <a:cxn ang="0">
                <a:pos x="T0" y="T1"/>
              </a:cxn>
              <a:cxn ang="0">
                <a:pos x="T2" y="T3"/>
              </a:cxn>
              <a:cxn ang="0">
                <a:pos x="T4" y="T5"/>
              </a:cxn>
              <a:cxn ang="0">
                <a:pos x="T6" y="T7"/>
              </a:cxn>
              <a:cxn ang="0">
                <a:pos x="T8" y="T9"/>
              </a:cxn>
            </a:cxnLst>
            <a:rect l="0" t="0" r="r" b="b"/>
            <a:pathLst>
              <a:path w="39" h="38">
                <a:moveTo>
                  <a:pt x="28" y="33"/>
                </a:moveTo>
                <a:cubicBezTo>
                  <a:pt x="21" y="38"/>
                  <a:pt x="10" y="36"/>
                  <a:pt x="5" y="28"/>
                </a:cubicBezTo>
                <a:cubicBezTo>
                  <a:pt x="0" y="20"/>
                  <a:pt x="3" y="10"/>
                  <a:pt x="11" y="5"/>
                </a:cubicBezTo>
                <a:cubicBezTo>
                  <a:pt x="18" y="0"/>
                  <a:pt x="29" y="2"/>
                  <a:pt x="34" y="10"/>
                </a:cubicBezTo>
                <a:cubicBezTo>
                  <a:pt x="39" y="18"/>
                  <a:pt x="36" y="28"/>
                  <a:pt x="28"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49">
            <a:extLst>
              <a:ext uri="{FF2B5EF4-FFF2-40B4-BE49-F238E27FC236}">
                <a16:creationId xmlns:a16="http://schemas.microsoft.com/office/drawing/2014/main" id="{37BC46FE-4653-7641-AA9A-9DA08098EAE1}"/>
              </a:ext>
            </a:extLst>
          </p:cNvPr>
          <p:cNvSpPr>
            <a:spLocks/>
          </p:cNvSpPr>
          <p:nvPr/>
        </p:nvSpPr>
        <p:spPr bwMode="auto">
          <a:xfrm>
            <a:off x="2037081" y="5174063"/>
            <a:ext cx="98188" cy="101225"/>
          </a:xfrm>
          <a:custGeom>
            <a:avLst/>
            <a:gdLst>
              <a:gd name="T0" fmla="*/ 29 w 41"/>
              <a:gd name="T1" fmla="*/ 35 h 42"/>
              <a:gd name="T2" fmla="*/ 27 w 41"/>
              <a:gd name="T3" fmla="*/ 32 h 42"/>
              <a:gd name="T4" fmla="*/ 21 w 41"/>
              <a:gd name="T5" fmla="*/ 34 h 42"/>
              <a:gd name="T6" fmla="*/ 10 w 41"/>
              <a:gd name="T7" fmla="*/ 28 h 42"/>
              <a:gd name="T8" fmla="*/ 10 w 41"/>
              <a:gd name="T9" fmla="*/ 28 h 42"/>
              <a:gd name="T10" fmla="*/ 8 w 41"/>
              <a:gd name="T11" fmla="*/ 21 h 42"/>
              <a:gd name="T12" fmla="*/ 14 w 41"/>
              <a:gd name="T13" fmla="*/ 10 h 42"/>
              <a:gd name="T14" fmla="*/ 14 w 41"/>
              <a:gd name="T15" fmla="*/ 10 h 42"/>
              <a:gd name="T16" fmla="*/ 20 w 41"/>
              <a:gd name="T17" fmla="*/ 8 h 42"/>
              <a:gd name="T18" fmla="*/ 31 w 41"/>
              <a:gd name="T19" fmla="*/ 14 h 42"/>
              <a:gd name="T20" fmla="*/ 31 w 41"/>
              <a:gd name="T21" fmla="*/ 14 h 42"/>
              <a:gd name="T22" fmla="*/ 33 w 41"/>
              <a:gd name="T23" fmla="*/ 21 h 42"/>
              <a:gd name="T24" fmla="*/ 27 w 41"/>
              <a:gd name="T25" fmla="*/ 32 h 42"/>
              <a:gd name="T26" fmla="*/ 27 w 41"/>
              <a:gd name="T27" fmla="*/ 32 h 42"/>
              <a:gd name="T28" fmla="*/ 29 w 41"/>
              <a:gd name="T29" fmla="*/ 35 h 42"/>
              <a:gd name="T30" fmla="*/ 32 w 41"/>
              <a:gd name="T31" fmla="*/ 38 h 42"/>
              <a:gd name="T32" fmla="*/ 41 w 41"/>
              <a:gd name="T33" fmla="*/ 21 h 42"/>
              <a:gd name="T34" fmla="*/ 38 w 41"/>
              <a:gd name="T35" fmla="*/ 10 h 42"/>
              <a:gd name="T36" fmla="*/ 38 w 41"/>
              <a:gd name="T37" fmla="*/ 10 h 42"/>
              <a:gd name="T38" fmla="*/ 20 w 41"/>
              <a:gd name="T39" fmla="*/ 0 h 42"/>
              <a:gd name="T40" fmla="*/ 9 w 41"/>
              <a:gd name="T41" fmla="*/ 3 h 42"/>
              <a:gd name="T42" fmla="*/ 9 w 41"/>
              <a:gd name="T43" fmla="*/ 3 h 42"/>
              <a:gd name="T44" fmla="*/ 0 w 41"/>
              <a:gd name="T45" fmla="*/ 21 h 42"/>
              <a:gd name="T46" fmla="*/ 3 w 41"/>
              <a:gd name="T47" fmla="*/ 32 h 42"/>
              <a:gd name="T48" fmla="*/ 5 w 41"/>
              <a:gd name="T49" fmla="*/ 35 h 42"/>
              <a:gd name="T50" fmla="*/ 3 w 41"/>
              <a:gd name="T51" fmla="*/ 32 h 42"/>
              <a:gd name="T52" fmla="*/ 21 w 41"/>
              <a:gd name="T53" fmla="*/ 42 h 42"/>
              <a:gd name="T54" fmla="*/ 32 w 41"/>
              <a:gd name="T55" fmla="*/ 38 h 42"/>
              <a:gd name="T56" fmla="*/ 32 w 41"/>
              <a:gd name="T57" fmla="*/ 38 h 42"/>
              <a:gd name="T58" fmla="*/ 29 w 41"/>
              <a:gd name="T59"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42">
                <a:moveTo>
                  <a:pt x="29" y="35"/>
                </a:moveTo>
                <a:cubicBezTo>
                  <a:pt x="27" y="32"/>
                  <a:pt x="27" y="32"/>
                  <a:pt x="27" y="32"/>
                </a:cubicBezTo>
                <a:cubicBezTo>
                  <a:pt x="25" y="33"/>
                  <a:pt x="23" y="34"/>
                  <a:pt x="21" y="34"/>
                </a:cubicBezTo>
                <a:cubicBezTo>
                  <a:pt x="16" y="34"/>
                  <a:pt x="12" y="32"/>
                  <a:pt x="10" y="28"/>
                </a:cubicBezTo>
                <a:cubicBezTo>
                  <a:pt x="10" y="28"/>
                  <a:pt x="10" y="28"/>
                  <a:pt x="10" y="28"/>
                </a:cubicBezTo>
                <a:cubicBezTo>
                  <a:pt x="8" y="26"/>
                  <a:pt x="8" y="23"/>
                  <a:pt x="8" y="21"/>
                </a:cubicBezTo>
                <a:cubicBezTo>
                  <a:pt x="8" y="17"/>
                  <a:pt x="10" y="13"/>
                  <a:pt x="14" y="10"/>
                </a:cubicBezTo>
                <a:cubicBezTo>
                  <a:pt x="14" y="10"/>
                  <a:pt x="14" y="10"/>
                  <a:pt x="14" y="10"/>
                </a:cubicBezTo>
                <a:cubicBezTo>
                  <a:pt x="16" y="9"/>
                  <a:pt x="18" y="8"/>
                  <a:pt x="20" y="8"/>
                </a:cubicBezTo>
                <a:cubicBezTo>
                  <a:pt x="25" y="8"/>
                  <a:pt x="29" y="10"/>
                  <a:pt x="31" y="14"/>
                </a:cubicBezTo>
                <a:cubicBezTo>
                  <a:pt x="31" y="14"/>
                  <a:pt x="31" y="14"/>
                  <a:pt x="31" y="14"/>
                </a:cubicBezTo>
                <a:cubicBezTo>
                  <a:pt x="33" y="16"/>
                  <a:pt x="33" y="19"/>
                  <a:pt x="33" y="21"/>
                </a:cubicBezTo>
                <a:cubicBezTo>
                  <a:pt x="33" y="25"/>
                  <a:pt x="31" y="29"/>
                  <a:pt x="27" y="32"/>
                </a:cubicBezTo>
                <a:cubicBezTo>
                  <a:pt x="27" y="32"/>
                  <a:pt x="27" y="32"/>
                  <a:pt x="27" y="32"/>
                </a:cubicBezTo>
                <a:cubicBezTo>
                  <a:pt x="29" y="35"/>
                  <a:pt x="29" y="35"/>
                  <a:pt x="29" y="35"/>
                </a:cubicBezTo>
                <a:cubicBezTo>
                  <a:pt x="32" y="38"/>
                  <a:pt x="32" y="38"/>
                  <a:pt x="32" y="38"/>
                </a:cubicBezTo>
                <a:cubicBezTo>
                  <a:pt x="38" y="34"/>
                  <a:pt x="41" y="28"/>
                  <a:pt x="41" y="21"/>
                </a:cubicBezTo>
                <a:cubicBezTo>
                  <a:pt x="41" y="17"/>
                  <a:pt x="40" y="13"/>
                  <a:pt x="38" y="10"/>
                </a:cubicBezTo>
                <a:cubicBezTo>
                  <a:pt x="38" y="10"/>
                  <a:pt x="38" y="10"/>
                  <a:pt x="38" y="10"/>
                </a:cubicBezTo>
                <a:cubicBezTo>
                  <a:pt x="34" y="4"/>
                  <a:pt x="27" y="0"/>
                  <a:pt x="20" y="0"/>
                </a:cubicBezTo>
                <a:cubicBezTo>
                  <a:pt x="17" y="0"/>
                  <a:pt x="13" y="1"/>
                  <a:pt x="9" y="3"/>
                </a:cubicBezTo>
                <a:cubicBezTo>
                  <a:pt x="9" y="3"/>
                  <a:pt x="9" y="3"/>
                  <a:pt x="9" y="3"/>
                </a:cubicBezTo>
                <a:cubicBezTo>
                  <a:pt x="3" y="7"/>
                  <a:pt x="0" y="14"/>
                  <a:pt x="0" y="21"/>
                </a:cubicBezTo>
                <a:cubicBezTo>
                  <a:pt x="0" y="25"/>
                  <a:pt x="1" y="29"/>
                  <a:pt x="3" y="32"/>
                </a:cubicBezTo>
                <a:cubicBezTo>
                  <a:pt x="5" y="35"/>
                  <a:pt x="5" y="35"/>
                  <a:pt x="5" y="35"/>
                </a:cubicBezTo>
                <a:cubicBezTo>
                  <a:pt x="3" y="32"/>
                  <a:pt x="3" y="32"/>
                  <a:pt x="3" y="32"/>
                </a:cubicBezTo>
                <a:cubicBezTo>
                  <a:pt x="7" y="38"/>
                  <a:pt x="14" y="42"/>
                  <a:pt x="21" y="42"/>
                </a:cubicBezTo>
                <a:cubicBezTo>
                  <a:pt x="24" y="42"/>
                  <a:pt x="28" y="41"/>
                  <a:pt x="32" y="38"/>
                </a:cubicBezTo>
                <a:cubicBezTo>
                  <a:pt x="32" y="38"/>
                  <a:pt x="32" y="38"/>
                  <a:pt x="32" y="38"/>
                </a:cubicBezTo>
                <a:lnTo>
                  <a:pt x="29" y="35"/>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50">
            <a:extLst>
              <a:ext uri="{FF2B5EF4-FFF2-40B4-BE49-F238E27FC236}">
                <a16:creationId xmlns:a16="http://schemas.microsoft.com/office/drawing/2014/main" id="{0CF6B527-41A0-AF4B-889B-6F8ED4ED4AD7}"/>
              </a:ext>
            </a:extLst>
          </p:cNvPr>
          <p:cNvSpPr>
            <a:spLocks noEditPoints="1"/>
          </p:cNvSpPr>
          <p:nvPr/>
        </p:nvSpPr>
        <p:spPr bwMode="auto">
          <a:xfrm>
            <a:off x="5925118" y="2910681"/>
            <a:ext cx="1721830" cy="1084115"/>
          </a:xfrm>
          <a:custGeom>
            <a:avLst/>
            <a:gdLst>
              <a:gd name="T0" fmla="*/ 703 w 717"/>
              <a:gd name="T1" fmla="*/ 7 h 451"/>
              <a:gd name="T2" fmla="*/ 700 w 717"/>
              <a:gd name="T3" fmla="*/ 22 h 451"/>
              <a:gd name="T4" fmla="*/ 686 w 717"/>
              <a:gd name="T5" fmla="*/ 53 h 451"/>
              <a:gd name="T6" fmla="*/ 677 w 717"/>
              <a:gd name="T7" fmla="*/ 55 h 451"/>
              <a:gd name="T8" fmla="*/ 664 w 717"/>
              <a:gd name="T9" fmla="*/ 63 h 451"/>
              <a:gd name="T10" fmla="*/ 660 w 717"/>
              <a:gd name="T11" fmla="*/ 89 h 451"/>
              <a:gd name="T12" fmla="*/ 658 w 717"/>
              <a:gd name="T13" fmla="*/ 93 h 451"/>
              <a:gd name="T14" fmla="*/ 634 w 717"/>
              <a:gd name="T15" fmla="*/ 105 h 451"/>
              <a:gd name="T16" fmla="*/ 633 w 717"/>
              <a:gd name="T17" fmla="*/ 123 h 451"/>
              <a:gd name="T18" fmla="*/ 601 w 717"/>
              <a:gd name="T19" fmla="*/ 135 h 451"/>
              <a:gd name="T20" fmla="*/ 594 w 717"/>
              <a:gd name="T21" fmla="*/ 131 h 451"/>
              <a:gd name="T22" fmla="*/ 579 w 717"/>
              <a:gd name="T23" fmla="*/ 128 h 451"/>
              <a:gd name="T24" fmla="*/ 558 w 717"/>
              <a:gd name="T25" fmla="*/ 145 h 451"/>
              <a:gd name="T26" fmla="*/ 554 w 717"/>
              <a:gd name="T27" fmla="*/ 145 h 451"/>
              <a:gd name="T28" fmla="*/ 528 w 717"/>
              <a:gd name="T29" fmla="*/ 139 h 451"/>
              <a:gd name="T30" fmla="*/ 515 w 717"/>
              <a:gd name="T31" fmla="*/ 147 h 451"/>
              <a:gd name="T32" fmla="*/ 483 w 717"/>
              <a:gd name="T33" fmla="*/ 160 h 451"/>
              <a:gd name="T34" fmla="*/ 476 w 717"/>
              <a:gd name="T35" fmla="*/ 156 h 451"/>
              <a:gd name="T36" fmla="*/ 459 w 717"/>
              <a:gd name="T37" fmla="*/ 157 h 451"/>
              <a:gd name="T38" fmla="*/ 453 w 717"/>
              <a:gd name="T39" fmla="*/ 183 h 451"/>
              <a:gd name="T40" fmla="*/ 451 w 717"/>
              <a:gd name="T41" fmla="*/ 186 h 451"/>
              <a:gd name="T42" fmla="*/ 426 w 717"/>
              <a:gd name="T43" fmla="*/ 197 h 451"/>
              <a:gd name="T44" fmla="*/ 422 w 717"/>
              <a:gd name="T45" fmla="*/ 211 h 451"/>
              <a:gd name="T46" fmla="*/ 405 w 717"/>
              <a:gd name="T47" fmla="*/ 241 h 451"/>
              <a:gd name="T48" fmla="*/ 396 w 717"/>
              <a:gd name="T49" fmla="*/ 242 h 451"/>
              <a:gd name="T50" fmla="*/ 383 w 717"/>
              <a:gd name="T51" fmla="*/ 249 h 451"/>
              <a:gd name="T52" fmla="*/ 377 w 717"/>
              <a:gd name="T53" fmla="*/ 275 h 451"/>
              <a:gd name="T54" fmla="*/ 374 w 717"/>
              <a:gd name="T55" fmla="*/ 278 h 451"/>
              <a:gd name="T56" fmla="*/ 350 w 717"/>
              <a:gd name="T57" fmla="*/ 289 h 451"/>
              <a:gd name="T58" fmla="*/ 341 w 717"/>
              <a:gd name="T59" fmla="*/ 290 h 451"/>
              <a:gd name="T60" fmla="*/ 306 w 717"/>
              <a:gd name="T61" fmla="*/ 289 h 451"/>
              <a:gd name="T62" fmla="*/ 302 w 717"/>
              <a:gd name="T63" fmla="*/ 282 h 451"/>
              <a:gd name="T64" fmla="*/ 289 w 717"/>
              <a:gd name="T65" fmla="*/ 273 h 451"/>
              <a:gd name="T66" fmla="*/ 263 w 717"/>
              <a:gd name="T67" fmla="*/ 280 h 451"/>
              <a:gd name="T68" fmla="*/ 259 w 717"/>
              <a:gd name="T69" fmla="*/ 279 h 451"/>
              <a:gd name="T70" fmla="*/ 234 w 717"/>
              <a:gd name="T71" fmla="*/ 267 h 451"/>
              <a:gd name="T72" fmla="*/ 227 w 717"/>
              <a:gd name="T73" fmla="*/ 280 h 451"/>
              <a:gd name="T74" fmla="*/ 203 w 717"/>
              <a:gd name="T75" fmla="*/ 306 h 451"/>
              <a:gd name="T76" fmla="*/ 195 w 717"/>
              <a:gd name="T77" fmla="*/ 304 h 451"/>
              <a:gd name="T78" fmla="*/ 180 w 717"/>
              <a:gd name="T79" fmla="*/ 308 h 451"/>
              <a:gd name="T80" fmla="*/ 168 w 717"/>
              <a:gd name="T81" fmla="*/ 332 h 451"/>
              <a:gd name="T82" fmla="*/ 164 w 717"/>
              <a:gd name="T83" fmla="*/ 334 h 451"/>
              <a:gd name="T84" fmla="*/ 138 w 717"/>
              <a:gd name="T85" fmla="*/ 339 h 451"/>
              <a:gd name="T86" fmla="*/ 130 w 717"/>
              <a:gd name="T87" fmla="*/ 352 h 451"/>
              <a:gd name="T88" fmla="*/ 107 w 717"/>
              <a:gd name="T89" fmla="*/ 377 h 451"/>
              <a:gd name="T90" fmla="*/ 98 w 717"/>
              <a:gd name="T91" fmla="*/ 376 h 451"/>
              <a:gd name="T92" fmla="*/ 83 w 717"/>
              <a:gd name="T93" fmla="*/ 379 h 451"/>
              <a:gd name="T94" fmla="*/ 71 w 717"/>
              <a:gd name="T95" fmla="*/ 403 h 451"/>
              <a:gd name="T96" fmla="*/ 68 w 717"/>
              <a:gd name="T97" fmla="*/ 406 h 451"/>
              <a:gd name="T98" fmla="*/ 42 w 717"/>
              <a:gd name="T99" fmla="*/ 410 h 451"/>
              <a:gd name="T100" fmla="*/ 34 w 717"/>
              <a:gd name="T101" fmla="*/ 424 h 451"/>
              <a:gd name="T102" fmla="*/ 10 w 717"/>
              <a:gd name="T103" fmla="*/ 449 h 451"/>
              <a:gd name="T104" fmla="*/ 2 w 717"/>
              <a:gd name="T105" fmla="*/ 447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7" h="451">
                <a:moveTo>
                  <a:pt x="713" y="14"/>
                </a:moveTo>
                <a:cubicBezTo>
                  <a:pt x="715" y="11"/>
                  <a:pt x="715" y="11"/>
                  <a:pt x="715" y="11"/>
                </a:cubicBezTo>
                <a:cubicBezTo>
                  <a:pt x="717" y="8"/>
                  <a:pt x="717" y="4"/>
                  <a:pt x="714" y="2"/>
                </a:cubicBezTo>
                <a:cubicBezTo>
                  <a:pt x="711" y="0"/>
                  <a:pt x="708" y="1"/>
                  <a:pt x="706" y="4"/>
                </a:cubicBezTo>
                <a:cubicBezTo>
                  <a:pt x="703" y="7"/>
                  <a:pt x="703" y="7"/>
                  <a:pt x="703" y="7"/>
                </a:cubicBezTo>
                <a:cubicBezTo>
                  <a:pt x="701" y="10"/>
                  <a:pt x="702" y="14"/>
                  <a:pt x="705" y="15"/>
                </a:cubicBezTo>
                <a:cubicBezTo>
                  <a:pt x="707" y="17"/>
                  <a:pt x="711" y="17"/>
                  <a:pt x="713" y="14"/>
                </a:cubicBezTo>
                <a:close/>
                <a:moveTo>
                  <a:pt x="699" y="34"/>
                </a:moveTo>
                <a:cubicBezTo>
                  <a:pt x="702" y="30"/>
                  <a:pt x="702" y="30"/>
                  <a:pt x="702" y="30"/>
                </a:cubicBezTo>
                <a:cubicBezTo>
                  <a:pt x="704" y="28"/>
                  <a:pt x="703" y="24"/>
                  <a:pt x="700" y="22"/>
                </a:cubicBezTo>
                <a:cubicBezTo>
                  <a:pt x="697" y="20"/>
                  <a:pt x="694" y="21"/>
                  <a:pt x="692" y="23"/>
                </a:cubicBezTo>
                <a:cubicBezTo>
                  <a:pt x="690" y="27"/>
                  <a:pt x="690" y="27"/>
                  <a:pt x="690" y="27"/>
                </a:cubicBezTo>
                <a:cubicBezTo>
                  <a:pt x="688" y="29"/>
                  <a:pt x="688" y="33"/>
                  <a:pt x="691" y="35"/>
                </a:cubicBezTo>
                <a:cubicBezTo>
                  <a:pt x="694" y="37"/>
                  <a:pt x="697" y="36"/>
                  <a:pt x="699" y="34"/>
                </a:cubicBezTo>
                <a:close/>
                <a:moveTo>
                  <a:pt x="686" y="53"/>
                </a:moveTo>
                <a:cubicBezTo>
                  <a:pt x="688" y="50"/>
                  <a:pt x="688" y="50"/>
                  <a:pt x="688" y="50"/>
                </a:cubicBezTo>
                <a:cubicBezTo>
                  <a:pt x="690" y="47"/>
                  <a:pt x="689" y="44"/>
                  <a:pt x="686" y="42"/>
                </a:cubicBezTo>
                <a:cubicBezTo>
                  <a:pt x="684" y="40"/>
                  <a:pt x="680" y="40"/>
                  <a:pt x="678" y="43"/>
                </a:cubicBezTo>
                <a:cubicBezTo>
                  <a:pt x="676" y="46"/>
                  <a:pt x="676" y="46"/>
                  <a:pt x="676" y="46"/>
                </a:cubicBezTo>
                <a:cubicBezTo>
                  <a:pt x="674" y="49"/>
                  <a:pt x="675" y="53"/>
                  <a:pt x="677" y="55"/>
                </a:cubicBezTo>
                <a:cubicBezTo>
                  <a:pt x="680" y="57"/>
                  <a:pt x="684" y="56"/>
                  <a:pt x="686" y="53"/>
                </a:cubicBezTo>
                <a:close/>
                <a:moveTo>
                  <a:pt x="672" y="73"/>
                </a:moveTo>
                <a:cubicBezTo>
                  <a:pt x="674" y="70"/>
                  <a:pt x="674" y="70"/>
                  <a:pt x="674" y="70"/>
                </a:cubicBezTo>
                <a:cubicBezTo>
                  <a:pt x="676" y="67"/>
                  <a:pt x="675" y="63"/>
                  <a:pt x="673" y="61"/>
                </a:cubicBezTo>
                <a:cubicBezTo>
                  <a:pt x="670" y="59"/>
                  <a:pt x="666" y="60"/>
                  <a:pt x="664" y="63"/>
                </a:cubicBezTo>
                <a:cubicBezTo>
                  <a:pt x="662" y="66"/>
                  <a:pt x="662" y="66"/>
                  <a:pt x="662" y="66"/>
                </a:cubicBezTo>
                <a:cubicBezTo>
                  <a:pt x="660" y="69"/>
                  <a:pt x="661" y="72"/>
                  <a:pt x="663" y="74"/>
                </a:cubicBezTo>
                <a:cubicBezTo>
                  <a:pt x="666" y="76"/>
                  <a:pt x="670" y="76"/>
                  <a:pt x="672" y="73"/>
                </a:cubicBezTo>
                <a:close/>
                <a:moveTo>
                  <a:pt x="658" y="93"/>
                </a:moveTo>
                <a:cubicBezTo>
                  <a:pt x="660" y="89"/>
                  <a:pt x="660" y="89"/>
                  <a:pt x="660" y="89"/>
                </a:cubicBezTo>
                <a:cubicBezTo>
                  <a:pt x="662" y="87"/>
                  <a:pt x="662" y="83"/>
                  <a:pt x="659" y="81"/>
                </a:cubicBezTo>
                <a:cubicBezTo>
                  <a:pt x="656" y="79"/>
                  <a:pt x="652" y="80"/>
                  <a:pt x="651" y="82"/>
                </a:cubicBezTo>
                <a:cubicBezTo>
                  <a:pt x="648" y="86"/>
                  <a:pt x="648" y="86"/>
                  <a:pt x="648" y="86"/>
                </a:cubicBezTo>
                <a:cubicBezTo>
                  <a:pt x="646" y="88"/>
                  <a:pt x="647" y="92"/>
                  <a:pt x="650" y="94"/>
                </a:cubicBezTo>
                <a:cubicBezTo>
                  <a:pt x="652" y="96"/>
                  <a:pt x="656" y="95"/>
                  <a:pt x="658" y="93"/>
                </a:cubicBezTo>
                <a:close/>
                <a:moveTo>
                  <a:pt x="644" y="112"/>
                </a:moveTo>
                <a:cubicBezTo>
                  <a:pt x="647" y="109"/>
                  <a:pt x="647" y="109"/>
                  <a:pt x="647" y="109"/>
                </a:cubicBezTo>
                <a:cubicBezTo>
                  <a:pt x="648" y="106"/>
                  <a:pt x="648" y="102"/>
                  <a:pt x="645" y="101"/>
                </a:cubicBezTo>
                <a:cubicBezTo>
                  <a:pt x="642" y="99"/>
                  <a:pt x="639" y="99"/>
                  <a:pt x="637" y="102"/>
                </a:cubicBezTo>
                <a:cubicBezTo>
                  <a:pt x="634" y="105"/>
                  <a:pt x="634" y="105"/>
                  <a:pt x="634" y="105"/>
                </a:cubicBezTo>
                <a:cubicBezTo>
                  <a:pt x="633" y="108"/>
                  <a:pt x="633" y="112"/>
                  <a:pt x="636" y="114"/>
                </a:cubicBezTo>
                <a:cubicBezTo>
                  <a:pt x="639" y="116"/>
                  <a:pt x="642" y="115"/>
                  <a:pt x="644" y="112"/>
                </a:cubicBezTo>
                <a:close/>
                <a:moveTo>
                  <a:pt x="624" y="131"/>
                </a:moveTo>
                <a:cubicBezTo>
                  <a:pt x="628" y="130"/>
                  <a:pt x="628" y="130"/>
                  <a:pt x="628" y="130"/>
                </a:cubicBezTo>
                <a:cubicBezTo>
                  <a:pt x="631" y="129"/>
                  <a:pt x="634" y="126"/>
                  <a:pt x="633" y="123"/>
                </a:cubicBezTo>
                <a:cubicBezTo>
                  <a:pt x="632" y="119"/>
                  <a:pt x="629" y="117"/>
                  <a:pt x="626" y="118"/>
                </a:cubicBezTo>
                <a:cubicBezTo>
                  <a:pt x="622" y="119"/>
                  <a:pt x="622" y="119"/>
                  <a:pt x="622" y="119"/>
                </a:cubicBezTo>
                <a:cubicBezTo>
                  <a:pt x="619" y="119"/>
                  <a:pt x="617" y="123"/>
                  <a:pt x="617" y="126"/>
                </a:cubicBezTo>
                <a:cubicBezTo>
                  <a:pt x="618" y="129"/>
                  <a:pt x="621" y="131"/>
                  <a:pt x="624" y="131"/>
                </a:cubicBezTo>
                <a:close/>
                <a:moveTo>
                  <a:pt x="601" y="135"/>
                </a:moveTo>
                <a:cubicBezTo>
                  <a:pt x="605" y="135"/>
                  <a:pt x="605" y="135"/>
                  <a:pt x="605" y="135"/>
                </a:cubicBezTo>
                <a:cubicBezTo>
                  <a:pt x="608" y="134"/>
                  <a:pt x="610" y="131"/>
                  <a:pt x="609" y="128"/>
                </a:cubicBezTo>
                <a:cubicBezTo>
                  <a:pt x="609" y="124"/>
                  <a:pt x="606" y="122"/>
                  <a:pt x="602" y="123"/>
                </a:cubicBezTo>
                <a:cubicBezTo>
                  <a:pt x="598" y="124"/>
                  <a:pt x="598" y="124"/>
                  <a:pt x="598" y="124"/>
                </a:cubicBezTo>
                <a:cubicBezTo>
                  <a:pt x="595" y="124"/>
                  <a:pt x="593" y="128"/>
                  <a:pt x="594" y="131"/>
                </a:cubicBezTo>
                <a:cubicBezTo>
                  <a:pt x="594" y="134"/>
                  <a:pt x="598" y="136"/>
                  <a:pt x="601" y="135"/>
                </a:cubicBezTo>
                <a:close/>
                <a:moveTo>
                  <a:pt x="577" y="140"/>
                </a:moveTo>
                <a:cubicBezTo>
                  <a:pt x="581" y="140"/>
                  <a:pt x="581" y="140"/>
                  <a:pt x="581" y="140"/>
                </a:cubicBezTo>
                <a:cubicBezTo>
                  <a:pt x="585" y="139"/>
                  <a:pt x="587" y="136"/>
                  <a:pt x="586" y="132"/>
                </a:cubicBezTo>
                <a:cubicBezTo>
                  <a:pt x="585" y="129"/>
                  <a:pt x="582" y="127"/>
                  <a:pt x="579" y="128"/>
                </a:cubicBezTo>
                <a:cubicBezTo>
                  <a:pt x="575" y="129"/>
                  <a:pt x="575" y="129"/>
                  <a:pt x="575" y="129"/>
                </a:cubicBezTo>
                <a:cubicBezTo>
                  <a:pt x="572" y="129"/>
                  <a:pt x="570" y="133"/>
                  <a:pt x="570" y="136"/>
                </a:cubicBezTo>
                <a:cubicBezTo>
                  <a:pt x="571" y="139"/>
                  <a:pt x="574" y="141"/>
                  <a:pt x="577" y="140"/>
                </a:cubicBezTo>
                <a:close/>
                <a:moveTo>
                  <a:pt x="554" y="145"/>
                </a:moveTo>
                <a:cubicBezTo>
                  <a:pt x="558" y="145"/>
                  <a:pt x="558" y="145"/>
                  <a:pt x="558" y="145"/>
                </a:cubicBezTo>
                <a:cubicBezTo>
                  <a:pt x="561" y="144"/>
                  <a:pt x="563" y="141"/>
                  <a:pt x="562" y="137"/>
                </a:cubicBezTo>
                <a:cubicBezTo>
                  <a:pt x="562" y="134"/>
                  <a:pt x="559" y="132"/>
                  <a:pt x="555" y="133"/>
                </a:cubicBezTo>
                <a:cubicBezTo>
                  <a:pt x="551" y="134"/>
                  <a:pt x="551" y="134"/>
                  <a:pt x="551" y="134"/>
                </a:cubicBezTo>
                <a:cubicBezTo>
                  <a:pt x="548" y="134"/>
                  <a:pt x="546" y="137"/>
                  <a:pt x="547" y="141"/>
                </a:cubicBezTo>
                <a:cubicBezTo>
                  <a:pt x="547" y="144"/>
                  <a:pt x="551" y="146"/>
                  <a:pt x="554" y="145"/>
                </a:cubicBezTo>
                <a:close/>
                <a:moveTo>
                  <a:pt x="530" y="150"/>
                </a:moveTo>
                <a:cubicBezTo>
                  <a:pt x="534" y="149"/>
                  <a:pt x="534" y="149"/>
                  <a:pt x="534" y="149"/>
                </a:cubicBezTo>
                <a:cubicBezTo>
                  <a:pt x="538" y="149"/>
                  <a:pt x="540" y="146"/>
                  <a:pt x="539" y="142"/>
                </a:cubicBezTo>
                <a:cubicBezTo>
                  <a:pt x="538" y="139"/>
                  <a:pt x="535" y="137"/>
                  <a:pt x="532" y="138"/>
                </a:cubicBezTo>
                <a:cubicBezTo>
                  <a:pt x="528" y="139"/>
                  <a:pt x="528" y="139"/>
                  <a:pt x="528" y="139"/>
                </a:cubicBezTo>
                <a:cubicBezTo>
                  <a:pt x="525" y="139"/>
                  <a:pt x="523" y="142"/>
                  <a:pt x="523" y="146"/>
                </a:cubicBezTo>
                <a:cubicBezTo>
                  <a:pt x="524" y="149"/>
                  <a:pt x="527" y="151"/>
                  <a:pt x="530" y="150"/>
                </a:cubicBezTo>
                <a:close/>
                <a:moveTo>
                  <a:pt x="507" y="155"/>
                </a:moveTo>
                <a:cubicBezTo>
                  <a:pt x="511" y="154"/>
                  <a:pt x="511" y="154"/>
                  <a:pt x="511" y="154"/>
                </a:cubicBezTo>
                <a:cubicBezTo>
                  <a:pt x="514" y="154"/>
                  <a:pt x="516" y="151"/>
                  <a:pt x="515" y="147"/>
                </a:cubicBezTo>
                <a:cubicBezTo>
                  <a:pt x="515" y="144"/>
                  <a:pt x="512" y="142"/>
                  <a:pt x="508" y="143"/>
                </a:cubicBezTo>
                <a:cubicBezTo>
                  <a:pt x="504" y="143"/>
                  <a:pt x="504" y="143"/>
                  <a:pt x="504" y="143"/>
                </a:cubicBezTo>
                <a:cubicBezTo>
                  <a:pt x="501" y="144"/>
                  <a:pt x="499" y="147"/>
                  <a:pt x="500" y="151"/>
                </a:cubicBezTo>
                <a:cubicBezTo>
                  <a:pt x="500" y="154"/>
                  <a:pt x="504" y="156"/>
                  <a:pt x="507" y="155"/>
                </a:cubicBezTo>
                <a:close/>
                <a:moveTo>
                  <a:pt x="483" y="160"/>
                </a:moveTo>
                <a:cubicBezTo>
                  <a:pt x="487" y="159"/>
                  <a:pt x="487" y="159"/>
                  <a:pt x="487" y="159"/>
                </a:cubicBezTo>
                <a:cubicBezTo>
                  <a:pt x="491" y="159"/>
                  <a:pt x="493" y="155"/>
                  <a:pt x="492" y="152"/>
                </a:cubicBezTo>
                <a:cubicBezTo>
                  <a:pt x="491" y="149"/>
                  <a:pt x="488" y="147"/>
                  <a:pt x="485" y="148"/>
                </a:cubicBezTo>
                <a:cubicBezTo>
                  <a:pt x="481" y="148"/>
                  <a:pt x="481" y="148"/>
                  <a:pt x="481" y="148"/>
                </a:cubicBezTo>
                <a:cubicBezTo>
                  <a:pt x="478" y="149"/>
                  <a:pt x="476" y="152"/>
                  <a:pt x="476" y="156"/>
                </a:cubicBezTo>
                <a:cubicBezTo>
                  <a:pt x="477" y="159"/>
                  <a:pt x="480" y="161"/>
                  <a:pt x="483" y="160"/>
                </a:cubicBezTo>
                <a:close/>
                <a:moveTo>
                  <a:pt x="466" y="168"/>
                </a:moveTo>
                <a:cubicBezTo>
                  <a:pt x="469" y="164"/>
                  <a:pt x="469" y="164"/>
                  <a:pt x="469" y="164"/>
                </a:cubicBezTo>
                <a:cubicBezTo>
                  <a:pt x="471" y="162"/>
                  <a:pt x="470" y="158"/>
                  <a:pt x="468" y="156"/>
                </a:cubicBezTo>
                <a:cubicBezTo>
                  <a:pt x="465" y="154"/>
                  <a:pt x="461" y="154"/>
                  <a:pt x="459" y="157"/>
                </a:cubicBezTo>
                <a:cubicBezTo>
                  <a:pt x="457" y="160"/>
                  <a:pt x="457" y="160"/>
                  <a:pt x="457" y="160"/>
                </a:cubicBezTo>
                <a:cubicBezTo>
                  <a:pt x="455" y="162"/>
                  <a:pt x="455" y="166"/>
                  <a:pt x="458" y="168"/>
                </a:cubicBezTo>
                <a:cubicBezTo>
                  <a:pt x="460" y="170"/>
                  <a:pt x="464" y="170"/>
                  <a:pt x="466" y="168"/>
                </a:cubicBezTo>
                <a:close/>
                <a:moveTo>
                  <a:pt x="451" y="186"/>
                </a:moveTo>
                <a:cubicBezTo>
                  <a:pt x="453" y="183"/>
                  <a:pt x="453" y="183"/>
                  <a:pt x="453" y="183"/>
                </a:cubicBezTo>
                <a:cubicBezTo>
                  <a:pt x="455" y="180"/>
                  <a:pt x="455" y="177"/>
                  <a:pt x="452" y="175"/>
                </a:cubicBezTo>
                <a:cubicBezTo>
                  <a:pt x="450" y="172"/>
                  <a:pt x="446" y="173"/>
                  <a:pt x="444" y="175"/>
                </a:cubicBezTo>
                <a:cubicBezTo>
                  <a:pt x="441" y="178"/>
                  <a:pt x="441" y="178"/>
                  <a:pt x="441" y="178"/>
                </a:cubicBezTo>
                <a:cubicBezTo>
                  <a:pt x="439" y="181"/>
                  <a:pt x="440" y="185"/>
                  <a:pt x="442" y="187"/>
                </a:cubicBezTo>
                <a:cubicBezTo>
                  <a:pt x="445" y="189"/>
                  <a:pt x="449" y="189"/>
                  <a:pt x="451" y="186"/>
                </a:cubicBezTo>
                <a:close/>
                <a:moveTo>
                  <a:pt x="435" y="205"/>
                </a:moveTo>
                <a:cubicBezTo>
                  <a:pt x="438" y="201"/>
                  <a:pt x="438" y="201"/>
                  <a:pt x="438" y="201"/>
                </a:cubicBezTo>
                <a:cubicBezTo>
                  <a:pt x="440" y="199"/>
                  <a:pt x="440" y="195"/>
                  <a:pt x="437" y="193"/>
                </a:cubicBezTo>
                <a:cubicBezTo>
                  <a:pt x="435" y="191"/>
                  <a:pt x="431" y="191"/>
                  <a:pt x="429" y="194"/>
                </a:cubicBezTo>
                <a:cubicBezTo>
                  <a:pt x="426" y="197"/>
                  <a:pt x="426" y="197"/>
                  <a:pt x="426" y="197"/>
                </a:cubicBezTo>
                <a:cubicBezTo>
                  <a:pt x="424" y="199"/>
                  <a:pt x="424" y="203"/>
                  <a:pt x="427" y="205"/>
                </a:cubicBezTo>
                <a:cubicBezTo>
                  <a:pt x="429" y="207"/>
                  <a:pt x="433" y="207"/>
                  <a:pt x="435" y="205"/>
                </a:cubicBezTo>
                <a:close/>
                <a:moveTo>
                  <a:pt x="420" y="223"/>
                </a:moveTo>
                <a:cubicBezTo>
                  <a:pt x="423" y="220"/>
                  <a:pt x="423" y="220"/>
                  <a:pt x="423" y="220"/>
                </a:cubicBezTo>
                <a:cubicBezTo>
                  <a:pt x="425" y="217"/>
                  <a:pt x="424" y="214"/>
                  <a:pt x="422" y="211"/>
                </a:cubicBezTo>
                <a:cubicBezTo>
                  <a:pt x="419" y="209"/>
                  <a:pt x="415" y="210"/>
                  <a:pt x="413" y="212"/>
                </a:cubicBezTo>
                <a:cubicBezTo>
                  <a:pt x="411" y="215"/>
                  <a:pt x="411" y="215"/>
                  <a:pt x="411" y="215"/>
                </a:cubicBezTo>
                <a:cubicBezTo>
                  <a:pt x="409" y="218"/>
                  <a:pt x="409" y="222"/>
                  <a:pt x="412" y="224"/>
                </a:cubicBezTo>
                <a:cubicBezTo>
                  <a:pt x="414" y="226"/>
                  <a:pt x="418" y="226"/>
                  <a:pt x="420" y="223"/>
                </a:cubicBezTo>
                <a:close/>
                <a:moveTo>
                  <a:pt x="405" y="241"/>
                </a:moveTo>
                <a:cubicBezTo>
                  <a:pt x="407" y="238"/>
                  <a:pt x="407" y="238"/>
                  <a:pt x="407" y="238"/>
                </a:cubicBezTo>
                <a:cubicBezTo>
                  <a:pt x="409" y="236"/>
                  <a:pt x="409" y="232"/>
                  <a:pt x="407" y="230"/>
                </a:cubicBezTo>
                <a:cubicBezTo>
                  <a:pt x="404" y="228"/>
                  <a:pt x="400" y="228"/>
                  <a:pt x="398" y="231"/>
                </a:cubicBezTo>
                <a:cubicBezTo>
                  <a:pt x="396" y="234"/>
                  <a:pt x="396" y="234"/>
                  <a:pt x="396" y="234"/>
                </a:cubicBezTo>
                <a:cubicBezTo>
                  <a:pt x="393" y="236"/>
                  <a:pt x="394" y="240"/>
                  <a:pt x="396" y="242"/>
                </a:cubicBezTo>
                <a:cubicBezTo>
                  <a:pt x="399" y="244"/>
                  <a:pt x="403" y="244"/>
                  <a:pt x="405" y="241"/>
                </a:cubicBezTo>
                <a:close/>
                <a:moveTo>
                  <a:pt x="389" y="260"/>
                </a:moveTo>
                <a:cubicBezTo>
                  <a:pt x="392" y="257"/>
                  <a:pt x="392" y="257"/>
                  <a:pt x="392" y="257"/>
                </a:cubicBezTo>
                <a:cubicBezTo>
                  <a:pt x="394" y="254"/>
                  <a:pt x="394" y="251"/>
                  <a:pt x="391" y="248"/>
                </a:cubicBezTo>
                <a:cubicBezTo>
                  <a:pt x="389" y="246"/>
                  <a:pt x="385" y="247"/>
                  <a:pt x="383" y="249"/>
                </a:cubicBezTo>
                <a:cubicBezTo>
                  <a:pt x="380" y="252"/>
                  <a:pt x="380" y="252"/>
                  <a:pt x="380" y="252"/>
                </a:cubicBezTo>
                <a:cubicBezTo>
                  <a:pt x="378" y="255"/>
                  <a:pt x="378" y="259"/>
                  <a:pt x="381" y="261"/>
                </a:cubicBezTo>
                <a:cubicBezTo>
                  <a:pt x="384" y="263"/>
                  <a:pt x="387" y="263"/>
                  <a:pt x="389" y="260"/>
                </a:cubicBezTo>
                <a:close/>
                <a:moveTo>
                  <a:pt x="374" y="278"/>
                </a:moveTo>
                <a:cubicBezTo>
                  <a:pt x="377" y="275"/>
                  <a:pt x="377" y="275"/>
                  <a:pt x="377" y="275"/>
                </a:cubicBezTo>
                <a:cubicBezTo>
                  <a:pt x="379" y="273"/>
                  <a:pt x="378" y="269"/>
                  <a:pt x="376" y="267"/>
                </a:cubicBezTo>
                <a:cubicBezTo>
                  <a:pt x="373" y="265"/>
                  <a:pt x="370" y="265"/>
                  <a:pt x="367" y="268"/>
                </a:cubicBezTo>
                <a:cubicBezTo>
                  <a:pt x="365" y="271"/>
                  <a:pt x="365" y="271"/>
                  <a:pt x="365" y="271"/>
                </a:cubicBezTo>
                <a:cubicBezTo>
                  <a:pt x="363" y="273"/>
                  <a:pt x="363" y="277"/>
                  <a:pt x="366" y="279"/>
                </a:cubicBezTo>
                <a:cubicBezTo>
                  <a:pt x="368" y="281"/>
                  <a:pt x="372" y="281"/>
                  <a:pt x="374" y="278"/>
                </a:cubicBezTo>
                <a:close/>
                <a:moveTo>
                  <a:pt x="359" y="297"/>
                </a:moveTo>
                <a:cubicBezTo>
                  <a:pt x="361" y="294"/>
                  <a:pt x="361" y="294"/>
                  <a:pt x="361" y="294"/>
                </a:cubicBezTo>
                <a:cubicBezTo>
                  <a:pt x="363" y="291"/>
                  <a:pt x="363" y="287"/>
                  <a:pt x="361" y="285"/>
                </a:cubicBezTo>
                <a:cubicBezTo>
                  <a:pt x="358" y="283"/>
                  <a:pt x="354" y="284"/>
                  <a:pt x="352" y="286"/>
                </a:cubicBezTo>
                <a:cubicBezTo>
                  <a:pt x="350" y="289"/>
                  <a:pt x="350" y="289"/>
                  <a:pt x="350" y="289"/>
                </a:cubicBezTo>
                <a:cubicBezTo>
                  <a:pt x="347" y="292"/>
                  <a:pt x="348" y="296"/>
                  <a:pt x="350" y="298"/>
                </a:cubicBezTo>
                <a:cubicBezTo>
                  <a:pt x="353" y="300"/>
                  <a:pt x="357" y="299"/>
                  <a:pt x="359" y="297"/>
                </a:cubicBezTo>
                <a:close/>
                <a:moveTo>
                  <a:pt x="330" y="294"/>
                </a:moveTo>
                <a:cubicBezTo>
                  <a:pt x="333" y="295"/>
                  <a:pt x="333" y="295"/>
                  <a:pt x="333" y="295"/>
                </a:cubicBezTo>
                <a:cubicBezTo>
                  <a:pt x="337" y="296"/>
                  <a:pt x="340" y="294"/>
                  <a:pt x="341" y="290"/>
                </a:cubicBezTo>
                <a:cubicBezTo>
                  <a:pt x="341" y="287"/>
                  <a:pt x="339" y="284"/>
                  <a:pt x="336" y="283"/>
                </a:cubicBezTo>
                <a:cubicBezTo>
                  <a:pt x="332" y="282"/>
                  <a:pt x="332" y="282"/>
                  <a:pt x="332" y="282"/>
                </a:cubicBezTo>
                <a:cubicBezTo>
                  <a:pt x="329" y="282"/>
                  <a:pt x="326" y="284"/>
                  <a:pt x="325" y="287"/>
                </a:cubicBezTo>
                <a:cubicBezTo>
                  <a:pt x="324" y="290"/>
                  <a:pt x="326" y="294"/>
                  <a:pt x="330" y="294"/>
                </a:cubicBezTo>
                <a:close/>
                <a:moveTo>
                  <a:pt x="306" y="289"/>
                </a:moveTo>
                <a:cubicBezTo>
                  <a:pt x="310" y="290"/>
                  <a:pt x="310" y="290"/>
                  <a:pt x="310" y="290"/>
                </a:cubicBezTo>
                <a:cubicBezTo>
                  <a:pt x="313" y="291"/>
                  <a:pt x="316" y="289"/>
                  <a:pt x="317" y="285"/>
                </a:cubicBezTo>
                <a:cubicBezTo>
                  <a:pt x="318" y="282"/>
                  <a:pt x="316" y="279"/>
                  <a:pt x="313" y="278"/>
                </a:cubicBezTo>
                <a:cubicBezTo>
                  <a:pt x="309" y="277"/>
                  <a:pt x="309" y="277"/>
                  <a:pt x="309" y="277"/>
                </a:cubicBezTo>
                <a:cubicBezTo>
                  <a:pt x="305" y="277"/>
                  <a:pt x="302" y="279"/>
                  <a:pt x="302" y="282"/>
                </a:cubicBezTo>
                <a:cubicBezTo>
                  <a:pt x="301" y="285"/>
                  <a:pt x="303" y="288"/>
                  <a:pt x="306" y="289"/>
                </a:cubicBezTo>
                <a:close/>
                <a:moveTo>
                  <a:pt x="283" y="284"/>
                </a:moveTo>
                <a:cubicBezTo>
                  <a:pt x="287" y="285"/>
                  <a:pt x="287" y="285"/>
                  <a:pt x="287" y="285"/>
                </a:cubicBezTo>
                <a:cubicBezTo>
                  <a:pt x="290" y="286"/>
                  <a:pt x="293" y="284"/>
                  <a:pt x="294" y="280"/>
                </a:cubicBezTo>
                <a:cubicBezTo>
                  <a:pt x="294" y="277"/>
                  <a:pt x="292" y="274"/>
                  <a:pt x="289" y="273"/>
                </a:cubicBezTo>
                <a:cubicBezTo>
                  <a:pt x="285" y="272"/>
                  <a:pt x="285" y="272"/>
                  <a:pt x="285" y="272"/>
                </a:cubicBezTo>
                <a:cubicBezTo>
                  <a:pt x="282" y="272"/>
                  <a:pt x="279" y="274"/>
                  <a:pt x="278" y="277"/>
                </a:cubicBezTo>
                <a:cubicBezTo>
                  <a:pt x="277" y="280"/>
                  <a:pt x="279" y="283"/>
                  <a:pt x="283" y="284"/>
                </a:cubicBezTo>
                <a:close/>
                <a:moveTo>
                  <a:pt x="259" y="279"/>
                </a:moveTo>
                <a:cubicBezTo>
                  <a:pt x="263" y="280"/>
                  <a:pt x="263" y="280"/>
                  <a:pt x="263" y="280"/>
                </a:cubicBezTo>
                <a:cubicBezTo>
                  <a:pt x="266" y="280"/>
                  <a:pt x="270" y="278"/>
                  <a:pt x="270" y="275"/>
                </a:cubicBezTo>
                <a:cubicBezTo>
                  <a:pt x="271" y="272"/>
                  <a:pt x="269" y="269"/>
                  <a:pt x="266" y="268"/>
                </a:cubicBezTo>
                <a:cubicBezTo>
                  <a:pt x="262" y="267"/>
                  <a:pt x="262" y="267"/>
                  <a:pt x="262" y="267"/>
                </a:cubicBezTo>
                <a:cubicBezTo>
                  <a:pt x="259" y="267"/>
                  <a:pt x="255" y="269"/>
                  <a:pt x="255" y="272"/>
                </a:cubicBezTo>
                <a:cubicBezTo>
                  <a:pt x="254" y="275"/>
                  <a:pt x="256" y="278"/>
                  <a:pt x="259" y="279"/>
                </a:cubicBezTo>
                <a:close/>
                <a:moveTo>
                  <a:pt x="242" y="277"/>
                </a:moveTo>
                <a:cubicBezTo>
                  <a:pt x="245" y="275"/>
                  <a:pt x="245" y="275"/>
                  <a:pt x="245" y="275"/>
                </a:cubicBezTo>
                <a:cubicBezTo>
                  <a:pt x="247" y="273"/>
                  <a:pt x="248" y="269"/>
                  <a:pt x="246" y="266"/>
                </a:cubicBezTo>
                <a:cubicBezTo>
                  <a:pt x="244" y="264"/>
                  <a:pt x="240" y="263"/>
                  <a:pt x="238" y="265"/>
                </a:cubicBezTo>
                <a:cubicBezTo>
                  <a:pt x="234" y="267"/>
                  <a:pt x="234" y="267"/>
                  <a:pt x="234" y="267"/>
                </a:cubicBezTo>
                <a:cubicBezTo>
                  <a:pt x="232" y="269"/>
                  <a:pt x="231" y="273"/>
                  <a:pt x="233" y="276"/>
                </a:cubicBezTo>
                <a:cubicBezTo>
                  <a:pt x="235" y="278"/>
                  <a:pt x="239" y="279"/>
                  <a:pt x="242" y="277"/>
                </a:cubicBezTo>
                <a:close/>
                <a:moveTo>
                  <a:pt x="222" y="291"/>
                </a:moveTo>
                <a:cubicBezTo>
                  <a:pt x="225" y="289"/>
                  <a:pt x="225" y="289"/>
                  <a:pt x="225" y="289"/>
                </a:cubicBezTo>
                <a:cubicBezTo>
                  <a:pt x="228" y="287"/>
                  <a:pt x="229" y="283"/>
                  <a:pt x="227" y="280"/>
                </a:cubicBezTo>
                <a:cubicBezTo>
                  <a:pt x="225" y="278"/>
                  <a:pt x="221" y="277"/>
                  <a:pt x="218" y="279"/>
                </a:cubicBezTo>
                <a:cubicBezTo>
                  <a:pt x="215" y="282"/>
                  <a:pt x="215" y="282"/>
                  <a:pt x="215" y="282"/>
                </a:cubicBezTo>
                <a:cubicBezTo>
                  <a:pt x="212" y="284"/>
                  <a:pt x="212" y="287"/>
                  <a:pt x="214" y="290"/>
                </a:cubicBezTo>
                <a:cubicBezTo>
                  <a:pt x="216" y="293"/>
                  <a:pt x="220" y="293"/>
                  <a:pt x="222" y="291"/>
                </a:cubicBezTo>
                <a:close/>
                <a:moveTo>
                  <a:pt x="203" y="306"/>
                </a:moveTo>
                <a:cubicBezTo>
                  <a:pt x="206" y="303"/>
                  <a:pt x="206" y="303"/>
                  <a:pt x="206" y="303"/>
                </a:cubicBezTo>
                <a:cubicBezTo>
                  <a:pt x="209" y="301"/>
                  <a:pt x="209" y="297"/>
                  <a:pt x="207" y="295"/>
                </a:cubicBezTo>
                <a:cubicBezTo>
                  <a:pt x="205" y="292"/>
                  <a:pt x="202" y="292"/>
                  <a:pt x="199" y="294"/>
                </a:cubicBezTo>
                <a:cubicBezTo>
                  <a:pt x="196" y="296"/>
                  <a:pt x="196" y="296"/>
                  <a:pt x="196" y="296"/>
                </a:cubicBezTo>
                <a:cubicBezTo>
                  <a:pt x="193" y="298"/>
                  <a:pt x="193" y="302"/>
                  <a:pt x="195" y="304"/>
                </a:cubicBezTo>
                <a:cubicBezTo>
                  <a:pt x="197" y="307"/>
                  <a:pt x="200" y="308"/>
                  <a:pt x="203" y="306"/>
                </a:cubicBezTo>
                <a:close/>
                <a:moveTo>
                  <a:pt x="184" y="320"/>
                </a:moveTo>
                <a:cubicBezTo>
                  <a:pt x="187" y="318"/>
                  <a:pt x="187" y="318"/>
                  <a:pt x="187" y="318"/>
                </a:cubicBezTo>
                <a:cubicBezTo>
                  <a:pt x="190" y="316"/>
                  <a:pt x="190" y="312"/>
                  <a:pt x="188" y="309"/>
                </a:cubicBezTo>
                <a:cubicBezTo>
                  <a:pt x="186" y="306"/>
                  <a:pt x="182" y="306"/>
                  <a:pt x="180" y="308"/>
                </a:cubicBezTo>
                <a:cubicBezTo>
                  <a:pt x="177" y="310"/>
                  <a:pt x="177" y="310"/>
                  <a:pt x="177" y="310"/>
                </a:cubicBezTo>
                <a:cubicBezTo>
                  <a:pt x="174" y="312"/>
                  <a:pt x="173" y="316"/>
                  <a:pt x="175" y="319"/>
                </a:cubicBezTo>
                <a:cubicBezTo>
                  <a:pt x="177" y="321"/>
                  <a:pt x="181" y="322"/>
                  <a:pt x="184" y="320"/>
                </a:cubicBezTo>
                <a:close/>
                <a:moveTo>
                  <a:pt x="164" y="334"/>
                </a:moveTo>
                <a:cubicBezTo>
                  <a:pt x="168" y="332"/>
                  <a:pt x="168" y="332"/>
                  <a:pt x="168" y="332"/>
                </a:cubicBezTo>
                <a:cubicBezTo>
                  <a:pt x="170" y="330"/>
                  <a:pt x="171" y="326"/>
                  <a:pt x="169" y="323"/>
                </a:cubicBezTo>
                <a:cubicBezTo>
                  <a:pt x="167" y="321"/>
                  <a:pt x="163" y="320"/>
                  <a:pt x="160" y="322"/>
                </a:cubicBezTo>
                <a:cubicBezTo>
                  <a:pt x="157" y="325"/>
                  <a:pt x="157" y="325"/>
                  <a:pt x="157" y="325"/>
                </a:cubicBezTo>
                <a:cubicBezTo>
                  <a:pt x="155" y="327"/>
                  <a:pt x="154" y="330"/>
                  <a:pt x="156" y="333"/>
                </a:cubicBezTo>
                <a:cubicBezTo>
                  <a:pt x="158" y="336"/>
                  <a:pt x="162" y="336"/>
                  <a:pt x="164" y="334"/>
                </a:cubicBezTo>
                <a:close/>
                <a:moveTo>
                  <a:pt x="145" y="349"/>
                </a:moveTo>
                <a:cubicBezTo>
                  <a:pt x="148" y="346"/>
                  <a:pt x="148" y="346"/>
                  <a:pt x="148" y="346"/>
                </a:cubicBezTo>
                <a:cubicBezTo>
                  <a:pt x="151" y="344"/>
                  <a:pt x="152" y="340"/>
                  <a:pt x="150" y="338"/>
                </a:cubicBezTo>
                <a:cubicBezTo>
                  <a:pt x="148" y="335"/>
                  <a:pt x="144" y="335"/>
                  <a:pt x="141" y="336"/>
                </a:cubicBezTo>
                <a:cubicBezTo>
                  <a:pt x="138" y="339"/>
                  <a:pt x="138" y="339"/>
                  <a:pt x="138" y="339"/>
                </a:cubicBezTo>
                <a:cubicBezTo>
                  <a:pt x="135" y="341"/>
                  <a:pt x="135" y="345"/>
                  <a:pt x="137" y="347"/>
                </a:cubicBezTo>
                <a:cubicBezTo>
                  <a:pt x="139" y="350"/>
                  <a:pt x="143" y="350"/>
                  <a:pt x="145" y="349"/>
                </a:cubicBezTo>
                <a:close/>
                <a:moveTo>
                  <a:pt x="126" y="363"/>
                </a:moveTo>
                <a:cubicBezTo>
                  <a:pt x="129" y="360"/>
                  <a:pt x="129" y="360"/>
                  <a:pt x="129" y="360"/>
                </a:cubicBezTo>
                <a:cubicBezTo>
                  <a:pt x="132" y="358"/>
                  <a:pt x="132" y="355"/>
                  <a:pt x="130" y="352"/>
                </a:cubicBezTo>
                <a:cubicBezTo>
                  <a:pt x="128" y="349"/>
                  <a:pt x="125" y="349"/>
                  <a:pt x="122" y="351"/>
                </a:cubicBezTo>
                <a:cubicBezTo>
                  <a:pt x="119" y="353"/>
                  <a:pt x="119" y="353"/>
                  <a:pt x="119" y="353"/>
                </a:cubicBezTo>
                <a:cubicBezTo>
                  <a:pt x="116" y="355"/>
                  <a:pt x="116" y="359"/>
                  <a:pt x="118" y="362"/>
                </a:cubicBezTo>
                <a:cubicBezTo>
                  <a:pt x="119" y="364"/>
                  <a:pt x="123" y="365"/>
                  <a:pt x="126" y="363"/>
                </a:cubicBezTo>
                <a:close/>
                <a:moveTo>
                  <a:pt x="107" y="377"/>
                </a:moveTo>
                <a:cubicBezTo>
                  <a:pt x="110" y="375"/>
                  <a:pt x="110" y="375"/>
                  <a:pt x="110" y="375"/>
                </a:cubicBezTo>
                <a:cubicBezTo>
                  <a:pt x="113" y="373"/>
                  <a:pt x="113" y="369"/>
                  <a:pt x="111" y="366"/>
                </a:cubicBezTo>
                <a:cubicBezTo>
                  <a:pt x="109" y="364"/>
                  <a:pt x="105" y="363"/>
                  <a:pt x="103" y="365"/>
                </a:cubicBezTo>
                <a:cubicBezTo>
                  <a:pt x="99" y="367"/>
                  <a:pt x="99" y="367"/>
                  <a:pt x="99" y="367"/>
                </a:cubicBezTo>
                <a:cubicBezTo>
                  <a:pt x="97" y="369"/>
                  <a:pt x="96" y="373"/>
                  <a:pt x="98" y="376"/>
                </a:cubicBezTo>
                <a:cubicBezTo>
                  <a:pt x="100" y="379"/>
                  <a:pt x="104" y="379"/>
                  <a:pt x="107" y="377"/>
                </a:cubicBezTo>
                <a:close/>
                <a:moveTo>
                  <a:pt x="87" y="391"/>
                </a:moveTo>
                <a:cubicBezTo>
                  <a:pt x="91" y="389"/>
                  <a:pt x="91" y="389"/>
                  <a:pt x="91" y="389"/>
                </a:cubicBezTo>
                <a:cubicBezTo>
                  <a:pt x="93" y="387"/>
                  <a:pt x="94" y="383"/>
                  <a:pt x="92" y="381"/>
                </a:cubicBezTo>
                <a:cubicBezTo>
                  <a:pt x="90" y="378"/>
                  <a:pt x="86" y="377"/>
                  <a:pt x="83" y="379"/>
                </a:cubicBezTo>
                <a:cubicBezTo>
                  <a:pt x="80" y="382"/>
                  <a:pt x="80" y="382"/>
                  <a:pt x="80" y="382"/>
                </a:cubicBezTo>
                <a:cubicBezTo>
                  <a:pt x="78" y="384"/>
                  <a:pt x="77" y="388"/>
                  <a:pt x="79" y="390"/>
                </a:cubicBezTo>
                <a:cubicBezTo>
                  <a:pt x="81" y="393"/>
                  <a:pt x="85" y="393"/>
                  <a:pt x="87" y="391"/>
                </a:cubicBezTo>
                <a:close/>
                <a:moveTo>
                  <a:pt x="68" y="406"/>
                </a:moveTo>
                <a:cubicBezTo>
                  <a:pt x="71" y="403"/>
                  <a:pt x="71" y="403"/>
                  <a:pt x="71" y="403"/>
                </a:cubicBezTo>
                <a:cubicBezTo>
                  <a:pt x="74" y="401"/>
                  <a:pt x="75" y="398"/>
                  <a:pt x="73" y="395"/>
                </a:cubicBezTo>
                <a:cubicBezTo>
                  <a:pt x="71" y="392"/>
                  <a:pt x="67" y="392"/>
                  <a:pt x="64" y="394"/>
                </a:cubicBezTo>
                <a:cubicBezTo>
                  <a:pt x="61" y="396"/>
                  <a:pt x="61" y="396"/>
                  <a:pt x="61" y="396"/>
                </a:cubicBezTo>
                <a:cubicBezTo>
                  <a:pt x="58" y="398"/>
                  <a:pt x="58" y="402"/>
                  <a:pt x="60" y="405"/>
                </a:cubicBezTo>
                <a:cubicBezTo>
                  <a:pt x="62" y="407"/>
                  <a:pt x="65" y="408"/>
                  <a:pt x="68" y="406"/>
                </a:cubicBezTo>
                <a:close/>
                <a:moveTo>
                  <a:pt x="49" y="420"/>
                </a:moveTo>
                <a:cubicBezTo>
                  <a:pt x="52" y="418"/>
                  <a:pt x="52" y="418"/>
                  <a:pt x="52" y="418"/>
                </a:cubicBezTo>
                <a:cubicBezTo>
                  <a:pt x="55" y="416"/>
                  <a:pt x="55" y="412"/>
                  <a:pt x="53" y="409"/>
                </a:cubicBezTo>
                <a:cubicBezTo>
                  <a:pt x="51" y="407"/>
                  <a:pt x="48" y="406"/>
                  <a:pt x="45" y="408"/>
                </a:cubicBezTo>
                <a:cubicBezTo>
                  <a:pt x="42" y="410"/>
                  <a:pt x="42" y="410"/>
                  <a:pt x="42" y="410"/>
                </a:cubicBezTo>
                <a:cubicBezTo>
                  <a:pt x="39" y="412"/>
                  <a:pt x="38" y="416"/>
                  <a:pt x="40" y="419"/>
                </a:cubicBezTo>
                <a:cubicBezTo>
                  <a:pt x="42" y="421"/>
                  <a:pt x="46" y="422"/>
                  <a:pt x="49" y="420"/>
                </a:cubicBezTo>
                <a:close/>
                <a:moveTo>
                  <a:pt x="30" y="434"/>
                </a:moveTo>
                <a:cubicBezTo>
                  <a:pt x="33" y="432"/>
                  <a:pt x="33" y="432"/>
                  <a:pt x="33" y="432"/>
                </a:cubicBezTo>
                <a:cubicBezTo>
                  <a:pt x="35" y="430"/>
                  <a:pt x="36" y="426"/>
                  <a:pt x="34" y="424"/>
                </a:cubicBezTo>
                <a:cubicBezTo>
                  <a:pt x="32" y="421"/>
                  <a:pt x="28" y="420"/>
                  <a:pt x="26" y="422"/>
                </a:cubicBezTo>
                <a:cubicBezTo>
                  <a:pt x="22" y="425"/>
                  <a:pt x="22" y="425"/>
                  <a:pt x="22" y="425"/>
                </a:cubicBezTo>
                <a:cubicBezTo>
                  <a:pt x="20" y="427"/>
                  <a:pt x="19" y="430"/>
                  <a:pt x="21" y="433"/>
                </a:cubicBezTo>
                <a:cubicBezTo>
                  <a:pt x="23" y="436"/>
                  <a:pt x="27" y="436"/>
                  <a:pt x="30" y="434"/>
                </a:cubicBezTo>
                <a:close/>
                <a:moveTo>
                  <a:pt x="10" y="449"/>
                </a:moveTo>
                <a:cubicBezTo>
                  <a:pt x="13" y="446"/>
                  <a:pt x="13" y="446"/>
                  <a:pt x="13" y="446"/>
                </a:cubicBezTo>
                <a:cubicBezTo>
                  <a:pt x="16" y="444"/>
                  <a:pt x="17" y="441"/>
                  <a:pt x="15" y="438"/>
                </a:cubicBezTo>
                <a:cubicBezTo>
                  <a:pt x="13" y="435"/>
                  <a:pt x="9" y="435"/>
                  <a:pt x="6" y="437"/>
                </a:cubicBezTo>
                <a:cubicBezTo>
                  <a:pt x="3" y="439"/>
                  <a:pt x="3" y="439"/>
                  <a:pt x="3" y="439"/>
                </a:cubicBezTo>
                <a:cubicBezTo>
                  <a:pt x="0" y="441"/>
                  <a:pt x="0" y="445"/>
                  <a:pt x="2" y="447"/>
                </a:cubicBezTo>
                <a:cubicBezTo>
                  <a:pt x="4" y="450"/>
                  <a:pt x="8" y="451"/>
                  <a:pt x="10" y="449"/>
                </a:cubicBez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51">
            <a:extLst>
              <a:ext uri="{FF2B5EF4-FFF2-40B4-BE49-F238E27FC236}">
                <a16:creationId xmlns:a16="http://schemas.microsoft.com/office/drawing/2014/main" id="{F60D0225-915D-AB4E-856C-378950685A95}"/>
              </a:ext>
            </a:extLst>
          </p:cNvPr>
          <p:cNvSpPr>
            <a:spLocks/>
          </p:cNvSpPr>
          <p:nvPr/>
        </p:nvSpPr>
        <p:spPr bwMode="auto">
          <a:xfrm>
            <a:off x="6705559" y="3535237"/>
            <a:ext cx="148800" cy="148800"/>
          </a:xfrm>
          <a:custGeom>
            <a:avLst/>
            <a:gdLst>
              <a:gd name="T0" fmla="*/ 46 w 62"/>
              <a:gd name="T1" fmla="*/ 54 h 62"/>
              <a:gd name="T2" fmla="*/ 8 w 62"/>
              <a:gd name="T3" fmla="*/ 45 h 62"/>
              <a:gd name="T4" fmla="*/ 17 w 62"/>
              <a:gd name="T5" fmla="*/ 8 h 62"/>
              <a:gd name="T6" fmla="*/ 54 w 62"/>
              <a:gd name="T7" fmla="*/ 16 h 62"/>
              <a:gd name="T8" fmla="*/ 46 w 62"/>
              <a:gd name="T9" fmla="*/ 54 h 62"/>
            </a:gdLst>
            <a:ahLst/>
            <a:cxnLst>
              <a:cxn ang="0">
                <a:pos x="T0" y="T1"/>
              </a:cxn>
              <a:cxn ang="0">
                <a:pos x="T2" y="T3"/>
              </a:cxn>
              <a:cxn ang="0">
                <a:pos x="T4" y="T5"/>
              </a:cxn>
              <a:cxn ang="0">
                <a:pos x="T6" y="T7"/>
              </a:cxn>
              <a:cxn ang="0">
                <a:pos x="T8" y="T9"/>
              </a:cxn>
            </a:cxnLst>
            <a:rect l="0" t="0" r="r" b="b"/>
            <a:pathLst>
              <a:path w="62" h="62">
                <a:moveTo>
                  <a:pt x="46" y="54"/>
                </a:moveTo>
                <a:cubicBezTo>
                  <a:pt x="33" y="62"/>
                  <a:pt x="16" y="58"/>
                  <a:pt x="8" y="45"/>
                </a:cubicBezTo>
                <a:cubicBezTo>
                  <a:pt x="0" y="33"/>
                  <a:pt x="4" y="16"/>
                  <a:pt x="17" y="8"/>
                </a:cubicBezTo>
                <a:cubicBezTo>
                  <a:pt x="29" y="0"/>
                  <a:pt x="46" y="4"/>
                  <a:pt x="54" y="16"/>
                </a:cubicBezTo>
                <a:cubicBezTo>
                  <a:pt x="62" y="29"/>
                  <a:pt x="58" y="46"/>
                  <a:pt x="46"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52">
            <a:extLst>
              <a:ext uri="{FF2B5EF4-FFF2-40B4-BE49-F238E27FC236}">
                <a16:creationId xmlns:a16="http://schemas.microsoft.com/office/drawing/2014/main" id="{28F3197C-9C3B-4347-82F4-D01E40993A89}"/>
              </a:ext>
            </a:extLst>
          </p:cNvPr>
          <p:cNvSpPr>
            <a:spLocks/>
          </p:cNvSpPr>
          <p:nvPr/>
        </p:nvSpPr>
        <p:spPr bwMode="auto">
          <a:xfrm>
            <a:off x="6705559" y="3535237"/>
            <a:ext cx="148800" cy="148800"/>
          </a:xfrm>
          <a:custGeom>
            <a:avLst/>
            <a:gdLst>
              <a:gd name="T0" fmla="*/ 46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3" y="50"/>
                  <a:pt x="43" y="50"/>
                  <a:pt x="43" y="50"/>
                </a:cubicBezTo>
                <a:cubicBezTo>
                  <a:pt x="40" y="53"/>
                  <a:pt x="35" y="54"/>
                  <a:pt x="31" y="54"/>
                </a:cubicBezTo>
                <a:cubicBezTo>
                  <a:pt x="24" y="54"/>
                  <a:pt x="16" y="50"/>
                  <a:pt x="12" y="43"/>
                </a:cubicBezTo>
                <a:cubicBezTo>
                  <a:pt x="9" y="39"/>
                  <a:pt x="8" y="35"/>
                  <a:pt x="8" y="31"/>
                </a:cubicBezTo>
                <a:cubicBezTo>
                  <a:pt x="8" y="23"/>
                  <a:pt x="12" y="16"/>
                  <a:pt x="19" y="12"/>
                </a:cubicBezTo>
                <a:cubicBezTo>
                  <a:pt x="23" y="9"/>
                  <a:pt x="27" y="8"/>
                  <a:pt x="31" y="8"/>
                </a:cubicBezTo>
                <a:cubicBezTo>
                  <a:pt x="39" y="8"/>
                  <a:pt x="46" y="12"/>
                  <a:pt x="50" y="19"/>
                </a:cubicBezTo>
                <a:cubicBezTo>
                  <a:pt x="53" y="22"/>
                  <a:pt x="54" y="27"/>
                  <a:pt x="54" y="31"/>
                </a:cubicBezTo>
                <a:cubicBezTo>
                  <a:pt x="54" y="38"/>
                  <a:pt x="50" y="46"/>
                  <a:pt x="43" y="50"/>
                </a:cubicBezTo>
                <a:cubicBezTo>
                  <a:pt x="46" y="54"/>
                  <a:pt x="46" y="54"/>
                  <a:pt x="46" y="54"/>
                </a:cubicBezTo>
                <a:cubicBezTo>
                  <a:pt x="48" y="57"/>
                  <a:pt x="48" y="57"/>
                  <a:pt x="48" y="57"/>
                </a:cubicBezTo>
                <a:cubicBezTo>
                  <a:pt x="57" y="51"/>
                  <a:pt x="62" y="41"/>
                  <a:pt x="62" y="31"/>
                </a:cubicBezTo>
                <a:cubicBezTo>
                  <a:pt x="62" y="25"/>
                  <a:pt x="60" y="19"/>
                  <a:pt x="57" y="14"/>
                </a:cubicBezTo>
                <a:cubicBezTo>
                  <a:pt x="51" y="5"/>
                  <a:pt x="41" y="0"/>
                  <a:pt x="31" y="0"/>
                </a:cubicBezTo>
                <a:cubicBezTo>
                  <a:pt x="25" y="0"/>
                  <a:pt x="20" y="2"/>
                  <a:pt x="15" y="5"/>
                </a:cubicBezTo>
                <a:cubicBezTo>
                  <a:pt x="5" y="11"/>
                  <a:pt x="0" y="21"/>
                  <a:pt x="0" y="31"/>
                </a:cubicBezTo>
                <a:cubicBezTo>
                  <a:pt x="0" y="37"/>
                  <a:pt x="2" y="42"/>
                  <a:pt x="5" y="47"/>
                </a:cubicBezTo>
                <a:cubicBezTo>
                  <a:pt x="11" y="57"/>
                  <a:pt x="21" y="62"/>
                  <a:pt x="31" y="62"/>
                </a:cubicBezTo>
                <a:cubicBezTo>
                  <a:pt x="37" y="62"/>
                  <a:pt x="43" y="60"/>
                  <a:pt x="48" y="57"/>
                </a:cubicBezTo>
                <a:lnTo>
                  <a:pt x="46" y="54"/>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53">
            <a:extLst>
              <a:ext uri="{FF2B5EF4-FFF2-40B4-BE49-F238E27FC236}">
                <a16:creationId xmlns:a16="http://schemas.microsoft.com/office/drawing/2014/main" id="{295CC493-A543-4E48-9583-95FC49E8A0AF}"/>
              </a:ext>
            </a:extLst>
          </p:cNvPr>
          <p:cNvSpPr>
            <a:spLocks/>
          </p:cNvSpPr>
          <p:nvPr/>
        </p:nvSpPr>
        <p:spPr bwMode="auto">
          <a:xfrm>
            <a:off x="5809722" y="391989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9"/>
                  <a:pt x="58"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4">
            <a:extLst>
              <a:ext uri="{FF2B5EF4-FFF2-40B4-BE49-F238E27FC236}">
                <a16:creationId xmlns:a16="http://schemas.microsoft.com/office/drawing/2014/main" id="{116D37CD-0F9B-9444-BCB6-B113097A8674}"/>
              </a:ext>
            </a:extLst>
          </p:cNvPr>
          <p:cNvSpPr>
            <a:spLocks/>
          </p:cNvSpPr>
          <p:nvPr/>
        </p:nvSpPr>
        <p:spPr bwMode="auto">
          <a:xfrm>
            <a:off x="5809722" y="3919890"/>
            <a:ext cx="148800" cy="146776"/>
          </a:xfrm>
          <a:custGeom>
            <a:avLst/>
            <a:gdLst>
              <a:gd name="T0" fmla="*/ 45 w 62"/>
              <a:gd name="T1" fmla="*/ 53 h 61"/>
              <a:gd name="T2" fmla="*/ 43 w 62"/>
              <a:gd name="T3" fmla="*/ 50 h 61"/>
              <a:gd name="T4" fmla="*/ 31 w 62"/>
              <a:gd name="T5" fmla="*/ 53 h 61"/>
              <a:gd name="T6" fmla="*/ 11 w 62"/>
              <a:gd name="T7" fmla="*/ 43 h 61"/>
              <a:gd name="T8" fmla="*/ 8 w 62"/>
              <a:gd name="T9" fmla="*/ 30 h 61"/>
              <a:gd name="T10" fmla="*/ 18 w 62"/>
              <a:gd name="T11" fmla="*/ 11 h 61"/>
              <a:gd name="T12" fmla="*/ 31 w 62"/>
              <a:gd name="T13" fmla="*/ 8 h 61"/>
              <a:gd name="T14" fmla="*/ 50 w 62"/>
              <a:gd name="T15" fmla="*/ 18 h 61"/>
              <a:gd name="T16" fmla="*/ 54 w 62"/>
              <a:gd name="T17" fmla="*/ 30 h 61"/>
              <a:gd name="T18" fmla="*/ 43 w 62"/>
              <a:gd name="T19" fmla="*/ 50 h 61"/>
              <a:gd name="T20" fmla="*/ 45 w 62"/>
              <a:gd name="T21" fmla="*/ 53 h 61"/>
              <a:gd name="T22" fmla="*/ 47 w 62"/>
              <a:gd name="T23" fmla="*/ 56 h 61"/>
              <a:gd name="T24" fmla="*/ 62 w 62"/>
              <a:gd name="T25" fmla="*/ 30 h 61"/>
              <a:gd name="T26" fmla="*/ 57 w 62"/>
              <a:gd name="T27" fmla="*/ 14 h 61"/>
              <a:gd name="T28" fmla="*/ 31 w 62"/>
              <a:gd name="T29" fmla="*/ 0 h 61"/>
              <a:gd name="T30" fmla="*/ 14 w 62"/>
              <a:gd name="T31" fmla="*/ 4 h 61"/>
              <a:gd name="T32" fmla="*/ 0 w 62"/>
              <a:gd name="T33" fmla="*/ 30 h 61"/>
              <a:gd name="T34" fmla="*/ 5 w 62"/>
              <a:gd name="T35" fmla="*/ 47 h 61"/>
              <a:gd name="T36" fmla="*/ 31 w 62"/>
              <a:gd name="T37" fmla="*/ 61 h 61"/>
              <a:gd name="T38" fmla="*/ 47 w 62"/>
              <a:gd name="T39" fmla="*/ 56 h 61"/>
              <a:gd name="T40" fmla="*/ 45 w 62"/>
              <a:gd name="T41" fmla="*/ 5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1">
                <a:moveTo>
                  <a:pt x="45" y="53"/>
                </a:moveTo>
                <a:cubicBezTo>
                  <a:pt x="43" y="50"/>
                  <a:pt x="43" y="50"/>
                  <a:pt x="43" y="50"/>
                </a:cubicBezTo>
                <a:cubicBezTo>
                  <a:pt x="39" y="52"/>
                  <a:pt x="35" y="53"/>
                  <a:pt x="31" y="53"/>
                </a:cubicBezTo>
                <a:cubicBezTo>
                  <a:pt x="23" y="53"/>
                  <a:pt x="16" y="50"/>
                  <a:pt x="11" y="43"/>
                </a:cubicBezTo>
                <a:cubicBezTo>
                  <a:pt x="9" y="39"/>
                  <a:pt x="8" y="35"/>
                  <a:pt x="8" y="30"/>
                </a:cubicBezTo>
                <a:cubicBezTo>
                  <a:pt x="8" y="23"/>
                  <a:pt x="12" y="15"/>
                  <a:pt x="18" y="11"/>
                </a:cubicBezTo>
                <a:cubicBezTo>
                  <a:pt x="22" y="9"/>
                  <a:pt x="27" y="8"/>
                  <a:pt x="31" y="8"/>
                </a:cubicBezTo>
                <a:cubicBezTo>
                  <a:pt x="38" y="8"/>
                  <a:pt x="46" y="11"/>
                  <a:pt x="50" y="18"/>
                </a:cubicBezTo>
                <a:cubicBezTo>
                  <a:pt x="53" y="22"/>
                  <a:pt x="54" y="26"/>
                  <a:pt x="54" y="30"/>
                </a:cubicBezTo>
                <a:cubicBezTo>
                  <a:pt x="54" y="38"/>
                  <a:pt x="50" y="45"/>
                  <a:pt x="43" y="50"/>
                </a:cubicBezTo>
                <a:cubicBezTo>
                  <a:pt x="45" y="53"/>
                  <a:pt x="45" y="53"/>
                  <a:pt x="45" y="53"/>
                </a:cubicBezTo>
                <a:cubicBezTo>
                  <a:pt x="47" y="56"/>
                  <a:pt x="47" y="56"/>
                  <a:pt x="47" y="56"/>
                </a:cubicBezTo>
                <a:cubicBezTo>
                  <a:pt x="57" y="51"/>
                  <a:pt x="62" y="41"/>
                  <a:pt x="62" y="30"/>
                </a:cubicBezTo>
                <a:cubicBezTo>
                  <a:pt x="62" y="25"/>
                  <a:pt x="60" y="19"/>
                  <a:pt x="57" y="14"/>
                </a:cubicBezTo>
                <a:cubicBezTo>
                  <a:pt x="51" y="5"/>
                  <a:pt x="41" y="0"/>
                  <a:pt x="31" y="0"/>
                </a:cubicBezTo>
                <a:cubicBezTo>
                  <a:pt x="25" y="0"/>
                  <a:pt x="19" y="1"/>
                  <a:pt x="14" y="4"/>
                </a:cubicBezTo>
                <a:cubicBezTo>
                  <a:pt x="5" y="10"/>
                  <a:pt x="0" y="20"/>
                  <a:pt x="0" y="30"/>
                </a:cubicBezTo>
                <a:cubicBezTo>
                  <a:pt x="0" y="36"/>
                  <a:pt x="1" y="42"/>
                  <a:pt x="5" y="47"/>
                </a:cubicBezTo>
                <a:cubicBezTo>
                  <a:pt x="11" y="56"/>
                  <a:pt x="21" y="61"/>
                  <a:pt x="31" y="61"/>
                </a:cubicBezTo>
                <a:cubicBezTo>
                  <a:pt x="36" y="61"/>
                  <a:pt x="42" y="60"/>
                  <a:pt x="47" y="56"/>
                </a:cubicBezTo>
                <a:lnTo>
                  <a:pt x="45" y="53"/>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5">
            <a:extLst>
              <a:ext uri="{FF2B5EF4-FFF2-40B4-BE49-F238E27FC236}">
                <a16:creationId xmlns:a16="http://schemas.microsoft.com/office/drawing/2014/main" id="{08DF37CB-BAD6-0244-8B0C-C07E35F7D030}"/>
              </a:ext>
            </a:extLst>
          </p:cNvPr>
          <p:cNvSpPr>
            <a:spLocks/>
          </p:cNvSpPr>
          <p:nvPr/>
        </p:nvSpPr>
        <p:spPr bwMode="auto">
          <a:xfrm>
            <a:off x="7368581" y="3153620"/>
            <a:ext cx="98188" cy="101225"/>
          </a:xfrm>
          <a:custGeom>
            <a:avLst/>
            <a:gdLst>
              <a:gd name="T0" fmla="*/ 30 w 41"/>
              <a:gd name="T1" fmla="*/ 36 h 42"/>
              <a:gd name="T2" fmla="*/ 5 w 41"/>
              <a:gd name="T3" fmla="*/ 31 h 42"/>
              <a:gd name="T4" fmla="*/ 11 w 41"/>
              <a:gd name="T5" fmla="*/ 5 h 42"/>
              <a:gd name="T6" fmla="*/ 36 w 41"/>
              <a:gd name="T7" fmla="*/ 11 h 42"/>
              <a:gd name="T8" fmla="*/ 30 w 41"/>
              <a:gd name="T9" fmla="*/ 36 h 42"/>
            </a:gdLst>
            <a:ahLst/>
            <a:cxnLst>
              <a:cxn ang="0">
                <a:pos x="T0" y="T1"/>
              </a:cxn>
              <a:cxn ang="0">
                <a:pos x="T2" y="T3"/>
              </a:cxn>
              <a:cxn ang="0">
                <a:pos x="T4" y="T5"/>
              </a:cxn>
              <a:cxn ang="0">
                <a:pos x="T6" y="T7"/>
              </a:cxn>
              <a:cxn ang="0">
                <a:pos x="T8" y="T9"/>
              </a:cxn>
            </a:cxnLst>
            <a:rect l="0" t="0" r="r" b="b"/>
            <a:pathLst>
              <a:path w="41" h="42">
                <a:moveTo>
                  <a:pt x="30" y="36"/>
                </a:moveTo>
                <a:cubicBezTo>
                  <a:pt x="22" y="42"/>
                  <a:pt x="10" y="39"/>
                  <a:pt x="5" y="31"/>
                </a:cubicBezTo>
                <a:cubicBezTo>
                  <a:pt x="0" y="22"/>
                  <a:pt x="2" y="11"/>
                  <a:pt x="11" y="5"/>
                </a:cubicBezTo>
                <a:cubicBezTo>
                  <a:pt x="19" y="0"/>
                  <a:pt x="30" y="2"/>
                  <a:pt x="36" y="11"/>
                </a:cubicBezTo>
                <a:cubicBezTo>
                  <a:pt x="41" y="19"/>
                  <a:pt x="39" y="31"/>
                  <a:pt x="30"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6">
            <a:extLst>
              <a:ext uri="{FF2B5EF4-FFF2-40B4-BE49-F238E27FC236}">
                <a16:creationId xmlns:a16="http://schemas.microsoft.com/office/drawing/2014/main" id="{968CC226-F027-7E41-9C82-2185A6F22BA3}"/>
              </a:ext>
            </a:extLst>
          </p:cNvPr>
          <p:cNvSpPr>
            <a:spLocks/>
          </p:cNvSpPr>
          <p:nvPr/>
        </p:nvSpPr>
        <p:spPr bwMode="auto">
          <a:xfrm>
            <a:off x="7363519" y="3148559"/>
            <a:ext cx="108310" cy="108310"/>
          </a:xfrm>
          <a:custGeom>
            <a:avLst/>
            <a:gdLst>
              <a:gd name="T0" fmla="*/ 32 w 45"/>
              <a:gd name="T1" fmla="*/ 38 h 45"/>
              <a:gd name="T2" fmla="*/ 30 w 45"/>
              <a:gd name="T3" fmla="*/ 35 h 45"/>
              <a:gd name="T4" fmla="*/ 22 w 45"/>
              <a:gd name="T5" fmla="*/ 37 h 45"/>
              <a:gd name="T6" fmla="*/ 10 w 45"/>
              <a:gd name="T7" fmla="*/ 30 h 45"/>
              <a:gd name="T8" fmla="*/ 8 w 45"/>
              <a:gd name="T9" fmla="*/ 23 h 45"/>
              <a:gd name="T10" fmla="*/ 15 w 45"/>
              <a:gd name="T11" fmla="*/ 11 h 45"/>
              <a:gd name="T12" fmla="*/ 22 w 45"/>
              <a:gd name="T13" fmla="*/ 8 h 45"/>
              <a:gd name="T14" fmla="*/ 34 w 45"/>
              <a:gd name="T15" fmla="*/ 15 h 45"/>
              <a:gd name="T16" fmla="*/ 37 w 45"/>
              <a:gd name="T17" fmla="*/ 23 h 45"/>
              <a:gd name="T18" fmla="*/ 30 w 45"/>
              <a:gd name="T19" fmla="*/ 35 h 45"/>
              <a:gd name="T20" fmla="*/ 32 w 45"/>
              <a:gd name="T21" fmla="*/ 38 h 45"/>
              <a:gd name="T22" fmla="*/ 34 w 45"/>
              <a:gd name="T23" fmla="*/ 42 h 45"/>
              <a:gd name="T24" fmla="*/ 45 w 45"/>
              <a:gd name="T25" fmla="*/ 23 h 45"/>
              <a:gd name="T26" fmla="*/ 41 w 45"/>
              <a:gd name="T27" fmla="*/ 11 h 45"/>
              <a:gd name="T28" fmla="*/ 22 w 45"/>
              <a:gd name="T29" fmla="*/ 0 h 45"/>
              <a:gd name="T30" fmla="*/ 10 w 45"/>
              <a:gd name="T31" fmla="*/ 4 h 45"/>
              <a:gd name="T32" fmla="*/ 0 w 45"/>
              <a:gd name="T33" fmla="*/ 23 h 45"/>
              <a:gd name="T34" fmla="*/ 4 w 45"/>
              <a:gd name="T35" fmla="*/ 35 h 45"/>
              <a:gd name="T36" fmla="*/ 22 w 45"/>
              <a:gd name="T37" fmla="*/ 45 h 45"/>
              <a:gd name="T38" fmla="*/ 34 w 45"/>
              <a:gd name="T39" fmla="*/ 42 h 45"/>
              <a:gd name="T40" fmla="*/ 32 w 45"/>
              <a:gd name="T4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45">
                <a:moveTo>
                  <a:pt x="32" y="38"/>
                </a:moveTo>
                <a:cubicBezTo>
                  <a:pt x="30" y="35"/>
                  <a:pt x="30" y="35"/>
                  <a:pt x="30" y="35"/>
                </a:cubicBezTo>
                <a:cubicBezTo>
                  <a:pt x="28" y="36"/>
                  <a:pt x="25" y="37"/>
                  <a:pt x="22" y="37"/>
                </a:cubicBezTo>
                <a:cubicBezTo>
                  <a:pt x="18" y="37"/>
                  <a:pt x="13" y="35"/>
                  <a:pt x="10" y="30"/>
                </a:cubicBezTo>
                <a:cubicBezTo>
                  <a:pt x="9" y="28"/>
                  <a:pt x="8" y="25"/>
                  <a:pt x="8" y="23"/>
                </a:cubicBezTo>
                <a:cubicBezTo>
                  <a:pt x="8" y="18"/>
                  <a:pt x="10" y="13"/>
                  <a:pt x="15" y="11"/>
                </a:cubicBezTo>
                <a:cubicBezTo>
                  <a:pt x="17" y="9"/>
                  <a:pt x="20" y="8"/>
                  <a:pt x="22" y="8"/>
                </a:cubicBezTo>
                <a:cubicBezTo>
                  <a:pt x="27" y="9"/>
                  <a:pt x="32" y="11"/>
                  <a:pt x="34" y="15"/>
                </a:cubicBezTo>
                <a:cubicBezTo>
                  <a:pt x="36" y="17"/>
                  <a:pt x="37" y="20"/>
                  <a:pt x="37" y="23"/>
                </a:cubicBezTo>
                <a:cubicBezTo>
                  <a:pt x="37" y="27"/>
                  <a:pt x="34" y="32"/>
                  <a:pt x="30" y="35"/>
                </a:cubicBezTo>
                <a:cubicBezTo>
                  <a:pt x="32" y="38"/>
                  <a:pt x="32" y="38"/>
                  <a:pt x="32" y="38"/>
                </a:cubicBezTo>
                <a:cubicBezTo>
                  <a:pt x="34" y="42"/>
                  <a:pt x="34" y="42"/>
                  <a:pt x="34" y="42"/>
                </a:cubicBezTo>
                <a:cubicBezTo>
                  <a:pt x="41" y="37"/>
                  <a:pt x="45" y="30"/>
                  <a:pt x="45" y="23"/>
                </a:cubicBezTo>
                <a:cubicBezTo>
                  <a:pt x="45" y="19"/>
                  <a:pt x="44" y="15"/>
                  <a:pt x="41" y="11"/>
                </a:cubicBezTo>
                <a:cubicBezTo>
                  <a:pt x="37" y="4"/>
                  <a:pt x="30" y="0"/>
                  <a:pt x="22" y="0"/>
                </a:cubicBezTo>
                <a:cubicBezTo>
                  <a:pt x="18" y="0"/>
                  <a:pt x="14" y="2"/>
                  <a:pt x="10" y="4"/>
                </a:cubicBezTo>
                <a:cubicBezTo>
                  <a:pt x="4" y="8"/>
                  <a:pt x="0" y="15"/>
                  <a:pt x="0" y="23"/>
                </a:cubicBezTo>
                <a:cubicBezTo>
                  <a:pt x="0" y="27"/>
                  <a:pt x="1" y="31"/>
                  <a:pt x="4" y="35"/>
                </a:cubicBezTo>
                <a:cubicBezTo>
                  <a:pt x="8" y="41"/>
                  <a:pt x="15" y="45"/>
                  <a:pt x="22" y="45"/>
                </a:cubicBezTo>
                <a:cubicBezTo>
                  <a:pt x="27" y="45"/>
                  <a:pt x="31" y="44"/>
                  <a:pt x="34" y="42"/>
                </a:cubicBezTo>
                <a:lnTo>
                  <a:pt x="32" y="38"/>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57">
            <a:extLst>
              <a:ext uri="{FF2B5EF4-FFF2-40B4-BE49-F238E27FC236}">
                <a16:creationId xmlns:a16="http://schemas.microsoft.com/office/drawing/2014/main" id="{A0AEC205-8FAD-2744-8785-5B64DD312AB9}"/>
              </a:ext>
            </a:extLst>
          </p:cNvPr>
          <p:cNvSpPr>
            <a:spLocks/>
          </p:cNvSpPr>
          <p:nvPr/>
        </p:nvSpPr>
        <p:spPr bwMode="auto">
          <a:xfrm>
            <a:off x="2346828" y="4859254"/>
            <a:ext cx="145763"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8"/>
                  <a:pt x="58"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58">
            <a:extLst>
              <a:ext uri="{FF2B5EF4-FFF2-40B4-BE49-F238E27FC236}">
                <a16:creationId xmlns:a16="http://schemas.microsoft.com/office/drawing/2014/main" id="{17B12BD7-748F-BC48-8BB9-7717354B2709}"/>
              </a:ext>
            </a:extLst>
          </p:cNvPr>
          <p:cNvSpPr>
            <a:spLocks/>
          </p:cNvSpPr>
          <p:nvPr/>
        </p:nvSpPr>
        <p:spPr bwMode="auto">
          <a:xfrm>
            <a:off x="2346828" y="4857230"/>
            <a:ext cx="148800" cy="148800"/>
          </a:xfrm>
          <a:custGeom>
            <a:avLst/>
            <a:gdLst>
              <a:gd name="T0" fmla="*/ 45 w 62"/>
              <a:gd name="T1" fmla="*/ 54 h 62"/>
              <a:gd name="T2" fmla="*/ 43 w 62"/>
              <a:gd name="T3" fmla="*/ 51 h 62"/>
              <a:gd name="T4" fmla="*/ 31 w 62"/>
              <a:gd name="T5" fmla="*/ 54 h 62"/>
              <a:gd name="T6" fmla="*/ 11 w 62"/>
              <a:gd name="T7" fmla="*/ 44 h 62"/>
              <a:gd name="T8" fmla="*/ 8 w 62"/>
              <a:gd name="T9" fmla="*/ 31 h 62"/>
              <a:gd name="T10" fmla="*/ 18 w 62"/>
              <a:gd name="T11" fmla="*/ 12 h 62"/>
              <a:gd name="T12" fmla="*/ 18 w 62"/>
              <a:gd name="T13" fmla="*/ 12 h 62"/>
              <a:gd name="T14" fmla="*/ 31 w 62"/>
              <a:gd name="T15" fmla="*/ 8 h 62"/>
              <a:gd name="T16" fmla="*/ 50 w 62"/>
              <a:gd name="T17" fmla="*/ 19 h 62"/>
              <a:gd name="T18" fmla="*/ 54 w 62"/>
              <a:gd name="T19" fmla="*/ 31 h 62"/>
              <a:gd name="T20" fmla="*/ 43 w 62"/>
              <a:gd name="T21" fmla="*/ 51 h 62"/>
              <a:gd name="T22" fmla="*/ 43 w 62"/>
              <a:gd name="T23" fmla="*/ 51 h 62"/>
              <a:gd name="T24" fmla="*/ 45 w 62"/>
              <a:gd name="T25" fmla="*/ 54 h 62"/>
              <a:gd name="T26" fmla="*/ 47 w 62"/>
              <a:gd name="T27" fmla="*/ 57 h 62"/>
              <a:gd name="T28" fmla="*/ 62 w 62"/>
              <a:gd name="T29" fmla="*/ 31 h 62"/>
              <a:gd name="T30" fmla="*/ 57 w 62"/>
              <a:gd name="T31" fmla="*/ 15 h 62"/>
              <a:gd name="T32" fmla="*/ 31 w 62"/>
              <a:gd name="T33" fmla="*/ 0 h 62"/>
              <a:gd name="T34" fmla="*/ 14 w 62"/>
              <a:gd name="T35" fmla="*/ 5 h 62"/>
              <a:gd name="T36" fmla="*/ 14 w 62"/>
              <a:gd name="T37" fmla="*/ 5 h 62"/>
              <a:gd name="T38" fmla="*/ 0 w 62"/>
              <a:gd name="T39" fmla="*/ 31 h 62"/>
              <a:gd name="T40" fmla="*/ 5 w 62"/>
              <a:gd name="T41" fmla="*/ 48 h 62"/>
              <a:gd name="T42" fmla="*/ 31 w 62"/>
              <a:gd name="T43" fmla="*/ 62 h 62"/>
              <a:gd name="T44" fmla="*/ 47 w 62"/>
              <a:gd name="T45" fmla="*/ 57 h 62"/>
              <a:gd name="T46" fmla="*/ 47 w 62"/>
              <a:gd name="T47" fmla="*/ 57 h 62"/>
              <a:gd name="T48" fmla="*/ 45 w 62"/>
              <a:gd name="T49"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2">
                <a:moveTo>
                  <a:pt x="45" y="54"/>
                </a:moveTo>
                <a:cubicBezTo>
                  <a:pt x="43" y="51"/>
                  <a:pt x="43" y="51"/>
                  <a:pt x="43" y="51"/>
                </a:cubicBezTo>
                <a:cubicBezTo>
                  <a:pt x="39" y="53"/>
                  <a:pt x="35" y="54"/>
                  <a:pt x="31" y="54"/>
                </a:cubicBezTo>
                <a:cubicBezTo>
                  <a:pt x="23" y="54"/>
                  <a:pt x="16" y="50"/>
                  <a:pt x="11" y="44"/>
                </a:cubicBezTo>
                <a:cubicBezTo>
                  <a:pt x="9" y="40"/>
                  <a:pt x="8" y="36"/>
                  <a:pt x="8" y="31"/>
                </a:cubicBezTo>
                <a:cubicBezTo>
                  <a:pt x="8" y="24"/>
                  <a:pt x="12" y="16"/>
                  <a:pt x="18" y="12"/>
                </a:cubicBezTo>
                <a:cubicBezTo>
                  <a:pt x="18" y="12"/>
                  <a:pt x="18" y="12"/>
                  <a:pt x="18" y="12"/>
                </a:cubicBezTo>
                <a:cubicBezTo>
                  <a:pt x="22" y="10"/>
                  <a:pt x="27" y="8"/>
                  <a:pt x="31" y="8"/>
                </a:cubicBezTo>
                <a:cubicBezTo>
                  <a:pt x="38" y="8"/>
                  <a:pt x="46" y="12"/>
                  <a:pt x="50" y="19"/>
                </a:cubicBezTo>
                <a:cubicBezTo>
                  <a:pt x="52" y="23"/>
                  <a:pt x="54" y="27"/>
                  <a:pt x="54" y="31"/>
                </a:cubicBezTo>
                <a:cubicBezTo>
                  <a:pt x="54" y="39"/>
                  <a:pt x="50" y="46"/>
                  <a:pt x="43" y="51"/>
                </a:cubicBezTo>
                <a:cubicBezTo>
                  <a:pt x="43" y="51"/>
                  <a:pt x="43" y="51"/>
                  <a:pt x="43" y="51"/>
                </a:cubicBezTo>
                <a:cubicBezTo>
                  <a:pt x="45" y="54"/>
                  <a:pt x="45" y="54"/>
                  <a:pt x="45" y="54"/>
                </a:cubicBezTo>
                <a:cubicBezTo>
                  <a:pt x="47" y="57"/>
                  <a:pt x="47" y="57"/>
                  <a:pt x="47" y="57"/>
                </a:cubicBezTo>
                <a:cubicBezTo>
                  <a:pt x="57" y="51"/>
                  <a:pt x="62" y="41"/>
                  <a:pt x="62" y="31"/>
                </a:cubicBezTo>
                <a:cubicBezTo>
                  <a:pt x="62" y="26"/>
                  <a:pt x="60" y="20"/>
                  <a:pt x="57" y="15"/>
                </a:cubicBezTo>
                <a:cubicBezTo>
                  <a:pt x="51" y="5"/>
                  <a:pt x="41" y="0"/>
                  <a:pt x="31" y="0"/>
                </a:cubicBezTo>
                <a:cubicBezTo>
                  <a:pt x="25" y="0"/>
                  <a:pt x="19" y="2"/>
                  <a:pt x="14" y="5"/>
                </a:cubicBezTo>
                <a:cubicBezTo>
                  <a:pt x="14" y="5"/>
                  <a:pt x="14" y="5"/>
                  <a:pt x="14" y="5"/>
                </a:cubicBezTo>
                <a:cubicBezTo>
                  <a:pt x="5" y="11"/>
                  <a:pt x="0" y="21"/>
                  <a:pt x="0" y="31"/>
                </a:cubicBezTo>
                <a:cubicBezTo>
                  <a:pt x="0" y="37"/>
                  <a:pt x="1" y="43"/>
                  <a:pt x="5" y="48"/>
                </a:cubicBezTo>
                <a:cubicBezTo>
                  <a:pt x="11" y="57"/>
                  <a:pt x="21" y="62"/>
                  <a:pt x="31" y="62"/>
                </a:cubicBezTo>
                <a:cubicBezTo>
                  <a:pt x="36" y="62"/>
                  <a:pt x="42" y="61"/>
                  <a:pt x="47" y="57"/>
                </a:cubicBezTo>
                <a:cubicBezTo>
                  <a:pt x="47" y="57"/>
                  <a:pt x="47" y="57"/>
                  <a:pt x="47" y="57"/>
                </a:cubicBezTo>
                <a:lnTo>
                  <a:pt x="45" y="54"/>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159">
            <a:extLst>
              <a:ext uri="{FF2B5EF4-FFF2-40B4-BE49-F238E27FC236}">
                <a16:creationId xmlns:a16="http://schemas.microsoft.com/office/drawing/2014/main" id="{872F8944-35FE-C54F-863F-DC32A1244534}"/>
              </a:ext>
            </a:extLst>
          </p:cNvPr>
          <p:cNvSpPr>
            <a:spLocks noChangeArrowheads="1"/>
          </p:cNvSpPr>
          <p:nvPr/>
        </p:nvSpPr>
        <p:spPr bwMode="auto">
          <a:xfrm>
            <a:off x="7777528" y="3206257"/>
            <a:ext cx="547625" cy="310860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160">
            <a:extLst>
              <a:ext uri="{FF2B5EF4-FFF2-40B4-BE49-F238E27FC236}">
                <a16:creationId xmlns:a16="http://schemas.microsoft.com/office/drawing/2014/main" id="{B0F3A0D8-DECE-254E-92D5-158199FE14B0}"/>
              </a:ext>
            </a:extLst>
          </p:cNvPr>
          <p:cNvSpPr>
            <a:spLocks noEditPoints="1"/>
          </p:cNvSpPr>
          <p:nvPr/>
        </p:nvSpPr>
        <p:spPr bwMode="auto">
          <a:xfrm>
            <a:off x="7762344" y="3192085"/>
            <a:ext cx="576980" cy="3136950"/>
          </a:xfrm>
          <a:custGeom>
            <a:avLst/>
            <a:gdLst>
              <a:gd name="T0" fmla="*/ 229 w 240"/>
              <a:gd name="T1" fmla="*/ 1278 h 1306"/>
              <a:gd name="T2" fmla="*/ 234 w 240"/>
              <a:gd name="T3" fmla="*/ 1237 h 1306"/>
              <a:gd name="T4" fmla="*/ 240 w 240"/>
              <a:gd name="T5" fmla="*/ 1184 h 1306"/>
              <a:gd name="T6" fmla="*/ 240 w 240"/>
              <a:gd name="T7" fmla="*/ 1133 h 1306"/>
              <a:gd name="T8" fmla="*/ 234 w 240"/>
              <a:gd name="T9" fmla="*/ 1081 h 1306"/>
              <a:gd name="T10" fmla="*/ 229 w 240"/>
              <a:gd name="T11" fmla="*/ 1040 h 1306"/>
              <a:gd name="T12" fmla="*/ 229 w 240"/>
              <a:gd name="T13" fmla="*/ 969 h 1306"/>
              <a:gd name="T14" fmla="*/ 229 w 240"/>
              <a:gd name="T15" fmla="*/ 927 h 1306"/>
              <a:gd name="T16" fmla="*/ 234 w 240"/>
              <a:gd name="T17" fmla="*/ 886 h 1306"/>
              <a:gd name="T18" fmla="*/ 240 w 240"/>
              <a:gd name="T19" fmla="*/ 833 h 1306"/>
              <a:gd name="T20" fmla="*/ 240 w 240"/>
              <a:gd name="T21" fmla="*/ 782 h 1306"/>
              <a:gd name="T22" fmla="*/ 234 w 240"/>
              <a:gd name="T23" fmla="*/ 730 h 1306"/>
              <a:gd name="T24" fmla="*/ 229 w 240"/>
              <a:gd name="T25" fmla="*/ 689 h 1306"/>
              <a:gd name="T26" fmla="*/ 229 w 240"/>
              <a:gd name="T27" fmla="*/ 619 h 1306"/>
              <a:gd name="T28" fmla="*/ 229 w 240"/>
              <a:gd name="T29" fmla="*/ 576 h 1306"/>
              <a:gd name="T30" fmla="*/ 234 w 240"/>
              <a:gd name="T31" fmla="*/ 535 h 1306"/>
              <a:gd name="T32" fmla="*/ 240 w 240"/>
              <a:gd name="T33" fmla="*/ 482 h 1306"/>
              <a:gd name="T34" fmla="*/ 240 w 240"/>
              <a:gd name="T35" fmla="*/ 431 h 1306"/>
              <a:gd name="T36" fmla="*/ 234 w 240"/>
              <a:gd name="T37" fmla="*/ 379 h 1306"/>
              <a:gd name="T38" fmla="*/ 229 w 240"/>
              <a:gd name="T39" fmla="*/ 338 h 1306"/>
              <a:gd name="T40" fmla="*/ 229 w 240"/>
              <a:gd name="T41" fmla="*/ 268 h 1306"/>
              <a:gd name="T42" fmla="*/ 229 w 240"/>
              <a:gd name="T43" fmla="*/ 225 h 1306"/>
              <a:gd name="T44" fmla="*/ 234 w 240"/>
              <a:gd name="T45" fmla="*/ 184 h 1306"/>
              <a:gd name="T46" fmla="*/ 240 w 240"/>
              <a:gd name="T47" fmla="*/ 131 h 1306"/>
              <a:gd name="T48" fmla="*/ 240 w 240"/>
              <a:gd name="T49" fmla="*/ 81 h 1306"/>
              <a:gd name="T50" fmla="*/ 234 w 240"/>
              <a:gd name="T51" fmla="*/ 28 h 1306"/>
              <a:gd name="T52" fmla="*/ 215 w 240"/>
              <a:gd name="T53" fmla="*/ 12 h 1306"/>
              <a:gd name="T54" fmla="*/ 145 w 240"/>
              <a:gd name="T55" fmla="*/ 12 h 1306"/>
              <a:gd name="T56" fmla="*/ 102 w 240"/>
              <a:gd name="T57" fmla="*/ 12 h 1306"/>
              <a:gd name="T58" fmla="*/ 61 w 240"/>
              <a:gd name="T59" fmla="*/ 6 h 1306"/>
              <a:gd name="T60" fmla="*/ 6 w 240"/>
              <a:gd name="T61" fmla="*/ 12 h 1306"/>
              <a:gd name="T62" fmla="*/ 6 w 240"/>
              <a:gd name="T63" fmla="*/ 37 h 1306"/>
              <a:gd name="T64" fmla="*/ 12 w 240"/>
              <a:gd name="T65" fmla="*/ 78 h 1306"/>
              <a:gd name="T66" fmla="*/ 12 w 240"/>
              <a:gd name="T67" fmla="*/ 148 h 1306"/>
              <a:gd name="T68" fmla="*/ 12 w 240"/>
              <a:gd name="T69" fmla="*/ 191 h 1306"/>
              <a:gd name="T70" fmla="*/ 6 w 240"/>
              <a:gd name="T71" fmla="*/ 232 h 1306"/>
              <a:gd name="T72" fmla="*/ 0 w 240"/>
              <a:gd name="T73" fmla="*/ 284 h 1306"/>
              <a:gd name="T74" fmla="*/ 0 w 240"/>
              <a:gd name="T75" fmla="*/ 335 h 1306"/>
              <a:gd name="T76" fmla="*/ 6 w 240"/>
              <a:gd name="T77" fmla="*/ 388 h 1306"/>
              <a:gd name="T78" fmla="*/ 12 w 240"/>
              <a:gd name="T79" fmla="*/ 429 h 1306"/>
              <a:gd name="T80" fmla="*/ 12 w 240"/>
              <a:gd name="T81" fmla="*/ 499 h 1306"/>
              <a:gd name="T82" fmla="*/ 12 w 240"/>
              <a:gd name="T83" fmla="*/ 542 h 1306"/>
              <a:gd name="T84" fmla="*/ 6 w 240"/>
              <a:gd name="T85" fmla="*/ 583 h 1306"/>
              <a:gd name="T86" fmla="*/ 0 w 240"/>
              <a:gd name="T87" fmla="*/ 635 h 1306"/>
              <a:gd name="T88" fmla="*/ 0 w 240"/>
              <a:gd name="T89" fmla="*/ 686 h 1306"/>
              <a:gd name="T90" fmla="*/ 6 w 240"/>
              <a:gd name="T91" fmla="*/ 739 h 1306"/>
              <a:gd name="T92" fmla="*/ 12 w 240"/>
              <a:gd name="T93" fmla="*/ 780 h 1306"/>
              <a:gd name="T94" fmla="*/ 12 w 240"/>
              <a:gd name="T95" fmla="*/ 850 h 1306"/>
              <a:gd name="T96" fmla="*/ 12 w 240"/>
              <a:gd name="T97" fmla="*/ 893 h 1306"/>
              <a:gd name="T98" fmla="*/ 6 w 240"/>
              <a:gd name="T99" fmla="*/ 934 h 1306"/>
              <a:gd name="T100" fmla="*/ 0 w 240"/>
              <a:gd name="T101" fmla="*/ 986 h 1306"/>
              <a:gd name="T102" fmla="*/ 0 w 240"/>
              <a:gd name="T103" fmla="*/ 1037 h 1306"/>
              <a:gd name="T104" fmla="*/ 6 w 240"/>
              <a:gd name="T105" fmla="*/ 1090 h 1306"/>
              <a:gd name="T106" fmla="*/ 12 w 240"/>
              <a:gd name="T107" fmla="*/ 1131 h 1306"/>
              <a:gd name="T108" fmla="*/ 12 w 240"/>
              <a:gd name="T109" fmla="*/ 1201 h 1306"/>
              <a:gd name="T110" fmla="*/ 12 w 240"/>
              <a:gd name="T111" fmla="*/ 1244 h 1306"/>
              <a:gd name="T112" fmla="*/ 6 w 240"/>
              <a:gd name="T113" fmla="*/ 1285 h 1306"/>
              <a:gd name="T114" fmla="*/ 43 w 240"/>
              <a:gd name="T115" fmla="*/ 1306 h 1306"/>
              <a:gd name="T116" fmla="*/ 94 w 240"/>
              <a:gd name="T117" fmla="*/ 1306 h 1306"/>
              <a:gd name="T118" fmla="*/ 147 w 240"/>
              <a:gd name="T119" fmla="*/ 1300 h 1306"/>
              <a:gd name="T120" fmla="*/ 188 w 240"/>
              <a:gd name="T121" fmla="*/ 1294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1306">
                <a:moveTo>
                  <a:pt x="229" y="1297"/>
                </a:moveTo>
                <a:cubicBezTo>
                  <a:pt x="229" y="1300"/>
                  <a:pt x="229" y="1300"/>
                  <a:pt x="229" y="1300"/>
                </a:cubicBezTo>
                <a:cubicBezTo>
                  <a:pt x="234" y="1300"/>
                  <a:pt x="234" y="1300"/>
                  <a:pt x="234" y="1300"/>
                </a:cubicBezTo>
                <a:cubicBezTo>
                  <a:pt x="234" y="1294"/>
                  <a:pt x="234" y="1294"/>
                  <a:pt x="234" y="1294"/>
                </a:cubicBezTo>
                <a:cubicBezTo>
                  <a:pt x="231" y="1294"/>
                  <a:pt x="231" y="1294"/>
                  <a:pt x="231" y="1294"/>
                </a:cubicBezTo>
                <a:cubicBezTo>
                  <a:pt x="227" y="1294"/>
                  <a:pt x="225" y="1297"/>
                  <a:pt x="225" y="1300"/>
                </a:cubicBezTo>
                <a:cubicBezTo>
                  <a:pt x="225" y="1303"/>
                  <a:pt x="227" y="1306"/>
                  <a:pt x="231" y="1306"/>
                </a:cubicBezTo>
                <a:cubicBezTo>
                  <a:pt x="234" y="1306"/>
                  <a:pt x="234" y="1306"/>
                  <a:pt x="234" y="1306"/>
                </a:cubicBezTo>
                <a:cubicBezTo>
                  <a:pt x="236" y="1306"/>
                  <a:pt x="238" y="1305"/>
                  <a:pt x="239" y="1304"/>
                </a:cubicBezTo>
                <a:cubicBezTo>
                  <a:pt x="240" y="1303"/>
                  <a:pt x="240" y="1301"/>
                  <a:pt x="240" y="1300"/>
                </a:cubicBezTo>
                <a:cubicBezTo>
                  <a:pt x="240" y="1297"/>
                  <a:pt x="240" y="1297"/>
                  <a:pt x="240" y="1297"/>
                </a:cubicBezTo>
                <a:cubicBezTo>
                  <a:pt x="240" y="1294"/>
                  <a:pt x="238" y="1291"/>
                  <a:pt x="234" y="1291"/>
                </a:cubicBezTo>
                <a:cubicBezTo>
                  <a:pt x="231" y="1291"/>
                  <a:pt x="229" y="1294"/>
                  <a:pt x="229" y="1297"/>
                </a:cubicBezTo>
                <a:close/>
                <a:moveTo>
                  <a:pt x="229" y="1274"/>
                </a:moveTo>
                <a:cubicBezTo>
                  <a:pt x="229" y="1278"/>
                  <a:pt x="229" y="1278"/>
                  <a:pt x="229" y="1278"/>
                </a:cubicBezTo>
                <a:cubicBezTo>
                  <a:pt x="229" y="1281"/>
                  <a:pt x="231" y="1283"/>
                  <a:pt x="234" y="1283"/>
                </a:cubicBezTo>
                <a:cubicBezTo>
                  <a:pt x="238" y="1283"/>
                  <a:pt x="240" y="1281"/>
                  <a:pt x="240" y="1278"/>
                </a:cubicBezTo>
                <a:cubicBezTo>
                  <a:pt x="240" y="1274"/>
                  <a:pt x="240" y="1274"/>
                  <a:pt x="240" y="1274"/>
                </a:cubicBezTo>
                <a:cubicBezTo>
                  <a:pt x="240" y="1270"/>
                  <a:pt x="238" y="1268"/>
                  <a:pt x="234" y="1268"/>
                </a:cubicBezTo>
                <a:cubicBezTo>
                  <a:pt x="231" y="1268"/>
                  <a:pt x="229" y="1270"/>
                  <a:pt x="229" y="1274"/>
                </a:cubicBezTo>
                <a:close/>
                <a:moveTo>
                  <a:pt x="229" y="1250"/>
                </a:moveTo>
                <a:cubicBezTo>
                  <a:pt x="229" y="1254"/>
                  <a:pt x="229" y="1254"/>
                  <a:pt x="229" y="1254"/>
                </a:cubicBezTo>
                <a:cubicBezTo>
                  <a:pt x="229" y="1257"/>
                  <a:pt x="231" y="1260"/>
                  <a:pt x="234" y="1260"/>
                </a:cubicBezTo>
                <a:cubicBezTo>
                  <a:pt x="238" y="1260"/>
                  <a:pt x="240" y="1257"/>
                  <a:pt x="240" y="1254"/>
                </a:cubicBezTo>
                <a:cubicBezTo>
                  <a:pt x="240" y="1250"/>
                  <a:pt x="240" y="1250"/>
                  <a:pt x="240" y="1250"/>
                </a:cubicBezTo>
                <a:cubicBezTo>
                  <a:pt x="240" y="1247"/>
                  <a:pt x="238" y="1244"/>
                  <a:pt x="234" y="1244"/>
                </a:cubicBezTo>
                <a:cubicBezTo>
                  <a:pt x="231" y="1244"/>
                  <a:pt x="229" y="1247"/>
                  <a:pt x="229" y="1250"/>
                </a:cubicBezTo>
                <a:close/>
                <a:moveTo>
                  <a:pt x="229" y="1227"/>
                </a:moveTo>
                <a:cubicBezTo>
                  <a:pt x="229" y="1231"/>
                  <a:pt x="229" y="1231"/>
                  <a:pt x="229" y="1231"/>
                </a:cubicBezTo>
                <a:cubicBezTo>
                  <a:pt x="229" y="1234"/>
                  <a:pt x="231" y="1237"/>
                  <a:pt x="234" y="1237"/>
                </a:cubicBezTo>
                <a:cubicBezTo>
                  <a:pt x="238" y="1237"/>
                  <a:pt x="240" y="1234"/>
                  <a:pt x="240" y="1231"/>
                </a:cubicBezTo>
                <a:cubicBezTo>
                  <a:pt x="240" y="1227"/>
                  <a:pt x="240" y="1227"/>
                  <a:pt x="240" y="1227"/>
                </a:cubicBezTo>
                <a:cubicBezTo>
                  <a:pt x="240" y="1224"/>
                  <a:pt x="238" y="1221"/>
                  <a:pt x="234" y="1221"/>
                </a:cubicBezTo>
                <a:cubicBezTo>
                  <a:pt x="231" y="1221"/>
                  <a:pt x="229" y="1224"/>
                  <a:pt x="229" y="1227"/>
                </a:cubicBezTo>
                <a:close/>
                <a:moveTo>
                  <a:pt x="229" y="1203"/>
                </a:moveTo>
                <a:cubicBezTo>
                  <a:pt x="229" y="1207"/>
                  <a:pt x="229" y="1207"/>
                  <a:pt x="229" y="1207"/>
                </a:cubicBezTo>
                <a:cubicBezTo>
                  <a:pt x="229" y="1211"/>
                  <a:pt x="231" y="1213"/>
                  <a:pt x="234" y="1213"/>
                </a:cubicBezTo>
                <a:cubicBezTo>
                  <a:pt x="238" y="1213"/>
                  <a:pt x="240" y="1211"/>
                  <a:pt x="240" y="1207"/>
                </a:cubicBezTo>
                <a:cubicBezTo>
                  <a:pt x="240" y="1203"/>
                  <a:pt x="240" y="1203"/>
                  <a:pt x="240" y="1203"/>
                </a:cubicBezTo>
                <a:cubicBezTo>
                  <a:pt x="240" y="1200"/>
                  <a:pt x="238" y="1198"/>
                  <a:pt x="234" y="1198"/>
                </a:cubicBezTo>
                <a:cubicBezTo>
                  <a:pt x="231" y="1198"/>
                  <a:pt x="229" y="1200"/>
                  <a:pt x="229" y="1203"/>
                </a:cubicBezTo>
                <a:close/>
                <a:moveTo>
                  <a:pt x="229" y="1180"/>
                </a:moveTo>
                <a:cubicBezTo>
                  <a:pt x="229" y="1184"/>
                  <a:pt x="229" y="1184"/>
                  <a:pt x="229" y="1184"/>
                </a:cubicBezTo>
                <a:cubicBezTo>
                  <a:pt x="229" y="1187"/>
                  <a:pt x="231" y="1190"/>
                  <a:pt x="234" y="1190"/>
                </a:cubicBezTo>
                <a:cubicBezTo>
                  <a:pt x="238" y="1190"/>
                  <a:pt x="240" y="1187"/>
                  <a:pt x="240" y="1184"/>
                </a:cubicBezTo>
                <a:cubicBezTo>
                  <a:pt x="240" y="1180"/>
                  <a:pt x="240" y="1180"/>
                  <a:pt x="240" y="1180"/>
                </a:cubicBezTo>
                <a:cubicBezTo>
                  <a:pt x="240" y="1177"/>
                  <a:pt x="238" y="1174"/>
                  <a:pt x="234" y="1174"/>
                </a:cubicBezTo>
                <a:cubicBezTo>
                  <a:pt x="231" y="1174"/>
                  <a:pt x="229" y="1177"/>
                  <a:pt x="229" y="1180"/>
                </a:cubicBezTo>
                <a:close/>
                <a:moveTo>
                  <a:pt x="229" y="1157"/>
                </a:moveTo>
                <a:cubicBezTo>
                  <a:pt x="229" y="1161"/>
                  <a:pt x="229" y="1161"/>
                  <a:pt x="229" y="1161"/>
                </a:cubicBezTo>
                <a:cubicBezTo>
                  <a:pt x="229" y="1164"/>
                  <a:pt x="231" y="1166"/>
                  <a:pt x="234" y="1166"/>
                </a:cubicBezTo>
                <a:cubicBezTo>
                  <a:pt x="238" y="1166"/>
                  <a:pt x="240" y="1164"/>
                  <a:pt x="240" y="1161"/>
                </a:cubicBezTo>
                <a:cubicBezTo>
                  <a:pt x="240" y="1157"/>
                  <a:pt x="240" y="1157"/>
                  <a:pt x="240" y="1157"/>
                </a:cubicBezTo>
                <a:cubicBezTo>
                  <a:pt x="240" y="1153"/>
                  <a:pt x="238" y="1151"/>
                  <a:pt x="234" y="1151"/>
                </a:cubicBezTo>
                <a:cubicBezTo>
                  <a:pt x="231" y="1151"/>
                  <a:pt x="229" y="1153"/>
                  <a:pt x="229" y="1157"/>
                </a:cubicBezTo>
                <a:close/>
                <a:moveTo>
                  <a:pt x="229" y="1133"/>
                </a:moveTo>
                <a:cubicBezTo>
                  <a:pt x="229" y="1137"/>
                  <a:pt x="229" y="1137"/>
                  <a:pt x="229" y="1137"/>
                </a:cubicBezTo>
                <a:cubicBezTo>
                  <a:pt x="229" y="1140"/>
                  <a:pt x="231" y="1143"/>
                  <a:pt x="234" y="1143"/>
                </a:cubicBezTo>
                <a:cubicBezTo>
                  <a:pt x="238" y="1143"/>
                  <a:pt x="240" y="1140"/>
                  <a:pt x="240" y="1137"/>
                </a:cubicBezTo>
                <a:cubicBezTo>
                  <a:pt x="240" y="1133"/>
                  <a:pt x="240" y="1133"/>
                  <a:pt x="240" y="1133"/>
                </a:cubicBezTo>
                <a:cubicBezTo>
                  <a:pt x="240" y="1130"/>
                  <a:pt x="238" y="1127"/>
                  <a:pt x="234" y="1127"/>
                </a:cubicBezTo>
                <a:cubicBezTo>
                  <a:pt x="231" y="1127"/>
                  <a:pt x="229" y="1130"/>
                  <a:pt x="229" y="1133"/>
                </a:cubicBezTo>
                <a:close/>
                <a:moveTo>
                  <a:pt x="229" y="1110"/>
                </a:moveTo>
                <a:cubicBezTo>
                  <a:pt x="229" y="1114"/>
                  <a:pt x="229" y="1114"/>
                  <a:pt x="229" y="1114"/>
                </a:cubicBezTo>
                <a:cubicBezTo>
                  <a:pt x="229" y="1117"/>
                  <a:pt x="231" y="1120"/>
                  <a:pt x="234" y="1120"/>
                </a:cubicBezTo>
                <a:cubicBezTo>
                  <a:pt x="238" y="1120"/>
                  <a:pt x="240" y="1117"/>
                  <a:pt x="240" y="1114"/>
                </a:cubicBezTo>
                <a:cubicBezTo>
                  <a:pt x="240" y="1110"/>
                  <a:pt x="240" y="1110"/>
                  <a:pt x="240" y="1110"/>
                </a:cubicBezTo>
                <a:cubicBezTo>
                  <a:pt x="240" y="1107"/>
                  <a:pt x="238" y="1104"/>
                  <a:pt x="234" y="1104"/>
                </a:cubicBezTo>
                <a:cubicBezTo>
                  <a:pt x="231" y="1104"/>
                  <a:pt x="229" y="1107"/>
                  <a:pt x="229" y="1110"/>
                </a:cubicBezTo>
                <a:close/>
                <a:moveTo>
                  <a:pt x="229" y="1086"/>
                </a:moveTo>
                <a:cubicBezTo>
                  <a:pt x="229" y="1090"/>
                  <a:pt x="229" y="1090"/>
                  <a:pt x="229" y="1090"/>
                </a:cubicBezTo>
                <a:cubicBezTo>
                  <a:pt x="229" y="1094"/>
                  <a:pt x="231" y="1096"/>
                  <a:pt x="234" y="1096"/>
                </a:cubicBezTo>
                <a:cubicBezTo>
                  <a:pt x="238" y="1096"/>
                  <a:pt x="240" y="1094"/>
                  <a:pt x="240" y="1090"/>
                </a:cubicBezTo>
                <a:cubicBezTo>
                  <a:pt x="240" y="1086"/>
                  <a:pt x="240" y="1086"/>
                  <a:pt x="240" y="1086"/>
                </a:cubicBezTo>
                <a:cubicBezTo>
                  <a:pt x="240" y="1083"/>
                  <a:pt x="238" y="1081"/>
                  <a:pt x="234" y="1081"/>
                </a:cubicBezTo>
                <a:cubicBezTo>
                  <a:pt x="231" y="1081"/>
                  <a:pt x="229" y="1083"/>
                  <a:pt x="229" y="1086"/>
                </a:cubicBezTo>
                <a:close/>
                <a:moveTo>
                  <a:pt x="229" y="1063"/>
                </a:moveTo>
                <a:cubicBezTo>
                  <a:pt x="229" y="1067"/>
                  <a:pt x="229" y="1067"/>
                  <a:pt x="229" y="1067"/>
                </a:cubicBezTo>
                <a:cubicBezTo>
                  <a:pt x="229" y="1070"/>
                  <a:pt x="231" y="1073"/>
                  <a:pt x="234" y="1073"/>
                </a:cubicBezTo>
                <a:cubicBezTo>
                  <a:pt x="238" y="1073"/>
                  <a:pt x="240" y="1070"/>
                  <a:pt x="240" y="1067"/>
                </a:cubicBezTo>
                <a:cubicBezTo>
                  <a:pt x="240" y="1063"/>
                  <a:pt x="240" y="1063"/>
                  <a:pt x="240" y="1063"/>
                </a:cubicBezTo>
                <a:cubicBezTo>
                  <a:pt x="240" y="1060"/>
                  <a:pt x="238" y="1057"/>
                  <a:pt x="234" y="1057"/>
                </a:cubicBezTo>
                <a:cubicBezTo>
                  <a:pt x="231" y="1057"/>
                  <a:pt x="229" y="1060"/>
                  <a:pt x="229" y="1063"/>
                </a:cubicBezTo>
                <a:close/>
                <a:moveTo>
                  <a:pt x="229" y="1040"/>
                </a:moveTo>
                <a:cubicBezTo>
                  <a:pt x="229" y="1044"/>
                  <a:pt x="229" y="1044"/>
                  <a:pt x="229" y="1044"/>
                </a:cubicBezTo>
                <a:cubicBezTo>
                  <a:pt x="229" y="1047"/>
                  <a:pt x="231" y="1049"/>
                  <a:pt x="234" y="1049"/>
                </a:cubicBezTo>
                <a:cubicBezTo>
                  <a:pt x="238" y="1049"/>
                  <a:pt x="240" y="1047"/>
                  <a:pt x="240" y="1044"/>
                </a:cubicBezTo>
                <a:cubicBezTo>
                  <a:pt x="240" y="1040"/>
                  <a:pt x="240" y="1040"/>
                  <a:pt x="240" y="1040"/>
                </a:cubicBezTo>
                <a:cubicBezTo>
                  <a:pt x="240" y="1036"/>
                  <a:pt x="238" y="1034"/>
                  <a:pt x="234" y="1034"/>
                </a:cubicBezTo>
                <a:cubicBezTo>
                  <a:pt x="231" y="1034"/>
                  <a:pt x="229" y="1036"/>
                  <a:pt x="229" y="1040"/>
                </a:cubicBezTo>
                <a:close/>
                <a:moveTo>
                  <a:pt x="229" y="1016"/>
                </a:moveTo>
                <a:cubicBezTo>
                  <a:pt x="229" y="1020"/>
                  <a:pt x="229" y="1020"/>
                  <a:pt x="229" y="1020"/>
                </a:cubicBezTo>
                <a:cubicBezTo>
                  <a:pt x="229" y="1023"/>
                  <a:pt x="231" y="1026"/>
                  <a:pt x="234" y="1026"/>
                </a:cubicBezTo>
                <a:cubicBezTo>
                  <a:pt x="238" y="1026"/>
                  <a:pt x="240" y="1023"/>
                  <a:pt x="240" y="1020"/>
                </a:cubicBezTo>
                <a:cubicBezTo>
                  <a:pt x="240" y="1016"/>
                  <a:pt x="240" y="1016"/>
                  <a:pt x="240" y="1016"/>
                </a:cubicBezTo>
                <a:cubicBezTo>
                  <a:pt x="240" y="1013"/>
                  <a:pt x="238" y="1010"/>
                  <a:pt x="234" y="1010"/>
                </a:cubicBezTo>
                <a:cubicBezTo>
                  <a:pt x="231" y="1010"/>
                  <a:pt x="229" y="1013"/>
                  <a:pt x="229" y="1016"/>
                </a:cubicBezTo>
                <a:close/>
                <a:moveTo>
                  <a:pt x="229" y="993"/>
                </a:moveTo>
                <a:cubicBezTo>
                  <a:pt x="229" y="997"/>
                  <a:pt x="229" y="997"/>
                  <a:pt x="229" y="997"/>
                </a:cubicBezTo>
                <a:cubicBezTo>
                  <a:pt x="229" y="1000"/>
                  <a:pt x="231" y="1003"/>
                  <a:pt x="234" y="1003"/>
                </a:cubicBezTo>
                <a:cubicBezTo>
                  <a:pt x="238" y="1003"/>
                  <a:pt x="240" y="1000"/>
                  <a:pt x="240" y="997"/>
                </a:cubicBezTo>
                <a:cubicBezTo>
                  <a:pt x="240" y="993"/>
                  <a:pt x="240" y="993"/>
                  <a:pt x="240" y="993"/>
                </a:cubicBezTo>
                <a:cubicBezTo>
                  <a:pt x="240" y="990"/>
                  <a:pt x="238" y="987"/>
                  <a:pt x="234" y="987"/>
                </a:cubicBezTo>
                <a:cubicBezTo>
                  <a:pt x="231" y="987"/>
                  <a:pt x="229" y="990"/>
                  <a:pt x="229" y="993"/>
                </a:cubicBezTo>
                <a:close/>
                <a:moveTo>
                  <a:pt x="229" y="969"/>
                </a:moveTo>
                <a:cubicBezTo>
                  <a:pt x="229" y="973"/>
                  <a:pt x="229" y="973"/>
                  <a:pt x="229" y="973"/>
                </a:cubicBezTo>
                <a:cubicBezTo>
                  <a:pt x="229" y="977"/>
                  <a:pt x="231" y="979"/>
                  <a:pt x="234" y="979"/>
                </a:cubicBezTo>
                <a:cubicBezTo>
                  <a:pt x="238" y="979"/>
                  <a:pt x="240" y="977"/>
                  <a:pt x="240" y="973"/>
                </a:cubicBezTo>
                <a:cubicBezTo>
                  <a:pt x="240" y="969"/>
                  <a:pt x="240" y="969"/>
                  <a:pt x="240" y="969"/>
                </a:cubicBezTo>
                <a:cubicBezTo>
                  <a:pt x="240" y="966"/>
                  <a:pt x="238" y="964"/>
                  <a:pt x="234" y="964"/>
                </a:cubicBezTo>
                <a:cubicBezTo>
                  <a:pt x="231" y="964"/>
                  <a:pt x="229" y="966"/>
                  <a:pt x="229" y="969"/>
                </a:cubicBezTo>
                <a:close/>
                <a:moveTo>
                  <a:pt x="229" y="946"/>
                </a:moveTo>
                <a:cubicBezTo>
                  <a:pt x="229" y="950"/>
                  <a:pt x="229" y="950"/>
                  <a:pt x="229" y="950"/>
                </a:cubicBezTo>
                <a:cubicBezTo>
                  <a:pt x="229" y="953"/>
                  <a:pt x="231" y="956"/>
                  <a:pt x="234" y="956"/>
                </a:cubicBezTo>
                <a:cubicBezTo>
                  <a:pt x="238" y="956"/>
                  <a:pt x="240" y="953"/>
                  <a:pt x="240" y="950"/>
                </a:cubicBezTo>
                <a:cubicBezTo>
                  <a:pt x="240" y="946"/>
                  <a:pt x="240" y="946"/>
                  <a:pt x="240" y="946"/>
                </a:cubicBezTo>
                <a:cubicBezTo>
                  <a:pt x="240" y="943"/>
                  <a:pt x="238" y="940"/>
                  <a:pt x="234" y="940"/>
                </a:cubicBezTo>
                <a:cubicBezTo>
                  <a:pt x="231" y="940"/>
                  <a:pt x="229" y="943"/>
                  <a:pt x="229" y="946"/>
                </a:cubicBezTo>
                <a:close/>
                <a:moveTo>
                  <a:pt x="229" y="923"/>
                </a:moveTo>
                <a:cubicBezTo>
                  <a:pt x="229" y="927"/>
                  <a:pt x="229" y="927"/>
                  <a:pt x="229" y="927"/>
                </a:cubicBezTo>
                <a:cubicBezTo>
                  <a:pt x="229" y="930"/>
                  <a:pt x="231" y="932"/>
                  <a:pt x="234" y="932"/>
                </a:cubicBezTo>
                <a:cubicBezTo>
                  <a:pt x="238" y="932"/>
                  <a:pt x="240" y="930"/>
                  <a:pt x="240" y="927"/>
                </a:cubicBezTo>
                <a:cubicBezTo>
                  <a:pt x="240" y="923"/>
                  <a:pt x="240" y="923"/>
                  <a:pt x="240" y="923"/>
                </a:cubicBezTo>
                <a:cubicBezTo>
                  <a:pt x="240" y="919"/>
                  <a:pt x="238" y="917"/>
                  <a:pt x="234" y="917"/>
                </a:cubicBezTo>
                <a:cubicBezTo>
                  <a:pt x="231" y="917"/>
                  <a:pt x="229" y="919"/>
                  <a:pt x="229" y="923"/>
                </a:cubicBezTo>
                <a:close/>
                <a:moveTo>
                  <a:pt x="229" y="899"/>
                </a:moveTo>
                <a:cubicBezTo>
                  <a:pt x="229" y="903"/>
                  <a:pt x="229" y="903"/>
                  <a:pt x="229" y="903"/>
                </a:cubicBezTo>
                <a:cubicBezTo>
                  <a:pt x="229" y="906"/>
                  <a:pt x="231" y="909"/>
                  <a:pt x="234" y="909"/>
                </a:cubicBezTo>
                <a:cubicBezTo>
                  <a:pt x="238" y="909"/>
                  <a:pt x="240" y="906"/>
                  <a:pt x="240" y="903"/>
                </a:cubicBezTo>
                <a:cubicBezTo>
                  <a:pt x="240" y="899"/>
                  <a:pt x="240" y="899"/>
                  <a:pt x="240" y="899"/>
                </a:cubicBezTo>
                <a:cubicBezTo>
                  <a:pt x="240" y="896"/>
                  <a:pt x="238" y="893"/>
                  <a:pt x="234" y="893"/>
                </a:cubicBezTo>
                <a:cubicBezTo>
                  <a:pt x="231" y="893"/>
                  <a:pt x="229" y="896"/>
                  <a:pt x="229" y="899"/>
                </a:cubicBezTo>
                <a:close/>
                <a:moveTo>
                  <a:pt x="229" y="876"/>
                </a:moveTo>
                <a:cubicBezTo>
                  <a:pt x="229" y="880"/>
                  <a:pt x="229" y="880"/>
                  <a:pt x="229" y="880"/>
                </a:cubicBezTo>
                <a:cubicBezTo>
                  <a:pt x="229" y="883"/>
                  <a:pt x="231" y="886"/>
                  <a:pt x="234" y="886"/>
                </a:cubicBezTo>
                <a:cubicBezTo>
                  <a:pt x="238" y="886"/>
                  <a:pt x="240" y="883"/>
                  <a:pt x="240" y="880"/>
                </a:cubicBezTo>
                <a:cubicBezTo>
                  <a:pt x="240" y="876"/>
                  <a:pt x="240" y="876"/>
                  <a:pt x="240" y="876"/>
                </a:cubicBezTo>
                <a:cubicBezTo>
                  <a:pt x="240" y="873"/>
                  <a:pt x="238" y="870"/>
                  <a:pt x="234" y="870"/>
                </a:cubicBezTo>
                <a:cubicBezTo>
                  <a:pt x="231" y="870"/>
                  <a:pt x="229" y="873"/>
                  <a:pt x="229" y="876"/>
                </a:cubicBezTo>
                <a:close/>
                <a:moveTo>
                  <a:pt x="229" y="853"/>
                </a:moveTo>
                <a:cubicBezTo>
                  <a:pt x="229" y="856"/>
                  <a:pt x="229" y="856"/>
                  <a:pt x="229" y="856"/>
                </a:cubicBezTo>
                <a:cubicBezTo>
                  <a:pt x="229" y="860"/>
                  <a:pt x="231" y="862"/>
                  <a:pt x="234" y="862"/>
                </a:cubicBezTo>
                <a:cubicBezTo>
                  <a:pt x="238" y="862"/>
                  <a:pt x="240" y="860"/>
                  <a:pt x="240" y="856"/>
                </a:cubicBezTo>
                <a:cubicBezTo>
                  <a:pt x="240" y="853"/>
                  <a:pt x="240" y="853"/>
                  <a:pt x="240" y="853"/>
                </a:cubicBezTo>
                <a:cubicBezTo>
                  <a:pt x="240" y="849"/>
                  <a:pt x="238" y="847"/>
                  <a:pt x="234" y="847"/>
                </a:cubicBezTo>
                <a:cubicBezTo>
                  <a:pt x="231" y="847"/>
                  <a:pt x="229" y="849"/>
                  <a:pt x="229" y="853"/>
                </a:cubicBezTo>
                <a:close/>
                <a:moveTo>
                  <a:pt x="229" y="829"/>
                </a:moveTo>
                <a:cubicBezTo>
                  <a:pt x="229" y="833"/>
                  <a:pt x="229" y="833"/>
                  <a:pt x="229" y="833"/>
                </a:cubicBezTo>
                <a:cubicBezTo>
                  <a:pt x="229" y="836"/>
                  <a:pt x="231" y="839"/>
                  <a:pt x="234" y="839"/>
                </a:cubicBezTo>
                <a:cubicBezTo>
                  <a:pt x="238" y="839"/>
                  <a:pt x="240" y="836"/>
                  <a:pt x="240" y="833"/>
                </a:cubicBezTo>
                <a:cubicBezTo>
                  <a:pt x="240" y="829"/>
                  <a:pt x="240" y="829"/>
                  <a:pt x="240" y="829"/>
                </a:cubicBezTo>
                <a:cubicBezTo>
                  <a:pt x="240" y="826"/>
                  <a:pt x="238" y="823"/>
                  <a:pt x="234" y="823"/>
                </a:cubicBezTo>
                <a:cubicBezTo>
                  <a:pt x="231" y="823"/>
                  <a:pt x="229" y="826"/>
                  <a:pt x="229" y="829"/>
                </a:cubicBezTo>
                <a:close/>
                <a:moveTo>
                  <a:pt x="229" y="806"/>
                </a:moveTo>
                <a:cubicBezTo>
                  <a:pt x="229" y="810"/>
                  <a:pt x="229" y="810"/>
                  <a:pt x="229" y="810"/>
                </a:cubicBezTo>
                <a:cubicBezTo>
                  <a:pt x="229" y="813"/>
                  <a:pt x="231" y="815"/>
                  <a:pt x="234" y="815"/>
                </a:cubicBezTo>
                <a:cubicBezTo>
                  <a:pt x="238" y="815"/>
                  <a:pt x="240" y="813"/>
                  <a:pt x="240" y="810"/>
                </a:cubicBezTo>
                <a:cubicBezTo>
                  <a:pt x="240" y="806"/>
                  <a:pt x="240" y="806"/>
                  <a:pt x="240" y="806"/>
                </a:cubicBezTo>
                <a:cubicBezTo>
                  <a:pt x="240" y="803"/>
                  <a:pt x="238" y="800"/>
                  <a:pt x="234" y="800"/>
                </a:cubicBezTo>
                <a:cubicBezTo>
                  <a:pt x="231" y="800"/>
                  <a:pt x="229" y="803"/>
                  <a:pt x="229" y="806"/>
                </a:cubicBezTo>
                <a:close/>
                <a:moveTo>
                  <a:pt x="229" y="782"/>
                </a:moveTo>
                <a:cubicBezTo>
                  <a:pt x="229" y="786"/>
                  <a:pt x="229" y="786"/>
                  <a:pt x="229" y="786"/>
                </a:cubicBezTo>
                <a:cubicBezTo>
                  <a:pt x="229" y="789"/>
                  <a:pt x="231" y="792"/>
                  <a:pt x="234" y="792"/>
                </a:cubicBezTo>
                <a:cubicBezTo>
                  <a:pt x="238" y="792"/>
                  <a:pt x="240" y="789"/>
                  <a:pt x="240" y="786"/>
                </a:cubicBezTo>
                <a:cubicBezTo>
                  <a:pt x="240" y="782"/>
                  <a:pt x="240" y="782"/>
                  <a:pt x="240" y="782"/>
                </a:cubicBezTo>
                <a:cubicBezTo>
                  <a:pt x="240" y="779"/>
                  <a:pt x="238" y="776"/>
                  <a:pt x="234" y="776"/>
                </a:cubicBezTo>
                <a:cubicBezTo>
                  <a:pt x="231" y="776"/>
                  <a:pt x="229" y="779"/>
                  <a:pt x="229" y="782"/>
                </a:cubicBezTo>
                <a:close/>
                <a:moveTo>
                  <a:pt x="229" y="759"/>
                </a:moveTo>
                <a:cubicBezTo>
                  <a:pt x="229" y="763"/>
                  <a:pt x="229" y="763"/>
                  <a:pt x="229" y="763"/>
                </a:cubicBezTo>
                <a:cubicBezTo>
                  <a:pt x="229" y="766"/>
                  <a:pt x="231" y="769"/>
                  <a:pt x="234" y="769"/>
                </a:cubicBezTo>
                <a:cubicBezTo>
                  <a:pt x="238" y="769"/>
                  <a:pt x="240" y="766"/>
                  <a:pt x="240" y="763"/>
                </a:cubicBezTo>
                <a:cubicBezTo>
                  <a:pt x="240" y="759"/>
                  <a:pt x="240" y="759"/>
                  <a:pt x="240" y="759"/>
                </a:cubicBezTo>
                <a:cubicBezTo>
                  <a:pt x="240" y="756"/>
                  <a:pt x="238" y="753"/>
                  <a:pt x="234" y="753"/>
                </a:cubicBezTo>
                <a:cubicBezTo>
                  <a:pt x="231" y="753"/>
                  <a:pt x="229" y="756"/>
                  <a:pt x="229" y="759"/>
                </a:cubicBezTo>
                <a:close/>
                <a:moveTo>
                  <a:pt x="229" y="736"/>
                </a:moveTo>
                <a:cubicBezTo>
                  <a:pt x="229" y="739"/>
                  <a:pt x="229" y="739"/>
                  <a:pt x="229" y="739"/>
                </a:cubicBezTo>
                <a:cubicBezTo>
                  <a:pt x="229" y="743"/>
                  <a:pt x="231" y="745"/>
                  <a:pt x="234" y="745"/>
                </a:cubicBezTo>
                <a:cubicBezTo>
                  <a:pt x="238" y="745"/>
                  <a:pt x="240" y="743"/>
                  <a:pt x="240" y="739"/>
                </a:cubicBezTo>
                <a:cubicBezTo>
                  <a:pt x="240" y="736"/>
                  <a:pt x="240" y="736"/>
                  <a:pt x="240" y="736"/>
                </a:cubicBezTo>
                <a:cubicBezTo>
                  <a:pt x="240" y="732"/>
                  <a:pt x="238" y="730"/>
                  <a:pt x="234" y="730"/>
                </a:cubicBezTo>
                <a:cubicBezTo>
                  <a:pt x="231" y="730"/>
                  <a:pt x="229" y="732"/>
                  <a:pt x="229" y="736"/>
                </a:cubicBezTo>
                <a:close/>
                <a:moveTo>
                  <a:pt x="229" y="712"/>
                </a:moveTo>
                <a:cubicBezTo>
                  <a:pt x="229" y="716"/>
                  <a:pt x="229" y="716"/>
                  <a:pt x="229" y="716"/>
                </a:cubicBezTo>
                <a:cubicBezTo>
                  <a:pt x="229" y="719"/>
                  <a:pt x="231" y="722"/>
                  <a:pt x="234" y="722"/>
                </a:cubicBezTo>
                <a:cubicBezTo>
                  <a:pt x="238" y="722"/>
                  <a:pt x="240" y="719"/>
                  <a:pt x="240" y="716"/>
                </a:cubicBezTo>
                <a:cubicBezTo>
                  <a:pt x="240" y="712"/>
                  <a:pt x="240" y="712"/>
                  <a:pt x="240" y="712"/>
                </a:cubicBezTo>
                <a:cubicBezTo>
                  <a:pt x="240" y="709"/>
                  <a:pt x="238" y="706"/>
                  <a:pt x="234" y="706"/>
                </a:cubicBezTo>
                <a:cubicBezTo>
                  <a:pt x="231" y="706"/>
                  <a:pt x="229" y="709"/>
                  <a:pt x="229" y="712"/>
                </a:cubicBezTo>
                <a:close/>
                <a:moveTo>
                  <a:pt x="229" y="689"/>
                </a:moveTo>
                <a:cubicBezTo>
                  <a:pt x="229" y="693"/>
                  <a:pt x="229" y="693"/>
                  <a:pt x="229" y="693"/>
                </a:cubicBezTo>
                <a:cubicBezTo>
                  <a:pt x="229" y="696"/>
                  <a:pt x="231" y="699"/>
                  <a:pt x="234" y="699"/>
                </a:cubicBezTo>
                <a:cubicBezTo>
                  <a:pt x="238" y="699"/>
                  <a:pt x="240" y="696"/>
                  <a:pt x="240" y="693"/>
                </a:cubicBezTo>
                <a:cubicBezTo>
                  <a:pt x="240" y="689"/>
                  <a:pt x="240" y="689"/>
                  <a:pt x="240" y="689"/>
                </a:cubicBezTo>
                <a:cubicBezTo>
                  <a:pt x="240" y="686"/>
                  <a:pt x="238" y="683"/>
                  <a:pt x="234" y="683"/>
                </a:cubicBezTo>
                <a:cubicBezTo>
                  <a:pt x="231" y="683"/>
                  <a:pt x="229" y="686"/>
                  <a:pt x="229" y="689"/>
                </a:cubicBezTo>
                <a:close/>
                <a:moveTo>
                  <a:pt x="229" y="665"/>
                </a:moveTo>
                <a:cubicBezTo>
                  <a:pt x="229" y="669"/>
                  <a:pt x="229" y="669"/>
                  <a:pt x="229" y="669"/>
                </a:cubicBezTo>
                <a:cubicBezTo>
                  <a:pt x="229" y="673"/>
                  <a:pt x="231" y="675"/>
                  <a:pt x="234" y="675"/>
                </a:cubicBezTo>
                <a:cubicBezTo>
                  <a:pt x="238" y="675"/>
                  <a:pt x="240" y="673"/>
                  <a:pt x="240" y="669"/>
                </a:cubicBezTo>
                <a:cubicBezTo>
                  <a:pt x="240" y="665"/>
                  <a:pt x="240" y="665"/>
                  <a:pt x="240" y="665"/>
                </a:cubicBezTo>
                <a:cubicBezTo>
                  <a:pt x="240" y="662"/>
                  <a:pt x="238" y="660"/>
                  <a:pt x="234" y="660"/>
                </a:cubicBezTo>
                <a:cubicBezTo>
                  <a:pt x="231" y="660"/>
                  <a:pt x="229" y="662"/>
                  <a:pt x="229" y="665"/>
                </a:cubicBezTo>
                <a:close/>
                <a:moveTo>
                  <a:pt x="229" y="642"/>
                </a:moveTo>
                <a:cubicBezTo>
                  <a:pt x="229" y="646"/>
                  <a:pt x="229" y="646"/>
                  <a:pt x="229" y="646"/>
                </a:cubicBezTo>
                <a:cubicBezTo>
                  <a:pt x="229" y="649"/>
                  <a:pt x="231" y="652"/>
                  <a:pt x="234" y="652"/>
                </a:cubicBezTo>
                <a:cubicBezTo>
                  <a:pt x="238" y="652"/>
                  <a:pt x="240" y="649"/>
                  <a:pt x="240" y="646"/>
                </a:cubicBezTo>
                <a:cubicBezTo>
                  <a:pt x="240" y="642"/>
                  <a:pt x="240" y="642"/>
                  <a:pt x="240" y="642"/>
                </a:cubicBezTo>
                <a:cubicBezTo>
                  <a:pt x="240" y="639"/>
                  <a:pt x="238" y="636"/>
                  <a:pt x="234" y="636"/>
                </a:cubicBezTo>
                <a:cubicBezTo>
                  <a:pt x="231" y="636"/>
                  <a:pt x="229" y="639"/>
                  <a:pt x="229" y="642"/>
                </a:cubicBezTo>
                <a:close/>
                <a:moveTo>
                  <a:pt x="229" y="619"/>
                </a:moveTo>
                <a:cubicBezTo>
                  <a:pt x="229" y="622"/>
                  <a:pt x="229" y="622"/>
                  <a:pt x="229" y="622"/>
                </a:cubicBezTo>
                <a:cubicBezTo>
                  <a:pt x="229" y="626"/>
                  <a:pt x="231" y="628"/>
                  <a:pt x="234" y="628"/>
                </a:cubicBezTo>
                <a:cubicBezTo>
                  <a:pt x="238" y="628"/>
                  <a:pt x="240" y="626"/>
                  <a:pt x="240" y="622"/>
                </a:cubicBezTo>
                <a:cubicBezTo>
                  <a:pt x="240" y="619"/>
                  <a:pt x="240" y="619"/>
                  <a:pt x="240" y="619"/>
                </a:cubicBezTo>
                <a:cubicBezTo>
                  <a:pt x="240" y="615"/>
                  <a:pt x="238" y="613"/>
                  <a:pt x="234" y="613"/>
                </a:cubicBezTo>
                <a:cubicBezTo>
                  <a:pt x="231" y="613"/>
                  <a:pt x="229" y="615"/>
                  <a:pt x="229" y="619"/>
                </a:cubicBezTo>
                <a:close/>
                <a:moveTo>
                  <a:pt x="229" y="595"/>
                </a:moveTo>
                <a:cubicBezTo>
                  <a:pt x="229" y="599"/>
                  <a:pt x="229" y="599"/>
                  <a:pt x="229" y="599"/>
                </a:cubicBezTo>
                <a:cubicBezTo>
                  <a:pt x="229" y="602"/>
                  <a:pt x="231" y="605"/>
                  <a:pt x="234" y="605"/>
                </a:cubicBezTo>
                <a:cubicBezTo>
                  <a:pt x="238" y="605"/>
                  <a:pt x="240" y="602"/>
                  <a:pt x="240" y="599"/>
                </a:cubicBezTo>
                <a:cubicBezTo>
                  <a:pt x="240" y="595"/>
                  <a:pt x="240" y="595"/>
                  <a:pt x="240" y="595"/>
                </a:cubicBezTo>
                <a:cubicBezTo>
                  <a:pt x="240" y="592"/>
                  <a:pt x="238" y="589"/>
                  <a:pt x="234" y="589"/>
                </a:cubicBezTo>
                <a:cubicBezTo>
                  <a:pt x="231" y="589"/>
                  <a:pt x="229" y="592"/>
                  <a:pt x="229" y="595"/>
                </a:cubicBezTo>
                <a:close/>
                <a:moveTo>
                  <a:pt x="229" y="572"/>
                </a:moveTo>
                <a:cubicBezTo>
                  <a:pt x="229" y="576"/>
                  <a:pt x="229" y="576"/>
                  <a:pt x="229" y="576"/>
                </a:cubicBezTo>
                <a:cubicBezTo>
                  <a:pt x="229" y="579"/>
                  <a:pt x="231" y="582"/>
                  <a:pt x="234" y="582"/>
                </a:cubicBezTo>
                <a:cubicBezTo>
                  <a:pt x="238" y="582"/>
                  <a:pt x="240" y="579"/>
                  <a:pt x="240" y="576"/>
                </a:cubicBezTo>
                <a:cubicBezTo>
                  <a:pt x="240" y="572"/>
                  <a:pt x="240" y="572"/>
                  <a:pt x="240" y="572"/>
                </a:cubicBezTo>
                <a:cubicBezTo>
                  <a:pt x="240" y="569"/>
                  <a:pt x="238" y="566"/>
                  <a:pt x="234" y="566"/>
                </a:cubicBezTo>
                <a:cubicBezTo>
                  <a:pt x="231" y="566"/>
                  <a:pt x="229" y="569"/>
                  <a:pt x="229" y="572"/>
                </a:cubicBezTo>
                <a:close/>
                <a:moveTo>
                  <a:pt x="229" y="548"/>
                </a:moveTo>
                <a:cubicBezTo>
                  <a:pt x="229" y="552"/>
                  <a:pt x="229" y="552"/>
                  <a:pt x="229" y="552"/>
                </a:cubicBezTo>
                <a:cubicBezTo>
                  <a:pt x="229" y="556"/>
                  <a:pt x="231" y="558"/>
                  <a:pt x="234" y="558"/>
                </a:cubicBezTo>
                <a:cubicBezTo>
                  <a:pt x="238" y="558"/>
                  <a:pt x="240" y="556"/>
                  <a:pt x="240" y="552"/>
                </a:cubicBezTo>
                <a:cubicBezTo>
                  <a:pt x="240" y="548"/>
                  <a:pt x="240" y="548"/>
                  <a:pt x="240" y="548"/>
                </a:cubicBezTo>
                <a:cubicBezTo>
                  <a:pt x="240" y="545"/>
                  <a:pt x="238" y="543"/>
                  <a:pt x="234" y="543"/>
                </a:cubicBezTo>
                <a:cubicBezTo>
                  <a:pt x="231" y="543"/>
                  <a:pt x="229" y="545"/>
                  <a:pt x="229" y="548"/>
                </a:cubicBezTo>
                <a:close/>
                <a:moveTo>
                  <a:pt x="229" y="525"/>
                </a:moveTo>
                <a:cubicBezTo>
                  <a:pt x="229" y="529"/>
                  <a:pt x="229" y="529"/>
                  <a:pt x="229" y="529"/>
                </a:cubicBezTo>
                <a:cubicBezTo>
                  <a:pt x="229" y="532"/>
                  <a:pt x="231" y="535"/>
                  <a:pt x="234" y="535"/>
                </a:cubicBezTo>
                <a:cubicBezTo>
                  <a:pt x="238" y="535"/>
                  <a:pt x="240" y="532"/>
                  <a:pt x="240" y="529"/>
                </a:cubicBezTo>
                <a:cubicBezTo>
                  <a:pt x="240" y="525"/>
                  <a:pt x="240" y="525"/>
                  <a:pt x="240" y="525"/>
                </a:cubicBezTo>
                <a:cubicBezTo>
                  <a:pt x="240" y="522"/>
                  <a:pt x="238" y="519"/>
                  <a:pt x="234" y="519"/>
                </a:cubicBezTo>
                <a:cubicBezTo>
                  <a:pt x="231" y="519"/>
                  <a:pt x="229" y="522"/>
                  <a:pt x="229" y="525"/>
                </a:cubicBezTo>
                <a:close/>
                <a:moveTo>
                  <a:pt x="229" y="502"/>
                </a:moveTo>
                <a:cubicBezTo>
                  <a:pt x="229" y="506"/>
                  <a:pt x="229" y="506"/>
                  <a:pt x="229" y="506"/>
                </a:cubicBezTo>
                <a:cubicBezTo>
                  <a:pt x="229" y="509"/>
                  <a:pt x="231" y="511"/>
                  <a:pt x="234" y="511"/>
                </a:cubicBezTo>
                <a:cubicBezTo>
                  <a:pt x="238" y="511"/>
                  <a:pt x="240" y="509"/>
                  <a:pt x="240" y="506"/>
                </a:cubicBezTo>
                <a:cubicBezTo>
                  <a:pt x="240" y="502"/>
                  <a:pt x="240" y="502"/>
                  <a:pt x="240" y="502"/>
                </a:cubicBezTo>
                <a:cubicBezTo>
                  <a:pt x="240" y="498"/>
                  <a:pt x="238" y="496"/>
                  <a:pt x="234" y="496"/>
                </a:cubicBezTo>
                <a:cubicBezTo>
                  <a:pt x="231" y="496"/>
                  <a:pt x="229" y="498"/>
                  <a:pt x="229" y="502"/>
                </a:cubicBezTo>
                <a:close/>
                <a:moveTo>
                  <a:pt x="229" y="478"/>
                </a:moveTo>
                <a:cubicBezTo>
                  <a:pt x="229" y="482"/>
                  <a:pt x="229" y="482"/>
                  <a:pt x="229" y="482"/>
                </a:cubicBezTo>
                <a:cubicBezTo>
                  <a:pt x="229" y="485"/>
                  <a:pt x="231" y="488"/>
                  <a:pt x="234" y="488"/>
                </a:cubicBezTo>
                <a:cubicBezTo>
                  <a:pt x="238" y="488"/>
                  <a:pt x="240" y="485"/>
                  <a:pt x="240" y="482"/>
                </a:cubicBezTo>
                <a:cubicBezTo>
                  <a:pt x="240" y="478"/>
                  <a:pt x="240" y="478"/>
                  <a:pt x="240" y="478"/>
                </a:cubicBezTo>
                <a:cubicBezTo>
                  <a:pt x="240" y="475"/>
                  <a:pt x="238" y="472"/>
                  <a:pt x="234" y="472"/>
                </a:cubicBezTo>
                <a:cubicBezTo>
                  <a:pt x="231" y="472"/>
                  <a:pt x="229" y="475"/>
                  <a:pt x="229" y="478"/>
                </a:cubicBezTo>
                <a:close/>
                <a:moveTo>
                  <a:pt x="229" y="455"/>
                </a:moveTo>
                <a:cubicBezTo>
                  <a:pt x="229" y="459"/>
                  <a:pt x="229" y="459"/>
                  <a:pt x="229" y="459"/>
                </a:cubicBezTo>
                <a:cubicBezTo>
                  <a:pt x="229" y="462"/>
                  <a:pt x="231" y="465"/>
                  <a:pt x="234" y="465"/>
                </a:cubicBezTo>
                <a:cubicBezTo>
                  <a:pt x="238" y="465"/>
                  <a:pt x="240" y="462"/>
                  <a:pt x="240" y="459"/>
                </a:cubicBezTo>
                <a:cubicBezTo>
                  <a:pt x="240" y="455"/>
                  <a:pt x="240" y="455"/>
                  <a:pt x="240" y="455"/>
                </a:cubicBezTo>
                <a:cubicBezTo>
                  <a:pt x="240" y="452"/>
                  <a:pt x="238" y="449"/>
                  <a:pt x="234" y="449"/>
                </a:cubicBezTo>
                <a:cubicBezTo>
                  <a:pt x="231" y="449"/>
                  <a:pt x="229" y="452"/>
                  <a:pt x="229" y="455"/>
                </a:cubicBezTo>
                <a:close/>
                <a:moveTo>
                  <a:pt x="229" y="431"/>
                </a:moveTo>
                <a:cubicBezTo>
                  <a:pt x="229" y="435"/>
                  <a:pt x="229" y="435"/>
                  <a:pt x="229" y="435"/>
                </a:cubicBezTo>
                <a:cubicBezTo>
                  <a:pt x="229" y="439"/>
                  <a:pt x="231" y="441"/>
                  <a:pt x="234" y="441"/>
                </a:cubicBezTo>
                <a:cubicBezTo>
                  <a:pt x="238" y="441"/>
                  <a:pt x="240" y="439"/>
                  <a:pt x="240" y="435"/>
                </a:cubicBezTo>
                <a:cubicBezTo>
                  <a:pt x="240" y="431"/>
                  <a:pt x="240" y="431"/>
                  <a:pt x="240" y="431"/>
                </a:cubicBezTo>
                <a:cubicBezTo>
                  <a:pt x="240" y="428"/>
                  <a:pt x="238" y="426"/>
                  <a:pt x="234" y="426"/>
                </a:cubicBezTo>
                <a:cubicBezTo>
                  <a:pt x="231" y="426"/>
                  <a:pt x="229" y="428"/>
                  <a:pt x="229" y="431"/>
                </a:cubicBezTo>
                <a:close/>
                <a:moveTo>
                  <a:pt x="229" y="408"/>
                </a:moveTo>
                <a:cubicBezTo>
                  <a:pt x="229" y="412"/>
                  <a:pt x="229" y="412"/>
                  <a:pt x="229" y="412"/>
                </a:cubicBezTo>
                <a:cubicBezTo>
                  <a:pt x="229" y="415"/>
                  <a:pt x="231" y="418"/>
                  <a:pt x="234" y="418"/>
                </a:cubicBezTo>
                <a:cubicBezTo>
                  <a:pt x="238" y="418"/>
                  <a:pt x="240" y="415"/>
                  <a:pt x="240" y="412"/>
                </a:cubicBezTo>
                <a:cubicBezTo>
                  <a:pt x="240" y="408"/>
                  <a:pt x="240" y="408"/>
                  <a:pt x="240" y="408"/>
                </a:cubicBezTo>
                <a:cubicBezTo>
                  <a:pt x="240" y="405"/>
                  <a:pt x="238" y="402"/>
                  <a:pt x="234" y="402"/>
                </a:cubicBezTo>
                <a:cubicBezTo>
                  <a:pt x="231" y="402"/>
                  <a:pt x="229" y="405"/>
                  <a:pt x="229" y="408"/>
                </a:cubicBezTo>
                <a:close/>
                <a:moveTo>
                  <a:pt x="229" y="385"/>
                </a:moveTo>
                <a:cubicBezTo>
                  <a:pt x="229" y="389"/>
                  <a:pt x="229" y="389"/>
                  <a:pt x="229" y="389"/>
                </a:cubicBezTo>
                <a:cubicBezTo>
                  <a:pt x="229" y="392"/>
                  <a:pt x="231" y="394"/>
                  <a:pt x="234" y="394"/>
                </a:cubicBezTo>
                <a:cubicBezTo>
                  <a:pt x="238" y="394"/>
                  <a:pt x="240" y="392"/>
                  <a:pt x="240" y="389"/>
                </a:cubicBezTo>
                <a:cubicBezTo>
                  <a:pt x="240" y="385"/>
                  <a:pt x="240" y="385"/>
                  <a:pt x="240" y="385"/>
                </a:cubicBezTo>
                <a:cubicBezTo>
                  <a:pt x="240" y="381"/>
                  <a:pt x="238" y="379"/>
                  <a:pt x="234" y="379"/>
                </a:cubicBezTo>
                <a:cubicBezTo>
                  <a:pt x="231" y="379"/>
                  <a:pt x="229" y="381"/>
                  <a:pt x="229" y="385"/>
                </a:cubicBezTo>
                <a:close/>
                <a:moveTo>
                  <a:pt x="229" y="361"/>
                </a:moveTo>
                <a:cubicBezTo>
                  <a:pt x="229" y="365"/>
                  <a:pt x="229" y="365"/>
                  <a:pt x="229" y="365"/>
                </a:cubicBezTo>
                <a:cubicBezTo>
                  <a:pt x="229" y="368"/>
                  <a:pt x="231" y="371"/>
                  <a:pt x="234" y="371"/>
                </a:cubicBezTo>
                <a:cubicBezTo>
                  <a:pt x="238" y="371"/>
                  <a:pt x="240" y="368"/>
                  <a:pt x="240" y="365"/>
                </a:cubicBezTo>
                <a:cubicBezTo>
                  <a:pt x="240" y="361"/>
                  <a:pt x="240" y="361"/>
                  <a:pt x="240" y="361"/>
                </a:cubicBezTo>
                <a:cubicBezTo>
                  <a:pt x="240" y="358"/>
                  <a:pt x="238" y="355"/>
                  <a:pt x="234" y="355"/>
                </a:cubicBezTo>
                <a:cubicBezTo>
                  <a:pt x="231" y="355"/>
                  <a:pt x="229" y="358"/>
                  <a:pt x="229" y="361"/>
                </a:cubicBezTo>
                <a:close/>
                <a:moveTo>
                  <a:pt x="229" y="338"/>
                </a:moveTo>
                <a:cubicBezTo>
                  <a:pt x="229" y="342"/>
                  <a:pt x="229" y="342"/>
                  <a:pt x="229" y="342"/>
                </a:cubicBezTo>
                <a:cubicBezTo>
                  <a:pt x="229" y="345"/>
                  <a:pt x="231" y="348"/>
                  <a:pt x="234" y="348"/>
                </a:cubicBezTo>
                <a:cubicBezTo>
                  <a:pt x="238" y="348"/>
                  <a:pt x="240" y="345"/>
                  <a:pt x="240" y="342"/>
                </a:cubicBezTo>
                <a:cubicBezTo>
                  <a:pt x="240" y="338"/>
                  <a:pt x="240" y="338"/>
                  <a:pt x="240" y="338"/>
                </a:cubicBezTo>
                <a:cubicBezTo>
                  <a:pt x="240" y="335"/>
                  <a:pt x="238" y="332"/>
                  <a:pt x="234" y="332"/>
                </a:cubicBezTo>
                <a:cubicBezTo>
                  <a:pt x="231" y="332"/>
                  <a:pt x="229" y="335"/>
                  <a:pt x="229" y="338"/>
                </a:cubicBezTo>
                <a:close/>
                <a:moveTo>
                  <a:pt x="229" y="314"/>
                </a:moveTo>
                <a:cubicBezTo>
                  <a:pt x="229" y="318"/>
                  <a:pt x="229" y="318"/>
                  <a:pt x="229" y="318"/>
                </a:cubicBezTo>
                <a:cubicBezTo>
                  <a:pt x="229" y="322"/>
                  <a:pt x="231" y="324"/>
                  <a:pt x="234" y="324"/>
                </a:cubicBezTo>
                <a:cubicBezTo>
                  <a:pt x="238" y="324"/>
                  <a:pt x="240" y="322"/>
                  <a:pt x="240" y="318"/>
                </a:cubicBezTo>
                <a:cubicBezTo>
                  <a:pt x="240" y="314"/>
                  <a:pt x="240" y="314"/>
                  <a:pt x="240" y="314"/>
                </a:cubicBezTo>
                <a:cubicBezTo>
                  <a:pt x="240" y="311"/>
                  <a:pt x="238" y="309"/>
                  <a:pt x="234" y="309"/>
                </a:cubicBezTo>
                <a:cubicBezTo>
                  <a:pt x="231" y="309"/>
                  <a:pt x="229" y="311"/>
                  <a:pt x="229" y="314"/>
                </a:cubicBezTo>
                <a:close/>
                <a:moveTo>
                  <a:pt x="229" y="291"/>
                </a:moveTo>
                <a:cubicBezTo>
                  <a:pt x="229" y="295"/>
                  <a:pt x="229" y="295"/>
                  <a:pt x="229" y="295"/>
                </a:cubicBezTo>
                <a:cubicBezTo>
                  <a:pt x="229" y="298"/>
                  <a:pt x="231" y="301"/>
                  <a:pt x="234" y="301"/>
                </a:cubicBezTo>
                <a:cubicBezTo>
                  <a:pt x="238" y="301"/>
                  <a:pt x="240" y="298"/>
                  <a:pt x="240" y="295"/>
                </a:cubicBezTo>
                <a:cubicBezTo>
                  <a:pt x="240" y="291"/>
                  <a:pt x="240" y="291"/>
                  <a:pt x="240" y="291"/>
                </a:cubicBezTo>
                <a:cubicBezTo>
                  <a:pt x="240" y="288"/>
                  <a:pt x="238" y="285"/>
                  <a:pt x="234" y="285"/>
                </a:cubicBezTo>
                <a:cubicBezTo>
                  <a:pt x="231" y="285"/>
                  <a:pt x="229" y="288"/>
                  <a:pt x="229" y="291"/>
                </a:cubicBezTo>
                <a:close/>
                <a:moveTo>
                  <a:pt x="229" y="268"/>
                </a:moveTo>
                <a:cubicBezTo>
                  <a:pt x="229" y="272"/>
                  <a:pt x="229" y="272"/>
                  <a:pt x="229" y="272"/>
                </a:cubicBezTo>
                <a:cubicBezTo>
                  <a:pt x="229" y="275"/>
                  <a:pt x="231" y="277"/>
                  <a:pt x="234" y="277"/>
                </a:cubicBezTo>
                <a:cubicBezTo>
                  <a:pt x="238" y="277"/>
                  <a:pt x="240" y="275"/>
                  <a:pt x="240" y="272"/>
                </a:cubicBezTo>
                <a:cubicBezTo>
                  <a:pt x="240" y="268"/>
                  <a:pt x="240" y="268"/>
                  <a:pt x="240" y="268"/>
                </a:cubicBezTo>
                <a:cubicBezTo>
                  <a:pt x="240" y="264"/>
                  <a:pt x="238" y="262"/>
                  <a:pt x="234" y="262"/>
                </a:cubicBezTo>
                <a:cubicBezTo>
                  <a:pt x="231" y="262"/>
                  <a:pt x="229" y="264"/>
                  <a:pt x="229" y="268"/>
                </a:cubicBezTo>
                <a:close/>
                <a:moveTo>
                  <a:pt x="229" y="244"/>
                </a:moveTo>
                <a:cubicBezTo>
                  <a:pt x="229" y="248"/>
                  <a:pt x="229" y="248"/>
                  <a:pt x="229" y="248"/>
                </a:cubicBezTo>
                <a:cubicBezTo>
                  <a:pt x="229" y="251"/>
                  <a:pt x="231" y="254"/>
                  <a:pt x="234" y="254"/>
                </a:cubicBezTo>
                <a:cubicBezTo>
                  <a:pt x="238" y="254"/>
                  <a:pt x="240" y="251"/>
                  <a:pt x="240" y="248"/>
                </a:cubicBezTo>
                <a:cubicBezTo>
                  <a:pt x="240" y="244"/>
                  <a:pt x="240" y="244"/>
                  <a:pt x="240" y="244"/>
                </a:cubicBezTo>
                <a:cubicBezTo>
                  <a:pt x="240" y="241"/>
                  <a:pt x="238" y="238"/>
                  <a:pt x="234" y="238"/>
                </a:cubicBezTo>
                <a:cubicBezTo>
                  <a:pt x="231" y="238"/>
                  <a:pt x="229" y="241"/>
                  <a:pt x="229" y="244"/>
                </a:cubicBezTo>
                <a:close/>
                <a:moveTo>
                  <a:pt x="229" y="221"/>
                </a:moveTo>
                <a:cubicBezTo>
                  <a:pt x="229" y="225"/>
                  <a:pt x="229" y="225"/>
                  <a:pt x="229" y="225"/>
                </a:cubicBezTo>
                <a:cubicBezTo>
                  <a:pt x="229" y="228"/>
                  <a:pt x="231" y="231"/>
                  <a:pt x="234" y="231"/>
                </a:cubicBezTo>
                <a:cubicBezTo>
                  <a:pt x="238" y="231"/>
                  <a:pt x="240" y="228"/>
                  <a:pt x="240" y="225"/>
                </a:cubicBezTo>
                <a:cubicBezTo>
                  <a:pt x="240" y="221"/>
                  <a:pt x="240" y="221"/>
                  <a:pt x="240" y="221"/>
                </a:cubicBezTo>
                <a:cubicBezTo>
                  <a:pt x="240" y="218"/>
                  <a:pt x="238" y="215"/>
                  <a:pt x="234" y="215"/>
                </a:cubicBezTo>
                <a:cubicBezTo>
                  <a:pt x="231" y="215"/>
                  <a:pt x="229" y="218"/>
                  <a:pt x="229" y="221"/>
                </a:cubicBezTo>
                <a:close/>
                <a:moveTo>
                  <a:pt x="229" y="198"/>
                </a:moveTo>
                <a:cubicBezTo>
                  <a:pt x="229" y="201"/>
                  <a:pt x="229" y="201"/>
                  <a:pt x="229" y="201"/>
                </a:cubicBezTo>
                <a:cubicBezTo>
                  <a:pt x="229" y="205"/>
                  <a:pt x="231" y="207"/>
                  <a:pt x="234" y="207"/>
                </a:cubicBezTo>
                <a:cubicBezTo>
                  <a:pt x="238" y="207"/>
                  <a:pt x="240" y="205"/>
                  <a:pt x="240" y="201"/>
                </a:cubicBezTo>
                <a:cubicBezTo>
                  <a:pt x="240" y="198"/>
                  <a:pt x="240" y="198"/>
                  <a:pt x="240" y="198"/>
                </a:cubicBezTo>
                <a:cubicBezTo>
                  <a:pt x="240" y="194"/>
                  <a:pt x="238" y="192"/>
                  <a:pt x="234" y="192"/>
                </a:cubicBezTo>
                <a:cubicBezTo>
                  <a:pt x="231" y="192"/>
                  <a:pt x="229" y="194"/>
                  <a:pt x="229" y="198"/>
                </a:cubicBezTo>
                <a:close/>
                <a:moveTo>
                  <a:pt x="229" y="174"/>
                </a:moveTo>
                <a:cubicBezTo>
                  <a:pt x="229" y="178"/>
                  <a:pt x="229" y="178"/>
                  <a:pt x="229" y="178"/>
                </a:cubicBezTo>
                <a:cubicBezTo>
                  <a:pt x="229" y="181"/>
                  <a:pt x="231" y="184"/>
                  <a:pt x="234" y="184"/>
                </a:cubicBezTo>
                <a:cubicBezTo>
                  <a:pt x="238" y="184"/>
                  <a:pt x="240" y="181"/>
                  <a:pt x="240" y="178"/>
                </a:cubicBezTo>
                <a:cubicBezTo>
                  <a:pt x="240" y="174"/>
                  <a:pt x="240" y="174"/>
                  <a:pt x="240" y="174"/>
                </a:cubicBezTo>
                <a:cubicBezTo>
                  <a:pt x="240" y="171"/>
                  <a:pt x="238" y="168"/>
                  <a:pt x="234" y="168"/>
                </a:cubicBezTo>
                <a:cubicBezTo>
                  <a:pt x="231" y="168"/>
                  <a:pt x="229" y="171"/>
                  <a:pt x="229" y="174"/>
                </a:cubicBezTo>
                <a:close/>
                <a:moveTo>
                  <a:pt x="229" y="151"/>
                </a:moveTo>
                <a:cubicBezTo>
                  <a:pt x="229" y="155"/>
                  <a:pt x="229" y="155"/>
                  <a:pt x="229" y="155"/>
                </a:cubicBezTo>
                <a:cubicBezTo>
                  <a:pt x="229" y="158"/>
                  <a:pt x="231" y="160"/>
                  <a:pt x="234" y="160"/>
                </a:cubicBezTo>
                <a:cubicBezTo>
                  <a:pt x="238" y="160"/>
                  <a:pt x="240" y="158"/>
                  <a:pt x="240" y="155"/>
                </a:cubicBezTo>
                <a:cubicBezTo>
                  <a:pt x="240" y="151"/>
                  <a:pt x="240" y="151"/>
                  <a:pt x="240" y="151"/>
                </a:cubicBezTo>
                <a:cubicBezTo>
                  <a:pt x="240" y="147"/>
                  <a:pt x="238" y="145"/>
                  <a:pt x="234" y="145"/>
                </a:cubicBezTo>
                <a:cubicBezTo>
                  <a:pt x="231" y="145"/>
                  <a:pt x="229" y="147"/>
                  <a:pt x="229" y="151"/>
                </a:cubicBezTo>
                <a:close/>
                <a:moveTo>
                  <a:pt x="229" y="127"/>
                </a:moveTo>
                <a:cubicBezTo>
                  <a:pt x="229" y="131"/>
                  <a:pt x="229" y="131"/>
                  <a:pt x="229" y="131"/>
                </a:cubicBezTo>
                <a:cubicBezTo>
                  <a:pt x="229" y="134"/>
                  <a:pt x="231" y="137"/>
                  <a:pt x="234" y="137"/>
                </a:cubicBezTo>
                <a:cubicBezTo>
                  <a:pt x="238" y="137"/>
                  <a:pt x="240" y="134"/>
                  <a:pt x="240" y="131"/>
                </a:cubicBezTo>
                <a:cubicBezTo>
                  <a:pt x="240" y="127"/>
                  <a:pt x="240" y="127"/>
                  <a:pt x="240" y="127"/>
                </a:cubicBezTo>
                <a:cubicBezTo>
                  <a:pt x="240" y="124"/>
                  <a:pt x="238" y="121"/>
                  <a:pt x="234" y="121"/>
                </a:cubicBezTo>
                <a:cubicBezTo>
                  <a:pt x="231" y="121"/>
                  <a:pt x="229" y="124"/>
                  <a:pt x="229" y="127"/>
                </a:cubicBezTo>
                <a:close/>
                <a:moveTo>
                  <a:pt x="229" y="104"/>
                </a:moveTo>
                <a:cubicBezTo>
                  <a:pt x="229" y="108"/>
                  <a:pt x="229" y="108"/>
                  <a:pt x="229" y="108"/>
                </a:cubicBezTo>
                <a:cubicBezTo>
                  <a:pt x="229" y="111"/>
                  <a:pt x="231" y="114"/>
                  <a:pt x="234" y="114"/>
                </a:cubicBezTo>
                <a:cubicBezTo>
                  <a:pt x="238" y="114"/>
                  <a:pt x="240" y="111"/>
                  <a:pt x="240" y="108"/>
                </a:cubicBezTo>
                <a:cubicBezTo>
                  <a:pt x="240" y="104"/>
                  <a:pt x="240" y="104"/>
                  <a:pt x="240" y="104"/>
                </a:cubicBezTo>
                <a:cubicBezTo>
                  <a:pt x="240" y="101"/>
                  <a:pt x="238" y="98"/>
                  <a:pt x="234" y="98"/>
                </a:cubicBezTo>
                <a:cubicBezTo>
                  <a:pt x="231" y="98"/>
                  <a:pt x="229" y="101"/>
                  <a:pt x="229" y="104"/>
                </a:cubicBezTo>
                <a:close/>
                <a:moveTo>
                  <a:pt x="229" y="81"/>
                </a:moveTo>
                <a:cubicBezTo>
                  <a:pt x="229" y="84"/>
                  <a:pt x="229" y="84"/>
                  <a:pt x="229" y="84"/>
                </a:cubicBezTo>
                <a:cubicBezTo>
                  <a:pt x="229" y="88"/>
                  <a:pt x="231" y="90"/>
                  <a:pt x="234" y="90"/>
                </a:cubicBezTo>
                <a:cubicBezTo>
                  <a:pt x="238" y="90"/>
                  <a:pt x="240" y="88"/>
                  <a:pt x="240" y="84"/>
                </a:cubicBezTo>
                <a:cubicBezTo>
                  <a:pt x="240" y="81"/>
                  <a:pt x="240" y="81"/>
                  <a:pt x="240" y="81"/>
                </a:cubicBezTo>
                <a:cubicBezTo>
                  <a:pt x="240" y="77"/>
                  <a:pt x="238" y="75"/>
                  <a:pt x="234" y="75"/>
                </a:cubicBezTo>
                <a:cubicBezTo>
                  <a:pt x="231" y="75"/>
                  <a:pt x="229" y="77"/>
                  <a:pt x="229" y="81"/>
                </a:cubicBezTo>
                <a:close/>
                <a:moveTo>
                  <a:pt x="229" y="57"/>
                </a:moveTo>
                <a:cubicBezTo>
                  <a:pt x="229" y="61"/>
                  <a:pt x="229" y="61"/>
                  <a:pt x="229" y="61"/>
                </a:cubicBezTo>
                <a:cubicBezTo>
                  <a:pt x="229" y="64"/>
                  <a:pt x="231" y="67"/>
                  <a:pt x="234" y="67"/>
                </a:cubicBezTo>
                <a:cubicBezTo>
                  <a:pt x="238" y="67"/>
                  <a:pt x="240" y="64"/>
                  <a:pt x="240" y="61"/>
                </a:cubicBezTo>
                <a:cubicBezTo>
                  <a:pt x="240" y="57"/>
                  <a:pt x="240" y="57"/>
                  <a:pt x="240" y="57"/>
                </a:cubicBezTo>
                <a:cubicBezTo>
                  <a:pt x="240" y="54"/>
                  <a:pt x="238" y="51"/>
                  <a:pt x="234" y="51"/>
                </a:cubicBezTo>
                <a:cubicBezTo>
                  <a:pt x="231" y="51"/>
                  <a:pt x="229" y="54"/>
                  <a:pt x="229" y="57"/>
                </a:cubicBezTo>
                <a:close/>
                <a:moveTo>
                  <a:pt x="229" y="34"/>
                </a:moveTo>
                <a:cubicBezTo>
                  <a:pt x="229" y="38"/>
                  <a:pt x="229" y="38"/>
                  <a:pt x="229" y="38"/>
                </a:cubicBezTo>
                <a:cubicBezTo>
                  <a:pt x="229" y="41"/>
                  <a:pt x="231" y="43"/>
                  <a:pt x="234" y="43"/>
                </a:cubicBezTo>
                <a:cubicBezTo>
                  <a:pt x="238" y="43"/>
                  <a:pt x="240" y="41"/>
                  <a:pt x="240" y="38"/>
                </a:cubicBezTo>
                <a:cubicBezTo>
                  <a:pt x="240" y="34"/>
                  <a:pt x="240" y="34"/>
                  <a:pt x="240" y="34"/>
                </a:cubicBezTo>
                <a:cubicBezTo>
                  <a:pt x="240" y="31"/>
                  <a:pt x="238" y="28"/>
                  <a:pt x="234" y="28"/>
                </a:cubicBezTo>
                <a:cubicBezTo>
                  <a:pt x="231" y="28"/>
                  <a:pt x="229" y="31"/>
                  <a:pt x="229" y="34"/>
                </a:cubicBezTo>
                <a:close/>
                <a:moveTo>
                  <a:pt x="229" y="10"/>
                </a:moveTo>
                <a:cubicBezTo>
                  <a:pt x="229" y="14"/>
                  <a:pt x="229" y="14"/>
                  <a:pt x="229" y="14"/>
                </a:cubicBezTo>
                <a:cubicBezTo>
                  <a:pt x="229" y="17"/>
                  <a:pt x="231" y="20"/>
                  <a:pt x="234" y="20"/>
                </a:cubicBezTo>
                <a:cubicBezTo>
                  <a:pt x="238" y="20"/>
                  <a:pt x="240" y="17"/>
                  <a:pt x="240" y="14"/>
                </a:cubicBezTo>
                <a:cubicBezTo>
                  <a:pt x="240" y="10"/>
                  <a:pt x="240" y="10"/>
                  <a:pt x="240" y="10"/>
                </a:cubicBezTo>
                <a:cubicBezTo>
                  <a:pt x="240" y="7"/>
                  <a:pt x="238" y="5"/>
                  <a:pt x="234" y="5"/>
                </a:cubicBezTo>
                <a:cubicBezTo>
                  <a:pt x="231" y="5"/>
                  <a:pt x="229" y="7"/>
                  <a:pt x="229" y="10"/>
                </a:cubicBezTo>
                <a:close/>
                <a:moveTo>
                  <a:pt x="215" y="12"/>
                </a:moveTo>
                <a:cubicBezTo>
                  <a:pt x="219" y="12"/>
                  <a:pt x="219" y="12"/>
                  <a:pt x="219" y="12"/>
                </a:cubicBezTo>
                <a:cubicBezTo>
                  <a:pt x="222" y="12"/>
                  <a:pt x="225" y="9"/>
                  <a:pt x="225" y="6"/>
                </a:cubicBezTo>
                <a:cubicBezTo>
                  <a:pt x="225" y="3"/>
                  <a:pt x="222" y="0"/>
                  <a:pt x="219" y="0"/>
                </a:cubicBezTo>
                <a:cubicBezTo>
                  <a:pt x="215" y="0"/>
                  <a:pt x="215" y="0"/>
                  <a:pt x="215" y="0"/>
                </a:cubicBezTo>
                <a:cubicBezTo>
                  <a:pt x="212" y="0"/>
                  <a:pt x="209" y="3"/>
                  <a:pt x="209" y="6"/>
                </a:cubicBezTo>
                <a:cubicBezTo>
                  <a:pt x="209" y="9"/>
                  <a:pt x="212" y="12"/>
                  <a:pt x="215" y="12"/>
                </a:cubicBezTo>
                <a:close/>
                <a:moveTo>
                  <a:pt x="192" y="12"/>
                </a:moveTo>
                <a:cubicBezTo>
                  <a:pt x="196" y="12"/>
                  <a:pt x="196" y="12"/>
                  <a:pt x="196" y="12"/>
                </a:cubicBezTo>
                <a:cubicBezTo>
                  <a:pt x="199" y="12"/>
                  <a:pt x="202" y="9"/>
                  <a:pt x="202" y="6"/>
                </a:cubicBezTo>
                <a:cubicBezTo>
                  <a:pt x="202" y="3"/>
                  <a:pt x="199" y="0"/>
                  <a:pt x="196" y="0"/>
                </a:cubicBezTo>
                <a:cubicBezTo>
                  <a:pt x="192" y="0"/>
                  <a:pt x="192" y="0"/>
                  <a:pt x="192" y="0"/>
                </a:cubicBezTo>
                <a:cubicBezTo>
                  <a:pt x="189" y="0"/>
                  <a:pt x="186" y="3"/>
                  <a:pt x="186" y="6"/>
                </a:cubicBezTo>
                <a:cubicBezTo>
                  <a:pt x="186" y="9"/>
                  <a:pt x="189" y="12"/>
                  <a:pt x="192" y="12"/>
                </a:cubicBezTo>
                <a:close/>
                <a:moveTo>
                  <a:pt x="168" y="12"/>
                </a:moveTo>
                <a:cubicBezTo>
                  <a:pt x="172" y="12"/>
                  <a:pt x="172" y="12"/>
                  <a:pt x="172" y="12"/>
                </a:cubicBezTo>
                <a:cubicBezTo>
                  <a:pt x="176" y="12"/>
                  <a:pt x="178" y="9"/>
                  <a:pt x="178" y="6"/>
                </a:cubicBezTo>
                <a:cubicBezTo>
                  <a:pt x="178" y="3"/>
                  <a:pt x="176" y="0"/>
                  <a:pt x="172" y="0"/>
                </a:cubicBezTo>
                <a:cubicBezTo>
                  <a:pt x="168" y="0"/>
                  <a:pt x="168" y="0"/>
                  <a:pt x="168" y="0"/>
                </a:cubicBezTo>
                <a:cubicBezTo>
                  <a:pt x="165" y="0"/>
                  <a:pt x="163" y="3"/>
                  <a:pt x="163" y="6"/>
                </a:cubicBezTo>
                <a:cubicBezTo>
                  <a:pt x="163" y="9"/>
                  <a:pt x="165" y="12"/>
                  <a:pt x="168" y="12"/>
                </a:cubicBezTo>
                <a:close/>
                <a:moveTo>
                  <a:pt x="145" y="12"/>
                </a:moveTo>
                <a:cubicBezTo>
                  <a:pt x="149" y="12"/>
                  <a:pt x="149" y="12"/>
                  <a:pt x="149" y="12"/>
                </a:cubicBezTo>
                <a:cubicBezTo>
                  <a:pt x="152" y="12"/>
                  <a:pt x="155" y="9"/>
                  <a:pt x="155" y="6"/>
                </a:cubicBezTo>
                <a:cubicBezTo>
                  <a:pt x="155" y="3"/>
                  <a:pt x="152" y="0"/>
                  <a:pt x="149" y="0"/>
                </a:cubicBezTo>
                <a:cubicBezTo>
                  <a:pt x="145" y="0"/>
                  <a:pt x="145" y="0"/>
                  <a:pt x="145" y="0"/>
                </a:cubicBezTo>
                <a:cubicBezTo>
                  <a:pt x="142" y="0"/>
                  <a:pt x="139" y="3"/>
                  <a:pt x="139" y="6"/>
                </a:cubicBezTo>
                <a:cubicBezTo>
                  <a:pt x="139" y="9"/>
                  <a:pt x="142" y="12"/>
                  <a:pt x="145" y="12"/>
                </a:cubicBezTo>
                <a:close/>
                <a:moveTo>
                  <a:pt x="122" y="12"/>
                </a:moveTo>
                <a:cubicBezTo>
                  <a:pt x="126" y="12"/>
                  <a:pt x="126" y="12"/>
                  <a:pt x="126" y="12"/>
                </a:cubicBezTo>
                <a:cubicBezTo>
                  <a:pt x="129" y="12"/>
                  <a:pt x="131" y="9"/>
                  <a:pt x="131" y="6"/>
                </a:cubicBezTo>
                <a:cubicBezTo>
                  <a:pt x="131" y="3"/>
                  <a:pt x="129" y="0"/>
                  <a:pt x="126" y="0"/>
                </a:cubicBezTo>
                <a:cubicBezTo>
                  <a:pt x="122" y="0"/>
                  <a:pt x="122" y="0"/>
                  <a:pt x="122" y="0"/>
                </a:cubicBezTo>
                <a:cubicBezTo>
                  <a:pt x="118" y="0"/>
                  <a:pt x="116" y="3"/>
                  <a:pt x="116" y="6"/>
                </a:cubicBezTo>
                <a:cubicBezTo>
                  <a:pt x="116" y="9"/>
                  <a:pt x="118" y="12"/>
                  <a:pt x="122" y="12"/>
                </a:cubicBezTo>
                <a:close/>
                <a:moveTo>
                  <a:pt x="98" y="12"/>
                </a:moveTo>
                <a:cubicBezTo>
                  <a:pt x="102" y="12"/>
                  <a:pt x="102" y="12"/>
                  <a:pt x="102" y="12"/>
                </a:cubicBezTo>
                <a:cubicBezTo>
                  <a:pt x="105" y="12"/>
                  <a:pt x="108" y="9"/>
                  <a:pt x="108" y="6"/>
                </a:cubicBezTo>
                <a:cubicBezTo>
                  <a:pt x="108" y="3"/>
                  <a:pt x="105" y="0"/>
                  <a:pt x="102" y="0"/>
                </a:cubicBezTo>
                <a:cubicBezTo>
                  <a:pt x="98" y="0"/>
                  <a:pt x="98" y="0"/>
                  <a:pt x="98" y="0"/>
                </a:cubicBezTo>
                <a:cubicBezTo>
                  <a:pt x="95" y="0"/>
                  <a:pt x="92" y="3"/>
                  <a:pt x="92" y="6"/>
                </a:cubicBezTo>
                <a:cubicBezTo>
                  <a:pt x="92" y="9"/>
                  <a:pt x="95" y="12"/>
                  <a:pt x="98" y="12"/>
                </a:cubicBezTo>
                <a:close/>
                <a:moveTo>
                  <a:pt x="75" y="12"/>
                </a:moveTo>
                <a:cubicBezTo>
                  <a:pt x="79" y="12"/>
                  <a:pt x="79" y="12"/>
                  <a:pt x="79" y="12"/>
                </a:cubicBezTo>
                <a:cubicBezTo>
                  <a:pt x="82" y="12"/>
                  <a:pt x="85" y="9"/>
                  <a:pt x="85" y="6"/>
                </a:cubicBezTo>
                <a:cubicBezTo>
                  <a:pt x="85" y="3"/>
                  <a:pt x="82" y="0"/>
                  <a:pt x="79" y="0"/>
                </a:cubicBezTo>
                <a:cubicBezTo>
                  <a:pt x="75" y="0"/>
                  <a:pt x="75" y="0"/>
                  <a:pt x="75" y="0"/>
                </a:cubicBezTo>
                <a:cubicBezTo>
                  <a:pt x="72" y="0"/>
                  <a:pt x="69" y="3"/>
                  <a:pt x="69" y="6"/>
                </a:cubicBezTo>
                <a:cubicBezTo>
                  <a:pt x="69" y="9"/>
                  <a:pt x="72" y="12"/>
                  <a:pt x="75" y="12"/>
                </a:cubicBezTo>
                <a:close/>
                <a:moveTo>
                  <a:pt x="51" y="12"/>
                </a:moveTo>
                <a:cubicBezTo>
                  <a:pt x="55" y="12"/>
                  <a:pt x="55" y="12"/>
                  <a:pt x="55" y="12"/>
                </a:cubicBezTo>
                <a:cubicBezTo>
                  <a:pt x="59" y="12"/>
                  <a:pt x="61" y="9"/>
                  <a:pt x="61" y="6"/>
                </a:cubicBezTo>
                <a:cubicBezTo>
                  <a:pt x="61" y="3"/>
                  <a:pt x="59" y="0"/>
                  <a:pt x="55" y="0"/>
                </a:cubicBezTo>
                <a:cubicBezTo>
                  <a:pt x="51" y="0"/>
                  <a:pt x="51" y="0"/>
                  <a:pt x="51" y="0"/>
                </a:cubicBezTo>
                <a:cubicBezTo>
                  <a:pt x="48" y="0"/>
                  <a:pt x="46" y="3"/>
                  <a:pt x="46" y="6"/>
                </a:cubicBezTo>
                <a:cubicBezTo>
                  <a:pt x="46" y="9"/>
                  <a:pt x="48" y="12"/>
                  <a:pt x="51" y="12"/>
                </a:cubicBezTo>
                <a:close/>
                <a:moveTo>
                  <a:pt x="28" y="12"/>
                </a:moveTo>
                <a:cubicBezTo>
                  <a:pt x="32" y="12"/>
                  <a:pt x="32" y="12"/>
                  <a:pt x="32" y="12"/>
                </a:cubicBezTo>
                <a:cubicBezTo>
                  <a:pt x="35" y="12"/>
                  <a:pt x="38" y="9"/>
                  <a:pt x="38" y="6"/>
                </a:cubicBezTo>
                <a:cubicBezTo>
                  <a:pt x="38" y="3"/>
                  <a:pt x="35" y="0"/>
                  <a:pt x="32" y="0"/>
                </a:cubicBezTo>
                <a:cubicBezTo>
                  <a:pt x="28" y="0"/>
                  <a:pt x="28" y="0"/>
                  <a:pt x="28" y="0"/>
                </a:cubicBezTo>
                <a:cubicBezTo>
                  <a:pt x="25" y="0"/>
                  <a:pt x="22" y="3"/>
                  <a:pt x="22" y="6"/>
                </a:cubicBezTo>
                <a:cubicBezTo>
                  <a:pt x="22" y="9"/>
                  <a:pt x="25" y="12"/>
                  <a:pt x="28" y="12"/>
                </a:cubicBezTo>
                <a:close/>
                <a:moveTo>
                  <a:pt x="12" y="8"/>
                </a:moveTo>
                <a:cubicBezTo>
                  <a:pt x="12" y="6"/>
                  <a:pt x="12" y="6"/>
                  <a:pt x="12" y="6"/>
                </a:cubicBezTo>
                <a:cubicBezTo>
                  <a:pt x="6" y="6"/>
                  <a:pt x="6" y="6"/>
                  <a:pt x="6" y="6"/>
                </a:cubicBezTo>
                <a:cubicBezTo>
                  <a:pt x="6" y="12"/>
                  <a:pt x="6" y="12"/>
                  <a:pt x="6" y="12"/>
                </a:cubicBezTo>
                <a:cubicBezTo>
                  <a:pt x="9" y="12"/>
                  <a:pt x="9" y="12"/>
                  <a:pt x="9" y="12"/>
                </a:cubicBezTo>
                <a:cubicBezTo>
                  <a:pt x="12" y="12"/>
                  <a:pt x="14" y="9"/>
                  <a:pt x="14" y="6"/>
                </a:cubicBezTo>
                <a:cubicBezTo>
                  <a:pt x="14" y="3"/>
                  <a:pt x="12" y="0"/>
                  <a:pt x="9" y="0"/>
                </a:cubicBezTo>
                <a:cubicBezTo>
                  <a:pt x="6" y="0"/>
                  <a:pt x="6" y="0"/>
                  <a:pt x="6" y="0"/>
                </a:cubicBezTo>
                <a:cubicBezTo>
                  <a:pt x="5" y="0"/>
                  <a:pt x="3" y="1"/>
                  <a:pt x="2" y="2"/>
                </a:cubicBezTo>
                <a:cubicBezTo>
                  <a:pt x="1" y="3"/>
                  <a:pt x="0" y="5"/>
                  <a:pt x="0" y="6"/>
                </a:cubicBezTo>
                <a:cubicBezTo>
                  <a:pt x="0" y="8"/>
                  <a:pt x="0" y="8"/>
                  <a:pt x="0" y="8"/>
                </a:cubicBezTo>
                <a:cubicBezTo>
                  <a:pt x="0" y="11"/>
                  <a:pt x="3" y="14"/>
                  <a:pt x="6" y="14"/>
                </a:cubicBezTo>
                <a:cubicBezTo>
                  <a:pt x="9" y="14"/>
                  <a:pt x="12" y="11"/>
                  <a:pt x="12" y="8"/>
                </a:cubicBezTo>
                <a:close/>
                <a:moveTo>
                  <a:pt x="12" y="31"/>
                </a:moveTo>
                <a:cubicBezTo>
                  <a:pt x="12" y="27"/>
                  <a:pt x="12" y="27"/>
                  <a:pt x="12" y="27"/>
                </a:cubicBezTo>
                <a:cubicBezTo>
                  <a:pt x="12" y="24"/>
                  <a:pt x="9" y="21"/>
                  <a:pt x="6" y="21"/>
                </a:cubicBezTo>
                <a:cubicBezTo>
                  <a:pt x="3" y="21"/>
                  <a:pt x="0" y="24"/>
                  <a:pt x="0" y="27"/>
                </a:cubicBezTo>
                <a:cubicBezTo>
                  <a:pt x="0" y="31"/>
                  <a:pt x="0" y="31"/>
                  <a:pt x="0" y="31"/>
                </a:cubicBezTo>
                <a:cubicBezTo>
                  <a:pt x="0" y="34"/>
                  <a:pt x="3" y="37"/>
                  <a:pt x="6" y="37"/>
                </a:cubicBezTo>
                <a:cubicBezTo>
                  <a:pt x="9" y="37"/>
                  <a:pt x="12" y="34"/>
                  <a:pt x="12" y="31"/>
                </a:cubicBezTo>
                <a:close/>
                <a:moveTo>
                  <a:pt x="12" y="54"/>
                </a:moveTo>
                <a:cubicBezTo>
                  <a:pt x="12" y="51"/>
                  <a:pt x="12" y="51"/>
                  <a:pt x="12" y="51"/>
                </a:cubicBezTo>
                <a:cubicBezTo>
                  <a:pt x="12" y="47"/>
                  <a:pt x="9" y="45"/>
                  <a:pt x="6" y="45"/>
                </a:cubicBezTo>
                <a:cubicBezTo>
                  <a:pt x="3" y="45"/>
                  <a:pt x="0" y="47"/>
                  <a:pt x="0" y="51"/>
                </a:cubicBezTo>
                <a:cubicBezTo>
                  <a:pt x="0" y="54"/>
                  <a:pt x="0" y="54"/>
                  <a:pt x="0" y="54"/>
                </a:cubicBezTo>
                <a:cubicBezTo>
                  <a:pt x="0" y="58"/>
                  <a:pt x="3" y="60"/>
                  <a:pt x="6" y="60"/>
                </a:cubicBezTo>
                <a:cubicBezTo>
                  <a:pt x="9" y="60"/>
                  <a:pt x="12" y="58"/>
                  <a:pt x="12" y="54"/>
                </a:cubicBezTo>
                <a:close/>
                <a:moveTo>
                  <a:pt x="12" y="78"/>
                </a:moveTo>
                <a:cubicBezTo>
                  <a:pt x="12" y="74"/>
                  <a:pt x="12" y="74"/>
                  <a:pt x="12" y="74"/>
                </a:cubicBezTo>
                <a:cubicBezTo>
                  <a:pt x="12" y="71"/>
                  <a:pt x="9" y="68"/>
                  <a:pt x="6" y="68"/>
                </a:cubicBezTo>
                <a:cubicBezTo>
                  <a:pt x="3" y="68"/>
                  <a:pt x="0" y="71"/>
                  <a:pt x="0" y="74"/>
                </a:cubicBezTo>
                <a:cubicBezTo>
                  <a:pt x="0" y="78"/>
                  <a:pt x="0" y="78"/>
                  <a:pt x="0" y="78"/>
                </a:cubicBezTo>
                <a:cubicBezTo>
                  <a:pt x="0" y="81"/>
                  <a:pt x="3" y="84"/>
                  <a:pt x="6" y="84"/>
                </a:cubicBezTo>
                <a:cubicBezTo>
                  <a:pt x="9" y="84"/>
                  <a:pt x="12" y="81"/>
                  <a:pt x="12" y="78"/>
                </a:cubicBezTo>
                <a:close/>
                <a:moveTo>
                  <a:pt x="12" y="101"/>
                </a:moveTo>
                <a:cubicBezTo>
                  <a:pt x="12" y="97"/>
                  <a:pt x="12" y="97"/>
                  <a:pt x="12" y="97"/>
                </a:cubicBezTo>
                <a:cubicBezTo>
                  <a:pt x="12" y="94"/>
                  <a:pt x="9" y="91"/>
                  <a:pt x="6" y="91"/>
                </a:cubicBezTo>
                <a:cubicBezTo>
                  <a:pt x="3" y="91"/>
                  <a:pt x="0" y="94"/>
                  <a:pt x="0" y="97"/>
                </a:cubicBezTo>
                <a:cubicBezTo>
                  <a:pt x="0" y="101"/>
                  <a:pt x="0" y="101"/>
                  <a:pt x="0" y="101"/>
                </a:cubicBezTo>
                <a:cubicBezTo>
                  <a:pt x="0" y="104"/>
                  <a:pt x="3" y="107"/>
                  <a:pt x="6" y="107"/>
                </a:cubicBezTo>
                <a:cubicBezTo>
                  <a:pt x="9" y="107"/>
                  <a:pt x="12" y="104"/>
                  <a:pt x="12" y="101"/>
                </a:cubicBezTo>
                <a:close/>
                <a:moveTo>
                  <a:pt x="12" y="125"/>
                </a:moveTo>
                <a:cubicBezTo>
                  <a:pt x="12" y="121"/>
                  <a:pt x="12" y="121"/>
                  <a:pt x="12" y="121"/>
                </a:cubicBezTo>
                <a:cubicBezTo>
                  <a:pt x="12" y="117"/>
                  <a:pt x="9" y="115"/>
                  <a:pt x="6" y="115"/>
                </a:cubicBezTo>
                <a:cubicBezTo>
                  <a:pt x="3" y="115"/>
                  <a:pt x="0" y="117"/>
                  <a:pt x="0" y="121"/>
                </a:cubicBezTo>
                <a:cubicBezTo>
                  <a:pt x="0" y="125"/>
                  <a:pt x="0" y="125"/>
                  <a:pt x="0" y="125"/>
                </a:cubicBezTo>
                <a:cubicBezTo>
                  <a:pt x="0" y="128"/>
                  <a:pt x="3" y="130"/>
                  <a:pt x="6" y="130"/>
                </a:cubicBezTo>
                <a:cubicBezTo>
                  <a:pt x="9" y="130"/>
                  <a:pt x="12" y="128"/>
                  <a:pt x="12" y="125"/>
                </a:cubicBezTo>
                <a:close/>
                <a:moveTo>
                  <a:pt x="12" y="148"/>
                </a:moveTo>
                <a:cubicBezTo>
                  <a:pt x="12" y="144"/>
                  <a:pt x="12" y="144"/>
                  <a:pt x="12" y="144"/>
                </a:cubicBezTo>
                <a:cubicBezTo>
                  <a:pt x="12" y="141"/>
                  <a:pt x="9" y="138"/>
                  <a:pt x="6" y="138"/>
                </a:cubicBezTo>
                <a:cubicBezTo>
                  <a:pt x="3" y="138"/>
                  <a:pt x="0" y="141"/>
                  <a:pt x="0" y="144"/>
                </a:cubicBezTo>
                <a:cubicBezTo>
                  <a:pt x="0" y="148"/>
                  <a:pt x="0" y="148"/>
                  <a:pt x="0" y="148"/>
                </a:cubicBezTo>
                <a:cubicBezTo>
                  <a:pt x="0" y="151"/>
                  <a:pt x="3" y="154"/>
                  <a:pt x="6" y="154"/>
                </a:cubicBezTo>
                <a:cubicBezTo>
                  <a:pt x="9" y="154"/>
                  <a:pt x="12" y="151"/>
                  <a:pt x="12" y="148"/>
                </a:cubicBezTo>
                <a:close/>
                <a:moveTo>
                  <a:pt x="12" y="171"/>
                </a:moveTo>
                <a:cubicBezTo>
                  <a:pt x="12" y="168"/>
                  <a:pt x="12" y="168"/>
                  <a:pt x="12" y="168"/>
                </a:cubicBezTo>
                <a:cubicBezTo>
                  <a:pt x="12" y="164"/>
                  <a:pt x="9" y="162"/>
                  <a:pt x="6" y="162"/>
                </a:cubicBezTo>
                <a:cubicBezTo>
                  <a:pt x="3" y="162"/>
                  <a:pt x="0" y="164"/>
                  <a:pt x="0" y="168"/>
                </a:cubicBezTo>
                <a:cubicBezTo>
                  <a:pt x="0" y="171"/>
                  <a:pt x="0" y="171"/>
                  <a:pt x="0" y="171"/>
                </a:cubicBezTo>
                <a:cubicBezTo>
                  <a:pt x="0" y="175"/>
                  <a:pt x="3" y="177"/>
                  <a:pt x="6" y="177"/>
                </a:cubicBezTo>
                <a:cubicBezTo>
                  <a:pt x="9" y="177"/>
                  <a:pt x="12" y="175"/>
                  <a:pt x="12" y="171"/>
                </a:cubicBezTo>
                <a:close/>
                <a:moveTo>
                  <a:pt x="12" y="195"/>
                </a:moveTo>
                <a:cubicBezTo>
                  <a:pt x="12" y="191"/>
                  <a:pt x="12" y="191"/>
                  <a:pt x="12" y="191"/>
                </a:cubicBezTo>
                <a:cubicBezTo>
                  <a:pt x="12" y="188"/>
                  <a:pt x="9" y="185"/>
                  <a:pt x="6" y="185"/>
                </a:cubicBezTo>
                <a:cubicBezTo>
                  <a:pt x="3" y="185"/>
                  <a:pt x="0" y="188"/>
                  <a:pt x="0" y="191"/>
                </a:cubicBezTo>
                <a:cubicBezTo>
                  <a:pt x="0" y="195"/>
                  <a:pt x="0" y="195"/>
                  <a:pt x="0" y="195"/>
                </a:cubicBezTo>
                <a:cubicBezTo>
                  <a:pt x="0" y="198"/>
                  <a:pt x="3" y="201"/>
                  <a:pt x="6" y="201"/>
                </a:cubicBezTo>
                <a:cubicBezTo>
                  <a:pt x="9" y="201"/>
                  <a:pt x="12" y="198"/>
                  <a:pt x="12" y="195"/>
                </a:cubicBezTo>
                <a:close/>
                <a:moveTo>
                  <a:pt x="12" y="218"/>
                </a:moveTo>
                <a:cubicBezTo>
                  <a:pt x="12" y="214"/>
                  <a:pt x="12" y="214"/>
                  <a:pt x="12" y="214"/>
                </a:cubicBezTo>
                <a:cubicBezTo>
                  <a:pt x="12" y="211"/>
                  <a:pt x="9" y="208"/>
                  <a:pt x="6" y="208"/>
                </a:cubicBezTo>
                <a:cubicBezTo>
                  <a:pt x="3" y="208"/>
                  <a:pt x="0" y="211"/>
                  <a:pt x="0" y="214"/>
                </a:cubicBezTo>
                <a:cubicBezTo>
                  <a:pt x="0" y="218"/>
                  <a:pt x="0" y="218"/>
                  <a:pt x="0" y="218"/>
                </a:cubicBezTo>
                <a:cubicBezTo>
                  <a:pt x="0" y="221"/>
                  <a:pt x="3" y="224"/>
                  <a:pt x="6" y="224"/>
                </a:cubicBezTo>
                <a:cubicBezTo>
                  <a:pt x="9" y="224"/>
                  <a:pt x="12" y="221"/>
                  <a:pt x="12" y="218"/>
                </a:cubicBezTo>
                <a:close/>
                <a:moveTo>
                  <a:pt x="12" y="242"/>
                </a:moveTo>
                <a:cubicBezTo>
                  <a:pt x="12" y="238"/>
                  <a:pt x="12" y="238"/>
                  <a:pt x="12" y="238"/>
                </a:cubicBezTo>
                <a:cubicBezTo>
                  <a:pt x="12" y="234"/>
                  <a:pt x="9" y="232"/>
                  <a:pt x="6" y="232"/>
                </a:cubicBezTo>
                <a:cubicBezTo>
                  <a:pt x="3" y="232"/>
                  <a:pt x="0" y="234"/>
                  <a:pt x="0" y="238"/>
                </a:cubicBezTo>
                <a:cubicBezTo>
                  <a:pt x="0" y="242"/>
                  <a:pt x="0" y="242"/>
                  <a:pt x="0" y="242"/>
                </a:cubicBezTo>
                <a:cubicBezTo>
                  <a:pt x="0" y="245"/>
                  <a:pt x="3" y="247"/>
                  <a:pt x="6" y="247"/>
                </a:cubicBezTo>
                <a:cubicBezTo>
                  <a:pt x="9" y="247"/>
                  <a:pt x="12" y="245"/>
                  <a:pt x="12" y="242"/>
                </a:cubicBezTo>
                <a:close/>
                <a:moveTo>
                  <a:pt x="12" y="265"/>
                </a:moveTo>
                <a:cubicBezTo>
                  <a:pt x="12" y="261"/>
                  <a:pt x="12" y="261"/>
                  <a:pt x="12" y="261"/>
                </a:cubicBezTo>
                <a:cubicBezTo>
                  <a:pt x="12" y="258"/>
                  <a:pt x="9" y="255"/>
                  <a:pt x="6" y="255"/>
                </a:cubicBezTo>
                <a:cubicBezTo>
                  <a:pt x="3" y="255"/>
                  <a:pt x="0" y="258"/>
                  <a:pt x="0" y="261"/>
                </a:cubicBezTo>
                <a:cubicBezTo>
                  <a:pt x="0" y="265"/>
                  <a:pt x="0" y="265"/>
                  <a:pt x="0" y="265"/>
                </a:cubicBezTo>
                <a:cubicBezTo>
                  <a:pt x="0" y="268"/>
                  <a:pt x="3" y="271"/>
                  <a:pt x="6" y="271"/>
                </a:cubicBezTo>
                <a:cubicBezTo>
                  <a:pt x="9" y="271"/>
                  <a:pt x="12" y="268"/>
                  <a:pt x="12" y="265"/>
                </a:cubicBezTo>
                <a:close/>
                <a:moveTo>
                  <a:pt x="12" y="288"/>
                </a:moveTo>
                <a:cubicBezTo>
                  <a:pt x="12" y="284"/>
                  <a:pt x="12" y="284"/>
                  <a:pt x="12" y="284"/>
                </a:cubicBezTo>
                <a:cubicBezTo>
                  <a:pt x="12" y="281"/>
                  <a:pt x="9" y="279"/>
                  <a:pt x="6" y="279"/>
                </a:cubicBezTo>
                <a:cubicBezTo>
                  <a:pt x="3" y="279"/>
                  <a:pt x="0" y="281"/>
                  <a:pt x="0" y="284"/>
                </a:cubicBezTo>
                <a:cubicBezTo>
                  <a:pt x="0" y="288"/>
                  <a:pt x="0" y="288"/>
                  <a:pt x="0" y="288"/>
                </a:cubicBezTo>
                <a:cubicBezTo>
                  <a:pt x="0" y="292"/>
                  <a:pt x="3" y="294"/>
                  <a:pt x="6" y="294"/>
                </a:cubicBezTo>
                <a:cubicBezTo>
                  <a:pt x="9" y="294"/>
                  <a:pt x="12" y="292"/>
                  <a:pt x="12" y="288"/>
                </a:cubicBezTo>
                <a:close/>
                <a:moveTo>
                  <a:pt x="12" y="312"/>
                </a:moveTo>
                <a:cubicBezTo>
                  <a:pt x="12" y="308"/>
                  <a:pt x="12" y="308"/>
                  <a:pt x="12" y="308"/>
                </a:cubicBezTo>
                <a:cubicBezTo>
                  <a:pt x="12" y="305"/>
                  <a:pt x="9" y="302"/>
                  <a:pt x="6" y="302"/>
                </a:cubicBezTo>
                <a:cubicBezTo>
                  <a:pt x="3" y="302"/>
                  <a:pt x="0" y="305"/>
                  <a:pt x="0" y="308"/>
                </a:cubicBezTo>
                <a:cubicBezTo>
                  <a:pt x="0" y="312"/>
                  <a:pt x="0" y="312"/>
                  <a:pt x="0" y="312"/>
                </a:cubicBezTo>
                <a:cubicBezTo>
                  <a:pt x="0" y="315"/>
                  <a:pt x="3" y="318"/>
                  <a:pt x="6" y="318"/>
                </a:cubicBezTo>
                <a:cubicBezTo>
                  <a:pt x="9" y="318"/>
                  <a:pt x="12" y="315"/>
                  <a:pt x="12" y="312"/>
                </a:cubicBezTo>
                <a:close/>
                <a:moveTo>
                  <a:pt x="12" y="335"/>
                </a:moveTo>
                <a:cubicBezTo>
                  <a:pt x="12" y="331"/>
                  <a:pt x="12" y="331"/>
                  <a:pt x="12" y="331"/>
                </a:cubicBezTo>
                <a:cubicBezTo>
                  <a:pt x="12" y="328"/>
                  <a:pt x="9" y="325"/>
                  <a:pt x="6" y="325"/>
                </a:cubicBezTo>
                <a:cubicBezTo>
                  <a:pt x="3" y="325"/>
                  <a:pt x="0" y="328"/>
                  <a:pt x="0" y="331"/>
                </a:cubicBezTo>
                <a:cubicBezTo>
                  <a:pt x="0" y="335"/>
                  <a:pt x="0" y="335"/>
                  <a:pt x="0" y="335"/>
                </a:cubicBezTo>
                <a:cubicBezTo>
                  <a:pt x="0" y="338"/>
                  <a:pt x="3" y="341"/>
                  <a:pt x="6" y="341"/>
                </a:cubicBezTo>
                <a:cubicBezTo>
                  <a:pt x="9" y="341"/>
                  <a:pt x="12" y="338"/>
                  <a:pt x="12" y="335"/>
                </a:cubicBezTo>
                <a:close/>
                <a:moveTo>
                  <a:pt x="12" y="359"/>
                </a:moveTo>
                <a:cubicBezTo>
                  <a:pt x="12" y="355"/>
                  <a:pt x="12" y="355"/>
                  <a:pt x="12" y="355"/>
                </a:cubicBezTo>
                <a:cubicBezTo>
                  <a:pt x="12" y="351"/>
                  <a:pt x="9" y="349"/>
                  <a:pt x="6" y="349"/>
                </a:cubicBezTo>
                <a:cubicBezTo>
                  <a:pt x="3" y="349"/>
                  <a:pt x="0" y="351"/>
                  <a:pt x="0" y="355"/>
                </a:cubicBezTo>
                <a:cubicBezTo>
                  <a:pt x="0" y="359"/>
                  <a:pt x="0" y="359"/>
                  <a:pt x="0" y="359"/>
                </a:cubicBezTo>
                <a:cubicBezTo>
                  <a:pt x="0" y="362"/>
                  <a:pt x="3" y="364"/>
                  <a:pt x="6" y="364"/>
                </a:cubicBezTo>
                <a:cubicBezTo>
                  <a:pt x="9" y="364"/>
                  <a:pt x="12" y="362"/>
                  <a:pt x="12" y="359"/>
                </a:cubicBezTo>
                <a:close/>
                <a:moveTo>
                  <a:pt x="12" y="382"/>
                </a:moveTo>
                <a:cubicBezTo>
                  <a:pt x="12" y="378"/>
                  <a:pt x="12" y="378"/>
                  <a:pt x="12" y="378"/>
                </a:cubicBezTo>
                <a:cubicBezTo>
                  <a:pt x="12" y="375"/>
                  <a:pt x="9" y="372"/>
                  <a:pt x="6" y="372"/>
                </a:cubicBezTo>
                <a:cubicBezTo>
                  <a:pt x="3" y="372"/>
                  <a:pt x="0" y="375"/>
                  <a:pt x="0" y="378"/>
                </a:cubicBezTo>
                <a:cubicBezTo>
                  <a:pt x="0" y="382"/>
                  <a:pt x="0" y="382"/>
                  <a:pt x="0" y="382"/>
                </a:cubicBezTo>
                <a:cubicBezTo>
                  <a:pt x="0" y="385"/>
                  <a:pt x="3" y="388"/>
                  <a:pt x="6" y="388"/>
                </a:cubicBezTo>
                <a:cubicBezTo>
                  <a:pt x="9" y="388"/>
                  <a:pt x="12" y="385"/>
                  <a:pt x="12" y="382"/>
                </a:cubicBezTo>
                <a:close/>
                <a:moveTo>
                  <a:pt x="12" y="405"/>
                </a:moveTo>
                <a:cubicBezTo>
                  <a:pt x="12" y="401"/>
                  <a:pt x="12" y="401"/>
                  <a:pt x="12" y="401"/>
                </a:cubicBezTo>
                <a:cubicBezTo>
                  <a:pt x="12" y="398"/>
                  <a:pt x="9" y="396"/>
                  <a:pt x="6" y="396"/>
                </a:cubicBezTo>
                <a:cubicBezTo>
                  <a:pt x="3" y="396"/>
                  <a:pt x="0" y="398"/>
                  <a:pt x="0" y="401"/>
                </a:cubicBezTo>
                <a:cubicBezTo>
                  <a:pt x="0" y="405"/>
                  <a:pt x="0" y="405"/>
                  <a:pt x="0" y="405"/>
                </a:cubicBezTo>
                <a:cubicBezTo>
                  <a:pt x="0" y="409"/>
                  <a:pt x="3" y="411"/>
                  <a:pt x="6" y="411"/>
                </a:cubicBezTo>
                <a:cubicBezTo>
                  <a:pt x="9" y="411"/>
                  <a:pt x="12" y="409"/>
                  <a:pt x="12" y="405"/>
                </a:cubicBezTo>
                <a:close/>
                <a:moveTo>
                  <a:pt x="12" y="429"/>
                </a:moveTo>
                <a:cubicBezTo>
                  <a:pt x="12" y="425"/>
                  <a:pt x="12" y="425"/>
                  <a:pt x="12" y="425"/>
                </a:cubicBezTo>
                <a:cubicBezTo>
                  <a:pt x="12" y="422"/>
                  <a:pt x="9" y="419"/>
                  <a:pt x="6" y="419"/>
                </a:cubicBezTo>
                <a:cubicBezTo>
                  <a:pt x="3" y="419"/>
                  <a:pt x="0" y="422"/>
                  <a:pt x="0" y="425"/>
                </a:cubicBezTo>
                <a:cubicBezTo>
                  <a:pt x="0" y="429"/>
                  <a:pt x="0" y="429"/>
                  <a:pt x="0" y="429"/>
                </a:cubicBezTo>
                <a:cubicBezTo>
                  <a:pt x="0" y="432"/>
                  <a:pt x="3" y="435"/>
                  <a:pt x="6" y="435"/>
                </a:cubicBezTo>
                <a:cubicBezTo>
                  <a:pt x="9" y="435"/>
                  <a:pt x="12" y="432"/>
                  <a:pt x="12" y="429"/>
                </a:cubicBezTo>
                <a:close/>
                <a:moveTo>
                  <a:pt x="12" y="452"/>
                </a:moveTo>
                <a:cubicBezTo>
                  <a:pt x="12" y="448"/>
                  <a:pt x="12" y="448"/>
                  <a:pt x="12" y="448"/>
                </a:cubicBezTo>
                <a:cubicBezTo>
                  <a:pt x="12" y="445"/>
                  <a:pt x="9" y="442"/>
                  <a:pt x="6" y="442"/>
                </a:cubicBezTo>
                <a:cubicBezTo>
                  <a:pt x="3" y="442"/>
                  <a:pt x="0" y="445"/>
                  <a:pt x="0" y="448"/>
                </a:cubicBezTo>
                <a:cubicBezTo>
                  <a:pt x="0" y="452"/>
                  <a:pt x="0" y="452"/>
                  <a:pt x="0" y="452"/>
                </a:cubicBezTo>
                <a:cubicBezTo>
                  <a:pt x="0" y="455"/>
                  <a:pt x="3" y="458"/>
                  <a:pt x="6" y="458"/>
                </a:cubicBezTo>
                <a:cubicBezTo>
                  <a:pt x="9" y="458"/>
                  <a:pt x="12" y="455"/>
                  <a:pt x="12" y="452"/>
                </a:cubicBezTo>
                <a:close/>
                <a:moveTo>
                  <a:pt x="12" y="476"/>
                </a:moveTo>
                <a:cubicBezTo>
                  <a:pt x="12" y="472"/>
                  <a:pt x="12" y="472"/>
                  <a:pt x="12" y="472"/>
                </a:cubicBezTo>
                <a:cubicBezTo>
                  <a:pt x="12" y="468"/>
                  <a:pt x="9" y="466"/>
                  <a:pt x="6" y="466"/>
                </a:cubicBezTo>
                <a:cubicBezTo>
                  <a:pt x="3" y="466"/>
                  <a:pt x="0" y="468"/>
                  <a:pt x="0" y="472"/>
                </a:cubicBezTo>
                <a:cubicBezTo>
                  <a:pt x="0" y="476"/>
                  <a:pt x="0" y="476"/>
                  <a:pt x="0" y="476"/>
                </a:cubicBezTo>
                <a:cubicBezTo>
                  <a:pt x="0" y="479"/>
                  <a:pt x="3" y="481"/>
                  <a:pt x="6" y="481"/>
                </a:cubicBezTo>
                <a:cubicBezTo>
                  <a:pt x="9" y="481"/>
                  <a:pt x="12" y="479"/>
                  <a:pt x="12" y="476"/>
                </a:cubicBezTo>
                <a:close/>
                <a:moveTo>
                  <a:pt x="12" y="499"/>
                </a:moveTo>
                <a:cubicBezTo>
                  <a:pt x="12" y="495"/>
                  <a:pt x="12" y="495"/>
                  <a:pt x="12" y="495"/>
                </a:cubicBezTo>
                <a:cubicBezTo>
                  <a:pt x="12" y="492"/>
                  <a:pt x="9" y="489"/>
                  <a:pt x="6" y="489"/>
                </a:cubicBezTo>
                <a:cubicBezTo>
                  <a:pt x="3" y="489"/>
                  <a:pt x="0" y="492"/>
                  <a:pt x="0" y="495"/>
                </a:cubicBezTo>
                <a:cubicBezTo>
                  <a:pt x="0" y="499"/>
                  <a:pt x="0" y="499"/>
                  <a:pt x="0" y="499"/>
                </a:cubicBezTo>
                <a:cubicBezTo>
                  <a:pt x="0" y="502"/>
                  <a:pt x="3" y="505"/>
                  <a:pt x="6" y="505"/>
                </a:cubicBezTo>
                <a:cubicBezTo>
                  <a:pt x="9" y="505"/>
                  <a:pt x="12" y="502"/>
                  <a:pt x="12" y="499"/>
                </a:cubicBezTo>
                <a:close/>
                <a:moveTo>
                  <a:pt x="12" y="522"/>
                </a:moveTo>
                <a:cubicBezTo>
                  <a:pt x="12" y="518"/>
                  <a:pt x="12" y="518"/>
                  <a:pt x="12" y="518"/>
                </a:cubicBezTo>
                <a:cubicBezTo>
                  <a:pt x="12" y="515"/>
                  <a:pt x="9" y="513"/>
                  <a:pt x="6" y="513"/>
                </a:cubicBezTo>
                <a:cubicBezTo>
                  <a:pt x="3" y="513"/>
                  <a:pt x="0" y="515"/>
                  <a:pt x="0" y="518"/>
                </a:cubicBezTo>
                <a:cubicBezTo>
                  <a:pt x="0" y="522"/>
                  <a:pt x="0" y="522"/>
                  <a:pt x="0" y="522"/>
                </a:cubicBezTo>
                <a:cubicBezTo>
                  <a:pt x="0" y="526"/>
                  <a:pt x="3" y="528"/>
                  <a:pt x="6" y="528"/>
                </a:cubicBezTo>
                <a:cubicBezTo>
                  <a:pt x="9" y="528"/>
                  <a:pt x="12" y="526"/>
                  <a:pt x="12" y="522"/>
                </a:cubicBezTo>
                <a:close/>
                <a:moveTo>
                  <a:pt x="12" y="546"/>
                </a:moveTo>
                <a:cubicBezTo>
                  <a:pt x="12" y="542"/>
                  <a:pt x="12" y="542"/>
                  <a:pt x="12" y="542"/>
                </a:cubicBezTo>
                <a:cubicBezTo>
                  <a:pt x="12" y="539"/>
                  <a:pt x="9" y="536"/>
                  <a:pt x="6" y="536"/>
                </a:cubicBezTo>
                <a:cubicBezTo>
                  <a:pt x="3" y="536"/>
                  <a:pt x="0" y="539"/>
                  <a:pt x="0" y="542"/>
                </a:cubicBezTo>
                <a:cubicBezTo>
                  <a:pt x="0" y="546"/>
                  <a:pt x="0" y="546"/>
                  <a:pt x="0" y="546"/>
                </a:cubicBezTo>
                <a:cubicBezTo>
                  <a:pt x="0" y="549"/>
                  <a:pt x="3" y="552"/>
                  <a:pt x="6" y="552"/>
                </a:cubicBezTo>
                <a:cubicBezTo>
                  <a:pt x="9" y="552"/>
                  <a:pt x="12" y="549"/>
                  <a:pt x="12" y="546"/>
                </a:cubicBezTo>
                <a:close/>
                <a:moveTo>
                  <a:pt x="12" y="569"/>
                </a:moveTo>
                <a:cubicBezTo>
                  <a:pt x="12" y="565"/>
                  <a:pt x="12" y="565"/>
                  <a:pt x="12" y="565"/>
                </a:cubicBezTo>
                <a:cubicBezTo>
                  <a:pt x="12" y="562"/>
                  <a:pt x="9" y="559"/>
                  <a:pt x="6" y="559"/>
                </a:cubicBezTo>
                <a:cubicBezTo>
                  <a:pt x="3" y="559"/>
                  <a:pt x="0" y="562"/>
                  <a:pt x="0" y="565"/>
                </a:cubicBezTo>
                <a:cubicBezTo>
                  <a:pt x="0" y="569"/>
                  <a:pt x="0" y="569"/>
                  <a:pt x="0" y="569"/>
                </a:cubicBezTo>
                <a:cubicBezTo>
                  <a:pt x="0" y="572"/>
                  <a:pt x="3" y="575"/>
                  <a:pt x="6" y="575"/>
                </a:cubicBezTo>
                <a:cubicBezTo>
                  <a:pt x="9" y="575"/>
                  <a:pt x="12" y="572"/>
                  <a:pt x="12" y="569"/>
                </a:cubicBezTo>
                <a:close/>
                <a:moveTo>
                  <a:pt x="12" y="592"/>
                </a:moveTo>
                <a:cubicBezTo>
                  <a:pt x="12" y="589"/>
                  <a:pt x="12" y="589"/>
                  <a:pt x="12" y="589"/>
                </a:cubicBezTo>
                <a:cubicBezTo>
                  <a:pt x="12" y="585"/>
                  <a:pt x="9" y="583"/>
                  <a:pt x="6" y="583"/>
                </a:cubicBezTo>
                <a:cubicBezTo>
                  <a:pt x="3" y="583"/>
                  <a:pt x="0" y="585"/>
                  <a:pt x="0" y="589"/>
                </a:cubicBezTo>
                <a:cubicBezTo>
                  <a:pt x="0" y="592"/>
                  <a:pt x="0" y="592"/>
                  <a:pt x="0" y="592"/>
                </a:cubicBezTo>
                <a:cubicBezTo>
                  <a:pt x="0" y="596"/>
                  <a:pt x="3" y="598"/>
                  <a:pt x="6" y="598"/>
                </a:cubicBezTo>
                <a:cubicBezTo>
                  <a:pt x="9" y="598"/>
                  <a:pt x="12" y="596"/>
                  <a:pt x="12" y="592"/>
                </a:cubicBezTo>
                <a:close/>
                <a:moveTo>
                  <a:pt x="12" y="616"/>
                </a:moveTo>
                <a:cubicBezTo>
                  <a:pt x="12" y="612"/>
                  <a:pt x="12" y="612"/>
                  <a:pt x="12" y="612"/>
                </a:cubicBezTo>
                <a:cubicBezTo>
                  <a:pt x="12" y="609"/>
                  <a:pt x="9" y="606"/>
                  <a:pt x="6" y="606"/>
                </a:cubicBezTo>
                <a:cubicBezTo>
                  <a:pt x="3" y="606"/>
                  <a:pt x="0" y="609"/>
                  <a:pt x="0" y="612"/>
                </a:cubicBezTo>
                <a:cubicBezTo>
                  <a:pt x="0" y="616"/>
                  <a:pt x="0" y="616"/>
                  <a:pt x="0" y="616"/>
                </a:cubicBezTo>
                <a:cubicBezTo>
                  <a:pt x="0" y="619"/>
                  <a:pt x="3" y="622"/>
                  <a:pt x="6" y="622"/>
                </a:cubicBezTo>
                <a:cubicBezTo>
                  <a:pt x="9" y="622"/>
                  <a:pt x="12" y="619"/>
                  <a:pt x="12" y="616"/>
                </a:cubicBezTo>
                <a:close/>
                <a:moveTo>
                  <a:pt x="12" y="639"/>
                </a:moveTo>
                <a:cubicBezTo>
                  <a:pt x="12" y="635"/>
                  <a:pt x="12" y="635"/>
                  <a:pt x="12" y="635"/>
                </a:cubicBezTo>
                <a:cubicBezTo>
                  <a:pt x="12" y="632"/>
                  <a:pt x="9" y="630"/>
                  <a:pt x="6" y="630"/>
                </a:cubicBezTo>
                <a:cubicBezTo>
                  <a:pt x="3" y="630"/>
                  <a:pt x="0" y="632"/>
                  <a:pt x="0" y="635"/>
                </a:cubicBezTo>
                <a:cubicBezTo>
                  <a:pt x="0" y="639"/>
                  <a:pt x="0" y="639"/>
                  <a:pt x="0" y="639"/>
                </a:cubicBezTo>
                <a:cubicBezTo>
                  <a:pt x="0" y="643"/>
                  <a:pt x="3" y="645"/>
                  <a:pt x="6" y="645"/>
                </a:cubicBezTo>
                <a:cubicBezTo>
                  <a:pt x="9" y="645"/>
                  <a:pt x="12" y="643"/>
                  <a:pt x="12" y="639"/>
                </a:cubicBezTo>
                <a:close/>
                <a:moveTo>
                  <a:pt x="12" y="663"/>
                </a:moveTo>
                <a:cubicBezTo>
                  <a:pt x="12" y="659"/>
                  <a:pt x="12" y="659"/>
                  <a:pt x="12" y="659"/>
                </a:cubicBezTo>
                <a:cubicBezTo>
                  <a:pt x="12" y="656"/>
                  <a:pt x="9" y="653"/>
                  <a:pt x="6" y="653"/>
                </a:cubicBezTo>
                <a:cubicBezTo>
                  <a:pt x="3" y="653"/>
                  <a:pt x="0" y="656"/>
                  <a:pt x="0" y="659"/>
                </a:cubicBezTo>
                <a:cubicBezTo>
                  <a:pt x="0" y="663"/>
                  <a:pt x="0" y="663"/>
                  <a:pt x="0" y="663"/>
                </a:cubicBezTo>
                <a:cubicBezTo>
                  <a:pt x="0" y="666"/>
                  <a:pt x="3" y="669"/>
                  <a:pt x="6" y="669"/>
                </a:cubicBezTo>
                <a:cubicBezTo>
                  <a:pt x="9" y="669"/>
                  <a:pt x="12" y="666"/>
                  <a:pt x="12" y="663"/>
                </a:cubicBezTo>
                <a:close/>
                <a:moveTo>
                  <a:pt x="12" y="686"/>
                </a:moveTo>
                <a:cubicBezTo>
                  <a:pt x="12" y="682"/>
                  <a:pt x="12" y="682"/>
                  <a:pt x="12" y="682"/>
                </a:cubicBezTo>
                <a:cubicBezTo>
                  <a:pt x="12" y="679"/>
                  <a:pt x="9" y="676"/>
                  <a:pt x="6" y="676"/>
                </a:cubicBezTo>
                <a:cubicBezTo>
                  <a:pt x="3" y="676"/>
                  <a:pt x="0" y="679"/>
                  <a:pt x="0" y="682"/>
                </a:cubicBezTo>
                <a:cubicBezTo>
                  <a:pt x="0" y="686"/>
                  <a:pt x="0" y="686"/>
                  <a:pt x="0" y="686"/>
                </a:cubicBezTo>
                <a:cubicBezTo>
                  <a:pt x="0" y="689"/>
                  <a:pt x="3" y="692"/>
                  <a:pt x="6" y="692"/>
                </a:cubicBezTo>
                <a:cubicBezTo>
                  <a:pt x="9" y="692"/>
                  <a:pt x="12" y="689"/>
                  <a:pt x="12" y="686"/>
                </a:cubicBezTo>
                <a:close/>
                <a:moveTo>
                  <a:pt x="12" y="709"/>
                </a:moveTo>
                <a:cubicBezTo>
                  <a:pt x="12" y="706"/>
                  <a:pt x="12" y="706"/>
                  <a:pt x="12" y="706"/>
                </a:cubicBezTo>
                <a:cubicBezTo>
                  <a:pt x="12" y="702"/>
                  <a:pt x="9" y="700"/>
                  <a:pt x="6" y="700"/>
                </a:cubicBezTo>
                <a:cubicBezTo>
                  <a:pt x="3" y="700"/>
                  <a:pt x="0" y="702"/>
                  <a:pt x="0" y="706"/>
                </a:cubicBezTo>
                <a:cubicBezTo>
                  <a:pt x="0" y="709"/>
                  <a:pt x="0" y="709"/>
                  <a:pt x="0" y="709"/>
                </a:cubicBezTo>
                <a:cubicBezTo>
                  <a:pt x="0" y="713"/>
                  <a:pt x="3" y="715"/>
                  <a:pt x="6" y="715"/>
                </a:cubicBezTo>
                <a:cubicBezTo>
                  <a:pt x="9" y="715"/>
                  <a:pt x="12" y="713"/>
                  <a:pt x="12" y="709"/>
                </a:cubicBezTo>
                <a:close/>
                <a:moveTo>
                  <a:pt x="12" y="733"/>
                </a:moveTo>
                <a:cubicBezTo>
                  <a:pt x="12" y="729"/>
                  <a:pt x="12" y="729"/>
                  <a:pt x="12" y="729"/>
                </a:cubicBezTo>
                <a:cubicBezTo>
                  <a:pt x="12" y="726"/>
                  <a:pt x="9" y="723"/>
                  <a:pt x="6" y="723"/>
                </a:cubicBezTo>
                <a:cubicBezTo>
                  <a:pt x="3" y="723"/>
                  <a:pt x="0" y="726"/>
                  <a:pt x="0" y="729"/>
                </a:cubicBezTo>
                <a:cubicBezTo>
                  <a:pt x="0" y="733"/>
                  <a:pt x="0" y="733"/>
                  <a:pt x="0" y="733"/>
                </a:cubicBezTo>
                <a:cubicBezTo>
                  <a:pt x="0" y="736"/>
                  <a:pt x="3" y="739"/>
                  <a:pt x="6" y="739"/>
                </a:cubicBezTo>
                <a:cubicBezTo>
                  <a:pt x="9" y="739"/>
                  <a:pt x="12" y="736"/>
                  <a:pt x="12" y="733"/>
                </a:cubicBezTo>
                <a:close/>
                <a:moveTo>
                  <a:pt x="12" y="756"/>
                </a:moveTo>
                <a:cubicBezTo>
                  <a:pt x="12" y="752"/>
                  <a:pt x="12" y="752"/>
                  <a:pt x="12" y="752"/>
                </a:cubicBezTo>
                <a:cubicBezTo>
                  <a:pt x="12" y="749"/>
                  <a:pt x="9" y="747"/>
                  <a:pt x="6" y="747"/>
                </a:cubicBezTo>
                <a:cubicBezTo>
                  <a:pt x="3" y="747"/>
                  <a:pt x="0" y="749"/>
                  <a:pt x="0" y="752"/>
                </a:cubicBezTo>
                <a:cubicBezTo>
                  <a:pt x="0" y="756"/>
                  <a:pt x="0" y="756"/>
                  <a:pt x="0" y="756"/>
                </a:cubicBezTo>
                <a:cubicBezTo>
                  <a:pt x="0" y="759"/>
                  <a:pt x="3" y="762"/>
                  <a:pt x="6" y="762"/>
                </a:cubicBezTo>
                <a:cubicBezTo>
                  <a:pt x="9" y="762"/>
                  <a:pt x="12" y="759"/>
                  <a:pt x="12" y="756"/>
                </a:cubicBezTo>
                <a:close/>
                <a:moveTo>
                  <a:pt x="12" y="780"/>
                </a:moveTo>
                <a:cubicBezTo>
                  <a:pt x="12" y="776"/>
                  <a:pt x="12" y="776"/>
                  <a:pt x="12" y="776"/>
                </a:cubicBezTo>
                <a:cubicBezTo>
                  <a:pt x="12" y="773"/>
                  <a:pt x="9" y="770"/>
                  <a:pt x="6" y="770"/>
                </a:cubicBezTo>
                <a:cubicBezTo>
                  <a:pt x="3" y="770"/>
                  <a:pt x="0" y="773"/>
                  <a:pt x="0" y="776"/>
                </a:cubicBezTo>
                <a:cubicBezTo>
                  <a:pt x="0" y="780"/>
                  <a:pt x="0" y="780"/>
                  <a:pt x="0" y="780"/>
                </a:cubicBezTo>
                <a:cubicBezTo>
                  <a:pt x="0" y="783"/>
                  <a:pt x="3" y="785"/>
                  <a:pt x="6" y="785"/>
                </a:cubicBezTo>
                <a:cubicBezTo>
                  <a:pt x="9" y="785"/>
                  <a:pt x="12" y="783"/>
                  <a:pt x="12" y="780"/>
                </a:cubicBezTo>
                <a:close/>
                <a:moveTo>
                  <a:pt x="12" y="803"/>
                </a:moveTo>
                <a:cubicBezTo>
                  <a:pt x="12" y="799"/>
                  <a:pt x="12" y="799"/>
                  <a:pt x="12" y="799"/>
                </a:cubicBezTo>
                <a:cubicBezTo>
                  <a:pt x="12" y="796"/>
                  <a:pt x="9" y="793"/>
                  <a:pt x="6" y="793"/>
                </a:cubicBezTo>
                <a:cubicBezTo>
                  <a:pt x="3" y="793"/>
                  <a:pt x="0" y="796"/>
                  <a:pt x="0" y="799"/>
                </a:cubicBezTo>
                <a:cubicBezTo>
                  <a:pt x="0" y="803"/>
                  <a:pt x="0" y="803"/>
                  <a:pt x="0" y="803"/>
                </a:cubicBezTo>
                <a:cubicBezTo>
                  <a:pt x="0" y="806"/>
                  <a:pt x="3" y="809"/>
                  <a:pt x="6" y="809"/>
                </a:cubicBezTo>
                <a:cubicBezTo>
                  <a:pt x="9" y="809"/>
                  <a:pt x="12" y="806"/>
                  <a:pt x="12" y="803"/>
                </a:cubicBezTo>
                <a:close/>
                <a:moveTo>
                  <a:pt x="12" y="826"/>
                </a:moveTo>
                <a:cubicBezTo>
                  <a:pt x="12" y="823"/>
                  <a:pt x="12" y="823"/>
                  <a:pt x="12" y="823"/>
                </a:cubicBezTo>
                <a:cubicBezTo>
                  <a:pt x="12" y="819"/>
                  <a:pt x="9" y="817"/>
                  <a:pt x="6" y="817"/>
                </a:cubicBezTo>
                <a:cubicBezTo>
                  <a:pt x="3" y="817"/>
                  <a:pt x="0" y="819"/>
                  <a:pt x="0" y="823"/>
                </a:cubicBezTo>
                <a:cubicBezTo>
                  <a:pt x="0" y="826"/>
                  <a:pt x="0" y="826"/>
                  <a:pt x="0" y="826"/>
                </a:cubicBezTo>
                <a:cubicBezTo>
                  <a:pt x="0" y="830"/>
                  <a:pt x="3" y="832"/>
                  <a:pt x="6" y="832"/>
                </a:cubicBezTo>
                <a:cubicBezTo>
                  <a:pt x="9" y="832"/>
                  <a:pt x="12" y="830"/>
                  <a:pt x="12" y="826"/>
                </a:cubicBezTo>
                <a:close/>
                <a:moveTo>
                  <a:pt x="12" y="850"/>
                </a:moveTo>
                <a:cubicBezTo>
                  <a:pt x="12" y="846"/>
                  <a:pt x="12" y="846"/>
                  <a:pt x="12" y="846"/>
                </a:cubicBezTo>
                <a:cubicBezTo>
                  <a:pt x="12" y="843"/>
                  <a:pt x="9" y="840"/>
                  <a:pt x="6" y="840"/>
                </a:cubicBezTo>
                <a:cubicBezTo>
                  <a:pt x="3" y="840"/>
                  <a:pt x="0" y="843"/>
                  <a:pt x="0" y="846"/>
                </a:cubicBezTo>
                <a:cubicBezTo>
                  <a:pt x="0" y="850"/>
                  <a:pt x="0" y="850"/>
                  <a:pt x="0" y="850"/>
                </a:cubicBezTo>
                <a:cubicBezTo>
                  <a:pt x="0" y="853"/>
                  <a:pt x="3" y="856"/>
                  <a:pt x="6" y="856"/>
                </a:cubicBezTo>
                <a:cubicBezTo>
                  <a:pt x="9" y="856"/>
                  <a:pt x="12" y="853"/>
                  <a:pt x="12" y="850"/>
                </a:cubicBezTo>
                <a:close/>
                <a:moveTo>
                  <a:pt x="12" y="873"/>
                </a:moveTo>
                <a:cubicBezTo>
                  <a:pt x="12" y="869"/>
                  <a:pt x="12" y="869"/>
                  <a:pt x="12" y="869"/>
                </a:cubicBezTo>
                <a:cubicBezTo>
                  <a:pt x="12" y="866"/>
                  <a:pt x="9" y="863"/>
                  <a:pt x="6" y="863"/>
                </a:cubicBezTo>
                <a:cubicBezTo>
                  <a:pt x="3" y="863"/>
                  <a:pt x="0" y="866"/>
                  <a:pt x="0" y="869"/>
                </a:cubicBezTo>
                <a:cubicBezTo>
                  <a:pt x="0" y="873"/>
                  <a:pt x="0" y="873"/>
                  <a:pt x="0" y="873"/>
                </a:cubicBezTo>
                <a:cubicBezTo>
                  <a:pt x="0" y="876"/>
                  <a:pt x="3" y="879"/>
                  <a:pt x="6" y="879"/>
                </a:cubicBezTo>
                <a:cubicBezTo>
                  <a:pt x="9" y="879"/>
                  <a:pt x="12" y="876"/>
                  <a:pt x="12" y="873"/>
                </a:cubicBezTo>
                <a:close/>
                <a:moveTo>
                  <a:pt x="12" y="897"/>
                </a:moveTo>
                <a:cubicBezTo>
                  <a:pt x="12" y="893"/>
                  <a:pt x="12" y="893"/>
                  <a:pt x="12" y="893"/>
                </a:cubicBezTo>
                <a:cubicBezTo>
                  <a:pt x="12" y="889"/>
                  <a:pt x="9" y="887"/>
                  <a:pt x="6" y="887"/>
                </a:cubicBezTo>
                <a:cubicBezTo>
                  <a:pt x="3" y="887"/>
                  <a:pt x="0" y="889"/>
                  <a:pt x="0" y="893"/>
                </a:cubicBezTo>
                <a:cubicBezTo>
                  <a:pt x="0" y="897"/>
                  <a:pt x="0" y="897"/>
                  <a:pt x="0" y="897"/>
                </a:cubicBezTo>
                <a:cubicBezTo>
                  <a:pt x="0" y="900"/>
                  <a:pt x="3" y="902"/>
                  <a:pt x="6" y="902"/>
                </a:cubicBezTo>
                <a:cubicBezTo>
                  <a:pt x="9" y="902"/>
                  <a:pt x="12" y="900"/>
                  <a:pt x="12" y="897"/>
                </a:cubicBezTo>
                <a:close/>
                <a:moveTo>
                  <a:pt x="12" y="920"/>
                </a:moveTo>
                <a:cubicBezTo>
                  <a:pt x="12" y="916"/>
                  <a:pt x="12" y="916"/>
                  <a:pt x="12" y="916"/>
                </a:cubicBezTo>
                <a:cubicBezTo>
                  <a:pt x="12" y="913"/>
                  <a:pt x="9" y="910"/>
                  <a:pt x="6" y="910"/>
                </a:cubicBezTo>
                <a:cubicBezTo>
                  <a:pt x="3" y="910"/>
                  <a:pt x="0" y="913"/>
                  <a:pt x="0" y="916"/>
                </a:cubicBezTo>
                <a:cubicBezTo>
                  <a:pt x="0" y="920"/>
                  <a:pt x="0" y="920"/>
                  <a:pt x="0" y="920"/>
                </a:cubicBezTo>
                <a:cubicBezTo>
                  <a:pt x="0" y="923"/>
                  <a:pt x="3" y="926"/>
                  <a:pt x="6" y="926"/>
                </a:cubicBezTo>
                <a:cubicBezTo>
                  <a:pt x="9" y="926"/>
                  <a:pt x="12" y="923"/>
                  <a:pt x="12" y="920"/>
                </a:cubicBezTo>
                <a:close/>
                <a:moveTo>
                  <a:pt x="12" y="943"/>
                </a:moveTo>
                <a:cubicBezTo>
                  <a:pt x="12" y="940"/>
                  <a:pt x="12" y="940"/>
                  <a:pt x="12" y="940"/>
                </a:cubicBezTo>
                <a:cubicBezTo>
                  <a:pt x="12" y="936"/>
                  <a:pt x="9" y="934"/>
                  <a:pt x="6" y="934"/>
                </a:cubicBezTo>
                <a:cubicBezTo>
                  <a:pt x="3" y="934"/>
                  <a:pt x="0" y="936"/>
                  <a:pt x="0" y="940"/>
                </a:cubicBezTo>
                <a:cubicBezTo>
                  <a:pt x="0" y="943"/>
                  <a:pt x="0" y="943"/>
                  <a:pt x="0" y="943"/>
                </a:cubicBezTo>
                <a:cubicBezTo>
                  <a:pt x="0" y="947"/>
                  <a:pt x="3" y="949"/>
                  <a:pt x="6" y="949"/>
                </a:cubicBezTo>
                <a:cubicBezTo>
                  <a:pt x="9" y="949"/>
                  <a:pt x="12" y="947"/>
                  <a:pt x="12" y="943"/>
                </a:cubicBezTo>
                <a:close/>
                <a:moveTo>
                  <a:pt x="12" y="967"/>
                </a:moveTo>
                <a:cubicBezTo>
                  <a:pt x="12" y="963"/>
                  <a:pt x="12" y="963"/>
                  <a:pt x="12" y="963"/>
                </a:cubicBezTo>
                <a:cubicBezTo>
                  <a:pt x="12" y="960"/>
                  <a:pt x="9" y="957"/>
                  <a:pt x="6" y="957"/>
                </a:cubicBezTo>
                <a:cubicBezTo>
                  <a:pt x="3" y="957"/>
                  <a:pt x="0" y="960"/>
                  <a:pt x="0" y="963"/>
                </a:cubicBezTo>
                <a:cubicBezTo>
                  <a:pt x="0" y="967"/>
                  <a:pt x="0" y="967"/>
                  <a:pt x="0" y="967"/>
                </a:cubicBezTo>
                <a:cubicBezTo>
                  <a:pt x="0" y="970"/>
                  <a:pt x="3" y="973"/>
                  <a:pt x="6" y="973"/>
                </a:cubicBezTo>
                <a:cubicBezTo>
                  <a:pt x="9" y="973"/>
                  <a:pt x="12" y="970"/>
                  <a:pt x="12" y="967"/>
                </a:cubicBezTo>
                <a:close/>
                <a:moveTo>
                  <a:pt x="12" y="990"/>
                </a:moveTo>
                <a:cubicBezTo>
                  <a:pt x="12" y="986"/>
                  <a:pt x="12" y="986"/>
                  <a:pt x="12" y="986"/>
                </a:cubicBezTo>
                <a:cubicBezTo>
                  <a:pt x="12" y="983"/>
                  <a:pt x="9" y="980"/>
                  <a:pt x="6" y="980"/>
                </a:cubicBezTo>
                <a:cubicBezTo>
                  <a:pt x="3" y="980"/>
                  <a:pt x="0" y="983"/>
                  <a:pt x="0" y="986"/>
                </a:cubicBezTo>
                <a:cubicBezTo>
                  <a:pt x="0" y="990"/>
                  <a:pt x="0" y="990"/>
                  <a:pt x="0" y="990"/>
                </a:cubicBezTo>
                <a:cubicBezTo>
                  <a:pt x="0" y="993"/>
                  <a:pt x="3" y="996"/>
                  <a:pt x="6" y="996"/>
                </a:cubicBezTo>
                <a:cubicBezTo>
                  <a:pt x="9" y="996"/>
                  <a:pt x="12" y="993"/>
                  <a:pt x="12" y="990"/>
                </a:cubicBezTo>
                <a:close/>
                <a:moveTo>
                  <a:pt x="12" y="1014"/>
                </a:moveTo>
                <a:cubicBezTo>
                  <a:pt x="12" y="1010"/>
                  <a:pt x="12" y="1010"/>
                  <a:pt x="12" y="1010"/>
                </a:cubicBezTo>
                <a:cubicBezTo>
                  <a:pt x="12" y="1006"/>
                  <a:pt x="9" y="1004"/>
                  <a:pt x="6" y="1004"/>
                </a:cubicBezTo>
                <a:cubicBezTo>
                  <a:pt x="3" y="1004"/>
                  <a:pt x="0" y="1006"/>
                  <a:pt x="0" y="1010"/>
                </a:cubicBezTo>
                <a:cubicBezTo>
                  <a:pt x="0" y="1014"/>
                  <a:pt x="0" y="1014"/>
                  <a:pt x="0" y="1014"/>
                </a:cubicBezTo>
                <a:cubicBezTo>
                  <a:pt x="0" y="1017"/>
                  <a:pt x="3" y="1019"/>
                  <a:pt x="6" y="1019"/>
                </a:cubicBezTo>
                <a:cubicBezTo>
                  <a:pt x="9" y="1019"/>
                  <a:pt x="12" y="1017"/>
                  <a:pt x="12" y="1014"/>
                </a:cubicBezTo>
                <a:close/>
                <a:moveTo>
                  <a:pt x="12" y="1037"/>
                </a:moveTo>
                <a:cubicBezTo>
                  <a:pt x="12" y="1033"/>
                  <a:pt x="12" y="1033"/>
                  <a:pt x="12" y="1033"/>
                </a:cubicBezTo>
                <a:cubicBezTo>
                  <a:pt x="12" y="1030"/>
                  <a:pt x="9" y="1027"/>
                  <a:pt x="6" y="1027"/>
                </a:cubicBezTo>
                <a:cubicBezTo>
                  <a:pt x="3" y="1027"/>
                  <a:pt x="0" y="1030"/>
                  <a:pt x="0" y="1033"/>
                </a:cubicBezTo>
                <a:cubicBezTo>
                  <a:pt x="0" y="1037"/>
                  <a:pt x="0" y="1037"/>
                  <a:pt x="0" y="1037"/>
                </a:cubicBezTo>
                <a:cubicBezTo>
                  <a:pt x="0" y="1040"/>
                  <a:pt x="3" y="1043"/>
                  <a:pt x="6" y="1043"/>
                </a:cubicBezTo>
                <a:cubicBezTo>
                  <a:pt x="9" y="1043"/>
                  <a:pt x="12" y="1040"/>
                  <a:pt x="12" y="1037"/>
                </a:cubicBezTo>
                <a:close/>
                <a:moveTo>
                  <a:pt x="12" y="1060"/>
                </a:moveTo>
                <a:cubicBezTo>
                  <a:pt x="12" y="1056"/>
                  <a:pt x="12" y="1056"/>
                  <a:pt x="12" y="1056"/>
                </a:cubicBezTo>
                <a:cubicBezTo>
                  <a:pt x="12" y="1053"/>
                  <a:pt x="9" y="1051"/>
                  <a:pt x="6" y="1051"/>
                </a:cubicBezTo>
                <a:cubicBezTo>
                  <a:pt x="3" y="1051"/>
                  <a:pt x="0" y="1053"/>
                  <a:pt x="0" y="1056"/>
                </a:cubicBezTo>
                <a:cubicBezTo>
                  <a:pt x="0" y="1060"/>
                  <a:pt x="0" y="1060"/>
                  <a:pt x="0" y="1060"/>
                </a:cubicBezTo>
                <a:cubicBezTo>
                  <a:pt x="0" y="1064"/>
                  <a:pt x="3" y="1066"/>
                  <a:pt x="6" y="1066"/>
                </a:cubicBezTo>
                <a:cubicBezTo>
                  <a:pt x="9" y="1066"/>
                  <a:pt x="12" y="1064"/>
                  <a:pt x="12" y="1060"/>
                </a:cubicBezTo>
                <a:close/>
                <a:moveTo>
                  <a:pt x="12" y="1084"/>
                </a:moveTo>
                <a:cubicBezTo>
                  <a:pt x="12" y="1080"/>
                  <a:pt x="12" y="1080"/>
                  <a:pt x="12" y="1080"/>
                </a:cubicBezTo>
                <a:cubicBezTo>
                  <a:pt x="12" y="1077"/>
                  <a:pt x="9" y="1074"/>
                  <a:pt x="6" y="1074"/>
                </a:cubicBezTo>
                <a:cubicBezTo>
                  <a:pt x="3" y="1074"/>
                  <a:pt x="0" y="1077"/>
                  <a:pt x="0" y="1080"/>
                </a:cubicBezTo>
                <a:cubicBezTo>
                  <a:pt x="0" y="1084"/>
                  <a:pt x="0" y="1084"/>
                  <a:pt x="0" y="1084"/>
                </a:cubicBezTo>
                <a:cubicBezTo>
                  <a:pt x="0" y="1087"/>
                  <a:pt x="3" y="1090"/>
                  <a:pt x="6" y="1090"/>
                </a:cubicBezTo>
                <a:cubicBezTo>
                  <a:pt x="9" y="1090"/>
                  <a:pt x="12" y="1087"/>
                  <a:pt x="12" y="1084"/>
                </a:cubicBezTo>
                <a:close/>
                <a:moveTo>
                  <a:pt x="12" y="1107"/>
                </a:moveTo>
                <a:cubicBezTo>
                  <a:pt x="12" y="1103"/>
                  <a:pt x="12" y="1103"/>
                  <a:pt x="12" y="1103"/>
                </a:cubicBezTo>
                <a:cubicBezTo>
                  <a:pt x="12" y="1100"/>
                  <a:pt x="9" y="1097"/>
                  <a:pt x="6" y="1097"/>
                </a:cubicBezTo>
                <a:cubicBezTo>
                  <a:pt x="3" y="1097"/>
                  <a:pt x="0" y="1100"/>
                  <a:pt x="0" y="1103"/>
                </a:cubicBezTo>
                <a:cubicBezTo>
                  <a:pt x="0" y="1107"/>
                  <a:pt x="0" y="1107"/>
                  <a:pt x="0" y="1107"/>
                </a:cubicBezTo>
                <a:cubicBezTo>
                  <a:pt x="0" y="1110"/>
                  <a:pt x="3" y="1113"/>
                  <a:pt x="6" y="1113"/>
                </a:cubicBezTo>
                <a:cubicBezTo>
                  <a:pt x="9" y="1113"/>
                  <a:pt x="12" y="1110"/>
                  <a:pt x="12" y="1107"/>
                </a:cubicBezTo>
                <a:close/>
                <a:moveTo>
                  <a:pt x="12" y="1131"/>
                </a:moveTo>
                <a:cubicBezTo>
                  <a:pt x="12" y="1127"/>
                  <a:pt x="12" y="1127"/>
                  <a:pt x="12" y="1127"/>
                </a:cubicBezTo>
                <a:cubicBezTo>
                  <a:pt x="12" y="1123"/>
                  <a:pt x="9" y="1121"/>
                  <a:pt x="6" y="1121"/>
                </a:cubicBezTo>
                <a:cubicBezTo>
                  <a:pt x="3" y="1121"/>
                  <a:pt x="0" y="1123"/>
                  <a:pt x="0" y="1127"/>
                </a:cubicBezTo>
                <a:cubicBezTo>
                  <a:pt x="0" y="1131"/>
                  <a:pt x="0" y="1131"/>
                  <a:pt x="0" y="1131"/>
                </a:cubicBezTo>
                <a:cubicBezTo>
                  <a:pt x="0" y="1134"/>
                  <a:pt x="3" y="1136"/>
                  <a:pt x="6" y="1136"/>
                </a:cubicBezTo>
                <a:cubicBezTo>
                  <a:pt x="9" y="1136"/>
                  <a:pt x="12" y="1134"/>
                  <a:pt x="12" y="1131"/>
                </a:cubicBezTo>
                <a:close/>
                <a:moveTo>
                  <a:pt x="12" y="1154"/>
                </a:moveTo>
                <a:cubicBezTo>
                  <a:pt x="12" y="1150"/>
                  <a:pt x="12" y="1150"/>
                  <a:pt x="12" y="1150"/>
                </a:cubicBezTo>
                <a:cubicBezTo>
                  <a:pt x="12" y="1147"/>
                  <a:pt x="9" y="1144"/>
                  <a:pt x="6" y="1144"/>
                </a:cubicBezTo>
                <a:cubicBezTo>
                  <a:pt x="3" y="1144"/>
                  <a:pt x="0" y="1147"/>
                  <a:pt x="0" y="1150"/>
                </a:cubicBezTo>
                <a:cubicBezTo>
                  <a:pt x="0" y="1154"/>
                  <a:pt x="0" y="1154"/>
                  <a:pt x="0" y="1154"/>
                </a:cubicBezTo>
                <a:cubicBezTo>
                  <a:pt x="0" y="1157"/>
                  <a:pt x="3" y="1160"/>
                  <a:pt x="6" y="1160"/>
                </a:cubicBezTo>
                <a:cubicBezTo>
                  <a:pt x="9" y="1160"/>
                  <a:pt x="12" y="1157"/>
                  <a:pt x="12" y="1154"/>
                </a:cubicBezTo>
                <a:close/>
                <a:moveTo>
                  <a:pt x="12" y="1177"/>
                </a:moveTo>
                <a:cubicBezTo>
                  <a:pt x="12" y="1173"/>
                  <a:pt x="12" y="1173"/>
                  <a:pt x="12" y="1173"/>
                </a:cubicBezTo>
                <a:cubicBezTo>
                  <a:pt x="12" y="1170"/>
                  <a:pt x="9" y="1168"/>
                  <a:pt x="6" y="1168"/>
                </a:cubicBezTo>
                <a:cubicBezTo>
                  <a:pt x="3" y="1168"/>
                  <a:pt x="0" y="1170"/>
                  <a:pt x="0" y="1173"/>
                </a:cubicBezTo>
                <a:cubicBezTo>
                  <a:pt x="0" y="1177"/>
                  <a:pt x="0" y="1177"/>
                  <a:pt x="0" y="1177"/>
                </a:cubicBezTo>
                <a:cubicBezTo>
                  <a:pt x="0" y="1181"/>
                  <a:pt x="3" y="1183"/>
                  <a:pt x="6" y="1183"/>
                </a:cubicBezTo>
                <a:cubicBezTo>
                  <a:pt x="9" y="1183"/>
                  <a:pt x="12" y="1181"/>
                  <a:pt x="12" y="1177"/>
                </a:cubicBezTo>
                <a:close/>
                <a:moveTo>
                  <a:pt x="12" y="1201"/>
                </a:moveTo>
                <a:cubicBezTo>
                  <a:pt x="12" y="1197"/>
                  <a:pt x="12" y="1197"/>
                  <a:pt x="12" y="1197"/>
                </a:cubicBezTo>
                <a:cubicBezTo>
                  <a:pt x="12" y="1194"/>
                  <a:pt x="9" y="1191"/>
                  <a:pt x="6" y="1191"/>
                </a:cubicBezTo>
                <a:cubicBezTo>
                  <a:pt x="3" y="1191"/>
                  <a:pt x="0" y="1194"/>
                  <a:pt x="0" y="1197"/>
                </a:cubicBezTo>
                <a:cubicBezTo>
                  <a:pt x="0" y="1201"/>
                  <a:pt x="0" y="1201"/>
                  <a:pt x="0" y="1201"/>
                </a:cubicBezTo>
                <a:cubicBezTo>
                  <a:pt x="0" y="1204"/>
                  <a:pt x="3" y="1207"/>
                  <a:pt x="6" y="1207"/>
                </a:cubicBezTo>
                <a:cubicBezTo>
                  <a:pt x="9" y="1207"/>
                  <a:pt x="12" y="1204"/>
                  <a:pt x="12" y="1201"/>
                </a:cubicBezTo>
                <a:close/>
                <a:moveTo>
                  <a:pt x="12" y="1224"/>
                </a:moveTo>
                <a:cubicBezTo>
                  <a:pt x="12" y="1220"/>
                  <a:pt x="12" y="1220"/>
                  <a:pt x="12" y="1220"/>
                </a:cubicBezTo>
                <a:cubicBezTo>
                  <a:pt x="12" y="1217"/>
                  <a:pt x="9" y="1214"/>
                  <a:pt x="6" y="1214"/>
                </a:cubicBezTo>
                <a:cubicBezTo>
                  <a:pt x="3" y="1214"/>
                  <a:pt x="0" y="1217"/>
                  <a:pt x="0" y="1220"/>
                </a:cubicBezTo>
                <a:cubicBezTo>
                  <a:pt x="0" y="1224"/>
                  <a:pt x="0" y="1224"/>
                  <a:pt x="0" y="1224"/>
                </a:cubicBezTo>
                <a:cubicBezTo>
                  <a:pt x="0" y="1227"/>
                  <a:pt x="3" y="1230"/>
                  <a:pt x="6" y="1230"/>
                </a:cubicBezTo>
                <a:cubicBezTo>
                  <a:pt x="9" y="1230"/>
                  <a:pt x="12" y="1227"/>
                  <a:pt x="12" y="1224"/>
                </a:cubicBezTo>
                <a:close/>
                <a:moveTo>
                  <a:pt x="12" y="1248"/>
                </a:moveTo>
                <a:cubicBezTo>
                  <a:pt x="12" y="1244"/>
                  <a:pt x="12" y="1244"/>
                  <a:pt x="12" y="1244"/>
                </a:cubicBezTo>
                <a:cubicBezTo>
                  <a:pt x="12" y="1240"/>
                  <a:pt x="9" y="1238"/>
                  <a:pt x="6" y="1238"/>
                </a:cubicBezTo>
                <a:cubicBezTo>
                  <a:pt x="3" y="1238"/>
                  <a:pt x="0" y="1240"/>
                  <a:pt x="0" y="1244"/>
                </a:cubicBezTo>
                <a:cubicBezTo>
                  <a:pt x="0" y="1248"/>
                  <a:pt x="0" y="1248"/>
                  <a:pt x="0" y="1248"/>
                </a:cubicBezTo>
                <a:cubicBezTo>
                  <a:pt x="0" y="1251"/>
                  <a:pt x="3" y="1253"/>
                  <a:pt x="6" y="1253"/>
                </a:cubicBezTo>
                <a:cubicBezTo>
                  <a:pt x="9" y="1253"/>
                  <a:pt x="12" y="1251"/>
                  <a:pt x="12" y="1248"/>
                </a:cubicBezTo>
                <a:close/>
                <a:moveTo>
                  <a:pt x="12" y="1271"/>
                </a:moveTo>
                <a:cubicBezTo>
                  <a:pt x="12" y="1267"/>
                  <a:pt x="12" y="1267"/>
                  <a:pt x="12" y="1267"/>
                </a:cubicBezTo>
                <a:cubicBezTo>
                  <a:pt x="12" y="1264"/>
                  <a:pt x="9" y="1261"/>
                  <a:pt x="6" y="1261"/>
                </a:cubicBezTo>
                <a:cubicBezTo>
                  <a:pt x="3" y="1261"/>
                  <a:pt x="0" y="1264"/>
                  <a:pt x="0" y="1267"/>
                </a:cubicBezTo>
                <a:cubicBezTo>
                  <a:pt x="0" y="1271"/>
                  <a:pt x="0" y="1271"/>
                  <a:pt x="0" y="1271"/>
                </a:cubicBezTo>
                <a:cubicBezTo>
                  <a:pt x="0" y="1274"/>
                  <a:pt x="3" y="1277"/>
                  <a:pt x="6" y="1277"/>
                </a:cubicBezTo>
                <a:cubicBezTo>
                  <a:pt x="9" y="1277"/>
                  <a:pt x="12" y="1274"/>
                  <a:pt x="12" y="1271"/>
                </a:cubicBezTo>
                <a:close/>
                <a:moveTo>
                  <a:pt x="12" y="1294"/>
                </a:moveTo>
                <a:cubicBezTo>
                  <a:pt x="12" y="1290"/>
                  <a:pt x="12" y="1290"/>
                  <a:pt x="12" y="1290"/>
                </a:cubicBezTo>
                <a:cubicBezTo>
                  <a:pt x="12" y="1287"/>
                  <a:pt x="9" y="1285"/>
                  <a:pt x="6" y="1285"/>
                </a:cubicBezTo>
                <a:cubicBezTo>
                  <a:pt x="3" y="1285"/>
                  <a:pt x="0" y="1287"/>
                  <a:pt x="0" y="1290"/>
                </a:cubicBezTo>
                <a:cubicBezTo>
                  <a:pt x="0" y="1294"/>
                  <a:pt x="0" y="1294"/>
                  <a:pt x="0" y="1294"/>
                </a:cubicBezTo>
                <a:cubicBezTo>
                  <a:pt x="0" y="1298"/>
                  <a:pt x="3" y="1300"/>
                  <a:pt x="6" y="1300"/>
                </a:cubicBezTo>
                <a:cubicBezTo>
                  <a:pt x="9" y="1300"/>
                  <a:pt x="12" y="1298"/>
                  <a:pt x="12" y="1294"/>
                </a:cubicBezTo>
                <a:close/>
                <a:moveTo>
                  <a:pt x="24" y="1294"/>
                </a:moveTo>
                <a:cubicBezTo>
                  <a:pt x="20" y="1294"/>
                  <a:pt x="20" y="1294"/>
                  <a:pt x="20" y="1294"/>
                </a:cubicBezTo>
                <a:cubicBezTo>
                  <a:pt x="17" y="1294"/>
                  <a:pt x="14" y="1297"/>
                  <a:pt x="14" y="1300"/>
                </a:cubicBezTo>
                <a:cubicBezTo>
                  <a:pt x="14" y="1303"/>
                  <a:pt x="17" y="1306"/>
                  <a:pt x="20" y="1306"/>
                </a:cubicBezTo>
                <a:cubicBezTo>
                  <a:pt x="24" y="1306"/>
                  <a:pt x="24" y="1306"/>
                  <a:pt x="24" y="1306"/>
                </a:cubicBezTo>
                <a:cubicBezTo>
                  <a:pt x="27" y="1306"/>
                  <a:pt x="30" y="1303"/>
                  <a:pt x="30" y="1300"/>
                </a:cubicBezTo>
                <a:cubicBezTo>
                  <a:pt x="30" y="1297"/>
                  <a:pt x="27" y="1294"/>
                  <a:pt x="24" y="1294"/>
                </a:cubicBezTo>
                <a:close/>
                <a:moveTo>
                  <a:pt x="47" y="1294"/>
                </a:moveTo>
                <a:cubicBezTo>
                  <a:pt x="43" y="1294"/>
                  <a:pt x="43" y="1294"/>
                  <a:pt x="43" y="1294"/>
                </a:cubicBezTo>
                <a:cubicBezTo>
                  <a:pt x="40" y="1294"/>
                  <a:pt x="38" y="1297"/>
                  <a:pt x="38" y="1300"/>
                </a:cubicBezTo>
                <a:cubicBezTo>
                  <a:pt x="38" y="1303"/>
                  <a:pt x="40" y="1306"/>
                  <a:pt x="43" y="1306"/>
                </a:cubicBezTo>
                <a:cubicBezTo>
                  <a:pt x="47" y="1306"/>
                  <a:pt x="47" y="1306"/>
                  <a:pt x="47" y="1306"/>
                </a:cubicBezTo>
                <a:cubicBezTo>
                  <a:pt x="51" y="1306"/>
                  <a:pt x="53" y="1303"/>
                  <a:pt x="53" y="1300"/>
                </a:cubicBezTo>
                <a:cubicBezTo>
                  <a:pt x="53" y="1297"/>
                  <a:pt x="51" y="1294"/>
                  <a:pt x="47" y="1294"/>
                </a:cubicBezTo>
                <a:close/>
                <a:moveTo>
                  <a:pt x="71" y="1294"/>
                </a:moveTo>
                <a:cubicBezTo>
                  <a:pt x="67" y="1294"/>
                  <a:pt x="67" y="1294"/>
                  <a:pt x="67" y="1294"/>
                </a:cubicBezTo>
                <a:cubicBezTo>
                  <a:pt x="64" y="1294"/>
                  <a:pt x="61" y="1297"/>
                  <a:pt x="61" y="1300"/>
                </a:cubicBezTo>
                <a:cubicBezTo>
                  <a:pt x="61" y="1303"/>
                  <a:pt x="64" y="1306"/>
                  <a:pt x="67" y="1306"/>
                </a:cubicBezTo>
                <a:cubicBezTo>
                  <a:pt x="71" y="1306"/>
                  <a:pt x="71" y="1306"/>
                  <a:pt x="71" y="1306"/>
                </a:cubicBezTo>
                <a:cubicBezTo>
                  <a:pt x="74" y="1306"/>
                  <a:pt x="77" y="1303"/>
                  <a:pt x="77" y="1300"/>
                </a:cubicBezTo>
                <a:cubicBezTo>
                  <a:pt x="77" y="1297"/>
                  <a:pt x="74" y="1294"/>
                  <a:pt x="71" y="1294"/>
                </a:cubicBezTo>
                <a:close/>
                <a:moveTo>
                  <a:pt x="94" y="1294"/>
                </a:moveTo>
                <a:cubicBezTo>
                  <a:pt x="90" y="1294"/>
                  <a:pt x="90" y="1294"/>
                  <a:pt x="90" y="1294"/>
                </a:cubicBezTo>
                <a:cubicBezTo>
                  <a:pt x="87" y="1294"/>
                  <a:pt x="84" y="1297"/>
                  <a:pt x="84" y="1300"/>
                </a:cubicBezTo>
                <a:cubicBezTo>
                  <a:pt x="84" y="1303"/>
                  <a:pt x="87" y="1306"/>
                  <a:pt x="90" y="1306"/>
                </a:cubicBezTo>
                <a:cubicBezTo>
                  <a:pt x="94" y="1306"/>
                  <a:pt x="94" y="1306"/>
                  <a:pt x="94" y="1306"/>
                </a:cubicBezTo>
                <a:cubicBezTo>
                  <a:pt x="97" y="1306"/>
                  <a:pt x="100" y="1303"/>
                  <a:pt x="100" y="1300"/>
                </a:cubicBezTo>
                <a:cubicBezTo>
                  <a:pt x="100" y="1297"/>
                  <a:pt x="97" y="1294"/>
                  <a:pt x="94" y="1294"/>
                </a:cubicBezTo>
                <a:close/>
                <a:moveTo>
                  <a:pt x="117" y="1294"/>
                </a:moveTo>
                <a:cubicBezTo>
                  <a:pt x="114" y="1294"/>
                  <a:pt x="114" y="1294"/>
                  <a:pt x="114" y="1294"/>
                </a:cubicBezTo>
                <a:cubicBezTo>
                  <a:pt x="110" y="1294"/>
                  <a:pt x="108" y="1297"/>
                  <a:pt x="108" y="1300"/>
                </a:cubicBezTo>
                <a:cubicBezTo>
                  <a:pt x="108" y="1303"/>
                  <a:pt x="110" y="1306"/>
                  <a:pt x="114" y="1306"/>
                </a:cubicBezTo>
                <a:cubicBezTo>
                  <a:pt x="117" y="1306"/>
                  <a:pt x="117" y="1306"/>
                  <a:pt x="117" y="1306"/>
                </a:cubicBezTo>
                <a:cubicBezTo>
                  <a:pt x="121" y="1306"/>
                  <a:pt x="123" y="1303"/>
                  <a:pt x="123" y="1300"/>
                </a:cubicBezTo>
                <a:cubicBezTo>
                  <a:pt x="123" y="1297"/>
                  <a:pt x="121" y="1294"/>
                  <a:pt x="117" y="1294"/>
                </a:cubicBezTo>
                <a:close/>
                <a:moveTo>
                  <a:pt x="141" y="1294"/>
                </a:moveTo>
                <a:cubicBezTo>
                  <a:pt x="137" y="1294"/>
                  <a:pt x="137" y="1294"/>
                  <a:pt x="137" y="1294"/>
                </a:cubicBezTo>
                <a:cubicBezTo>
                  <a:pt x="134" y="1294"/>
                  <a:pt x="131" y="1297"/>
                  <a:pt x="131" y="1300"/>
                </a:cubicBezTo>
                <a:cubicBezTo>
                  <a:pt x="131" y="1303"/>
                  <a:pt x="134" y="1306"/>
                  <a:pt x="137" y="1306"/>
                </a:cubicBezTo>
                <a:cubicBezTo>
                  <a:pt x="141" y="1306"/>
                  <a:pt x="141" y="1306"/>
                  <a:pt x="141" y="1306"/>
                </a:cubicBezTo>
                <a:cubicBezTo>
                  <a:pt x="144" y="1306"/>
                  <a:pt x="147" y="1303"/>
                  <a:pt x="147" y="1300"/>
                </a:cubicBezTo>
                <a:cubicBezTo>
                  <a:pt x="147" y="1297"/>
                  <a:pt x="144" y="1294"/>
                  <a:pt x="141" y="1294"/>
                </a:cubicBezTo>
                <a:close/>
                <a:moveTo>
                  <a:pt x="164" y="1294"/>
                </a:moveTo>
                <a:cubicBezTo>
                  <a:pt x="160" y="1294"/>
                  <a:pt x="160" y="1294"/>
                  <a:pt x="160" y="1294"/>
                </a:cubicBezTo>
                <a:cubicBezTo>
                  <a:pt x="157" y="1294"/>
                  <a:pt x="155" y="1297"/>
                  <a:pt x="155" y="1300"/>
                </a:cubicBezTo>
                <a:cubicBezTo>
                  <a:pt x="155" y="1303"/>
                  <a:pt x="157" y="1306"/>
                  <a:pt x="160" y="1306"/>
                </a:cubicBezTo>
                <a:cubicBezTo>
                  <a:pt x="164" y="1306"/>
                  <a:pt x="164" y="1306"/>
                  <a:pt x="164" y="1306"/>
                </a:cubicBezTo>
                <a:cubicBezTo>
                  <a:pt x="168" y="1306"/>
                  <a:pt x="170" y="1303"/>
                  <a:pt x="170" y="1300"/>
                </a:cubicBezTo>
                <a:cubicBezTo>
                  <a:pt x="170" y="1297"/>
                  <a:pt x="168" y="1294"/>
                  <a:pt x="164" y="1294"/>
                </a:cubicBezTo>
                <a:close/>
                <a:moveTo>
                  <a:pt x="188" y="1294"/>
                </a:moveTo>
                <a:cubicBezTo>
                  <a:pt x="184" y="1294"/>
                  <a:pt x="184" y="1294"/>
                  <a:pt x="184" y="1294"/>
                </a:cubicBezTo>
                <a:cubicBezTo>
                  <a:pt x="181" y="1294"/>
                  <a:pt x="178" y="1297"/>
                  <a:pt x="178" y="1300"/>
                </a:cubicBezTo>
                <a:cubicBezTo>
                  <a:pt x="178" y="1303"/>
                  <a:pt x="181" y="1306"/>
                  <a:pt x="184" y="1306"/>
                </a:cubicBezTo>
                <a:cubicBezTo>
                  <a:pt x="188" y="1306"/>
                  <a:pt x="188" y="1306"/>
                  <a:pt x="188" y="1306"/>
                </a:cubicBezTo>
                <a:cubicBezTo>
                  <a:pt x="191" y="1306"/>
                  <a:pt x="194" y="1303"/>
                  <a:pt x="194" y="1300"/>
                </a:cubicBezTo>
                <a:cubicBezTo>
                  <a:pt x="194" y="1297"/>
                  <a:pt x="191" y="1294"/>
                  <a:pt x="188" y="1294"/>
                </a:cubicBezTo>
                <a:close/>
                <a:moveTo>
                  <a:pt x="211" y="1294"/>
                </a:moveTo>
                <a:cubicBezTo>
                  <a:pt x="207" y="1294"/>
                  <a:pt x="207" y="1294"/>
                  <a:pt x="207" y="1294"/>
                </a:cubicBezTo>
                <a:cubicBezTo>
                  <a:pt x="204" y="1294"/>
                  <a:pt x="201" y="1297"/>
                  <a:pt x="201" y="1300"/>
                </a:cubicBezTo>
                <a:cubicBezTo>
                  <a:pt x="201" y="1303"/>
                  <a:pt x="204" y="1306"/>
                  <a:pt x="207" y="1306"/>
                </a:cubicBezTo>
                <a:cubicBezTo>
                  <a:pt x="211" y="1306"/>
                  <a:pt x="211" y="1306"/>
                  <a:pt x="211" y="1306"/>
                </a:cubicBezTo>
                <a:cubicBezTo>
                  <a:pt x="214" y="1306"/>
                  <a:pt x="217" y="1303"/>
                  <a:pt x="217" y="1300"/>
                </a:cubicBezTo>
                <a:cubicBezTo>
                  <a:pt x="217" y="1297"/>
                  <a:pt x="214" y="1294"/>
                  <a:pt x="211" y="1294"/>
                </a:cubicBez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61">
            <a:extLst>
              <a:ext uri="{FF2B5EF4-FFF2-40B4-BE49-F238E27FC236}">
                <a16:creationId xmlns:a16="http://schemas.microsoft.com/office/drawing/2014/main" id="{94574713-B438-E642-A8BF-65029CFF37C8}"/>
              </a:ext>
            </a:extLst>
          </p:cNvPr>
          <p:cNvSpPr>
            <a:spLocks/>
          </p:cNvSpPr>
          <p:nvPr/>
        </p:nvSpPr>
        <p:spPr bwMode="auto">
          <a:xfrm>
            <a:off x="8113594" y="6171125"/>
            <a:ext cx="160947" cy="89078"/>
          </a:xfrm>
          <a:custGeom>
            <a:avLst/>
            <a:gdLst>
              <a:gd name="T0" fmla="*/ 6 w 67"/>
              <a:gd name="T1" fmla="*/ 36 h 37"/>
              <a:gd name="T2" fmla="*/ 65 w 67"/>
              <a:gd name="T3" fmla="*/ 8 h 37"/>
              <a:gd name="T4" fmla="*/ 66 w 67"/>
              <a:gd name="T5" fmla="*/ 2 h 37"/>
              <a:gd name="T6" fmla="*/ 61 w 67"/>
              <a:gd name="T7" fmla="*/ 1 h 37"/>
              <a:gd name="T8" fmla="*/ 3 w 67"/>
              <a:gd name="T9" fmla="*/ 29 h 37"/>
              <a:gd name="T10" fmla="*/ 1 w 67"/>
              <a:gd name="T11" fmla="*/ 35 h 37"/>
              <a:gd name="T12" fmla="*/ 6 w 67"/>
              <a:gd name="T13" fmla="*/ 36 h 37"/>
            </a:gdLst>
            <a:ahLst/>
            <a:cxnLst>
              <a:cxn ang="0">
                <a:pos x="T0" y="T1"/>
              </a:cxn>
              <a:cxn ang="0">
                <a:pos x="T2" y="T3"/>
              </a:cxn>
              <a:cxn ang="0">
                <a:pos x="T4" y="T5"/>
              </a:cxn>
              <a:cxn ang="0">
                <a:pos x="T6" y="T7"/>
              </a:cxn>
              <a:cxn ang="0">
                <a:pos x="T8" y="T9"/>
              </a:cxn>
              <a:cxn ang="0">
                <a:pos x="T10" y="T11"/>
              </a:cxn>
              <a:cxn ang="0">
                <a:pos x="T12" y="T13"/>
              </a:cxn>
            </a:cxnLst>
            <a:rect l="0" t="0" r="r" b="b"/>
            <a:pathLst>
              <a:path w="67" h="37">
                <a:moveTo>
                  <a:pt x="6" y="36"/>
                </a:moveTo>
                <a:cubicBezTo>
                  <a:pt x="65" y="8"/>
                  <a:pt x="65" y="8"/>
                  <a:pt x="65" y="8"/>
                </a:cubicBezTo>
                <a:cubicBezTo>
                  <a:pt x="66" y="7"/>
                  <a:pt x="67" y="4"/>
                  <a:pt x="66" y="2"/>
                </a:cubicBezTo>
                <a:cubicBezTo>
                  <a:pt x="65" y="1"/>
                  <a:pt x="63" y="0"/>
                  <a:pt x="61" y="1"/>
                </a:cubicBezTo>
                <a:cubicBezTo>
                  <a:pt x="3" y="29"/>
                  <a:pt x="3" y="29"/>
                  <a:pt x="3" y="29"/>
                </a:cubicBezTo>
                <a:cubicBezTo>
                  <a:pt x="1" y="30"/>
                  <a:pt x="0" y="33"/>
                  <a:pt x="1" y="35"/>
                </a:cubicBezTo>
                <a:cubicBezTo>
                  <a:pt x="2" y="37"/>
                  <a:pt x="4" y="37"/>
                  <a:pt x="6" y="36"/>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62">
            <a:extLst>
              <a:ext uri="{FF2B5EF4-FFF2-40B4-BE49-F238E27FC236}">
                <a16:creationId xmlns:a16="http://schemas.microsoft.com/office/drawing/2014/main" id="{EB110653-89A6-D84F-896A-631210E5ED91}"/>
              </a:ext>
            </a:extLst>
          </p:cNvPr>
          <p:cNvSpPr>
            <a:spLocks/>
          </p:cNvSpPr>
          <p:nvPr/>
        </p:nvSpPr>
        <p:spPr bwMode="auto">
          <a:xfrm>
            <a:off x="7818018" y="3225489"/>
            <a:ext cx="369470" cy="194351"/>
          </a:xfrm>
          <a:custGeom>
            <a:avLst/>
            <a:gdLst>
              <a:gd name="T0" fmla="*/ 6 w 154"/>
              <a:gd name="T1" fmla="*/ 80 h 81"/>
              <a:gd name="T2" fmla="*/ 151 w 154"/>
              <a:gd name="T3" fmla="*/ 8 h 81"/>
              <a:gd name="T4" fmla="*/ 153 w 154"/>
              <a:gd name="T5" fmla="*/ 3 h 81"/>
              <a:gd name="T6" fmla="*/ 147 w 154"/>
              <a:gd name="T7" fmla="*/ 1 h 81"/>
              <a:gd name="T8" fmla="*/ 2 w 154"/>
              <a:gd name="T9" fmla="*/ 73 h 81"/>
              <a:gd name="T10" fmla="*/ 1 w 154"/>
              <a:gd name="T11" fmla="*/ 78 h 81"/>
              <a:gd name="T12" fmla="*/ 6 w 154"/>
              <a:gd name="T13" fmla="*/ 80 h 81"/>
            </a:gdLst>
            <a:ahLst/>
            <a:cxnLst>
              <a:cxn ang="0">
                <a:pos x="T0" y="T1"/>
              </a:cxn>
              <a:cxn ang="0">
                <a:pos x="T2" y="T3"/>
              </a:cxn>
              <a:cxn ang="0">
                <a:pos x="T4" y="T5"/>
              </a:cxn>
              <a:cxn ang="0">
                <a:pos x="T6" y="T7"/>
              </a:cxn>
              <a:cxn ang="0">
                <a:pos x="T8" y="T9"/>
              </a:cxn>
              <a:cxn ang="0">
                <a:pos x="T10" y="T11"/>
              </a:cxn>
              <a:cxn ang="0">
                <a:pos x="T12" y="T13"/>
              </a:cxn>
            </a:cxnLst>
            <a:rect l="0" t="0" r="r" b="b"/>
            <a:pathLst>
              <a:path w="154" h="81">
                <a:moveTo>
                  <a:pt x="6" y="80"/>
                </a:moveTo>
                <a:cubicBezTo>
                  <a:pt x="151" y="8"/>
                  <a:pt x="151" y="8"/>
                  <a:pt x="151" y="8"/>
                </a:cubicBezTo>
                <a:cubicBezTo>
                  <a:pt x="153" y="7"/>
                  <a:pt x="154" y="5"/>
                  <a:pt x="153" y="3"/>
                </a:cubicBezTo>
                <a:cubicBezTo>
                  <a:pt x="152" y="1"/>
                  <a:pt x="149" y="0"/>
                  <a:pt x="147" y="1"/>
                </a:cubicBezTo>
                <a:cubicBezTo>
                  <a:pt x="2" y="73"/>
                  <a:pt x="2" y="73"/>
                  <a:pt x="2" y="73"/>
                </a:cubicBezTo>
                <a:cubicBezTo>
                  <a:pt x="0" y="74"/>
                  <a:pt x="0" y="76"/>
                  <a:pt x="1" y="78"/>
                </a:cubicBezTo>
                <a:cubicBezTo>
                  <a:pt x="2" y="80"/>
                  <a:pt x="4" y="81"/>
                  <a:pt x="6" y="80"/>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63">
            <a:extLst>
              <a:ext uri="{FF2B5EF4-FFF2-40B4-BE49-F238E27FC236}">
                <a16:creationId xmlns:a16="http://schemas.microsoft.com/office/drawing/2014/main" id="{E803E4DD-DC8E-D343-9DA5-8037F90BFDC6}"/>
              </a:ext>
            </a:extLst>
          </p:cNvPr>
          <p:cNvSpPr>
            <a:spLocks/>
          </p:cNvSpPr>
          <p:nvPr/>
        </p:nvSpPr>
        <p:spPr bwMode="auto">
          <a:xfrm>
            <a:off x="7904059" y="6099255"/>
            <a:ext cx="370482" cy="191314"/>
          </a:xfrm>
          <a:custGeom>
            <a:avLst/>
            <a:gdLst>
              <a:gd name="T0" fmla="*/ 7 w 154"/>
              <a:gd name="T1" fmla="*/ 79 h 80"/>
              <a:gd name="T2" fmla="*/ 152 w 154"/>
              <a:gd name="T3" fmla="*/ 8 h 80"/>
              <a:gd name="T4" fmla="*/ 153 w 154"/>
              <a:gd name="T5" fmla="*/ 2 h 80"/>
              <a:gd name="T6" fmla="*/ 148 w 154"/>
              <a:gd name="T7" fmla="*/ 1 h 80"/>
              <a:gd name="T8" fmla="*/ 3 w 154"/>
              <a:gd name="T9" fmla="*/ 72 h 80"/>
              <a:gd name="T10" fmla="*/ 1 w 154"/>
              <a:gd name="T11" fmla="*/ 77 h 80"/>
              <a:gd name="T12" fmla="*/ 7 w 154"/>
              <a:gd name="T13" fmla="*/ 79 h 80"/>
            </a:gdLst>
            <a:ahLst/>
            <a:cxnLst>
              <a:cxn ang="0">
                <a:pos x="T0" y="T1"/>
              </a:cxn>
              <a:cxn ang="0">
                <a:pos x="T2" y="T3"/>
              </a:cxn>
              <a:cxn ang="0">
                <a:pos x="T4" y="T5"/>
              </a:cxn>
              <a:cxn ang="0">
                <a:pos x="T6" y="T7"/>
              </a:cxn>
              <a:cxn ang="0">
                <a:pos x="T8" y="T9"/>
              </a:cxn>
              <a:cxn ang="0">
                <a:pos x="T10" y="T11"/>
              </a:cxn>
              <a:cxn ang="0">
                <a:pos x="T12" y="T13"/>
              </a:cxn>
            </a:cxnLst>
            <a:rect l="0" t="0" r="r" b="b"/>
            <a:pathLst>
              <a:path w="154" h="80">
                <a:moveTo>
                  <a:pt x="7" y="79"/>
                </a:moveTo>
                <a:cubicBezTo>
                  <a:pt x="152" y="8"/>
                  <a:pt x="152" y="8"/>
                  <a:pt x="152" y="8"/>
                </a:cubicBezTo>
                <a:cubicBezTo>
                  <a:pt x="153" y="7"/>
                  <a:pt x="154" y="4"/>
                  <a:pt x="153" y="2"/>
                </a:cubicBezTo>
                <a:cubicBezTo>
                  <a:pt x="152" y="0"/>
                  <a:pt x="150" y="0"/>
                  <a:pt x="148" y="1"/>
                </a:cubicBezTo>
                <a:cubicBezTo>
                  <a:pt x="3" y="72"/>
                  <a:pt x="3" y="72"/>
                  <a:pt x="3" y="72"/>
                </a:cubicBezTo>
                <a:cubicBezTo>
                  <a:pt x="1" y="73"/>
                  <a:pt x="0" y="75"/>
                  <a:pt x="1" y="77"/>
                </a:cubicBezTo>
                <a:cubicBezTo>
                  <a:pt x="2" y="79"/>
                  <a:pt x="5" y="80"/>
                  <a:pt x="7" y="7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64">
            <a:extLst>
              <a:ext uri="{FF2B5EF4-FFF2-40B4-BE49-F238E27FC236}">
                <a16:creationId xmlns:a16="http://schemas.microsoft.com/office/drawing/2014/main" id="{DB3FBCDE-2C57-3C47-9FF1-88AC57A31008}"/>
              </a:ext>
            </a:extLst>
          </p:cNvPr>
          <p:cNvSpPr>
            <a:spLocks/>
          </p:cNvSpPr>
          <p:nvPr/>
        </p:nvSpPr>
        <p:spPr bwMode="auto">
          <a:xfrm>
            <a:off x="7812957" y="3244722"/>
            <a:ext cx="163984" cy="91102"/>
          </a:xfrm>
          <a:custGeom>
            <a:avLst/>
            <a:gdLst>
              <a:gd name="T0" fmla="*/ 6 w 68"/>
              <a:gd name="T1" fmla="*/ 37 h 38"/>
              <a:gd name="T2" fmla="*/ 65 w 68"/>
              <a:gd name="T3" fmla="*/ 8 h 38"/>
              <a:gd name="T4" fmla="*/ 67 w 68"/>
              <a:gd name="T5" fmla="*/ 3 h 38"/>
              <a:gd name="T6" fmla="*/ 61 w 68"/>
              <a:gd name="T7" fmla="*/ 1 h 38"/>
              <a:gd name="T8" fmla="*/ 3 w 68"/>
              <a:gd name="T9" fmla="*/ 30 h 38"/>
              <a:gd name="T10" fmla="*/ 1 w 68"/>
              <a:gd name="T11" fmla="*/ 35 h 38"/>
              <a:gd name="T12" fmla="*/ 6 w 68"/>
              <a:gd name="T13" fmla="*/ 37 h 38"/>
            </a:gdLst>
            <a:ahLst/>
            <a:cxnLst>
              <a:cxn ang="0">
                <a:pos x="T0" y="T1"/>
              </a:cxn>
              <a:cxn ang="0">
                <a:pos x="T2" y="T3"/>
              </a:cxn>
              <a:cxn ang="0">
                <a:pos x="T4" y="T5"/>
              </a:cxn>
              <a:cxn ang="0">
                <a:pos x="T6" y="T7"/>
              </a:cxn>
              <a:cxn ang="0">
                <a:pos x="T8" y="T9"/>
              </a:cxn>
              <a:cxn ang="0">
                <a:pos x="T10" y="T11"/>
              </a:cxn>
              <a:cxn ang="0">
                <a:pos x="T12" y="T13"/>
              </a:cxn>
            </a:cxnLst>
            <a:rect l="0" t="0" r="r" b="b"/>
            <a:pathLst>
              <a:path w="68" h="38">
                <a:moveTo>
                  <a:pt x="6" y="37"/>
                </a:moveTo>
                <a:cubicBezTo>
                  <a:pt x="65" y="8"/>
                  <a:pt x="65" y="8"/>
                  <a:pt x="65" y="8"/>
                </a:cubicBezTo>
                <a:cubicBezTo>
                  <a:pt x="67" y="7"/>
                  <a:pt x="68" y="5"/>
                  <a:pt x="67" y="3"/>
                </a:cubicBezTo>
                <a:cubicBezTo>
                  <a:pt x="66" y="1"/>
                  <a:pt x="63" y="0"/>
                  <a:pt x="61" y="1"/>
                </a:cubicBezTo>
                <a:cubicBezTo>
                  <a:pt x="3" y="30"/>
                  <a:pt x="3" y="30"/>
                  <a:pt x="3" y="30"/>
                </a:cubicBezTo>
                <a:cubicBezTo>
                  <a:pt x="1" y="31"/>
                  <a:pt x="0" y="33"/>
                  <a:pt x="1" y="35"/>
                </a:cubicBezTo>
                <a:cubicBezTo>
                  <a:pt x="2" y="37"/>
                  <a:pt x="4" y="38"/>
                  <a:pt x="6" y="37"/>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5">
            <a:extLst>
              <a:ext uri="{FF2B5EF4-FFF2-40B4-BE49-F238E27FC236}">
                <a16:creationId xmlns:a16="http://schemas.microsoft.com/office/drawing/2014/main" id="{E493DCCC-7FF5-5046-912E-9F9B83552283}"/>
              </a:ext>
            </a:extLst>
          </p:cNvPr>
          <p:cNvSpPr>
            <a:spLocks/>
          </p:cNvSpPr>
          <p:nvPr/>
        </p:nvSpPr>
        <p:spPr bwMode="auto">
          <a:xfrm>
            <a:off x="7812957" y="3261930"/>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66">
            <a:extLst>
              <a:ext uri="{FF2B5EF4-FFF2-40B4-BE49-F238E27FC236}">
                <a16:creationId xmlns:a16="http://schemas.microsoft.com/office/drawing/2014/main" id="{AC8ECDA7-4149-584C-B2D5-0313AFC2FDAD}"/>
              </a:ext>
            </a:extLst>
          </p:cNvPr>
          <p:cNvSpPr>
            <a:spLocks/>
          </p:cNvSpPr>
          <p:nvPr/>
        </p:nvSpPr>
        <p:spPr bwMode="auto">
          <a:xfrm>
            <a:off x="7812957" y="33358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67">
            <a:extLst>
              <a:ext uri="{FF2B5EF4-FFF2-40B4-BE49-F238E27FC236}">
                <a16:creationId xmlns:a16="http://schemas.microsoft.com/office/drawing/2014/main" id="{A3FD9910-AAA5-ED44-B9D7-7ED27CE173BC}"/>
              </a:ext>
            </a:extLst>
          </p:cNvPr>
          <p:cNvSpPr>
            <a:spLocks/>
          </p:cNvSpPr>
          <p:nvPr/>
        </p:nvSpPr>
        <p:spPr bwMode="auto">
          <a:xfrm>
            <a:off x="7812957" y="3412755"/>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68">
            <a:extLst>
              <a:ext uri="{FF2B5EF4-FFF2-40B4-BE49-F238E27FC236}">
                <a16:creationId xmlns:a16="http://schemas.microsoft.com/office/drawing/2014/main" id="{88A39CFF-5EA7-4846-AFDD-9072E61B990D}"/>
              </a:ext>
            </a:extLst>
          </p:cNvPr>
          <p:cNvSpPr>
            <a:spLocks/>
          </p:cNvSpPr>
          <p:nvPr/>
        </p:nvSpPr>
        <p:spPr bwMode="auto">
          <a:xfrm>
            <a:off x="7812957" y="3489686"/>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2"/>
                  <a:pt x="3" y="92"/>
                  <a:pt x="3" y="92"/>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69">
            <a:extLst>
              <a:ext uri="{FF2B5EF4-FFF2-40B4-BE49-F238E27FC236}">
                <a16:creationId xmlns:a16="http://schemas.microsoft.com/office/drawing/2014/main" id="{58F839C3-226F-2D43-B651-A05B6BF44F1D}"/>
              </a:ext>
            </a:extLst>
          </p:cNvPr>
          <p:cNvSpPr>
            <a:spLocks/>
          </p:cNvSpPr>
          <p:nvPr/>
        </p:nvSpPr>
        <p:spPr bwMode="auto">
          <a:xfrm>
            <a:off x="7812957" y="3566616"/>
            <a:ext cx="461584" cy="237878"/>
          </a:xfrm>
          <a:custGeom>
            <a:avLst/>
            <a:gdLst>
              <a:gd name="T0" fmla="*/ 6 w 192"/>
              <a:gd name="T1" fmla="*/ 98 h 99"/>
              <a:gd name="T2" fmla="*/ 190 w 192"/>
              <a:gd name="T3" fmla="*/ 8 h 99"/>
              <a:gd name="T4" fmla="*/ 191 w 192"/>
              <a:gd name="T5" fmla="*/ 2 h 99"/>
              <a:gd name="T6" fmla="*/ 186 w 192"/>
              <a:gd name="T7" fmla="*/ 0 h 99"/>
              <a:gd name="T8" fmla="*/ 3 w 192"/>
              <a:gd name="T9" fmla="*/ 91 h 99"/>
              <a:gd name="T10" fmla="*/ 1 w 192"/>
              <a:gd name="T11" fmla="*/ 96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0"/>
                </a:cubicBezTo>
                <a:cubicBezTo>
                  <a:pt x="3" y="91"/>
                  <a:pt x="3" y="91"/>
                  <a:pt x="3" y="91"/>
                </a:cubicBezTo>
                <a:cubicBezTo>
                  <a:pt x="1" y="92"/>
                  <a:pt x="0" y="95"/>
                  <a:pt x="1" y="96"/>
                </a:cubicBezTo>
                <a:cubicBezTo>
                  <a:pt x="2" y="98"/>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70">
            <a:extLst>
              <a:ext uri="{FF2B5EF4-FFF2-40B4-BE49-F238E27FC236}">
                <a16:creationId xmlns:a16="http://schemas.microsoft.com/office/drawing/2014/main" id="{63D0249A-3DEB-0847-AF6A-63AF8E1D97CA}"/>
              </a:ext>
            </a:extLst>
          </p:cNvPr>
          <p:cNvSpPr>
            <a:spLocks/>
          </p:cNvSpPr>
          <p:nvPr/>
        </p:nvSpPr>
        <p:spPr bwMode="auto">
          <a:xfrm>
            <a:off x="7812957" y="364152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71">
            <a:extLst>
              <a:ext uri="{FF2B5EF4-FFF2-40B4-BE49-F238E27FC236}">
                <a16:creationId xmlns:a16="http://schemas.microsoft.com/office/drawing/2014/main" id="{BC0B844B-B8FD-954E-8699-45914584B1C2}"/>
              </a:ext>
            </a:extLst>
          </p:cNvPr>
          <p:cNvSpPr>
            <a:spLocks/>
          </p:cNvSpPr>
          <p:nvPr/>
        </p:nvSpPr>
        <p:spPr bwMode="auto">
          <a:xfrm>
            <a:off x="7812957" y="371845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72">
            <a:extLst>
              <a:ext uri="{FF2B5EF4-FFF2-40B4-BE49-F238E27FC236}">
                <a16:creationId xmlns:a16="http://schemas.microsoft.com/office/drawing/2014/main" id="{646EA596-A73E-D046-B588-0850AF904A09}"/>
              </a:ext>
            </a:extLst>
          </p:cNvPr>
          <p:cNvSpPr>
            <a:spLocks/>
          </p:cNvSpPr>
          <p:nvPr/>
        </p:nvSpPr>
        <p:spPr bwMode="auto">
          <a:xfrm>
            <a:off x="7812957" y="3795384"/>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73">
            <a:extLst>
              <a:ext uri="{FF2B5EF4-FFF2-40B4-BE49-F238E27FC236}">
                <a16:creationId xmlns:a16="http://schemas.microsoft.com/office/drawing/2014/main" id="{69DCB2A6-8C9A-A340-8406-7E694DB0A406}"/>
              </a:ext>
            </a:extLst>
          </p:cNvPr>
          <p:cNvSpPr>
            <a:spLocks/>
          </p:cNvSpPr>
          <p:nvPr/>
        </p:nvSpPr>
        <p:spPr bwMode="auto">
          <a:xfrm>
            <a:off x="7812957" y="386927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74">
            <a:extLst>
              <a:ext uri="{FF2B5EF4-FFF2-40B4-BE49-F238E27FC236}">
                <a16:creationId xmlns:a16="http://schemas.microsoft.com/office/drawing/2014/main" id="{09DD2A6D-2D84-7448-A400-430284998233}"/>
              </a:ext>
            </a:extLst>
          </p:cNvPr>
          <p:cNvSpPr>
            <a:spLocks/>
          </p:cNvSpPr>
          <p:nvPr/>
        </p:nvSpPr>
        <p:spPr bwMode="auto">
          <a:xfrm>
            <a:off x="7812957" y="394620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75">
            <a:extLst>
              <a:ext uri="{FF2B5EF4-FFF2-40B4-BE49-F238E27FC236}">
                <a16:creationId xmlns:a16="http://schemas.microsoft.com/office/drawing/2014/main" id="{BAE9B56A-594B-AF4F-B0E3-4DABFCC6D4F8}"/>
              </a:ext>
            </a:extLst>
          </p:cNvPr>
          <p:cNvSpPr>
            <a:spLocks/>
          </p:cNvSpPr>
          <p:nvPr/>
        </p:nvSpPr>
        <p:spPr bwMode="auto">
          <a:xfrm>
            <a:off x="7812957" y="402313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76">
            <a:extLst>
              <a:ext uri="{FF2B5EF4-FFF2-40B4-BE49-F238E27FC236}">
                <a16:creationId xmlns:a16="http://schemas.microsoft.com/office/drawing/2014/main" id="{9A23FD8E-1853-3C43-A390-D8A250D03364}"/>
              </a:ext>
            </a:extLst>
          </p:cNvPr>
          <p:cNvSpPr>
            <a:spLocks/>
          </p:cNvSpPr>
          <p:nvPr/>
        </p:nvSpPr>
        <p:spPr bwMode="auto">
          <a:xfrm>
            <a:off x="7812957" y="4098045"/>
            <a:ext cx="461584" cy="239902"/>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77">
            <a:extLst>
              <a:ext uri="{FF2B5EF4-FFF2-40B4-BE49-F238E27FC236}">
                <a16:creationId xmlns:a16="http://schemas.microsoft.com/office/drawing/2014/main" id="{4FB74F0C-D18C-1443-AB42-3926FD93152B}"/>
              </a:ext>
            </a:extLst>
          </p:cNvPr>
          <p:cNvSpPr>
            <a:spLocks/>
          </p:cNvSpPr>
          <p:nvPr/>
        </p:nvSpPr>
        <p:spPr bwMode="auto">
          <a:xfrm>
            <a:off x="7812957" y="417497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78">
            <a:extLst>
              <a:ext uri="{FF2B5EF4-FFF2-40B4-BE49-F238E27FC236}">
                <a16:creationId xmlns:a16="http://schemas.microsoft.com/office/drawing/2014/main" id="{618D03A3-25DC-9B42-8667-B7AD8710E6E2}"/>
              </a:ext>
            </a:extLst>
          </p:cNvPr>
          <p:cNvSpPr>
            <a:spLocks/>
          </p:cNvSpPr>
          <p:nvPr/>
        </p:nvSpPr>
        <p:spPr bwMode="auto">
          <a:xfrm>
            <a:off x="7812957" y="4251907"/>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79">
            <a:extLst>
              <a:ext uri="{FF2B5EF4-FFF2-40B4-BE49-F238E27FC236}">
                <a16:creationId xmlns:a16="http://schemas.microsoft.com/office/drawing/2014/main" id="{3492B10C-71A9-5347-B192-AFCD4E696614}"/>
              </a:ext>
            </a:extLst>
          </p:cNvPr>
          <p:cNvSpPr>
            <a:spLocks/>
          </p:cNvSpPr>
          <p:nvPr/>
        </p:nvSpPr>
        <p:spPr bwMode="auto">
          <a:xfrm>
            <a:off x="7812957" y="4327825"/>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80">
            <a:extLst>
              <a:ext uri="{FF2B5EF4-FFF2-40B4-BE49-F238E27FC236}">
                <a16:creationId xmlns:a16="http://schemas.microsoft.com/office/drawing/2014/main" id="{B17BEE9E-2921-D64C-A8A2-AFE545F9AECD}"/>
              </a:ext>
            </a:extLst>
          </p:cNvPr>
          <p:cNvSpPr>
            <a:spLocks/>
          </p:cNvSpPr>
          <p:nvPr/>
        </p:nvSpPr>
        <p:spPr bwMode="auto">
          <a:xfrm>
            <a:off x="7812957" y="4402731"/>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81">
            <a:extLst>
              <a:ext uri="{FF2B5EF4-FFF2-40B4-BE49-F238E27FC236}">
                <a16:creationId xmlns:a16="http://schemas.microsoft.com/office/drawing/2014/main" id="{A22D2B3A-6FF8-2A45-AC9D-67786D38C578}"/>
              </a:ext>
            </a:extLst>
          </p:cNvPr>
          <p:cNvSpPr>
            <a:spLocks/>
          </p:cNvSpPr>
          <p:nvPr/>
        </p:nvSpPr>
        <p:spPr bwMode="auto">
          <a:xfrm>
            <a:off x="7812957" y="447966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82">
            <a:extLst>
              <a:ext uri="{FF2B5EF4-FFF2-40B4-BE49-F238E27FC236}">
                <a16:creationId xmlns:a16="http://schemas.microsoft.com/office/drawing/2014/main" id="{8EDFD0E2-7055-0A45-96D1-73F0EDEB12C3}"/>
              </a:ext>
            </a:extLst>
          </p:cNvPr>
          <p:cNvSpPr>
            <a:spLocks/>
          </p:cNvSpPr>
          <p:nvPr/>
        </p:nvSpPr>
        <p:spPr bwMode="auto">
          <a:xfrm>
            <a:off x="7812957" y="455659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83">
            <a:extLst>
              <a:ext uri="{FF2B5EF4-FFF2-40B4-BE49-F238E27FC236}">
                <a16:creationId xmlns:a16="http://schemas.microsoft.com/office/drawing/2014/main" id="{8EF852D8-0CA0-B84B-8D13-AD658BC4298E}"/>
              </a:ext>
            </a:extLst>
          </p:cNvPr>
          <p:cNvSpPr>
            <a:spLocks/>
          </p:cNvSpPr>
          <p:nvPr/>
        </p:nvSpPr>
        <p:spPr bwMode="auto">
          <a:xfrm>
            <a:off x="7812957" y="4630487"/>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84">
            <a:extLst>
              <a:ext uri="{FF2B5EF4-FFF2-40B4-BE49-F238E27FC236}">
                <a16:creationId xmlns:a16="http://schemas.microsoft.com/office/drawing/2014/main" id="{E08F0A71-1170-524F-84C5-4C1398A3CE52}"/>
              </a:ext>
            </a:extLst>
          </p:cNvPr>
          <p:cNvSpPr>
            <a:spLocks/>
          </p:cNvSpPr>
          <p:nvPr/>
        </p:nvSpPr>
        <p:spPr bwMode="auto">
          <a:xfrm>
            <a:off x="7812957" y="4707417"/>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85">
            <a:extLst>
              <a:ext uri="{FF2B5EF4-FFF2-40B4-BE49-F238E27FC236}">
                <a16:creationId xmlns:a16="http://schemas.microsoft.com/office/drawing/2014/main" id="{EFC6D28F-47FA-4540-B671-077A208FFF79}"/>
              </a:ext>
            </a:extLst>
          </p:cNvPr>
          <p:cNvSpPr>
            <a:spLocks/>
          </p:cNvSpPr>
          <p:nvPr/>
        </p:nvSpPr>
        <p:spPr bwMode="auto">
          <a:xfrm>
            <a:off x="7812957" y="4784348"/>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86">
            <a:extLst>
              <a:ext uri="{FF2B5EF4-FFF2-40B4-BE49-F238E27FC236}">
                <a16:creationId xmlns:a16="http://schemas.microsoft.com/office/drawing/2014/main" id="{ECA01C33-CF8C-9F4E-BAD8-0778F5ADB817}"/>
              </a:ext>
            </a:extLst>
          </p:cNvPr>
          <p:cNvSpPr>
            <a:spLocks/>
          </p:cNvSpPr>
          <p:nvPr/>
        </p:nvSpPr>
        <p:spPr bwMode="auto">
          <a:xfrm>
            <a:off x="7812957" y="4861279"/>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87">
            <a:extLst>
              <a:ext uri="{FF2B5EF4-FFF2-40B4-BE49-F238E27FC236}">
                <a16:creationId xmlns:a16="http://schemas.microsoft.com/office/drawing/2014/main" id="{E7B8B6FC-73E7-5948-B9C8-47BFF8C97B05}"/>
              </a:ext>
            </a:extLst>
          </p:cNvPr>
          <p:cNvSpPr>
            <a:spLocks/>
          </p:cNvSpPr>
          <p:nvPr/>
        </p:nvSpPr>
        <p:spPr bwMode="auto">
          <a:xfrm>
            <a:off x="7812957" y="493618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88">
            <a:extLst>
              <a:ext uri="{FF2B5EF4-FFF2-40B4-BE49-F238E27FC236}">
                <a16:creationId xmlns:a16="http://schemas.microsoft.com/office/drawing/2014/main" id="{AC6C8724-1678-9143-BAC9-4A632F3C382D}"/>
              </a:ext>
            </a:extLst>
          </p:cNvPr>
          <p:cNvSpPr>
            <a:spLocks/>
          </p:cNvSpPr>
          <p:nvPr/>
        </p:nvSpPr>
        <p:spPr bwMode="auto">
          <a:xfrm>
            <a:off x="7812957" y="501311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89">
            <a:extLst>
              <a:ext uri="{FF2B5EF4-FFF2-40B4-BE49-F238E27FC236}">
                <a16:creationId xmlns:a16="http://schemas.microsoft.com/office/drawing/2014/main" id="{5E077FF6-6755-6041-B525-858F546063FC}"/>
              </a:ext>
            </a:extLst>
          </p:cNvPr>
          <p:cNvSpPr>
            <a:spLocks/>
          </p:cNvSpPr>
          <p:nvPr/>
        </p:nvSpPr>
        <p:spPr bwMode="auto">
          <a:xfrm>
            <a:off x="7812957" y="509004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90">
            <a:extLst>
              <a:ext uri="{FF2B5EF4-FFF2-40B4-BE49-F238E27FC236}">
                <a16:creationId xmlns:a16="http://schemas.microsoft.com/office/drawing/2014/main" id="{4F711ADA-2B94-9047-A560-119BD71B90D9}"/>
              </a:ext>
            </a:extLst>
          </p:cNvPr>
          <p:cNvSpPr>
            <a:spLocks/>
          </p:cNvSpPr>
          <p:nvPr/>
        </p:nvSpPr>
        <p:spPr bwMode="auto">
          <a:xfrm>
            <a:off x="7812957" y="5163940"/>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91">
            <a:extLst>
              <a:ext uri="{FF2B5EF4-FFF2-40B4-BE49-F238E27FC236}">
                <a16:creationId xmlns:a16="http://schemas.microsoft.com/office/drawing/2014/main" id="{5948DF67-EFF1-E74C-8EEE-74235FF163A2}"/>
              </a:ext>
            </a:extLst>
          </p:cNvPr>
          <p:cNvSpPr>
            <a:spLocks/>
          </p:cNvSpPr>
          <p:nvPr/>
        </p:nvSpPr>
        <p:spPr bwMode="auto">
          <a:xfrm>
            <a:off x="7812957" y="524087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92">
            <a:extLst>
              <a:ext uri="{FF2B5EF4-FFF2-40B4-BE49-F238E27FC236}">
                <a16:creationId xmlns:a16="http://schemas.microsoft.com/office/drawing/2014/main" id="{D52F5AD0-BF01-3149-8B5A-A4712BF1B47A}"/>
              </a:ext>
            </a:extLst>
          </p:cNvPr>
          <p:cNvSpPr>
            <a:spLocks/>
          </p:cNvSpPr>
          <p:nvPr/>
        </p:nvSpPr>
        <p:spPr bwMode="auto">
          <a:xfrm>
            <a:off x="7812957" y="531780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93">
            <a:extLst>
              <a:ext uri="{FF2B5EF4-FFF2-40B4-BE49-F238E27FC236}">
                <a16:creationId xmlns:a16="http://schemas.microsoft.com/office/drawing/2014/main" id="{0DD649E6-5B14-3346-8409-828A7ECFE4FD}"/>
              </a:ext>
            </a:extLst>
          </p:cNvPr>
          <p:cNvSpPr>
            <a:spLocks/>
          </p:cNvSpPr>
          <p:nvPr/>
        </p:nvSpPr>
        <p:spPr bwMode="auto">
          <a:xfrm>
            <a:off x="7812957" y="5394732"/>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94">
            <a:extLst>
              <a:ext uri="{FF2B5EF4-FFF2-40B4-BE49-F238E27FC236}">
                <a16:creationId xmlns:a16="http://schemas.microsoft.com/office/drawing/2014/main" id="{B3650FB4-49E7-A847-8898-E469B62EFE09}"/>
              </a:ext>
            </a:extLst>
          </p:cNvPr>
          <p:cNvSpPr>
            <a:spLocks/>
          </p:cNvSpPr>
          <p:nvPr/>
        </p:nvSpPr>
        <p:spPr bwMode="auto">
          <a:xfrm>
            <a:off x="7812957" y="546963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95">
            <a:extLst>
              <a:ext uri="{FF2B5EF4-FFF2-40B4-BE49-F238E27FC236}">
                <a16:creationId xmlns:a16="http://schemas.microsoft.com/office/drawing/2014/main" id="{A963847F-EF24-1943-8BAE-949A374D6C5D}"/>
              </a:ext>
            </a:extLst>
          </p:cNvPr>
          <p:cNvSpPr>
            <a:spLocks/>
          </p:cNvSpPr>
          <p:nvPr/>
        </p:nvSpPr>
        <p:spPr bwMode="auto">
          <a:xfrm>
            <a:off x="7812957" y="554656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96">
            <a:extLst>
              <a:ext uri="{FF2B5EF4-FFF2-40B4-BE49-F238E27FC236}">
                <a16:creationId xmlns:a16="http://schemas.microsoft.com/office/drawing/2014/main" id="{0A0A1B19-0B87-1B47-A0D3-3F6F2CCDF65E}"/>
              </a:ext>
            </a:extLst>
          </p:cNvPr>
          <p:cNvSpPr>
            <a:spLocks/>
          </p:cNvSpPr>
          <p:nvPr/>
        </p:nvSpPr>
        <p:spPr bwMode="auto">
          <a:xfrm>
            <a:off x="7812957" y="5623500"/>
            <a:ext cx="461584" cy="237878"/>
          </a:xfrm>
          <a:custGeom>
            <a:avLst/>
            <a:gdLst>
              <a:gd name="T0" fmla="*/ 6 w 192"/>
              <a:gd name="T1" fmla="*/ 99 h 99"/>
              <a:gd name="T2" fmla="*/ 190 w 192"/>
              <a:gd name="T3" fmla="*/ 8 h 99"/>
              <a:gd name="T4" fmla="*/ 191 w 192"/>
              <a:gd name="T5" fmla="*/ 3 h 99"/>
              <a:gd name="T6" fmla="*/ 186 w 192"/>
              <a:gd name="T7" fmla="*/ 1 h 99"/>
              <a:gd name="T8" fmla="*/ 3 w 192"/>
              <a:gd name="T9" fmla="*/ 91 h 99"/>
              <a:gd name="T10" fmla="*/ 1 w 192"/>
              <a:gd name="T11" fmla="*/ 97 h 99"/>
              <a:gd name="T12" fmla="*/ 6 w 192"/>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99"/>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97">
            <a:extLst>
              <a:ext uri="{FF2B5EF4-FFF2-40B4-BE49-F238E27FC236}">
                <a16:creationId xmlns:a16="http://schemas.microsoft.com/office/drawing/2014/main" id="{5996D513-C04D-FF40-AF08-D929369DED55}"/>
              </a:ext>
            </a:extLst>
          </p:cNvPr>
          <p:cNvSpPr>
            <a:spLocks/>
          </p:cNvSpPr>
          <p:nvPr/>
        </p:nvSpPr>
        <p:spPr bwMode="auto">
          <a:xfrm>
            <a:off x="7812957" y="569739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98">
            <a:extLst>
              <a:ext uri="{FF2B5EF4-FFF2-40B4-BE49-F238E27FC236}">
                <a16:creationId xmlns:a16="http://schemas.microsoft.com/office/drawing/2014/main" id="{04A337FC-61E9-EE4A-A148-B748957FEC47}"/>
              </a:ext>
            </a:extLst>
          </p:cNvPr>
          <p:cNvSpPr>
            <a:spLocks/>
          </p:cNvSpPr>
          <p:nvPr/>
        </p:nvSpPr>
        <p:spPr bwMode="auto">
          <a:xfrm>
            <a:off x="7812957" y="57743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99">
            <a:extLst>
              <a:ext uri="{FF2B5EF4-FFF2-40B4-BE49-F238E27FC236}">
                <a16:creationId xmlns:a16="http://schemas.microsoft.com/office/drawing/2014/main" id="{39FA508C-F03B-C649-B65E-051D223161C9}"/>
              </a:ext>
            </a:extLst>
          </p:cNvPr>
          <p:cNvSpPr>
            <a:spLocks/>
          </p:cNvSpPr>
          <p:nvPr/>
        </p:nvSpPr>
        <p:spPr bwMode="auto">
          <a:xfrm>
            <a:off x="7812957" y="585125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200">
            <a:extLst>
              <a:ext uri="{FF2B5EF4-FFF2-40B4-BE49-F238E27FC236}">
                <a16:creationId xmlns:a16="http://schemas.microsoft.com/office/drawing/2014/main" id="{C8D723BC-02FC-834F-AD2B-48BEC8BED42C}"/>
              </a:ext>
            </a:extLst>
          </p:cNvPr>
          <p:cNvSpPr>
            <a:spLocks/>
          </p:cNvSpPr>
          <p:nvPr/>
        </p:nvSpPr>
        <p:spPr bwMode="auto">
          <a:xfrm>
            <a:off x="7812957" y="5928186"/>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201">
            <a:extLst>
              <a:ext uri="{FF2B5EF4-FFF2-40B4-BE49-F238E27FC236}">
                <a16:creationId xmlns:a16="http://schemas.microsoft.com/office/drawing/2014/main" id="{6F6699C7-DA76-4941-8A4F-7C0FA435ADAF}"/>
              </a:ext>
            </a:extLst>
          </p:cNvPr>
          <p:cNvSpPr>
            <a:spLocks/>
          </p:cNvSpPr>
          <p:nvPr/>
        </p:nvSpPr>
        <p:spPr bwMode="auto">
          <a:xfrm>
            <a:off x="7812957" y="600309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202">
            <a:extLst>
              <a:ext uri="{FF2B5EF4-FFF2-40B4-BE49-F238E27FC236}">
                <a16:creationId xmlns:a16="http://schemas.microsoft.com/office/drawing/2014/main" id="{A10EB964-E604-8944-A937-6A54EB9CEDC5}"/>
              </a:ext>
            </a:extLst>
          </p:cNvPr>
          <p:cNvSpPr>
            <a:spLocks/>
          </p:cNvSpPr>
          <p:nvPr/>
        </p:nvSpPr>
        <p:spPr bwMode="auto">
          <a:xfrm>
            <a:off x="7102360" y="4117278"/>
            <a:ext cx="713633" cy="712621"/>
          </a:xfrm>
          <a:custGeom>
            <a:avLst/>
            <a:gdLst>
              <a:gd name="T0" fmla="*/ 297 w 297"/>
              <a:gd name="T1" fmla="*/ 167 h 297"/>
              <a:gd name="T2" fmla="*/ 297 w 297"/>
              <a:gd name="T3" fmla="*/ 127 h 297"/>
              <a:gd name="T4" fmla="*/ 273 w 297"/>
              <a:gd name="T5" fmla="*/ 122 h 297"/>
              <a:gd name="T6" fmla="*/ 268 w 297"/>
              <a:gd name="T7" fmla="*/ 107 h 297"/>
              <a:gd name="T8" fmla="*/ 286 w 297"/>
              <a:gd name="T9" fmla="*/ 91 h 297"/>
              <a:gd name="T10" fmla="*/ 266 w 297"/>
              <a:gd name="T11" fmla="*/ 56 h 297"/>
              <a:gd name="T12" fmla="*/ 241 w 297"/>
              <a:gd name="T13" fmla="*/ 64 h 297"/>
              <a:gd name="T14" fmla="*/ 231 w 297"/>
              <a:gd name="T15" fmla="*/ 54 h 297"/>
              <a:gd name="T16" fmla="*/ 239 w 297"/>
              <a:gd name="T17" fmla="*/ 30 h 297"/>
              <a:gd name="T18" fmla="*/ 204 w 297"/>
              <a:gd name="T19" fmla="*/ 9 h 297"/>
              <a:gd name="T20" fmla="*/ 186 w 297"/>
              <a:gd name="T21" fmla="*/ 29 h 297"/>
              <a:gd name="T22" fmla="*/ 173 w 297"/>
              <a:gd name="T23" fmla="*/ 26 h 297"/>
              <a:gd name="T24" fmla="*/ 167 w 297"/>
              <a:gd name="T25" fmla="*/ 0 h 297"/>
              <a:gd name="T26" fmla="*/ 127 w 297"/>
              <a:gd name="T27" fmla="*/ 0 h 297"/>
              <a:gd name="T28" fmla="*/ 121 w 297"/>
              <a:gd name="T29" fmla="*/ 26 h 297"/>
              <a:gd name="T30" fmla="*/ 107 w 297"/>
              <a:gd name="T31" fmla="*/ 29 h 297"/>
              <a:gd name="T32" fmla="*/ 91 w 297"/>
              <a:gd name="T33" fmla="*/ 11 h 297"/>
              <a:gd name="T34" fmla="*/ 56 w 297"/>
              <a:gd name="T35" fmla="*/ 31 h 297"/>
              <a:gd name="T36" fmla="*/ 63 w 297"/>
              <a:gd name="T37" fmla="*/ 54 h 297"/>
              <a:gd name="T38" fmla="*/ 51 w 297"/>
              <a:gd name="T39" fmla="*/ 65 h 297"/>
              <a:gd name="T40" fmla="*/ 30 w 297"/>
              <a:gd name="T41" fmla="*/ 58 h 297"/>
              <a:gd name="T42" fmla="*/ 9 w 297"/>
              <a:gd name="T43" fmla="*/ 93 h 297"/>
              <a:gd name="T44" fmla="*/ 25 w 297"/>
              <a:gd name="T45" fmla="*/ 108 h 297"/>
              <a:gd name="T46" fmla="*/ 20 w 297"/>
              <a:gd name="T47" fmla="*/ 126 h 297"/>
              <a:gd name="T48" fmla="*/ 0 w 297"/>
              <a:gd name="T49" fmla="*/ 130 h 297"/>
              <a:gd name="T50" fmla="*/ 0 w 297"/>
              <a:gd name="T51" fmla="*/ 170 h 297"/>
              <a:gd name="T52" fmla="*/ 19 w 297"/>
              <a:gd name="T53" fmla="*/ 174 h 297"/>
              <a:gd name="T54" fmla="*/ 24 w 297"/>
              <a:gd name="T55" fmla="*/ 194 h 297"/>
              <a:gd name="T56" fmla="*/ 11 w 297"/>
              <a:gd name="T57" fmla="*/ 206 h 297"/>
              <a:gd name="T58" fmla="*/ 31 w 297"/>
              <a:gd name="T59" fmla="*/ 241 h 297"/>
              <a:gd name="T60" fmla="*/ 48 w 297"/>
              <a:gd name="T61" fmla="*/ 236 h 297"/>
              <a:gd name="T62" fmla="*/ 64 w 297"/>
              <a:gd name="T63" fmla="*/ 252 h 297"/>
              <a:gd name="T64" fmla="*/ 58 w 297"/>
              <a:gd name="T65" fmla="*/ 267 h 297"/>
              <a:gd name="T66" fmla="*/ 93 w 297"/>
              <a:gd name="T67" fmla="*/ 288 h 297"/>
              <a:gd name="T68" fmla="*/ 105 w 297"/>
              <a:gd name="T69" fmla="*/ 275 h 297"/>
              <a:gd name="T70" fmla="*/ 126 w 297"/>
              <a:gd name="T71" fmla="*/ 280 h 297"/>
              <a:gd name="T72" fmla="*/ 130 w 297"/>
              <a:gd name="T73" fmla="*/ 297 h 297"/>
              <a:gd name="T74" fmla="*/ 170 w 297"/>
              <a:gd name="T75" fmla="*/ 297 h 297"/>
              <a:gd name="T76" fmla="*/ 174 w 297"/>
              <a:gd name="T77" fmla="*/ 279 h 297"/>
              <a:gd name="T78" fmla="*/ 195 w 297"/>
              <a:gd name="T79" fmla="*/ 273 h 297"/>
              <a:gd name="T80" fmla="*/ 206 w 297"/>
              <a:gd name="T81" fmla="*/ 286 h 297"/>
              <a:gd name="T82" fmla="*/ 241 w 297"/>
              <a:gd name="T83" fmla="*/ 266 h 297"/>
              <a:gd name="T84" fmla="*/ 235 w 297"/>
              <a:gd name="T85" fmla="*/ 247 h 297"/>
              <a:gd name="T86" fmla="*/ 249 w 297"/>
              <a:gd name="T87" fmla="*/ 233 h 297"/>
              <a:gd name="T88" fmla="*/ 267 w 297"/>
              <a:gd name="T89" fmla="*/ 239 h 297"/>
              <a:gd name="T90" fmla="*/ 288 w 297"/>
              <a:gd name="T91" fmla="*/ 204 h 297"/>
              <a:gd name="T92" fmla="*/ 271 w 297"/>
              <a:gd name="T93" fmla="*/ 189 h 297"/>
              <a:gd name="T94" fmla="*/ 275 w 297"/>
              <a:gd name="T95" fmla="*/ 172 h 297"/>
              <a:gd name="T96" fmla="*/ 297 w 297"/>
              <a:gd name="T97"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7" h="297">
                <a:moveTo>
                  <a:pt x="297" y="167"/>
                </a:moveTo>
                <a:cubicBezTo>
                  <a:pt x="297" y="127"/>
                  <a:pt x="297" y="127"/>
                  <a:pt x="297" y="127"/>
                </a:cubicBezTo>
                <a:cubicBezTo>
                  <a:pt x="273" y="122"/>
                  <a:pt x="273" y="122"/>
                  <a:pt x="273" y="122"/>
                </a:cubicBezTo>
                <a:cubicBezTo>
                  <a:pt x="271" y="117"/>
                  <a:pt x="270" y="112"/>
                  <a:pt x="268" y="107"/>
                </a:cubicBezTo>
                <a:cubicBezTo>
                  <a:pt x="286" y="91"/>
                  <a:pt x="286" y="91"/>
                  <a:pt x="286" y="91"/>
                </a:cubicBezTo>
                <a:cubicBezTo>
                  <a:pt x="266" y="56"/>
                  <a:pt x="266" y="56"/>
                  <a:pt x="266" y="56"/>
                </a:cubicBezTo>
                <a:cubicBezTo>
                  <a:pt x="241" y="64"/>
                  <a:pt x="241" y="64"/>
                  <a:pt x="241" y="64"/>
                </a:cubicBezTo>
                <a:cubicBezTo>
                  <a:pt x="238" y="60"/>
                  <a:pt x="234" y="57"/>
                  <a:pt x="231" y="54"/>
                </a:cubicBezTo>
                <a:cubicBezTo>
                  <a:pt x="239" y="30"/>
                  <a:pt x="239" y="30"/>
                  <a:pt x="239" y="30"/>
                </a:cubicBezTo>
                <a:cubicBezTo>
                  <a:pt x="204" y="9"/>
                  <a:pt x="204" y="9"/>
                  <a:pt x="204" y="9"/>
                </a:cubicBezTo>
                <a:cubicBezTo>
                  <a:pt x="186" y="29"/>
                  <a:pt x="186" y="29"/>
                  <a:pt x="186" y="29"/>
                </a:cubicBezTo>
                <a:cubicBezTo>
                  <a:pt x="181" y="28"/>
                  <a:pt x="177" y="27"/>
                  <a:pt x="173" y="26"/>
                </a:cubicBezTo>
                <a:cubicBezTo>
                  <a:pt x="167" y="0"/>
                  <a:pt x="167" y="0"/>
                  <a:pt x="167" y="0"/>
                </a:cubicBezTo>
                <a:cubicBezTo>
                  <a:pt x="127" y="0"/>
                  <a:pt x="127" y="0"/>
                  <a:pt x="127" y="0"/>
                </a:cubicBezTo>
                <a:cubicBezTo>
                  <a:pt x="121" y="26"/>
                  <a:pt x="121" y="26"/>
                  <a:pt x="121" y="26"/>
                </a:cubicBezTo>
                <a:cubicBezTo>
                  <a:pt x="116" y="27"/>
                  <a:pt x="112" y="28"/>
                  <a:pt x="107" y="29"/>
                </a:cubicBezTo>
                <a:cubicBezTo>
                  <a:pt x="91" y="11"/>
                  <a:pt x="91" y="11"/>
                  <a:pt x="91" y="11"/>
                </a:cubicBezTo>
                <a:cubicBezTo>
                  <a:pt x="56" y="31"/>
                  <a:pt x="56" y="31"/>
                  <a:pt x="56" y="31"/>
                </a:cubicBezTo>
                <a:cubicBezTo>
                  <a:pt x="63" y="54"/>
                  <a:pt x="63" y="54"/>
                  <a:pt x="63" y="54"/>
                </a:cubicBezTo>
                <a:cubicBezTo>
                  <a:pt x="59" y="58"/>
                  <a:pt x="55" y="61"/>
                  <a:pt x="51" y="65"/>
                </a:cubicBezTo>
                <a:cubicBezTo>
                  <a:pt x="30" y="58"/>
                  <a:pt x="30" y="58"/>
                  <a:pt x="30" y="58"/>
                </a:cubicBezTo>
                <a:cubicBezTo>
                  <a:pt x="9" y="93"/>
                  <a:pt x="9" y="93"/>
                  <a:pt x="9" y="93"/>
                </a:cubicBezTo>
                <a:cubicBezTo>
                  <a:pt x="25" y="108"/>
                  <a:pt x="25" y="108"/>
                  <a:pt x="25" y="108"/>
                </a:cubicBezTo>
                <a:cubicBezTo>
                  <a:pt x="23" y="114"/>
                  <a:pt x="22" y="120"/>
                  <a:pt x="20" y="126"/>
                </a:cubicBezTo>
                <a:cubicBezTo>
                  <a:pt x="0" y="130"/>
                  <a:pt x="0" y="130"/>
                  <a:pt x="0" y="130"/>
                </a:cubicBezTo>
                <a:cubicBezTo>
                  <a:pt x="0" y="170"/>
                  <a:pt x="0" y="170"/>
                  <a:pt x="0" y="170"/>
                </a:cubicBezTo>
                <a:cubicBezTo>
                  <a:pt x="19" y="174"/>
                  <a:pt x="19" y="174"/>
                  <a:pt x="19" y="174"/>
                </a:cubicBezTo>
                <a:cubicBezTo>
                  <a:pt x="21" y="181"/>
                  <a:pt x="22" y="188"/>
                  <a:pt x="24" y="194"/>
                </a:cubicBezTo>
                <a:cubicBezTo>
                  <a:pt x="11" y="206"/>
                  <a:pt x="11" y="206"/>
                  <a:pt x="11" y="206"/>
                </a:cubicBezTo>
                <a:cubicBezTo>
                  <a:pt x="31" y="241"/>
                  <a:pt x="31" y="241"/>
                  <a:pt x="31" y="241"/>
                </a:cubicBezTo>
                <a:cubicBezTo>
                  <a:pt x="48" y="236"/>
                  <a:pt x="48" y="236"/>
                  <a:pt x="48" y="236"/>
                </a:cubicBezTo>
                <a:cubicBezTo>
                  <a:pt x="53" y="242"/>
                  <a:pt x="58" y="247"/>
                  <a:pt x="64" y="252"/>
                </a:cubicBezTo>
                <a:cubicBezTo>
                  <a:pt x="58" y="267"/>
                  <a:pt x="58" y="267"/>
                  <a:pt x="58" y="267"/>
                </a:cubicBezTo>
                <a:cubicBezTo>
                  <a:pt x="93" y="288"/>
                  <a:pt x="93" y="288"/>
                  <a:pt x="93" y="288"/>
                </a:cubicBezTo>
                <a:cubicBezTo>
                  <a:pt x="105" y="275"/>
                  <a:pt x="105" y="275"/>
                  <a:pt x="105" y="275"/>
                </a:cubicBezTo>
                <a:cubicBezTo>
                  <a:pt x="112" y="277"/>
                  <a:pt x="119" y="279"/>
                  <a:pt x="126" y="280"/>
                </a:cubicBezTo>
                <a:cubicBezTo>
                  <a:pt x="130" y="297"/>
                  <a:pt x="130" y="297"/>
                  <a:pt x="130" y="297"/>
                </a:cubicBezTo>
                <a:cubicBezTo>
                  <a:pt x="170" y="297"/>
                  <a:pt x="170" y="297"/>
                  <a:pt x="170" y="297"/>
                </a:cubicBezTo>
                <a:cubicBezTo>
                  <a:pt x="174" y="279"/>
                  <a:pt x="174" y="279"/>
                  <a:pt x="174" y="279"/>
                </a:cubicBezTo>
                <a:cubicBezTo>
                  <a:pt x="181" y="278"/>
                  <a:pt x="188" y="275"/>
                  <a:pt x="195" y="273"/>
                </a:cubicBezTo>
                <a:cubicBezTo>
                  <a:pt x="206" y="286"/>
                  <a:pt x="206" y="286"/>
                  <a:pt x="206" y="286"/>
                </a:cubicBezTo>
                <a:cubicBezTo>
                  <a:pt x="241" y="266"/>
                  <a:pt x="241" y="266"/>
                  <a:pt x="241" y="266"/>
                </a:cubicBezTo>
                <a:cubicBezTo>
                  <a:pt x="235" y="247"/>
                  <a:pt x="235" y="247"/>
                  <a:pt x="235" y="247"/>
                </a:cubicBezTo>
                <a:cubicBezTo>
                  <a:pt x="240" y="243"/>
                  <a:pt x="245" y="238"/>
                  <a:pt x="249" y="233"/>
                </a:cubicBezTo>
                <a:cubicBezTo>
                  <a:pt x="267" y="239"/>
                  <a:pt x="267" y="239"/>
                  <a:pt x="267" y="239"/>
                </a:cubicBezTo>
                <a:cubicBezTo>
                  <a:pt x="288" y="204"/>
                  <a:pt x="288" y="204"/>
                  <a:pt x="288" y="204"/>
                </a:cubicBezTo>
                <a:cubicBezTo>
                  <a:pt x="271" y="189"/>
                  <a:pt x="271" y="189"/>
                  <a:pt x="271" y="189"/>
                </a:cubicBezTo>
                <a:cubicBezTo>
                  <a:pt x="273" y="183"/>
                  <a:pt x="274" y="178"/>
                  <a:pt x="275" y="172"/>
                </a:cubicBezTo>
                <a:lnTo>
                  <a:pt x="297" y="16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97" name="Freeform 203">
            <a:extLst>
              <a:ext uri="{FF2B5EF4-FFF2-40B4-BE49-F238E27FC236}">
                <a16:creationId xmlns:a16="http://schemas.microsoft.com/office/drawing/2014/main" id="{DC0EBF9C-4170-0144-A814-7D76F928A68D}"/>
              </a:ext>
            </a:extLst>
          </p:cNvPr>
          <p:cNvSpPr>
            <a:spLocks/>
          </p:cNvSpPr>
          <p:nvPr/>
        </p:nvSpPr>
        <p:spPr bwMode="auto">
          <a:xfrm>
            <a:off x="7088188" y="4102094"/>
            <a:ext cx="741976" cy="742988"/>
          </a:xfrm>
          <a:custGeom>
            <a:avLst/>
            <a:gdLst>
              <a:gd name="T0" fmla="*/ 304 w 309"/>
              <a:gd name="T1" fmla="*/ 127 h 309"/>
              <a:gd name="T2" fmla="*/ 280 w 309"/>
              <a:gd name="T3" fmla="*/ 111 h 309"/>
              <a:gd name="T4" fmla="*/ 297 w 309"/>
              <a:gd name="T5" fmla="*/ 94 h 309"/>
              <a:gd name="T6" fmla="*/ 247 w 309"/>
              <a:gd name="T7" fmla="*/ 70 h 309"/>
              <a:gd name="T8" fmla="*/ 242 w 309"/>
              <a:gd name="T9" fmla="*/ 62 h 309"/>
              <a:gd name="T10" fmla="*/ 205 w 309"/>
              <a:gd name="T11" fmla="*/ 11 h 309"/>
              <a:gd name="T12" fmla="*/ 180 w 309"/>
              <a:gd name="T13" fmla="*/ 26 h 309"/>
              <a:gd name="T14" fmla="*/ 173 w 309"/>
              <a:gd name="T15" fmla="*/ 0 h 309"/>
              <a:gd name="T16" fmla="*/ 127 w 309"/>
              <a:gd name="T17" fmla="*/ 32 h 309"/>
              <a:gd name="T18" fmla="*/ 118 w 309"/>
              <a:gd name="T19" fmla="*/ 31 h 309"/>
              <a:gd name="T20" fmla="*/ 56 w 309"/>
              <a:gd name="T21" fmla="*/ 39 h 309"/>
              <a:gd name="T22" fmla="*/ 53 w 309"/>
              <a:gd name="T23" fmla="*/ 67 h 309"/>
              <a:gd name="T24" fmla="*/ 30 w 309"/>
              <a:gd name="T25" fmla="*/ 61 h 309"/>
              <a:gd name="T26" fmla="*/ 31 w 309"/>
              <a:gd name="T27" fmla="*/ 114 h 309"/>
              <a:gd name="T28" fmla="*/ 25 w 309"/>
              <a:gd name="T29" fmla="*/ 126 h 309"/>
              <a:gd name="T30" fmla="*/ 5 w 309"/>
              <a:gd name="T31" fmla="*/ 182 h 309"/>
              <a:gd name="T32" fmla="*/ 25 w 309"/>
              <a:gd name="T33" fmla="*/ 202 h 309"/>
              <a:gd name="T34" fmla="*/ 12 w 309"/>
              <a:gd name="T35" fmla="*/ 215 h 309"/>
              <a:gd name="T36" fmla="*/ 54 w 309"/>
              <a:gd name="T37" fmla="*/ 242 h 309"/>
              <a:gd name="T38" fmla="*/ 64 w 309"/>
              <a:gd name="T39" fmla="*/ 256 h 309"/>
              <a:gd name="T40" fmla="*/ 104 w 309"/>
              <a:gd name="T41" fmla="*/ 298 h 309"/>
              <a:gd name="T42" fmla="*/ 131 w 309"/>
              <a:gd name="T43" fmla="*/ 292 h 309"/>
              <a:gd name="T44" fmla="*/ 136 w 309"/>
              <a:gd name="T45" fmla="*/ 309 h 309"/>
              <a:gd name="T46" fmla="*/ 180 w 309"/>
              <a:gd name="T47" fmla="*/ 285 h 309"/>
              <a:gd name="T48" fmla="*/ 196 w 309"/>
              <a:gd name="T49" fmla="*/ 283 h 309"/>
              <a:gd name="T50" fmla="*/ 253 w 309"/>
              <a:gd name="T51" fmla="*/ 270 h 309"/>
              <a:gd name="T52" fmla="*/ 259 w 309"/>
              <a:gd name="T53" fmla="*/ 242 h 309"/>
              <a:gd name="T54" fmla="*/ 279 w 309"/>
              <a:gd name="T55" fmla="*/ 248 h 309"/>
              <a:gd name="T56" fmla="*/ 277 w 309"/>
              <a:gd name="T57" fmla="*/ 195 h 309"/>
              <a:gd name="T58" fmla="*/ 282 w 309"/>
              <a:gd name="T59" fmla="*/ 184 h 309"/>
              <a:gd name="T60" fmla="*/ 301 w 309"/>
              <a:gd name="T61" fmla="*/ 167 h 309"/>
              <a:gd name="T62" fmla="*/ 273 w 309"/>
              <a:gd name="T63" fmla="*/ 199 h 309"/>
              <a:gd name="T64" fmla="*/ 250 w 309"/>
              <a:gd name="T65" fmla="*/ 235 h 309"/>
              <a:gd name="T66" fmla="*/ 214 w 309"/>
              <a:gd name="T67" fmla="*/ 284 h 309"/>
              <a:gd name="T68" fmla="*/ 174 w 309"/>
              <a:gd name="T69" fmla="*/ 284 h 309"/>
              <a:gd name="T70" fmla="*/ 133 w 309"/>
              <a:gd name="T71" fmla="*/ 280 h 309"/>
              <a:gd name="T72" fmla="*/ 72 w 309"/>
              <a:gd name="T73" fmla="*/ 271 h 309"/>
              <a:gd name="T74" fmla="*/ 52 w 309"/>
              <a:gd name="T75" fmla="*/ 236 h 309"/>
              <a:gd name="T76" fmla="*/ 36 w 309"/>
              <a:gd name="T77" fmla="*/ 198 h 309"/>
              <a:gd name="T78" fmla="*/ 12 w 309"/>
              <a:gd name="T79" fmla="*/ 141 h 309"/>
              <a:gd name="T80" fmla="*/ 35 w 309"/>
              <a:gd name="T81" fmla="*/ 109 h 309"/>
              <a:gd name="T82" fmla="*/ 62 w 309"/>
              <a:gd name="T83" fmla="*/ 75 h 309"/>
              <a:gd name="T84" fmla="*/ 95 w 309"/>
              <a:gd name="T85" fmla="*/ 25 h 309"/>
              <a:gd name="T86" fmla="*/ 133 w 309"/>
              <a:gd name="T87" fmla="*/ 33 h 309"/>
              <a:gd name="T88" fmla="*/ 177 w 309"/>
              <a:gd name="T89" fmla="*/ 38 h 309"/>
              <a:gd name="T90" fmla="*/ 237 w 309"/>
              <a:gd name="T91" fmla="*/ 38 h 309"/>
              <a:gd name="T92" fmla="*/ 249 w 309"/>
              <a:gd name="T93" fmla="*/ 75 h 309"/>
              <a:gd name="T94" fmla="*/ 268 w 309"/>
              <a:gd name="T95" fmla="*/ 115 h 309"/>
              <a:gd name="T96" fmla="*/ 297 w 309"/>
              <a:gd name="T97" fmla="*/ 17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9" h="309">
                <a:moveTo>
                  <a:pt x="303" y="173"/>
                </a:moveTo>
                <a:cubicBezTo>
                  <a:pt x="309" y="173"/>
                  <a:pt x="309" y="173"/>
                  <a:pt x="309" y="173"/>
                </a:cubicBezTo>
                <a:cubicBezTo>
                  <a:pt x="309" y="133"/>
                  <a:pt x="309" y="133"/>
                  <a:pt x="309" y="133"/>
                </a:cubicBezTo>
                <a:cubicBezTo>
                  <a:pt x="309" y="130"/>
                  <a:pt x="307" y="127"/>
                  <a:pt x="304" y="127"/>
                </a:cubicBezTo>
                <a:cubicBezTo>
                  <a:pt x="280" y="122"/>
                  <a:pt x="280" y="122"/>
                  <a:pt x="280" y="122"/>
                </a:cubicBezTo>
                <a:cubicBezTo>
                  <a:pt x="279" y="128"/>
                  <a:pt x="279" y="128"/>
                  <a:pt x="279" y="128"/>
                </a:cubicBezTo>
                <a:cubicBezTo>
                  <a:pt x="284" y="126"/>
                  <a:pt x="284" y="126"/>
                  <a:pt x="284" y="126"/>
                </a:cubicBezTo>
                <a:cubicBezTo>
                  <a:pt x="283" y="121"/>
                  <a:pt x="282" y="116"/>
                  <a:pt x="280" y="111"/>
                </a:cubicBezTo>
                <a:cubicBezTo>
                  <a:pt x="274" y="113"/>
                  <a:pt x="274" y="113"/>
                  <a:pt x="274" y="113"/>
                </a:cubicBezTo>
                <a:cubicBezTo>
                  <a:pt x="278" y="117"/>
                  <a:pt x="278" y="117"/>
                  <a:pt x="278" y="117"/>
                </a:cubicBezTo>
                <a:cubicBezTo>
                  <a:pt x="296" y="101"/>
                  <a:pt x="296" y="101"/>
                  <a:pt x="296" y="101"/>
                </a:cubicBezTo>
                <a:cubicBezTo>
                  <a:pt x="298" y="99"/>
                  <a:pt x="299" y="96"/>
                  <a:pt x="297" y="94"/>
                </a:cubicBezTo>
                <a:cubicBezTo>
                  <a:pt x="277" y="59"/>
                  <a:pt x="277" y="59"/>
                  <a:pt x="277" y="59"/>
                </a:cubicBezTo>
                <a:cubicBezTo>
                  <a:pt x="276" y="56"/>
                  <a:pt x="273" y="55"/>
                  <a:pt x="270" y="56"/>
                </a:cubicBezTo>
                <a:cubicBezTo>
                  <a:pt x="245" y="64"/>
                  <a:pt x="245" y="64"/>
                  <a:pt x="245" y="64"/>
                </a:cubicBezTo>
                <a:cubicBezTo>
                  <a:pt x="247" y="70"/>
                  <a:pt x="247" y="70"/>
                  <a:pt x="247" y="70"/>
                </a:cubicBezTo>
                <a:cubicBezTo>
                  <a:pt x="251" y="65"/>
                  <a:pt x="251" y="65"/>
                  <a:pt x="251" y="65"/>
                </a:cubicBezTo>
                <a:cubicBezTo>
                  <a:pt x="248" y="62"/>
                  <a:pt x="244" y="59"/>
                  <a:pt x="241" y="55"/>
                </a:cubicBezTo>
                <a:cubicBezTo>
                  <a:pt x="237" y="60"/>
                  <a:pt x="237" y="60"/>
                  <a:pt x="237" y="60"/>
                </a:cubicBezTo>
                <a:cubicBezTo>
                  <a:pt x="242" y="62"/>
                  <a:pt x="242" y="62"/>
                  <a:pt x="242" y="62"/>
                </a:cubicBezTo>
                <a:cubicBezTo>
                  <a:pt x="250" y="37"/>
                  <a:pt x="250" y="37"/>
                  <a:pt x="250" y="37"/>
                </a:cubicBezTo>
                <a:cubicBezTo>
                  <a:pt x="251" y="35"/>
                  <a:pt x="250" y="32"/>
                  <a:pt x="248" y="30"/>
                </a:cubicBezTo>
                <a:cubicBezTo>
                  <a:pt x="213" y="10"/>
                  <a:pt x="213" y="10"/>
                  <a:pt x="213" y="10"/>
                </a:cubicBezTo>
                <a:cubicBezTo>
                  <a:pt x="210" y="9"/>
                  <a:pt x="207" y="9"/>
                  <a:pt x="205" y="11"/>
                </a:cubicBezTo>
                <a:cubicBezTo>
                  <a:pt x="187" y="31"/>
                  <a:pt x="187" y="31"/>
                  <a:pt x="187" y="31"/>
                </a:cubicBezTo>
                <a:cubicBezTo>
                  <a:pt x="192" y="35"/>
                  <a:pt x="192" y="35"/>
                  <a:pt x="192" y="35"/>
                </a:cubicBezTo>
                <a:cubicBezTo>
                  <a:pt x="194" y="29"/>
                  <a:pt x="194" y="29"/>
                  <a:pt x="194" y="29"/>
                </a:cubicBezTo>
                <a:cubicBezTo>
                  <a:pt x="189" y="28"/>
                  <a:pt x="184" y="27"/>
                  <a:pt x="180" y="26"/>
                </a:cubicBezTo>
                <a:cubicBezTo>
                  <a:pt x="179" y="32"/>
                  <a:pt x="179" y="32"/>
                  <a:pt x="179" y="32"/>
                </a:cubicBezTo>
                <a:cubicBezTo>
                  <a:pt x="184" y="30"/>
                  <a:pt x="184" y="30"/>
                  <a:pt x="184" y="30"/>
                </a:cubicBezTo>
                <a:cubicBezTo>
                  <a:pt x="179" y="5"/>
                  <a:pt x="179" y="5"/>
                  <a:pt x="179" y="5"/>
                </a:cubicBezTo>
                <a:cubicBezTo>
                  <a:pt x="178" y="2"/>
                  <a:pt x="176" y="0"/>
                  <a:pt x="173" y="0"/>
                </a:cubicBezTo>
                <a:cubicBezTo>
                  <a:pt x="133" y="0"/>
                  <a:pt x="133" y="0"/>
                  <a:pt x="133" y="0"/>
                </a:cubicBezTo>
                <a:cubicBezTo>
                  <a:pt x="130" y="0"/>
                  <a:pt x="127" y="2"/>
                  <a:pt x="127" y="5"/>
                </a:cubicBezTo>
                <a:cubicBezTo>
                  <a:pt x="121" y="30"/>
                  <a:pt x="121" y="30"/>
                  <a:pt x="121" y="30"/>
                </a:cubicBezTo>
                <a:cubicBezTo>
                  <a:pt x="127" y="32"/>
                  <a:pt x="127" y="32"/>
                  <a:pt x="127" y="32"/>
                </a:cubicBezTo>
                <a:cubicBezTo>
                  <a:pt x="126" y="26"/>
                  <a:pt x="126" y="26"/>
                  <a:pt x="126" y="26"/>
                </a:cubicBezTo>
                <a:cubicBezTo>
                  <a:pt x="121" y="27"/>
                  <a:pt x="116" y="28"/>
                  <a:pt x="111" y="30"/>
                </a:cubicBezTo>
                <a:cubicBezTo>
                  <a:pt x="113" y="35"/>
                  <a:pt x="113" y="35"/>
                  <a:pt x="113" y="35"/>
                </a:cubicBezTo>
                <a:cubicBezTo>
                  <a:pt x="118" y="31"/>
                  <a:pt x="118" y="31"/>
                  <a:pt x="118" y="31"/>
                </a:cubicBezTo>
                <a:cubicBezTo>
                  <a:pt x="101" y="13"/>
                  <a:pt x="101" y="13"/>
                  <a:pt x="101" y="13"/>
                </a:cubicBezTo>
                <a:cubicBezTo>
                  <a:pt x="99" y="11"/>
                  <a:pt x="96" y="10"/>
                  <a:pt x="94" y="12"/>
                </a:cubicBezTo>
                <a:cubicBezTo>
                  <a:pt x="59" y="32"/>
                  <a:pt x="59" y="32"/>
                  <a:pt x="59" y="32"/>
                </a:cubicBezTo>
                <a:cubicBezTo>
                  <a:pt x="56" y="33"/>
                  <a:pt x="55" y="36"/>
                  <a:pt x="56" y="39"/>
                </a:cubicBezTo>
                <a:cubicBezTo>
                  <a:pt x="63" y="62"/>
                  <a:pt x="63" y="62"/>
                  <a:pt x="63" y="62"/>
                </a:cubicBezTo>
                <a:cubicBezTo>
                  <a:pt x="69" y="60"/>
                  <a:pt x="69" y="60"/>
                  <a:pt x="69" y="60"/>
                </a:cubicBezTo>
                <a:cubicBezTo>
                  <a:pt x="65" y="55"/>
                  <a:pt x="65" y="55"/>
                  <a:pt x="65" y="55"/>
                </a:cubicBezTo>
                <a:cubicBezTo>
                  <a:pt x="61" y="59"/>
                  <a:pt x="57" y="63"/>
                  <a:pt x="53" y="67"/>
                </a:cubicBezTo>
                <a:cubicBezTo>
                  <a:pt x="57" y="71"/>
                  <a:pt x="57" y="71"/>
                  <a:pt x="57" y="71"/>
                </a:cubicBezTo>
                <a:cubicBezTo>
                  <a:pt x="59" y="66"/>
                  <a:pt x="59" y="66"/>
                  <a:pt x="59" y="66"/>
                </a:cubicBezTo>
                <a:cubicBezTo>
                  <a:pt x="37" y="59"/>
                  <a:pt x="37" y="59"/>
                  <a:pt x="37" y="59"/>
                </a:cubicBezTo>
                <a:cubicBezTo>
                  <a:pt x="35" y="58"/>
                  <a:pt x="32" y="59"/>
                  <a:pt x="30" y="61"/>
                </a:cubicBezTo>
                <a:cubicBezTo>
                  <a:pt x="10" y="96"/>
                  <a:pt x="10" y="96"/>
                  <a:pt x="10" y="96"/>
                </a:cubicBezTo>
                <a:cubicBezTo>
                  <a:pt x="9" y="99"/>
                  <a:pt x="9" y="102"/>
                  <a:pt x="11" y="104"/>
                </a:cubicBezTo>
                <a:cubicBezTo>
                  <a:pt x="27" y="118"/>
                  <a:pt x="27" y="118"/>
                  <a:pt x="27" y="118"/>
                </a:cubicBezTo>
                <a:cubicBezTo>
                  <a:pt x="31" y="114"/>
                  <a:pt x="31" y="114"/>
                  <a:pt x="31" y="114"/>
                </a:cubicBezTo>
                <a:cubicBezTo>
                  <a:pt x="26" y="112"/>
                  <a:pt x="26" y="112"/>
                  <a:pt x="26" y="112"/>
                </a:cubicBezTo>
                <a:cubicBezTo>
                  <a:pt x="24" y="118"/>
                  <a:pt x="22" y="124"/>
                  <a:pt x="20" y="130"/>
                </a:cubicBezTo>
                <a:cubicBezTo>
                  <a:pt x="26" y="132"/>
                  <a:pt x="26" y="132"/>
                  <a:pt x="26" y="132"/>
                </a:cubicBezTo>
                <a:cubicBezTo>
                  <a:pt x="25" y="126"/>
                  <a:pt x="25" y="126"/>
                  <a:pt x="25" y="126"/>
                </a:cubicBezTo>
                <a:cubicBezTo>
                  <a:pt x="5" y="130"/>
                  <a:pt x="5" y="130"/>
                  <a:pt x="5" y="130"/>
                </a:cubicBezTo>
                <a:cubicBezTo>
                  <a:pt x="2" y="131"/>
                  <a:pt x="0" y="133"/>
                  <a:pt x="0" y="136"/>
                </a:cubicBezTo>
                <a:cubicBezTo>
                  <a:pt x="0" y="176"/>
                  <a:pt x="0" y="176"/>
                  <a:pt x="0" y="176"/>
                </a:cubicBezTo>
                <a:cubicBezTo>
                  <a:pt x="0" y="179"/>
                  <a:pt x="2" y="182"/>
                  <a:pt x="5" y="182"/>
                </a:cubicBezTo>
                <a:cubicBezTo>
                  <a:pt x="24" y="186"/>
                  <a:pt x="24" y="186"/>
                  <a:pt x="24" y="186"/>
                </a:cubicBezTo>
                <a:cubicBezTo>
                  <a:pt x="25" y="180"/>
                  <a:pt x="25" y="180"/>
                  <a:pt x="25" y="180"/>
                </a:cubicBezTo>
                <a:cubicBezTo>
                  <a:pt x="19" y="181"/>
                  <a:pt x="19" y="181"/>
                  <a:pt x="19" y="181"/>
                </a:cubicBezTo>
                <a:cubicBezTo>
                  <a:pt x="21" y="189"/>
                  <a:pt x="22" y="196"/>
                  <a:pt x="25" y="202"/>
                </a:cubicBezTo>
                <a:cubicBezTo>
                  <a:pt x="30" y="200"/>
                  <a:pt x="30" y="200"/>
                  <a:pt x="30" y="200"/>
                </a:cubicBezTo>
                <a:cubicBezTo>
                  <a:pt x="26" y="196"/>
                  <a:pt x="26" y="196"/>
                  <a:pt x="26" y="196"/>
                </a:cubicBezTo>
                <a:cubicBezTo>
                  <a:pt x="13" y="208"/>
                  <a:pt x="13" y="208"/>
                  <a:pt x="13" y="208"/>
                </a:cubicBezTo>
                <a:cubicBezTo>
                  <a:pt x="11" y="210"/>
                  <a:pt x="10" y="213"/>
                  <a:pt x="12" y="215"/>
                </a:cubicBezTo>
                <a:cubicBezTo>
                  <a:pt x="32" y="250"/>
                  <a:pt x="32" y="250"/>
                  <a:pt x="32" y="250"/>
                </a:cubicBezTo>
                <a:cubicBezTo>
                  <a:pt x="33" y="253"/>
                  <a:pt x="36" y="254"/>
                  <a:pt x="39" y="253"/>
                </a:cubicBezTo>
                <a:cubicBezTo>
                  <a:pt x="56" y="248"/>
                  <a:pt x="56" y="248"/>
                  <a:pt x="56" y="248"/>
                </a:cubicBezTo>
                <a:cubicBezTo>
                  <a:pt x="54" y="242"/>
                  <a:pt x="54" y="242"/>
                  <a:pt x="54" y="242"/>
                </a:cubicBezTo>
                <a:cubicBezTo>
                  <a:pt x="49" y="246"/>
                  <a:pt x="49" y="246"/>
                  <a:pt x="49" y="246"/>
                </a:cubicBezTo>
                <a:cubicBezTo>
                  <a:pt x="54" y="252"/>
                  <a:pt x="60" y="257"/>
                  <a:pt x="66" y="262"/>
                </a:cubicBezTo>
                <a:cubicBezTo>
                  <a:pt x="70" y="258"/>
                  <a:pt x="70" y="258"/>
                  <a:pt x="70" y="258"/>
                </a:cubicBezTo>
                <a:cubicBezTo>
                  <a:pt x="64" y="256"/>
                  <a:pt x="64" y="256"/>
                  <a:pt x="64" y="256"/>
                </a:cubicBezTo>
                <a:cubicBezTo>
                  <a:pt x="59" y="272"/>
                  <a:pt x="59" y="272"/>
                  <a:pt x="59" y="272"/>
                </a:cubicBezTo>
                <a:cubicBezTo>
                  <a:pt x="58" y="274"/>
                  <a:pt x="59" y="277"/>
                  <a:pt x="61" y="279"/>
                </a:cubicBezTo>
                <a:cubicBezTo>
                  <a:pt x="96" y="299"/>
                  <a:pt x="96" y="299"/>
                  <a:pt x="96" y="299"/>
                </a:cubicBezTo>
                <a:cubicBezTo>
                  <a:pt x="99" y="300"/>
                  <a:pt x="102" y="300"/>
                  <a:pt x="104" y="298"/>
                </a:cubicBezTo>
                <a:cubicBezTo>
                  <a:pt x="115" y="285"/>
                  <a:pt x="115" y="285"/>
                  <a:pt x="115" y="285"/>
                </a:cubicBezTo>
                <a:cubicBezTo>
                  <a:pt x="111" y="281"/>
                  <a:pt x="111" y="281"/>
                  <a:pt x="111" y="281"/>
                </a:cubicBezTo>
                <a:cubicBezTo>
                  <a:pt x="109" y="287"/>
                  <a:pt x="109" y="287"/>
                  <a:pt x="109" y="287"/>
                </a:cubicBezTo>
                <a:cubicBezTo>
                  <a:pt x="116" y="289"/>
                  <a:pt x="124" y="291"/>
                  <a:pt x="131" y="292"/>
                </a:cubicBezTo>
                <a:cubicBezTo>
                  <a:pt x="132" y="286"/>
                  <a:pt x="132" y="286"/>
                  <a:pt x="132" y="286"/>
                </a:cubicBezTo>
                <a:cubicBezTo>
                  <a:pt x="127" y="288"/>
                  <a:pt x="127" y="288"/>
                  <a:pt x="127" y="288"/>
                </a:cubicBezTo>
                <a:cubicBezTo>
                  <a:pt x="130" y="304"/>
                  <a:pt x="130" y="304"/>
                  <a:pt x="130" y="304"/>
                </a:cubicBezTo>
                <a:cubicBezTo>
                  <a:pt x="131" y="307"/>
                  <a:pt x="133" y="309"/>
                  <a:pt x="136" y="309"/>
                </a:cubicBezTo>
                <a:cubicBezTo>
                  <a:pt x="176" y="309"/>
                  <a:pt x="176" y="309"/>
                  <a:pt x="176" y="309"/>
                </a:cubicBezTo>
                <a:cubicBezTo>
                  <a:pt x="179" y="309"/>
                  <a:pt x="182" y="307"/>
                  <a:pt x="182" y="304"/>
                </a:cubicBezTo>
                <a:cubicBezTo>
                  <a:pt x="186" y="286"/>
                  <a:pt x="186" y="286"/>
                  <a:pt x="186" y="286"/>
                </a:cubicBezTo>
                <a:cubicBezTo>
                  <a:pt x="180" y="285"/>
                  <a:pt x="180" y="285"/>
                  <a:pt x="180" y="285"/>
                </a:cubicBezTo>
                <a:cubicBezTo>
                  <a:pt x="181" y="291"/>
                  <a:pt x="181" y="291"/>
                  <a:pt x="181" y="291"/>
                </a:cubicBezTo>
                <a:cubicBezTo>
                  <a:pt x="189" y="289"/>
                  <a:pt x="196" y="287"/>
                  <a:pt x="203" y="284"/>
                </a:cubicBezTo>
                <a:cubicBezTo>
                  <a:pt x="201" y="279"/>
                  <a:pt x="201" y="279"/>
                  <a:pt x="201" y="279"/>
                </a:cubicBezTo>
                <a:cubicBezTo>
                  <a:pt x="196" y="283"/>
                  <a:pt x="196" y="283"/>
                  <a:pt x="196" y="283"/>
                </a:cubicBezTo>
                <a:cubicBezTo>
                  <a:pt x="208" y="296"/>
                  <a:pt x="208" y="296"/>
                  <a:pt x="208" y="296"/>
                </a:cubicBezTo>
                <a:cubicBezTo>
                  <a:pt x="210" y="298"/>
                  <a:pt x="213" y="299"/>
                  <a:pt x="215" y="297"/>
                </a:cubicBezTo>
                <a:cubicBezTo>
                  <a:pt x="250" y="277"/>
                  <a:pt x="250" y="277"/>
                  <a:pt x="250" y="277"/>
                </a:cubicBezTo>
                <a:cubicBezTo>
                  <a:pt x="253" y="276"/>
                  <a:pt x="254" y="273"/>
                  <a:pt x="253" y="270"/>
                </a:cubicBezTo>
                <a:cubicBezTo>
                  <a:pt x="247" y="251"/>
                  <a:pt x="247" y="251"/>
                  <a:pt x="247" y="251"/>
                </a:cubicBezTo>
                <a:cubicBezTo>
                  <a:pt x="241" y="253"/>
                  <a:pt x="241" y="253"/>
                  <a:pt x="241" y="253"/>
                </a:cubicBezTo>
                <a:cubicBezTo>
                  <a:pt x="245" y="257"/>
                  <a:pt x="245" y="257"/>
                  <a:pt x="245" y="257"/>
                </a:cubicBezTo>
                <a:cubicBezTo>
                  <a:pt x="250" y="253"/>
                  <a:pt x="255" y="248"/>
                  <a:pt x="259" y="242"/>
                </a:cubicBezTo>
                <a:cubicBezTo>
                  <a:pt x="255" y="239"/>
                  <a:pt x="255" y="239"/>
                  <a:pt x="255" y="239"/>
                </a:cubicBezTo>
                <a:cubicBezTo>
                  <a:pt x="253" y="244"/>
                  <a:pt x="253" y="244"/>
                  <a:pt x="253" y="244"/>
                </a:cubicBezTo>
                <a:cubicBezTo>
                  <a:pt x="272" y="250"/>
                  <a:pt x="272" y="250"/>
                  <a:pt x="272" y="250"/>
                </a:cubicBezTo>
                <a:cubicBezTo>
                  <a:pt x="274" y="251"/>
                  <a:pt x="277" y="250"/>
                  <a:pt x="279" y="248"/>
                </a:cubicBezTo>
                <a:cubicBezTo>
                  <a:pt x="299" y="213"/>
                  <a:pt x="299" y="213"/>
                  <a:pt x="299" y="213"/>
                </a:cubicBezTo>
                <a:cubicBezTo>
                  <a:pt x="300" y="210"/>
                  <a:pt x="300" y="207"/>
                  <a:pt x="298" y="205"/>
                </a:cubicBezTo>
                <a:cubicBezTo>
                  <a:pt x="281" y="190"/>
                  <a:pt x="281" y="190"/>
                  <a:pt x="281" y="190"/>
                </a:cubicBezTo>
                <a:cubicBezTo>
                  <a:pt x="277" y="195"/>
                  <a:pt x="277" y="195"/>
                  <a:pt x="277" y="195"/>
                </a:cubicBezTo>
                <a:cubicBezTo>
                  <a:pt x="283" y="196"/>
                  <a:pt x="283" y="196"/>
                  <a:pt x="283" y="196"/>
                </a:cubicBezTo>
                <a:cubicBezTo>
                  <a:pt x="285" y="191"/>
                  <a:pt x="286" y="185"/>
                  <a:pt x="287" y="179"/>
                </a:cubicBezTo>
                <a:cubicBezTo>
                  <a:pt x="281" y="178"/>
                  <a:pt x="281" y="178"/>
                  <a:pt x="281" y="178"/>
                </a:cubicBezTo>
                <a:cubicBezTo>
                  <a:pt x="282" y="184"/>
                  <a:pt x="282" y="184"/>
                  <a:pt x="282" y="184"/>
                </a:cubicBezTo>
                <a:cubicBezTo>
                  <a:pt x="304" y="179"/>
                  <a:pt x="304" y="179"/>
                  <a:pt x="304" y="179"/>
                </a:cubicBezTo>
                <a:cubicBezTo>
                  <a:pt x="307" y="178"/>
                  <a:pt x="309" y="176"/>
                  <a:pt x="309" y="173"/>
                </a:cubicBezTo>
                <a:cubicBezTo>
                  <a:pt x="303" y="173"/>
                  <a:pt x="303" y="173"/>
                  <a:pt x="303" y="173"/>
                </a:cubicBezTo>
                <a:cubicBezTo>
                  <a:pt x="301" y="167"/>
                  <a:pt x="301" y="167"/>
                  <a:pt x="301" y="167"/>
                </a:cubicBezTo>
                <a:cubicBezTo>
                  <a:pt x="280" y="172"/>
                  <a:pt x="280" y="172"/>
                  <a:pt x="280" y="172"/>
                </a:cubicBezTo>
                <a:cubicBezTo>
                  <a:pt x="277" y="172"/>
                  <a:pt x="275" y="174"/>
                  <a:pt x="275" y="177"/>
                </a:cubicBezTo>
                <a:cubicBezTo>
                  <a:pt x="274" y="182"/>
                  <a:pt x="273" y="188"/>
                  <a:pt x="271" y="193"/>
                </a:cubicBezTo>
                <a:cubicBezTo>
                  <a:pt x="271" y="195"/>
                  <a:pt x="271" y="198"/>
                  <a:pt x="273" y="199"/>
                </a:cubicBezTo>
                <a:cubicBezTo>
                  <a:pt x="286" y="211"/>
                  <a:pt x="286" y="211"/>
                  <a:pt x="286" y="211"/>
                </a:cubicBezTo>
                <a:cubicBezTo>
                  <a:pt x="271" y="237"/>
                  <a:pt x="271" y="237"/>
                  <a:pt x="271" y="237"/>
                </a:cubicBezTo>
                <a:cubicBezTo>
                  <a:pt x="256" y="233"/>
                  <a:pt x="256" y="233"/>
                  <a:pt x="256" y="233"/>
                </a:cubicBezTo>
                <a:cubicBezTo>
                  <a:pt x="254" y="232"/>
                  <a:pt x="251" y="233"/>
                  <a:pt x="250" y="235"/>
                </a:cubicBezTo>
                <a:cubicBezTo>
                  <a:pt x="246" y="240"/>
                  <a:pt x="242" y="244"/>
                  <a:pt x="237" y="249"/>
                </a:cubicBezTo>
                <a:cubicBezTo>
                  <a:pt x="236" y="250"/>
                  <a:pt x="235" y="253"/>
                  <a:pt x="236" y="255"/>
                </a:cubicBezTo>
                <a:cubicBezTo>
                  <a:pt x="240" y="269"/>
                  <a:pt x="240" y="269"/>
                  <a:pt x="240" y="269"/>
                </a:cubicBezTo>
                <a:cubicBezTo>
                  <a:pt x="214" y="284"/>
                  <a:pt x="214" y="284"/>
                  <a:pt x="214" y="284"/>
                </a:cubicBezTo>
                <a:cubicBezTo>
                  <a:pt x="205" y="275"/>
                  <a:pt x="205" y="275"/>
                  <a:pt x="205" y="275"/>
                </a:cubicBezTo>
                <a:cubicBezTo>
                  <a:pt x="203" y="273"/>
                  <a:pt x="201" y="272"/>
                  <a:pt x="198" y="273"/>
                </a:cubicBezTo>
                <a:cubicBezTo>
                  <a:pt x="192" y="276"/>
                  <a:pt x="186" y="278"/>
                  <a:pt x="179" y="279"/>
                </a:cubicBezTo>
                <a:cubicBezTo>
                  <a:pt x="177" y="280"/>
                  <a:pt x="175" y="282"/>
                  <a:pt x="174" y="284"/>
                </a:cubicBezTo>
                <a:cubicBezTo>
                  <a:pt x="171" y="297"/>
                  <a:pt x="171" y="297"/>
                  <a:pt x="171" y="297"/>
                </a:cubicBezTo>
                <a:cubicBezTo>
                  <a:pt x="141" y="297"/>
                  <a:pt x="141" y="297"/>
                  <a:pt x="141" y="297"/>
                </a:cubicBezTo>
                <a:cubicBezTo>
                  <a:pt x="138" y="285"/>
                  <a:pt x="138" y="285"/>
                  <a:pt x="138" y="285"/>
                </a:cubicBezTo>
                <a:cubicBezTo>
                  <a:pt x="138" y="283"/>
                  <a:pt x="136" y="281"/>
                  <a:pt x="133" y="280"/>
                </a:cubicBezTo>
                <a:cubicBezTo>
                  <a:pt x="126" y="279"/>
                  <a:pt x="119" y="278"/>
                  <a:pt x="113" y="275"/>
                </a:cubicBezTo>
                <a:cubicBezTo>
                  <a:pt x="111" y="274"/>
                  <a:pt x="108" y="275"/>
                  <a:pt x="106" y="277"/>
                </a:cubicBezTo>
                <a:cubicBezTo>
                  <a:pt x="98" y="286"/>
                  <a:pt x="98" y="286"/>
                  <a:pt x="98" y="286"/>
                </a:cubicBezTo>
                <a:cubicBezTo>
                  <a:pt x="72" y="271"/>
                  <a:pt x="72" y="271"/>
                  <a:pt x="72" y="271"/>
                </a:cubicBezTo>
                <a:cubicBezTo>
                  <a:pt x="75" y="259"/>
                  <a:pt x="75" y="259"/>
                  <a:pt x="75" y="259"/>
                </a:cubicBezTo>
                <a:cubicBezTo>
                  <a:pt x="76" y="257"/>
                  <a:pt x="75" y="254"/>
                  <a:pt x="73" y="253"/>
                </a:cubicBezTo>
                <a:cubicBezTo>
                  <a:pt x="68" y="248"/>
                  <a:pt x="63" y="243"/>
                  <a:pt x="59" y="238"/>
                </a:cubicBezTo>
                <a:cubicBezTo>
                  <a:pt x="57" y="236"/>
                  <a:pt x="54" y="236"/>
                  <a:pt x="52" y="236"/>
                </a:cubicBezTo>
                <a:cubicBezTo>
                  <a:pt x="40" y="240"/>
                  <a:pt x="40" y="240"/>
                  <a:pt x="40" y="240"/>
                </a:cubicBezTo>
                <a:cubicBezTo>
                  <a:pt x="25" y="214"/>
                  <a:pt x="25" y="214"/>
                  <a:pt x="25" y="214"/>
                </a:cubicBezTo>
                <a:cubicBezTo>
                  <a:pt x="34" y="205"/>
                  <a:pt x="34" y="205"/>
                  <a:pt x="34" y="205"/>
                </a:cubicBezTo>
                <a:cubicBezTo>
                  <a:pt x="36" y="203"/>
                  <a:pt x="37" y="201"/>
                  <a:pt x="36" y="198"/>
                </a:cubicBezTo>
                <a:cubicBezTo>
                  <a:pt x="34" y="192"/>
                  <a:pt x="32" y="186"/>
                  <a:pt x="31" y="179"/>
                </a:cubicBezTo>
                <a:cubicBezTo>
                  <a:pt x="31" y="177"/>
                  <a:pt x="29" y="175"/>
                  <a:pt x="27" y="175"/>
                </a:cubicBezTo>
                <a:cubicBezTo>
                  <a:pt x="12" y="171"/>
                  <a:pt x="12" y="171"/>
                  <a:pt x="12" y="171"/>
                </a:cubicBezTo>
                <a:cubicBezTo>
                  <a:pt x="12" y="141"/>
                  <a:pt x="12" y="141"/>
                  <a:pt x="12" y="141"/>
                </a:cubicBezTo>
                <a:cubicBezTo>
                  <a:pt x="28" y="138"/>
                  <a:pt x="28" y="138"/>
                  <a:pt x="28" y="138"/>
                </a:cubicBezTo>
                <a:cubicBezTo>
                  <a:pt x="30" y="137"/>
                  <a:pt x="32" y="135"/>
                  <a:pt x="32" y="133"/>
                </a:cubicBezTo>
                <a:cubicBezTo>
                  <a:pt x="33" y="127"/>
                  <a:pt x="35" y="121"/>
                  <a:pt x="37" y="116"/>
                </a:cubicBezTo>
                <a:cubicBezTo>
                  <a:pt x="38" y="114"/>
                  <a:pt x="37" y="111"/>
                  <a:pt x="35" y="109"/>
                </a:cubicBezTo>
                <a:cubicBezTo>
                  <a:pt x="23" y="98"/>
                  <a:pt x="23" y="98"/>
                  <a:pt x="23" y="98"/>
                </a:cubicBezTo>
                <a:cubicBezTo>
                  <a:pt x="38" y="72"/>
                  <a:pt x="38" y="72"/>
                  <a:pt x="38" y="72"/>
                </a:cubicBezTo>
                <a:cubicBezTo>
                  <a:pt x="55" y="77"/>
                  <a:pt x="55" y="77"/>
                  <a:pt x="55" y="77"/>
                </a:cubicBezTo>
                <a:cubicBezTo>
                  <a:pt x="58" y="78"/>
                  <a:pt x="60" y="77"/>
                  <a:pt x="62" y="75"/>
                </a:cubicBezTo>
                <a:cubicBezTo>
                  <a:pt x="65" y="72"/>
                  <a:pt x="69" y="68"/>
                  <a:pt x="73" y="65"/>
                </a:cubicBezTo>
                <a:cubicBezTo>
                  <a:pt x="75" y="63"/>
                  <a:pt x="75" y="61"/>
                  <a:pt x="75" y="58"/>
                </a:cubicBezTo>
                <a:cubicBezTo>
                  <a:pt x="69" y="40"/>
                  <a:pt x="69" y="40"/>
                  <a:pt x="69" y="40"/>
                </a:cubicBezTo>
                <a:cubicBezTo>
                  <a:pt x="95" y="25"/>
                  <a:pt x="95" y="25"/>
                  <a:pt x="95" y="25"/>
                </a:cubicBezTo>
                <a:cubicBezTo>
                  <a:pt x="109" y="39"/>
                  <a:pt x="109" y="39"/>
                  <a:pt x="109" y="39"/>
                </a:cubicBezTo>
                <a:cubicBezTo>
                  <a:pt x="110" y="41"/>
                  <a:pt x="113" y="42"/>
                  <a:pt x="115" y="41"/>
                </a:cubicBezTo>
                <a:cubicBezTo>
                  <a:pt x="119" y="40"/>
                  <a:pt x="124" y="38"/>
                  <a:pt x="128" y="38"/>
                </a:cubicBezTo>
                <a:cubicBezTo>
                  <a:pt x="131" y="37"/>
                  <a:pt x="133" y="35"/>
                  <a:pt x="133" y="33"/>
                </a:cubicBezTo>
                <a:cubicBezTo>
                  <a:pt x="138" y="12"/>
                  <a:pt x="138" y="12"/>
                  <a:pt x="138" y="12"/>
                </a:cubicBezTo>
                <a:cubicBezTo>
                  <a:pt x="168" y="12"/>
                  <a:pt x="168" y="12"/>
                  <a:pt x="168" y="12"/>
                </a:cubicBezTo>
                <a:cubicBezTo>
                  <a:pt x="173" y="33"/>
                  <a:pt x="173" y="33"/>
                  <a:pt x="173" y="33"/>
                </a:cubicBezTo>
                <a:cubicBezTo>
                  <a:pt x="173" y="35"/>
                  <a:pt x="175" y="37"/>
                  <a:pt x="177" y="38"/>
                </a:cubicBezTo>
                <a:cubicBezTo>
                  <a:pt x="182" y="38"/>
                  <a:pt x="186" y="39"/>
                  <a:pt x="190" y="41"/>
                </a:cubicBezTo>
                <a:cubicBezTo>
                  <a:pt x="192" y="42"/>
                  <a:pt x="195" y="41"/>
                  <a:pt x="196" y="39"/>
                </a:cubicBezTo>
                <a:cubicBezTo>
                  <a:pt x="211" y="23"/>
                  <a:pt x="211" y="23"/>
                  <a:pt x="211" y="23"/>
                </a:cubicBezTo>
                <a:cubicBezTo>
                  <a:pt x="237" y="38"/>
                  <a:pt x="237" y="38"/>
                  <a:pt x="237" y="38"/>
                </a:cubicBezTo>
                <a:cubicBezTo>
                  <a:pt x="231" y="58"/>
                  <a:pt x="231" y="58"/>
                  <a:pt x="231" y="58"/>
                </a:cubicBezTo>
                <a:cubicBezTo>
                  <a:pt x="230" y="60"/>
                  <a:pt x="231" y="63"/>
                  <a:pt x="233" y="65"/>
                </a:cubicBezTo>
                <a:cubicBezTo>
                  <a:pt x="236" y="67"/>
                  <a:pt x="239" y="71"/>
                  <a:pt x="243" y="74"/>
                </a:cubicBezTo>
                <a:cubicBezTo>
                  <a:pt x="244" y="75"/>
                  <a:pt x="247" y="76"/>
                  <a:pt x="249" y="75"/>
                </a:cubicBezTo>
                <a:cubicBezTo>
                  <a:pt x="269" y="69"/>
                  <a:pt x="269" y="69"/>
                  <a:pt x="269" y="69"/>
                </a:cubicBezTo>
                <a:cubicBezTo>
                  <a:pt x="284" y="95"/>
                  <a:pt x="284" y="95"/>
                  <a:pt x="284" y="95"/>
                </a:cubicBezTo>
                <a:cubicBezTo>
                  <a:pt x="270" y="108"/>
                  <a:pt x="270" y="108"/>
                  <a:pt x="270" y="108"/>
                </a:cubicBezTo>
                <a:cubicBezTo>
                  <a:pt x="268" y="110"/>
                  <a:pt x="268" y="113"/>
                  <a:pt x="268" y="115"/>
                </a:cubicBezTo>
                <a:cubicBezTo>
                  <a:pt x="270" y="120"/>
                  <a:pt x="272" y="124"/>
                  <a:pt x="273" y="129"/>
                </a:cubicBezTo>
                <a:cubicBezTo>
                  <a:pt x="273" y="131"/>
                  <a:pt x="275" y="133"/>
                  <a:pt x="277" y="133"/>
                </a:cubicBezTo>
                <a:cubicBezTo>
                  <a:pt x="297" y="138"/>
                  <a:pt x="297" y="138"/>
                  <a:pt x="297" y="138"/>
                </a:cubicBezTo>
                <a:cubicBezTo>
                  <a:pt x="297" y="173"/>
                  <a:pt x="297" y="173"/>
                  <a:pt x="297" y="173"/>
                </a:cubicBezTo>
                <a:cubicBezTo>
                  <a:pt x="303" y="173"/>
                  <a:pt x="303" y="173"/>
                  <a:pt x="303" y="173"/>
                </a:cubicBezTo>
                <a:cubicBezTo>
                  <a:pt x="301" y="167"/>
                  <a:pt x="301" y="167"/>
                  <a:pt x="301" y="167"/>
                </a:cubicBezTo>
                <a:lnTo>
                  <a:pt x="303" y="17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204">
            <a:extLst>
              <a:ext uri="{FF2B5EF4-FFF2-40B4-BE49-F238E27FC236}">
                <a16:creationId xmlns:a16="http://schemas.microsoft.com/office/drawing/2014/main" id="{2E88D22F-0418-2A4F-891A-DCAADDC79139}"/>
              </a:ext>
            </a:extLst>
          </p:cNvPr>
          <p:cNvSpPr>
            <a:spLocks noChangeArrowheads="1"/>
          </p:cNvSpPr>
          <p:nvPr/>
        </p:nvSpPr>
        <p:spPr bwMode="auto">
          <a:xfrm>
            <a:off x="5699387" y="5166977"/>
            <a:ext cx="2239088" cy="117421"/>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99" name="Freeform 206">
            <a:extLst>
              <a:ext uri="{FF2B5EF4-FFF2-40B4-BE49-F238E27FC236}">
                <a16:creationId xmlns:a16="http://schemas.microsoft.com/office/drawing/2014/main" id="{3B9E13AE-7AAB-3C4F-95AD-777E73272CA0}"/>
              </a:ext>
            </a:extLst>
          </p:cNvPr>
          <p:cNvSpPr>
            <a:spLocks/>
          </p:cNvSpPr>
          <p:nvPr/>
        </p:nvSpPr>
        <p:spPr bwMode="auto">
          <a:xfrm>
            <a:off x="5685215" y="5152805"/>
            <a:ext cx="2267431" cy="145763"/>
          </a:xfrm>
          <a:custGeom>
            <a:avLst/>
            <a:gdLst>
              <a:gd name="T0" fmla="*/ 938 w 944"/>
              <a:gd name="T1" fmla="*/ 55 h 61"/>
              <a:gd name="T2" fmla="*/ 938 w 944"/>
              <a:gd name="T3" fmla="*/ 49 h 61"/>
              <a:gd name="T4" fmla="*/ 12 w 944"/>
              <a:gd name="T5" fmla="*/ 49 h 61"/>
              <a:gd name="T6" fmla="*/ 12 w 944"/>
              <a:gd name="T7" fmla="*/ 12 h 61"/>
              <a:gd name="T8" fmla="*/ 932 w 944"/>
              <a:gd name="T9" fmla="*/ 12 h 61"/>
              <a:gd name="T10" fmla="*/ 932 w 944"/>
              <a:gd name="T11" fmla="*/ 55 h 61"/>
              <a:gd name="T12" fmla="*/ 938 w 944"/>
              <a:gd name="T13" fmla="*/ 55 h 61"/>
              <a:gd name="T14" fmla="*/ 938 w 944"/>
              <a:gd name="T15" fmla="*/ 49 h 61"/>
              <a:gd name="T16" fmla="*/ 938 w 944"/>
              <a:gd name="T17" fmla="*/ 55 h 61"/>
              <a:gd name="T18" fmla="*/ 944 w 944"/>
              <a:gd name="T19" fmla="*/ 55 h 61"/>
              <a:gd name="T20" fmla="*/ 944 w 944"/>
              <a:gd name="T21" fmla="*/ 6 h 61"/>
              <a:gd name="T22" fmla="*/ 943 w 944"/>
              <a:gd name="T23" fmla="*/ 2 h 61"/>
              <a:gd name="T24" fmla="*/ 938 w 944"/>
              <a:gd name="T25" fmla="*/ 0 h 61"/>
              <a:gd name="T26" fmla="*/ 6 w 944"/>
              <a:gd name="T27" fmla="*/ 0 h 61"/>
              <a:gd name="T28" fmla="*/ 2 w 944"/>
              <a:gd name="T29" fmla="*/ 2 h 61"/>
              <a:gd name="T30" fmla="*/ 0 w 944"/>
              <a:gd name="T31" fmla="*/ 6 h 61"/>
              <a:gd name="T32" fmla="*/ 0 w 944"/>
              <a:gd name="T33" fmla="*/ 55 h 61"/>
              <a:gd name="T34" fmla="*/ 2 w 944"/>
              <a:gd name="T35" fmla="*/ 60 h 61"/>
              <a:gd name="T36" fmla="*/ 6 w 944"/>
              <a:gd name="T37" fmla="*/ 61 h 61"/>
              <a:gd name="T38" fmla="*/ 938 w 944"/>
              <a:gd name="T39" fmla="*/ 61 h 61"/>
              <a:gd name="T40" fmla="*/ 943 w 944"/>
              <a:gd name="T41" fmla="*/ 60 h 61"/>
              <a:gd name="T42" fmla="*/ 944 w 944"/>
              <a:gd name="T43" fmla="*/ 55 h 61"/>
              <a:gd name="T44" fmla="*/ 938 w 944"/>
              <a:gd name="T45" fmla="*/ 5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61">
                <a:moveTo>
                  <a:pt x="938" y="55"/>
                </a:moveTo>
                <a:cubicBezTo>
                  <a:pt x="938" y="49"/>
                  <a:pt x="938" y="49"/>
                  <a:pt x="938" y="49"/>
                </a:cubicBezTo>
                <a:cubicBezTo>
                  <a:pt x="12" y="49"/>
                  <a:pt x="12" y="49"/>
                  <a:pt x="12" y="49"/>
                </a:cubicBezTo>
                <a:cubicBezTo>
                  <a:pt x="12" y="12"/>
                  <a:pt x="12" y="12"/>
                  <a:pt x="12" y="12"/>
                </a:cubicBezTo>
                <a:cubicBezTo>
                  <a:pt x="932" y="12"/>
                  <a:pt x="932" y="12"/>
                  <a:pt x="932" y="12"/>
                </a:cubicBezTo>
                <a:cubicBezTo>
                  <a:pt x="932" y="55"/>
                  <a:pt x="932" y="55"/>
                  <a:pt x="932" y="55"/>
                </a:cubicBezTo>
                <a:cubicBezTo>
                  <a:pt x="938" y="55"/>
                  <a:pt x="938" y="55"/>
                  <a:pt x="938" y="55"/>
                </a:cubicBezTo>
                <a:cubicBezTo>
                  <a:pt x="938" y="49"/>
                  <a:pt x="938" y="49"/>
                  <a:pt x="938" y="49"/>
                </a:cubicBezTo>
                <a:cubicBezTo>
                  <a:pt x="938" y="55"/>
                  <a:pt x="938" y="55"/>
                  <a:pt x="938" y="55"/>
                </a:cubicBezTo>
                <a:cubicBezTo>
                  <a:pt x="944" y="55"/>
                  <a:pt x="944" y="55"/>
                  <a:pt x="944" y="55"/>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55"/>
                  <a:pt x="0" y="55"/>
                  <a:pt x="0" y="55"/>
                </a:cubicBezTo>
                <a:cubicBezTo>
                  <a:pt x="0" y="57"/>
                  <a:pt x="1" y="59"/>
                  <a:pt x="2" y="60"/>
                </a:cubicBezTo>
                <a:cubicBezTo>
                  <a:pt x="3" y="61"/>
                  <a:pt x="5" y="61"/>
                  <a:pt x="6" y="61"/>
                </a:cubicBezTo>
                <a:cubicBezTo>
                  <a:pt x="938" y="61"/>
                  <a:pt x="938" y="61"/>
                  <a:pt x="938" y="61"/>
                </a:cubicBezTo>
                <a:cubicBezTo>
                  <a:pt x="940" y="61"/>
                  <a:pt x="942" y="61"/>
                  <a:pt x="943" y="60"/>
                </a:cubicBezTo>
                <a:cubicBezTo>
                  <a:pt x="944" y="59"/>
                  <a:pt x="944" y="57"/>
                  <a:pt x="944" y="55"/>
                </a:cubicBezTo>
                <a:lnTo>
                  <a:pt x="938" y="55"/>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207">
            <a:extLst>
              <a:ext uri="{FF2B5EF4-FFF2-40B4-BE49-F238E27FC236}">
                <a16:creationId xmlns:a16="http://schemas.microsoft.com/office/drawing/2014/main" id="{9A93BD36-6370-2947-B24D-614B5E08F057}"/>
              </a:ext>
            </a:extLst>
          </p:cNvPr>
          <p:cNvSpPr>
            <a:spLocks/>
          </p:cNvSpPr>
          <p:nvPr/>
        </p:nvSpPr>
        <p:spPr bwMode="auto">
          <a:xfrm>
            <a:off x="5826930" y="53947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208">
            <a:extLst>
              <a:ext uri="{FF2B5EF4-FFF2-40B4-BE49-F238E27FC236}">
                <a16:creationId xmlns:a16="http://schemas.microsoft.com/office/drawing/2014/main" id="{BC0BA45B-C775-E44B-8D5F-ECEE88F1101C}"/>
              </a:ext>
            </a:extLst>
          </p:cNvPr>
          <p:cNvSpPr>
            <a:spLocks/>
          </p:cNvSpPr>
          <p:nvPr/>
        </p:nvSpPr>
        <p:spPr bwMode="auto">
          <a:xfrm>
            <a:off x="5812758" y="5380561"/>
            <a:ext cx="333029"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4"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Rectangle 209">
            <a:extLst>
              <a:ext uri="{FF2B5EF4-FFF2-40B4-BE49-F238E27FC236}">
                <a16:creationId xmlns:a16="http://schemas.microsoft.com/office/drawing/2014/main" id="{D0921C14-1AC5-1040-ACF9-E9DFADCB08C5}"/>
              </a:ext>
            </a:extLst>
          </p:cNvPr>
          <p:cNvSpPr>
            <a:spLocks noChangeArrowheads="1"/>
          </p:cNvSpPr>
          <p:nvPr/>
        </p:nvSpPr>
        <p:spPr bwMode="auto">
          <a:xfrm>
            <a:off x="5831991" y="52843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210">
            <a:extLst>
              <a:ext uri="{FF2B5EF4-FFF2-40B4-BE49-F238E27FC236}">
                <a16:creationId xmlns:a16="http://schemas.microsoft.com/office/drawing/2014/main" id="{EA4B4D4E-642E-4C44-B99C-CC3C1DC16301}"/>
              </a:ext>
            </a:extLst>
          </p:cNvPr>
          <p:cNvSpPr>
            <a:spLocks/>
          </p:cNvSpPr>
          <p:nvPr/>
        </p:nvSpPr>
        <p:spPr bwMode="auto">
          <a:xfrm>
            <a:off x="5816807" y="52702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1" y="0"/>
                  <a:pt x="130" y="0"/>
                </a:cubicBezTo>
                <a:cubicBezTo>
                  <a:pt x="6" y="0"/>
                  <a:pt x="6" y="0"/>
                  <a:pt x="6" y="0"/>
                </a:cubicBezTo>
                <a:cubicBezTo>
                  <a:pt x="4" y="0"/>
                  <a:pt x="2" y="1"/>
                  <a:pt x="1" y="2"/>
                </a:cubicBezTo>
                <a:cubicBezTo>
                  <a:pt x="0" y="3"/>
                  <a:pt x="0" y="5"/>
                  <a:pt x="0" y="6"/>
                </a:cubicBezTo>
                <a:cubicBezTo>
                  <a:pt x="0" y="56"/>
                  <a:pt x="0" y="56"/>
                  <a:pt x="0" y="56"/>
                </a:cubicBezTo>
                <a:cubicBezTo>
                  <a:pt x="0" y="57"/>
                  <a:pt x="0" y="59"/>
                  <a:pt x="1" y="60"/>
                </a:cubicBezTo>
                <a:cubicBezTo>
                  <a:pt x="2" y="61"/>
                  <a:pt x="4" y="62"/>
                  <a:pt x="6" y="62"/>
                </a:cubicBezTo>
                <a:cubicBezTo>
                  <a:pt x="130" y="62"/>
                  <a:pt x="130" y="62"/>
                  <a:pt x="130" y="62"/>
                </a:cubicBezTo>
                <a:cubicBezTo>
                  <a:pt x="131"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Rectangle 211">
            <a:extLst>
              <a:ext uri="{FF2B5EF4-FFF2-40B4-BE49-F238E27FC236}">
                <a16:creationId xmlns:a16="http://schemas.microsoft.com/office/drawing/2014/main" id="{8610CBB3-018C-C645-AB25-53A5DFCA76CB}"/>
              </a:ext>
            </a:extLst>
          </p:cNvPr>
          <p:cNvSpPr>
            <a:spLocks noChangeArrowheads="1"/>
          </p:cNvSpPr>
          <p:nvPr/>
        </p:nvSpPr>
        <p:spPr bwMode="auto">
          <a:xfrm>
            <a:off x="5786440" y="5882635"/>
            <a:ext cx="386678" cy="136653"/>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212">
            <a:extLst>
              <a:ext uri="{FF2B5EF4-FFF2-40B4-BE49-F238E27FC236}">
                <a16:creationId xmlns:a16="http://schemas.microsoft.com/office/drawing/2014/main" id="{69830C2C-24AB-074B-B791-16FBF8CA1178}"/>
              </a:ext>
            </a:extLst>
          </p:cNvPr>
          <p:cNvSpPr>
            <a:spLocks/>
          </p:cNvSpPr>
          <p:nvPr/>
        </p:nvSpPr>
        <p:spPr bwMode="auto">
          <a:xfrm>
            <a:off x="5771256" y="5868463"/>
            <a:ext cx="416033" cy="166008"/>
          </a:xfrm>
          <a:custGeom>
            <a:avLst/>
            <a:gdLst>
              <a:gd name="T0" fmla="*/ 6 w 173"/>
              <a:gd name="T1" fmla="*/ 6 h 69"/>
              <a:gd name="T2" fmla="*/ 6 w 173"/>
              <a:gd name="T3" fmla="*/ 12 h 69"/>
              <a:gd name="T4" fmla="*/ 161 w 173"/>
              <a:gd name="T5" fmla="*/ 12 h 69"/>
              <a:gd name="T6" fmla="*/ 161 w 173"/>
              <a:gd name="T7" fmla="*/ 57 h 69"/>
              <a:gd name="T8" fmla="*/ 12 w 173"/>
              <a:gd name="T9" fmla="*/ 57 h 69"/>
              <a:gd name="T10" fmla="*/ 12 w 173"/>
              <a:gd name="T11" fmla="*/ 6 h 69"/>
              <a:gd name="T12" fmla="*/ 6 w 173"/>
              <a:gd name="T13" fmla="*/ 6 h 69"/>
              <a:gd name="T14" fmla="*/ 6 w 173"/>
              <a:gd name="T15" fmla="*/ 12 h 69"/>
              <a:gd name="T16" fmla="*/ 6 w 173"/>
              <a:gd name="T17" fmla="*/ 6 h 69"/>
              <a:gd name="T18" fmla="*/ 0 w 173"/>
              <a:gd name="T19" fmla="*/ 6 h 69"/>
              <a:gd name="T20" fmla="*/ 0 w 173"/>
              <a:gd name="T21" fmla="*/ 63 h 69"/>
              <a:gd name="T22" fmla="*/ 2 w 173"/>
              <a:gd name="T23" fmla="*/ 68 h 69"/>
              <a:gd name="T24" fmla="*/ 6 w 173"/>
              <a:gd name="T25" fmla="*/ 69 h 69"/>
              <a:gd name="T26" fmla="*/ 167 w 173"/>
              <a:gd name="T27" fmla="*/ 69 h 69"/>
              <a:gd name="T28" fmla="*/ 171 w 173"/>
              <a:gd name="T29" fmla="*/ 68 h 69"/>
              <a:gd name="T30" fmla="*/ 173 w 173"/>
              <a:gd name="T31" fmla="*/ 63 h 69"/>
              <a:gd name="T32" fmla="*/ 173 w 173"/>
              <a:gd name="T33" fmla="*/ 6 h 69"/>
              <a:gd name="T34" fmla="*/ 171 w 173"/>
              <a:gd name="T35" fmla="*/ 2 h 69"/>
              <a:gd name="T36" fmla="*/ 167 w 173"/>
              <a:gd name="T37" fmla="*/ 0 h 69"/>
              <a:gd name="T38" fmla="*/ 6 w 173"/>
              <a:gd name="T39" fmla="*/ 0 h 69"/>
              <a:gd name="T40" fmla="*/ 2 w 173"/>
              <a:gd name="T41" fmla="*/ 2 h 69"/>
              <a:gd name="T42" fmla="*/ 0 w 173"/>
              <a:gd name="T43" fmla="*/ 6 h 69"/>
              <a:gd name="T44" fmla="*/ 6 w 173"/>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3" h="69">
                <a:moveTo>
                  <a:pt x="6" y="6"/>
                </a:moveTo>
                <a:cubicBezTo>
                  <a:pt x="6" y="12"/>
                  <a:pt x="6" y="12"/>
                  <a:pt x="6" y="12"/>
                </a:cubicBezTo>
                <a:cubicBezTo>
                  <a:pt x="161" y="12"/>
                  <a:pt x="161" y="12"/>
                  <a:pt x="161" y="12"/>
                </a:cubicBezTo>
                <a:cubicBezTo>
                  <a:pt x="161" y="57"/>
                  <a:pt x="161" y="57"/>
                  <a:pt x="161"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1" y="66"/>
                  <a:pt x="2" y="68"/>
                </a:cubicBezTo>
                <a:cubicBezTo>
                  <a:pt x="3" y="69"/>
                  <a:pt x="5" y="69"/>
                  <a:pt x="6" y="69"/>
                </a:cubicBezTo>
                <a:cubicBezTo>
                  <a:pt x="167" y="69"/>
                  <a:pt x="167" y="69"/>
                  <a:pt x="167" y="69"/>
                </a:cubicBezTo>
                <a:cubicBezTo>
                  <a:pt x="169" y="69"/>
                  <a:pt x="170" y="69"/>
                  <a:pt x="171" y="68"/>
                </a:cubicBezTo>
                <a:cubicBezTo>
                  <a:pt x="172" y="66"/>
                  <a:pt x="173" y="65"/>
                  <a:pt x="173" y="63"/>
                </a:cubicBezTo>
                <a:cubicBezTo>
                  <a:pt x="173" y="6"/>
                  <a:pt x="173" y="6"/>
                  <a:pt x="173" y="6"/>
                </a:cubicBezTo>
                <a:cubicBezTo>
                  <a:pt x="173" y="4"/>
                  <a:pt x="172" y="3"/>
                  <a:pt x="171" y="2"/>
                </a:cubicBezTo>
                <a:cubicBezTo>
                  <a:pt x="170" y="1"/>
                  <a:pt x="169" y="0"/>
                  <a:pt x="167" y="0"/>
                </a:cubicBezTo>
                <a:cubicBezTo>
                  <a:pt x="6" y="0"/>
                  <a:pt x="6" y="0"/>
                  <a:pt x="6" y="0"/>
                </a:cubicBezTo>
                <a:cubicBezTo>
                  <a:pt x="5" y="0"/>
                  <a:pt x="3" y="1"/>
                  <a:pt x="2" y="2"/>
                </a:cubicBezTo>
                <a:cubicBezTo>
                  <a:pt x="1"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213">
            <a:extLst>
              <a:ext uri="{FF2B5EF4-FFF2-40B4-BE49-F238E27FC236}">
                <a16:creationId xmlns:a16="http://schemas.microsoft.com/office/drawing/2014/main" id="{A4857A09-7038-6544-A6AC-94C166C54FEE}"/>
              </a:ext>
            </a:extLst>
          </p:cNvPr>
          <p:cNvSpPr>
            <a:spLocks/>
          </p:cNvSpPr>
          <p:nvPr/>
        </p:nvSpPr>
        <p:spPr bwMode="auto">
          <a:xfrm>
            <a:off x="6386702" y="53947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214">
            <a:extLst>
              <a:ext uri="{FF2B5EF4-FFF2-40B4-BE49-F238E27FC236}">
                <a16:creationId xmlns:a16="http://schemas.microsoft.com/office/drawing/2014/main" id="{A1E4A555-C00F-4541-9690-BC70FEA8B40F}"/>
              </a:ext>
            </a:extLst>
          </p:cNvPr>
          <p:cNvSpPr>
            <a:spLocks/>
          </p:cNvSpPr>
          <p:nvPr/>
        </p:nvSpPr>
        <p:spPr bwMode="auto">
          <a:xfrm>
            <a:off x="6371518" y="53805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Rectangle 215">
            <a:extLst>
              <a:ext uri="{FF2B5EF4-FFF2-40B4-BE49-F238E27FC236}">
                <a16:creationId xmlns:a16="http://schemas.microsoft.com/office/drawing/2014/main" id="{AE3C50E7-BEE4-744F-A8F8-76336AA8CEB1}"/>
              </a:ext>
            </a:extLst>
          </p:cNvPr>
          <p:cNvSpPr>
            <a:spLocks noChangeArrowheads="1"/>
          </p:cNvSpPr>
          <p:nvPr/>
        </p:nvSpPr>
        <p:spPr bwMode="auto">
          <a:xfrm>
            <a:off x="6390751" y="5284397"/>
            <a:ext cx="298613" cy="120457"/>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216">
            <a:extLst>
              <a:ext uri="{FF2B5EF4-FFF2-40B4-BE49-F238E27FC236}">
                <a16:creationId xmlns:a16="http://schemas.microsoft.com/office/drawing/2014/main" id="{EE6E937C-281B-AF43-885C-251B25A34AFE}"/>
              </a:ext>
            </a:extLst>
          </p:cNvPr>
          <p:cNvSpPr>
            <a:spLocks/>
          </p:cNvSpPr>
          <p:nvPr/>
        </p:nvSpPr>
        <p:spPr bwMode="auto">
          <a:xfrm>
            <a:off x="6376579" y="52702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Rectangle 217">
            <a:extLst>
              <a:ext uri="{FF2B5EF4-FFF2-40B4-BE49-F238E27FC236}">
                <a16:creationId xmlns:a16="http://schemas.microsoft.com/office/drawing/2014/main" id="{E4FACF98-F0E0-6B49-B5B0-3798E5211A50}"/>
              </a:ext>
            </a:extLst>
          </p:cNvPr>
          <p:cNvSpPr>
            <a:spLocks noChangeArrowheads="1"/>
          </p:cNvSpPr>
          <p:nvPr/>
        </p:nvSpPr>
        <p:spPr bwMode="auto">
          <a:xfrm>
            <a:off x="6348237" y="5882635"/>
            <a:ext cx="383641" cy="136653"/>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218">
            <a:extLst>
              <a:ext uri="{FF2B5EF4-FFF2-40B4-BE49-F238E27FC236}">
                <a16:creationId xmlns:a16="http://schemas.microsoft.com/office/drawing/2014/main" id="{EBC9D24C-FECF-EE47-9D48-71234852ACAB}"/>
              </a:ext>
            </a:extLst>
          </p:cNvPr>
          <p:cNvSpPr>
            <a:spLocks/>
          </p:cNvSpPr>
          <p:nvPr/>
        </p:nvSpPr>
        <p:spPr bwMode="auto">
          <a:xfrm>
            <a:off x="6334065" y="58684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219">
            <a:extLst>
              <a:ext uri="{FF2B5EF4-FFF2-40B4-BE49-F238E27FC236}">
                <a16:creationId xmlns:a16="http://schemas.microsoft.com/office/drawing/2014/main" id="{FD6F309B-1238-B544-AB9A-7F7D85F4E952}"/>
              </a:ext>
            </a:extLst>
          </p:cNvPr>
          <p:cNvSpPr>
            <a:spLocks/>
          </p:cNvSpPr>
          <p:nvPr/>
        </p:nvSpPr>
        <p:spPr bwMode="auto">
          <a:xfrm>
            <a:off x="6946474" y="5394732"/>
            <a:ext cx="304686" cy="489927"/>
          </a:xfrm>
          <a:custGeom>
            <a:avLst/>
            <a:gdLst>
              <a:gd name="T0" fmla="*/ 33 w 301"/>
              <a:gd name="T1" fmla="*/ 0 h 484"/>
              <a:gd name="T2" fmla="*/ 0 w 301"/>
              <a:gd name="T3" fmla="*/ 484 h 484"/>
              <a:gd name="T4" fmla="*/ 151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1" y="484"/>
                </a:lnTo>
                <a:lnTo>
                  <a:pt x="301" y="484"/>
                </a:lnTo>
                <a:lnTo>
                  <a:pt x="268" y="0"/>
                </a:lnTo>
                <a:lnTo>
                  <a:pt x="33" y="0"/>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20">
            <a:extLst>
              <a:ext uri="{FF2B5EF4-FFF2-40B4-BE49-F238E27FC236}">
                <a16:creationId xmlns:a16="http://schemas.microsoft.com/office/drawing/2014/main" id="{205747B7-DCB4-0746-A14D-08C183C24CFD}"/>
              </a:ext>
            </a:extLst>
          </p:cNvPr>
          <p:cNvSpPr>
            <a:spLocks/>
          </p:cNvSpPr>
          <p:nvPr/>
        </p:nvSpPr>
        <p:spPr bwMode="auto">
          <a:xfrm>
            <a:off x="6931290" y="53805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Rectangle 221">
            <a:extLst>
              <a:ext uri="{FF2B5EF4-FFF2-40B4-BE49-F238E27FC236}">
                <a16:creationId xmlns:a16="http://schemas.microsoft.com/office/drawing/2014/main" id="{392FF8EF-2B85-AC46-B62F-30FDE4D7B6B8}"/>
              </a:ext>
            </a:extLst>
          </p:cNvPr>
          <p:cNvSpPr>
            <a:spLocks noChangeArrowheads="1"/>
          </p:cNvSpPr>
          <p:nvPr/>
        </p:nvSpPr>
        <p:spPr bwMode="auto">
          <a:xfrm>
            <a:off x="6950523" y="5284397"/>
            <a:ext cx="298613" cy="120457"/>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22">
            <a:extLst>
              <a:ext uri="{FF2B5EF4-FFF2-40B4-BE49-F238E27FC236}">
                <a16:creationId xmlns:a16="http://schemas.microsoft.com/office/drawing/2014/main" id="{828CBF4A-CC8F-9C4F-B077-301755EC94ED}"/>
              </a:ext>
            </a:extLst>
          </p:cNvPr>
          <p:cNvSpPr>
            <a:spLocks/>
          </p:cNvSpPr>
          <p:nvPr/>
        </p:nvSpPr>
        <p:spPr bwMode="auto">
          <a:xfrm>
            <a:off x="6936352" y="52702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Rectangle 223">
            <a:extLst>
              <a:ext uri="{FF2B5EF4-FFF2-40B4-BE49-F238E27FC236}">
                <a16:creationId xmlns:a16="http://schemas.microsoft.com/office/drawing/2014/main" id="{8F4D7362-18B6-C942-A032-74EB3B7A6996}"/>
              </a:ext>
            </a:extLst>
          </p:cNvPr>
          <p:cNvSpPr>
            <a:spLocks noChangeArrowheads="1"/>
          </p:cNvSpPr>
          <p:nvPr/>
        </p:nvSpPr>
        <p:spPr bwMode="auto">
          <a:xfrm>
            <a:off x="6908009" y="5882635"/>
            <a:ext cx="383641" cy="136653"/>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224">
            <a:extLst>
              <a:ext uri="{FF2B5EF4-FFF2-40B4-BE49-F238E27FC236}">
                <a16:creationId xmlns:a16="http://schemas.microsoft.com/office/drawing/2014/main" id="{06D01CAA-5C3D-BE40-BC1F-BABD009DE26A}"/>
              </a:ext>
            </a:extLst>
          </p:cNvPr>
          <p:cNvSpPr>
            <a:spLocks/>
          </p:cNvSpPr>
          <p:nvPr/>
        </p:nvSpPr>
        <p:spPr bwMode="auto">
          <a:xfrm>
            <a:off x="6892825" y="58684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225">
            <a:extLst>
              <a:ext uri="{FF2B5EF4-FFF2-40B4-BE49-F238E27FC236}">
                <a16:creationId xmlns:a16="http://schemas.microsoft.com/office/drawing/2014/main" id="{D8FEF8AB-B6FC-1B49-A3EA-75813C22F6AF}"/>
              </a:ext>
            </a:extLst>
          </p:cNvPr>
          <p:cNvSpPr>
            <a:spLocks/>
          </p:cNvSpPr>
          <p:nvPr/>
        </p:nvSpPr>
        <p:spPr bwMode="auto">
          <a:xfrm>
            <a:off x="7508270" y="5394732"/>
            <a:ext cx="302662" cy="489927"/>
          </a:xfrm>
          <a:custGeom>
            <a:avLst/>
            <a:gdLst>
              <a:gd name="T0" fmla="*/ 31 w 299"/>
              <a:gd name="T1" fmla="*/ 0 h 484"/>
              <a:gd name="T2" fmla="*/ 0 w 299"/>
              <a:gd name="T3" fmla="*/ 484 h 484"/>
              <a:gd name="T4" fmla="*/ 149 w 299"/>
              <a:gd name="T5" fmla="*/ 484 h 484"/>
              <a:gd name="T6" fmla="*/ 299 w 299"/>
              <a:gd name="T7" fmla="*/ 484 h 484"/>
              <a:gd name="T8" fmla="*/ 266 w 299"/>
              <a:gd name="T9" fmla="*/ 0 h 484"/>
              <a:gd name="T10" fmla="*/ 31 w 299"/>
              <a:gd name="T11" fmla="*/ 0 h 484"/>
            </a:gdLst>
            <a:ahLst/>
            <a:cxnLst>
              <a:cxn ang="0">
                <a:pos x="T0" y="T1"/>
              </a:cxn>
              <a:cxn ang="0">
                <a:pos x="T2" y="T3"/>
              </a:cxn>
              <a:cxn ang="0">
                <a:pos x="T4" y="T5"/>
              </a:cxn>
              <a:cxn ang="0">
                <a:pos x="T6" y="T7"/>
              </a:cxn>
              <a:cxn ang="0">
                <a:pos x="T8" y="T9"/>
              </a:cxn>
              <a:cxn ang="0">
                <a:pos x="T10" y="T11"/>
              </a:cxn>
            </a:cxnLst>
            <a:rect l="0" t="0" r="r" b="b"/>
            <a:pathLst>
              <a:path w="299" h="484">
                <a:moveTo>
                  <a:pt x="31" y="0"/>
                </a:moveTo>
                <a:lnTo>
                  <a:pt x="0" y="484"/>
                </a:lnTo>
                <a:lnTo>
                  <a:pt x="149" y="484"/>
                </a:lnTo>
                <a:lnTo>
                  <a:pt x="299" y="484"/>
                </a:lnTo>
                <a:lnTo>
                  <a:pt x="266" y="0"/>
                </a:lnTo>
                <a:lnTo>
                  <a:pt x="31" y="0"/>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226">
            <a:extLst>
              <a:ext uri="{FF2B5EF4-FFF2-40B4-BE49-F238E27FC236}">
                <a16:creationId xmlns:a16="http://schemas.microsoft.com/office/drawing/2014/main" id="{FA502A52-C18D-1D4E-B934-E5CCD11869E1}"/>
              </a:ext>
            </a:extLst>
          </p:cNvPr>
          <p:cNvSpPr>
            <a:spLocks/>
          </p:cNvSpPr>
          <p:nvPr/>
        </p:nvSpPr>
        <p:spPr bwMode="auto">
          <a:xfrm>
            <a:off x="7491062" y="5380561"/>
            <a:ext cx="334041" cy="519282"/>
          </a:xfrm>
          <a:custGeom>
            <a:avLst/>
            <a:gdLst>
              <a:gd name="T0" fmla="*/ 20 w 139"/>
              <a:gd name="T1" fmla="*/ 6 h 216"/>
              <a:gd name="T2" fmla="*/ 14 w 139"/>
              <a:gd name="T3" fmla="*/ 6 h 216"/>
              <a:gd name="T4" fmla="*/ 1 w 139"/>
              <a:gd name="T5" fmla="*/ 209 h 216"/>
              <a:gd name="T6" fmla="*/ 2 w 139"/>
              <a:gd name="T7" fmla="*/ 214 h 216"/>
              <a:gd name="T8" fmla="*/ 7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1" y="209"/>
                  <a:pt x="1" y="209"/>
                  <a:pt x="1" y="209"/>
                </a:cubicBezTo>
                <a:cubicBezTo>
                  <a:pt x="0" y="211"/>
                  <a:pt x="1" y="213"/>
                  <a:pt x="2" y="214"/>
                </a:cubicBezTo>
                <a:cubicBezTo>
                  <a:pt x="3" y="215"/>
                  <a:pt x="5" y="216"/>
                  <a:pt x="7"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3"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Rectangle 227">
            <a:extLst>
              <a:ext uri="{FF2B5EF4-FFF2-40B4-BE49-F238E27FC236}">
                <a16:creationId xmlns:a16="http://schemas.microsoft.com/office/drawing/2014/main" id="{60B87B2C-CD17-0341-9E14-7B2D1B97CFA2}"/>
              </a:ext>
            </a:extLst>
          </p:cNvPr>
          <p:cNvSpPr>
            <a:spLocks noChangeArrowheads="1"/>
          </p:cNvSpPr>
          <p:nvPr/>
        </p:nvSpPr>
        <p:spPr bwMode="auto">
          <a:xfrm>
            <a:off x="7510295" y="5284397"/>
            <a:ext cx="297600" cy="120457"/>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228">
            <a:extLst>
              <a:ext uri="{FF2B5EF4-FFF2-40B4-BE49-F238E27FC236}">
                <a16:creationId xmlns:a16="http://schemas.microsoft.com/office/drawing/2014/main" id="{2CC4D56D-1245-794E-9CB8-281CE922A0DA}"/>
              </a:ext>
            </a:extLst>
          </p:cNvPr>
          <p:cNvSpPr>
            <a:spLocks/>
          </p:cNvSpPr>
          <p:nvPr/>
        </p:nvSpPr>
        <p:spPr bwMode="auto">
          <a:xfrm>
            <a:off x="7496124" y="52702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2 w 136"/>
              <a:gd name="T29" fmla="*/ 2 h 62"/>
              <a:gd name="T30" fmla="*/ 0 w 136"/>
              <a:gd name="T31" fmla="*/ 6 h 62"/>
              <a:gd name="T32" fmla="*/ 0 w 136"/>
              <a:gd name="T33" fmla="*/ 56 h 62"/>
              <a:gd name="T34" fmla="*/ 2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2" y="2"/>
                </a:cubicBezTo>
                <a:cubicBezTo>
                  <a:pt x="0" y="3"/>
                  <a:pt x="0" y="5"/>
                  <a:pt x="0" y="6"/>
                </a:cubicBezTo>
                <a:cubicBezTo>
                  <a:pt x="0" y="56"/>
                  <a:pt x="0" y="56"/>
                  <a:pt x="0" y="56"/>
                </a:cubicBezTo>
                <a:cubicBezTo>
                  <a:pt x="0" y="57"/>
                  <a:pt x="0" y="59"/>
                  <a:pt x="2"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Rectangle 229">
            <a:extLst>
              <a:ext uri="{FF2B5EF4-FFF2-40B4-BE49-F238E27FC236}">
                <a16:creationId xmlns:a16="http://schemas.microsoft.com/office/drawing/2014/main" id="{71B98B53-2150-7D4D-9EE4-E5269F0B8997}"/>
              </a:ext>
            </a:extLst>
          </p:cNvPr>
          <p:cNvSpPr>
            <a:spLocks noChangeArrowheads="1"/>
          </p:cNvSpPr>
          <p:nvPr/>
        </p:nvSpPr>
        <p:spPr bwMode="auto">
          <a:xfrm>
            <a:off x="7466768" y="5882635"/>
            <a:ext cx="384653" cy="136653"/>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230">
            <a:extLst>
              <a:ext uri="{FF2B5EF4-FFF2-40B4-BE49-F238E27FC236}">
                <a16:creationId xmlns:a16="http://schemas.microsoft.com/office/drawing/2014/main" id="{53234452-2D13-FB44-A741-95AE258A5CFF}"/>
              </a:ext>
            </a:extLst>
          </p:cNvPr>
          <p:cNvSpPr>
            <a:spLocks/>
          </p:cNvSpPr>
          <p:nvPr/>
        </p:nvSpPr>
        <p:spPr bwMode="auto">
          <a:xfrm>
            <a:off x="7452597" y="58684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3" y="69"/>
                  <a:pt x="4" y="69"/>
                  <a:pt x="6" y="69"/>
                </a:cubicBezTo>
                <a:cubicBezTo>
                  <a:pt x="166" y="69"/>
                  <a:pt x="166" y="69"/>
                  <a:pt x="166" y="69"/>
                </a:cubicBezTo>
                <a:cubicBezTo>
                  <a:pt x="168" y="69"/>
                  <a:pt x="169" y="69"/>
                  <a:pt x="170" y="68"/>
                </a:cubicBezTo>
                <a:cubicBezTo>
                  <a:pt x="172" y="66"/>
                  <a:pt x="172" y="65"/>
                  <a:pt x="172" y="63"/>
                </a:cubicBezTo>
                <a:cubicBezTo>
                  <a:pt x="172" y="6"/>
                  <a:pt x="172" y="6"/>
                  <a:pt x="172" y="6"/>
                </a:cubicBezTo>
                <a:cubicBezTo>
                  <a:pt x="172" y="4"/>
                  <a:pt x="172" y="3"/>
                  <a:pt x="170" y="2"/>
                </a:cubicBezTo>
                <a:cubicBezTo>
                  <a:pt x="169" y="1"/>
                  <a:pt x="168" y="0"/>
                  <a:pt x="166" y="0"/>
                </a:cubicBezTo>
                <a:cubicBezTo>
                  <a:pt x="6" y="0"/>
                  <a:pt x="6" y="0"/>
                  <a:pt x="6" y="0"/>
                </a:cubicBezTo>
                <a:cubicBezTo>
                  <a:pt x="4" y="0"/>
                  <a:pt x="3"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Rectangle 231">
            <a:extLst>
              <a:ext uri="{FF2B5EF4-FFF2-40B4-BE49-F238E27FC236}">
                <a16:creationId xmlns:a16="http://schemas.microsoft.com/office/drawing/2014/main" id="{D3A3BEFC-246D-D643-88FF-E5E3E8F03C87}"/>
              </a:ext>
            </a:extLst>
          </p:cNvPr>
          <p:cNvSpPr>
            <a:spLocks noChangeArrowheads="1"/>
          </p:cNvSpPr>
          <p:nvPr/>
        </p:nvSpPr>
        <p:spPr bwMode="auto">
          <a:xfrm>
            <a:off x="5699387" y="6022324"/>
            <a:ext cx="2239088" cy="290515"/>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232">
            <a:extLst>
              <a:ext uri="{FF2B5EF4-FFF2-40B4-BE49-F238E27FC236}">
                <a16:creationId xmlns:a16="http://schemas.microsoft.com/office/drawing/2014/main" id="{B4064C59-63A8-174B-A488-744174E38BA0}"/>
              </a:ext>
            </a:extLst>
          </p:cNvPr>
          <p:cNvSpPr>
            <a:spLocks/>
          </p:cNvSpPr>
          <p:nvPr/>
        </p:nvSpPr>
        <p:spPr bwMode="auto">
          <a:xfrm>
            <a:off x="5685215" y="6007141"/>
            <a:ext cx="2267431" cy="319870"/>
          </a:xfrm>
          <a:custGeom>
            <a:avLst/>
            <a:gdLst>
              <a:gd name="T0" fmla="*/ 938 w 944"/>
              <a:gd name="T1" fmla="*/ 127 h 133"/>
              <a:gd name="T2" fmla="*/ 938 w 944"/>
              <a:gd name="T3" fmla="*/ 121 h 133"/>
              <a:gd name="T4" fmla="*/ 12 w 944"/>
              <a:gd name="T5" fmla="*/ 121 h 133"/>
              <a:gd name="T6" fmla="*/ 12 w 944"/>
              <a:gd name="T7" fmla="*/ 12 h 133"/>
              <a:gd name="T8" fmla="*/ 932 w 944"/>
              <a:gd name="T9" fmla="*/ 12 h 133"/>
              <a:gd name="T10" fmla="*/ 932 w 944"/>
              <a:gd name="T11" fmla="*/ 127 h 133"/>
              <a:gd name="T12" fmla="*/ 938 w 944"/>
              <a:gd name="T13" fmla="*/ 127 h 133"/>
              <a:gd name="T14" fmla="*/ 938 w 944"/>
              <a:gd name="T15" fmla="*/ 121 h 133"/>
              <a:gd name="T16" fmla="*/ 938 w 944"/>
              <a:gd name="T17" fmla="*/ 127 h 133"/>
              <a:gd name="T18" fmla="*/ 944 w 944"/>
              <a:gd name="T19" fmla="*/ 127 h 133"/>
              <a:gd name="T20" fmla="*/ 944 w 944"/>
              <a:gd name="T21" fmla="*/ 6 h 133"/>
              <a:gd name="T22" fmla="*/ 943 w 944"/>
              <a:gd name="T23" fmla="*/ 2 h 133"/>
              <a:gd name="T24" fmla="*/ 938 w 944"/>
              <a:gd name="T25" fmla="*/ 0 h 133"/>
              <a:gd name="T26" fmla="*/ 6 w 944"/>
              <a:gd name="T27" fmla="*/ 0 h 133"/>
              <a:gd name="T28" fmla="*/ 2 w 944"/>
              <a:gd name="T29" fmla="*/ 2 h 133"/>
              <a:gd name="T30" fmla="*/ 0 w 944"/>
              <a:gd name="T31" fmla="*/ 6 h 133"/>
              <a:gd name="T32" fmla="*/ 0 w 944"/>
              <a:gd name="T33" fmla="*/ 127 h 133"/>
              <a:gd name="T34" fmla="*/ 2 w 944"/>
              <a:gd name="T35" fmla="*/ 131 h 133"/>
              <a:gd name="T36" fmla="*/ 6 w 944"/>
              <a:gd name="T37" fmla="*/ 133 h 133"/>
              <a:gd name="T38" fmla="*/ 938 w 944"/>
              <a:gd name="T39" fmla="*/ 133 h 133"/>
              <a:gd name="T40" fmla="*/ 943 w 944"/>
              <a:gd name="T41" fmla="*/ 131 h 133"/>
              <a:gd name="T42" fmla="*/ 944 w 944"/>
              <a:gd name="T43" fmla="*/ 127 h 133"/>
              <a:gd name="T44" fmla="*/ 938 w 944"/>
              <a:gd name="T45" fmla="*/ 12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133">
                <a:moveTo>
                  <a:pt x="938" y="127"/>
                </a:moveTo>
                <a:cubicBezTo>
                  <a:pt x="938" y="121"/>
                  <a:pt x="938" y="121"/>
                  <a:pt x="938" y="121"/>
                </a:cubicBezTo>
                <a:cubicBezTo>
                  <a:pt x="12" y="121"/>
                  <a:pt x="12" y="121"/>
                  <a:pt x="12" y="121"/>
                </a:cubicBezTo>
                <a:cubicBezTo>
                  <a:pt x="12" y="12"/>
                  <a:pt x="12" y="12"/>
                  <a:pt x="12" y="12"/>
                </a:cubicBezTo>
                <a:cubicBezTo>
                  <a:pt x="932" y="12"/>
                  <a:pt x="932" y="12"/>
                  <a:pt x="932" y="12"/>
                </a:cubicBezTo>
                <a:cubicBezTo>
                  <a:pt x="932" y="127"/>
                  <a:pt x="932" y="127"/>
                  <a:pt x="932" y="127"/>
                </a:cubicBezTo>
                <a:cubicBezTo>
                  <a:pt x="938" y="127"/>
                  <a:pt x="938" y="127"/>
                  <a:pt x="938" y="127"/>
                </a:cubicBezTo>
                <a:cubicBezTo>
                  <a:pt x="938" y="121"/>
                  <a:pt x="938" y="121"/>
                  <a:pt x="938" y="121"/>
                </a:cubicBezTo>
                <a:cubicBezTo>
                  <a:pt x="938" y="127"/>
                  <a:pt x="938" y="127"/>
                  <a:pt x="938" y="127"/>
                </a:cubicBezTo>
                <a:cubicBezTo>
                  <a:pt x="944" y="127"/>
                  <a:pt x="944" y="127"/>
                  <a:pt x="944" y="127"/>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127"/>
                  <a:pt x="0" y="127"/>
                  <a:pt x="0" y="127"/>
                </a:cubicBezTo>
                <a:cubicBezTo>
                  <a:pt x="0" y="128"/>
                  <a:pt x="1" y="130"/>
                  <a:pt x="2" y="131"/>
                </a:cubicBezTo>
                <a:cubicBezTo>
                  <a:pt x="3" y="132"/>
                  <a:pt x="5" y="133"/>
                  <a:pt x="6" y="133"/>
                </a:cubicBezTo>
                <a:cubicBezTo>
                  <a:pt x="938" y="133"/>
                  <a:pt x="938" y="133"/>
                  <a:pt x="938" y="133"/>
                </a:cubicBezTo>
                <a:cubicBezTo>
                  <a:pt x="940" y="133"/>
                  <a:pt x="942" y="132"/>
                  <a:pt x="943" y="131"/>
                </a:cubicBezTo>
                <a:cubicBezTo>
                  <a:pt x="944" y="130"/>
                  <a:pt x="944" y="128"/>
                  <a:pt x="944" y="127"/>
                </a:cubicBezTo>
                <a:lnTo>
                  <a:pt x="938" y="12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233">
            <a:extLst>
              <a:ext uri="{FF2B5EF4-FFF2-40B4-BE49-F238E27FC236}">
                <a16:creationId xmlns:a16="http://schemas.microsoft.com/office/drawing/2014/main" id="{55AB84CD-DCCC-9048-8CD1-DF46B32A5CD8}"/>
              </a:ext>
            </a:extLst>
          </p:cNvPr>
          <p:cNvSpPr>
            <a:spLocks/>
          </p:cNvSpPr>
          <p:nvPr/>
        </p:nvSpPr>
        <p:spPr bwMode="auto">
          <a:xfrm>
            <a:off x="6239926" y="6164039"/>
            <a:ext cx="1158009" cy="0"/>
          </a:xfrm>
          <a:custGeom>
            <a:avLst/>
            <a:gdLst>
              <a:gd name="T0" fmla="*/ 1144 w 1144"/>
              <a:gd name="T1" fmla="*/ 0 w 1144"/>
              <a:gd name="T2" fmla="*/ 1144 w 1144"/>
            </a:gdLst>
            <a:ahLst/>
            <a:cxnLst>
              <a:cxn ang="0">
                <a:pos x="T0" y="0"/>
              </a:cxn>
              <a:cxn ang="0">
                <a:pos x="T1" y="0"/>
              </a:cxn>
              <a:cxn ang="0">
                <a:pos x="T2" y="0"/>
              </a:cxn>
            </a:cxnLst>
            <a:rect l="0" t="0" r="r" b="b"/>
            <a:pathLst>
              <a:path w="1144">
                <a:moveTo>
                  <a:pt x="1144" y="0"/>
                </a:moveTo>
                <a:lnTo>
                  <a:pt x="0" y="0"/>
                </a:lnTo>
                <a:lnTo>
                  <a:pt x="1144"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Line 234">
            <a:extLst>
              <a:ext uri="{FF2B5EF4-FFF2-40B4-BE49-F238E27FC236}">
                <a16:creationId xmlns:a16="http://schemas.microsoft.com/office/drawing/2014/main" id="{FEAAA51F-6E52-2249-B2B5-614C5D2D77E0}"/>
              </a:ext>
            </a:extLst>
          </p:cNvPr>
          <p:cNvSpPr>
            <a:spLocks noChangeShapeType="1"/>
          </p:cNvSpPr>
          <p:nvPr/>
        </p:nvSpPr>
        <p:spPr bwMode="auto">
          <a:xfrm flipH="1">
            <a:off x="6239926" y="6164039"/>
            <a:ext cx="1158009"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8" name="Freeform 235">
            <a:extLst>
              <a:ext uri="{FF2B5EF4-FFF2-40B4-BE49-F238E27FC236}">
                <a16:creationId xmlns:a16="http://schemas.microsoft.com/office/drawing/2014/main" id="{C14F6F6E-E615-EF44-B8AF-1542E20D6780}"/>
              </a:ext>
            </a:extLst>
          </p:cNvPr>
          <p:cNvSpPr>
            <a:spLocks/>
          </p:cNvSpPr>
          <p:nvPr/>
        </p:nvSpPr>
        <p:spPr bwMode="auto">
          <a:xfrm>
            <a:off x="6225755" y="6148855"/>
            <a:ext cx="1186352" cy="29355"/>
          </a:xfrm>
          <a:custGeom>
            <a:avLst/>
            <a:gdLst>
              <a:gd name="T0" fmla="*/ 488 w 494"/>
              <a:gd name="T1" fmla="*/ 0 h 12"/>
              <a:gd name="T2" fmla="*/ 6 w 494"/>
              <a:gd name="T3" fmla="*/ 0 h 12"/>
              <a:gd name="T4" fmla="*/ 0 w 494"/>
              <a:gd name="T5" fmla="*/ 6 h 12"/>
              <a:gd name="T6" fmla="*/ 6 w 494"/>
              <a:gd name="T7" fmla="*/ 12 h 12"/>
              <a:gd name="T8" fmla="*/ 488 w 494"/>
              <a:gd name="T9" fmla="*/ 12 h 12"/>
              <a:gd name="T10" fmla="*/ 494 w 494"/>
              <a:gd name="T11" fmla="*/ 6 h 12"/>
              <a:gd name="T12" fmla="*/ 488 w 49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94" h="12">
                <a:moveTo>
                  <a:pt x="488" y="0"/>
                </a:moveTo>
                <a:cubicBezTo>
                  <a:pt x="6" y="0"/>
                  <a:pt x="6" y="0"/>
                  <a:pt x="6" y="0"/>
                </a:cubicBezTo>
                <a:cubicBezTo>
                  <a:pt x="3" y="0"/>
                  <a:pt x="0" y="2"/>
                  <a:pt x="0" y="6"/>
                </a:cubicBezTo>
                <a:cubicBezTo>
                  <a:pt x="0" y="9"/>
                  <a:pt x="3" y="12"/>
                  <a:pt x="6" y="12"/>
                </a:cubicBezTo>
                <a:cubicBezTo>
                  <a:pt x="488" y="12"/>
                  <a:pt x="488" y="12"/>
                  <a:pt x="488" y="12"/>
                </a:cubicBezTo>
                <a:cubicBezTo>
                  <a:pt x="492" y="12"/>
                  <a:pt x="494" y="9"/>
                  <a:pt x="494" y="6"/>
                </a:cubicBezTo>
                <a:cubicBezTo>
                  <a:pt x="494" y="2"/>
                  <a:pt x="492" y="0"/>
                  <a:pt x="488" y="0"/>
                </a:cubicBezTo>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236">
            <a:extLst>
              <a:ext uri="{FF2B5EF4-FFF2-40B4-BE49-F238E27FC236}">
                <a16:creationId xmlns:a16="http://schemas.microsoft.com/office/drawing/2014/main" id="{6892FE8D-D77A-2E49-9516-E0997E33E98E}"/>
              </a:ext>
            </a:extLst>
          </p:cNvPr>
          <p:cNvSpPr>
            <a:spLocks/>
          </p:cNvSpPr>
          <p:nvPr/>
        </p:nvSpPr>
        <p:spPr bwMode="auto">
          <a:xfrm>
            <a:off x="5644726" y="4397670"/>
            <a:ext cx="2350435" cy="769307"/>
          </a:xfrm>
          <a:custGeom>
            <a:avLst/>
            <a:gdLst>
              <a:gd name="T0" fmla="*/ 1160 w 2322"/>
              <a:gd name="T1" fmla="*/ 0 h 760"/>
              <a:gd name="T2" fmla="*/ 1741 w 2322"/>
              <a:gd name="T3" fmla="*/ 380 h 760"/>
              <a:gd name="T4" fmla="*/ 2322 w 2322"/>
              <a:gd name="T5" fmla="*/ 760 h 760"/>
              <a:gd name="T6" fmla="*/ 1160 w 2322"/>
              <a:gd name="T7" fmla="*/ 760 h 760"/>
              <a:gd name="T8" fmla="*/ 0 w 2322"/>
              <a:gd name="T9" fmla="*/ 760 h 760"/>
              <a:gd name="T10" fmla="*/ 581 w 2322"/>
              <a:gd name="T11" fmla="*/ 380 h 760"/>
              <a:gd name="T12" fmla="*/ 1160 w 2322"/>
              <a:gd name="T13" fmla="*/ 0 h 760"/>
            </a:gdLst>
            <a:ahLst/>
            <a:cxnLst>
              <a:cxn ang="0">
                <a:pos x="T0" y="T1"/>
              </a:cxn>
              <a:cxn ang="0">
                <a:pos x="T2" y="T3"/>
              </a:cxn>
              <a:cxn ang="0">
                <a:pos x="T4" y="T5"/>
              </a:cxn>
              <a:cxn ang="0">
                <a:pos x="T6" y="T7"/>
              </a:cxn>
              <a:cxn ang="0">
                <a:pos x="T8" y="T9"/>
              </a:cxn>
              <a:cxn ang="0">
                <a:pos x="T10" y="T11"/>
              </a:cxn>
              <a:cxn ang="0">
                <a:pos x="T12" y="T13"/>
              </a:cxn>
            </a:cxnLst>
            <a:rect l="0" t="0" r="r" b="b"/>
            <a:pathLst>
              <a:path w="2322" h="760">
                <a:moveTo>
                  <a:pt x="1160" y="0"/>
                </a:moveTo>
                <a:lnTo>
                  <a:pt x="1741" y="380"/>
                </a:lnTo>
                <a:lnTo>
                  <a:pt x="2322" y="760"/>
                </a:lnTo>
                <a:lnTo>
                  <a:pt x="1160" y="760"/>
                </a:lnTo>
                <a:lnTo>
                  <a:pt x="0" y="760"/>
                </a:lnTo>
                <a:lnTo>
                  <a:pt x="581" y="380"/>
                </a:lnTo>
                <a:lnTo>
                  <a:pt x="1160" y="0"/>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237">
            <a:extLst>
              <a:ext uri="{FF2B5EF4-FFF2-40B4-BE49-F238E27FC236}">
                <a16:creationId xmlns:a16="http://schemas.microsoft.com/office/drawing/2014/main" id="{94CD360E-AEDA-DA40-BD7D-9FE335CFDBB6}"/>
              </a:ext>
            </a:extLst>
          </p:cNvPr>
          <p:cNvSpPr>
            <a:spLocks/>
          </p:cNvSpPr>
          <p:nvPr/>
        </p:nvSpPr>
        <p:spPr bwMode="auto">
          <a:xfrm>
            <a:off x="5627517" y="4381474"/>
            <a:ext cx="2382827" cy="799674"/>
          </a:xfrm>
          <a:custGeom>
            <a:avLst/>
            <a:gdLst>
              <a:gd name="T0" fmla="*/ 496 w 992"/>
              <a:gd name="T1" fmla="*/ 7 h 333"/>
              <a:gd name="T2" fmla="*/ 493 w 992"/>
              <a:gd name="T3" fmla="*/ 12 h 333"/>
              <a:gd name="T4" fmla="*/ 738 w 992"/>
              <a:gd name="T5" fmla="*/ 172 h 333"/>
              <a:gd name="T6" fmla="*/ 966 w 992"/>
              <a:gd name="T7" fmla="*/ 321 h 333"/>
              <a:gd name="T8" fmla="*/ 496 w 992"/>
              <a:gd name="T9" fmla="*/ 321 h 333"/>
              <a:gd name="T10" fmla="*/ 27 w 992"/>
              <a:gd name="T11" fmla="*/ 321 h 333"/>
              <a:gd name="T12" fmla="*/ 255 w 992"/>
              <a:gd name="T13" fmla="*/ 172 h 333"/>
              <a:gd name="T14" fmla="*/ 500 w 992"/>
              <a:gd name="T15" fmla="*/ 12 h 333"/>
              <a:gd name="T16" fmla="*/ 496 w 992"/>
              <a:gd name="T17" fmla="*/ 7 h 333"/>
              <a:gd name="T18" fmla="*/ 493 w 992"/>
              <a:gd name="T19" fmla="*/ 12 h 333"/>
              <a:gd name="T20" fmla="*/ 496 w 992"/>
              <a:gd name="T21" fmla="*/ 7 h 333"/>
              <a:gd name="T22" fmla="*/ 493 w 992"/>
              <a:gd name="T23" fmla="*/ 2 h 333"/>
              <a:gd name="T24" fmla="*/ 248 w 992"/>
              <a:gd name="T25" fmla="*/ 162 h 333"/>
              <a:gd name="T26" fmla="*/ 4 w 992"/>
              <a:gd name="T27" fmla="*/ 322 h 333"/>
              <a:gd name="T28" fmla="*/ 1 w 992"/>
              <a:gd name="T29" fmla="*/ 329 h 333"/>
              <a:gd name="T30" fmla="*/ 7 w 992"/>
              <a:gd name="T31" fmla="*/ 333 h 333"/>
              <a:gd name="T32" fmla="*/ 496 w 992"/>
              <a:gd name="T33" fmla="*/ 333 h 333"/>
              <a:gd name="T34" fmla="*/ 986 w 992"/>
              <a:gd name="T35" fmla="*/ 333 h 333"/>
              <a:gd name="T36" fmla="*/ 992 w 992"/>
              <a:gd name="T37" fmla="*/ 329 h 333"/>
              <a:gd name="T38" fmla="*/ 989 w 992"/>
              <a:gd name="T39" fmla="*/ 322 h 333"/>
              <a:gd name="T40" fmla="*/ 744 w 992"/>
              <a:gd name="T41" fmla="*/ 162 h 333"/>
              <a:gd name="T42" fmla="*/ 500 w 992"/>
              <a:gd name="T43" fmla="*/ 2 h 333"/>
              <a:gd name="T44" fmla="*/ 493 w 992"/>
              <a:gd name="T45" fmla="*/ 2 h 333"/>
              <a:gd name="T46" fmla="*/ 496 w 992"/>
              <a:gd name="T47" fmla="*/ 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2" h="333">
                <a:moveTo>
                  <a:pt x="496" y="7"/>
                </a:moveTo>
                <a:cubicBezTo>
                  <a:pt x="493" y="12"/>
                  <a:pt x="493" y="12"/>
                  <a:pt x="493" y="12"/>
                </a:cubicBezTo>
                <a:cubicBezTo>
                  <a:pt x="738" y="172"/>
                  <a:pt x="738" y="172"/>
                  <a:pt x="738" y="172"/>
                </a:cubicBezTo>
                <a:cubicBezTo>
                  <a:pt x="966" y="321"/>
                  <a:pt x="966" y="321"/>
                  <a:pt x="966" y="321"/>
                </a:cubicBezTo>
                <a:cubicBezTo>
                  <a:pt x="496" y="321"/>
                  <a:pt x="496" y="321"/>
                  <a:pt x="496" y="321"/>
                </a:cubicBezTo>
                <a:cubicBezTo>
                  <a:pt x="27" y="321"/>
                  <a:pt x="27" y="321"/>
                  <a:pt x="27" y="321"/>
                </a:cubicBezTo>
                <a:cubicBezTo>
                  <a:pt x="255" y="172"/>
                  <a:pt x="255" y="172"/>
                  <a:pt x="255" y="172"/>
                </a:cubicBezTo>
                <a:cubicBezTo>
                  <a:pt x="500" y="12"/>
                  <a:pt x="500" y="12"/>
                  <a:pt x="500" y="12"/>
                </a:cubicBezTo>
                <a:cubicBezTo>
                  <a:pt x="496" y="7"/>
                  <a:pt x="496" y="7"/>
                  <a:pt x="496" y="7"/>
                </a:cubicBezTo>
                <a:cubicBezTo>
                  <a:pt x="493" y="12"/>
                  <a:pt x="493" y="12"/>
                  <a:pt x="493" y="12"/>
                </a:cubicBezTo>
                <a:cubicBezTo>
                  <a:pt x="496" y="7"/>
                  <a:pt x="496" y="7"/>
                  <a:pt x="496" y="7"/>
                </a:cubicBezTo>
                <a:cubicBezTo>
                  <a:pt x="493" y="2"/>
                  <a:pt x="493" y="2"/>
                  <a:pt x="493" y="2"/>
                </a:cubicBezTo>
                <a:cubicBezTo>
                  <a:pt x="248" y="162"/>
                  <a:pt x="248" y="162"/>
                  <a:pt x="248" y="162"/>
                </a:cubicBezTo>
                <a:cubicBezTo>
                  <a:pt x="4" y="322"/>
                  <a:pt x="4" y="322"/>
                  <a:pt x="4" y="322"/>
                </a:cubicBezTo>
                <a:cubicBezTo>
                  <a:pt x="1" y="324"/>
                  <a:pt x="0" y="326"/>
                  <a:pt x="1" y="329"/>
                </a:cubicBezTo>
                <a:cubicBezTo>
                  <a:pt x="2" y="332"/>
                  <a:pt x="4" y="333"/>
                  <a:pt x="7" y="333"/>
                </a:cubicBezTo>
                <a:cubicBezTo>
                  <a:pt x="496" y="333"/>
                  <a:pt x="496" y="333"/>
                  <a:pt x="496" y="333"/>
                </a:cubicBezTo>
                <a:cubicBezTo>
                  <a:pt x="986" y="333"/>
                  <a:pt x="986" y="333"/>
                  <a:pt x="986" y="333"/>
                </a:cubicBezTo>
                <a:cubicBezTo>
                  <a:pt x="988" y="333"/>
                  <a:pt x="991" y="332"/>
                  <a:pt x="992" y="329"/>
                </a:cubicBezTo>
                <a:cubicBezTo>
                  <a:pt x="992" y="326"/>
                  <a:pt x="991" y="324"/>
                  <a:pt x="989" y="322"/>
                </a:cubicBezTo>
                <a:cubicBezTo>
                  <a:pt x="744" y="162"/>
                  <a:pt x="744" y="162"/>
                  <a:pt x="744" y="162"/>
                </a:cubicBezTo>
                <a:cubicBezTo>
                  <a:pt x="500" y="2"/>
                  <a:pt x="500" y="2"/>
                  <a:pt x="500" y="2"/>
                </a:cubicBezTo>
                <a:cubicBezTo>
                  <a:pt x="498" y="0"/>
                  <a:pt x="495" y="0"/>
                  <a:pt x="493" y="2"/>
                </a:cubicBezTo>
                <a:lnTo>
                  <a:pt x="496" y="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238">
            <a:extLst>
              <a:ext uri="{FF2B5EF4-FFF2-40B4-BE49-F238E27FC236}">
                <a16:creationId xmlns:a16="http://schemas.microsoft.com/office/drawing/2014/main" id="{3DB37663-6395-2F45-852F-E41CF5AB6A27}"/>
              </a:ext>
            </a:extLst>
          </p:cNvPr>
          <p:cNvSpPr>
            <a:spLocks noEditPoints="1"/>
          </p:cNvSpPr>
          <p:nvPr/>
        </p:nvSpPr>
        <p:spPr bwMode="auto">
          <a:xfrm>
            <a:off x="5956497" y="45080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close/>
                <a:moveTo>
                  <a:pt x="852" y="0"/>
                </a:moveTo>
                <a:lnTo>
                  <a:pt x="0" y="558"/>
                </a:lnTo>
                <a:lnTo>
                  <a:pt x="1706" y="558"/>
                </a:lnTo>
                <a:lnTo>
                  <a:pt x="852" y="0"/>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239">
            <a:extLst>
              <a:ext uri="{FF2B5EF4-FFF2-40B4-BE49-F238E27FC236}">
                <a16:creationId xmlns:a16="http://schemas.microsoft.com/office/drawing/2014/main" id="{B1731974-8DFF-074B-95CA-4F1646AEF861}"/>
              </a:ext>
            </a:extLst>
          </p:cNvPr>
          <p:cNvSpPr>
            <a:spLocks noEditPoints="1"/>
          </p:cNvSpPr>
          <p:nvPr/>
        </p:nvSpPr>
        <p:spPr bwMode="auto">
          <a:xfrm>
            <a:off x="5956497" y="45080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moveTo>
                  <a:pt x="852" y="0"/>
                </a:moveTo>
                <a:lnTo>
                  <a:pt x="0" y="558"/>
                </a:lnTo>
                <a:lnTo>
                  <a:pt x="1706" y="558"/>
                </a:lnTo>
                <a:lnTo>
                  <a:pt x="852"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 name="Freeform 240">
            <a:extLst>
              <a:ext uri="{FF2B5EF4-FFF2-40B4-BE49-F238E27FC236}">
                <a16:creationId xmlns:a16="http://schemas.microsoft.com/office/drawing/2014/main" id="{341A89A8-1950-E341-A1CF-B46A5CE5B7BC}"/>
              </a:ext>
            </a:extLst>
          </p:cNvPr>
          <p:cNvSpPr>
            <a:spLocks noEditPoints="1"/>
          </p:cNvSpPr>
          <p:nvPr/>
        </p:nvSpPr>
        <p:spPr bwMode="auto">
          <a:xfrm>
            <a:off x="5942326" y="4493833"/>
            <a:ext cx="1755235" cy="593176"/>
          </a:xfrm>
          <a:custGeom>
            <a:avLst/>
            <a:gdLst>
              <a:gd name="T0" fmla="*/ 362 w 731"/>
              <a:gd name="T1" fmla="*/ 46 h 247"/>
              <a:gd name="T2" fmla="*/ 607 w 731"/>
              <a:gd name="T3" fmla="*/ 206 h 247"/>
              <a:gd name="T4" fmla="*/ 124 w 731"/>
              <a:gd name="T5" fmla="*/ 206 h 247"/>
              <a:gd name="T6" fmla="*/ 369 w 731"/>
              <a:gd name="T7" fmla="*/ 46 h 247"/>
              <a:gd name="T8" fmla="*/ 370 w 731"/>
              <a:gd name="T9" fmla="*/ 38 h 247"/>
              <a:gd name="T10" fmla="*/ 362 w 731"/>
              <a:gd name="T11" fmla="*/ 36 h 247"/>
              <a:gd name="T12" fmla="*/ 101 w 731"/>
              <a:gd name="T13" fmla="*/ 207 h 247"/>
              <a:gd name="T14" fmla="*/ 98 w 731"/>
              <a:gd name="T15" fmla="*/ 214 h 247"/>
              <a:gd name="T16" fmla="*/ 104 w 731"/>
              <a:gd name="T17" fmla="*/ 218 h 247"/>
              <a:gd name="T18" fmla="*/ 627 w 731"/>
              <a:gd name="T19" fmla="*/ 218 h 247"/>
              <a:gd name="T20" fmla="*/ 632 w 731"/>
              <a:gd name="T21" fmla="*/ 214 h 247"/>
              <a:gd name="T22" fmla="*/ 630 w 731"/>
              <a:gd name="T23" fmla="*/ 207 h 247"/>
              <a:gd name="T24" fmla="*/ 369 w 731"/>
              <a:gd name="T25" fmla="*/ 36 h 247"/>
              <a:gd name="T26" fmla="*/ 360 w 731"/>
              <a:gd name="T27" fmla="*/ 38 h 247"/>
              <a:gd name="T28" fmla="*/ 362 w 731"/>
              <a:gd name="T29" fmla="*/ 46 h 247"/>
              <a:gd name="T30" fmla="*/ 365 w 731"/>
              <a:gd name="T31" fmla="*/ 6 h 247"/>
              <a:gd name="T32" fmla="*/ 362 w 731"/>
              <a:gd name="T33" fmla="*/ 1 h 247"/>
              <a:gd name="T34" fmla="*/ 3 w 731"/>
              <a:gd name="T35" fmla="*/ 236 h 247"/>
              <a:gd name="T36" fmla="*/ 0 w 731"/>
              <a:gd name="T37" fmla="*/ 243 h 247"/>
              <a:gd name="T38" fmla="*/ 6 w 731"/>
              <a:gd name="T39" fmla="*/ 247 h 247"/>
              <a:gd name="T40" fmla="*/ 725 w 731"/>
              <a:gd name="T41" fmla="*/ 247 h 247"/>
              <a:gd name="T42" fmla="*/ 730 w 731"/>
              <a:gd name="T43" fmla="*/ 243 h 247"/>
              <a:gd name="T44" fmla="*/ 728 w 731"/>
              <a:gd name="T45" fmla="*/ 236 h 247"/>
              <a:gd name="T46" fmla="*/ 369 w 731"/>
              <a:gd name="T47" fmla="*/ 1 h 247"/>
              <a:gd name="T48" fmla="*/ 362 w 731"/>
              <a:gd name="T49" fmla="*/ 1 h 247"/>
              <a:gd name="T50" fmla="*/ 365 w 731"/>
              <a:gd name="T51" fmla="*/ 6 h 247"/>
              <a:gd name="T52" fmla="*/ 362 w 731"/>
              <a:gd name="T53" fmla="*/ 11 h 247"/>
              <a:gd name="T54" fmla="*/ 704 w 731"/>
              <a:gd name="T55" fmla="*/ 235 h 247"/>
              <a:gd name="T56" fmla="*/ 26 w 731"/>
              <a:gd name="T57" fmla="*/ 235 h 247"/>
              <a:gd name="T58" fmla="*/ 369 w 731"/>
              <a:gd name="T59" fmla="*/ 11 h 247"/>
              <a:gd name="T60" fmla="*/ 365 w 731"/>
              <a:gd name="T61" fmla="*/ 6 h 247"/>
              <a:gd name="T62" fmla="*/ 362 w 731"/>
              <a:gd name="T63" fmla="*/ 11 h 247"/>
              <a:gd name="T64" fmla="*/ 365 w 731"/>
              <a:gd name="T65"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1" h="247">
                <a:moveTo>
                  <a:pt x="362" y="46"/>
                </a:moveTo>
                <a:cubicBezTo>
                  <a:pt x="607" y="206"/>
                  <a:pt x="607" y="206"/>
                  <a:pt x="607" y="206"/>
                </a:cubicBezTo>
                <a:cubicBezTo>
                  <a:pt x="124" y="206"/>
                  <a:pt x="124" y="206"/>
                  <a:pt x="124" y="206"/>
                </a:cubicBezTo>
                <a:cubicBezTo>
                  <a:pt x="369" y="46"/>
                  <a:pt x="369" y="46"/>
                  <a:pt x="369" y="46"/>
                </a:cubicBezTo>
                <a:cubicBezTo>
                  <a:pt x="371" y="44"/>
                  <a:pt x="372" y="41"/>
                  <a:pt x="370" y="38"/>
                </a:cubicBezTo>
                <a:cubicBezTo>
                  <a:pt x="369" y="35"/>
                  <a:pt x="365" y="34"/>
                  <a:pt x="362" y="36"/>
                </a:cubicBezTo>
                <a:cubicBezTo>
                  <a:pt x="101" y="207"/>
                  <a:pt x="101" y="207"/>
                  <a:pt x="101" y="207"/>
                </a:cubicBezTo>
                <a:cubicBezTo>
                  <a:pt x="99" y="209"/>
                  <a:pt x="97" y="211"/>
                  <a:pt x="98" y="214"/>
                </a:cubicBezTo>
                <a:cubicBezTo>
                  <a:pt x="99" y="216"/>
                  <a:pt x="101" y="218"/>
                  <a:pt x="104" y="218"/>
                </a:cubicBezTo>
                <a:cubicBezTo>
                  <a:pt x="627" y="218"/>
                  <a:pt x="627" y="218"/>
                  <a:pt x="627" y="218"/>
                </a:cubicBezTo>
                <a:cubicBezTo>
                  <a:pt x="629" y="218"/>
                  <a:pt x="632" y="216"/>
                  <a:pt x="632" y="214"/>
                </a:cubicBezTo>
                <a:cubicBezTo>
                  <a:pt x="633" y="211"/>
                  <a:pt x="632" y="209"/>
                  <a:pt x="630" y="207"/>
                </a:cubicBezTo>
                <a:cubicBezTo>
                  <a:pt x="369" y="36"/>
                  <a:pt x="369" y="36"/>
                  <a:pt x="369" y="36"/>
                </a:cubicBezTo>
                <a:cubicBezTo>
                  <a:pt x="366" y="34"/>
                  <a:pt x="362" y="35"/>
                  <a:pt x="360" y="38"/>
                </a:cubicBezTo>
                <a:cubicBezTo>
                  <a:pt x="359" y="41"/>
                  <a:pt x="359" y="44"/>
                  <a:pt x="362" y="46"/>
                </a:cubicBezTo>
                <a:close/>
                <a:moveTo>
                  <a:pt x="365" y="6"/>
                </a:moveTo>
                <a:cubicBezTo>
                  <a:pt x="362" y="1"/>
                  <a:pt x="362" y="1"/>
                  <a:pt x="362" y="1"/>
                </a:cubicBezTo>
                <a:cubicBezTo>
                  <a:pt x="3" y="236"/>
                  <a:pt x="3" y="236"/>
                  <a:pt x="3" y="236"/>
                </a:cubicBezTo>
                <a:cubicBezTo>
                  <a:pt x="1" y="238"/>
                  <a:pt x="0" y="241"/>
                  <a:pt x="0" y="243"/>
                </a:cubicBezTo>
                <a:cubicBezTo>
                  <a:pt x="1" y="246"/>
                  <a:pt x="3" y="247"/>
                  <a:pt x="6" y="247"/>
                </a:cubicBezTo>
                <a:cubicBezTo>
                  <a:pt x="725" y="247"/>
                  <a:pt x="725" y="247"/>
                  <a:pt x="725" y="247"/>
                </a:cubicBezTo>
                <a:cubicBezTo>
                  <a:pt x="727" y="247"/>
                  <a:pt x="730" y="246"/>
                  <a:pt x="730" y="243"/>
                </a:cubicBezTo>
                <a:cubicBezTo>
                  <a:pt x="731" y="241"/>
                  <a:pt x="730" y="238"/>
                  <a:pt x="728" y="236"/>
                </a:cubicBezTo>
                <a:cubicBezTo>
                  <a:pt x="369" y="1"/>
                  <a:pt x="369" y="1"/>
                  <a:pt x="369" y="1"/>
                </a:cubicBezTo>
                <a:cubicBezTo>
                  <a:pt x="367" y="0"/>
                  <a:pt x="364" y="0"/>
                  <a:pt x="362" y="1"/>
                </a:cubicBezTo>
                <a:cubicBezTo>
                  <a:pt x="365" y="6"/>
                  <a:pt x="365" y="6"/>
                  <a:pt x="365" y="6"/>
                </a:cubicBezTo>
                <a:cubicBezTo>
                  <a:pt x="362" y="11"/>
                  <a:pt x="362" y="11"/>
                  <a:pt x="362" y="11"/>
                </a:cubicBezTo>
                <a:cubicBezTo>
                  <a:pt x="704" y="235"/>
                  <a:pt x="704" y="235"/>
                  <a:pt x="704" y="235"/>
                </a:cubicBezTo>
                <a:cubicBezTo>
                  <a:pt x="26" y="235"/>
                  <a:pt x="26" y="235"/>
                  <a:pt x="26" y="235"/>
                </a:cubicBezTo>
                <a:cubicBezTo>
                  <a:pt x="369" y="11"/>
                  <a:pt x="369" y="11"/>
                  <a:pt x="369" y="11"/>
                </a:cubicBezTo>
                <a:cubicBezTo>
                  <a:pt x="365" y="6"/>
                  <a:pt x="365" y="6"/>
                  <a:pt x="365" y="6"/>
                </a:cubicBezTo>
                <a:cubicBezTo>
                  <a:pt x="362" y="11"/>
                  <a:pt x="362" y="11"/>
                  <a:pt x="362" y="11"/>
                </a:cubicBezTo>
                <a:lnTo>
                  <a:pt x="365" y="6"/>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241">
            <a:extLst>
              <a:ext uri="{FF2B5EF4-FFF2-40B4-BE49-F238E27FC236}">
                <a16:creationId xmlns:a16="http://schemas.microsoft.com/office/drawing/2014/main" id="{9ADED020-426D-7742-A50D-33A9D88EAD54}"/>
              </a:ext>
            </a:extLst>
          </p:cNvPr>
          <p:cNvSpPr>
            <a:spLocks/>
          </p:cNvSpPr>
          <p:nvPr/>
        </p:nvSpPr>
        <p:spPr bwMode="auto">
          <a:xfrm>
            <a:off x="4933117" y="4829899"/>
            <a:ext cx="1294663" cy="1488001"/>
          </a:xfrm>
          <a:custGeom>
            <a:avLst/>
            <a:gdLst>
              <a:gd name="T0" fmla="*/ 539 w 539"/>
              <a:gd name="T1" fmla="*/ 120 h 619"/>
              <a:gd name="T2" fmla="*/ 501 w 539"/>
              <a:gd name="T3" fmla="*/ 82 h 619"/>
              <a:gd name="T4" fmla="*/ 287 w 539"/>
              <a:gd name="T5" fmla="*/ 9 h 619"/>
              <a:gd name="T6" fmla="*/ 255 w 539"/>
              <a:gd name="T7" fmla="*/ 8 h 619"/>
              <a:gd name="T8" fmla="*/ 26 w 539"/>
              <a:gd name="T9" fmla="*/ 82 h 619"/>
              <a:gd name="T10" fmla="*/ 1 w 539"/>
              <a:gd name="T11" fmla="*/ 109 h 619"/>
              <a:gd name="T12" fmla="*/ 39 w 539"/>
              <a:gd name="T13" fmla="*/ 379 h 619"/>
              <a:gd name="T14" fmla="*/ 243 w 539"/>
              <a:gd name="T15" fmla="*/ 612 h 619"/>
              <a:gd name="T16" fmla="*/ 297 w 539"/>
              <a:gd name="T17" fmla="*/ 613 h 619"/>
              <a:gd name="T18" fmla="*/ 475 w 539"/>
              <a:gd name="T19" fmla="*/ 445 h 619"/>
              <a:gd name="T20" fmla="*/ 539 w 539"/>
              <a:gd name="T21" fmla="*/ 140 h 619"/>
              <a:gd name="T22" fmla="*/ 539 w 539"/>
              <a:gd name="T23" fmla="*/ 12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9" h="619">
                <a:moveTo>
                  <a:pt x="539" y="120"/>
                </a:moveTo>
                <a:cubicBezTo>
                  <a:pt x="538" y="84"/>
                  <a:pt x="538" y="84"/>
                  <a:pt x="501" y="82"/>
                </a:cubicBezTo>
                <a:cubicBezTo>
                  <a:pt x="423" y="78"/>
                  <a:pt x="351" y="54"/>
                  <a:pt x="287" y="9"/>
                </a:cubicBezTo>
                <a:cubicBezTo>
                  <a:pt x="275" y="1"/>
                  <a:pt x="267" y="0"/>
                  <a:pt x="255" y="8"/>
                </a:cubicBezTo>
                <a:cubicBezTo>
                  <a:pt x="186" y="56"/>
                  <a:pt x="109" y="81"/>
                  <a:pt x="26" y="82"/>
                </a:cubicBezTo>
                <a:cubicBezTo>
                  <a:pt x="4" y="82"/>
                  <a:pt x="1" y="91"/>
                  <a:pt x="1" y="109"/>
                </a:cubicBezTo>
                <a:cubicBezTo>
                  <a:pt x="0" y="201"/>
                  <a:pt x="9" y="292"/>
                  <a:pt x="39" y="379"/>
                </a:cubicBezTo>
                <a:cubicBezTo>
                  <a:pt x="74" y="485"/>
                  <a:pt x="136" y="569"/>
                  <a:pt x="243" y="612"/>
                </a:cubicBezTo>
                <a:cubicBezTo>
                  <a:pt x="259" y="618"/>
                  <a:pt x="281" y="619"/>
                  <a:pt x="297" y="613"/>
                </a:cubicBezTo>
                <a:cubicBezTo>
                  <a:pt x="378" y="581"/>
                  <a:pt x="436" y="522"/>
                  <a:pt x="475" y="445"/>
                </a:cubicBezTo>
                <a:cubicBezTo>
                  <a:pt x="523" y="349"/>
                  <a:pt x="536" y="245"/>
                  <a:pt x="539" y="140"/>
                </a:cubicBezTo>
                <a:cubicBezTo>
                  <a:pt x="539" y="133"/>
                  <a:pt x="539" y="127"/>
                  <a:pt x="539" y="12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242">
            <a:extLst>
              <a:ext uri="{FF2B5EF4-FFF2-40B4-BE49-F238E27FC236}">
                <a16:creationId xmlns:a16="http://schemas.microsoft.com/office/drawing/2014/main" id="{3CBC5FC8-3661-4E4B-A576-F238E8D1879C}"/>
              </a:ext>
            </a:extLst>
          </p:cNvPr>
          <p:cNvSpPr>
            <a:spLocks/>
          </p:cNvSpPr>
          <p:nvPr/>
        </p:nvSpPr>
        <p:spPr bwMode="auto">
          <a:xfrm>
            <a:off x="4920970" y="4820789"/>
            <a:ext cx="1320981" cy="1506222"/>
          </a:xfrm>
          <a:custGeom>
            <a:avLst/>
            <a:gdLst>
              <a:gd name="T0" fmla="*/ 544 w 550"/>
              <a:gd name="T1" fmla="*/ 124 h 627"/>
              <a:gd name="T2" fmla="*/ 550 w 550"/>
              <a:gd name="T3" fmla="*/ 124 h 627"/>
              <a:gd name="T4" fmla="*/ 549 w 550"/>
              <a:gd name="T5" fmla="*/ 103 h 627"/>
              <a:gd name="T6" fmla="*/ 545 w 550"/>
              <a:gd name="T7" fmla="*/ 91 h 627"/>
              <a:gd name="T8" fmla="*/ 539 w 550"/>
              <a:gd name="T9" fmla="*/ 85 h 627"/>
              <a:gd name="T10" fmla="*/ 526 w 550"/>
              <a:gd name="T11" fmla="*/ 81 h 627"/>
              <a:gd name="T12" fmla="*/ 506 w 550"/>
              <a:gd name="T13" fmla="*/ 80 h 627"/>
              <a:gd name="T14" fmla="*/ 295 w 550"/>
              <a:gd name="T15" fmla="*/ 8 h 627"/>
              <a:gd name="T16" fmla="*/ 286 w 550"/>
              <a:gd name="T17" fmla="*/ 2 h 627"/>
              <a:gd name="T18" fmla="*/ 275 w 550"/>
              <a:gd name="T19" fmla="*/ 0 h 627"/>
              <a:gd name="T20" fmla="*/ 266 w 550"/>
              <a:gd name="T21" fmla="*/ 2 h 627"/>
              <a:gd name="T22" fmla="*/ 256 w 550"/>
              <a:gd name="T23" fmla="*/ 7 h 627"/>
              <a:gd name="T24" fmla="*/ 31 w 550"/>
              <a:gd name="T25" fmla="*/ 80 h 627"/>
              <a:gd name="T26" fmla="*/ 16 w 550"/>
              <a:gd name="T27" fmla="*/ 82 h 627"/>
              <a:gd name="T28" fmla="*/ 8 w 550"/>
              <a:gd name="T29" fmla="*/ 87 h 627"/>
              <a:gd name="T30" fmla="*/ 1 w 550"/>
              <a:gd name="T31" fmla="*/ 99 h 627"/>
              <a:gd name="T32" fmla="*/ 0 w 550"/>
              <a:gd name="T33" fmla="*/ 113 h 627"/>
              <a:gd name="T34" fmla="*/ 0 w 550"/>
              <a:gd name="T35" fmla="*/ 118 h 627"/>
              <a:gd name="T36" fmla="*/ 38 w 550"/>
              <a:gd name="T37" fmla="*/ 385 h 627"/>
              <a:gd name="T38" fmla="*/ 115 w 550"/>
              <a:gd name="T39" fmla="*/ 527 h 627"/>
              <a:gd name="T40" fmla="*/ 246 w 550"/>
              <a:gd name="T41" fmla="*/ 621 h 627"/>
              <a:gd name="T42" fmla="*/ 277 w 550"/>
              <a:gd name="T43" fmla="*/ 627 h 627"/>
              <a:gd name="T44" fmla="*/ 304 w 550"/>
              <a:gd name="T45" fmla="*/ 622 h 627"/>
              <a:gd name="T46" fmla="*/ 485 w 550"/>
              <a:gd name="T47" fmla="*/ 451 h 627"/>
              <a:gd name="T48" fmla="*/ 550 w 550"/>
              <a:gd name="T49" fmla="*/ 144 h 627"/>
              <a:gd name="T50" fmla="*/ 550 w 550"/>
              <a:gd name="T51" fmla="*/ 144 h 627"/>
              <a:gd name="T52" fmla="*/ 550 w 550"/>
              <a:gd name="T53" fmla="*/ 144 h 627"/>
              <a:gd name="T54" fmla="*/ 550 w 550"/>
              <a:gd name="T55" fmla="*/ 131 h 627"/>
              <a:gd name="T56" fmla="*/ 550 w 550"/>
              <a:gd name="T57" fmla="*/ 124 h 627"/>
              <a:gd name="T58" fmla="*/ 544 w 550"/>
              <a:gd name="T59" fmla="*/ 124 h 627"/>
              <a:gd name="T60" fmla="*/ 538 w 550"/>
              <a:gd name="T61" fmla="*/ 124 h 627"/>
              <a:gd name="T62" fmla="*/ 538 w 550"/>
              <a:gd name="T63" fmla="*/ 131 h 627"/>
              <a:gd name="T64" fmla="*/ 538 w 550"/>
              <a:gd name="T65" fmla="*/ 144 h 627"/>
              <a:gd name="T66" fmla="*/ 544 w 550"/>
              <a:gd name="T67" fmla="*/ 144 h 627"/>
              <a:gd name="T68" fmla="*/ 538 w 550"/>
              <a:gd name="T69" fmla="*/ 143 h 627"/>
              <a:gd name="T70" fmla="*/ 474 w 550"/>
              <a:gd name="T71" fmla="*/ 446 h 627"/>
              <a:gd name="T72" fmla="*/ 299 w 550"/>
              <a:gd name="T73" fmla="*/ 611 h 627"/>
              <a:gd name="T74" fmla="*/ 277 w 550"/>
              <a:gd name="T75" fmla="*/ 615 h 627"/>
              <a:gd name="T76" fmla="*/ 251 w 550"/>
              <a:gd name="T77" fmla="*/ 610 h 627"/>
              <a:gd name="T78" fmla="*/ 124 w 550"/>
              <a:gd name="T79" fmla="*/ 519 h 627"/>
              <a:gd name="T80" fmla="*/ 49 w 550"/>
              <a:gd name="T81" fmla="*/ 381 h 627"/>
              <a:gd name="T82" fmla="*/ 12 w 550"/>
              <a:gd name="T83" fmla="*/ 118 h 627"/>
              <a:gd name="T84" fmla="*/ 12 w 550"/>
              <a:gd name="T85" fmla="*/ 113 h 627"/>
              <a:gd name="T86" fmla="*/ 13 w 550"/>
              <a:gd name="T87" fmla="*/ 102 h 627"/>
              <a:gd name="T88" fmla="*/ 14 w 550"/>
              <a:gd name="T89" fmla="*/ 98 h 627"/>
              <a:gd name="T90" fmla="*/ 19 w 550"/>
              <a:gd name="T91" fmla="*/ 94 h 627"/>
              <a:gd name="T92" fmla="*/ 31 w 550"/>
              <a:gd name="T93" fmla="*/ 92 h 627"/>
              <a:gd name="T94" fmla="*/ 263 w 550"/>
              <a:gd name="T95" fmla="*/ 17 h 627"/>
              <a:gd name="T96" fmla="*/ 270 w 550"/>
              <a:gd name="T97" fmla="*/ 13 h 627"/>
              <a:gd name="T98" fmla="*/ 275 w 550"/>
              <a:gd name="T99" fmla="*/ 12 h 627"/>
              <a:gd name="T100" fmla="*/ 281 w 550"/>
              <a:gd name="T101" fmla="*/ 14 h 627"/>
              <a:gd name="T102" fmla="*/ 288 w 550"/>
              <a:gd name="T103" fmla="*/ 18 h 627"/>
              <a:gd name="T104" fmla="*/ 506 w 550"/>
              <a:gd name="T105" fmla="*/ 92 h 627"/>
              <a:gd name="T106" fmla="*/ 526 w 550"/>
              <a:gd name="T107" fmla="*/ 94 h 627"/>
              <a:gd name="T108" fmla="*/ 533 w 550"/>
              <a:gd name="T109" fmla="*/ 96 h 627"/>
              <a:gd name="T110" fmla="*/ 535 w 550"/>
              <a:gd name="T111" fmla="*/ 98 h 627"/>
              <a:gd name="T112" fmla="*/ 537 w 550"/>
              <a:gd name="T113" fmla="*/ 106 h 627"/>
              <a:gd name="T114" fmla="*/ 538 w 550"/>
              <a:gd name="T115" fmla="*/ 124 h 627"/>
              <a:gd name="T116" fmla="*/ 544 w 550"/>
              <a:gd name="T117" fmla="*/ 12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0" h="627">
                <a:moveTo>
                  <a:pt x="544" y="124"/>
                </a:moveTo>
                <a:cubicBezTo>
                  <a:pt x="550" y="124"/>
                  <a:pt x="550" y="124"/>
                  <a:pt x="550" y="124"/>
                </a:cubicBezTo>
                <a:cubicBezTo>
                  <a:pt x="550" y="115"/>
                  <a:pt x="549" y="108"/>
                  <a:pt x="549" y="103"/>
                </a:cubicBezTo>
                <a:cubicBezTo>
                  <a:pt x="548" y="98"/>
                  <a:pt x="547" y="95"/>
                  <a:pt x="545" y="91"/>
                </a:cubicBezTo>
                <a:cubicBezTo>
                  <a:pt x="543" y="89"/>
                  <a:pt x="541" y="87"/>
                  <a:pt x="539" y="85"/>
                </a:cubicBezTo>
                <a:cubicBezTo>
                  <a:pt x="535" y="83"/>
                  <a:pt x="531" y="82"/>
                  <a:pt x="526" y="81"/>
                </a:cubicBezTo>
                <a:cubicBezTo>
                  <a:pt x="520" y="81"/>
                  <a:pt x="514" y="80"/>
                  <a:pt x="506" y="80"/>
                </a:cubicBezTo>
                <a:cubicBezTo>
                  <a:pt x="429" y="76"/>
                  <a:pt x="359" y="52"/>
                  <a:pt x="295" y="8"/>
                </a:cubicBezTo>
                <a:cubicBezTo>
                  <a:pt x="292" y="6"/>
                  <a:pt x="289" y="4"/>
                  <a:pt x="286" y="2"/>
                </a:cubicBezTo>
                <a:cubicBezTo>
                  <a:pt x="282" y="1"/>
                  <a:pt x="279" y="0"/>
                  <a:pt x="275" y="0"/>
                </a:cubicBezTo>
                <a:cubicBezTo>
                  <a:pt x="272" y="0"/>
                  <a:pt x="269" y="1"/>
                  <a:pt x="266" y="2"/>
                </a:cubicBezTo>
                <a:cubicBezTo>
                  <a:pt x="262" y="3"/>
                  <a:pt x="259" y="5"/>
                  <a:pt x="256" y="7"/>
                </a:cubicBezTo>
                <a:cubicBezTo>
                  <a:pt x="189" y="55"/>
                  <a:pt x="113" y="79"/>
                  <a:pt x="31" y="80"/>
                </a:cubicBezTo>
                <a:cubicBezTo>
                  <a:pt x="25" y="80"/>
                  <a:pt x="20" y="81"/>
                  <a:pt x="16" y="82"/>
                </a:cubicBezTo>
                <a:cubicBezTo>
                  <a:pt x="13" y="83"/>
                  <a:pt x="10" y="85"/>
                  <a:pt x="8" y="87"/>
                </a:cubicBezTo>
                <a:cubicBezTo>
                  <a:pt x="4" y="90"/>
                  <a:pt x="2" y="94"/>
                  <a:pt x="1" y="99"/>
                </a:cubicBezTo>
                <a:cubicBezTo>
                  <a:pt x="0" y="103"/>
                  <a:pt x="0" y="108"/>
                  <a:pt x="0" y="113"/>
                </a:cubicBezTo>
                <a:cubicBezTo>
                  <a:pt x="0" y="115"/>
                  <a:pt x="0" y="117"/>
                  <a:pt x="0" y="118"/>
                </a:cubicBezTo>
                <a:cubicBezTo>
                  <a:pt x="0" y="209"/>
                  <a:pt x="8" y="298"/>
                  <a:pt x="38" y="385"/>
                </a:cubicBezTo>
                <a:cubicBezTo>
                  <a:pt x="56" y="438"/>
                  <a:pt x="81" y="486"/>
                  <a:pt x="115" y="527"/>
                </a:cubicBezTo>
                <a:cubicBezTo>
                  <a:pt x="148" y="567"/>
                  <a:pt x="192" y="600"/>
                  <a:pt x="246" y="621"/>
                </a:cubicBezTo>
                <a:cubicBezTo>
                  <a:pt x="255" y="625"/>
                  <a:pt x="266" y="627"/>
                  <a:pt x="277" y="627"/>
                </a:cubicBezTo>
                <a:cubicBezTo>
                  <a:pt x="286" y="627"/>
                  <a:pt x="296" y="625"/>
                  <a:pt x="304" y="622"/>
                </a:cubicBezTo>
                <a:cubicBezTo>
                  <a:pt x="387" y="590"/>
                  <a:pt x="446" y="530"/>
                  <a:pt x="485" y="451"/>
                </a:cubicBezTo>
                <a:cubicBezTo>
                  <a:pt x="534" y="354"/>
                  <a:pt x="547" y="250"/>
                  <a:pt x="550" y="144"/>
                </a:cubicBezTo>
                <a:cubicBezTo>
                  <a:pt x="550" y="144"/>
                  <a:pt x="550" y="144"/>
                  <a:pt x="550" y="144"/>
                </a:cubicBezTo>
                <a:cubicBezTo>
                  <a:pt x="550" y="144"/>
                  <a:pt x="550" y="144"/>
                  <a:pt x="550" y="144"/>
                </a:cubicBezTo>
                <a:cubicBezTo>
                  <a:pt x="550" y="140"/>
                  <a:pt x="550" y="135"/>
                  <a:pt x="550" y="131"/>
                </a:cubicBezTo>
                <a:cubicBezTo>
                  <a:pt x="550" y="129"/>
                  <a:pt x="550" y="126"/>
                  <a:pt x="550" y="124"/>
                </a:cubicBezTo>
                <a:cubicBezTo>
                  <a:pt x="544" y="124"/>
                  <a:pt x="544" y="124"/>
                  <a:pt x="544" y="124"/>
                </a:cubicBezTo>
                <a:cubicBezTo>
                  <a:pt x="538" y="124"/>
                  <a:pt x="538" y="124"/>
                  <a:pt x="538" y="124"/>
                </a:cubicBezTo>
                <a:cubicBezTo>
                  <a:pt x="538" y="127"/>
                  <a:pt x="538" y="129"/>
                  <a:pt x="538" y="131"/>
                </a:cubicBezTo>
                <a:cubicBezTo>
                  <a:pt x="538" y="135"/>
                  <a:pt x="538" y="139"/>
                  <a:pt x="538" y="144"/>
                </a:cubicBezTo>
                <a:cubicBezTo>
                  <a:pt x="544" y="144"/>
                  <a:pt x="544" y="144"/>
                  <a:pt x="544" y="144"/>
                </a:cubicBezTo>
                <a:cubicBezTo>
                  <a:pt x="538" y="143"/>
                  <a:pt x="538" y="143"/>
                  <a:pt x="538" y="143"/>
                </a:cubicBezTo>
                <a:cubicBezTo>
                  <a:pt x="535" y="249"/>
                  <a:pt x="522" y="351"/>
                  <a:pt x="474" y="446"/>
                </a:cubicBezTo>
                <a:cubicBezTo>
                  <a:pt x="436" y="523"/>
                  <a:pt x="380" y="580"/>
                  <a:pt x="299" y="611"/>
                </a:cubicBezTo>
                <a:cubicBezTo>
                  <a:pt x="293" y="613"/>
                  <a:pt x="285" y="615"/>
                  <a:pt x="277" y="615"/>
                </a:cubicBezTo>
                <a:cubicBezTo>
                  <a:pt x="268" y="615"/>
                  <a:pt x="258" y="613"/>
                  <a:pt x="251" y="610"/>
                </a:cubicBezTo>
                <a:cubicBezTo>
                  <a:pt x="198" y="589"/>
                  <a:pt x="157" y="558"/>
                  <a:pt x="124" y="519"/>
                </a:cubicBezTo>
                <a:cubicBezTo>
                  <a:pt x="91" y="480"/>
                  <a:pt x="67" y="433"/>
                  <a:pt x="49" y="381"/>
                </a:cubicBezTo>
                <a:cubicBezTo>
                  <a:pt x="20" y="296"/>
                  <a:pt x="12" y="208"/>
                  <a:pt x="12" y="118"/>
                </a:cubicBezTo>
                <a:cubicBezTo>
                  <a:pt x="12" y="117"/>
                  <a:pt x="12" y="115"/>
                  <a:pt x="12" y="113"/>
                </a:cubicBezTo>
                <a:cubicBezTo>
                  <a:pt x="12" y="109"/>
                  <a:pt x="12" y="105"/>
                  <a:pt x="13" y="102"/>
                </a:cubicBezTo>
                <a:cubicBezTo>
                  <a:pt x="13" y="100"/>
                  <a:pt x="14" y="99"/>
                  <a:pt x="14" y="98"/>
                </a:cubicBezTo>
                <a:cubicBezTo>
                  <a:pt x="15" y="96"/>
                  <a:pt x="16" y="95"/>
                  <a:pt x="19" y="94"/>
                </a:cubicBezTo>
                <a:cubicBezTo>
                  <a:pt x="21" y="93"/>
                  <a:pt x="25" y="92"/>
                  <a:pt x="31" y="92"/>
                </a:cubicBezTo>
                <a:cubicBezTo>
                  <a:pt x="116" y="91"/>
                  <a:pt x="194" y="66"/>
                  <a:pt x="263" y="17"/>
                </a:cubicBezTo>
                <a:cubicBezTo>
                  <a:pt x="266" y="15"/>
                  <a:pt x="268" y="14"/>
                  <a:pt x="270" y="13"/>
                </a:cubicBezTo>
                <a:cubicBezTo>
                  <a:pt x="272" y="13"/>
                  <a:pt x="274" y="12"/>
                  <a:pt x="275" y="12"/>
                </a:cubicBezTo>
                <a:cubicBezTo>
                  <a:pt x="277" y="12"/>
                  <a:pt x="279" y="13"/>
                  <a:pt x="281" y="14"/>
                </a:cubicBezTo>
                <a:cubicBezTo>
                  <a:pt x="283" y="14"/>
                  <a:pt x="286" y="16"/>
                  <a:pt x="288" y="18"/>
                </a:cubicBezTo>
                <a:cubicBezTo>
                  <a:pt x="354" y="63"/>
                  <a:pt x="426" y="88"/>
                  <a:pt x="506" y="92"/>
                </a:cubicBezTo>
                <a:cubicBezTo>
                  <a:pt x="515" y="93"/>
                  <a:pt x="522" y="93"/>
                  <a:pt x="526" y="94"/>
                </a:cubicBezTo>
                <a:cubicBezTo>
                  <a:pt x="530" y="94"/>
                  <a:pt x="532" y="95"/>
                  <a:pt x="533" y="96"/>
                </a:cubicBezTo>
                <a:cubicBezTo>
                  <a:pt x="534" y="96"/>
                  <a:pt x="534" y="97"/>
                  <a:pt x="535" y="98"/>
                </a:cubicBezTo>
                <a:cubicBezTo>
                  <a:pt x="536" y="99"/>
                  <a:pt x="537" y="102"/>
                  <a:pt x="537" y="106"/>
                </a:cubicBezTo>
                <a:cubicBezTo>
                  <a:pt x="537" y="111"/>
                  <a:pt x="538" y="117"/>
                  <a:pt x="538" y="124"/>
                </a:cubicBezTo>
                <a:lnTo>
                  <a:pt x="544" y="124"/>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243">
            <a:extLst>
              <a:ext uri="{FF2B5EF4-FFF2-40B4-BE49-F238E27FC236}">
                <a16:creationId xmlns:a16="http://schemas.microsoft.com/office/drawing/2014/main" id="{153F99F8-BB27-6847-AC13-B20CE2F77A9C}"/>
              </a:ext>
            </a:extLst>
          </p:cNvPr>
          <p:cNvSpPr>
            <a:spLocks/>
          </p:cNvSpPr>
          <p:nvPr/>
        </p:nvSpPr>
        <p:spPr bwMode="auto">
          <a:xfrm>
            <a:off x="5221607" y="5308691"/>
            <a:ext cx="720719" cy="687315"/>
          </a:xfrm>
          <a:custGeom>
            <a:avLst/>
            <a:gdLst>
              <a:gd name="T0" fmla="*/ 254 w 300"/>
              <a:gd name="T1" fmla="*/ 0 h 286"/>
              <a:gd name="T2" fmla="*/ 46 w 300"/>
              <a:gd name="T3" fmla="*/ 0 h 286"/>
              <a:gd name="T4" fmla="*/ 0 w 300"/>
              <a:gd name="T5" fmla="*/ 41 h 286"/>
              <a:gd name="T6" fmla="*/ 0 w 300"/>
              <a:gd name="T7" fmla="*/ 167 h 286"/>
              <a:gd name="T8" fmla="*/ 4 w 300"/>
              <a:gd name="T9" fmla="*/ 196 h 286"/>
              <a:gd name="T10" fmla="*/ 150 w 300"/>
              <a:gd name="T11" fmla="*/ 286 h 286"/>
              <a:gd name="T12" fmla="*/ 295 w 300"/>
              <a:gd name="T13" fmla="*/ 196 h 286"/>
              <a:gd name="T14" fmla="*/ 300 w 300"/>
              <a:gd name="T15" fmla="*/ 167 h 286"/>
              <a:gd name="T16" fmla="*/ 300 w 300"/>
              <a:gd name="T17" fmla="*/ 41 h 286"/>
              <a:gd name="T18" fmla="*/ 254 w 300"/>
              <a:gd name="T19"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286">
                <a:moveTo>
                  <a:pt x="254" y="0"/>
                </a:moveTo>
                <a:cubicBezTo>
                  <a:pt x="46" y="0"/>
                  <a:pt x="46" y="0"/>
                  <a:pt x="46" y="0"/>
                </a:cubicBezTo>
                <a:cubicBezTo>
                  <a:pt x="21" y="0"/>
                  <a:pt x="0" y="18"/>
                  <a:pt x="0" y="41"/>
                </a:cubicBezTo>
                <a:cubicBezTo>
                  <a:pt x="0" y="167"/>
                  <a:pt x="0" y="167"/>
                  <a:pt x="0" y="167"/>
                </a:cubicBezTo>
                <a:cubicBezTo>
                  <a:pt x="0" y="177"/>
                  <a:pt x="1" y="187"/>
                  <a:pt x="4" y="196"/>
                </a:cubicBezTo>
                <a:cubicBezTo>
                  <a:pt x="21" y="248"/>
                  <a:pt x="80" y="286"/>
                  <a:pt x="150" y="286"/>
                </a:cubicBezTo>
                <a:cubicBezTo>
                  <a:pt x="220" y="286"/>
                  <a:pt x="279" y="248"/>
                  <a:pt x="295" y="196"/>
                </a:cubicBezTo>
                <a:cubicBezTo>
                  <a:pt x="299" y="187"/>
                  <a:pt x="300" y="177"/>
                  <a:pt x="300" y="167"/>
                </a:cubicBezTo>
                <a:cubicBezTo>
                  <a:pt x="300" y="41"/>
                  <a:pt x="300" y="41"/>
                  <a:pt x="300" y="41"/>
                </a:cubicBezTo>
                <a:cubicBezTo>
                  <a:pt x="300" y="18"/>
                  <a:pt x="279" y="0"/>
                  <a:pt x="254"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37" name="Freeform 244">
            <a:extLst>
              <a:ext uri="{FF2B5EF4-FFF2-40B4-BE49-F238E27FC236}">
                <a16:creationId xmlns:a16="http://schemas.microsoft.com/office/drawing/2014/main" id="{58B9A787-9927-3346-8599-FBA453A6572D}"/>
              </a:ext>
            </a:extLst>
          </p:cNvPr>
          <p:cNvSpPr>
            <a:spLocks/>
          </p:cNvSpPr>
          <p:nvPr/>
        </p:nvSpPr>
        <p:spPr bwMode="auto">
          <a:xfrm>
            <a:off x="5207435" y="5294520"/>
            <a:ext cx="749062" cy="715658"/>
          </a:xfrm>
          <a:custGeom>
            <a:avLst/>
            <a:gdLst>
              <a:gd name="T0" fmla="*/ 260 w 312"/>
              <a:gd name="T1" fmla="*/ 6 h 298"/>
              <a:gd name="T2" fmla="*/ 260 w 312"/>
              <a:gd name="T3" fmla="*/ 0 h 298"/>
              <a:gd name="T4" fmla="*/ 52 w 312"/>
              <a:gd name="T5" fmla="*/ 0 h 298"/>
              <a:gd name="T6" fmla="*/ 15 w 312"/>
              <a:gd name="T7" fmla="*/ 13 h 298"/>
              <a:gd name="T8" fmla="*/ 0 w 312"/>
              <a:gd name="T9" fmla="*/ 47 h 298"/>
              <a:gd name="T10" fmla="*/ 0 w 312"/>
              <a:gd name="T11" fmla="*/ 173 h 298"/>
              <a:gd name="T12" fmla="*/ 5 w 312"/>
              <a:gd name="T13" fmla="*/ 204 h 298"/>
              <a:gd name="T14" fmla="*/ 60 w 312"/>
              <a:gd name="T15" fmla="*/ 272 h 298"/>
              <a:gd name="T16" fmla="*/ 156 w 312"/>
              <a:gd name="T17" fmla="*/ 298 h 298"/>
              <a:gd name="T18" fmla="*/ 252 w 312"/>
              <a:gd name="T19" fmla="*/ 272 h 298"/>
              <a:gd name="T20" fmla="*/ 307 w 312"/>
              <a:gd name="T21" fmla="*/ 204 h 298"/>
              <a:gd name="T22" fmla="*/ 312 w 312"/>
              <a:gd name="T23" fmla="*/ 173 h 298"/>
              <a:gd name="T24" fmla="*/ 312 w 312"/>
              <a:gd name="T25" fmla="*/ 47 h 298"/>
              <a:gd name="T26" fmla="*/ 296 w 312"/>
              <a:gd name="T27" fmla="*/ 13 h 298"/>
              <a:gd name="T28" fmla="*/ 260 w 312"/>
              <a:gd name="T29" fmla="*/ 0 h 298"/>
              <a:gd name="T30" fmla="*/ 260 w 312"/>
              <a:gd name="T31" fmla="*/ 6 h 298"/>
              <a:gd name="T32" fmla="*/ 260 w 312"/>
              <a:gd name="T33" fmla="*/ 12 h 298"/>
              <a:gd name="T34" fmla="*/ 288 w 312"/>
              <a:gd name="T35" fmla="*/ 22 h 298"/>
              <a:gd name="T36" fmla="*/ 300 w 312"/>
              <a:gd name="T37" fmla="*/ 47 h 298"/>
              <a:gd name="T38" fmla="*/ 300 w 312"/>
              <a:gd name="T39" fmla="*/ 173 h 298"/>
              <a:gd name="T40" fmla="*/ 296 w 312"/>
              <a:gd name="T41" fmla="*/ 200 h 298"/>
              <a:gd name="T42" fmla="*/ 246 w 312"/>
              <a:gd name="T43" fmla="*/ 261 h 298"/>
              <a:gd name="T44" fmla="*/ 156 w 312"/>
              <a:gd name="T45" fmla="*/ 286 h 298"/>
              <a:gd name="T46" fmla="*/ 66 w 312"/>
              <a:gd name="T47" fmla="*/ 261 h 298"/>
              <a:gd name="T48" fmla="*/ 16 w 312"/>
              <a:gd name="T49" fmla="*/ 200 h 298"/>
              <a:gd name="T50" fmla="*/ 12 w 312"/>
              <a:gd name="T51" fmla="*/ 173 h 298"/>
              <a:gd name="T52" fmla="*/ 12 w 312"/>
              <a:gd name="T53" fmla="*/ 47 h 298"/>
              <a:gd name="T54" fmla="*/ 23 w 312"/>
              <a:gd name="T55" fmla="*/ 22 h 298"/>
              <a:gd name="T56" fmla="*/ 52 w 312"/>
              <a:gd name="T57" fmla="*/ 12 h 298"/>
              <a:gd name="T58" fmla="*/ 260 w 312"/>
              <a:gd name="T59" fmla="*/ 12 h 298"/>
              <a:gd name="T60" fmla="*/ 260 w 312"/>
              <a:gd name="T61" fmla="*/ 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 h="298">
                <a:moveTo>
                  <a:pt x="260" y="6"/>
                </a:moveTo>
                <a:cubicBezTo>
                  <a:pt x="260" y="0"/>
                  <a:pt x="260" y="0"/>
                  <a:pt x="260" y="0"/>
                </a:cubicBezTo>
                <a:cubicBezTo>
                  <a:pt x="52" y="0"/>
                  <a:pt x="52" y="0"/>
                  <a:pt x="52" y="0"/>
                </a:cubicBezTo>
                <a:cubicBezTo>
                  <a:pt x="38" y="0"/>
                  <a:pt x="25" y="5"/>
                  <a:pt x="15" y="13"/>
                </a:cubicBezTo>
                <a:cubicBezTo>
                  <a:pt x="6" y="22"/>
                  <a:pt x="0" y="34"/>
                  <a:pt x="0" y="47"/>
                </a:cubicBezTo>
                <a:cubicBezTo>
                  <a:pt x="0" y="173"/>
                  <a:pt x="0" y="173"/>
                  <a:pt x="0" y="173"/>
                </a:cubicBezTo>
                <a:cubicBezTo>
                  <a:pt x="0" y="183"/>
                  <a:pt x="1" y="194"/>
                  <a:pt x="5" y="204"/>
                </a:cubicBezTo>
                <a:cubicBezTo>
                  <a:pt x="13" y="231"/>
                  <a:pt x="33" y="255"/>
                  <a:pt x="60" y="272"/>
                </a:cubicBezTo>
                <a:cubicBezTo>
                  <a:pt x="86" y="288"/>
                  <a:pt x="120" y="298"/>
                  <a:pt x="156" y="298"/>
                </a:cubicBezTo>
                <a:cubicBezTo>
                  <a:pt x="192" y="298"/>
                  <a:pt x="225" y="288"/>
                  <a:pt x="252" y="272"/>
                </a:cubicBezTo>
                <a:cubicBezTo>
                  <a:pt x="279" y="255"/>
                  <a:pt x="298" y="231"/>
                  <a:pt x="307" y="204"/>
                </a:cubicBezTo>
                <a:cubicBezTo>
                  <a:pt x="310" y="194"/>
                  <a:pt x="312" y="183"/>
                  <a:pt x="312" y="173"/>
                </a:cubicBezTo>
                <a:cubicBezTo>
                  <a:pt x="312" y="47"/>
                  <a:pt x="312" y="47"/>
                  <a:pt x="312" y="47"/>
                </a:cubicBezTo>
                <a:cubicBezTo>
                  <a:pt x="312" y="34"/>
                  <a:pt x="306" y="22"/>
                  <a:pt x="296" y="13"/>
                </a:cubicBezTo>
                <a:cubicBezTo>
                  <a:pt x="287" y="5"/>
                  <a:pt x="274" y="0"/>
                  <a:pt x="260" y="0"/>
                </a:cubicBezTo>
                <a:cubicBezTo>
                  <a:pt x="260" y="6"/>
                  <a:pt x="260" y="6"/>
                  <a:pt x="260" y="6"/>
                </a:cubicBezTo>
                <a:cubicBezTo>
                  <a:pt x="260" y="12"/>
                  <a:pt x="260" y="12"/>
                  <a:pt x="260" y="12"/>
                </a:cubicBezTo>
                <a:cubicBezTo>
                  <a:pt x="271" y="12"/>
                  <a:pt x="281" y="16"/>
                  <a:pt x="288" y="22"/>
                </a:cubicBezTo>
                <a:cubicBezTo>
                  <a:pt x="296" y="29"/>
                  <a:pt x="300" y="38"/>
                  <a:pt x="300" y="47"/>
                </a:cubicBezTo>
                <a:cubicBezTo>
                  <a:pt x="300" y="173"/>
                  <a:pt x="300" y="173"/>
                  <a:pt x="300" y="173"/>
                </a:cubicBezTo>
                <a:cubicBezTo>
                  <a:pt x="300" y="182"/>
                  <a:pt x="299" y="191"/>
                  <a:pt x="296" y="200"/>
                </a:cubicBezTo>
                <a:cubicBezTo>
                  <a:pt x="288" y="225"/>
                  <a:pt x="270" y="246"/>
                  <a:pt x="246" y="261"/>
                </a:cubicBezTo>
                <a:cubicBezTo>
                  <a:pt x="221" y="277"/>
                  <a:pt x="190" y="286"/>
                  <a:pt x="156" y="286"/>
                </a:cubicBezTo>
                <a:cubicBezTo>
                  <a:pt x="122" y="286"/>
                  <a:pt x="91" y="277"/>
                  <a:pt x="66" y="261"/>
                </a:cubicBezTo>
                <a:cubicBezTo>
                  <a:pt x="42" y="246"/>
                  <a:pt x="24" y="225"/>
                  <a:pt x="16" y="200"/>
                </a:cubicBezTo>
                <a:cubicBezTo>
                  <a:pt x="13" y="191"/>
                  <a:pt x="12" y="182"/>
                  <a:pt x="12" y="173"/>
                </a:cubicBezTo>
                <a:cubicBezTo>
                  <a:pt x="12" y="47"/>
                  <a:pt x="12" y="47"/>
                  <a:pt x="12" y="47"/>
                </a:cubicBezTo>
                <a:cubicBezTo>
                  <a:pt x="12" y="38"/>
                  <a:pt x="16" y="29"/>
                  <a:pt x="23" y="22"/>
                </a:cubicBezTo>
                <a:cubicBezTo>
                  <a:pt x="31" y="16"/>
                  <a:pt x="41" y="12"/>
                  <a:pt x="52" y="12"/>
                </a:cubicBezTo>
                <a:cubicBezTo>
                  <a:pt x="260" y="12"/>
                  <a:pt x="260" y="12"/>
                  <a:pt x="260" y="12"/>
                </a:cubicBezTo>
                <a:lnTo>
                  <a:pt x="260" y="6"/>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245">
            <a:extLst>
              <a:ext uri="{FF2B5EF4-FFF2-40B4-BE49-F238E27FC236}">
                <a16:creationId xmlns:a16="http://schemas.microsoft.com/office/drawing/2014/main" id="{3440FFE5-5786-7449-A2B6-134B90A6C894}"/>
              </a:ext>
            </a:extLst>
          </p:cNvPr>
          <p:cNvSpPr>
            <a:spLocks/>
          </p:cNvSpPr>
          <p:nvPr/>
        </p:nvSpPr>
        <p:spPr bwMode="auto">
          <a:xfrm>
            <a:off x="5403811" y="5128511"/>
            <a:ext cx="355298" cy="175119"/>
          </a:xfrm>
          <a:custGeom>
            <a:avLst/>
            <a:gdLst>
              <a:gd name="T0" fmla="*/ 148 w 148"/>
              <a:gd name="T1" fmla="*/ 73 h 73"/>
              <a:gd name="T2" fmla="*/ 148 w 148"/>
              <a:gd name="T3" fmla="*/ 73 h 73"/>
              <a:gd name="T4" fmla="*/ 74 w 148"/>
              <a:gd name="T5" fmla="*/ 0 h 73"/>
              <a:gd name="T6" fmla="*/ 0 w 148"/>
              <a:gd name="T7" fmla="*/ 73 h 73"/>
              <a:gd name="T8" fmla="*/ 0 w 148"/>
              <a:gd name="T9" fmla="*/ 73 h 73"/>
              <a:gd name="T10" fmla="*/ 148 w 148"/>
              <a:gd name="T11" fmla="*/ 73 h 73"/>
            </a:gdLst>
            <a:ahLst/>
            <a:cxnLst>
              <a:cxn ang="0">
                <a:pos x="T0" y="T1"/>
              </a:cxn>
              <a:cxn ang="0">
                <a:pos x="T2" y="T3"/>
              </a:cxn>
              <a:cxn ang="0">
                <a:pos x="T4" y="T5"/>
              </a:cxn>
              <a:cxn ang="0">
                <a:pos x="T6" y="T7"/>
              </a:cxn>
              <a:cxn ang="0">
                <a:pos x="T8" y="T9"/>
              </a:cxn>
              <a:cxn ang="0">
                <a:pos x="T10" y="T11"/>
              </a:cxn>
            </a:cxnLst>
            <a:rect l="0" t="0" r="r" b="b"/>
            <a:pathLst>
              <a:path w="148" h="73">
                <a:moveTo>
                  <a:pt x="148" y="73"/>
                </a:moveTo>
                <a:cubicBezTo>
                  <a:pt x="148" y="73"/>
                  <a:pt x="148" y="73"/>
                  <a:pt x="148" y="73"/>
                </a:cubicBezTo>
                <a:cubicBezTo>
                  <a:pt x="148" y="33"/>
                  <a:pt x="115" y="0"/>
                  <a:pt x="74" y="0"/>
                </a:cubicBezTo>
                <a:cubicBezTo>
                  <a:pt x="33" y="0"/>
                  <a:pt x="0" y="33"/>
                  <a:pt x="0" y="73"/>
                </a:cubicBezTo>
                <a:cubicBezTo>
                  <a:pt x="0" y="73"/>
                  <a:pt x="0" y="73"/>
                  <a:pt x="0" y="73"/>
                </a:cubicBezTo>
                <a:lnTo>
                  <a:pt x="148" y="7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39" name="Freeform 246">
            <a:extLst>
              <a:ext uri="{FF2B5EF4-FFF2-40B4-BE49-F238E27FC236}">
                <a16:creationId xmlns:a16="http://schemas.microsoft.com/office/drawing/2014/main" id="{FCD16E10-12FF-5C43-AF60-E67F31D5EB45}"/>
              </a:ext>
            </a:extLst>
          </p:cNvPr>
          <p:cNvSpPr>
            <a:spLocks/>
          </p:cNvSpPr>
          <p:nvPr/>
        </p:nvSpPr>
        <p:spPr bwMode="auto">
          <a:xfrm>
            <a:off x="5389640" y="5114340"/>
            <a:ext cx="384653" cy="203461"/>
          </a:xfrm>
          <a:custGeom>
            <a:avLst/>
            <a:gdLst>
              <a:gd name="T0" fmla="*/ 154 w 160"/>
              <a:gd name="T1" fmla="*/ 79 h 85"/>
              <a:gd name="T2" fmla="*/ 160 w 160"/>
              <a:gd name="T3" fmla="*/ 80 h 85"/>
              <a:gd name="T4" fmla="*/ 160 w 160"/>
              <a:gd name="T5" fmla="*/ 79 h 85"/>
              <a:gd name="T6" fmla="*/ 160 w 160"/>
              <a:gd name="T7" fmla="*/ 79 h 85"/>
              <a:gd name="T8" fmla="*/ 160 w 160"/>
              <a:gd name="T9" fmla="*/ 79 h 85"/>
              <a:gd name="T10" fmla="*/ 80 w 160"/>
              <a:gd name="T11" fmla="*/ 0 h 85"/>
              <a:gd name="T12" fmla="*/ 0 w 160"/>
              <a:gd name="T13" fmla="*/ 79 h 85"/>
              <a:gd name="T14" fmla="*/ 0 w 160"/>
              <a:gd name="T15" fmla="*/ 79 h 85"/>
              <a:gd name="T16" fmla="*/ 0 w 160"/>
              <a:gd name="T17" fmla="*/ 80 h 85"/>
              <a:gd name="T18" fmla="*/ 0 w 160"/>
              <a:gd name="T19" fmla="*/ 85 h 85"/>
              <a:gd name="T20" fmla="*/ 159 w 160"/>
              <a:gd name="T21" fmla="*/ 85 h 85"/>
              <a:gd name="T22" fmla="*/ 160 w 160"/>
              <a:gd name="T23" fmla="*/ 80 h 85"/>
              <a:gd name="T24" fmla="*/ 154 w 160"/>
              <a:gd name="T25" fmla="*/ 79 h 85"/>
              <a:gd name="T26" fmla="*/ 154 w 160"/>
              <a:gd name="T27" fmla="*/ 73 h 85"/>
              <a:gd name="T28" fmla="*/ 6 w 160"/>
              <a:gd name="T29" fmla="*/ 73 h 85"/>
              <a:gd name="T30" fmla="*/ 6 w 160"/>
              <a:gd name="T31" fmla="*/ 79 h 85"/>
              <a:gd name="T32" fmla="*/ 12 w 160"/>
              <a:gd name="T33" fmla="*/ 79 h 85"/>
              <a:gd name="T34" fmla="*/ 12 w 160"/>
              <a:gd name="T35" fmla="*/ 79 h 85"/>
              <a:gd name="T36" fmla="*/ 6 w 160"/>
              <a:gd name="T37" fmla="*/ 79 h 85"/>
              <a:gd name="T38" fmla="*/ 12 w 160"/>
              <a:gd name="T39" fmla="*/ 79 h 85"/>
              <a:gd name="T40" fmla="*/ 32 w 160"/>
              <a:gd name="T41" fmla="*/ 31 h 85"/>
              <a:gd name="T42" fmla="*/ 80 w 160"/>
              <a:gd name="T43" fmla="*/ 12 h 85"/>
              <a:gd name="T44" fmla="*/ 128 w 160"/>
              <a:gd name="T45" fmla="*/ 31 h 85"/>
              <a:gd name="T46" fmla="*/ 148 w 160"/>
              <a:gd name="T47" fmla="*/ 79 h 85"/>
              <a:gd name="T48" fmla="*/ 154 w 160"/>
              <a:gd name="T49" fmla="*/ 79 h 85"/>
              <a:gd name="T50" fmla="*/ 148 w 160"/>
              <a:gd name="T51" fmla="*/ 79 h 85"/>
              <a:gd name="T52" fmla="*/ 148 w 160"/>
              <a:gd name="T53" fmla="*/ 79 h 85"/>
              <a:gd name="T54" fmla="*/ 154 w 160"/>
              <a:gd name="T55" fmla="*/ 79 h 85"/>
              <a:gd name="T56" fmla="*/ 154 w 160"/>
              <a:gd name="T57" fmla="*/ 73 h 85"/>
              <a:gd name="T58" fmla="*/ 154 w 160"/>
              <a:gd name="T59"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85">
                <a:moveTo>
                  <a:pt x="154" y="79"/>
                </a:moveTo>
                <a:cubicBezTo>
                  <a:pt x="160" y="80"/>
                  <a:pt x="160" y="80"/>
                  <a:pt x="160" y="80"/>
                </a:cubicBezTo>
                <a:cubicBezTo>
                  <a:pt x="160" y="79"/>
                  <a:pt x="160" y="79"/>
                  <a:pt x="160" y="79"/>
                </a:cubicBezTo>
                <a:cubicBezTo>
                  <a:pt x="160" y="79"/>
                  <a:pt x="160" y="79"/>
                  <a:pt x="160" y="79"/>
                </a:cubicBezTo>
                <a:cubicBezTo>
                  <a:pt x="160" y="79"/>
                  <a:pt x="160" y="79"/>
                  <a:pt x="160" y="79"/>
                </a:cubicBezTo>
                <a:cubicBezTo>
                  <a:pt x="160" y="35"/>
                  <a:pt x="124" y="0"/>
                  <a:pt x="80" y="0"/>
                </a:cubicBezTo>
                <a:cubicBezTo>
                  <a:pt x="36" y="0"/>
                  <a:pt x="0" y="35"/>
                  <a:pt x="0" y="79"/>
                </a:cubicBezTo>
                <a:cubicBezTo>
                  <a:pt x="0" y="79"/>
                  <a:pt x="0" y="79"/>
                  <a:pt x="0" y="79"/>
                </a:cubicBezTo>
                <a:cubicBezTo>
                  <a:pt x="0" y="80"/>
                  <a:pt x="0" y="80"/>
                  <a:pt x="0" y="80"/>
                </a:cubicBezTo>
                <a:cubicBezTo>
                  <a:pt x="0" y="85"/>
                  <a:pt x="0" y="85"/>
                  <a:pt x="0" y="85"/>
                </a:cubicBezTo>
                <a:cubicBezTo>
                  <a:pt x="159" y="85"/>
                  <a:pt x="159" y="85"/>
                  <a:pt x="159" y="85"/>
                </a:cubicBezTo>
                <a:cubicBezTo>
                  <a:pt x="160" y="80"/>
                  <a:pt x="160" y="80"/>
                  <a:pt x="160" y="80"/>
                </a:cubicBezTo>
                <a:cubicBezTo>
                  <a:pt x="154" y="79"/>
                  <a:pt x="154" y="79"/>
                  <a:pt x="154" y="79"/>
                </a:cubicBezTo>
                <a:cubicBezTo>
                  <a:pt x="154" y="73"/>
                  <a:pt x="154" y="73"/>
                  <a:pt x="154" y="73"/>
                </a:cubicBezTo>
                <a:cubicBezTo>
                  <a:pt x="6" y="73"/>
                  <a:pt x="6" y="73"/>
                  <a:pt x="6" y="73"/>
                </a:cubicBezTo>
                <a:cubicBezTo>
                  <a:pt x="6" y="79"/>
                  <a:pt x="6" y="79"/>
                  <a:pt x="6" y="79"/>
                </a:cubicBezTo>
                <a:cubicBezTo>
                  <a:pt x="12" y="79"/>
                  <a:pt x="12" y="79"/>
                  <a:pt x="12" y="79"/>
                </a:cubicBezTo>
                <a:cubicBezTo>
                  <a:pt x="12" y="79"/>
                  <a:pt x="12" y="79"/>
                  <a:pt x="12" y="79"/>
                </a:cubicBezTo>
                <a:cubicBezTo>
                  <a:pt x="6" y="79"/>
                  <a:pt x="6" y="79"/>
                  <a:pt x="6" y="79"/>
                </a:cubicBezTo>
                <a:cubicBezTo>
                  <a:pt x="12" y="79"/>
                  <a:pt x="12" y="79"/>
                  <a:pt x="12" y="79"/>
                </a:cubicBezTo>
                <a:cubicBezTo>
                  <a:pt x="12" y="61"/>
                  <a:pt x="20" y="44"/>
                  <a:pt x="32" y="31"/>
                </a:cubicBezTo>
                <a:cubicBezTo>
                  <a:pt x="44" y="19"/>
                  <a:pt x="61" y="12"/>
                  <a:pt x="80" y="12"/>
                </a:cubicBezTo>
                <a:cubicBezTo>
                  <a:pt x="99" y="12"/>
                  <a:pt x="115" y="19"/>
                  <a:pt x="128" y="31"/>
                </a:cubicBezTo>
                <a:cubicBezTo>
                  <a:pt x="140" y="44"/>
                  <a:pt x="148" y="61"/>
                  <a:pt x="148" y="79"/>
                </a:cubicBezTo>
                <a:cubicBezTo>
                  <a:pt x="154" y="79"/>
                  <a:pt x="154" y="79"/>
                  <a:pt x="154" y="79"/>
                </a:cubicBezTo>
                <a:cubicBezTo>
                  <a:pt x="148" y="79"/>
                  <a:pt x="148" y="79"/>
                  <a:pt x="148" y="79"/>
                </a:cubicBezTo>
                <a:cubicBezTo>
                  <a:pt x="148" y="79"/>
                  <a:pt x="148" y="79"/>
                  <a:pt x="148" y="79"/>
                </a:cubicBezTo>
                <a:cubicBezTo>
                  <a:pt x="154" y="79"/>
                  <a:pt x="154" y="79"/>
                  <a:pt x="154" y="79"/>
                </a:cubicBezTo>
                <a:cubicBezTo>
                  <a:pt x="154" y="73"/>
                  <a:pt x="154" y="73"/>
                  <a:pt x="154" y="73"/>
                </a:cubicBezTo>
                <a:lnTo>
                  <a:pt x="154" y="79"/>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247">
            <a:extLst>
              <a:ext uri="{FF2B5EF4-FFF2-40B4-BE49-F238E27FC236}">
                <a16:creationId xmlns:a16="http://schemas.microsoft.com/office/drawing/2014/main" id="{F458964F-112A-9F4E-B716-A5F0DED86289}"/>
              </a:ext>
            </a:extLst>
          </p:cNvPr>
          <p:cNvSpPr>
            <a:spLocks noChangeArrowheads="1"/>
          </p:cNvSpPr>
          <p:nvPr/>
        </p:nvSpPr>
        <p:spPr bwMode="auto">
          <a:xfrm>
            <a:off x="5466570" y="5474699"/>
            <a:ext cx="227755" cy="22775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41" name="Freeform 248">
            <a:extLst>
              <a:ext uri="{FF2B5EF4-FFF2-40B4-BE49-F238E27FC236}">
                <a16:creationId xmlns:a16="http://schemas.microsoft.com/office/drawing/2014/main" id="{A1B27734-5C15-224C-9859-C99EBC6D4415}"/>
              </a:ext>
            </a:extLst>
          </p:cNvPr>
          <p:cNvSpPr>
            <a:spLocks/>
          </p:cNvSpPr>
          <p:nvPr/>
        </p:nvSpPr>
        <p:spPr bwMode="auto">
          <a:xfrm>
            <a:off x="5452399" y="5459516"/>
            <a:ext cx="257110" cy="257110"/>
          </a:xfrm>
          <a:custGeom>
            <a:avLst/>
            <a:gdLst>
              <a:gd name="T0" fmla="*/ 101 w 107"/>
              <a:gd name="T1" fmla="*/ 53 h 107"/>
              <a:gd name="T2" fmla="*/ 95 w 107"/>
              <a:gd name="T3" fmla="*/ 53 h 107"/>
              <a:gd name="T4" fmla="*/ 83 w 107"/>
              <a:gd name="T5" fmla="*/ 82 h 107"/>
              <a:gd name="T6" fmla="*/ 54 w 107"/>
              <a:gd name="T7" fmla="*/ 95 h 107"/>
              <a:gd name="T8" fmla="*/ 25 w 107"/>
              <a:gd name="T9" fmla="*/ 82 h 107"/>
              <a:gd name="T10" fmla="*/ 12 w 107"/>
              <a:gd name="T11" fmla="*/ 53 h 107"/>
              <a:gd name="T12" fmla="*/ 25 w 107"/>
              <a:gd name="T13" fmla="*/ 24 h 107"/>
              <a:gd name="T14" fmla="*/ 54 w 107"/>
              <a:gd name="T15" fmla="*/ 12 h 107"/>
              <a:gd name="T16" fmla="*/ 83 w 107"/>
              <a:gd name="T17" fmla="*/ 24 h 107"/>
              <a:gd name="T18" fmla="*/ 95 w 107"/>
              <a:gd name="T19" fmla="*/ 53 h 107"/>
              <a:gd name="T20" fmla="*/ 101 w 107"/>
              <a:gd name="T21" fmla="*/ 53 h 107"/>
              <a:gd name="T22" fmla="*/ 107 w 107"/>
              <a:gd name="T23" fmla="*/ 53 h 107"/>
              <a:gd name="T24" fmla="*/ 54 w 107"/>
              <a:gd name="T25" fmla="*/ 0 h 107"/>
              <a:gd name="T26" fmla="*/ 0 w 107"/>
              <a:gd name="T27" fmla="*/ 53 h 107"/>
              <a:gd name="T28" fmla="*/ 54 w 107"/>
              <a:gd name="T29" fmla="*/ 107 h 107"/>
              <a:gd name="T30" fmla="*/ 107 w 107"/>
              <a:gd name="T31" fmla="*/ 53 h 107"/>
              <a:gd name="T32" fmla="*/ 101 w 107"/>
              <a:gd name="T33"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101" y="53"/>
                </a:moveTo>
                <a:cubicBezTo>
                  <a:pt x="95" y="53"/>
                  <a:pt x="95" y="53"/>
                  <a:pt x="95" y="53"/>
                </a:cubicBezTo>
                <a:cubicBezTo>
                  <a:pt x="95" y="65"/>
                  <a:pt x="91" y="75"/>
                  <a:pt x="83" y="82"/>
                </a:cubicBezTo>
                <a:cubicBezTo>
                  <a:pt x="76" y="90"/>
                  <a:pt x="65" y="95"/>
                  <a:pt x="54" y="95"/>
                </a:cubicBezTo>
                <a:cubicBezTo>
                  <a:pt x="42" y="95"/>
                  <a:pt x="32" y="90"/>
                  <a:pt x="25" y="82"/>
                </a:cubicBezTo>
                <a:cubicBezTo>
                  <a:pt x="17" y="75"/>
                  <a:pt x="12" y="65"/>
                  <a:pt x="12" y="53"/>
                </a:cubicBezTo>
                <a:cubicBezTo>
                  <a:pt x="12" y="42"/>
                  <a:pt x="17" y="31"/>
                  <a:pt x="25" y="24"/>
                </a:cubicBezTo>
                <a:cubicBezTo>
                  <a:pt x="32" y="16"/>
                  <a:pt x="42" y="12"/>
                  <a:pt x="54" y="12"/>
                </a:cubicBezTo>
                <a:cubicBezTo>
                  <a:pt x="65" y="12"/>
                  <a:pt x="76" y="16"/>
                  <a:pt x="83" y="24"/>
                </a:cubicBezTo>
                <a:cubicBezTo>
                  <a:pt x="91" y="31"/>
                  <a:pt x="95" y="42"/>
                  <a:pt x="95" y="53"/>
                </a:cubicBezTo>
                <a:cubicBezTo>
                  <a:pt x="101" y="53"/>
                  <a:pt x="101" y="53"/>
                  <a:pt x="101" y="53"/>
                </a:cubicBezTo>
                <a:cubicBezTo>
                  <a:pt x="107" y="53"/>
                  <a:pt x="107" y="53"/>
                  <a:pt x="107" y="53"/>
                </a:cubicBezTo>
                <a:cubicBezTo>
                  <a:pt x="107" y="23"/>
                  <a:pt x="83" y="0"/>
                  <a:pt x="54" y="0"/>
                </a:cubicBezTo>
                <a:cubicBezTo>
                  <a:pt x="24" y="0"/>
                  <a:pt x="0" y="23"/>
                  <a:pt x="0" y="53"/>
                </a:cubicBezTo>
                <a:cubicBezTo>
                  <a:pt x="0" y="83"/>
                  <a:pt x="24" y="107"/>
                  <a:pt x="54" y="107"/>
                </a:cubicBezTo>
                <a:cubicBezTo>
                  <a:pt x="83" y="107"/>
                  <a:pt x="107" y="83"/>
                  <a:pt x="107" y="53"/>
                </a:cubicBezTo>
                <a:lnTo>
                  <a:pt x="101" y="53"/>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249">
            <a:extLst>
              <a:ext uri="{FF2B5EF4-FFF2-40B4-BE49-F238E27FC236}">
                <a16:creationId xmlns:a16="http://schemas.microsoft.com/office/drawing/2014/main" id="{07F44915-E4ED-B749-8873-F3AB48620710}"/>
              </a:ext>
            </a:extLst>
          </p:cNvPr>
          <p:cNvSpPr>
            <a:spLocks/>
          </p:cNvSpPr>
          <p:nvPr/>
        </p:nvSpPr>
        <p:spPr bwMode="auto">
          <a:xfrm>
            <a:off x="5581966" y="5702455"/>
            <a:ext cx="0" cy="132604"/>
          </a:xfrm>
          <a:custGeom>
            <a:avLst/>
            <a:gdLst>
              <a:gd name="T0" fmla="*/ 0 h 131"/>
              <a:gd name="T1" fmla="*/ 131 h 131"/>
              <a:gd name="T2" fmla="*/ 0 h 131"/>
            </a:gdLst>
            <a:ahLst/>
            <a:cxnLst>
              <a:cxn ang="0">
                <a:pos x="0" y="T0"/>
              </a:cxn>
              <a:cxn ang="0">
                <a:pos x="0" y="T1"/>
              </a:cxn>
              <a:cxn ang="0">
                <a:pos x="0" y="T2"/>
              </a:cxn>
            </a:cxnLst>
            <a:rect l="0" t="0" r="r" b="b"/>
            <a:pathLst>
              <a:path h="131">
                <a:moveTo>
                  <a:pt x="0" y="0"/>
                </a:moveTo>
                <a:lnTo>
                  <a:pt x="0" y="131"/>
                </a:lnTo>
                <a:lnTo>
                  <a:pt x="0"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Line 250">
            <a:extLst>
              <a:ext uri="{FF2B5EF4-FFF2-40B4-BE49-F238E27FC236}">
                <a16:creationId xmlns:a16="http://schemas.microsoft.com/office/drawing/2014/main" id="{51BCCC8A-5685-CF4A-80CC-6658923C97F5}"/>
              </a:ext>
            </a:extLst>
          </p:cNvPr>
          <p:cNvSpPr>
            <a:spLocks noChangeShapeType="1"/>
          </p:cNvSpPr>
          <p:nvPr/>
        </p:nvSpPr>
        <p:spPr bwMode="auto">
          <a:xfrm>
            <a:off x="5581966" y="5702455"/>
            <a:ext cx="0" cy="13260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4" name="Freeform 251">
            <a:extLst>
              <a:ext uri="{FF2B5EF4-FFF2-40B4-BE49-F238E27FC236}">
                <a16:creationId xmlns:a16="http://schemas.microsoft.com/office/drawing/2014/main" id="{F06DFF7F-656E-4347-B0BB-DFEED75EBEEA}"/>
              </a:ext>
            </a:extLst>
          </p:cNvPr>
          <p:cNvSpPr>
            <a:spLocks/>
          </p:cNvSpPr>
          <p:nvPr/>
        </p:nvSpPr>
        <p:spPr bwMode="auto">
          <a:xfrm>
            <a:off x="5567795" y="5688283"/>
            <a:ext cx="28343" cy="160947"/>
          </a:xfrm>
          <a:custGeom>
            <a:avLst/>
            <a:gdLst>
              <a:gd name="T0" fmla="*/ 0 w 12"/>
              <a:gd name="T1" fmla="*/ 6 h 67"/>
              <a:gd name="T2" fmla="*/ 0 w 12"/>
              <a:gd name="T3" fmla="*/ 61 h 67"/>
              <a:gd name="T4" fmla="*/ 6 w 12"/>
              <a:gd name="T5" fmla="*/ 67 h 67"/>
              <a:gd name="T6" fmla="*/ 12 w 12"/>
              <a:gd name="T7" fmla="*/ 61 h 67"/>
              <a:gd name="T8" fmla="*/ 12 w 12"/>
              <a:gd name="T9" fmla="*/ 6 h 67"/>
              <a:gd name="T10" fmla="*/ 6 w 12"/>
              <a:gd name="T11" fmla="*/ 0 h 67"/>
              <a:gd name="T12" fmla="*/ 0 w 12"/>
              <a:gd name="T13" fmla="*/ 6 h 67"/>
            </a:gdLst>
            <a:ahLst/>
            <a:cxnLst>
              <a:cxn ang="0">
                <a:pos x="T0" y="T1"/>
              </a:cxn>
              <a:cxn ang="0">
                <a:pos x="T2" y="T3"/>
              </a:cxn>
              <a:cxn ang="0">
                <a:pos x="T4" y="T5"/>
              </a:cxn>
              <a:cxn ang="0">
                <a:pos x="T6" y="T7"/>
              </a:cxn>
              <a:cxn ang="0">
                <a:pos x="T8" y="T9"/>
              </a:cxn>
              <a:cxn ang="0">
                <a:pos x="T10" y="T11"/>
              </a:cxn>
              <a:cxn ang="0">
                <a:pos x="T12" y="T13"/>
              </a:cxn>
            </a:cxnLst>
            <a:rect l="0" t="0" r="r" b="b"/>
            <a:pathLst>
              <a:path w="12" h="67">
                <a:moveTo>
                  <a:pt x="0" y="6"/>
                </a:moveTo>
                <a:cubicBezTo>
                  <a:pt x="0" y="61"/>
                  <a:pt x="0" y="61"/>
                  <a:pt x="0" y="61"/>
                </a:cubicBezTo>
                <a:cubicBezTo>
                  <a:pt x="0" y="64"/>
                  <a:pt x="3" y="67"/>
                  <a:pt x="6" y="67"/>
                </a:cubicBezTo>
                <a:cubicBezTo>
                  <a:pt x="9" y="67"/>
                  <a:pt x="12" y="64"/>
                  <a:pt x="12" y="61"/>
                </a:cubicBezTo>
                <a:cubicBezTo>
                  <a:pt x="12" y="6"/>
                  <a:pt x="12" y="6"/>
                  <a:pt x="12" y="6"/>
                </a:cubicBezTo>
                <a:cubicBezTo>
                  <a:pt x="12" y="2"/>
                  <a:pt x="9" y="0"/>
                  <a:pt x="6" y="0"/>
                </a:cubicBezTo>
                <a:cubicBezTo>
                  <a:pt x="3" y="0"/>
                  <a:pt x="0" y="2"/>
                  <a:pt x="0" y="6"/>
                </a:cubicBezTo>
              </a:path>
            </a:pathLst>
          </a:custGeom>
          <a:solidFill>
            <a:srgbClr val="7BB62D"/>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252">
            <a:extLst>
              <a:ext uri="{FF2B5EF4-FFF2-40B4-BE49-F238E27FC236}">
                <a16:creationId xmlns:a16="http://schemas.microsoft.com/office/drawing/2014/main" id="{937BDD04-17B0-6644-959A-3764D787B207}"/>
              </a:ext>
            </a:extLst>
          </p:cNvPr>
          <p:cNvSpPr>
            <a:spLocks/>
          </p:cNvSpPr>
          <p:nvPr/>
        </p:nvSpPr>
        <p:spPr bwMode="auto">
          <a:xfrm>
            <a:off x="3115123" y="5777361"/>
            <a:ext cx="862434" cy="352262"/>
          </a:xfrm>
          <a:custGeom>
            <a:avLst/>
            <a:gdLst>
              <a:gd name="T0" fmla="*/ 0 w 852"/>
              <a:gd name="T1" fmla="*/ 0 h 348"/>
              <a:gd name="T2" fmla="*/ 0 w 852"/>
              <a:gd name="T3" fmla="*/ 348 h 348"/>
              <a:gd name="T4" fmla="*/ 852 w 852"/>
              <a:gd name="T5" fmla="*/ 348 h 348"/>
              <a:gd name="T6" fmla="*/ 852 w 852"/>
              <a:gd name="T7" fmla="*/ 329 h 348"/>
              <a:gd name="T8" fmla="*/ 19 w 852"/>
              <a:gd name="T9" fmla="*/ 329 h 348"/>
              <a:gd name="T10" fmla="*/ 19 w 852"/>
              <a:gd name="T11" fmla="*/ 0 h 348"/>
              <a:gd name="T12" fmla="*/ 0 w 852"/>
              <a:gd name="T13" fmla="*/ 0 h 348"/>
              <a:gd name="T14" fmla="*/ 0 w 852"/>
              <a:gd name="T15" fmla="*/ 0 h 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2" h="348">
                <a:moveTo>
                  <a:pt x="0" y="0"/>
                </a:moveTo>
                <a:lnTo>
                  <a:pt x="0" y="348"/>
                </a:lnTo>
                <a:lnTo>
                  <a:pt x="852" y="348"/>
                </a:lnTo>
                <a:lnTo>
                  <a:pt x="852" y="329"/>
                </a:lnTo>
                <a:lnTo>
                  <a:pt x="19" y="329"/>
                </a:lnTo>
                <a:lnTo>
                  <a:pt x="19" y="0"/>
                </a:lnTo>
                <a:lnTo>
                  <a:pt x="0" y="0"/>
                </a:lnTo>
                <a:lnTo>
                  <a:pt x="0" y="0"/>
                </a:ln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253">
            <a:extLst>
              <a:ext uri="{FF2B5EF4-FFF2-40B4-BE49-F238E27FC236}">
                <a16:creationId xmlns:a16="http://schemas.microsoft.com/office/drawing/2014/main" id="{8CF16759-B8B8-4947-9AEA-5FC7584402FB}"/>
              </a:ext>
            </a:extLst>
          </p:cNvPr>
          <p:cNvSpPr>
            <a:spLocks noEditPoints="1"/>
          </p:cNvSpPr>
          <p:nvPr/>
        </p:nvSpPr>
        <p:spPr bwMode="auto">
          <a:xfrm>
            <a:off x="2361000" y="5589083"/>
            <a:ext cx="1330091" cy="505111"/>
          </a:xfrm>
          <a:custGeom>
            <a:avLst/>
            <a:gdLst>
              <a:gd name="T0" fmla="*/ 550 w 554"/>
              <a:gd name="T1" fmla="*/ 0 h 210"/>
              <a:gd name="T2" fmla="*/ 522 w 554"/>
              <a:gd name="T3" fmla="*/ 8 h 210"/>
              <a:gd name="T4" fmla="*/ 522 w 554"/>
              <a:gd name="T5" fmla="*/ 0 h 210"/>
              <a:gd name="T6" fmla="*/ 502 w 554"/>
              <a:gd name="T7" fmla="*/ 8 h 210"/>
              <a:gd name="T8" fmla="*/ 494 w 554"/>
              <a:gd name="T9" fmla="*/ 4 h 210"/>
              <a:gd name="T10" fmla="*/ 482 w 554"/>
              <a:gd name="T11" fmla="*/ 4 h 210"/>
              <a:gd name="T12" fmla="*/ 474 w 554"/>
              <a:gd name="T13" fmla="*/ 8 h 210"/>
              <a:gd name="T14" fmla="*/ 454 w 554"/>
              <a:gd name="T15" fmla="*/ 0 h 210"/>
              <a:gd name="T16" fmla="*/ 426 w 554"/>
              <a:gd name="T17" fmla="*/ 8 h 210"/>
              <a:gd name="T18" fmla="*/ 426 w 554"/>
              <a:gd name="T19" fmla="*/ 0 h 210"/>
              <a:gd name="T20" fmla="*/ 406 w 554"/>
              <a:gd name="T21" fmla="*/ 8 h 210"/>
              <a:gd name="T22" fmla="*/ 398 w 554"/>
              <a:gd name="T23" fmla="*/ 4 h 210"/>
              <a:gd name="T24" fmla="*/ 386 w 554"/>
              <a:gd name="T25" fmla="*/ 4 h 210"/>
              <a:gd name="T26" fmla="*/ 378 w 554"/>
              <a:gd name="T27" fmla="*/ 8 h 210"/>
              <a:gd name="T28" fmla="*/ 358 w 554"/>
              <a:gd name="T29" fmla="*/ 0 h 210"/>
              <a:gd name="T30" fmla="*/ 330 w 554"/>
              <a:gd name="T31" fmla="*/ 8 h 210"/>
              <a:gd name="T32" fmla="*/ 330 w 554"/>
              <a:gd name="T33" fmla="*/ 0 h 210"/>
              <a:gd name="T34" fmla="*/ 310 w 554"/>
              <a:gd name="T35" fmla="*/ 8 h 210"/>
              <a:gd name="T36" fmla="*/ 302 w 554"/>
              <a:gd name="T37" fmla="*/ 4 h 210"/>
              <a:gd name="T38" fmla="*/ 290 w 554"/>
              <a:gd name="T39" fmla="*/ 4 h 210"/>
              <a:gd name="T40" fmla="*/ 282 w 554"/>
              <a:gd name="T41" fmla="*/ 8 h 210"/>
              <a:gd name="T42" fmla="*/ 262 w 554"/>
              <a:gd name="T43" fmla="*/ 0 h 210"/>
              <a:gd name="T44" fmla="*/ 234 w 554"/>
              <a:gd name="T45" fmla="*/ 8 h 210"/>
              <a:gd name="T46" fmla="*/ 234 w 554"/>
              <a:gd name="T47" fmla="*/ 0 h 210"/>
              <a:gd name="T48" fmla="*/ 214 w 554"/>
              <a:gd name="T49" fmla="*/ 8 h 210"/>
              <a:gd name="T50" fmla="*/ 206 w 554"/>
              <a:gd name="T51" fmla="*/ 4 h 210"/>
              <a:gd name="T52" fmla="*/ 194 w 554"/>
              <a:gd name="T53" fmla="*/ 4 h 210"/>
              <a:gd name="T54" fmla="*/ 186 w 554"/>
              <a:gd name="T55" fmla="*/ 8 h 210"/>
              <a:gd name="T56" fmla="*/ 180 w 554"/>
              <a:gd name="T57" fmla="*/ 22 h 210"/>
              <a:gd name="T58" fmla="*/ 188 w 554"/>
              <a:gd name="T59" fmla="*/ 50 h 210"/>
              <a:gd name="T60" fmla="*/ 180 w 554"/>
              <a:gd name="T61" fmla="*/ 50 h 210"/>
              <a:gd name="T62" fmla="*/ 188 w 554"/>
              <a:gd name="T63" fmla="*/ 70 h 210"/>
              <a:gd name="T64" fmla="*/ 184 w 554"/>
              <a:gd name="T65" fmla="*/ 78 h 210"/>
              <a:gd name="T66" fmla="*/ 184 w 554"/>
              <a:gd name="T67" fmla="*/ 90 h 210"/>
              <a:gd name="T68" fmla="*/ 188 w 554"/>
              <a:gd name="T69" fmla="*/ 98 h 210"/>
              <a:gd name="T70" fmla="*/ 180 w 554"/>
              <a:gd name="T71" fmla="*/ 118 h 210"/>
              <a:gd name="T72" fmla="*/ 188 w 554"/>
              <a:gd name="T73" fmla="*/ 146 h 210"/>
              <a:gd name="T74" fmla="*/ 180 w 554"/>
              <a:gd name="T75" fmla="*/ 146 h 210"/>
              <a:gd name="T76" fmla="*/ 188 w 554"/>
              <a:gd name="T77" fmla="*/ 166 h 210"/>
              <a:gd name="T78" fmla="*/ 184 w 554"/>
              <a:gd name="T79" fmla="*/ 174 h 210"/>
              <a:gd name="T80" fmla="*/ 184 w 554"/>
              <a:gd name="T81" fmla="*/ 186 h 210"/>
              <a:gd name="T82" fmla="*/ 188 w 554"/>
              <a:gd name="T83" fmla="*/ 194 h 210"/>
              <a:gd name="T84" fmla="*/ 176 w 554"/>
              <a:gd name="T85" fmla="*/ 202 h 210"/>
              <a:gd name="T86" fmla="*/ 148 w 554"/>
              <a:gd name="T87" fmla="*/ 210 h 210"/>
              <a:gd name="T88" fmla="*/ 148 w 554"/>
              <a:gd name="T89" fmla="*/ 202 h 210"/>
              <a:gd name="T90" fmla="*/ 128 w 554"/>
              <a:gd name="T91" fmla="*/ 210 h 210"/>
              <a:gd name="T92" fmla="*/ 120 w 554"/>
              <a:gd name="T93" fmla="*/ 206 h 210"/>
              <a:gd name="T94" fmla="*/ 108 w 554"/>
              <a:gd name="T95" fmla="*/ 206 h 210"/>
              <a:gd name="T96" fmla="*/ 100 w 554"/>
              <a:gd name="T97" fmla="*/ 210 h 210"/>
              <a:gd name="T98" fmla="*/ 80 w 554"/>
              <a:gd name="T99" fmla="*/ 202 h 210"/>
              <a:gd name="T100" fmla="*/ 52 w 554"/>
              <a:gd name="T101" fmla="*/ 210 h 210"/>
              <a:gd name="T102" fmla="*/ 52 w 554"/>
              <a:gd name="T103" fmla="*/ 202 h 210"/>
              <a:gd name="T104" fmla="*/ 32 w 554"/>
              <a:gd name="T105" fmla="*/ 210 h 210"/>
              <a:gd name="T106" fmla="*/ 24 w 554"/>
              <a:gd name="T107" fmla="*/ 206 h 210"/>
              <a:gd name="T108" fmla="*/ 12 w 554"/>
              <a:gd name="T109" fmla="*/ 206 h 210"/>
              <a:gd name="T110" fmla="*/ 4 w 554"/>
              <a:gd name="T111"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4" h="210">
                <a:moveTo>
                  <a:pt x="546" y="8"/>
                </a:moveTo>
                <a:cubicBezTo>
                  <a:pt x="550" y="8"/>
                  <a:pt x="550" y="8"/>
                  <a:pt x="550" y="8"/>
                </a:cubicBezTo>
                <a:cubicBezTo>
                  <a:pt x="552" y="8"/>
                  <a:pt x="554" y="6"/>
                  <a:pt x="554" y="4"/>
                </a:cubicBezTo>
                <a:cubicBezTo>
                  <a:pt x="554" y="2"/>
                  <a:pt x="552" y="0"/>
                  <a:pt x="550" y="0"/>
                </a:cubicBezTo>
                <a:cubicBezTo>
                  <a:pt x="546" y="0"/>
                  <a:pt x="546" y="0"/>
                  <a:pt x="546" y="0"/>
                </a:cubicBezTo>
                <a:cubicBezTo>
                  <a:pt x="544" y="0"/>
                  <a:pt x="542" y="2"/>
                  <a:pt x="542" y="4"/>
                </a:cubicBezTo>
                <a:cubicBezTo>
                  <a:pt x="542" y="6"/>
                  <a:pt x="544" y="8"/>
                  <a:pt x="546" y="8"/>
                </a:cubicBezTo>
                <a:close/>
                <a:moveTo>
                  <a:pt x="522" y="8"/>
                </a:moveTo>
                <a:cubicBezTo>
                  <a:pt x="526" y="8"/>
                  <a:pt x="526" y="8"/>
                  <a:pt x="526" y="8"/>
                </a:cubicBezTo>
                <a:cubicBezTo>
                  <a:pt x="528" y="8"/>
                  <a:pt x="530" y="6"/>
                  <a:pt x="530" y="4"/>
                </a:cubicBezTo>
                <a:cubicBezTo>
                  <a:pt x="530" y="2"/>
                  <a:pt x="528" y="0"/>
                  <a:pt x="526" y="0"/>
                </a:cubicBezTo>
                <a:cubicBezTo>
                  <a:pt x="522" y="0"/>
                  <a:pt x="522" y="0"/>
                  <a:pt x="522" y="0"/>
                </a:cubicBezTo>
                <a:cubicBezTo>
                  <a:pt x="520" y="0"/>
                  <a:pt x="518" y="2"/>
                  <a:pt x="518" y="4"/>
                </a:cubicBezTo>
                <a:cubicBezTo>
                  <a:pt x="518" y="6"/>
                  <a:pt x="520" y="8"/>
                  <a:pt x="522" y="8"/>
                </a:cubicBezTo>
                <a:close/>
                <a:moveTo>
                  <a:pt x="498" y="8"/>
                </a:moveTo>
                <a:cubicBezTo>
                  <a:pt x="502" y="8"/>
                  <a:pt x="502" y="8"/>
                  <a:pt x="502" y="8"/>
                </a:cubicBezTo>
                <a:cubicBezTo>
                  <a:pt x="504" y="8"/>
                  <a:pt x="506" y="6"/>
                  <a:pt x="506" y="4"/>
                </a:cubicBezTo>
                <a:cubicBezTo>
                  <a:pt x="506" y="2"/>
                  <a:pt x="504" y="0"/>
                  <a:pt x="502" y="0"/>
                </a:cubicBezTo>
                <a:cubicBezTo>
                  <a:pt x="498" y="0"/>
                  <a:pt x="498" y="0"/>
                  <a:pt x="498" y="0"/>
                </a:cubicBezTo>
                <a:cubicBezTo>
                  <a:pt x="496" y="0"/>
                  <a:pt x="494" y="2"/>
                  <a:pt x="494" y="4"/>
                </a:cubicBezTo>
                <a:cubicBezTo>
                  <a:pt x="494" y="6"/>
                  <a:pt x="496" y="8"/>
                  <a:pt x="498" y="8"/>
                </a:cubicBezTo>
                <a:close/>
                <a:moveTo>
                  <a:pt x="474" y="8"/>
                </a:moveTo>
                <a:cubicBezTo>
                  <a:pt x="478" y="8"/>
                  <a:pt x="478" y="8"/>
                  <a:pt x="478" y="8"/>
                </a:cubicBezTo>
                <a:cubicBezTo>
                  <a:pt x="480" y="8"/>
                  <a:pt x="482" y="6"/>
                  <a:pt x="482" y="4"/>
                </a:cubicBezTo>
                <a:cubicBezTo>
                  <a:pt x="482" y="2"/>
                  <a:pt x="480" y="0"/>
                  <a:pt x="478" y="0"/>
                </a:cubicBezTo>
                <a:cubicBezTo>
                  <a:pt x="474" y="0"/>
                  <a:pt x="474" y="0"/>
                  <a:pt x="474" y="0"/>
                </a:cubicBezTo>
                <a:cubicBezTo>
                  <a:pt x="472" y="0"/>
                  <a:pt x="470" y="2"/>
                  <a:pt x="470" y="4"/>
                </a:cubicBezTo>
                <a:cubicBezTo>
                  <a:pt x="470" y="6"/>
                  <a:pt x="472" y="8"/>
                  <a:pt x="474" y="8"/>
                </a:cubicBezTo>
                <a:close/>
                <a:moveTo>
                  <a:pt x="450" y="8"/>
                </a:moveTo>
                <a:cubicBezTo>
                  <a:pt x="454" y="8"/>
                  <a:pt x="454" y="8"/>
                  <a:pt x="454" y="8"/>
                </a:cubicBezTo>
                <a:cubicBezTo>
                  <a:pt x="456" y="8"/>
                  <a:pt x="458" y="6"/>
                  <a:pt x="458" y="4"/>
                </a:cubicBezTo>
                <a:cubicBezTo>
                  <a:pt x="458" y="2"/>
                  <a:pt x="456" y="0"/>
                  <a:pt x="454" y="0"/>
                </a:cubicBezTo>
                <a:cubicBezTo>
                  <a:pt x="450" y="0"/>
                  <a:pt x="450" y="0"/>
                  <a:pt x="450" y="0"/>
                </a:cubicBezTo>
                <a:cubicBezTo>
                  <a:pt x="448" y="0"/>
                  <a:pt x="446" y="2"/>
                  <a:pt x="446" y="4"/>
                </a:cubicBezTo>
                <a:cubicBezTo>
                  <a:pt x="446" y="6"/>
                  <a:pt x="448" y="8"/>
                  <a:pt x="450" y="8"/>
                </a:cubicBezTo>
                <a:close/>
                <a:moveTo>
                  <a:pt x="426" y="8"/>
                </a:moveTo>
                <a:cubicBezTo>
                  <a:pt x="430" y="8"/>
                  <a:pt x="430" y="8"/>
                  <a:pt x="430" y="8"/>
                </a:cubicBezTo>
                <a:cubicBezTo>
                  <a:pt x="432" y="8"/>
                  <a:pt x="434" y="6"/>
                  <a:pt x="434" y="4"/>
                </a:cubicBezTo>
                <a:cubicBezTo>
                  <a:pt x="434" y="2"/>
                  <a:pt x="432" y="0"/>
                  <a:pt x="430" y="0"/>
                </a:cubicBezTo>
                <a:cubicBezTo>
                  <a:pt x="426" y="0"/>
                  <a:pt x="426" y="0"/>
                  <a:pt x="426" y="0"/>
                </a:cubicBezTo>
                <a:cubicBezTo>
                  <a:pt x="424" y="0"/>
                  <a:pt x="422" y="2"/>
                  <a:pt x="422" y="4"/>
                </a:cubicBezTo>
                <a:cubicBezTo>
                  <a:pt x="422" y="6"/>
                  <a:pt x="424" y="8"/>
                  <a:pt x="426" y="8"/>
                </a:cubicBezTo>
                <a:close/>
                <a:moveTo>
                  <a:pt x="402" y="8"/>
                </a:moveTo>
                <a:cubicBezTo>
                  <a:pt x="406" y="8"/>
                  <a:pt x="406" y="8"/>
                  <a:pt x="406" y="8"/>
                </a:cubicBezTo>
                <a:cubicBezTo>
                  <a:pt x="408" y="8"/>
                  <a:pt x="410" y="6"/>
                  <a:pt x="410" y="4"/>
                </a:cubicBezTo>
                <a:cubicBezTo>
                  <a:pt x="410" y="2"/>
                  <a:pt x="408" y="0"/>
                  <a:pt x="406" y="0"/>
                </a:cubicBezTo>
                <a:cubicBezTo>
                  <a:pt x="402" y="0"/>
                  <a:pt x="402" y="0"/>
                  <a:pt x="402" y="0"/>
                </a:cubicBezTo>
                <a:cubicBezTo>
                  <a:pt x="400" y="0"/>
                  <a:pt x="398" y="2"/>
                  <a:pt x="398" y="4"/>
                </a:cubicBezTo>
                <a:cubicBezTo>
                  <a:pt x="398" y="6"/>
                  <a:pt x="400" y="8"/>
                  <a:pt x="402" y="8"/>
                </a:cubicBezTo>
                <a:close/>
                <a:moveTo>
                  <a:pt x="378" y="8"/>
                </a:moveTo>
                <a:cubicBezTo>
                  <a:pt x="382" y="8"/>
                  <a:pt x="382" y="8"/>
                  <a:pt x="382" y="8"/>
                </a:cubicBezTo>
                <a:cubicBezTo>
                  <a:pt x="384" y="8"/>
                  <a:pt x="386" y="6"/>
                  <a:pt x="386" y="4"/>
                </a:cubicBezTo>
                <a:cubicBezTo>
                  <a:pt x="386" y="2"/>
                  <a:pt x="384" y="0"/>
                  <a:pt x="382" y="0"/>
                </a:cubicBezTo>
                <a:cubicBezTo>
                  <a:pt x="378" y="0"/>
                  <a:pt x="378" y="0"/>
                  <a:pt x="378" y="0"/>
                </a:cubicBezTo>
                <a:cubicBezTo>
                  <a:pt x="376" y="0"/>
                  <a:pt x="374" y="2"/>
                  <a:pt x="374" y="4"/>
                </a:cubicBezTo>
                <a:cubicBezTo>
                  <a:pt x="374" y="6"/>
                  <a:pt x="376" y="8"/>
                  <a:pt x="378" y="8"/>
                </a:cubicBezTo>
                <a:close/>
                <a:moveTo>
                  <a:pt x="354" y="8"/>
                </a:moveTo>
                <a:cubicBezTo>
                  <a:pt x="358" y="8"/>
                  <a:pt x="358" y="8"/>
                  <a:pt x="358" y="8"/>
                </a:cubicBezTo>
                <a:cubicBezTo>
                  <a:pt x="360" y="8"/>
                  <a:pt x="362" y="6"/>
                  <a:pt x="362" y="4"/>
                </a:cubicBezTo>
                <a:cubicBezTo>
                  <a:pt x="362" y="2"/>
                  <a:pt x="360" y="0"/>
                  <a:pt x="358" y="0"/>
                </a:cubicBezTo>
                <a:cubicBezTo>
                  <a:pt x="354" y="0"/>
                  <a:pt x="354" y="0"/>
                  <a:pt x="354" y="0"/>
                </a:cubicBezTo>
                <a:cubicBezTo>
                  <a:pt x="352" y="0"/>
                  <a:pt x="350" y="2"/>
                  <a:pt x="350" y="4"/>
                </a:cubicBezTo>
                <a:cubicBezTo>
                  <a:pt x="350" y="6"/>
                  <a:pt x="352" y="8"/>
                  <a:pt x="354" y="8"/>
                </a:cubicBezTo>
                <a:close/>
                <a:moveTo>
                  <a:pt x="330" y="8"/>
                </a:moveTo>
                <a:cubicBezTo>
                  <a:pt x="334" y="8"/>
                  <a:pt x="334" y="8"/>
                  <a:pt x="334" y="8"/>
                </a:cubicBezTo>
                <a:cubicBezTo>
                  <a:pt x="336" y="8"/>
                  <a:pt x="338" y="6"/>
                  <a:pt x="338" y="4"/>
                </a:cubicBezTo>
                <a:cubicBezTo>
                  <a:pt x="338" y="2"/>
                  <a:pt x="336" y="0"/>
                  <a:pt x="334" y="0"/>
                </a:cubicBezTo>
                <a:cubicBezTo>
                  <a:pt x="330" y="0"/>
                  <a:pt x="330" y="0"/>
                  <a:pt x="330" y="0"/>
                </a:cubicBezTo>
                <a:cubicBezTo>
                  <a:pt x="328" y="0"/>
                  <a:pt x="326" y="2"/>
                  <a:pt x="326" y="4"/>
                </a:cubicBezTo>
                <a:cubicBezTo>
                  <a:pt x="326" y="6"/>
                  <a:pt x="328" y="8"/>
                  <a:pt x="330" y="8"/>
                </a:cubicBezTo>
                <a:close/>
                <a:moveTo>
                  <a:pt x="306" y="8"/>
                </a:moveTo>
                <a:cubicBezTo>
                  <a:pt x="310" y="8"/>
                  <a:pt x="310" y="8"/>
                  <a:pt x="310" y="8"/>
                </a:cubicBezTo>
                <a:cubicBezTo>
                  <a:pt x="312" y="8"/>
                  <a:pt x="314" y="6"/>
                  <a:pt x="314" y="4"/>
                </a:cubicBezTo>
                <a:cubicBezTo>
                  <a:pt x="314" y="2"/>
                  <a:pt x="312" y="0"/>
                  <a:pt x="310" y="0"/>
                </a:cubicBezTo>
                <a:cubicBezTo>
                  <a:pt x="306" y="0"/>
                  <a:pt x="306" y="0"/>
                  <a:pt x="306" y="0"/>
                </a:cubicBezTo>
                <a:cubicBezTo>
                  <a:pt x="304" y="0"/>
                  <a:pt x="302" y="2"/>
                  <a:pt x="302" y="4"/>
                </a:cubicBezTo>
                <a:cubicBezTo>
                  <a:pt x="302" y="6"/>
                  <a:pt x="304" y="8"/>
                  <a:pt x="306" y="8"/>
                </a:cubicBezTo>
                <a:close/>
                <a:moveTo>
                  <a:pt x="282" y="8"/>
                </a:moveTo>
                <a:cubicBezTo>
                  <a:pt x="286" y="8"/>
                  <a:pt x="286" y="8"/>
                  <a:pt x="286" y="8"/>
                </a:cubicBezTo>
                <a:cubicBezTo>
                  <a:pt x="288" y="8"/>
                  <a:pt x="290" y="6"/>
                  <a:pt x="290" y="4"/>
                </a:cubicBezTo>
                <a:cubicBezTo>
                  <a:pt x="290" y="2"/>
                  <a:pt x="288" y="0"/>
                  <a:pt x="286" y="0"/>
                </a:cubicBezTo>
                <a:cubicBezTo>
                  <a:pt x="282" y="0"/>
                  <a:pt x="282" y="0"/>
                  <a:pt x="282" y="0"/>
                </a:cubicBezTo>
                <a:cubicBezTo>
                  <a:pt x="280" y="0"/>
                  <a:pt x="278" y="2"/>
                  <a:pt x="278" y="4"/>
                </a:cubicBezTo>
                <a:cubicBezTo>
                  <a:pt x="278" y="6"/>
                  <a:pt x="280" y="8"/>
                  <a:pt x="282" y="8"/>
                </a:cubicBezTo>
                <a:close/>
                <a:moveTo>
                  <a:pt x="258" y="8"/>
                </a:moveTo>
                <a:cubicBezTo>
                  <a:pt x="262" y="8"/>
                  <a:pt x="262" y="8"/>
                  <a:pt x="262" y="8"/>
                </a:cubicBezTo>
                <a:cubicBezTo>
                  <a:pt x="264" y="8"/>
                  <a:pt x="266" y="6"/>
                  <a:pt x="266" y="4"/>
                </a:cubicBezTo>
                <a:cubicBezTo>
                  <a:pt x="266" y="2"/>
                  <a:pt x="264" y="0"/>
                  <a:pt x="262" y="0"/>
                </a:cubicBezTo>
                <a:cubicBezTo>
                  <a:pt x="258" y="0"/>
                  <a:pt x="258" y="0"/>
                  <a:pt x="258" y="0"/>
                </a:cubicBezTo>
                <a:cubicBezTo>
                  <a:pt x="256" y="0"/>
                  <a:pt x="254" y="2"/>
                  <a:pt x="254" y="4"/>
                </a:cubicBezTo>
                <a:cubicBezTo>
                  <a:pt x="254" y="6"/>
                  <a:pt x="256" y="8"/>
                  <a:pt x="258" y="8"/>
                </a:cubicBezTo>
                <a:close/>
                <a:moveTo>
                  <a:pt x="234" y="8"/>
                </a:moveTo>
                <a:cubicBezTo>
                  <a:pt x="238" y="8"/>
                  <a:pt x="238" y="8"/>
                  <a:pt x="238" y="8"/>
                </a:cubicBezTo>
                <a:cubicBezTo>
                  <a:pt x="240" y="8"/>
                  <a:pt x="242" y="6"/>
                  <a:pt x="242" y="4"/>
                </a:cubicBezTo>
                <a:cubicBezTo>
                  <a:pt x="242" y="2"/>
                  <a:pt x="240" y="0"/>
                  <a:pt x="238" y="0"/>
                </a:cubicBezTo>
                <a:cubicBezTo>
                  <a:pt x="234" y="0"/>
                  <a:pt x="234" y="0"/>
                  <a:pt x="234" y="0"/>
                </a:cubicBezTo>
                <a:cubicBezTo>
                  <a:pt x="232" y="0"/>
                  <a:pt x="230" y="2"/>
                  <a:pt x="230" y="4"/>
                </a:cubicBezTo>
                <a:cubicBezTo>
                  <a:pt x="230" y="6"/>
                  <a:pt x="232" y="8"/>
                  <a:pt x="234" y="8"/>
                </a:cubicBezTo>
                <a:close/>
                <a:moveTo>
                  <a:pt x="210" y="8"/>
                </a:moveTo>
                <a:cubicBezTo>
                  <a:pt x="214" y="8"/>
                  <a:pt x="214" y="8"/>
                  <a:pt x="214" y="8"/>
                </a:cubicBezTo>
                <a:cubicBezTo>
                  <a:pt x="216" y="8"/>
                  <a:pt x="218" y="6"/>
                  <a:pt x="218" y="4"/>
                </a:cubicBezTo>
                <a:cubicBezTo>
                  <a:pt x="218" y="2"/>
                  <a:pt x="216" y="0"/>
                  <a:pt x="214" y="0"/>
                </a:cubicBezTo>
                <a:cubicBezTo>
                  <a:pt x="210" y="0"/>
                  <a:pt x="210" y="0"/>
                  <a:pt x="210" y="0"/>
                </a:cubicBezTo>
                <a:cubicBezTo>
                  <a:pt x="208" y="0"/>
                  <a:pt x="206" y="2"/>
                  <a:pt x="206" y="4"/>
                </a:cubicBezTo>
                <a:cubicBezTo>
                  <a:pt x="206" y="6"/>
                  <a:pt x="208" y="8"/>
                  <a:pt x="210" y="8"/>
                </a:cubicBezTo>
                <a:close/>
                <a:moveTo>
                  <a:pt x="186" y="8"/>
                </a:moveTo>
                <a:cubicBezTo>
                  <a:pt x="190" y="8"/>
                  <a:pt x="190" y="8"/>
                  <a:pt x="190" y="8"/>
                </a:cubicBezTo>
                <a:cubicBezTo>
                  <a:pt x="192" y="8"/>
                  <a:pt x="194" y="6"/>
                  <a:pt x="194" y="4"/>
                </a:cubicBezTo>
                <a:cubicBezTo>
                  <a:pt x="194" y="2"/>
                  <a:pt x="192" y="0"/>
                  <a:pt x="190" y="0"/>
                </a:cubicBezTo>
                <a:cubicBezTo>
                  <a:pt x="186" y="0"/>
                  <a:pt x="186" y="0"/>
                  <a:pt x="186" y="0"/>
                </a:cubicBezTo>
                <a:cubicBezTo>
                  <a:pt x="184" y="0"/>
                  <a:pt x="182" y="2"/>
                  <a:pt x="182" y="4"/>
                </a:cubicBezTo>
                <a:cubicBezTo>
                  <a:pt x="182" y="6"/>
                  <a:pt x="184" y="8"/>
                  <a:pt x="186" y="8"/>
                </a:cubicBezTo>
                <a:close/>
                <a:moveTo>
                  <a:pt x="188" y="26"/>
                </a:moveTo>
                <a:cubicBezTo>
                  <a:pt x="188" y="22"/>
                  <a:pt x="188" y="22"/>
                  <a:pt x="188" y="22"/>
                </a:cubicBezTo>
                <a:cubicBezTo>
                  <a:pt x="188" y="20"/>
                  <a:pt x="187" y="18"/>
                  <a:pt x="184" y="18"/>
                </a:cubicBezTo>
                <a:cubicBezTo>
                  <a:pt x="182" y="18"/>
                  <a:pt x="180" y="20"/>
                  <a:pt x="180" y="22"/>
                </a:cubicBezTo>
                <a:cubicBezTo>
                  <a:pt x="180" y="26"/>
                  <a:pt x="180" y="26"/>
                  <a:pt x="180" y="26"/>
                </a:cubicBezTo>
                <a:cubicBezTo>
                  <a:pt x="180" y="29"/>
                  <a:pt x="182" y="30"/>
                  <a:pt x="184" y="30"/>
                </a:cubicBezTo>
                <a:cubicBezTo>
                  <a:pt x="187" y="30"/>
                  <a:pt x="188" y="29"/>
                  <a:pt x="188" y="26"/>
                </a:cubicBezTo>
                <a:close/>
                <a:moveTo>
                  <a:pt x="188" y="50"/>
                </a:moveTo>
                <a:cubicBezTo>
                  <a:pt x="188" y="46"/>
                  <a:pt x="188" y="46"/>
                  <a:pt x="188" y="46"/>
                </a:cubicBezTo>
                <a:cubicBezTo>
                  <a:pt x="188" y="44"/>
                  <a:pt x="187" y="42"/>
                  <a:pt x="184" y="42"/>
                </a:cubicBezTo>
                <a:cubicBezTo>
                  <a:pt x="182" y="42"/>
                  <a:pt x="180" y="44"/>
                  <a:pt x="180" y="46"/>
                </a:cubicBezTo>
                <a:cubicBezTo>
                  <a:pt x="180" y="50"/>
                  <a:pt x="180" y="50"/>
                  <a:pt x="180" y="50"/>
                </a:cubicBezTo>
                <a:cubicBezTo>
                  <a:pt x="180" y="53"/>
                  <a:pt x="182" y="54"/>
                  <a:pt x="184" y="54"/>
                </a:cubicBezTo>
                <a:cubicBezTo>
                  <a:pt x="187" y="54"/>
                  <a:pt x="188" y="53"/>
                  <a:pt x="188" y="50"/>
                </a:cubicBezTo>
                <a:close/>
                <a:moveTo>
                  <a:pt x="188" y="74"/>
                </a:moveTo>
                <a:cubicBezTo>
                  <a:pt x="188" y="70"/>
                  <a:pt x="188" y="70"/>
                  <a:pt x="188" y="70"/>
                </a:cubicBezTo>
                <a:cubicBezTo>
                  <a:pt x="188" y="68"/>
                  <a:pt x="187" y="66"/>
                  <a:pt x="184" y="66"/>
                </a:cubicBezTo>
                <a:cubicBezTo>
                  <a:pt x="182" y="66"/>
                  <a:pt x="180" y="68"/>
                  <a:pt x="180" y="70"/>
                </a:cubicBezTo>
                <a:cubicBezTo>
                  <a:pt x="180" y="74"/>
                  <a:pt x="180" y="74"/>
                  <a:pt x="180" y="74"/>
                </a:cubicBezTo>
                <a:cubicBezTo>
                  <a:pt x="180" y="77"/>
                  <a:pt x="182" y="78"/>
                  <a:pt x="184" y="78"/>
                </a:cubicBezTo>
                <a:cubicBezTo>
                  <a:pt x="187" y="78"/>
                  <a:pt x="188" y="77"/>
                  <a:pt x="188" y="74"/>
                </a:cubicBezTo>
                <a:close/>
                <a:moveTo>
                  <a:pt x="188" y="98"/>
                </a:moveTo>
                <a:cubicBezTo>
                  <a:pt x="188" y="94"/>
                  <a:pt x="188" y="94"/>
                  <a:pt x="188" y="94"/>
                </a:cubicBezTo>
                <a:cubicBezTo>
                  <a:pt x="188" y="92"/>
                  <a:pt x="187" y="90"/>
                  <a:pt x="184" y="90"/>
                </a:cubicBezTo>
                <a:cubicBezTo>
                  <a:pt x="182" y="90"/>
                  <a:pt x="180" y="92"/>
                  <a:pt x="180" y="94"/>
                </a:cubicBezTo>
                <a:cubicBezTo>
                  <a:pt x="180" y="98"/>
                  <a:pt x="180" y="98"/>
                  <a:pt x="180" y="98"/>
                </a:cubicBezTo>
                <a:cubicBezTo>
                  <a:pt x="180" y="101"/>
                  <a:pt x="182" y="102"/>
                  <a:pt x="184" y="102"/>
                </a:cubicBezTo>
                <a:cubicBezTo>
                  <a:pt x="187" y="102"/>
                  <a:pt x="188" y="101"/>
                  <a:pt x="188" y="98"/>
                </a:cubicBezTo>
                <a:close/>
                <a:moveTo>
                  <a:pt x="188" y="122"/>
                </a:moveTo>
                <a:cubicBezTo>
                  <a:pt x="188" y="118"/>
                  <a:pt x="188" y="118"/>
                  <a:pt x="188" y="118"/>
                </a:cubicBezTo>
                <a:cubicBezTo>
                  <a:pt x="188" y="116"/>
                  <a:pt x="187" y="114"/>
                  <a:pt x="184" y="114"/>
                </a:cubicBezTo>
                <a:cubicBezTo>
                  <a:pt x="182" y="114"/>
                  <a:pt x="180" y="116"/>
                  <a:pt x="180" y="118"/>
                </a:cubicBezTo>
                <a:cubicBezTo>
                  <a:pt x="180" y="122"/>
                  <a:pt x="180" y="122"/>
                  <a:pt x="180" y="122"/>
                </a:cubicBezTo>
                <a:cubicBezTo>
                  <a:pt x="180" y="125"/>
                  <a:pt x="182" y="126"/>
                  <a:pt x="184" y="126"/>
                </a:cubicBezTo>
                <a:cubicBezTo>
                  <a:pt x="187" y="126"/>
                  <a:pt x="188" y="125"/>
                  <a:pt x="188" y="122"/>
                </a:cubicBezTo>
                <a:close/>
                <a:moveTo>
                  <a:pt x="188" y="146"/>
                </a:moveTo>
                <a:cubicBezTo>
                  <a:pt x="188" y="142"/>
                  <a:pt x="188" y="142"/>
                  <a:pt x="188" y="142"/>
                </a:cubicBezTo>
                <a:cubicBezTo>
                  <a:pt x="188" y="140"/>
                  <a:pt x="187" y="138"/>
                  <a:pt x="184" y="138"/>
                </a:cubicBezTo>
                <a:cubicBezTo>
                  <a:pt x="182" y="138"/>
                  <a:pt x="180" y="140"/>
                  <a:pt x="180" y="142"/>
                </a:cubicBezTo>
                <a:cubicBezTo>
                  <a:pt x="180" y="146"/>
                  <a:pt x="180" y="146"/>
                  <a:pt x="180" y="146"/>
                </a:cubicBezTo>
                <a:cubicBezTo>
                  <a:pt x="180" y="149"/>
                  <a:pt x="182" y="150"/>
                  <a:pt x="184" y="150"/>
                </a:cubicBezTo>
                <a:cubicBezTo>
                  <a:pt x="187" y="150"/>
                  <a:pt x="188" y="149"/>
                  <a:pt x="188" y="146"/>
                </a:cubicBezTo>
                <a:close/>
                <a:moveTo>
                  <a:pt x="188" y="170"/>
                </a:moveTo>
                <a:cubicBezTo>
                  <a:pt x="188" y="166"/>
                  <a:pt x="188" y="166"/>
                  <a:pt x="188" y="166"/>
                </a:cubicBezTo>
                <a:cubicBezTo>
                  <a:pt x="188" y="164"/>
                  <a:pt x="187" y="162"/>
                  <a:pt x="184" y="162"/>
                </a:cubicBezTo>
                <a:cubicBezTo>
                  <a:pt x="182" y="162"/>
                  <a:pt x="180" y="164"/>
                  <a:pt x="180" y="166"/>
                </a:cubicBezTo>
                <a:cubicBezTo>
                  <a:pt x="180" y="170"/>
                  <a:pt x="180" y="170"/>
                  <a:pt x="180" y="170"/>
                </a:cubicBezTo>
                <a:cubicBezTo>
                  <a:pt x="180" y="173"/>
                  <a:pt x="182" y="174"/>
                  <a:pt x="184" y="174"/>
                </a:cubicBezTo>
                <a:cubicBezTo>
                  <a:pt x="187" y="174"/>
                  <a:pt x="188" y="173"/>
                  <a:pt x="188" y="170"/>
                </a:cubicBezTo>
                <a:close/>
                <a:moveTo>
                  <a:pt x="188" y="194"/>
                </a:moveTo>
                <a:cubicBezTo>
                  <a:pt x="188" y="190"/>
                  <a:pt x="188" y="190"/>
                  <a:pt x="188" y="190"/>
                </a:cubicBezTo>
                <a:cubicBezTo>
                  <a:pt x="188" y="188"/>
                  <a:pt x="187" y="186"/>
                  <a:pt x="184" y="186"/>
                </a:cubicBezTo>
                <a:cubicBezTo>
                  <a:pt x="182" y="186"/>
                  <a:pt x="180" y="188"/>
                  <a:pt x="180" y="190"/>
                </a:cubicBezTo>
                <a:cubicBezTo>
                  <a:pt x="180" y="194"/>
                  <a:pt x="180" y="194"/>
                  <a:pt x="180" y="194"/>
                </a:cubicBezTo>
                <a:cubicBezTo>
                  <a:pt x="180" y="197"/>
                  <a:pt x="182" y="198"/>
                  <a:pt x="184" y="198"/>
                </a:cubicBezTo>
                <a:cubicBezTo>
                  <a:pt x="187" y="198"/>
                  <a:pt x="188" y="197"/>
                  <a:pt x="188" y="194"/>
                </a:cubicBezTo>
                <a:close/>
                <a:moveTo>
                  <a:pt x="172" y="210"/>
                </a:moveTo>
                <a:cubicBezTo>
                  <a:pt x="176" y="210"/>
                  <a:pt x="176" y="210"/>
                  <a:pt x="176" y="210"/>
                </a:cubicBezTo>
                <a:cubicBezTo>
                  <a:pt x="179" y="210"/>
                  <a:pt x="180" y="209"/>
                  <a:pt x="180" y="206"/>
                </a:cubicBezTo>
                <a:cubicBezTo>
                  <a:pt x="180" y="204"/>
                  <a:pt x="179" y="202"/>
                  <a:pt x="176" y="202"/>
                </a:cubicBezTo>
                <a:cubicBezTo>
                  <a:pt x="172" y="202"/>
                  <a:pt x="172" y="202"/>
                  <a:pt x="172" y="202"/>
                </a:cubicBezTo>
                <a:cubicBezTo>
                  <a:pt x="170" y="202"/>
                  <a:pt x="168" y="204"/>
                  <a:pt x="168" y="206"/>
                </a:cubicBezTo>
                <a:cubicBezTo>
                  <a:pt x="168" y="209"/>
                  <a:pt x="170" y="210"/>
                  <a:pt x="172" y="210"/>
                </a:cubicBezTo>
                <a:close/>
                <a:moveTo>
                  <a:pt x="148" y="210"/>
                </a:moveTo>
                <a:cubicBezTo>
                  <a:pt x="152" y="210"/>
                  <a:pt x="152" y="210"/>
                  <a:pt x="152" y="210"/>
                </a:cubicBezTo>
                <a:cubicBezTo>
                  <a:pt x="155" y="210"/>
                  <a:pt x="156" y="209"/>
                  <a:pt x="156" y="206"/>
                </a:cubicBezTo>
                <a:cubicBezTo>
                  <a:pt x="156" y="204"/>
                  <a:pt x="155" y="202"/>
                  <a:pt x="152" y="202"/>
                </a:cubicBezTo>
                <a:cubicBezTo>
                  <a:pt x="148" y="202"/>
                  <a:pt x="148" y="202"/>
                  <a:pt x="148" y="202"/>
                </a:cubicBezTo>
                <a:cubicBezTo>
                  <a:pt x="146" y="202"/>
                  <a:pt x="144" y="204"/>
                  <a:pt x="144" y="206"/>
                </a:cubicBezTo>
                <a:cubicBezTo>
                  <a:pt x="144" y="209"/>
                  <a:pt x="146" y="210"/>
                  <a:pt x="148" y="210"/>
                </a:cubicBezTo>
                <a:close/>
                <a:moveTo>
                  <a:pt x="124" y="210"/>
                </a:moveTo>
                <a:cubicBezTo>
                  <a:pt x="128" y="210"/>
                  <a:pt x="128" y="210"/>
                  <a:pt x="128" y="210"/>
                </a:cubicBezTo>
                <a:cubicBezTo>
                  <a:pt x="131" y="210"/>
                  <a:pt x="132" y="209"/>
                  <a:pt x="132" y="206"/>
                </a:cubicBezTo>
                <a:cubicBezTo>
                  <a:pt x="132" y="204"/>
                  <a:pt x="131" y="202"/>
                  <a:pt x="128" y="202"/>
                </a:cubicBezTo>
                <a:cubicBezTo>
                  <a:pt x="124" y="202"/>
                  <a:pt x="124" y="202"/>
                  <a:pt x="124" y="202"/>
                </a:cubicBezTo>
                <a:cubicBezTo>
                  <a:pt x="122" y="202"/>
                  <a:pt x="120" y="204"/>
                  <a:pt x="120" y="206"/>
                </a:cubicBezTo>
                <a:cubicBezTo>
                  <a:pt x="120" y="209"/>
                  <a:pt x="122" y="210"/>
                  <a:pt x="124" y="210"/>
                </a:cubicBezTo>
                <a:close/>
                <a:moveTo>
                  <a:pt x="100" y="210"/>
                </a:moveTo>
                <a:cubicBezTo>
                  <a:pt x="104" y="210"/>
                  <a:pt x="104" y="210"/>
                  <a:pt x="104" y="210"/>
                </a:cubicBezTo>
                <a:cubicBezTo>
                  <a:pt x="107" y="210"/>
                  <a:pt x="108" y="209"/>
                  <a:pt x="108" y="206"/>
                </a:cubicBezTo>
                <a:cubicBezTo>
                  <a:pt x="108" y="204"/>
                  <a:pt x="107" y="202"/>
                  <a:pt x="104" y="202"/>
                </a:cubicBezTo>
                <a:cubicBezTo>
                  <a:pt x="100" y="202"/>
                  <a:pt x="100" y="202"/>
                  <a:pt x="100" y="202"/>
                </a:cubicBezTo>
                <a:cubicBezTo>
                  <a:pt x="98" y="202"/>
                  <a:pt x="96" y="204"/>
                  <a:pt x="96" y="206"/>
                </a:cubicBezTo>
                <a:cubicBezTo>
                  <a:pt x="96" y="209"/>
                  <a:pt x="98" y="210"/>
                  <a:pt x="100" y="210"/>
                </a:cubicBezTo>
                <a:close/>
                <a:moveTo>
                  <a:pt x="76" y="210"/>
                </a:moveTo>
                <a:cubicBezTo>
                  <a:pt x="80" y="210"/>
                  <a:pt x="80" y="210"/>
                  <a:pt x="80" y="210"/>
                </a:cubicBezTo>
                <a:cubicBezTo>
                  <a:pt x="83" y="210"/>
                  <a:pt x="84" y="209"/>
                  <a:pt x="84" y="206"/>
                </a:cubicBezTo>
                <a:cubicBezTo>
                  <a:pt x="84" y="204"/>
                  <a:pt x="83" y="202"/>
                  <a:pt x="80" y="202"/>
                </a:cubicBezTo>
                <a:cubicBezTo>
                  <a:pt x="76" y="202"/>
                  <a:pt x="76" y="202"/>
                  <a:pt x="76" y="202"/>
                </a:cubicBezTo>
                <a:cubicBezTo>
                  <a:pt x="74" y="202"/>
                  <a:pt x="72" y="204"/>
                  <a:pt x="72" y="206"/>
                </a:cubicBezTo>
                <a:cubicBezTo>
                  <a:pt x="72" y="209"/>
                  <a:pt x="74" y="210"/>
                  <a:pt x="76" y="210"/>
                </a:cubicBezTo>
                <a:close/>
                <a:moveTo>
                  <a:pt x="52" y="210"/>
                </a:moveTo>
                <a:cubicBezTo>
                  <a:pt x="56" y="210"/>
                  <a:pt x="56" y="210"/>
                  <a:pt x="56" y="210"/>
                </a:cubicBezTo>
                <a:cubicBezTo>
                  <a:pt x="59" y="210"/>
                  <a:pt x="60" y="209"/>
                  <a:pt x="60" y="206"/>
                </a:cubicBezTo>
                <a:cubicBezTo>
                  <a:pt x="60" y="204"/>
                  <a:pt x="59" y="202"/>
                  <a:pt x="56" y="202"/>
                </a:cubicBezTo>
                <a:cubicBezTo>
                  <a:pt x="52" y="202"/>
                  <a:pt x="52" y="202"/>
                  <a:pt x="52" y="202"/>
                </a:cubicBezTo>
                <a:cubicBezTo>
                  <a:pt x="50" y="202"/>
                  <a:pt x="48" y="204"/>
                  <a:pt x="48" y="206"/>
                </a:cubicBezTo>
                <a:cubicBezTo>
                  <a:pt x="48" y="209"/>
                  <a:pt x="50" y="210"/>
                  <a:pt x="52" y="210"/>
                </a:cubicBezTo>
                <a:close/>
                <a:moveTo>
                  <a:pt x="28" y="210"/>
                </a:moveTo>
                <a:cubicBezTo>
                  <a:pt x="32" y="210"/>
                  <a:pt x="32" y="210"/>
                  <a:pt x="32" y="210"/>
                </a:cubicBezTo>
                <a:cubicBezTo>
                  <a:pt x="35" y="210"/>
                  <a:pt x="36" y="209"/>
                  <a:pt x="36" y="206"/>
                </a:cubicBezTo>
                <a:cubicBezTo>
                  <a:pt x="36" y="204"/>
                  <a:pt x="35" y="202"/>
                  <a:pt x="32" y="202"/>
                </a:cubicBezTo>
                <a:cubicBezTo>
                  <a:pt x="28" y="202"/>
                  <a:pt x="28" y="202"/>
                  <a:pt x="28" y="202"/>
                </a:cubicBezTo>
                <a:cubicBezTo>
                  <a:pt x="26" y="202"/>
                  <a:pt x="24" y="204"/>
                  <a:pt x="24" y="206"/>
                </a:cubicBezTo>
                <a:cubicBezTo>
                  <a:pt x="24" y="209"/>
                  <a:pt x="26" y="210"/>
                  <a:pt x="28" y="210"/>
                </a:cubicBezTo>
                <a:close/>
                <a:moveTo>
                  <a:pt x="4" y="210"/>
                </a:moveTo>
                <a:cubicBezTo>
                  <a:pt x="8" y="210"/>
                  <a:pt x="8" y="210"/>
                  <a:pt x="8" y="210"/>
                </a:cubicBezTo>
                <a:cubicBezTo>
                  <a:pt x="11" y="210"/>
                  <a:pt x="12" y="209"/>
                  <a:pt x="12" y="206"/>
                </a:cubicBezTo>
                <a:cubicBezTo>
                  <a:pt x="12" y="204"/>
                  <a:pt x="11" y="202"/>
                  <a:pt x="8" y="202"/>
                </a:cubicBezTo>
                <a:cubicBezTo>
                  <a:pt x="4" y="202"/>
                  <a:pt x="4" y="202"/>
                  <a:pt x="4" y="202"/>
                </a:cubicBezTo>
                <a:cubicBezTo>
                  <a:pt x="2" y="202"/>
                  <a:pt x="0" y="204"/>
                  <a:pt x="0" y="206"/>
                </a:cubicBezTo>
                <a:cubicBezTo>
                  <a:pt x="0" y="209"/>
                  <a:pt x="2" y="210"/>
                  <a:pt x="4" y="210"/>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254">
            <a:extLst>
              <a:ext uri="{FF2B5EF4-FFF2-40B4-BE49-F238E27FC236}">
                <a16:creationId xmlns:a16="http://schemas.microsoft.com/office/drawing/2014/main" id="{FAD2C1DC-71EB-8F47-9DD3-6C852E2747CC}"/>
              </a:ext>
            </a:extLst>
          </p:cNvPr>
          <p:cNvSpPr>
            <a:spLocks/>
          </p:cNvSpPr>
          <p:nvPr/>
        </p:nvSpPr>
        <p:spPr bwMode="auto">
          <a:xfrm>
            <a:off x="8341349" y="5873524"/>
            <a:ext cx="759184" cy="432229"/>
          </a:xfrm>
          <a:custGeom>
            <a:avLst/>
            <a:gdLst>
              <a:gd name="T0" fmla="*/ 750 w 750"/>
              <a:gd name="T1" fmla="*/ 408 h 427"/>
              <a:gd name="T2" fmla="*/ 302 w 750"/>
              <a:gd name="T3" fmla="*/ 408 h 427"/>
              <a:gd name="T4" fmla="*/ 302 w 750"/>
              <a:gd name="T5" fmla="*/ 0 h 427"/>
              <a:gd name="T6" fmla="*/ 0 w 750"/>
              <a:gd name="T7" fmla="*/ 0 h 427"/>
              <a:gd name="T8" fmla="*/ 0 w 750"/>
              <a:gd name="T9" fmla="*/ 16 h 427"/>
              <a:gd name="T10" fmla="*/ 283 w 750"/>
              <a:gd name="T11" fmla="*/ 16 h 427"/>
              <a:gd name="T12" fmla="*/ 283 w 750"/>
              <a:gd name="T13" fmla="*/ 427 h 427"/>
              <a:gd name="T14" fmla="*/ 750 w 750"/>
              <a:gd name="T15" fmla="*/ 427 h 427"/>
              <a:gd name="T16" fmla="*/ 750 w 750"/>
              <a:gd name="T17" fmla="*/ 408 h 427"/>
              <a:gd name="T18" fmla="*/ 750 w 750"/>
              <a:gd name="T19" fmla="*/ 408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0" h="427">
                <a:moveTo>
                  <a:pt x="750" y="408"/>
                </a:moveTo>
                <a:lnTo>
                  <a:pt x="302" y="408"/>
                </a:lnTo>
                <a:lnTo>
                  <a:pt x="302" y="0"/>
                </a:lnTo>
                <a:lnTo>
                  <a:pt x="0" y="0"/>
                </a:lnTo>
                <a:lnTo>
                  <a:pt x="0" y="16"/>
                </a:lnTo>
                <a:lnTo>
                  <a:pt x="283" y="16"/>
                </a:lnTo>
                <a:lnTo>
                  <a:pt x="283" y="427"/>
                </a:lnTo>
                <a:lnTo>
                  <a:pt x="750" y="427"/>
                </a:lnTo>
                <a:lnTo>
                  <a:pt x="750" y="408"/>
                </a:lnTo>
                <a:lnTo>
                  <a:pt x="750" y="408"/>
                </a:ln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248" name="Freeform 255">
            <a:extLst>
              <a:ext uri="{FF2B5EF4-FFF2-40B4-BE49-F238E27FC236}">
                <a16:creationId xmlns:a16="http://schemas.microsoft.com/office/drawing/2014/main" id="{3E5C4A9F-3417-C94B-BAD6-0C9950B0B6E8}"/>
              </a:ext>
            </a:extLst>
          </p:cNvPr>
          <p:cNvSpPr>
            <a:spLocks noEditPoints="1"/>
          </p:cNvSpPr>
          <p:nvPr/>
        </p:nvSpPr>
        <p:spPr bwMode="auto">
          <a:xfrm>
            <a:off x="8320092" y="5949443"/>
            <a:ext cx="948474" cy="279380"/>
          </a:xfrm>
          <a:custGeom>
            <a:avLst/>
            <a:gdLst>
              <a:gd name="T0" fmla="*/ 4 w 395"/>
              <a:gd name="T1" fmla="*/ 8 h 116"/>
              <a:gd name="T2" fmla="*/ 26 w 395"/>
              <a:gd name="T3" fmla="*/ 0 h 116"/>
              <a:gd name="T4" fmla="*/ 26 w 395"/>
              <a:gd name="T5" fmla="*/ 8 h 116"/>
              <a:gd name="T6" fmla="*/ 41 w 395"/>
              <a:gd name="T7" fmla="*/ 0 h 116"/>
              <a:gd name="T8" fmla="*/ 48 w 395"/>
              <a:gd name="T9" fmla="*/ 4 h 116"/>
              <a:gd name="T10" fmla="*/ 55 w 395"/>
              <a:gd name="T11" fmla="*/ 4 h 116"/>
              <a:gd name="T12" fmla="*/ 62 w 395"/>
              <a:gd name="T13" fmla="*/ 0 h 116"/>
              <a:gd name="T14" fmla="*/ 77 w 395"/>
              <a:gd name="T15" fmla="*/ 8 h 116"/>
              <a:gd name="T16" fmla="*/ 98 w 395"/>
              <a:gd name="T17" fmla="*/ 0 h 116"/>
              <a:gd name="T18" fmla="*/ 98 w 395"/>
              <a:gd name="T19" fmla="*/ 8 h 116"/>
              <a:gd name="T20" fmla="*/ 114 w 395"/>
              <a:gd name="T21" fmla="*/ 0 h 116"/>
              <a:gd name="T22" fmla="*/ 121 w 395"/>
              <a:gd name="T23" fmla="*/ 4 h 116"/>
              <a:gd name="T24" fmla="*/ 128 w 395"/>
              <a:gd name="T25" fmla="*/ 4 h 116"/>
              <a:gd name="T26" fmla="*/ 135 w 395"/>
              <a:gd name="T27" fmla="*/ 0 h 116"/>
              <a:gd name="T28" fmla="*/ 150 w 395"/>
              <a:gd name="T29" fmla="*/ 8 h 116"/>
              <a:gd name="T30" fmla="*/ 171 w 395"/>
              <a:gd name="T31" fmla="*/ 0 h 116"/>
              <a:gd name="T32" fmla="*/ 171 w 395"/>
              <a:gd name="T33" fmla="*/ 8 h 116"/>
              <a:gd name="T34" fmla="*/ 186 w 395"/>
              <a:gd name="T35" fmla="*/ 0 h 116"/>
              <a:gd name="T36" fmla="*/ 194 w 395"/>
              <a:gd name="T37" fmla="*/ 4 h 116"/>
              <a:gd name="T38" fmla="*/ 201 w 395"/>
              <a:gd name="T39" fmla="*/ 4 h 116"/>
              <a:gd name="T40" fmla="*/ 208 w 395"/>
              <a:gd name="T41" fmla="*/ 0 h 116"/>
              <a:gd name="T42" fmla="*/ 223 w 395"/>
              <a:gd name="T43" fmla="*/ 8 h 116"/>
              <a:gd name="T44" fmla="*/ 248 w 395"/>
              <a:gd name="T45" fmla="*/ 4 h 116"/>
              <a:gd name="T46" fmla="*/ 241 w 395"/>
              <a:gd name="T47" fmla="*/ 0 h 116"/>
              <a:gd name="T48" fmla="*/ 244 w 395"/>
              <a:gd name="T49" fmla="*/ 4 h 116"/>
              <a:gd name="T50" fmla="*/ 248 w 395"/>
              <a:gd name="T51" fmla="*/ 4 h 116"/>
              <a:gd name="T52" fmla="*/ 240 w 395"/>
              <a:gd name="T53" fmla="*/ 19 h 116"/>
              <a:gd name="T54" fmla="*/ 248 w 395"/>
              <a:gd name="T55" fmla="*/ 41 h 116"/>
              <a:gd name="T56" fmla="*/ 240 w 395"/>
              <a:gd name="T57" fmla="*/ 41 h 116"/>
              <a:gd name="T58" fmla="*/ 248 w 395"/>
              <a:gd name="T59" fmla="*/ 56 h 116"/>
              <a:gd name="T60" fmla="*/ 244 w 395"/>
              <a:gd name="T61" fmla="*/ 63 h 116"/>
              <a:gd name="T62" fmla="*/ 244 w 395"/>
              <a:gd name="T63" fmla="*/ 70 h 116"/>
              <a:gd name="T64" fmla="*/ 248 w 395"/>
              <a:gd name="T65" fmla="*/ 77 h 116"/>
              <a:gd name="T66" fmla="*/ 240 w 395"/>
              <a:gd name="T67" fmla="*/ 92 h 116"/>
              <a:gd name="T68" fmla="*/ 245 w 395"/>
              <a:gd name="T69" fmla="*/ 108 h 116"/>
              <a:gd name="T70" fmla="*/ 248 w 395"/>
              <a:gd name="T71" fmla="*/ 110 h 116"/>
              <a:gd name="T72" fmla="*/ 241 w 395"/>
              <a:gd name="T73" fmla="*/ 114 h 116"/>
              <a:gd name="T74" fmla="*/ 245 w 395"/>
              <a:gd name="T75" fmla="*/ 108 h 116"/>
              <a:gd name="T76" fmla="*/ 261 w 395"/>
              <a:gd name="T77" fmla="*/ 116 h 116"/>
              <a:gd name="T78" fmla="*/ 282 w 395"/>
              <a:gd name="T79" fmla="*/ 108 h 116"/>
              <a:gd name="T80" fmla="*/ 282 w 395"/>
              <a:gd name="T81" fmla="*/ 116 h 116"/>
              <a:gd name="T82" fmla="*/ 297 w 395"/>
              <a:gd name="T83" fmla="*/ 108 h 116"/>
              <a:gd name="T84" fmla="*/ 304 w 395"/>
              <a:gd name="T85" fmla="*/ 112 h 116"/>
              <a:gd name="T86" fmla="*/ 311 w 395"/>
              <a:gd name="T87" fmla="*/ 112 h 116"/>
              <a:gd name="T88" fmla="*/ 318 w 395"/>
              <a:gd name="T89" fmla="*/ 108 h 116"/>
              <a:gd name="T90" fmla="*/ 334 w 395"/>
              <a:gd name="T91" fmla="*/ 116 h 116"/>
              <a:gd name="T92" fmla="*/ 355 w 395"/>
              <a:gd name="T93" fmla="*/ 108 h 116"/>
              <a:gd name="T94" fmla="*/ 355 w 395"/>
              <a:gd name="T95" fmla="*/ 116 h 116"/>
              <a:gd name="T96" fmla="*/ 370 w 395"/>
              <a:gd name="T97" fmla="*/ 108 h 116"/>
              <a:gd name="T98" fmla="*/ 377 w 395"/>
              <a:gd name="T99" fmla="*/ 112 h 116"/>
              <a:gd name="T100" fmla="*/ 384 w 395"/>
              <a:gd name="T101" fmla="*/ 112 h 116"/>
              <a:gd name="T102" fmla="*/ 391 w 395"/>
              <a:gd name="T103"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5" h="116">
                <a:moveTo>
                  <a:pt x="7" y="0"/>
                </a:moveTo>
                <a:cubicBezTo>
                  <a:pt x="4" y="0"/>
                  <a:pt x="4" y="0"/>
                  <a:pt x="4" y="0"/>
                </a:cubicBezTo>
                <a:cubicBezTo>
                  <a:pt x="2" y="0"/>
                  <a:pt x="0" y="1"/>
                  <a:pt x="0" y="4"/>
                </a:cubicBezTo>
                <a:cubicBezTo>
                  <a:pt x="0" y="6"/>
                  <a:pt x="2" y="8"/>
                  <a:pt x="4" y="8"/>
                </a:cubicBezTo>
                <a:cubicBezTo>
                  <a:pt x="7" y="8"/>
                  <a:pt x="7" y="8"/>
                  <a:pt x="7" y="8"/>
                </a:cubicBezTo>
                <a:cubicBezTo>
                  <a:pt x="10" y="8"/>
                  <a:pt x="11" y="6"/>
                  <a:pt x="11" y="4"/>
                </a:cubicBezTo>
                <a:cubicBezTo>
                  <a:pt x="11" y="1"/>
                  <a:pt x="10" y="0"/>
                  <a:pt x="7" y="0"/>
                </a:cubicBezTo>
                <a:close/>
                <a:moveTo>
                  <a:pt x="26" y="0"/>
                </a:moveTo>
                <a:cubicBezTo>
                  <a:pt x="23" y="0"/>
                  <a:pt x="23" y="0"/>
                  <a:pt x="23" y="0"/>
                </a:cubicBezTo>
                <a:cubicBezTo>
                  <a:pt x="20" y="0"/>
                  <a:pt x="19" y="1"/>
                  <a:pt x="19" y="4"/>
                </a:cubicBezTo>
                <a:cubicBezTo>
                  <a:pt x="19" y="6"/>
                  <a:pt x="20" y="8"/>
                  <a:pt x="23" y="8"/>
                </a:cubicBezTo>
                <a:cubicBezTo>
                  <a:pt x="26" y="8"/>
                  <a:pt x="26" y="8"/>
                  <a:pt x="26" y="8"/>
                </a:cubicBezTo>
                <a:cubicBezTo>
                  <a:pt x="28" y="8"/>
                  <a:pt x="30" y="6"/>
                  <a:pt x="30" y="4"/>
                </a:cubicBezTo>
                <a:cubicBezTo>
                  <a:pt x="30" y="1"/>
                  <a:pt x="28" y="0"/>
                  <a:pt x="26" y="0"/>
                </a:cubicBezTo>
                <a:close/>
                <a:moveTo>
                  <a:pt x="44" y="0"/>
                </a:moveTo>
                <a:cubicBezTo>
                  <a:pt x="41" y="0"/>
                  <a:pt x="41" y="0"/>
                  <a:pt x="41" y="0"/>
                </a:cubicBezTo>
                <a:cubicBezTo>
                  <a:pt x="39" y="0"/>
                  <a:pt x="37" y="1"/>
                  <a:pt x="37" y="4"/>
                </a:cubicBezTo>
                <a:cubicBezTo>
                  <a:pt x="37" y="6"/>
                  <a:pt x="39" y="8"/>
                  <a:pt x="41" y="8"/>
                </a:cubicBezTo>
                <a:cubicBezTo>
                  <a:pt x="44" y="8"/>
                  <a:pt x="44" y="8"/>
                  <a:pt x="44" y="8"/>
                </a:cubicBezTo>
                <a:cubicBezTo>
                  <a:pt x="46" y="8"/>
                  <a:pt x="48" y="6"/>
                  <a:pt x="48" y="4"/>
                </a:cubicBezTo>
                <a:cubicBezTo>
                  <a:pt x="48" y="1"/>
                  <a:pt x="46" y="0"/>
                  <a:pt x="44" y="0"/>
                </a:cubicBezTo>
                <a:close/>
                <a:moveTo>
                  <a:pt x="62" y="0"/>
                </a:moveTo>
                <a:cubicBezTo>
                  <a:pt x="59" y="0"/>
                  <a:pt x="59" y="0"/>
                  <a:pt x="59" y="0"/>
                </a:cubicBezTo>
                <a:cubicBezTo>
                  <a:pt x="57" y="0"/>
                  <a:pt x="55" y="1"/>
                  <a:pt x="55" y="4"/>
                </a:cubicBezTo>
                <a:cubicBezTo>
                  <a:pt x="55" y="6"/>
                  <a:pt x="57" y="8"/>
                  <a:pt x="59" y="8"/>
                </a:cubicBezTo>
                <a:cubicBezTo>
                  <a:pt x="62" y="8"/>
                  <a:pt x="62" y="8"/>
                  <a:pt x="62" y="8"/>
                </a:cubicBezTo>
                <a:cubicBezTo>
                  <a:pt x="64" y="8"/>
                  <a:pt x="66" y="6"/>
                  <a:pt x="66" y="4"/>
                </a:cubicBezTo>
                <a:cubicBezTo>
                  <a:pt x="66" y="1"/>
                  <a:pt x="64" y="0"/>
                  <a:pt x="62" y="0"/>
                </a:cubicBezTo>
                <a:close/>
                <a:moveTo>
                  <a:pt x="80" y="0"/>
                </a:moveTo>
                <a:cubicBezTo>
                  <a:pt x="77" y="0"/>
                  <a:pt x="77" y="0"/>
                  <a:pt x="77" y="0"/>
                </a:cubicBezTo>
                <a:cubicBezTo>
                  <a:pt x="75" y="0"/>
                  <a:pt x="73" y="1"/>
                  <a:pt x="73" y="4"/>
                </a:cubicBezTo>
                <a:cubicBezTo>
                  <a:pt x="73" y="6"/>
                  <a:pt x="75" y="8"/>
                  <a:pt x="77" y="8"/>
                </a:cubicBezTo>
                <a:cubicBezTo>
                  <a:pt x="80" y="8"/>
                  <a:pt x="80" y="8"/>
                  <a:pt x="80" y="8"/>
                </a:cubicBezTo>
                <a:cubicBezTo>
                  <a:pt x="82" y="8"/>
                  <a:pt x="84" y="6"/>
                  <a:pt x="84" y="4"/>
                </a:cubicBezTo>
                <a:cubicBezTo>
                  <a:pt x="84" y="1"/>
                  <a:pt x="82" y="0"/>
                  <a:pt x="80" y="0"/>
                </a:cubicBezTo>
                <a:close/>
                <a:moveTo>
                  <a:pt x="98" y="0"/>
                </a:moveTo>
                <a:cubicBezTo>
                  <a:pt x="95" y="0"/>
                  <a:pt x="95" y="0"/>
                  <a:pt x="95" y="0"/>
                </a:cubicBezTo>
                <a:cubicBezTo>
                  <a:pt x="93" y="0"/>
                  <a:pt x="91" y="1"/>
                  <a:pt x="91" y="4"/>
                </a:cubicBezTo>
                <a:cubicBezTo>
                  <a:pt x="91" y="6"/>
                  <a:pt x="93" y="8"/>
                  <a:pt x="95" y="8"/>
                </a:cubicBezTo>
                <a:cubicBezTo>
                  <a:pt x="98" y="8"/>
                  <a:pt x="98" y="8"/>
                  <a:pt x="98" y="8"/>
                </a:cubicBezTo>
                <a:cubicBezTo>
                  <a:pt x="101" y="8"/>
                  <a:pt x="102" y="6"/>
                  <a:pt x="102" y="4"/>
                </a:cubicBezTo>
                <a:cubicBezTo>
                  <a:pt x="102" y="1"/>
                  <a:pt x="101" y="0"/>
                  <a:pt x="98" y="0"/>
                </a:cubicBezTo>
                <a:close/>
                <a:moveTo>
                  <a:pt x="117" y="0"/>
                </a:moveTo>
                <a:cubicBezTo>
                  <a:pt x="114" y="0"/>
                  <a:pt x="114" y="0"/>
                  <a:pt x="114" y="0"/>
                </a:cubicBezTo>
                <a:cubicBezTo>
                  <a:pt x="111" y="0"/>
                  <a:pt x="110" y="1"/>
                  <a:pt x="110" y="4"/>
                </a:cubicBezTo>
                <a:cubicBezTo>
                  <a:pt x="110" y="6"/>
                  <a:pt x="111" y="8"/>
                  <a:pt x="114" y="8"/>
                </a:cubicBezTo>
                <a:cubicBezTo>
                  <a:pt x="117" y="8"/>
                  <a:pt x="117" y="8"/>
                  <a:pt x="117" y="8"/>
                </a:cubicBezTo>
                <a:cubicBezTo>
                  <a:pt x="119" y="8"/>
                  <a:pt x="121" y="6"/>
                  <a:pt x="121" y="4"/>
                </a:cubicBezTo>
                <a:cubicBezTo>
                  <a:pt x="121" y="1"/>
                  <a:pt x="119" y="0"/>
                  <a:pt x="117" y="0"/>
                </a:cubicBezTo>
                <a:close/>
                <a:moveTo>
                  <a:pt x="135" y="0"/>
                </a:moveTo>
                <a:cubicBezTo>
                  <a:pt x="132" y="0"/>
                  <a:pt x="132" y="0"/>
                  <a:pt x="132" y="0"/>
                </a:cubicBezTo>
                <a:cubicBezTo>
                  <a:pt x="130" y="0"/>
                  <a:pt x="128" y="1"/>
                  <a:pt x="128" y="4"/>
                </a:cubicBezTo>
                <a:cubicBezTo>
                  <a:pt x="128" y="6"/>
                  <a:pt x="130" y="8"/>
                  <a:pt x="132" y="8"/>
                </a:cubicBezTo>
                <a:cubicBezTo>
                  <a:pt x="135" y="8"/>
                  <a:pt x="135" y="8"/>
                  <a:pt x="135" y="8"/>
                </a:cubicBezTo>
                <a:cubicBezTo>
                  <a:pt x="137" y="8"/>
                  <a:pt x="139" y="6"/>
                  <a:pt x="139" y="4"/>
                </a:cubicBezTo>
                <a:cubicBezTo>
                  <a:pt x="139" y="1"/>
                  <a:pt x="137" y="0"/>
                  <a:pt x="135" y="0"/>
                </a:cubicBezTo>
                <a:close/>
                <a:moveTo>
                  <a:pt x="153" y="0"/>
                </a:moveTo>
                <a:cubicBezTo>
                  <a:pt x="150" y="0"/>
                  <a:pt x="150" y="0"/>
                  <a:pt x="150" y="0"/>
                </a:cubicBezTo>
                <a:cubicBezTo>
                  <a:pt x="148" y="0"/>
                  <a:pt x="146" y="1"/>
                  <a:pt x="146" y="4"/>
                </a:cubicBezTo>
                <a:cubicBezTo>
                  <a:pt x="146" y="6"/>
                  <a:pt x="148" y="8"/>
                  <a:pt x="150" y="8"/>
                </a:cubicBezTo>
                <a:cubicBezTo>
                  <a:pt x="153" y="8"/>
                  <a:pt x="153" y="8"/>
                  <a:pt x="153" y="8"/>
                </a:cubicBezTo>
                <a:cubicBezTo>
                  <a:pt x="155" y="8"/>
                  <a:pt x="157" y="6"/>
                  <a:pt x="157" y="4"/>
                </a:cubicBezTo>
                <a:cubicBezTo>
                  <a:pt x="157" y="1"/>
                  <a:pt x="155" y="0"/>
                  <a:pt x="153" y="0"/>
                </a:cubicBezTo>
                <a:close/>
                <a:moveTo>
                  <a:pt x="171" y="0"/>
                </a:moveTo>
                <a:cubicBezTo>
                  <a:pt x="168" y="0"/>
                  <a:pt x="168" y="0"/>
                  <a:pt x="168" y="0"/>
                </a:cubicBezTo>
                <a:cubicBezTo>
                  <a:pt x="166" y="0"/>
                  <a:pt x="164" y="1"/>
                  <a:pt x="164" y="4"/>
                </a:cubicBezTo>
                <a:cubicBezTo>
                  <a:pt x="164" y="6"/>
                  <a:pt x="166" y="8"/>
                  <a:pt x="168" y="8"/>
                </a:cubicBezTo>
                <a:cubicBezTo>
                  <a:pt x="171" y="8"/>
                  <a:pt x="171" y="8"/>
                  <a:pt x="171" y="8"/>
                </a:cubicBezTo>
                <a:cubicBezTo>
                  <a:pt x="173" y="8"/>
                  <a:pt x="175" y="6"/>
                  <a:pt x="175" y="4"/>
                </a:cubicBezTo>
                <a:cubicBezTo>
                  <a:pt x="175" y="1"/>
                  <a:pt x="173" y="0"/>
                  <a:pt x="171" y="0"/>
                </a:cubicBezTo>
                <a:close/>
                <a:moveTo>
                  <a:pt x="190" y="0"/>
                </a:moveTo>
                <a:cubicBezTo>
                  <a:pt x="186" y="0"/>
                  <a:pt x="186" y="0"/>
                  <a:pt x="186" y="0"/>
                </a:cubicBezTo>
                <a:cubicBezTo>
                  <a:pt x="184" y="0"/>
                  <a:pt x="182" y="1"/>
                  <a:pt x="182" y="4"/>
                </a:cubicBezTo>
                <a:cubicBezTo>
                  <a:pt x="182" y="6"/>
                  <a:pt x="184" y="8"/>
                  <a:pt x="186" y="8"/>
                </a:cubicBezTo>
                <a:cubicBezTo>
                  <a:pt x="190" y="8"/>
                  <a:pt x="190" y="8"/>
                  <a:pt x="190" y="8"/>
                </a:cubicBezTo>
                <a:cubicBezTo>
                  <a:pt x="192" y="8"/>
                  <a:pt x="194" y="6"/>
                  <a:pt x="194" y="4"/>
                </a:cubicBezTo>
                <a:cubicBezTo>
                  <a:pt x="194" y="1"/>
                  <a:pt x="192" y="0"/>
                  <a:pt x="190" y="0"/>
                </a:cubicBezTo>
                <a:close/>
                <a:moveTo>
                  <a:pt x="208" y="0"/>
                </a:moveTo>
                <a:cubicBezTo>
                  <a:pt x="205" y="0"/>
                  <a:pt x="205" y="0"/>
                  <a:pt x="205" y="0"/>
                </a:cubicBezTo>
                <a:cubicBezTo>
                  <a:pt x="202" y="0"/>
                  <a:pt x="201" y="1"/>
                  <a:pt x="201" y="4"/>
                </a:cubicBezTo>
                <a:cubicBezTo>
                  <a:pt x="201" y="6"/>
                  <a:pt x="202" y="8"/>
                  <a:pt x="205" y="8"/>
                </a:cubicBezTo>
                <a:cubicBezTo>
                  <a:pt x="208" y="8"/>
                  <a:pt x="208" y="8"/>
                  <a:pt x="208" y="8"/>
                </a:cubicBezTo>
                <a:cubicBezTo>
                  <a:pt x="210" y="8"/>
                  <a:pt x="212" y="6"/>
                  <a:pt x="212" y="4"/>
                </a:cubicBezTo>
                <a:cubicBezTo>
                  <a:pt x="212" y="1"/>
                  <a:pt x="210" y="0"/>
                  <a:pt x="208" y="0"/>
                </a:cubicBezTo>
                <a:close/>
                <a:moveTo>
                  <a:pt x="226" y="0"/>
                </a:moveTo>
                <a:cubicBezTo>
                  <a:pt x="223" y="0"/>
                  <a:pt x="223" y="0"/>
                  <a:pt x="223" y="0"/>
                </a:cubicBezTo>
                <a:cubicBezTo>
                  <a:pt x="221" y="0"/>
                  <a:pt x="219" y="1"/>
                  <a:pt x="219" y="4"/>
                </a:cubicBezTo>
                <a:cubicBezTo>
                  <a:pt x="219" y="6"/>
                  <a:pt x="221" y="8"/>
                  <a:pt x="223" y="8"/>
                </a:cubicBezTo>
                <a:cubicBezTo>
                  <a:pt x="226" y="8"/>
                  <a:pt x="226" y="8"/>
                  <a:pt x="226" y="8"/>
                </a:cubicBezTo>
                <a:cubicBezTo>
                  <a:pt x="228" y="8"/>
                  <a:pt x="230" y="6"/>
                  <a:pt x="230" y="4"/>
                </a:cubicBezTo>
                <a:cubicBezTo>
                  <a:pt x="230" y="1"/>
                  <a:pt x="228" y="0"/>
                  <a:pt x="226" y="0"/>
                </a:cubicBezTo>
                <a:close/>
                <a:moveTo>
                  <a:pt x="248" y="4"/>
                </a:moveTo>
                <a:cubicBezTo>
                  <a:pt x="248" y="4"/>
                  <a:pt x="248" y="4"/>
                  <a:pt x="248" y="4"/>
                </a:cubicBezTo>
                <a:cubicBezTo>
                  <a:pt x="248" y="2"/>
                  <a:pt x="247" y="1"/>
                  <a:pt x="246" y="1"/>
                </a:cubicBezTo>
                <a:cubicBezTo>
                  <a:pt x="246" y="0"/>
                  <a:pt x="245" y="0"/>
                  <a:pt x="244" y="0"/>
                </a:cubicBezTo>
                <a:cubicBezTo>
                  <a:pt x="241" y="0"/>
                  <a:pt x="241" y="0"/>
                  <a:pt x="241" y="0"/>
                </a:cubicBezTo>
                <a:cubicBezTo>
                  <a:pt x="239" y="0"/>
                  <a:pt x="237" y="1"/>
                  <a:pt x="237" y="4"/>
                </a:cubicBezTo>
                <a:cubicBezTo>
                  <a:pt x="237" y="6"/>
                  <a:pt x="239" y="8"/>
                  <a:pt x="241" y="8"/>
                </a:cubicBezTo>
                <a:cubicBezTo>
                  <a:pt x="244" y="8"/>
                  <a:pt x="244" y="8"/>
                  <a:pt x="244" y="8"/>
                </a:cubicBezTo>
                <a:cubicBezTo>
                  <a:pt x="244" y="4"/>
                  <a:pt x="244" y="4"/>
                  <a:pt x="244" y="4"/>
                </a:cubicBezTo>
                <a:cubicBezTo>
                  <a:pt x="240" y="4"/>
                  <a:pt x="240" y="4"/>
                  <a:pt x="240" y="4"/>
                </a:cubicBezTo>
                <a:cubicBezTo>
                  <a:pt x="240" y="4"/>
                  <a:pt x="240" y="4"/>
                  <a:pt x="240" y="4"/>
                </a:cubicBezTo>
                <a:cubicBezTo>
                  <a:pt x="240" y="6"/>
                  <a:pt x="241" y="8"/>
                  <a:pt x="244" y="8"/>
                </a:cubicBezTo>
                <a:cubicBezTo>
                  <a:pt x="246" y="8"/>
                  <a:pt x="248" y="6"/>
                  <a:pt x="248" y="4"/>
                </a:cubicBezTo>
                <a:close/>
                <a:moveTo>
                  <a:pt x="248" y="22"/>
                </a:moveTo>
                <a:cubicBezTo>
                  <a:pt x="248" y="19"/>
                  <a:pt x="248" y="19"/>
                  <a:pt x="248" y="19"/>
                </a:cubicBezTo>
                <a:cubicBezTo>
                  <a:pt x="248" y="17"/>
                  <a:pt x="246" y="15"/>
                  <a:pt x="244" y="15"/>
                </a:cubicBezTo>
                <a:cubicBezTo>
                  <a:pt x="241" y="15"/>
                  <a:pt x="240" y="17"/>
                  <a:pt x="240" y="19"/>
                </a:cubicBezTo>
                <a:cubicBezTo>
                  <a:pt x="240" y="22"/>
                  <a:pt x="240" y="22"/>
                  <a:pt x="240" y="22"/>
                </a:cubicBezTo>
                <a:cubicBezTo>
                  <a:pt x="240" y="25"/>
                  <a:pt x="241" y="26"/>
                  <a:pt x="244" y="26"/>
                </a:cubicBezTo>
                <a:cubicBezTo>
                  <a:pt x="246" y="26"/>
                  <a:pt x="248" y="25"/>
                  <a:pt x="248" y="22"/>
                </a:cubicBezTo>
                <a:close/>
                <a:moveTo>
                  <a:pt x="248" y="41"/>
                </a:moveTo>
                <a:cubicBezTo>
                  <a:pt x="248" y="38"/>
                  <a:pt x="248" y="38"/>
                  <a:pt x="248" y="38"/>
                </a:cubicBezTo>
                <a:cubicBezTo>
                  <a:pt x="248" y="35"/>
                  <a:pt x="246" y="34"/>
                  <a:pt x="244" y="34"/>
                </a:cubicBezTo>
                <a:cubicBezTo>
                  <a:pt x="241" y="34"/>
                  <a:pt x="240" y="35"/>
                  <a:pt x="240" y="38"/>
                </a:cubicBezTo>
                <a:cubicBezTo>
                  <a:pt x="240" y="41"/>
                  <a:pt x="240" y="41"/>
                  <a:pt x="240" y="41"/>
                </a:cubicBezTo>
                <a:cubicBezTo>
                  <a:pt x="240" y="43"/>
                  <a:pt x="241" y="45"/>
                  <a:pt x="244" y="45"/>
                </a:cubicBezTo>
                <a:cubicBezTo>
                  <a:pt x="246" y="45"/>
                  <a:pt x="248" y="43"/>
                  <a:pt x="248" y="41"/>
                </a:cubicBezTo>
                <a:close/>
                <a:moveTo>
                  <a:pt x="248" y="59"/>
                </a:moveTo>
                <a:cubicBezTo>
                  <a:pt x="248" y="56"/>
                  <a:pt x="248" y="56"/>
                  <a:pt x="248" y="56"/>
                </a:cubicBezTo>
                <a:cubicBezTo>
                  <a:pt x="248" y="54"/>
                  <a:pt x="246" y="52"/>
                  <a:pt x="244" y="52"/>
                </a:cubicBezTo>
                <a:cubicBezTo>
                  <a:pt x="241" y="52"/>
                  <a:pt x="240" y="54"/>
                  <a:pt x="240" y="56"/>
                </a:cubicBezTo>
                <a:cubicBezTo>
                  <a:pt x="240" y="59"/>
                  <a:pt x="240" y="59"/>
                  <a:pt x="240" y="59"/>
                </a:cubicBezTo>
                <a:cubicBezTo>
                  <a:pt x="240" y="61"/>
                  <a:pt x="241" y="63"/>
                  <a:pt x="244" y="63"/>
                </a:cubicBezTo>
                <a:cubicBezTo>
                  <a:pt x="246" y="63"/>
                  <a:pt x="248" y="61"/>
                  <a:pt x="248" y="59"/>
                </a:cubicBezTo>
                <a:close/>
                <a:moveTo>
                  <a:pt x="248" y="77"/>
                </a:moveTo>
                <a:cubicBezTo>
                  <a:pt x="248" y="74"/>
                  <a:pt x="248" y="74"/>
                  <a:pt x="248" y="74"/>
                </a:cubicBezTo>
                <a:cubicBezTo>
                  <a:pt x="248" y="72"/>
                  <a:pt x="246" y="70"/>
                  <a:pt x="244" y="70"/>
                </a:cubicBezTo>
                <a:cubicBezTo>
                  <a:pt x="241" y="70"/>
                  <a:pt x="240" y="72"/>
                  <a:pt x="240" y="74"/>
                </a:cubicBezTo>
                <a:cubicBezTo>
                  <a:pt x="240" y="77"/>
                  <a:pt x="240" y="77"/>
                  <a:pt x="240" y="77"/>
                </a:cubicBezTo>
                <a:cubicBezTo>
                  <a:pt x="240" y="79"/>
                  <a:pt x="241" y="81"/>
                  <a:pt x="244" y="81"/>
                </a:cubicBezTo>
                <a:cubicBezTo>
                  <a:pt x="246" y="81"/>
                  <a:pt x="248" y="79"/>
                  <a:pt x="248" y="77"/>
                </a:cubicBezTo>
                <a:close/>
                <a:moveTo>
                  <a:pt x="248" y="95"/>
                </a:moveTo>
                <a:cubicBezTo>
                  <a:pt x="248" y="92"/>
                  <a:pt x="248" y="92"/>
                  <a:pt x="248" y="92"/>
                </a:cubicBezTo>
                <a:cubicBezTo>
                  <a:pt x="248" y="90"/>
                  <a:pt x="246" y="88"/>
                  <a:pt x="244" y="88"/>
                </a:cubicBezTo>
                <a:cubicBezTo>
                  <a:pt x="241" y="88"/>
                  <a:pt x="240" y="90"/>
                  <a:pt x="240" y="92"/>
                </a:cubicBezTo>
                <a:cubicBezTo>
                  <a:pt x="240" y="95"/>
                  <a:pt x="240" y="95"/>
                  <a:pt x="240" y="95"/>
                </a:cubicBezTo>
                <a:cubicBezTo>
                  <a:pt x="240" y="97"/>
                  <a:pt x="241" y="99"/>
                  <a:pt x="244" y="99"/>
                </a:cubicBezTo>
                <a:cubicBezTo>
                  <a:pt x="246" y="99"/>
                  <a:pt x="248" y="97"/>
                  <a:pt x="248" y="95"/>
                </a:cubicBezTo>
                <a:close/>
                <a:moveTo>
                  <a:pt x="245" y="108"/>
                </a:moveTo>
                <a:cubicBezTo>
                  <a:pt x="244" y="108"/>
                  <a:pt x="244" y="108"/>
                  <a:pt x="244" y="108"/>
                </a:cubicBezTo>
                <a:cubicBezTo>
                  <a:pt x="244" y="112"/>
                  <a:pt x="244" y="112"/>
                  <a:pt x="244" y="112"/>
                </a:cubicBezTo>
                <a:cubicBezTo>
                  <a:pt x="248" y="112"/>
                  <a:pt x="248" y="112"/>
                  <a:pt x="248" y="112"/>
                </a:cubicBezTo>
                <a:cubicBezTo>
                  <a:pt x="248" y="110"/>
                  <a:pt x="248" y="110"/>
                  <a:pt x="248" y="110"/>
                </a:cubicBezTo>
                <a:cubicBezTo>
                  <a:pt x="248" y="108"/>
                  <a:pt x="246" y="106"/>
                  <a:pt x="244" y="106"/>
                </a:cubicBezTo>
                <a:cubicBezTo>
                  <a:pt x="241" y="106"/>
                  <a:pt x="240" y="108"/>
                  <a:pt x="240" y="110"/>
                </a:cubicBezTo>
                <a:cubicBezTo>
                  <a:pt x="240" y="112"/>
                  <a:pt x="240" y="112"/>
                  <a:pt x="240" y="112"/>
                </a:cubicBezTo>
                <a:cubicBezTo>
                  <a:pt x="240" y="113"/>
                  <a:pt x="240" y="114"/>
                  <a:pt x="241" y="114"/>
                </a:cubicBezTo>
                <a:cubicBezTo>
                  <a:pt x="241" y="115"/>
                  <a:pt x="242" y="116"/>
                  <a:pt x="244" y="116"/>
                </a:cubicBezTo>
                <a:cubicBezTo>
                  <a:pt x="245" y="116"/>
                  <a:pt x="245" y="116"/>
                  <a:pt x="245" y="116"/>
                </a:cubicBezTo>
                <a:cubicBezTo>
                  <a:pt x="248" y="116"/>
                  <a:pt x="249" y="114"/>
                  <a:pt x="249" y="112"/>
                </a:cubicBezTo>
                <a:cubicBezTo>
                  <a:pt x="249" y="109"/>
                  <a:pt x="248" y="108"/>
                  <a:pt x="245" y="108"/>
                </a:cubicBezTo>
                <a:close/>
                <a:moveTo>
                  <a:pt x="264" y="108"/>
                </a:moveTo>
                <a:cubicBezTo>
                  <a:pt x="261" y="108"/>
                  <a:pt x="261" y="108"/>
                  <a:pt x="261" y="108"/>
                </a:cubicBezTo>
                <a:cubicBezTo>
                  <a:pt x="258" y="108"/>
                  <a:pt x="257" y="109"/>
                  <a:pt x="257" y="112"/>
                </a:cubicBezTo>
                <a:cubicBezTo>
                  <a:pt x="257" y="114"/>
                  <a:pt x="258" y="116"/>
                  <a:pt x="261" y="116"/>
                </a:cubicBezTo>
                <a:cubicBezTo>
                  <a:pt x="264" y="116"/>
                  <a:pt x="264" y="116"/>
                  <a:pt x="264" y="116"/>
                </a:cubicBezTo>
                <a:cubicBezTo>
                  <a:pt x="266" y="116"/>
                  <a:pt x="268" y="114"/>
                  <a:pt x="268" y="112"/>
                </a:cubicBezTo>
                <a:cubicBezTo>
                  <a:pt x="268" y="109"/>
                  <a:pt x="266" y="108"/>
                  <a:pt x="264" y="108"/>
                </a:cubicBezTo>
                <a:close/>
                <a:moveTo>
                  <a:pt x="282" y="108"/>
                </a:moveTo>
                <a:cubicBezTo>
                  <a:pt x="279" y="108"/>
                  <a:pt x="279" y="108"/>
                  <a:pt x="279" y="108"/>
                </a:cubicBezTo>
                <a:cubicBezTo>
                  <a:pt x="277" y="108"/>
                  <a:pt x="275" y="109"/>
                  <a:pt x="275" y="112"/>
                </a:cubicBezTo>
                <a:cubicBezTo>
                  <a:pt x="275" y="114"/>
                  <a:pt x="277" y="116"/>
                  <a:pt x="279" y="116"/>
                </a:cubicBezTo>
                <a:cubicBezTo>
                  <a:pt x="282" y="116"/>
                  <a:pt x="282" y="116"/>
                  <a:pt x="282" y="116"/>
                </a:cubicBezTo>
                <a:cubicBezTo>
                  <a:pt x="284" y="116"/>
                  <a:pt x="286" y="114"/>
                  <a:pt x="286" y="112"/>
                </a:cubicBezTo>
                <a:cubicBezTo>
                  <a:pt x="286" y="109"/>
                  <a:pt x="284" y="108"/>
                  <a:pt x="282" y="108"/>
                </a:cubicBezTo>
                <a:close/>
                <a:moveTo>
                  <a:pt x="300" y="108"/>
                </a:moveTo>
                <a:cubicBezTo>
                  <a:pt x="297" y="108"/>
                  <a:pt x="297" y="108"/>
                  <a:pt x="297" y="108"/>
                </a:cubicBezTo>
                <a:cubicBezTo>
                  <a:pt x="295" y="108"/>
                  <a:pt x="293" y="109"/>
                  <a:pt x="293" y="112"/>
                </a:cubicBezTo>
                <a:cubicBezTo>
                  <a:pt x="293" y="114"/>
                  <a:pt x="295" y="116"/>
                  <a:pt x="297" y="116"/>
                </a:cubicBezTo>
                <a:cubicBezTo>
                  <a:pt x="300" y="116"/>
                  <a:pt x="300" y="116"/>
                  <a:pt x="300" y="116"/>
                </a:cubicBezTo>
                <a:cubicBezTo>
                  <a:pt x="302" y="116"/>
                  <a:pt x="304" y="114"/>
                  <a:pt x="304" y="112"/>
                </a:cubicBezTo>
                <a:cubicBezTo>
                  <a:pt x="304" y="109"/>
                  <a:pt x="302" y="108"/>
                  <a:pt x="300" y="108"/>
                </a:cubicBezTo>
                <a:close/>
                <a:moveTo>
                  <a:pt x="318" y="108"/>
                </a:moveTo>
                <a:cubicBezTo>
                  <a:pt x="315" y="108"/>
                  <a:pt x="315" y="108"/>
                  <a:pt x="315" y="108"/>
                </a:cubicBezTo>
                <a:cubicBezTo>
                  <a:pt x="313" y="108"/>
                  <a:pt x="311" y="109"/>
                  <a:pt x="311" y="112"/>
                </a:cubicBezTo>
                <a:cubicBezTo>
                  <a:pt x="311" y="114"/>
                  <a:pt x="313" y="116"/>
                  <a:pt x="315" y="116"/>
                </a:cubicBezTo>
                <a:cubicBezTo>
                  <a:pt x="318" y="116"/>
                  <a:pt x="318" y="116"/>
                  <a:pt x="318" y="116"/>
                </a:cubicBezTo>
                <a:cubicBezTo>
                  <a:pt x="321" y="116"/>
                  <a:pt x="322" y="114"/>
                  <a:pt x="322" y="112"/>
                </a:cubicBezTo>
                <a:cubicBezTo>
                  <a:pt x="322" y="109"/>
                  <a:pt x="321" y="108"/>
                  <a:pt x="318" y="108"/>
                </a:cubicBezTo>
                <a:close/>
                <a:moveTo>
                  <a:pt x="337" y="108"/>
                </a:moveTo>
                <a:cubicBezTo>
                  <a:pt x="334" y="108"/>
                  <a:pt x="334" y="108"/>
                  <a:pt x="334" y="108"/>
                </a:cubicBezTo>
                <a:cubicBezTo>
                  <a:pt x="331" y="108"/>
                  <a:pt x="330" y="109"/>
                  <a:pt x="330" y="112"/>
                </a:cubicBezTo>
                <a:cubicBezTo>
                  <a:pt x="330" y="114"/>
                  <a:pt x="331" y="116"/>
                  <a:pt x="334" y="116"/>
                </a:cubicBezTo>
                <a:cubicBezTo>
                  <a:pt x="337" y="116"/>
                  <a:pt x="337" y="116"/>
                  <a:pt x="337" y="116"/>
                </a:cubicBezTo>
                <a:cubicBezTo>
                  <a:pt x="339" y="116"/>
                  <a:pt x="341" y="114"/>
                  <a:pt x="341" y="112"/>
                </a:cubicBezTo>
                <a:cubicBezTo>
                  <a:pt x="341" y="109"/>
                  <a:pt x="339" y="108"/>
                  <a:pt x="337" y="108"/>
                </a:cubicBezTo>
                <a:close/>
                <a:moveTo>
                  <a:pt x="355" y="108"/>
                </a:moveTo>
                <a:cubicBezTo>
                  <a:pt x="352" y="108"/>
                  <a:pt x="352" y="108"/>
                  <a:pt x="352" y="108"/>
                </a:cubicBezTo>
                <a:cubicBezTo>
                  <a:pt x="350" y="108"/>
                  <a:pt x="348" y="109"/>
                  <a:pt x="348" y="112"/>
                </a:cubicBezTo>
                <a:cubicBezTo>
                  <a:pt x="348" y="114"/>
                  <a:pt x="350" y="116"/>
                  <a:pt x="352" y="116"/>
                </a:cubicBezTo>
                <a:cubicBezTo>
                  <a:pt x="355" y="116"/>
                  <a:pt x="355" y="116"/>
                  <a:pt x="355" y="116"/>
                </a:cubicBezTo>
                <a:cubicBezTo>
                  <a:pt x="357" y="116"/>
                  <a:pt x="359" y="114"/>
                  <a:pt x="359" y="112"/>
                </a:cubicBezTo>
                <a:cubicBezTo>
                  <a:pt x="359" y="109"/>
                  <a:pt x="357" y="108"/>
                  <a:pt x="355" y="108"/>
                </a:cubicBezTo>
                <a:close/>
                <a:moveTo>
                  <a:pt x="373" y="108"/>
                </a:moveTo>
                <a:cubicBezTo>
                  <a:pt x="370" y="108"/>
                  <a:pt x="370" y="108"/>
                  <a:pt x="370" y="108"/>
                </a:cubicBezTo>
                <a:cubicBezTo>
                  <a:pt x="368" y="108"/>
                  <a:pt x="366" y="109"/>
                  <a:pt x="366" y="112"/>
                </a:cubicBezTo>
                <a:cubicBezTo>
                  <a:pt x="366" y="114"/>
                  <a:pt x="368" y="116"/>
                  <a:pt x="370" y="116"/>
                </a:cubicBezTo>
                <a:cubicBezTo>
                  <a:pt x="373" y="116"/>
                  <a:pt x="373" y="116"/>
                  <a:pt x="373" y="116"/>
                </a:cubicBezTo>
                <a:cubicBezTo>
                  <a:pt x="375" y="116"/>
                  <a:pt x="377" y="114"/>
                  <a:pt x="377" y="112"/>
                </a:cubicBezTo>
                <a:cubicBezTo>
                  <a:pt x="377" y="109"/>
                  <a:pt x="375" y="108"/>
                  <a:pt x="373" y="108"/>
                </a:cubicBezTo>
                <a:close/>
                <a:moveTo>
                  <a:pt x="391" y="108"/>
                </a:moveTo>
                <a:cubicBezTo>
                  <a:pt x="388" y="108"/>
                  <a:pt x="388" y="108"/>
                  <a:pt x="388" y="108"/>
                </a:cubicBezTo>
                <a:cubicBezTo>
                  <a:pt x="386" y="108"/>
                  <a:pt x="384" y="109"/>
                  <a:pt x="384" y="112"/>
                </a:cubicBezTo>
                <a:cubicBezTo>
                  <a:pt x="384" y="114"/>
                  <a:pt x="386" y="116"/>
                  <a:pt x="388" y="116"/>
                </a:cubicBezTo>
                <a:cubicBezTo>
                  <a:pt x="391" y="116"/>
                  <a:pt x="391" y="116"/>
                  <a:pt x="391" y="116"/>
                </a:cubicBezTo>
                <a:cubicBezTo>
                  <a:pt x="393" y="116"/>
                  <a:pt x="395" y="114"/>
                  <a:pt x="395" y="112"/>
                </a:cubicBezTo>
                <a:cubicBezTo>
                  <a:pt x="395" y="109"/>
                  <a:pt x="393" y="108"/>
                  <a:pt x="391" y="108"/>
                </a:cubicBez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249" name="Freeform 256">
            <a:extLst>
              <a:ext uri="{FF2B5EF4-FFF2-40B4-BE49-F238E27FC236}">
                <a16:creationId xmlns:a16="http://schemas.microsoft.com/office/drawing/2014/main" id="{F5220B6E-23BB-6E47-BF25-CEED4AF35453}"/>
              </a:ext>
            </a:extLst>
          </p:cNvPr>
          <p:cNvSpPr>
            <a:spLocks/>
          </p:cNvSpPr>
          <p:nvPr/>
        </p:nvSpPr>
        <p:spPr bwMode="auto">
          <a:xfrm>
            <a:off x="8327177" y="5553655"/>
            <a:ext cx="456523" cy="175119"/>
          </a:xfrm>
          <a:custGeom>
            <a:avLst/>
            <a:gdLst>
              <a:gd name="T0" fmla="*/ 432 w 451"/>
              <a:gd name="T1" fmla="*/ 0 h 173"/>
              <a:gd name="T2" fmla="*/ 432 w 451"/>
              <a:gd name="T3" fmla="*/ 154 h 173"/>
              <a:gd name="T4" fmla="*/ 0 w 451"/>
              <a:gd name="T5" fmla="*/ 154 h 173"/>
              <a:gd name="T6" fmla="*/ 0 w 451"/>
              <a:gd name="T7" fmla="*/ 173 h 173"/>
              <a:gd name="T8" fmla="*/ 451 w 451"/>
              <a:gd name="T9" fmla="*/ 173 h 173"/>
              <a:gd name="T10" fmla="*/ 451 w 451"/>
              <a:gd name="T11" fmla="*/ 0 h 173"/>
              <a:gd name="T12" fmla="*/ 432 w 451"/>
              <a:gd name="T13" fmla="*/ 0 h 173"/>
              <a:gd name="T14" fmla="*/ 432 w 451"/>
              <a:gd name="T15" fmla="*/ 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173">
                <a:moveTo>
                  <a:pt x="432" y="0"/>
                </a:moveTo>
                <a:lnTo>
                  <a:pt x="432" y="154"/>
                </a:lnTo>
                <a:lnTo>
                  <a:pt x="0" y="154"/>
                </a:lnTo>
                <a:lnTo>
                  <a:pt x="0" y="173"/>
                </a:lnTo>
                <a:lnTo>
                  <a:pt x="451" y="173"/>
                </a:lnTo>
                <a:lnTo>
                  <a:pt x="451" y="0"/>
                </a:lnTo>
                <a:lnTo>
                  <a:pt x="432" y="0"/>
                </a:lnTo>
                <a:lnTo>
                  <a:pt x="432" y="0"/>
                </a:ln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250" name="Freeform 257">
            <a:extLst>
              <a:ext uri="{FF2B5EF4-FFF2-40B4-BE49-F238E27FC236}">
                <a16:creationId xmlns:a16="http://schemas.microsoft.com/office/drawing/2014/main" id="{72BF8493-66EE-7F4F-9100-63C68E6CF872}"/>
              </a:ext>
            </a:extLst>
          </p:cNvPr>
          <p:cNvSpPr>
            <a:spLocks noEditPoints="1"/>
          </p:cNvSpPr>
          <p:nvPr/>
        </p:nvSpPr>
        <p:spPr bwMode="auto">
          <a:xfrm>
            <a:off x="8317055" y="5303630"/>
            <a:ext cx="1163071" cy="353274"/>
          </a:xfrm>
          <a:custGeom>
            <a:avLst/>
            <a:gdLst>
              <a:gd name="T0" fmla="*/ 484 w 484"/>
              <a:gd name="T1" fmla="*/ 143 h 147"/>
              <a:gd name="T2" fmla="*/ 472 w 484"/>
              <a:gd name="T3" fmla="*/ 143 h 147"/>
              <a:gd name="T4" fmla="*/ 457 w 484"/>
              <a:gd name="T5" fmla="*/ 147 h 147"/>
              <a:gd name="T6" fmla="*/ 453 w 484"/>
              <a:gd name="T7" fmla="*/ 139 h 147"/>
              <a:gd name="T8" fmla="*/ 429 w 484"/>
              <a:gd name="T9" fmla="*/ 147 h 147"/>
              <a:gd name="T10" fmla="*/ 433 w 484"/>
              <a:gd name="T11" fmla="*/ 139 h 147"/>
              <a:gd name="T12" fmla="*/ 429 w 484"/>
              <a:gd name="T13" fmla="*/ 147 h 147"/>
              <a:gd name="T14" fmla="*/ 414 w 484"/>
              <a:gd name="T15" fmla="*/ 143 h 147"/>
              <a:gd name="T16" fmla="*/ 402 w 484"/>
              <a:gd name="T17" fmla="*/ 143 h 147"/>
              <a:gd name="T18" fmla="*/ 386 w 484"/>
              <a:gd name="T19" fmla="*/ 147 h 147"/>
              <a:gd name="T20" fmla="*/ 382 w 484"/>
              <a:gd name="T21" fmla="*/ 139 h 147"/>
              <a:gd name="T22" fmla="*/ 359 w 484"/>
              <a:gd name="T23" fmla="*/ 147 h 147"/>
              <a:gd name="T24" fmla="*/ 363 w 484"/>
              <a:gd name="T25" fmla="*/ 139 h 147"/>
              <a:gd name="T26" fmla="*/ 359 w 484"/>
              <a:gd name="T27" fmla="*/ 147 h 147"/>
              <a:gd name="T28" fmla="*/ 344 w 484"/>
              <a:gd name="T29" fmla="*/ 142 h 147"/>
              <a:gd name="T30" fmla="*/ 344 w 484"/>
              <a:gd name="T31" fmla="*/ 130 h 147"/>
              <a:gd name="T32" fmla="*/ 340 w 484"/>
              <a:gd name="T33" fmla="*/ 115 h 147"/>
              <a:gd name="T34" fmla="*/ 348 w 484"/>
              <a:gd name="T35" fmla="*/ 111 h 147"/>
              <a:gd name="T36" fmla="*/ 340 w 484"/>
              <a:gd name="T37" fmla="*/ 87 h 147"/>
              <a:gd name="T38" fmla="*/ 348 w 484"/>
              <a:gd name="T39" fmla="*/ 91 h 147"/>
              <a:gd name="T40" fmla="*/ 340 w 484"/>
              <a:gd name="T41" fmla="*/ 87 h 147"/>
              <a:gd name="T42" fmla="*/ 344 w 484"/>
              <a:gd name="T43" fmla="*/ 72 h 147"/>
              <a:gd name="T44" fmla="*/ 344 w 484"/>
              <a:gd name="T45" fmla="*/ 60 h 147"/>
              <a:gd name="T46" fmla="*/ 340 w 484"/>
              <a:gd name="T47" fmla="*/ 44 h 147"/>
              <a:gd name="T48" fmla="*/ 348 w 484"/>
              <a:gd name="T49" fmla="*/ 40 h 147"/>
              <a:gd name="T50" fmla="*/ 340 w 484"/>
              <a:gd name="T51" fmla="*/ 17 h 147"/>
              <a:gd name="T52" fmla="*/ 348 w 484"/>
              <a:gd name="T53" fmla="*/ 21 h 147"/>
              <a:gd name="T54" fmla="*/ 340 w 484"/>
              <a:gd name="T55" fmla="*/ 17 h 147"/>
              <a:gd name="T56" fmla="*/ 341 w 484"/>
              <a:gd name="T57" fmla="*/ 4 h 147"/>
              <a:gd name="T58" fmla="*/ 330 w 484"/>
              <a:gd name="T59" fmla="*/ 4 h 147"/>
              <a:gd name="T60" fmla="*/ 314 w 484"/>
              <a:gd name="T61" fmla="*/ 8 h 147"/>
              <a:gd name="T62" fmla="*/ 310 w 484"/>
              <a:gd name="T63" fmla="*/ 0 h 147"/>
              <a:gd name="T64" fmla="*/ 286 w 484"/>
              <a:gd name="T65" fmla="*/ 8 h 147"/>
              <a:gd name="T66" fmla="*/ 290 w 484"/>
              <a:gd name="T67" fmla="*/ 0 h 147"/>
              <a:gd name="T68" fmla="*/ 286 w 484"/>
              <a:gd name="T69" fmla="*/ 8 h 147"/>
              <a:gd name="T70" fmla="*/ 271 w 484"/>
              <a:gd name="T71" fmla="*/ 4 h 147"/>
              <a:gd name="T72" fmla="*/ 259 w 484"/>
              <a:gd name="T73" fmla="*/ 4 h 147"/>
              <a:gd name="T74" fmla="*/ 243 w 484"/>
              <a:gd name="T75" fmla="*/ 8 h 147"/>
              <a:gd name="T76" fmla="*/ 239 w 484"/>
              <a:gd name="T77" fmla="*/ 0 h 147"/>
              <a:gd name="T78" fmla="*/ 216 w 484"/>
              <a:gd name="T79" fmla="*/ 8 h 147"/>
              <a:gd name="T80" fmla="*/ 220 w 484"/>
              <a:gd name="T81" fmla="*/ 0 h 147"/>
              <a:gd name="T82" fmla="*/ 216 w 484"/>
              <a:gd name="T83" fmla="*/ 8 h 147"/>
              <a:gd name="T84" fmla="*/ 200 w 484"/>
              <a:gd name="T85" fmla="*/ 4 h 147"/>
              <a:gd name="T86" fmla="*/ 188 w 484"/>
              <a:gd name="T87" fmla="*/ 4 h 147"/>
              <a:gd name="T88" fmla="*/ 173 w 484"/>
              <a:gd name="T89" fmla="*/ 8 h 147"/>
              <a:gd name="T90" fmla="*/ 169 w 484"/>
              <a:gd name="T91" fmla="*/ 0 h 147"/>
              <a:gd name="T92" fmla="*/ 145 w 484"/>
              <a:gd name="T93" fmla="*/ 8 h 147"/>
              <a:gd name="T94" fmla="*/ 149 w 484"/>
              <a:gd name="T95" fmla="*/ 0 h 147"/>
              <a:gd name="T96" fmla="*/ 145 w 484"/>
              <a:gd name="T97" fmla="*/ 8 h 147"/>
              <a:gd name="T98" fmla="*/ 130 w 484"/>
              <a:gd name="T99" fmla="*/ 4 h 147"/>
              <a:gd name="T100" fmla="*/ 118 w 484"/>
              <a:gd name="T101" fmla="*/ 4 h 147"/>
              <a:gd name="T102" fmla="*/ 102 w 484"/>
              <a:gd name="T103" fmla="*/ 8 h 147"/>
              <a:gd name="T104" fmla="*/ 98 w 484"/>
              <a:gd name="T105" fmla="*/ 0 h 147"/>
              <a:gd name="T106" fmla="*/ 75 w 484"/>
              <a:gd name="T107" fmla="*/ 8 h 147"/>
              <a:gd name="T108" fmla="*/ 79 w 484"/>
              <a:gd name="T109" fmla="*/ 0 h 147"/>
              <a:gd name="T110" fmla="*/ 75 w 484"/>
              <a:gd name="T111" fmla="*/ 8 h 147"/>
              <a:gd name="T112" fmla="*/ 59 w 484"/>
              <a:gd name="T113" fmla="*/ 4 h 147"/>
              <a:gd name="T114" fmla="*/ 47 w 484"/>
              <a:gd name="T115" fmla="*/ 4 h 147"/>
              <a:gd name="T116" fmla="*/ 32 w 484"/>
              <a:gd name="T117" fmla="*/ 8 h 147"/>
              <a:gd name="T118" fmla="*/ 28 w 484"/>
              <a:gd name="T119" fmla="*/ 0 h 147"/>
              <a:gd name="T120" fmla="*/ 4 w 484"/>
              <a:gd name="T121" fmla="*/ 8 h 147"/>
              <a:gd name="T122" fmla="*/ 8 w 484"/>
              <a:gd name="T123" fmla="*/ 0 h 147"/>
              <a:gd name="T124" fmla="*/ 4 w 484"/>
              <a:gd name="T125" fmla="*/ 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4" h="147">
                <a:moveTo>
                  <a:pt x="476" y="147"/>
                </a:moveTo>
                <a:cubicBezTo>
                  <a:pt x="480" y="147"/>
                  <a:pt x="480" y="147"/>
                  <a:pt x="480" y="147"/>
                </a:cubicBezTo>
                <a:cubicBezTo>
                  <a:pt x="482" y="147"/>
                  <a:pt x="484" y="145"/>
                  <a:pt x="484" y="143"/>
                </a:cubicBezTo>
                <a:cubicBezTo>
                  <a:pt x="484" y="141"/>
                  <a:pt x="482" y="139"/>
                  <a:pt x="480" y="139"/>
                </a:cubicBezTo>
                <a:cubicBezTo>
                  <a:pt x="476" y="139"/>
                  <a:pt x="476" y="139"/>
                  <a:pt x="476" y="139"/>
                </a:cubicBezTo>
                <a:cubicBezTo>
                  <a:pt x="474" y="139"/>
                  <a:pt x="472" y="141"/>
                  <a:pt x="472" y="143"/>
                </a:cubicBezTo>
                <a:cubicBezTo>
                  <a:pt x="472" y="145"/>
                  <a:pt x="474" y="147"/>
                  <a:pt x="476" y="147"/>
                </a:cubicBezTo>
                <a:close/>
                <a:moveTo>
                  <a:pt x="453" y="147"/>
                </a:moveTo>
                <a:cubicBezTo>
                  <a:pt x="457" y="147"/>
                  <a:pt x="457" y="147"/>
                  <a:pt x="457" y="147"/>
                </a:cubicBezTo>
                <a:cubicBezTo>
                  <a:pt x="459" y="147"/>
                  <a:pt x="461" y="145"/>
                  <a:pt x="461" y="143"/>
                </a:cubicBezTo>
                <a:cubicBezTo>
                  <a:pt x="461" y="141"/>
                  <a:pt x="459" y="139"/>
                  <a:pt x="457" y="139"/>
                </a:cubicBezTo>
                <a:cubicBezTo>
                  <a:pt x="453" y="139"/>
                  <a:pt x="453" y="139"/>
                  <a:pt x="453" y="139"/>
                </a:cubicBezTo>
                <a:cubicBezTo>
                  <a:pt x="450" y="139"/>
                  <a:pt x="449" y="141"/>
                  <a:pt x="449" y="143"/>
                </a:cubicBezTo>
                <a:cubicBezTo>
                  <a:pt x="449" y="145"/>
                  <a:pt x="450" y="147"/>
                  <a:pt x="453" y="147"/>
                </a:cubicBezTo>
                <a:close/>
                <a:moveTo>
                  <a:pt x="429" y="147"/>
                </a:moveTo>
                <a:cubicBezTo>
                  <a:pt x="433" y="147"/>
                  <a:pt x="433" y="147"/>
                  <a:pt x="433" y="147"/>
                </a:cubicBezTo>
                <a:cubicBezTo>
                  <a:pt x="435" y="147"/>
                  <a:pt x="437" y="145"/>
                  <a:pt x="437" y="143"/>
                </a:cubicBezTo>
                <a:cubicBezTo>
                  <a:pt x="437" y="141"/>
                  <a:pt x="435" y="139"/>
                  <a:pt x="433" y="139"/>
                </a:cubicBezTo>
                <a:cubicBezTo>
                  <a:pt x="429" y="139"/>
                  <a:pt x="429" y="139"/>
                  <a:pt x="429" y="139"/>
                </a:cubicBezTo>
                <a:cubicBezTo>
                  <a:pt x="427" y="139"/>
                  <a:pt x="425" y="141"/>
                  <a:pt x="425" y="143"/>
                </a:cubicBezTo>
                <a:cubicBezTo>
                  <a:pt x="425" y="145"/>
                  <a:pt x="427" y="147"/>
                  <a:pt x="429" y="147"/>
                </a:cubicBezTo>
                <a:close/>
                <a:moveTo>
                  <a:pt x="406" y="147"/>
                </a:moveTo>
                <a:cubicBezTo>
                  <a:pt x="410" y="147"/>
                  <a:pt x="410" y="147"/>
                  <a:pt x="410" y="147"/>
                </a:cubicBezTo>
                <a:cubicBezTo>
                  <a:pt x="412" y="147"/>
                  <a:pt x="414" y="145"/>
                  <a:pt x="414" y="143"/>
                </a:cubicBezTo>
                <a:cubicBezTo>
                  <a:pt x="414" y="141"/>
                  <a:pt x="412" y="139"/>
                  <a:pt x="410" y="139"/>
                </a:cubicBezTo>
                <a:cubicBezTo>
                  <a:pt x="406" y="139"/>
                  <a:pt x="406" y="139"/>
                  <a:pt x="406" y="139"/>
                </a:cubicBezTo>
                <a:cubicBezTo>
                  <a:pt x="403" y="139"/>
                  <a:pt x="402" y="141"/>
                  <a:pt x="402" y="143"/>
                </a:cubicBezTo>
                <a:cubicBezTo>
                  <a:pt x="402" y="145"/>
                  <a:pt x="403" y="147"/>
                  <a:pt x="406" y="147"/>
                </a:cubicBezTo>
                <a:close/>
                <a:moveTo>
                  <a:pt x="382" y="147"/>
                </a:moveTo>
                <a:cubicBezTo>
                  <a:pt x="386" y="147"/>
                  <a:pt x="386" y="147"/>
                  <a:pt x="386" y="147"/>
                </a:cubicBezTo>
                <a:cubicBezTo>
                  <a:pt x="388" y="147"/>
                  <a:pt x="390" y="145"/>
                  <a:pt x="390" y="143"/>
                </a:cubicBezTo>
                <a:cubicBezTo>
                  <a:pt x="390" y="141"/>
                  <a:pt x="388" y="139"/>
                  <a:pt x="386" y="139"/>
                </a:cubicBezTo>
                <a:cubicBezTo>
                  <a:pt x="382" y="139"/>
                  <a:pt x="382" y="139"/>
                  <a:pt x="382" y="139"/>
                </a:cubicBezTo>
                <a:cubicBezTo>
                  <a:pt x="380" y="139"/>
                  <a:pt x="378" y="141"/>
                  <a:pt x="378" y="143"/>
                </a:cubicBezTo>
                <a:cubicBezTo>
                  <a:pt x="378" y="145"/>
                  <a:pt x="380" y="147"/>
                  <a:pt x="382" y="147"/>
                </a:cubicBezTo>
                <a:close/>
                <a:moveTo>
                  <a:pt x="359" y="147"/>
                </a:moveTo>
                <a:cubicBezTo>
                  <a:pt x="363" y="147"/>
                  <a:pt x="363" y="147"/>
                  <a:pt x="363" y="147"/>
                </a:cubicBezTo>
                <a:cubicBezTo>
                  <a:pt x="365" y="147"/>
                  <a:pt x="367" y="145"/>
                  <a:pt x="367" y="143"/>
                </a:cubicBezTo>
                <a:cubicBezTo>
                  <a:pt x="367" y="141"/>
                  <a:pt x="365" y="139"/>
                  <a:pt x="363" y="139"/>
                </a:cubicBezTo>
                <a:cubicBezTo>
                  <a:pt x="359" y="139"/>
                  <a:pt x="359" y="139"/>
                  <a:pt x="359" y="139"/>
                </a:cubicBezTo>
                <a:cubicBezTo>
                  <a:pt x="356" y="139"/>
                  <a:pt x="355" y="141"/>
                  <a:pt x="355" y="143"/>
                </a:cubicBezTo>
                <a:cubicBezTo>
                  <a:pt x="355" y="145"/>
                  <a:pt x="356" y="147"/>
                  <a:pt x="359" y="147"/>
                </a:cubicBezTo>
                <a:close/>
                <a:moveTo>
                  <a:pt x="340" y="134"/>
                </a:moveTo>
                <a:cubicBezTo>
                  <a:pt x="340" y="138"/>
                  <a:pt x="340" y="138"/>
                  <a:pt x="340" y="138"/>
                </a:cubicBezTo>
                <a:cubicBezTo>
                  <a:pt x="340" y="140"/>
                  <a:pt x="342" y="142"/>
                  <a:pt x="344" y="142"/>
                </a:cubicBezTo>
                <a:cubicBezTo>
                  <a:pt x="346" y="142"/>
                  <a:pt x="348" y="140"/>
                  <a:pt x="348" y="138"/>
                </a:cubicBezTo>
                <a:cubicBezTo>
                  <a:pt x="348" y="134"/>
                  <a:pt x="348" y="134"/>
                  <a:pt x="348" y="134"/>
                </a:cubicBezTo>
                <a:cubicBezTo>
                  <a:pt x="348" y="132"/>
                  <a:pt x="346" y="130"/>
                  <a:pt x="344" y="130"/>
                </a:cubicBezTo>
                <a:cubicBezTo>
                  <a:pt x="342" y="130"/>
                  <a:pt x="340" y="132"/>
                  <a:pt x="340" y="134"/>
                </a:cubicBezTo>
                <a:close/>
                <a:moveTo>
                  <a:pt x="340" y="111"/>
                </a:moveTo>
                <a:cubicBezTo>
                  <a:pt x="340" y="115"/>
                  <a:pt x="340" y="115"/>
                  <a:pt x="340" y="115"/>
                </a:cubicBezTo>
                <a:cubicBezTo>
                  <a:pt x="340" y="117"/>
                  <a:pt x="342" y="119"/>
                  <a:pt x="344" y="119"/>
                </a:cubicBezTo>
                <a:cubicBezTo>
                  <a:pt x="346" y="119"/>
                  <a:pt x="348" y="117"/>
                  <a:pt x="348" y="115"/>
                </a:cubicBezTo>
                <a:cubicBezTo>
                  <a:pt x="348" y="111"/>
                  <a:pt x="348" y="111"/>
                  <a:pt x="348" y="111"/>
                </a:cubicBezTo>
                <a:cubicBezTo>
                  <a:pt x="348" y="109"/>
                  <a:pt x="346" y="107"/>
                  <a:pt x="344" y="107"/>
                </a:cubicBezTo>
                <a:cubicBezTo>
                  <a:pt x="342" y="107"/>
                  <a:pt x="340" y="109"/>
                  <a:pt x="340" y="111"/>
                </a:cubicBezTo>
                <a:close/>
                <a:moveTo>
                  <a:pt x="340" y="87"/>
                </a:moveTo>
                <a:cubicBezTo>
                  <a:pt x="340" y="91"/>
                  <a:pt x="340" y="91"/>
                  <a:pt x="340" y="91"/>
                </a:cubicBezTo>
                <a:cubicBezTo>
                  <a:pt x="340" y="93"/>
                  <a:pt x="342" y="95"/>
                  <a:pt x="344" y="95"/>
                </a:cubicBezTo>
                <a:cubicBezTo>
                  <a:pt x="346" y="95"/>
                  <a:pt x="348" y="93"/>
                  <a:pt x="348" y="91"/>
                </a:cubicBezTo>
                <a:cubicBezTo>
                  <a:pt x="348" y="87"/>
                  <a:pt x="348" y="87"/>
                  <a:pt x="348" y="87"/>
                </a:cubicBezTo>
                <a:cubicBezTo>
                  <a:pt x="348" y="85"/>
                  <a:pt x="346" y="83"/>
                  <a:pt x="344" y="83"/>
                </a:cubicBezTo>
                <a:cubicBezTo>
                  <a:pt x="342" y="83"/>
                  <a:pt x="340" y="85"/>
                  <a:pt x="340" y="87"/>
                </a:cubicBezTo>
                <a:close/>
                <a:moveTo>
                  <a:pt x="340" y="64"/>
                </a:moveTo>
                <a:cubicBezTo>
                  <a:pt x="340" y="68"/>
                  <a:pt x="340" y="68"/>
                  <a:pt x="340" y="68"/>
                </a:cubicBezTo>
                <a:cubicBezTo>
                  <a:pt x="340" y="70"/>
                  <a:pt x="342" y="72"/>
                  <a:pt x="344" y="72"/>
                </a:cubicBezTo>
                <a:cubicBezTo>
                  <a:pt x="346" y="72"/>
                  <a:pt x="348" y="70"/>
                  <a:pt x="348" y="68"/>
                </a:cubicBezTo>
                <a:cubicBezTo>
                  <a:pt x="348" y="64"/>
                  <a:pt x="348" y="64"/>
                  <a:pt x="348" y="64"/>
                </a:cubicBezTo>
                <a:cubicBezTo>
                  <a:pt x="348" y="61"/>
                  <a:pt x="346" y="60"/>
                  <a:pt x="344" y="60"/>
                </a:cubicBezTo>
                <a:cubicBezTo>
                  <a:pt x="342" y="60"/>
                  <a:pt x="340" y="61"/>
                  <a:pt x="340" y="64"/>
                </a:cubicBezTo>
                <a:close/>
                <a:moveTo>
                  <a:pt x="340" y="40"/>
                </a:moveTo>
                <a:cubicBezTo>
                  <a:pt x="340" y="44"/>
                  <a:pt x="340" y="44"/>
                  <a:pt x="340" y="44"/>
                </a:cubicBezTo>
                <a:cubicBezTo>
                  <a:pt x="340" y="46"/>
                  <a:pt x="342" y="48"/>
                  <a:pt x="344" y="48"/>
                </a:cubicBezTo>
                <a:cubicBezTo>
                  <a:pt x="346" y="48"/>
                  <a:pt x="348" y="46"/>
                  <a:pt x="348" y="44"/>
                </a:cubicBezTo>
                <a:cubicBezTo>
                  <a:pt x="348" y="40"/>
                  <a:pt x="348" y="40"/>
                  <a:pt x="348" y="40"/>
                </a:cubicBezTo>
                <a:cubicBezTo>
                  <a:pt x="348" y="38"/>
                  <a:pt x="346" y="36"/>
                  <a:pt x="344" y="36"/>
                </a:cubicBezTo>
                <a:cubicBezTo>
                  <a:pt x="342" y="36"/>
                  <a:pt x="340" y="38"/>
                  <a:pt x="340" y="40"/>
                </a:cubicBezTo>
                <a:close/>
                <a:moveTo>
                  <a:pt x="340" y="17"/>
                </a:moveTo>
                <a:cubicBezTo>
                  <a:pt x="340" y="21"/>
                  <a:pt x="340" y="21"/>
                  <a:pt x="340" y="21"/>
                </a:cubicBezTo>
                <a:cubicBezTo>
                  <a:pt x="340" y="23"/>
                  <a:pt x="342" y="25"/>
                  <a:pt x="344" y="25"/>
                </a:cubicBezTo>
                <a:cubicBezTo>
                  <a:pt x="346" y="25"/>
                  <a:pt x="348" y="23"/>
                  <a:pt x="348" y="21"/>
                </a:cubicBezTo>
                <a:cubicBezTo>
                  <a:pt x="348" y="17"/>
                  <a:pt x="348" y="17"/>
                  <a:pt x="348" y="17"/>
                </a:cubicBezTo>
                <a:cubicBezTo>
                  <a:pt x="348" y="14"/>
                  <a:pt x="346" y="13"/>
                  <a:pt x="344" y="13"/>
                </a:cubicBezTo>
                <a:cubicBezTo>
                  <a:pt x="342" y="13"/>
                  <a:pt x="340" y="14"/>
                  <a:pt x="340" y="17"/>
                </a:cubicBezTo>
                <a:close/>
                <a:moveTo>
                  <a:pt x="334" y="8"/>
                </a:moveTo>
                <a:cubicBezTo>
                  <a:pt x="337" y="8"/>
                  <a:pt x="337" y="8"/>
                  <a:pt x="337" y="8"/>
                </a:cubicBezTo>
                <a:cubicBezTo>
                  <a:pt x="340" y="8"/>
                  <a:pt x="341" y="6"/>
                  <a:pt x="341" y="4"/>
                </a:cubicBezTo>
                <a:cubicBezTo>
                  <a:pt x="341" y="2"/>
                  <a:pt x="340" y="0"/>
                  <a:pt x="337" y="0"/>
                </a:cubicBezTo>
                <a:cubicBezTo>
                  <a:pt x="334" y="0"/>
                  <a:pt x="334" y="0"/>
                  <a:pt x="334" y="0"/>
                </a:cubicBezTo>
                <a:cubicBezTo>
                  <a:pt x="331" y="0"/>
                  <a:pt x="330" y="2"/>
                  <a:pt x="330" y="4"/>
                </a:cubicBezTo>
                <a:cubicBezTo>
                  <a:pt x="330" y="6"/>
                  <a:pt x="331" y="8"/>
                  <a:pt x="334" y="8"/>
                </a:cubicBezTo>
                <a:close/>
                <a:moveTo>
                  <a:pt x="310" y="8"/>
                </a:moveTo>
                <a:cubicBezTo>
                  <a:pt x="314" y="8"/>
                  <a:pt x="314" y="8"/>
                  <a:pt x="314" y="8"/>
                </a:cubicBezTo>
                <a:cubicBezTo>
                  <a:pt x="316" y="8"/>
                  <a:pt x="318" y="6"/>
                  <a:pt x="318" y="4"/>
                </a:cubicBezTo>
                <a:cubicBezTo>
                  <a:pt x="318" y="2"/>
                  <a:pt x="316" y="0"/>
                  <a:pt x="314" y="0"/>
                </a:cubicBezTo>
                <a:cubicBezTo>
                  <a:pt x="310" y="0"/>
                  <a:pt x="310" y="0"/>
                  <a:pt x="310" y="0"/>
                </a:cubicBezTo>
                <a:cubicBezTo>
                  <a:pt x="308" y="0"/>
                  <a:pt x="306" y="2"/>
                  <a:pt x="306" y="4"/>
                </a:cubicBezTo>
                <a:cubicBezTo>
                  <a:pt x="306" y="6"/>
                  <a:pt x="308" y="8"/>
                  <a:pt x="310" y="8"/>
                </a:cubicBezTo>
                <a:close/>
                <a:moveTo>
                  <a:pt x="286" y="8"/>
                </a:moveTo>
                <a:cubicBezTo>
                  <a:pt x="290" y="8"/>
                  <a:pt x="290" y="8"/>
                  <a:pt x="290" y="8"/>
                </a:cubicBezTo>
                <a:cubicBezTo>
                  <a:pt x="293" y="8"/>
                  <a:pt x="294" y="6"/>
                  <a:pt x="294" y="4"/>
                </a:cubicBezTo>
                <a:cubicBezTo>
                  <a:pt x="294" y="2"/>
                  <a:pt x="293" y="0"/>
                  <a:pt x="290" y="0"/>
                </a:cubicBezTo>
                <a:cubicBezTo>
                  <a:pt x="286" y="0"/>
                  <a:pt x="286" y="0"/>
                  <a:pt x="286" y="0"/>
                </a:cubicBezTo>
                <a:cubicBezTo>
                  <a:pt x="284" y="0"/>
                  <a:pt x="282" y="2"/>
                  <a:pt x="282" y="4"/>
                </a:cubicBezTo>
                <a:cubicBezTo>
                  <a:pt x="282" y="6"/>
                  <a:pt x="284" y="8"/>
                  <a:pt x="286" y="8"/>
                </a:cubicBezTo>
                <a:close/>
                <a:moveTo>
                  <a:pt x="263" y="8"/>
                </a:moveTo>
                <a:cubicBezTo>
                  <a:pt x="267" y="8"/>
                  <a:pt x="267" y="8"/>
                  <a:pt x="267" y="8"/>
                </a:cubicBezTo>
                <a:cubicBezTo>
                  <a:pt x="269" y="8"/>
                  <a:pt x="271" y="6"/>
                  <a:pt x="271" y="4"/>
                </a:cubicBezTo>
                <a:cubicBezTo>
                  <a:pt x="271" y="2"/>
                  <a:pt x="269" y="0"/>
                  <a:pt x="267" y="0"/>
                </a:cubicBezTo>
                <a:cubicBezTo>
                  <a:pt x="263" y="0"/>
                  <a:pt x="263" y="0"/>
                  <a:pt x="263" y="0"/>
                </a:cubicBezTo>
                <a:cubicBezTo>
                  <a:pt x="261" y="0"/>
                  <a:pt x="259" y="2"/>
                  <a:pt x="259" y="4"/>
                </a:cubicBezTo>
                <a:cubicBezTo>
                  <a:pt x="259" y="6"/>
                  <a:pt x="261" y="8"/>
                  <a:pt x="263" y="8"/>
                </a:cubicBezTo>
                <a:close/>
                <a:moveTo>
                  <a:pt x="239" y="8"/>
                </a:moveTo>
                <a:cubicBezTo>
                  <a:pt x="243" y="8"/>
                  <a:pt x="243" y="8"/>
                  <a:pt x="243" y="8"/>
                </a:cubicBezTo>
                <a:cubicBezTo>
                  <a:pt x="246" y="8"/>
                  <a:pt x="247" y="6"/>
                  <a:pt x="247" y="4"/>
                </a:cubicBezTo>
                <a:cubicBezTo>
                  <a:pt x="247" y="2"/>
                  <a:pt x="246" y="0"/>
                  <a:pt x="243" y="0"/>
                </a:cubicBezTo>
                <a:cubicBezTo>
                  <a:pt x="239" y="0"/>
                  <a:pt x="239" y="0"/>
                  <a:pt x="239" y="0"/>
                </a:cubicBezTo>
                <a:cubicBezTo>
                  <a:pt x="237" y="0"/>
                  <a:pt x="235" y="2"/>
                  <a:pt x="235" y="4"/>
                </a:cubicBezTo>
                <a:cubicBezTo>
                  <a:pt x="235" y="6"/>
                  <a:pt x="237" y="8"/>
                  <a:pt x="239" y="8"/>
                </a:cubicBezTo>
                <a:close/>
                <a:moveTo>
                  <a:pt x="216" y="8"/>
                </a:moveTo>
                <a:cubicBezTo>
                  <a:pt x="220" y="8"/>
                  <a:pt x="220" y="8"/>
                  <a:pt x="220" y="8"/>
                </a:cubicBezTo>
                <a:cubicBezTo>
                  <a:pt x="222" y="8"/>
                  <a:pt x="224" y="6"/>
                  <a:pt x="224" y="4"/>
                </a:cubicBezTo>
                <a:cubicBezTo>
                  <a:pt x="224" y="2"/>
                  <a:pt x="222" y="0"/>
                  <a:pt x="220" y="0"/>
                </a:cubicBezTo>
                <a:cubicBezTo>
                  <a:pt x="216" y="0"/>
                  <a:pt x="216" y="0"/>
                  <a:pt x="216" y="0"/>
                </a:cubicBezTo>
                <a:cubicBezTo>
                  <a:pt x="214" y="0"/>
                  <a:pt x="212" y="2"/>
                  <a:pt x="212" y="4"/>
                </a:cubicBezTo>
                <a:cubicBezTo>
                  <a:pt x="212" y="6"/>
                  <a:pt x="214" y="8"/>
                  <a:pt x="216" y="8"/>
                </a:cubicBezTo>
                <a:close/>
                <a:moveTo>
                  <a:pt x="192" y="8"/>
                </a:moveTo>
                <a:cubicBezTo>
                  <a:pt x="196" y="8"/>
                  <a:pt x="196" y="8"/>
                  <a:pt x="196" y="8"/>
                </a:cubicBezTo>
                <a:cubicBezTo>
                  <a:pt x="199" y="8"/>
                  <a:pt x="200" y="6"/>
                  <a:pt x="200" y="4"/>
                </a:cubicBezTo>
                <a:cubicBezTo>
                  <a:pt x="200" y="2"/>
                  <a:pt x="199" y="0"/>
                  <a:pt x="196" y="0"/>
                </a:cubicBezTo>
                <a:cubicBezTo>
                  <a:pt x="192" y="0"/>
                  <a:pt x="192" y="0"/>
                  <a:pt x="192" y="0"/>
                </a:cubicBezTo>
                <a:cubicBezTo>
                  <a:pt x="190" y="0"/>
                  <a:pt x="188" y="2"/>
                  <a:pt x="188" y="4"/>
                </a:cubicBezTo>
                <a:cubicBezTo>
                  <a:pt x="188" y="6"/>
                  <a:pt x="190" y="8"/>
                  <a:pt x="192" y="8"/>
                </a:cubicBezTo>
                <a:close/>
                <a:moveTo>
                  <a:pt x="169" y="8"/>
                </a:moveTo>
                <a:cubicBezTo>
                  <a:pt x="173" y="8"/>
                  <a:pt x="173" y="8"/>
                  <a:pt x="173" y="8"/>
                </a:cubicBezTo>
                <a:cubicBezTo>
                  <a:pt x="175" y="8"/>
                  <a:pt x="177" y="6"/>
                  <a:pt x="177" y="4"/>
                </a:cubicBezTo>
                <a:cubicBezTo>
                  <a:pt x="177" y="2"/>
                  <a:pt x="175" y="0"/>
                  <a:pt x="173" y="0"/>
                </a:cubicBezTo>
                <a:cubicBezTo>
                  <a:pt x="169" y="0"/>
                  <a:pt x="169" y="0"/>
                  <a:pt x="169" y="0"/>
                </a:cubicBezTo>
                <a:cubicBezTo>
                  <a:pt x="167" y="0"/>
                  <a:pt x="165" y="2"/>
                  <a:pt x="165" y="4"/>
                </a:cubicBezTo>
                <a:cubicBezTo>
                  <a:pt x="165" y="6"/>
                  <a:pt x="167" y="8"/>
                  <a:pt x="169" y="8"/>
                </a:cubicBezTo>
                <a:close/>
                <a:moveTo>
                  <a:pt x="145" y="8"/>
                </a:moveTo>
                <a:cubicBezTo>
                  <a:pt x="149" y="8"/>
                  <a:pt x="149" y="8"/>
                  <a:pt x="149" y="8"/>
                </a:cubicBezTo>
                <a:cubicBezTo>
                  <a:pt x="152" y="8"/>
                  <a:pt x="153" y="6"/>
                  <a:pt x="153" y="4"/>
                </a:cubicBezTo>
                <a:cubicBezTo>
                  <a:pt x="153" y="2"/>
                  <a:pt x="152" y="0"/>
                  <a:pt x="149" y="0"/>
                </a:cubicBezTo>
                <a:cubicBezTo>
                  <a:pt x="145" y="0"/>
                  <a:pt x="145" y="0"/>
                  <a:pt x="145" y="0"/>
                </a:cubicBezTo>
                <a:cubicBezTo>
                  <a:pt x="143" y="0"/>
                  <a:pt x="141" y="2"/>
                  <a:pt x="141" y="4"/>
                </a:cubicBezTo>
                <a:cubicBezTo>
                  <a:pt x="141" y="6"/>
                  <a:pt x="143" y="8"/>
                  <a:pt x="145" y="8"/>
                </a:cubicBezTo>
                <a:close/>
                <a:moveTo>
                  <a:pt x="122" y="8"/>
                </a:moveTo>
                <a:cubicBezTo>
                  <a:pt x="126" y="8"/>
                  <a:pt x="126" y="8"/>
                  <a:pt x="126" y="8"/>
                </a:cubicBezTo>
                <a:cubicBezTo>
                  <a:pt x="128" y="8"/>
                  <a:pt x="130" y="6"/>
                  <a:pt x="130" y="4"/>
                </a:cubicBezTo>
                <a:cubicBezTo>
                  <a:pt x="130" y="2"/>
                  <a:pt x="128" y="0"/>
                  <a:pt x="126" y="0"/>
                </a:cubicBezTo>
                <a:cubicBezTo>
                  <a:pt x="122" y="0"/>
                  <a:pt x="122" y="0"/>
                  <a:pt x="122" y="0"/>
                </a:cubicBezTo>
                <a:cubicBezTo>
                  <a:pt x="120" y="0"/>
                  <a:pt x="118" y="2"/>
                  <a:pt x="118" y="4"/>
                </a:cubicBezTo>
                <a:cubicBezTo>
                  <a:pt x="118" y="6"/>
                  <a:pt x="120" y="8"/>
                  <a:pt x="122" y="8"/>
                </a:cubicBezTo>
                <a:close/>
                <a:moveTo>
                  <a:pt x="98" y="8"/>
                </a:moveTo>
                <a:cubicBezTo>
                  <a:pt x="102" y="8"/>
                  <a:pt x="102" y="8"/>
                  <a:pt x="102" y="8"/>
                </a:cubicBezTo>
                <a:cubicBezTo>
                  <a:pt x="105" y="8"/>
                  <a:pt x="106" y="6"/>
                  <a:pt x="106" y="4"/>
                </a:cubicBezTo>
                <a:cubicBezTo>
                  <a:pt x="106" y="2"/>
                  <a:pt x="105" y="0"/>
                  <a:pt x="102" y="0"/>
                </a:cubicBezTo>
                <a:cubicBezTo>
                  <a:pt x="98" y="0"/>
                  <a:pt x="98" y="0"/>
                  <a:pt x="98" y="0"/>
                </a:cubicBezTo>
                <a:cubicBezTo>
                  <a:pt x="96" y="0"/>
                  <a:pt x="94" y="2"/>
                  <a:pt x="94" y="4"/>
                </a:cubicBezTo>
                <a:cubicBezTo>
                  <a:pt x="94" y="6"/>
                  <a:pt x="96" y="8"/>
                  <a:pt x="98" y="8"/>
                </a:cubicBezTo>
                <a:close/>
                <a:moveTo>
                  <a:pt x="75" y="8"/>
                </a:moveTo>
                <a:cubicBezTo>
                  <a:pt x="79" y="8"/>
                  <a:pt x="79" y="8"/>
                  <a:pt x="79" y="8"/>
                </a:cubicBezTo>
                <a:cubicBezTo>
                  <a:pt x="81" y="8"/>
                  <a:pt x="83" y="6"/>
                  <a:pt x="83" y="4"/>
                </a:cubicBezTo>
                <a:cubicBezTo>
                  <a:pt x="83" y="2"/>
                  <a:pt x="81" y="0"/>
                  <a:pt x="79" y="0"/>
                </a:cubicBezTo>
                <a:cubicBezTo>
                  <a:pt x="75" y="0"/>
                  <a:pt x="75" y="0"/>
                  <a:pt x="75" y="0"/>
                </a:cubicBezTo>
                <a:cubicBezTo>
                  <a:pt x="73" y="0"/>
                  <a:pt x="71" y="2"/>
                  <a:pt x="71" y="4"/>
                </a:cubicBezTo>
                <a:cubicBezTo>
                  <a:pt x="71" y="6"/>
                  <a:pt x="73" y="8"/>
                  <a:pt x="75" y="8"/>
                </a:cubicBezTo>
                <a:close/>
                <a:moveTo>
                  <a:pt x="51" y="8"/>
                </a:moveTo>
                <a:cubicBezTo>
                  <a:pt x="55" y="8"/>
                  <a:pt x="55" y="8"/>
                  <a:pt x="55" y="8"/>
                </a:cubicBezTo>
                <a:cubicBezTo>
                  <a:pt x="58" y="8"/>
                  <a:pt x="59" y="6"/>
                  <a:pt x="59" y="4"/>
                </a:cubicBezTo>
                <a:cubicBezTo>
                  <a:pt x="59" y="2"/>
                  <a:pt x="58" y="0"/>
                  <a:pt x="55" y="0"/>
                </a:cubicBezTo>
                <a:cubicBezTo>
                  <a:pt x="51" y="0"/>
                  <a:pt x="51" y="0"/>
                  <a:pt x="51" y="0"/>
                </a:cubicBezTo>
                <a:cubicBezTo>
                  <a:pt x="49" y="0"/>
                  <a:pt x="47" y="2"/>
                  <a:pt x="47" y="4"/>
                </a:cubicBezTo>
                <a:cubicBezTo>
                  <a:pt x="47" y="6"/>
                  <a:pt x="49" y="8"/>
                  <a:pt x="51" y="8"/>
                </a:cubicBezTo>
                <a:close/>
                <a:moveTo>
                  <a:pt x="28" y="8"/>
                </a:moveTo>
                <a:cubicBezTo>
                  <a:pt x="32" y="8"/>
                  <a:pt x="32" y="8"/>
                  <a:pt x="32" y="8"/>
                </a:cubicBezTo>
                <a:cubicBezTo>
                  <a:pt x="34" y="8"/>
                  <a:pt x="36" y="6"/>
                  <a:pt x="36" y="4"/>
                </a:cubicBezTo>
                <a:cubicBezTo>
                  <a:pt x="36" y="2"/>
                  <a:pt x="34" y="0"/>
                  <a:pt x="32" y="0"/>
                </a:cubicBezTo>
                <a:cubicBezTo>
                  <a:pt x="28" y="0"/>
                  <a:pt x="28" y="0"/>
                  <a:pt x="28" y="0"/>
                </a:cubicBezTo>
                <a:cubicBezTo>
                  <a:pt x="26" y="0"/>
                  <a:pt x="24" y="2"/>
                  <a:pt x="24" y="4"/>
                </a:cubicBezTo>
                <a:cubicBezTo>
                  <a:pt x="24" y="6"/>
                  <a:pt x="26" y="8"/>
                  <a:pt x="28" y="8"/>
                </a:cubicBezTo>
                <a:close/>
                <a:moveTo>
                  <a:pt x="4" y="8"/>
                </a:moveTo>
                <a:cubicBezTo>
                  <a:pt x="8" y="8"/>
                  <a:pt x="8" y="8"/>
                  <a:pt x="8" y="8"/>
                </a:cubicBezTo>
                <a:cubicBezTo>
                  <a:pt x="11" y="8"/>
                  <a:pt x="12" y="6"/>
                  <a:pt x="12" y="4"/>
                </a:cubicBezTo>
                <a:cubicBezTo>
                  <a:pt x="12" y="2"/>
                  <a:pt x="11" y="0"/>
                  <a:pt x="8" y="0"/>
                </a:cubicBezTo>
                <a:cubicBezTo>
                  <a:pt x="4" y="0"/>
                  <a:pt x="4" y="0"/>
                  <a:pt x="4" y="0"/>
                </a:cubicBezTo>
                <a:cubicBezTo>
                  <a:pt x="2" y="0"/>
                  <a:pt x="0" y="2"/>
                  <a:pt x="0" y="4"/>
                </a:cubicBezTo>
                <a:cubicBezTo>
                  <a:pt x="0" y="6"/>
                  <a:pt x="2" y="8"/>
                  <a:pt x="4" y="8"/>
                </a:cubicBez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273" name="Freeform 280">
            <a:extLst>
              <a:ext uri="{FF2B5EF4-FFF2-40B4-BE49-F238E27FC236}">
                <a16:creationId xmlns:a16="http://schemas.microsoft.com/office/drawing/2014/main" id="{739D086B-FDF7-F145-90B6-C7986235AFB1}"/>
              </a:ext>
            </a:extLst>
          </p:cNvPr>
          <p:cNvSpPr>
            <a:spLocks/>
          </p:cNvSpPr>
          <p:nvPr/>
        </p:nvSpPr>
        <p:spPr bwMode="auto">
          <a:xfrm>
            <a:off x="7219780" y="4234698"/>
            <a:ext cx="477780" cy="477780"/>
          </a:xfrm>
          <a:custGeom>
            <a:avLst/>
            <a:gdLst>
              <a:gd name="T0" fmla="*/ 195 w 199"/>
              <a:gd name="T1" fmla="*/ 99 h 199"/>
              <a:gd name="T2" fmla="*/ 191 w 199"/>
              <a:gd name="T3" fmla="*/ 99 h 199"/>
              <a:gd name="T4" fmla="*/ 164 w 199"/>
              <a:gd name="T5" fmla="*/ 164 h 199"/>
              <a:gd name="T6" fmla="*/ 100 w 199"/>
              <a:gd name="T7" fmla="*/ 191 h 199"/>
              <a:gd name="T8" fmla="*/ 35 w 199"/>
              <a:gd name="T9" fmla="*/ 164 h 199"/>
              <a:gd name="T10" fmla="*/ 8 w 199"/>
              <a:gd name="T11" fmla="*/ 99 h 199"/>
              <a:gd name="T12" fmla="*/ 35 w 199"/>
              <a:gd name="T13" fmla="*/ 35 h 199"/>
              <a:gd name="T14" fmla="*/ 100 w 199"/>
              <a:gd name="T15" fmla="*/ 8 h 199"/>
              <a:gd name="T16" fmla="*/ 164 w 199"/>
              <a:gd name="T17" fmla="*/ 35 h 199"/>
              <a:gd name="T18" fmla="*/ 191 w 199"/>
              <a:gd name="T19" fmla="*/ 99 h 199"/>
              <a:gd name="T20" fmla="*/ 195 w 199"/>
              <a:gd name="T21" fmla="*/ 99 h 199"/>
              <a:gd name="T22" fmla="*/ 199 w 199"/>
              <a:gd name="T23" fmla="*/ 99 h 199"/>
              <a:gd name="T24" fmla="*/ 100 w 199"/>
              <a:gd name="T25" fmla="*/ 0 h 199"/>
              <a:gd name="T26" fmla="*/ 0 w 199"/>
              <a:gd name="T27" fmla="*/ 99 h 199"/>
              <a:gd name="T28" fmla="*/ 100 w 199"/>
              <a:gd name="T29" fmla="*/ 199 h 199"/>
              <a:gd name="T30" fmla="*/ 199 w 199"/>
              <a:gd name="T31" fmla="*/ 99 h 199"/>
              <a:gd name="T32" fmla="*/ 195 w 199"/>
              <a:gd name="T33" fmla="*/ 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9" h="199">
                <a:moveTo>
                  <a:pt x="195" y="99"/>
                </a:moveTo>
                <a:cubicBezTo>
                  <a:pt x="191" y="99"/>
                  <a:pt x="191" y="99"/>
                  <a:pt x="191" y="99"/>
                </a:cubicBezTo>
                <a:cubicBezTo>
                  <a:pt x="191" y="125"/>
                  <a:pt x="180" y="147"/>
                  <a:pt x="164" y="164"/>
                </a:cubicBezTo>
                <a:cubicBezTo>
                  <a:pt x="147" y="180"/>
                  <a:pt x="125" y="191"/>
                  <a:pt x="100" y="191"/>
                </a:cubicBezTo>
                <a:cubicBezTo>
                  <a:pt x="74" y="191"/>
                  <a:pt x="52" y="180"/>
                  <a:pt x="35" y="164"/>
                </a:cubicBezTo>
                <a:cubicBezTo>
                  <a:pt x="19" y="147"/>
                  <a:pt x="8" y="125"/>
                  <a:pt x="8" y="99"/>
                </a:cubicBezTo>
                <a:cubicBezTo>
                  <a:pt x="8" y="74"/>
                  <a:pt x="19" y="52"/>
                  <a:pt x="35" y="35"/>
                </a:cubicBezTo>
                <a:cubicBezTo>
                  <a:pt x="52" y="19"/>
                  <a:pt x="74" y="8"/>
                  <a:pt x="100" y="8"/>
                </a:cubicBezTo>
                <a:cubicBezTo>
                  <a:pt x="125" y="8"/>
                  <a:pt x="147" y="19"/>
                  <a:pt x="164" y="35"/>
                </a:cubicBezTo>
                <a:cubicBezTo>
                  <a:pt x="180" y="52"/>
                  <a:pt x="191" y="74"/>
                  <a:pt x="191" y="99"/>
                </a:cubicBezTo>
                <a:cubicBezTo>
                  <a:pt x="195" y="99"/>
                  <a:pt x="195" y="99"/>
                  <a:pt x="195" y="99"/>
                </a:cubicBezTo>
                <a:cubicBezTo>
                  <a:pt x="199" y="99"/>
                  <a:pt x="199" y="99"/>
                  <a:pt x="199" y="99"/>
                </a:cubicBezTo>
                <a:cubicBezTo>
                  <a:pt x="199" y="45"/>
                  <a:pt x="154" y="0"/>
                  <a:pt x="100" y="0"/>
                </a:cubicBezTo>
                <a:cubicBezTo>
                  <a:pt x="45" y="0"/>
                  <a:pt x="0" y="45"/>
                  <a:pt x="0" y="99"/>
                </a:cubicBezTo>
                <a:cubicBezTo>
                  <a:pt x="0" y="154"/>
                  <a:pt x="45" y="199"/>
                  <a:pt x="100" y="199"/>
                </a:cubicBezTo>
                <a:cubicBezTo>
                  <a:pt x="154" y="199"/>
                  <a:pt x="199" y="154"/>
                  <a:pt x="199" y="99"/>
                </a:cubicBezTo>
                <a:lnTo>
                  <a:pt x="195" y="99"/>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274" name="Freeform 281">
            <a:extLst>
              <a:ext uri="{FF2B5EF4-FFF2-40B4-BE49-F238E27FC236}">
                <a16:creationId xmlns:a16="http://schemas.microsoft.com/office/drawing/2014/main" id="{A61DFE70-C5C3-7E43-9528-F904A9934156}"/>
              </a:ext>
            </a:extLst>
          </p:cNvPr>
          <p:cNvSpPr>
            <a:spLocks/>
          </p:cNvSpPr>
          <p:nvPr/>
        </p:nvSpPr>
        <p:spPr bwMode="auto">
          <a:xfrm>
            <a:off x="7275454" y="4289360"/>
            <a:ext cx="367445" cy="368458"/>
          </a:xfrm>
          <a:custGeom>
            <a:avLst/>
            <a:gdLst>
              <a:gd name="T0" fmla="*/ 149 w 153"/>
              <a:gd name="T1" fmla="*/ 76 h 153"/>
              <a:gd name="T2" fmla="*/ 145 w 153"/>
              <a:gd name="T3" fmla="*/ 76 h 153"/>
              <a:gd name="T4" fmla="*/ 125 w 153"/>
              <a:gd name="T5" fmla="*/ 125 h 153"/>
              <a:gd name="T6" fmla="*/ 77 w 153"/>
              <a:gd name="T7" fmla="*/ 145 h 153"/>
              <a:gd name="T8" fmla="*/ 28 w 153"/>
              <a:gd name="T9" fmla="*/ 125 h 153"/>
              <a:gd name="T10" fmla="*/ 8 w 153"/>
              <a:gd name="T11" fmla="*/ 76 h 153"/>
              <a:gd name="T12" fmla="*/ 28 w 153"/>
              <a:gd name="T13" fmla="*/ 28 h 153"/>
              <a:gd name="T14" fmla="*/ 77 w 153"/>
              <a:gd name="T15" fmla="*/ 8 h 153"/>
              <a:gd name="T16" fmla="*/ 125 w 153"/>
              <a:gd name="T17" fmla="*/ 28 h 153"/>
              <a:gd name="T18" fmla="*/ 145 w 153"/>
              <a:gd name="T19" fmla="*/ 76 h 153"/>
              <a:gd name="T20" fmla="*/ 149 w 153"/>
              <a:gd name="T21" fmla="*/ 76 h 153"/>
              <a:gd name="T22" fmla="*/ 153 w 153"/>
              <a:gd name="T23" fmla="*/ 76 h 153"/>
              <a:gd name="T24" fmla="*/ 77 w 153"/>
              <a:gd name="T25" fmla="*/ 0 h 153"/>
              <a:gd name="T26" fmla="*/ 0 w 153"/>
              <a:gd name="T27" fmla="*/ 76 h 153"/>
              <a:gd name="T28" fmla="*/ 77 w 153"/>
              <a:gd name="T29" fmla="*/ 153 h 153"/>
              <a:gd name="T30" fmla="*/ 153 w 153"/>
              <a:gd name="T31" fmla="*/ 76 h 153"/>
              <a:gd name="T32" fmla="*/ 149 w 153"/>
              <a:gd name="T33"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153">
                <a:moveTo>
                  <a:pt x="149" y="76"/>
                </a:moveTo>
                <a:cubicBezTo>
                  <a:pt x="145" y="76"/>
                  <a:pt x="145" y="76"/>
                  <a:pt x="145" y="76"/>
                </a:cubicBezTo>
                <a:cubicBezTo>
                  <a:pt x="145" y="95"/>
                  <a:pt x="137" y="113"/>
                  <a:pt x="125" y="125"/>
                </a:cubicBezTo>
                <a:cubicBezTo>
                  <a:pt x="113" y="137"/>
                  <a:pt x="95" y="145"/>
                  <a:pt x="77" y="145"/>
                </a:cubicBezTo>
                <a:cubicBezTo>
                  <a:pt x="58" y="145"/>
                  <a:pt x="40" y="137"/>
                  <a:pt x="28" y="125"/>
                </a:cubicBezTo>
                <a:cubicBezTo>
                  <a:pt x="16" y="113"/>
                  <a:pt x="8" y="95"/>
                  <a:pt x="8" y="76"/>
                </a:cubicBezTo>
                <a:cubicBezTo>
                  <a:pt x="8" y="58"/>
                  <a:pt x="16" y="40"/>
                  <a:pt x="28" y="28"/>
                </a:cubicBezTo>
                <a:cubicBezTo>
                  <a:pt x="40" y="16"/>
                  <a:pt x="58" y="8"/>
                  <a:pt x="77" y="8"/>
                </a:cubicBezTo>
                <a:cubicBezTo>
                  <a:pt x="95" y="8"/>
                  <a:pt x="113" y="16"/>
                  <a:pt x="125" y="28"/>
                </a:cubicBezTo>
                <a:cubicBezTo>
                  <a:pt x="137" y="40"/>
                  <a:pt x="145" y="58"/>
                  <a:pt x="145" y="76"/>
                </a:cubicBezTo>
                <a:cubicBezTo>
                  <a:pt x="149" y="76"/>
                  <a:pt x="149" y="76"/>
                  <a:pt x="149" y="76"/>
                </a:cubicBezTo>
                <a:cubicBezTo>
                  <a:pt x="153" y="76"/>
                  <a:pt x="153" y="76"/>
                  <a:pt x="153" y="76"/>
                </a:cubicBezTo>
                <a:cubicBezTo>
                  <a:pt x="153" y="34"/>
                  <a:pt x="119" y="0"/>
                  <a:pt x="77" y="0"/>
                </a:cubicBezTo>
                <a:cubicBezTo>
                  <a:pt x="34" y="0"/>
                  <a:pt x="0" y="34"/>
                  <a:pt x="0" y="76"/>
                </a:cubicBezTo>
                <a:cubicBezTo>
                  <a:pt x="0" y="119"/>
                  <a:pt x="34" y="153"/>
                  <a:pt x="77" y="153"/>
                </a:cubicBezTo>
                <a:cubicBezTo>
                  <a:pt x="119" y="153"/>
                  <a:pt x="153" y="119"/>
                  <a:pt x="153" y="76"/>
                </a:cubicBezTo>
                <a:lnTo>
                  <a:pt x="149" y="76"/>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275" name="Freeform 282">
            <a:extLst>
              <a:ext uri="{FF2B5EF4-FFF2-40B4-BE49-F238E27FC236}">
                <a16:creationId xmlns:a16="http://schemas.microsoft.com/office/drawing/2014/main" id="{8120277A-2BEB-CB40-A1DE-DDFFCD72FA00}"/>
              </a:ext>
            </a:extLst>
          </p:cNvPr>
          <p:cNvSpPr>
            <a:spLocks/>
          </p:cNvSpPr>
          <p:nvPr/>
        </p:nvSpPr>
        <p:spPr bwMode="auto">
          <a:xfrm>
            <a:off x="7394899" y="4355156"/>
            <a:ext cx="125519" cy="133616"/>
          </a:xfrm>
          <a:custGeom>
            <a:avLst/>
            <a:gdLst>
              <a:gd name="T0" fmla="*/ 52 w 52"/>
              <a:gd name="T1" fmla="*/ 24 h 56"/>
              <a:gd name="T2" fmla="*/ 52 w 52"/>
              <a:gd name="T3" fmla="*/ 19 h 56"/>
              <a:gd name="T4" fmla="*/ 32 w 52"/>
              <a:gd name="T5" fmla="*/ 0 h 56"/>
              <a:gd name="T6" fmla="*/ 20 w 52"/>
              <a:gd name="T7" fmla="*/ 0 h 56"/>
              <a:gd name="T8" fmla="*/ 0 w 52"/>
              <a:gd name="T9" fmla="*/ 19 h 56"/>
              <a:gd name="T10" fmla="*/ 0 w 52"/>
              <a:gd name="T11" fmla="*/ 30 h 56"/>
              <a:gd name="T12" fmla="*/ 4 w 52"/>
              <a:gd name="T13" fmla="*/ 39 h 56"/>
              <a:gd name="T14" fmla="*/ 11 w 52"/>
              <a:gd name="T15" fmla="*/ 45 h 56"/>
              <a:gd name="T16" fmla="*/ 12 w 52"/>
              <a:gd name="T17" fmla="*/ 46 h 56"/>
              <a:gd name="T18" fmla="*/ 35 w 52"/>
              <a:gd name="T19" fmla="*/ 55 h 56"/>
              <a:gd name="T20" fmla="*/ 40 w 52"/>
              <a:gd name="T21" fmla="*/ 52 h 56"/>
              <a:gd name="T22" fmla="*/ 38 w 52"/>
              <a:gd name="T23" fmla="*/ 47 h 56"/>
              <a:gd name="T24" fmla="*/ 15 w 52"/>
              <a:gd name="T25" fmla="*/ 38 h 56"/>
              <a:gd name="T26" fmla="*/ 13 w 52"/>
              <a:gd name="T27" fmla="*/ 42 h 56"/>
              <a:gd name="T28" fmla="*/ 15 w 52"/>
              <a:gd name="T29" fmla="*/ 39 h 56"/>
              <a:gd name="T30" fmla="*/ 10 w 52"/>
              <a:gd name="T31" fmla="*/ 34 h 56"/>
              <a:gd name="T32" fmla="*/ 8 w 52"/>
              <a:gd name="T33" fmla="*/ 30 h 56"/>
              <a:gd name="T34" fmla="*/ 8 w 52"/>
              <a:gd name="T35" fmla="*/ 19 h 56"/>
              <a:gd name="T36" fmla="*/ 20 w 52"/>
              <a:gd name="T37" fmla="*/ 8 h 56"/>
              <a:gd name="T38" fmla="*/ 32 w 52"/>
              <a:gd name="T39" fmla="*/ 8 h 56"/>
              <a:gd name="T40" fmla="*/ 44 w 52"/>
              <a:gd name="T41" fmla="*/ 19 h 56"/>
              <a:gd name="T42" fmla="*/ 44 w 52"/>
              <a:gd name="T43" fmla="*/ 24 h 56"/>
              <a:gd name="T44" fmla="*/ 48 w 52"/>
              <a:gd name="T45" fmla="*/ 28 h 56"/>
              <a:gd name="T46" fmla="*/ 52 w 52"/>
              <a:gd name="T4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6">
                <a:moveTo>
                  <a:pt x="52" y="24"/>
                </a:moveTo>
                <a:cubicBezTo>
                  <a:pt x="52" y="19"/>
                  <a:pt x="52" y="19"/>
                  <a:pt x="52" y="19"/>
                </a:cubicBezTo>
                <a:cubicBezTo>
                  <a:pt x="52" y="9"/>
                  <a:pt x="43" y="0"/>
                  <a:pt x="32" y="0"/>
                </a:cubicBezTo>
                <a:cubicBezTo>
                  <a:pt x="20" y="0"/>
                  <a:pt x="20" y="0"/>
                  <a:pt x="20" y="0"/>
                </a:cubicBezTo>
                <a:cubicBezTo>
                  <a:pt x="9" y="0"/>
                  <a:pt x="0" y="9"/>
                  <a:pt x="0" y="19"/>
                </a:cubicBezTo>
                <a:cubicBezTo>
                  <a:pt x="0" y="30"/>
                  <a:pt x="0" y="30"/>
                  <a:pt x="0" y="30"/>
                </a:cubicBezTo>
                <a:cubicBezTo>
                  <a:pt x="0" y="33"/>
                  <a:pt x="2" y="37"/>
                  <a:pt x="4" y="39"/>
                </a:cubicBezTo>
                <a:cubicBezTo>
                  <a:pt x="6" y="42"/>
                  <a:pt x="8" y="44"/>
                  <a:pt x="11" y="45"/>
                </a:cubicBezTo>
                <a:cubicBezTo>
                  <a:pt x="12" y="46"/>
                  <a:pt x="12" y="46"/>
                  <a:pt x="12" y="46"/>
                </a:cubicBezTo>
                <a:cubicBezTo>
                  <a:pt x="35" y="55"/>
                  <a:pt x="35" y="55"/>
                  <a:pt x="35" y="55"/>
                </a:cubicBezTo>
                <a:cubicBezTo>
                  <a:pt x="37" y="56"/>
                  <a:pt x="40" y="55"/>
                  <a:pt x="40" y="52"/>
                </a:cubicBezTo>
                <a:cubicBezTo>
                  <a:pt x="41" y="50"/>
                  <a:pt x="40" y="48"/>
                  <a:pt x="38" y="47"/>
                </a:cubicBezTo>
                <a:cubicBezTo>
                  <a:pt x="15" y="38"/>
                  <a:pt x="15" y="38"/>
                  <a:pt x="15" y="38"/>
                </a:cubicBezTo>
                <a:cubicBezTo>
                  <a:pt x="13" y="42"/>
                  <a:pt x="13" y="42"/>
                  <a:pt x="13" y="42"/>
                </a:cubicBezTo>
                <a:cubicBezTo>
                  <a:pt x="15" y="39"/>
                  <a:pt x="15" y="39"/>
                  <a:pt x="15" y="39"/>
                </a:cubicBezTo>
                <a:cubicBezTo>
                  <a:pt x="13" y="37"/>
                  <a:pt x="11" y="36"/>
                  <a:pt x="10" y="34"/>
                </a:cubicBezTo>
                <a:cubicBezTo>
                  <a:pt x="9" y="33"/>
                  <a:pt x="8" y="31"/>
                  <a:pt x="8" y="30"/>
                </a:cubicBezTo>
                <a:cubicBezTo>
                  <a:pt x="8" y="19"/>
                  <a:pt x="8" y="19"/>
                  <a:pt x="8" y="19"/>
                </a:cubicBezTo>
                <a:cubicBezTo>
                  <a:pt x="8" y="13"/>
                  <a:pt x="14" y="8"/>
                  <a:pt x="20" y="8"/>
                </a:cubicBezTo>
                <a:cubicBezTo>
                  <a:pt x="32" y="8"/>
                  <a:pt x="32" y="8"/>
                  <a:pt x="32" y="8"/>
                </a:cubicBezTo>
                <a:cubicBezTo>
                  <a:pt x="39" y="8"/>
                  <a:pt x="44" y="13"/>
                  <a:pt x="44" y="19"/>
                </a:cubicBezTo>
                <a:cubicBezTo>
                  <a:pt x="44" y="24"/>
                  <a:pt x="44" y="24"/>
                  <a:pt x="44" y="24"/>
                </a:cubicBezTo>
                <a:cubicBezTo>
                  <a:pt x="44" y="27"/>
                  <a:pt x="46" y="28"/>
                  <a:pt x="48" y="28"/>
                </a:cubicBezTo>
                <a:cubicBezTo>
                  <a:pt x="50" y="28"/>
                  <a:pt x="52" y="27"/>
                  <a:pt x="52" y="24"/>
                </a:cubicBez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276" name="Freeform 283">
            <a:extLst>
              <a:ext uri="{FF2B5EF4-FFF2-40B4-BE49-F238E27FC236}">
                <a16:creationId xmlns:a16="http://schemas.microsoft.com/office/drawing/2014/main" id="{08F4600C-AB1D-8E4C-9E3A-B7B445C78CD0}"/>
              </a:ext>
            </a:extLst>
          </p:cNvPr>
          <p:cNvSpPr>
            <a:spLocks/>
          </p:cNvSpPr>
          <p:nvPr/>
        </p:nvSpPr>
        <p:spPr bwMode="auto">
          <a:xfrm>
            <a:off x="7394899" y="4448282"/>
            <a:ext cx="125519" cy="132604"/>
          </a:xfrm>
          <a:custGeom>
            <a:avLst/>
            <a:gdLst>
              <a:gd name="T0" fmla="*/ 0 w 52"/>
              <a:gd name="T1" fmla="*/ 31 h 55"/>
              <a:gd name="T2" fmla="*/ 0 w 52"/>
              <a:gd name="T3" fmla="*/ 36 h 55"/>
              <a:gd name="T4" fmla="*/ 20 w 52"/>
              <a:gd name="T5" fmla="*/ 55 h 55"/>
              <a:gd name="T6" fmla="*/ 32 w 52"/>
              <a:gd name="T7" fmla="*/ 55 h 55"/>
              <a:gd name="T8" fmla="*/ 52 w 52"/>
              <a:gd name="T9" fmla="*/ 36 h 55"/>
              <a:gd name="T10" fmla="*/ 52 w 52"/>
              <a:gd name="T11" fmla="*/ 25 h 55"/>
              <a:gd name="T12" fmla="*/ 48 w 52"/>
              <a:gd name="T13" fmla="*/ 16 h 55"/>
              <a:gd name="T14" fmla="*/ 41 w 52"/>
              <a:gd name="T15" fmla="*/ 9 h 55"/>
              <a:gd name="T16" fmla="*/ 40 w 52"/>
              <a:gd name="T17" fmla="*/ 9 h 55"/>
              <a:gd name="T18" fmla="*/ 18 w 52"/>
              <a:gd name="T19" fmla="*/ 0 h 55"/>
              <a:gd name="T20" fmla="*/ 12 w 52"/>
              <a:gd name="T21" fmla="*/ 3 h 55"/>
              <a:gd name="T22" fmla="*/ 15 w 52"/>
              <a:gd name="T23" fmla="*/ 8 h 55"/>
              <a:gd name="T24" fmla="*/ 37 w 52"/>
              <a:gd name="T25" fmla="*/ 17 h 55"/>
              <a:gd name="T26" fmla="*/ 39 w 52"/>
              <a:gd name="T27" fmla="*/ 13 h 55"/>
              <a:gd name="T28" fmla="*/ 37 w 52"/>
              <a:gd name="T29" fmla="*/ 16 h 55"/>
              <a:gd name="T30" fmla="*/ 42 w 52"/>
              <a:gd name="T31" fmla="*/ 21 h 55"/>
              <a:gd name="T32" fmla="*/ 44 w 52"/>
              <a:gd name="T33" fmla="*/ 25 h 55"/>
              <a:gd name="T34" fmla="*/ 44 w 52"/>
              <a:gd name="T35" fmla="*/ 36 h 55"/>
              <a:gd name="T36" fmla="*/ 32 w 52"/>
              <a:gd name="T37" fmla="*/ 47 h 55"/>
              <a:gd name="T38" fmla="*/ 20 w 52"/>
              <a:gd name="T39" fmla="*/ 47 h 55"/>
              <a:gd name="T40" fmla="*/ 8 w 52"/>
              <a:gd name="T41" fmla="*/ 36 h 55"/>
              <a:gd name="T42" fmla="*/ 8 w 52"/>
              <a:gd name="T43" fmla="*/ 31 h 55"/>
              <a:gd name="T44" fmla="*/ 4 w 52"/>
              <a:gd name="T45" fmla="*/ 27 h 55"/>
              <a:gd name="T46" fmla="*/ 0 w 52"/>
              <a:gd name="T47" fmla="*/ 3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5">
                <a:moveTo>
                  <a:pt x="0" y="31"/>
                </a:moveTo>
                <a:cubicBezTo>
                  <a:pt x="0" y="36"/>
                  <a:pt x="0" y="36"/>
                  <a:pt x="0" y="36"/>
                </a:cubicBezTo>
                <a:cubicBezTo>
                  <a:pt x="0" y="47"/>
                  <a:pt x="9" y="55"/>
                  <a:pt x="20" y="55"/>
                </a:cubicBezTo>
                <a:cubicBezTo>
                  <a:pt x="32" y="55"/>
                  <a:pt x="32" y="55"/>
                  <a:pt x="32" y="55"/>
                </a:cubicBezTo>
                <a:cubicBezTo>
                  <a:pt x="43" y="55"/>
                  <a:pt x="52" y="47"/>
                  <a:pt x="52" y="36"/>
                </a:cubicBezTo>
                <a:cubicBezTo>
                  <a:pt x="52" y="25"/>
                  <a:pt x="52" y="25"/>
                  <a:pt x="52" y="25"/>
                </a:cubicBezTo>
                <a:cubicBezTo>
                  <a:pt x="52" y="22"/>
                  <a:pt x="50" y="18"/>
                  <a:pt x="48" y="16"/>
                </a:cubicBezTo>
                <a:cubicBezTo>
                  <a:pt x="46" y="13"/>
                  <a:pt x="44" y="11"/>
                  <a:pt x="41" y="9"/>
                </a:cubicBezTo>
                <a:cubicBezTo>
                  <a:pt x="40" y="9"/>
                  <a:pt x="40" y="9"/>
                  <a:pt x="40" y="9"/>
                </a:cubicBezTo>
                <a:cubicBezTo>
                  <a:pt x="18" y="0"/>
                  <a:pt x="18" y="0"/>
                  <a:pt x="18" y="0"/>
                </a:cubicBezTo>
                <a:cubicBezTo>
                  <a:pt x="16" y="0"/>
                  <a:pt x="13" y="1"/>
                  <a:pt x="12" y="3"/>
                </a:cubicBezTo>
                <a:cubicBezTo>
                  <a:pt x="12" y="5"/>
                  <a:pt x="13" y="7"/>
                  <a:pt x="15" y="8"/>
                </a:cubicBezTo>
                <a:cubicBezTo>
                  <a:pt x="37" y="17"/>
                  <a:pt x="37" y="17"/>
                  <a:pt x="37" y="17"/>
                </a:cubicBezTo>
                <a:cubicBezTo>
                  <a:pt x="39" y="13"/>
                  <a:pt x="39" y="13"/>
                  <a:pt x="39" y="13"/>
                </a:cubicBezTo>
                <a:cubicBezTo>
                  <a:pt x="37" y="16"/>
                  <a:pt x="37" y="16"/>
                  <a:pt x="37" y="16"/>
                </a:cubicBezTo>
                <a:cubicBezTo>
                  <a:pt x="39" y="18"/>
                  <a:pt x="41" y="19"/>
                  <a:pt x="42" y="21"/>
                </a:cubicBezTo>
                <a:cubicBezTo>
                  <a:pt x="43" y="22"/>
                  <a:pt x="44" y="24"/>
                  <a:pt x="44" y="25"/>
                </a:cubicBezTo>
                <a:cubicBezTo>
                  <a:pt x="44" y="36"/>
                  <a:pt x="44" y="36"/>
                  <a:pt x="44" y="36"/>
                </a:cubicBezTo>
                <a:cubicBezTo>
                  <a:pt x="44" y="42"/>
                  <a:pt x="39" y="47"/>
                  <a:pt x="32" y="47"/>
                </a:cubicBezTo>
                <a:cubicBezTo>
                  <a:pt x="20" y="47"/>
                  <a:pt x="20" y="47"/>
                  <a:pt x="20" y="47"/>
                </a:cubicBezTo>
                <a:cubicBezTo>
                  <a:pt x="14" y="47"/>
                  <a:pt x="8" y="42"/>
                  <a:pt x="8" y="36"/>
                </a:cubicBezTo>
                <a:cubicBezTo>
                  <a:pt x="8" y="31"/>
                  <a:pt x="8" y="31"/>
                  <a:pt x="8" y="31"/>
                </a:cubicBezTo>
                <a:cubicBezTo>
                  <a:pt x="8" y="29"/>
                  <a:pt x="7" y="27"/>
                  <a:pt x="4" y="27"/>
                </a:cubicBezTo>
                <a:cubicBezTo>
                  <a:pt x="2" y="27"/>
                  <a:pt x="0" y="29"/>
                  <a:pt x="0" y="31"/>
                </a:cubicBezTo>
                <a:close/>
              </a:path>
            </a:pathLst>
          </a:custGeom>
          <a:solidFill>
            <a:schemeClr val="accent6"/>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284">
            <a:extLst>
              <a:ext uri="{FF2B5EF4-FFF2-40B4-BE49-F238E27FC236}">
                <a16:creationId xmlns:a16="http://schemas.microsoft.com/office/drawing/2014/main" id="{688C4FD9-DF6B-8E41-86DE-159EA648C9F8}"/>
              </a:ext>
            </a:extLst>
          </p:cNvPr>
          <p:cNvSpPr>
            <a:spLocks/>
          </p:cNvSpPr>
          <p:nvPr/>
        </p:nvSpPr>
        <p:spPr bwMode="auto">
          <a:xfrm>
            <a:off x="7450572" y="4330862"/>
            <a:ext cx="19233" cy="273306"/>
          </a:xfrm>
          <a:custGeom>
            <a:avLst/>
            <a:gdLst>
              <a:gd name="T0" fmla="*/ 0 w 8"/>
              <a:gd name="T1" fmla="*/ 4 h 114"/>
              <a:gd name="T2" fmla="*/ 0 w 8"/>
              <a:gd name="T3" fmla="*/ 110 h 114"/>
              <a:gd name="T4" fmla="*/ 4 w 8"/>
              <a:gd name="T5" fmla="*/ 114 h 114"/>
              <a:gd name="T6" fmla="*/ 8 w 8"/>
              <a:gd name="T7" fmla="*/ 110 h 114"/>
              <a:gd name="T8" fmla="*/ 8 w 8"/>
              <a:gd name="T9" fmla="*/ 4 h 114"/>
              <a:gd name="T10" fmla="*/ 4 w 8"/>
              <a:gd name="T11" fmla="*/ 0 h 114"/>
              <a:gd name="T12" fmla="*/ 0 w 8"/>
              <a:gd name="T13" fmla="*/ 4 h 114"/>
            </a:gdLst>
            <a:ahLst/>
            <a:cxnLst>
              <a:cxn ang="0">
                <a:pos x="T0" y="T1"/>
              </a:cxn>
              <a:cxn ang="0">
                <a:pos x="T2" y="T3"/>
              </a:cxn>
              <a:cxn ang="0">
                <a:pos x="T4" y="T5"/>
              </a:cxn>
              <a:cxn ang="0">
                <a:pos x="T6" y="T7"/>
              </a:cxn>
              <a:cxn ang="0">
                <a:pos x="T8" y="T9"/>
              </a:cxn>
              <a:cxn ang="0">
                <a:pos x="T10" y="T11"/>
              </a:cxn>
              <a:cxn ang="0">
                <a:pos x="T12" y="T13"/>
              </a:cxn>
            </a:cxnLst>
            <a:rect l="0" t="0" r="r" b="b"/>
            <a:pathLst>
              <a:path w="8" h="114">
                <a:moveTo>
                  <a:pt x="0" y="4"/>
                </a:moveTo>
                <a:cubicBezTo>
                  <a:pt x="0" y="110"/>
                  <a:pt x="0" y="110"/>
                  <a:pt x="0" y="110"/>
                </a:cubicBezTo>
                <a:cubicBezTo>
                  <a:pt x="0" y="113"/>
                  <a:pt x="2" y="114"/>
                  <a:pt x="4" y="114"/>
                </a:cubicBezTo>
                <a:cubicBezTo>
                  <a:pt x="6" y="114"/>
                  <a:pt x="8" y="113"/>
                  <a:pt x="8" y="110"/>
                </a:cubicBezTo>
                <a:cubicBezTo>
                  <a:pt x="8" y="4"/>
                  <a:pt x="8" y="4"/>
                  <a:pt x="8" y="4"/>
                </a:cubicBezTo>
                <a:cubicBezTo>
                  <a:pt x="8" y="2"/>
                  <a:pt x="6" y="0"/>
                  <a:pt x="4" y="0"/>
                </a:cubicBezTo>
                <a:cubicBezTo>
                  <a:pt x="2" y="0"/>
                  <a:pt x="0" y="2"/>
                  <a:pt x="0" y="4"/>
                </a:cubicBezTo>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278" name="Freeform 285">
            <a:extLst>
              <a:ext uri="{FF2B5EF4-FFF2-40B4-BE49-F238E27FC236}">
                <a16:creationId xmlns:a16="http://schemas.microsoft.com/office/drawing/2014/main" id="{C7293B70-135F-AB40-ACA4-B22D751A8746}"/>
              </a:ext>
            </a:extLst>
          </p:cNvPr>
          <p:cNvSpPr>
            <a:spLocks noEditPoints="1"/>
          </p:cNvSpPr>
          <p:nvPr/>
        </p:nvSpPr>
        <p:spPr bwMode="auto">
          <a:xfrm>
            <a:off x="3213311" y="4320739"/>
            <a:ext cx="739952" cy="440327"/>
          </a:xfrm>
          <a:custGeom>
            <a:avLst/>
            <a:gdLst>
              <a:gd name="T0" fmla="*/ 306 w 308"/>
              <a:gd name="T1" fmla="*/ 10 h 183"/>
              <a:gd name="T2" fmla="*/ 297 w 308"/>
              <a:gd name="T3" fmla="*/ 2 h 183"/>
              <a:gd name="T4" fmla="*/ 295 w 308"/>
              <a:gd name="T5" fmla="*/ 14 h 183"/>
              <a:gd name="T6" fmla="*/ 287 w 308"/>
              <a:gd name="T7" fmla="*/ 31 h 183"/>
              <a:gd name="T8" fmla="*/ 289 w 308"/>
              <a:gd name="T9" fmla="*/ 19 h 183"/>
              <a:gd name="T10" fmla="*/ 278 w 308"/>
              <a:gd name="T11" fmla="*/ 23 h 183"/>
              <a:gd name="T12" fmla="*/ 287 w 308"/>
              <a:gd name="T13" fmla="*/ 31 h 183"/>
              <a:gd name="T14" fmla="*/ 273 w 308"/>
              <a:gd name="T15" fmla="*/ 45 h 183"/>
              <a:gd name="T16" fmla="*/ 264 w 308"/>
              <a:gd name="T17" fmla="*/ 37 h 183"/>
              <a:gd name="T18" fmla="*/ 262 w 308"/>
              <a:gd name="T19" fmla="*/ 48 h 183"/>
              <a:gd name="T20" fmla="*/ 254 w 308"/>
              <a:gd name="T21" fmla="*/ 66 h 183"/>
              <a:gd name="T22" fmla="*/ 256 w 308"/>
              <a:gd name="T23" fmla="*/ 54 h 183"/>
              <a:gd name="T24" fmla="*/ 245 w 308"/>
              <a:gd name="T25" fmla="*/ 57 h 183"/>
              <a:gd name="T26" fmla="*/ 254 w 308"/>
              <a:gd name="T27" fmla="*/ 66 h 183"/>
              <a:gd name="T28" fmla="*/ 240 w 308"/>
              <a:gd name="T29" fmla="*/ 80 h 183"/>
              <a:gd name="T30" fmla="*/ 231 w 308"/>
              <a:gd name="T31" fmla="*/ 72 h 183"/>
              <a:gd name="T32" fmla="*/ 229 w 308"/>
              <a:gd name="T33" fmla="*/ 83 h 183"/>
              <a:gd name="T34" fmla="*/ 221 w 308"/>
              <a:gd name="T35" fmla="*/ 101 h 183"/>
              <a:gd name="T36" fmla="*/ 223 w 308"/>
              <a:gd name="T37" fmla="*/ 89 h 183"/>
              <a:gd name="T38" fmla="*/ 212 w 308"/>
              <a:gd name="T39" fmla="*/ 92 h 183"/>
              <a:gd name="T40" fmla="*/ 221 w 308"/>
              <a:gd name="T41" fmla="*/ 101 h 183"/>
              <a:gd name="T42" fmla="*/ 207 w 308"/>
              <a:gd name="T43" fmla="*/ 115 h 183"/>
              <a:gd name="T44" fmla="*/ 198 w 308"/>
              <a:gd name="T45" fmla="*/ 107 h 183"/>
              <a:gd name="T46" fmla="*/ 196 w 308"/>
              <a:gd name="T47" fmla="*/ 118 h 183"/>
              <a:gd name="T48" fmla="*/ 188 w 308"/>
              <a:gd name="T49" fmla="*/ 135 h 183"/>
              <a:gd name="T50" fmla="*/ 190 w 308"/>
              <a:gd name="T51" fmla="*/ 124 h 183"/>
              <a:gd name="T52" fmla="*/ 179 w 308"/>
              <a:gd name="T53" fmla="*/ 127 h 183"/>
              <a:gd name="T54" fmla="*/ 188 w 308"/>
              <a:gd name="T55" fmla="*/ 135 h 183"/>
              <a:gd name="T56" fmla="*/ 174 w 308"/>
              <a:gd name="T57" fmla="*/ 150 h 183"/>
              <a:gd name="T58" fmla="*/ 165 w 308"/>
              <a:gd name="T59" fmla="*/ 142 h 183"/>
              <a:gd name="T60" fmla="*/ 163 w 308"/>
              <a:gd name="T61" fmla="*/ 153 h 183"/>
              <a:gd name="T62" fmla="*/ 155 w 308"/>
              <a:gd name="T63" fmla="*/ 170 h 183"/>
              <a:gd name="T64" fmla="*/ 157 w 308"/>
              <a:gd name="T65" fmla="*/ 159 h 183"/>
              <a:gd name="T66" fmla="*/ 146 w 308"/>
              <a:gd name="T67" fmla="*/ 162 h 183"/>
              <a:gd name="T68" fmla="*/ 155 w 308"/>
              <a:gd name="T69" fmla="*/ 170 h 183"/>
              <a:gd name="T70" fmla="*/ 133 w 308"/>
              <a:gd name="T71" fmla="*/ 181 h 183"/>
              <a:gd name="T72" fmla="*/ 139 w 308"/>
              <a:gd name="T73" fmla="*/ 171 h 183"/>
              <a:gd name="T74" fmla="*/ 127 w 308"/>
              <a:gd name="T75" fmla="*/ 171 h 183"/>
              <a:gd name="T76" fmla="*/ 109 w 308"/>
              <a:gd name="T77" fmla="*/ 168 h 183"/>
              <a:gd name="T78" fmla="*/ 120 w 308"/>
              <a:gd name="T79" fmla="*/ 167 h 183"/>
              <a:gd name="T80" fmla="*/ 114 w 308"/>
              <a:gd name="T81" fmla="*/ 157 h 183"/>
              <a:gd name="T82" fmla="*/ 109 w 308"/>
              <a:gd name="T83" fmla="*/ 168 h 183"/>
              <a:gd name="T84" fmla="*/ 91 w 308"/>
              <a:gd name="T85" fmla="*/ 158 h 183"/>
              <a:gd name="T86" fmla="*/ 97 w 308"/>
              <a:gd name="T87" fmla="*/ 147 h 183"/>
              <a:gd name="T88" fmla="*/ 85 w 308"/>
              <a:gd name="T89" fmla="*/ 148 h 183"/>
              <a:gd name="T90" fmla="*/ 67 w 308"/>
              <a:gd name="T91" fmla="*/ 144 h 183"/>
              <a:gd name="T92" fmla="*/ 78 w 308"/>
              <a:gd name="T93" fmla="*/ 144 h 183"/>
              <a:gd name="T94" fmla="*/ 73 w 308"/>
              <a:gd name="T95" fmla="*/ 134 h 183"/>
              <a:gd name="T96" fmla="*/ 67 w 308"/>
              <a:gd name="T97" fmla="*/ 144 h 183"/>
              <a:gd name="T98" fmla="*/ 49 w 308"/>
              <a:gd name="T99" fmla="*/ 134 h 183"/>
              <a:gd name="T100" fmla="*/ 55 w 308"/>
              <a:gd name="T101" fmla="*/ 124 h 183"/>
              <a:gd name="T102" fmla="*/ 44 w 308"/>
              <a:gd name="T103" fmla="*/ 124 h 183"/>
              <a:gd name="T104" fmla="*/ 25 w 308"/>
              <a:gd name="T105" fmla="*/ 120 h 183"/>
              <a:gd name="T106" fmla="*/ 37 w 308"/>
              <a:gd name="T107" fmla="*/ 120 h 183"/>
              <a:gd name="T108" fmla="*/ 31 w 308"/>
              <a:gd name="T109" fmla="*/ 110 h 183"/>
              <a:gd name="T110" fmla="*/ 25 w 308"/>
              <a:gd name="T111" fmla="*/ 120 h 183"/>
              <a:gd name="T112" fmla="*/ 8 w 308"/>
              <a:gd name="T113" fmla="*/ 111 h 183"/>
              <a:gd name="T114" fmla="*/ 13 w 308"/>
              <a:gd name="T115" fmla="*/ 100 h 183"/>
              <a:gd name="T116" fmla="*/ 2 w 308"/>
              <a:gd name="T117" fmla="*/ 10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8" h="183">
                <a:moveTo>
                  <a:pt x="303" y="13"/>
                </a:moveTo>
                <a:cubicBezTo>
                  <a:pt x="306" y="10"/>
                  <a:pt x="306" y="10"/>
                  <a:pt x="306" y="10"/>
                </a:cubicBezTo>
                <a:cubicBezTo>
                  <a:pt x="308" y="8"/>
                  <a:pt x="308" y="4"/>
                  <a:pt x="306" y="2"/>
                </a:cubicBezTo>
                <a:cubicBezTo>
                  <a:pt x="303" y="0"/>
                  <a:pt x="299" y="0"/>
                  <a:pt x="297" y="2"/>
                </a:cubicBezTo>
                <a:cubicBezTo>
                  <a:pt x="294" y="5"/>
                  <a:pt x="294" y="5"/>
                  <a:pt x="294" y="5"/>
                </a:cubicBezTo>
                <a:cubicBezTo>
                  <a:pt x="292" y="8"/>
                  <a:pt x="292" y="11"/>
                  <a:pt x="295" y="14"/>
                </a:cubicBezTo>
                <a:cubicBezTo>
                  <a:pt x="297" y="16"/>
                  <a:pt x="301" y="16"/>
                  <a:pt x="303" y="13"/>
                </a:cubicBezTo>
                <a:close/>
                <a:moveTo>
                  <a:pt x="287" y="31"/>
                </a:moveTo>
                <a:cubicBezTo>
                  <a:pt x="289" y="28"/>
                  <a:pt x="289" y="28"/>
                  <a:pt x="289" y="28"/>
                </a:cubicBezTo>
                <a:cubicBezTo>
                  <a:pt x="292" y="25"/>
                  <a:pt x="292" y="22"/>
                  <a:pt x="289" y="19"/>
                </a:cubicBezTo>
                <a:cubicBezTo>
                  <a:pt x="287" y="17"/>
                  <a:pt x="283" y="17"/>
                  <a:pt x="281" y="20"/>
                </a:cubicBezTo>
                <a:cubicBezTo>
                  <a:pt x="278" y="23"/>
                  <a:pt x="278" y="23"/>
                  <a:pt x="278" y="23"/>
                </a:cubicBezTo>
                <a:cubicBezTo>
                  <a:pt x="276" y="25"/>
                  <a:pt x="276" y="29"/>
                  <a:pt x="278" y="31"/>
                </a:cubicBezTo>
                <a:cubicBezTo>
                  <a:pt x="281" y="33"/>
                  <a:pt x="284" y="33"/>
                  <a:pt x="287" y="31"/>
                </a:cubicBezTo>
                <a:close/>
                <a:moveTo>
                  <a:pt x="270" y="48"/>
                </a:moveTo>
                <a:cubicBezTo>
                  <a:pt x="273" y="45"/>
                  <a:pt x="273" y="45"/>
                  <a:pt x="273" y="45"/>
                </a:cubicBezTo>
                <a:cubicBezTo>
                  <a:pt x="275" y="43"/>
                  <a:pt x="275" y="39"/>
                  <a:pt x="273" y="37"/>
                </a:cubicBezTo>
                <a:cubicBezTo>
                  <a:pt x="270" y="35"/>
                  <a:pt x="266" y="35"/>
                  <a:pt x="264" y="37"/>
                </a:cubicBezTo>
                <a:cubicBezTo>
                  <a:pt x="261" y="40"/>
                  <a:pt x="261" y="40"/>
                  <a:pt x="261" y="40"/>
                </a:cubicBezTo>
                <a:cubicBezTo>
                  <a:pt x="259" y="42"/>
                  <a:pt x="259" y="46"/>
                  <a:pt x="262" y="48"/>
                </a:cubicBezTo>
                <a:cubicBezTo>
                  <a:pt x="264" y="51"/>
                  <a:pt x="268" y="51"/>
                  <a:pt x="270" y="48"/>
                </a:cubicBezTo>
                <a:close/>
                <a:moveTo>
                  <a:pt x="254" y="66"/>
                </a:moveTo>
                <a:cubicBezTo>
                  <a:pt x="256" y="63"/>
                  <a:pt x="256" y="63"/>
                  <a:pt x="256" y="63"/>
                </a:cubicBezTo>
                <a:cubicBezTo>
                  <a:pt x="259" y="60"/>
                  <a:pt x="259" y="57"/>
                  <a:pt x="256" y="54"/>
                </a:cubicBezTo>
                <a:cubicBezTo>
                  <a:pt x="254" y="52"/>
                  <a:pt x="250" y="52"/>
                  <a:pt x="248" y="55"/>
                </a:cubicBezTo>
                <a:cubicBezTo>
                  <a:pt x="245" y="57"/>
                  <a:pt x="245" y="57"/>
                  <a:pt x="245" y="57"/>
                </a:cubicBezTo>
                <a:cubicBezTo>
                  <a:pt x="243" y="60"/>
                  <a:pt x="243" y="64"/>
                  <a:pt x="245" y="66"/>
                </a:cubicBezTo>
                <a:cubicBezTo>
                  <a:pt x="248" y="68"/>
                  <a:pt x="251" y="68"/>
                  <a:pt x="254" y="66"/>
                </a:cubicBezTo>
                <a:close/>
                <a:moveTo>
                  <a:pt x="237" y="83"/>
                </a:moveTo>
                <a:cubicBezTo>
                  <a:pt x="240" y="80"/>
                  <a:pt x="240" y="80"/>
                  <a:pt x="240" y="80"/>
                </a:cubicBezTo>
                <a:cubicBezTo>
                  <a:pt x="242" y="78"/>
                  <a:pt x="242" y="74"/>
                  <a:pt x="240" y="72"/>
                </a:cubicBezTo>
                <a:cubicBezTo>
                  <a:pt x="237" y="69"/>
                  <a:pt x="233" y="70"/>
                  <a:pt x="231" y="72"/>
                </a:cubicBezTo>
                <a:cubicBezTo>
                  <a:pt x="228" y="75"/>
                  <a:pt x="228" y="75"/>
                  <a:pt x="228" y="75"/>
                </a:cubicBezTo>
                <a:cubicBezTo>
                  <a:pt x="226" y="77"/>
                  <a:pt x="226" y="81"/>
                  <a:pt x="229" y="83"/>
                </a:cubicBezTo>
                <a:cubicBezTo>
                  <a:pt x="231" y="86"/>
                  <a:pt x="235" y="86"/>
                  <a:pt x="237" y="83"/>
                </a:cubicBezTo>
                <a:close/>
                <a:moveTo>
                  <a:pt x="221" y="101"/>
                </a:moveTo>
                <a:cubicBezTo>
                  <a:pt x="223" y="98"/>
                  <a:pt x="223" y="98"/>
                  <a:pt x="223" y="98"/>
                </a:cubicBezTo>
                <a:cubicBezTo>
                  <a:pt x="226" y="95"/>
                  <a:pt x="226" y="91"/>
                  <a:pt x="223" y="89"/>
                </a:cubicBezTo>
                <a:cubicBezTo>
                  <a:pt x="221" y="87"/>
                  <a:pt x="217" y="87"/>
                  <a:pt x="215" y="89"/>
                </a:cubicBezTo>
                <a:cubicBezTo>
                  <a:pt x="212" y="92"/>
                  <a:pt x="212" y="92"/>
                  <a:pt x="212" y="92"/>
                </a:cubicBezTo>
                <a:cubicBezTo>
                  <a:pt x="210" y="95"/>
                  <a:pt x="210" y="99"/>
                  <a:pt x="212" y="101"/>
                </a:cubicBezTo>
                <a:cubicBezTo>
                  <a:pt x="215" y="103"/>
                  <a:pt x="218" y="103"/>
                  <a:pt x="221" y="101"/>
                </a:cubicBezTo>
                <a:close/>
                <a:moveTo>
                  <a:pt x="204" y="118"/>
                </a:moveTo>
                <a:cubicBezTo>
                  <a:pt x="207" y="115"/>
                  <a:pt x="207" y="115"/>
                  <a:pt x="207" y="115"/>
                </a:cubicBezTo>
                <a:cubicBezTo>
                  <a:pt x="209" y="113"/>
                  <a:pt x="209" y="109"/>
                  <a:pt x="207" y="107"/>
                </a:cubicBezTo>
                <a:cubicBezTo>
                  <a:pt x="204" y="104"/>
                  <a:pt x="200" y="104"/>
                  <a:pt x="198" y="107"/>
                </a:cubicBezTo>
                <a:cubicBezTo>
                  <a:pt x="195" y="110"/>
                  <a:pt x="195" y="110"/>
                  <a:pt x="195" y="110"/>
                </a:cubicBezTo>
                <a:cubicBezTo>
                  <a:pt x="193" y="112"/>
                  <a:pt x="193" y="116"/>
                  <a:pt x="196" y="118"/>
                </a:cubicBezTo>
                <a:cubicBezTo>
                  <a:pt x="198" y="121"/>
                  <a:pt x="202" y="120"/>
                  <a:pt x="204" y="118"/>
                </a:cubicBezTo>
                <a:close/>
                <a:moveTo>
                  <a:pt x="188" y="135"/>
                </a:moveTo>
                <a:cubicBezTo>
                  <a:pt x="190" y="133"/>
                  <a:pt x="190" y="133"/>
                  <a:pt x="190" y="133"/>
                </a:cubicBezTo>
                <a:cubicBezTo>
                  <a:pt x="193" y="130"/>
                  <a:pt x="193" y="126"/>
                  <a:pt x="190" y="124"/>
                </a:cubicBezTo>
                <a:cubicBezTo>
                  <a:pt x="188" y="122"/>
                  <a:pt x="184" y="122"/>
                  <a:pt x="182" y="124"/>
                </a:cubicBezTo>
                <a:cubicBezTo>
                  <a:pt x="179" y="127"/>
                  <a:pt x="179" y="127"/>
                  <a:pt x="179" y="127"/>
                </a:cubicBezTo>
                <a:cubicBezTo>
                  <a:pt x="177" y="130"/>
                  <a:pt x="177" y="133"/>
                  <a:pt x="179" y="136"/>
                </a:cubicBezTo>
                <a:cubicBezTo>
                  <a:pt x="182" y="138"/>
                  <a:pt x="185" y="138"/>
                  <a:pt x="188" y="135"/>
                </a:cubicBezTo>
                <a:close/>
                <a:moveTo>
                  <a:pt x="171" y="153"/>
                </a:moveTo>
                <a:cubicBezTo>
                  <a:pt x="174" y="150"/>
                  <a:pt x="174" y="150"/>
                  <a:pt x="174" y="150"/>
                </a:cubicBezTo>
                <a:cubicBezTo>
                  <a:pt x="176" y="148"/>
                  <a:pt x="176" y="144"/>
                  <a:pt x="174" y="141"/>
                </a:cubicBezTo>
                <a:cubicBezTo>
                  <a:pt x="171" y="139"/>
                  <a:pt x="167" y="139"/>
                  <a:pt x="165" y="142"/>
                </a:cubicBezTo>
                <a:cubicBezTo>
                  <a:pt x="162" y="145"/>
                  <a:pt x="162" y="145"/>
                  <a:pt x="162" y="145"/>
                </a:cubicBezTo>
                <a:cubicBezTo>
                  <a:pt x="160" y="147"/>
                  <a:pt x="160" y="151"/>
                  <a:pt x="163" y="153"/>
                </a:cubicBezTo>
                <a:cubicBezTo>
                  <a:pt x="165" y="155"/>
                  <a:pt x="169" y="155"/>
                  <a:pt x="171" y="153"/>
                </a:cubicBezTo>
                <a:close/>
                <a:moveTo>
                  <a:pt x="155" y="170"/>
                </a:moveTo>
                <a:cubicBezTo>
                  <a:pt x="157" y="167"/>
                  <a:pt x="157" y="167"/>
                  <a:pt x="157" y="167"/>
                </a:cubicBezTo>
                <a:cubicBezTo>
                  <a:pt x="160" y="165"/>
                  <a:pt x="160" y="161"/>
                  <a:pt x="157" y="159"/>
                </a:cubicBezTo>
                <a:cubicBezTo>
                  <a:pt x="155" y="157"/>
                  <a:pt x="151" y="157"/>
                  <a:pt x="149" y="159"/>
                </a:cubicBezTo>
                <a:cubicBezTo>
                  <a:pt x="146" y="162"/>
                  <a:pt x="146" y="162"/>
                  <a:pt x="146" y="162"/>
                </a:cubicBezTo>
                <a:cubicBezTo>
                  <a:pt x="144" y="164"/>
                  <a:pt x="144" y="168"/>
                  <a:pt x="146" y="171"/>
                </a:cubicBezTo>
                <a:cubicBezTo>
                  <a:pt x="149" y="173"/>
                  <a:pt x="152" y="173"/>
                  <a:pt x="155" y="170"/>
                </a:cubicBezTo>
                <a:close/>
                <a:moveTo>
                  <a:pt x="129" y="179"/>
                </a:moveTo>
                <a:cubicBezTo>
                  <a:pt x="133" y="181"/>
                  <a:pt x="133" y="181"/>
                  <a:pt x="133" y="181"/>
                </a:cubicBezTo>
                <a:cubicBezTo>
                  <a:pt x="136" y="183"/>
                  <a:pt x="139" y="182"/>
                  <a:pt x="141" y="179"/>
                </a:cubicBezTo>
                <a:cubicBezTo>
                  <a:pt x="143" y="176"/>
                  <a:pt x="142" y="173"/>
                  <a:pt x="139" y="171"/>
                </a:cubicBezTo>
                <a:cubicBezTo>
                  <a:pt x="135" y="169"/>
                  <a:pt x="135" y="169"/>
                  <a:pt x="135" y="169"/>
                </a:cubicBezTo>
                <a:cubicBezTo>
                  <a:pt x="132" y="167"/>
                  <a:pt x="129" y="168"/>
                  <a:pt x="127" y="171"/>
                </a:cubicBezTo>
                <a:cubicBezTo>
                  <a:pt x="126" y="174"/>
                  <a:pt x="127" y="178"/>
                  <a:pt x="129" y="179"/>
                </a:cubicBezTo>
                <a:close/>
                <a:moveTo>
                  <a:pt x="109" y="168"/>
                </a:moveTo>
                <a:cubicBezTo>
                  <a:pt x="112" y="170"/>
                  <a:pt x="112" y="170"/>
                  <a:pt x="112" y="170"/>
                </a:cubicBezTo>
                <a:cubicBezTo>
                  <a:pt x="115" y="171"/>
                  <a:pt x="119" y="170"/>
                  <a:pt x="120" y="167"/>
                </a:cubicBezTo>
                <a:cubicBezTo>
                  <a:pt x="122" y="164"/>
                  <a:pt x="121" y="161"/>
                  <a:pt x="118" y="159"/>
                </a:cubicBezTo>
                <a:cubicBezTo>
                  <a:pt x="114" y="157"/>
                  <a:pt x="114" y="157"/>
                  <a:pt x="114" y="157"/>
                </a:cubicBezTo>
                <a:cubicBezTo>
                  <a:pt x="112" y="156"/>
                  <a:pt x="108" y="157"/>
                  <a:pt x="106" y="159"/>
                </a:cubicBezTo>
                <a:cubicBezTo>
                  <a:pt x="105" y="162"/>
                  <a:pt x="106" y="166"/>
                  <a:pt x="109" y="168"/>
                </a:cubicBezTo>
                <a:close/>
                <a:moveTo>
                  <a:pt x="88" y="156"/>
                </a:moveTo>
                <a:cubicBezTo>
                  <a:pt x="91" y="158"/>
                  <a:pt x="91" y="158"/>
                  <a:pt x="91" y="158"/>
                </a:cubicBezTo>
                <a:cubicBezTo>
                  <a:pt x="94" y="159"/>
                  <a:pt x="98" y="158"/>
                  <a:pt x="99" y="156"/>
                </a:cubicBezTo>
                <a:cubicBezTo>
                  <a:pt x="101" y="153"/>
                  <a:pt x="100" y="149"/>
                  <a:pt x="97" y="147"/>
                </a:cubicBezTo>
                <a:cubicBezTo>
                  <a:pt x="94" y="145"/>
                  <a:pt x="94" y="145"/>
                  <a:pt x="94" y="145"/>
                </a:cubicBezTo>
                <a:cubicBezTo>
                  <a:pt x="91" y="144"/>
                  <a:pt x="87" y="145"/>
                  <a:pt x="85" y="148"/>
                </a:cubicBezTo>
                <a:cubicBezTo>
                  <a:pt x="84" y="151"/>
                  <a:pt x="85" y="154"/>
                  <a:pt x="88" y="156"/>
                </a:cubicBezTo>
                <a:close/>
                <a:moveTo>
                  <a:pt x="67" y="144"/>
                </a:moveTo>
                <a:cubicBezTo>
                  <a:pt x="70" y="146"/>
                  <a:pt x="70" y="146"/>
                  <a:pt x="70" y="146"/>
                </a:cubicBezTo>
                <a:cubicBezTo>
                  <a:pt x="73" y="148"/>
                  <a:pt x="77" y="147"/>
                  <a:pt x="78" y="144"/>
                </a:cubicBezTo>
                <a:cubicBezTo>
                  <a:pt x="80" y="141"/>
                  <a:pt x="79" y="137"/>
                  <a:pt x="76" y="136"/>
                </a:cubicBezTo>
                <a:cubicBezTo>
                  <a:pt x="73" y="134"/>
                  <a:pt x="73" y="134"/>
                  <a:pt x="73" y="134"/>
                </a:cubicBezTo>
                <a:cubicBezTo>
                  <a:pt x="70" y="132"/>
                  <a:pt x="66" y="133"/>
                  <a:pt x="64" y="136"/>
                </a:cubicBezTo>
                <a:cubicBezTo>
                  <a:pt x="63" y="139"/>
                  <a:pt x="64" y="142"/>
                  <a:pt x="67" y="144"/>
                </a:cubicBezTo>
                <a:close/>
                <a:moveTo>
                  <a:pt x="46" y="132"/>
                </a:moveTo>
                <a:cubicBezTo>
                  <a:pt x="49" y="134"/>
                  <a:pt x="49" y="134"/>
                  <a:pt x="49" y="134"/>
                </a:cubicBezTo>
                <a:cubicBezTo>
                  <a:pt x="52" y="136"/>
                  <a:pt x="56" y="135"/>
                  <a:pt x="58" y="132"/>
                </a:cubicBezTo>
                <a:cubicBezTo>
                  <a:pt x="59" y="129"/>
                  <a:pt x="58" y="125"/>
                  <a:pt x="55" y="124"/>
                </a:cubicBezTo>
                <a:cubicBezTo>
                  <a:pt x="52" y="122"/>
                  <a:pt x="52" y="122"/>
                  <a:pt x="52" y="122"/>
                </a:cubicBezTo>
                <a:cubicBezTo>
                  <a:pt x="49" y="120"/>
                  <a:pt x="45" y="121"/>
                  <a:pt x="44" y="124"/>
                </a:cubicBezTo>
                <a:cubicBezTo>
                  <a:pt x="42" y="127"/>
                  <a:pt x="43" y="131"/>
                  <a:pt x="46" y="132"/>
                </a:cubicBezTo>
                <a:close/>
                <a:moveTo>
                  <a:pt x="25" y="120"/>
                </a:moveTo>
                <a:cubicBezTo>
                  <a:pt x="28" y="122"/>
                  <a:pt x="28" y="122"/>
                  <a:pt x="28" y="122"/>
                </a:cubicBezTo>
                <a:cubicBezTo>
                  <a:pt x="31" y="124"/>
                  <a:pt x="35" y="123"/>
                  <a:pt x="37" y="120"/>
                </a:cubicBezTo>
                <a:cubicBezTo>
                  <a:pt x="38" y="117"/>
                  <a:pt x="37" y="114"/>
                  <a:pt x="34" y="112"/>
                </a:cubicBezTo>
                <a:cubicBezTo>
                  <a:pt x="31" y="110"/>
                  <a:pt x="31" y="110"/>
                  <a:pt x="31" y="110"/>
                </a:cubicBezTo>
                <a:cubicBezTo>
                  <a:pt x="28" y="108"/>
                  <a:pt x="24" y="109"/>
                  <a:pt x="23" y="112"/>
                </a:cubicBezTo>
                <a:cubicBezTo>
                  <a:pt x="21" y="115"/>
                  <a:pt x="22" y="119"/>
                  <a:pt x="25" y="120"/>
                </a:cubicBezTo>
                <a:close/>
                <a:moveTo>
                  <a:pt x="4" y="109"/>
                </a:moveTo>
                <a:cubicBezTo>
                  <a:pt x="8" y="111"/>
                  <a:pt x="8" y="111"/>
                  <a:pt x="8" y="111"/>
                </a:cubicBezTo>
                <a:cubicBezTo>
                  <a:pt x="10" y="112"/>
                  <a:pt x="14" y="111"/>
                  <a:pt x="16" y="108"/>
                </a:cubicBezTo>
                <a:cubicBezTo>
                  <a:pt x="17" y="105"/>
                  <a:pt x="16" y="102"/>
                  <a:pt x="13" y="100"/>
                </a:cubicBezTo>
                <a:cubicBezTo>
                  <a:pt x="10" y="98"/>
                  <a:pt x="10" y="98"/>
                  <a:pt x="10" y="98"/>
                </a:cubicBezTo>
                <a:cubicBezTo>
                  <a:pt x="7" y="97"/>
                  <a:pt x="3" y="98"/>
                  <a:pt x="2" y="100"/>
                </a:cubicBezTo>
                <a:cubicBezTo>
                  <a:pt x="0" y="103"/>
                  <a:pt x="1" y="107"/>
                  <a:pt x="4" y="109"/>
                </a:cubicBez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286">
            <a:extLst>
              <a:ext uri="{FF2B5EF4-FFF2-40B4-BE49-F238E27FC236}">
                <a16:creationId xmlns:a16="http://schemas.microsoft.com/office/drawing/2014/main" id="{14EBBA2B-2A88-AA44-B8B5-AA1049466DE8}"/>
              </a:ext>
            </a:extLst>
          </p:cNvPr>
          <p:cNvSpPr>
            <a:spLocks/>
          </p:cNvSpPr>
          <p:nvPr/>
        </p:nvSpPr>
        <p:spPr bwMode="auto">
          <a:xfrm>
            <a:off x="3900626" y="4261017"/>
            <a:ext cx="101225" cy="101225"/>
          </a:xfrm>
          <a:custGeom>
            <a:avLst/>
            <a:gdLst>
              <a:gd name="T0" fmla="*/ 31 w 42"/>
              <a:gd name="T1" fmla="*/ 36 h 42"/>
              <a:gd name="T2" fmla="*/ 6 w 42"/>
              <a:gd name="T3" fmla="*/ 31 h 42"/>
              <a:gd name="T4" fmla="*/ 11 w 42"/>
              <a:gd name="T5" fmla="*/ 6 h 42"/>
              <a:gd name="T6" fmla="*/ 37 w 42"/>
              <a:gd name="T7" fmla="*/ 11 h 42"/>
              <a:gd name="T8" fmla="*/ 31 w 42"/>
              <a:gd name="T9" fmla="*/ 36 h 42"/>
            </a:gdLst>
            <a:ahLst/>
            <a:cxnLst>
              <a:cxn ang="0">
                <a:pos x="T0" y="T1"/>
              </a:cxn>
              <a:cxn ang="0">
                <a:pos x="T2" y="T3"/>
              </a:cxn>
              <a:cxn ang="0">
                <a:pos x="T4" y="T5"/>
              </a:cxn>
              <a:cxn ang="0">
                <a:pos x="T6" y="T7"/>
              </a:cxn>
              <a:cxn ang="0">
                <a:pos x="T8" y="T9"/>
              </a:cxn>
            </a:cxnLst>
            <a:rect l="0" t="0" r="r" b="b"/>
            <a:pathLst>
              <a:path w="42" h="42">
                <a:moveTo>
                  <a:pt x="31" y="36"/>
                </a:moveTo>
                <a:cubicBezTo>
                  <a:pt x="22" y="42"/>
                  <a:pt x="11" y="39"/>
                  <a:pt x="6" y="31"/>
                </a:cubicBezTo>
                <a:cubicBezTo>
                  <a:pt x="0" y="22"/>
                  <a:pt x="3" y="11"/>
                  <a:pt x="11" y="6"/>
                </a:cubicBezTo>
                <a:cubicBezTo>
                  <a:pt x="20" y="0"/>
                  <a:pt x="31" y="3"/>
                  <a:pt x="37" y="11"/>
                </a:cubicBezTo>
                <a:cubicBezTo>
                  <a:pt x="42" y="20"/>
                  <a:pt x="39" y="31"/>
                  <a:pt x="31"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287">
            <a:extLst>
              <a:ext uri="{FF2B5EF4-FFF2-40B4-BE49-F238E27FC236}">
                <a16:creationId xmlns:a16="http://schemas.microsoft.com/office/drawing/2014/main" id="{C23269B6-BD72-2341-B9ED-D2AAE7DEB0F0}"/>
              </a:ext>
            </a:extLst>
          </p:cNvPr>
          <p:cNvSpPr>
            <a:spLocks/>
          </p:cNvSpPr>
          <p:nvPr/>
        </p:nvSpPr>
        <p:spPr bwMode="auto">
          <a:xfrm>
            <a:off x="3897589" y="4258992"/>
            <a:ext cx="106286" cy="105274"/>
          </a:xfrm>
          <a:custGeom>
            <a:avLst/>
            <a:gdLst>
              <a:gd name="T0" fmla="*/ 32 w 44"/>
              <a:gd name="T1" fmla="*/ 37 h 44"/>
              <a:gd name="T2" fmla="*/ 30 w 44"/>
              <a:gd name="T3" fmla="*/ 34 h 44"/>
              <a:gd name="T4" fmla="*/ 22 w 44"/>
              <a:gd name="T5" fmla="*/ 36 h 44"/>
              <a:gd name="T6" fmla="*/ 10 w 44"/>
              <a:gd name="T7" fmla="*/ 30 h 44"/>
              <a:gd name="T8" fmla="*/ 8 w 44"/>
              <a:gd name="T9" fmla="*/ 22 h 44"/>
              <a:gd name="T10" fmla="*/ 15 w 44"/>
              <a:gd name="T11" fmla="*/ 10 h 44"/>
              <a:gd name="T12" fmla="*/ 22 w 44"/>
              <a:gd name="T13" fmla="*/ 8 h 44"/>
              <a:gd name="T14" fmla="*/ 34 w 44"/>
              <a:gd name="T15" fmla="*/ 14 h 44"/>
              <a:gd name="T16" fmla="*/ 36 w 44"/>
              <a:gd name="T17" fmla="*/ 22 h 44"/>
              <a:gd name="T18" fmla="*/ 30 w 44"/>
              <a:gd name="T19" fmla="*/ 34 h 44"/>
              <a:gd name="T20" fmla="*/ 32 w 44"/>
              <a:gd name="T21" fmla="*/ 37 h 44"/>
              <a:gd name="T22" fmla="*/ 34 w 44"/>
              <a:gd name="T23" fmla="*/ 41 h 44"/>
              <a:gd name="T24" fmla="*/ 44 w 44"/>
              <a:gd name="T25" fmla="*/ 22 h 44"/>
              <a:gd name="T26" fmla="*/ 41 w 44"/>
              <a:gd name="T27" fmla="*/ 10 h 44"/>
              <a:gd name="T28" fmla="*/ 22 w 44"/>
              <a:gd name="T29" fmla="*/ 0 h 44"/>
              <a:gd name="T30" fmla="*/ 10 w 44"/>
              <a:gd name="T31" fmla="*/ 3 h 44"/>
              <a:gd name="T32" fmla="*/ 0 w 44"/>
              <a:gd name="T33" fmla="*/ 22 h 44"/>
              <a:gd name="T34" fmla="*/ 3 w 44"/>
              <a:gd name="T35" fmla="*/ 34 h 44"/>
              <a:gd name="T36" fmla="*/ 22 w 44"/>
              <a:gd name="T37" fmla="*/ 44 h 44"/>
              <a:gd name="T38" fmla="*/ 34 w 44"/>
              <a:gd name="T39" fmla="*/ 41 h 44"/>
              <a:gd name="T40" fmla="*/ 32 w 44"/>
              <a:gd name="T41"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44">
                <a:moveTo>
                  <a:pt x="32" y="37"/>
                </a:moveTo>
                <a:cubicBezTo>
                  <a:pt x="30" y="34"/>
                  <a:pt x="30" y="34"/>
                  <a:pt x="30" y="34"/>
                </a:cubicBezTo>
                <a:cubicBezTo>
                  <a:pt x="27" y="35"/>
                  <a:pt x="25" y="36"/>
                  <a:pt x="22" y="36"/>
                </a:cubicBezTo>
                <a:cubicBezTo>
                  <a:pt x="17" y="36"/>
                  <a:pt x="13" y="34"/>
                  <a:pt x="10" y="30"/>
                </a:cubicBezTo>
                <a:cubicBezTo>
                  <a:pt x="9" y="27"/>
                  <a:pt x="8" y="25"/>
                  <a:pt x="8" y="22"/>
                </a:cubicBezTo>
                <a:cubicBezTo>
                  <a:pt x="8" y="17"/>
                  <a:pt x="10" y="13"/>
                  <a:pt x="15" y="10"/>
                </a:cubicBezTo>
                <a:cubicBezTo>
                  <a:pt x="17" y="8"/>
                  <a:pt x="20" y="8"/>
                  <a:pt x="22" y="8"/>
                </a:cubicBezTo>
                <a:cubicBezTo>
                  <a:pt x="27" y="8"/>
                  <a:pt x="31" y="10"/>
                  <a:pt x="34" y="14"/>
                </a:cubicBezTo>
                <a:cubicBezTo>
                  <a:pt x="36" y="17"/>
                  <a:pt x="36" y="19"/>
                  <a:pt x="36" y="22"/>
                </a:cubicBezTo>
                <a:cubicBezTo>
                  <a:pt x="36" y="27"/>
                  <a:pt x="34" y="31"/>
                  <a:pt x="30" y="34"/>
                </a:cubicBezTo>
                <a:cubicBezTo>
                  <a:pt x="32" y="37"/>
                  <a:pt x="32" y="37"/>
                  <a:pt x="32" y="37"/>
                </a:cubicBezTo>
                <a:cubicBezTo>
                  <a:pt x="34" y="41"/>
                  <a:pt x="34" y="41"/>
                  <a:pt x="34" y="41"/>
                </a:cubicBezTo>
                <a:cubicBezTo>
                  <a:pt x="41" y="36"/>
                  <a:pt x="44" y="29"/>
                  <a:pt x="44" y="22"/>
                </a:cubicBezTo>
                <a:cubicBezTo>
                  <a:pt x="44" y="18"/>
                  <a:pt x="43" y="14"/>
                  <a:pt x="41" y="10"/>
                </a:cubicBezTo>
                <a:cubicBezTo>
                  <a:pt x="37" y="3"/>
                  <a:pt x="30" y="0"/>
                  <a:pt x="22" y="0"/>
                </a:cubicBezTo>
                <a:cubicBezTo>
                  <a:pt x="18" y="0"/>
                  <a:pt x="14" y="1"/>
                  <a:pt x="10" y="3"/>
                </a:cubicBezTo>
                <a:cubicBezTo>
                  <a:pt x="4" y="7"/>
                  <a:pt x="0" y="15"/>
                  <a:pt x="0" y="22"/>
                </a:cubicBezTo>
                <a:cubicBezTo>
                  <a:pt x="0" y="26"/>
                  <a:pt x="1" y="30"/>
                  <a:pt x="3" y="34"/>
                </a:cubicBezTo>
                <a:cubicBezTo>
                  <a:pt x="8" y="41"/>
                  <a:pt x="15" y="44"/>
                  <a:pt x="22" y="44"/>
                </a:cubicBezTo>
                <a:cubicBezTo>
                  <a:pt x="26" y="44"/>
                  <a:pt x="30" y="43"/>
                  <a:pt x="34" y="41"/>
                </a:cubicBezTo>
                <a:lnTo>
                  <a:pt x="32" y="37"/>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288">
            <a:extLst>
              <a:ext uri="{FF2B5EF4-FFF2-40B4-BE49-F238E27FC236}">
                <a16:creationId xmlns:a16="http://schemas.microsoft.com/office/drawing/2014/main" id="{634A2813-E19F-234C-8590-A15DCA8EB2ED}"/>
              </a:ext>
            </a:extLst>
          </p:cNvPr>
          <p:cNvSpPr>
            <a:spLocks/>
          </p:cNvSpPr>
          <p:nvPr/>
        </p:nvSpPr>
        <p:spPr bwMode="auto">
          <a:xfrm>
            <a:off x="3102976" y="4513066"/>
            <a:ext cx="146776" cy="148800"/>
          </a:xfrm>
          <a:custGeom>
            <a:avLst/>
            <a:gdLst>
              <a:gd name="T0" fmla="*/ 45 w 61"/>
              <a:gd name="T1" fmla="*/ 54 h 62"/>
              <a:gd name="T2" fmla="*/ 8 w 61"/>
              <a:gd name="T3" fmla="*/ 45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5"/>
                </a:cubicBezTo>
                <a:cubicBezTo>
                  <a:pt x="0" y="33"/>
                  <a:pt x="3" y="16"/>
                  <a:pt x="16" y="8"/>
                </a:cubicBezTo>
                <a:cubicBezTo>
                  <a:pt x="28" y="0"/>
                  <a:pt x="45" y="4"/>
                  <a:pt x="53" y="17"/>
                </a:cubicBezTo>
                <a:cubicBezTo>
                  <a:pt x="61" y="29"/>
                  <a:pt x="57"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289">
            <a:extLst>
              <a:ext uri="{FF2B5EF4-FFF2-40B4-BE49-F238E27FC236}">
                <a16:creationId xmlns:a16="http://schemas.microsoft.com/office/drawing/2014/main" id="{F1B96CF5-1C78-FA42-96D1-844D6BCBAA14}"/>
              </a:ext>
            </a:extLst>
          </p:cNvPr>
          <p:cNvSpPr>
            <a:spLocks/>
          </p:cNvSpPr>
          <p:nvPr/>
        </p:nvSpPr>
        <p:spPr bwMode="auto">
          <a:xfrm>
            <a:off x="3100952" y="4513066"/>
            <a:ext cx="148800" cy="148800"/>
          </a:xfrm>
          <a:custGeom>
            <a:avLst/>
            <a:gdLst>
              <a:gd name="T0" fmla="*/ 46 w 62"/>
              <a:gd name="T1" fmla="*/ 54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0"/>
                  <a:pt x="44" y="50"/>
                  <a:pt x="44" y="50"/>
                </a:cubicBezTo>
                <a:cubicBezTo>
                  <a:pt x="40" y="53"/>
                  <a:pt x="36"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3"/>
                  <a:pt x="54" y="27"/>
                  <a:pt x="54" y="31"/>
                </a:cubicBezTo>
                <a:cubicBezTo>
                  <a:pt x="54" y="39"/>
                  <a:pt x="50" y="46"/>
                  <a:pt x="44" y="50"/>
                </a:cubicBezTo>
                <a:cubicBezTo>
                  <a:pt x="46" y="54"/>
                  <a:pt x="46" y="54"/>
                  <a:pt x="46" y="54"/>
                </a:cubicBezTo>
                <a:cubicBezTo>
                  <a:pt x="48" y="57"/>
                  <a:pt x="48" y="57"/>
                  <a:pt x="48" y="57"/>
                </a:cubicBezTo>
                <a:cubicBezTo>
                  <a:pt x="57" y="51"/>
                  <a:pt x="62" y="41"/>
                  <a:pt x="62" y="31"/>
                </a:cubicBezTo>
                <a:cubicBezTo>
                  <a:pt x="62" y="25"/>
                  <a:pt x="61" y="20"/>
                  <a:pt x="57" y="14"/>
                </a:cubicBezTo>
                <a:cubicBezTo>
                  <a:pt x="52" y="5"/>
                  <a:pt x="42" y="0"/>
                  <a:pt x="31" y="0"/>
                </a:cubicBezTo>
                <a:cubicBezTo>
                  <a:pt x="26" y="0"/>
                  <a:pt x="20" y="2"/>
                  <a:pt x="15" y="5"/>
                </a:cubicBezTo>
                <a:cubicBezTo>
                  <a:pt x="6" y="11"/>
                  <a:pt x="0" y="21"/>
                  <a:pt x="0" y="31"/>
                </a:cubicBezTo>
                <a:cubicBezTo>
                  <a:pt x="0" y="37"/>
                  <a:pt x="2" y="42"/>
                  <a:pt x="5" y="48"/>
                </a:cubicBezTo>
                <a:cubicBezTo>
                  <a:pt x="11" y="57"/>
                  <a:pt x="21" y="62"/>
                  <a:pt x="31" y="62"/>
                </a:cubicBezTo>
                <a:cubicBezTo>
                  <a:pt x="37" y="62"/>
                  <a:pt x="43" y="60"/>
                  <a:pt x="48" y="57"/>
                </a:cubicBezTo>
                <a:lnTo>
                  <a:pt x="46" y="54"/>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290">
            <a:extLst>
              <a:ext uri="{FF2B5EF4-FFF2-40B4-BE49-F238E27FC236}">
                <a16:creationId xmlns:a16="http://schemas.microsoft.com/office/drawing/2014/main" id="{B47BEA56-C594-204C-926C-049194120BD0}"/>
              </a:ext>
            </a:extLst>
          </p:cNvPr>
          <p:cNvSpPr>
            <a:spLocks/>
          </p:cNvSpPr>
          <p:nvPr/>
        </p:nvSpPr>
        <p:spPr bwMode="auto">
          <a:xfrm>
            <a:off x="3491678" y="4691221"/>
            <a:ext cx="92114" cy="93127"/>
          </a:xfrm>
          <a:custGeom>
            <a:avLst/>
            <a:gdLst>
              <a:gd name="T0" fmla="*/ 28 w 38"/>
              <a:gd name="T1" fmla="*/ 34 h 39"/>
              <a:gd name="T2" fmla="*/ 5 w 38"/>
              <a:gd name="T3" fmla="*/ 29 h 39"/>
              <a:gd name="T4" fmla="*/ 10 w 38"/>
              <a:gd name="T5" fmla="*/ 5 h 39"/>
              <a:gd name="T6" fmla="*/ 33 w 38"/>
              <a:gd name="T7" fmla="*/ 11 h 39"/>
              <a:gd name="T8" fmla="*/ 28 w 38"/>
              <a:gd name="T9" fmla="*/ 34 h 39"/>
            </a:gdLst>
            <a:ahLst/>
            <a:cxnLst>
              <a:cxn ang="0">
                <a:pos x="T0" y="T1"/>
              </a:cxn>
              <a:cxn ang="0">
                <a:pos x="T2" y="T3"/>
              </a:cxn>
              <a:cxn ang="0">
                <a:pos x="T4" y="T5"/>
              </a:cxn>
              <a:cxn ang="0">
                <a:pos x="T6" y="T7"/>
              </a:cxn>
              <a:cxn ang="0">
                <a:pos x="T8" y="T9"/>
              </a:cxn>
            </a:cxnLst>
            <a:rect l="0" t="0" r="r" b="b"/>
            <a:pathLst>
              <a:path w="38" h="39">
                <a:moveTo>
                  <a:pt x="28" y="34"/>
                </a:moveTo>
                <a:cubicBezTo>
                  <a:pt x="20" y="39"/>
                  <a:pt x="10" y="37"/>
                  <a:pt x="5" y="29"/>
                </a:cubicBezTo>
                <a:cubicBezTo>
                  <a:pt x="0" y="21"/>
                  <a:pt x="2" y="10"/>
                  <a:pt x="10" y="5"/>
                </a:cubicBezTo>
                <a:cubicBezTo>
                  <a:pt x="18" y="0"/>
                  <a:pt x="28" y="3"/>
                  <a:pt x="33" y="11"/>
                </a:cubicBezTo>
                <a:cubicBezTo>
                  <a:pt x="38" y="19"/>
                  <a:pt x="36" y="29"/>
                  <a:pt x="28"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291">
            <a:extLst>
              <a:ext uri="{FF2B5EF4-FFF2-40B4-BE49-F238E27FC236}">
                <a16:creationId xmlns:a16="http://schemas.microsoft.com/office/drawing/2014/main" id="{A24B65D7-68B5-BC47-8C9A-C53D68C3C7BA}"/>
              </a:ext>
            </a:extLst>
          </p:cNvPr>
          <p:cNvSpPr>
            <a:spLocks/>
          </p:cNvSpPr>
          <p:nvPr/>
        </p:nvSpPr>
        <p:spPr bwMode="auto">
          <a:xfrm>
            <a:off x="3487629" y="4688184"/>
            <a:ext cx="100212"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21 w 42"/>
              <a:gd name="T13" fmla="*/ 8 h 42"/>
              <a:gd name="T14" fmla="*/ 32 w 42"/>
              <a:gd name="T15" fmla="*/ 14 h 42"/>
              <a:gd name="T16" fmla="*/ 34 w 42"/>
              <a:gd name="T17" fmla="*/ 21 h 42"/>
              <a:gd name="T18" fmla="*/ 28 w 42"/>
              <a:gd name="T19" fmla="*/ 32 h 42"/>
              <a:gd name="T20" fmla="*/ 30 w 42"/>
              <a:gd name="T21" fmla="*/ 35 h 42"/>
              <a:gd name="T22" fmla="*/ 32 w 42"/>
              <a:gd name="T23" fmla="*/ 38 h 42"/>
              <a:gd name="T24" fmla="*/ 42 w 42"/>
              <a:gd name="T25" fmla="*/ 21 h 42"/>
              <a:gd name="T26" fmla="*/ 39 w 42"/>
              <a:gd name="T27" fmla="*/ 10 h 42"/>
              <a:gd name="T28" fmla="*/ 21 w 42"/>
              <a:gd name="T29" fmla="*/ 0 h 42"/>
              <a:gd name="T30" fmla="*/ 10 w 42"/>
              <a:gd name="T31" fmla="*/ 3 h 42"/>
              <a:gd name="T32" fmla="*/ 0 w 42"/>
              <a:gd name="T33" fmla="*/ 21 h 42"/>
              <a:gd name="T34" fmla="*/ 3 w 42"/>
              <a:gd name="T35" fmla="*/ 32 h 42"/>
              <a:gd name="T36" fmla="*/ 21 w 42"/>
              <a:gd name="T37" fmla="*/ 42 h 42"/>
              <a:gd name="T38" fmla="*/ 32 w 42"/>
              <a:gd name="T39" fmla="*/ 38 h 42"/>
              <a:gd name="T40" fmla="*/ 30 w 42"/>
              <a:gd name="T41"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30" y="35"/>
                </a:moveTo>
                <a:cubicBezTo>
                  <a:pt x="28" y="32"/>
                  <a:pt x="28" y="32"/>
                  <a:pt x="28" y="32"/>
                </a:cubicBezTo>
                <a:cubicBezTo>
                  <a:pt x="26" y="33"/>
                  <a:pt x="24" y="34"/>
                  <a:pt x="21" y="34"/>
                </a:cubicBezTo>
                <a:cubicBezTo>
                  <a:pt x="17" y="34"/>
                  <a:pt x="13" y="32"/>
                  <a:pt x="10" y="28"/>
                </a:cubicBezTo>
                <a:cubicBezTo>
                  <a:pt x="9" y="26"/>
                  <a:pt x="8" y="23"/>
                  <a:pt x="8" y="21"/>
                </a:cubicBezTo>
                <a:cubicBezTo>
                  <a:pt x="8" y="16"/>
                  <a:pt x="10" y="12"/>
                  <a:pt x="14" y="10"/>
                </a:cubicBezTo>
                <a:cubicBezTo>
                  <a:pt x="16" y="8"/>
                  <a:pt x="19" y="8"/>
                  <a:pt x="21" y="8"/>
                </a:cubicBezTo>
                <a:cubicBezTo>
                  <a:pt x="25" y="8"/>
                  <a:pt x="30" y="10"/>
                  <a:pt x="32" y="14"/>
                </a:cubicBezTo>
                <a:cubicBezTo>
                  <a:pt x="33" y="16"/>
                  <a:pt x="34" y="18"/>
                  <a:pt x="34" y="21"/>
                </a:cubicBezTo>
                <a:cubicBezTo>
                  <a:pt x="34" y="25"/>
                  <a:pt x="32" y="29"/>
                  <a:pt x="28" y="32"/>
                </a:cubicBezTo>
                <a:cubicBezTo>
                  <a:pt x="30" y="35"/>
                  <a:pt x="30" y="35"/>
                  <a:pt x="30" y="35"/>
                </a:cubicBezTo>
                <a:cubicBezTo>
                  <a:pt x="32" y="38"/>
                  <a:pt x="32" y="38"/>
                  <a:pt x="32" y="38"/>
                </a:cubicBezTo>
                <a:cubicBezTo>
                  <a:pt x="39" y="34"/>
                  <a:pt x="42" y="28"/>
                  <a:pt x="42" y="21"/>
                </a:cubicBezTo>
                <a:cubicBezTo>
                  <a:pt x="42" y="17"/>
                  <a:pt x="41" y="13"/>
                  <a:pt x="39" y="10"/>
                </a:cubicBezTo>
                <a:cubicBezTo>
                  <a:pt x="35" y="3"/>
                  <a:pt x="28" y="0"/>
                  <a:pt x="21" y="0"/>
                </a:cubicBezTo>
                <a:cubicBezTo>
                  <a:pt x="17" y="0"/>
                  <a:pt x="13" y="1"/>
                  <a:pt x="10" y="3"/>
                </a:cubicBezTo>
                <a:cubicBezTo>
                  <a:pt x="4" y="7"/>
                  <a:pt x="0" y="14"/>
                  <a:pt x="0" y="21"/>
                </a:cubicBezTo>
                <a:cubicBezTo>
                  <a:pt x="0" y="25"/>
                  <a:pt x="1" y="29"/>
                  <a:pt x="3" y="32"/>
                </a:cubicBezTo>
                <a:cubicBezTo>
                  <a:pt x="7" y="38"/>
                  <a:pt x="14" y="42"/>
                  <a:pt x="21" y="42"/>
                </a:cubicBezTo>
                <a:cubicBezTo>
                  <a:pt x="25" y="42"/>
                  <a:pt x="29" y="41"/>
                  <a:pt x="32" y="38"/>
                </a:cubicBezTo>
                <a:lnTo>
                  <a:pt x="30" y="35"/>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292">
            <a:extLst>
              <a:ext uri="{FF2B5EF4-FFF2-40B4-BE49-F238E27FC236}">
                <a16:creationId xmlns:a16="http://schemas.microsoft.com/office/drawing/2014/main" id="{57E30365-FF3B-D241-B5FF-CA0AA7B985B4}"/>
              </a:ext>
            </a:extLst>
          </p:cNvPr>
          <p:cNvSpPr>
            <a:spLocks/>
          </p:cNvSpPr>
          <p:nvPr/>
        </p:nvSpPr>
        <p:spPr bwMode="auto">
          <a:xfrm>
            <a:off x="2997702" y="5702455"/>
            <a:ext cx="1008197" cy="557747"/>
          </a:xfrm>
          <a:custGeom>
            <a:avLst/>
            <a:gdLst>
              <a:gd name="T0" fmla="*/ 4 w 420"/>
              <a:gd name="T1" fmla="*/ 232 h 232"/>
              <a:gd name="T2" fmla="*/ 229 w 420"/>
              <a:gd name="T3" fmla="*/ 232 h 232"/>
              <a:gd name="T4" fmla="*/ 229 w 420"/>
              <a:gd name="T5" fmla="*/ 8 h 232"/>
              <a:gd name="T6" fmla="*/ 416 w 420"/>
              <a:gd name="T7" fmla="*/ 8 h 232"/>
              <a:gd name="T8" fmla="*/ 420 w 420"/>
              <a:gd name="T9" fmla="*/ 4 h 232"/>
              <a:gd name="T10" fmla="*/ 416 w 420"/>
              <a:gd name="T11" fmla="*/ 0 h 232"/>
              <a:gd name="T12" fmla="*/ 221 w 420"/>
              <a:gd name="T13" fmla="*/ 0 h 232"/>
              <a:gd name="T14" fmla="*/ 221 w 420"/>
              <a:gd name="T15" fmla="*/ 224 h 232"/>
              <a:gd name="T16" fmla="*/ 4 w 420"/>
              <a:gd name="T17" fmla="*/ 224 h 232"/>
              <a:gd name="T18" fmla="*/ 0 w 420"/>
              <a:gd name="T19" fmla="*/ 228 h 232"/>
              <a:gd name="T20" fmla="*/ 4 w 420"/>
              <a:gd name="T21"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0" h="232">
                <a:moveTo>
                  <a:pt x="4" y="232"/>
                </a:moveTo>
                <a:cubicBezTo>
                  <a:pt x="229" y="232"/>
                  <a:pt x="229" y="232"/>
                  <a:pt x="229" y="232"/>
                </a:cubicBezTo>
                <a:cubicBezTo>
                  <a:pt x="229" y="8"/>
                  <a:pt x="229" y="8"/>
                  <a:pt x="229" y="8"/>
                </a:cubicBezTo>
                <a:cubicBezTo>
                  <a:pt x="416" y="8"/>
                  <a:pt x="416" y="8"/>
                  <a:pt x="416" y="8"/>
                </a:cubicBezTo>
                <a:cubicBezTo>
                  <a:pt x="418" y="8"/>
                  <a:pt x="420" y="6"/>
                  <a:pt x="420" y="4"/>
                </a:cubicBezTo>
                <a:cubicBezTo>
                  <a:pt x="420" y="2"/>
                  <a:pt x="418" y="0"/>
                  <a:pt x="416" y="0"/>
                </a:cubicBezTo>
                <a:cubicBezTo>
                  <a:pt x="221" y="0"/>
                  <a:pt x="221" y="0"/>
                  <a:pt x="221" y="0"/>
                </a:cubicBezTo>
                <a:cubicBezTo>
                  <a:pt x="221" y="224"/>
                  <a:pt x="221" y="224"/>
                  <a:pt x="221" y="224"/>
                </a:cubicBezTo>
                <a:cubicBezTo>
                  <a:pt x="4" y="224"/>
                  <a:pt x="4" y="224"/>
                  <a:pt x="4" y="224"/>
                </a:cubicBezTo>
                <a:cubicBezTo>
                  <a:pt x="2" y="224"/>
                  <a:pt x="0" y="225"/>
                  <a:pt x="0" y="228"/>
                </a:cubicBezTo>
                <a:cubicBezTo>
                  <a:pt x="0" y="230"/>
                  <a:pt x="2" y="232"/>
                  <a:pt x="4" y="232"/>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1959624403"/>
      </p:ext>
    </p:extLst>
  </p:cSld>
  <p:clrMapOvr>
    <a:masterClrMapping/>
  </p:clrMapOvr>
  <p:transition>
    <p:fade/>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145454" y="1825591"/>
            <a:ext cx="4278313" cy="2908476"/>
            <a:chOff x="3807692" y="2230404"/>
            <a:chExt cx="4278313" cy="2908476"/>
          </a:xfrm>
        </p:grpSpPr>
        <p:sp>
          <p:nvSpPr>
            <p:cNvPr id="37" name="Arrow"/>
            <p:cNvSpPr>
              <a:spLocks noChangeShapeType="1"/>
            </p:cNvSpPr>
            <p:nvPr/>
          </p:nvSpPr>
          <p:spPr bwMode="auto">
            <a:xfrm flipH="1" flipV="1">
              <a:off x="7752629" y="3345005"/>
              <a:ext cx="331788" cy="331788"/>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38" name="Arrow"/>
            <p:cNvSpPr>
              <a:spLocks noChangeShapeType="1"/>
            </p:cNvSpPr>
            <p:nvPr/>
          </p:nvSpPr>
          <p:spPr bwMode="auto">
            <a:xfrm>
              <a:off x="8086005" y="2270268"/>
              <a:ext cx="0" cy="1406525"/>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39" name="Arrow"/>
            <p:cNvSpPr>
              <a:spLocks noChangeShapeType="1"/>
            </p:cNvSpPr>
            <p:nvPr/>
          </p:nvSpPr>
          <p:spPr bwMode="auto">
            <a:xfrm flipH="1" flipV="1">
              <a:off x="5677767" y="4764230"/>
              <a:ext cx="328613" cy="328613"/>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0" name="Arrow"/>
            <p:cNvSpPr>
              <a:spLocks noChangeShapeType="1"/>
            </p:cNvSpPr>
            <p:nvPr/>
          </p:nvSpPr>
          <p:spPr bwMode="auto">
            <a:xfrm flipV="1">
              <a:off x="5687292" y="2598880"/>
              <a:ext cx="1319213" cy="1320800"/>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1" name="Arrow"/>
            <p:cNvSpPr>
              <a:spLocks noChangeShapeType="1"/>
            </p:cNvSpPr>
            <p:nvPr/>
          </p:nvSpPr>
          <p:spPr bwMode="auto">
            <a:xfrm flipH="1" flipV="1">
              <a:off x="6676304" y="2268680"/>
              <a:ext cx="330200" cy="330200"/>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2" name="Arrow"/>
            <p:cNvSpPr>
              <a:spLocks noChangeShapeType="1"/>
            </p:cNvSpPr>
            <p:nvPr/>
          </p:nvSpPr>
          <p:spPr bwMode="auto">
            <a:xfrm flipH="1">
              <a:off x="5303117" y="4764230"/>
              <a:ext cx="374650" cy="374650"/>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3" name="Arrow"/>
            <p:cNvSpPr>
              <a:spLocks noChangeShapeType="1"/>
            </p:cNvSpPr>
            <p:nvPr/>
          </p:nvSpPr>
          <p:spPr bwMode="auto">
            <a:xfrm>
              <a:off x="6676304" y="2268680"/>
              <a:ext cx="1409701" cy="0"/>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4" name="Arrow"/>
            <p:cNvSpPr>
              <a:spLocks noChangeShapeType="1"/>
            </p:cNvSpPr>
            <p:nvPr/>
          </p:nvSpPr>
          <p:spPr bwMode="auto">
            <a:xfrm flipH="1">
              <a:off x="6719167" y="3345005"/>
              <a:ext cx="1033463" cy="1036638"/>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5" name="Arrow"/>
            <p:cNvSpPr>
              <a:spLocks noChangeShapeType="1"/>
            </p:cNvSpPr>
            <p:nvPr/>
          </p:nvSpPr>
          <p:spPr bwMode="auto">
            <a:xfrm>
              <a:off x="5355504" y="3587893"/>
              <a:ext cx="331788" cy="331788"/>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6" name="Arrow"/>
            <p:cNvSpPr>
              <a:spLocks noChangeShapeType="1"/>
            </p:cNvSpPr>
            <p:nvPr/>
          </p:nvSpPr>
          <p:spPr bwMode="auto">
            <a:xfrm flipV="1">
              <a:off x="3807692" y="3587893"/>
              <a:ext cx="1547813" cy="1549400"/>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8" name="Rectangle 14"/>
            <p:cNvSpPr>
              <a:spLocks noChangeArrowheads="1"/>
            </p:cNvSpPr>
            <p:nvPr/>
          </p:nvSpPr>
          <p:spPr bwMode="auto">
            <a:xfrm rot="2700000">
              <a:off x="7011572" y="2587232"/>
              <a:ext cx="990656"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1800" b="1" dirty="0">
                  <a:solidFill>
                    <a:srgbClr val="C4D600"/>
                  </a:solidFill>
                  <a:cs typeface="Arial" pitchFamily="34" charset="0"/>
                </a:rPr>
                <a:t>content</a:t>
              </a:r>
            </a:p>
          </p:txBody>
        </p:sp>
        <p:sp>
          <p:nvSpPr>
            <p:cNvPr id="49" name="Rectangle 15"/>
            <p:cNvSpPr>
              <a:spLocks noChangeArrowheads="1"/>
            </p:cNvSpPr>
            <p:nvPr/>
          </p:nvSpPr>
          <p:spPr bwMode="auto">
            <a:xfrm rot="18900000">
              <a:off x="3932494" y="4386869"/>
              <a:ext cx="1550104" cy="49244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3200" dirty="0">
                  <a:solidFill>
                    <a:srgbClr val="86BC25"/>
                  </a:solidFill>
                  <a:cs typeface="Arial" pitchFamily="34" charset="0"/>
                </a:rPr>
                <a:t>content</a:t>
              </a:r>
            </a:p>
          </p:txBody>
        </p:sp>
        <p:sp>
          <p:nvSpPr>
            <p:cNvPr id="50" name="Rectangle 18"/>
            <p:cNvSpPr>
              <a:spLocks noChangeArrowheads="1"/>
            </p:cNvSpPr>
            <p:nvPr/>
          </p:nvSpPr>
          <p:spPr bwMode="auto">
            <a:xfrm rot="18900000">
              <a:off x="6122847" y="3937450"/>
              <a:ext cx="760760"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defTabSz="914400" fontAlgn="base">
                <a:spcBef>
                  <a:spcPct val="0"/>
                </a:spcBef>
                <a:spcAft>
                  <a:spcPct val="0"/>
                </a:spcAft>
              </a:pPr>
              <a:r>
                <a:rPr lang="en-US" sz="1400" dirty="0">
                  <a:solidFill>
                    <a:srgbClr val="43B02A"/>
                  </a:solidFill>
                  <a:cs typeface="Arial" pitchFamily="34" charset="0"/>
                </a:rPr>
                <a:t>content</a:t>
              </a:r>
            </a:p>
          </p:txBody>
        </p:sp>
        <p:sp>
          <p:nvSpPr>
            <p:cNvPr id="51" name="Rectangle 21"/>
            <p:cNvSpPr>
              <a:spLocks noChangeArrowheads="1"/>
            </p:cNvSpPr>
            <p:nvPr/>
          </p:nvSpPr>
          <p:spPr bwMode="auto">
            <a:xfrm rot="18900000">
              <a:off x="6363566" y="2897424"/>
              <a:ext cx="966611" cy="3077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2000" dirty="0">
                  <a:solidFill>
                    <a:srgbClr val="86BC25"/>
                  </a:solidFill>
                  <a:cs typeface="Arial" pitchFamily="34" charset="0"/>
                </a:rPr>
                <a:t>content</a:t>
              </a:r>
            </a:p>
          </p:txBody>
        </p:sp>
        <p:sp>
          <p:nvSpPr>
            <p:cNvPr id="52" name="Rectangle 27">
              <a:extLst>
                <a:ext uri="{FF2B5EF4-FFF2-40B4-BE49-F238E27FC236}">
                  <a16:creationId xmlns:a16="http://schemas.microsoft.com/office/drawing/2014/main" id="{9CBCF320-DF10-47C8-A624-C9F84A67460D}"/>
                </a:ext>
              </a:extLst>
            </p:cNvPr>
            <p:cNvSpPr>
              <a:spLocks noChangeArrowheads="1"/>
            </p:cNvSpPr>
            <p:nvPr/>
          </p:nvSpPr>
          <p:spPr bwMode="auto">
            <a:xfrm rot="2700000">
              <a:off x="5178531" y="4057179"/>
              <a:ext cx="87203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ru-RU" sz="1800" dirty="0">
                  <a:solidFill>
                    <a:srgbClr val="43B02A"/>
                  </a:solidFill>
                  <a:latin typeface="+mn-lt"/>
                  <a:cs typeface="Arial" pitchFamily="34" charset="0"/>
                </a:rPr>
                <a:t>content</a:t>
              </a:r>
            </a:p>
          </p:txBody>
        </p:sp>
        <p:sp>
          <p:nvSpPr>
            <p:cNvPr id="53" name="Rectangle 31"/>
            <p:cNvSpPr>
              <a:spLocks noChangeArrowheads="1"/>
            </p:cNvSpPr>
            <p:nvPr/>
          </p:nvSpPr>
          <p:spPr bwMode="auto">
            <a:xfrm rot="18900000">
              <a:off x="5865560" y="3640018"/>
              <a:ext cx="678071"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1400" dirty="0">
                  <a:solidFill>
                    <a:srgbClr val="C4D600"/>
                  </a:solidFill>
                  <a:cs typeface="Arial" pitchFamily="34" charset="0"/>
                </a:rPr>
                <a:t>content</a:t>
              </a:r>
            </a:p>
          </p:txBody>
        </p:sp>
        <p:sp>
          <p:nvSpPr>
            <p:cNvPr id="54" name="Rectangle 35"/>
            <p:cNvSpPr>
              <a:spLocks noChangeArrowheads="1"/>
            </p:cNvSpPr>
            <p:nvPr/>
          </p:nvSpPr>
          <p:spPr bwMode="auto">
            <a:xfrm rot="18900000">
              <a:off x="6120600" y="3116479"/>
              <a:ext cx="1537280" cy="43088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2800" b="1" dirty="0">
                  <a:solidFill>
                    <a:srgbClr val="86BC25"/>
                  </a:solidFill>
                  <a:cs typeface="Arial" pitchFamily="34" charset="0"/>
                </a:rPr>
                <a:t>content</a:t>
              </a:r>
            </a:p>
          </p:txBody>
        </p:sp>
        <p:sp>
          <p:nvSpPr>
            <p:cNvPr id="55" name="Rectangle 14"/>
            <p:cNvSpPr>
              <a:spLocks noChangeArrowheads="1"/>
            </p:cNvSpPr>
            <p:nvPr/>
          </p:nvSpPr>
          <p:spPr bwMode="auto">
            <a:xfrm rot="18900000">
              <a:off x="6674469" y="3507060"/>
              <a:ext cx="546625"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1000" b="1" dirty="0">
                  <a:solidFill>
                    <a:srgbClr val="43B02A"/>
                  </a:solidFill>
                  <a:cs typeface="Arial" pitchFamily="34" charset="0"/>
                </a:rPr>
                <a:t>content</a:t>
              </a:r>
            </a:p>
          </p:txBody>
        </p:sp>
        <p:sp>
          <p:nvSpPr>
            <p:cNvPr id="56" name="Rectangle 28"/>
            <p:cNvSpPr>
              <a:spLocks noChangeArrowheads="1"/>
            </p:cNvSpPr>
            <p:nvPr/>
          </p:nvSpPr>
          <p:spPr bwMode="auto">
            <a:xfrm rot="18900000">
              <a:off x="6902379" y="3246748"/>
              <a:ext cx="875240"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600" b="1" dirty="0">
                  <a:solidFill>
                    <a:srgbClr val="86BC25"/>
                  </a:solidFill>
                  <a:cs typeface="Arial" pitchFamily="34" charset="0"/>
                </a:rPr>
                <a:t>content</a:t>
              </a:r>
            </a:p>
          </p:txBody>
        </p:sp>
      </p:grpSp>
      <p:grpSp>
        <p:nvGrpSpPr>
          <p:cNvPr id="3" name="Group 2"/>
          <p:cNvGrpSpPr/>
          <p:nvPr/>
        </p:nvGrpSpPr>
        <p:grpSpPr>
          <a:xfrm>
            <a:off x="7265812" y="1644345"/>
            <a:ext cx="3788477" cy="3741043"/>
            <a:chOff x="4098749" y="1956495"/>
            <a:chExt cx="3788477" cy="3741043"/>
          </a:xfrm>
        </p:grpSpPr>
        <p:grpSp>
          <p:nvGrpSpPr>
            <p:cNvPr id="22" name="Group 18"/>
            <p:cNvGrpSpPr/>
            <p:nvPr/>
          </p:nvGrpSpPr>
          <p:grpSpPr>
            <a:xfrm>
              <a:off x="4238831" y="3190030"/>
              <a:ext cx="290433" cy="1718127"/>
              <a:chOff x="3411744" y="3709142"/>
              <a:chExt cx="290433" cy="1718127"/>
            </a:xfrm>
            <a:solidFill>
              <a:srgbClr val="D0D0CE"/>
            </a:solidFill>
          </p:grpSpPr>
          <p:sp>
            <p:nvSpPr>
              <p:cNvPr id="23" name="Freeform 5"/>
              <p:cNvSpPr>
                <a:spLocks/>
              </p:cNvSpPr>
              <p:nvPr/>
            </p:nvSpPr>
            <p:spPr bwMode="auto">
              <a:xfrm>
                <a:off x="3622387" y="3714461"/>
                <a:ext cx="41490" cy="50001"/>
              </a:xfrm>
              <a:custGeom>
                <a:avLst/>
                <a:gdLst>
                  <a:gd name="T0" fmla="*/ 4 w 28"/>
                  <a:gd name="T1" fmla="*/ 19 h 33"/>
                  <a:gd name="T2" fmla="*/ 15 w 28"/>
                  <a:gd name="T3" fmla="*/ 28 h 33"/>
                  <a:gd name="T4" fmla="*/ 16 w 28"/>
                  <a:gd name="T5" fmla="*/ 26 h 33"/>
                  <a:gd name="T6" fmla="*/ 17 w 28"/>
                  <a:gd name="T7" fmla="*/ 25 h 33"/>
                  <a:gd name="T8" fmla="*/ 19 w 28"/>
                  <a:gd name="T9" fmla="*/ 22 h 33"/>
                  <a:gd name="T10" fmla="*/ 21 w 28"/>
                  <a:gd name="T11" fmla="*/ 18 h 33"/>
                  <a:gd name="T12" fmla="*/ 23 w 28"/>
                  <a:gd name="T13" fmla="*/ 15 h 33"/>
                  <a:gd name="T14" fmla="*/ 24 w 28"/>
                  <a:gd name="T15" fmla="*/ 14 h 33"/>
                  <a:gd name="T16" fmla="*/ 14 w 28"/>
                  <a:gd name="T17" fmla="*/ 4 h 33"/>
                  <a:gd name="T18" fmla="*/ 12 w 28"/>
                  <a:gd name="T19" fmla="*/ 6 h 33"/>
                  <a:gd name="T20" fmla="*/ 11 w 28"/>
                  <a:gd name="T21" fmla="*/ 7 h 33"/>
                  <a:gd name="T22" fmla="*/ 9 w 28"/>
                  <a:gd name="T23" fmla="*/ 11 h 33"/>
                  <a:gd name="T24" fmla="*/ 7 w 28"/>
                  <a:gd name="T25" fmla="*/ 14 h 33"/>
                  <a:gd name="T26" fmla="*/ 5 w 28"/>
                  <a:gd name="T27" fmla="*/ 17 h 33"/>
                  <a:gd name="T28" fmla="*/ 4 w 28"/>
                  <a:gd name="T2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33">
                    <a:moveTo>
                      <a:pt x="4" y="19"/>
                    </a:moveTo>
                    <a:cubicBezTo>
                      <a:pt x="0" y="25"/>
                      <a:pt x="8" y="33"/>
                      <a:pt x="15" y="28"/>
                    </a:cubicBezTo>
                    <a:cubicBezTo>
                      <a:pt x="15" y="27"/>
                      <a:pt x="16" y="27"/>
                      <a:pt x="16" y="26"/>
                    </a:cubicBezTo>
                    <a:cubicBezTo>
                      <a:pt x="17" y="25"/>
                      <a:pt x="17" y="25"/>
                      <a:pt x="17" y="25"/>
                    </a:cubicBezTo>
                    <a:cubicBezTo>
                      <a:pt x="19" y="22"/>
                      <a:pt x="19" y="22"/>
                      <a:pt x="19" y="22"/>
                    </a:cubicBezTo>
                    <a:cubicBezTo>
                      <a:pt x="21" y="18"/>
                      <a:pt x="21" y="18"/>
                      <a:pt x="21" y="18"/>
                    </a:cubicBezTo>
                    <a:cubicBezTo>
                      <a:pt x="23" y="15"/>
                      <a:pt x="23" y="15"/>
                      <a:pt x="23" y="15"/>
                    </a:cubicBezTo>
                    <a:cubicBezTo>
                      <a:pt x="24" y="14"/>
                      <a:pt x="24" y="14"/>
                      <a:pt x="24" y="14"/>
                    </a:cubicBezTo>
                    <a:cubicBezTo>
                      <a:pt x="28" y="8"/>
                      <a:pt x="20" y="0"/>
                      <a:pt x="14" y="4"/>
                    </a:cubicBezTo>
                    <a:cubicBezTo>
                      <a:pt x="13" y="5"/>
                      <a:pt x="12" y="6"/>
                      <a:pt x="12" y="6"/>
                    </a:cubicBezTo>
                    <a:cubicBezTo>
                      <a:pt x="11" y="7"/>
                      <a:pt x="11" y="7"/>
                      <a:pt x="11" y="7"/>
                    </a:cubicBezTo>
                    <a:cubicBezTo>
                      <a:pt x="9" y="11"/>
                      <a:pt x="9" y="11"/>
                      <a:pt x="9" y="11"/>
                    </a:cubicBezTo>
                    <a:cubicBezTo>
                      <a:pt x="7" y="14"/>
                      <a:pt x="7" y="14"/>
                      <a:pt x="7" y="14"/>
                    </a:cubicBezTo>
                    <a:cubicBezTo>
                      <a:pt x="5" y="17"/>
                      <a:pt x="5" y="17"/>
                      <a:pt x="5" y="17"/>
                    </a:cubicBezTo>
                    <a:lnTo>
                      <a:pt x="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 name="Freeform 6"/>
              <p:cNvSpPr>
                <a:spLocks/>
              </p:cNvSpPr>
              <p:nvPr/>
            </p:nvSpPr>
            <p:spPr bwMode="auto">
              <a:xfrm>
                <a:off x="3617068" y="3709142"/>
                <a:ext cx="52129" cy="59576"/>
              </a:xfrm>
              <a:custGeom>
                <a:avLst/>
                <a:gdLst>
                  <a:gd name="T0" fmla="*/ 2 w 34"/>
                  <a:gd name="T1" fmla="*/ 18 h 39"/>
                  <a:gd name="T2" fmla="*/ 4 w 34"/>
                  <a:gd name="T3" fmla="*/ 35 h 39"/>
                  <a:gd name="T4" fmla="*/ 21 w 34"/>
                  <a:gd name="T5" fmla="*/ 36 h 39"/>
                  <a:gd name="T6" fmla="*/ 22 w 34"/>
                  <a:gd name="T7" fmla="*/ 35 h 39"/>
                  <a:gd name="T8" fmla="*/ 24 w 34"/>
                  <a:gd name="T9" fmla="*/ 32 h 39"/>
                  <a:gd name="T10" fmla="*/ 25 w 34"/>
                  <a:gd name="T11" fmla="*/ 31 h 39"/>
                  <a:gd name="T12" fmla="*/ 27 w 34"/>
                  <a:gd name="T13" fmla="*/ 28 h 39"/>
                  <a:gd name="T14" fmla="*/ 29 w 34"/>
                  <a:gd name="T15" fmla="*/ 25 h 39"/>
                  <a:gd name="T16" fmla="*/ 32 w 34"/>
                  <a:gd name="T17" fmla="*/ 20 h 39"/>
                  <a:gd name="T18" fmla="*/ 34 w 34"/>
                  <a:gd name="T19" fmla="*/ 13 h 39"/>
                  <a:gd name="T20" fmla="*/ 21 w 34"/>
                  <a:gd name="T21" fmla="*/ 0 h 39"/>
                  <a:gd name="T22" fmla="*/ 13 w 34"/>
                  <a:gd name="T23" fmla="*/ 3 h 39"/>
                  <a:gd name="T24" fmla="*/ 10 w 34"/>
                  <a:gd name="T25" fmla="*/ 6 h 39"/>
                  <a:gd name="T26" fmla="*/ 9 w 34"/>
                  <a:gd name="T27" fmla="*/ 7 h 39"/>
                  <a:gd name="T28" fmla="*/ 7 w 34"/>
                  <a:gd name="T29" fmla="*/ 10 h 39"/>
                  <a:gd name="T30" fmla="*/ 3 w 34"/>
                  <a:gd name="T31" fmla="*/ 17 h 39"/>
                  <a:gd name="T32" fmla="*/ 7 w 34"/>
                  <a:gd name="T33" fmla="*/ 22 h 39"/>
                  <a:gd name="T34" fmla="*/ 13 w 34"/>
                  <a:gd name="T35" fmla="*/ 23 h 39"/>
                  <a:gd name="T36" fmla="*/ 15 w 34"/>
                  <a:gd name="T37" fmla="*/ 20 h 39"/>
                  <a:gd name="T38" fmla="*/ 19 w 34"/>
                  <a:gd name="T39" fmla="*/ 14 h 39"/>
                  <a:gd name="T40" fmla="*/ 20 w 34"/>
                  <a:gd name="T41" fmla="*/ 12 h 39"/>
                  <a:gd name="T42" fmla="*/ 20 w 34"/>
                  <a:gd name="T43" fmla="*/ 12 h 39"/>
                  <a:gd name="T44" fmla="*/ 20 w 34"/>
                  <a:gd name="T45" fmla="*/ 12 h 39"/>
                  <a:gd name="T46" fmla="*/ 22 w 34"/>
                  <a:gd name="T47" fmla="*/ 12 h 39"/>
                  <a:gd name="T48" fmla="*/ 22 w 34"/>
                  <a:gd name="T49" fmla="*/ 14 h 39"/>
                  <a:gd name="T50" fmla="*/ 21 w 34"/>
                  <a:gd name="T51" fmla="*/ 15 h 39"/>
                  <a:gd name="T52" fmla="*/ 19 w 34"/>
                  <a:gd name="T53" fmla="*/ 18 h 39"/>
                  <a:gd name="T54" fmla="*/ 17 w 34"/>
                  <a:gd name="T55" fmla="*/ 21 h 39"/>
                  <a:gd name="T56" fmla="*/ 15 w 34"/>
                  <a:gd name="T57" fmla="*/ 25 h 39"/>
                  <a:gd name="T58" fmla="*/ 14 w 34"/>
                  <a:gd name="T59" fmla="*/ 26 h 39"/>
                  <a:gd name="T60" fmla="*/ 14 w 34"/>
                  <a:gd name="T61" fmla="*/ 26 h 39"/>
                  <a:gd name="T62" fmla="*/ 18 w 34"/>
                  <a:gd name="T63" fmla="*/ 31 h 39"/>
                  <a:gd name="T64" fmla="*/ 13 w 34"/>
                  <a:gd name="T65" fmla="*/ 27 h 39"/>
                  <a:gd name="T66" fmla="*/ 12 w 34"/>
                  <a:gd name="T67" fmla="*/ 25 h 39"/>
                  <a:gd name="T68" fmla="*/ 7 w 34"/>
                  <a:gd name="T69"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39">
                    <a:moveTo>
                      <a:pt x="7" y="22"/>
                    </a:moveTo>
                    <a:cubicBezTo>
                      <a:pt x="2" y="18"/>
                      <a:pt x="2" y="18"/>
                      <a:pt x="2" y="18"/>
                    </a:cubicBezTo>
                    <a:cubicBezTo>
                      <a:pt x="1" y="21"/>
                      <a:pt x="0" y="23"/>
                      <a:pt x="0" y="25"/>
                    </a:cubicBezTo>
                    <a:cubicBezTo>
                      <a:pt x="0" y="29"/>
                      <a:pt x="2" y="32"/>
                      <a:pt x="4" y="35"/>
                    </a:cubicBezTo>
                    <a:cubicBezTo>
                      <a:pt x="6" y="37"/>
                      <a:pt x="10" y="38"/>
                      <a:pt x="13" y="38"/>
                    </a:cubicBezTo>
                    <a:cubicBezTo>
                      <a:pt x="16" y="39"/>
                      <a:pt x="19" y="37"/>
                      <a:pt x="21" y="36"/>
                    </a:cubicBezTo>
                    <a:cubicBezTo>
                      <a:pt x="22" y="35"/>
                      <a:pt x="22" y="35"/>
                      <a:pt x="22" y="35"/>
                    </a:cubicBezTo>
                    <a:cubicBezTo>
                      <a:pt x="22" y="35"/>
                      <a:pt x="22" y="35"/>
                      <a:pt x="22" y="35"/>
                    </a:cubicBezTo>
                    <a:cubicBezTo>
                      <a:pt x="22" y="35"/>
                      <a:pt x="23" y="34"/>
                      <a:pt x="24" y="32"/>
                    </a:cubicBezTo>
                    <a:cubicBezTo>
                      <a:pt x="24" y="32"/>
                      <a:pt x="24" y="32"/>
                      <a:pt x="24" y="32"/>
                    </a:cubicBezTo>
                    <a:cubicBezTo>
                      <a:pt x="25" y="31"/>
                      <a:pt x="25" y="31"/>
                      <a:pt x="25" y="31"/>
                    </a:cubicBezTo>
                    <a:cubicBezTo>
                      <a:pt x="25" y="31"/>
                      <a:pt x="25" y="31"/>
                      <a:pt x="25" y="31"/>
                    </a:cubicBezTo>
                    <a:cubicBezTo>
                      <a:pt x="27" y="28"/>
                      <a:pt x="27" y="28"/>
                      <a:pt x="27" y="28"/>
                    </a:cubicBezTo>
                    <a:cubicBezTo>
                      <a:pt x="27" y="28"/>
                      <a:pt x="27" y="28"/>
                      <a:pt x="27" y="28"/>
                    </a:cubicBezTo>
                    <a:cubicBezTo>
                      <a:pt x="29" y="25"/>
                      <a:pt x="29" y="25"/>
                      <a:pt x="29" y="25"/>
                    </a:cubicBezTo>
                    <a:cubicBezTo>
                      <a:pt x="29" y="25"/>
                      <a:pt x="29" y="25"/>
                      <a:pt x="29" y="25"/>
                    </a:cubicBezTo>
                    <a:cubicBezTo>
                      <a:pt x="31" y="21"/>
                      <a:pt x="31" y="21"/>
                      <a:pt x="31" y="21"/>
                    </a:cubicBezTo>
                    <a:cubicBezTo>
                      <a:pt x="32" y="20"/>
                      <a:pt x="32" y="20"/>
                      <a:pt x="32" y="20"/>
                    </a:cubicBezTo>
                    <a:cubicBezTo>
                      <a:pt x="32" y="21"/>
                      <a:pt x="32" y="21"/>
                      <a:pt x="32" y="21"/>
                    </a:cubicBezTo>
                    <a:cubicBezTo>
                      <a:pt x="33" y="18"/>
                      <a:pt x="34" y="16"/>
                      <a:pt x="34" y="13"/>
                    </a:cubicBezTo>
                    <a:cubicBezTo>
                      <a:pt x="34" y="10"/>
                      <a:pt x="32" y="6"/>
                      <a:pt x="30" y="4"/>
                    </a:cubicBezTo>
                    <a:cubicBezTo>
                      <a:pt x="28" y="2"/>
                      <a:pt x="25" y="0"/>
                      <a:pt x="21" y="0"/>
                    </a:cubicBezTo>
                    <a:cubicBezTo>
                      <a:pt x="18" y="0"/>
                      <a:pt x="16" y="1"/>
                      <a:pt x="13" y="3"/>
                    </a:cubicBezTo>
                    <a:cubicBezTo>
                      <a:pt x="13" y="3"/>
                      <a:pt x="13" y="3"/>
                      <a:pt x="13" y="3"/>
                    </a:cubicBezTo>
                    <a:cubicBezTo>
                      <a:pt x="13" y="3"/>
                      <a:pt x="13" y="3"/>
                      <a:pt x="13" y="3"/>
                    </a:cubicBezTo>
                    <a:cubicBezTo>
                      <a:pt x="12" y="4"/>
                      <a:pt x="11" y="5"/>
                      <a:pt x="10" y="6"/>
                    </a:cubicBezTo>
                    <a:cubicBezTo>
                      <a:pt x="10" y="6"/>
                      <a:pt x="10" y="6"/>
                      <a:pt x="10" y="6"/>
                    </a:cubicBezTo>
                    <a:cubicBezTo>
                      <a:pt x="9" y="7"/>
                      <a:pt x="9" y="7"/>
                      <a:pt x="9" y="7"/>
                    </a:cubicBezTo>
                    <a:cubicBezTo>
                      <a:pt x="9" y="7"/>
                      <a:pt x="9" y="7"/>
                      <a:pt x="9" y="7"/>
                    </a:cubicBezTo>
                    <a:cubicBezTo>
                      <a:pt x="7" y="10"/>
                      <a:pt x="7" y="10"/>
                      <a:pt x="7" y="10"/>
                    </a:cubicBezTo>
                    <a:cubicBezTo>
                      <a:pt x="5" y="14"/>
                      <a:pt x="5" y="14"/>
                      <a:pt x="5" y="14"/>
                    </a:cubicBezTo>
                    <a:cubicBezTo>
                      <a:pt x="3" y="17"/>
                      <a:pt x="3" y="17"/>
                      <a:pt x="3" y="17"/>
                    </a:cubicBezTo>
                    <a:cubicBezTo>
                      <a:pt x="2" y="19"/>
                      <a:pt x="2" y="19"/>
                      <a:pt x="2" y="19"/>
                    </a:cubicBezTo>
                    <a:cubicBezTo>
                      <a:pt x="7" y="22"/>
                      <a:pt x="7" y="22"/>
                      <a:pt x="7" y="22"/>
                    </a:cubicBezTo>
                    <a:cubicBezTo>
                      <a:pt x="12" y="25"/>
                      <a:pt x="12" y="25"/>
                      <a:pt x="12" y="25"/>
                    </a:cubicBezTo>
                    <a:cubicBezTo>
                      <a:pt x="13" y="23"/>
                      <a:pt x="13" y="23"/>
                      <a:pt x="13" y="23"/>
                    </a:cubicBezTo>
                    <a:cubicBezTo>
                      <a:pt x="15" y="20"/>
                      <a:pt x="15" y="20"/>
                      <a:pt x="15" y="20"/>
                    </a:cubicBezTo>
                    <a:cubicBezTo>
                      <a:pt x="15" y="20"/>
                      <a:pt x="15" y="20"/>
                      <a:pt x="15" y="20"/>
                    </a:cubicBezTo>
                    <a:cubicBezTo>
                      <a:pt x="17" y="17"/>
                      <a:pt x="17" y="17"/>
                      <a:pt x="17" y="17"/>
                    </a:cubicBezTo>
                    <a:cubicBezTo>
                      <a:pt x="19" y="14"/>
                      <a:pt x="19" y="14"/>
                      <a:pt x="19" y="14"/>
                    </a:cubicBezTo>
                    <a:cubicBezTo>
                      <a:pt x="19" y="14"/>
                      <a:pt x="19" y="14"/>
                      <a:pt x="19" y="14"/>
                    </a:cubicBezTo>
                    <a:cubicBezTo>
                      <a:pt x="20" y="12"/>
                      <a:pt x="20" y="12"/>
                      <a:pt x="20" y="12"/>
                    </a:cubicBezTo>
                    <a:cubicBezTo>
                      <a:pt x="20" y="13"/>
                      <a:pt x="20" y="13"/>
                      <a:pt x="20" y="13"/>
                    </a:cubicBezTo>
                    <a:cubicBezTo>
                      <a:pt x="20" y="12"/>
                      <a:pt x="20" y="12"/>
                      <a:pt x="20" y="12"/>
                    </a:cubicBezTo>
                    <a:cubicBezTo>
                      <a:pt x="17" y="7"/>
                      <a:pt x="17" y="7"/>
                      <a:pt x="17" y="7"/>
                    </a:cubicBezTo>
                    <a:cubicBezTo>
                      <a:pt x="20" y="12"/>
                      <a:pt x="20" y="12"/>
                      <a:pt x="20" y="12"/>
                    </a:cubicBezTo>
                    <a:cubicBezTo>
                      <a:pt x="21" y="12"/>
                      <a:pt x="21" y="12"/>
                      <a:pt x="21" y="12"/>
                    </a:cubicBezTo>
                    <a:cubicBezTo>
                      <a:pt x="22" y="12"/>
                      <a:pt x="22" y="12"/>
                      <a:pt x="22" y="12"/>
                    </a:cubicBezTo>
                    <a:cubicBezTo>
                      <a:pt x="22" y="13"/>
                      <a:pt x="22" y="13"/>
                      <a:pt x="22" y="13"/>
                    </a:cubicBezTo>
                    <a:cubicBezTo>
                      <a:pt x="22" y="13"/>
                      <a:pt x="22" y="14"/>
                      <a:pt x="22" y="14"/>
                    </a:cubicBezTo>
                    <a:cubicBezTo>
                      <a:pt x="22" y="14"/>
                      <a:pt x="22" y="14"/>
                      <a:pt x="22" y="14"/>
                    </a:cubicBezTo>
                    <a:cubicBezTo>
                      <a:pt x="21" y="15"/>
                      <a:pt x="21" y="15"/>
                      <a:pt x="21" y="15"/>
                    </a:cubicBezTo>
                    <a:cubicBezTo>
                      <a:pt x="21" y="15"/>
                      <a:pt x="21" y="15"/>
                      <a:pt x="21" y="15"/>
                    </a:cubicBezTo>
                    <a:cubicBezTo>
                      <a:pt x="19" y="18"/>
                      <a:pt x="19" y="18"/>
                      <a:pt x="19" y="18"/>
                    </a:cubicBezTo>
                    <a:cubicBezTo>
                      <a:pt x="19" y="18"/>
                      <a:pt x="19" y="18"/>
                      <a:pt x="19" y="18"/>
                    </a:cubicBezTo>
                    <a:cubicBezTo>
                      <a:pt x="17" y="21"/>
                      <a:pt x="17" y="21"/>
                      <a:pt x="17" y="21"/>
                    </a:cubicBezTo>
                    <a:cubicBezTo>
                      <a:pt x="17" y="21"/>
                      <a:pt x="17" y="21"/>
                      <a:pt x="17" y="21"/>
                    </a:cubicBezTo>
                    <a:cubicBezTo>
                      <a:pt x="15" y="25"/>
                      <a:pt x="15" y="25"/>
                      <a:pt x="15" y="25"/>
                    </a:cubicBezTo>
                    <a:cubicBezTo>
                      <a:pt x="15" y="25"/>
                      <a:pt x="15" y="25"/>
                      <a:pt x="15" y="25"/>
                    </a:cubicBezTo>
                    <a:cubicBezTo>
                      <a:pt x="14" y="26"/>
                      <a:pt x="14" y="26"/>
                      <a:pt x="14" y="26"/>
                    </a:cubicBezTo>
                    <a:cubicBezTo>
                      <a:pt x="14" y="26"/>
                      <a:pt x="14" y="26"/>
                      <a:pt x="14" y="26"/>
                    </a:cubicBezTo>
                    <a:cubicBezTo>
                      <a:pt x="14" y="26"/>
                      <a:pt x="14" y="26"/>
                      <a:pt x="14" y="26"/>
                    </a:cubicBezTo>
                    <a:cubicBezTo>
                      <a:pt x="14" y="27"/>
                      <a:pt x="14" y="27"/>
                      <a:pt x="14" y="27"/>
                    </a:cubicBezTo>
                    <a:cubicBezTo>
                      <a:pt x="18" y="31"/>
                      <a:pt x="18" y="31"/>
                      <a:pt x="18" y="31"/>
                    </a:cubicBezTo>
                    <a:cubicBezTo>
                      <a:pt x="14" y="26"/>
                      <a:pt x="14" y="26"/>
                      <a:pt x="14" y="26"/>
                    </a:cubicBezTo>
                    <a:cubicBezTo>
                      <a:pt x="14" y="27"/>
                      <a:pt x="13" y="27"/>
                      <a:pt x="13" y="27"/>
                    </a:cubicBezTo>
                    <a:cubicBezTo>
                      <a:pt x="12" y="26"/>
                      <a:pt x="12" y="26"/>
                      <a:pt x="12" y="26"/>
                    </a:cubicBezTo>
                    <a:cubicBezTo>
                      <a:pt x="12" y="25"/>
                      <a:pt x="12" y="25"/>
                      <a:pt x="12" y="25"/>
                    </a:cubicBezTo>
                    <a:cubicBezTo>
                      <a:pt x="12" y="25"/>
                      <a:pt x="12" y="25"/>
                      <a:pt x="12" y="25"/>
                    </a:cubicBezTo>
                    <a:lnTo>
                      <a:pt x="7"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 name="Freeform 7"/>
              <p:cNvSpPr>
                <a:spLocks/>
              </p:cNvSpPr>
              <p:nvPr/>
            </p:nvSpPr>
            <p:spPr bwMode="auto">
              <a:xfrm>
                <a:off x="3561748" y="3827230"/>
                <a:ext cx="39363" cy="53193"/>
              </a:xfrm>
              <a:custGeom>
                <a:avLst/>
                <a:gdLst>
                  <a:gd name="T0" fmla="*/ 3 w 26"/>
                  <a:gd name="T1" fmla="*/ 21 h 35"/>
                  <a:gd name="T2" fmla="*/ 16 w 26"/>
                  <a:gd name="T3" fmla="*/ 28 h 35"/>
                  <a:gd name="T4" fmla="*/ 16 w 26"/>
                  <a:gd name="T5" fmla="*/ 27 h 35"/>
                  <a:gd name="T6" fmla="*/ 18 w 26"/>
                  <a:gd name="T7" fmla="*/ 24 h 35"/>
                  <a:gd name="T8" fmla="*/ 20 w 26"/>
                  <a:gd name="T9" fmla="*/ 20 h 35"/>
                  <a:gd name="T10" fmla="*/ 22 w 26"/>
                  <a:gd name="T11" fmla="*/ 16 h 35"/>
                  <a:gd name="T12" fmla="*/ 22 w 26"/>
                  <a:gd name="T13" fmla="*/ 14 h 35"/>
                  <a:gd name="T14" fmla="*/ 11 w 26"/>
                  <a:gd name="T15" fmla="*/ 6 h 35"/>
                  <a:gd name="T16" fmla="*/ 9 w 26"/>
                  <a:gd name="T17" fmla="*/ 8 h 35"/>
                  <a:gd name="T18" fmla="*/ 9 w 26"/>
                  <a:gd name="T19" fmla="*/ 10 h 35"/>
                  <a:gd name="T20" fmla="*/ 7 w 26"/>
                  <a:gd name="T21" fmla="*/ 14 h 35"/>
                  <a:gd name="T22" fmla="*/ 5 w 26"/>
                  <a:gd name="T23" fmla="*/ 18 h 35"/>
                  <a:gd name="T24" fmla="*/ 3 w 26"/>
                  <a:gd name="T25" fmla="*/ 2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5">
                    <a:moveTo>
                      <a:pt x="3" y="21"/>
                    </a:moveTo>
                    <a:cubicBezTo>
                      <a:pt x="0" y="29"/>
                      <a:pt x="11" y="35"/>
                      <a:pt x="16" y="28"/>
                    </a:cubicBezTo>
                    <a:cubicBezTo>
                      <a:pt x="16" y="28"/>
                      <a:pt x="16" y="27"/>
                      <a:pt x="16" y="27"/>
                    </a:cubicBezTo>
                    <a:cubicBezTo>
                      <a:pt x="18" y="24"/>
                      <a:pt x="18" y="24"/>
                      <a:pt x="18" y="24"/>
                    </a:cubicBezTo>
                    <a:cubicBezTo>
                      <a:pt x="20" y="20"/>
                      <a:pt x="20" y="20"/>
                      <a:pt x="20" y="20"/>
                    </a:cubicBezTo>
                    <a:cubicBezTo>
                      <a:pt x="22" y="16"/>
                      <a:pt x="22" y="16"/>
                      <a:pt x="22" y="16"/>
                    </a:cubicBezTo>
                    <a:cubicBezTo>
                      <a:pt x="22" y="14"/>
                      <a:pt x="22" y="14"/>
                      <a:pt x="22" y="14"/>
                    </a:cubicBezTo>
                    <a:cubicBezTo>
                      <a:pt x="26" y="7"/>
                      <a:pt x="17" y="0"/>
                      <a:pt x="11" y="6"/>
                    </a:cubicBezTo>
                    <a:cubicBezTo>
                      <a:pt x="10" y="6"/>
                      <a:pt x="10" y="7"/>
                      <a:pt x="9" y="8"/>
                    </a:cubicBezTo>
                    <a:cubicBezTo>
                      <a:pt x="9" y="10"/>
                      <a:pt x="9" y="10"/>
                      <a:pt x="9" y="10"/>
                    </a:cubicBezTo>
                    <a:cubicBezTo>
                      <a:pt x="7" y="14"/>
                      <a:pt x="7" y="14"/>
                      <a:pt x="7" y="14"/>
                    </a:cubicBezTo>
                    <a:cubicBezTo>
                      <a:pt x="5" y="18"/>
                      <a:pt x="5" y="18"/>
                      <a:pt x="5" y="18"/>
                    </a:cubicBezTo>
                    <a:lnTo>
                      <a:pt x="3"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 name="Freeform 8"/>
              <p:cNvSpPr>
                <a:spLocks/>
              </p:cNvSpPr>
              <p:nvPr/>
            </p:nvSpPr>
            <p:spPr bwMode="auto">
              <a:xfrm>
                <a:off x="3556428" y="3825102"/>
                <a:ext cx="48937" cy="58512"/>
              </a:xfrm>
              <a:custGeom>
                <a:avLst/>
                <a:gdLst>
                  <a:gd name="T0" fmla="*/ 1 w 32"/>
                  <a:gd name="T1" fmla="*/ 20 h 39"/>
                  <a:gd name="T2" fmla="*/ 4 w 32"/>
                  <a:gd name="T3" fmla="*/ 35 h 39"/>
                  <a:gd name="T4" fmla="*/ 19 w 32"/>
                  <a:gd name="T5" fmla="*/ 38 h 39"/>
                  <a:gd name="T6" fmla="*/ 24 w 32"/>
                  <a:gd name="T7" fmla="*/ 33 h 39"/>
                  <a:gd name="T8" fmla="*/ 25 w 32"/>
                  <a:gd name="T9" fmla="*/ 31 h 39"/>
                  <a:gd name="T10" fmla="*/ 26 w 32"/>
                  <a:gd name="T11" fmla="*/ 28 h 39"/>
                  <a:gd name="T12" fmla="*/ 28 w 32"/>
                  <a:gd name="T13" fmla="*/ 24 h 39"/>
                  <a:gd name="T14" fmla="*/ 30 w 32"/>
                  <a:gd name="T15" fmla="*/ 20 h 39"/>
                  <a:gd name="T16" fmla="*/ 31 w 32"/>
                  <a:gd name="T17" fmla="*/ 18 h 39"/>
                  <a:gd name="T18" fmla="*/ 28 w 32"/>
                  <a:gd name="T19" fmla="*/ 3 h 39"/>
                  <a:gd name="T20" fmla="*/ 10 w 32"/>
                  <a:gd name="T21" fmla="*/ 4 h 39"/>
                  <a:gd name="T22" fmla="*/ 10 w 32"/>
                  <a:gd name="T23" fmla="*/ 4 h 39"/>
                  <a:gd name="T24" fmla="*/ 7 w 32"/>
                  <a:gd name="T25" fmla="*/ 7 h 39"/>
                  <a:gd name="T26" fmla="*/ 6 w 32"/>
                  <a:gd name="T27" fmla="*/ 9 h 39"/>
                  <a:gd name="T28" fmla="*/ 2 w 32"/>
                  <a:gd name="T29" fmla="*/ 17 h 39"/>
                  <a:gd name="T30" fmla="*/ 1 w 32"/>
                  <a:gd name="T31" fmla="*/ 20 h 39"/>
                  <a:gd name="T32" fmla="*/ 6 w 32"/>
                  <a:gd name="T33" fmla="*/ 23 h 39"/>
                  <a:gd name="T34" fmla="*/ 13 w 32"/>
                  <a:gd name="T35" fmla="*/ 22 h 39"/>
                  <a:gd name="T36" fmla="*/ 15 w 32"/>
                  <a:gd name="T37" fmla="*/ 18 h 39"/>
                  <a:gd name="T38" fmla="*/ 17 w 32"/>
                  <a:gd name="T39" fmla="*/ 14 h 39"/>
                  <a:gd name="T40" fmla="*/ 18 w 32"/>
                  <a:gd name="T41" fmla="*/ 12 h 39"/>
                  <a:gd name="T42" fmla="*/ 18 w 32"/>
                  <a:gd name="T43" fmla="*/ 12 h 39"/>
                  <a:gd name="T44" fmla="*/ 14 w 32"/>
                  <a:gd name="T45" fmla="*/ 8 h 39"/>
                  <a:gd name="T46" fmla="*/ 19 w 32"/>
                  <a:gd name="T47" fmla="*/ 11 h 39"/>
                  <a:gd name="T48" fmla="*/ 20 w 32"/>
                  <a:gd name="T49" fmla="*/ 13 h 39"/>
                  <a:gd name="T50" fmla="*/ 20 w 32"/>
                  <a:gd name="T51" fmla="*/ 13 h 39"/>
                  <a:gd name="T52" fmla="*/ 17 w 32"/>
                  <a:gd name="T53" fmla="*/ 19 h 39"/>
                  <a:gd name="T54" fmla="*/ 14 w 32"/>
                  <a:gd name="T55" fmla="*/ 26 h 39"/>
                  <a:gd name="T56" fmla="*/ 14 w 32"/>
                  <a:gd name="T57" fmla="*/ 26 h 39"/>
                  <a:gd name="T58" fmla="*/ 19 w 32"/>
                  <a:gd name="T59" fmla="*/ 30 h 39"/>
                  <a:gd name="T60" fmla="*/ 13 w 32"/>
                  <a:gd name="T61" fmla="*/ 27 h 39"/>
                  <a:gd name="T62" fmla="*/ 12 w 32"/>
                  <a:gd name="T63" fmla="*/ 27 h 39"/>
                  <a:gd name="T64" fmla="*/ 12 w 32"/>
                  <a:gd name="T65" fmla="*/ 25 h 39"/>
                  <a:gd name="T66" fmla="*/ 12 w 32"/>
                  <a:gd name="T67"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39">
                    <a:moveTo>
                      <a:pt x="6" y="23"/>
                    </a:moveTo>
                    <a:cubicBezTo>
                      <a:pt x="1" y="20"/>
                      <a:pt x="1" y="20"/>
                      <a:pt x="1" y="20"/>
                    </a:cubicBezTo>
                    <a:cubicBezTo>
                      <a:pt x="0" y="22"/>
                      <a:pt x="0" y="24"/>
                      <a:pt x="0" y="26"/>
                    </a:cubicBezTo>
                    <a:cubicBezTo>
                      <a:pt x="0" y="30"/>
                      <a:pt x="2" y="33"/>
                      <a:pt x="4" y="35"/>
                    </a:cubicBezTo>
                    <a:cubicBezTo>
                      <a:pt x="6" y="38"/>
                      <a:pt x="10" y="39"/>
                      <a:pt x="13" y="39"/>
                    </a:cubicBezTo>
                    <a:cubicBezTo>
                      <a:pt x="15" y="39"/>
                      <a:pt x="17" y="38"/>
                      <a:pt x="19" y="38"/>
                    </a:cubicBezTo>
                    <a:cubicBezTo>
                      <a:pt x="20" y="37"/>
                      <a:pt x="22" y="35"/>
                      <a:pt x="23" y="34"/>
                    </a:cubicBezTo>
                    <a:cubicBezTo>
                      <a:pt x="24" y="33"/>
                      <a:pt x="24" y="33"/>
                      <a:pt x="24" y="33"/>
                    </a:cubicBezTo>
                    <a:cubicBezTo>
                      <a:pt x="24" y="33"/>
                      <a:pt x="24" y="33"/>
                      <a:pt x="24" y="33"/>
                    </a:cubicBezTo>
                    <a:cubicBezTo>
                      <a:pt x="24" y="33"/>
                      <a:pt x="24" y="32"/>
                      <a:pt x="25" y="31"/>
                    </a:cubicBezTo>
                    <a:cubicBezTo>
                      <a:pt x="25" y="31"/>
                      <a:pt x="25" y="31"/>
                      <a:pt x="25" y="31"/>
                    </a:cubicBezTo>
                    <a:cubicBezTo>
                      <a:pt x="26" y="28"/>
                      <a:pt x="26" y="28"/>
                      <a:pt x="26" y="28"/>
                    </a:cubicBezTo>
                    <a:cubicBezTo>
                      <a:pt x="26" y="28"/>
                      <a:pt x="26" y="28"/>
                      <a:pt x="26" y="28"/>
                    </a:cubicBezTo>
                    <a:cubicBezTo>
                      <a:pt x="28" y="24"/>
                      <a:pt x="28" y="24"/>
                      <a:pt x="28" y="24"/>
                    </a:cubicBezTo>
                    <a:cubicBezTo>
                      <a:pt x="28" y="24"/>
                      <a:pt x="28" y="24"/>
                      <a:pt x="28" y="24"/>
                    </a:cubicBezTo>
                    <a:cubicBezTo>
                      <a:pt x="30" y="20"/>
                      <a:pt x="30" y="20"/>
                      <a:pt x="30" y="20"/>
                    </a:cubicBezTo>
                    <a:cubicBezTo>
                      <a:pt x="31" y="18"/>
                      <a:pt x="31" y="18"/>
                      <a:pt x="31" y="18"/>
                    </a:cubicBezTo>
                    <a:cubicBezTo>
                      <a:pt x="31" y="18"/>
                      <a:pt x="31" y="18"/>
                      <a:pt x="31" y="18"/>
                    </a:cubicBezTo>
                    <a:cubicBezTo>
                      <a:pt x="32" y="17"/>
                      <a:pt x="32" y="15"/>
                      <a:pt x="32" y="13"/>
                    </a:cubicBezTo>
                    <a:cubicBezTo>
                      <a:pt x="32" y="9"/>
                      <a:pt x="30" y="6"/>
                      <a:pt x="28" y="3"/>
                    </a:cubicBezTo>
                    <a:cubicBezTo>
                      <a:pt x="26" y="1"/>
                      <a:pt x="22" y="0"/>
                      <a:pt x="19" y="0"/>
                    </a:cubicBezTo>
                    <a:cubicBezTo>
                      <a:pt x="16" y="0"/>
                      <a:pt x="12" y="1"/>
                      <a:pt x="10" y="4"/>
                    </a:cubicBezTo>
                    <a:cubicBezTo>
                      <a:pt x="10" y="4"/>
                      <a:pt x="10" y="4"/>
                      <a:pt x="10" y="4"/>
                    </a:cubicBezTo>
                    <a:cubicBezTo>
                      <a:pt x="10" y="4"/>
                      <a:pt x="10" y="4"/>
                      <a:pt x="10" y="4"/>
                    </a:cubicBezTo>
                    <a:cubicBezTo>
                      <a:pt x="9" y="5"/>
                      <a:pt x="8" y="6"/>
                      <a:pt x="7" y="7"/>
                    </a:cubicBezTo>
                    <a:cubicBezTo>
                      <a:pt x="7" y="7"/>
                      <a:pt x="7" y="7"/>
                      <a:pt x="7" y="7"/>
                    </a:cubicBezTo>
                    <a:cubicBezTo>
                      <a:pt x="6" y="9"/>
                      <a:pt x="6" y="9"/>
                      <a:pt x="6" y="9"/>
                    </a:cubicBezTo>
                    <a:cubicBezTo>
                      <a:pt x="6" y="9"/>
                      <a:pt x="6" y="9"/>
                      <a:pt x="6" y="9"/>
                    </a:cubicBezTo>
                    <a:cubicBezTo>
                      <a:pt x="4" y="13"/>
                      <a:pt x="4" y="13"/>
                      <a:pt x="4" y="13"/>
                    </a:cubicBezTo>
                    <a:cubicBezTo>
                      <a:pt x="2" y="17"/>
                      <a:pt x="2" y="17"/>
                      <a:pt x="2" y="17"/>
                    </a:cubicBezTo>
                    <a:cubicBezTo>
                      <a:pt x="1" y="20"/>
                      <a:pt x="1" y="20"/>
                      <a:pt x="1" y="20"/>
                    </a:cubicBezTo>
                    <a:cubicBezTo>
                      <a:pt x="1" y="20"/>
                      <a:pt x="1" y="20"/>
                      <a:pt x="1" y="20"/>
                    </a:cubicBezTo>
                    <a:cubicBezTo>
                      <a:pt x="1" y="20"/>
                      <a:pt x="1" y="20"/>
                      <a:pt x="1" y="20"/>
                    </a:cubicBezTo>
                    <a:cubicBezTo>
                      <a:pt x="6" y="23"/>
                      <a:pt x="6" y="23"/>
                      <a:pt x="6" y="23"/>
                    </a:cubicBezTo>
                    <a:cubicBezTo>
                      <a:pt x="12" y="25"/>
                      <a:pt x="12" y="25"/>
                      <a:pt x="12" y="25"/>
                    </a:cubicBezTo>
                    <a:cubicBezTo>
                      <a:pt x="13" y="22"/>
                      <a:pt x="13" y="22"/>
                      <a:pt x="13" y="22"/>
                    </a:cubicBezTo>
                    <a:cubicBezTo>
                      <a:pt x="13" y="22"/>
                      <a:pt x="13" y="22"/>
                      <a:pt x="13" y="22"/>
                    </a:cubicBezTo>
                    <a:cubicBezTo>
                      <a:pt x="15" y="18"/>
                      <a:pt x="15" y="18"/>
                      <a:pt x="15" y="18"/>
                    </a:cubicBezTo>
                    <a:cubicBezTo>
                      <a:pt x="15" y="18"/>
                      <a:pt x="15" y="18"/>
                      <a:pt x="15" y="18"/>
                    </a:cubicBezTo>
                    <a:cubicBezTo>
                      <a:pt x="17" y="14"/>
                      <a:pt x="17" y="14"/>
                      <a:pt x="17" y="14"/>
                    </a:cubicBezTo>
                    <a:cubicBezTo>
                      <a:pt x="17" y="14"/>
                      <a:pt x="17" y="14"/>
                      <a:pt x="17" y="14"/>
                    </a:cubicBezTo>
                    <a:cubicBezTo>
                      <a:pt x="18" y="12"/>
                      <a:pt x="18" y="12"/>
                      <a:pt x="18" y="12"/>
                    </a:cubicBezTo>
                    <a:cubicBezTo>
                      <a:pt x="18" y="12"/>
                      <a:pt x="18" y="12"/>
                      <a:pt x="18" y="12"/>
                    </a:cubicBezTo>
                    <a:cubicBezTo>
                      <a:pt x="18" y="12"/>
                      <a:pt x="18" y="12"/>
                      <a:pt x="18" y="12"/>
                    </a:cubicBezTo>
                    <a:cubicBezTo>
                      <a:pt x="18" y="12"/>
                      <a:pt x="18" y="12"/>
                      <a:pt x="18" y="12"/>
                    </a:cubicBezTo>
                    <a:cubicBezTo>
                      <a:pt x="14" y="8"/>
                      <a:pt x="14" y="8"/>
                      <a:pt x="14" y="8"/>
                    </a:cubicBezTo>
                    <a:cubicBezTo>
                      <a:pt x="18" y="12"/>
                      <a:pt x="18" y="12"/>
                      <a:pt x="18" y="12"/>
                    </a:cubicBezTo>
                    <a:cubicBezTo>
                      <a:pt x="19" y="11"/>
                      <a:pt x="19" y="11"/>
                      <a:pt x="19" y="11"/>
                    </a:cubicBezTo>
                    <a:cubicBezTo>
                      <a:pt x="20" y="12"/>
                      <a:pt x="20" y="12"/>
                      <a:pt x="20" y="12"/>
                    </a:cubicBezTo>
                    <a:cubicBezTo>
                      <a:pt x="20" y="13"/>
                      <a:pt x="20" y="13"/>
                      <a:pt x="20" y="13"/>
                    </a:cubicBezTo>
                    <a:cubicBezTo>
                      <a:pt x="20" y="13"/>
                      <a:pt x="20" y="13"/>
                      <a:pt x="20" y="13"/>
                    </a:cubicBezTo>
                    <a:cubicBezTo>
                      <a:pt x="20" y="13"/>
                      <a:pt x="20" y="13"/>
                      <a:pt x="20" y="13"/>
                    </a:cubicBezTo>
                    <a:cubicBezTo>
                      <a:pt x="19" y="15"/>
                      <a:pt x="19" y="15"/>
                      <a:pt x="19" y="15"/>
                    </a:cubicBezTo>
                    <a:cubicBezTo>
                      <a:pt x="17" y="19"/>
                      <a:pt x="17" y="19"/>
                      <a:pt x="17" y="19"/>
                    </a:cubicBezTo>
                    <a:cubicBezTo>
                      <a:pt x="15" y="23"/>
                      <a:pt x="15" y="23"/>
                      <a:pt x="15" y="23"/>
                    </a:cubicBezTo>
                    <a:cubicBezTo>
                      <a:pt x="14" y="26"/>
                      <a:pt x="14" y="26"/>
                      <a:pt x="14" y="26"/>
                    </a:cubicBezTo>
                    <a:cubicBezTo>
                      <a:pt x="19" y="29"/>
                      <a:pt x="19" y="29"/>
                      <a:pt x="19" y="29"/>
                    </a:cubicBezTo>
                    <a:cubicBezTo>
                      <a:pt x="14" y="26"/>
                      <a:pt x="14" y="26"/>
                      <a:pt x="14" y="26"/>
                    </a:cubicBezTo>
                    <a:cubicBezTo>
                      <a:pt x="14" y="27"/>
                      <a:pt x="14" y="27"/>
                      <a:pt x="14" y="27"/>
                    </a:cubicBezTo>
                    <a:cubicBezTo>
                      <a:pt x="19" y="30"/>
                      <a:pt x="19" y="30"/>
                      <a:pt x="19" y="30"/>
                    </a:cubicBezTo>
                    <a:cubicBezTo>
                      <a:pt x="14" y="27"/>
                      <a:pt x="14" y="27"/>
                      <a:pt x="14" y="27"/>
                    </a:cubicBezTo>
                    <a:cubicBezTo>
                      <a:pt x="14" y="27"/>
                      <a:pt x="14" y="27"/>
                      <a:pt x="13" y="27"/>
                    </a:cubicBezTo>
                    <a:cubicBezTo>
                      <a:pt x="13" y="27"/>
                      <a:pt x="13" y="27"/>
                      <a:pt x="13" y="27"/>
                    </a:cubicBezTo>
                    <a:cubicBezTo>
                      <a:pt x="12" y="27"/>
                      <a:pt x="12" y="27"/>
                      <a:pt x="12" y="27"/>
                    </a:cubicBezTo>
                    <a:cubicBezTo>
                      <a:pt x="12" y="26"/>
                      <a:pt x="12" y="26"/>
                      <a:pt x="12" y="26"/>
                    </a:cubicBezTo>
                    <a:cubicBezTo>
                      <a:pt x="12" y="26"/>
                      <a:pt x="12" y="26"/>
                      <a:pt x="12" y="25"/>
                    </a:cubicBezTo>
                    <a:cubicBezTo>
                      <a:pt x="6" y="23"/>
                      <a:pt x="6" y="23"/>
                      <a:pt x="6" y="23"/>
                    </a:cubicBezTo>
                    <a:cubicBezTo>
                      <a:pt x="12" y="25"/>
                      <a:pt x="12" y="25"/>
                      <a:pt x="12" y="25"/>
                    </a:cubicBezTo>
                    <a:lnTo>
                      <a:pt x="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7" name="Freeform 9"/>
              <p:cNvSpPr>
                <a:spLocks/>
              </p:cNvSpPr>
              <p:nvPr/>
            </p:nvSpPr>
            <p:spPr bwMode="auto">
              <a:xfrm>
                <a:off x="3514938" y="3948509"/>
                <a:ext cx="36171" cy="53193"/>
              </a:xfrm>
              <a:custGeom>
                <a:avLst/>
                <a:gdLst>
                  <a:gd name="T0" fmla="*/ 2 w 24"/>
                  <a:gd name="T1" fmla="*/ 22 h 35"/>
                  <a:gd name="T2" fmla="*/ 15 w 24"/>
                  <a:gd name="T3" fmla="*/ 29 h 35"/>
                  <a:gd name="T4" fmla="*/ 16 w 24"/>
                  <a:gd name="T5" fmla="*/ 27 h 35"/>
                  <a:gd name="T6" fmla="*/ 17 w 24"/>
                  <a:gd name="T7" fmla="*/ 24 h 35"/>
                  <a:gd name="T8" fmla="*/ 19 w 24"/>
                  <a:gd name="T9" fmla="*/ 19 h 35"/>
                  <a:gd name="T10" fmla="*/ 20 w 24"/>
                  <a:gd name="T11" fmla="*/ 15 h 35"/>
                  <a:gd name="T12" fmla="*/ 21 w 24"/>
                  <a:gd name="T13" fmla="*/ 13 h 35"/>
                  <a:gd name="T14" fmla="*/ 8 w 24"/>
                  <a:gd name="T15" fmla="*/ 7 h 35"/>
                  <a:gd name="T16" fmla="*/ 7 w 24"/>
                  <a:gd name="T17" fmla="*/ 8 h 35"/>
                  <a:gd name="T18" fmla="*/ 7 w 24"/>
                  <a:gd name="T19" fmla="*/ 10 h 35"/>
                  <a:gd name="T20" fmla="*/ 5 w 24"/>
                  <a:gd name="T21" fmla="*/ 14 h 35"/>
                  <a:gd name="T22" fmla="*/ 3 w 24"/>
                  <a:gd name="T23" fmla="*/ 19 h 35"/>
                  <a:gd name="T24" fmla="*/ 2 w 24"/>
                  <a:gd name="T2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5">
                    <a:moveTo>
                      <a:pt x="2" y="22"/>
                    </a:moveTo>
                    <a:cubicBezTo>
                      <a:pt x="0" y="29"/>
                      <a:pt x="9" y="35"/>
                      <a:pt x="15" y="29"/>
                    </a:cubicBezTo>
                    <a:cubicBezTo>
                      <a:pt x="15" y="28"/>
                      <a:pt x="16" y="28"/>
                      <a:pt x="16" y="27"/>
                    </a:cubicBezTo>
                    <a:cubicBezTo>
                      <a:pt x="17" y="24"/>
                      <a:pt x="17" y="24"/>
                      <a:pt x="17" y="24"/>
                    </a:cubicBezTo>
                    <a:cubicBezTo>
                      <a:pt x="19" y="19"/>
                      <a:pt x="19" y="19"/>
                      <a:pt x="19" y="19"/>
                    </a:cubicBezTo>
                    <a:cubicBezTo>
                      <a:pt x="20" y="15"/>
                      <a:pt x="20" y="15"/>
                      <a:pt x="20" y="15"/>
                    </a:cubicBezTo>
                    <a:cubicBezTo>
                      <a:pt x="21" y="13"/>
                      <a:pt x="21" y="13"/>
                      <a:pt x="21" y="13"/>
                    </a:cubicBezTo>
                    <a:cubicBezTo>
                      <a:pt x="24" y="5"/>
                      <a:pt x="13" y="0"/>
                      <a:pt x="8" y="7"/>
                    </a:cubicBezTo>
                    <a:cubicBezTo>
                      <a:pt x="8" y="7"/>
                      <a:pt x="7" y="8"/>
                      <a:pt x="7" y="8"/>
                    </a:cubicBezTo>
                    <a:cubicBezTo>
                      <a:pt x="7" y="10"/>
                      <a:pt x="7" y="10"/>
                      <a:pt x="7" y="10"/>
                    </a:cubicBezTo>
                    <a:cubicBezTo>
                      <a:pt x="5" y="14"/>
                      <a:pt x="5" y="14"/>
                      <a:pt x="5" y="14"/>
                    </a:cubicBezTo>
                    <a:cubicBezTo>
                      <a:pt x="3" y="19"/>
                      <a:pt x="3" y="19"/>
                      <a:pt x="3" y="19"/>
                    </a:cubicBezTo>
                    <a:lnTo>
                      <a:pt x="2"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8" name="Freeform 10"/>
              <p:cNvSpPr>
                <a:spLocks/>
              </p:cNvSpPr>
              <p:nvPr/>
            </p:nvSpPr>
            <p:spPr bwMode="auto">
              <a:xfrm>
                <a:off x="3508555" y="3944254"/>
                <a:ext cx="46810" cy="60640"/>
              </a:xfrm>
              <a:custGeom>
                <a:avLst/>
                <a:gdLst>
                  <a:gd name="T0" fmla="*/ 1 w 31"/>
                  <a:gd name="T1" fmla="*/ 23 h 40"/>
                  <a:gd name="T2" fmla="*/ 4 w 31"/>
                  <a:gd name="T3" fmla="*/ 37 h 40"/>
                  <a:gd name="T4" fmla="*/ 23 w 31"/>
                  <a:gd name="T5" fmla="*/ 36 h 40"/>
                  <a:gd name="T6" fmla="*/ 23 w 31"/>
                  <a:gd name="T7" fmla="*/ 36 h 40"/>
                  <a:gd name="T8" fmla="*/ 26 w 31"/>
                  <a:gd name="T9" fmla="*/ 31 h 40"/>
                  <a:gd name="T10" fmla="*/ 26 w 31"/>
                  <a:gd name="T11" fmla="*/ 29 h 40"/>
                  <a:gd name="T12" fmla="*/ 28 w 31"/>
                  <a:gd name="T13" fmla="*/ 24 h 40"/>
                  <a:gd name="T14" fmla="*/ 30 w 31"/>
                  <a:gd name="T15" fmla="*/ 20 h 40"/>
                  <a:gd name="T16" fmla="*/ 30 w 31"/>
                  <a:gd name="T17" fmla="*/ 18 h 40"/>
                  <a:gd name="T18" fmla="*/ 31 w 31"/>
                  <a:gd name="T19" fmla="*/ 13 h 40"/>
                  <a:gd name="T20" fmla="*/ 18 w 31"/>
                  <a:gd name="T21" fmla="*/ 0 h 40"/>
                  <a:gd name="T22" fmla="*/ 7 w 31"/>
                  <a:gd name="T23" fmla="*/ 6 h 40"/>
                  <a:gd name="T24" fmla="*/ 7 w 31"/>
                  <a:gd name="T25" fmla="*/ 6 h 40"/>
                  <a:gd name="T26" fmla="*/ 6 w 31"/>
                  <a:gd name="T27" fmla="*/ 9 h 40"/>
                  <a:gd name="T28" fmla="*/ 3 w 31"/>
                  <a:gd name="T29" fmla="*/ 15 h 40"/>
                  <a:gd name="T30" fmla="*/ 1 w 31"/>
                  <a:gd name="T31" fmla="*/ 23 h 40"/>
                  <a:gd name="T32" fmla="*/ 1 w 31"/>
                  <a:gd name="T33" fmla="*/ 23 h 40"/>
                  <a:gd name="T34" fmla="*/ 12 w 31"/>
                  <a:gd name="T35" fmla="*/ 27 h 40"/>
                  <a:gd name="T36" fmla="*/ 13 w 31"/>
                  <a:gd name="T37" fmla="*/ 24 h 40"/>
                  <a:gd name="T38" fmla="*/ 15 w 31"/>
                  <a:gd name="T39" fmla="*/ 19 h 40"/>
                  <a:gd name="T40" fmla="*/ 16 w 31"/>
                  <a:gd name="T41" fmla="*/ 15 h 40"/>
                  <a:gd name="T42" fmla="*/ 17 w 31"/>
                  <a:gd name="T43" fmla="*/ 13 h 40"/>
                  <a:gd name="T44" fmla="*/ 17 w 31"/>
                  <a:gd name="T45" fmla="*/ 13 h 40"/>
                  <a:gd name="T46" fmla="*/ 17 w 31"/>
                  <a:gd name="T47" fmla="*/ 13 h 40"/>
                  <a:gd name="T48" fmla="*/ 17 w 31"/>
                  <a:gd name="T49" fmla="*/ 13 h 40"/>
                  <a:gd name="T50" fmla="*/ 12 w 31"/>
                  <a:gd name="T51" fmla="*/ 10 h 40"/>
                  <a:gd name="T52" fmla="*/ 17 w 31"/>
                  <a:gd name="T53" fmla="*/ 12 h 40"/>
                  <a:gd name="T54" fmla="*/ 19 w 31"/>
                  <a:gd name="T55" fmla="*/ 13 h 40"/>
                  <a:gd name="T56" fmla="*/ 19 w 31"/>
                  <a:gd name="T57" fmla="*/ 14 h 40"/>
                  <a:gd name="T58" fmla="*/ 19 w 31"/>
                  <a:gd name="T59" fmla="*/ 16 h 40"/>
                  <a:gd name="T60" fmla="*/ 17 w 31"/>
                  <a:gd name="T61" fmla="*/ 20 h 40"/>
                  <a:gd name="T62" fmla="*/ 14 w 31"/>
                  <a:gd name="T63" fmla="*/ 28 h 40"/>
                  <a:gd name="T64" fmla="*/ 14 w 31"/>
                  <a:gd name="T65" fmla="*/ 28 h 40"/>
                  <a:gd name="T66" fmla="*/ 14 w 31"/>
                  <a:gd name="T67" fmla="*/ 28 h 40"/>
                  <a:gd name="T68" fmla="*/ 12 w 31"/>
                  <a:gd name="T69" fmla="*/ 28 h 40"/>
                  <a:gd name="T70" fmla="*/ 12 w 31"/>
                  <a:gd name="T71" fmla="*/ 27 h 40"/>
                  <a:gd name="T72" fmla="*/ 6 w 31"/>
                  <a:gd name="T7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40">
                    <a:moveTo>
                      <a:pt x="6" y="25"/>
                    </a:moveTo>
                    <a:cubicBezTo>
                      <a:pt x="1" y="23"/>
                      <a:pt x="1" y="23"/>
                      <a:pt x="1" y="23"/>
                    </a:cubicBezTo>
                    <a:cubicBezTo>
                      <a:pt x="0" y="24"/>
                      <a:pt x="0" y="26"/>
                      <a:pt x="0" y="27"/>
                    </a:cubicBezTo>
                    <a:cubicBezTo>
                      <a:pt x="0" y="31"/>
                      <a:pt x="2" y="34"/>
                      <a:pt x="4" y="37"/>
                    </a:cubicBezTo>
                    <a:cubicBezTo>
                      <a:pt x="7" y="39"/>
                      <a:pt x="10" y="40"/>
                      <a:pt x="13" y="40"/>
                    </a:cubicBezTo>
                    <a:cubicBezTo>
                      <a:pt x="17" y="40"/>
                      <a:pt x="20" y="39"/>
                      <a:pt x="23" y="36"/>
                    </a:cubicBezTo>
                    <a:cubicBezTo>
                      <a:pt x="23" y="36"/>
                      <a:pt x="23" y="36"/>
                      <a:pt x="23" y="36"/>
                    </a:cubicBezTo>
                    <a:cubicBezTo>
                      <a:pt x="23" y="36"/>
                      <a:pt x="23" y="36"/>
                      <a:pt x="23" y="36"/>
                    </a:cubicBezTo>
                    <a:cubicBezTo>
                      <a:pt x="24" y="35"/>
                      <a:pt x="25" y="33"/>
                      <a:pt x="26" y="31"/>
                    </a:cubicBezTo>
                    <a:cubicBezTo>
                      <a:pt x="26" y="31"/>
                      <a:pt x="26" y="31"/>
                      <a:pt x="26" y="31"/>
                    </a:cubicBezTo>
                    <a:cubicBezTo>
                      <a:pt x="26" y="29"/>
                      <a:pt x="26" y="29"/>
                      <a:pt x="26" y="29"/>
                    </a:cubicBezTo>
                    <a:cubicBezTo>
                      <a:pt x="26" y="29"/>
                      <a:pt x="26" y="29"/>
                      <a:pt x="26" y="29"/>
                    </a:cubicBezTo>
                    <a:cubicBezTo>
                      <a:pt x="28" y="24"/>
                      <a:pt x="28" y="24"/>
                      <a:pt x="28" y="24"/>
                    </a:cubicBezTo>
                    <a:cubicBezTo>
                      <a:pt x="28" y="24"/>
                      <a:pt x="28" y="24"/>
                      <a:pt x="28" y="24"/>
                    </a:cubicBezTo>
                    <a:cubicBezTo>
                      <a:pt x="30" y="19"/>
                      <a:pt x="30" y="19"/>
                      <a:pt x="30" y="19"/>
                    </a:cubicBezTo>
                    <a:cubicBezTo>
                      <a:pt x="30" y="20"/>
                      <a:pt x="30" y="20"/>
                      <a:pt x="30" y="20"/>
                    </a:cubicBezTo>
                    <a:cubicBezTo>
                      <a:pt x="30" y="18"/>
                      <a:pt x="30" y="18"/>
                      <a:pt x="30" y="18"/>
                    </a:cubicBezTo>
                    <a:cubicBezTo>
                      <a:pt x="30" y="18"/>
                      <a:pt x="30" y="18"/>
                      <a:pt x="30" y="18"/>
                    </a:cubicBezTo>
                    <a:cubicBezTo>
                      <a:pt x="30" y="18"/>
                      <a:pt x="30" y="18"/>
                      <a:pt x="30" y="18"/>
                    </a:cubicBezTo>
                    <a:cubicBezTo>
                      <a:pt x="31" y="17"/>
                      <a:pt x="31" y="15"/>
                      <a:pt x="31" y="13"/>
                    </a:cubicBezTo>
                    <a:cubicBezTo>
                      <a:pt x="31" y="10"/>
                      <a:pt x="29" y="6"/>
                      <a:pt x="27" y="4"/>
                    </a:cubicBezTo>
                    <a:cubicBezTo>
                      <a:pt x="24" y="2"/>
                      <a:pt x="21" y="1"/>
                      <a:pt x="18" y="0"/>
                    </a:cubicBezTo>
                    <a:cubicBezTo>
                      <a:pt x="16" y="0"/>
                      <a:pt x="14" y="1"/>
                      <a:pt x="12" y="2"/>
                    </a:cubicBezTo>
                    <a:cubicBezTo>
                      <a:pt x="10" y="3"/>
                      <a:pt x="8" y="4"/>
                      <a:pt x="7" y="6"/>
                    </a:cubicBezTo>
                    <a:cubicBezTo>
                      <a:pt x="7" y="6"/>
                      <a:pt x="7" y="6"/>
                      <a:pt x="7" y="6"/>
                    </a:cubicBezTo>
                    <a:cubicBezTo>
                      <a:pt x="7" y="6"/>
                      <a:pt x="7" y="6"/>
                      <a:pt x="7" y="6"/>
                    </a:cubicBezTo>
                    <a:cubicBezTo>
                      <a:pt x="7" y="7"/>
                      <a:pt x="6" y="8"/>
                      <a:pt x="6" y="9"/>
                    </a:cubicBezTo>
                    <a:cubicBezTo>
                      <a:pt x="6" y="9"/>
                      <a:pt x="6" y="9"/>
                      <a:pt x="6" y="9"/>
                    </a:cubicBezTo>
                    <a:cubicBezTo>
                      <a:pt x="5" y="11"/>
                      <a:pt x="5" y="11"/>
                      <a:pt x="5" y="11"/>
                    </a:cubicBezTo>
                    <a:cubicBezTo>
                      <a:pt x="3" y="15"/>
                      <a:pt x="3" y="15"/>
                      <a:pt x="3" y="15"/>
                    </a:cubicBezTo>
                    <a:cubicBezTo>
                      <a:pt x="2" y="20"/>
                      <a:pt x="2" y="20"/>
                      <a:pt x="2" y="20"/>
                    </a:cubicBezTo>
                    <a:cubicBezTo>
                      <a:pt x="1" y="23"/>
                      <a:pt x="1" y="23"/>
                      <a:pt x="1" y="23"/>
                    </a:cubicBezTo>
                    <a:cubicBezTo>
                      <a:pt x="1" y="23"/>
                      <a:pt x="1" y="23"/>
                      <a:pt x="1" y="23"/>
                    </a:cubicBezTo>
                    <a:cubicBezTo>
                      <a:pt x="1" y="23"/>
                      <a:pt x="1" y="23"/>
                      <a:pt x="1" y="23"/>
                    </a:cubicBezTo>
                    <a:cubicBezTo>
                      <a:pt x="6" y="25"/>
                      <a:pt x="6" y="25"/>
                      <a:pt x="6" y="25"/>
                    </a:cubicBezTo>
                    <a:cubicBezTo>
                      <a:pt x="12" y="27"/>
                      <a:pt x="12" y="27"/>
                      <a:pt x="12" y="27"/>
                    </a:cubicBezTo>
                    <a:cubicBezTo>
                      <a:pt x="13" y="24"/>
                      <a:pt x="13" y="24"/>
                      <a:pt x="13" y="24"/>
                    </a:cubicBezTo>
                    <a:cubicBezTo>
                      <a:pt x="13" y="24"/>
                      <a:pt x="13" y="24"/>
                      <a:pt x="13" y="24"/>
                    </a:cubicBezTo>
                    <a:cubicBezTo>
                      <a:pt x="15" y="19"/>
                      <a:pt x="15" y="19"/>
                      <a:pt x="15" y="19"/>
                    </a:cubicBezTo>
                    <a:cubicBezTo>
                      <a:pt x="15" y="19"/>
                      <a:pt x="15" y="19"/>
                      <a:pt x="15" y="19"/>
                    </a:cubicBezTo>
                    <a:cubicBezTo>
                      <a:pt x="16" y="15"/>
                      <a:pt x="16" y="15"/>
                      <a:pt x="16" y="15"/>
                    </a:cubicBezTo>
                    <a:cubicBezTo>
                      <a:pt x="16" y="15"/>
                      <a:pt x="16" y="15"/>
                      <a:pt x="16" y="15"/>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2" y="10"/>
                      <a:pt x="12" y="10"/>
                      <a:pt x="12" y="10"/>
                    </a:cubicBezTo>
                    <a:cubicBezTo>
                      <a:pt x="17" y="13"/>
                      <a:pt x="17" y="13"/>
                      <a:pt x="17" y="13"/>
                    </a:cubicBezTo>
                    <a:cubicBezTo>
                      <a:pt x="17" y="13"/>
                      <a:pt x="17" y="12"/>
                      <a:pt x="17" y="12"/>
                    </a:cubicBezTo>
                    <a:cubicBezTo>
                      <a:pt x="18" y="12"/>
                      <a:pt x="18" y="12"/>
                      <a:pt x="18" y="12"/>
                    </a:cubicBezTo>
                    <a:cubicBezTo>
                      <a:pt x="19" y="13"/>
                      <a:pt x="19" y="13"/>
                      <a:pt x="19" y="13"/>
                    </a:cubicBezTo>
                    <a:cubicBezTo>
                      <a:pt x="19" y="13"/>
                      <a:pt x="19" y="13"/>
                      <a:pt x="19" y="13"/>
                    </a:cubicBezTo>
                    <a:cubicBezTo>
                      <a:pt x="19" y="14"/>
                      <a:pt x="19" y="14"/>
                      <a:pt x="19" y="14"/>
                    </a:cubicBezTo>
                    <a:cubicBezTo>
                      <a:pt x="19" y="14"/>
                      <a:pt x="19" y="14"/>
                      <a:pt x="19" y="14"/>
                    </a:cubicBezTo>
                    <a:cubicBezTo>
                      <a:pt x="19" y="16"/>
                      <a:pt x="19" y="16"/>
                      <a:pt x="19" y="16"/>
                    </a:cubicBezTo>
                    <a:cubicBezTo>
                      <a:pt x="19" y="16"/>
                      <a:pt x="19" y="16"/>
                      <a:pt x="19" y="16"/>
                    </a:cubicBezTo>
                    <a:cubicBezTo>
                      <a:pt x="17" y="20"/>
                      <a:pt x="17" y="20"/>
                      <a:pt x="17" y="20"/>
                    </a:cubicBezTo>
                    <a:cubicBezTo>
                      <a:pt x="15" y="25"/>
                      <a:pt x="15" y="25"/>
                      <a:pt x="15" y="25"/>
                    </a:cubicBezTo>
                    <a:cubicBezTo>
                      <a:pt x="14" y="28"/>
                      <a:pt x="14" y="28"/>
                      <a:pt x="14" y="28"/>
                    </a:cubicBezTo>
                    <a:cubicBezTo>
                      <a:pt x="14" y="28"/>
                      <a:pt x="14" y="28"/>
                      <a:pt x="14" y="28"/>
                    </a:cubicBezTo>
                    <a:cubicBezTo>
                      <a:pt x="14" y="28"/>
                      <a:pt x="14" y="28"/>
                      <a:pt x="14" y="28"/>
                    </a:cubicBezTo>
                    <a:cubicBezTo>
                      <a:pt x="19" y="32"/>
                      <a:pt x="19" y="32"/>
                      <a:pt x="19" y="32"/>
                    </a:cubicBezTo>
                    <a:cubicBezTo>
                      <a:pt x="14" y="28"/>
                      <a:pt x="14" y="28"/>
                      <a:pt x="14" y="28"/>
                    </a:cubicBezTo>
                    <a:cubicBezTo>
                      <a:pt x="14" y="29"/>
                      <a:pt x="14" y="28"/>
                      <a:pt x="13" y="29"/>
                    </a:cubicBezTo>
                    <a:cubicBezTo>
                      <a:pt x="12" y="28"/>
                      <a:pt x="12" y="28"/>
                      <a:pt x="12" y="28"/>
                    </a:cubicBezTo>
                    <a:cubicBezTo>
                      <a:pt x="12" y="27"/>
                      <a:pt x="12" y="27"/>
                      <a:pt x="12" y="27"/>
                    </a:cubicBezTo>
                    <a:cubicBezTo>
                      <a:pt x="12" y="27"/>
                      <a:pt x="12" y="27"/>
                      <a:pt x="12" y="27"/>
                    </a:cubicBezTo>
                    <a:cubicBezTo>
                      <a:pt x="12" y="27"/>
                      <a:pt x="12" y="27"/>
                      <a:pt x="12" y="27"/>
                    </a:cubicBezTo>
                    <a:lnTo>
                      <a:pt x="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9" name="Freeform 11"/>
              <p:cNvSpPr>
                <a:spLocks/>
              </p:cNvSpPr>
              <p:nvPr/>
            </p:nvSpPr>
            <p:spPr bwMode="auto">
              <a:xfrm>
                <a:off x="3479831" y="4075108"/>
                <a:ext cx="29788" cy="48937"/>
              </a:xfrm>
              <a:custGeom>
                <a:avLst/>
                <a:gdLst>
                  <a:gd name="T0" fmla="*/ 0 w 20"/>
                  <a:gd name="T1" fmla="*/ 22 h 33"/>
                  <a:gd name="T2" fmla="*/ 3 w 20"/>
                  <a:gd name="T3" fmla="*/ 30 h 33"/>
                  <a:gd name="T4" fmla="*/ 14 w 20"/>
                  <a:gd name="T5" fmla="*/ 26 h 33"/>
                  <a:gd name="T6" fmla="*/ 16 w 20"/>
                  <a:gd name="T7" fmla="*/ 21 h 33"/>
                  <a:gd name="T8" fmla="*/ 17 w 20"/>
                  <a:gd name="T9" fmla="*/ 16 h 33"/>
                  <a:gd name="T10" fmla="*/ 18 w 20"/>
                  <a:gd name="T11" fmla="*/ 12 h 33"/>
                  <a:gd name="T12" fmla="*/ 6 w 20"/>
                  <a:gd name="T13" fmla="*/ 5 h 33"/>
                  <a:gd name="T14" fmla="*/ 4 w 20"/>
                  <a:gd name="T15" fmla="*/ 8 h 33"/>
                  <a:gd name="T16" fmla="*/ 3 w 20"/>
                  <a:gd name="T17" fmla="*/ 12 h 33"/>
                  <a:gd name="T18" fmla="*/ 2 w 20"/>
                  <a:gd name="T19" fmla="*/ 17 h 33"/>
                  <a:gd name="T20" fmla="*/ 0 w 20"/>
                  <a:gd name="T21"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33">
                    <a:moveTo>
                      <a:pt x="0" y="22"/>
                    </a:moveTo>
                    <a:cubicBezTo>
                      <a:pt x="0" y="25"/>
                      <a:pt x="1" y="28"/>
                      <a:pt x="3" y="30"/>
                    </a:cubicBezTo>
                    <a:cubicBezTo>
                      <a:pt x="7" y="33"/>
                      <a:pt x="13" y="30"/>
                      <a:pt x="14" y="26"/>
                    </a:cubicBezTo>
                    <a:cubicBezTo>
                      <a:pt x="16" y="21"/>
                      <a:pt x="16" y="21"/>
                      <a:pt x="16" y="21"/>
                    </a:cubicBezTo>
                    <a:cubicBezTo>
                      <a:pt x="17" y="16"/>
                      <a:pt x="17" y="16"/>
                      <a:pt x="17" y="16"/>
                    </a:cubicBezTo>
                    <a:cubicBezTo>
                      <a:pt x="18" y="12"/>
                      <a:pt x="18" y="12"/>
                      <a:pt x="18" y="12"/>
                    </a:cubicBezTo>
                    <a:cubicBezTo>
                      <a:pt x="20" y="5"/>
                      <a:pt x="11" y="0"/>
                      <a:pt x="6" y="5"/>
                    </a:cubicBezTo>
                    <a:cubicBezTo>
                      <a:pt x="5" y="6"/>
                      <a:pt x="4" y="7"/>
                      <a:pt x="4" y="8"/>
                    </a:cubicBezTo>
                    <a:cubicBezTo>
                      <a:pt x="3" y="12"/>
                      <a:pt x="3" y="12"/>
                      <a:pt x="3" y="12"/>
                    </a:cubicBezTo>
                    <a:cubicBezTo>
                      <a:pt x="2" y="17"/>
                      <a:pt x="2" y="17"/>
                      <a:pt x="2" y="17"/>
                    </a:cubicBez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0" name="Freeform 12"/>
              <p:cNvSpPr>
                <a:spLocks/>
              </p:cNvSpPr>
              <p:nvPr/>
            </p:nvSpPr>
            <p:spPr bwMode="auto">
              <a:xfrm>
                <a:off x="3470256" y="4069789"/>
                <a:ext cx="45746" cy="60640"/>
              </a:xfrm>
              <a:custGeom>
                <a:avLst/>
                <a:gdLst>
                  <a:gd name="T0" fmla="*/ 6 w 30"/>
                  <a:gd name="T1" fmla="*/ 25 h 40"/>
                  <a:gd name="T2" fmla="*/ 1 w 30"/>
                  <a:gd name="T3" fmla="*/ 24 h 40"/>
                  <a:gd name="T4" fmla="*/ 0 w 30"/>
                  <a:gd name="T5" fmla="*/ 27 h 40"/>
                  <a:gd name="T6" fmla="*/ 6 w 30"/>
                  <a:gd name="T7" fmla="*/ 38 h 40"/>
                  <a:gd name="T8" fmla="*/ 6 w 30"/>
                  <a:gd name="T9" fmla="*/ 38 h 40"/>
                  <a:gd name="T10" fmla="*/ 13 w 30"/>
                  <a:gd name="T11" fmla="*/ 40 h 40"/>
                  <a:gd name="T12" fmla="*/ 21 w 30"/>
                  <a:gd name="T13" fmla="*/ 37 h 40"/>
                  <a:gd name="T14" fmla="*/ 26 w 30"/>
                  <a:gd name="T15" fmla="*/ 30 h 40"/>
                  <a:gd name="T16" fmla="*/ 26 w 30"/>
                  <a:gd name="T17" fmla="*/ 30 h 40"/>
                  <a:gd name="T18" fmla="*/ 27 w 30"/>
                  <a:gd name="T19" fmla="*/ 25 h 40"/>
                  <a:gd name="T20" fmla="*/ 27 w 30"/>
                  <a:gd name="T21" fmla="*/ 26 h 40"/>
                  <a:gd name="T22" fmla="*/ 29 w 30"/>
                  <a:gd name="T23" fmla="*/ 20 h 40"/>
                  <a:gd name="T24" fmla="*/ 29 w 30"/>
                  <a:gd name="T25" fmla="*/ 20 h 40"/>
                  <a:gd name="T26" fmla="*/ 30 w 30"/>
                  <a:gd name="T27" fmla="*/ 16 h 40"/>
                  <a:gd name="T28" fmla="*/ 30 w 30"/>
                  <a:gd name="T29" fmla="*/ 16 h 40"/>
                  <a:gd name="T30" fmla="*/ 30 w 30"/>
                  <a:gd name="T31" fmla="*/ 16 h 40"/>
                  <a:gd name="T32" fmla="*/ 30 w 30"/>
                  <a:gd name="T33" fmla="*/ 13 h 40"/>
                  <a:gd name="T34" fmla="*/ 26 w 30"/>
                  <a:gd name="T35" fmla="*/ 4 h 40"/>
                  <a:gd name="T36" fmla="*/ 17 w 30"/>
                  <a:gd name="T37" fmla="*/ 0 h 40"/>
                  <a:gd name="T38" fmla="*/ 8 w 30"/>
                  <a:gd name="T39" fmla="*/ 4 h 40"/>
                  <a:gd name="T40" fmla="*/ 8 w 30"/>
                  <a:gd name="T41" fmla="*/ 4 h 40"/>
                  <a:gd name="T42" fmla="*/ 8 w 30"/>
                  <a:gd name="T43" fmla="*/ 4 h 40"/>
                  <a:gd name="T44" fmla="*/ 4 w 30"/>
                  <a:gd name="T45" fmla="*/ 10 h 40"/>
                  <a:gd name="T46" fmla="*/ 10 w 30"/>
                  <a:gd name="T47" fmla="*/ 11 h 40"/>
                  <a:gd name="T48" fmla="*/ 4 w 30"/>
                  <a:gd name="T49" fmla="*/ 10 h 40"/>
                  <a:gd name="T50" fmla="*/ 3 w 30"/>
                  <a:gd name="T51" fmla="*/ 14 h 40"/>
                  <a:gd name="T52" fmla="*/ 3 w 30"/>
                  <a:gd name="T53" fmla="*/ 14 h 40"/>
                  <a:gd name="T54" fmla="*/ 2 w 30"/>
                  <a:gd name="T55" fmla="*/ 19 h 40"/>
                  <a:gd name="T56" fmla="*/ 1 w 30"/>
                  <a:gd name="T57" fmla="*/ 24 h 40"/>
                  <a:gd name="T58" fmla="*/ 1 w 30"/>
                  <a:gd name="T59" fmla="*/ 24 h 40"/>
                  <a:gd name="T60" fmla="*/ 6 w 30"/>
                  <a:gd name="T61" fmla="*/ 25 h 40"/>
                  <a:gd name="T62" fmla="*/ 12 w 30"/>
                  <a:gd name="T63" fmla="*/ 27 h 40"/>
                  <a:gd name="T64" fmla="*/ 13 w 30"/>
                  <a:gd name="T65" fmla="*/ 22 h 40"/>
                  <a:gd name="T66" fmla="*/ 13 w 30"/>
                  <a:gd name="T67" fmla="*/ 22 h 40"/>
                  <a:gd name="T68" fmla="*/ 15 w 30"/>
                  <a:gd name="T69" fmla="*/ 17 h 40"/>
                  <a:gd name="T70" fmla="*/ 15 w 30"/>
                  <a:gd name="T71" fmla="*/ 17 h 40"/>
                  <a:gd name="T72" fmla="*/ 16 w 30"/>
                  <a:gd name="T73" fmla="*/ 13 h 40"/>
                  <a:gd name="T74" fmla="*/ 16 w 30"/>
                  <a:gd name="T75" fmla="*/ 13 h 40"/>
                  <a:gd name="T76" fmla="*/ 16 w 30"/>
                  <a:gd name="T77" fmla="*/ 13 h 40"/>
                  <a:gd name="T78" fmla="*/ 16 w 30"/>
                  <a:gd name="T79" fmla="*/ 12 h 40"/>
                  <a:gd name="T80" fmla="*/ 12 w 30"/>
                  <a:gd name="T81" fmla="*/ 8 h 40"/>
                  <a:gd name="T82" fmla="*/ 16 w 30"/>
                  <a:gd name="T83" fmla="*/ 12 h 40"/>
                  <a:gd name="T84" fmla="*/ 17 w 30"/>
                  <a:gd name="T85" fmla="*/ 12 h 40"/>
                  <a:gd name="T86" fmla="*/ 18 w 30"/>
                  <a:gd name="T87" fmla="*/ 12 h 40"/>
                  <a:gd name="T88" fmla="*/ 18 w 30"/>
                  <a:gd name="T89" fmla="*/ 13 h 40"/>
                  <a:gd name="T90" fmla="*/ 18 w 30"/>
                  <a:gd name="T91" fmla="*/ 13 h 40"/>
                  <a:gd name="T92" fmla="*/ 24 w 30"/>
                  <a:gd name="T93" fmla="*/ 15 h 40"/>
                  <a:gd name="T94" fmla="*/ 18 w 30"/>
                  <a:gd name="T95" fmla="*/ 13 h 40"/>
                  <a:gd name="T96" fmla="*/ 17 w 30"/>
                  <a:gd name="T97" fmla="*/ 17 h 40"/>
                  <a:gd name="T98" fmla="*/ 17 w 30"/>
                  <a:gd name="T99" fmla="*/ 17 h 40"/>
                  <a:gd name="T100" fmla="*/ 16 w 30"/>
                  <a:gd name="T101" fmla="*/ 23 h 40"/>
                  <a:gd name="T102" fmla="*/ 15 w 30"/>
                  <a:gd name="T103" fmla="*/ 27 h 40"/>
                  <a:gd name="T104" fmla="*/ 15 w 30"/>
                  <a:gd name="T105" fmla="*/ 27 h 40"/>
                  <a:gd name="T106" fmla="*/ 14 w 30"/>
                  <a:gd name="T107" fmla="*/ 28 h 40"/>
                  <a:gd name="T108" fmla="*/ 13 w 30"/>
                  <a:gd name="T109" fmla="*/ 28 h 40"/>
                  <a:gd name="T110" fmla="*/ 13 w 30"/>
                  <a:gd name="T111" fmla="*/ 28 h 40"/>
                  <a:gd name="T112" fmla="*/ 13 w 30"/>
                  <a:gd name="T113" fmla="*/ 28 h 40"/>
                  <a:gd name="T114" fmla="*/ 13 w 30"/>
                  <a:gd name="T115" fmla="*/ 28 h 40"/>
                  <a:gd name="T116" fmla="*/ 12 w 30"/>
                  <a:gd name="T117" fmla="*/ 27 h 40"/>
                  <a:gd name="T118" fmla="*/ 12 w 30"/>
                  <a:gd name="T119" fmla="*/ 27 h 40"/>
                  <a:gd name="T120" fmla="*/ 12 w 30"/>
                  <a:gd name="T121" fmla="*/ 27 h 40"/>
                  <a:gd name="T122" fmla="*/ 6 w 30"/>
                  <a:gd name="T12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 h="40">
                    <a:moveTo>
                      <a:pt x="6" y="25"/>
                    </a:moveTo>
                    <a:cubicBezTo>
                      <a:pt x="1" y="24"/>
                      <a:pt x="1" y="24"/>
                      <a:pt x="1" y="24"/>
                    </a:cubicBezTo>
                    <a:cubicBezTo>
                      <a:pt x="0" y="25"/>
                      <a:pt x="0" y="26"/>
                      <a:pt x="0" y="27"/>
                    </a:cubicBezTo>
                    <a:cubicBezTo>
                      <a:pt x="0" y="31"/>
                      <a:pt x="2" y="35"/>
                      <a:pt x="6" y="38"/>
                    </a:cubicBezTo>
                    <a:cubicBezTo>
                      <a:pt x="6" y="38"/>
                      <a:pt x="6" y="38"/>
                      <a:pt x="6" y="38"/>
                    </a:cubicBezTo>
                    <a:cubicBezTo>
                      <a:pt x="8" y="39"/>
                      <a:pt x="11" y="40"/>
                      <a:pt x="13" y="40"/>
                    </a:cubicBezTo>
                    <a:cubicBezTo>
                      <a:pt x="16" y="40"/>
                      <a:pt x="19" y="39"/>
                      <a:pt x="21" y="37"/>
                    </a:cubicBezTo>
                    <a:cubicBezTo>
                      <a:pt x="23" y="36"/>
                      <a:pt x="25" y="33"/>
                      <a:pt x="26" y="30"/>
                    </a:cubicBezTo>
                    <a:cubicBezTo>
                      <a:pt x="26" y="30"/>
                      <a:pt x="26" y="30"/>
                      <a:pt x="26" y="30"/>
                    </a:cubicBezTo>
                    <a:cubicBezTo>
                      <a:pt x="27" y="25"/>
                      <a:pt x="27" y="25"/>
                      <a:pt x="27" y="25"/>
                    </a:cubicBezTo>
                    <a:cubicBezTo>
                      <a:pt x="27" y="26"/>
                      <a:pt x="27" y="26"/>
                      <a:pt x="27" y="26"/>
                    </a:cubicBezTo>
                    <a:cubicBezTo>
                      <a:pt x="29" y="20"/>
                      <a:pt x="29" y="20"/>
                      <a:pt x="29" y="20"/>
                    </a:cubicBezTo>
                    <a:cubicBezTo>
                      <a:pt x="29" y="20"/>
                      <a:pt x="29" y="20"/>
                      <a:pt x="29" y="20"/>
                    </a:cubicBezTo>
                    <a:cubicBezTo>
                      <a:pt x="30" y="16"/>
                      <a:pt x="30" y="16"/>
                      <a:pt x="30" y="16"/>
                    </a:cubicBezTo>
                    <a:cubicBezTo>
                      <a:pt x="30" y="16"/>
                      <a:pt x="30" y="16"/>
                      <a:pt x="30" y="16"/>
                    </a:cubicBezTo>
                    <a:cubicBezTo>
                      <a:pt x="30" y="16"/>
                      <a:pt x="30" y="16"/>
                      <a:pt x="30" y="16"/>
                    </a:cubicBezTo>
                    <a:cubicBezTo>
                      <a:pt x="30" y="15"/>
                      <a:pt x="30" y="14"/>
                      <a:pt x="30" y="13"/>
                    </a:cubicBezTo>
                    <a:cubicBezTo>
                      <a:pt x="30" y="9"/>
                      <a:pt x="28" y="6"/>
                      <a:pt x="26" y="4"/>
                    </a:cubicBezTo>
                    <a:cubicBezTo>
                      <a:pt x="24" y="1"/>
                      <a:pt x="20" y="0"/>
                      <a:pt x="17" y="0"/>
                    </a:cubicBezTo>
                    <a:cubicBezTo>
                      <a:pt x="14" y="0"/>
                      <a:pt x="10" y="1"/>
                      <a:pt x="8" y="4"/>
                    </a:cubicBezTo>
                    <a:cubicBezTo>
                      <a:pt x="8" y="4"/>
                      <a:pt x="8" y="4"/>
                      <a:pt x="8" y="4"/>
                    </a:cubicBezTo>
                    <a:cubicBezTo>
                      <a:pt x="8" y="4"/>
                      <a:pt x="8" y="4"/>
                      <a:pt x="8" y="4"/>
                    </a:cubicBezTo>
                    <a:cubicBezTo>
                      <a:pt x="6" y="5"/>
                      <a:pt x="5" y="7"/>
                      <a:pt x="4" y="10"/>
                    </a:cubicBezTo>
                    <a:cubicBezTo>
                      <a:pt x="10" y="11"/>
                      <a:pt x="10" y="11"/>
                      <a:pt x="10" y="11"/>
                    </a:cubicBezTo>
                    <a:cubicBezTo>
                      <a:pt x="4" y="10"/>
                      <a:pt x="4" y="10"/>
                      <a:pt x="4" y="10"/>
                    </a:cubicBezTo>
                    <a:cubicBezTo>
                      <a:pt x="3" y="14"/>
                      <a:pt x="3" y="14"/>
                      <a:pt x="3" y="14"/>
                    </a:cubicBezTo>
                    <a:cubicBezTo>
                      <a:pt x="3" y="14"/>
                      <a:pt x="3" y="14"/>
                      <a:pt x="3" y="14"/>
                    </a:cubicBezTo>
                    <a:cubicBezTo>
                      <a:pt x="2" y="19"/>
                      <a:pt x="2" y="19"/>
                      <a:pt x="2" y="19"/>
                    </a:cubicBezTo>
                    <a:cubicBezTo>
                      <a:pt x="1" y="24"/>
                      <a:pt x="1" y="24"/>
                      <a:pt x="1" y="24"/>
                    </a:cubicBezTo>
                    <a:cubicBezTo>
                      <a:pt x="1" y="24"/>
                      <a:pt x="1" y="24"/>
                      <a:pt x="1" y="24"/>
                    </a:cubicBezTo>
                    <a:cubicBezTo>
                      <a:pt x="6" y="25"/>
                      <a:pt x="6" y="25"/>
                      <a:pt x="6" y="25"/>
                    </a:cubicBezTo>
                    <a:cubicBezTo>
                      <a:pt x="12" y="27"/>
                      <a:pt x="12" y="27"/>
                      <a:pt x="12" y="27"/>
                    </a:cubicBezTo>
                    <a:cubicBezTo>
                      <a:pt x="13" y="22"/>
                      <a:pt x="13" y="22"/>
                      <a:pt x="13" y="22"/>
                    </a:cubicBezTo>
                    <a:cubicBezTo>
                      <a:pt x="13" y="22"/>
                      <a:pt x="13" y="22"/>
                      <a:pt x="13" y="22"/>
                    </a:cubicBezTo>
                    <a:cubicBezTo>
                      <a:pt x="15" y="17"/>
                      <a:pt x="15" y="17"/>
                      <a:pt x="15" y="17"/>
                    </a:cubicBezTo>
                    <a:cubicBezTo>
                      <a:pt x="15" y="17"/>
                      <a:pt x="15" y="17"/>
                      <a:pt x="15" y="17"/>
                    </a:cubicBezTo>
                    <a:cubicBezTo>
                      <a:pt x="16" y="13"/>
                      <a:pt x="16" y="13"/>
                      <a:pt x="16" y="13"/>
                    </a:cubicBezTo>
                    <a:cubicBezTo>
                      <a:pt x="16" y="13"/>
                      <a:pt x="16" y="13"/>
                      <a:pt x="16" y="13"/>
                    </a:cubicBezTo>
                    <a:cubicBezTo>
                      <a:pt x="16" y="13"/>
                      <a:pt x="16" y="13"/>
                      <a:pt x="16" y="13"/>
                    </a:cubicBezTo>
                    <a:cubicBezTo>
                      <a:pt x="16" y="13"/>
                      <a:pt x="16" y="12"/>
                      <a:pt x="16" y="12"/>
                    </a:cubicBezTo>
                    <a:cubicBezTo>
                      <a:pt x="12" y="8"/>
                      <a:pt x="12" y="8"/>
                      <a:pt x="12" y="8"/>
                    </a:cubicBezTo>
                    <a:cubicBezTo>
                      <a:pt x="16" y="12"/>
                      <a:pt x="16" y="12"/>
                      <a:pt x="16" y="12"/>
                    </a:cubicBezTo>
                    <a:cubicBezTo>
                      <a:pt x="17" y="12"/>
                      <a:pt x="17" y="12"/>
                      <a:pt x="17" y="12"/>
                    </a:cubicBezTo>
                    <a:cubicBezTo>
                      <a:pt x="18" y="12"/>
                      <a:pt x="18" y="12"/>
                      <a:pt x="18" y="12"/>
                    </a:cubicBezTo>
                    <a:cubicBezTo>
                      <a:pt x="18" y="12"/>
                      <a:pt x="18" y="13"/>
                      <a:pt x="18" y="13"/>
                    </a:cubicBezTo>
                    <a:cubicBezTo>
                      <a:pt x="18" y="13"/>
                      <a:pt x="18" y="13"/>
                      <a:pt x="18" y="13"/>
                    </a:cubicBezTo>
                    <a:cubicBezTo>
                      <a:pt x="24" y="15"/>
                      <a:pt x="24" y="15"/>
                      <a:pt x="24" y="15"/>
                    </a:cubicBezTo>
                    <a:cubicBezTo>
                      <a:pt x="18" y="13"/>
                      <a:pt x="18" y="13"/>
                      <a:pt x="18" y="13"/>
                    </a:cubicBezTo>
                    <a:cubicBezTo>
                      <a:pt x="17" y="17"/>
                      <a:pt x="17" y="17"/>
                      <a:pt x="17" y="17"/>
                    </a:cubicBezTo>
                    <a:cubicBezTo>
                      <a:pt x="17" y="17"/>
                      <a:pt x="17" y="17"/>
                      <a:pt x="17" y="17"/>
                    </a:cubicBezTo>
                    <a:cubicBezTo>
                      <a:pt x="16" y="23"/>
                      <a:pt x="16" y="23"/>
                      <a:pt x="16" y="23"/>
                    </a:cubicBezTo>
                    <a:cubicBezTo>
                      <a:pt x="15" y="27"/>
                      <a:pt x="15" y="27"/>
                      <a:pt x="15" y="27"/>
                    </a:cubicBezTo>
                    <a:cubicBezTo>
                      <a:pt x="15" y="27"/>
                      <a:pt x="15" y="27"/>
                      <a:pt x="15" y="27"/>
                    </a:cubicBezTo>
                    <a:cubicBezTo>
                      <a:pt x="14" y="28"/>
                      <a:pt x="14" y="28"/>
                      <a:pt x="14" y="28"/>
                    </a:cubicBezTo>
                    <a:cubicBezTo>
                      <a:pt x="13" y="28"/>
                      <a:pt x="13" y="28"/>
                      <a:pt x="13" y="28"/>
                    </a:cubicBezTo>
                    <a:cubicBezTo>
                      <a:pt x="13" y="28"/>
                      <a:pt x="13" y="28"/>
                      <a:pt x="13" y="28"/>
                    </a:cubicBezTo>
                    <a:cubicBezTo>
                      <a:pt x="13" y="28"/>
                      <a:pt x="13" y="28"/>
                      <a:pt x="13" y="28"/>
                    </a:cubicBezTo>
                    <a:cubicBezTo>
                      <a:pt x="13" y="28"/>
                      <a:pt x="13" y="28"/>
                      <a:pt x="13" y="28"/>
                    </a:cubicBezTo>
                    <a:cubicBezTo>
                      <a:pt x="12" y="28"/>
                      <a:pt x="12" y="27"/>
                      <a:pt x="12" y="27"/>
                    </a:cubicBezTo>
                    <a:cubicBezTo>
                      <a:pt x="12" y="27"/>
                      <a:pt x="12" y="27"/>
                      <a:pt x="12" y="27"/>
                    </a:cubicBezTo>
                    <a:cubicBezTo>
                      <a:pt x="12" y="27"/>
                      <a:pt x="12" y="27"/>
                      <a:pt x="12" y="27"/>
                    </a:cubicBezTo>
                    <a:lnTo>
                      <a:pt x="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1" name="Freeform 13"/>
              <p:cNvSpPr>
                <a:spLocks/>
              </p:cNvSpPr>
              <p:nvPr/>
            </p:nvSpPr>
            <p:spPr bwMode="auto">
              <a:xfrm>
                <a:off x="3448979" y="4200643"/>
                <a:ext cx="30852" cy="54257"/>
              </a:xfrm>
              <a:custGeom>
                <a:avLst/>
                <a:gdLst>
                  <a:gd name="T0" fmla="*/ 1 w 20"/>
                  <a:gd name="T1" fmla="*/ 24 h 36"/>
                  <a:gd name="T2" fmla="*/ 15 w 20"/>
                  <a:gd name="T3" fmla="*/ 28 h 36"/>
                  <a:gd name="T4" fmla="*/ 16 w 20"/>
                  <a:gd name="T5" fmla="*/ 27 h 36"/>
                  <a:gd name="T6" fmla="*/ 16 w 20"/>
                  <a:gd name="T7" fmla="*/ 25 h 36"/>
                  <a:gd name="T8" fmla="*/ 17 w 20"/>
                  <a:gd name="T9" fmla="*/ 19 h 36"/>
                  <a:gd name="T10" fmla="*/ 18 w 20"/>
                  <a:gd name="T11" fmla="*/ 14 h 36"/>
                  <a:gd name="T12" fmla="*/ 18 w 20"/>
                  <a:gd name="T13" fmla="*/ 13 h 36"/>
                  <a:gd name="T14" fmla="*/ 5 w 20"/>
                  <a:gd name="T15" fmla="*/ 7 h 36"/>
                  <a:gd name="T16" fmla="*/ 4 w 20"/>
                  <a:gd name="T17" fmla="*/ 10 h 36"/>
                  <a:gd name="T18" fmla="*/ 4 w 20"/>
                  <a:gd name="T19" fmla="*/ 11 h 36"/>
                  <a:gd name="T20" fmla="*/ 3 w 20"/>
                  <a:gd name="T21" fmla="*/ 16 h 36"/>
                  <a:gd name="T22" fmla="*/ 2 w 20"/>
                  <a:gd name="T23" fmla="*/ 22 h 36"/>
                  <a:gd name="T24" fmla="*/ 1 w 20"/>
                  <a:gd name="T25"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6">
                    <a:moveTo>
                      <a:pt x="1" y="24"/>
                    </a:moveTo>
                    <a:cubicBezTo>
                      <a:pt x="0" y="32"/>
                      <a:pt x="12" y="36"/>
                      <a:pt x="15" y="28"/>
                    </a:cubicBezTo>
                    <a:cubicBezTo>
                      <a:pt x="15" y="28"/>
                      <a:pt x="16" y="27"/>
                      <a:pt x="16" y="27"/>
                    </a:cubicBezTo>
                    <a:cubicBezTo>
                      <a:pt x="16" y="25"/>
                      <a:pt x="16" y="25"/>
                      <a:pt x="16" y="25"/>
                    </a:cubicBezTo>
                    <a:cubicBezTo>
                      <a:pt x="17" y="19"/>
                      <a:pt x="17" y="19"/>
                      <a:pt x="17" y="19"/>
                    </a:cubicBezTo>
                    <a:cubicBezTo>
                      <a:pt x="18" y="14"/>
                      <a:pt x="18" y="14"/>
                      <a:pt x="18" y="14"/>
                    </a:cubicBezTo>
                    <a:cubicBezTo>
                      <a:pt x="18" y="13"/>
                      <a:pt x="18" y="13"/>
                      <a:pt x="18" y="13"/>
                    </a:cubicBezTo>
                    <a:cubicBezTo>
                      <a:pt x="20" y="5"/>
                      <a:pt x="10" y="0"/>
                      <a:pt x="5" y="7"/>
                    </a:cubicBezTo>
                    <a:cubicBezTo>
                      <a:pt x="5" y="8"/>
                      <a:pt x="4" y="9"/>
                      <a:pt x="4" y="10"/>
                    </a:cubicBezTo>
                    <a:cubicBezTo>
                      <a:pt x="4" y="11"/>
                      <a:pt x="4" y="11"/>
                      <a:pt x="4" y="11"/>
                    </a:cubicBezTo>
                    <a:cubicBezTo>
                      <a:pt x="3" y="16"/>
                      <a:pt x="3" y="16"/>
                      <a:pt x="3" y="16"/>
                    </a:cubicBezTo>
                    <a:cubicBezTo>
                      <a:pt x="2" y="22"/>
                      <a:pt x="2" y="22"/>
                      <a:pt x="2" y="22"/>
                    </a:cubicBezTo>
                    <a:lnTo>
                      <a:pt x="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Freeform 14"/>
              <p:cNvSpPr>
                <a:spLocks/>
              </p:cNvSpPr>
              <p:nvPr/>
            </p:nvSpPr>
            <p:spPr bwMode="auto">
              <a:xfrm>
                <a:off x="3441532" y="4197452"/>
                <a:ext cx="43618" cy="60640"/>
              </a:xfrm>
              <a:custGeom>
                <a:avLst/>
                <a:gdLst>
                  <a:gd name="T0" fmla="*/ 1 w 29"/>
                  <a:gd name="T1" fmla="*/ 25 h 40"/>
                  <a:gd name="T2" fmla="*/ 5 w 29"/>
                  <a:gd name="T3" fmla="*/ 37 h 40"/>
                  <a:gd name="T4" fmla="*/ 20 w 29"/>
                  <a:gd name="T5" fmla="*/ 38 h 40"/>
                  <a:gd name="T6" fmla="*/ 26 w 29"/>
                  <a:gd name="T7" fmla="*/ 32 h 40"/>
                  <a:gd name="T8" fmla="*/ 26 w 29"/>
                  <a:gd name="T9" fmla="*/ 30 h 40"/>
                  <a:gd name="T10" fmla="*/ 27 w 29"/>
                  <a:gd name="T11" fmla="*/ 28 h 40"/>
                  <a:gd name="T12" fmla="*/ 28 w 29"/>
                  <a:gd name="T13" fmla="*/ 22 h 40"/>
                  <a:gd name="T14" fmla="*/ 29 w 29"/>
                  <a:gd name="T15" fmla="*/ 17 h 40"/>
                  <a:gd name="T16" fmla="*/ 29 w 29"/>
                  <a:gd name="T17" fmla="*/ 16 h 40"/>
                  <a:gd name="T18" fmla="*/ 25 w 29"/>
                  <a:gd name="T19" fmla="*/ 4 h 40"/>
                  <a:gd name="T20" fmla="*/ 10 w 29"/>
                  <a:gd name="T21" fmla="*/ 1 h 40"/>
                  <a:gd name="T22" fmla="*/ 5 w 29"/>
                  <a:gd name="T23" fmla="*/ 6 h 40"/>
                  <a:gd name="T24" fmla="*/ 3 w 29"/>
                  <a:gd name="T25" fmla="*/ 10 h 40"/>
                  <a:gd name="T26" fmla="*/ 3 w 29"/>
                  <a:gd name="T27" fmla="*/ 12 h 40"/>
                  <a:gd name="T28" fmla="*/ 1 w 29"/>
                  <a:gd name="T29" fmla="*/ 23 h 40"/>
                  <a:gd name="T30" fmla="*/ 1 w 29"/>
                  <a:gd name="T31" fmla="*/ 25 h 40"/>
                  <a:gd name="T32" fmla="*/ 6 w 29"/>
                  <a:gd name="T33" fmla="*/ 26 h 40"/>
                  <a:gd name="T34" fmla="*/ 13 w 29"/>
                  <a:gd name="T35" fmla="*/ 25 h 40"/>
                  <a:gd name="T36" fmla="*/ 14 w 29"/>
                  <a:gd name="T37" fmla="*/ 20 h 40"/>
                  <a:gd name="T38" fmla="*/ 15 w 29"/>
                  <a:gd name="T39" fmla="*/ 14 h 40"/>
                  <a:gd name="T40" fmla="*/ 15 w 29"/>
                  <a:gd name="T41" fmla="*/ 13 h 40"/>
                  <a:gd name="T42" fmla="*/ 15 w 29"/>
                  <a:gd name="T43" fmla="*/ 12 h 40"/>
                  <a:gd name="T44" fmla="*/ 15 w 29"/>
                  <a:gd name="T45" fmla="*/ 12 h 40"/>
                  <a:gd name="T46" fmla="*/ 16 w 29"/>
                  <a:gd name="T47" fmla="*/ 12 h 40"/>
                  <a:gd name="T48" fmla="*/ 18 w 29"/>
                  <a:gd name="T49" fmla="*/ 13 h 40"/>
                  <a:gd name="T50" fmla="*/ 18 w 29"/>
                  <a:gd name="T51" fmla="*/ 13 h 40"/>
                  <a:gd name="T52" fmla="*/ 17 w 29"/>
                  <a:gd name="T53" fmla="*/ 14 h 40"/>
                  <a:gd name="T54" fmla="*/ 15 w 29"/>
                  <a:gd name="T55" fmla="*/ 26 h 40"/>
                  <a:gd name="T56" fmla="*/ 21 w 29"/>
                  <a:gd name="T57" fmla="*/ 29 h 40"/>
                  <a:gd name="T58" fmla="*/ 15 w 29"/>
                  <a:gd name="T59" fmla="*/ 28 h 40"/>
                  <a:gd name="T60" fmla="*/ 15 w 29"/>
                  <a:gd name="T61" fmla="*/ 28 h 40"/>
                  <a:gd name="T62" fmla="*/ 14 w 29"/>
                  <a:gd name="T63" fmla="*/ 29 h 40"/>
                  <a:gd name="T64" fmla="*/ 12 w 29"/>
                  <a:gd name="T65" fmla="*/ 27 h 40"/>
                  <a:gd name="T66" fmla="*/ 12 w 29"/>
                  <a:gd name="T67"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40">
                    <a:moveTo>
                      <a:pt x="6" y="26"/>
                    </a:moveTo>
                    <a:cubicBezTo>
                      <a:pt x="1" y="25"/>
                      <a:pt x="1" y="25"/>
                      <a:pt x="1" y="25"/>
                    </a:cubicBezTo>
                    <a:cubicBezTo>
                      <a:pt x="1" y="26"/>
                      <a:pt x="0" y="27"/>
                      <a:pt x="0" y="27"/>
                    </a:cubicBezTo>
                    <a:cubicBezTo>
                      <a:pt x="0" y="31"/>
                      <a:pt x="2" y="35"/>
                      <a:pt x="5" y="37"/>
                    </a:cubicBezTo>
                    <a:cubicBezTo>
                      <a:pt x="7" y="39"/>
                      <a:pt x="10" y="40"/>
                      <a:pt x="14" y="40"/>
                    </a:cubicBezTo>
                    <a:cubicBezTo>
                      <a:pt x="16" y="40"/>
                      <a:pt x="18" y="40"/>
                      <a:pt x="20" y="38"/>
                    </a:cubicBezTo>
                    <a:cubicBezTo>
                      <a:pt x="23" y="37"/>
                      <a:pt x="24" y="35"/>
                      <a:pt x="26" y="33"/>
                    </a:cubicBezTo>
                    <a:cubicBezTo>
                      <a:pt x="26" y="32"/>
                      <a:pt x="26" y="32"/>
                      <a:pt x="26" y="32"/>
                    </a:cubicBezTo>
                    <a:cubicBezTo>
                      <a:pt x="26" y="32"/>
                      <a:pt x="26" y="32"/>
                      <a:pt x="26" y="32"/>
                    </a:cubicBezTo>
                    <a:cubicBezTo>
                      <a:pt x="26" y="31"/>
                      <a:pt x="26" y="31"/>
                      <a:pt x="26" y="30"/>
                    </a:cubicBezTo>
                    <a:cubicBezTo>
                      <a:pt x="26" y="30"/>
                      <a:pt x="26" y="30"/>
                      <a:pt x="26" y="30"/>
                    </a:cubicBezTo>
                    <a:cubicBezTo>
                      <a:pt x="27" y="28"/>
                      <a:pt x="27" y="28"/>
                      <a:pt x="27" y="28"/>
                    </a:cubicBezTo>
                    <a:cubicBezTo>
                      <a:pt x="28" y="22"/>
                      <a:pt x="28" y="22"/>
                      <a:pt x="28" y="22"/>
                    </a:cubicBezTo>
                    <a:cubicBezTo>
                      <a:pt x="28" y="22"/>
                      <a:pt x="28" y="22"/>
                      <a:pt x="28" y="22"/>
                    </a:cubicBezTo>
                    <a:cubicBezTo>
                      <a:pt x="29" y="17"/>
                      <a:pt x="29" y="17"/>
                      <a:pt x="29" y="17"/>
                    </a:cubicBezTo>
                    <a:cubicBezTo>
                      <a:pt x="29" y="17"/>
                      <a:pt x="29" y="17"/>
                      <a:pt x="29" y="17"/>
                    </a:cubicBezTo>
                    <a:cubicBezTo>
                      <a:pt x="29" y="16"/>
                      <a:pt x="29" y="16"/>
                      <a:pt x="29" y="16"/>
                    </a:cubicBezTo>
                    <a:cubicBezTo>
                      <a:pt x="29" y="16"/>
                      <a:pt x="29" y="16"/>
                      <a:pt x="29" y="16"/>
                    </a:cubicBezTo>
                    <a:cubicBezTo>
                      <a:pt x="29" y="15"/>
                      <a:pt x="29" y="14"/>
                      <a:pt x="29" y="13"/>
                    </a:cubicBezTo>
                    <a:cubicBezTo>
                      <a:pt x="29" y="9"/>
                      <a:pt x="28" y="6"/>
                      <a:pt x="25" y="4"/>
                    </a:cubicBezTo>
                    <a:cubicBezTo>
                      <a:pt x="23" y="1"/>
                      <a:pt x="20" y="0"/>
                      <a:pt x="16" y="0"/>
                    </a:cubicBezTo>
                    <a:cubicBezTo>
                      <a:pt x="14" y="0"/>
                      <a:pt x="12" y="0"/>
                      <a:pt x="10" y="1"/>
                    </a:cubicBezTo>
                    <a:cubicBezTo>
                      <a:pt x="8" y="2"/>
                      <a:pt x="7" y="4"/>
                      <a:pt x="5" y="6"/>
                    </a:cubicBezTo>
                    <a:cubicBezTo>
                      <a:pt x="5" y="6"/>
                      <a:pt x="5" y="6"/>
                      <a:pt x="5" y="6"/>
                    </a:cubicBezTo>
                    <a:cubicBezTo>
                      <a:pt x="5" y="6"/>
                      <a:pt x="5" y="6"/>
                      <a:pt x="5" y="6"/>
                    </a:cubicBezTo>
                    <a:cubicBezTo>
                      <a:pt x="4" y="7"/>
                      <a:pt x="4" y="9"/>
                      <a:pt x="3" y="10"/>
                    </a:cubicBezTo>
                    <a:cubicBezTo>
                      <a:pt x="3" y="11"/>
                      <a:pt x="3" y="11"/>
                      <a:pt x="3" y="11"/>
                    </a:cubicBezTo>
                    <a:cubicBezTo>
                      <a:pt x="3" y="12"/>
                      <a:pt x="3" y="12"/>
                      <a:pt x="3" y="12"/>
                    </a:cubicBezTo>
                    <a:cubicBezTo>
                      <a:pt x="2" y="17"/>
                      <a:pt x="2" y="17"/>
                      <a:pt x="2" y="17"/>
                    </a:cubicBezTo>
                    <a:cubicBezTo>
                      <a:pt x="1" y="23"/>
                      <a:pt x="1" y="23"/>
                      <a:pt x="1" y="23"/>
                    </a:cubicBezTo>
                    <a:cubicBezTo>
                      <a:pt x="1" y="25"/>
                      <a:pt x="1" y="25"/>
                      <a:pt x="1" y="25"/>
                    </a:cubicBezTo>
                    <a:cubicBezTo>
                      <a:pt x="1" y="25"/>
                      <a:pt x="1" y="25"/>
                      <a:pt x="1" y="25"/>
                    </a:cubicBezTo>
                    <a:cubicBezTo>
                      <a:pt x="1" y="25"/>
                      <a:pt x="1" y="25"/>
                      <a:pt x="1" y="25"/>
                    </a:cubicBezTo>
                    <a:cubicBezTo>
                      <a:pt x="6" y="26"/>
                      <a:pt x="6" y="26"/>
                      <a:pt x="6" y="26"/>
                    </a:cubicBezTo>
                    <a:cubicBezTo>
                      <a:pt x="12" y="27"/>
                      <a:pt x="12" y="27"/>
                      <a:pt x="12" y="27"/>
                    </a:cubicBezTo>
                    <a:cubicBezTo>
                      <a:pt x="13" y="25"/>
                      <a:pt x="13" y="25"/>
                      <a:pt x="13" y="25"/>
                    </a:cubicBezTo>
                    <a:cubicBezTo>
                      <a:pt x="13" y="25"/>
                      <a:pt x="13" y="25"/>
                      <a:pt x="13" y="25"/>
                    </a:cubicBezTo>
                    <a:cubicBezTo>
                      <a:pt x="14" y="20"/>
                      <a:pt x="14" y="20"/>
                      <a:pt x="14" y="20"/>
                    </a:cubicBezTo>
                    <a:cubicBezTo>
                      <a:pt x="14" y="20"/>
                      <a:pt x="14" y="20"/>
                      <a:pt x="14" y="20"/>
                    </a:cubicBezTo>
                    <a:cubicBezTo>
                      <a:pt x="15" y="14"/>
                      <a:pt x="15" y="14"/>
                      <a:pt x="15" y="14"/>
                    </a:cubicBezTo>
                    <a:cubicBezTo>
                      <a:pt x="15" y="14"/>
                      <a:pt x="15" y="14"/>
                      <a:pt x="15" y="14"/>
                    </a:cubicBezTo>
                    <a:cubicBezTo>
                      <a:pt x="15" y="13"/>
                      <a:pt x="15" y="13"/>
                      <a:pt x="15" y="13"/>
                    </a:cubicBezTo>
                    <a:cubicBezTo>
                      <a:pt x="15" y="13"/>
                      <a:pt x="15" y="13"/>
                      <a:pt x="15" y="13"/>
                    </a:cubicBezTo>
                    <a:cubicBezTo>
                      <a:pt x="15" y="12"/>
                      <a:pt x="15" y="12"/>
                      <a:pt x="15" y="12"/>
                    </a:cubicBezTo>
                    <a:cubicBezTo>
                      <a:pt x="10" y="9"/>
                      <a:pt x="10" y="9"/>
                      <a:pt x="10" y="9"/>
                    </a:cubicBezTo>
                    <a:cubicBezTo>
                      <a:pt x="15" y="12"/>
                      <a:pt x="15" y="12"/>
                      <a:pt x="15" y="12"/>
                    </a:cubicBezTo>
                    <a:cubicBezTo>
                      <a:pt x="15" y="12"/>
                      <a:pt x="16" y="12"/>
                      <a:pt x="16" y="12"/>
                    </a:cubicBezTo>
                    <a:cubicBezTo>
                      <a:pt x="16" y="12"/>
                      <a:pt x="16" y="12"/>
                      <a:pt x="16" y="12"/>
                    </a:cubicBezTo>
                    <a:cubicBezTo>
                      <a:pt x="17" y="12"/>
                      <a:pt x="17" y="12"/>
                      <a:pt x="17" y="12"/>
                    </a:cubicBezTo>
                    <a:cubicBezTo>
                      <a:pt x="18" y="13"/>
                      <a:pt x="18" y="13"/>
                      <a:pt x="18" y="13"/>
                    </a:cubicBezTo>
                    <a:cubicBezTo>
                      <a:pt x="18" y="13"/>
                      <a:pt x="18" y="13"/>
                      <a:pt x="18" y="13"/>
                    </a:cubicBezTo>
                    <a:cubicBezTo>
                      <a:pt x="18" y="13"/>
                      <a:pt x="18" y="13"/>
                      <a:pt x="18" y="13"/>
                    </a:cubicBezTo>
                    <a:cubicBezTo>
                      <a:pt x="17" y="14"/>
                      <a:pt x="17" y="14"/>
                      <a:pt x="17" y="14"/>
                    </a:cubicBezTo>
                    <a:cubicBezTo>
                      <a:pt x="17" y="14"/>
                      <a:pt x="17" y="14"/>
                      <a:pt x="17" y="14"/>
                    </a:cubicBezTo>
                    <a:cubicBezTo>
                      <a:pt x="16" y="20"/>
                      <a:pt x="16" y="20"/>
                      <a:pt x="16" y="20"/>
                    </a:cubicBezTo>
                    <a:cubicBezTo>
                      <a:pt x="15" y="26"/>
                      <a:pt x="15" y="26"/>
                      <a:pt x="15" y="26"/>
                    </a:cubicBezTo>
                    <a:cubicBezTo>
                      <a:pt x="15" y="28"/>
                      <a:pt x="15" y="28"/>
                      <a:pt x="15" y="28"/>
                    </a:cubicBezTo>
                    <a:cubicBezTo>
                      <a:pt x="21" y="29"/>
                      <a:pt x="21" y="29"/>
                      <a:pt x="21" y="29"/>
                    </a:cubicBezTo>
                    <a:cubicBezTo>
                      <a:pt x="15" y="27"/>
                      <a:pt x="15" y="27"/>
                      <a:pt x="15" y="27"/>
                    </a:cubicBezTo>
                    <a:cubicBezTo>
                      <a:pt x="15" y="28"/>
                      <a:pt x="15" y="28"/>
                      <a:pt x="15" y="28"/>
                    </a:cubicBezTo>
                    <a:cubicBezTo>
                      <a:pt x="20" y="30"/>
                      <a:pt x="20" y="30"/>
                      <a:pt x="20" y="30"/>
                    </a:cubicBezTo>
                    <a:cubicBezTo>
                      <a:pt x="15" y="28"/>
                      <a:pt x="15" y="28"/>
                      <a:pt x="15" y="28"/>
                    </a:cubicBezTo>
                    <a:cubicBezTo>
                      <a:pt x="15" y="28"/>
                      <a:pt x="14" y="28"/>
                      <a:pt x="14" y="28"/>
                    </a:cubicBezTo>
                    <a:cubicBezTo>
                      <a:pt x="14" y="29"/>
                      <a:pt x="14" y="29"/>
                      <a:pt x="14" y="29"/>
                    </a:cubicBezTo>
                    <a:cubicBezTo>
                      <a:pt x="13" y="29"/>
                      <a:pt x="13" y="28"/>
                      <a:pt x="13" y="28"/>
                    </a:cubicBezTo>
                    <a:cubicBezTo>
                      <a:pt x="12" y="28"/>
                      <a:pt x="12" y="28"/>
                      <a:pt x="12" y="27"/>
                    </a:cubicBezTo>
                    <a:cubicBezTo>
                      <a:pt x="12" y="27"/>
                      <a:pt x="12" y="27"/>
                      <a:pt x="12" y="27"/>
                    </a:cubicBezTo>
                    <a:cubicBezTo>
                      <a:pt x="12" y="27"/>
                      <a:pt x="12" y="27"/>
                      <a:pt x="12" y="27"/>
                    </a:cubicBezTo>
                    <a:lnTo>
                      <a:pt x="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3" name="Freeform 15"/>
              <p:cNvSpPr>
                <a:spLocks/>
              </p:cNvSpPr>
              <p:nvPr/>
            </p:nvSpPr>
            <p:spPr bwMode="auto">
              <a:xfrm>
                <a:off x="3430893" y="4333625"/>
                <a:ext cx="25533" cy="50001"/>
              </a:xfrm>
              <a:custGeom>
                <a:avLst/>
                <a:gdLst>
                  <a:gd name="T0" fmla="*/ 1 w 17"/>
                  <a:gd name="T1" fmla="*/ 22 h 33"/>
                  <a:gd name="T2" fmla="*/ 14 w 17"/>
                  <a:gd name="T3" fmla="*/ 25 h 33"/>
                  <a:gd name="T4" fmla="*/ 15 w 17"/>
                  <a:gd name="T5" fmla="*/ 24 h 33"/>
                  <a:gd name="T6" fmla="*/ 15 w 17"/>
                  <a:gd name="T7" fmla="*/ 23 h 33"/>
                  <a:gd name="T8" fmla="*/ 16 w 17"/>
                  <a:gd name="T9" fmla="*/ 17 h 33"/>
                  <a:gd name="T10" fmla="*/ 16 w 17"/>
                  <a:gd name="T11" fmla="*/ 11 h 33"/>
                  <a:gd name="T12" fmla="*/ 17 w 17"/>
                  <a:gd name="T13" fmla="*/ 9 h 33"/>
                  <a:gd name="T14" fmla="*/ 13 w 17"/>
                  <a:gd name="T15" fmla="*/ 2 h 33"/>
                  <a:gd name="T16" fmla="*/ 2 w 17"/>
                  <a:gd name="T17" fmla="*/ 7 h 33"/>
                  <a:gd name="T18" fmla="*/ 2 w 17"/>
                  <a:gd name="T19" fmla="*/ 9 h 33"/>
                  <a:gd name="T20" fmla="*/ 1 w 17"/>
                  <a:gd name="T21" fmla="*/ 15 h 33"/>
                  <a:gd name="T22" fmla="*/ 1 w 17"/>
                  <a:gd name="T23" fmla="*/ 21 h 33"/>
                  <a:gd name="T24" fmla="*/ 1 w 17"/>
                  <a:gd name="T25"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33">
                    <a:moveTo>
                      <a:pt x="1" y="22"/>
                    </a:moveTo>
                    <a:cubicBezTo>
                      <a:pt x="0" y="30"/>
                      <a:pt x="11" y="33"/>
                      <a:pt x="14" y="25"/>
                    </a:cubicBezTo>
                    <a:cubicBezTo>
                      <a:pt x="15" y="25"/>
                      <a:pt x="15" y="24"/>
                      <a:pt x="15" y="24"/>
                    </a:cubicBezTo>
                    <a:cubicBezTo>
                      <a:pt x="15" y="23"/>
                      <a:pt x="15" y="23"/>
                      <a:pt x="15" y="23"/>
                    </a:cubicBezTo>
                    <a:cubicBezTo>
                      <a:pt x="16" y="17"/>
                      <a:pt x="16" y="17"/>
                      <a:pt x="16" y="17"/>
                    </a:cubicBezTo>
                    <a:cubicBezTo>
                      <a:pt x="16" y="11"/>
                      <a:pt x="16" y="11"/>
                      <a:pt x="16" y="11"/>
                    </a:cubicBezTo>
                    <a:cubicBezTo>
                      <a:pt x="17" y="9"/>
                      <a:pt x="17" y="9"/>
                      <a:pt x="17" y="9"/>
                    </a:cubicBezTo>
                    <a:cubicBezTo>
                      <a:pt x="17" y="6"/>
                      <a:pt x="15" y="4"/>
                      <a:pt x="13" y="2"/>
                    </a:cubicBezTo>
                    <a:cubicBezTo>
                      <a:pt x="8" y="0"/>
                      <a:pt x="3" y="2"/>
                      <a:pt x="2" y="7"/>
                    </a:cubicBezTo>
                    <a:cubicBezTo>
                      <a:pt x="2" y="9"/>
                      <a:pt x="2" y="9"/>
                      <a:pt x="2" y="9"/>
                    </a:cubicBezTo>
                    <a:cubicBezTo>
                      <a:pt x="1" y="15"/>
                      <a:pt x="1" y="15"/>
                      <a:pt x="1" y="15"/>
                    </a:cubicBezTo>
                    <a:cubicBezTo>
                      <a:pt x="1" y="21"/>
                      <a:pt x="1" y="21"/>
                      <a:pt x="1" y="21"/>
                    </a:cubicBezTo>
                    <a:lnTo>
                      <a:pt x="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4" name="Freeform 16"/>
              <p:cNvSpPr>
                <a:spLocks/>
              </p:cNvSpPr>
              <p:nvPr/>
            </p:nvSpPr>
            <p:spPr bwMode="auto">
              <a:xfrm>
                <a:off x="3423446" y="4326178"/>
                <a:ext cx="42554" cy="61704"/>
              </a:xfrm>
              <a:custGeom>
                <a:avLst/>
                <a:gdLst>
                  <a:gd name="T0" fmla="*/ 0 w 28"/>
                  <a:gd name="T1" fmla="*/ 26 h 41"/>
                  <a:gd name="T2" fmla="*/ 4 w 28"/>
                  <a:gd name="T3" fmla="*/ 37 h 41"/>
                  <a:gd name="T4" fmla="*/ 20 w 28"/>
                  <a:gd name="T5" fmla="*/ 39 h 41"/>
                  <a:gd name="T6" fmla="*/ 25 w 28"/>
                  <a:gd name="T7" fmla="*/ 32 h 41"/>
                  <a:gd name="T8" fmla="*/ 26 w 28"/>
                  <a:gd name="T9" fmla="*/ 29 h 41"/>
                  <a:gd name="T10" fmla="*/ 26 w 28"/>
                  <a:gd name="T11" fmla="*/ 28 h 41"/>
                  <a:gd name="T12" fmla="*/ 26 w 28"/>
                  <a:gd name="T13" fmla="*/ 23 h 41"/>
                  <a:gd name="T14" fmla="*/ 27 w 28"/>
                  <a:gd name="T15" fmla="*/ 17 h 41"/>
                  <a:gd name="T16" fmla="*/ 27 w 28"/>
                  <a:gd name="T17" fmla="*/ 15 h 41"/>
                  <a:gd name="T18" fmla="*/ 21 w 28"/>
                  <a:gd name="T19" fmla="*/ 2 h 41"/>
                  <a:gd name="T20" fmla="*/ 21 w 28"/>
                  <a:gd name="T21" fmla="*/ 2 h 41"/>
                  <a:gd name="T22" fmla="*/ 6 w 28"/>
                  <a:gd name="T23" fmla="*/ 3 h 41"/>
                  <a:gd name="T24" fmla="*/ 1 w 28"/>
                  <a:gd name="T25" fmla="*/ 12 h 41"/>
                  <a:gd name="T26" fmla="*/ 1 w 28"/>
                  <a:gd name="T27" fmla="*/ 13 h 41"/>
                  <a:gd name="T28" fmla="*/ 0 w 28"/>
                  <a:gd name="T29" fmla="*/ 25 h 41"/>
                  <a:gd name="T30" fmla="*/ 0 w 28"/>
                  <a:gd name="T31" fmla="*/ 26 h 41"/>
                  <a:gd name="T32" fmla="*/ 6 w 28"/>
                  <a:gd name="T33" fmla="*/ 27 h 41"/>
                  <a:gd name="T34" fmla="*/ 11 w 28"/>
                  <a:gd name="T35" fmla="*/ 27 h 41"/>
                  <a:gd name="T36" fmla="*/ 12 w 28"/>
                  <a:gd name="T37" fmla="*/ 21 h 41"/>
                  <a:gd name="T38" fmla="*/ 13 w 28"/>
                  <a:gd name="T39" fmla="*/ 15 h 41"/>
                  <a:gd name="T40" fmla="*/ 13 w 28"/>
                  <a:gd name="T41" fmla="*/ 13 h 41"/>
                  <a:gd name="T42" fmla="*/ 14 w 28"/>
                  <a:gd name="T43" fmla="*/ 12 h 41"/>
                  <a:gd name="T44" fmla="*/ 15 w 28"/>
                  <a:gd name="T45" fmla="*/ 12 h 41"/>
                  <a:gd name="T46" fmla="*/ 15 w 28"/>
                  <a:gd name="T47" fmla="*/ 12 h 41"/>
                  <a:gd name="T48" fmla="*/ 16 w 28"/>
                  <a:gd name="T49" fmla="*/ 14 h 41"/>
                  <a:gd name="T50" fmla="*/ 16 w 28"/>
                  <a:gd name="T51" fmla="*/ 15 h 41"/>
                  <a:gd name="T52" fmla="*/ 14 w 28"/>
                  <a:gd name="T53" fmla="*/ 27 h 41"/>
                  <a:gd name="T54" fmla="*/ 20 w 28"/>
                  <a:gd name="T55" fmla="*/ 29 h 41"/>
                  <a:gd name="T56" fmla="*/ 14 w 28"/>
                  <a:gd name="T57" fmla="*/ 28 h 41"/>
                  <a:gd name="T58" fmla="*/ 14 w 28"/>
                  <a:gd name="T59" fmla="*/ 28 h 41"/>
                  <a:gd name="T60" fmla="*/ 13 w 28"/>
                  <a:gd name="T61" fmla="*/ 29 h 41"/>
                  <a:gd name="T62" fmla="*/ 11 w 28"/>
                  <a:gd name="T63" fmla="*/ 28 h 41"/>
                  <a:gd name="T64" fmla="*/ 11 w 28"/>
                  <a:gd name="T65"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41">
                    <a:moveTo>
                      <a:pt x="6" y="27"/>
                    </a:moveTo>
                    <a:cubicBezTo>
                      <a:pt x="0" y="26"/>
                      <a:pt x="0" y="26"/>
                      <a:pt x="0" y="26"/>
                    </a:cubicBezTo>
                    <a:cubicBezTo>
                      <a:pt x="0" y="27"/>
                      <a:pt x="0" y="27"/>
                      <a:pt x="0" y="28"/>
                    </a:cubicBezTo>
                    <a:cubicBezTo>
                      <a:pt x="0" y="32"/>
                      <a:pt x="1" y="35"/>
                      <a:pt x="4" y="37"/>
                    </a:cubicBezTo>
                    <a:cubicBezTo>
                      <a:pt x="6" y="40"/>
                      <a:pt x="10" y="41"/>
                      <a:pt x="13" y="41"/>
                    </a:cubicBezTo>
                    <a:cubicBezTo>
                      <a:pt x="15" y="41"/>
                      <a:pt x="18" y="40"/>
                      <a:pt x="20" y="39"/>
                    </a:cubicBezTo>
                    <a:cubicBezTo>
                      <a:pt x="22" y="37"/>
                      <a:pt x="24" y="35"/>
                      <a:pt x="25" y="32"/>
                    </a:cubicBezTo>
                    <a:cubicBezTo>
                      <a:pt x="25" y="32"/>
                      <a:pt x="25" y="32"/>
                      <a:pt x="25" y="32"/>
                    </a:cubicBezTo>
                    <a:cubicBezTo>
                      <a:pt x="25" y="32"/>
                      <a:pt x="25" y="32"/>
                      <a:pt x="25" y="32"/>
                    </a:cubicBezTo>
                    <a:cubicBezTo>
                      <a:pt x="25" y="31"/>
                      <a:pt x="26" y="30"/>
                      <a:pt x="26" y="29"/>
                    </a:cubicBezTo>
                    <a:cubicBezTo>
                      <a:pt x="26" y="29"/>
                      <a:pt x="26" y="29"/>
                      <a:pt x="26" y="29"/>
                    </a:cubicBezTo>
                    <a:cubicBezTo>
                      <a:pt x="26" y="28"/>
                      <a:pt x="26" y="28"/>
                      <a:pt x="26" y="28"/>
                    </a:cubicBezTo>
                    <a:cubicBezTo>
                      <a:pt x="26" y="22"/>
                      <a:pt x="26" y="22"/>
                      <a:pt x="26" y="22"/>
                    </a:cubicBezTo>
                    <a:cubicBezTo>
                      <a:pt x="26" y="23"/>
                      <a:pt x="26" y="23"/>
                      <a:pt x="26" y="23"/>
                    </a:cubicBezTo>
                    <a:cubicBezTo>
                      <a:pt x="27" y="17"/>
                      <a:pt x="27" y="17"/>
                      <a:pt x="27" y="17"/>
                    </a:cubicBezTo>
                    <a:cubicBezTo>
                      <a:pt x="27" y="17"/>
                      <a:pt x="27" y="17"/>
                      <a:pt x="27" y="17"/>
                    </a:cubicBezTo>
                    <a:cubicBezTo>
                      <a:pt x="27" y="15"/>
                      <a:pt x="27" y="15"/>
                      <a:pt x="27" y="15"/>
                    </a:cubicBezTo>
                    <a:cubicBezTo>
                      <a:pt x="27" y="15"/>
                      <a:pt x="27" y="15"/>
                      <a:pt x="27" y="15"/>
                    </a:cubicBezTo>
                    <a:cubicBezTo>
                      <a:pt x="27" y="15"/>
                      <a:pt x="28" y="14"/>
                      <a:pt x="28" y="13"/>
                    </a:cubicBezTo>
                    <a:cubicBezTo>
                      <a:pt x="28" y="9"/>
                      <a:pt x="25" y="4"/>
                      <a:pt x="21" y="2"/>
                    </a:cubicBezTo>
                    <a:cubicBezTo>
                      <a:pt x="21" y="2"/>
                      <a:pt x="21" y="2"/>
                      <a:pt x="21" y="2"/>
                    </a:cubicBezTo>
                    <a:cubicBezTo>
                      <a:pt x="21" y="2"/>
                      <a:pt x="21" y="2"/>
                      <a:pt x="21" y="2"/>
                    </a:cubicBezTo>
                    <a:cubicBezTo>
                      <a:pt x="19" y="1"/>
                      <a:pt x="17" y="0"/>
                      <a:pt x="14" y="0"/>
                    </a:cubicBezTo>
                    <a:cubicBezTo>
                      <a:pt x="11" y="0"/>
                      <a:pt x="8" y="1"/>
                      <a:pt x="6" y="3"/>
                    </a:cubicBezTo>
                    <a:cubicBezTo>
                      <a:pt x="4" y="5"/>
                      <a:pt x="2" y="8"/>
                      <a:pt x="1" y="12"/>
                    </a:cubicBezTo>
                    <a:cubicBezTo>
                      <a:pt x="1" y="12"/>
                      <a:pt x="1" y="12"/>
                      <a:pt x="1" y="12"/>
                    </a:cubicBezTo>
                    <a:cubicBezTo>
                      <a:pt x="1" y="13"/>
                      <a:pt x="1" y="13"/>
                      <a:pt x="1" y="13"/>
                    </a:cubicBezTo>
                    <a:cubicBezTo>
                      <a:pt x="1" y="13"/>
                      <a:pt x="1" y="13"/>
                      <a:pt x="1" y="13"/>
                    </a:cubicBezTo>
                    <a:cubicBezTo>
                      <a:pt x="1" y="19"/>
                      <a:pt x="1" y="19"/>
                      <a:pt x="1" y="19"/>
                    </a:cubicBezTo>
                    <a:cubicBezTo>
                      <a:pt x="0" y="25"/>
                      <a:pt x="0" y="25"/>
                      <a:pt x="0" y="25"/>
                    </a:cubicBezTo>
                    <a:cubicBezTo>
                      <a:pt x="0" y="26"/>
                      <a:pt x="0" y="26"/>
                      <a:pt x="0" y="26"/>
                    </a:cubicBezTo>
                    <a:cubicBezTo>
                      <a:pt x="0" y="26"/>
                      <a:pt x="0" y="26"/>
                      <a:pt x="0" y="26"/>
                    </a:cubicBezTo>
                    <a:cubicBezTo>
                      <a:pt x="0" y="26"/>
                      <a:pt x="0" y="26"/>
                      <a:pt x="0" y="26"/>
                    </a:cubicBezTo>
                    <a:cubicBezTo>
                      <a:pt x="6" y="27"/>
                      <a:pt x="6" y="27"/>
                      <a:pt x="6" y="27"/>
                    </a:cubicBezTo>
                    <a:cubicBezTo>
                      <a:pt x="11" y="28"/>
                      <a:pt x="11" y="28"/>
                      <a:pt x="11" y="28"/>
                    </a:cubicBezTo>
                    <a:cubicBezTo>
                      <a:pt x="11" y="27"/>
                      <a:pt x="11" y="27"/>
                      <a:pt x="11" y="27"/>
                    </a:cubicBezTo>
                    <a:cubicBezTo>
                      <a:pt x="11" y="27"/>
                      <a:pt x="11" y="27"/>
                      <a:pt x="11" y="27"/>
                    </a:cubicBezTo>
                    <a:cubicBezTo>
                      <a:pt x="12" y="21"/>
                      <a:pt x="12" y="21"/>
                      <a:pt x="12" y="21"/>
                    </a:cubicBezTo>
                    <a:cubicBezTo>
                      <a:pt x="12" y="21"/>
                      <a:pt x="12" y="21"/>
                      <a:pt x="12" y="21"/>
                    </a:cubicBezTo>
                    <a:cubicBezTo>
                      <a:pt x="13" y="15"/>
                      <a:pt x="13" y="15"/>
                      <a:pt x="13" y="15"/>
                    </a:cubicBezTo>
                    <a:cubicBezTo>
                      <a:pt x="13" y="15"/>
                      <a:pt x="13" y="15"/>
                      <a:pt x="13" y="15"/>
                    </a:cubicBezTo>
                    <a:cubicBezTo>
                      <a:pt x="13" y="13"/>
                      <a:pt x="13" y="13"/>
                      <a:pt x="13" y="13"/>
                    </a:cubicBezTo>
                    <a:cubicBezTo>
                      <a:pt x="13" y="13"/>
                      <a:pt x="13" y="13"/>
                      <a:pt x="13" y="13"/>
                    </a:cubicBezTo>
                    <a:cubicBezTo>
                      <a:pt x="13" y="13"/>
                      <a:pt x="13" y="13"/>
                      <a:pt x="14" y="12"/>
                    </a:cubicBezTo>
                    <a:cubicBezTo>
                      <a:pt x="14" y="12"/>
                      <a:pt x="14" y="12"/>
                      <a:pt x="14" y="12"/>
                    </a:cubicBezTo>
                    <a:cubicBezTo>
                      <a:pt x="15" y="12"/>
                      <a:pt x="15" y="12"/>
                      <a:pt x="15" y="12"/>
                    </a:cubicBezTo>
                    <a:cubicBezTo>
                      <a:pt x="18" y="7"/>
                      <a:pt x="18" y="7"/>
                      <a:pt x="18" y="7"/>
                    </a:cubicBezTo>
                    <a:cubicBezTo>
                      <a:pt x="15" y="12"/>
                      <a:pt x="15" y="12"/>
                      <a:pt x="15" y="12"/>
                    </a:cubicBezTo>
                    <a:cubicBezTo>
                      <a:pt x="16" y="12"/>
                      <a:pt x="16" y="13"/>
                      <a:pt x="16" y="13"/>
                    </a:cubicBezTo>
                    <a:cubicBezTo>
                      <a:pt x="16" y="14"/>
                      <a:pt x="16" y="14"/>
                      <a:pt x="16" y="14"/>
                    </a:cubicBezTo>
                    <a:cubicBezTo>
                      <a:pt x="16" y="15"/>
                      <a:pt x="16" y="15"/>
                      <a:pt x="16" y="15"/>
                    </a:cubicBezTo>
                    <a:cubicBezTo>
                      <a:pt x="16" y="15"/>
                      <a:pt x="16" y="15"/>
                      <a:pt x="16" y="15"/>
                    </a:cubicBezTo>
                    <a:cubicBezTo>
                      <a:pt x="15" y="21"/>
                      <a:pt x="15" y="21"/>
                      <a:pt x="15" y="21"/>
                    </a:cubicBezTo>
                    <a:cubicBezTo>
                      <a:pt x="14" y="27"/>
                      <a:pt x="14" y="27"/>
                      <a:pt x="14" y="27"/>
                    </a:cubicBezTo>
                    <a:cubicBezTo>
                      <a:pt x="14" y="28"/>
                      <a:pt x="14" y="28"/>
                      <a:pt x="14" y="28"/>
                    </a:cubicBezTo>
                    <a:cubicBezTo>
                      <a:pt x="20" y="29"/>
                      <a:pt x="20" y="29"/>
                      <a:pt x="20" y="29"/>
                    </a:cubicBezTo>
                    <a:cubicBezTo>
                      <a:pt x="14" y="28"/>
                      <a:pt x="14" y="28"/>
                      <a:pt x="14" y="28"/>
                    </a:cubicBezTo>
                    <a:cubicBezTo>
                      <a:pt x="14" y="28"/>
                      <a:pt x="14" y="28"/>
                      <a:pt x="14" y="28"/>
                    </a:cubicBezTo>
                    <a:cubicBezTo>
                      <a:pt x="19" y="30"/>
                      <a:pt x="19" y="30"/>
                      <a:pt x="19" y="30"/>
                    </a:cubicBezTo>
                    <a:cubicBezTo>
                      <a:pt x="14" y="28"/>
                      <a:pt x="14" y="28"/>
                      <a:pt x="14" y="28"/>
                    </a:cubicBezTo>
                    <a:cubicBezTo>
                      <a:pt x="14" y="29"/>
                      <a:pt x="14" y="29"/>
                      <a:pt x="13" y="29"/>
                    </a:cubicBezTo>
                    <a:cubicBezTo>
                      <a:pt x="13" y="29"/>
                      <a:pt x="13" y="29"/>
                      <a:pt x="13" y="29"/>
                    </a:cubicBezTo>
                    <a:cubicBezTo>
                      <a:pt x="12" y="29"/>
                      <a:pt x="12" y="29"/>
                      <a:pt x="12" y="29"/>
                    </a:cubicBezTo>
                    <a:cubicBezTo>
                      <a:pt x="11" y="28"/>
                      <a:pt x="11" y="28"/>
                      <a:pt x="11" y="28"/>
                    </a:cubicBezTo>
                    <a:cubicBezTo>
                      <a:pt x="11" y="28"/>
                      <a:pt x="11" y="28"/>
                      <a:pt x="11" y="28"/>
                    </a:cubicBezTo>
                    <a:cubicBezTo>
                      <a:pt x="11" y="28"/>
                      <a:pt x="11" y="28"/>
                      <a:pt x="11" y="28"/>
                    </a:cubicBez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5" name="Freeform 17"/>
              <p:cNvSpPr>
                <a:spLocks/>
              </p:cNvSpPr>
              <p:nvPr/>
            </p:nvSpPr>
            <p:spPr bwMode="auto">
              <a:xfrm>
                <a:off x="3422382" y="4461288"/>
                <a:ext cx="22341" cy="52129"/>
              </a:xfrm>
              <a:custGeom>
                <a:avLst/>
                <a:gdLst>
                  <a:gd name="T0" fmla="*/ 0 w 15"/>
                  <a:gd name="T1" fmla="*/ 25 h 35"/>
                  <a:gd name="T2" fmla="*/ 1 w 15"/>
                  <a:gd name="T3" fmla="*/ 29 h 35"/>
                  <a:gd name="T4" fmla="*/ 14 w 15"/>
                  <a:gd name="T5" fmla="*/ 25 h 35"/>
                  <a:gd name="T6" fmla="*/ 14 w 15"/>
                  <a:gd name="T7" fmla="*/ 22 h 35"/>
                  <a:gd name="T8" fmla="*/ 14 w 15"/>
                  <a:gd name="T9" fmla="*/ 16 h 35"/>
                  <a:gd name="T10" fmla="*/ 15 w 15"/>
                  <a:gd name="T11" fmla="*/ 11 h 35"/>
                  <a:gd name="T12" fmla="*/ 1 w 15"/>
                  <a:gd name="T13" fmla="*/ 7 h 35"/>
                  <a:gd name="T14" fmla="*/ 0 w 15"/>
                  <a:gd name="T15" fmla="*/ 10 h 35"/>
                  <a:gd name="T16" fmla="*/ 0 w 15"/>
                  <a:gd name="T17" fmla="*/ 15 h 35"/>
                  <a:gd name="T18" fmla="*/ 0 w 15"/>
                  <a:gd name="T19" fmla="*/ 21 h 35"/>
                  <a:gd name="T20" fmla="*/ 0 w 15"/>
                  <a:gd name="T21" fmla="*/ 2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5">
                    <a:moveTo>
                      <a:pt x="0" y="25"/>
                    </a:moveTo>
                    <a:cubicBezTo>
                      <a:pt x="0" y="26"/>
                      <a:pt x="0" y="28"/>
                      <a:pt x="1" y="29"/>
                    </a:cubicBezTo>
                    <a:cubicBezTo>
                      <a:pt x="5" y="35"/>
                      <a:pt x="14" y="32"/>
                      <a:pt x="14" y="25"/>
                    </a:cubicBezTo>
                    <a:cubicBezTo>
                      <a:pt x="14" y="22"/>
                      <a:pt x="14" y="22"/>
                      <a:pt x="14" y="22"/>
                    </a:cubicBezTo>
                    <a:cubicBezTo>
                      <a:pt x="14" y="16"/>
                      <a:pt x="14" y="16"/>
                      <a:pt x="14" y="16"/>
                    </a:cubicBezTo>
                    <a:cubicBezTo>
                      <a:pt x="15" y="11"/>
                      <a:pt x="15" y="11"/>
                      <a:pt x="15" y="11"/>
                    </a:cubicBezTo>
                    <a:cubicBezTo>
                      <a:pt x="15" y="3"/>
                      <a:pt x="5" y="0"/>
                      <a:pt x="1" y="7"/>
                    </a:cubicBezTo>
                    <a:cubicBezTo>
                      <a:pt x="1" y="8"/>
                      <a:pt x="0" y="9"/>
                      <a:pt x="0" y="10"/>
                    </a:cubicBezTo>
                    <a:cubicBezTo>
                      <a:pt x="0" y="15"/>
                      <a:pt x="0" y="15"/>
                      <a:pt x="0" y="15"/>
                    </a:cubicBezTo>
                    <a:cubicBezTo>
                      <a:pt x="0" y="21"/>
                      <a:pt x="0" y="21"/>
                      <a:pt x="0" y="21"/>
                    </a:cubicBezTo>
                    <a:lnTo>
                      <a:pt x="0"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Freeform 18"/>
              <p:cNvSpPr>
                <a:spLocks/>
              </p:cNvSpPr>
              <p:nvPr/>
            </p:nvSpPr>
            <p:spPr bwMode="auto">
              <a:xfrm>
                <a:off x="3412808" y="4455968"/>
                <a:ext cx="41490" cy="62767"/>
              </a:xfrm>
              <a:custGeom>
                <a:avLst/>
                <a:gdLst>
                  <a:gd name="T0" fmla="*/ 6 w 27"/>
                  <a:gd name="T1" fmla="*/ 28 h 41"/>
                  <a:gd name="T2" fmla="*/ 0 w 27"/>
                  <a:gd name="T3" fmla="*/ 27 h 41"/>
                  <a:gd name="T4" fmla="*/ 0 w 27"/>
                  <a:gd name="T5" fmla="*/ 28 h 41"/>
                  <a:gd name="T6" fmla="*/ 3 w 27"/>
                  <a:gd name="T7" fmla="*/ 36 h 41"/>
                  <a:gd name="T8" fmla="*/ 3 w 27"/>
                  <a:gd name="T9" fmla="*/ 36 h 41"/>
                  <a:gd name="T10" fmla="*/ 3 w 27"/>
                  <a:gd name="T11" fmla="*/ 36 h 41"/>
                  <a:gd name="T12" fmla="*/ 13 w 27"/>
                  <a:gd name="T13" fmla="*/ 41 h 41"/>
                  <a:gd name="T14" fmla="*/ 22 w 27"/>
                  <a:gd name="T15" fmla="*/ 38 h 41"/>
                  <a:gd name="T16" fmla="*/ 26 w 27"/>
                  <a:gd name="T17" fmla="*/ 29 h 41"/>
                  <a:gd name="T18" fmla="*/ 26 w 27"/>
                  <a:gd name="T19" fmla="*/ 28 h 41"/>
                  <a:gd name="T20" fmla="*/ 26 w 27"/>
                  <a:gd name="T21" fmla="*/ 25 h 41"/>
                  <a:gd name="T22" fmla="*/ 26 w 27"/>
                  <a:gd name="T23" fmla="*/ 25 h 41"/>
                  <a:gd name="T24" fmla="*/ 26 w 27"/>
                  <a:gd name="T25" fmla="*/ 19 h 41"/>
                  <a:gd name="T26" fmla="*/ 26 w 27"/>
                  <a:gd name="T27" fmla="*/ 19 h 41"/>
                  <a:gd name="T28" fmla="*/ 27 w 27"/>
                  <a:gd name="T29" fmla="*/ 14 h 41"/>
                  <a:gd name="T30" fmla="*/ 27 w 27"/>
                  <a:gd name="T31" fmla="*/ 14 h 41"/>
                  <a:gd name="T32" fmla="*/ 27 w 27"/>
                  <a:gd name="T33" fmla="*/ 13 h 41"/>
                  <a:gd name="T34" fmla="*/ 22 w 27"/>
                  <a:gd name="T35" fmla="*/ 4 h 41"/>
                  <a:gd name="T36" fmla="*/ 13 w 27"/>
                  <a:gd name="T37" fmla="*/ 0 h 41"/>
                  <a:gd name="T38" fmla="*/ 7 w 27"/>
                  <a:gd name="T39" fmla="*/ 2 h 41"/>
                  <a:gd name="T40" fmla="*/ 2 w 27"/>
                  <a:gd name="T41" fmla="*/ 7 h 41"/>
                  <a:gd name="T42" fmla="*/ 2 w 27"/>
                  <a:gd name="T43" fmla="*/ 7 h 41"/>
                  <a:gd name="T44" fmla="*/ 2 w 27"/>
                  <a:gd name="T45" fmla="*/ 8 h 41"/>
                  <a:gd name="T46" fmla="*/ 1 w 27"/>
                  <a:gd name="T47" fmla="*/ 13 h 41"/>
                  <a:gd name="T48" fmla="*/ 1 w 27"/>
                  <a:gd name="T49" fmla="*/ 13 h 41"/>
                  <a:gd name="T50" fmla="*/ 0 w 27"/>
                  <a:gd name="T51" fmla="*/ 18 h 41"/>
                  <a:gd name="T52" fmla="*/ 0 w 27"/>
                  <a:gd name="T53" fmla="*/ 18 h 41"/>
                  <a:gd name="T54" fmla="*/ 0 w 27"/>
                  <a:gd name="T55" fmla="*/ 24 h 41"/>
                  <a:gd name="T56" fmla="*/ 0 w 27"/>
                  <a:gd name="T57" fmla="*/ 27 h 41"/>
                  <a:gd name="T58" fmla="*/ 0 w 27"/>
                  <a:gd name="T59" fmla="*/ 27 h 41"/>
                  <a:gd name="T60" fmla="*/ 6 w 27"/>
                  <a:gd name="T61" fmla="*/ 28 h 41"/>
                  <a:gd name="T62" fmla="*/ 12 w 27"/>
                  <a:gd name="T63" fmla="*/ 28 h 41"/>
                  <a:gd name="T64" fmla="*/ 12 w 27"/>
                  <a:gd name="T65" fmla="*/ 24 h 41"/>
                  <a:gd name="T66" fmla="*/ 12 w 27"/>
                  <a:gd name="T67" fmla="*/ 24 h 41"/>
                  <a:gd name="T68" fmla="*/ 12 w 27"/>
                  <a:gd name="T69" fmla="*/ 18 h 41"/>
                  <a:gd name="T70" fmla="*/ 12 w 27"/>
                  <a:gd name="T71" fmla="*/ 18 h 41"/>
                  <a:gd name="T72" fmla="*/ 12 w 27"/>
                  <a:gd name="T73" fmla="*/ 13 h 41"/>
                  <a:gd name="T74" fmla="*/ 12 w 27"/>
                  <a:gd name="T75" fmla="*/ 13 h 41"/>
                  <a:gd name="T76" fmla="*/ 12 w 27"/>
                  <a:gd name="T77" fmla="*/ 13 h 41"/>
                  <a:gd name="T78" fmla="*/ 7 w 27"/>
                  <a:gd name="T79" fmla="*/ 10 h 41"/>
                  <a:gd name="T80" fmla="*/ 12 w 27"/>
                  <a:gd name="T81" fmla="*/ 13 h 41"/>
                  <a:gd name="T82" fmla="*/ 13 w 27"/>
                  <a:gd name="T83" fmla="*/ 12 h 41"/>
                  <a:gd name="T84" fmla="*/ 13 w 27"/>
                  <a:gd name="T85" fmla="*/ 12 h 41"/>
                  <a:gd name="T86" fmla="*/ 15 w 27"/>
                  <a:gd name="T87" fmla="*/ 13 h 41"/>
                  <a:gd name="T88" fmla="*/ 15 w 27"/>
                  <a:gd name="T89" fmla="*/ 13 h 41"/>
                  <a:gd name="T90" fmla="*/ 15 w 27"/>
                  <a:gd name="T91" fmla="*/ 14 h 41"/>
                  <a:gd name="T92" fmla="*/ 15 w 27"/>
                  <a:gd name="T93" fmla="*/ 14 h 41"/>
                  <a:gd name="T94" fmla="*/ 15 w 27"/>
                  <a:gd name="T95" fmla="*/ 18 h 41"/>
                  <a:gd name="T96" fmla="*/ 15 w 27"/>
                  <a:gd name="T97" fmla="*/ 18 h 41"/>
                  <a:gd name="T98" fmla="*/ 14 w 27"/>
                  <a:gd name="T99" fmla="*/ 24 h 41"/>
                  <a:gd name="T100" fmla="*/ 14 w 27"/>
                  <a:gd name="T101" fmla="*/ 28 h 41"/>
                  <a:gd name="T102" fmla="*/ 20 w 27"/>
                  <a:gd name="T103" fmla="*/ 28 h 41"/>
                  <a:gd name="T104" fmla="*/ 14 w 27"/>
                  <a:gd name="T105" fmla="*/ 28 h 41"/>
                  <a:gd name="T106" fmla="*/ 14 w 27"/>
                  <a:gd name="T107" fmla="*/ 29 h 41"/>
                  <a:gd name="T108" fmla="*/ 13 w 27"/>
                  <a:gd name="T109" fmla="*/ 29 h 41"/>
                  <a:gd name="T110" fmla="*/ 12 w 27"/>
                  <a:gd name="T111" fmla="*/ 29 h 41"/>
                  <a:gd name="T112" fmla="*/ 12 w 27"/>
                  <a:gd name="T113" fmla="*/ 29 h 41"/>
                  <a:gd name="T114" fmla="*/ 12 w 27"/>
                  <a:gd name="T115" fmla="*/ 28 h 41"/>
                  <a:gd name="T116" fmla="*/ 12 w 27"/>
                  <a:gd name="T117" fmla="*/ 28 h 41"/>
                  <a:gd name="T118" fmla="*/ 12 w 27"/>
                  <a:gd name="T119" fmla="*/ 28 h 41"/>
                  <a:gd name="T120" fmla="*/ 6 w 27"/>
                  <a:gd name="T121"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 h="41">
                    <a:moveTo>
                      <a:pt x="6" y="28"/>
                    </a:moveTo>
                    <a:cubicBezTo>
                      <a:pt x="0" y="27"/>
                      <a:pt x="0" y="27"/>
                      <a:pt x="0" y="27"/>
                    </a:cubicBezTo>
                    <a:cubicBezTo>
                      <a:pt x="0" y="28"/>
                      <a:pt x="0" y="28"/>
                      <a:pt x="0" y="28"/>
                    </a:cubicBezTo>
                    <a:cubicBezTo>
                      <a:pt x="0" y="31"/>
                      <a:pt x="1" y="34"/>
                      <a:pt x="3" y="36"/>
                    </a:cubicBezTo>
                    <a:cubicBezTo>
                      <a:pt x="3" y="36"/>
                      <a:pt x="3" y="36"/>
                      <a:pt x="3" y="36"/>
                    </a:cubicBezTo>
                    <a:cubicBezTo>
                      <a:pt x="3" y="36"/>
                      <a:pt x="3" y="36"/>
                      <a:pt x="3" y="36"/>
                    </a:cubicBezTo>
                    <a:cubicBezTo>
                      <a:pt x="5" y="39"/>
                      <a:pt x="9" y="41"/>
                      <a:pt x="13" y="41"/>
                    </a:cubicBezTo>
                    <a:cubicBezTo>
                      <a:pt x="16" y="41"/>
                      <a:pt x="19" y="40"/>
                      <a:pt x="22" y="38"/>
                    </a:cubicBezTo>
                    <a:cubicBezTo>
                      <a:pt x="24" y="35"/>
                      <a:pt x="26" y="32"/>
                      <a:pt x="26" y="29"/>
                    </a:cubicBezTo>
                    <a:cubicBezTo>
                      <a:pt x="26" y="28"/>
                      <a:pt x="26" y="28"/>
                      <a:pt x="26" y="28"/>
                    </a:cubicBezTo>
                    <a:cubicBezTo>
                      <a:pt x="26" y="25"/>
                      <a:pt x="26" y="25"/>
                      <a:pt x="26" y="25"/>
                    </a:cubicBezTo>
                    <a:cubicBezTo>
                      <a:pt x="26" y="25"/>
                      <a:pt x="26" y="25"/>
                      <a:pt x="26" y="25"/>
                    </a:cubicBezTo>
                    <a:cubicBezTo>
                      <a:pt x="26" y="19"/>
                      <a:pt x="26" y="19"/>
                      <a:pt x="26" y="19"/>
                    </a:cubicBezTo>
                    <a:cubicBezTo>
                      <a:pt x="26" y="19"/>
                      <a:pt x="26" y="19"/>
                      <a:pt x="26" y="19"/>
                    </a:cubicBezTo>
                    <a:cubicBezTo>
                      <a:pt x="27" y="14"/>
                      <a:pt x="27" y="14"/>
                      <a:pt x="27" y="14"/>
                    </a:cubicBezTo>
                    <a:cubicBezTo>
                      <a:pt x="27" y="14"/>
                      <a:pt x="27" y="14"/>
                      <a:pt x="27" y="14"/>
                    </a:cubicBezTo>
                    <a:cubicBezTo>
                      <a:pt x="27" y="13"/>
                      <a:pt x="27" y="13"/>
                      <a:pt x="27" y="13"/>
                    </a:cubicBezTo>
                    <a:cubicBezTo>
                      <a:pt x="27" y="10"/>
                      <a:pt x="25" y="6"/>
                      <a:pt x="22" y="4"/>
                    </a:cubicBezTo>
                    <a:cubicBezTo>
                      <a:pt x="20" y="2"/>
                      <a:pt x="17" y="0"/>
                      <a:pt x="13" y="0"/>
                    </a:cubicBezTo>
                    <a:cubicBezTo>
                      <a:pt x="11" y="0"/>
                      <a:pt x="9" y="1"/>
                      <a:pt x="7" y="2"/>
                    </a:cubicBezTo>
                    <a:cubicBezTo>
                      <a:pt x="5" y="3"/>
                      <a:pt x="3" y="5"/>
                      <a:pt x="2" y="7"/>
                    </a:cubicBezTo>
                    <a:cubicBezTo>
                      <a:pt x="2" y="7"/>
                      <a:pt x="2" y="7"/>
                      <a:pt x="2" y="7"/>
                    </a:cubicBezTo>
                    <a:cubicBezTo>
                      <a:pt x="2" y="8"/>
                      <a:pt x="2" y="8"/>
                      <a:pt x="2" y="8"/>
                    </a:cubicBezTo>
                    <a:cubicBezTo>
                      <a:pt x="1" y="9"/>
                      <a:pt x="1" y="11"/>
                      <a:pt x="1" y="13"/>
                    </a:cubicBezTo>
                    <a:cubicBezTo>
                      <a:pt x="1" y="13"/>
                      <a:pt x="1" y="13"/>
                      <a:pt x="1" y="13"/>
                    </a:cubicBezTo>
                    <a:cubicBezTo>
                      <a:pt x="0" y="18"/>
                      <a:pt x="0" y="18"/>
                      <a:pt x="0" y="18"/>
                    </a:cubicBezTo>
                    <a:cubicBezTo>
                      <a:pt x="0" y="18"/>
                      <a:pt x="0" y="18"/>
                      <a:pt x="0" y="18"/>
                    </a:cubicBezTo>
                    <a:cubicBezTo>
                      <a:pt x="0" y="24"/>
                      <a:pt x="0" y="24"/>
                      <a:pt x="0" y="24"/>
                    </a:cubicBezTo>
                    <a:cubicBezTo>
                      <a:pt x="0" y="27"/>
                      <a:pt x="0" y="27"/>
                      <a:pt x="0" y="27"/>
                    </a:cubicBezTo>
                    <a:cubicBezTo>
                      <a:pt x="0" y="27"/>
                      <a:pt x="0" y="27"/>
                      <a:pt x="0" y="27"/>
                    </a:cubicBezTo>
                    <a:cubicBezTo>
                      <a:pt x="6" y="28"/>
                      <a:pt x="6" y="28"/>
                      <a:pt x="6" y="28"/>
                    </a:cubicBezTo>
                    <a:cubicBezTo>
                      <a:pt x="12" y="28"/>
                      <a:pt x="12" y="28"/>
                      <a:pt x="12" y="28"/>
                    </a:cubicBezTo>
                    <a:cubicBezTo>
                      <a:pt x="12" y="24"/>
                      <a:pt x="12" y="24"/>
                      <a:pt x="12" y="24"/>
                    </a:cubicBezTo>
                    <a:cubicBezTo>
                      <a:pt x="12" y="24"/>
                      <a:pt x="12" y="24"/>
                      <a:pt x="12" y="24"/>
                    </a:cubicBezTo>
                    <a:cubicBezTo>
                      <a:pt x="12" y="18"/>
                      <a:pt x="12" y="18"/>
                      <a:pt x="12" y="18"/>
                    </a:cubicBezTo>
                    <a:cubicBezTo>
                      <a:pt x="12" y="18"/>
                      <a:pt x="12" y="18"/>
                      <a:pt x="12" y="18"/>
                    </a:cubicBezTo>
                    <a:cubicBezTo>
                      <a:pt x="12" y="13"/>
                      <a:pt x="12" y="13"/>
                      <a:pt x="12" y="13"/>
                    </a:cubicBezTo>
                    <a:cubicBezTo>
                      <a:pt x="12" y="13"/>
                      <a:pt x="12" y="13"/>
                      <a:pt x="12" y="13"/>
                    </a:cubicBezTo>
                    <a:cubicBezTo>
                      <a:pt x="12" y="13"/>
                      <a:pt x="12" y="13"/>
                      <a:pt x="12" y="13"/>
                    </a:cubicBezTo>
                    <a:cubicBezTo>
                      <a:pt x="7" y="10"/>
                      <a:pt x="7" y="10"/>
                      <a:pt x="7" y="10"/>
                    </a:cubicBezTo>
                    <a:cubicBezTo>
                      <a:pt x="12" y="13"/>
                      <a:pt x="12" y="13"/>
                      <a:pt x="12" y="13"/>
                    </a:cubicBezTo>
                    <a:cubicBezTo>
                      <a:pt x="13" y="12"/>
                      <a:pt x="13" y="12"/>
                      <a:pt x="13" y="12"/>
                    </a:cubicBezTo>
                    <a:cubicBezTo>
                      <a:pt x="13" y="12"/>
                      <a:pt x="13" y="12"/>
                      <a:pt x="13" y="12"/>
                    </a:cubicBezTo>
                    <a:cubicBezTo>
                      <a:pt x="14" y="12"/>
                      <a:pt x="14" y="12"/>
                      <a:pt x="15" y="13"/>
                    </a:cubicBezTo>
                    <a:cubicBezTo>
                      <a:pt x="15" y="13"/>
                      <a:pt x="15" y="13"/>
                      <a:pt x="15" y="13"/>
                    </a:cubicBezTo>
                    <a:cubicBezTo>
                      <a:pt x="15" y="14"/>
                      <a:pt x="15" y="14"/>
                      <a:pt x="15" y="14"/>
                    </a:cubicBezTo>
                    <a:cubicBezTo>
                      <a:pt x="15" y="14"/>
                      <a:pt x="15" y="14"/>
                      <a:pt x="15" y="14"/>
                    </a:cubicBezTo>
                    <a:cubicBezTo>
                      <a:pt x="15" y="18"/>
                      <a:pt x="15" y="18"/>
                      <a:pt x="15" y="18"/>
                    </a:cubicBezTo>
                    <a:cubicBezTo>
                      <a:pt x="15" y="18"/>
                      <a:pt x="15" y="18"/>
                      <a:pt x="15" y="18"/>
                    </a:cubicBezTo>
                    <a:cubicBezTo>
                      <a:pt x="14" y="24"/>
                      <a:pt x="14" y="24"/>
                      <a:pt x="14" y="24"/>
                    </a:cubicBezTo>
                    <a:cubicBezTo>
                      <a:pt x="14" y="28"/>
                      <a:pt x="14" y="28"/>
                      <a:pt x="14" y="28"/>
                    </a:cubicBezTo>
                    <a:cubicBezTo>
                      <a:pt x="20" y="28"/>
                      <a:pt x="20" y="28"/>
                      <a:pt x="20" y="28"/>
                    </a:cubicBezTo>
                    <a:cubicBezTo>
                      <a:pt x="14" y="28"/>
                      <a:pt x="14" y="28"/>
                      <a:pt x="14" y="28"/>
                    </a:cubicBezTo>
                    <a:cubicBezTo>
                      <a:pt x="14" y="28"/>
                      <a:pt x="14" y="29"/>
                      <a:pt x="14" y="29"/>
                    </a:cubicBezTo>
                    <a:cubicBezTo>
                      <a:pt x="13" y="29"/>
                      <a:pt x="13" y="29"/>
                      <a:pt x="13" y="29"/>
                    </a:cubicBezTo>
                    <a:cubicBezTo>
                      <a:pt x="12" y="29"/>
                      <a:pt x="12" y="29"/>
                      <a:pt x="12" y="29"/>
                    </a:cubicBezTo>
                    <a:cubicBezTo>
                      <a:pt x="12" y="29"/>
                      <a:pt x="12" y="29"/>
                      <a:pt x="12" y="29"/>
                    </a:cubicBezTo>
                    <a:cubicBezTo>
                      <a:pt x="12" y="28"/>
                      <a:pt x="12" y="28"/>
                      <a:pt x="12" y="28"/>
                    </a:cubicBezTo>
                    <a:cubicBezTo>
                      <a:pt x="12" y="28"/>
                      <a:pt x="12" y="28"/>
                      <a:pt x="12" y="28"/>
                    </a:cubicBezTo>
                    <a:cubicBezTo>
                      <a:pt x="12" y="28"/>
                      <a:pt x="12" y="28"/>
                      <a:pt x="12" y="28"/>
                    </a:cubicBezTo>
                    <a:lnTo>
                      <a:pt x="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7" name="Freeform 19"/>
              <p:cNvSpPr>
                <a:spLocks/>
              </p:cNvSpPr>
              <p:nvPr/>
            </p:nvSpPr>
            <p:spPr bwMode="auto">
              <a:xfrm>
                <a:off x="3420255" y="4592142"/>
                <a:ext cx="21277" cy="52129"/>
              </a:xfrm>
              <a:custGeom>
                <a:avLst/>
                <a:gdLst>
                  <a:gd name="T0" fmla="*/ 0 w 14"/>
                  <a:gd name="T1" fmla="*/ 24 h 34"/>
                  <a:gd name="T2" fmla="*/ 14 w 14"/>
                  <a:gd name="T3" fmla="*/ 26 h 34"/>
                  <a:gd name="T4" fmla="*/ 14 w 14"/>
                  <a:gd name="T5" fmla="*/ 24 h 34"/>
                  <a:gd name="T6" fmla="*/ 14 w 14"/>
                  <a:gd name="T7" fmla="*/ 20 h 34"/>
                  <a:gd name="T8" fmla="*/ 14 w 14"/>
                  <a:gd name="T9" fmla="*/ 13 h 34"/>
                  <a:gd name="T10" fmla="*/ 14 w 14"/>
                  <a:gd name="T11" fmla="*/ 10 h 34"/>
                  <a:gd name="T12" fmla="*/ 0 w 14"/>
                  <a:gd name="T13" fmla="*/ 8 h 34"/>
                  <a:gd name="T14" fmla="*/ 0 w 14"/>
                  <a:gd name="T15" fmla="*/ 10 h 34"/>
                  <a:gd name="T16" fmla="*/ 0 w 14"/>
                  <a:gd name="T17" fmla="*/ 14 h 34"/>
                  <a:gd name="T18" fmla="*/ 0 w 14"/>
                  <a:gd name="T19" fmla="*/ 20 h 34"/>
                  <a:gd name="T20" fmla="*/ 0 w 14"/>
                  <a:gd name="T21"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34">
                    <a:moveTo>
                      <a:pt x="0" y="24"/>
                    </a:moveTo>
                    <a:cubicBezTo>
                      <a:pt x="0" y="32"/>
                      <a:pt x="11" y="34"/>
                      <a:pt x="14" y="26"/>
                    </a:cubicBezTo>
                    <a:cubicBezTo>
                      <a:pt x="14" y="26"/>
                      <a:pt x="14" y="25"/>
                      <a:pt x="14" y="24"/>
                    </a:cubicBezTo>
                    <a:cubicBezTo>
                      <a:pt x="14" y="20"/>
                      <a:pt x="14" y="20"/>
                      <a:pt x="14" y="20"/>
                    </a:cubicBezTo>
                    <a:cubicBezTo>
                      <a:pt x="14" y="13"/>
                      <a:pt x="14" y="13"/>
                      <a:pt x="14" y="13"/>
                    </a:cubicBezTo>
                    <a:cubicBezTo>
                      <a:pt x="14" y="10"/>
                      <a:pt x="14" y="10"/>
                      <a:pt x="14" y="10"/>
                    </a:cubicBezTo>
                    <a:cubicBezTo>
                      <a:pt x="14" y="2"/>
                      <a:pt x="3" y="0"/>
                      <a:pt x="0" y="8"/>
                    </a:cubicBezTo>
                    <a:cubicBezTo>
                      <a:pt x="0" y="8"/>
                      <a:pt x="0" y="9"/>
                      <a:pt x="0" y="10"/>
                    </a:cubicBezTo>
                    <a:cubicBezTo>
                      <a:pt x="0" y="14"/>
                      <a:pt x="0" y="14"/>
                      <a:pt x="0" y="14"/>
                    </a:cubicBezTo>
                    <a:cubicBezTo>
                      <a:pt x="0" y="20"/>
                      <a:pt x="0" y="20"/>
                      <a:pt x="0" y="20"/>
                    </a:cubicBez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7" name="Freeform 20"/>
              <p:cNvSpPr>
                <a:spLocks/>
              </p:cNvSpPr>
              <p:nvPr/>
            </p:nvSpPr>
            <p:spPr bwMode="auto">
              <a:xfrm>
                <a:off x="3411744" y="4587887"/>
                <a:ext cx="39363" cy="60640"/>
              </a:xfrm>
              <a:custGeom>
                <a:avLst/>
                <a:gdLst>
                  <a:gd name="T0" fmla="*/ 0 w 26"/>
                  <a:gd name="T1" fmla="*/ 28 h 40"/>
                  <a:gd name="T2" fmla="*/ 13 w 26"/>
                  <a:gd name="T3" fmla="*/ 40 h 40"/>
                  <a:gd name="T4" fmla="*/ 26 w 26"/>
                  <a:gd name="T5" fmla="*/ 31 h 40"/>
                  <a:gd name="T6" fmla="*/ 26 w 26"/>
                  <a:gd name="T7" fmla="*/ 31 h 40"/>
                  <a:gd name="T8" fmla="*/ 26 w 26"/>
                  <a:gd name="T9" fmla="*/ 27 h 40"/>
                  <a:gd name="T10" fmla="*/ 26 w 26"/>
                  <a:gd name="T11" fmla="*/ 22 h 40"/>
                  <a:gd name="T12" fmla="*/ 26 w 26"/>
                  <a:gd name="T13" fmla="*/ 16 h 40"/>
                  <a:gd name="T14" fmla="*/ 26 w 26"/>
                  <a:gd name="T15" fmla="*/ 13 h 40"/>
                  <a:gd name="T16" fmla="*/ 26 w 26"/>
                  <a:gd name="T17" fmla="*/ 13 h 40"/>
                  <a:gd name="T18" fmla="*/ 13 w 26"/>
                  <a:gd name="T19" fmla="*/ 0 h 40"/>
                  <a:gd name="T20" fmla="*/ 1 w 26"/>
                  <a:gd name="T21" fmla="*/ 9 h 40"/>
                  <a:gd name="T22" fmla="*/ 0 w 26"/>
                  <a:gd name="T23" fmla="*/ 9 h 40"/>
                  <a:gd name="T24" fmla="*/ 0 w 26"/>
                  <a:gd name="T25" fmla="*/ 13 h 40"/>
                  <a:gd name="T26" fmla="*/ 0 w 26"/>
                  <a:gd name="T27" fmla="*/ 17 h 40"/>
                  <a:gd name="T28" fmla="*/ 0 w 26"/>
                  <a:gd name="T29" fmla="*/ 23 h 40"/>
                  <a:gd name="T30" fmla="*/ 0 w 26"/>
                  <a:gd name="T31" fmla="*/ 28 h 40"/>
                  <a:gd name="T32" fmla="*/ 12 w 26"/>
                  <a:gd name="T33" fmla="*/ 27 h 40"/>
                  <a:gd name="T34" fmla="*/ 12 w 26"/>
                  <a:gd name="T35" fmla="*/ 23 h 40"/>
                  <a:gd name="T36" fmla="*/ 12 w 26"/>
                  <a:gd name="T37" fmla="*/ 17 h 40"/>
                  <a:gd name="T38" fmla="*/ 12 w 26"/>
                  <a:gd name="T39" fmla="*/ 13 h 40"/>
                  <a:gd name="T40" fmla="*/ 12 w 26"/>
                  <a:gd name="T41" fmla="*/ 12 h 40"/>
                  <a:gd name="T42" fmla="*/ 12 w 26"/>
                  <a:gd name="T43" fmla="*/ 12 h 40"/>
                  <a:gd name="T44" fmla="*/ 13 w 26"/>
                  <a:gd name="T45" fmla="*/ 12 h 40"/>
                  <a:gd name="T46" fmla="*/ 14 w 26"/>
                  <a:gd name="T47" fmla="*/ 13 h 40"/>
                  <a:gd name="T48" fmla="*/ 14 w 26"/>
                  <a:gd name="T49" fmla="*/ 13 h 40"/>
                  <a:gd name="T50" fmla="*/ 14 w 26"/>
                  <a:gd name="T51" fmla="*/ 17 h 40"/>
                  <a:gd name="T52" fmla="*/ 15 w 26"/>
                  <a:gd name="T53" fmla="*/ 27 h 40"/>
                  <a:gd name="T54" fmla="*/ 15 w 26"/>
                  <a:gd name="T55" fmla="*/ 27 h 40"/>
                  <a:gd name="T56" fmla="*/ 20 w 26"/>
                  <a:gd name="T57" fmla="*/ 29 h 40"/>
                  <a:gd name="T58" fmla="*/ 14 w 26"/>
                  <a:gd name="T59" fmla="*/ 28 h 40"/>
                  <a:gd name="T60" fmla="*/ 12 w 26"/>
                  <a:gd name="T61" fmla="*/ 28 h 40"/>
                  <a:gd name="T62" fmla="*/ 12 w 26"/>
                  <a:gd name="T6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40">
                    <a:moveTo>
                      <a:pt x="6" y="27"/>
                    </a:moveTo>
                    <a:cubicBezTo>
                      <a:pt x="0" y="28"/>
                      <a:pt x="0" y="28"/>
                      <a:pt x="0" y="28"/>
                    </a:cubicBezTo>
                    <a:cubicBezTo>
                      <a:pt x="0" y="31"/>
                      <a:pt x="2" y="35"/>
                      <a:pt x="5" y="37"/>
                    </a:cubicBezTo>
                    <a:cubicBezTo>
                      <a:pt x="7" y="39"/>
                      <a:pt x="10" y="40"/>
                      <a:pt x="13" y="40"/>
                    </a:cubicBezTo>
                    <a:cubicBezTo>
                      <a:pt x="16" y="40"/>
                      <a:pt x="18" y="40"/>
                      <a:pt x="21" y="38"/>
                    </a:cubicBezTo>
                    <a:cubicBezTo>
                      <a:pt x="23" y="37"/>
                      <a:pt x="25" y="34"/>
                      <a:pt x="26" y="31"/>
                    </a:cubicBezTo>
                    <a:cubicBezTo>
                      <a:pt x="26" y="31"/>
                      <a:pt x="26" y="31"/>
                      <a:pt x="26" y="31"/>
                    </a:cubicBezTo>
                    <a:cubicBezTo>
                      <a:pt x="26" y="31"/>
                      <a:pt x="26" y="31"/>
                      <a:pt x="26" y="31"/>
                    </a:cubicBezTo>
                    <a:cubicBezTo>
                      <a:pt x="26" y="30"/>
                      <a:pt x="26" y="29"/>
                      <a:pt x="26" y="27"/>
                    </a:cubicBezTo>
                    <a:cubicBezTo>
                      <a:pt x="26" y="27"/>
                      <a:pt x="26" y="27"/>
                      <a:pt x="26" y="27"/>
                    </a:cubicBezTo>
                    <a:cubicBezTo>
                      <a:pt x="26" y="27"/>
                      <a:pt x="26" y="27"/>
                      <a:pt x="26" y="27"/>
                    </a:cubicBezTo>
                    <a:cubicBezTo>
                      <a:pt x="26" y="22"/>
                      <a:pt x="26" y="22"/>
                      <a:pt x="26" y="22"/>
                    </a:cubicBezTo>
                    <a:cubicBezTo>
                      <a:pt x="26" y="22"/>
                      <a:pt x="26" y="22"/>
                      <a:pt x="26" y="22"/>
                    </a:cubicBezTo>
                    <a:cubicBezTo>
                      <a:pt x="26" y="16"/>
                      <a:pt x="26" y="16"/>
                      <a:pt x="26" y="16"/>
                    </a:cubicBezTo>
                    <a:cubicBezTo>
                      <a:pt x="26" y="16"/>
                      <a:pt x="26" y="16"/>
                      <a:pt x="26" y="16"/>
                    </a:cubicBezTo>
                    <a:cubicBezTo>
                      <a:pt x="26" y="13"/>
                      <a:pt x="26" y="13"/>
                      <a:pt x="26" y="13"/>
                    </a:cubicBezTo>
                    <a:cubicBezTo>
                      <a:pt x="26" y="13"/>
                      <a:pt x="26" y="13"/>
                      <a:pt x="26" y="13"/>
                    </a:cubicBezTo>
                    <a:cubicBezTo>
                      <a:pt x="26" y="13"/>
                      <a:pt x="26" y="13"/>
                      <a:pt x="26" y="13"/>
                    </a:cubicBezTo>
                    <a:cubicBezTo>
                      <a:pt x="26" y="9"/>
                      <a:pt x="24" y="5"/>
                      <a:pt x="22" y="3"/>
                    </a:cubicBezTo>
                    <a:cubicBezTo>
                      <a:pt x="19" y="1"/>
                      <a:pt x="16" y="0"/>
                      <a:pt x="13" y="0"/>
                    </a:cubicBezTo>
                    <a:cubicBezTo>
                      <a:pt x="10" y="0"/>
                      <a:pt x="8" y="0"/>
                      <a:pt x="6" y="2"/>
                    </a:cubicBezTo>
                    <a:cubicBezTo>
                      <a:pt x="3" y="3"/>
                      <a:pt x="1" y="6"/>
                      <a:pt x="1" y="9"/>
                    </a:cubicBezTo>
                    <a:cubicBezTo>
                      <a:pt x="0" y="9"/>
                      <a:pt x="0" y="9"/>
                      <a:pt x="0" y="9"/>
                    </a:cubicBezTo>
                    <a:cubicBezTo>
                      <a:pt x="0" y="9"/>
                      <a:pt x="0" y="9"/>
                      <a:pt x="0" y="9"/>
                    </a:cubicBezTo>
                    <a:cubicBezTo>
                      <a:pt x="0" y="10"/>
                      <a:pt x="0" y="11"/>
                      <a:pt x="0" y="13"/>
                    </a:cubicBezTo>
                    <a:cubicBezTo>
                      <a:pt x="0" y="13"/>
                      <a:pt x="0" y="13"/>
                      <a:pt x="0" y="13"/>
                    </a:cubicBezTo>
                    <a:cubicBezTo>
                      <a:pt x="0" y="13"/>
                      <a:pt x="0" y="13"/>
                      <a:pt x="0" y="13"/>
                    </a:cubicBezTo>
                    <a:cubicBezTo>
                      <a:pt x="0" y="17"/>
                      <a:pt x="0" y="17"/>
                      <a:pt x="0" y="17"/>
                    </a:cubicBezTo>
                    <a:cubicBezTo>
                      <a:pt x="0" y="17"/>
                      <a:pt x="0" y="17"/>
                      <a:pt x="0" y="17"/>
                    </a:cubicBezTo>
                    <a:cubicBezTo>
                      <a:pt x="0" y="23"/>
                      <a:pt x="0" y="23"/>
                      <a:pt x="0" y="23"/>
                    </a:cubicBezTo>
                    <a:cubicBezTo>
                      <a:pt x="0" y="28"/>
                      <a:pt x="0" y="28"/>
                      <a:pt x="0" y="28"/>
                    </a:cubicBezTo>
                    <a:cubicBezTo>
                      <a:pt x="0" y="28"/>
                      <a:pt x="0" y="28"/>
                      <a:pt x="0" y="28"/>
                    </a:cubicBezTo>
                    <a:cubicBezTo>
                      <a:pt x="6" y="27"/>
                      <a:pt x="6" y="27"/>
                      <a:pt x="6" y="27"/>
                    </a:cubicBezTo>
                    <a:cubicBezTo>
                      <a:pt x="12" y="27"/>
                      <a:pt x="12" y="27"/>
                      <a:pt x="12" y="27"/>
                    </a:cubicBezTo>
                    <a:cubicBezTo>
                      <a:pt x="12" y="23"/>
                      <a:pt x="12" y="23"/>
                      <a:pt x="12" y="23"/>
                    </a:cubicBezTo>
                    <a:cubicBezTo>
                      <a:pt x="12" y="23"/>
                      <a:pt x="12" y="23"/>
                      <a:pt x="12" y="23"/>
                    </a:cubicBezTo>
                    <a:cubicBezTo>
                      <a:pt x="12" y="17"/>
                      <a:pt x="12" y="17"/>
                      <a:pt x="12" y="17"/>
                    </a:cubicBezTo>
                    <a:cubicBezTo>
                      <a:pt x="12" y="17"/>
                      <a:pt x="12" y="17"/>
                      <a:pt x="12" y="17"/>
                    </a:cubicBezTo>
                    <a:cubicBezTo>
                      <a:pt x="12" y="13"/>
                      <a:pt x="12" y="13"/>
                      <a:pt x="12" y="13"/>
                    </a:cubicBezTo>
                    <a:cubicBezTo>
                      <a:pt x="12" y="13"/>
                      <a:pt x="12" y="13"/>
                      <a:pt x="12" y="13"/>
                    </a:cubicBezTo>
                    <a:cubicBezTo>
                      <a:pt x="12" y="13"/>
                      <a:pt x="12" y="13"/>
                      <a:pt x="12" y="13"/>
                    </a:cubicBezTo>
                    <a:cubicBezTo>
                      <a:pt x="12" y="13"/>
                      <a:pt x="12" y="13"/>
                      <a:pt x="12" y="12"/>
                    </a:cubicBezTo>
                    <a:cubicBezTo>
                      <a:pt x="6" y="11"/>
                      <a:pt x="6" y="11"/>
                      <a:pt x="6" y="11"/>
                    </a:cubicBezTo>
                    <a:cubicBezTo>
                      <a:pt x="12" y="12"/>
                      <a:pt x="12" y="12"/>
                      <a:pt x="12" y="12"/>
                    </a:cubicBezTo>
                    <a:cubicBezTo>
                      <a:pt x="12" y="12"/>
                      <a:pt x="12" y="12"/>
                      <a:pt x="12" y="12"/>
                    </a:cubicBezTo>
                    <a:cubicBezTo>
                      <a:pt x="13" y="12"/>
                      <a:pt x="13" y="12"/>
                      <a:pt x="13" y="12"/>
                    </a:cubicBezTo>
                    <a:cubicBezTo>
                      <a:pt x="13" y="12"/>
                      <a:pt x="14" y="12"/>
                      <a:pt x="14" y="12"/>
                    </a:cubicBezTo>
                    <a:cubicBezTo>
                      <a:pt x="14" y="12"/>
                      <a:pt x="14" y="12"/>
                      <a:pt x="14" y="13"/>
                    </a:cubicBezTo>
                    <a:cubicBezTo>
                      <a:pt x="20" y="13"/>
                      <a:pt x="20" y="13"/>
                      <a:pt x="20" y="13"/>
                    </a:cubicBezTo>
                    <a:cubicBezTo>
                      <a:pt x="14" y="13"/>
                      <a:pt x="14" y="13"/>
                      <a:pt x="14" y="13"/>
                    </a:cubicBezTo>
                    <a:cubicBezTo>
                      <a:pt x="14" y="17"/>
                      <a:pt x="14" y="17"/>
                      <a:pt x="14" y="17"/>
                    </a:cubicBezTo>
                    <a:cubicBezTo>
                      <a:pt x="14" y="17"/>
                      <a:pt x="14" y="17"/>
                      <a:pt x="14" y="17"/>
                    </a:cubicBezTo>
                    <a:cubicBezTo>
                      <a:pt x="14" y="23"/>
                      <a:pt x="14" y="23"/>
                      <a:pt x="14" y="23"/>
                    </a:cubicBezTo>
                    <a:cubicBezTo>
                      <a:pt x="15" y="27"/>
                      <a:pt x="15" y="27"/>
                      <a:pt x="15" y="27"/>
                    </a:cubicBezTo>
                    <a:cubicBezTo>
                      <a:pt x="15" y="27"/>
                      <a:pt x="15" y="27"/>
                      <a:pt x="15" y="27"/>
                    </a:cubicBezTo>
                    <a:cubicBezTo>
                      <a:pt x="15" y="27"/>
                      <a:pt x="15" y="27"/>
                      <a:pt x="15" y="27"/>
                    </a:cubicBezTo>
                    <a:cubicBezTo>
                      <a:pt x="14" y="28"/>
                      <a:pt x="14" y="28"/>
                      <a:pt x="14" y="28"/>
                    </a:cubicBezTo>
                    <a:cubicBezTo>
                      <a:pt x="20" y="29"/>
                      <a:pt x="20" y="29"/>
                      <a:pt x="20" y="29"/>
                    </a:cubicBezTo>
                    <a:cubicBezTo>
                      <a:pt x="15" y="28"/>
                      <a:pt x="15" y="28"/>
                      <a:pt x="15" y="28"/>
                    </a:cubicBezTo>
                    <a:cubicBezTo>
                      <a:pt x="14" y="28"/>
                      <a:pt x="14" y="28"/>
                      <a:pt x="14" y="28"/>
                    </a:cubicBezTo>
                    <a:cubicBezTo>
                      <a:pt x="13" y="29"/>
                      <a:pt x="13" y="29"/>
                      <a:pt x="13" y="29"/>
                    </a:cubicBezTo>
                    <a:cubicBezTo>
                      <a:pt x="13" y="29"/>
                      <a:pt x="12" y="28"/>
                      <a:pt x="12" y="28"/>
                    </a:cubicBezTo>
                    <a:cubicBezTo>
                      <a:pt x="12" y="28"/>
                      <a:pt x="12" y="28"/>
                      <a:pt x="12" y="27"/>
                    </a:cubicBezTo>
                    <a:cubicBezTo>
                      <a:pt x="12" y="27"/>
                      <a:pt x="12" y="27"/>
                      <a:pt x="12" y="27"/>
                    </a:cubicBez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8" name="Freeform 21"/>
              <p:cNvSpPr>
                <a:spLocks/>
              </p:cNvSpPr>
              <p:nvPr/>
            </p:nvSpPr>
            <p:spPr bwMode="auto">
              <a:xfrm>
                <a:off x="3426638" y="4724060"/>
                <a:ext cx="25533" cy="46810"/>
              </a:xfrm>
              <a:custGeom>
                <a:avLst/>
                <a:gdLst>
                  <a:gd name="T0" fmla="*/ 2 w 17"/>
                  <a:gd name="T1" fmla="*/ 24 h 31"/>
                  <a:gd name="T2" fmla="*/ 9 w 17"/>
                  <a:gd name="T3" fmla="*/ 31 h 31"/>
                  <a:gd name="T4" fmla="*/ 16 w 17"/>
                  <a:gd name="T5" fmla="*/ 23 h 31"/>
                  <a:gd name="T6" fmla="*/ 16 w 17"/>
                  <a:gd name="T7" fmla="*/ 18 h 31"/>
                  <a:gd name="T8" fmla="*/ 15 w 17"/>
                  <a:gd name="T9" fmla="*/ 12 h 31"/>
                  <a:gd name="T10" fmla="*/ 15 w 17"/>
                  <a:gd name="T11" fmla="*/ 8 h 31"/>
                  <a:gd name="T12" fmla="*/ 12 w 17"/>
                  <a:gd name="T13" fmla="*/ 3 h 31"/>
                  <a:gd name="T14" fmla="*/ 1 w 17"/>
                  <a:gd name="T15" fmla="*/ 10 h 31"/>
                  <a:gd name="T16" fmla="*/ 1 w 17"/>
                  <a:gd name="T17" fmla="*/ 13 h 31"/>
                  <a:gd name="T18" fmla="*/ 2 w 17"/>
                  <a:gd name="T19" fmla="*/ 20 h 31"/>
                  <a:gd name="T20" fmla="*/ 2 w 17"/>
                  <a:gd name="T21"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1">
                    <a:moveTo>
                      <a:pt x="2" y="24"/>
                    </a:moveTo>
                    <a:cubicBezTo>
                      <a:pt x="3" y="28"/>
                      <a:pt x="6" y="31"/>
                      <a:pt x="9" y="31"/>
                    </a:cubicBezTo>
                    <a:cubicBezTo>
                      <a:pt x="14" y="31"/>
                      <a:pt x="17" y="27"/>
                      <a:pt x="16" y="23"/>
                    </a:cubicBezTo>
                    <a:cubicBezTo>
                      <a:pt x="16" y="18"/>
                      <a:pt x="16" y="18"/>
                      <a:pt x="16" y="18"/>
                    </a:cubicBezTo>
                    <a:cubicBezTo>
                      <a:pt x="15" y="12"/>
                      <a:pt x="15" y="12"/>
                      <a:pt x="15" y="12"/>
                    </a:cubicBezTo>
                    <a:cubicBezTo>
                      <a:pt x="15" y="8"/>
                      <a:pt x="15" y="8"/>
                      <a:pt x="15" y="8"/>
                    </a:cubicBezTo>
                    <a:cubicBezTo>
                      <a:pt x="15" y="6"/>
                      <a:pt x="14" y="4"/>
                      <a:pt x="12" y="3"/>
                    </a:cubicBezTo>
                    <a:cubicBezTo>
                      <a:pt x="7" y="0"/>
                      <a:pt x="0" y="4"/>
                      <a:pt x="1" y="10"/>
                    </a:cubicBezTo>
                    <a:cubicBezTo>
                      <a:pt x="1" y="13"/>
                      <a:pt x="1" y="13"/>
                      <a:pt x="1" y="13"/>
                    </a:cubicBezTo>
                    <a:cubicBezTo>
                      <a:pt x="2" y="20"/>
                      <a:pt x="2" y="20"/>
                      <a:pt x="2" y="20"/>
                    </a:cubicBezTo>
                    <a:lnTo>
                      <a:pt x="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9" name="Freeform 22"/>
              <p:cNvSpPr>
                <a:spLocks/>
              </p:cNvSpPr>
              <p:nvPr/>
            </p:nvSpPr>
            <p:spPr bwMode="auto">
              <a:xfrm>
                <a:off x="3419191" y="4718741"/>
                <a:ext cx="40427" cy="61704"/>
              </a:xfrm>
              <a:custGeom>
                <a:avLst/>
                <a:gdLst>
                  <a:gd name="T0" fmla="*/ 7 w 27"/>
                  <a:gd name="T1" fmla="*/ 28 h 41"/>
                  <a:gd name="T2" fmla="*/ 1 w 27"/>
                  <a:gd name="T3" fmla="*/ 29 h 41"/>
                  <a:gd name="T4" fmla="*/ 14 w 27"/>
                  <a:gd name="T5" fmla="*/ 41 h 41"/>
                  <a:gd name="T6" fmla="*/ 14 w 27"/>
                  <a:gd name="T7" fmla="*/ 41 h 41"/>
                  <a:gd name="T8" fmla="*/ 15 w 27"/>
                  <a:gd name="T9" fmla="*/ 41 h 41"/>
                  <a:gd name="T10" fmla="*/ 24 w 27"/>
                  <a:gd name="T11" fmla="*/ 37 h 41"/>
                  <a:gd name="T12" fmla="*/ 27 w 27"/>
                  <a:gd name="T13" fmla="*/ 27 h 41"/>
                  <a:gd name="T14" fmla="*/ 27 w 27"/>
                  <a:gd name="T15" fmla="*/ 26 h 41"/>
                  <a:gd name="T16" fmla="*/ 27 w 27"/>
                  <a:gd name="T17" fmla="*/ 26 h 41"/>
                  <a:gd name="T18" fmla="*/ 27 w 27"/>
                  <a:gd name="T19" fmla="*/ 21 h 41"/>
                  <a:gd name="T20" fmla="*/ 27 w 27"/>
                  <a:gd name="T21" fmla="*/ 21 h 41"/>
                  <a:gd name="T22" fmla="*/ 26 w 27"/>
                  <a:gd name="T23" fmla="*/ 15 h 41"/>
                  <a:gd name="T24" fmla="*/ 26 w 27"/>
                  <a:gd name="T25" fmla="*/ 15 h 41"/>
                  <a:gd name="T26" fmla="*/ 26 w 27"/>
                  <a:gd name="T27" fmla="*/ 12 h 41"/>
                  <a:gd name="T28" fmla="*/ 20 w 27"/>
                  <a:gd name="T29" fmla="*/ 12 h 41"/>
                  <a:gd name="T30" fmla="*/ 26 w 27"/>
                  <a:gd name="T31" fmla="*/ 12 h 41"/>
                  <a:gd name="T32" fmla="*/ 20 w 27"/>
                  <a:gd name="T33" fmla="*/ 2 h 41"/>
                  <a:gd name="T34" fmla="*/ 20 w 27"/>
                  <a:gd name="T35" fmla="*/ 2 h 41"/>
                  <a:gd name="T36" fmla="*/ 13 w 27"/>
                  <a:gd name="T37" fmla="*/ 0 h 41"/>
                  <a:gd name="T38" fmla="*/ 4 w 27"/>
                  <a:gd name="T39" fmla="*/ 4 h 41"/>
                  <a:gd name="T40" fmla="*/ 0 w 27"/>
                  <a:gd name="T41" fmla="*/ 13 h 41"/>
                  <a:gd name="T42" fmla="*/ 0 w 27"/>
                  <a:gd name="T43" fmla="*/ 14 h 41"/>
                  <a:gd name="T44" fmla="*/ 0 w 27"/>
                  <a:gd name="T45" fmla="*/ 14 h 41"/>
                  <a:gd name="T46" fmla="*/ 0 w 27"/>
                  <a:gd name="T47" fmla="*/ 18 h 41"/>
                  <a:gd name="T48" fmla="*/ 0 w 27"/>
                  <a:gd name="T49" fmla="*/ 18 h 41"/>
                  <a:gd name="T50" fmla="*/ 1 w 27"/>
                  <a:gd name="T51" fmla="*/ 24 h 41"/>
                  <a:gd name="T52" fmla="*/ 1 w 27"/>
                  <a:gd name="T53" fmla="*/ 29 h 41"/>
                  <a:gd name="T54" fmla="*/ 1 w 27"/>
                  <a:gd name="T55" fmla="*/ 29 h 41"/>
                  <a:gd name="T56" fmla="*/ 7 w 27"/>
                  <a:gd name="T57" fmla="*/ 28 h 41"/>
                  <a:gd name="T58" fmla="*/ 13 w 27"/>
                  <a:gd name="T59" fmla="*/ 28 h 41"/>
                  <a:gd name="T60" fmla="*/ 12 w 27"/>
                  <a:gd name="T61" fmla="*/ 23 h 41"/>
                  <a:gd name="T62" fmla="*/ 12 w 27"/>
                  <a:gd name="T63" fmla="*/ 23 h 41"/>
                  <a:gd name="T64" fmla="*/ 12 w 27"/>
                  <a:gd name="T65" fmla="*/ 17 h 41"/>
                  <a:gd name="T66" fmla="*/ 12 w 27"/>
                  <a:gd name="T67" fmla="*/ 17 h 41"/>
                  <a:gd name="T68" fmla="*/ 11 w 27"/>
                  <a:gd name="T69" fmla="*/ 13 h 41"/>
                  <a:gd name="T70" fmla="*/ 6 w 27"/>
                  <a:gd name="T71" fmla="*/ 14 h 41"/>
                  <a:gd name="T72" fmla="*/ 11 w 27"/>
                  <a:gd name="T73" fmla="*/ 13 h 41"/>
                  <a:gd name="T74" fmla="*/ 11 w 27"/>
                  <a:gd name="T75" fmla="*/ 13 h 41"/>
                  <a:gd name="T76" fmla="*/ 12 w 27"/>
                  <a:gd name="T77" fmla="*/ 12 h 41"/>
                  <a:gd name="T78" fmla="*/ 13 w 27"/>
                  <a:gd name="T79" fmla="*/ 12 h 41"/>
                  <a:gd name="T80" fmla="*/ 14 w 27"/>
                  <a:gd name="T81" fmla="*/ 12 h 41"/>
                  <a:gd name="T82" fmla="*/ 14 w 27"/>
                  <a:gd name="T83" fmla="*/ 12 h 41"/>
                  <a:gd name="T84" fmla="*/ 14 w 27"/>
                  <a:gd name="T85" fmla="*/ 13 h 41"/>
                  <a:gd name="T86" fmla="*/ 14 w 27"/>
                  <a:gd name="T87" fmla="*/ 13 h 41"/>
                  <a:gd name="T88" fmla="*/ 14 w 27"/>
                  <a:gd name="T89" fmla="*/ 16 h 41"/>
                  <a:gd name="T90" fmla="*/ 14 w 27"/>
                  <a:gd name="T91" fmla="*/ 17 h 41"/>
                  <a:gd name="T92" fmla="*/ 15 w 27"/>
                  <a:gd name="T93" fmla="*/ 23 h 41"/>
                  <a:gd name="T94" fmla="*/ 16 w 27"/>
                  <a:gd name="T95" fmla="*/ 27 h 41"/>
                  <a:gd name="T96" fmla="*/ 16 w 27"/>
                  <a:gd name="T97" fmla="*/ 27 h 41"/>
                  <a:gd name="T98" fmla="*/ 16 w 27"/>
                  <a:gd name="T99" fmla="*/ 27 h 41"/>
                  <a:gd name="T100" fmla="*/ 15 w 27"/>
                  <a:gd name="T101" fmla="*/ 28 h 41"/>
                  <a:gd name="T102" fmla="*/ 14 w 27"/>
                  <a:gd name="T103" fmla="*/ 29 h 41"/>
                  <a:gd name="T104" fmla="*/ 14 w 27"/>
                  <a:gd name="T105" fmla="*/ 29 h 41"/>
                  <a:gd name="T106" fmla="*/ 14 w 27"/>
                  <a:gd name="T107" fmla="*/ 29 h 41"/>
                  <a:gd name="T108" fmla="*/ 13 w 27"/>
                  <a:gd name="T109" fmla="*/ 28 h 41"/>
                  <a:gd name="T110" fmla="*/ 13 w 27"/>
                  <a:gd name="T111" fmla="*/ 28 h 41"/>
                  <a:gd name="T112" fmla="*/ 7 w 27"/>
                  <a:gd name="T113"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 h="41">
                    <a:moveTo>
                      <a:pt x="7" y="28"/>
                    </a:moveTo>
                    <a:cubicBezTo>
                      <a:pt x="1" y="29"/>
                      <a:pt x="1" y="29"/>
                      <a:pt x="1" y="29"/>
                    </a:cubicBezTo>
                    <a:cubicBezTo>
                      <a:pt x="2" y="36"/>
                      <a:pt x="8" y="41"/>
                      <a:pt x="14" y="41"/>
                    </a:cubicBezTo>
                    <a:cubicBezTo>
                      <a:pt x="14" y="41"/>
                      <a:pt x="14" y="41"/>
                      <a:pt x="14" y="41"/>
                    </a:cubicBezTo>
                    <a:cubicBezTo>
                      <a:pt x="15" y="41"/>
                      <a:pt x="15" y="41"/>
                      <a:pt x="15" y="41"/>
                    </a:cubicBezTo>
                    <a:cubicBezTo>
                      <a:pt x="18" y="40"/>
                      <a:pt x="21" y="39"/>
                      <a:pt x="24" y="37"/>
                    </a:cubicBezTo>
                    <a:cubicBezTo>
                      <a:pt x="26" y="34"/>
                      <a:pt x="27" y="31"/>
                      <a:pt x="27" y="27"/>
                    </a:cubicBezTo>
                    <a:cubicBezTo>
                      <a:pt x="27" y="27"/>
                      <a:pt x="27" y="27"/>
                      <a:pt x="27" y="26"/>
                    </a:cubicBezTo>
                    <a:cubicBezTo>
                      <a:pt x="27" y="26"/>
                      <a:pt x="27" y="26"/>
                      <a:pt x="27" y="26"/>
                    </a:cubicBezTo>
                    <a:cubicBezTo>
                      <a:pt x="27" y="21"/>
                      <a:pt x="27" y="21"/>
                      <a:pt x="27" y="21"/>
                    </a:cubicBezTo>
                    <a:cubicBezTo>
                      <a:pt x="27" y="21"/>
                      <a:pt x="27" y="21"/>
                      <a:pt x="27" y="21"/>
                    </a:cubicBezTo>
                    <a:cubicBezTo>
                      <a:pt x="26" y="15"/>
                      <a:pt x="26" y="15"/>
                      <a:pt x="26" y="15"/>
                    </a:cubicBezTo>
                    <a:cubicBezTo>
                      <a:pt x="26" y="15"/>
                      <a:pt x="26" y="15"/>
                      <a:pt x="26" y="15"/>
                    </a:cubicBezTo>
                    <a:cubicBezTo>
                      <a:pt x="26" y="12"/>
                      <a:pt x="26" y="12"/>
                      <a:pt x="26" y="12"/>
                    </a:cubicBezTo>
                    <a:cubicBezTo>
                      <a:pt x="20" y="12"/>
                      <a:pt x="20" y="12"/>
                      <a:pt x="20" y="12"/>
                    </a:cubicBezTo>
                    <a:cubicBezTo>
                      <a:pt x="26" y="12"/>
                      <a:pt x="26" y="12"/>
                      <a:pt x="26" y="12"/>
                    </a:cubicBezTo>
                    <a:cubicBezTo>
                      <a:pt x="25" y="8"/>
                      <a:pt x="23" y="5"/>
                      <a:pt x="20" y="2"/>
                    </a:cubicBezTo>
                    <a:cubicBezTo>
                      <a:pt x="20" y="2"/>
                      <a:pt x="20" y="2"/>
                      <a:pt x="20" y="2"/>
                    </a:cubicBezTo>
                    <a:cubicBezTo>
                      <a:pt x="18" y="1"/>
                      <a:pt x="15" y="0"/>
                      <a:pt x="13" y="0"/>
                    </a:cubicBezTo>
                    <a:cubicBezTo>
                      <a:pt x="9" y="0"/>
                      <a:pt x="6" y="1"/>
                      <a:pt x="4" y="4"/>
                    </a:cubicBezTo>
                    <a:cubicBezTo>
                      <a:pt x="1" y="6"/>
                      <a:pt x="0" y="9"/>
                      <a:pt x="0" y="13"/>
                    </a:cubicBezTo>
                    <a:cubicBezTo>
                      <a:pt x="0" y="14"/>
                      <a:pt x="0" y="14"/>
                      <a:pt x="0" y="14"/>
                    </a:cubicBezTo>
                    <a:cubicBezTo>
                      <a:pt x="0" y="14"/>
                      <a:pt x="0" y="14"/>
                      <a:pt x="0" y="14"/>
                    </a:cubicBezTo>
                    <a:cubicBezTo>
                      <a:pt x="0" y="18"/>
                      <a:pt x="0" y="18"/>
                      <a:pt x="0" y="18"/>
                    </a:cubicBezTo>
                    <a:cubicBezTo>
                      <a:pt x="0" y="18"/>
                      <a:pt x="0" y="18"/>
                      <a:pt x="0" y="18"/>
                    </a:cubicBezTo>
                    <a:cubicBezTo>
                      <a:pt x="1" y="24"/>
                      <a:pt x="1" y="24"/>
                      <a:pt x="1" y="24"/>
                    </a:cubicBezTo>
                    <a:cubicBezTo>
                      <a:pt x="1" y="29"/>
                      <a:pt x="1" y="29"/>
                      <a:pt x="1" y="29"/>
                    </a:cubicBezTo>
                    <a:cubicBezTo>
                      <a:pt x="1" y="29"/>
                      <a:pt x="1" y="29"/>
                      <a:pt x="1" y="29"/>
                    </a:cubicBezTo>
                    <a:cubicBezTo>
                      <a:pt x="7" y="28"/>
                      <a:pt x="7" y="28"/>
                      <a:pt x="7" y="28"/>
                    </a:cubicBezTo>
                    <a:cubicBezTo>
                      <a:pt x="13" y="28"/>
                      <a:pt x="13" y="28"/>
                      <a:pt x="13" y="28"/>
                    </a:cubicBezTo>
                    <a:cubicBezTo>
                      <a:pt x="12" y="23"/>
                      <a:pt x="12" y="23"/>
                      <a:pt x="12" y="23"/>
                    </a:cubicBezTo>
                    <a:cubicBezTo>
                      <a:pt x="12" y="23"/>
                      <a:pt x="12" y="23"/>
                      <a:pt x="12" y="23"/>
                    </a:cubicBezTo>
                    <a:cubicBezTo>
                      <a:pt x="12" y="17"/>
                      <a:pt x="12" y="17"/>
                      <a:pt x="12" y="17"/>
                    </a:cubicBezTo>
                    <a:cubicBezTo>
                      <a:pt x="12" y="17"/>
                      <a:pt x="12" y="17"/>
                      <a:pt x="12" y="17"/>
                    </a:cubicBezTo>
                    <a:cubicBezTo>
                      <a:pt x="11" y="13"/>
                      <a:pt x="11" y="13"/>
                      <a:pt x="11" y="13"/>
                    </a:cubicBezTo>
                    <a:cubicBezTo>
                      <a:pt x="6" y="14"/>
                      <a:pt x="6" y="14"/>
                      <a:pt x="6" y="14"/>
                    </a:cubicBezTo>
                    <a:cubicBezTo>
                      <a:pt x="11" y="13"/>
                      <a:pt x="11" y="13"/>
                      <a:pt x="11" y="13"/>
                    </a:cubicBezTo>
                    <a:cubicBezTo>
                      <a:pt x="11" y="13"/>
                      <a:pt x="11" y="13"/>
                      <a:pt x="11" y="13"/>
                    </a:cubicBezTo>
                    <a:cubicBezTo>
                      <a:pt x="12" y="13"/>
                      <a:pt x="12" y="12"/>
                      <a:pt x="12" y="12"/>
                    </a:cubicBezTo>
                    <a:cubicBezTo>
                      <a:pt x="13" y="12"/>
                      <a:pt x="13" y="12"/>
                      <a:pt x="13" y="12"/>
                    </a:cubicBezTo>
                    <a:cubicBezTo>
                      <a:pt x="13" y="12"/>
                      <a:pt x="13" y="12"/>
                      <a:pt x="14" y="12"/>
                    </a:cubicBezTo>
                    <a:cubicBezTo>
                      <a:pt x="14" y="12"/>
                      <a:pt x="14" y="12"/>
                      <a:pt x="14" y="12"/>
                    </a:cubicBezTo>
                    <a:cubicBezTo>
                      <a:pt x="14" y="13"/>
                      <a:pt x="14" y="13"/>
                      <a:pt x="14" y="13"/>
                    </a:cubicBezTo>
                    <a:cubicBezTo>
                      <a:pt x="14" y="13"/>
                      <a:pt x="14" y="13"/>
                      <a:pt x="14" y="13"/>
                    </a:cubicBezTo>
                    <a:cubicBezTo>
                      <a:pt x="14" y="16"/>
                      <a:pt x="14" y="16"/>
                      <a:pt x="14" y="16"/>
                    </a:cubicBezTo>
                    <a:cubicBezTo>
                      <a:pt x="14" y="17"/>
                      <a:pt x="14" y="17"/>
                      <a:pt x="14" y="17"/>
                    </a:cubicBezTo>
                    <a:cubicBezTo>
                      <a:pt x="15" y="23"/>
                      <a:pt x="15" y="23"/>
                      <a:pt x="15" y="23"/>
                    </a:cubicBezTo>
                    <a:cubicBezTo>
                      <a:pt x="16" y="27"/>
                      <a:pt x="16" y="27"/>
                      <a:pt x="16" y="27"/>
                    </a:cubicBezTo>
                    <a:cubicBezTo>
                      <a:pt x="16" y="27"/>
                      <a:pt x="16" y="27"/>
                      <a:pt x="16" y="27"/>
                    </a:cubicBezTo>
                    <a:cubicBezTo>
                      <a:pt x="16" y="27"/>
                      <a:pt x="16" y="27"/>
                      <a:pt x="16" y="27"/>
                    </a:cubicBezTo>
                    <a:cubicBezTo>
                      <a:pt x="15" y="28"/>
                      <a:pt x="15" y="28"/>
                      <a:pt x="15" y="28"/>
                    </a:cubicBezTo>
                    <a:cubicBezTo>
                      <a:pt x="15" y="29"/>
                      <a:pt x="15" y="29"/>
                      <a:pt x="14" y="29"/>
                    </a:cubicBezTo>
                    <a:cubicBezTo>
                      <a:pt x="14" y="29"/>
                      <a:pt x="14" y="29"/>
                      <a:pt x="14" y="29"/>
                    </a:cubicBezTo>
                    <a:cubicBezTo>
                      <a:pt x="14" y="29"/>
                      <a:pt x="14" y="29"/>
                      <a:pt x="14" y="29"/>
                    </a:cubicBezTo>
                    <a:cubicBezTo>
                      <a:pt x="14" y="29"/>
                      <a:pt x="13" y="28"/>
                      <a:pt x="13" y="28"/>
                    </a:cubicBezTo>
                    <a:cubicBezTo>
                      <a:pt x="13" y="28"/>
                      <a:pt x="13" y="28"/>
                      <a:pt x="13" y="28"/>
                    </a:cubicBezTo>
                    <a:lnTo>
                      <a:pt x="7"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0" name="Freeform 23"/>
              <p:cNvSpPr>
                <a:spLocks/>
              </p:cNvSpPr>
              <p:nvPr/>
            </p:nvSpPr>
            <p:spPr bwMode="auto">
              <a:xfrm>
                <a:off x="3445787" y="4852787"/>
                <a:ext cx="26596" cy="50001"/>
              </a:xfrm>
              <a:custGeom>
                <a:avLst/>
                <a:gdLst>
                  <a:gd name="T0" fmla="*/ 3 w 17"/>
                  <a:gd name="T1" fmla="*/ 25 h 33"/>
                  <a:gd name="T2" fmla="*/ 17 w 17"/>
                  <a:gd name="T3" fmla="*/ 25 h 33"/>
                  <a:gd name="T4" fmla="*/ 17 w 17"/>
                  <a:gd name="T5" fmla="*/ 22 h 33"/>
                  <a:gd name="T6" fmla="*/ 16 w 17"/>
                  <a:gd name="T7" fmla="*/ 18 h 33"/>
                  <a:gd name="T8" fmla="*/ 15 w 17"/>
                  <a:gd name="T9" fmla="*/ 12 h 33"/>
                  <a:gd name="T10" fmla="*/ 14 w 17"/>
                  <a:gd name="T11" fmla="*/ 8 h 33"/>
                  <a:gd name="T12" fmla="*/ 0 w 17"/>
                  <a:gd name="T13" fmla="*/ 8 h 33"/>
                  <a:gd name="T14" fmla="*/ 0 w 17"/>
                  <a:gd name="T15" fmla="*/ 11 h 33"/>
                  <a:gd name="T16" fmla="*/ 1 w 17"/>
                  <a:gd name="T17" fmla="*/ 15 h 33"/>
                  <a:gd name="T18" fmla="*/ 2 w 17"/>
                  <a:gd name="T19" fmla="*/ 21 h 33"/>
                  <a:gd name="T20" fmla="*/ 3 w 17"/>
                  <a:gd name="T21"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3">
                    <a:moveTo>
                      <a:pt x="3" y="25"/>
                    </a:moveTo>
                    <a:cubicBezTo>
                      <a:pt x="4" y="33"/>
                      <a:pt x="15" y="33"/>
                      <a:pt x="17" y="25"/>
                    </a:cubicBezTo>
                    <a:cubicBezTo>
                      <a:pt x="17" y="24"/>
                      <a:pt x="17" y="23"/>
                      <a:pt x="17" y="22"/>
                    </a:cubicBezTo>
                    <a:cubicBezTo>
                      <a:pt x="16" y="18"/>
                      <a:pt x="16" y="18"/>
                      <a:pt x="16" y="18"/>
                    </a:cubicBezTo>
                    <a:cubicBezTo>
                      <a:pt x="15" y="12"/>
                      <a:pt x="15" y="12"/>
                      <a:pt x="15" y="12"/>
                    </a:cubicBezTo>
                    <a:cubicBezTo>
                      <a:pt x="14" y="8"/>
                      <a:pt x="14" y="8"/>
                      <a:pt x="14" y="8"/>
                    </a:cubicBezTo>
                    <a:cubicBezTo>
                      <a:pt x="12" y="1"/>
                      <a:pt x="2" y="0"/>
                      <a:pt x="0" y="8"/>
                    </a:cubicBezTo>
                    <a:cubicBezTo>
                      <a:pt x="0" y="9"/>
                      <a:pt x="0" y="10"/>
                      <a:pt x="0" y="11"/>
                    </a:cubicBezTo>
                    <a:cubicBezTo>
                      <a:pt x="1" y="15"/>
                      <a:pt x="1" y="15"/>
                      <a:pt x="1" y="15"/>
                    </a:cubicBezTo>
                    <a:cubicBezTo>
                      <a:pt x="2" y="21"/>
                      <a:pt x="2" y="21"/>
                      <a:pt x="2" y="21"/>
                    </a:cubicBezTo>
                    <a:lnTo>
                      <a:pt x="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1" name="Freeform 24"/>
              <p:cNvSpPr>
                <a:spLocks/>
              </p:cNvSpPr>
              <p:nvPr/>
            </p:nvSpPr>
            <p:spPr bwMode="auto">
              <a:xfrm>
                <a:off x="3437276" y="4848531"/>
                <a:ext cx="43618" cy="60640"/>
              </a:xfrm>
              <a:custGeom>
                <a:avLst/>
                <a:gdLst>
                  <a:gd name="T0" fmla="*/ 3 w 29"/>
                  <a:gd name="T1" fmla="*/ 29 h 40"/>
                  <a:gd name="T2" fmla="*/ 16 w 29"/>
                  <a:gd name="T3" fmla="*/ 40 h 40"/>
                  <a:gd name="T4" fmla="*/ 29 w 29"/>
                  <a:gd name="T5" fmla="*/ 29 h 40"/>
                  <a:gd name="T6" fmla="*/ 29 w 29"/>
                  <a:gd name="T7" fmla="*/ 29 h 40"/>
                  <a:gd name="T8" fmla="*/ 28 w 29"/>
                  <a:gd name="T9" fmla="*/ 24 h 40"/>
                  <a:gd name="T10" fmla="*/ 28 w 29"/>
                  <a:gd name="T11" fmla="*/ 20 h 40"/>
                  <a:gd name="T12" fmla="*/ 26 w 29"/>
                  <a:gd name="T13" fmla="*/ 14 h 40"/>
                  <a:gd name="T14" fmla="*/ 26 w 29"/>
                  <a:gd name="T15" fmla="*/ 10 h 40"/>
                  <a:gd name="T16" fmla="*/ 21 w 29"/>
                  <a:gd name="T17" fmla="*/ 2 h 40"/>
                  <a:gd name="T18" fmla="*/ 5 w 29"/>
                  <a:gd name="T19" fmla="*/ 2 h 40"/>
                  <a:gd name="T20" fmla="*/ 0 w 29"/>
                  <a:gd name="T21" fmla="*/ 9 h 40"/>
                  <a:gd name="T22" fmla="*/ 0 w 29"/>
                  <a:gd name="T23" fmla="*/ 13 h 40"/>
                  <a:gd name="T24" fmla="*/ 0 w 29"/>
                  <a:gd name="T25" fmla="*/ 15 h 40"/>
                  <a:gd name="T26" fmla="*/ 1 w 29"/>
                  <a:gd name="T27" fmla="*/ 19 h 40"/>
                  <a:gd name="T28" fmla="*/ 3 w 29"/>
                  <a:gd name="T29" fmla="*/ 29 h 40"/>
                  <a:gd name="T30" fmla="*/ 9 w 29"/>
                  <a:gd name="T31" fmla="*/ 28 h 40"/>
                  <a:gd name="T32" fmla="*/ 13 w 29"/>
                  <a:gd name="T33" fmla="*/ 23 h 40"/>
                  <a:gd name="T34" fmla="*/ 12 w 29"/>
                  <a:gd name="T35" fmla="*/ 17 h 40"/>
                  <a:gd name="T36" fmla="*/ 12 w 29"/>
                  <a:gd name="T37" fmla="*/ 13 h 40"/>
                  <a:gd name="T38" fmla="*/ 12 w 29"/>
                  <a:gd name="T39" fmla="*/ 13 h 40"/>
                  <a:gd name="T40" fmla="*/ 6 w 29"/>
                  <a:gd name="T41" fmla="*/ 11 h 40"/>
                  <a:gd name="T42" fmla="*/ 12 w 29"/>
                  <a:gd name="T43" fmla="*/ 12 h 40"/>
                  <a:gd name="T44" fmla="*/ 14 w 29"/>
                  <a:gd name="T45" fmla="*/ 12 h 40"/>
                  <a:gd name="T46" fmla="*/ 20 w 29"/>
                  <a:gd name="T47" fmla="*/ 11 h 40"/>
                  <a:gd name="T48" fmla="*/ 15 w 29"/>
                  <a:gd name="T49" fmla="*/ 16 h 40"/>
                  <a:gd name="T50" fmla="*/ 16 w 29"/>
                  <a:gd name="T51" fmla="*/ 22 h 40"/>
                  <a:gd name="T52" fmla="*/ 17 w 29"/>
                  <a:gd name="T53" fmla="*/ 27 h 40"/>
                  <a:gd name="T54" fmla="*/ 17 w 29"/>
                  <a:gd name="T55" fmla="*/ 27 h 40"/>
                  <a:gd name="T56" fmla="*/ 17 w 29"/>
                  <a:gd name="T57" fmla="*/ 27 h 40"/>
                  <a:gd name="T58" fmla="*/ 16 w 29"/>
                  <a:gd name="T59" fmla="*/ 28 h 40"/>
                  <a:gd name="T60" fmla="*/ 14 w 29"/>
                  <a:gd name="T61" fmla="*/ 27 h 40"/>
                  <a:gd name="T62" fmla="*/ 9 w 29"/>
                  <a:gd name="T63"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 h="40">
                    <a:moveTo>
                      <a:pt x="9" y="28"/>
                    </a:moveTo>
                    <a:cubicBezTo>
                      <a:pt x="3" y="29"/>
                      <a:pt x="3" y="29"/>
                      <a:pt x="3" y="29"/>
                    </a:cubicBezTo>
                    <a:cubicBezTo>
                      <a:pt x="3" y="33"/>
                      <a:pt x="5" y="35"/>
                      <a:pt x="8" y="37"/>
                    </a:cubicBezTo>
                    <a:cubicBezTo>
                      <a:pt x="10" y="39"/>
                      <a:pt x="13" y="40"/>
                      <a:pt x="16" y="40"/>
                    </a:cubicBezTo>
                    <a:cubicBezTo>
                      <a:pt x="18" y="40"/>
                      <a:pt x="21" y="39"/>
                      <a:pt x="24" y="37"/>
                    </a:cubicBezTo>
                    <a:cubicBezTo>
                      <a:pt x="26" y="35"/>
                      <a:pt x="28" y="32"/>
                      <a:pt x="29" y="29"/>
                    </a:cubicBezTo>
                    <a:cubicBezTo>
                      <a:pt x="29" y="29"/>
                      <a:pt x="29" y="29"/>
                      <a:pt x="29" y="29"/>
                    </a:cubicBezTo>
                    <a:cubicBezTo>
                      <a:pt x="29" y="29"/>
                      <a:pt x="29" y="29"/>
                      <a:pt x="29" y="29"/>
                    </a:cubicBezTo>
                    <a:cubicBezTo>
                      <a:pt x="29" y="28"/>
                      <a:pt x="29" y="27"/>
                      <a:pt x="29" y="27"/>
                    </a:cubicBezTo>
                    <a:cubicBezTo>
                      <a:pt x="29" y="26"/>
                      <a:pt x="29" y="25"/>
                      <a:pt x="28" y="24"/>
                    </a:cubicBezTo>
                    <a:cubicBezTo>
                      <a:pt x="28" y="20"/>
                      <a:pt x="28" y="20"/>
                      <a:pt x="28" y="20"/>
                    </a:cubicBezTo>
                    <a:cubicBezTo>
                      <a:pt x="28" y="20"/>
                      <a:pt x="28" y="20"/>
                      <a:pt x="28" y="20"/>
                    </a:cubicBezTo>
                    <a:cubicBezTo>
                      <a:pt x="26" y="14"/>
                      <a:pt x="26" y="14"/>
                      <a:pt x="26" y="14"/>
                    </a:cubicBezTo>
                    <a:cubicBezTo>
                      <a:pt x="26" y="14"/>
                      <a:pt x="26" y="14"/>
                      <a:pt x="26" y="14"/>
                    </a:cubicBezTo>
                    <a:cubicBezTo>
                      <a:pt x="26" y="10"/>
                      <a:pt x="26" y="10"/>
                      <a:pt x="26" y="10"/>
                    </a:cubicBezTo>
                    <a:cubicBezTo>
                      <a:pt x="26" y="10"/>
                      <a:pt x="26" y="10"/>
                      <a:pt x="26" y="10"/>
                    </a:cubicBezTo>
                    <a:cubicBezTo>
                      <a:pt x="26" y="10"/>
                      <a:pt x="26" y="10"/>
                      <a:pt x="26" y="10"/>
                    </a:cubicBezTo>
                    <a:cubicBezTo>
                      <a:pt x="25" y="7"/>
                      <a:pt x="23" y="4"/>
                      <a:pt x="21" y="2"/>
                    </a:cubicBezTo>
                    <a:cubicBezTo>
                      <a:pt x="18" y="0"/>
                      <a:pt x="16" y="0"/>
                      <a:pt x="13" y="0"/>
                    </a:cubicBezTo>
                    <a:cubicBezTo>
                      <a:pt x="10" y="0"/>
                      <a:pt x="8" y="0"/>
                      <a:pt x="5" y="2"/>
                    </a:cubicBezTo>
                    <a:cubicBezTo>
                      <a:pt x="3" y="4"/>
                      <a:pt x="1" y="6"/>
                      <a:pt x="0" y="9"/>
                    </a:cubicBezTo>
                    <a:cubicBezTo>
                      <a:pt x="0" y="9"/>
                      <a:pt x="0" y="9"/>
                      <a:pt x="0" y="9"/>
                    </a:cubicBezTo>
                    <a:cubicBezTo>
                      <a:pt x="0" y="9"/>
                      <a:pt x="0" y="9"/>
                      <a:pt x="0" y="9"/>
                    </a:cubicBezTo>
                    <a:cubicBezTo>
                      <a:pt x="0" y="10"/>
                      <a:pt x="0" y="11"/>
                      <a:pt x="0" y="13"/>
                    </a:cubicBezTo>
                    <a:cubicBezTo>
                      <a:pt x="0" y="13"/>
                      <a:pt x="0" y="14"/>
                      <a:pt x="0" y="15"/>
                    </a:cubicBezTo>
                    <a:cubicBezTo>
                      <a:pt x="0" y="15"/>
                      <a:pt x="0" y="15"/>
                      <a:pt x="0" y="15"/>
                    </a:cubicBezTo>
                    <a:cubicBezTo>
                      <a:pt x="1" y="19"/>
                      <a:pt x="1" y="19"/>
                      <a:pt x="1" y="19"/>
                    </a:cubicBezTo>
                    <a:cubicBezTo>
                      <a:pt x="1" y="19"/>
                      <a:pt x="1" y="19"/>
                      <a:pt x="1" y="19"/>
                    </a:cubicBezTo>
                    <a:cubicBezTo>
                      <a:pt x="2" y="25"/>
                      <a:pt x="2" y="25"/>
                      <a:pt x="2" y="25"/>
                    </a:cubicBezTo>
                    <a:cubicBezTo>
                      <a:pt x="3" y="29"/>
                      <a:pt x="3" y="29"/>
                      <a:pt x="3" y="29"/>
                    </a:cubicBezTo>
                    <a:cubicBezTo>
                      <a:pt x="3" y="29"/>
                      <a:pt x="3" y="29"/>
                      <a:pt x="3" y="29"/>
                    </a:cubicBezTo>
                    <a:cubicBezTo>
                      <a:pt x="9" y="28"/>
                      <a:pt x="9" y="28"/>
                      <a:pt x="9" y="28"/>
                    </a:cubicBezTo>
                    <a:cubicBezTo>
                      <a:pt x="14" y="27"/>
                      <a:pt x="14" y="27"/>
                      <a:pt x="14" y="27"/>
                    </a:cubicBezTo>
                    <a:cubicBezTo>
                      <a:pt x="13" y="23"/>
                      <a:pt x="13" y="23"/>
                      <a:pt x="13" y="23"/>
                    </a:cubicBezTo>
                    <a:cubicBezTo>
                      <a:pt x="13" y="23"/>
                      <a:pt x="13" y="23"/>
                      <a:pt x="13" y="23"/>
                    </a:cubicBezTo>
                    <a:cubicBezTo>
                      <a:pt x="12" y="17"/>
                      <a:pt x="12" y="17"/>
                      <a:pt x="12" y="17"/>
                    </a:cubicBezTo>
                    <a:cubicBezTo>
                      <a:pt x="12" y="17"/>
                      <a:pt x="12" y="17"/>
                      <a:pt x="12" y="17"/>
                    </a:cubicBezTo>
                    <a:cubicBezTo>
                      <a:pt x="12" y="13"/>
                      <a:pt x="12" y="13"/>
                      <a:pt x="12" y="13"/>
                    </a:cubicBezTo>
                    <a:cubicBezTo>
                      <a:pt x="12" y="13"/>
                      <a:pt x="12" y="13"/>
                      <a:pt x="12" y="13"/>
                    </a:cubicBezTo>
                    <a:cubicBezTo>
                      <a:pt x="12" y="13"/>
                      <a:pt x="12" y="13"/>
                      <a:pt x="12" y="13"/>
                    </a:cubicBezTo>
                    <a:cubicBezTo>
                      <a:pt x="12" y="12"/>
                      <a:pt x="12" y="12"/>
                      <a:pt x="12" y="12"/>
                    </a:cubicBezTo>
                    <a:cubicBezTo>
                      <a:pt x="6" y="11"/>
                      <a:pt x="6" y="11"/>
                      <a:pt x="6" y="11"/>
                    </a:cubicBezTo>
                    <a:cubicBezTo>
                      <a:pt x="12" y="12"/>
                      <a:pt x="12" y="12"/>
                      <a:pt x="12" y="12"/>
                    </a:cubicBezTo>
                    <a:cubicBezTo>
                      <a:pt x="12" y="12"/>
                      <a:pt x="12" y="12"/>
                      <a:pt x="12" y="12"/>
                    </a:cubicBezTo>
                    <a:cubicBezTo>
                      <a:pt x="13" y="11"/>
                      <a:pt x="13" y="11"/>
                      <a:pt x="13" y="11"/>
                    </a:cubicBezTo>
                    <a:cubicBezTo>
                      <a:pt x="14" y="12"/>
                      <a:pt x="14" y="12"/>
                      <a:pt x="14" y="12"/>
                    </a:cubicBezTo>
                    <a:cubicBezTo>
                      <a:pt x="14" y="12"/>
                      <a:pt x="14" y="12"/>
                      <a:pt x="14" y="13"/>
                    </a:cubicBezTo>
                    <a:cubicBezTo>
                      <a:pt x="20" y="11"/>
                      <a:pt x="20" y="11"/>
                      <a:pt x="20" y="11"/>
                    </a:cubicBezTo>
                    <a:cubicBezTo>
                      <a:pt x="14" y="12"/>
                      <a:pt x="14" y="12"/>
                      <a:pt x="14" y="12"/>
                    </a:cubicBezTo>
                    <a:cubicBezTo>
                      <a:pt x="15" y="16"/>
                      <a:pt x="15" y="16"/>
                      <a:pt x="15" y="16"/>
                    </a:cubicBezTo>
                    <a:cubicBezTo>
                      <a:pt x="15" y="16"/>
                      <a:pt x="15" y="16"/>
                      <a:pt x="15" y="16"/>
                    </a:cubicBezTo>
                    <a:cubicBezTo>
                      <a:pt x="16" y="22"/>
                      <a:pt x="16" y="22"/>
                      <a:pt x="16" y="22"/>
                    </a:cubicBezTo>
                    <a:cubicBezTo>
                      <a:pt x="17" y="27"/>
                      <a:pt x="17" y="27"/>
                      <a:pt x="17" y="27"/>
                    </a:cubicBezTo>
                    <a:cubicBezTo>
                      <a:pt x="17" y="27"/>
                      <a:pt x="17" y="27"/>
                      <a:pt x="17" y="27"/>
                    </a:cubicBezTo>
                    <a:cubicBezTo>
                      <a:pt x="17" y="27"/>
                      <a:pt x="17" y="27"/>
                      <a:pt x="17" y="27"/>
                    </a:cubicBezTo>
                    <a:cubicBezTo>
                      <a:pt x="17" y="27"/>
                      <a:pt x="17" y="27"/>
                      <a:pt x="17" y="27"/>
                    </a:cubicBezTo>
                    <a:cubicBezTo>
                      <a:pt x="23" y="28"/>
                      <a:pt x="23" y="28"/>
                      <a:pt x="23" y="28"/>
                    </a:cubicBezTo>
                    <a:cubicBezTo>
                      <a:pt x="17" y="27"/>
                      <a:pt x="17" y="27"/>
                      <a:pt x="17" y="27"/>
                    </a:cubicBezTo>
                    <a:cubicBezTo>
                      <a:pt x="17" y="28"/>
                      <a:pt x="17" y="28"/>
                      <a:pt x="17" y="28"/>
                    </a:cubicBezTo>
                    <a:cubicBezTo>
                      <a:pt x="16" y="28"/>
                      <a:pt x="16" y="28"/>
                      <a:pt x="16" y="28"/>
                    </a:cubicBezTo>
                    <a:cubicBezTo>
                      <a:pt x="15" y="28"/>
                      <a:pt x="15" y="28"/>
                      <a:pt x="15" y="28"/>
                    </a:cubicBezTo>
                    <a:cubicBezTo>
                      <a:pt x="15" y="28"/>
                      <a:pt x="14" y="28"/>
                      <a:pt x="14" y="27"/>
                    </a:cubicBezTo>
                    <a:cubicBezTo>
                      <a:pt x="14" y="27"/>
                      <a:pt x="14" y="27"/>
                      <a:pt x="14" y="27"/>
                    </a:cubicBezTo>
                    <a:lnTo>
                      <a:pt x="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2" name="Freeform 25"/>
              <p:cNvSpPr>
                <a:spLocks/>
              </p:cNvSpPr>
              <p:nvPr/>
            </p:nvSpPr>
            <p:spPr bwMode="auto">
              <a:xfrm>
                <a:off x="3475575" y="4980449"/>
                <a:ext cx="29788" cy="47874"/>
              </a:xfrm>
              <a:custGeom>
                <a:avLst/>
                <a:gdLst>
                  <a:gd name="T0" fmla="*/ 5 w 20"/>
                  <a:gd name="T1" fmla="*/ 26 h 32"/>
                  <a:gd name="T2" fmla="*/ 15 w 20"/>
                  <a:gd name="T3" fmla="*/ 30 h 32"/>
                  <a:gd name="T4" fmla="*/ 19 w 20"/>
                  <a:gd name="T5" fmla="*/ 21 h 32"/>
                  <a:gd name="T6" fmla="*/ 18 w 20"/>
                  <a:gd name="T7" fmla="*/ 18 h 32"/>
                  <a:gd name="T8" fmla="*/ 16 w 20"/>
                  <a:gd name="T9" fmla="*/ 12 h 32"/>
                  <a:gd name="T10" fmla="*/ 15 w 20"/>
                  <a:gd name="T11" fmla="*/ 8 h 32"/>
                  <a:gd name="T12" fmla="*/ 1 w 20"/>
                  <a:gd name="T13" fmla="*/ 9 h 32"/>
                  <a:gd name="T14" fmla="*/ 1 w 20"/>
                  <a:gd name="T15" fmla="*/ 12 h 32"/>
                  <a:gd name="T16" fmla="*/ 2 w 20"/>
                  <a:gd name="T17" fmla="*/ 16 h 32"/>
                  <a:gd name="T18" fmla="*/ 4 w 20"/>
                  <a:gd name="T19" fmla="*/ 22 h 32"/>
                  <a:gd name="T20" fmla="*/ 5 w 20"/>
                  <a:gd name="T21"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32">
                    <a:moveTo>
                      <a:pt x="5" y="26"/>
                    </a:moveTo>
                    <a:cubicBezTo>
                      <a:pt x="6" y="30"/>
                      <a:pt x="11" y="32"/>
                      <a:pt x="15" y="30"/>
                    </a:cubicBezTo>
                    <a:cubicBezTo>
                      <a:pt x="18" y="28"/>
                      <a:pt x="20" y="25"/>
                      <a:pt x="19" y="21"/>
                    </a:cubicBezTo>
                    <a:cubicBezTo>
                      <a:pt x="18" y="18"/>
                      <a:pt x="18" y="18"/>
                      <a:pt x="18" y="18"/>
                    </a:cubicBezTo>
                    <a:cubicBezTo>
                      <a:pt x="16" y="12"/>
                      <a:pt x="16" y="12"/>
                      <a:pt x="16" y="12"/>
                    </a:cubicBezTo>
                    <a:cubicBezTo>
                      <a:pt x="15" y="8"/>
                      <a:pt x="15" y="8"/>
                      <a:pt x="15" y="8"/>
                    </a:cubicBezTo>
                    <a:cubicBezTo>
                      <a:pt x="13" y="0"/>
                      <a:pt x="2" y="1"/>
                      <a:pt x="1" y="9"/>
                    </a:cubicBezTo>
                    <a:cubicBezTo>
                      <a:pt x="0" y="10"/>
                      <a:pt x="1" y="11"/>
                      <a:pt x="1" y="12"/>
                    </a:cubicBezTo>
                    <a:cubicBezTo>
                      <a:pt x="2" y="16"/>
                      <a:pt x="2" y="16"/>
                      <a:pt x="2" y="16"/>
                    </a:cubicBezTo>
                    <a:cubicBezTo>
                      <a:pt x="4" y="22"/>
                      <a:pt x="4" y="22"/>
                      <a:pt x="4" y="22"/>
                    </a:cubicBezTo>
                    <a:lnTo>
                      <a:pt x="5"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3" name="Freeform 26"/>
              <p:cNvSpPr>
                <a:spLocks/>
              </p:cNvSpPr>
              <p:nvPr/>
            </p:nvSpPr>
            <p:spPr bwMode="auto">
              <a:xfrm>
                <a:off x="3467064" y="4976194"/>
                <a:ext cx="45746" cy="60640"/>
              </a:xfrm>
              <a:custGeom>
                <a:avLst/>
                <a:gdLst>
                  <a:gd name="T0" fmla="*/ 10 w 30"/>
                  <a:gd name="T1" fmla="*/ 29 h 40"/>
                  <a:gd name="T2" fmla="*/ 4 w 30"/>
                  <a:gd name="T3" fmla="*/ 30 h 40"/>
                  <a:gd name="T4" fmla="*/ 17 w 30"/>
                  <a:gd name="T5" fmla="*/ 40 h 40"/>
                  <a:gd name="T6" fmla="*/ 23 w 30"/>
                  <a:gd name="T7" fmla="*/ 38 h 40"/>
                  <a:gd name="T8" fmla="*/ 23 w 30"/>
                  <a:gd name="T9" fmla="*/ 38 h 40"/>
                  <a:gd name="T10" fmla="*/ 30 w 30"/>
                  <a:gd name="T11" fmla="*/ 27 h 40"/>
                  <a:gd name="T12" fmla="*/ 29 w 30"/>
                  <a:gd name="T13" fmla="*/ 23 h 40"/>
                  <a:gd name="T14" fmla="*/ 29 w 30"/>
                  <a:gd name="T15" fmla="*/ 23 h 40"/>
                  <a:gd name="T16" fmla="*/ 28 w 30"/>
                  <a:gd name="T17" fmla="*/ 19 h 40"/>
                  <a:gd name="T18" fmla="*/ 28 w 30"/>
                  <a:gd name="T19" fmla="*/ 19 h 40"/>
                  <a:gd name="T20" fmla="*/ 26 w 30"/>
                  <a:gd name="T21" fmla="*/ 13 h 40"/>
                  <a:gd name="T22" fmla="*/ 26 w 30"/>
                  <a:gd name="T23" fmla="*/ 13 h 40"/>
                  <a:gd name="T24" fmla="*/ 25 w 30"/>
                  <a:gd name="T25" fmla="*/ 9 h 40"/>
                  <a:gd name="T26" fmla="*/ 20 w 30"/>
                  <a:gd name="T27" fmla="*/ 11 h 40"/>
                  <a:gd name="T28" fmla="*/ 25 w 30"/>
                  <a:gd name="T29" fmla="*/ 9 h 40"/>
                  <a:gd name="T30" fmla="*/ 20 w 30"/>
                  <a:gd name="T31" fmla="*/ 2 h 40"/>
                  <a:gd name="T32" fmla="*/ 13 w 30"/>
                  <a:gd name="T33" fmla="*/ 0 h 40"/>
                  <a:gd name="T34" fmla="*/ 4 w 30"/>
                  <a:gd name="T35" fmla="*/ 3 h 40"/>
                  <a:gd name="T36" fmla="*/ 0 w 30"/>
                  <a:gd name="T37" fmla="*/ 11 h 40"/>
                  <a:gd name="T38" fmla="*/ 0 w 30"/>
                  <a:gd name="T39" fmla="*/ 11 h 40"/>
                  <a:gd name="T40" fmla="*/ 0 w 30"/>
                  <a:gd name="T41" fmla="*/ 11 h 40"/>
                  <a:gd name="T42" fmla="*/ 0 w 30"/>
                  <a:gd name="T43" fmla="*/ 13 h 40"/>
                  <a:gd name="T44" fmla="*/ 0 w 30"/>
                  <a:gd name="T45" fmla="*/ 16 h 40"/>
                  <a:gd name="T46" fmla="*/ 0 w 30"/>
                  <a:gd name="T47" fmla="*/ 16 h 40"/>
                  <a:gd name="T48" fmla="*/ 1 w 30"/>
                  <a:gd name="T49" fmla="*/ 21 h 40"/>
                  <a:gd name="T50" fmla="*/ 3 w 30"/>
                  <a:gd name="T51" fmla="*/ 27 h 40"/>
                  <a:gd name="T52" fmla="*/ 4 w 30"/>
                  <a:gd name="T53" fmla="*/ 30 h 40"/>
                  <a:gd name="T54" fmla="*/ 4 w 30"/>
                  <a:gd name="T55" fmla="*/ 30 h 40"/>
                  <a:gd name="T56" fmla="*/ 4 w 30"/>
                  <a:gd name="T57" fmla="*/ 30 h 40"/>
                  <a:gd name="T58" fmla="*/ 10 w 30"/>
                  <a:gd name="T59" fmla="*/ 29 h 40"/>
                  <a:gd name="T60" fmla="*/ 16 w 30"/>
                  <a:gd name="T61" fmla="*/ 27 h 40"/>
                  <a:gd name="T62" fmla="*/ 14 w 30"/>
                  <a:gd name="T63" fmla="*/ 23 h 40"/>
                  <a:gd name="T64" fmla="*/ 14 w 30"/>
                  <a:gd name="T65" fmla="*/ 23 h 40"/>
                  <a:gd name="T66" fmla="*/ 13 w 30"/>
                  <a:gd name="T67" fmla="*/ 17 h 40"/>
                  <a:gd name="T68" fmla="*/ 13 w 30"/>
                  <a:gd name="T69" fmla="*/ 17 h 40"/>
                  <a:gd name="T70" fmla="*/ 11 w 30"/>
                  <a:gd name="T71" fmla="*/ 13 h 40"/>
                  <a:gd name="T72" fmla="*/ 11 w 30"/>
                  <a:gd name="T73" fmla="*/ 13 h 40"/>
                  <a:gd name="T74" fmla="*/ 11 w 30"/>
                  <a:gd name="T75" fmla="*/ 13 h 40"/>
                  <a:gd name="T76" fmla="*/ 11 w 30"/>
                  <a:gd name="T77" fmla="*/ 13 h 40"/>
                  <a:gd name="T78" fmla="*/ 6 w 30"/>
                  <a:gd name="T79" fmla="*/ 12 h 40"/>
                  <a:gd name="T80" fmla="*/ 11 w 30"/>
                  <a:gd name="T81" fmla="*/ 13 h 40"/>
                  <a:gd name="T82" fmla="*/ 12 w 30"/>
                  <a:gd name="T83" fmla="*/ 12 h 40"/>
                  <a:gd name="T84" fmla="*/ 13 w 30"/>
                  <a:gd name="T85" fmla="*/ 11 h 40"/>
                  <a:gd name="T86" fmla="*/ 14 w 30"/>
                  <a:gd name="T87" fmla="*/ 12 h 40"/>
                  <a:gd name="T88" fmla="*/ 14 w 30"/>
                  <a:gd name="T89" fmla="*/ 12 h 40"/>
                  <a:gd name="T90" fmla="*/ 14 w 30"/>
                  <a:gd name="T91" fmla="*/ 12 h 40"/>
                  <a:gd name="T92" fmla="*/ 15 w 30"/>
                  <a:gd name="T93" fmla="*/ 17 h 40"/>
                  <a:gd name="T94" fmla="*/ 17 w 30"/>
                  <a:gd name="T95" fmla="*/ 23 h 40"/>
                  <a:gd name="T96" fmla="*/ 18 w 30"/>
                  <a:gd name="T97" fmla="*/ 26 h 40"/>
                  <a:gd name="T98" fmla="*/ 18 w 30"/>
                  <a:gd name="T99" fmla="*/ 26 h 40"/>
                  <a:gd name="T100" fmla="*/ 18 w 30"/>
                  <a:gd name="T101" fmla="*/ 26 h 40"/>
                  <a:gd name="T102" fmla="*/ 18 w 30"/>
                  <a:gd name="T103" fmla="*/ 27 h 40"/>
                  <a:gd name="T104" fmla="*/ 17 w 30"/>
                  <a:gd name="T105" fmla="*/ 28 h 40"/>
                  <a:gd name="T106" fmla="*/ 17 w 30"/>
                  <a:gd name="T107" fmla="*/ 28 h 40"/>
                  <a:gd name="T108" fmla="*/ 17 w 30"/>
                  <a:gd name="T109" fmla="*/ 28 h 40"/>
                  <a:gd name="T110" fmla="*/ 16 w 30"/>
                  <a:gd name="T111" fmla="*/ 27 h 40"/>
                  <a:gd name="T112" fmla="*/ 16 w 30"/>
                  <a:gd name="T113" fmla="*/ 27 h 40"/>
                  <a:gd name="T114" fmla="*/ 10 w 30"/>
                  <a:gd name="T115" fmla="*/ 2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 h="40">
                    <a:moveTo>
                      <a:pt x="10" y="29"/>
                    </a:moveTo>
                    <a:cubicBezTo>
                      <a:pt x="4" y="30"/>
                      <a:pt x="4" y="30"/>
                      <a:pt x="4" y="30"/>
                    </a:cubicBezTo>
                    <a:cubicBezTo>
                      <a:pt x="6" y="36"/>
                      <a:pt x="11" y="40"/>
                      <a:pt x="17" y="40"/>
                    </a:cubicBezTo>
                    <a:cubicBezTo>
                      <a:pt x="19" y="40"/>
                      <a:pt x="21" y="39"/>
                      <a:pt x="23" y="38"/>
                    </a:cubicBezTo>
                    <a:cubicBezTo>
                      <a:pt x="23" y="38"/>
                      <a:pt x="23" y="38"/>
                      <a:pt x="23" y="38"/>
                    </a:cubicBezTo>
                    <a:cubicBezTo>
                      <a:pt x="27" y="36"/>
                      <a:pt x="30" y="31"/>
                      <a:pt x="30" y="27"/>
                    </a:cubicBezTo>
                    <a:cubicBezTo>
                      <a:pt x="30" y="25"/>
                      <a:pt x="30" y="24"/>
                      <a:pt x="29" y="23"/>
                    </a:cubicBezTo>
                    <a:cubicBezTo>
                      <a:pt x="29" y="23"/>
                      <a:pt x="29" y="23"/>
                      <a:pt x="29" y="23"/>
                    </a:cubicBezTo>
                    <a:cubicBezTo>
                      <a:pt x="28" y="19"/>
                      <a:pt x="28" y="19"/>
                      <a:pt x="28" y="19"/>
                    </a:cubicBezTo>
                    <a:cubicBezTo>
                      <a:pt x="28" y="19"/>
                      <a:pt x="28" y="19"/>
                      <a:pt x="28" y="19"/>
                    </a:cubicBezTo>
                    <a:cubicBezTo>
                      <a:pt x="26" y="13"/>
                      <a:pt x="26" y="13"/>
                      <a:pt x="26" y="13"/>
                    </a:cubicBezTo>
                    <a:cubicBezTo>
                      <a:pt x="26" y="13"/>
                      <a:pt x="26" y="13"/>
                      <a:pt x="26" y="13"/>
                    </a:cubicBezTo>
                    <a:cubicBezTo>
                      <a:pt x="25" y="9"/>
                      <a:pt x="25" y="9"/>
                      <a:pt x="25" y="9"/>
                    </a:cubicBezTo>
                    <a:cubicBezTo>
                      <a:pt x="20" y="11"/>
                      <a:pt x="20" y="11"/>
                      <a:pt x="20" y="11"/>
                    </a:cubicBezTo>
                    <a:cubicBezTo>
                      <a:pt x="25" y="9"/>
                      <a:pt x="25" y="9"/>
                      <a:pt x="25" y="9"/>
                    </a:cubicBezTo>
                    <a:cubicBezTo>
                      <a:pt x="24" y="6"/>
                      <a:pt x="23" y="4"/>
                      <a:pt x="20" y="2"/>
                    </a:cubicBezTo>
                    <a:cubicBezTo>
                      <a:pt x="18" y="0"/>
                      <a:pt x="15" y="0"/>
                      <a:pt x="13" y="0"/>
                    </a:cubicBezTo>
                    <a:cubicBezTo>
                      <a:pt x="10" y="0"/>
                      <a:pt x="7" y="1"/>
                      <a:pt x="4" y="3"/>
                    </a:cubicBezTo>
                    <a:cubicBezTo>
                      <a:pt x="2" y="5"/>
                      <a:pt x="0" y="8"/>
                      <a:pt x="0" y="11"/>
                    </a:cubicBezTo>
                    <a:cubicBezTo>
                      <a:pt x="0" y="11"/>
                      <a:pt x="0" y="11"/>
                      <a:pt x="0" y="11"/>
                    </a:cubicBezTo>
                    <a:cubicBezTo>
                      <a:pt x="0" y="11"/>
                      <a:pt x="0" y="11"/>
                      <a:pt x="0" y="11"/>
                    </a:cubicBezTo>
                    <a:cubicBezTo>
                      <a:pt x="0" y="12"/>
                      <a:pt x="0" y="12"/>
                      <a:pt x="0" y="13"/>
                    </a:cubicBezTo>
                    <a:cubicBezTo>
                      <a:pt x="0" y="14"/>
                      <a:pt x="0" y="15"/>
                      <a:pt x="0" y="16"/>
                    </a:cubicBezTo>
                    <a:cubicBezTo>
                      <a:pt x="0" y="16"/>
                      <a:pt x="0" y="16"/>
                      <a:pt x="0" y="16"/>
                    </a:cubicBezTo>
                    <a:cubicBezTo>
                      <a:pt x="1" y="21"/>
                      <a:pt x="1" y="21"/>
                      <a:pt x="1" y="21"/>
                    </a:cubicBezTo>
                    <a:cubicBezTo>
                      <a:pt x="3" y="27"/>
                      <a:pt x="3" y="27"/>
                      <a:pt x="3" y="27"/>
                    </a:cubicBezTo>
                    <a:cubicBezTo>
                      <a:pt x="4" y="30"/>
                      <a:pt x="4" y="30"/>
                      <a:pt x="4" y="30"/>
                    </a:cubicBezTo>
                    <a:cubicBezTo>
                      <a:pt x="4" y="30"/>
                      <a:pt x="4" y="30"/>
                      <a:pt x="4" y="30"/>
                    </a:cubicBezTo>
                    <a:cubicBezTo>
                      <a:pt x="4" y="30"/>
                      <a:pt x="4" y="30"/>
                      <a:pt x="4" y="30"/>
                    </a:cubicBezTo>
                    <a:cubicBezTo>
                      <a:pt x="10" y="29"/>
                      <a:pt x="10" y="29"/>
                      <a:pt x="10" y="29"/>
                    </a:cubicBezTo>
                    <a:cubicBezTo>
                      <a:pt x="16" y="27"/>
                      <a:pt x="16" y="27"/>
                      <a:pt x="16" y="27"/>
                    </a:cubicBezTo>
                    <a:cubicBezTo>
                      <a:pt x="14" y="23"/>
                      <a:pt x="14" y="23"/>
                      <a:pt x="14" y="23"/>
                    </a:cubicBezTo>
                    <a:cubicBezTo>
                      <a:pt x="14" y="23"/>
                      <a:pt x="14" y="23"/>
                      <a:pt x="14" y="23"/>
                    </a:cubicBezTo>
                    <a:cubicBezTo>
                      <a:pt x="13" y="17"/>
                      <a:pt x="13" y="17"/>
                      <a:pt x="13" y="17"/>
                    </a:cubicBezTo>
                    <a:cubicBezTo>
                      <a:pt x="13" y="17"/>
                      <a:pt x="13" y="17"/>
                      <a:pt x="13" y="17"/>
                    </a:cubicBezTo>
                    <a:cubicBezTo>
                      <a:pt x="11" y="13"/>
                      <a:pt x="11" y="13"/>
                      <a:pt x="11" y="13"/>
                    </a:cubicBezTo>
                    <a:cubicBezTo>
                      <a:pt x="11" y="13"/>
                      <a:pt x="11" y="13"/>
                      <a:pt x="11" y="13"/>
                    </a:cubicBezTo>
                    <a:cubicBezTo>
                      <a:pt x="11" y="13"/>
                      <a:pt x="11" y="13"/>
                      <a:pt x="11" y="13"/>
                    </a:cubicBezTo>
                    <a:cubicBezTo>
                      <a:pt x="11" y="13"/>
                      <a:pt x="11" y="13"/>
                      <a:pt x="11" y="13"/>
                    </a:cubicBezTo>
                    <a:cubicBezTo>
                      <a:pt x="6" y="12"/>
                      <a:pt x="6" y="12"/>
                      <a:pt x="6" y="12"/>
                    </a:cubicBezTo>
                    <a:cubicBezTo>
                      <a:pt x="11" y="13"/>
                      <a:pt x="11" y="13"/>
                      <a:pt x="11" y="13"/>
                    </a:cubicBezTo>
                    <a:cubicBezTo>
                      <a:pt x="11" y="12"/>
                      <a:pt x="12" y="12"/>
                      <a:pt x="12" y="12"/>
                    </a:cubicBezTo>
                    <a:cubicBezTo>
                      <a:pt x="12" y="12"/>
                      <a:pt x="12" y="11"/>
                      <a:pt x="13" y="11"/>
                    </a:cubicBezTo>
                    <a:cubicBezTo>
                      <a:pt x="14" y="12"/>
                      <a:pt x="14" y="12"/>
                      <a:pt x="14" y="12"/>
                    </a:cubicBezTo>
                    <a:cubicBezTo>
                      <a:pt x="14" y="12"/>
                      <a:pt x="14" y="12"/>
                      <a:pt x="14" y="12"/>
                    </a:cubicBezTo>
                    <a:cubicBezTo>
                      <a:pt x="14" y="12"/>
                      <a:pt x="14" y="12"/>
                      <a:pt x="14" y="12"/>
                    </a:cubicBezTo>
                    <a:cubicBezTo>
                      <a:pt x="15" y="17"/>
                      <a:pt x="15" y="17"/>
                      <a:pt x="15" y="17"/>
                    </a:cubicBezTo>
                    <a:cubicBezTo>
                      <a:pt x="17" y="23"/>
                      <a:pt x="17" y="23"/>
                      <a:pt x="17" y="23"/>
                    </a:cubicBezTo>
                    <a:cubicBezTo>
                      <a:pt x="18" y="26"/>
                      <a:pt x="18" y="26"/>
                      <a:pt x="18" y="26"/>
                    </a:cubicBezTo>
                    <a:cubicBezTo>
                      <a:pt x="18" y="26"/>
                      <a:pt x="18" y="26"/>
                      <a:pt x="18" y="26"/>
                    </a:cubicBezTo>
                    <a:cubicBezTo>
                      <a:pt x="18" y="26"/>
                      <a:pt x="18" y="26"/>
                      <a:pt x="18" y="26"/>
                    </a:cubicBezTo>
                    <a:cubicBezTo>
                      <a:pt x="18" y="27"/>
                      <a:pt x="18" y="27"/>
                      <a:pt x="18" y="27"/>
                    </a:cubicBezTo>
                    <a:cubicBezTo>
                      <a:pt x="18" y="27"/>
                      <a:pt x="18" y="28"/>
                      <a:pt x="17" y="28"/>
                    </a:cubicBezTo>
                    <a:cubicBezTo>
                      <a:pt x="17" y="28"/>
                      <a:pt x="17" y="28"/>
                      <a:pt x="17" y="28"/>
                    </a:cubicBezTo>
                    <a:cubicBezTo>
                      <a:pt x="17" y="28"/>
                      <a:pt x="17" y="28"/>
                      <a:pt x="17" y="28"/>
                    </a:cubicBezTo>
                    <a:cubicBezTo>
                      <a:pt x="16" y="28"/>
                      <a:pt x="16" y="28"/>
                      <a:pt x="16" y="27"/>
                    </a:cubicBezTo>
                    <a:cubicBezTo>
                      <a:pt x="16" y="27"/>
                      <a:pt x="16" y="27"/>
                      <a:pt x="16" y="27"/>
                    </a:cubicBezTo>
                    <a:lnTo>
                      <a:pt x="1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4" name="Freeform 27"/>
              <p:cNvSpPr>
                <a:spLocks/>
              </p:cNvSpPr>
              <p:nvPr/>
            </p:nvSpPr>
            <p:spPr bwMode="auto">
              <a:xfrm>
                <a:off x="3519193" y="5104921"/>
                <a:ext cx="31916" cy="50001"/>
              </a:xfrm>
              <a:custGeom>
                <a:avLst/>
                <a:gdLst>
                  <a:gd name="T0" fmla="*/ 6 w 21"/>
                  <a:gd name="T1" fmla="*/ 26 h 33"/>
                  <a:gd name="T2" fmla="*/ 20 w 21"/>
                  <a:gd name="T3" fmla="*/ 21 h 33"/>
                  <a:gd name="T4" fmla="*/ 19 w 21"/>
                  <a:gd name="T5" fmla="*/ 20 h 33"/>
                  <a:gd name="T6" fmla="*/ 18 w 21"/>
                  <a:gd name="T7" fmla="*/ 17 h 33"/>
                  <a:gd name="T8" fmla="*/ 15 w 21"/>
                  <a:gd name="T9" fmla="*/ 11 h 33"/>
                  <a:gd name="T10" fmla="*/ 14 w 21"/>
                  <a:gd name="T11" fmla="*/ 7 h 33"/>
                  <a:gd name="T12" fmla="*/ 0 w 21"/>
                  <a:gd name="T13" fmla="*/ 9 h 33"/>
                  <a:gd name="T14" fmla="*/ 0 w 21"/>
                  <a:gd name="T15" fmla="*/ 12 h 33"/>
                  <a:gd name="T16" fmla="*/ 2 w 21"/>
                  <a:gd name="T17" fmla="*/ 17 h 33"/>
                  <a:gd name="T18" fmla="*/ 5 w 21"/>
                  <a:gd name="T19" fmla="*/ 23 h 33"/>
                  <a:gd name="T20" fmla="*/ 6 w 21"/>
                  <a:gd name="T21" fmla="*/ 2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3">
                    <a:moveTo>
                      <a:pt x="6" y="26"/>
                    </a:moveTo>
                    <a:cubicBezTo>
                      <a:pt x="9" y="33"/>
                      <a:pt x="21" y="30"/>
                      <a:pt x="20" y="21"/>
                    </a:cubicBezTo>
                    <a:cubicBezTo>
                      <a:pt x="19" y="21"/>
                      <a:pt x="19" y="20"/>
                      <a:pt x="19" y="20"/>
                    </a:cubicBezTo>
                    <a:cubicBezTo>
                      <a:pt x="18" y="17"/>
                      <a:pt x="18" y="17"/>
                      <a:pt x="18" y="17"/>
                    </a:cubicBezTo>
                    <a:cubicBezTo>
                      <a:pt x="15" y="11"/>
                      <a:pt x="15" y="11"/>
                      <a:pt x="15" y="11"/>
                    </a:cubicBezTo>
                    <a:cubicBezTo>
                      <a:pt x="14" y="7"/>
                      <a:pt x="14" y="7"/>
                      <a:pt x="14" y="7"/>
                    </a:cubicBezTo>
                    <a:cubicBezTo>
                      <a:pt x="11" y="0"/>
                      <a:pt x="0" y="1"/>
                      <a:pt x="0" y="9"/>
                    </a:cubicBezTo>
                    <a:cubicBezTo>
                      <a:pt x="0" y="10"/>
                      <a:pt x="0" y="11"/>
                      <a:pt x="0" y="12"/>
                    </a:cubicBezTo>
                    <a:cubicBezTo>
                      <a:pt x="2" y="17"/>
                      <a:pt x="2" y="17"/>
                      <a:pt x="2" y="17"/>
                    </a:cubicBezTo>
                    <a:cubicBezTo>
                      <a:pt x="5" y="23"/>
                      <a:pt x="5" y="23"/>
                      <a:pt x="5" y="23"/>
                    </a:cubicBezTo>
                    <a:lnTo>
                      <a:pt x="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5" name="Freeform 28"/>
              <p:cNvSpPr>
                <a:spLocks/>
              </p:cNvSpPr>
              <p:nvPr/>
            </p:nvSpPr>
            <p:spPr bwMode="auto">
              <a:xfrm>
                <a:off x="3509619" y="5098537"/>
                <a:ext cx="48937" cy="60640"/>
              </a:xfrm>
              <a:custGeom>
                <a:avLst/>
                <a:gdLst>
                  <a:gd name="T0" fmla="*/ 12 w 32"/>
                  <a:gd name="T1" fmla="*/ 30 h 40"/>
                  <a:gd name="T2" fmla="*/ 6 w 32"/>
                  <a:gd name="T3" fmla="*/ 32 h 40"/>
                  <a:gd name="T4" fmla="*/ 11 w 32"/>
                  <a:gd name="T5" fmla="*/ 38 h 40"/>
                  <a:gd name="T6" fmla="*/ 18 w 32"/>
                  <a:gd name="T7" fmla="*/ 40 h 40"/>
                  <a:gd name="T8" fmla="*/ 27 w 32"/>
                  <a:gd name="T9" fmla="*/ 36 h 40"/>
                  <a:gd name="T10" fmla="*/ 32 w 32"/>
                  <a:gd name="T11" fmla="*/ 27 h 40"/>
                  <a:gd name="T12" fmla="*/ 31 w 32"/>
                  <a:gd name="T13" fmla="*/ 24 h 40"/>
                  <a:gd name="T14" fmla="*/ 31 w 32"/>
                  <a:gd name="T15" fmla="*/ 24 h 40"/>
                  <a:gd name="T16" fmla="*/ 31 w 32"/>
                  <a:gd name="T17" fmla="*/ 24 h 40"/>
                  <a:gd name="T18" fmla="*/ 31 w 32"/>
                  <a:gd name="T19" fmla="*/ 22 h 40"/>
                  <a:gd name="T20" fmla="*/ 31 w 32"/>
                  <a:gd name="T21" fmla="*/ 22 h 40"/>
                  <a:gd name="T22" fmla="*/ 29 w 32"/>
                  <a:gd name="T23" fmla="*/ 19 h 40"/>
                  <a:gd name="T24" fmla="*/ 27 w 32"/>
                  <a:gd name="T25" fmla="*/ 13 h 40"/>
                  <a:gd name="T26" fmla="*/ 27 w 32"/>
                  <a:gd name="T27" fmla="*/ 13 h 40"/>
                  <a:gd name="T28" fmla="*/ 25 w 32"/>
                  <a:gd name="T29" fmla="*/ 8 h 40"/>
                  <a:gd name="T30" fmla="*/ 20 w 32"/>
                  <a:gd name="T31" fmla="*/ 11 h 40"/>
                  <a:gd name="T32" fmla="*/ 25 w 32"/>
                  <a:gd name="T33" fmla="*/ 9 h 40"/>
                  <a:gd name="T34" fmla="*/ 20 w 32"/>
                  <a:gd name="T35" fmla="*/ 2 h 40"/>
                  <a:gd name="T36" fmla="*/ 13 w 32"/>
                  <a:gd name="T37" fmla="*/ 0 h 40"/>
                  <a:gd name="T38" fmla="*/ 4 w 32"/>
                  <a:gd name="T39" fmla="*/ 4 h 40"/>
                  <a:gd name="T40" fmla="*/ 0 w 32"/>
                  <a:gd name="T41" fmla="*/ 13 h 40"/>
                  <a:gd name="T42" fmla="*/ 0 w 32"/>
                  <a:gd name="T43" fmla="*/ 13 h 40"/>
                  <a:gd name="T44" fmla="*/ 0 w 32"/>
                  <a:gd name="T45" fmla="*/ 13 h 40"/>
                  <a:gd name="T46" fmla="*/ 0 w 32"/>
                  <a:gd name="T47" fmla="*/ 13 h 40"/>
                  <a:gd name="T48" fmla="*/ 1 w 32"/>
                  <a:gd name="T49" fmla="*/ 18 h 40"/>
                  <a:gd name="T50" fmla="*/ 1 w 32"/>
                  <a:gd name="T51" fmla="*/ 18 h 40"/>
                  <a:gd name="T52" fmla="*/ 3 w 32"/>
                  <a:gd name="T53" fmla="*/ 23 h 40"/>
                  <a:gd name="T54" fmla="*/ 5 w 32"/>
                  <a:gd name="T55" fmla="*/ 29 h 40"/>
                  <a:gd name="T56" fmla="*/ 6 w 32"/>
                  <a:gd name="T57" fmla="*/ 32 h 40"/>
                  <a:gd name="T58" fmla="*/ 6 w 32"/>
                  <a:gd name="T59" fmla="*/ 32 h 40"/>
                  <a:gd name="T60" fmla="*/ 12 w 32"/>
                  <a:gd name="T61" fmla="*/ 30 h 40"/>
                  <a:gd name="T62" fmla="*/ 17 w 32"/>
                  <a:gd name="T63" fmla="*/ 27 h 40"/>
                  <a:gd name="T64" fmla="*/ 16 w 32"/>
                  <a:gd name="T65" fmla="*/ 24 h 40"/>
                  <a:gd name="T66" fmla="*/ 16 w 32"/>
                  <a:gd name="T67" fmla="*/ 24 h 40"/>
                  <a:gd name="T68" fmla="*/ 14 w 32"/>
                  <a:gd name="T69" fmla="*/ 19 h 40"/>
                  <a:gd name="T70" fmla="*/ 14 w 32"/>
                  <a:gd name="T71" fmla="*/ 19 h 40"/>
                  <a:gd name="T72" fmla="*/ 12 w 32"/>
                  <a:gd name="T73" fmla="*/ 14 h 40"/>
                  <a:gd name="T74" fmla="*/ 12 w 32"/>
                  <a:gd name="T75" fmla="*/ 14 h 40"/>
                  <a:gd name="T76" fmla="*/ 12 w 32"/>
                  <a:gd name="T77" fmla="*/ 13 h 40"/>
                  <a:gd name="T78" fmla="*/ 12 w 32"/>
                  <a:gd name="T79" fmla="*/ 13 h 40"/>
                  <a:gd name="T80" fmla="*/ 6 w 32"/>
                  <a:gd name="T81" fmla="*/ 13 h 40"/>
                  <a:gd name="T82" fmla="*/ 12 w 32"/>
                  <a:gd name="T83" fmla="*/ 13 h 40"/>
                  <a:gd name="T84" fmla="*/ 12 w 32"/>
                  <a:gd name="T85" fmla="*/ 12 h 40"/>
                  <a:gd name="T86" fmla="*/ 13 w 32"/>
                  <a:gd name="T87" fmla="*/ 12 h 40"/>
                  <a:gd name="T88" fmla="*/ 14 w 32"/>
                  <a:gd name="T89" fmla="*/ 12 h 40"/>
                  <a:gd name="T90" fmla="*/ 14 w 32"/>
                  <a:gd name="T91" fmla="*/ 13 h 40"/>
                  <a:gd name="T92" fmla="*/ 14 w 32"/>
                  <a:gd name="T93" fmla="*/ 13 h 40"/>
                  <a:gd name="T94" fmla="*/ 16 w 32"/>
                  <a:gd name="T95" fmla="*/ 18 h 40"/>
                  <a:gd name="T96" fmla="*/ 18 w 32"/>
                  <a:gd name="T97" fmla="*/ 23 h 40"/>
                  <a:gd name="T98" fmla="*/ 20 w 32"/>
                  <a:gd name="T99" fmla="*/ 26 h 40"/>
                  <a:gd name="T100" fmla="*/ 25 w 32"/>
                  <a:gd name="T101" fmla="*/ 24 h 40"/>
                  <a:gd name="T102" fmla="*/ 20 w 32"/>
                  <a:gd name="T103" fmla="*/ 26 h 40"/>
                  <a:gd name="T104" fmla="*/ 20 w 32"/>
                  <a:gd name="T105" fmla="*/ 26 h 40"/>
                  <a:gd name="T106" fmla="*/ 26 w 32"/>
                  <a:gd name="T107" fmla="*/ 25 h 40"/>
                  <a:gd name="T108" fmla="*/ 20 w 32"/>
                  <a:gd name="T109" fmla="*/ 26 h 40"/>
                  <a:gd name="T110" fmla="*/ 20 w 32"/>
                  <a:gd name="T111" fmla="*/ 27 h 40"/>
                  <a:gd name="T112" fmla="*/ 19 w 32"/>
                  <a:gd name="T113" fmla="*/ 28 h 40"/>
                  <a:gd name="T114" fmla="*/ 18 w 32"/>
                  <a:gd name="T115" fmla="*/ 28 h 40"/>
                  <a:gd name="T116" fmla="*/ 18 w 32"/>
                  <a:gd name="T117" fmla="*/ 28 h 40"/>
                  <a:gd name="T118" fmla="*/ 17 w 32"/>
                  <a:gd name="T119" fmla="*/ 27 h 40"/>
                  <a:gd name="T120" fmla="*/ 17 w 32"/>
                  <a:gd name="T121" fmla="*/ 27 h 40"/>
                  <a:gd name="T122" fmla="*/ 12 w 32"/>
                  <a:gd name="T123"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40">
                    <a:moveTo>
                      <a:pt x="12" y="30"/>
                    </a:moveTo>
                    <a:cubicBezTo>
                      <a:pt x="6" y="32"/>
                      <a:pt x="6" y="32"/>
                      <a:pt x="6" y="32"/>
                    </a:cubicBezTo>
                    <a:cubicBezTo>
                      <a:pt x="8" y="34"/>
                      <a:pt x="9" y="36"/>
                      <a:pt x="11" y="38"/>
                    </a:cubicBezTo>
                    <a:cubicBezTo>
                      <a:pt x="14" y="39"/>
                      <a:pt x="16" y="40"/>
                      <a:pt x="18" y="40"/>
                    </a:cubicBezTo>
                    <a:cubicBezTo>
                      <a:pt x="22" y="40"/>
                      <a:pt x="25" y="39"/>
                      <a:pt x="27" y="36"/>
                    </a:cubicBezTo>
                    <a:cubicBezTo>
                      <a:pt x="30" y="34"/>
                      <a:pt x="32" y="31"/>
                      <a:pt x="32" y="27"/>
                    </a:cubicBezTo>
                    <a:cubicBezTo>
                      <a:pt x="32" y="26"/>
                      <a:pt x="31" y="25"/>
                      <a:pt x="31" y="24"/>
                    </a:cubicBezTo>
                    <a:cubicBezTo>
                      <a:pt x="31" y="24"/>
                      <a:pt x="31" y="24"/>
                      <a:pt x="31" y="24"/>
                    </a:cubicBezTo>
                    <a:cubicBezTo>
                      <a:pt x="31" y="24"/>
                      <a:pt x="31" y="24"/>
                      <a:pt x="31" y="24"/>
                    </a:cubicBezTo>
                    <a:cubicBezTo>
                      <a:pt x="31" y="23"/>
                      <a:pt x="31" y="22"/>
                      <a:pt x="31" y="22"/>
                    </a:cubicBezTo>
                    <a:cubicBezTo>
                      <a:pt x="31" y="22"/>
                      <a:pt x="31" y="22"/>
                      <a:pt x="31" y="22"/>
                    </a:cubicBezTo>
                    <a:cubicBezTo>
                      <a:pt x="29" y="19"/>
                      <a:pt x="29" y="19"/>
                      <a:pt x="29" y="19"/>
                    </a:cubicBezTo>
                    <a:cubicBezTo>
                      <a:pt x="27" y="13"/>
                      <a:pt x="27" y="13"/>
                      <a:pt x="27" y="13"/>
                    </a:cubicBezTo>
                    <a:cubicBezTo>
                      <a:pt x="27" y="13"/>
                      <a:pt x="27" y="13"/>
                      <a:pt x="27" y="13"/>
                    </a:cubicBezTo>
                    <a:cubicBezTo>
                      <a:pt x="25" y="8"/>
                      <a:pt x="25" y="8"/>
                      <a:pt x="25" y="8"/>
                    </a:cubicBezTo>
                    <a:cubicBezTo>
                      <a:pt x="20" y="11"/>
                      <a:pt x="20" y="11"/>
                      <a:pt x="20" y="11"/>
                    </a:cubicBezTo>
                    <a:cubicBezTo>
                      <a:pt x="25" y="9"/>
                      <a:pt x="25" y="9"/>
                      <a:pt x="25" y="9"/>
                    </a:cubicBezTo>
                    <a:cubicBezTo>
                      <a:pt x="24" y="6"/>
                      <a:pt x="22" y="4"/>
                      <a:pt x="20" y="2"/>
                    </a:cubicBezTo>
                    <a:cubicBezTo>
                      <a:pt x="18" y="1"/>
                      <a:pt x="15" y="0"/>
                      <a:pt x="13" y="0"/>
                    </a:cubicBezTo>
                    <a:cubicBezTo>
                      <a:pt x="10" y="0"/>
                      <a:pt x="7" y="1"/>
                      <a:pt x="4" y="4"/>
                    </a:cubicBezTo>
                    <a:cubicBezTo>
                      <a:pt x="2" y="6"/>
                      <a:pt x="0" y="9"/>
                      <a:pt x="0" y="13"/>
                    </a:cubicBezTo>
                    <a:cubicBezTo>
                      <a:pt x="0" y="13"/>
                      <a:pt x="0" y="13"/>
                      <a:pt x="0" y="13"/>
                    </a:cubicBezTo>
                    <a:cubicBezTo>
                      <a:pt x="0" y="13"/>
                      <a:pt x="0" y="13"/>
                      <a:pt x="0" y="13"/>
                    </a:cubicBezTo>
                    <a:cubicBezTo>
                      <a:pt x="0" y="13"/>
                      <a:pt x="0" y="13"/>
                      <a:pt x="0" y="13"/>
                    </a:cubicBezTo>
                    <a:cubicBezTo>
                      <a:pt x="0" y="15"/>
                      <a:pt x="0" y="17"/>
                      <a:pt x="1" y="18"/>
                    </a:cubicBezTo>
                    <a:cubicBezTo>
                      <a:pt x="1" y="18"/>
                      <a:pt x="1" y="18"/>
                      <a:pt x="1" y="18"/>
                    </a:cubicBezTo>
                    <a:cubicBezTo>
                      <a:pt x="3" y="23"/>
                      <a:pt x="3" y="23"/>
                      <a:pt x="3" y="23"/>
                    </a:cubicBezTo>
                    <a:cubicBezTo>
                      <a:pt x="5" y="29"/>
                      <a:pt x="5" y="29"/>
                      <a:pt x="5" y="29"/>
                    </a:cubicBezTo>
                    <a:cubicBezTo>
                      <a:pt x="6" y="32"/>
                      <a:pt x="6" y="32"/>
                      <a:pt x="6" y="32"/>
                    </a:cubicBezTo>
                    <a:cubicBezTo>
                      <a:pt x="6" y="32"/>
                      <a:pt x="6" y="32"/>
                      <a:pt x="6" y="32"/>
                    </a:cubicBezTo>
                    <a:cubicBezTo>
                      <a:pt x="12" y="30"/>
                      <a:pt x="12" y="30"/>
                      <a:pt x="12" y="30"/>
                    </a:cubicBezTo>
                    <a:cubicBezTo>
                      <a:pt x="17" y="27"/>
                      <a:pt x="17" y="27"/>
                      <a:pt x="17" y="27"/>
                    </a:cubicBezTo>
                    <a:cubicBezTo>
                      <a:pt x="16" y="24"/>
                      <a:pt x="16" y="24"/>
                      <a:pt x="16" y="24"/>
                    </a:cubicBezTo>
                    <a:cubicBezTo>
                      <a:pt x="16" y="24"/>
                      <a:pt x="16" y="24"/>
                      <a:pt x="16" y="24"/>
                    </a:cubicBezTo>
                    <a:cubicBezTo>
                      <a:pt x="14" y="19"/>
                      <a:pt x="14" y="19"/>
                      <a:pt x="14" y="19"/>
                    </a:cubicBezTo>
                    <a:cubicBezTo>
                      <a:pt x="14" y="19"/>
                      <a:pt x="14" y="19"/>
                      <a:pt x="14" y="19"/>
                    </a:cubicBezTo>
                    <a:cubicBezTo>
                      <a:pt x="12" y="14"/>
                      <a:pt x="12" y="14"/>
                      <a:pt x="12" y="14"/>
                    </a:cubicBezTo>
                    <a:cubicBezTo>
                      <a:pt x="12" y="14"/>
                      <a:pt x="12" y="14"/>
                      <a:pt x="12" y="14"/>
                    </a:cubicBezTo>
                    <a:cubicBezTo>
                      <a:pt x="12" y="13"/>
                      <a:pt x="12" y="13"/>
                      <a:pt x="12" y="13"/>
                    </a:cubicBezTo>
                    <a:cubicBezTo>
                      <a:pt x="12" y="13"/>
                      <a:pt x="12" y="13"/>
                      <a:pt x="12" y="13"/>
                    </a:cubicBezTo>
                    <a:cubicBezTo>
                      <a:pt x="6" y="13"/>
                      <a:pt x="6" y="13"/>
                      <a:pt x="6" y="13"/>
                    </a:cubicBezTo>
                    <a:cubicBezTo>
                      <a:pt x="12" y="13"/>
                      <a:pt x="12" y="13"/>
                      <a:pt x="12" y="13"/>
                    </a:cubicBezTo>
                    <a:cubicBezTo>
                      <a:pt x="12" y="13"/>
                      <a:pt x="12" y="13"/>
                      <a:pt x="12" y="12"/>
                    </a:cubicBezTo>
                    <a:cubicBezTo>
                      <a:pt x="12" y="12"/>
                      <a:pt x="13" y="12"/>
                      <a:pt x="13" y="12"/>
                    </a:cubicBezTo>
                    <a:cubicBezTo>
                      <a:pt x="14" y="12"/>
                      <a:pt x="14" y="12"/>
                      <a:pt x="14" y="12"/>
                    </a:cubicBezTo>
                    <a:cubicBezTo>
                      <a:pt x="14" y="12"/>
                      <a:pt x="14" y="12"/>
                      <a:pt x="14" y="13"/>
                    </a:cubicBezTo>
                    <a:cubicBezTo>
                      <a:pt x="14" y="13"/>
                      <a:pt x="14" y="13"/>
                      <a:pt x="14" y="13"/>
                    </a:cubicBezTo>
                    <a:cubicBezTo>
                      <a:pt x="16" y="18"/>
                      <a:pt x="16" y="18"/>
                      <a:pt x="16" y="18"/>
                    </a:cubicBezTo>
                    <a:cubicBezTo>
                      <a:pt x="18" y="23"/>
                      <a:pt x="18" y="23"/>
                      <a:pt x="18" y="23"/>
                    </a:cubicBezTo>
                    <a:cubicBezTo>
                      <a:pt x="20" y="26"/>
                      <a:pt x="20" y="26"/>
                      <a:pt x="20" y="26"/>
                    </a:cubicBezTo>
                    <a:cubicBezTo>
                      <a:pt x="25" y="24"/>
                      <a:pt x="25" y="24"/>
                      <a:pt x="25" y="24"/>
                    </a:cubicBezTo>
                    <a:cubicBezTo>
                      <a:pt x="20" y="26"/>
                      <a:pt x="20" y="26"/>
                      <a:pt x="20" y="26"/>
                    </a:cubicBezTo>
                    <a:cubicBezTo>
                      <a:pt x="20" y="26"/>
                      <a:pt x="20" y="26"/>
                      <a:pt x="20" y="26"/>
                    </a:cubicBezTo>
                    <a:cubicBezTo>
                      <a:pt x="26" y="25"/>
                      <a:pt x="26" y="25"/>
                      <a:pt x="26" y="25"/>
                    </a:cubicBezTo>
                    <a:cubicBezTo>
                      <a:pt x="20" y="26"/>
                      <a:pt x="20" y="26"/>
                      <a:pt x="20" y="26"/>
                    </a:cubicBezTo>
                    <a:cubicBezTo>
                      <a:pt x="20" y="27"/>
                      <a:pt x="20" y="27"/>
                      <a:pt x="20" y="27"/>
                    </a:cubicBezTo>
                    <a:cubicBezTo>
                      <a:pt x="20" y="27"/>
                      <a:pt x="20" y="27"/>
                      <a:pt x="19" y="28"/>
                    </a:cubicBezTo>
                    <a:cubicBezTo>
                      <a:pt x="19" y="28"/>
                      <a:pt x="19" y="28"/>
                      <a:pt x="18" y="28"/>
                    </a:cubicBezTo>
                    <a:cubicBezTo>
                      <a:pt x="18" y="28"/>
                      <a:pt x="18" y="28"/>
                      <a:pt x="18" y="28"/>
                    </a:cubicBezTo>
                    <a:cubicBezTo>
                      <a:pt x="18" y="28"/>
                      <a:pt x="17" y="28"/>
                      <a:pt x="17" y="27"/>
                    </a:cubicBezTo>
                    <a:cubicBezTo>
                      <a:pt x="17" y="27"/>
                      <a:pt x="17" y="27"/>
                      <a:pt x="17" y="27"/>
                    </a:cubicBezTo>
                    <a:lnTo>
                      <a:pt x="12"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6" name="Freeform 29"/>
              <p:cNvSpPr>
                <a:spLocks/>
              </p:cNvSpPr>
              <p:nvPr/>
            </p:nvSpPr>
            <p:spPr bwMode="auto">
              <a:xfrm>
                <a:off x="3573450" y="5220881"/>
                <a:ext cx="35107" cy="50001"/>
              </a:xfrm>
              <a:custGeom>
                <a:avLst/>
                <a:gdLst>
                  <a:gd name="T0" fmla="*/ 9 w 23"/>
                  <a:gd name="T1" fmla="*/ 27 h 33"/>
                  <a:gd name="T2" fmla="*/ 22 w 23"/>
                  <a:gd name="T3" fmla="*/ 22 h 33"/>
                  <a:gd name="T4" fmla="*/ 21 w 23"/>
                  <a:gd name="T5" fmla="*/ 19 h 33"/>
                  <a:gd name="T6" fmla="*/ 20 w 23"/>
                  <a:gd name="T7" fmla="*/ 18 h 33"/>
                  <a:gd name="T8" fmla="*/ 17 w 23"/>
                  <a:gd name="T9" fmla="*/ 12 h 33"/>
                  <a:gd name="T10" fmla="*/ 14 w 23"/>
                  <a:gd name="T11" fmla="*/ 7 h 33"/>
                  <a:gd name="T12" fmla="*/ 1 w 23"/>
                  <a:gd name="T13" fmla="*/ 12 h 33"/>
                  <a:gd name="T14" fmla="*/ 2 w 23"/>
                  <a:gd name="T15" fmla="*/ 14 h 33"/>
                  <a:gd name="T16" fmla="*/ 5 w 23"/>
                  <a:gd name="T17" fmla="*/ 19 h 33"/>
                  <a:gd name="T18" fmla="*/ 8 w 23"/>
                  <a:gd name="T19" fmla="*/ 25 h 33"/>
                  <a:gd name="T20" fmla="*/ 9 w 23"/>
                  <a:gd name="T21"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3">
                    <a:moveTo>
                      <a:pt x="9" y="27"/>
                    </a:moveTo>
                    <a:cubicBezTo>
                      <a:pt x="12" y="33"/>
                      <a:pt x="23" y="30"/>
                      <a:pt x="22" y="22"/>
                    </a:cubicBezTo>
                    <a:cubicBezTo>
                      <a:pt x="22" y="21"/>
                      <a:pt x="22" y="20"/>
                      <a:pt x="21" y="19"/>
                    </a:cubicBezTo>
                    <a:cubicBezTo>
                      <a:pt x="20" y="18"/>
                      <a:pt x="20" y="18"/>
                      <a:pt x="20" y="18"/>
                    </a:cubicBezTo>
                    <a:cubicBezTo>
                      <a:pt x="17" y="12"/>
                      <a:pt x="17" y="12"/>
                      <a:pt x="17" y="12"/>
                    </a:cubicBezTo>
                    <a:cubicBezTo>
                      <a:pt x="14" y="7"/>
                      <a:pt x="14" y="7"/>
                      <a:pt x="14" y="7"/>
                    </a:cubicBezTo>
                    <a:cubicBezTo>
                      <a:pt x="10" y="0"/>
                      <a:pt x="0" y="4"/>
                      <a:pt x="1" y="12"/>
                    </a:cubicBezTo>
                    <a:cubicBezTo>
                      <a:pt x="1" y="13"/>
                      <a:pt x="1" y="13"/>
                      <a:pt x="2" y="14"/>
                    </a:cubicBezTo>
                    <a:cubicBezTo>
                      <a:pt x="5" y="19"/>
                      <a:pt x="5" y="19"/>
                      <a:pt x="5" y="19"/>
                    </a:cubicBezTo>
                    <a:cubicBezTo>
                      <a:pt x="8" y="25"/>
                      <a:pt x="8" y="25"/>
                      <a:pt x="8" y="25"/>
                    </a:cubicBezTo>
                    <a:lnTo>
                      <a:pt x="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7" name="Freeform 30"/>
              <p:cNvSpPr>
                <a:spLocks/>
              </p:cNvSpPr>
              <p:nvPr/>
            </p:nvSpPr>
            <p:spPr bwMode="auto">
              <a:xfrm>
                <a:off x="3566003" y="5216625"/>
                <a:ext cx="50001" cy="58512"/>
              </a:xfrm>
              <a:custGeom>
                <a:avLst/>
                <a:gdLst>
                  <a:gd name="T0" fmla="*/ 14 w 33"/>
                  <a:gd name="T1" fmla="*/ 30 h 39"/>
                  <a:gd name="T2" fmla="*/ 9 w 33"/>
                  <a:gd name="T3" fmla="*/ 32 h 39"/>
                  <a:gd name="T4" fmla="*/ 14 w 33"/>
                  <a:gd name="T5" fmla="*/ 37 h 39"/>
                  <a:gd name="T6" fmla="*/ 20 w 33"/>
                  <a:gd name="T7" fmla="*/ 39 h 39"/>
                  <a:gd name="T8" fmla="*/ 29 w 33"/>
                  <a:gd name="T9" fmla="*/ 36 h 39"/>
                  <a:gd name="T10" fmla="*/ 33 w 33"/>
                  <a:gd name="T11" fmla="*/ 26 h 39"/>
                  <a:gd name="T12" fmla="*/ 33 w 33"/>
                  <a:gd name="T13" fmla="*/ 25 h 39"/>
                  <a:gd name="T14" fmla="*/ 33 w 33"/>
                  <a:gd name="T15" fmla="*/ 25 h 39"/>
                  <a:gd name="T16" fmla="*/ 33 w 33"/>
                  <a:gd name="T17" fmla="*/ 25 h 39"/>
                  <a:gd name="T18" fmla="*/ 31 w 33"/>
                  <a:gd name="T19" fmla="*/ 20 h 39"/>
                  <a:gd name="T20" fmla="*/ 31 w 33"/>
                  <a:gd name="T21" fmla="*/ 20 h 39"/>
                  <a:gd name="T22" fmla="*/ 30 w 33"/>
                  <a:gd name="T23" fmla="*/ 18 h 39"/>
                  <a:gd name="T24" fmla="*/ 30 w 33"/>
                  <a:gd name="T25" fmla="*/ 18 h 39"/>
                  <a:gd name="T26" fmla="*/ 27 w 33"/>
                  <a:gd name="T27" fmla="*/ 12 h 39"/>
                  <a:gd name="T28" fmla="*/ 27 w 33"/>
                  <a:gd name="T29" fmla="*/ 13 h 39"/>
                  <a:gd name="T30" fmla="*/ 24 w 33"/>
                  <a:gd name="T31" fmla="*/ 7 h 39"/>
                  <a:gd name="T32" fmla="*/ 24 w 33"/>
                  <a:gd name="T33" fmla="*/ 7 h 39"/>
                  <a:gd name="T34" fmla="*/ 19 w 33"/>
                  <a:gd name="T35" fmla="*/ 2 h 39"/>
                  <a:gd name="T36" fmla="*/ 13 w 33"/>
                  <a:gd name="T37" fmla="*/ 0 h 39"/>
                  <a:gd name="T38" fmla="*/ 4 w 33"/>
                  <a:gd name="T39" fmla="*/ 4 h 39"/>
                  <a:gd name="T40" fmla="*/ 0 w 33"/>
                  <a:gd name="T41" fmla="*/ 13 h 39"/>
                  <a:gd name="T42" fmla="*/ 0 w 33"/>
                  <a:gd name="T43" fmla="*/ 16 h 39"/>
                  <a:gd name="T44" fmla="*/ 0 w 33"/>
                  <a:gd name="T45" fmla="*/ 16 h 39"/>
                  <a:gd name="T46" fmla="*/ 0 w 33"/>
                  <a:gd name="T47" fmla="*/ 16 h 39"/>
                  <a:gd name="T48" fmla="*/ 2 w 33"/>
                  <a:gd name="T49" fmla="*/ 20 h 39"/>
                  <a:gd name="T50" fmla="*/ 2 w 33"/>
                  <a:gd name="T51" fmla="*/ 20 h 39"/>
                  <a:gd name="T52" fmla="*/ 5 w 33"/>
                  <a:gd name="T53" fmla="*/ 25 h 39"/>
                  <a:gd name="T54" fmla="*/ 8 w 33"/>
                  <a:gd name="T55" fmla="*/ 31 h 39"/>
                  <a:gd name="T56" fmla="*/ 9 w 33"/>
                  <a:gd name="T57" fmla="*/ 32 h 39"/>
                  <a:gd name="T58" fmla="*/ 9 w 33"/>
                  <a:gd name="T59" fmla="*/ 32 h 39"/>
                  <a:gd name="T60" fmla="*/ 14 w 33"/>
                  <a:gd name="T61" fmla="*/ 30 h 39"/>
                  <a:gd name="T62" fmla="*/ 19 w 33"/>
                  <a:gd name="T63" fmla="*/ 27 h 39"/>
                  <a:gd name="T64" fmla="*/ 18 w 33"/>
                  <a:gd name="T65" fmla="*/ 25 h 39"/>
                  <a:gd name="T66" fmla="*/ 18 w 33"/>
                  <a:gd name="T67" fmla="*/ 25 h 39"/>
                  <a:gd name="T68" fmla="*/ 15 w 33"/>
                  <a:gd name="T69" fmla="*/ 20 h 39"/>
                  <a:gd name="T70" fmla="*/ 15 w 33"/>
                  <a:gd name="T71" fmla="*/ 20 h 39"/>
                  <a:gd name="T72" fmla="*/ 12 w 33"/>
                  <a:gd name="T73" fmla="*/ 14 h 39"/>
                  <a:gd name="T74" fmla="*/ 12 w 33"/>
                  <a:gd name="T75" fmla="*/ 14 h 39"/>
                  <a:gd name="T76" fmla="*/ 12 w 33"/>
                  <a:gd name="T77" fmla="*/ 13 h 39"/>
                  <a:gd name="T78" fmla="*/ 6 w 33"/>
                  <a:gd name="T79" fmla="*/ 15 h 39"/>
                  <a:gd name="T80" fmla="*/ 12 w 33"/>
                  <a:gd name="T81" fmla="*/ 14 h 39"/>
                  <a:gd name="T82" fmla="*/ 12 w 33"/>
                  <a:gd name="T83" fmla="*/ 13 h 39"/>
                  <a:gd name="T84" fmla="*/ 12 w 33"/>
                  <a:gd name="T85" fmla="*/ 13 h 39"/>
                  <a:gd name="T86" fmla="*/ 13 w 33"/>
                  <a:gd name="T87" fmla="*/ 12 h 39"/>
                  <a:gd name="T88" fmla="*/ 14 w 33"/>
                  <a:gd name="T89" fmla="*/ 12 h 39"/>
                  <a:gd name="T90" fmla="*/ 14 w 33"/>
                  <a:gd name="T91" fmla="*/ 13 h 39"/>
                  <a:gd name="T92" fmla="*/ 14 w 33"/>
                  <a:gd name="T93" fmla="*/ 13 h 39"/>
                  <a:gd name="T94" fmla="*/ 17 w 33"/>
                  <a:gd name="T95" fmla="*/ 18 h 39"/>
                  <a:gd name="T96" fmla="*/ 20 w 33"/>
                  <a:gd name="T97" fmla="*/ 24 h 39"/>
                  <a:gd name="T98" fmla="*/ 20 w 33"/>
                  <a:gd name="T99" fmla="*/ 24 h 39"/>
                  <a:gd name="T100" fmla="*/ 21 w 33"/>
                  <a:gd name="T101" fmla="*/ 25 h 39"/>
                  <a:gd name="T102" fmla="*/ 21 w 33"/>
                  <a:gd name="T103" fmla="*/ 25 h 39"/>
                  <a:gd name="T104" fmla="*/ 21 w 33"/>
                  <a:gd name="T105" fmla="*/ 26 h 39"/>
                  <a:gd name="T106" fmla="*/ 27 w 33"/>
                  <a:gd name="T107" fmla="*/ 25 h 39"/>
                  <a:gd name="T108" fmla="*/ 21 w 33"/>
                  <a:gd name="T109" fmla="*/ 26 h 39"/>
                  <a:gd name="T110" fmla="*/ 21 w 33"/>
                  <a:gd name="T111" fmla="*/ 26 h 39"/>
                  <a:gd name="T112" fmla="*/ 21 w 33"/>
                  <a:gd name="T113" fmla="*/ 27 h 39"/>
                  <a:gd name="T114" fmla="*/ 20 w 33"/>
                  <a:gd name="T115" fmla="*/ 27 h 39"/>
                  <a:gd name="T116" fmla="*/ 19 w 33"/>
                  <a:gd name="T117" fmla="*/ 27 h 39"/>
                  <a:gd name="T118" fmla="*/ 19 w 33"/>
                  <a:gd name="T119" fmla="*/ 27 h 39"/>
                  <a:gd name="T120" fmla="*/ 19 w 33"/>
                  <a:gd name="T121" fmla="*/ 27 h 39"/>
                  <a:gd name="T122" fmla="*/ 19 w 33"/>
                  <a:gd name="T123" fmla="*/ 27 h 39"/>
                  <a:gd name="T124" fmla="*/ 14 w 33"/>
                  <a:gd name="T125"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 h="39">
                    <a:moveTo>
                      <a:pt x="14" y="30"/>
                    </a:moveTo>
                    <a:cubicBezTo>
                      <a:pt x="9" y="32"/>
                      <a:pt x="9" y="32"/>
                      <a:pt x="9" y="32"/>
                    </a:cubicBezTo>
                    <a:cubicBezTo>
                      <a:pt x="10" y="35"/>
                      <a:pt x="12" y="36"/>
                      <a:pt x="14" y="37"/>
                    </a:cubicBezTo>
                    <a:cubicBezTo>
                      <a:pt x="16" y="39"/>
                      <a:pt x="18" y="39"/>
                      <a:pt x="20" y="39"/>
                    </a:cubicBezTo>
                    <a:cubicBezTo>
                      <a:pt x="23" y="39"/>
                      <a:pt x="26" y="38"/>
                      <a:pt x="29" y="36"/>
                    </a:cubicBezTo>
                    <a:cubicBezTo>
                      <a:pt x="31" y="33"/>
                      <a:pt x="33" y="30"/>
                      <a:pt x="33" y="26"/>
                    </a:cubicBezTo>
                    <a:cubicBezTo>
                      <a:pt x="33" y="25"/>
                      <a:pt x="33" y="25"/>
                      <a:pt x="33" y="25"/>
                    </a:cubicBezTo>
                    <a:cubicBezTo>
                      <a:pt x="33" y="25"/>
                      <a:pt x="33" y="25"/>
                      <a:pt x="33" y="25"/>
                    </a:cubicBezTo>
                    <a:cubicBezTo>
                      <a:pt x="33" y="25"/>
                      <a:pt x="33" y="25"/>
                      <a:pt x="33" y="25"/>
                    </a:cubicBezTo>
                    <a:cubicBezTo>
                      <a:pt x="33" y="23"/>
                      <a:pt x="32" y="21"/>
                      <a:pt x="31" y="20"/>
                    </a:cubicBezTo>
                    <a:cubicBezTo>
                      <a:pt x="31" y="20"/>
                      <a:pt x="31" y="20"/>
                      <a:pt x="31" y="20"/>
                    </a:cubicBezTo>
                    <a:cubicBezTo>
                      <a:pt x="30" y="18"/>
                      <a:pt x="30" y="18"/>
                      <a:pt x="30" y="18"/>
                    </a:cubicBezTo>
                    <a:cubicBezTo>
                      <a:pt x="30" y="18"/>
                      <a:pt x="30" y="18"/>
                      <a:pt x="30" y="18"/>
                    </a:cubicBezTo>
                    <a:cubicBezTo>
                      <a:pt x="27" y="12"/>
                      <a:pt x="27" y="12"/>
                      <a:pt x="27" y="12"/>
                    </a:cubicBezTo>
                    <a:cubicBezTo>
                      <a:pt x="27" y="13"/>
                      <a:pt x="27" y="13"/>
                      <a:pt x="27" y="13"/>
                    </a:cubicBezTo>
                    <a:cubicBezTo>
                      <a:pt x="24" y="7"/>
                      <a:pt x="24" y="7"/>
                      <a:pt x="24" y="7"/>
                    </a:cubicBezTo>
                    <a:cubicBezTo>
                      <a:pt x="24" y="7"/>
                      <a:pt x="24" y="7"/>
                      <a:pt x="24" y="7"/>
                    </a:cubicBezTo>
                    <a:cubicBezTo>
                      <a:pt x="23" y="5"/>
                      <a:pt x="21" y="3"/>
                      <a:pt x="19" y="2"/>
                    </a:cubicBezTo>
                    <a:cubicBezTo>
                      <a:pt x="17" y="1"/>
                      <a:pt x="15" y="0"/>
                      <a:pt x="13" y="0"/>
                    </a:cubicBezTo>
                    <a:cubicBezTo>
                      <a:pt x="10" y="0"/>
                      <a:pt x="7" y="2"/>
                      <a:pt x="4" y="4"/>
                    </a:cubicBezTo>
                    <a:cubicBezTo>
                      <a:pt x="2" y="6"/>
                      <a:pt x="0" y="10"/>
                      <a:pt x="0" y="13"/>
                    </a:cubicBezTo>
                    <a:cubicBezTo>
                      <a:pt x="0" y="14"/>
                      <a:pt x="0" y="15"/>
                      <a:pt x="0" y="16"/>
                    </a:cubicBezTo>
                    <a:cubicBezTo>
                      <a:pt x="0" y="16"/>
                      <a:pt x="0" y="16"/>
                      <a:pt x="0" y="16"/>
                    </a:cubicBezTo>
                    <a:cubicBezTo>
                      <a:pt x="0" y="16"/>
                      <a:pt x="0" y="16"/>
                      <a:pt x="0" y="16"/>
                    </a:cubicBezTo>
                    <a:cubicBezTo>
                      <a:pt x="0" y="17"/>
                      <a:pt x="1" y="18"/>
                      <a:pt x="2" y="20"/>
                    </a:cubicBezTo>
                    <a:cubicBezTo>
                      <a:pt x="2" y="20"/>
                      <a:pt x="2" y="20"/>
                      <a:pt x="2" y="20"/>
                    </a:cubicBezTo>
                    <a:cubicBezTo>
                      <a:pt x="5" y="25"/>
                      <a:pt x="5" y="25"/>
                      <a:pt x="5" y="25"/>
                    </a:cubicBezTo>
                    <a:cubicBezTo>
                      <a:pt x="8" y="31"/>
                      <a:pt x="8" y="31"/>
                      <a:pt x="8" y="31"/>
                    </a:cubicBezTo>
                    <a:cubicBezTo>
                      <a:pt x="9" y="32"/>
                      <a:pt x="9" y="32"/>
                      <a:pt x="9" y="32"/>
                    </a:cubicBezTo>
                    <a:cubicBezTo>
                      <a:pt x="9" y="32"/>
                      <a:pt x="9" y="32"/>
                      <a:pt x="9" y="32"/>
                    </a:cubicBezTo>
                    <a:cubicBezTo>
                      <a:pt x="14" y="30"/>
                      <a:pt x="14" y="30"/>
                      <a:pt x="14" y="30"/>
                    </a:cubicBezTo>
                    <a:cubicBezTo>
                      <a:pt x="19" y="27"/>
                      <a:pt x="19" y="27"/>
                      <a:pt x="19" y="27"/>
                    </a:cubicBezTo>
                    <a:cubicBezTo>
                      <a:pt x="18" y="25"/>
                      <a:pt x="18" y="25"/>
                      <a:pt x="18" y="25"/>
                    </a:cubicBezTo>
                    <a:cubicBezTo>
                      <a:pt x="18" y="25"/>
                      <a:pt x="18" y="25"/>
                      <a:pt x="18" y="25"/>
                    </a:cubicBezTo>
                    <a:cubicBezTo>
                      <a:pt x="15" y="20"/>
                      <a:pt x="15" y="20"/>
                      <a:pt x="15" y="20"/>
                    </a:cubicBezTo>
                    <a:cubicBezTo>
                      <a:pt x="15" y="20"/>
                      <a:pt x="15" y="20"/>
                      <a:pt x="15" y="20"/>
                    </a:cubicBezTo>
                    <a:cubicBezTo>
                      <a:pt x="12" y="14"/>
                      <a:pt x="12" y="14"/>
                      <a:pt x="12" y="14"/>
                    </a:cubicBezTo>
                    <a:cubicBezTo>
                      <a:pt x="12" y="14"/>
                      <a:pt x="12" y="14"/>
                      <a:pt x="12" y="14"/>
                    </a:cubicBezTo>
                    <a:cubicBezTo>
                      <a:pt x="12" y="14"/>
                      <a:pt x="12" y="14"/>
                      <a:pt x="12" y="13"/>
                    </a:cubicBezTo>
                    <a:cubicBezTo>
                      <a:pt x="6" y="15"/>
                      <a:pt x="6" y="15"/>
                      <a:pt x="6" y="15"/>
                    </a:cubicBezTo>
                    <a:cubicBezTo>
                      <a:pt x="12" y="14"/>
                      <a:pt x="12" y="14"/>
                      <a:pt x="12" y="14"/>
                    </a:cubicBezTo>
                    <a:cubicBezTo>
                      <a:pt x="12" y="13"/>
                      <a:pt x="12" y="13"/>
                      <a:pt x="12" y="13"/>
                    </a:cubicBezTo>
                    <a:cubicBezTo>
                      <a:pt x="12" y="13"/>
                      <a:pt x="12" y="13"/>
                      <a:pt x="12" y="13"/>
                    </a:cubicBezTo>
                    <a:cubicBezTo>
                      <a:pt x="12" y="12"/>
                      <a:pt x="13" y="12"/>
                      <a:pt x="13" y="12"/>
                    </a:cubicBezTo>
                    <a:cubicBezTo>
                      <a:pt x="14" y="12"/>
                      <a:pt x="14" y="12"/>
                      <a:pt x="14" y="12"/>
                    </a:cubicBezTo>
                    <a:cubicBezTo>
                      <a:pt x="14" y="12"/>
                      <a:pt x="14" y="12"/>
                      <a:pt x="14" y="13"/>
                    </a:cubicBezTo>
                    <a:cubicBezTo>
                      <a:pt x="14" y="13"/>
                      <a:pt x="14" y="13"/>
                      <a:pt x="14" y="13"/>
                    </a:cubicBezTo>
                    <a:cubicBezTo>
                      <a:pt x="17" y="18"/>
                      <a:pt x="17" y="18"/>
                      <a:pt x="17" y="18"/>
                    </a:cubicBezTo>
                    <a:cubicBezTo>
                      <a:pt x="20" y="24"/>
                      <a:pt x="20" y="24"/>
                      <a:pt x="20" y="24"/>
                    </a:cubicBezTo>
                    <a:cubicBezTo>
                      <a:pt x="20" y="24"/>
                      <a:pt x="20" y="24"/>
                      <a:pt x="20" y="24"/>
                    </a:cubicBezTo>
                    <a:cubicBezTo>
                      <a:pt x="21" y="25"/>
                      <a:pt x="21" y="25"/>
                      <a:pt x="21" y="25"/>
                    </a:cubicBezTo>
                    <a:cubicBezTo>
                      <a:pt x="21" y="25"/>
                      <a:pt x="21" y="25"/>
                      <a:pt x="21" y="25"/>
                    </a:cubicBezTo>
                    <a:cubicBezTo>
                      <a:pt x="21" y="26"/>
                      <a:pt x="21" y="25"/>
                      <a:pt x="21" y="26"/>
                    </a:cubicBezTo>
                    <a:cubicBezTo>
                      <a:pt x="27" y="25"/>
                      <a:pt x="27" y="25"/>
                      <a:pt x="27" y="25"/>
                    </a:cubicBezTo>
                    <a:cubicBezTo>
                      <a:pt x="21" y="26"/>
                      <a:pt x="21" y="26"/>
                      <a:pt x="21" y="26"/>
                    </a:cubicBezTo>
                    <a:cubicBezTo>
                      <a:pt x="21" y="26"/>
                      <a:pt x="21" y="26"/>
                      <a:pt x="21" y="26"/>
                    </a:cubicBezTo>
                    <a:cubicBezTo>
                      <a:pt x="21" y="27"/>
                      <a:pt x="21" y="27"/>
                      <a:pt x="21" y="27"/>
                    </a:cubicBezTo>
                    <a:cubicBezTo>
                      <a:pt x="21" y="27"/>
                      <a:pt x="20" y="27"/>
                      <a:pt x="20" y="27"/>
                    </a:cubicBezTo>
                    <a:cubicBezTo>
                      <a:pt x="19" y="27"/>
                      <a:pt x="19" y="27"/>
                      <a:pt x="19" y="27"/>
                    </a:cubicBezTo>
                    <a:cubicBezTo>
                      <a:pt x="19" y="27"/>
                      <a:pt x="19" y="27"/>
                      <a:pt x="19" y="27"/>
                    </a:cubicBezTo>
                    <a:cubicBezTo>
                      <a:pt x="19" y="27"/>
                      <a:pt x="19" y="27"/>
                      <a:pt x="19" y="27"/>
                    </a:cubicBezTo>
                    <a:cubicBezTo>
                      <a:pt x="19" y="27"/>
                      <a:pt x="19" y="27"/>
                      <a:pt x="19" y="27"/>
                    </a:cubicBez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8" name="Freeform 31"/>
              <p:cNvSpPr>
                <a:spLocks/>
              </p:cNvSpPr>
              <p:nvPr/>
            </p:nvSpPr>
            <p:spPr bwMode="auto">
              <a:xfrm>
                <a:off x="3540470" y="5235775"/>
                <a:ext cx="151068" cy="174472"/>
              </a:xfrm>
              <a:custGeom>
                <a:avLst/>
                <a:gdLst>
                  <a:gd name="T0" fmla="*/ 134 w 142"/>
                  <a:gd name="T1" fmla="*/ 0 h 164"/>
                  <a:gd name="T2" fmla="*/ 142 w 142"/>
                  <a:gd name="T3" fmla="*/ 164 h 164"/>
                  <a:gd name="T4" fmla="*/ 0 w 142"/>
                  <a:gd name="T5" fmla="*/ 84 h 164"/>
                  <a:gd name="T6" fmla="*/ 134 w 142"/>
                  <a:gd name="T7" fmla="*/ 0 h 164"/>
                </a:gdLst>
                <a:ahLst/>
                <a:cxnLst>
                  <a:cxn ang="0">
                    <a:pos x="T0" y="T1"/>
                  </a:cxn>
                  <a:cxn ang="0">
                    <a:pos x="T2" y="T3"/>
                  </a:cxn>
                  <a:cxn ang="0">
                    <a:pos x="T4" y="T5"/>
                  </a:cxn>
                  <a:cxn ang="0">
                    <a:pos x="T6" y="T7"/>
                  </a:cxn>
                </a:cxnLst>
                <a:rect l="0" t="0" r="r" b="b"/>
                <a:pathLst>
                  <a:path w="142" h="164">
                    <a:moveTo>
                      <a:pt x="134" y="0"/>
                    </a:moveTo>
                    <a:lnTo>
                      <a:pt x="142" y="164"/>
                    </a:lnTo>
                    <a:lnTo>
                      <a:pt x="0" y="84"/>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9" name="Freeform 32"/>
              <p:cNvSpPr>
                <a:spLocks/>
              </p:cNvSpPr>
              <p:nvPr/>
            </p:nvSpPr>
            <p:spPr bwMode="auto">
              <a:xfrm>
                <a:off x="3522385" y="5220881"/>
                <a:ext cx="179792" cy="206388"/>
              </a:xfrm>
              <a:custGeom>
                <a:avLst/>
                <a:gdLst>
                  <a:gd name="T0" fmla="*/ 151 w 169"/>
                  <a:gd name="T1" fmla="*/ 14 h 194"/>
                  <a:gd name="T2" fmla="*/ 142 w 169"/>
                  <a:gd name="T3" fmla="*/ 16 h 194"/>
                  <a:gd name="T4" fmla="*/ 151 w 169"/>
                  <a:gd name="T5" fmla="*/ 164 h 194"/>
                  <a:gd name="T6" fmla="*/ 32 w 169"/>
                  <a:gd name="T7" fmla="*/ 98 h 194"/>
                  <a:gd name="T8" fmla="*/ 155 w 169"/>
                  <a:gd name="T9" fmla="*/ 22 h 194"/>
                  <a:gd name="T10" fmla="*/ 151 w 169"/>
                  <a:gd name="T11" fmla="*/ 14 h 194"/>
                  <a:gd name="T12" fmla="*/ 142 w 169"/>
                  <a:gd name="T13" fmla="*/ 16 h 194"/>
                  <a:gd name="T14" fmla="*/ 151 w 169"/>
                  <a:gd name="T15" fmla="*/ 14 h 194"/>
                  <a:gd name="T16" fmla="*/ 146 w 169"/>
                  <a:gd name="T17" fmla="*/ 7 h 194"/>
                  <a:gd name="T18" fmla="*/ 0 w 169"/>
                  <a:gd name="T19" fmla="*/ 98 h 194"/>
                  <a:gd name="T20" fmla="*/ 169 w 169"/>
                  <a:gd name="T21" fmla="*/ 194 h 194"/>
                  <a:gd name="T22" fmla="*/ 159 w 169"/>
                  <a:gd name="T23" fmla="*/ 0 h 194"/>
                  <a:gd name="T24" fmla="*/ 146 w 169"/>
                  <a:gd name="T25" fmla="*/ 7 h 194"/>
                  <a:gd name="T26" fmla="*/ 151 w 169"/>
                  <a:gd name="T27" fmla="*/ 1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194">
                    <a:moveTo>
                      <a:pt x="151" y="14"/>
                    </a:moveTo>
                    <a:lnTo>
                      <a:pt x="142" y="16"/>
                    </a:lnTo>
                    <a:lnTo>
                      <a:pt x="151" y="164"/>
                    </a:lnTo>
                    <a:lnTo>
                      <a:pt x="32" y="98"/>
                    </a:lnTo>
                    <a:lnTo>
                      <a:pt x="155" y="22"/>
                    </a:lnTo>
                    <a:lnTo>
                      <a:pt x="151" y="14"/>
                    </a:lnTo>
                    <a:lnTo>
                      <a:pt x="142" y="16"/>
                    </a:lnTo>
                    <a:lnTo>
                      <a:pt x="151" y="14"/>
                    </a:lnTo>
                    <a:lnTo>
                      <a:pt x="146" y="7"/>
                    </a:lnTo>
                    <a:lnTo>
                      <a:pt x="0" y="98"/>
                    </a:lnTo>
                    <a:lnTo>
                      <a:pt x="169" y="194"/>
                    </a:lnTo>
                    <a:lnTo>
                      <a:pt x="159" y="0"/>
                    </a:lnTo>
                    <a:lnTo>
                      <a:pt x="146" y="7"/>
                    </a:lnTo>
                    <a:lnTo>
                      <a:pt x="15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70" name="Group 19"/>
            <p:cNvGrpSpPr/>
            <p:nvPr/>
          </p:nvGrpSpPr>
          <p:grpSpPr>
            <a:xfrm>
              <a:off x="7489975" y="3190030"/>
              <a:ext cx="291496" cy="1718127"/>
              <a:chOff x="6662888" y="3709142"/>
              <a:chExt cx="291496" cy="1718127"/>
            </a:xfrm>
            <a:solidFill>
              <a:srgbClr val="D0D0CE"/>
            </a:solidFill>
          </p:grpSpPr>
          <p:sp>
            <p:nvSpPr>
              <p:cNvPr id="71" name="Freeform 33"/>
              <p:cNvSpPr>
                <a:spLocks/>
              </p:cNvSpPr>
              <p:nvPr/>
            </p:nvSpPr>
            <p:spPr bwMode="auto">
              <a:xfrm>
                <a:off x="6700123" y="3714461"/>
                <a:ext cx="43618" cy="50001"/>
              </a:xfrm>
              <a:custGeom>
                <a:avLst/>
                <a:gdLst>
                  <a:gd name="T0" fmla="*/ 25 w 29"/>
                  <a:gd name="T1" fmla="*/ 19 h 33"/>
                  <a:gd name="T2" fmla="*/ 14 w 29"/>
                  <a:gd name="T3" fmla="*/ 28 h 33"/>
                  <a:gd name="T4" fmla="*/ 12 w 29"/>
                  <a:gd name="T5" fmla="*/ 26 h 33"/>
                  <a:gd name="T6" fmla="*/ 12 w 29"/>
                  <a:gd name="T7" fmla="*/ 25 h 33"/>
                  <a:gd name="T8" fmla="*/ 10 w 29"/>
                  <a:gd name="T9" fmla="*/ 22 h 33"/>
                  <a:gd name="T10" fmla="*/ 8 w 29"/>
                  <a:gd name="T11" fmla="*/ 18 h 33"/>
                  <a:gd name="T12" fmla="*/ 6 w 29"/>
                  <a:gd name="T13" fmla="*/ 15 h 33"/>
                  <a:gd name="T14" fmla="*/ 5 w 29"/>
                  <a:gd name="T15" fmla="*/ 14 h 33"/>
                  <a:gd name="T16" fmla="*/ 15 w 29"/>
                  <a:gd name="T17" fmla="*/ 4 h 33"/>
                  <a:gd name="T18" fmla="*/ 17 w 29"/>
                  <a:gd name="T19" fmla="*/ 6 h 33"/>
                  <a:gd name="T20" fmla="*/ 18 w 29"/>
                  <a:gd name="T21" fmla="*/ 7 h 33"/>
                  <a:gd name="T22" fmla="*/ 20 w 29"/>
                  <a:gd name="T23" fmla="*/ 11 h 33"/>
                  <a:gd name="T24" fmla="*/ 22 w 29"/>
                  <a:gd name="T25" fmla="*/ 14 h 33"/>
                  <a:gd name="T26" fmla="*/ 24 w 29"/>
                  <a:gd name="T27" fmla="*/ 17 h 33"/>
                  <a:gd name="T28" fmla="*/ 25 w 29"/>
                  <a:gd name="T2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33">
                    <a:moveTo>
                      <a:pt x="25" y="19"/>
                    </a:moveTo>
                    <a:cubicBezTo>
                      <a:pt x="29" y="25"/>
                      <a:pt x="20" y="33"/>
                      <a:pt x="14" y="28"/>
                    </a:cubicBezTo>
                    <a:cubicBezTo>
                      <a:pt x="13" y="27"/>
                      <a:pt x="13" y="27"/>
                      <a:pt x="12" y="26"/>
                    </a:cubicBezTo>
                    <a:cubicBezTo>
                      <a:pt x="12" y="25"/>
                      <a:pt x="12" y="25"/>
                      <a:pt x="12" y="25"/>
                    </a:cubicBezTo>
                    <a:cubicBezTo>
                      <a:pt x="10" y="22"/>
                      <a:pt x="10" y="22"/>
                      <a:pt x="10" y="22"/>
                    </a:cubicBezTo>
                    <a:cubicBezTo>
                      <a:pt x="8" y="18"/>
                      <a:pt x="8" y="18"/>
                      <a:pt x="8" y="18"/>
                    </a:cubicBezTo>
                    <a:cubicBezTo>
                      <a:pt x="6" y="15"/>
                      <a:pt x="6" y="15"/>
                      <a:pt x="6" y="15"/>
                    </a:cubicBezTo>
                    <a:cubicBezTo>
                      <a:pt x="5" y="14"/>
                      <a:pt x="5" y="14"/>
                      <a:pt x="5" y="14"/>
                    </a:cubicBezTo>
                    <a:cubicBezTo>
                      <a:pt x="0" y="8"/>
                      <a:pt x="8" y="0"/>
                      <a:pt x="15" y="4"/>
                    </a:cubicBezTo>
                    <a:cubicBezTo>
                      <a:pt x="16" y="5"/>
                      <a:pt x="16" y="6"/>
                      <a:pt x="17" y="6"/>
                    </a:cubicBezTo>
                    <a:cubicBezTo>
                      <a:pt x="18" y="7"/>
                      <a:pt x="18" y="7"/>
                      <a:pt x="18" y="7"/>
                    </a:cubicBezTo>
                    <a:cubicBezTo>
                      <a:pt x="20" y="11"/>
                      <a:pt x="20" y="11"/>
                      <a:pt x="20" y="11"/>
                    </a:cubicBezTo>
                    <a:cubicBezTo>
                      <a:pt x="22" y="14"/>
                      <a:pt x="22" y="14"/>
                      <a:pt x="22" y="14"/>
                    </a:cubicBezTo>
                    <a:cubicBezTo>
                      <a:pt x="24" y="17"/>
                      <a:pt x="24" y="17"/>
                      <a:pt x="24" y="17"/>
                    </a:cubicBezTo>
                    <a:lnTo>
                      <a:pt x="2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2" name="Freeform 34"/>
              <p:cNvSpPr>
                <a:spLocks/>
              </p:cNvSpPr>
              <p:nvPr/>
            </p:nvSpPr>
            <p:spPr bwMode="auto">
              <a:xfrm>
                <a:off x="6696931" y="3709142"/>
                <a:ext cx="51065" cy="59576"/>
              </a:xfrm>
              <a:custGeom>
                <a:avLst/>
                <a:gdLst>
                  <a:gd name="T0" fmla="*/ 22 w 34"/>
                  <a:gd name="T1" fmla="*/ 25 h 39"/>
                  <a:gd name="T2" fmla="*/ 22 w 34"/>
                  <a:gd name="T3" fmla="*/ 26 h 39"/>
                  <a:gd name="T4" fmla="*/ 20 w 34"/>
                  <a:gd name="T5" fmla="*/ 26 h 39"/>
                  <a:gd name="T6" fmla="*/ 20 w 34"/>
                  <a:gd name="T7" fmla="*/ 26 h 39"/>
                  <a:gd name="T8" fmla="*/ 19 w 34"/>
                  <a:gd name="T9" fmla="*/ 26 h 39"/>
                  <a:gd name="T10" fmla="*/ 17 w 34"/>
                  <a:gd name="T11" fmla="*/ 21 h 39"/>
                  <a:gd name="T12" fmla="*/ 15 w 34"/>
                  <a:gd name="T13" fmla="*/ 18 h 39"/>
                  <a:gd name="T14" fmla="*/ 12 w 34"/>
                  <a:gd name="T15" fmla="*/ 15 h 39"/>
                  <a:gd name="T16" fmla="*/ 12 w 34"/>
                  <a:gd name="T17" fmla="*/ 14 h 39"/>
                  <a:gd name="T18" fmla="*/ 12 w 34"/>
                  <a:gd name="T19" fmla="*/ 14 h 39"/>
                  <a:gd name="T20" fmla="*/ 12 w 34"/>
                  <a:gd name="T21" fmla="*/ 12 h 39"/>
                  <a:gd name="T22" fmla="*/ 14 w 34"/>
                  <a:gd name="T23" fmla="*/ 12 h 39"/>
                  <a:gd name="T24" fmla="*/ 14 w 34"/>
                  <a:gd name="T25" fmla="*/ 12 h 39"/>
                  <a:gd name="T26" fmla="*/ 19 w 34"/>
                  <a:gd name="T27" fmla="*/ 9 h 39"/>
                  <a:gd name="T28" fmla="*/ 15 w 34"/>
                  <a:gd name="T29" fmla="*/ 14 h 39"/>
                  <a:gd name="T30" fmla="*/ 17 w 34"/>
                  <a:gd name="T31" fmla="*/ 17 h 39"/>
                  <a:gd name="T32" fmla="*/ 19 w 34"/>
                  <a:gd name="T33" fmla="*/ 20 h 39"/>
                  <a:gd name="T34" fmla="*/ 22 w 34"/>
                  <a:gd name="T35" fmla="*/ 25 h 39"/>
                  <a:gd name="T36" fmla="*/ 32 w 34"/>
                  <a:gd name="T37" fmla="*/ 19 h 39"/>
                  <a:gd name="T38" fmla="*/ 31 w 34"/>
                  <a:gd name="T39" fmla="*/ 17 h 39"/>
                  <a:gd name="T40" fmla="*/ 27 w 34"/>
                  <a:gd name="T41" fmla="*/ 10 h 39"/>
                  <a:gd name="T42" fmla="*/ 24 w 34"/>
                  <a:gd name="T43" fmla="*/ 6 h 39"/>
                  <a:gd name="T44" fmla="*/ 24 w 34"/>
                  <a:gd name="T45" fmla="*/ 6 h 39"/>
                  <a:gd name="T46" fmla="*/ 21 w 34"/>
                  <a:gd name="T47" fmla="*/ 3 h 39"/>
                  <a:gd name="T48" fmla="*/ 13 w 34"/>
                  <a:gd name="T49" fmla="*/ 0 h 39"/>
                  <a:gd name="T50" fmla="*/ 0 w 34"/>
                  <a:gd name="T51" fmla="*/ 13 h 39"/>
                  <a:gd name="T52" fmla="*/ 3 w 34"/>
                  <a:gd name="T53" fmla="*/ 21 h 39"/>
                  <a:gd name="T54" fmla="*/ 5 w 34"/>
                  <a:gd name="T55" fmla="*/ 25 h 39"/>
                  <a:gd name="T56" fmla="*/ 7 w 34"/>
                  <a:gd name="T57" fmla="*/ 28 h 39"/>
                  <a:gd name="T58" fmla="*/ 9 w 34"/>
                  <a:gd name="T59" fmla="*/ 31 h 39"/>
                  <a:gd name="T60" fmla="*/ 9 w 34"/>
                  <a:gd name="T61" fmla="*/ 32 h 39"/>
                  <a:gd name="T62" fmla="*/ 12 w 34"/>
                  <a:gd name="T63" fmla="*/ 35 h 39"/>
                  <a:gd name="T64" fmla="*/ 21 w 34"/>
                  <a:gd name="T65" fmla="*/ 38 h 39"/>
                  <a:gd name="T66" fmla="*/ 34 w 34"/>
                  <a:gd name="T67" fmla="*/ 25 h 39"/>
                  <a:gd name="T68" fmla="*/ 27 w 34"/>
                  <a:gd name="T69"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39">
                    <a:moveTo>
                      <a:pt x="27" y="22"/>
                    </a:moveTo>
                    <a:cubicBezTo>
                      <a:pt x="22" y="25"/>
                      <a:pt x="22" y="25"/>
                      <a:pt x="22" y="25"/>
                    </a:cubicBezTo>
                    <a:cubicBezTo>
                      <a:pt x="22" y="25"/>
                      <a:pt x="22" y="25"/>
                      <a:pt x="22" y="25"/>
                    </a:cubicBezTo>
                    <a:cubicBezTo>
                      <a:pt x="22" y="26"/>
                      <a:pt x="22" y="26"/>
                      <a:pt x="22" y="26"/>
                    </a:cubicBezTo>
                    <a:cubicBezTo>
                      <a:pt x="21" y="27"/>
                      <a:pt x="21" y="27"/>
                      <a:pt x="21" y="27"/>
                    </a:cubicBezTo>
                    <a:cubicBezTo>
                      <a:pt x="20" y="27"/>
                      <a:pt x="20" y="27"/>
                      <a:pt x="20" y="26"/>
                    </a:cubicBezTo>
                    <a:cubicBezTo>
                      <a:pt x="16" y="31"/>
                      <a:pt x="16" y="31"/>
                      <a:pt x="16" y="31"/>
                    </a:cubicBezTo>
                    <a:cubicBezTo>
                      <a:pt x="20" y="26"/>
                      <a:pt x="20" y="26"/>
                      <a:pt x="20" y="26"/>
                    </a:cubicBezTo>
                    <a:cubicBezTo>
                      <a:pt x="20" y="26"/>
                      <a:pt x="20" y="26"/>
                      <a:pt x="20" y="26"/>
                    </a:cubicBezTo>
                    <a:cubicBezTo>
                      <a:pt x="19" y="26"/>
                      <a:pt x="19" y="26"/>
                      <a:pt x="19" y="26"/>
                    </a:cubicBezTo>
                    <a:cubicBezTo>
                      <a:pt x="19" y="25"/>
                      <a:pt x="19" y="25"/>
                      <a:pt x="19" y="25"/>
                    </a:cubicBezTo>
                    <a:cubicBezTo>
                      <a:pt x="17" y="21"/>
                      <a:pt x="17" y="21"/>
                      <a:pt x="17" y="21"/>
                    </a:cubicBezTo>
                    <a:cubicBezTo>
                      <a:pt x="17" y="21"/>
                      <a:pt x="17" y="21"/>
                      <a:pt x="17" y="21"/>
                    </a:cubicBezTo>
                    <a:cubicBezTo>
                      <a:pt x="15" y="18"/>
                      <a:pt x="15" y="18"/>
                      <a:pt x="15" y="18"/>
                    </a:cubicBezTo>
                    <a:cubicBezTo>
                      <a:pt x="14" y="18"/>
                      <a:pt x="14" y="18"/>
                      <a:pt x="14" y="18"/>
                    </a:cubicBezTo>
                    <a:cubicBezTo>
                      <a:pt x="12" y="15"/>
                      <a:pt x="12" y="15"/>
                      <a:pt x="12" y="15"/>
                    </a:cubicBezTo>
                    <a:cubicBezTo>
                      <a:pt x="12" y="15"/>
                      <a:pt x="12" y="15"/>
                      <a:pt x="12" y="15"/>
                    </a:cubicBezTo>
                    <a:cubicBezTo>
                      <a:pt x="12" y="14"/>
                      <a:pt x="12" y="14"/>
                      <a:pt x="12" y="14"/>
                    </a:cubicBezTo>
                    <a:cubicBezTo>
                      <a:pt x="12" y="14"/>
                      <a:pt x="12" y="14"/>
                      <a:pt x="12" y="14"/>
                    </a:cubicBezTo>
                    <a:cubicBezTo>
                      <a:pt x="12" y="14"/>
                      <a:pt x="12" y="14"/>
                      <a:pt x="12" y="14"/>
                    </a:cubicBezTo>
                    <a:cubicBezTo>
                      <a:pt x="11" y="14"/>
                      <a:pt x="11" y="13"/>
                      <a:pt x="11" y="13"/>
                    </a:cubicBezTo>
                    <a:cubicBezTo>
                      <a:pt x="12" y="12"/>
                      <a:pt x="12" y="12"/>
                      <a:pt x="12" y="12"/>
                    </a:cubicBezTo>
                    <a:cubicBezTo>
                      <a:pt x="13" y="12"/>
                      <a:pt x="13" y="12"/>
                      <a:pt x="13" y="12"/>
                    </a:cubicBezTo>
                    <a:cubicBezTo>
                      <a:pt x="13" y="12"/>
                      <a:pt x="13" y="12"/>
                      <a:pt x="14" y="12"/>
                    </a:cubicBezTo>
                    <a:cubicBezTo>
                      <a:pt x="17" y="7"/>
                      <a:pt x="17" y="7"/>
                      <a:pt x="17" y="7"/>
                    </a:cubicBezTo>
                    <a:cubicBezTo>
                      <a:pt x="14" y="12"/>
                      <a:pt x="14" y="12"/>
                      <a:pt x="14" y="12"/>
                    </a:cubicBezTo>
                    <a:cubicBezTo>
                      <a:pt x="14" y="13"/>
                      <a:pt x="14" y="13"/>
                      <a:pt x="14" y="13"/>
                    </a:cubicBezTo>
                    <a:cubicBezTo>
                      <a:pt x="19" y="9"/>
                      <a:pt x="19" y="9"/>
                      <a:pt x="19" y="9"/>
                    </a:cubicBezTo>
                    <a:cubicBezTo>
                      <a:pt x="14" y="12"/>
                      <a:pt x="14" y="12"/>
                      <a:pt x="14" y="12"/>
                    </a:cubicBezTo>
                    <a:cubicBezTo>
                      <a:pt x="15" y="14"/>
                      <a:pt x="15" y="14"/>
                      <a:pt x="15" y="14"/>
                    </a:cubicBezTo>
                    <a:cubicBezTo>
                      <a:pt x="15" y="14"/>
                      <a:pt x="15" y="14"/>
                      <a:pt x="15" y="14"/>
                    </a:cubicBezTo>
                    <a:cubicBezTo>
                      <a:pt x="17" y="17"/>
                      <a:pt x="17" y="17"/>
                      <a:pt x="17" y="17"/>
                    </a:cubicBezTo>
                    <a:cubicBezTo>
                      <a:pt x="17" y="17"/>
                      <a:pt x="17" y="17"/>
                      <a:pt x="17" y="17"/>
                    </a:cubicBezTo>
                    <a:cubicBezTo>
                      <a:pt x="19" y="20"/>
                      <a:pt x="19" y="20"/>
                      <a:pt x="19" y="20"/>
                    </a:cubicBezTo>
                    <a:cubicBezTo>
                      <a:pt x="21" y="23"/>
                      <a:pt x="21" y="23"/>
                      <a:pt x="21" y="23"/>
                    </a:cubicBezTo>
                    <a:cubicBezTo>
                      <a:pt x="22" y="25"/>
                      <a:pt x="22" y="25"/>
                      <a:pt x="22" y="25"/>
                    </a:cubicBezTo>
                    <a:cubicBezTo>
                      <a:pt x="27" y="22"/>
                      <a:pt x="27" y="22"/>
                      <a:pt x="27" y="22"/>
                    </a:cubicBezTo>
                    <a:cubicBezTo>
                      <a:pt x="32" y="19"/>
                      <a:pt x="32" y="19"/>
                      <a:pt x="32" y="19"/>
                    </a:cubicBezTo>
                    <a:cubicBezTo>
                      <a:pt x="31" y="17"/>
                      <a:pt x="31" y="17"/>
                      <a:pt x="31" y="17"/>
                    </a:cubicBezTo>
                    <a:cubicBezTo>
                      <a:pt x="31" y="17"/>
                      <a:pt x="31" y="17"/>
                      <a:pt x="31" y="17"/>
                    </a:cubicBezTo>
                    <a:cubicBezTo>
                      <a:pt x="29" y="14"/>
                      <a:pt x="29" y="14"/>
                      <a:pt x="29" y="14"/>
                    </a:cubicBezTo>
                    <a:cubicBezTo>
                      <a:pt x="27" y="10"/>
                      <a:pt x="27" y="10"/>
                      <a:pt x="27" y="10"/>
                    </a:cubicBezTo>
                    <a:cubicBezTo>
                      <a:pt x="24" y="7"/>
                      <a:pt x="24" y="7"/>
                      <a:pt x="24" y="7"/>
                    </a:cubicBezTo>
                    <a:cubicBezTo>
                      <a:pt x="24" y="6"/>
                      <a:pt x="24" y="6"/>
                      <a:pt x="24" y="6"/>
                    </a:cubicBezTo>
                    <a:cubicBezTo>
                      <a:pt x="24" y="6"/>
                      <a:pt x="24" y="6"/>
                      <a:pt x="24" y="6"/>
                    </a:cubicBezTo>
                    <a:cubicBezTo>
                      <a:pt x="24" y="6"/>
                      <a:pt x="24" y="6"/>
                      <a:pt x="24" y="6"/>
                    </a:cubicBezTo>
                    <a:cubicBezTo>
                      <a:pt x="23" y="5"/>
                      <a:pt x="22" y="4"/>
                      <a:pt x="21" y="3"/>
                    </a:cubicBezTo>
                    <a:cubicBezTo>
                      <a:pt x="21" y="3"/>
                      <a:pt x="21" y="3"/>
                      <a:pt x="21" y="3"/>
                    </a:cubicBezTo>
                    <a:cubicBezTo>
                      <a:pt x="20" y="3"/>
                      <a:pt x="20" y="3"/>
                      <a:pt x="20" y="3"/>
                    </a:cubicBezTo>
                    <a:cubicBezTo>
                      <a:pt x="18" y="1"/>
                      <a:pt x="15" y="0"/>
                      <a:pt x="13" y="0"/>
                    </a:cubicBezTo>
                    <a:cubicBezTo>
                      <a:pt x="9" y="0"/>
                      <a:pt x="6" y="2"/>
                      <a:pt x="4" y="4"/>
                    </a:cubicBezTo>
                    <a:cubicBezTo>
                      <a:pt x="1" y="6"/>
                      <a:pt x="0" y="10"/>
                      <a:pt x="0" y="13"/>
                    </a:cubicBezTo>
                    <a:cubicBezTo>
                      <a:pt x="0" y="16"/>
                      <a:pt x="0" y="18"/>
                      <a:pt x="2" y="21"/>
                    </a:cubicBezTo>
                    <a:cubicBezTo>
                      <a:pt x="3" y="21"/>
                      <a:pt x="3" y="21"/>
                      <a:pt x="3" y="21"/>
                    </a:cubicBezTo>
                    <a:cubicBezTo>
                      <a:pt x="5" y="25"/>
                      <a:pt x="5" y="25"/>
                      <a:pt x="5" y="25"/>
                    </a:cubicBezTo>
                    <a:cubicBezTo>
                      <a:pt x="5" y="25"/>
                      <a:pt x="5" y="25"/>
                      <a:pt x="5" y="25"/>
                    </a:cubicBezTo>
                    <a:cubicBezTo>
                      <a:pt x="7" y="28"/>
                      <a:pt x="7" y="28"/>
                      <a:pt x="7" y="28"/>
                    </a:cubicBezTo>
                    <a:cubicBezTo>
                      <a:pt x="7" y="28"/>
                      <a:pt x="7" y="28"/>
                      <a:pt x="7" y="28"/>
                    </a:cubicBezTo>
                    <a:cubicBezTo>
                      <a:pt x="9" y="31"/>
                      <a:pt x="9" y="31"/>
                      <a:pt x="9" y="31"/>
                    </a:cubicBezTo>
                    <a:cubicBezTo>
                      <a:pt x="9" y="31"/>
                      <a:pt x="9" y="31"/>
                      <a:pt x="9" y="31"/>
                    </a:cubicBezTo>
                    <a:cubicBezTo>
                      <a:pt x="10" y="32"/>
                      <a:pt x="10" y="32"/>
                      <a:pt x="10" y="32"/>
                    </a:cubicBezTo>
                    <a:cubicBezTo>
                      <a:pt x="9" y="32"/>
                      <a:pt x="9" y="32"/>
                      <a:pt x="9" y="32"/>
                    </a:cubicBezTo>
                    <a:cubicBezTo>
                      <a:pt x="10" y="34"/>
                      <a:pt x="11" y="35"/>
                      <a:pt x="12" y="35"/>
                    </a:cubicBezTo>
                    <a:cubicBezTo>
                      <a:pt x="12" y="35"/>
                      <a:pt x="12" y="35"/>
                      <a:pt x="12" y="35"/>
                    </a:cubicBezTo>
                    <a:cubicBezTo>
                      <a:pt x="12" y="36"/>
                      <a:pt x="12" y="36"/>
                      <a:pt x="12" y="36"/>
                    </a:cubicBezTo>
                    <a:cubicBezTo>
                      <a:pt x="15" y="37"/>
                      <a:pt x="18" y="39"/>
                      <a:pt x="21" y="38"/>
                    </a:cubicBezTo>
                    <a:cubicBezTo>
                      <a:pt x="24" y="38"/>
                      <a:pt x="27" y="37"/>
                      <a:pt x="30" y="35"/>
                    </a:cubicBezTo>
                    <a:cubicBezTo>
                      <a:pt x="32" y="32"/>
                      <a:pt x="34" y="29"/>
                      <a:pt x="34" y="25"/>
                    </a:cubicBezTo>
                    <a:cubicBezTo>
                      <a:pt x="34" y="23"/>
                      <a:pt x="33" y="21"/>
                      <a:pt x="32" y="18"/>
                    </a:cubicBezTo>
                    <a:lnTo>
                      <a:pt x="27"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3" name="Freeform 35"/>
              <p:cNvSpPr>
                <a:spLocks/>
              </p:cNvSpPr>
              <p:nvPr/>
            </p:nvSpPr>
            <p:spPr bwMode="auto">
              <a:xfrm>
                <a:off x="6765018" y="3827230"/>
                <a:ext cx="39363" cy="53193"/>
              </a:xfrm>
              <a:custGeom>
                <a:avLst/>
                <a:gdLst>
                  <a:gd name="T0" fmla="*/ 22 w 26"/>
                  <a:gd name="T1" fmla="*/ 21 h 35"/>
                  <a:gd name="T2" fmla="*/ 10 w 26"/>
                  <a:gd name="T3" fmla="*/ 28 h 35"/>
                  <a:gd name="T4" fmla="*/ 9 w 26"/>
                  <a:gd name="T5" fmla="*/ 27 h 35"/>
                  <a:gd name="T6" fmla="*/ 8 w 26"/>
                  <a:gd name="T7" fmla="*/ 24 h 35"/>
                  <a:gd name="T8" fmla="*/ 6 w 26"/>
                  <a:gd name="T9" fmla="*/ 20 h 35"/>
                  <a:gd name="T10" fmla="*/ 4 w 26"/>
                  <a:gd name="T11" fmla="*/ 16 h 35"/>
                  <a:gd name="T12" fmla="*/ 3 w 26"/>
                  <a:gd name="T13" fmla="*/ 14 h 35"/>
                  <a:gd name="T14" fmla="*/ 15 w 26"/>
                  <a:gd name="T15" fmla="*/ 6 h 35"/>
                  <a:gd name="T16" fmla="*/ 16 w 26"/>
                  <a:gd name="T17" fmla="*/ 8 h 35"/>
                  <a:gd name="T18" fmla="*/ 17 w 26"/>
                  <a:gd name="T19" fmla="*/ 10 h 35"/>
                  <a:gd name="T20" fmla="*/ 19 w 26"/>
                  <a:gd name="T21" fmla="*/ 14 h 35"/>
                  <a:gd name="T22" fmla="*/ 21 w 26"/>
                  <a:gd name="T23" fmla="*/ 18 h 35"/>
                  <a:gd name="T24" fmla="*/ 22 w 26"/>
                  <a:gd name="T25" fmla="*/ 2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5">
                    <a:moveTo>
                      <a:pt x="22" y="21"/>
                    </a:moveTo>
                    <a:cubicBezTo>
                      <a:pt x="26" y="29"/>
                      <a:pt x="15" y="35"/>
                      <a:pt x="10" y="28"/>
                    </a:cubicBezTo>
                    <a:cubicBezTo>
                      <a:pt x="10" y="28"/>
                      <a:pt x="10" y="27"/>
                      <a:pt x="9" y="27"/>
                    </a:cubicBezTo>
                    <a:cubicBezTo>
                      <a:pt x="8" y="24"/>
                      <a:pt x="8" y="24"/>
                      <a:pt x="8" y="24"/>
                    </a:cubicBezTo>
                    <a:cubicBezTo>
                      <a:pt x="6" y="20"/>
                      <a:pt x="6" y="20"/>
                      <a:pt x="6" y="20"/>
                    </a:cubicBezTo>
                    <a:cubicBezTo>
                      <a:pt x="4" y="16"/>
                      <a:pt x="4" y="16"/>
                      <a:pt x="4" y="16"/>
                    </a:cubicBezTo>
                    <a:cubicBezTo>
                      <a:pt x="3" y="14"/>
                      <a:pt x="3" y="14"/>
                      <a:pt x="3" y="14"/>
                    </a:cubicBezTo>
                    <a:cubicBezTo>
                      <a:pt x="0" y="7"/>
                      <a:pt x="9" y="0"/>
                      <a:pt x="15" y="6"/>
                    </a:cubicBezTo>
                    <a:cubicBezTo>
                      <a:pt x="15" y="6"/>
                      <a:pt x="16" y="7"/>
                      <a:pt x="16" y="8"/>
                    </a:cubicBezTo>
                    <a:cubicBezTo>
                      <a:pt x="17" y="10"/>
                      <a:pt x="17" y="10"/>
                      <a:pt x="17" y="10"/>
                    </a:cubicBezTo>
                    <a:cubicBezTo>
                      <a:pt x="19" y="14"/>
                      <a:pt x="19" y="14"/>
                      <a:pt x="19" y="14"/>
                    </a:cubicBezTo>
                    <a:cubicBezTo>
                      <a:pt x="21" y="18"/>
                      <a:pt x="21" y="18"/>
                      <a:pt x="21" y="18"/>
                    </a:cubicBezTo>
                    <a:lnTo>
                      <a:pt x="2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4" name="Freeform 36"/>
              <p:cNvSpPr>
                <a:spLocks/>
              </p:cNvSpPr>
              <p:nvPr/>
            </p:nvSpPr>
            <p:spPr bwMode="auto">
              <a:xfrm>
                <a:off x="6760762" y="3825102"/>
                <a:ext cx="47874" cy="58512"/>
              </a:xfrm>
              <a:custGeom>
                <a:avLst/>
                <a:gdLst>
                  <a:gd name="T0" fmla="*/ 20 w 32"/>
                  <a:gd name="T1" fmla="*/ 25 h 39"/>
                  <a:gd name="T2" fmla="*/ 20 w 32"/>
                  <a:gd name="T3" fmla="*/ 27 h 39"/>
                  <a:gd name="T4" fmla="*/ 18 w 32"/>
                  <a:gd name="T5" fmla="*/ 27 h 39"/>
                  <a:gd name="T6" fmla="*/ 13 w 32"/>
                  <a:gd name="T7" fmla="*/ 30 h 39"/>
                  <a:gd name="T8" fmla="*/ 18 w 32"/>
                  <a:gd name="T9" fmla="*/ 26 h 39"/>
                  <a:gd name="T10" fmla="*/ 18 w 32"/>
                  <a:gd name="T11" fmla="*/ 26 h 39"/>
                  <a:gd name="T12" fmla="*/ 16 w 32"/>
                  <a:gd name="T13" fmla="*/ 23 h 39"/>
                  <a:gd name="T14" fmla="*/ 12 w 32"/>
                  <a:gd name="T15" fmla="*/ 15 h 39"/>
                  <a:gd name="T16" fmla="*/ 12 w 32"/>
                  <a:gd name="T17" fmla="*/ 13 h 39"/>
                  <a:gd name="T18" fmla="*/ 11 w 32"/>
                  <a:gd name="T19" fmla="*/ 13 h 39"/>
                  <a:gd name="T20" fmla="*/ 13 w 32"/>
                  <a:gd name="T21" fmla="*/ 11 h 39"/>
                  <a:gd name="T22" fmla="*/ 18 w 32"/>
                  <a:gd name="T23" fmla="*/ 8 h 39"/>
                  <a:gd name="T24" fmla="*/ 14 w 32"/>
                  <a:gd name="T25" fmla="*/ 12 h 39"/>
                  <a:gd name="T26" fmla="*/ 15 w 32"/>
                  <a:gd name="T27" fmla="*/ 14 h 39"/>
                  <a:gd name="T28" fmla="*/ 17 w 32"/>
                  <a:gd name="T29" fmla="*/ 18 h 39"/>
                  <a:gd name="T30" fmla="*/ 19 w 32"/>
                  <a:gd name="T31" fmla="*/ 22 h 39"/>
                  <a:gd name="T32" fmla="*/ 25 w 32"/>
                  <a:gd name="T33" fmla="*/ 23 h 39"/>
                  <a:gd name="T34" fmla="*/ 25 w 32"/>
                  <a:gd name="T35" fmla="*/ 23 h 39"/>
                  <a:gd name="T36" fmla="*/ 29 w 32"/>
                  <a:gd name="T37" fmla="*/ 17 h 39"/>
                  <a:gd name="T38" fmla="*/ 27 w 32"/>
                  <a:gd name="T39" fmla="*/ 13 h 39"/>
                  <a:gd name="T40" fmla="*/ 25 w 32"/>
                  <a:gd name="T41" fmla="*/ 7 h 39"/>
                  <a:gd name="T42" fmla="*/ 22 w 32"/>
                  <a:gd name="T43" fmla="*/ 4 h 39"/>
                  <a:gd name="T44" fmla="*/ 22 w 32"/>
                  <a:gd name="T45" fmla="*/ 4 h 39"/>
                  <a:gd name="T46" fmla="*/ 4 w 32"/>
                  <a:gd name="T47" fmla="*/ 3 h 39"/>
                  <a:gd name="T48" fmla="*/ 1 w 32"/>
                  <a:gd name="T49" fmla="*/ 18 h 39"/>
                  <a:gd name="T50" fmla="*/ 2 w 32"/>
                  <a:gd name="T51" fmla="*/ 20 h 39"/>
                  <a:gd name="T52" fmla="*/ 4 w 32"/>
                  <a:gd name="T53" fmla="*/ 24 h 39"/>
                  <a:gd name="T54" fmla="*/ 6 w 32"/>
                  <a:gd name="T55" fmla="*/ 28 h 39"/>
                  <a:gd name="T56" fmla="*/ 7 w 32"/>
                  <a:gd name="T57" fmla="*/ 31 h 39"/>
                  <a:gd name="T58" fmla="*/ 7 w 32"/>
                  <a:gd name="T59" fmla="*/ 31 h 39"/>
                  <a:gd name="T60" fmla="*/ 8 w 32"/>
                  <a:gd name="T61" fmla="*/ 33 h 39"/>
                  <a:gd name="T62" fmla="*/ 13 w 32"/>
                  <a:gd name="T63" fmla="*/ 38 h 39"/>
                  <a:gd name="T64" fmla="*/ 28 w 32"/>
                  <a:gd name="T65" fmla="*/ 35 h 39"/>
                  <a:gd name="T66" fmla="*/ 31 w 32"/>
                  <a:gd name="T67" fmla="*/ 20 h 39"/>
                  <a:gd name="T68" fmla="*/ 31 w 32"/>
                  <a:gd name="T69"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 h="39">
                    <a:moveTo>
                      <a:pt x="25" y="23"/>
                    </a:moveTo>
                    <a:cubicBezTo>
                      <a:pt x="20" y="25"/>
                      <a:pt x="20" y="25"/>
                      <a:pt x="20" y="25"/>
                    </a:cubicBezTo>
                    <a:cubicBezTo>
                      <a:pt x="20" y="26"/>
                      <a:pt x="20" y="26"/>
                      <a:pt x="20" y="26"/>
                    </a:cubicBezTo>
                    <a:cubicBezTo>
                      <a:pt x="20" y="27"/>
                      <a:pt x="20" y="27"/>
                      <a:pt x="20" y="27"/>
                    </a:cubicBezTo>
                    <a:cubicBezTo>
                      <a:pt x="19" y="27"/>
                      <a:pt x="19" y="27"/>
                      <a:pt x="19" y="27"/>
                    </a:cubicBezTo>
                    <a:cubicBezTo>
                      <a:pt x="18" y="27"/>
                      <a:pt x="18" y="27"/>
                      <a:pt x="18" y="27"/>
                    </a:cubicBezTo>
                    <a:cubicBezTo>
                      <a:pt x="18" y="27"/>
                      <a:pt x="18" y="27"/>
                      <a:pt x="18" y="27"/>
                    </a:cubicBezTo>
                    <a:cubicBezTo>
                      <a:pt x="13" y="30"/>
                      <a:pt x="13" y="30"/>
                      <a:pt x="13" y="30"/>
                    </a:cubicBezTo>
                    <a:cubicBezTo>
                      <a:pt x="18" y="27"/>
                      <a:pt x="18" y="27"/>
                      <a:pt x="18" y="27"/>
                    </a:cubicBezTo>
                    <a:cubicBezTo>
                      <a:pt x="18" y="26"/>
                      <a:pt x="18" y="26"/>
                      <a:pt x="18" y="26"/>
                    </a:cubicBezTo>
                    <a:cubicBezTo>
                      <a:pt x="12" y="29"/>
                      <a:pt x="12" y="29"/>
                      <a:pt x="12" y="29"/>
                    </a:cubicBezTo>
                    <a:cubicBezTo>
                      <a:pt x="18" y="26"/>
                      <a:pt x="18" y="26"/>
                      <a:pt x="18" y="26"/>
                    </a:cubicBezTo>
                    <a:cubicBezTo>
                      <a:pt x="16" y="23"/>
                      <a:pt x="16" y="23"/>
                      <a:pt x="16" y="23"/>
                    </a:cubicBezTo>
                    <a:cubicBezTo>
                      <a:pt x="16" y="23"/>
                      <a:pt x="16" y="23"/>
                      <a:pt x="16" y="23"/>
                    </a:cubicBezTo>
                    <a:cubicBezTo>
                      <a:pt x="14" y="19"/>
                      <a:pt x="14" y="19"/>
                      <a:pt x="14" y="19"/>
                    </a:cubicBezTo>
                    <a:cubicBezTo>
                      <a:pt x="12" y="15"/>
                      <a:pt x="12" y="15"/>
                      <a:pt x="12" y="15"/>
                    </a:cubicBezTo>
                    <a:cubicBezTo>
                      <a:pt x="12" y="15"/>
                      <a:pt x="12" y="15"/>
                      <a:pt x="12" y="15"/>
                    </a:cubicBezTo>
                    <a:cubicBezTo>
                      <a:pt x="12" y="13"/>
                      <a:pt x="12" y="13"/>
                      <a:pt x="12" y="13"/>
                    </a:cubicBezTo>
                    <a:cubicBezTo>
                      <a:pt x="12" y="13"/>
                      <a:pt x="12" y="13"/>
                      <a:pt x="12" y="13"/>
                    </a:cubicBezTo>
                    <a:cubicBezTo>
                      <a:pt x="11" y="13"/>
                      <a:pt x="11" y="13"/>
                      <a:pt x="11" y="13"/>
                    </a:cubicBezTo>
                    <a:cubicBezTo>
                      <a:pt x="12" y="12"/>
                      <a:pt x="12" y="12"/>
                      <a:pt x="12" y="12"/>
                    </a:cubicBezTo>
                    <a:cubicBezTo>
                      <a:pt x="13" y="11"/>
                      <a:pt x="13" y="11"/>
                      <a:pt x="13" y="11"/>
                    </a:cubicBezTo>
                    <a:cubicBezTo>
                      <a:pt x="13" y="11"/>
                      <a:pt x="13" y="11"/>
                      <a:pt x="14" y="12"/>
                    </a:cubicBezTo>
                    <a:cubicBezTo>
                      <a:pt x="18" y="8"/>
                      <a:pt x="18" y="8"/>
                      <a:pt x="18" y="8"/>
                    </a:cubicBezTo>
                    <a:cubicBezTo>
                      <a:pt x="14" y="12"/>
                      <a:pt x="14" y="12"/>
                      <a:pt x="14" y="12"/>
                    </a:cubicBezTo>
                    <a:cubicBezTo>
                      <a:pt x="14" y="12"/>
                      <a:pt x="14" y="12"/>
                      <a:pt x="14" y="12"/>
                    </a:cubicBezTo>
                    <a:cubicBezTo>
                      <a:pt x="15" y="14"/>
                      <a:pt x="15" y="14"/>
                      <a:pt x="15" y="14"/>
                    </a:cubicBezTo>
                    <a:cubicBezTo>
                      <a:pt x="15" y="14"/>
                      <a:pt x="15" y="14"/>
                      <a:pt x="15" y="14"/>
                    </a:cubicBezTo>
                    <a:cubicBezTo>
                      <a:pt x="17" y="18"/>
                      <a:pt x="17" y="18"/>
                      <a:pt x="17" y="18"/>
                    </a:cubicBezTo>
                    <a:cubicBezTo>
                      <a:pt x="17" y="18"/>
                      <a:pt x="17" y="18"/>
                      <a:pt x="17" y="18"/>
                    </a:cubicBezTo>
                    <a:cubicBezTo>
                      <a:pt x="19" y="22"/>
                      <a:pt x="19" y="22"/>
                      <a:pt x="19" y="22"/>
                    </a:cubicBezTo>
                    <a:cubicBezTo>
                      <a:pt x="19" y="22"/>
                      <a:pt x="19" y="22"/>
                      <a:pt x="19" y="22"/>
                    </a:cubicBezTo>
                    <a:cubicBezTo>
                      <a:pt x="20" y="25"/>
                      <a:pt x="20" y="25"/>
                      <a:pt x="20" y="25"/>
                    </a:cubicBezTo>
                    <a:cubicBezTo>
                      <a:pt x="25" y="23"/>
                      <a:pt x="25" y="23"/>
                      <a:pt x="25" y="23"/>
                    </a:cubicBezTo>
                    <a:cubicBezTo>
                      <a:pt x="20" y="25"/>
                      <a:pt x="20" y="25"/>
                      <a:pt x="20" y="25"/>
                    </a:cubicBezTo>
                    <a:cubicBezTo>
                      <a:pt x="25" y="23"/>
                      <a:pt x="25" y="23"/>
                      <a:pt x="25" y="23"/>
                    </a:cubicBezTo>
                    <a:cubicBezTo>
                      <a:pt x="31" y="20"/>
                      <a:pt x="31" y="20"/>
                      <a:pt x="31" y="20"/>
                    </a:cubicBezTo>
                    <a:cubicBezTo>
                      <a:pt x="29" y="17"/>
                      <a:pt x="29" y="17"/>
                      <a:pt x="29" y="17"/>
                    </a:cubicBezTo>
                    <a:cubicBezTo>
                      <a:pt x="29" y="17"/>
                      <a:pt x="29" y="17"/>
                      <a:pt x="29" y="17"/>
                    </a:cubicBezTo>
                    <a:cubicBezTo>
                      <a:pt x="27" y="13"/>
                      <a:pt x="27" y="13"/>
                      <a:pt x="27" y="13"/>
                    </a:cubicBezTo>
                    <a:cubicBezTo>
                      <a:pt x="26" y="9"/>
                      <a:pt x="26" y="9"/>
                      <a:pt x="26" y="9"/>
                    </a:cubicBezTo>
                    <a:cubicBezTo>
                      <a:pt x="25" y="7"/>
                      <a:pt x="25" y="7"/>
                      <a:pt x="25" y="7"/>
                    </a:cubicBezTo>
                    <a:cubicBezTo>
                      <a:pt x="25" y="7"/>
                      <a:pt x="25" y="7"/>
                      <a:pt x="25" y="7"/>
                    </a:cubicBezTo>
                    <a:cubicBezTo>
                      <a:pt x="24" y="6"/>
                      <a:pt x="23" y="5"/>
                      <a:pt x="22" y="4"/>
                    </a:cubicBezTo>
                    <a:cubicBezTo>
                      <a:pt x="22" y="4"/>
                      <a:pt x="22" y="4"/>
                      <a:pt x="22" y="4"/>
                    </a:cubicBezTo>
                    <a:cubicBezTo>
                      <a:pt x="22" y="4"/>
                      <a:pt x="22" y="4"/>
                      <a:pt x="22" y="4"/>
                    </a:cubicBezTo>
                    <a:cubicBezTo>
                      <a:pt x="20" y="1"/>
                      <a:pt x="16" y="0"/>
                      <a:pt x="13" y="0"/>
                    </a:cubicBezTo>
                    <a:cubicBezTo>
                      <a:pt x="9" y="0"/>
                      <a:pt x="6" y="1"/>
                      <a:pt x="4" y="3"/>
                    </a:cubicBezTo>
                    <a:cubicBezTo>
                      <a:pt x="1" y="6"/>
                      <a:pt x="0" y="9"/>
                      <a:pt x="0" y="13"/>
                    </a:cubicBezTo>
                    <a:cubicBezTo>
                      <a:pt x="0" y="15"/>
                      <a:pt x="0" y="17"/>
                      <a:pt x="1" y="18"/>
                    </a:cubicBezTo>
                    <a:cubicBezTo>
                      <a:pt x="1" y="18"/>
                      <a:pt x="1" y="18"/>
                      <a:pt x="1" y="18"/>
                    </a:cubicBezTo>
                    <a:cubicBezTo>
                      <a:pt x="2" y="20"/>
                      <a:pt x="2" y="20"/>
                      <a:pt x="2" y="20"/>
                    </a:cubicBezTo>
                    <a:cubicBezTo>
                      <a:pt x="2" y="20"/>
                      <a:pt x="2" y="20"/>
                      <a:pt x="2" y="20"/>
                    </a:cubicBezTo>
                    <a:cubicBezTo>
                      <a:pt x="4" y="24"/>
                      <a:pt x="4" y="24"/>
                      <a:pt x="4" y="24"/>
                    </a:cubicBezTo>
                    <a:cubicBezTo>
                      <a:pt x="4" y="24"/>
                      <a:pt x="4" y="24"/>
                      <a:pt x="4" y="24"/>
                    </a:cubicBezTo>
                    <a:cubicBezTo>
                      <a:pt x="6" y="28"/>
                      <a:pt x="6" y="28"/>
                      <a:pt x="6" y="28"/>
                    </a:cubicBezTo>
                    <a:cubicBezTo>
                      <a:pt x="6" y="28"/>
                      <a:pt x="6" y="28"/>
                      <a:pt x="6" y="28"/>
                    </a:cubicBezTo>
                    <a:cubicBezTo>
                      <a:pt x="7" y="31"/>
                      <a:pt x="7" y="31"/>
                      <a:pt x="7" y="31"/>
                    </a:cubicBezTo>
                    <a:cubicBezTo>
                      <a:pt x="7" y="31"/>
                      <a:pt x="7" y="31"/>
                      <a:pt x="7" y="31"/>
                    </a:cubicBezTo>
                    <a:cubicBezTo>
                      <a:pt x="7" y="31"/>
                      <a:pt x="7" y="31"/>
                      <a:pt x="7" y="31"/>
                    </a:cubicBezTo>
                    <a:cubicBezTo>
                      <a:pt x="7" y="32"/>
                      <a:pt x="8" y="33"/>
                      <a:pt x="8" y="33"/>
                    </a:cubicBezTo>
                    <a:cubicBezTo>
                      <a:pt x="8" y="33"/>
                      <a:pt x="8" y="33"/>
                      <a:pt x="8" y="33"/>
                    </a:cubicBezTo>
                    <a:cubicBezTo>
                      <a:pt x="8" y="34"/>
                      <a:pt x="8" y="34"/>
                      <a:pt x="8" y="34"/>
                    </a:cubicBezTo>
                    <a:cubicBezTo>
                      <a:pt x="10" y="35"/>
                      <a:pt x="11" y="37"/>
                      <a:pt x="13" y="38"/>
                    </a:cubicBezTo>
                    <a:cubicBezTo>
                      <a:pt x="15" y="38"/>
                      <a:pt x="17" y="39"/>
                      <a:pt x="19" y="39"/>
                    </a:cubicBezTo>
                    <a:cubicBezTo>
                      <a:pt x="22" y="39"/>
                      <a:pt x="25" y="38"/>
                      <a:pt x="28" y="35"/>
                    </a:cubicBezTo>
                    <a:cubicBezTo>
                      <a:pt x="30" y="33"/>
                      <a:pt x="32" y="30"/>
                      <a:pt x="32" y="26"/>
                    </a:cubicBezTo>
                    <a:cubicBezTo>
                      <a:pt x="32" y="24"/>
                      <a:pt x="32" y="22"/>
                      <a:pt x="31" y="20"/>
                    </a:cubicBezTo>
                    <a:cubicBezTo>
                      <a:pt x="31" y="20"/>
                      <a:pt x="31" y="20"/>
                      <a:pt x="31" y="20"/>
                    </a:cubicBezTo>
                    <a:cubicBezTo>
                      <a:pt x="31" y="20"/>
                      <a:pt x="31" y="20"/>
                      <a:pt x="31" y="20"/>
                    </a:cubicBezTo>
                    <a:lnTo>
                      <a:pt x="25"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5" name="Freeform 37"/>
              <p:cNvSpPr>
                <a:spLocks/>
              </p:cNvSpPr>
              <p:nvPr/>
            </p:nvSpPr>
            <p:spPr bwMode="auto">
              <a:xfrm>
                <a:off x="6815019" y="3948509"/>
                <a:ext cx="36171" cy="53193"/>
              </a:xfrm>
              <a:custGeom>
                <a:avLst/>
                <a:gdLst>
                  <a:gd name="T0" fmla="*/ 21 w 24"/>
                  <a:gd name="T1" fmla="*/ 22 h 35"/>
                  <a:gd name="T2" fmla="*/ 9 w 24"/>
                  <a:gd name="T3" fmla="*/ 29 h 35"/>
                  <a:gd name="T4" fmla="*/ 8 w 24"/>
                  <a:gd name="T5" fmla="*/ 27 h 35"/>
                  <a:gd name="T6" fmla="*/ 7 w 24"/>
                  <a:gd name="T7" fmla="*/ 24 h 35"/>
                  <a:gd name="T8" fmla="*/ 5 w 24"/>
                  <a:gd name="T9" fmla="*/ 19 h 35"/>
                  <a:gd name="T10" fmla="*/ 4 w 24"/>
                  <a:gd name="T11" fmla="*/ 15 h 35"/>
                  <a:gd name="T12" fmla="*/ 3 w 24"/>
                  <a:gd name="T13" fmla="*/ 13 h 35"/>
                  <a:gd name="T14" fmla="*/ 16 w 24"/>
                  <a:gd name="T15" fmla="*/ 7 h 35"/>
                  <a:gd name="T16" fmla="*/ 17 w 24"/>
                  <a:gd name="T17" fmla="*/ 8 h 35"/>
                  <a:gd name="T18" fmla="*/ 17 w 24"/>
                  <a:gd name="T19" fmla="*/ 10 h 35"/>
                  <a:gd name="T20" fmla="*/ 19 w 24"/>
                  <a:gd name="T21" fmla="*/ 14 h 35"/>
                  <a:gd name="T22" fmla="*/ 20 w 24"/>
                  <a:gd name="T23" fmla="*/ 19 h 35"/>
                  <a:gd name="T24" fmla="*/ 21 w 24"/>
                  <a:gd name="T2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5">
                    <a:moveTo>
                      <a:pt x="21" y="22"/>
                    </a:moveTo>
                    <a:cubicBezTo>
                      <a:pt x="24" y="29"/>
                      <a:pt x="15" y="35"/>
                      <a:pt x="9" y="29"/>
                    </a:cubicBezTo>
                    <a:cubicBezTo>
                      <a:pt x="9" y="28"/>
                      <a:pt x="8" y="28"/>
                      <a:pt x="8" y="27"/>
                    </a:cubicBezTo>
                    <a:cubicBezTo>
                      <a:pt x="7" y="24"/>
                      <a:pt x="7" y="24"/>
                      <a:pt x="7" y="24"/>
                    </a:cubicBezTo>
                    <a:cubicBezTo>
                      <a:pt x="5" y="19"/>
                      <a:pt x="5" y="19"/>
                      <a:pt x="5" y="19"/>
                    </a:cubicBezTo>
                    <a:cubicBezTo>
                      <a:pt x="4" y="15"/>
                      <a:pt x="4" y="15"/>
                      <a:pt x="4" y="15"/>
                    </a:cubicBezTo>
                    <a:cubicBezTo>
                      <a:pt x="3" y="13"/>
                      <a:pt x="3" y="13"/>
                      <a:pt x="3" y="13"/>
                    </a:cubicBezTo>
                    <a:cubicBezTo>
                      <a:pt x="0" y="5"/>
                      <a:pt x="11" y="0"/>
                      <a:pt x="16" y="7"/>
                    </a:cubicBezTo>
                    <a:cubicBezTo>
                      <a:pt x="16" y="7"/>
                      <a:pt x="16" y="8"/>
                      <a:pt x="17" y="8"/>
                    </a:cubicBezTo>
                    <a:cubicBezTo>
                      <a:pt x="17" y="10"/>
                      <a:pt x="17" y="10"/>
                      <a:pt x="17" y="10"/>
                    </a:cubicBezTo>
                    <a:cubicBezTo>
                      <a:pt x="19" y="14"/>
                      <a:pt x="19" y="14"/>
                      <a:pt x="19" y="14"/>
                    </a:cubicBezTo>
                    <a:cubicBezTo>
                      <a:pt x="20" y="19"/>
                      <a:pt x="20" y="19"/>
                      <a:pt x="20" y="19"/>
                    </a:cubicBezTo>
                    <a:lnTo>
                      <a:pt x="2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6" name="Freeform 38"/>
              <p:cNvSpPr>
                <a:spLocks/>
              </p:cNvSpPr>
              <p:nvPr/>
            </p:nvSpPr>
            <p:spPr bwMode="auto">
              <a:xfrm>
                <a:off x="6809700" y="3944254"/>
                <a:ext cx="47874" cy="60640"/>
              </a:xfrm>
              <a:custGeom>
                <a:avLst/>
                <a:gdLst>
                  <a:gd name="T0" fmla="*/ 19 w 31"/>
                  <a:gd name="T1" fmla="*/ 27 h 40"/>
                  <a:gd name="T2" fmla="*/ 19 w 31"/>
                  <a:gd name="T3" fmla="*/ 28 h 40"/>
                  <a:gd name="T4" fmla="*/ 17 w 31"/>
                  <a:gd name="T5" fmla="*/ 28 h 40"/>
                  <a:gd name="T6" fmla="*/ 17 w 31"/>
                  <a:gd name="T7" fmla="*/ 28 h 40"/>
                  <a:gd name="T8" fmla="*/ 16 w 31"/>
                  <a:gd name="T9" fmla="*/ 28 h 40"/>
                  <a:gd name="T10" fmla="*/ 14 w 31"/>
                  <a:gd name="T11" fmla="*/ 20 h 40"/>
                  <a:gd name="T12" fmla="*/ 12 w 31"/>
                  <a:gd name="T13" fmla="*/ 16 h 40"/>
                  <a:gd name="T14" fmla="*/ 12 w 31"/>
                  <a:gd name="T15" fmla="*/ 14 h 40"/>
                  <a:gd name="T16" fmla="*/ 11 w 31"/>
                  <a:gd name="T17" fmla="*/ 13 h 40"/>
                  <a:gd name="T18" fmla="*/ 13 w 31"/>
                  <a:gd name="T19" fmla="*/ 12 h 40"/>
                  <a:gd name="T20" fmla="*/ 14 w 31"/>
                  <a:gd name="T21" fmla="*/ 13 h 40"/>
                  <a:gd name="T22" fmla="*/ 14 w 31"/>
                  <a:gd name="T23" fmla="*/ 13 h 40"/>
                  <a:gd name="T24" fmla="*/ 14 w 31"/>
                  <a:gd name="T25" fmla="*/ 13 h 40"/>
                  <a:gd name="T26" fmla="*/ 14 w 31"/>
                  <a:gd name="T27" fmla="*/ 13 h 40"/>
                  <a:gd name="T28" fmla="*/ 14 w 31"/>
                  <a:gd name="T29" fmla="*/ 13 h 40"/>
                  <a:gd name="T30" fmla="*/ 14 w 31"/>
                  <a:gd name="T31" fmla="*/ 13 h 40"/>
                  <a:gd name="T32" fmla="*/ 15 w 31"/>
                  <a:gd name="T33" fmla="*/ 15 h 40"/>
                  <a:gd name="T34" fmla="*/ 16 w 31"/>
                  <a:gd name="T35" fmla="*/ 19 h 40"/>
                  <a:gd name="T36" fmla="*/ 18 w 31"/>
                  <a:gd name="T37" fmla="*/ 24 h 40"/>
                  <a:gd name="T38" fmla="*/ 19 w 31"/>
                  <a:gd name="T39" fmla="*/ 27 h 40"/>
                  <a:gd name="T40" fmla="*/ 30 w 31"/>
                  <a:gd name="T41" fmla="*/ 23 h 40"/>
                  <a:gd name="T42" fmla="*/ 29 w 31"/>
                  <a:gd name="T43" fmla="*/ 20 h 40"/>
                  <a:gd name="T44" fmla="*/ 26 w 31"/>
                  <a:gd name="T45" fmla="*/ 11 h 40"/>
                  <a:gd name="T46" fmla="*/ 25 w 31"/>
                  <a:gd name="T47" fmla="*/ 9 h 40"/>
                  <a:gd name="T48" fmla="*/ 24 w 31"/>
                  <a:gd name="T49" fmla="*/ 6 h 40"/>
                  <a:gd name="T50" fmla="*/ 19 w 31"/>
                  <a:gd name="T51" fmla="*/ 2 h 40"/>
                  <a:gd name="T52" fmla="*/ 4 w 31"/>
                  <a:gd name="T53" fmla="*/ 4 h 40"/>
                  <a:gd name="T54" fmla="*/ 0 w 31"/>
                  <a:gd name="T55" fmla="*/ 18 h 40"/>
                  <a:gd name="T56" fmla="*/ 1 w 31"/>
                  <a:gd name="T57" fmla="*/ 20 h 40"/>
                  <a:gd name="T58" fmla="*/ 3 w 31"/>
                  <a:gd name="T59" fmla="*/ 24 h 40"/>
                  <a:gd name="T60" fmla="*/ 4 w 31"/>
                  <a:gd name="T61" fmla="*/ 29 h 40"/>
                  <a:gd name="T62" fmla="*/ 5 w 31"/>
                  <a:gd name="T63" fmla="*/ 31 h 40"/>
                  <a:gd name="T64" fmla="*/ 8 w 31"/>
                  <a:gd name="T65" fmla="*/ 36 h 40"/>
                  <a:gd name="T66" fmla="*/ 8 w 31"/>
                  <a:gd name="T67" fmla="*/ 36 h 40"/>
                  <a:gd name="T68" fmla="*/ 27 w 31"/>
                  <a:gd name="T69" fmla="*/ 37 h 40"/>
                  <a:gd name="T70" fmla="*/ 30 w 31"/>
                  <a:gd name="T71" fmla="*/ 23 h 40"/>
                  <a:gd name="T72" fmla="*/ 24 w 31"/>
                  <a:gd name="T7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40">
                    <a:moveTo>
                      <a:pt x="24" y="25"/>
                    </a:moveTo>
                    <a:cubicBezTo>
                      <a:pt x="19" y="27"/>
                      <a:pt x="19" y="27"/>
                      <a:pt x="19" y="27"/>
                    </a:cubicBezTo>
                    <a:cubicBezTo>
                      <a:pt x="19" y="27"/>
                      <a:pt x="19" y="27"/>
                      <a:pt x="19" y="27"/>
                    </a:cubicBezTo>
                    <a:cubicBezTo>
                      <a:pt x="19" y="28"/>
                      <a:pt x="19" y="28"/>
                      <a:pt x="19" y="28"/>
                    </a:cubicBezTo>
                    <a:cubicBezTo>
                      <a:pt x="17" y="29"/>
                      <a:pt x="17" y="29"/>
                      <a:pt x="17" y="29"/>
                    </a:cubicBezTo>
                    <a:cubicBezTo>
                      <a:pt x="17" y="28"/>
                      <a:pt x="17" y="29"/>
                      <a:pt x="17" y="28"/>
                    </a:cubicBezTo>
                    <a:cubicBezTo>
                      <a:pt x="12" y="32"/>
                      <a:pt x="12" y="32"/>
                      <a:pt x="12" y="32"/>
                    </a:cubicBezTo>
                    <a:cubicBezTo>
                      <a:pt x="17" y="28"/>
                      <a:pt x="17" y="28"/>
                      <a:pt x="17" y="28"/>
                    </a:cubicBezTo>
                    <a:cubicBezTo>
                      <a:pt x="16" y="28"/>
                      <a:pt x="16" y="28"/>
                      <a:pt x="16" y="28"/>
                    </a:cubicBezTo>
                    <a:cubicBezTo>
                      <a:pt x="16" y="28"/>
                      <a:pt x="16" y="28"/>
                      <a:pt x="16" y="28"/>
                    </a:cubicBezTo>
                    <a:cubicBezTo>
                      <a:pt x="15" y="25"/>
                      <a:pt x="15" y="25"/>
                      <a:pt x="15" y="25"/>
                    </a:cubicBezTo>
                    <a:cubicBezTo>
                      <a:pt x="14" y="20"/>
                      <a:pt x="14" y="20"/>
                      <a:pt x="14" y="20"/>
                    </a:cubicBezTo>
                    <a:cubicBezTo>
                      <a:pt x="14" y="20"/>
                      <a:pt x="14" y="20"/>
                      <a:pt x="14" y="20"/>
                    </a:cubicBezTo>
                    <a:cubicBezTo>
                      <a:pt x="12" y="16"/>
                      <a:pt x="12" y="16"/>
                      <a:pt x="12" y="16"/>
                    </a:cubicBezTo>
                    <a:cubicBezTo>
                      <a:pt x="12" y="16"/>
                      <a:pt x="12" y="16"/>
                      <a:pt x="12" y="16"/>
                    </a:cubicBezTo>
                    <a:cubicBezTo>
                      <a:pt x="12" y="14"/>
                      <a:pt x="12" y="14"/>
                      <a:pt x="12" y="14"/>
                    </a:cubicBezTo>
                    <a:cubicBezTo>
                      <a:pt x="12" y="14"/>
                      <a:pt x="12" y="14"/>
                      <a:pt x="12" y="14"/>
                    </a:cubicBezTo>
                    <a:cubicBezTo>
                      <a:pt x="11" y="13"/>
                      <a:pt x="11" y="13"/>
                      <a:pt x="11" y="13"/>
                    </a:cubicBezTo>
                    <a:cubicBezTo>
                      <a:pt x="12" y="13"/>
                      <a:pt x="12" y="13"/>
                      <a:pt x="12" y="13"/>
                    </a:cubicBezTo>
                    <a:cubicBezTo>
                      <a:pt x="13" y="12"/>
                      <a:pt x="13" y="12"/>
                      <a:pt x="13" y="12"/>
                    </a:cubicBezTo>
                    <a:cubicBezTo>
                      <a:pt x="13" y="12"/>
                      <a:pt x="13" y="12"/>
                      <a:pt x="13" y="12"/>
                    </a:cubicBezTo>
                    <a:cubicBezTo>
                      <a:pt x="13" y="12"/>
                      <a:pt x="14" y="13"/>
                      <a:pt x="14" y="13"/>
                    </a:cubicBezTo>
                    <a:cubicBezTo>
                      <a:pt x="19" y="10"/>
                      <a:pt x="19" y="10"/>
                      <a:pt x="19" y="10"/>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5" y="15"/>
                      <a:pt x="15" y="15"/>
                      <a:pt x="15" y="15"/>
                    </a:cubicBezTo>
                    <a:cubicBezTo>
                      <a:pt x="15" y="15"/>
                      <a:pt x="15" y="15"/>
                      <a:pt x="15" y="15"/>
                    </a:cubicBezTo>
                    <a:cubicBezTo>
                      <a:pt x="16" y="19"/>
                      <a:pt x="16" y="19"/>
                      <a:pt x="16" y="19"/>
                    </a:cubicBezTo>
                    <a:cubicBezTo>
                      <a:pt x="16" y="19"/>
                      <a:pt x="16" y="19"/>
                      <a:pt x="16" y="19"/>
                    </a:cubicBezTo>
                    <a:cubicBezTo>
                      <a:pt x="18" y="24"/>
                      <a:pt x="18" y="24"/>
                      <a:pt x="18" y="24"/>
                    </a:cubicBezTo>
                    <a:cubicBezTo>
                      <a:pt x="18" y="24"/>
                      <a:pt x="18" y="24"/>
                      <a:pt x="18" y="24"/>
                    </a:cubicBezTo>
                    <a:cubicBezTo>
                      <a:pt x="19" y="27"/>
                      <a:pt x="19" y="27"/>
                      <a:pt x="19" y="27"/>
                    </a:cubicBezTo>
                    <a:cubicBezTo>
                      <a:pt x="19" y="27"/>
                      <a:pt x="19" y="27"/>
                      <a:pt x="19" y="27"/>
                    </a:cubicBezTo>
                    <a:cubicBezTo>
                      <a:pt x="24" y="25"/>
                      <a:pt x="24" y="25"/>
                      <a:pt x="24" y="25"/>
                    </a:cubicBezTo>
                    <a:cubicBezTo>
                      <a:pt x="30" y="23"/>
                      <a:pt x="30" y="23"/>
                      <a:pt x="30" y="23"/>
                    </a:cubicBezTo>
                    <a:cubicBezTo>
                      <a:pt x="29" y="20"/>
                      <a:pt x="29" y="20"/>
                      <a:pt x="29" y="20"/>
                    </a:cubicBezTo>
                    <a:cubicBezTo>
                      <a:pt x="29" y="20"/>
                      <a:pt x="29" y="20"/>
                      <a:pt x="29" y="20"/>
                    </a:cubicBezTo>
                    <a:cubicBezTo>
                      <a:pt x="27" y="15"/>
                      <a:pt x="27" y="15"/>
                      <a:pt x="27" y="15"/>
                    </a:cubicBezTo>
                    <a:cubicBezTo>
                      <a:pt x="26" y="11"/>
                      <a:pt x="26" y="11"/>
                      <a:pt x="26" y="11"/>
                    </a:cubicBezTo>
                    <a:cubicBezTo>
                      <a:pt x="25" y="9"/>
                      <a:pt x="25" y="9"/>
                      <a:pt x="25" y="9"/>
                    </a:cubicBezTo>
                    <a:cubicBezTo>
                      <a:pt x="25" y="9"/>
                      <a:pt x="25" y="9"/>
                      <a:pt x="25" y="9"/>
                    </a:cubicBezTo>
                    <a:cubicBezTo>
                      <a:pt x="25" y="8"/>
                      <a:pt x="24" y="7"/>
                      <a:pt x="24" y="6"/>
                    </a:cubicBezTo>
                    <a:cubicBezTo>
                      <a:pt x="24" y="6"/>
                      <a:pt x="24" y="6"/>
                      <a:pt x="24" y="6"/>
                    </a:cubicBezTo>
                    <a:cubicBezTo>
                      <a:pt x="24" y="6"/>
                      <a:pt x="24" y="6"/>
                      <a:pt x="24" y="6"/>
                    </a:cubicBezTo>
                    <a:cubicBezTo>
                      <a:pt x="22" y="4"/>
                      <a:pt x="21" y="3"/>
                      <a:pt x="19" y="2"/>
                    </a:cubicBezTo>
                    <a:cubicBezTo>
                      <a:pt x="17" y="1"/>
                      <a:pt x="15" y="0"/>
                      <a:pt x="13" y="0"/>
                    </a:cubicBezTo>
                    <a:cubicBezTo>
                      <a:pt x="9" y="1"/>
                      <a:pt x="6" y="2"/>
                      <a:pt x="4" y="4"/>
                    </a:cubicBezTo>
                    <a:cubicBezTo>
                      <a:pt x="1" y="6"/>
                      <a:pt x="0" y="10"/>
                      <a:pt x="0" y="13"/>
                    </a:cubicBezTo>
                    <a:cubicBezTo>
                      <a:pt x="0" y="15"/>
                      <a:pt x="0" y="17"/>
                      <a:pt x="0" y="18"/>
                    </a:cubicBezTo>
                    <a:cubicBezTo>
                      <a:pt x="0" y="18"/>
                      <a:pt x="0" y="18"/>
                      <a:pt x="0" y="18"/>
                    </a:cubicBezTo>
                    <a:cubicBezTo>
                      <a:pt x="1" y="20"/>
                      <a:pt x="1" y="20"/>
                      <a:pt x="1" y="20"/>
                    </a:cubicBezTo>
                    <a:cubicBezTo>
                      <a:pt x="1" y="19"/>
                      <a:pt x="1" y="19"/>
                      <a:pt x="1" y="19"/>
                    </a:cubicBezTo>
                    <a:cubicBezTo>
                      <a:pt x="3" y="24"/>
                      <a:pt x="3" y="24"/>
                      <a:pt x="3" y="24"/>
                    </a:cubicBezTo>
                    <a:cubicBezTo>
                      <a:pt x="3" y="24"/>
                      <a:pt x="3" y="24"/>
                      <a:pt x="3" y="24"/>
                    </a:cubicBezTo>
                    <a:cubicBezTo>
                      <a:pt x="4" y="29"/>
                      <a:pt x="4" y="29"/>
                      <a:pt x="4" y="29"/>
                    </a:cubicBezTo>
                    <a:cubicBezTo>
                      <a:pt x="5" y="31"/>
                      <a:pt x="5" y="31"/>
                      <a:pt x="5" y="31"/>
                    </a:cubicBezTo>
                    <a:cubicBezTo>
                      <a:pt x="5" y="31"/>
                      <a:pt x="5" y="31"/>
                      <a:pt x="5" y="31"/>
                    </a:cubicBezTo>
                    <a:cubicBezTo>
                      <a:pt x="5" y="31"/>
                      <a:pt x="5" y="31"/>
                      <a:pt x="5" y="31"/>
                    </a:cubicBezTo>
                    <a:cubicBezTo>
                      <a:pt x="6" y="33"/>
                      <a:pt x="7" y="35"/>
                      <a:pt x="8" y="36"/>
                    </a:cubicBezTo>
                    <a:cubicBezTo>
                      <a:pt x="8" y="36"/>
                      <a:pt x="8" y="36"/>
                      <a:pt x="8" y="36"/>
                    </a:cubicBezTo>
                    <a:cubicBezTo>
                      <a:pt x="8" y="36"/>
                      <a:pt x="8" y="36"/>
                      <a:pt x="8" y="36"/>
                    </a:cubicBezTo>
                    <a:cubicBezTo>
                      <a:pt x="11" y="39"/>
                      <a:pt x="14" y="40"/>
                      <a:pt x="17" y="40"/>
                    </a:cubicBezTo>
                    <a:cubicBezTo>
                      <a:pt x="21" y="40"/>
                      <a:pt x="24" y="39"/>
                      <a:pt x="27" y="37"/>
                    </a:cubicBezTo>
                    <a:cubicBezTo>
                      <a:pt x="29" y="34"/>
                      <a:pt x="31" y="31"/>
                      <a:pt x="31" y="27"/>
                    </a:cubicBezTo>
                    <a:cubicBezTo>
                      <a:pt x="31" y="26"/>
                      <a:pt x="30" y="24"/>
                      <a:pt x="30" y="23"/>
                    </a:cubicBezTo>
                    <a:cubicBezTo>
                      <a:pt x="30" y="23"/>
                      <a:pt x="30" y="23"/>
                      <a:pt x="30" y="23"/>
                    </a:cubicBezTo>
                    <a:lnTo>
                      <a:pt x="2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7" name="Freeform 39"/>
              <p:cNvSpPr>
                <a:spLocks/>
              </p:cNvSpPr>
              <p:nvPr/>
            </p:nvSpPr>
            <p:spPr bwMode="auto">
              <a:xfrm>
                <a:off x="6855446" y="4075108"/>
                <a:ext cx="30852" cy="48937"/>
              </a:xfrm>
              <a:custGeom>
                <a:avLst/>
                <a:gdLst>
                  <a:gd name="T0" fmla="*/ 19 w 20"/>
                  <a:gd name="T1" fmla="*/ 22 h 33"/>
                  <a:gd name="T2" fmla="*/ 16 w 20"/>
                  <a:gd name="T3" fmla="*/ 30 h 33"/>
                  <a:gd name="T4" fmla="*/ 5 w 20"/>
                  <a:gd name="T5" fmla="*/ 26 h 33"/>
                  <a:gd name="T6" fmla="*/ 4 w 20"/>
                  <a:gd name="T7" fmla="*/ 21 h 33"/>
                  <a:gd name="T8" fmla="*/ 3 w 20"/>
                  <a:gd name="T9" fmla="*/ 16 h 33"/>
                  <a:gd name="T10" fmla="*/ 2 w 20"/>
                  <a:gd name="T11" fmla="*/ 12 h 33"/>
                  <a:gd name="T12" fmla="*/ 14 w 20"/>
                  <a:gd name="T13" fmla="*/ 5 h 33"/>
                  <a:gd name="T14" fmla="*/ 16 w 20"/>
                  <a:gd name="T15" fmla="*/ 8 h 33"/>
                  <a:gd name="T16" fmla="*/ 17 w 20"/>
                  <a:gd name="T17" fmla="*/ 12 h 33"/>
                  <a:gd name="T18" fmla="*/ 18 w 20"/>
                  <a:gd name="T19" fmla="*/ 17 h 33"/>
                  <a:gd name="T20" fmla="*/ 19 w 20"/>
                  <a:gd name="T21"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33">
                    <a:moveTo>
                      <a:pt x="19" y="22"/>
                    </a:moveTo>
                    <a:cubicBezTo>
                      <a:pt x="20" y="25"/>
                      <a:pt x="19" y="28"/>
                      <a:pt x="16" y="30"/>
                    </a:cubicBezTo>
                    <a:cubicBezTo>
                      <a:pt x="12" y="33"/>
                      <a:pt x="7" y="30"/>
                      <a:pt x="5" y="26"/>
                    </a:cubicBezTo>
                    <a:cubicBezTo>
                      <a:pt x="4" y="21"/>
                      <a:pt x="4" y="21"/>
                      <a:pt x="4" y="21"/>
                    </a:cubicBezTo>
                    <a:cubicBezTo>
                      <a:pt x="3" y="16"/>
                      <a:pt x="3" y="16"/>
                      <a:pt x="3" y="16"/>
                    </a:cubicBezTo>
                    <a:cubicBezTo>
                      <a:pt x="2" y="12"/>
                      <a:pt x="2" y="12"/>
                      <a:pt x="2" y="12"/>
                    </a:cubicBezTo>
                    <a:cubicBezTo>
                      <a:pt x="0" y="5"/>
                      <a:pt x="9" y="0"/>
                      <a:pt x="14" y="5"/>
                    </a:cubicBezTo>
                    <a:cubicBezTo>
                      <a:pt x="15" y="6"/>
                      <a:pt x="15" y="7"/>
                      <a:pt x="16" y="8"/>
                    </a:cubicBezTo>
                    <a:cubicBezTo>
                      <a:pt x="17" y="12"/>
                      <a:pt x="17" y="12"/>
                      <a:pt x="17" y="12"/>
                    </a:cubicBezTo>
                    <a:cubicBezTo>
                      <a:pt x="18" y="17"/>
                      <a:pt x="18" y="17"/>
                      <a:pt x="18" y="17"/>
                    </a:cubicBezTo>
                    <a:lnTo>
                      <a:pt x="19"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8" name="Freeform 40"/>
              <p:cNvSpPr>
                <a:spLocks/>
              </p:cNvSpPr>
              <p:nvPr/>
            </p:nvSpPr>
            <p:spPr bwMode="auto">
              <a:xfrm>
                <a:off x="6850126" y="4069789"/>
                <a:ext cx="44682" cy="60640"/>
              </a:xfrm>
              <a:custGeom>
                <a:avLst/>
                <a:gdLst>
                  <a:gd name="T0" fmla="*/ 23 w 30"/>
                  <a:gd name="T1" fmla="*/ 25 h 40"/>
                  <a:gd name="T2" fmla="*/ 18 w 30"/>
                  <a:gd name="T3" fmla="*/ 27 h 40"/>
                  <a:gd name="T4" fmla="*/ 18 w 30"/>
                  <a:gd name="T5" fmla="*/ 27 h 40"/>
                  <a:gd name="T6" fmla="*/ 17 w 30"/>
                  <a:gd name="T7" fmla="*/ 28 h 40"/>
                  <a:gd name="T8" fmla="*/ 17 w 30"/>
                  <a:gd name="T9" fmla="*/ 28 h 40"/>
                  <a:gd name="T10" fmla="*/ 17 w 30"/>
                  <a:gd name="T11" fmla="*/ 28 h 40"/>
                  <a:gd name="T12" fmla="*/ 17 w 30"/>
                  <a:gd name="T13" fmla="*/ 28 h 40"/>
                  <a:gd name="T14" fmla="*/ 16 w 30"/>
                  <a:gd name="T15" fmla="*/ 28 h 40"/>
                  <a:gd name="T16" fmla="*/ 15 w 30"/>
                  <a:gd name="T17" fmla="*/ 27 h 40"/>
                  <a:gd name="T18" fmla="*/ 14 w 30"/>
                  <a:gd name="T19" fmla="*/ 22 h 40"/>
                  <a:gd name="T20" fmla="*/ 13 w 30"/>
                  <a:gd name="T21" fmla="*/ 17 h 40"/>
                  <a:gd name="T22" fmla="*/ 11 w 30"/>
                  <a:gd name="T23" fmla="*/ 13 h 40"/>
                  <a:gd name="T24" fmla="*/ 6 w 30"/>
                  <a:gd name="T25" fmla="*/ 15 h 40"/>
                  <a:gd name="T26" fmla="*/ 11 w 30"/>
                  <a:gd name="T27" fmla="*/ 13 h 40"/>
                  <a:gd name="T28" fmla="*/ 11 w 30"/>
                  <a:gd name="T29" fmla="*/ 13 h 40"/>
                  <a:gd name="T30" fmla="*/ 12 w 30"/>
                  <a:gd name="T31" fmla="*/ 12 h 40"/>
                  <a:gd name="T32" fmla="*/ 13 w 30"/>
                  <a:gd name="T33" fmla="*/ 12 h 40"/>
                  <a:gd name="T34" fmla="*/ 14 w 30"/>
                  <a:gd name="T35" fmla="*/ 12 h 40"/>
                  <a:gd name="T36" fmla="*/ 18 w 30"/>
                  <a:gd name="T37" fmla="*/ 8 h 40"/>
                  <a:gd name="T38" fmla="*/ 14 w 30"/>
                  <a:gd name="T39" fmla="*/ 12 h 40"/>
                  <a:gd name="T40" fmla="*/ 14 w 30"/>
                  <a:gd name="T41" fmla="*/ 13 h 40"/>
                  <a:gd name="T42" fmla="*/ 14 w 30"/>
                  <a:gd name="T43" fmla="*/ 13 h 40"/>
                  <a:gd name="T44" fmla="*/ 15 w 30"/>
                  <a:gd name="T45" fmla="*/ 17 h 40"/>
                  <a:gd name="T46" fmla="*/ 15 w 30"/>
                  <a:gd name="T47" fmla="*/ 17 h 40"/>
                  <a:gd name="T48" fmla="*/ 17 w 30"/>
                  <a:gd name="T49" fmla="*/ 22 h 40"/>
                  <a:gd name="T50" fmla="*/ 18 w 30"/>
                  <a:gd name="T51" fmla="*/ 27 h 40"/>
                  <a:gd name="T52" fmla="*/ 18 w 30"/>
                  <a:gd name="T53" fmla="*/ 27 h 40"/>
                  <a:gd name="T54" fmla="*/ 23 w 30"/>
                  <a:gd name="T55" fmla="*/ 25 h 40"/>
                  <a:gd name="T56" fmla="*/ 29 w 30"/>
                  <a:gd name="T57" fmla="*/ 24 h 40"/>
                  <a:gd name="T58" fmla="*/ 28 w 30"/>
                  <a:gd name="T59" fmla="*/ 19 h 40"/>
                  <a:gd name="T60" fmla="*/ 26 w 30"/>
                  <a:gd name="T61" fmla="*/ 14 h 40"/>
                  <a:gd name="T62" fmla="*/ 25 w 30"/>
                  <a:gd name="T63" fmla="*/ 10 h 40"/>
                  <a:gd name="T64" fmla="*/ 20 w 30"/>
                  <a:gd name="T65" fmla="*/ 11 h 40"/>
                  <a:gd name="T66" fmla="*/ 25 w 30"/>
                  <a:gd name="T67" fmla="*/ 10 h 40"/>
                  <a:gd name="T68" fmla="*/ 22 w 30"/>
                  <a:gd name="T69" fmla="*/ 4 h 40"/>
                  <a:gd name="T70" fmla="*/ 22 w 30"/>
                  <a:gd name="T71" fmla="*/ 4 h 40"/>
                  <a:gd name="T72" fmla="*/ 22 w 30"/>
                  <a:gd name="T73" fmla="*/ 4 h 40"/>
                  <a:gd name="T74" fmla="*/ 13 w 30"/>
                  <a:gd name="T75" fmla="*/ 0 h 40"/>
                  <a:gd name="T76" fmla="*/ 4 w 30"/>
                  <a:gd name="T77" fmla="*/ 4 h 40"/>
                  <a:gd name="T78" fmla="*/ 0 w 30"/>
                  <a:gd name="T79" fmla="*/ 13 h 40"/>
                  <a:gd name="T80" fmla="*/ 0 w 30"/>
                  <a:gd name="T81" fmla="*/ 16 h 40"/>
                  <a:gd name="T82" fmla="*/ 0 w 30"/>
                  <a:gd name="T83" fmla="*/ 16 h 40"/>
                  <a:gd name="T84" fmla="*/ 1 w 30"/>
                  <a:gd name="T85" fmla="*/ 20 h 40"/>
                  <a:gd name="T86" fmla="*/ 1 w 30"/>
                  <a:gd name="T87" fmla="*/ 20 h 40"/>
                  <a:gd name="T88" fmla="*/ 3 w 30"/>
                  <a:gd name="T89" fmla="*/ 26 h 40"/>
                  <a:gd name="T90" fmla="*/ 3 w 30"/>
                  <a:gd name="T91" fmla="*/ 25 h 40"/>
                  <a:gd name="T92" fmla="*/ 4 w 30"/>
                  <a:gd name="T93" fmla="*/ 30 h 40"/>
                  <a:gd name="T94" fmla="*/ 4 w 30"/>
                  <a:gd name="T95" fmla="*/ 30 h 40"/>
                  <a:gd name="T96" fmla="*/ 9 w 30"/>
                  <a:gd name="T97" fmla="*/ 37 h 40"/>
                  <a:gd name="T98" fmla="*/ 17 w 30"/>
                  <a:gd name="T99" fmla="*/ 40 h 40"/>
                  <a:gd name="T100" fmla="*/ 24 w 30"/>
                  <a:gd name="T101" fmla="*/ 38 h 40"/>
                  <a:gd name="T102" fmla="*/ 24 w 30"/>
                  <a:gd name="T103" fmla="*/ 38 h 40"/>
                  <a:gd name="T104" fmla="*/ 30 w 30"/>
                  <a:gd name="T105" fmla="*/ 27 h 40"/>
                  <a:gd name="T106" fmla="*/ 29 w 30"/>
                  <a:gd name="T107" fmla="*/ 24 h 40"/>
                  <a:gd name="T108" fmla="*/ 29 w 30"/>
                  <a:gd name="T109" fmla="*/ 24 h 40"/>
                  <a:gd name="T110" fmla="*/ 29 w 30"/>
                  <a:gd name="T111" fmla="*/ 24 h 40"/>
                  <a:gd name="T112" fmla="*/ 23 w 30"/>
                  <a:gd name="T11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 h="40">
                    <a:moveTo>
                      <a:pt x="23" y="25"/>
                    </a:moveTo>
                    <a:cubicBezTo>
                      <a:pt x="18" y="27"/>
                      <a:pt x="18" y="27"/>
                      <a:pt x="18" y="27"/>
                    </a:cubicBezTo>
                    <a:cubicBezTo>
                      <a:pt x="18" y="27"/>
                      <a:pt x="18" y="27"/>
                      <a:pt x="18" y="27"/>
                    </a:cubicBezTo>
                    <a:cubicBezTo>
                      <a:pt x="18" y="27"/>
                      <a:pt x="18" y="28"/>
                      <a:pt x="17" y="28"/>
                    </a:cubicBezTo>
                    <a:cubicBezTo>
                      <a:pt x="17" y="28"/>
                      <a:pt x="17" y="28"/>
                      <a:pt x="17" y="28"/>
                    </a:cubicBezTo>
                    <a:cubicBezTo>
                      <a:pt x="17" y="28"/>
                      <a:pt x="17" y="28"/>
                      <a:pt x="17" y="28"/>
                    </a:cubicBezTo>
                    <a:cubicBezTo>
                      <a:pt x="17" y="28"/>
                      <a:pt x="17" y="28"/>
                      <a:pt x="17" y="28"/>
                    </a:cubicBezTo>
                    <a:cubicBezTo>
                      <a:pt x="16" y="28"/>
                      <a:pt x="16" y="28"/>
                      <a:pt x="16" y="28"/>
                    </a:cubicBezTo>
                    <a:cubicBezTo>
                      <a:pt x="15" y="27"/>
                      <a:pt x="15" y="27"/>
                      <a:pt x="15" y="27"/>
                    </a:cubicBezTo>
                    <a:cubicBezTo>
                      <a:pt x="14" y="22"/>
                      <a:pt x="14" y="22"/>
                      <a:pt x="14" y="22"/>
                    </a:cubicBezTo>
                    <a:cubicBezTo>
                      <a:pt x="13" y="17"/>
                      <a:pt x="13" y="17"/>
                      <a:pt x="13" y="17"/>
                    </a:cubicBezTo>
                    <a:cubicBezTo>
                      <a:pt x="11" y="13"/>
                      <a:pt x="11" y="13"/>
                      <a:pt x="11" y="13"/>
                    </a:cubicBezTo>
                    <a:cubicBezTo>
                      <a:pt x="6" y="15"/>
                      <a:pt x="6" y="15"/>
                      <a:pt x="6" y="15"/>
                    </a:cubicBezTo>
                    <a:cubicBezTo>
                      <a:pt x="11" y="13"/>
                      <a:pt x="11" y="13"/>
                      <a:pt x="11" y="13"/>
                    </a:cubicBezTo>
                    <a:cubicBezTo>
                      <a:pt x="11" y="13"/>
                      <a:pt x="11" y="13"/>
                      <a:pt x="11" y="13"/>
                    </a:cubicBezTo>
                    <a:cubicBezTo>
                      <a:pt x="11" y="13"/>
                      <a:pt x="12" y="12"/>
                      <a:pt x="12" y="12"/>
                    </a:cubicBezTo>
                    <a:cubicBezTo>
                      <a:pt x="13" y="12"/>
                      <a:pt x="13" y="12"/>
                      <a:pt x="13" y="12"/>
                    </a:cubicBezTo>
                    <a:cubicBezTo>
                      <a:pt x="13" y="12"/>
                      <a:pt x="13" y="12"/>
                      <a:pt x="14" y="12"/>
                    </a:cubicBezTo>
                    <a:cubicBezTo>
                      <a:pt x="18" y="8"/>
                      <a:pt x="18" y="8"/>
                      <a:pt x="18" y="8"/>
                    </a:cubicBezTo>
                    <a:cubicBezTo>
                      <a:pt x="14" y="12"/>
                      <a:pt x="14" y="12"/>
                      <a:pt x="14" y="12"/>
                    </a:cubicBezTo>
                    <a:cubicBezTo>
                      <a:pt x="14" y="12"/>
                      <a:pt x="14" y="13"/>
                      <a:pt x="14" y="13"/>
                    </a:cubicBezTo>
                    <a:cubicBezTo>
                      <a:pt x="14" y="13"/>
                      <a:pt x="14" y="13"/>
                      <a:pt x="14" y="13"/>
                    </a:cubicBezTo>
                    <a:cubicBezTo>
                      <a:pt x="15" y="17"/>
                      <a:pt x="15" y="17"/>
                      <a:pt x="15" y="17"/>
                    </a:cubicBezTo>
                    <a:cubicBezTo>
                      <a:pt x="15" y="17"/>
                      <a:pt x="15" y="17"/>
                      <a:pt x="15" y="17"/>
                    </a:cubicBezTo>
                    <a:cubicBezTo>
                      <a:pt x="17" y="22"/>
                      <a:pt x="17" y="22"/>
                      <a:pt x="17" y="22"/>
                    </a:cubicBezTo>
                    <a:cubicBezTo>
                      <a:pt x="18" y="27"/>
                      <a:pt x="18" y="27"/>
                      <a:pt x="18" y="27"/>
                    </a:cubicBezTo>
                    <a:cubicBezTo>
                      <a:pt x="18" y="27"/>
                      <a:pt x="18" y="27"/>
                      <a:pt x="18" y="27"/>
                    </a:cubicBezTo>
                    <a:cubicBezTo>
                      <a:pt x="23" y="25"/>
                      <a:pt x="23" y="25"/>
                      <a:pt x="23" y="25"/>
                    </a:cubicBezTo>
                    <a:cubicBezTo>
                      <a:pt x="29" y="24"/>
                      <a:pt x="29" y="24"/>
                      <a:pt x="29" y="24"/>
                    </a:cubicBezTo>
                    <a:cubicBezTo>
                      <a:pt x="28" y="19"/>
                      <a:pt x="28" y="19"/>
                      <a:pt x="28" y="19"/>
                    </a:cubicBezTo>
                    <a:cubicBezTo>
                      <a:pt x="26" y="14"/>
                      <a:pt x="26" y="14"/>
                      <a:pt x="26" y="14"/>
                    </a:cubicBezTo>
                    <a:cubicBezTo>
                      <a:pt x="25" y="10"/>
                      <a:pt x="25" y="10"/>
                      <a:pt x="25" y="10"/>
                    </a:cubicBezTo>
                    <a:cubicBezTo>
                      <a:pt x="20" y="11"/>
                      <a:pt x="20" y="11"/>
                      <a:pt x="20" y="11"/>
                    </a:cubicBezTo>
                    <a:cubicBezTo>
                      <a:pt x="25" y="10"/>
                      <a:pt x="25" y="10"/>
                      <a:pt x="25" y="10"/>
                    </a:cubicBezTo>
                    <a:cubicBezTo>
                      <a:pt x="25" y="7"/>
                      <a:pt x="23" y="5"/>
                      <a:pt x="22" y="4"/>
                    </a:cubicBezTo>
                    <a:cubicBezTo>
                      <a:pt x="22" y="4"/>
                      <a:pt x="22" y="4"/>
                      <a:pt x="22" y="4"/>
                    </a:cubicBezTo>
                    <a:cubicBezTo>
                      <a:pt x="22" y="4"/>
                      <a:pt x="22" y="4"/>
                      <a:pt x="22" y="4"/>
                    </a:cubicBezTo>
                    <a:cubicBezTo>
                      <a:pt x="19" y="1"/>
                      <a:pt x="16" y="0"/>
                      <a:pt x="13" y="0"/>
                    </a:cubicBezTo>
                    <a:cubicBezTo>
                      <a:pt x="9" y="0"/>
                      <a:pt x="6" y="1"/>
                      <a:pt x="4" y="4"/>
                    </a:cubicBezTo>
                    <a:cubicBezTo>
                      <a:pt x="1" y="6"/>
                      <a:pt x="0" y="9"/>
                      <a:pt x="0" y="13"/>
                    </a:cubicBezTo>
                    <a:cubicBezTo>
                      <a:pt x="0" y="14"/>
                      <a:pt x="0" y="15"/>
                      <a:pt x="0" y="16"/>
                    </a:cubicBezTo>
                    <a:cubicBezTo>
                      <a:pt x="0" y="16"/>
                      <a:pt x="0" y="16"/>
                      <a:pt x="0" y="16"/>
                    </a:cubicBezTo>
                    <a:cubicBezTo>
                      <a:pt x="1" y="20"/>
                      <a:pt x="1" y="20"/>
                      <a:pt x="1" y="20"/>
                    </a:cubicBezTo>
                    <a:cubicBezTo>
                      <a:pt x="1" y="20"/>
                      <a:pt x="1" y="20"/>
                      <a:pt x="1" y="20"/>
                    </a:cubicBezTo>
                    <a:cubicBezTo>
                      <a:pt x="3" y="26"/>
                      <a:pt x="3" y="26"/>
                      <a:pt x="3" y="26"/>
                    </a:cubicBezTo>
                    <a:cubicBezTo>
                      <a:pt x="3" y="25"/>
                      <a:pt x="3" y="25"/>
                      <a:pt x="3" y="25"/>
                    </a:cubicBezTo>
                    <a:cubicBezTo>
                      <a:pt x="4" y="30"/>
                      <a:pt x="4" y="30"/>
                      <a:pt x="4" y="30"/>
                    </a:cubicBezTo>
                    <a:cubicBezTo>
                      <a:pt x="4" y="30"/>
                      <a:pt x="4" y="30"/>
                      <a:pt x="4" y="30"/>
                    </a:cubicBezTo>
                    <a:cubicBezTo>
                      <a:pt x="5" y="33"/>
                      <a:pt x="6" y="36"/>
                      <a:pt x="9" y="37"/>
                    </a:cubicBezTo>
                    <a:cubicBezTo>
                      <a:pt x="11" y="39"/>
                      <a:pt x="14" y="40"/>
                      <a:pt x="17" y="40"/>
                    </a:cubicBezTo>
                    <a:cubicBezTo>
                      <a:pt x="19" y="40"/>
                      <a:pt x="21" y="39"/>
                      <a:pt x="24" y="38"/>
                    </a:cubicBezTo>
                    <a:cubicBezTo>
                      <a:pt x="24" y="38"/>
                      <a:pt x="24" y="38"/>
                      <a:pt x="24" y="38"/>
                    </a:cubicBezTo>
                    <a:cubicBezTo>
                      <a:pt x="27" y="35"/>
                      <a:pt x="30" y="31"/>
                      <a:pt x="30" y="27"/>
                    </a:cubicBezTo>
                    <a:cubicBezTo>
                      <a:pt x="30" y="26"/>
                      <a:pt x="29" y="25"/>
                      <a:pt x="29" y="24"/>
                    </a:cubicBezTo>
                    <a:cubicBezTo>
                      <a:pt x="29" y="24"/>
                      <a:pt x="29" y="24"/>
                      <a:pt x="29" y="24"/>
                    </a:cubicBezTo>
                    <a:cubicBezTo>
                      <a:pt x="29" y="24"/>
                      <a:pt x="29" y="24"/>
                      <a:pt x="29" y="24"/>
                    </a:cubicBezTo>
                    <a:lnTo>
                      <a:pt x="2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9" name="Freeform 41"/>
              <p:cNvSpPr>
                <a:spLocks/>
              </p:cNvSpPr>
              <p:nvPr/>
            </p:nvSpPr>
            <p:spPr bwMode="auto">
              <a:xfrm>
                <a:off x="6886297" y="4200643"/>
                <a:ext cx="29788" cy="54257"/>
              </a:xfrm>
              <a:custGeom>
                <a:avLst/>
                <a:gdLst>
                  <a:gd name="T0" fmla="*/ 18 w 20"/>
                  <a:gd name="T1" fmla="*/ 24 h 36"/>
                  <a:gd name="T2" fmla="*/ 5 w 20"/>
                  <a:gd name="T3" fmla="*/ 28 h 36"/>
                  <a:gd name="T4" fmla="*/ 4 w 20"/>
                  <a:gd name="T5" fmla="*/ 27 h 36"/>
                  <a:gd name="T6" fmla="*/ 4 w 20"/>
                  <a:gd name="T7" fmla="*/ 25 h 36"/>
                  <a:gd name="T8" fmla="*/ 3 w 20"/>
                  <a:gd name="T9" fmla="*/ 19 h 36"/>
                  <a:gd name="T10" fmla="*/ 2 w 20"/>
                  <a:gd name="T11" fmla="*/ 14 h 36"/>
                  <a:gd name="T12" fmla="*/ 1 w 20"/>
                  <a:gd name="T13" fmla="*/ 13 h 36"/>
                  <a:gd name="T14" fmla="*/ 15 w 20"/>
                  <a:gd name="T15" fmla="*/ 7 h 36"/>
                  <a:gd name="T16" fmla="*/ 16 w 20"/>
                  <a:gd name="T17" fmla="*/ 10 h 36"/>
                  <a:gd name="T18" fmla="*/ 16 w 20"/>
                  <a:gd name="T19" fmla="*/ 11 h 36"/>
                  <a:gd name="T20" fmla="*/ 17 w 20"/>
                  <a:gd name="T21" fmla="*/ 16 h 36"/>
                  <a:gd name="T22" fmla="*/ 18 w 20"/>
                  <a:gd name="T23" fmla="*/ 22 h 36"/>
                  <a:gd name="T24" fmla="*/ 18 w 20"/>
                  <a:gd name="T25"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6">
                    <a:moveTo>
                      <a:pt x="18" y="24"/>
                    </a:moveTo>
                    <a:cubicBezTo>
                      <a:pt x="20" y="32"/>
                      <a:pt x="8" y="36"/>
                      <a:pt x="5" y="28"/>
                    </a:cubicBezTo>
                    <a:cubicBezTo>
                      <a:pt x="4" y="28"/>
                      <a:pt x="4" y="27"/>
                      <a:pt x="4" y="27"/>
                    </a:cubicBezTo>
                    <a:cubicBezTo>
                      <a:pt x="4" y="25"/>
                      <a:pt x="4" y="25"/>
                      <a:pt x="4" y="25"/>
                    </a:cubicBezTo>
                    <a:cubicBezTo>
                      <a:pt x="3" y="19"/>
                      <a:pt x="3" y="19"/>
                      <a:pt x="3" y="19"/>
                    </a:cubicBezTo>
                    <a:cubicBezTo>
                      <a:pt x="2" y="14"/>
                      <a:pt x="2" y="14"/>
                      <a:pt x="2" y="14"/>
                    </a:cubicBezTo>
                    <a:cubicBezTo>
                      <a:pt x="1" y="13"/>
                      <a:pt x="1" y="13"/>
                      <a:pt x="1" y="13"/>
                    </a:cubicBezTo>
                    <a:cubicBezTo>
                      <a:pt x="0" y="5"/>
                      <a:pt x="10" y="0"/>
                      <a:pt x="15" y="7"/>
                    </a:cubicBezTo>
                    <a:cubicBezTo>
                      <a:pt x="15" y="8"/>
                      <a:pt x="15" y="9"/>
                      <a:pt x="16" y="10"/>
                    </a:cubicBezTo>
                    <a:cubicBezTo>
                      <a:pt x="16" y="11"/>
                      <a:pt x="16" y="11"/>
                      <a:pt x="16" y="11"/>
                    </a:cubicBezTo>
                    <a:cubicBezTo>
                      <a:pt x="17" y="16"/>
                      <a:pt x="17" y="16"/>
                      <a:pt x="17" y="16"/>
                    </a:cubicBezTo>
                    <a:cubicBezTo>
                      <a:pt x="18" y="22"/>
                      <a:pt x="18" y="22"/>
                      <a:pt x="18" y="22"/>
                    </a:cubicBezTo>
                    <a:lnTo>
                      <a:pt x="18"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0" name="Freeform 42"/>
              <p:cNvSpPr>
                <a:spLocks/>
              </p:cNvSpPr>
              <p:nvPr/>
            </p:nvSpPr>
            <p:spPr bwMode="auto">
              <a:xfrm>
                <a:off x="6878850" y="4197452"/>
                <a:ext cx="43618" cy="60640"/>
              </a:xfrm>
              <a:custGeom>
                <a:avLst/>
                <a:gdLst>
                  <a:gd name="T0" fmla="*/ 18 w 29"/>
                  <a:gd name="T1" fmla="*/ 27 h 40"/>
                  <a:gd name="T2" fmla="*/ 17 w 29"/>
                  <a:gd name="T3" fmla="*/ 28 h 40"/>
                  <a:gd name="T4" fmla="*/ 16 w 29"/>
                  <a:gd name="T5" fmla="*/ 28 h 40"/>
                  <a:gd name="T6" fmla="*/ 10 w 29"/>
                  <a:gd name="T7" fmla="*/ 30 h 40"/>
                  <a:gd name="T8" fmla="*/ 15 w 29"/>
                  <a:gd name="T9" fmla="*/ 27 h 40"/>
                  <a:gd name="T10" fmla="*/ 15 w 29"/>
                  <a:gd name="T11" fmla="*/ 28 h 40"/>
                  <a:gd name="T12" fmla="*/ 15 w 29"/>
                  <a:gd name="T13" fmla="*/ 26 h 40"/>
                  <a:gd name="T14" fmla="*/ 13 w 29"/>
                  <a:gd name="T15" fmla="*/ 20 h 40"/>
                  <a:gd name="T16" fmla="*/ 12 w 29"/>
                  <a:gd name="T17" fmla="*/ 14 h 40"/>
                  <a:gd name="T18" fmla="*/ 12 w 29"/>
                  <a:gd name="T19" fmla="*/ 13 h 40"/>
                  <a:gd name="T20" fmla="*/ 12 w 29"/>
                  <a:gd name="T21" fmla="*/ 13 h 40"/>
                  <a:gd name="T22" fmla="*/ 14 w 29"/>
                  <a:gd name="T23" fmla="*/ 12 h 40"/>
                  <a:gd name="T24" fmla="*/ 15 w 29"/>
                  <a:gd name="T25" fmla="*/ 12 h 40"/>
                  <a:gd name="T26" fmla="*/ 15 w 29"/>
                  <a:gd name="T27" fmla="*/ 12 h 40"/>
                  <a:gd name="T28" fmla="*/ 15 w 29"/>
                  <a:gd name="T29" fmla="*/ 13 h 40"/>
                  <a:gd name="T30" fmla="*/ 15 w 29"/>
                  <a:gd name="T31" fmla="*/ 14 h 40"/>
                  <a:gd name="T32" fmla="*/ 16 w 29"/>
                  <a:gd name="T33" fmla="*/ 20 h 40"/>
                  <a:gd name="T34" fmla="*/ 17 w 29"/>
                  <a:gd name="T35" fmla="*/ 25 h 40"/>
                  <a:gd name="T36" fmla="*/ 18 w 29"/>
                  <a:gd name="T37" fmla="*/ 27 h 40"/>
                  <a:gd name="T38" fmla="*/ 29 w 29"/>
                  <a:gd name="T39" fmla="*/ 25 h 40"/>
                  <a:gd name="T40" fmla="*/ 29 w 29"/>
                  <a:gd name="T41" fmla="*/ 23 h 40"/>
                  <a:gd name="T42" fmla="*/ 27 w 29"/>
                  <a:gd name="T43" fmla="*/ 12 h 40"/>
                  <a:gd name="T44" fmla="*/ 26 w 29"/>
                  <a:gd name="T45" fmla="*/ 11 h 40"/>
                  <a:gd name="T46" fmla="*/ 26 w 29"/>
                  <a:gd name="T47" fmla="*/ 10 h 40"/>
                  <a:gd name="T48" fmla="*/ 24 w 29"/>
                  <a:gd name="T49" fmla="*/ 6 h 40"/>
                  <a:gd name="T50" fmla="*/ 19 w 29"/>
                  <a:gd name="T51" fmla="*/ 1 h 40"/>
                  <a:gd name="T52" fmla="*/ 5 w 29"/>
                  <a:gd name="T53" fmla="*/ 4 h 40"/>
                  <a:gd name="T54" fmla="*/ 1 w 29"/>
                  <a:gd name="T55" fmla="*/ 16 h 40"/>
                  <a:gd name="T56" fmla="*/ 1 w 29"/>
                  <a:gd name="T57" fmla="*/ 17 h 40"/>
                  <a:gd name="T58" fmla="*/ 2 w 29"/>
                  <a:gd name="T59" fmla="*/ 22 h 40"/>
                  <a:gd name="T60" fmla="*/ 3 w 29"/>
                  <a:gd name="T61" fmla="*/ 28 h 40"/>
                  <a:gd name="T62" fmla="*/ 3 w 29"/>
                  <a:gd name="T63" fmla="*/ 30 h 40"/>
                  <a:gd name="T64" fmla="*/ 4 w 29"/>
                  <a:gd name="T65" fmla="*/ 32 h 40"/>
                  <a:gd name="T66" fmla="*/ 4 w 29"/>
                  <a:gd name="T67" fmla="*/ 33 h 40"/>
                  <a:gd name="T68" fmla="*/ 16 w 29"/>
                  <a:gd name="T69" fmla="*/ 40 h 40"/>
                  <a:gd name="T70" fmla="*/ 29 w 29"/>
                  <a:gd name="T71" fmla="*/ 27 h 40"/>
                  <a:gd name="T72" fmla="*/ 29 w 29"/>
                  <a:gd name="T73" fmla="*/ 25 h 40"/>
                  <a:gd name="T74" fmla="*/ 23 w 29"/>
                  <a:gd name="T75"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 h="40">
                    <a:moveTo>
                      <a:pt x="23" y="26"/>
                    </a:moveTo>
                    <a:cubicBezTo>
                      <a:pt x="18" y="27"/>
                      <a:pt x="18" y="27"/>
                      <a:pt x="18" y="27"/>
                    </a:cubicBezTo>
                    <a:cubicBezTo>
                      <a:pt x="18" y="27"/>
                      <a:pt x="18" y="27"/>
                      <a:pt x="18" y="27"/>
                    </a:cubicBezTo>
                    <a:cubicBezTo>
                      <a:pt x="18" y="28"/>
                      <a:pt x="17" y="28"/>
                      <a:pt x="17" y="28"/>
                    </a:cubicBezTo>
                    <a:cubicBezTo>
                      <a:pt x="17" y="28"/>
                      <a:pt x="16" y="29"/>
                      <a:pt x="16" y="29"/>
                    </a:cubicBezTo>
                    <a:cubicBezTo>
                      <a:pt x="16" y="28"/>
                      <a:pt x="16" y="28"/>
                      <a:pt x="16" y="28"/>
                    </a:cubicBezTo>
                    <a:cubicBezTo>
                      <a:pt x="15" y="28"/>
                      <a:pt x="15" y="28"/>
                      <a:pt x="15" y="28"/>
                    </a:cubicBezTo>
                    <a:cubicBezTo>
                      <a:pt x="10" y="30"/>
                      <a:pt x="10" y="30"/>
                      <a:pt x="10" y="30"/>
                    </a:cubicBezTo>
                    <a:cubicBezTo>
                      <a:pt x="15" y="28"/>
                      <a:pt x="15" y="28"/>
                      <a:pt x="15" y="28"/>
                    </a:cubicBezTo>
                    <a:cubicBezTo>
                      <a:pt x="15" y="27"/>
                      <a:pt x="15" y="27"/>
                      <a:pt x="15" y="27"/>
                    </a:cubicBezTo>
                    <a:cubicBezTo>
                      <a:pt x="9" y="29"/>
                      <a:pt x="9" y="29"/>
                      <a:pt x="9" y="29"/>
                    </a:cubicBezTo>
                    <a:cubicBezTo>
                      <a:pt x="15" y="28"/>
                      <a:pt x="15" y="28"/>
                      <a:pt x="15" y="28"/>
                    </a:cubicBezTo>
                    <a:cubicBezTo>
                      <a:pt x="15" y="26"/>
                      <a:pt x="15" y="26"/>
                      <a:pt x="15" y="26"/>
                    </a:cubicBezTo>
                    <a:cubicBezTo>
                      <a:pt x="15" y="26"/>
                      <a:pt x="15" y="26"/>
                      <a:pt x="15" y="26"/>
                    </a:cubicBezTo>
                    <a:cubicBezTo>
                      <a:pt x="13" y="20"/>
                      <a:pt x="13" y="20"/>
                      <a:pt x="13" y="20"/>
                    </a:cubicBezTo>
                    <a:cubicBezTo>
                      <a:pt x="13" y="20"/>
                      <a:pt x="13" y="20"/>
                      <a:pt x="13" y="20"/>
                    </a:cubicBezTo>
                    <a:cubicBezTo>
                      <a:pt x="12" y="14"/>
                      <a:pt x="12" y="14"/>
                      <a:pt x="12" y="14"/>
                    </a:cubicBezTo>
                    <a:cubicBezTo>
                      <a:pt x="12" y="14"/>
                      <a:pt x="12" y="14"/>
                      <a:pt x="12" y="14"/>
                    </a:cubicBezTo>
                    <a:cubicBezTo>
                      <a:pt x="12" y="13"/>
                      <a:pt x="12" y="13"/>
                      <a:pt x="12" y="13"/>
                    </a:cubicBezTo>
                    <a:cubicBezTo>
                      <a:pt x="12" y="13"/>
                      <a:pt x="12" y="13"/>
                      <a:pt x="12" y="13"/>
                    </a:cubicBezTo>
                    <a:cubicBezTo>
                      <a:pt x="12" y="13"/>
                      <a:pt x="12" y="13"/>
                      <a:pt x="12" y="13"/>
                    </a:cubicBezTo>
                    <a:cubicBezTo>
                      <a:pt x="12" y="13"/>
                      <a:pt x="12" y="13"/>
                      <a:pt x="12" y="13"/>
                    </a:cubicBezTo>
                    <a:cubicBezTo>
                      <a:pt x="13" y="12"/>
                      <a:pt x="13" y="12"/>
                      <a:pt x="13" y="12"/>
                    </a:cubicBezTo>
                    <a:cubicBezTo>
                      <a:pt x="14" y="12"/>
                      <a:pt x="14" y="12"/>
                      <a:pt x="14" y="12"/>
                    </a:cubicBezTo>
                    <a:cubicBezTo>
                      <a:pt x="14" y="12"/>
                      <a:pt x="14" y="12"/>
                      <a:pt x="14" y="12"/>
                    </a:cubicBezTo>
                    <a:cubicBezTo>
                      <a:pt x="14" y="12"/>
                      <a:pt x="14" y="12"/>
                      <a:pt x="15" y="12"/>
                    </a:cubicBezTo>
                    <a:cubicBezTo>
                      <a:pt x="20" y="9"/>
                      <a:pt x="20" y="9"/>
                      <a:pt x="20" y="9"/>
                    </a:cubicBezTo>
                    <a:cubicBezTo>
                      <a:pt x="15" y="12"/>
                      <a:pt x="15" y="12"/>
                      <a:pt x="15" y="12"/>
                    </a:cubicBezTo>
                    <a:cubicBezTo>
                      <a:pt x="15" y="13"/>
                      <a:pt x="15" y="13"/>
                      <a:pt x="15" y="13"/>
                    </a:cubicBezTo>
                    <a:cubicBezTo>
                      <a:pt x="15" y="13"/>
                      <a:pt x="15" y="13"/>
                      <a:pt x="15" y="13"/>
                    </a:cubicBezTo>
                    <a:cubicBezTo>
                      <a:pt x="15" y="14"/>
                      <a:pt x="15" y="14"/>
                      <a:pt x="15" y="14"/>
                    </a:cubicBezTo>
                    <a:cubicBezTo>
                      <a:pt x="15" y="14"/>
                      <a:pt x="15" y="14"/>
                      <a:pt x="15" y="14"/>
                    </a:cubicBezTo>
                    <a:cubicBezTo>
                      <a:pt x="16" y="20"/>
                      <a:pt x="16" y="20"/>
                      <a:pt x="16" y="20"/>
                    </a:cubicBezTo>
                    <a:cubicBezTo>
                      <a:pt x="16" y="20"/>
                      <a:pt x="16" y="20"/>
                      <a:pt x="16" y="20"/>
                    </a:cubicBezTo>
                    <a:cubicBezTo>
                      <a:pt x="17" y="25"/>
                      <a:pt x="17" y="25"/>
                      <a:pt x="17" y="25"/>
                    </a:cubicBezTo>
                    <a:cubicBezTo>
                      <a:pt x="17" y="25"/>
                      <a:pt x="17" y="25"/>
                      <a:pt x="17" y="25"/>
                    </a:cubicBezTo>
                    <a:cubicBezTo>
                      <a:pt x="18" y="27"/>
                      <a:pt x="18" y="27"/>
                      <a:pt x="18" y="27"/>
                    </a:cubicBezTo>
                    <a:cubicBezTo>
                      <a:pt x="18" y="27"/>
                      <a:pt x="18" y="27"/>
                      <a:pt x="18" y="27"/>
                    </a:cubicBezTo>
                    <a:cubicBezTo>
                      <a:pt x="23" y="26"/>
                      <a:pt x="23" y="26"/>
                      <a:pt x="23" y="26"/>
                    </a:cubicBezTo>
                    <a:cubicBezTo>
                      <a:pt x="29" y="25"/>
                      <a:pt x="29" y="25"/>
                      <a:pt x="29" y="25"/>
                    </a:cubicBezTo>
                    <a:cubicBezTo>
                      <a:pt x="29" y="23"/>
                      <a:pt x="29" y="23"/>
                      <a:pt x="29" y="23"/>
                    </a:cubicBezTo>
                    <a:cubicBezTo>
                      <a:pt x="29" y="23"/>
                      <a:pt x="29" y="23"/>
                      <a:pt x="29" y="23"/>
                    </a:cubicBezTo>
                    <a:cubicBezTo>
                      <a:pt x="28" y="17"/>
                      <a:pt x="28" y="17"/>
                      <a:pt x="28" y="17"/>
                    </a:cubicBezTo>
                    <a:cubicBezTo>
                      <a:pt x="27" y="12"/>
                      <a:pt x="27" y="12"/>
                      <a:pt x="27" y="12"/>
                    </a:cubicBezTo>
                    <a:cubicBezTo>
                      <a:pt x="27" y="12"/>
                      <a:pt x="27" y="12"/>
                      <a:pt x="27" y="12"/>
                    </a:cubicBezTo>
                    <a:cubicBezTo>
                      <a:pt x="26" y="11"/>
                      <a:pt x="26" y="11"/>
                      <a:pt x="26" y="11"/>
                    </a:cubicBezTo>
                    <a:cubicBezTo>
                      <a:pt x="26" y="11"/>
                      <a:pt x="26" y="11"/>
                      <a:pt x="26" y="11"/>
                    </a:cubicBezTo>
                    <a:cubicBezTo>
                      <a:pt x="26" y="10"/>
                      <a:pt x="26" y="10"/>
                      <a:pt x="26" y="10"/>
                    </a:cubicBezTo>
                    <a:cubicBezTo>
                      <a:pt x="26" y="9"/>
                      <a:pt x="25" y="7"/>
                      <a:pt x="24" y="6"/>
                    </a:cubicBezTo>
                    <a:cubicBezTo>
                      <a:pt x="24" y="6"/>
                      <a:pt x="24" y="6"/>
                      <a:pt x="24" y="6"/>
                    </a:cubicBezTo>
                    <a:cubicBezTo>
                      <a:pt x="24" y="6"/>
                      <a:pt x="24" y="6"/>
                      <a:pt x="24" y="6"/>
                    </a:cubicBezTo>
                    <a:cubicBezTo>
                      <a:pt x="23" y="4"/>
                      <a:pt x="21" y="2"/>
                      <a:pt x="19" y="1"/>
                    </a:cubicBezTo>
                    <a:cubicBezTo>
                      <a:pt x="18" y="0"/>
                      <a:pt x="16" y="0"/>
                      <a:pt x="14" y="0"/>
                    </a:cubicBezTo>
                    <a:cubicBezTo>
                      <a:pt x="10" y="0"/>
                      <a:pt x="7" y="1"/>
                      <a:pt x="5" y="4"/>
                    </a:cubicBezTo>
                    <a:cubicBezTo>
                      <a:pt x="2" y="6"/>
                      <a:pt x="0" y="9"/>
                      <a:pt x="0" y="13"/>
                    </a:cubicBezTo>
                    <a:cubicBezTo>
                      <a:pt x="0" y="14"/>
                      <a:pt x="0" y="15"/>
                      <a:pt x="1" y="16"/>
                    </a:cubicBezTo>
                    <a:cubicBezTo>
                      <a:pt x="1" y="16"/>
                      <a:pt x="1" y="16"/>
                      <a:pt x="1" y="16"/>
                    </a:cubicBezTo>
                    <a:cubicBezTo>
                      <a:pt x="1" y="17"/>
                      <a:pt x="1" y="17"/>
                      <a:pt x="1" y="17"/>
                    </a:cubicBezTo>
                    <a:cubicBezTo>
                      <a:pt x="1" y="17"/>
                      <a:pt x="1" y="17"/>
                      <a:pt x="1" y="17"/>
                    </a:cubicBezTo>
                    <a:cubicBezTo>
                      <a:pt x="2" y="22"/>
                      <a:pt x="2" y="22"/>
                      <a:pt x="2" y="22"/>
                    </a:cubicBezTo>
                    <a:cubicBezTo>
                      <a:pt x="3" y="28"/>
                      <a:pt x="3" y="28"/>
                      <a:pt x="3" y="28"/>
                    </a:cubicBezTo>
                    <a:cubicBezTo>
                      <a:pt x="3" y="28"/>
                      <a:pt x="3" y="28"/>
                      <a:pt x="3" y="28"/>
                    </a:cubicBezTo>
                    <a:cubicBezTo>
                      <a:pt x="3" y="30"/>
                      <a:pt x="3" y="30"/>
                      <a:pt x="3" y="30"/>
                    </a:cubicBezTo>
                    <a:cubicBezTo>
                      <a:pt x="3" y="30"/>
                      <a:pt x="3" y="30"/>
                      <a:pt x="3" y="30"/>
                    </a:cubicBezTo>
                    <a:cubicBezTo>
                      <a:pt x="3" y="30"/>
                      <a:pt x="3" y="30"/>
                      <a:pt x="3" y="30"/>
                    </a:cubicBezTo>
                    <a:cubicBezTo>
                      <a:pt x="4" y="31"/>
                      <a:pt x="4" y="31"/>
                      <a:pt x="4" y="32"/>
                    </a:cubicBezTo>
                    <a:cubicBezTo>
                      <a:pt x="4" y="32"/>
                      <a:pt x="4" y="32"/>
                      <a:pt x="4" y="32"/>
                    </a:cubicBezTo>
                    <a:cubicBezTo>
                      <a:pt x="4" y="33"/>
                      <a:pt x="4" y="33"/>
                      <a:pt x="4" y="33"/>
                    </a:cubicBezTo>
                    <a:cubicBezTo>
                      <a:pt x="5" y="35"/>
                      <a:pt x="7" y="37"/>
                      <a:pt x="9" y="38"/>
                    </a:cubicBezTo>
                    <a:cubicBezTo>
                      <a:pt x="11" y="40"/>
                      <a:pt x="14" y="40"/>
                      <a:pt x="16" y="40"/>
                    </a:cubicBezTo>
                    <a:cubicBezTo>
                      <a:pt x="19" y="40"/>
                      <a:pt x="23" y="39"/>
                      <a:pt x="25" y="37"/>
                    </a:cubicBezTo>
                    <a:cubicBezTo>
                      <a:pt x="28" y="35"/>
                      <a:pt x="29" y="31"/>
                      <a:pt x="29" y="27"/>
                    </a:cubicBezTo>
                    <a:cubicBezTo>
                      <a:pt x="29" y="27"/>
                      <a:pt x="29" y="26"/>
                      <a:pt x="29" y="25"/>
                    </a:cubicBezTo>
                    <a:cubicBezTo>
                      <a:pt x="29" y="25"/>
                      <a:pt x="29" y="25"/>
                      <a:pt x="29" y="25"/>
                    </a:cubicBezTo>
                    <a:cubicBezTo>
                      <a:pt x="29" y="25"/>
                      <a:pt x="29" y="25"/>
                      <a:pt x="29" y="25"/>
                    </a:cubicBezTo>
                    <a:lnTo>
                      <a:pt x="2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1" name="Freeform 43"/>
              <p:cNvSpPr>
                <a:spLocks/>
              </p:cNvSpPr>
              <p:nvPr/>
            </p:nvSpPr>
            <p:spPr bwMode="auto">
              <a:xfrm>
                <a:off x="6908638" y="4333625"/>
                <a:ext cx="25533" cy="50001"/>
              </a:xfrm>
              <a:custGeom>
                <a:avLst/>
                <a:gdLst>
                  <a:gd name="T0" fmla="*/ 16 w 17"/>
                  <a:gd name="T1" fmla="*/ 22 h 33"/>
                  <a:gd name="T2" fmla="*/ 2 w 17"/>
                  <a:gd name="T3" fmla="*/ 25 h 33"/>
                  <a:gd name="T4" fmla="*/ 2 w 17"/>
                  <a:gd name="T5" fmla="*/ 24 h 33"/>
                  <a:gd name="T6" fmla="*/ 2 w 17"/>
                  <a:gd name="T7" fmla="*/ 23 h 33"/>
                  <a:gd name="T8" fmla="*/ 1 w 17"/>
                  <a:gd name="T9" fmla="*/ 17 h 33"/>
                  <a:gd name="T10" fmla="*/ 0 w 17"/>
                  <a:gd name="T11" fmla="*/ 11 h 33"/>
                  <a:gd name="T12" fmla="*/ 0 w 17"/>
                  <a:gd name="T13" fmla="*/ 9 h 33"/>
                  <a:gd name="T14" fmla="*/ 4 w 17"/>
                  <a:gd name="T15" fmla="*/ 2 h 33"/>
                  <a:gd name="T16" fmla="*/ 14 w 17"/>
                  <a:gd name="T17" fmla="*/ 7 h 33"/>
                  <a:gd name="T18" fmla="*/ 15 w 17"/>
                  <a:gd name="T19" fmla="*/ 9 h 33"/>
                  <a:gd name="T20" fmla="*/ 15 w 17"/>
                  <a:gd name="T21" fmla="*/ 15 h 33"/>
                  <a:gd name="T22" fmla="*/ 16 w 17"/>
                  <a:gd name="T23" fmla="*/ 21 h 33"/>
                  <a:gd name="T24" fmla="*/ 16 w 17"/>
                  <a:gd name="T25"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33">
                    <a:moveTo>
                      <a:pt x="16" y="22"/>
                    </a:moveTo>
                    <a:cubicBezTo>
                      <a:pt x="17" y="30"/>
                      <a:pt x="6" y="33"/>
                      <a:pt x="2" y="25"/>
                    </a:cubicBezTo>
                    <a:cubicBezTo>
                      <a:pt x="2" y="25"/>
                      <a:pt x="2" y="24"/>
                      <a:pt x="2" y="24"/>
                    </a:cubicBezTo>
                    <a:cubicBezTo>
                      <a:pt x="2" y="23"/>
                      <a:pt x="2" y="23"/>
                      <a:pt x="2" y="23"/>
                    </a:cubicBezTo>
                    <a:cubicBezTo>
                      <a:pt x="1" y="17"/>
                      <a:pt x="1" y="17"/>
                      <a:pt x="1" y="17"/>
                    </a:cubicBezTo>
                    <a:cubicBezTo>
                      <a:pt x="0" y="11"/>
                      <a:pt x="0" y="11"/>
                      <a:pt x="0" y="11"/>
                    </a:cubicBezTo>
                    <a:cubicBezTo>
                      <a:pt x="0" y="9"/>
                      <a:pt x="0" y="9"/>
                      <a:pt x="0" y="9"/>
                    </a:cubicBezTo>
                    <a:cubicBezTo>
                      <a:pt x="0" y="6"/>
                      <a:pt x="1" y="4"/>
                      <a:pt x="4" y="2"/>
                    </a:cubicBezTo>
                    <a:cubicBezTo>
                      <a:pt x="8" y="0"/>
                      <a:pt x="14" y="2"/>
                      <a:pt x="14" y="7"/>
                    </a:cubicBezTo>
                    <a:cubicBezTo>
                      <a:pt x="15" y="9"/>
                      <a:pt x="15" y="9"/>
                      <a:pt x="15" y="9"/>
                    </a:cubicBezTo>
                    <a:cubicBezTo>
                      <a:pt x="15" y="15"/>
                      <a:pt x="15" y="15"/>
                      <a:pt x="15" y="15"/>
                    </a:cubicBezTo>
                    <a:cubicBezTo>
                      <a:pt x="16" y="21"/>
                      <a:pt x="16" y="21"/>
                      <a:pt x="16" y="21"/>
                    </a:cubicBezTo>
                    <a:lnTo>
                      <a:pt x="1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2" name="Freeform 44"/>
              <p:cNvSpPr>
                <a:spLocks/>
              </p:cNvSpPr>
              <p:nvPr/>
            </p:nvSpPr>
            <p:spPr bwMode="auto">
              <a:xfrm>
                <a:off x="6899064" y="4326178"/>
                <a:ext cx="42554" cy="61704"/>
              </a:xfrm>
              <a:custGeom>
                <a:avLst/>
                <a:gdLst>
                  <a:gd name="T0" fmla="*/ 16 w 28"/>
                  <a:gd name="T1" fmla="*/ 27 h 41"/>
                  <a:gd name="T2" fmla="*/ 16 w 28"/>
                  <a:gd name="T3" fmla="*/ 29 h 41"/>
                  <a:gd name="T4" fmla="*/ 14 w 28"/>
                  <a:gd name="T5" fmla="*/ 29 h 41"/>
                  <a:gd name="T6" fmla="*/ 8 w 28"/>
                  <a:gd name="T7" fmla="*/ 30 h 41"/>
                  <a:gd name="T8" fmla="*/ 14 w 28"/>
                  <a:gd name="T9" fmla="*/ 28 h 41"/>
                  <a:gd name="T10" fmla="*/ 14 w 28"/>
                  <a:gd name="T11" fmla="*/ 28 h 41"/>
                  <a:gd name="T12" fmla="*/ 13 w 28"/>
                  <a:gd name="T13" fmla="*/ 21 h 41"/>
                  <a:gd name="T14" fmla="*/ 12 w 28"/>
                  <a:gd name="T15" fmla="*/ 14 h 41"/>
                  <a:gd name="T16" fmla="*/ 12 w 28"/>
                  <a:gd name="T17" fmla="*/ 13 h 41"/>
                  <a:gd name="T18" fmla="*/ 10 w 28"/>
                  <a:gd name="T19" fmla="*/ 7 h 41"/>
                  <a:gd name="T20" fmla="*/ 13 w 28"/>
                  <a:gd name="T21" fmla="*/ 12 h 41"/>
                  <a:gd name="T22" fmla="*/ 15 w 28"/>
                  <a:gd name="T23" fmla="*/ 13 h 41"/>
                  <a:gd name="T24" fmla="*/ 15 w 28"/>
                  <a:gd name="T25" fmla="*/ 15 h 41"/>
                  <a:gd name="T26" fmla="*/ 16 w 28"/>
                  <a:gd name="T27" fmla="*/ 21 h 41"/>
                  <a:gd name="T28" fmla="*/ 16 w 28"/>
                  <a:gd name="T29" fmla="*/ 27 h 41"/>
                  <a:gd name="T30" fmla="*/ 16 w 28"/>
                  <a:gd name="T31" fmla="*/ 27 h 41"/>
                  <a:gd name="T32" fmla="*/ 28 w 28"/>
                  <a:gd name="T33" fmla="*/ 26 h 41"/>
                  <a:gd name="T34" fmla="*/ 28 w 28"/>
                  <a:gd name="T35" fmla="*/ 25 h 41"/>
                  <a:gd name="T36" fmla="*/ 27 w 28"/>
                  <a:gd name="T37" fmla="*/ 13 h 41"/>
                  <a:gd name="T38" fmla="*/ 26 w 28"/>
                  <a:gd name="T39" fmla="*/ 12 h 41"/>
                  <a:gd name="T40" fmla="*/ 13 w 28"/>
                  <a:gd name="T41" fmla="*/ 0 h 41"/>
                  <a:gd name="T42" fmla="*/ 7 w 28"/>
                  <a:gd name="T43" fmla="*/ 2 h 41"/>
                  <a:gd name="T44" fmla="*/ 0 w 28"/>
                  <a:gd name="T45" fmla="*/ 13 h 41"/>
                  <a:gd name="T46" fmla="*/ 1 w 28"/>
                  <a:gd name="T47" fmla="*/ 17 h 41"/>
                  <a:gd name="T48" fmla="*/ 1 w 28"/>
                  <a:gd name="T49" fmla="*/ 23 h 41"/>
                  <a:gd name="T50" fmla="*/ 2 w 28"/>
                  <a:gd name="T51" fmla="*/ 28 h 41"/>
                  <a:gd name="T52" fmla="*/ 2 w 28"/>
                  <a:gd name="T53" fmla="*/ 29 h 41"/>
                  <a:gd name="T54" fmla="*/ 3 w 28"/>
                  <a:gd name="T55" fmla="*/ 32 h 41"/>
                  <a:gd name="T56" fmla="*/ 3 w 28"/>
                  <a:gd name="T57" fmla="*/ 32 h 41"/>
                  <a:gd name="T58" fmla="*/ 15 w 28"/>
                  <a:gd name="T59" fmla="*/ 41 h 41"/>
                  <a:gd name="T60" fmla="*/ 28 w 28"/>
                  <a:gd name="T61" fmla="*/ 28 h 41"/>
                  <a:gd name="T62" fmla="*/ 28 w 28"/>
                  <a:gd name="T63" fmla="*/ 2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41">
                    <a:moveTo>
                      <a:pt x="22" y="27"/>
                    </a:moveTo>
                    <a:cubicBezTo>
                      <a:pt x="16" y="27"/>
                      <a:pt x="16" y="27"/>
                      <a:pt x="16" y="27"/>
                    </a:cubicBezTo>
                    <a:cubicBezTo>
                      <a:pt x="16" y="28"/>
                      <a:pt x="16" y="28"/>
                      <a:pt x="16" y="28"/>
                    </a:cubicBezTo>
                    <a:cubicBezTo>
                      <a:pt x="16" y="28"/>
                      <a:pt x="16" y="28"/>
                      <a:pt x="16" y="29"/>
                    </a:cubicBezTo>
                    <a:cubicBezTo>
                      <a:pt x="16" y="29"/>
                      <a:pt x="15" y="29"/>
                      <a:pt x="15" y="29"/>
                    </a:cubicBezTo>
                    <a:cubicBezTo>
                      <a:pt x="14" y="29"/>
                      <a:pt x="14" y="29"/>
                      <a:pt x="14" y="29"/>
                    </a:cubicBezTo>
                    <a:cubicBezTo>
                      <a:pt x="14" y="29"/>
                      <a:pt x="14" y="29"/>
                      <a:pt x="14" y="28"/>
                    </a:cubicBezTo>
                    <a:cubicBezTo>
                      <a:pt x="8" y="30"/>
                      <a:pt x="8" y="30"/>
                      <a:pt x="8" y="30"/>
                    </a:cubicBezTo>
                    <a:cubicBezTo>
                      <a:pt x="14" y="28"/>
                      <a:pt x="14" y="28"/>
                      <a:pt x="14" y="28"/>
                    </a:cubicBezTo>
                    <a:cubicBezTo>
                      <a:pt x="14" y="28"/>
                      <a:pt x="14" y="28"/>
                      <a:pt x="14" y="28"/>
                    </a:cubicBezTo>
                    <a:cubicBezTo>
                      <a:pt x="8" y="29"/>
                      <a:pt x="8" y="29"/>
                      <a:pt x="8" y="29"/>
                    </a:cubicBezTo>
                    <a:cubicBezTo>
                      <a:pt x="14" y="28"/>
                      <a:pt x="14" y="28"/>
                      <a:pt x="14" y="28"/>
                    </a:cubicBezTo>
                    <a:cubicBezTo>
                      <a:pt x="14" y="27"/>
                      <a:pt x="14" y="27"/>
                      <a:pt x="14" y="27"/>
                    </a:cubicBezTo>
                    <a:cubicBezTo>
                      <a:pt x="13" y="21"/>
                      <a:pt x="13" y="21"/>
                      <a:pt x="13" y="21"/>
                    </a:cubicBezTo>
                    <a:cubicBezTo>
                      <a:pt x="12" y="15"/>
                      <a:pt x="12" y="15"/>
                      <a:pt x="12" y="15"/>
                    </a:cubicBezTo>
                    <a:cubicBezTo>
                      <a:pt x="12" y="14"/>
                      <a:pt x="12" y="14"/>
                      <a:pt x="12" y="14"/>
                    </a:cubicBezTo>
                    <a:cubicBezTo>
                      <a:pt x="12" y="14"/>
                      <a:pt x="12" y="14"/>
                      <a:pt x="12" y="14"/>
                    </a:cubicBezTo>
                    <a:cubicBezTo>
                      <a:pt x="12" y="13"/>
                      <a:pt x="12" y="13"/>
                      <a:pt x="12" y="13"/>
                    </a:cubicBezTo>
                    <a:cubicBezTo>
                      <a:pt x="12" y="13"/>
                      <a:pt x="12" y="12"/>
                      <a:pt x="13" y="12"/>
                    </a:cubicBezTo>
                    <a:cubicBezTo>
                      <a:pt x="10" y="7"/>
                      <a:pt x="10" y="7"/>
                      <a:pt x="10" y="7"/>
                    </a:cubicBezTo>
                    <a:cubicBezTo>
                      <a:pt x="13" y="12"/>
                      <a:pt x="13" y="12"/>
                      <a:pt x="13" y="12"/>
                    </a:cubicBezTo>
                    <a:cubicBezTo>
                      <a:pt x="13" y="12"/>
                      <a:pt x="13" y="12"/>
                      <a:pt x="13" y="12"/>
                    </a:cubicBezTo>
                    <a:cubicBezTo>
                      <a:pt x="14" y="12"/>
                      <a:pt x="14" y="12"/>
                      <a:pt x="14" y="12"/>
                    </a:cubicBezTo>
                    <a:cubicBezTo>
                      <a:pt x="14" y="13"/>
                      <a:pt x="15" y="13"/>
                      <a:pt x="15" y="13"/>
                    </a:cubicBezTo>
                    <a:cubicBezTo>
                      <a:pt x="15" y="15"/>
                      <a:pt x="15" y="15"/>
                      <a:pt x="15" y="15"/>
                    </a:cubicBezTo>
                    <a:cubicBezTo>
                      <a:pt x="15" y="15"/>
                      <a:pt x="15" y="15"/>
                      <a:pt x="15" y="15"/>
                    </a:cubicBezTo>
                    <a:cubicBezTo>
                      <a:pt x="16" y="21"/>
                      <a:pt x="16" y="21"/>
                      <a:pt x="16" y="21"/>
                    </a:cubicBezTo>
                    <a:cubicBezTo>
                      <a:pt x="16" y="21"/>
                      <a:pt x="16" y="21"/>
                      <a:pt x="16" y="21"/>
                    </a:cubicBezTo>
                    <a:cubicBezTo>
                      <a:pt x="16" y="27"/>
                      <a:pt x="16" y="27"/>
                      <a:pt x="16" y="27"/>
                    </a:cubicBezTo>
                    <a:cubicBezTo>
                      <a:pt x="16" y="27"/>
                      <a:pt x="16" y="27"/>
                      <a:pt x="16" y="27"/>
                    </a:cubicBezTo>
                    <a:cubicBezTo>
                      <a:pt x="16" y="28"/>
                      <a:pt x="16" y="28"/>
                      <a:pt x="16" y="28"/>
                    </a:cubicBezTo>
                    <a:cubicBezTo>
                      <a:pt x="16" y="27"/>
                      <a:pt x="16" y="27"/>
                      <a:pt x="16" y="27"/>
                    </a:cubicBezTo>
                    <a:cubicBezTo>
                      <a:pt x="22" y="27"/>
                      <a:pt x="22" y="27"/>
                      <a:pt x="22" y="27"/>
                    </a:cubicBezTo>
                    <a:cubicBezTo>
                      <a:pt x="28" y="26"/>
                      <a:pt x="28" y="26"/>
                      <a:pt x="28" y="26"/>
                    </a:cubicBezTo>
                    <a:cubicBezTo>
                      <a:pt x="28" y="25"/>
                      <a:pt x="28" y="25"/>
                      <a:pt x="28" y="25"/>
                    </a:cubicBezTo>
                    <a:cubicBezTo>
                      <a:pt x="28" y="25"/>
                      <a:pt x="28" y="25"/>
                      <a:pt x="28" y="25"/>
                    </a:cubicBezTo>
                    <a:cubicBezTo>
                      <a:pt x="27" y="19"/>
                      <a:pt x="27" y="19"/>
                      <a:pt x="27" y="19"/>
                    </a:cubicBezTo>
                    <a:cubicBezTo>
                      <a:pt x="27" y="13"/>
                      <a:pt x="27" y="13"/>
                      <a:pt x="27" y="13"/>
                    </a:cubicBezTo>
                    <a:cubicBezTo>
                      <a:pt x="26" y="12"/>
                      <a:pt x="26" y="12"/>
                      <a:pt x="26" y="12"/>
                    </a:cubicBezTo>
                    <a:cubicBezTo>
                      <a:pt x="26" y="12"/>
                      <a:pt x="26" y="12"/>
                      <a:pt x="26" y="12"/>
                    </a:cubicBezTo>
                    <a:cubicBezTo>
                      <a:pt x="26" y="8"/>
                      <a:pt x="24" y="5"/>
                      <a:pt x="22" y="3"/>
                    </a:cubicBezTo>
                    <a:cubicBezTo>
                      <a:pt x="19" y="1"/>
                      <a:pt x="16" y="0"/>
                      <a:pt x="13" y="0"/>
                    </a:cubicBezTo>
                    <a:cubicBezTo>
                      <a:pt x="11" y="0"/>
                      <a:pt x="9" y="1"/>
                      <a:pt x="7" y="2"/>
                    </a:cubicBezTo>
                    <a:cubicBezTo>
                      <a:pt x="7" y="2"/>
                      <a:pt x="7" y="2"/>
                      <a:pt x="7" y="2"/>
                    </a:cubicBezTo>
                    <a:cubicBezTo>
                      <a:pt x="7" y="2"/>
                      <a:pt x="7" y="2"/>
                      <a:pt x="7" y="2"/>
                    </a:cubicBezTo>
                    <a:cubicBezTo>
                      <a:pt x="3" y="4"/>
                      <a:pt x="0" y="9"/>
                      <a:pt x="0" y="13"/>
                    </a:cubicBezTo>
                    <a:cubicBezTo>
                      <a:pt x="0" y="14"/>
                      <a:pt x="0" y="15"/>
                      <a:pt x="0" y="15"/>
                    </a:cubicBezTo>
                    <a:cubicBezTo>
                      <a:pt x="1" y="17"/>
                      <a:pt x="1" y="17"/>
                      <a:pt x="1" y="17"/>
                    </a:cubicBezTo>
                    <a:cubicBezTo>
                      <a:pt x="1" y="17"/>
                      <a:pt x="1" y="17"/>
                      <a:pt x="1" y="17"/>
                    </a:cubicBezTo>
                    <a:cubicBezTo>
                      <a:pt x="1" y="23"/>
                      <a:pt x="1" y="23"/>
                      <a:pt x="1" y="23"/>
                    </a:cubicBezTo>
                    <a:cubicBezTo>
                      <a:pt x="1" y="22"/>
                      <a:pt x="1" y="22"/>
                      <a:pt x="1" y="22"/>
                    </a:cubicBezTo>
                    <a:cubicBezTo>
                      <a:pt x="2" y="28"/>
                      <a:pt x="2" y="28"/>
                      <a:pt x="2" y="28"/>
                    </a:cubicBezTo>
                    <a:cubicBezTo>
                      <a:pt x="2" y="29"/>
                      <a:pt x="2" y="29"/>
                      <a:pt x="2" y="29"/>
                    </a:cubicBezTo>
                    <a:cubicBezTo>
                      <a:pt x="2" y="29"/>
                      <a:pt x="2" y="29"/>
                      <a:pt x="2" y="29"/>
                    </a:cubicBezTo>
                    <a:cubicBezTo>
                      <a:pt x="2" y="29"/>
                      <a:pt x="2" y="29"/>
                      <a:pt x="2" y="29"/>
                    </a:cubicBezTo>
                    <a:cubicBezTo>
                      <a:pt x="2" y="30"/>
                      <a:pt x="2" y="31"/>
                      <a:pt x="3" y="32"/>
                    </a:cubicBezTo>
                    <a:cubicBezTo>
                      <a:pt x="3" y="32"/>
                      <a:pt x="3" y="32"/>
                      <a:pt x="3" y="32"/>
                    </a:cubicBezTo>
                    <a:cubicBezTo>
                      <a:pt x="3" y="32"/>
                      <a:pt x="3" y="32"/>
                      <a:pt x="3" y="32"/>
                    </a:cubicBezTo>
                    <a:cubicBezTo>
                      <a:pt x="4" y="35"/>
                      <a:pt x="6" y="37"/>
                      <a:pt x="8" y="39"/>
                    </a:cubicBezTo>
                    <a:cubicBezTo>
                      <a:pt x="10" y="40"/>
                      <a:pt x="13" y="41"/>
                      <a:pt x="15" y="41"/>
                    </a:cubicBezTo>
                    <a:cubicBezTo>
                      <a:pt x="18" y="41"/>
                      <a:pt x="21" y="40"/>
                      <a:pt x="24" y="37"/>
                    </a:cubicBezTo>
                    <a:cubicBezTo>
                      <a:pt x="26" y="35"/>
                      <a:pt x="28" y="32"/>
                      <a:pt x="28" y="28"/>
                    </a:cubicBezTo>
                    <a:cubicBezTo>
                      <a:pt x="28" y="27"/>
                      <a:pt x="28" y="27"/>
                      <a:pt x="28" y="26"/>
                    </a:cubicBezTo>
                    <a:cubicBezTo>
                      <a:pt x="28" y="26"/>
                      <a:pt x="28" y="26"/>
                      <a:pt x="28" y="26"/>
                    </a:cubicBezTo>
                    <a:lnTo>
                      <a:pt x="2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3" name="Freeform 45"/>
              <p:cNvSpPr>
                <a:spLocks/>
              </p:cNvSpPr>
              <p:nvPr/>
            </p:nvSpPr>
            <p:spPr bwMode="auto">
              <a:xfrm>
                <a:off x="6920341" y="4461288"/>
                <a:ext cx="23405" cy="52129"/>
              </a:xfrm>
              <a:custGeom>
                <a:avLst/>
                <a:gdLst>
                  <a:gd name="T0" fmla="*/ 15 w 15"/>
                  <a:gd name="T1" fmla="*/ 25 h 35"/>
                  <a:gd name="T2" fmla="*/ 14 w 15"/>
                  <a:gd name="T3" fmla="*/ 29 h 35"/>
                  <a:gd name="T4" fmla="*/ 1 w 15"/>
                  <a:gd name="T5" fmla="*/ 25 h 35"/>
                  <a:gd name="T6" fmla="*/ 1 w 15"/>
                  <a:gd name="T7" fmla="*/ 22 h 35"/>
                  <a:gd name="T8" fmla="*/ 0 w 15"/>
                  <a:gd name="T9" fmla="*/ 16 h 35"/>
                  <a:gd name="T10" fmla="*/ 0 w 15"/>
                  <a:gd name="T11" fmla="*/ 11 h 35"/>
                  <a:gd name="T12" fmla="*/ 14 w 15"/>
                  <a:gd name="T13" fmla="*/ 7 h 35"/>
                  <a:gd name="T14" fmla="*/ 14 w 15"/>
                  <a:gd name="T15" fmla="*/ 10 h 35"/>
                  <a:gd name="T16" fmla="*/ 15 w 15"/>
                  <a:gd name="T17" fmla="*/ 15 h 35"/>
                  <a:gd name="T18" fmla="*/ 15 w 15"/>
                  <a:gd name="T19" fmla="*/ 21 h 35"/>
                  <a:gd name="T20" fmla="*/ 15 w 15"/>
                  <a:gd name="T21" fmla="*/ 2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5">
                    <a:moveTo>
                      <a:pt x="15" y="25"/>
                    </a:moveTo>
                    <a:cubicBezTo>
                      <a:pt x="15" y="26"/>
                      <a:pt x="15" y="28"/>
                      <a:pt x="14" y="29"/>
                    </a:cubicBezTo>
                    <a:cubicBezTo>
                      <a:pt x="9" y="35"/>
                      <a:pt x="1" y="32"/>
                      <a:pt x="1" y="25"/>
                    </a:cubicBezTo>
                    <a:cubicBezTo>
                      <a:pt x="1" y="22"/>
                      <a:pt x="1" y="22"/>
                      <a:pt x="1" y="22"/>
                    </a:cubicBezTo>
                    <a:cubicBezTo>
                      <a:pt x="0" y="16"/>
                      <a:pt x="0" y="16"/>
                      <a:pt x="0" y="16"/>
                    </a:cubicBezTo>
                    <a:cubicBezTo>
                      <a:pt x="0" y="11"/>
                      <a:pt x="0" y="11"/>
                      <a:pt x="0" y="11"/>
                    </a:cubicBezTo>
                    <a:cubicBezTo>
                      <a:pt x="0" y="3"/>
                      <a:pt x="10" y="0"/>
                      <a:pt x="14" y="7"/>
                    </a:cubicBezTo>
                    <a:cubicBezTo>
                      <a:pt x="14" y="8"/>
                      <a:pt x="14" y="9"/>
                      <a:pt x="14" y="10"/>
                    </a:cubicBezTo>
                    <a:cubicBezTo>
                      <a:pt x="15" y="15"/>
                      <a:pt x="15" y="15"/>
                      <a:pt x="15" y="15"/>
                    </a:cubicBezTo>
                    <a:cubicBezTo>
                      <a:pt x="15" y="21"/>
                      <a:pt x="15" y="21"/>
                      <a:pt x="15" y="21"/>
                    </a:cubicBezTo>
                    <a:lnTo>
                      <a:pt x="15"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4" name="Freeform 46"/>
              <p:cNvSpPr>
                <a:spLocks/>
              </p:cNvSpPr>
              <p:nvPr/>
            </p:nvSpPr>
            <p:spPr bwMode="auto">
              <a:xfrm>
                <a:off x="6911830" y="4455968"/>
                <a:ext cx="40427" cy="62767"/>
              </a:xfrm>
              <a:custGeom>
                <a:avLst/>
                <a:gdLst>
                  <a:gd name="T0" fmla="*/ 21 w 27"/>
                  <a:gd name="T1" fmla="*/ 28 h 41"/>
                  <a:gd name="T2" fmla="*/ 15 w 27"/>
                  <a:gd name="T3" fmla="*/ 28 h 41"/>
                  <a:gd name="T4" fmla="*/ 15 w 27"/>
                  <a:gd name="T5" fmla="*/ 28 h 41"/>
                  <a:gd name="T6" fmla="*/ 15 w 27"/>
                  <a:gd name="T7" fmla="*/ 29 h 41"/>
                  <a:gd name="T8" fmla="*/ 14 w 27"/>
                  <a:gd name="T9" fmla="*/ 29 h 41"/>
                  <a:gd name="T10" fmla="*/ 13 w 27"/>
                  <a:gd name="T11" fmla="*/ 29 h 41"/>
                  <a:gd name="T12" fmla="*/ 13 w 27"/>
                  <a:gd name="T13" fmla="*/ 28 h 41"/>
                  <a:gd name="T14" fmla="*/ 7 w 27"/>
                  <a:gd name="T15" fmla="*/ 28 h 41"/>
                  <a:gd name="T16" fmla="*/ 13 w 27"/>
                  <a:gd name="T17" fmla="*/ 28 h 41"/>
                  <a:gd name="T18" fmla="*/ 12 w 27"/>
                  <a:gd name="T19" fmla="*/ 24 h 41"/>
                  <a:gd name="T20" fmla="*/ 12 w 27"/>
                  <a:gd name="T21" fmla="*/ 18 h 41"/>
                  <a:gd name="T22" fmla="*/ 12 w 27"/>
                  <a:gd name="T23" fmla="*/ 14 h 41"/>
                  <a:gd name="T24" fmla="*/ 12 w 27"/>
                  <a:gd name="T25" fmla="*/ 14 h 41"/>
                  <a:gd name="T26" fmla="*/ 12 w 27"/>
                  <a:gd name="T27" fmla="*/ 13 h 41"/>
                  <a:gd name="T28" fmla="*/ 12 w 27"/>
                  <a:gd name="T29" fmla="*/ 13 h 41"/>
                  <a:gd name="T30" fmla="*/ 13 w 27"/>
                  <a:gd name="T31" fmla="*/ 12 h 41"/>
                  <a:gd name="T32" fmla="*/ 14 w 27"/>
                  <a:gd name="T33" fmla="*/ 12 h 41"/>
                  <a:gd name="T34" fmla="*/ 14 w 27"/>
                  <a:gd name="T35" fmla="*/ 13 h 41"/>
                  <a:gd name="T36" fmla="*/ 20 w 27"/>
                  <a:gd name="T37" fmla="*/ 10 h 41"/>
                  <a:gd name="T38" fmla="*/ 14 w 27"/>
                  <a:gd name="T39" fmla="*/ 13 h 41"/>
                  <a:gd name="T40" fmla="*/ 15 w 27"/>
                  <a:gd name="T41" fmla="*/ 13 h 41"/>
                  <a:gd name="T42" fmla="*/ 15 w 27"/>
                  <a:gd name="T43" fmla="*/ 13 h 41"/>
                  <a:gd name="T44" fmla="*/ 15 w 27"/>
                  <a:gd name="T45" fmla="*/ 18 h 41"/>
                  <a:gd name="T46" fmla="*/ 15 w 27"/>
                  <a:gd name="T47" fmla="*/ 18 h 41"/>
                  <a:gd name="T48" fmla="*/ 15 w 27"/>
                  <a:gd name="T49" fmla="*/ 24 h 41"/>
                  <a:gd name="T50" fmla="*/ 15 w 27"/>
                  <a:gd name="T51" fmla="*/ 24 h 41"/>
                  <a:gd name="T52" fmla="*/ 15 w 27"/>
                  <a:gd name="T53" fmla="*/ 28 h 41"/>
                  <a:gd name="T54" fmla="*/ 15 w 27"/>
                  <a:gd name="T55" fmla="*/ 28 h 41"/>
                  <a:gd name="T56" fmla="*/ 21 w 27"/>
                  <a:gd name="T57" fmla="*/ 28 h 41"/>
                  <a:gd name="T58" fmla="*/ 27 w 27"/>
                  <a:gd name="T59" fmla="*/ 27 h 41"/>
                  <a:gd name="T60" fmla="*/ 27 w 27"/>
                  <a:gd name="T61" fmla="*/ 24 h 41"/>
                  <a:gd name="T62" fmla="*/ 27 w 27"/>
                  <a:gd name="T63" fmla="*/ 24 h 41"/>
                  <a:gd name="T64" fmla="*/ 27 w 27"/>
                  <a:gd name="T65" fmla="*/ 18 h 41"/>
                  <a:gd name="T66" fmla="*/ 26 w 27"/>
                  <a:gd name="T67" fmla="*/ 13 h 41"/>
                  <a:gd name="T68" fmla="*/ 26 w 27"/>
                  <a:gd name="T69" fmla="*/ 13 h 41"/>
                  <a:gd name="T70" fmla="*/ 25 w 27"/>
                  <a:gd name="T71" fmla="*/ 8 h 41"/>
                  <a:gd name="T72" fmla="*/ 25 w 27"/>
                  <a:gd name="T73" fmla="*/ 7 h 41"/>
                  <a:gd name="T74" fmla="*/ 25 w 27"/>
                  <a:gd name="T75" fmla="*/ 7 h 41"/>
                  <a:gd name="T76" fmla="*/ 20 w 27"/>
                  <a:gd name="T77" fmla="*/ 2 h 41"/>
                  <a:gd name="T78" fmla="*/ 13 w 27"/>
                  <a:gd name="T79" fmla="*/ 0 h 41"/>
                  <a:gd name="T80" fmla="*/ 4 w 27"/>
                  <a:gd name="T81" fmla="*/ 4 h 41"/>
                  <a:gd name="T82" fmla="*/ 0 w 27"/>
                  <a:gd name="T83" fmla="*/ 13 h 41"/>
                  <a:gd name="T84" fmla="*/ 0 w 27"/>
                  <a:gd name="T85" fmla="*/ 14 h 41"/>
                  <a:gd name="T86" fmla="*/ 0 w 27"/>
                  <a:gd name="T87" fmla="*/ 14 h 41"/>
                  <a:gd name="T88" fmla="*/ 0 w 27"/>
                  <a:gd name="T89" fmla="*/ 19 h 41"/>
                  <a:gd name="T90" fmla="*/ 0 w 27"/>
                  <a:gd name="T91" fmla="*/ 19 h 41"/>
                  <a:gd name="T92" fmla="*/ 1 w 27"/>
                  <a:gd name="T93" fmla="*/ 25 h 41"/>
                  <a:gd name="T94" fmla="*/ 1 w 27"/>
                  <a:gd name="T95" fmla="*/ 25 h 41"/>
                  <a:gd name="T96" fmla="*/ 1 w 27"/>
                  <a:gd name="T97" fmla="*/ 28 h 41"/>
                  <a:gd name="T98" fmla="*/ 1 w 27"/>
                  <a:gd name="T99" fmla="*/ 28 h 41"/>
                  <a:gd name="T100" fmla="*/ 1 w 27"/>
                  <a:gd name="T101" fmla="*/ 29 h 41"/>
                  <a:gd name="T102" fmla="*/ 5 w 27"/>
                  <a:gd name="T103" fmla="*/ 38 h 41"/>
                  <a:gd name="T104" fmla="*/ 14 w 27"/>
                  <a:gd name="T105" fmla="*/ 41 h 41"/>
                  <a:gd name="T106" fmla="*/ 24 w 27"/>
                  <a:gd name="T107" fmla="*/ 36 h 41"/>
                  <a:gd name="T108" fmla="*/ 27 w 27"/>
                  <a:gd name="T109" fmla="*/ 28 h 41"/>
                  <a:gd name="T110" fmla="*/ 27 w 27"/>
                  <a:gd name="T111" fmla="*/ 27 h 41"/>
                  <a:gd name="T112" fmla="*/ 27 w 27"/>
                  <a:gd name="T113" fmla="*/ 27 h 41"/>
                  <a:gd name="T114" fmla="*/ 21 w 27"/>
                  <a:gd name="T115"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 h="41">
                    <a:moveTo>
                      <a:pt x="21" y="28"/>
                    </a:moveTo>
                    <a:cubicBezTo>
                      <a:pt x="15" y="28"/>
                      <a:pt x="15" y="28"/>
                      <a:pt x="15" y="28"/>
                    </a:cubicBezTo>
                    <a:cubicBezTo>
                      <a:pt x="15" y="28"/>
                      <a:pt x="15" y="28"/>
                      <a:pt x="15" y="28"/>
                    </a:cubicBezTo>
                    <a:cubicBezTo>
                      <a:pt x="15" y="28"/>
                      <a:pt x="15" y="28"/>
                      <a:pt x="15" y="29"/>
                    </a:cubicBezTo>
                    <a:cubicBezTo>
                      <a:pt x="15" y="29"/>
                      <a:pt x="14" y="29"/>
                      <a:pt x="14" y="29"/>
                    </a:cubicBezTo>
                    <a:cubicBezTo>
                      <a:pt x="13" y="29"/>
                      <a:pt x="13" y="29"/>
                      <a:pt x="13" y="29"/>
                    </a:cubicBezTo>
                    <a:cubicBezTo>
                      <a:pt x="13" y="29"/>
                      <a:pt x="13" y="28"/>
                      <a:pt x="13" y="28"/>
                    </a:cubicBezTo>
                    <a:cubicBezTo>
                      <a:pt x="7" y="28"/>
                      <a:pt x="7" y="28"/>
                      <a:pt x="7" y="28"/>
                    </a:cubicBezTo>
                    <a:cubicBezTo>
                      <a:pt x="13" y="28"/>
                      <a:pt x="13" y="28"/>
                      <a:pt x="13" y="28"/>
                    </a:cubicBezTo>
                    <a:cubicBezTo>
                      <a:pt x="12" y="24"/>
                      <a:pt x="12" y="24"/>
                      <a:pt x="12" y="24"/>
                    </a:cubicBezTo>
                    <a:cubicBezTo>
                      <a:pt x="12" y="18"/>
                      <a:pt x="12" y="18"/>
                      <a:pt x="12" y="18"/>
                    </a:cubicBezTo>
                    <a:cubicBezTo>
                      <a:pt x="12" y="14"/>
                      <a:pt x="12" y="14"/>
                      <a:pt x="12" y="14"/>
                    </a:cubicBezTo>
                    <a:cubicBezTo>
                      <a:pt x="12" y="14"/>
                      <a:pt x="12" y="14"/>
                      <a:pt x="12" y="14"/>
                    </a:cubicBezTo>
                    <a:cubicBezTo>
                      <a:pt x="12" y="13"/>
                      <a:pt x="12" y="13"/>
                      <a:pt x="12" y="13"/>
                    </a:cubicBezTo>
                    <a:cubicBezTo>
                      <a:pt x="12" y="13"/>
                      <a:pt x="12" y="13"/>
                      <a:pt x="12" y="13"/>
                    </a:cubicBezTo>
                    <a:cubicBezTo>
                      <a:pt x="12" y="12"/>
                      <a:pt x="13" y="12"/>
                      <a:pt x="13" y="12"/>
                    </a:cubicBezTo>
                    <a:cubicBezTo>
                      <a:pt x="14" y="12"/>
                      <a:pt x="14" y="12"/>
                      <a:pt x="14" y="12"/>
                    </a:cubicBezTo>
                    <a:cubicBezTo>
                      <a:pt x="14" y="12"/>
                      <a:pt x="14" y="12"/>
                      <a:pt x="14" y="13"/>
                    </a:cubicBezTo>
                    <a:cubicBezTo>
                      <a:pt x="20" y="10"/>
                      <a:pt x="20" y="10"/>
                      <a:pt x="20" y="10"/>
                    </a:cubicBezTo>
                    <a:cubicBezTo>
                      <a:pt x="14" y="13"/>
                      <a:pt x="14" y="13"/>
                      <a:pt x="14" y="13"/>
                    </a:cubicBezTo>
                    <a:cubicBezTo>
                      <a:pt x="15" y="13"/>
                      <a:pt x="15" y="13"/>
                      <a:pt x="15" y="13"/>
                    </a:cubicBezTo>
                    <a:cubicBezTo>
                      <a:pt x="15" y="13"/>
                      <a:pt x="15" y="13"/>
                      <a:pt x="15" y="13"/>
                    </a:cubicBezTo>
                    <a:cubicBezTo>
                      <a:pt x="15" y="18"/>
                      <a:pt x="15" y="18"/>
                      <a:pt x="15" y="18"/>
                    </a:cubicBezTo>
                    <a:cubicBezTo>
                      <a:pt x="15" y="18"/>
                      <a:pt x="15" y="18"/>
                      <a:pt x="15" y="18"/>
                    </a:cubicBezTo>
                    <a:cubicBezTo>
                      <a:pt x="15" y="24"/>
                      <a:pt x="15" y="24"/>
                      <a:pt x="15" y="24"/>
                    </a:cubicBezTo>
                    <a:cubicBezTo>
                      <a:pt x="15" y="24"/>
                      <a:pt x="15" y="24"/>
                      <a:pt x="15" y="24"/>
                    </a:cubicBezTo>
                    <a:cubicBezTo>
                      <a:pt x="15" y="28"/>
                      <a:pt x="15" y="28"/>
                      <a:pt x="15" y="28"/>
                    </a:cubicBezTo>
                    <a:cubicBezTo>
                      <a:pt x="15" y="28"/>
                      <a:pt x="15" y="28"/>
                      <a:pt x="15" y="28"/>
                    </a:cubicBezTo>
                    <a:cubicBezTo>
                      <a:pt x="21" y="28"/>
                      <a:pt x="21" y="28"/>
                      <a:pt x="21" y="28"/>
                    </a:cubicBezTo>
                    <a:cubicBezTo>
                      <a:pt x="27" y="27"/>
                      <a:pt x="27" y="27"/>
                      <a:pt x="27" y="27"/>
                    </a:cubicBezTo>
                    <a:cubicBezTo>
                      <a:pt x="27" y="24"/>
                      <a:pt x="27" y="24"/>
                      <a:pt x="27" y="24"/>
                    </a:cubicBezTo>
                    <a:cubicBezTo>
                      <a:pt x="27" y="24"/>
                      <a:pt x="27" y="24"/>
                      <a:pt x="27" y="24"/>
                    </a:cubicBezTo>
                    <a:cubicBezTo>
                      <a:pt x="27" y="18"/>
                      <a:pt x="27" y="18"/>
                      <a:pt x="27" y="18"/>
                    </a:cubicBezTo>
                    <a:cubicBezTo>
                      <a:pt x="26" y="13"/>
                      <a:pt x="26" y="13"/>
                      <a:pt x="26" y="13"/>
                    </a:cubicBezTo>
                    <a:cubicBezTo>
                      <a:pt x="26" y="13"/>
                      <a:pt x="26" y="13"/>
                      <a:pt x="26" y="13"/>
                    </a:cubicBezTo>
                    <a:cubicBezTo>
                      <a:pt x="26" y="11"/>
                      <a:pt x="26" y="9"/>
                      <a:pt x="25" y="8"/>
                    </a:cubicBezTo>
                    <a:cubicBezTo>
                      <a:pt x="25" y="7"/>
                      <a:pt x="25" y="7"/>
                      <a:pt x="25" y="7"/>
                    </a:cubicBezTo>
                    <a:cubicBezTo>
                      <a:pt x="25" y="7"/>
                      <a:pt x="25" y="7"/>
                      <a:pt x="25" y="7"/>
                    </a:cubicBezTo>
                    <a:cubicBezTo>
                      <a:pt x="24" y="5"/>
                      <a:pt x="22" y="3"/>
                      <a:pt x="20" y="2"/>
                    </a:cubicBezTo>
                    <a:cubicBezTo>
                      <a:pt x="18" y="1"/>
                      <a:pt x="15" y="0"/>
                      <a:pt x="13" y="0"/>
                    </a:cubicBezTo>
                    <a:cubicBezTo>
                      <a:pt x="10" y="0"/>
                      <a:pt x="7" y="2"/>
                      <a:pt x="4" y="4"/>
                    </a:cubicBezTo>
                    <a:cubicBezTo>
                      <a:pt x="2" y="6"/>
                      <a:pt x="0" y="10"/>
                      <a:pt x="0" y="13"/>
                    </a:cubicBezTo>
                    <a:cubicBezTo>
                      <a:pt x="0" y="14"/>
                      <a:pt x="0" y="14"/>
                      <a:pt x="0" y="14"/>
                    </a:cubicBezTo>
                    <a:cubicBezTo>
                      <a:pt x="0" y="14"/>
                      <a:pt x="0" y="14"/>
                      <a:pt x="0" y="14"/>
                    </a:cubicBezTo>
                    <a:cubicBezTo>
                      <a:pt x="0" y="19"/>
                      <a:pt x="0" y="19"/>
                      <a:pt x="0" y="19"/>
                    </a:cubicBezTo>
                    <a:cubicBezTo>
                      <a:pt x="0" y="19"/>
                      <a:pt x="0" y="19"/>
                      <a:pt x="0" y="19"/>
                    </a:cubicBezTo>
                    <a:cubicBezTo>
                      <a:pt x="1" y="25"/>
                      <a:pt x="1" y="25"/>
                      <a:pt x="1" y="25"/>
                    </a:cubicBezTo>
                    <a:cubicBezTo>
                      <a:pt x="1" y="25"/>
                      <a:pt x="1" y="25"/>
                      <a:pt x="1" y="25"/>
                    </a:cubicBezTo>
                    <a:cubicBezTo>
                      <a:pt x="1" y="28"/>
                      <a:pt x="1" y="28"/>
                      <a:pt x="1" y="28"/>
                    </a:cubicBezTo>
                    <a:cubicBezTo>
                      <a:pt x="1" y="28"/>
                      <a:pt x="1" y="28"/>
                      <a:pt x="1" y="28"/>
                    </a:cubicBezTo>
                    <a:cubicBezTo>
                      <a:pt x="1" y="29"/>
                      <a:pt x="1" y="29"/>
                      <a:pt x="1" y="29"/>
                    </a:cubicBezTo>
                    <a:cubicBezTo>
                      <a:pt x="1" y="32"/>
                      <a:pt x="3" y="35"/>
                      <a:pt x="5" y="38"/>
                    </a:cubicBezTo>
                    <a:cubicBezTo>
                      <a:pt x="8" y="40"/>
                      <a:pt x="11" y="41"/>
                      <a:pt x="14" y="41"/>
                    </a:cubicBezTo>
                    <a:cubicBezTo>
                      <a:pt x="18" y="41"/>
                      <a:pt x="22" y="39"/>
                      <a:pt x="24" y="36"/>
                    </a:cubicBezTo>
                    <a:cubicBezTo>
                      <a:pt x="26" y="34"/>
                      <a:pt x="27" y="31"/>
                      <a:pt x="27" y="28"/>
                    </a:cubicBezTo>
                    <a:cubicBezTo>
                      <a:pt x="27" y="27"/>
                      <a:pt x="27" y="27"/>
                      <a:pt x="27" y="27"/>
                    </a:cubicBezTo>
                    <a:cubicBezTo>
                      <a:pt x="27" y="27"/>
                      <a:pt x="27" y="27"/>
                      <a:pt x="27" y="27"/>
                    </a:cubicBezTo>
                    <a:lnTo>
                      <a:pt x="2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5" name="Freeform 47"/>
              <p:cNvSpPr>
                <a:spLocks/>
              </p:cNvSpPr>
              <p:nvPr/>
            </p:nvSpPr>
            <p:spPr bwMode="auto">
              <a:xfrm>
                <a:off x="6922469" y="4592142"/>
                <a:ext cx="22341" cy="52129"/>
              </a:xfrm>
              <a:custGeom>
                <a:avLst/>
                <a:gdLst>
                  <a:gd name="T0" fmla="*/ 15 w 15"/>
                  <a:gd name="T1" fmla="*/ 24 h 34"/>
                  <a:gd name="T2" fmla="*/ 1 w 15"/>
                  <a:gd name="T3" fmla="*/ 26 h 34"/>
                  <a:gd name="T4" fmla="*/ 0 w 15"/>
                  <a:gd name="T5" fmla="*/ 24 h 34"/>
                  <a:gd name="T6" fmla="*/ 0 w 15"/>
                  <a:gd name="T7" fmla="*/ 20 h 34"/>
                  <a:gd name="T8" fmla="*/ 1 w 15"/>
                  <a:gd name="T9" fmla="*/ 13 h 34"/>
                  <a:gd name="T10" fmla="*/ 1 w 15"/>
                  <a:gd name="T11" fmla="*/ 10 h 34"/>
                  <a:gd name="T12" fmla="*/ 15 w 15"/>
                  <a:gd name="T13" fmla="*/ 8 h 34"/>
                  <a:gd name="T14" fmla="*/ 15 w 15"/>
                  <a:gd name="T15" fmla="*/ 10 h 34"/>
                  <a:gd name="T16" fmla="*/ 15 w 15"/>
                  <a:gd name="T17" fmla="*/ 14 h 34"/>
                  <a:gd name="T18" fmla="*/ 15 w 15"/>
                  <a:gd name="T19" fmla="*/ 20 h 34"/>
                  <a:gd name="T20" fmla="*/ 15 w 15"/>
                  <a:gd name="T21"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4">
                    <a:moveTo>
                      <a:pt x="15" y="24"/>
                    </a:moveTo>
                    <a:cubicBezTo>
                      <a:pt x="14" y="32"/>
                      <a:pt x="3" y="34"/>
                      <a:pt x="1" y="26"/>
                    </a:cubicBezTo>
                    <a:cubicBezTo>
                      <a:pt x="0" y="26"/>
                      <a:pt x="0" y="25"/>
                      <a:pt x="0" y="24"/>
                    </a:cubicBezTo>
                    <a:cubicBezTo>
                      <a:pt x="0" y="20"/>
                      <a:pt x="0" y="20"/>
                      <a:pt x="0" y="20"/>
                    </a:cubicBezTo>
                    <a:cubicBezTo>
                      <a:pt x="1" y="13"/>
                      <a:pt x="1" y="13"/>
                      <a:pt x="1" y="13"/>
                    </a:cubicBezTo>
                    <a:cubicBezTo>
                      <a:pt x="1" y="10"/>
                      <a:pt x="1" y="10"/>
                      <a:pt x="1" y="10"/>
                    </a:cubicBezTo>
                    <a:cubicBezTo>
                      <a:pt x="1" y="2"/>
                      <a:pt x="12" y="0"/>
                      <a:pt x="15" y="8"/>
                    </a:cubicBezTo>
                    <a:cubicBezTo>
                      <a:pt x="15" y="8"/>
                      <a:pt x="15" y="9"/>
                      <a:pt x="15" y="10"/>
                    </a:cubicBezTo>
                    <a:cubicBezTo>
                      <a:pt x="15" y="14"/>
                      <a:pt x="15" y="14"/>
                      <a:pt x="15" y="14"/>
                    </a:cubicBezTo>
                    <a:cubicBezTo>
                      <a:pt x="15" y="20"/>
                      <a:pt x="15" y="20"/>
                      <a:pt x="15" y="20"/>
                    </a:cubicBezTo>
                    <a:lnTo>
                      <a:pt x="1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6" name="Freeform 48"/>
              <p:cNvSpPr>
                <a:spLocks/>
              </p:cNvSpPr>
              <p:nvPr/>
            </p:nvSpPr>
            <p:spPr bwMode="auto">
              <a:xfrm>
                <a:off x="6912894" y="4587887"/>
                <a:ext cx="41490" cy="60640"/>
              </a:xfrm>
              <a:custGeom>
                <a:avLst/>
                <a:gdLst>
                  <a:gd name="T0" fmla="*/ 15 w 27"/>
                  <a:gd name="T1" fmla="*/ 27 h 40"/>
                  <a:gd name="T2" fmla="*/ 13 w 27"/>
                  <a:gd name="T3" fmla="*/ 29 h 40"/>
                  <a:gd name="T4" fmla="*/ 12 w 27"/>
                  <a:gd name="T5" fmla="*/ 28 h 40"/>
                  <a:gd name="T6" fmla="*/ 12 w 27"/>
                  <a:gd name="T7" fmla="*/ 28 h 40"/>
                  <a:gd name="T8" fmla="*/ 12 w 27"/>
                  <a:gd name="T9" fmla="*/ 27 h 40"/>
                  <a:gd name="T10" fmla="*/ 12 w 27"/>
                  <a:gd name="T11" fmla="*/ 27 h 40"/>
                  <a:gd name="T12" fmla="*/ 10 w 27"/>
                  <a:gd name="T13" fmla="*/ 27 h 40"/>
                  <a:gd name="T14" fmla="*/ 12 w 27"/>
                  <a:gd name="T15" fmla="*/ 27 h 40"/>
                  <a:gd name="T16" fmla="*/ 12 w 27"/>
                  <a:gd name="T17" fmla="*/ 17 h 40"/>
                  <a:gd name="T18" fmla="*/ 7 w 27"/>
                  <a:gd name="T19" fmla="*/ 13 h 40"/>
                  <a:gd name="T20" fmla="*/ 13 w 27"/>
                  <a:gd name="T21" fmla="*/ 12 h 40"/>
                  <a:gd name="T22" fmla="*/ 15 w 27"/>
                  <a:gd name="T23" fmla="*/ 12 h 40"/>
                  <a:gd name="T24" fmla="*/ 21 w 27"/>
                  <a:gd name="T25" fmla="*/ 11 h 40"/>
                  <a:gd name="T26" fmla="*/ 15 w 27"/>
                  <a:gd name="T27" fmla="*/ 13 h 40"/>
                  <a:gd name="T28" fmla="*/ 15 w 27"/>
                  <a:gd name="T29" fmla="*/ 13 h 40"/>
                  <a:gd name="T30" fmla="*/ 15 w 27"/>
                  <a:gd name="T31" fmla="*/ 13 h 40"/>
                  <a:gd name="T32" fmla="*/ 15 w 27"/>
                  <a:gd name="T33" fmla="*/ 13 h 40"/>
                  <a:gd name="T34" fmla="*/ 15 w 27"/>
                  <a:gd name="T35" fmla="*/ 13 h 40"/>
                  <a:gd name="T36" fmla="*/ 15 w 27"/>
                  <a:gd name="T37" fmla="*/ 23 h 40"/>
                  <a:gd name="T38" fmla="*/ 15 w 27"/>
                  <a:gd name="T39" fmla="*/ 27 h 40"/>
                  <a:gd name="T40" fmla="*/ 21 w 27"/>
                  <a:gd name="T41" fmla="*/ 27 h 40"/>
                  <a:gd name="T42" fmla="*/ 27 w 27"/>
                  <a:gd name="T43" fmla="*/ 23 h 40"/>
                  <a:gd name="T44" fmla="*/ 27 w 27"/>
                  <a:gd name="T45" fmla="*/ 13 h 40"/>
                  <a:gd name="T46" fmla="*/ 27 w 27"/>
                  <a:gd name="T47" fmla="*/ 13 h 40"/>
                  <a:gd name="T48" fmla="*/ 27 w 27"/>
                  <a:gd name="T49" fmla="*/ 13 h 40"/>
                  <a:gd name="T50" fmla="*/ 24 w 27"/>
                  <a:gd name="T51" fmla="*/ 13 h 40"/>
                  <a:gd name="T52" fmla="*/ 27 w 27"/>
                  <a:gd name="T53" fmla="*/ 13 h 40"/>
                  <a:gd name="T54" fmla="*/ 26 w 27"/>
                  <a:gd name="T55" fmla="*/ 9 h 40"/>
                  <a:gd name="T56" fmla="*/ 21 w 27"/>
                  <a:gd name="T57" fmla="*/ 2 h 40"/>
                  <a:gd name="T58" fmla="*/ 5 w 27"/>
                  <a:gd name="T59" fmla="*/ 3 h 40"/>
                  <a:gd name="T60" fmla="*/ 1 w 27"/>
                  <a:gd name="T61" fmla="*/ 13 h 40"/>
                  <a:gd name="T62" fmla="*/ 1 w 27"/>
                  <a:gd name="T63" fmla="*/ 16 h 40"/>
                  <a:gd name="T64" fmla="*/ 1 w 27"/>
                  <a:gd name="T65" fmla="*/ 22 h 40"/>
                  <a:gd name="T66" fmla="*/ 0 w 27"/>
                  <a:gd name="T67" fmla="*/ 27 h 40"/>
                  <a:gd name="T68" fmla="*/ 1 w 27"/>
                  <a:gd name="T69" fmla="*/ 31 h 40"/>
                  <a:gd name="T70" fmla="*/ 1 w 27"/>
                  <a:gd name="T71" fmla="*/ 31 h 40"/>
                  <a:gd name="T72" fmla="*/ 13 w 27"/>
                  <a:gd name="T73" fmla="*/ 40 h 40"/>
                  <a:gd name="T74" fmla="*/ 27 w 27"/>
                  <a:gd name="T75" fmla="*/ 28 h 40"/>
                  <a:gd name="T76" fmla="*/ 21 w 27"/>
                  <a:gd name="T77"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 h="40">
                    <a:moveTo>
                      <a:pt x="21" y="27"/>
                    </a:moveTo>
                    <a:cubicBezTo>
                      <a:pt x="15" y="27"/>
                      <a:pt x="15" y="27"/>
                      <a:pt x="15" y="27"/>
                    </a:cubicBezTo>
                    <a:cubicBezTo>
                      <a:pt x="15" y="28"/>
                      <a:pt x="15" y="28"/>
                      <a:pt x="14" y="28"/>
                    </a:cubicBezTo>
                    <a:cubicBezTo>
                      <a:pt x="14" y="28"/>
                      <a:pt x="14" y="29"/>
                      <a:pt x="13" y="29"/>
                    </a:cubicBezTo>
                    <a:cubicBezTo>
                      <a:pt x="13" y="28"/>
                      <a:pt x="13" y="28"/>
                      <a:pt x="13" y="28"/>
                    </a:cubicBezTo>
                    <a:cubicBezTo>
                      <a:pt x="13" y="28"/>
                      <a:pt x="12" y="28"/>
                      <a:pt x="12" y="28"/>
                    </a:cubicBezTo>
                    <a:cubicBezTo>
                      <a:pt x="7" y="29"/>
                      <a:pt x="7" y="29"/>
                      <a:pt x="7" y="29"/>
                    </a:cubicBezTo>
                    <a:cubicBezTo>
                      <a:pt x="12" y="28"/>
                      <a:pt x="12" y="28"/>
                      <a:pt x="12" y="28"/>
                    </a:cubicBezTo>
                    <a:cubicBezTo>
                      <a:pt x="12" y="27"/>
                      <a:pt x="12" y="27"/>
                      <a:pt x="12" y="27"/>
                    </a:cubicBezTo>
                    <a:cubicBezTo>
                      <a:pt x="12" y="27"/>
                      <a:pt x="12" y="27"/>
                      <a:pt x="12" y="27"/>
                    </a:cubicBezTo>
                    <a:cubicBezTo>
                      <a:pt x="10" y="27"/>
                      <a:pt x="10" y="27"/>
                      <a:pt x="10" y="27"/>
                    </a:cubicBezTo>
                    <a:cubicBezTo>
                      <a:pt x="12" y="27"/>
                      <a:pt x="12" y="27"/>
                      <a:pt x="12" y="27"/>
                    </a:cubicBezTo>
                    <a:cubicBezTo>
                      <a:pt x="12" y="27"/>
                      <a:pt x="12" y="27"/>
                      <a:pt x="12" y="27"/>
                    </a:cubicBezTo>
                    <a:cubicBezTo>
                      <a:pt x="10" y="27"/>
                      <a:pt x="10" y="27"/>
                      <a:pt x="10" y="27"/>
                    </a:cubicBezTo>
                    <a:cubicBezTo>
                      <a:pt x="12" y="27"/>
                      <a:pt x="12" y="27"/>
                      <a:pt x="12" y="27"/>
                    </a:cubicBezTo>
                    <a:cubicBezTo>
                      <a:pt x="12" y="27"/>
                      <a:pt x="12" y="27"/>
                      <a:pt x="12" y="27"/>
                    </a:cubicBezTo>
                    <a:cubicBezTo>
                      <a:pt x="12" y="23"/>
                      <a:pt x="12" y="23"/>
                      <a:pt x="12" y="23"/>
                    </a:cubicBezTo>
                    <a:cubicBezTo>
                      <a:pt x="12" y="17"/>
                      <a:pt x="12" y="17"/>
                      <a:pt x="12" y="17"/>
                    </a:cubicBezTo>
                    <a:cubicBezTo>
                      <a:pt x="13" y="13"/>
                      <a:pt x="13" y="13"/>
                      <a:pt x="13" y="13"/>
                    </a:cubicBezTo>
                    <a:cubicBezTo>
                      <a:pt x="7" y="13"/>
                      <a:pt x="7" y="13"/>
                      <a:pt x="7" y="13"/>
                    </a:cubicBezTo>
                    <a:cubicBezTo>
                      <a:pt x="13" y="13"/>
                      <a:pt x="13" y="13"/>
                      <a:pt x="13" y="13"/>
                    </a:cubicBezTo>
                    <a:cubicBezTo>
                      <a:pt x="13" y="12"/>
                      <a:pt x="13" y="12"/>
                      <a:pt x="13" y="12"/>
                    </a:cubicBezTo>
                    <a:cubicBezTo>
                      <a:pt x="13" y="12"/>
                      <a:pt x="14" y="12"/>
                      <a:pt x="14" y="12"/>
                    </a:cubicBezTo>
                    <a:cubicBezTo>
                      <a:pt x="15" y="12"/>
                      <a:pt x="15" y="12"/>
                      <a:pt x="15" y="12"/>
                    </a:cubicBezTo>
                    <a:cubicBezTo>
                      <a:pt x="15" y="12"/>
                      <a:pt x="15" y="12"/>
                      <a:pt x="15" y="12"/>
                    </a:cubicBezTo>
                    <a:cubicBezTo>
                      <a:pt x="21" y="11"/>
                      <a:pt x="21" y="11"/>
                      <a:pt x="21" y="11"/>
                    </a:cubicBezTo>
                    <a:cubicBezTo>
                      <a:pt x="15" y="12"/>
                      <a:pt x="15" y="12"/>
                      <a:pt x="15" y="12"/>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21" y="13"/>
                      <a:pt x="21" y="13"/>
                      <a:pt x="21" y="13"/>
                    </a:cubicBezTo>
                    <a:cubicBezTo>
                      <a:pt x="15" y="13"/>
                      <a:pt x="15" y="13"/>
                      <a:pt x="15" y="13"/>
                    </a:cubicBezTo>
                    <a:cubicBezTo>
                      <a:pt x="15" y="17"/>
                      <a:pt x="15" y="17"/>
                      <a:pt x="15" y="17"/>
                    </a:cubicBezTo>
                    <a:cubicBezTo>
                      <a:pt x="15" y="23"/>
                      <a:pt x="15" y="23"/>
                      <a:pt x="15" y="23"/>
                    </a:cubicBezTo>
                    <a:cubicBezTo>
                      <a:pt x="15" y="23"/>
                      <a:pt x="15" y="23"/>
                      <a:pt x="15" y="23"/>
                    </a:cubicBezTo>
                    <a:cubicBezTo>
                      <a:pt x="15" y="27"/>
                      <a:pt x="15" y="27"/>
                      <a:pt x="15" y="27"/>
                    </a:cubicBezTo>
                    <a:cubicBezTo>
                      <a:pt x="15" y="27"/>
                      <a:pt x="15" y="27"/>
                      <a:pt x="15" y="27"/>
                    </a:cubicBezTo>
                    <a:cubicBezTo>
                      <a:pt x="21" y="27"/>
                      <a:pt x="21" y="27"/>
                      <a:pt x="21" y="27"/>
                    </a:cubicBezTo>
                    <a:cubicBezTo>
                      <a:pt x="27" y="28"/>
                      <a:pt x="27" y="28"/>
                      <a:pt x="27" y="28"/>
                    </a:cubicBezTo>
                    <a:cubicBezTo>
                      <a:pt x="27" y="23"/>
                      <a:pt x="27" y="23"/>
                      <a:pt x="27" y="23"/>
                    </a:cubicBezTo>
                    <a:cubicBezTo>
                      <a:pt x="27" y="17"/>
                      <a:pt x="27" y="17"/>
                      <a:pt x="27" y="17"/>
                    </a:cubicBezTo>
                    <a:cubicBezTo>
                      <a:pt x="27" y="13"/>
                      <a:pt x="27" y="13"/>
                      <a:pt x="27" y="13"/>
                    </a:cubicBezTo>
                    <a:cubicBezTo>
                      <a:pt x="27" y="13"/>
                      <a:pt x="27" y="13"/>
                      <a:pt x="27" y="13"/>
                    </a:cubicBezTo>
                    <a:cubicBezTo>
                      <a:pt x="27" y="13"/>
                      <a:pt x="27" y="13"/>
                      <a:pt x="27" y="13"/>
                    </a:cubicBezTo>
                    <a:cubicBezTo>
                      <a:pt x="24" y="13"/>
                      <a:pt x="24" y="13"/>
                      <a:pt x="24" y="13"/>
                    </a:cubicBezTo>
                    <a:cubicBezTo>
                      <a:pt x="27" y="13"/>
                      <a:pt x="27" y="13"/>
                      <a:pt x="27" y="13"/>
                    </a:cubicBezTo>
                    <a:cubicBezTo>
                      <a:pt x="27" y="13"/>
                      <a:pt x="27" y="13"/>
                      <a:pt x="27" y="13"/>
                    </a:cubicBezTo>
                    <a:cubicBezTo>
                      <a:pt x="24" y="13"/>
                      <a:pt x="24" y="13"/>
                      <a:pt x="24" y="13"/>
                    </a:cubicBezTo>
                    <a:cubicBezTo>
                      <a:pt x="27" y="13"/>
                      <a:pt x="27" y="13"/>
                      <a:pt x="27" y="13"/>
                    </a:cubicBezTo>
                    <a:cubicBezTo>
                      <a:pt x="27" y="13"/>
                      <a:pt x="27" y="13"/>
                      <a:pt x="27" y="13"/>
                    </a:cubicBezTo>
                    <a:cubicBezTo>
                      <a:pt x="27" y="11"/>
                      <a:pt x="27" y="10"/>
                      <a:pt x="26" y="9"/>
                    </a:cubicBezTo>
                    <a:cubicBezTo>
                      <a:pt x="26" y="9"/>
                      <a:pt x="26" y="9"/>
                      <a:pt x="26" y="9"/>
                    </a:cubicBezTo>
                    <a:cubicBezTo>
                      <a:pt x="26" y="9"/>
                      <a:pt x="26" y="9"/>
                      <a:pt x="26" y="9"/>
                    </a:cubicBezTo>
                    <a:cubicBezTo>
                      <a:pt x="25" y="6"/>
                      <a:pt x="23" y="3"/>
                      <a:pt x="21" y="2"/>
                    </a:cubicBezTo>
                    <a:cubicBezTo>
                      <a:pt x="19" y="0"/>
                      <a:pt x="16" y="0"/>
                      <a:pt x="14" y="0"/>
                    </a:cubicBezTo>
                    <a:cubicBezTo>
                      <a:pt x="11" y="0"/>
                      <a:pt x="8" y="1"/>
                      <a:pt x="5" y="3"/>
                    </a:cubicBezTo>
                    <a:cubicBezTo>
                      <a:pt x="3" y="5"/>
                      <a:pt x="1" y="9"/>
                      <a:pt x="1" y="13"/>
                    </a:cubicBezTo>
                    <a:cubicBezTo>
                      <a:pt x="1" y="13"/>
                      <a:pt x="1" y="13"/>
                      <a:pt x="1" y="13"/>
                    </a:cubicBezTo>
                    <a:cubicBezTo>
                      <a:pt x="1" y="16"/>
                      <a:pt x="1" y="16"/>
                      <a:pt x="1" y="16"/>
                    </a:cubicBezTo>
                    <a:cubicBezTo>
                      <a:pt x="1" y="16"/>
                      <a:pt x="1" y="16"/>
                      <a:pt x="1" y="16"/>
                    </a:cubicBezTo>
                    <a:cubicBezTo>
                      <a:pt x="1" y="22"/>
                      <a:pt x="1" y="22"/>
                      <a:pt x="1" y="22"/>
                    </a:cubicBezTo>
                    <a:cubicBezTo>
                      <a:pt x="1" y="22"/>
                      <a:pt x="1" y="22"/>
                      <a:pt x="1" y="22"/>
                    </a:cubicBezTo>
                    <a:cubicBezTo>
                      <a:pt x="0" y="27"/>
                      <a:pt x="0" y="27"/>
                      <a:pt x="0" y="27"/>
                    </a:cubicBezTo>
                    <a:cubicBezTo>
                      <a:pt x="0" y="27"/>
                      <a:pt x="0" y="27"/>
                      <a:pt x="0" y="27"/>
                    </a:cubicBezTo>
                    <a:cubicBezTo>
                      <a:pt x="0" y="27"/>
                      <a:pt x="0" y="27"/>
                      <a:pt x="0" y="27"/>
                    </a:cubicBezTo>
                    <a:cubicBezTo>
                      <a:pt x="0" y="29"/>
                      <a:pt x="1" y="30"/>
                      <a:pt x="1" y="31"/>
                    </a:cubicBezTo>
                    <a:cubicBezTo>
                      <a:pt x="1" y="31"/>
                      <a:pt x="1" y="31"/>
                      <a:pt x="1" y="31"/>
                    </a:cubicBezTo>
                    <a:cubicBezTo>
                      <a:pt x="1" y="31"/>
                      <a:pt x="1" y="31"/>
                      <a:pt x="1" y="31"/>
                    </a:cubicBezTo>
                    <a:cubicBezTo>
                      <a:pt x="2" y="34"/>
                      <a:pt x="4" y="37"/>
                      <a:pt x="6" y="38"/>
                    </a:cubicBezTo>
                    <a:cubicBezTo>
                      <a:pt x="8" y="40"/>
                      <a:pt x="11" y="40"/>
                      <a:pt x="13" y="40"/>
                    </a:cubicBezTo>
                    <a:cubicBezTo>
                      <a:pt x="17" y="40"/>
                      <a:pt x="20" y="39"/>
                      <a:pt x="22" y="37"/>
                    </a:cubicBezTo>
                    <a:cubicBezTo>
                      <a:pt x="25" y="35"/>
                      <a:pt x="27" y="31"/>
                      <a:pt x="27" y="28"/>
                    </a:cubicBezTo>
                    <a:cubicBezTo>
                      <a:pt x="27" y="28"/>
                      <a:pt x="27" y="28"/>
                      <a:pt x="27" y="28"/>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7" name="Freeform 49"/>
              <p:cNvSpPr>
                <a:spLocks/>
              </p:cNvSpPr>
              <p:nvPr/>
            </p:nvSpPr>
            <p:spPr bwMode="auto">
              <a:xfrm>
                <a:off x="6912894" y="4724060"/>
                <a:ext cx="25533" cy="46810"/>
              </a:xfrm>
              <a:custGeom>
                <a:avLst/>
                <a:gdLst>
                  <a:gd name="T0" fmla="*/ 15 w 17"/>
                  <a:gd name="T1" fmla="*/ 24 h 31"/>
                  <a:gd name="T2" fmla="*/ 7 w 17"/>
                  <a:gd name="T3" fmla="*/ 31 h 31"/>
                  <a:gd name="T4" fmla="*/ 0 w 17"/>
                  <a:gd name="T5" fmla="*/ 23 h 31"/>
                  <a:gd name="T6" fmla="*/ 1 w 17"/>
                  <a:gd name="T7" fmla="*/ 18 h 31"/>
                  <a:gd name="T8" fmla="*/ 1 w 17"/>
                  <a:gd name="T9" fmla="*/ 12 h 31"/>
                  <a:gd name="T10" fmla="*/ 2 w 17"/>
                  <a:gd name="T11" fmla="*/ 8 h 31"/>
                  <a:gd name="T12" fmla="*/ 5 w 17"/>
                  <a:gd name="T13" fmla="*/ 3 h 31"/>
                  <a:gd name="T14" fmla="*/ 16 w 17"/>
                  <a:gd name="T15" fmla="*/ 10 h 31"/>
                  <a:gd name="T16" fmla="*/ 16 w 17"/>
                  <a:gd name="T17" fmla="*/ 13 h 31"/>
                  <a:gd name="T18" fmla="*/ 15 w 17"/>
                  <a:gd name="T19" fmla="*/ 20 h 31"/>
                  <a:gd name="T20" fmla="*/ 15 w 17"/>
                  <a:gd name="T21"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1">
                    <a:moveTo>
                      <a:pt x="15" y="24"/>
                    </a:moveTo>
                    <a:cubicBezTo>
                      <a:pt x="14" y="28"/>
                      <a:pt x="11" y="31"/>
                      <a:pt x="7" y="31"/>
                    </a:cubicBezTo>
                    <a:cubicBezTo>
                      <a:pt x="3" y="31"/>
                      <a:pt x="0" y="27"/>
                      <a:pt x="0" y="23"/>
                    </a:cubicBezTo>
                    <a:cubicBezTo>
                      <a:pt x="1" y="18"/>
                      <a:pt x="1" y="18"/>
                      <a:pt x="1" y="18"/>
                    </a:cubicBezTo>
                    <a:cubicBezTo>
                      <a:pt x="1" y="12"/>
                      <a:pt x="1" y="12"/>
                      <a:pt x="1" y="12"/>
                    </a:cubicBezTo>
                    <a:cubicBezTo>
                      <a:pt x="2" y="8"/>
                      <a:pt x="2" y="8"/>
                      <a:pt x="2" y="8"/>
                    </a:cubicBezTo>
                    <a:cubicBezTo>
                      <a:pt x="2" y="6"/>
                      <a:pt x="3" y="4"/>
                      <a:pt x="5" y="3"/>
                    </a:cubicBezTo>
                    <a:cubicBezTo>
                      <a:pt x="10" y="0"/>
                      <a:pt x="17" y="4"/>
                      <a:pt x="16" y="10"/>
                    </a:cubicBezTo>
                    <a:cubicBezTo>
                      <a:pt x="16" y="13"/>
                      <a:pt x="16" y="13"/>
                      <a:pt x="16" y="13"/>
                    </a:cubicBezTo>
                    <a:cubicBezTo>
                      <a:pt x="15" y="20"/>
                      <a:pt x="15" y="20"/>
                      <a:pt x="15" y="20"/>
                    </a:cubicBezTo>
                    <a:lnTo>
                      <a:pt x="1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8" name="Freeform 50"/>
              <p:cNvSpPr>
                <a:spLocks/>
              </p:cNvSpPr>
              <p:nvPr/>
            </p:nvSpPr>
            <p:spPr bwMode="auto">
              <a:xfrm>
                <a:off x="6904383" y="4718741"/>
                <a:ext cx="42554" cy="61704"/>
              </a:xfrm>
              <a:custGeom>
                <a:avLst/>
                <a:gdLst>
                  <a:gd name="T0" fmla="*/ 21 w 28"/>
                  <a:gd name="T1" fmla="*/ 28 h 41"/>
                  <a:gd name="T2" fmla="*/ 15 w 28"/>
                  <a:gd name="T3" fmla="*/ 28 h 41"/>
                  <a:gd name="T4" fmla="*/ 13 w 28"/>
                  <a:gd name="T5" fmla="*/ 29 h 41"/>
                  <a:gd name="T6" fmla="*/ 13 w 28"/>
                  <a:gd name="T7" fmla="*/ 29 h 41"/>
                  <a:gd name="T8" fmla="*/ 13 w 28"/>
                  <a:gd name="T9" fmla="*/ 29 h 41"/>
                  <a:gd name="T10" fmla="*/ 13 w 28"/>
                  <a:gd name="T11" fmla="*/ 28 h 41"/>
                  <a:gd name="T12" fmla="*/ 12 w 28"/>
                  <a:gd name="T13" fmla="*/ 27 h 41"/>
                  <a:gd name="T14" fmla="*/ 12 w 28"/>
                  <a:gd name="T15" fmla="*/ 27 h 41"/>
                  <a:gd name="T16" fmla="*/ 13 w 28"/>
                  <a:gd name="T17" fmla="*/ 23 h 41"/>
                  <a:gd name="T18" fmla="*/ 13 w 28"/>
                  <a:gd name="T19" fmla="*/ 16 h 41"/>
                  <a:gd name="T20" fmla="*/ 14 w 28"/>
                  <a:gd name="T21" fmla="*/ 13 h 41"/>
                  <a:gd name="T22" fmla="*/ 14 w 28"/>
                  <a:gd name="T23" fmla="*/ 13 h 41"/>
                  <a:gd name="T24" fmla="*/ 14 w 28"/>
                  <a:gd name="T25" fmla="*/ 13 h 41"/>
                  <a:gd name="T26" fmla="*/ 14 w 28"/>
                  <a:gd name="T27" fmla="*/ 12 h 41"/>
                  <a:gd name="T28" fmla="*/ 14 w 28"/>
                  <a:gd name="T29" fmla="*/ 12 h 41"/>
                  <a:gd name="T30" fmla="*/ 15 w 28"/>
                  <a:gd name="T31" fmla="*/ 12 h 41"/>
                  <a:gd name="T32" fmla="*/ 16 w 28"/>
                  <a:gd name="T33" fmla="*/ 12 h 41"/>
                  <a:gd name="T34" fmla="*/ 16 w 28"/>
                  <a:gd name="T35" fmla="*/ 13 h 41"/>
                  <a:gd name="T36" fmla="*/ 16 w 28"/>
                  <a:gd name="T37" fmla="*/ 13 h 41"/>
                  <a:gd name="T38" fmla="*/ 22 w 28"/>
                  <a:gd name="T39" fmla="*/ 14 h 41"/>
                  <a:gd name="T40" fmla="*/ 16 w 28"/>
                  <a:gd name="T41" fmla="*/ 13 h 41"/>
                  <a:gd name="T42" fmla="*/ 16 w 28"/>
                  <a:gd name="T43" fmla="*/ 17 h 41"/>
                  <a:gd name="T44" fmla="*/ 15 w 28"/>
                  <a:gd name="T45" fmla="*/ 23 h 41"/>
                  <a:gd name="T46" fmla="*/ 15 w 28"/>
                  <a:gd name="T47" fmla="*/ 23 h 41"/>
                  <a:gd name="T48" fmla="*/ 15 w 28"/>
                  <a:gd name="T49" fmla="*/ 28 h 41"/>
                  <a:gd name="T50" fmla="*/ 15 w 28"/>
                  <a:gd name="T51" fmla="*/ 28 h 41"/>
                  <a:gd name="T52" fmla="*/ 21 w 28"/>
                  <a:gd name="T53" fmla="*/ 28 h 41"/>
                  <a:gd name="T54" fmla="*/ 26 w 28"/>
                  <a:gd name="T55" fmla="*/ 29 h 41"/>
                  <a:gd name="T56" fmla="*/ 27 w 28"/>
                  <a:gd name="T57" fmla="*/ 24 h 41"/>
                  <a:gd name="T58" fmla="*/ 28 w 28"/>
                  <a:gd name="T59" fmla="*/ 18 h 41"/>
                  <a:gd name="T60" fmla="*/ 28 w 28"/>
                  <a:gd name="T61" fmla="*/ 14 h 41"/>
                  <a:gd name="T62" fmla="*/ 28 w 28"/>
                  <a:gd name="T63" fmla="*/ 14 h 41"/>
                  <a:gd name="T64" fmla="*/ 28 w 28"/>
                  <a:gd name="T65" fmla="*/ 14 h 41"/>
                  <a:gd name="T66" fmla="*/ 28 w 28"/>
                  <a:gd name="T67" fmla="*/ 13 h 41"/>
                  <a:gd name="T68" fmla="*/ 24 w 28"/>
                  <a:gd name="T69" fmla="*/ 4 h 41"/>
                  <a:gd name="T70" fmla="*/ 15 w 28"/>
                  <a:gd name="T71" fmla="*/ 0 h 41"/>
                  <a:gd name="T72" fmla="*/ 8 w 28"/>
                  <a:gd name="T73" fmla="*/ 2 h 41"/>
                  <a:gd name="T74" fmla="*/ 8 w 28"/>
                  <a:gd name="T75" fmla="*/ 2 h 41"/>
                  <a:gd name="T76" fmla="*/ 2 w 28"/>
                  <a:gd name="T77" fmla="*/ 12 h 41"/>
                  <a:gd name="T78" fmla="*/ 8 w 28"/>
                  <a:gd name="T79" fmla="*/ 12 h 41"/>
                  <a:gd name="T80" fmla="*/ 2 w 28"/>
                  <a:gd name="T81" fmla="*/ 12 h 41"/>
                  <a:gd name="T82" fmla="*/ 2 w 28"/>
                  <a:gd name="T83" fmla="*/ 15 h 41"/>
                  <a:gd name="T84" fmla="*/ 2 w 28"/>
                  <a:gd name="T85" fmla="*/ 15 h 41"/>
                  <a:gd name="T86" fmla="*/ 1 w 28"/>
                  <a:gd name="T87" fmla="*/ 21 h 41"/>
                  <a:gd name="T88" fmla="*/ 1 w 28"/>
                  <a:gd name="T89" fmla="*/ 21 h 41"/>
                  <a:gd name="T90" fmla="*/ 0 w 28"/>
                  <a:gd name="T91" fmla="*/ 26 h 41"/>
                  <a:gd name="T92" fmla="*/ 0 w 28"/>
                  <a:gd name="T93" fmla="*/ 27 h 41"/>
                  <a:gd name="T94" fmla="*/ 4 w 28"/>
                  <a:gd name="T95" fmla="*/ 37 h 41"/>
                  <a:gd name="T96" fmla="*/ 13 w 28"/>
                  <a:gd name="T97" fmla="*/ 41 h 41"/>
                  <a:gd name="T98" fmla="*/ 13 w 28"/>
                  <a:gd name="T99" fmla="*/ 41 h 41"/>
                  <a:gd name="T100" fmla="*/ 13 w 28"/>
                  <a:gd name="T101" fmla="*/ 41 h 41"/>
                  <a:gd name="T102" fmla="*/ 13 w 28"/>
                  <a:gd name="T103" fmla="*/ 41 h 41"/>
                  <a:gd name="T104" fmla="*/ 26 w 28"/>
                  <a:gd name="T105" fmla="*/ 29 h 41"/>
                  <a:gd name="T106" fmla="*/ 26 w 28"/>
                  <a:gd name="T107" fmla="*/ 29 h 41"/>
                  <a:gd name="T108" fmla="*/ 21 w 28"/>
                  <a:gd name="T109"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 h="41">
                    <a:moveTo>
                      <a:pt x="21" y="28"/>
                    </a:moveTo>
                    <a:cubicBezTo>
                      <a:pt x="15" y="28"/>
                      <a:pt x="15" y="28"/>
                      <a:pt x="15" y="28"/>
                    </a:cubicBezTo>
                    <a:cubicBezTo>
                      <a:pt x="15" y="28"/>
                      <a:pt x="14" y="29"/>
                      <a:pt x="13" y="29"/>
                    </a:cubicBezTo>
                    <a:cubicBezTo>
                      <a:pt x="13" y="29"/>
                      <a:pt x="13" y="29"/>
                      <a:pt x="13" y="29"/>
                    </a:cubicBezTo>
                    <a:cubicBezTo>
                      <a:pt x="13" y="29"/>
                      <a:pt x="13" y="29"/>
                      <a:pt x="13" y="29"/>
                    </a:cubicBezTo>
                    <a:cubicBezTo>
                      <a:pt x="13" y="29"/>
                      <a:pt x="13" y="29"/>
                      <a:pt x="13" y="28"/>
                    </a:cubicBezTo>
                    <a:cubicBezTo>
                      <a:pt x="12" y="27"/>
                      <a:pt x="12" y="27"/>
                      <a:pt x="12" y="27"/>
                    </a:cubicBezTo>
                    <a:cubicBezTo>
                      <a:pt x="12" y="27"/>
                      <a:pt x="12" y="27"/>
                      <a:pt x="12" y="27"/>
                    </a:cubicBezTo>
                    <a:cubicBezTo>
                      <a:pt x="13" y="23"/>
                      <a:pt x="13" y="23"/>
                      <a:pt x="13" y="23"/>
                    </a:cubicBezTo>
                    <a:cubicBezTo>
                      <a:pt x="13" y="16"/>
                      <a:pt x="13" y="16"/>
                      <a:pt x="13" y="16"/>
                    </a:cubicBezTo>
                    <a:cubicBezTo>
                      <a:pt x="14" y="13"/>
                      <a:pt x="14" y="13"/>
                      <a:pt x="14" y="13"/>
                    </a:cubicBezTo>
                    <a:cubicBezTo>
                      <a:pt x="14" y="13"/>
                      <a:pt x="14" y="13"/>
                      <a:pt x="14" y="13"/>
                    </a:cubicBezTo>
                    <a:cubicBezTo>
                      <a:pt x="14" y="13"/>
                      <a:pt x="14" y="13"/>
                      <a:pt x="14" y="13"/>
                    </a:cubicBezTo>
                    <a:cubicBezTo>
                      <a:pt x="14" y="12"/>
                      <a:pt x="14" y="12"/>
                      <a:pt x="14" y="12"/>
                    </a:cubicBezTo>
                    <a:cubicBezTo>
                      <a:pt x="14" y="12"/>
                      <a:pt x="14" y="12"/>
                      <a:pt x="14" y="12"/>
                    </a:cubicBezTo>
                    <a:cubicBezTo>
                      <a:pt x="15" y="12"/>
                      <a:pt x="15" y="12"/>
                      <a:pt x="15" y="12"/>
                    </a:cubicBezTo>
                    <a:cubicBezTo>
                      <a:pt x="16" y="12"/>
                      <a:pt x="16" y="12"/>
                      <a:pt x="16" y="12"/>
                    </a:cubicBezTo>
                    <a:cubicBezTo>
                      <a:pt x="16" y="12"/>
                      <a:pt x="16" y="13"/>
                      <a:pt x="16" y="13"/>
                    </a:cubicBezTo>
                    <a:cubicBezTo>
                      <a:pt x="16" y="13"/>
                      <a:pt x="16" y="13"/>
                      <a:pt x="16" y="13"/>
                    </a:cubicBezTo>
                    <a:cubicBezTo>
                      <a:pt x="22" y="14"/>
                      <a:pt x="22" y="14"/>
                      <a:pt x="22" y="14"/>
                    </a:cubicBezTo>
                    <a:cubicBezTo>
                      <a:pt x="16" y="13"/>
                      <a:pt x="16" y="13"/>
                      <a:pt x="16" y="13"/>
                    </a:cubicBezTo>
                    <a:cubicBezTo>
                      <a:pt x="16" y="17"/>
                      <a:pt x="16" y="17"/>
                      <a:pt x="16" y="17"/>
                    </a:cubicBezTo>
                    <a:cubicBezTo>
                      <a:pt x="15" y="23"/>
                      <a:pt x="15" y="23"/>
                      <a:pt x="15" y="23"/>
                    </a:cubicBezTo>
                    <a:cubicBezTo>
                      <a:pt x="15" y="23"/>
                      <a:pt x="15" y="23"/>
                      <a:pt x="15" y="23"/>
                    </a:cubicBezTo>
                    <a:cubicBezTo>
                      <a:pt x="15" y="28"/>
                      <a:pt x="15" y="28"/>
                      <a:pt x="15" y="28"/>
                    </a:cubicBezTo>
                    <a:cubicBezTo>
                      <a:pt x="15" y="28"/>
                      <a:pt x="15" y="28"/>
                      <a:pt x="15" y="28"/>
                    </a:cubicBezTo>
                    <a:cubicBezTo>
                      <a:pt x="21" y="28"/>
                      <a:pt x="21" y="28"/>
                      <a:pt x="21" y="28"/>
                    </a:cubicBezTo>
                    <a:cubicBezTo>
                      <a:pt x="26" y="29"/>
                      <a:pt x="26" y="29"/>
                      <a:pt x="26" y="29"/>
                    </a:cubicBezTo>
                    <a:cubicBezTo>
                      <a:pt x="27" y="24"/>
                      <a:pt x="27" y="24"/>
                      <a:pt x="27" y="24"/>
                    </a:cubicBezTo>
                    <a:cubicBezTo>
                      <a:pt x="28" y="18"/>
                      <a:pt x="28" y="18"/>
                      <a:pt x="28" y="18"/>
                    </a:cubicBezTo>
                    <a:cubicBezTo>
                      <a:pt x="28" y="14"/>
                      <a:pt x="28" y="14"/>
                      <a:pt x="28" y="14"/>
                    </a:cubicBezTo>
                    <a:cubicBezTo>
                      <a:pt x="28" y="14"/>
                      <a:pt x="28" y="14"/>
                      <a:pt x="28" y="14"/>
                    </a:cubicBezTo>
                    <a:cubicBezTo>
                      <a:pt x="28" y="14"/>
                      <a:pt x="28" y="14"/>
                      <a:pt x="28" y="14"/>
                    </a:cubicBezTo>
                    <a:cubicBezTo>
                      <a:pt x="28" y="14"/>
                      <a:pt x="28" y="14"/>
                      <a:pt x="28" y="13"/>
                    </a:cubicBezTo>
                    <a:cubicBezTo>
                      <a:pt x="28" y="9"/>
                      <a:pt x="26" y="6"/>
                      <a:pt x="24" y="4"/>
                    </a:cubicBezTo>
                    <a:cubicBezTo>
                      <a:pt x="22" y="1"/>
                      <a:pt x="18" y="0"/>
                      <a:pt x="15" y="0"/>
                    </a:cubicBezTo>
                    <a:cubicBezTo>
                      <a:pt x="12" y="0"/>
                      <a:pt x="10" y="1"/>
                      <a:pt x="8" y="2"/>
                    </a:cubicBezTo>
                    <a:cubicBezTo>
                      <a:pt x="8" y="2"/>
                      <a:pt x="8" y="2"/>
                      <a:pt x="8" y="2"/>
                    </a:cubicBezTo>
                    <a:cubicBezTo>
                      <a:pt x="4" y="5"/>
                      <a:pt x="2" y="8"/>
                      <a:pt x="2" y="12"/>
                    </a:cubicBezTo>
                    <a:cubicBezTo>
                      <a:pt x="8" y="12"/>
                      <a:pt x="8" y="12"/>
                      <a:pt x="8" y="12"/>
                    </a:cubicBezTo>
                    <a:cubicBezTo>
                      <a:pt x="2" y="12"/>
                      <a:pt x="2" y="12"/>
                      <a:pt x="2" y="12"/>
                    </a:cubicBezTo>
                    <a:cubicBezTo>
                      <a:pt x="2" y="15"/>
                      <a:pt x="2" y="15"/>
                      <a:pt x="2" y="15"/>
                    </a:cubicBezTo>
                    <a:cubicBezTo>
                      <a:pt x="2" y="15"/>
                      <a:pt x="2" y="15"/>
                      <a:pt x="2" y="15"/>
                    </a:cubicBezTo>
                    <a:cubicBezTo>
                      <a:pt x="1" y="21"/>
                      <a:pt x="1" y="21"/>
                      <a:pt x="1" y="21"/>
                    </a:cubicBezTo>
                    <a:cubicBezTo>
                      <a:pt x="1" y="21"/>
                      <a:pt x="1" y="21"/>
                      <a:pt x="1" y="21"/>
                    </a:cubicBezTo>
                    <a:cubicBezTo>
                      <a:pt x="0" y="26"/>
                      <a:pt x="0" y="26"/>
                      <a:pt x="0" y="26"/>
                    </a:cubicBezTo>
                    <a:cubicBezTo>
                      <a:pt x="0" y="27"/>
                      <a:pt x="0" y="27"/>
                      <a:pt x="0" y="27"/>
                    </a:cubicBezTo>
                    <a:cubicBezTo>
                      <a:pt x="0" y="31"/>
                      <a:pt x="2" y="34"/>
                      <a:pt x="4" y="37"/>
                    </a:cubicBezTo>
                    <a:cubicBezTo>
                      <a:pt x="6" y="39"/>
                      <a:pt x="10" y="40"/>
                      <a:pt x="13" y="41"/>
                    </a:cubicBezTo>
                    <a:cubicBezTo>
                      <a:pt x="13" y="41"/>
                      <a:pt x="13" y="41"/>
                      <a:pt x="13" y="41"/>
                    </a:cubicBezTo>
                    <a:cubicBezTo>
                      <a:pt x="13" y="41"/>
                      <a:pt x="13" y="41"/>
                      <a:pt x="13" y="41"/>
                    </a:cubicBezTo>
                    <a:cubicBezTo>
                      <a:pt x="13" y="41"/>
                      <a:pt x="13" y="41"/>
                      <a:pt x="13" y="41"/>
                    </a:cubicBezTo>
                    <a:cubicBezTo>
                      <a:pt x="20" y="41"/>
                      <a:pt x="26" y="36"/>
                      <a:pt x="26" y="29"/>
                    </a:cubicBezTo>
                    <a:cubicBezTo>
                      <a:pt x="26" y="29"/>
                      <a:pt x="26" y="29"/>
                      <a:pt x="26" y="29"/>
                    </a:cubicBezTo>
                    <a:lnTo>
                      <a:pt x="2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9" name="Freeform 51"/>
              <p:cNvSpPr>
                <a:spLocks/>
              </p:cNvSpPr>
              <p:nvPr/>
            </p:nvSpPr>
            <p:spPr bwMode="auto">
              <a:xfrm>
                <a:off x="6893744" y="4852787"/>
                <a:ext cx="25533" cy="50001"/>
              </a:xfrm>
              <a:custGeom>
                <a:avLst/>
                <a:gdLst>
                  <a:gd name="T0" fmla="*/ 14 w 17"/>
                  <a:gd name="T1" fmla="*/ 25 h 33"/>
                  <a:gd name="T2" fmla="*/ 0 w 17"/>
                  <a:gd name="T3" fmla="*/ 25 h 33"/>
                  <a:gd name="T4" fmla="*/ 0 w 17"/>
                  <a:gd name="T5" fmla="*/ 22 h 33"/>
                  <a:gd name="T6" fmla="*/ 1 w 17"/>
                  <a:gd name="T7" fmla="*/ 18 h 33"/>
                  <a:gd name="T8" fmla="*/ 2 w 17"/>
                  <a:gd name="T9" fmla="*/ 12 h 33"/>
                  <a:gd name="T10" fmla="*/ 3 w 17"/>
                  <a:gd name="T11" fmla="*/ 8 h 33"/>
                  <a:gd name="T12" fmla="*/ 17 w 17"/>
                  <a:gd name="T13" fmla="*/ 8 h 33"/>
                  <a:gd name="T14" fmla="*/ 17 w 17"/>
                  <a:gd name="T15" fmla="*/ 11 h 33"/>
                  <a:gd name="T16" fmla="*/ 16 w 17"/>
                  <a:gd name="T17" fmla="*/ 15 h 33"/>
                  <a:gd name="T18" fmla="*/ 15 w 17"/>
                  <a:gd name="T19" fmla="*/ 21 h 33"/>
                  <a:gd name="T20" fmla="*/ 14 w 17"/>
                  <a:gd name="T21"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3">
                    <a:moveTo>
                      <a:pt x="14" y="25"/>
                    </a:moveTo>
                    <a:cubicBezTo>
                      <a:pt x="13" y="33"/>
                      <a:pt x="1" y="33"/>
                      <a:pt x="0" y="25"/>
                    </a:cubicBezTo>
                    <a:cubicBezTo>
                      <a:pt x="0" y="24"/>
                      <a:pt x="0" y="23"/>
                      <a:pt x="0" y="22"/>
                    </a:cubicBezTo>
                    <a:cubicBezTo>
                      <a:pt x="1" y="18"/>
                      <a:pt x="1" y="18"/>
                      <a:pt x="1" y="18"/>
                    </a:cubicBezTo>
                    <a:cubicBezTo>
                      <a:pt x="2" y="12"/>
                      <a:pt x="2" y="12"/>
                      <a:pt x="2" y="12"/>
                    </a:cubicBezTo>
                    <a:cubicBezTo>
                      <a:pt x="3" y="8"/>
                      <a:pt x="3" y="8"/>
                      <a:pt x="3" y="8"/>
                    </a:cubicBezTo>
                    <a:cubicBezTo>
                      <a:pt x="4" y="1"/>
                      <a:pt x="15" y="0"/>
                      <a:pt x="17" y="8"/>
                    </a:cubicBezTo>
                    <a:cubicBezTo>
                      <a:pt x="17" y="9"/>
                      <a:pt x="17" y="10"/>
                      <a:pt x="17" y="11"/>
                    </a:cubicBezTo>
                    <a:cubicBezTo>
                      <a:pt x="16" y="15"/>
                      <a:pt x="16" y="15"/>
                      <a:pt x="16" y="15"/>
                    </a:cubicBezTo>
                    <a:cubicBezTo>
                      <a:pt x="15" y="21"/>
                      <a:pt x="15" y="21"/>
                      <a:pt x="15" y="21"/>
                    </a:cubicBezTo>
                    <a:lnTo>
                      <a:pt x="1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0" name="Freeform 52"/>
              <p:cNvSpPr>
                <a:spLocks/>
              </p:cNvSpPr>
              <p:nvPr/>
            </p:nvSpPr>
            <p:spPr bwMode="auto">
              <a:xfrm>
                <a:off x="6884170" y="4848531"/>
                <a:ext cx="44682" cy="60640"/>
              </a:xfrm>
              <a:custGeom>
                <a:avLst/>
                <a:gdLst>
                  <a:gd name="T0" fmla="*/ 20 w 29"/>
                  <a:gd name="T1" fmla="*/ 28 h 40"/>
                  <a:gd name="T2" fmla="*/ 14 w 29"/>
                  <a:gd name="T3" fmla="*/ 27 h 40"/>
                  <a:gd name="T4" fmla="*/ 14 w 29"/>
                  <a:gd name="T5" fmla="*/ 28 h 40"/>
                  <a:gd name="T6" fmla="*/ 13 w 29"/>
                  <a:gd name="T7" fmla="*/ 28 h 40"/>
                  <a:gd name="T8" fmla="*/ 12 w 29"/>
                  <a:gd name="T9" fmla="*/ 28 h 40"/>
                  <a:gd name="T10" fmla="*/ 12 w 29"/>
                  <a:gd name="T11" fmla="*/ 27 h 40"/>
                  <a:gd name="T12" fmla="*/ 6 w 29"/>
                  <a:gd name="T13" fmla="*/ 28 h 40"/>
                  <a:gd name="T14" fmla="*/ 12 w 29"/>
                  <a:gd name="T15" fmla="*/ 27 h 40"/>
                  <a:gd name="T16" fmla="*/ 12 w 29"/>
                  <a:gd name="T17" fmla="*/ 27 h 40"/>
                  <a:gd name="T18" fmla="*/ 12 w 29"/>
                  <a:gd name="T19" fmla="*/ 27 h 40"/>
                  <a:gd name="T20" fmla="*/ 12 w 29"/>
                  <a:gd name="T21" fmla="*/ 27 h 40"/>
                  <a:gd name="T22" fmla="*/ 13 w 29"/>
                  <a:gd name="T23" fmla="*/ 22 h 40"/>
                  <a:gd name="T24" fmla="*/ 14 w 29"/>
                  <a:gd name="T25" fmla="*/ 16 h 40"/>
                  <a:gd name="T26" fmla="*/ 15 w 29"/>
                  <a:gd name="T27" fmla="*/ 12 h 40"/>
                  <a:gd name="T28" fmla="*/ 9 w 29"/>
                  <a:gd name="T29" fmla="*/ 11 h 40"/>
                  <a:gd name="T30" fmla="*/ 15 w 29"/>
                  <a:gd name="T31" fmla="*/ 13 h 40"/>
                  <a:gd name="T32" fmla="*/ 15 w 29"/>
                  <a:gd name="T33" fmla="*/ 12 h 40"/>
                  <a:gd name="T34" fmla="*/ 16 w 29"/>
                  <a:gd name="T35" fmla="*/ 11 h 40"/>
                  <a:gd name="T36" fmla="*/ 17 w 29"/>
                  <a:gd name="T37" fmla="*/ 12 h 40"/>
                  <a:gd name="T38" fmla="*/ 17 w 29"/>
                  <a:gd name="T39" fmla="*/ 12 h 40"/>
                  <a:gd name="T40" fmla="*/ 23 w 29"/>
                  <a:gd name="T41" fmla="*/ 11 h 40"/>
                  <a:gd name="T42" fmla="*/ 17 w 29"/>
                  <a:gd name="T43" fmla="*/ 12 h 40"/>
                  <a:gd name="T44" fmla="*/ 17 w 29"/>
                  <a:gd name="T45" fmla="*/ 13 h 40"/>
                  <a:gd name="T46" fmla="*/ 17 w 29"/>
                  <a:gd name="T47" fmla="*/ 13 h 40"/>
                  <a:gd name="T48" fmla="*/ 16 w 29"/>
                  <a:gd name="T49" fmla="*/ 17 h 40"/>
                  <a:gd name="T50" fmla="*/ 16 w 29"/>
                  <a:gd name="T51" fmla="*/ 17 h 40"/>
                  <a:gd name="T52" fmla="*/ 15 w 29"/>
                  <a:gd name="T53" fmla="*/ 23 h 40"/>
                  <a:gd name="T54" fmla="*/ 15 w 29"/>
                  <a:gd name="T55" fmla="*/ 23 h 40"/>
                  <a:gd name="T56" fmla="*/ 14 w 29"/>
                  <a:gd name="T57" fmla="*/ 27 h 40"/>
                  <a:gd name="T58" fmla="*/ 14 w 29"/>
                  <a:gd name="T59" fmla="*/ 27 h 40"/>
                  <a:gd name="T60" fmla="*/ 20 w 29"/>
                  <a:gd name="T61" fmla="*/ 28 h 40"/>
                  <a:gd name="T62" fmla="*/ 26 w 29"/>
                  <a:gd name="T63" fmla="*/ 29 h 40"/>
                  <a:gd name="T64" fmla="*/ 27 w 29"/>
                  <a:gd name="T65" fmla="*/ 25 h 40"/>
                  <a:gd name="T66" fmla="*/ 28 w 29"/>
                  <a:gd name="T67" fmla="*/ 19 h 40"/>
                  <a:gd name="T68" fmla="*/ 29 w 29"/>
                  <a:gd name="T69" fmla="*/ 15 h 40"/>
                  <a:gd name="T70" fmla="*/ 29 w 29"/>
                  <a:gd name="T71" fmla="*/ 15 h 40"/>
                  <a:gd name="T72" fmla="*/ 29 w 29"/>
                  <a:gd name="T73" fmla="*/ 15 h 40"/>
                  <a:gd name="T74" fmla="*/ 29 w 29"/>
                  <a:gd name="T75" fmla="*/ 13 h 40"/>
                  <a:gd name="T76" fmla="*/ 29 w 29"/>
                  <a:gd name="T77" fmla="*/ 9 h 40"/>
                  <a:gd name="T78" fmla="*/ 28 w 29"/>
                  <a:gd name="T79" fmla="*/ 9 h 40"/>
                  <a:gd name="T80" fmla="*/ 28 w 29"/>
                  <a:gd name="T81" fmla="*/ 9 h 40"/>
                  <a:gd name="T82" fmla="*/ 23 w 29"/>
                  <a:gd name="T83" fmla="*/ 2 h 40"/>
                  <a:gd name="T84" fmla="*/ 16 w 29"/>
                  <a:gd name="T85" fmla="*/ 0 h 40"/>
                  <a:gd name="T86" fmla="*/ 8 w 29"/>
                  <a:gd name="T87" fmla="*/ 2 h 40"/>
                  <a:gd name="T88" fmla="*/ 3 w 29"/>
                  <a:gd name="T89" fmla="*/ 10 h 40"/>
                  <a:gd name="T90" fmla="*/ 3 w 29"/>
                  <a:gd name="T91" fmla="*/ 10 h 40"/>
                  <a:gd name="T92" fmla="*/ 2 w 29"/>
                  <a:gd name="T93" fmla="*/ 14 h 40"/>
                  <a:gd name="T94" fmla="*/ 1 w 29"/>
                  <a:gd name="T95" fmla="*/ 20 h 40"/>
                  <a:gd name="T96" fmla="*/ 1 w 29"/>
                  <a:gd name="T97" fmla="*/ 20 h 40"/>
                  <a:gd name="T98" fmla="*/ 0 w 29"/>
                  <a:gd name="T99" fmla="*/ 24 h 40"/>
                  <a:gd name="T100" fmla="*/ 0 w 29"/>
                  <a:gd name="T101" fmla="*/ 24 h 40"/>
                  <a:gd name="T102" fmla="*/ 0 w 29"/>
                  <a:gd name="T103" fmla="*/ 27 h 40"/>
                  <a:gd name="T104" fmla="*/ 0 w 29"/>
                  <a:gd name="T105" fmla="*/ 29 h 40"/>
                  <a:gd name="T106" fmla="*/ 0 w 29"/>
                  <a:gd name="T107" fmla="*/ 29 h 40"/>
                  <a:gd name="T108" fmla="*/ 0 w 29"/>
                  <a:gd name="T109" fmla="*/ 29 h 40"/>
                  <a:gd name="T110" fmla="*/ 5 w 29"/>
                  <a:gd name="T111" fmla="*/ 37 h 40"/>
                  <a:gd name="T112" fmla="*/ 13 w 29"/>
                  <a:gd name="T113" fmla="*/ 40 h 40"/>
                  <a:gd name="T114" fmla="*/ 21 w 29"/>
                  <a:gd name="T115" fmla="*/ 37 h 40"/>
                  <a:gd name="T116" fmla="*/ 26 w 29"/>
                  <a:gd name="T117" fmla="*/ 29 h 40"/>
                  <a:gd name="T118" fmla="*/ 26 w 29"/>
                  <a:gd name="T119" fmla="*/ 29 h 40"/>
                  <a:gd name="T120" fmla="*/ 20 w 29"/>
                  <a:gd name="T121"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 h="40">
                    <a:moveTo>
                      <a:pt x="20" y="28"/>
                    </a:moveTo>
                    <a:cubicBezTo>
                      <a:pt x="14" y="27"/>
                      <a:pt x="14" y="27"/>
                      <a:pt x="14" y="27"/>
                    </a:cubicBezTo>
                    <a:cubicBezTo>
                      <a:pt x="14" y="28"/>
                      <a:pt x="14" y="28"/>
                      <a:pt x="14" y="28"/>
                    </a:cubicBezTo>
                    <a:cubicBezTo>
                      <a:pt x="14" y="28"/>
                      <a:pt x="14" y="28"/>
                      <a:pt x="13" y="28"/>
                    </a:cubicBezTo>
                    <a:cubicBezTo>
                      <a:pt x="13" y="28"/>
                      <a:pt x="12" y="28"/>
                      <a:pt x="12" y="28"/>
                    </a:cubicBezTo>
                    <a:cubicBezTo>
                      <a:pt x="12" y="28"/>
                      <a:pt x="12" y="28"/>
                      <a:pt x="12" y="27"/>
                    </a:cubicBezTo>
                    <a:cubicBezTo>
                      <a:pt x="6" y="28"/>
                      <a:pt x="6" y="28"/>
                      <a:pt x="6" y="28"/>
                    </a:cubicBezTo>
                    <a:cubicBezTo>
                      <a:pt x="12" y="27"/>
                      <a:pt x="12" y="27"/>
                      <a:pt x="12" y="27"/>
                    </a:cubicBezTo>
                    <a:cubicBezTo>
                      <a:pt x="12" y="27"/>
                      <a:pt x="12" y="27"/>
                      <a:pt x="12" y="27"/>
                    </a:cubicBezTo>
                    <a:cubicBezTo>
                      <a:pt x="12" y="27"/>
                      <a:pt x="12" y="27"/>
                      <a:pt x="12" y="27"/>
                    </a:cubicBezTo>
                    <a:cubicBezTo>
                      <a:pt x="12" y="27"/>
                      <a:pt x="12" y="27"/>
                      <a:pt x="12" y="27"/>
                    </a:cubicBezTo>
                    <a:cubicBezTo>
                      <a:pt x="13" y="22"/>
                      <a:pt x="13" y="22"/>
                      <a:pt x="13" y="22"/>
                    </a:cubicBezTo>
                    <a:cubicBezTo>
                      <a:pt x="14" y="16"/>
                      <a:pt x="14" y="16"/>
                      <a:pt x="14" y="16"/>
                    </a:cubicBezTo>
                    <a:cubicBezTo>
                      <a:pt x="15" y="12"/>
                      <a:pt x="15" y="12"/>
                      <a:pt x="15" y="12"/>
                    </a:cubicBezTo>
                    <a:cubicBezTo>
                      <a:pt x="9" y="11"/>
                      <a:pt x="9" y="11"/>
                      <a:pt x="9" y="11"/>
                    </a:cubicBezTo>
                    <a:cubicBezTo>
                      <a:pt x="15" y="13"/>
                      <a:pt x="15" y="13"/>
                      <a:pt x="15" y="13"/>
                    </a:cubicBezTo>
                    <a:cubicBezTo>
                      <a:pt x="15" y="12"/>
                      <a:pt x="15" y="12"/>
                      <a:pt x="15" y="12"/>
                    </a:cubicBezTo>
                    <a:cubicBezTo>
                      <a:pt x="16" y="11"/>
                      <a:pt x="16" y="11"/>
                      <a:pt x="16" y="11"/>
                    </a:cubicBezTo>
                    <a:cubicBezTo>
                      <a:pt x="17" y="12"/>
                      <a:pt x="17" y="12"/>
                      <a:pt x="17" y="12"/>
                    </a:cubicBezTo>
                    <a:cubicBezTo>
                      <a:pt x="17" y="12"/>
                      <a:pt x="17" y="12"/>
                      <a:pt x="17" y="12"/>
                    </a:cubicBezTo>
                    <a:cubicBezTo>
                      <a:pt x="23" y="11"/>
                      <a:pt x="23" y="11"/>
                      <a:pt x="23" y="11"/>
                    </a:cubicBezTo>
                    <a:cubicBezTo>
                      <a:pt x="17" y="12"/>
                      <a:pt x="17" y="12"/>
                      <a:pt x="17" y="12"/>
                    </a:cubicBezTo>
                    <a:cubicBezTo>
                      <a:pt x="17" y="13"/>
                      <a:pt x="17" y="13"/>
                      <a:pt x="17" y="13"/>
                    </a:cubicBezTo>
                    <a:cubicBezTo>
                      <a:pt x="17" y="13"/>
                      <a:pt x="17" y="13"/>
                      <a:pt x="17" y="13"/>
                    </a:cubicBezTo>
                    <a:cubicBezTo>
                      <a:pt x="16" y="17"/>
                      <a:pt x="16" y="17"/>
                      <a:pt x="16" y="17"/>
                    </a:cubicBezTo>
                    <a:cubicBezTo>
                      <a:pt x="16" y="17"/>
                      <a:pt x="16" y="17"/>
                      <a:pt x="16" y="17"/>
                    </a:cubicBezTo>
                    <a:cubicBezTo>
                      <a:pt x="15" y="23"/>
                      <a:pt x="15" y="23"/>
                      <a:pt x="15" y="23"/>
                    </a:cubicBezTo>
                    <a:cubicBezTo>
                      <a:pt x="15" y="23"/>
                      <a:pt x="15" y="23"/>
                      <a:pt x="15" y="23"/>
                    </a:cubicBezTo>
                    <a:cubicBezTo>
                      <a:pt x="14" y="27"/>
                      <a:pt x="14" y="27"/>
                      <a:pt x="14" y="27"/>
                    </a:cubicBezTo>
                    <a:cubicBezTo>
                      <a:pt x="14" y="27"/>
                      <a:pt x="14" y="27"/>
                      <a:pt x="14" y="27"/>
                    </a:cubicBezTo>
                    <a:cubicBezTo>
                      <a:pt x="20" y="28"/>
                      <a:pt x="20" y="28"/>
                      <a:pt x="20" y="28"/>
                    </a:cubicBezTo>
                    <a:cubicBezTo>
                      <a:pt x="26" y="29"/>
                      <a:pt x="26" y="29"/>
                      <a:pt x="26" y="29"/>
                    </a:cubicBezTo>
                    <a:cubicBezTo>
                      <a:pt x="27" y="25"/>
                      <a:pt x="27" y="25"/>
                      <a:pt x="27" y="25"/>
                    </a:cubicBezTo>
                    <a:cubicBezTo>
                      <a:pt x="28" y="19"/>
                      <a:pt x="28" y="19"/>
                      <a:pt x="28" y="19"/>
                    </a:cubicBezTo>
                    <a:cubicBezTo>
                      <a:pt x="29" y="15"/>
                      <a:pt x="29" y="15"/>
                      <a:pt x="29" y="15"/>
                    </a:cubicBezTo>
                    <a:cubicBezTo>
                      <a:pt x="29" y="15"/>
                      <a:pt x="29" y="15"/>
                      <a:pt x="29" y="15"/>
                    </a:cubicBezTo>
                    <a:cubicBezTo>
                      <a:pt x="29" y="15"/>
                      <a:pt x="29" y="15"/>
                      <a:pt x="29" y="15"/>
                    </a:cubicBezTo>
                    <a:cubicBezTo>
                      <a:pt x="29" y="14"/>
                      <a:pt x="29" y="13"/>
                      <a:pt x="29" y="13"/>
                    </a:cubicBezTo>
                    <a:cubicBezTo>
                      <a:pt x="29" y="11"/>
                      <a:pt x="29" y="10"/>
                      <a:pt x="29" y="9"/>
                    </a:cubicBezTo>
                    <a:cubicBezTo>
                      <a:pt x="28" y="9"/>
                      <a:pt x="28" y="9"/>
                      <a:pt x="28" y="9"/>
                    </a:cubicBezTo>
                    <a:cubicBezTo>
                      <a:pt x="28" y="9"/>
                      <a:pt x="28" y="9"/>
                      <a:pt x="28" y="9"/>
                    </a:cubicBezTo>
                    <a:cubicBezTo>
                      <a:pt x="28" y="6"/>
                      <a:pt x="26" y="4"/>
                      <a:pt x="23" y="2"/>
                    </a:cubicBezTo>
                    <a:cubicBezTo>
                      <a:pt x="21" y="0"/>
                      <a:pt x="19" y="0"/>
                      <a:pt x="16" y="0"/>
                    </a:cubicBezTo>
                    <a:cubicBezTo>
                      <a:pt x="13" y="0"/>
                      <a:pt x="10" y="0"/>
                      <a:pt x="8" y="2"/>
                    </a:cubicBezTo>
                    <a:cubicBezTo>
                      <a:pt x="6" y="4"/>
                      <a:pt x="4" y="7"/>
                      <a:pt x="3" y="10"/>
                    </a:cubicBezTo>
                    <a:cubicBezTo>
                      <a:pt x="3" y="10"/>
                      <a:pt x="3" y="10"/>
                      <a:pt x="3" y="10"/>
                    </a:cubicBezTo>
                    <a:cubicBezTo>
                      <a:pt x="2" y="14"/>
                      <a:pt x="2" y="14"/>
                      <a:pt x="2" y="14"/>
                    </a:cubicBezTo>
                    <a:cubicBezTo>
                      <a:pt x="1" y="20"/>
                      <a:pt x="1" y="20"/>
                      <a:pt x="1" y="20"/>
                    </a:cubicBezTo>
                    <a:cubicBezTo>
                      <a:pt x="1" y="20"/>
                      <a:pt x="1" y="20"/>
                      <a:pt x="1" y="20"/>
                    </a:cubicBezTo>
                    <a:cubicBezTo>
                      <a:pt x="0" y="24"/>
                      <a:pt x="0" y="24"/>
                      <a:pt x="0" y="24"/>
                    </a:cubicBezTo>
                    <a:cubicBezTo>
                      <a:pt x="0" y="24"/>
                      <a:pt x="0" y="24"/>
                      <a:pt x="0" y="24"/>
                    </a:cubicBezTo>
                    <a:cubicBezTo>
                      <a:pt x="0" y="25"/>
                      <a:pt x="0" y="26"/>
                      <a:pt x="0" y="27"/>
                    </a:cubicBezTo>
                    <a:cubicBezTo>
                      <a:pt x="0" y="27"/>
                      <a:pt x="0" y="28"/>
                      <a:pt x="0" y="29"/>
                    </a:cubicBezTo>
                    <a:cubicBezTo>
                      <a:pt x="0" y="29"/>
                      <a:pt x="0" y="29"/>
                      <a:pt x="0" y="29"/>
                    </a:cubicBezTo>
                    <a:cubicBezTo>
                      <a:pt x="0" y="29"/>
                      <a:pt x="0" y="29"/>
                      <a:pt x="0" y="29"/>
                    </a:cubicBezTo>
                    <a:cubicBezTo>
                      <a:pt x="1" y="32"/>
                      <a:pt x="3" y="35"/>
                      <a:pt x="5" y="37"/>
                    </a:cubicBezTo>
                    <a:cubicBezTo>
                      <a:pt x="7" y="39"/>
                      <a:pt x="10" y="40"/>
                      <a:pt x="13" y="40"/>
                    </a:cubicBezTo>
                    <a:cubicBezTo>
                      <a:pt x="16" y="40"/>
                      <a:pt x="19" y="39"/>
                      <a:pt x="21" y="37"/>
                    </a:cubicBezTo>
                    <a:cubicBezTo>
                      <a:pt x="23" y="35"/>
                      <a:pt x="25" y="33"/>
                      <a:pt x="26" y="29"/>
                    </a:cubicBezTo>
                    <a:cubicBezTo>
                      <a:pt x="26" y="29"/>
                      <a:pt x="26" y="29"/>
                      <a:pt x="26" y="29"/>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1" name="Freeform 53"/>
              <p:cNvSpPr>
                <a:spLocks/>
              </p:cNvSpPr>
              <p:nvPr/>
            </p:nvSpPr>
            <p:spPr bwMode="auto">
              <a:xfrm>
                <a:off x="6859701" y="4980449"/>
                <a:ext cx="29788" cy="47874"/>
              </a:xfrm>
              <a:custGeom>
                <a:avLst/>
                <a:gdLst>
                  <a:gd name="T0" fmla="*/ 15 w 19"/>
                  <a:gd name="T1" fmla="*/ 26 h 32"/>
                  <a:gd name="T2" fmla="*/ 5 w 19"/>
                  <a:gd name="T3" fmla="*/ 30 h 32"/>
                  <a:gd name="T4" fmla="*/ 1 w 19"/>
                  <a:gd name="T5" fmla="*/ 21 h 32"/>
                  <a:gd name="T6" fmla="*/ 2 w 19"/>
                  <a:gd name="T7" fmla="*/ 18 h 32"/>
                  <a:gd name="T8" fmla="*/ 4 w 19"/>
                  <a:gd name="T9" fmla="*/ 12 h 32"/>
                  <a:gd name="T10" fmla="*/ 5 w 19"/>
                  <a:gd name="T11" fmla="*/ 8 h 32"/>
                  <a:gd name="T12" fmla="*/ 19 w 19"/>
                  <a:gd name="T13" fmla="*/ 9 h 32"/>
                  <a:gd name="T14" fmla="*/ 19 w 19"/>
                  <a:gd name="T15" fmla="*/ 12 h 32"/>
                  <a:gd name="T16" fmla="*/ 18 w 19"/>
                  <a:gd name="T17" fmla="*/ 16 h 32"/>
                  <a:gd name="T18" fmla="*/ 16 w 19"/>
                  <a:gd name="T19" fmla="*/ 22 h 32"/>
                  <a:gd name="T20" fmla="*/ 15 w 19"/>
                  <a:gd name="T21"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32">
                    <a:moveTo>
                      <a:pt x="15" y="26"/>
                    </a:moveTo>
                    <a:cubicBezTo>
                      <a:pt x="13" y="30"/>
                      <a:pt x="9" y="32"/>
                      <a:pt x="5" y="30"/>
                    </a:cubicBezTo>
                    <a:cubicBezTo>
                      <a:pt x="2" y="28"/>
                      <a:pt x="0" y="25"/>
                      <a:pt x="1" y="21"/>
                    </a:cubicBezTo>
                    <a:cubicBezTo>
                      <a:pt x="2" y="18"/>
                      <a:pt x="2" y="18"/>
                      <a:pt x="2" y="18"/>
                    </a:cubicBezTo>
                    <a:cubicBezTo>
                      <a:pt x="4" y="12"/>
                      <a:pt x="4" y="12"/>
                      <a:pt x="4" y="12"/>
                    </a:cubicBezTo>
                    <a:cubicBezTo>
                      <a:pt x="5" y="8"/>
                      <a:pt x="5" y="8"/>
                      <a:pt x="5" y="8"/>
                    </a:cubicBezTo>
                    <a:cubicBezTo>
                      <a:pt x="7" y="0"/>
                      <a:pt x="18" y="1"/>
                      <a:pt x="19" y="9"/>
                    </a:cubicBezTo>
                    <a:cubicBezTo>
                      <a:pt x="19" y="10"/>
                      <a:pt x="19" y="11"/>
                      <a:pt x="19" y="12"/>
                    </a:cubicBezTo>
                    <a:cubicBezTo>
                      <a:pt x="18" y="16"/>
                      <a:pt x="18" y="16"/>
                      <a:pt x="18" y="16"/>
                    </a:cubicBezTo>
                    <a:cubicBezTo>
                      <a:pt x="16" y="22"/>
                      <a:pt x="16" y="22"/>
                      <a:pt x="16" y="22"/>
                    </a:cubicBezTo>
                    <a:lnTo>
                      <a:pt x="15"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2" name="Freeform 54"/>
              <p:cNvSpPr>
                <a:spLocks/>
              </p:cNvSpPr>
              <p:nvPr/>
            </p:nvSpPr>
            <p:spPr bwMode="auto">
              <a:xfrm>
                <a:off x="6852254" y="4976194"/>
                <a:ext cx="45746" cy="60640"/>
              </a:xfrm>
              <a:custGeom>
                <a:avLst/>
                <a:gdLst>
                  <a:gd name="T0" fmla="*/ 20 w 30"/>
                  <a:gd name="T1" fmla="*/ 29 h 40"/>
                  <a:gd name="T2" fmla="*/ 14 w 30"/>
                  <a:gd name="T3" fmla="*/ 27 h 40"/>
                  <a:gd name="T4" fmla="*/ 13 w 30"/>
                  <a:gd name="T5" fmla="*/ 28 h 40"/>
                  <a:gd name="T6" fmla="*/ 12 w 30"/>
                  <a:gd name="T7" fmla="*/ 28 h 40"/>
                  <a:gd name="T8" fmla="*/ 12 w 30"/>
                  <a:gd name="T9" fmla="*/ 28 h 40"/>
                  <a:gd name="T10" fmla="*/ 12 w 30"/>
                  <a:gd name="T11" fmla="*/ 27 h 40"/>
                  <a:gd name="T12" fmla="*/ 12 w 30"/>
                  <a:gd name="T13" fmla="*/ 26 h 40"/>
                  <a:gd name="T14" fmla="*/ 13 w 30"/>
                  <a:gd name="T15" fmla="*/ 23 h 40"/>
                  <a:gd name="T16" fmla="*/ 15 w 30"/>
                  <a:gd name="T17" fmla="*/ 17 h 40"/>
                  <a:gd name="T18" fmla="*/ 16 w 30"/>
                  <a:gd name="T19" fmla="*/ 12 h 40"/>
                  <a:gd name="T20" fmla="*/ 16 w 30"/>
                  <a:gd name="T21" fmla="*/ 12 h 40"/>
                  <a:gd name="T22" fmla="*/ 16 w 30"/>
                  <a:gd name="T23" fmla="*/ 12 h 40"/>
                  <a:gd name="T24" fmla="*/ 17 w 30"/>
                  <a:gd name="T25" fmla="*/ 11 h 40"/>
                  <a:gd name="T26" fmla="*/ 18 w 30"/>
                  <a:gd name="T27" fmla="*/ 12 h 40"/>
                  <a:gd name="T28" fmla="*/ 18 w 30"/>
                  <a:gd name="T29" fmla="*/ 13 h 40"/>
                  <a:gd name="T30" fmla="*/ 24 w 30"/>
                  <a:gd name="T31" fmla="*/ 12 h 40"/>
                  <a:gd name="T32" fmla="*/ 18 w 30"/>
                  <a:gd name="T33" fmla="*/ 13 h 40"/>
                  <a:gd name="T34" fmla="*/ 18 w 30"/>
                  <a:gd name="T35" fmla="*/ 13 h 40"/>
                  <a:gd name="T36" fmla="*/ 18 w 30"/>
                  <a:gd name="T37" fmla="*/ 13 h 40"/>
                  <a:gd name="T38" fmla="*/ 24 w 30"/>
                  <a:gd name="T39" fmla="*/ 15 h 40"/>
                  <a:gd name="T40" fmla="*/ 18 w 30"/>
                  <a:gd name="T41" fmla="*/ 13 h 40"/>
                  <a:gd name="T42" fmla="*/ 17 w 30"/>
                  <a:gd name="T43" fmla="*/ 17 h 40"/>
                  <a:gd name="T44" fmla="*/ 17 w 30"/>
                  <a:gd name="T45" fmla="*/ 17 h 40"/>
                  <a:gd name="T46" fmla="*/ 15 w 30"/>
                  <a:gd name="T47" fmla="*/ 23 h 40"/>
                  <a:gd name="T48" fmla="*/ 15 w 30"/>
                  <a:gd name="T49" fmla="*/ 23 h 40"/>
                  <a:gd name="T50" fmla="*/ 14 w 30"/>
                  <a:gd name="T51" fmla="*/ 27 h 40"/>
                  <a:gd name="T52" fmla="*/ 14 w 30"/>
                  <a:gd name="T53" fmla="*/ 27 h 40"/>
                  <a:gd name="T54" fmla="*/ 20 w 30"/>
                  <a:gd name="T55" fmla="*/ 29 h 40"/>
                  <a:gd name="T56" fmla="*/ 25 w 30"/>
                  <a:gd name="T57" fmla="*/ 30 h 40"/>
                  <a:gd name="T58" fmla="*/ 27 w 30"/>
                  <a:gd name="T59" fmla="*/ 27 h 40"/>
                  <a:gd name="T60" fmla="*/ 27 w 30"/>
                  <a:gd name="T61" fmla="*/ 27 h 40"/>
                  <a:gd name="T62" fmla="*/ 28 w 30"/>
                  <a:gd name="T63" fmla="*/ 21 h 40"/>
                  <a:gd name="T64" fmla="*/ 30 w 30"/>
                  <a:gd name="T65" fmla="*/ 16 h 40"/>
                  <a:gd name="T66" fmla="*/ 30 w 30"/>
                  <a:gd name="T67" fmla="*/ 16 h 40"/>
                  <a:gd name="T68" fmla="*/ 30 w 30"/>
                  <a:gd name="T69" fmla="*/ 13 h 40"/>
                  <a:gd name="T70" fmla="*/ 30 w 30"/>
                  <a:gd name="T71" fmla="*/ 11 h 40"/>
                  <a:gd name="T72" fmla="*/ 30 w 30"/>
                  <a:gd name="T73" fmla="*/ 11 h 40"/>
                  <a:gd name="T74" fmla="*/ 30 w 30"/>
                  <a:gd name="T75" fmla="*/ 11 h 40"/>
                  <a:gd name="T76" fmla="*/ 25 w 30"/>
                  <a:gd name="T77" fmla="*/ 3 h 40"/>
                  <a:gd name="T78" fmla="*/ 17 w 30"/>
                  <a:gd name="T79" fmla="*/ 0 h 40"/>
                  <a:gd name="T80" fmla="*/ 9 w 30"/>
                  <a:gd name="T81" fmla="*/ 2 h 40"/>
                  <a:gd name="T82" fmla="*/ 4 w 30"/>
                  <a:gd name="T83" fmla="*/ 9 h 40"/>
                  <a:gd name="T84" fmla="*/ 10 w 30"/>
                  <a:gd name="T85" fmla="*/ 11 h 40"/>
                  <a:gd name="T86" fmla="*/ 4 w 30"/>
                  <a:gd name="T87" fmla="*/ 9 h 40"/>
                  <a:gd name="T88" fmla="*/ 3 w 30"/>
                  <a:gd name="T89" fmla="*/ 13 h 40"/>
                  <a:gd name="T90" fmla="*/ 3 w 30"/>
                  <a:gd name="T91" fmla="*/ 13 h 40"/>
                  <a:gd name="T92" fmla="*/ 2 w 30"/>
                  <a:gd name="T93" fmla="*/ 19 h 40"/>
                  <a:gd name="T94" fmla="*/ 2 w 30"/>
                  <a:gd name="T95" fmla="*/ 19 h 40"/>
                  <a:gd name="T96" fmla="*/ 0 w 30"/>
                  <a:gd name="T97" fmla="*/ 23 h 40"/>
                  <a:gd name="T98" fmla="*/ 0 w 30"/>
                  <a:gd name="T99" fmla="*/ 23 h 40"/>
                  <a:gd name="T100" fmla="*/ 0 w 30"/>
                  <a:gd name="T101" fmla="*/ 27 h 40"/>
                  <a:gd name="T102" fmla="*/ 7 w 30"/>
                  <a:gd name="T103" fmla="*/ 38 h 40"/>
                  <a:gd name="T104" fmla="*/ 7 w 30"/>
                  <a:gd name="T105" fmla="*/ 38 h 40"/>
                  <a:gd name="T106" fmla="*/ 7 w 30"/>
                  <a:gd name="T107" fmla="*/ 38 h 40"/>
                  <a:gd name="T108" fmla="*/ 13 w 30"/>
                  <a:gd name="T109" fmla="*/ 40 h 40"/>
                  <a:gd name="T110" fmla="*/ 25 w 30"/>
                  <a:gd name="T111" fmla="*/ 30 h 40"/>
                  <a:gd name="T112" fmla="*/ 25 w 30"/>
                  <a:gd name="T113" fmla="*/ 30 h 40"/>
                  <a:gd name="T114" fmla="*/ 20 w 30"/>
                  <a:gd name="T115" fmla="*/ 2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 h="40">
                    <a:moveTo>
                      <a:pt x="20" y="29"/>
                    </a:moveTo>
                    <a:cubicBezTo>
                      <a:pt x="14" y="27"/>
                      <a:pt x="14" y="27"/>
                      <a:pt x="14" y="27"/>
                    </a:cubicBezTo>
                    <a:cubicBezTo>
                      <a:pt x="14" y="28"/>
                      <a:pt x="13" y="28"/>
                      <a:pt x="13" y="28"/>
                    </a:cubicBezTo>
                    <a:cubicBezTo>
                      <a:pt x="12" y="28"/>
                      <a:pt x="12" y="28"/>
                      <a:pt x="12" y="28"/>
                    </a:cubicBezTo>
                    <a:cubicBezTo>
                      <a:pt x="12" y="28"/>
                      <a:pt x="12" y="28"/>
                      <a:pt x="12" y="28"/>
                    </a:cubicBezTo>
                    <a:cubicBezTo>
                      <a:pt x="12" y="28"/>
                      <a:pt x="12" y="27"/>
                      <a:pt x="12" y="27"/>
                    </a:cubicBezTo>
                    <a:cubicBezTo>
                      <a:pt x="12" y="26"/>
                      <a:pt x="12" y="26"/>
                      <a:pt x="12" y="26"/>
                    </a:cubicBezTo>
                    <a:cubicBezTo>
                      <a:pt x="13" y="23"/>
                      <a:pt x="13" y="23"/>
                      <a:pt x="13" y="23"/>
                    </a:cubicBezTo>
                    <a:cubicBezTo>
                      <a:pt x="15" y="17"/>
                      <a:pt x="15" y="17"/>
                      <a:pt x="15" y="17"/>
                    </a:cubicBezTo>
                    <a:cubicBezTo>
                      <a:pt x="16" y="12"/>
                      <a:pt x="16" y="12"/>
                      <a:pt x="16" y="12"/>
                    </a:cubicBezTo>
                    <a:cubicBezTo>
                      <a:pt x="16" y="12"/>
                      <a:pt x="16" y="12"/>
                      <a:pt x="16" y="12"/>
                    </a:cubicBezTo>
                    <a:cubicBezTo>
                      <a:pt x="16" y="12"/>
                      <a:pt x="16" y="12"/>
                      <a:pt x="16" y="12"/>
                    </a:cubicBezTo>
                    <a:cubicBezTo>
                      <a:pt x="17" y="11"/>
                      <a:pt x="17" y="11"/>
                      <a:pt x="17" y="11"/>
                    </a:cubicBezTo>
                    <a:cubicBezTo>
                      <a:pt x="17" y="11"/>
                      <a:pt x="18" y="12"/>
                      <a:pt x="18" y="12"/>
                    </a:cubicBezTo>
                    <a:cubicBezTo>
                      <a:pt x="18" y="12"/>
                      <a:pt x="18" y="12"/>
                      <a:pt x="18" y="13"/>
                    </a:cubicBezTo>
                    <a:cubicBezTo>
                      <a:pt x="24" y="12"/>
                      <a:pt x="24" y="12"/>
                      <a:pt x="24" y="12"/>
                    </a:cubicBezTo>
                    <a:cubicBezTo>
                      <a:pt x="18" y="13"/>
                      <a:pt x="18" y="13"/>
                      <a:pt x="18" y="13"/>
                    </a:cubicBezTo>
                    <a:cubicBezTo>
                      <a:pt x="18" y="13"/>
                      <a:pt x="18" y="13"/>
                      <a:pt x="18" y="13"/>
                    </a:cubicBezTo>
                    <a:cubicBezTo>
                      <a:pt x="18" y="13"/>
                      <a:pt x="18" y="13"/>
                      <a:pt x="18" y="13"/>
                    </a:cubicBezTo>
                    <a:cubicBezTo>
                      <a:pt x="24" y="15"/>
                      <a:pt x="24" y="15"/>
                      <a:pt x="24" y="15"/>
                    </a:cubicBezTo>
                    <a:cubicBezTo>
                      <a:pt x="18" y="13"/>
                      <a:pt x="18" y="13"/>
                      <a:pt x="18" y="13"/>
                    </a:cubicBezTo>
                    <a:cubicBezTo>
                      <a:pt x="17" y="17"/>
                      <a:pt x="17" y="17"/>
                      <a:pt x="17" y="17"/>
                    </a:cubicBezTo>
                    <a:cubicBezTo>
                      <a:pt x="17" y="17"/>
                      <a:pt x="17" y="17"/>
                      <a:pt x="17" y="17"/>
                    </a:cubicBezTo>
                    <a:cubicBezTo>
                      <a:pt x="15" y="23"/>
                      <a:pt x="15" y="23"/>
                      <a:pt x="15" y="23"/>
                    </a:cubicBezTo>
                    <a:cubicBezTo>
                      <a:pt x="15" y="23"/>
                      <a:pt x="15" y="23"/>
                      <a:pt x="15" y="23"/>
                    </a:cubicBezTo>
                    <a:cubicBezTo>
                      <a:pt x="14" y="27"/>
                      <a:pt x="14" y="27"/>
                      <a:pt x="14" y="27"/>
                    </a:cubicBezTo>
                    <a:cubicBezTo>
                      <a:pt x="14" y="27"/>
                      <a:pt x="14" y="27"/>
                      <a:pt x="14" y="27"/>
                    </a:cubicBezTo>
                    <a:cubicBezTo>
                      <a:pt x="20" y="29"/>
                      <a:pt x="20" y="29"/>
                      <a:pt x="20" y="29"/>
                    </a:cubicBezTo>
                    <a:cubicBezTo>
                      <a:pt x="25" y="30"/>
                      <a:pt x="25" y="30"/>
                      <a:pt x="25" y="30"/>
                    </a:cubicBezTo>
                    <a:cubicBezTo>
                      <a:pt x="27" y="27"/>
                      <a:pt x="27" y="27"/>
                      <a:pt x="27" y="27"/>
                    </a:cubicBezTo>
                    <a:cubicBezTo>
                      <a:pt x="27" y="27"/>
                      <a:pt x="27" y="27"/>
                      <a:pt x="27" y="27"/>
                    </a:cubicBezTo>
                    <a:cubicBezTo>
                      <a:pt x="28" y="21"/>
                      <a:pt x="28" y="21"/>
                      <a:pt x="28" y="21"/>
                    </a:cubicBezTo>
                    <a:cubicBezTo>
                      <a:pt x="30" y="16"/>
                      <a:pt x="30" y="16"/>
                      <a:pt x="30" y="16"/>
                    </a:cubicBezTo>
                    <a:cubicBezTo>
                      <a:pt x="30" y="16"/>
                      <a:pt x="30" y="16"/>
                      <a:pt x="30" y="16"/>
                    </a:cubicBezTo>
                    <a:cubicBezTo>
                      <a:pt x="30" y="15"/>
                      <a:pt x="30" y="14"/>
                      <a:pt x="30" y="13"/>
                    </a:cubicBezTo>
                    <a:cubicBezTo>
                      <a:pt x="30" y="12"/>
                      <a:pt x="30" y="12"/>
                      <a:pt x="30" y="11"/>
                    </a:cubicBezTo>
                    <a:cubicBezTo>
                      <a:pt x="30" y="11"/>
                      <a:pt x="30" y="11"/>
                      <a:pt x="30" y="11"/>
                    </a:cubicBezTo>
                    <a:cubicBezTo>
                      <a:pt x="30" y="11"/>
                      <a:pt x="30" y="11"/>
                      <a:pt x="30" y="11"/>
                    </a:cubicBezTo>
                    <a:cubicBezTo>
                      <a:pt x="30" y="8"/>
                      <a:pt x="28" y="5"/>
                      <a:pt x="25" y="3"/>
                    </a:cubicBezTo>
                    <a:cubicBezTo>
                      <a:pt x="23" y="1"/>
                      <a:pt x="20" y="0"/>
                      <a:pt x="17" y="0"/>
                    </a:cubicBezTo>
                    <a:cubicBezTo>
                      <a:pt x="14" y="0"/>
                      <a:pt x="12" y="0"/>
                      <a:pt x="9" y="2"/>
                    </a:cubicBezTo>
                    <a:cubicBezTo>
                      <a:pt x="7" y="4"/>
                      <a:pt x="5" y="6"/>
                      <a:pt x="4" y="9"/>
                    </a:cubicBezTo>
                    <a:cubicBezTo>
                      <a:pt x="10" y="11"/>
                      <a:pt x="10" y="11"/>
                      <a:pt x="10" y="11"/>
                    </a:cubicBezTo>
                    <a:cubicBezTo>
                      <a:pt x="4" y="9"/>
                      <a:pt x="4" y="9"/>
                      <a:pt x="4" y="9"/>
                    </a:cubicBezTo>
                    <a:cubicBezTo>
                      <a:pt x="3" y="13"/>
                      <a:pt x="3" y="13"/>
                      <a:pt x="3" y="13"/>
                    </a:cubicBezTo>
                    <a:cubicBezTo>
                      <a:pt x="3" y="13"/>
                      <a:pt x="3" y="13"/>
                      <a:pt x="3" y="13"/>
                    </a:cubicBezTo>
                    <a:cubicBezTo>
                      <a:pt x="2" y="19"/>
                      <a:pt x="2" y="19"/>
                      <a:pt x="2" y="19"/>
                    </a:cubicBezTo>
                    <a:cubicBezTo>
                      <a:pt x="2" y="19"/>
                      <a:pt x="2" y="19"/>
                      <a:pt x="2" y="19"/>
                    </a:cubicBezTo>
                    <a:cubicBezTo>
                      <a:pt x="0" y="23"/>
                      <a:pt x="0" y="23"/>
                      <a:pt x="0" y="23"/>
                    </a:cubicBezTo>
                    <a:cubicBezTo>
                      <a:pt x="0" y="23"/>
                      <a:pt x="0" y="23"/>
                      <a:pt x="0" y="23"/>
                    </a:cubicBezTo>
                    <a:cubicBezTo>
                      <a:pt x="0" y="24"/>
                      <a:pt x="0" y="25"/>
                      <a:pt x="0" y="27"/>
                    </a:cubicBezTo>
                    <a:cubicBezTo>
                      <a:pt x="0" y="31"/>
                      <a:pt x="3" y="36"/>
                      <a:pt x="7" y="38"/>
                    </a:cubicBezTo>
                    <a:cubicBezTo>
                      <a:pt x="7" y="38"/>
                      <a:pt x="7" y="38"/>
                      <a:pt x="7" y="38"/>
                    </a:cubicBezTo>
                    <a:cubicBezTo>
                      <a:pt x="7" y="38"/>
                      <a:pt x="7" y="38"/>
                      <a:pt x="7" y="38"/>
                    </a:cubicBezTo>
                    <a:cubicBezTo>
                      <a:pt x="9" y="39"/>
                      <a:pt x="11" y="40"/>
                      <a:pt x="13" y="40"/>
                    </a:cubicBezTo>
                    <a:cubicBezTo>
                      <a:pt x="19" y="40"/>
                      <a:pt x="24" y="36"/>
                      <a:pt x="25" y="30"/>
                    </a:cubicBezTo>
                    <a:cubicBezTo>
                      <a:pt x="25" y="30"/>
                      <a:pt x="25" y="30"/>
                      <a:pt x="25" y="30"/>
                    </a:cubicBezTo>
                    <a:lnTo>
                      <a:pt x="2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3" name="Freeform 55"/>
              <p:cNvSpPr>
                <a:spLocks/>
              </p:cNvSpPr>
              <p:nvPr/>
            </p:nvSpPr>
            <p:spPr bwMode="auto">
              <a:xfrm>
                <a:off x="6815019" y="5104921"/>
                <a:ext cx="31916" cy="50001"/>
              </a:xfrm>
              <a:custGeom>
                <a:avLst/>
                <a:gdLst>
                  <a:gd name="T0" fmla="*/ 15 w 21"/>
                  <a:gd name="T1" fmla="*/ 26 h 33"/>
                  <a:gd name="T2" fmla="*/ 1 w 21"/>
                  <a:gd name="T3" fmla="*/ 21 h 33"/>
                  <a:gd name="T4" fmla="*/ 2 w 21"/>
                  <a:gd name="T5" fmla="*/ 20 h 33"/>
                  <a:gd name="T6" fmla="*/ 3 w 21"/>
                  <a:gd name="T7" fmla="*/ 17 h 33"/>
                  <a:gd name="T8" fmla="*/ 5 w 21"/>
                  <a:gd name="T9" fmla="*/ 11 h 33"/>
                  <a:gd name="T10" fmla="*/ 7 w 21"/>
                  <a:gd name="T11" fmla="*/ 7 h 33"/>
                  <a:gd name="T12" fmla="*/ 21 w 21"/>
                  <a:gd name="T13" fmla="*/ 9 h 33"/>
                  <a:gd name="T14" fmla="*/ 21 w 21"/>
                  <a:gd name="T15" fmla="*/ 12 h 33"/>
                  <a:gd name="T16" fmla="*/ 19 w 21"/>
                  <a:gd name="T17" fmla="*/ 17 h 33"/>
                  <a:gd name="T18" fmla="*/ 16 w 21"/>
                  <a:gd name="T19" fmla="*/ 23 h 33"/>
                  <a:gd name="T20" fmla="*/ 15 w 21"/>
                  <a:gd name="T21" fmla="*/ 2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3">
                    <a:moveTo>
                      <a:pt x="15" y="26"/>
                    </a:moveTo>
                    <a:cubicBezTo>
                      <a:pt x="12" y="33"/>
                      <a:pt x="0" y="30"/>
                      <a:pt x="1" y="21"/>
                    </a:cubicBezTo>
                    <a:cubicBezTo>
                      <a:pt x="1" y="21"/>
                      <a:pt x="1" y="20"/>
                      <a:pt x="2" y="20"/>
                    </a:cubicBezTo>
                    <a:cubicBezTo>
                      <a:pt x="3" y="17"/>
                      <a:pt x="3" y="17"/>
                      <a:pt x="3" y="17"/>
                    </a:cubicBezTo>
                    <a:cubicBezTo>
                      <a:pt x="5" y="11"/>
                      <a:pt x="5" y="11"/>
                      <a:pt x="5" y="11"/>
                    </a:cubicBezTo>
                    <a:cubicBezTo>
                      <a:pt x="7" y="7"/>
                      <a:pt x="7" y="7"/>
                      <a:pt x="7" y="7"/>
                    </a:cubicBezTo>
                    <a:cubicBezTo>
                      <a:pt x="10" y="0"/>
                      <a:pt x="21" y="1"/>
                      <a:pt x="21" y="9"/>
                    </a:cubicBezTo>
                    <a:cubicBezTo>
                      <a:pt x="21" y="10"/>
                      <a:pt x="21" y="11"/>
                      <a:pt x="21" y="12"/>
                    </a:cubicBezTo>
                    <a:cubicBezTo>
                      <a:pt x="19" y="17"/>
                      <a:pt x="19" y="17"/>
                      <a:pt x="19" y="17"/>
                    </a:cubicBezTo>
                    <a:cubicBezTo>
                      <a:pt x="16" y="23"/>
                      <a:pt x="16" y="23"/>
                      <a:pt x="16" y="23"/>
                    </a:cubicBezTo>
                    <a:lnTo>
                      <a:pt x="15"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4" name="Freeform 56"/>
              <p:cNvSpPr>
                <a:spLocks/>
              </p:cNvSpPr>
              <p:nvPr/>
            </p:nvSpPr>
            <p:spPr bwMode="auto">
              <a:xfrm>
                <a:off x="6807572" y="5098537"/>
                <a:ext cx="47874" cy="60640"/>
              </a:xfrm>
              <a:custGeom>
                <a:avLst/>
                <a:gdLst>
                  <a:gd name="T0" fmla="*/ 15 w 32"/>
                  <a:gd name="T1" fmla="*/ 27 h 40"/>
                  <a:gd name="T2" fmla="*/ 13 w 32"/>
                  <a:gd name="T3" fmla="*/ 28 h 40"/>
                  <a:gd name="T4" fmla="*/ 12 w 32"/>
                  <a:gd name="T5" fmla="*/ 27 h 40"/>
                  <a:gd name="T6" fmla="*/ 6 w 32"/>
                  <a:gd name="T7" fmla="*/ 25 h 40"/>
                  <a:gd name="T8" fmla="*/ 12 w 32"/>
                  <a:gd name="T9" fmla="*/ 26 h 40"/>
                  <a:gd name="T10" fmla="*/ 12 w 32"/>
                  <a:gd name="T11" fmla="*/ 26 h 40"/>
                  <a:gd name="T12" fmla="*/ 16 w 32"/>
                  <a:gd name="T13" fmla="*/ 18 h 40"/>
                  <a:gd name="T14" fmla="*/ 18 w 32"/>
                  <a:gd name="T15" fmla="*/ 13 h 40"/>
                  <a:gd name="T16" fmla="*/ 19 w 32"/>
                  <a:gd name="T17" fmla="*/ 12 h 40"/>
                  <a:gd name="T18" fmla="*/ 20 w 32"/>
                  <a:gd name="T19" fmla="*/ 13 h 40"/>
                  <a:gd name="T20" fmla="*/ 20 w 32"/>
                  <a:gd name="T21" fmla="*/ 13 h 40"/>
                  <a:gd name="T22" fmla="*/ 20 w 32"/>
                  <a:gd name="T23" fmla="*/ 14 h 40"/>
                  <a:gd name="T24" fmla="*/ 18 w 32"/>
                  <a:gd name="T25" fmla="*/ 19 h 40"/>
                  <a:gd name="T26" fmla="*/ 18 w 32"/>
                  <a:gd name="T27" fmla="*/ 19 h 40"/>
                  <a:gd name="T28" fmla="*/ 16 w 32"/>
                  <a:gd name="T29" fmla="*/ 24 h 40"/>
                  <a:gd name="T30" fmla="*/ 15 w 32"/>
                  <a:gd name="T31" fmla="*/ 27 h 40"/>
                  <a:gd name="T32" fmla="*/ 25 w 32"/>
                  <a:gd name="T33" fmla="*/ 32 h 40"/>
                  <a:gd name="T34" fmla="*/ 29 w 32"/>
                  <a:gd name="T35" fmla="*/ 23 h 40"/>
                  <a:gd name="T36" fmla="*/ 31 w 32"/>
                  <a:gd name="T37" fmla="*/ 18 h 40"/>
                  <a:gd name="T38" fmla="*/ 32 w 32"/>
                  <a:gd name="T39" fmla="*/ 13 h 40"/>
                  <a:gd name="T40" fmla="*/ 32 w 32"/>
                  <a:gd name="T41" fmla="*/ 13 h 40"/>
                  <a:gd name="T42" fmla="*/ 19 w 32"/>
                  <a:gd name="T43" fmla="*/ 0 h 40"/>
                  <a:gd name="T44" fmla="*/ 7 w 32"/>
                  <a:gd name="T45" fmla="*/ 9 h 40"/>
                  <a:gd name="T46" fmla="*/ 7 w 32"/>
                  <a:gd name="T47" fmla="*/ 8 h 40"/>
                  <a:gd name="T48" fmla="*/ 5 w 32"/>
                  <a:gd name="T49" fmla="*/ 13 h 40"/>
                  <a:gd name="T50" fmla="*/ 8 w 32"/>
                  <a:gd name="T51" fmla="*/ 21 h 40"/>
                  <a:gd name="T52" fmla="*/ 1 w 32"/>
                  <a:gd name="T53" fmla="*/ 22 h 40"/>
                  <a:gd name="T54" fmla="*/ 1 w 32"/>
                  <a:gd name="T55" fmla="*/ 22 h 40"/>
                  <a:gd name="T56" fmla="*/ 0 w 32"/>
                  <a:gd name="T57" fmla="*/ 24 h 40"/>
                  <a:gd name="T58" fmla="*/ 0 w 32"/>
                  <a:gd name="T59" fmla="*/ 27 h 40"/>
                  <a:gd name="T60" fmla="*/ 13 w 32"/>
                  <a:gd name="T61" fmla="*/ 40 h 40"/>
                  <a:gd name="T62" fmla="*/ 25 w 32"/>
                  <a:gd name="T63" fmla="*/ 32 h 40"/>
                  <a:gd name="T64" fmla="*/ 20 w 32"/>
                  <a:gd name="T65"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40">
                    <a:moveTo>
                      <a:pt x="20" y="30"/>
                    </a:moveTo>
                    <a:cubicBezTo>
                      <a:pt x="15" y="27"/>
                      <a:pt x="15" y="27"/>
                      <a:pt x="15" y="27"/>
                    </a:cubicBezTo>
                    <a:cubicBezTo>
                      <a:pt x="14" y="28"/>
                      <a:pt x="14" y="28"/>
                      <a:pt x="14" y="28"/>
                    </a:cubicBezTo>
                    <a:cubicBezTo>
                      <a:pt x="13" y="28"/>
                      <a:pt x="13" y="28"/>
                      <a:pt x="13" y="28"/>
                    </a:cubicBezTo>
                    <a:cubicBezTo>
                      <a:pt x="13" y="28"/>
                      <a:pt x="13" y="28"/>
                      <a:pt x="12" y="28"/>
                    </a:cubicBezTo>
                    <a:cubicBezTo>
                      <a:pt x="12" y="27"/>
                      <a:pt x="12" y="27"/>
                      <a:pt x="12" y="27"/>
                    </a:cubicBezTo>
                    <a:cubicBezTo>
                      <a:pt x="12" y="26"/>
                      <a:pt x="12" y="26"/>
                      <a:pt x="12" y="26"/>
                    </a:cubicBezTo>
                    <a:cubicBezTo>
                      <a:pt x="6" y="25"/>
                      <a:pt x="6" y="25"/>
                      <a:pt x="6" y="25"/>
                    </a:cubicBezTo>
                    <a:cubicBezTo>
                      <a:pt x="12" y="26"/>
                      <a:pt x="12" y="26"/>
                      <a:pt x="12" y="26"/>
                    </a:cubicBezTo>
                    <a:cubicBezTo>
                      <a:pt x="12" y="26"/>
                      <a:pt x="12" y="26"/>
                      <a:pt x="12" y="26"/>
                    </a:cubicBezTo>
                    <a:cubicBezTo>
                      <a:pt x="7" y="24"/>
                      <a:pt x="7" y="24"/>
                      <a:pt x="7" y="24"/>
                    </a:cubicBezTo>
                    <a:cubicBezTo>
                      <a:pt x="12" y="26"/>
                      <a:pt x="12" y="26"/>
                      <a:pt x="12" y="26"/>
                    </a:cubicBezTo>
                    <a:cubicBezTo>
                      <a:pt x="13" y="23"/>
                      <a:pt x="13" y="23"/>
                      <a:pt x="13" y="23"/>
                    </a:cubicBezTo>
                    <a:cubicBezTo>
                      <a:pt x="16" y="18"/>
                      <a:pt x="16" y="18"/>
                      <a:pt x="16" y="18"/>
                    </a:cubicBezTo>
                    <a:cubicBezTo>
                      <a:pt x="18" y="13"/>
                      <a:pt x="18" y="13"/>
                      <a:pt x="18" y="13"/>
                    </a:cubicBezTo>
                    <a:cubicBezTo>
                      <a:pt x="18" y="13"/>
                      <a:pt x="18" y="13"/>
                      <a:pt x="18" y="13"/>
                    </a:cubicBezTo>
                    <a:cubicBezTo>
                      <a:pt x="18" y="12"/>
                      <a:pt x="18" y="12"/>
                      <a:pt x="18" y="12"/>
                    </a:cubicBezTo>
                    <a:cubicBezTo>
                      <a:pt x="19" y="12"/>
                      <a:pt x="19" y="12"/>
                      <a:pt x="19" y="12"/>
                    </a:cubicBezTo>
                    <a:cubicBezTo>
                      <a:pt x="19" y="12"/>
                      <a:pt x="20" y="12"/>
                      <a:pt x="20" y="12"/>
                    </a:cubicBezTo>
                    <a:cubicBezTo>
                      <a:pt x="20" y="13"/>
                      <a:pt x="20" y="13"/>
                      <a:pt x="20" y="13"/>
                    </a:cubicBezTo>
                    <a:cubicBezTo>
                      <a:pt x="26" y="13"/>
                      <a:pt x="26" y="13"/>
                      <a:pt x="26" y="13"/>
                    </a:cubicBezTo>
                    <a:cubicBezTo>
                      <a:pt x="20" y="13"/>
                      <a:pt x="20" y="13"/>
                      <a:pt x="20" y="13"/>
                    </a:cubicBezTo>
                    <a:cubicBezTo>
                      <a:pt x="20" y="13"/>
                      <a:pt x="20" y="13"/>
                      <a:pt x="20" y="13"/>
                    </a:cubicBezTo>
                    <a:cubicBezTo>
                      <a:pt x="20" y="14"/>
                      <a:pt x="20" y="14"/>
                      <a:pt x="20" y="14"/>
                    </a:cubicBezTo>
                    <a:cubicBezTo>
                      <a:pt x="20" y="14"/>
                      <a:pt x="20" y="14"/>
                      <a:pt x="20" y="14"/>
                    </a:cubicBezTo>
                    <a:cubicBezTo>
                      <a:pt x="18" y="19"/>
                      <a:pt x="18" y="19"/>
                      <a:pt x="18" y="19"/>
                    </a:cubicBezTo>
                    <a:cubicBezTo>
                      <a:pt x="24" y="21"/>
                      <a:pt x="24" y="21"/>
                      <a:pt x="24" y="21"/>
                    </a:cubicBezTo>
                    <a:cubicBezTo>
                      <a:pt x="18" y="19"/>
                      <a:pt x="18" y="19"/>
                      <a:pt x="18" y="19"/>
                    </a:cubicBezTo>
                    <a:cubicBezTo>
                      <a:pt x="16" y="24"/>
                      <a:pt x="16" y="24"/>
                      <a:pt x="16" y="24"/>
                    </a:cubicBezTo>
                    <a:cubicBezTo>
                      <a:pt x="16" y="24"/>
                      <a:pt x="16" y="24"/>
                      <a:pt x="16" y="24"/>
                    </a:cubicBezTo>
                    <a:cubicBezTo>
                      <a:pt x="15" y="27"/>
                      <a:pt x="15" y="27"/>
                      <a:pt x="15" y="27"/>
                    </a:cubicBezTo>
                    <a:cubicBezTo>
                      <a:pt x="15" y="27"/>
                      <a:pt x="15" y="27"/>
                      <a:pt x="15" y="27"/>
                    </a:cubicBezTo>
                    <a:cubicBezTo>
                      <a:pt x="20" y="30"/>
                      <a:pt x="20" y="30"/>
                      <a:pt x="20" y="30"/>
                    </a:cubicBezTo>
                    <a:cubicBezTo>
                      <a:pt x="25" y="32"/>
                      <a:pt x="25" y="32"/>
                      <a:pt x="25" y="32"/>
                    </a:cubicBezTo>
                    <a:cubicBezTo>
                      <a:pt x="27" y="29"/>
                      <a:pt x="27" y="29"/>
                      <a:pt x="27" y="29"/>
                    </a:cubicBezTo>
                    <a:cubicBezTo>
                      <a:pt x="29" y="23"/>
                      <a:pt x="29" y="23"/>
                      <a:pt x="29" y="23"/>
                    </a:cubicBezTo>
                    <a:cubicBezTo>
                      <a:pt x="31" y="18"/>
                      <a:pt x="31" y="18"/>
                      <a:pt x="31" y="18"/>
                    </a:cubicBezTo>
                    <a:cubicBezTo>
                      <a:pt x="31" y="18"/>
                      <a:pt x="31" y="18"/>
                      <a:pt x="31" y="18"/>
                    </a:cubicBezTo>
                    <a:cubicBezTo>
                      <a:pt x="32" y="17"/>
                      <a:pt x="32" y="15"/>
                      <a:pt x="32" y="13"/>
                    </a:cubicBezTo>
                    <a:cubicBezTo>
                      <a:pt x="32" y="13"/>
                      <a:pt x="32" y="13"/>
                      <a:pt x="32" y="13"/>
                    </a:cubicBezTo>
                    <a:cubicBezTo>
                      <a:pt x="32" y="13"/>
                      <a:pt x="32" y="13"/>
                      <a:pt x="32" y="13"/>
                    </a:cubicBezTo>
                    <a:cubicBezTo>
                      <a:pt x="32" y="13"/>
                      <a:pt x="32" y="13"/>
                      <a:pt x="32" y="13"/>
                    </a:cubicBezTo>
                    <a:cubicBezTo>
                      <a:pt x="32" y="9"/>
                      <a:pt x="30" y="6"/>
                      <a:pt x="27" y="4"/>
                    </a:cubicBezTo>
                    <a:cubicBezTo>
                      <a:pt x="25" y="1"/>
                      <a:pt x="22" y="0"/>
                      <a:pt x="19" y="0"/>
                    </a:cubicBezTo>
                    <a:cubicBezTo>
                      <a:pt x="16" y="0"/>
                      <a:pt x="14" y="1"/>
                      <a:pt x="12" y="2"/>
                    </a:cubicBezTo>
                    <a:cubicBezTo>
                      <a:pt x="10" y="4"/>
                      <a:pt x="8" y="6"/>
                      <a:pt x="7" y="9"/>
                    </a:cubicBezTo>
                    <a:cubicBezTo>
                      <a:pt x="12" y="11"/>
                      <a:pt x="12" y="11"/>
                      <a:pt x="12" y="11"/>
                    </a:cubicBezTo>
                    <a:cubicBezTo>
                      <a:pt x="7" y="8"/>
                      <a:pt x="7" y="8"/>
                      <a:pt x="7" y="8"/>
                    </a:cubicBezTo>
                    <a:cubicBezTo>
                      <a:pt x="5" y="13"/>
                      <a:pt x="5" y="13"/>
                      <a:pt x="5" y="13"/>
                    </a:cubicBezTo>
                    <a:cubicBezTo>
                      <a:pt x="5" y="13"/>
                      <a:pt x="5" y="13"/>
                      <a:pt x="5" y="13"/>
                    </a:cubicBezTo>
                    <a:cubicBezTo>
                      <a:pt x="2" y="19"/>
                      <a:pt x="2" y="19"/>
                      <a:pt x="2" y="19"/>
                    </a:cubicBezTo>
                    <a:cubicBezTo>
                      <a:pt x="8" y="21"/>
                      <a:pt x="8" y="21"/>
                      <a:pt x="8" y="21"/>
                    </a:cubicBezTo>
                    <a:cubicBezTo>
                      <a:pt x="2" y="19"/>
                      <a:pt x="2" y="19"/>
                      <a:pt x="2" y="19"/>
                    </a:cubicBezTo>
                    <a:cubicBezTo>
                      <a:pt x="1" y="22"/>
                      <a:pt x="1" y="22"/>
                      <a:pt x="1" y="22"/>
                    </a:cubicBezTo>
                    <a:cubicBezTo>
                      <a:pt x="1" y="22"/>
                      <a:pt x="1" y="22"/>
                      <a:pt x="1" y="22"/>
                    </a:cubicBezTo>
                    <a:cubicBezTo>
                      <a:pt x="1" y="22"/>
                      <a:pt x="1" y="22"/>
                      <a:pt x="1" y="22"/>
                    </a:cubicBezTo>
                    <a:cubicBezTo>
                      <a:pt x="1" y="22"/>
                      <a:pt x="1" y="23"/>
                      <a:pt x="0" y="24"/>
                    </a:cubicBezTo>
                    <a:cubicBezTo>
                      <a:pt x="0" y="24"/>
                      <a:pt x="0" y="24"/>
                      <a:pt x="0" y="24"/>
                    </a:cubicBezTo>
                    <a:cubicBezTo>
                      <a:pt x="0" y="24"/>
                      <a:pt x="0" y="24"/>
                      <a:pt x="0" y="24"/>
                    </a:cubicBezTo>
                    <a:cubicBezTo>
                      <a:pt x="0" y="25"/>
                      <a:pt x="0" y="26"/>
                      <a:pt x="0" y="27"/>
                    </a:cubicBezTo>
                    <a:cubicBezTo>
                      <a:pt x="0" y="31"/>
                      <a:pt x="2" y="34"/>
                      <a:pt x="4" y="36"/>
                    </a:cubicBezTo>
                    <a:cubicBezTo>
                      <a:pt x="7" y="39"/>
                      <a:pt x="10" y="40"/>
                      <a:pt x="13" y="40"/>
                    </a:cubicBezTo>
                    <a:cubicBezTo>
                      <a:pt x="16" y="40"/>
                      <a:pt x="18" y="39"/>
                      <a:pt x="20" y="38"/>
                    </a:cubicBezTo>
                    <a:cubicBezTo>
                      <a:pt x="22" y="36"/>
                      <a:pt x="24" y="34"/>
                      <a:pt x="25" y="32"/>
                    </a:cubicBezTo>
                    <a:cubicBezTo>
                      <a:pt x="25" y="32"/>
                      <a:pt x="25" y="32"/>
                      <a:pt x="25" y="32"/>
                    </a:cubicBezTo>
                    <a:lnTo>
                      <a:pt x="2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5" name="Freeform 57"/>
              <p:cNvSpPr>
                <a:spLocks/>
              </p:cNvSpPr>
              <p:nvPr/>
            </p:nvSpPr>
            <p:spPr bwMode="auto">
              <a:xfrm>
                <a:off x="6757571" y="5220881"/>
                <a:ext cx="34043" cy="50001"/>
              </a:xfrm>
              <a:custGeom>
                <a:avLst/>
                <a:gdLst>
                  <a:gd name="T0" fmla="*/ 14 w 23"/>
                  <a:gd name="T1" fmla="*/ 27 h 33"/>
                  <a:gd name="T2" fmla="*/ 1 w 23"/>
                  <a:gd name="T3" fmla="*/ 22 h 33"/>
                  <a:gd name="T4" fmla="*/ 1 w 23"/>
                  <a:gd name="T5" fmla="*/ 19 h 33"/>
                  <a:gd name="T6" fmla="*/ 2 w 23"/>
                  <a:gd name="T7" fmla="*/ 18 h 33"/>
                  <a:gd name="T8" fmla="*/ 5 w 23"/>
                  <a:gd name="T9" fmla="*/ 12 h 33"/>
                  <a:gd name="T10" fmla="*/ 8 w 23"/>
                  <a:gd name="T11" fmla="*/ 7 h 33"/>
                  <a:gd name="T12" fmla="*/ 22 w 23"/>
                  <a:gd name="T13" fmla="*/ 12 h 33"/>
                  <a:gd name="T14" fmla="*/ 21 w 23"/>
                  <a:gd name="T15" fmla="*/ 14 h 33"/>
                  <a:gd name="T16" fmla="*/ 18 w 23"/>
                  <a:gd name="T17" fmla="*/ 19 h 33"/>
                  <a:gd name="T18" fmla="*/ 15 w 23"/>
                  <a:gd name="T19" fmla="*/ 25 h 33"/>
                  <a:gd name="T20" fmla="*/ 14 w 23"/>
                  <a:gd name="T21"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3">
                    <a:moveTo>
                      <a:pt x="14" y="27"/>
                    </a:moveTo>
                    <a:cubicBezTo>
                      <a:pt x="10" y="33"/>
                      <a:pt x="0" y="30"/>
                      <a:pt x="1" y="22"/>
                    </a:cubicBezTo>
                    <a:cubicBezTo>
                      <a:pt x="1" y="21"/>
                      <a:pt x="1" y="20"/>
                      <a:pt x="1" y="19"/>
                    </a:cubicBezTo>
                    <a:cubicBezTo>
                      <a:pt x="2" y="18"/>
                      <a:pt x="2" y="18"/>
                      <a:pt x="2" y="18"/>
                    </a:cubicBezTo>
                    <a:cubicBezTo>
                      <a:pt x="5" y="12"/>
                      <a:pt x="5" y="12"/>
                      <a:pt x="5" y="12"/>
                    </a:cubicBezTo>
                    <a:cubicBezTo>
                      <a:pt x="8" y="7"/>
                      <a:pt x="8" y="7"/>
                      <a:pt x="8" y="7"/>
                    </a:cubicBezTo>
                    <a:cubicBezTo>
                      <a:pt x="12" y="0"/>
                      <a:pt x="23" y="4"/>
                      <a:pt x="22" y="12"/>
                    </a:cubicBezTo>
                    <a:cubicBezTo>
                      <a:pt x="22" y="13"/>
                      <a:pt x="22" y="13"/>
                      <a:pt x="21" y="14"/>
                    </a:cubicBezTo>
                    <a:cubicBezTo>
                      <a:pt x="18" y="19"/>
                      <a:pt x="18" y="19"/>
                      <a:pt x="18" y="19"/>
                    </a:cubicBezTo>
                    <a:cubicBezTo>
                      <a:pt x="15" y="25"/>
                      <a:pt x="15" y="25"/>
                      <a:pt x="15" y="25"/>
                    </a:cubicBezTo>
                    <a:lnTo>
                      <a:pt x="1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6" name="Freeform 58"/>
              <p:cNvSpPr>
                <a:spLocks/>
              </p:cNvSpPr>
              <p:nvPr/>
            </p:nvSpPr>
            <p:spPr bwMode="auto">
              <a:xfrm>
                <a:off x="6750124" y="5216625"/>
                <a:ext cx="50001" cy="58512"/>
              </a:xfrm>
              <a:custGeom>
                <a:avLst/>
                <a:gdLst>
                  <a:gd name="T0" fmla="*/ 19 w 33"/>
                  <a:gd name="T1" fmla="*/ 30 h 39"/>
                  <a:gd name="T2" fmla="*/ 14 w 33"/>
                  <a:gd name="T3" fmla="*/ 27 h 39"/>
                  <a:gd name="T4" fmla="*/ 13 w 33"/>
                  <a:gd name="T5" fmla="*/ 27 h 39"/>
                  <a:gd name="T6" fmla="*/ 13 w 33"/>
                  <a:gd name="T7" fmla="*/ 27 h 39"/>
                  <a:gd name="T8" fmla="*/ 12 w 33"/>
                  <a:gd name="T9" fmla="*/ 27 h 39"/>
                  <a:gd name="T10" fmla="*/ 11 w 33"/>
                  <a:gd name="T11" fmla="*/ 26 h 39"/>
                  <a:gd name="T12" fmla="*/ 11 w 33"/>
                  <a:gd name="T13" fmla="*/ 26 h 39"/>
                  <a:gd name="T14" fmla="*/ 6 w 33"/>
                  <a:gd name="T15" fmla="*/ 25 h 39"/>
                  <a:gd name="T16" fmla="*/ 11 w 33"/>
                  <a:gd name="T17" fmla="*/ 26 h 39"/>
                  <a:gd name="T18" fmla="*/ 12 w 33"/>
                  <a:gd name="T19" fmla="*/ 25 h 39"/>
                  <a:gd name="T20" fmla="*/ 6 w 33"/>
                  <a:gd name="T21" fmla="*/ 22 h 39"/>
                  <a:gd name="T22" fmla="*/ 12 w 33"/>
                  <a:gd name="T23" fmla="*/ 25 h 39"/>
                  <a:gd name="T24" fmla="*/ 12 w 33"/>
                  <a:gd name="T25" fmla="*/ 24 h 39"/>
                  <a:gd name="T26" fmla="*/ 13 w 33"/>
                  <a:gd name="T27" fmla="*/ 24 h 39"/>
                  <a:gd name="T28" fmla="*/ 16 w 33"/>
                  <a:gd name="T29" fmla="*/ 18 h 39"/>
                  <a:gd name="T30" fmla="*/ 19 w 33"/>
                  <a:gd name="T31" fmla="*/ 13 h 39"/>
                  <a:gd name="T32" fmla="*/ 19 w 33"/>
                  <a:gd name="T33" fmla="*/ 13 h 39"/>
                  <a:gd name="T34" fmla="*/ 19 w 33"/>
                  <a:gd name="T35" fmla="*/ 12 h 39"/>
                  <a:gd name="T36" fmla="*/ 20 w 33"/>
                  <a:gd name="T37" fmla="*/ 12 h 39"/>
                  <a:gd name="T38" fmla="*/ 21 w 33"/>
                  <a:gd name="T39" fmla="*/ 13 h 39"/>
                  <a:gd name="T40" fmla="*/ 21 w 33"/>
                  <a:gd name="T41" fmla="*/ 13 h 39"/>
                  <a:gd name="T42" fmla="*/ 21 w 33"/>
                  <a:gd name="T43" fmla="*/ 14 h 39"/>
                  <a:gd name="T44" fmla="*/ 27 w 33"/>
                  <a:gd name="T45" fmla="*/ 15 h 39"/>
                  <a:gd name="T46" fmla="*/ 21 w 33"/>
                  <a:gd name="T47" fmla="*/ 13 h 39"/>
                  <a:gd name="T48" fmla="*/ 21 w 33"/>
                  <a:gd name="T49" fmla="*/ 14 h 39"/>
                  <a:gd name="T50" fmla="*/ 21 w 33"/>
                  <a:gd name="T51" fmla="*/ 14 h 39"/>
                  <a:gd name="T52" fmla="*/ 18 w 33"/>
                  <a:gd name="T53" fmla="*/ 20 h 39"/>
                  <a:gd name="T54" fmla="*/ 15 w 33"/>
                  <a:gd name="T55" fmla="*/ 25 h 39"/>
                  <a:gd name="T56" fmla="*/ 15 w 33"/>
                  <a:gd name="T57" fmla="*/ 25 h 39"/>
                  <a:gd name="T58" fmla="*/ 14 w 33"/>
                  <a:gd name="T59" fmla="*/ 27 h 39"/>
                  <a:gd name="T60" fmla="*/ 14 w 33"/>
                  <a:gd name="T61" fmla="*/ 27 h 39"/>
                  <a:gd name="T62" fmla="*/ 19 w 33"/>
                  <a:gd name="T63" fmla="*/ 30 h 39"/>
                  <a:gd name="T64" fmla="*/ 24 w 33"/>
                  <a:gd name="T65" fmla="*/ 32 h 39"/>
                  <a:gd name="T66" fmla="*/ 25 w 33"/>
                  <a:gd name="T67" fmla="*/ 31 h 39"/>
                  <a:gd name="T68" fmla="*/ 28 w 33"/>
                  <a:gd name="T69" fmla="*/ 25 h 39"/>
                  <a:gd name="T70" fmla="*/ 31 w 33"/>
                  <a:gd name="T71" fmla="*/ 20 h 39"/>
                  <a:gd name="T72" fmla="*/ 31 w 33"/>
                  <a:gd name="T73" fmla="*/ 20 h 39"/>
                  <a:gd name="T74" fmla="*/ 33 w 33"/>
                  <a:gd name="T75" fmla="*/ 16 h 39"/>
                  <a:gd name="T76" fmla="*/ 33 w 33"/>
                  <a:gd name="T77" fmla="*/ 16 h 39"/>
                  <a:gd name="T78" fmla="*/ 33 w 33"/>
                  <a:gd name="T79" fmla="*/ 16 h 39"/>
                  <a:gd name="T80" fmla="*/ 33 w 33"/>
                  <a:gd name="T81" fmla="*/ 13 h 39"/>
                  <a:gd name="T82" fmla="*/ 29 w 33"/>
                  <a:gd name="T83" fmla="*/ 4 h 39"/>
                  <a:gd name="T84" fmla="*/ 20 w 33"/>
                  <a:gd name="T85" fmla="*/ 0 h 39"/>
                  <a:gd name="T86" fmla="*/ 13 w 33"/>
                  <a:gd name="T87" fmla="*/ 2 h 39"/>
                  <a:gd name="T88" fmla="*/ 8 w 33"/>
                  <a:gd name="T89" fmla="*/ 7 h 39"/>
                  <a:gd name="T90" fmla="*/ 8 w 33"/>
                  <a:gd name="T91" fmla="*/ 7 h 39"/>
                  <a:gd name="T92" fmla="*/ 5 w 33"/>
                  <a:gd name="T93" fmla="*/ 13 h 39"/>
                  <a:gd name="T94" fmla="*/ 2 w 33"/>
                  <a:gd name="T95" fmla="*/ 18 h 39"/>
                  <a:gd name="T96" fmla="*/ 2 w 33"/>
                  <a:gd name="T97" fmla="*/ 18 h 39"/>
                  <a:gd name="T98" fmla="*/ 1 w 33"/>
                  <a:gd name="T99" fmla="*/ 19 h 39"/>
                  <a:gd name="T100" fmla="*/ 1 w 33"/>
                  <a:gd name="T101" fmla="*/ 20 h 39"/>
                  <a:gd name="T102" fmla="*/ 1 w 33"/>
                  <a:gd name="T103" fmla="*/ 20 h 39"/>
                  <a:gd name="T104" fmla="*/ 0 w 33"/>
                  <a:gd name="T105" fmla="*/ 25 h 39"/>
                  <a:gd name="T106" fmla="*/ 0 w 33"/>
                  <a:gd name="T107" fmla="*/ 25 h 39"/>
                  <a:gd name="T108" fmla="*/ 0 w 33"/>
                  <a:gd name="T109" fmla="*/ 25 h 39"/>
                  <a:gd name="T110" fmla="*/ 0 w 33"/>
                  <a:gd name="T111" fmla="*/ 26 h 39"/>
                  <a:gd name="T112" fmla="*/ 4 w 33"/>
                  <a:gd name="T113" fmla="*/ 36 h 39"/>
                  <a:gd name="T114" fmla="*/ 13 w 33"/>
                  <a:gd name="T115" fmla="*/ 39 h 39"/>
                  <a:gd name="T116" fmla="*/ 19 w 33"/>
                  <a:gd name="T117" fmla="*/ 37 h 39"/>
                  <a:gd name="T118" fmla="*/ 24 w 33"/>
                  <a:gd name="T119" fmla="*/ 32 h 39"/>
                  <a:gd name="T120" fmla="*/ 24 w 33"/>
                  <a:gd name="T121" fmla="*/ 32 h 39"/>
                  <a:gd name="T122" fmla="*/ 19 w 33"/>
                  <a:gd name="T123"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 h="39">
                    <a:moveTo>
                      <a:pt x="19" y="30"/>
                    </a:moveTo>
                    <a:cubicBezTo>
                      <a:pt x="14" y="27"/>
                      <a:pt x="14" y="27"/>
                      <a:pt x="14" y="27"/>
                    </a:cubicBezTo>
                    <a:cubicBezTo>
                      <a:pt x="13" y="27"/>
                      <a:pt x="13" y="27"/>
                      <a:pt x="13" y="27"/>
                    </a:cubicBezTo>
                    <a:cubicBezTo>
                      <a:pt x="13" y="27"/>
                      <a:pt x="13" y="27"/>
                      <a:pt x="13" y="27"/>
                    </a:cubicBezTo>
                    <a:cubicBezTo>
                      <a:pt x="12" y="27"/>
                      <a:pt x="12" y="27"/>
                      <a:pt x="12" y="27"/>
                    </a:cubicBezTo>
                    <a:cubicBezTo>
                      <a:pt x="12" y="27"/>
                      <a:pt x="11" y="27"/>
                      <a:pt x="11" y="26"/>
                    </a:cubicBezTo>
                    <a:cubicBezTo>
                      <a:pt x="11" y="26"/>
                      <a:pt x="11" y="26"/>
                      <a:pt x="11" y="26"/>
                    </a:cubicBezTo>
                    <a:cubicBezTo>
                      <a:pt x="6" y="25"/>
                      <a:pt x="6" y="25"/>
                      <a:pt x="6" y="25"/>
                    </a:cubicBezTo>
                    <a:cubicBezTo>
                      <a:pt x="11" y="26"/>
                      <a:pt x="11" y="26"/>
                      <a:pt x="11" y="26"/>
                    </a:cubicBezTo>
                    <a:cubicBezTo>
                      <a:pt x="12" y="25"/>
                      <a:pt x="11" y="26"/>
                      <a:pt x="12" y="25"/>
                    </a:cubicBezTo>
                    <a:cubicBezTo>
                      <a:pt x="6" y="22"/>
                      <a:pt x="6" y="22"/>
                      <a:pt x="6" y="22"/>
                    </a:cubicBezTo>
                    <a:cubicBezTo>
                      <a:pt x="12" y="25"/>
                      <a:pt x="12" y="25"/>
                      <a:pt x="12" y="25"/>
                    </a:cubicBezTo>
                    <a:cubicBezTo>
                      <a:pt x="12" y="24"/>
                      <a:pt x="12" y="24"/>
                      <a:pt x="12" y="24"/>
                    </a:cubicBezTo>
                    <a:cubicBezTo>
                      <a:pt x="13" y="24"/>
                      <a:pt x="13" y="24"/>
                      <a:pt x="13" y="24"/>
                    </a:cubicBezTo>
                    <a:cubicBezTo>
                      <a:pt x="16" y="18"/>
                      <a:pt x="16" y="18"/>
                      <a:pt x="16" y="18"/>
                    </a:cubicBezTo>
                    <a:cubicBezTo>
                      <a:pt x="19" y="13"/>
                      <a:pt x="19" y="13"/>
                      <a:pt x="19" y="13"/>
                    </a:cubicBezTo>
                    <a:cubicBezTo>
                      <a:pt x="19" y="13"/>
                      <a:pt x="19" y="13"/>
                      <a:pt x="19" y="13"/>
                    </a:cubicBezTo>
                    <a:cubicBezTo>
                      <a:pt x="19" y="12"/>
                      <a:pt x="19" y="12"/>
                      <a:pt x="19" y="12"/>
                    </a:cubicBezTo>
                    <a:cubicBezTo>
                      <a:pt x="20" y="12"/>
                      <a:pt x="20" y="12"/>
                      <a:pt x="20" y="12"/>
                    </a:cubicBezTo>
                    <a:cubicBezTo>
                      <a:pt x="20" y="12"/>
                      <a:pt x="21" y="12"/>
                      <a:pt x="21" y="13"/>
                    </a:cubicBezTo>
                    <a:cubicBezTo>
                      <a:pt x="21" y="13"/>
                      <a:pt x="21" y="13"/>
                      <a:pt x="21" y="13"/>
                    </a:cubicBezTo>
                    <a:cubicBezTo>
                      <a:pt x="21" y="14"/>
                      <a:pt x="21" y="14"/>
                      <a:pt x="21" y="14"/>
                    </a:cubicBezTo>
                    <a:cubicBezTo>
                      <a:pt x="27" y="15"/>
                      <a:pt x="27" y="15"/>
                      <a:pt x="27" y="15"/>
                    </a:cubicBezTo>
                    <a:cubicBezTo>
                      <a:pt x="21" y="13"/>
                      <a:pt x="21" y="13"/>
                      <a:pt x="21" y="13"/>
                    </a:cubicBezTo>
                    <a:cubicBezTo>
                      <a:pt x="21" y="14"/>
                      <a:pt x="21" y="14"/>
                      <a:pt x="21" y="14"/>
                    </a:cubicBezTo>
                    <a:cubicBezTo>
                      <a:pt x="21" y="14"/>
                      <a:pt x="21" y="14"/>
                      <a:pt x="21" y="14"/>
                    </a:cubicBezTo>
                    <a:cubicBezTo>
                      <a:pt x="18" y="20"/>
                      <a:pt x="18" y="20"/>
                      <a:pt x="18" y="20"/>
                    </a:cubicBezTo>
                    <a:cubicBezTo>
                      <a:pt x="15" y="25"/>
                      <a:pt x="15" y="25"/>
                      <a:pt x="15" y="25"/>
                    </a:cubicBezTo>
                    <a:cubicBezTo>
                      <a:pt x="15" y="25"/>
                      <a:pt x="15" y="25"/>
                      <a:pt x="15" y="25"/>
                    </a:cubicBezTo>
                    <a:cubicBezTo>
                      <a:pt x="14" y="27"/>
                      <a:pt x="14" y="27"/>
                      <a:pt x="14" y="27"/>
                    </a:cubicBezTo>
                    <a:cubicBezTo>
                      <a:pt x="14" y="27"/>
                      <a:pt x="14" y="27"/>
                      <a:pt x="14" y="27"/>
                    </a:cubicBezTo>
                    <a:cubicBezTo>
                      <a:pt x="19" y="30"/>
                      <a:pt x="19" y="30"/>
                      <a:pt x="19" y="30"/>
                    </a:cubicBezTo>
                    <a:cubicBezTo>
                      <a:pt x="24" y="32"/>
                      <a:pt x="24" y="32"/>
                      <a:pt x="24" y="32"/>
                    </a:cubicBezTo>
                    <a:cubicBezTo>
                      <a:pt x="25" y="31"/>
                      <a:pt x="25" y="31"/>
                      <a:pt x="25" y="31"/>
                    </a:cubicBezTo>
                    <a:cubicBezTo>
                      <a:pt x="28" y="25"/>
                      <a:pt x="28" y="25"/>
                      <a:pt x="28" y="25"/>
                    </a:cubicBezTo>
                    <a:cubicBezTo>
                      <a:pt x="31" y="20"/>
                      <a:pt x="31" y="20"/>
                      <a:pt x="31" y="20"/>
                    </a:cubicBezTo>
                    <a:cubicBezTo>
                      <a:pt x="31" y="20"/>
                      <a:pt x="31" y="20"/>
                      <a:pt x="31" y="20"/>
                    </a:cubicBezTo>
                    <a:cubicBezTo>
                      <a:pt x="32" y="18"/>
                      <a:pt x="32" y="17"/>
                      <a:pt x="33" y="16"/>
                    </a:cubicBezTo>
                    <a:cubicBezTo>
                      <a:pt x="33" y="16"/>
                      <a:pt x="33" y="16"/>
                      <a:pt x="33" y="16"/>
                    </a:cubicBezTo>
                    <a:cubicBezTo>
                      <a:pt x="33" y="16"/>
                      <a:pt x="33" y="16"/>
                      <a:pt x="33" y="16"/>
                    </a:cubicBezTo>
                    <a:cubicBezTo>
                      <a:pt x="33" y="15"/>
                      <a:pt x="33" y="14"/>
                      <a:pt x="33" y="13"/>
                    </a:cubicBezTo>
                    <a:cubicBezTo>
                      <a:pt x="33" y="10"/>
                      <a:pt x="31" y="6"/>
                      <a:pt x="29" y="4"/>
                    </a:cubicBezTo>
                    <a:cubicBezTo>
                      <a:pt x="26" y="2"/>
                      <a:pt x="23" y="0"/>
                      <a:pt x="20" y="0"/>
                    </a:cubicBezTo>
                    <a:cubicBezTo>
                      <a:pt x="18" y="0"/>
                      <a:pt x="15" y="1"/>
                      <a:pt x="13" y="2"/>
                    </a:cubicBezTo>
                    <a:cubicBezTo>
                      <a:pt x="11" y="3"/>
                      <a:pt x="10" y="5"/>
                      <a:pt x="8" y="7"/>
                    </a:cubicBezTo>
                    <a:cubicBezTo>
                      <a:pt x="8" y="7"/>
                      <a:pt x="8" y="7"/>
                      <a:pt x="8" y="7"/>
                    </a:cubicBezTo>
                    <a:cubicBezTo>
                      <a:pt x="5" y="13"/>
                      <a:pt x="5" y="13"/>
                      <a:pt x="5" y="13"/>
                    </a:cubicBezTo>
                    <a:cubicBezTo>
                      <a:pt x="2" y="18"/>
                      <a:pt x="2" y="18"/>
                      <a:pt x="2" y="18"/>
                    </a:cubicBezTo>
                    <a:cubicBezTo>
                      <a:pt x="2" y="18"/>
                      <a:pt x="2" y="18"/>
                      <a:pt x="2" y="18"/>
                    </a:cubicBezTo>
                    <a:cubicBezTo>
                      <a:pt x="1" y="19"/>
                      <a:pt x="1" y="19"/>
                      <a:pt x="1" y="19"/>
                    </a:cubicBezTo>
                    <a:cubicBezTo>
                      <a:pt x="1" y="20"/>
                      <a:pt x="1" y="20"/>
                      <a:pt x="1" y="20"/>
                    </a:cubicBezTo>
                    <a:cubicBezTo>
                      <a:pt x="1" y="20"/>
                      <a:pt x="1" y="20"/>
                      <a:pt x="1" y="20"/>
                    </a:cubicBezTo>
                    <a:cubicBezTo>
                      <a:pt x="0" y="21"/>
                      <a:pt x="0" y="23"/>
                      <a:pt x="0" y="25"/>
                    </a:cubicBezTo>
                    <a:cubicBezTo>
                      <a:pt x="0" y="25"/>
                      <a:pt x="0" y="25"/>
                      <a:pt x="0" y="25"/>
                    </a:cubicBezTo>
                    <a:cubicBezTo>
                      <a:pt x="0" y="25"/>
                      <a:pt x="0" y="25"/>
                      <a:pt x="0" y="25"/>
                    </a:cubicBezTo>
                    <a:cubicBezTo>
                      <a:pt x="0" y="26"/>
                      <a:pt x="0" y="26"/>
                      <a:pt x="0" y="26"/>
                    </a:cubicBezTo>
                    <a:cubicBezTo>
                      <a:pt x="0" y="30"/>
                      <a:pt x="1" y="33"/>
                      <a:pt x="4" y="36"/>
                    </a:cubicBezTo>
                    <a:cubicBezTo>
                      <a:pt x="6" y="38"/>
                      <a:pt x="10" y="39"/>
                      <a:pt x="13" y="39"/>
                    </a:cubicBezTo>
                    <a:cubicBezTo>
                      <a:pt x="15" y="39"/>
                      <a:pt x="17" y="39"/>
                      <a:pt x="19" y="37"/>
                    </a:cubicBezTo>
                    <a:cubicBezTo>
                      <a:pt x="21" y="36"/>
                      <a:pt x="23" y="35"/>
                      <a:pt x="24" y="32"/>
                    </a:cubicBezTo>
                    <a:cubicBezTo>
                      <a:pt x="24" y="32"/>
                      <a:pt x="24" y="32"/>
                      <a:pt x="24" y="32"/>
                    </a:cubicBezTo>
                    <a:lnTo>
                      <a:pt x="19"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7" name="Freeform 59"/>
              <p:cNvSpPr>
                <a:spLocks/>
              </p:cNvSpPr>
              <p:nvPr/>
            </p:nvSpPr>
            <p:spPr bwMode="auto">
              <a:xfrm>
                <a:off x="6672462" y="5235775"/>
                <a:ext cx="153195" cy="174472"/>
              </a:xfrm>
              <a:custGeom>
                <a:avLst/>
                <a:gdLst>
                  <a:gd name="T0" fmla="*/ 8 w 144"/>
                  <a:gd name="T1" fmla="*/ 0 h 164"/>
                  <a:gd name="T2" fmla="*/ 0 w 144"/>
                  <a:gd name="T3" fmla="*/ 164 h 164"/>
                  <a:gd name="T4" fmla="*/ 144 w 144"/>
                  <a:gd name="T5" fmla="*/ 84 h 164"/>
                  <a:gd name="T6" fmla="*/ 8 w 144"/>
                  <a:gd name="T7" fmla="*/ 0 h 164"/>
                </a:gdLst>
                <a:ahLst/>
                <a:cxnLst>
                  <a:cxn ang="0">
                    <a:pos x="T0" y="T1"/>
                  </a:cxn>
                  <a:cxn ang="0">
                    <a:pos x="T2" y="T3"/>
                  </a:cxn>
                  <a:cxn ang="0">
                    <a:pos x="T4" y="T5"/>
                  </a:cxn>
                  <a:cxn ang="0">
                    <a:pos x="T6" y="T7"/>
                  </a:cxn>
                </a:cxnLst>
                <a:rect l="0" t="0" r="r" b="b"/>
                <a:pathLst>
                  <a:path w="144" h="164">
                    <a:moveTo>
                      <a:pt x="8" y="0"/>
                    </a:moveTo>
                    <a:lnTo>
                      <a:pt x="0" y="164"/>
                    </a:lnTo>
                    <a:lnTo>
                      <a:pt x="144" y="84"/>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8" name="Freeform 60"/>
              <p:cNvSpPr>
                <a:spLocks/>
              </p:cNvSpPr>
              <p:nvPr/>
            </p:nvSpPr>
            <p:spPr bwMode="auto">
              <a:xfrm>
                <a:off x="6662888" y="5220881"/>
                <a:ext cx="178728" cy="206388"/>
              </a:xfrm>
              <a:custGeom>
                <a:avLst/>
                <a:gdLst>
                  <a:gd name="T0" fmla="*/ 17 w 168"/>
                  <a:gd name="T1" fmla="*/ 14 h 194"/>
                  <a:gd name="T2" fmla="*/ 10 w 168"/>
                  <a:gd name="T3" fmla="*/ 14 h 194"/>
                  <a:gd name="T4" fmla="*/ 0 w 168"/>
                  <a:gd name="T5" fmla="*/ 194 h 194"/>
                  <a:gd name="T6" fmla="*/ 168 w 168"/>
                  <a:gd name="T7" fmla="*/ 98 h 194"/>
                  <a:gd name="T8" fmla="*/ 10 w 168"/>
                  <a:gd name="T9" fmla="*/ 0 h 194"/>
                  <a:gd name="T10" fmla="*/ 10 w 168"/>
                  <a:gd name="T11" fmla="*/ 14 h 194"/>
                  <a:gd name="T12" fmla="*/ 17 w 168"/>
                  <a:gd name="T13" fmla="*/ 14 h 194"/>
                  <a:gd name="T14" fmla="*/ 13 w 168"/>
                  <a:gd name="T15" fmla="*/ 22 h 194"/>
                  <a:gd name="T16" fmla="*/ 136 w 168"/>
                  <a:gd name="T17" fmla="*/ 98 h 194"/>
                  <a:gd name="T18" fmla="*/ 19 w 168"/>
                  <a:gd name="T19" fmla="*/ 164 h 194"/>
                  <a:gd name="T20" fmla="*/ 26 w 168"/>
                  <a:gd name="T21" fmla="*/ 16 h 194"/>
                  <a:gd name="T22" fmla="*/ 17 w 168"/>
                  <a:gd name="T23" fmla="*/ 14 h 194"/>
                  <a:gd name="T24" fmla="*/ 13 w 168"/>
                  <a:gd name="T25" fmla="*/ 22 h 194"/>
                  <a:gd name="T26" fmla="*/ 17 w 168"/>
                  <a:gd name="T27" fmla="*/ 1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194">
                    <a:moveTo>
                      <a:pt x="17" y="14"/>
                    </a:moveTo>
                    <a:lnTo>
                      <a:pt x="10" y="14"/>
                    </a:lnTo>
                    <a:lnTo>
                      <a:pt x="0" y="194"/>
                    </a:lnTo>
                    <a:lnTo>
                      <a:pt x="168" y="98"/>
                    </a:lnTo>
                    <a:lnTo>
                      <a:pt x="10" y="0"/>
                    </a:lnTo>
                    <a:lnTo>
                      <a:pt x="10" y="14"/>
                    </a:lnTo>
                    <a:lnTo>
                      <a:pt x="17" y="14"/>
                    </a:lnTo>
                    <a:lnTo>
                      <a:pt x="13" y="22"/>
                    </a:lnTo>
                    <a:lnTo>
                      <a:pt x="136" y="98"/>
                    </a:lnTo>
                    <a:lnTo>
                      <a:pt x="19" y="164"/>
                    </a:lnTo>
                    <a:lnTo>
                      <a:pt x="26" y="16"/>
                    </a:lnTo>
                    <a:lnTo>
                      <a:pt x="17" y="14"/>
                    </a:lnTo>
                    <a:lnTo>
                      <a:pt x="13" y="22"/>
                    </a:lnTo>
                    <a:lnTo>
                      <a:pt x="1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99" name="Freeform 61"/>
            <p:cNvSpPr>
              <a:spLocks noEditPoints="1"/>
            </p:cNvSpPr>
            <p:nvPr/>
          </p:nvSpPr>
          <p:spPr bwMode="auto">
            <a:xfrm>
              <a:off x="4779270" y="2042129"/>
              <a:ext cx="2412825" cy="2411761"/>
            </a:xfrm>
            <a:custGeom>
              <a:avLst/>
              <a:gdLst>
                <a:gd name="T0" fmla="*/ 1593 w 1593"/>
                <a:gd name="T1" fmla="*/ 796 h 1592"/>
                <a:gd name="T2" fmla="*/ 1580 w 1593"/>
                <a:gd name="T3" fmla="*/ 754 h 1592"/>
                <a:gd name="T4" fmla="*/ 1554 w 1593"/>
                <a:gd name="T5" fmla="*/ 641 h 1592"/>
                <a:gd name="T6" fmla="*/ 1508 w 1593"/>
                <a:gd name="T7" fmla="*/ 493 h 1592"/>
                <a:gd name="T8" fmla="*/ 1508 w 1593"/>
                <a:gd name="T9" fmla="*/ 493 h 1592"/>
                <a:gd name="T10" fmla="*/ 1465 w 1593"/>
                <a:gd name="T11" fmla="*/ 385 h 1592"/>
                <a:gd name="T12" fmla="*/ 1421 w 1593"/>
                <a:gd name="T13" fmla="*/ 302 h 1592"/>
                <a:gd name="T14" fmla="*/ 1386 w 1593"/>
                <a:gd name="T15" fmla="*/ 261 h 1592"/>
                <a:gd name="T16" fmla="*/ 1311 w 1593"/>
                <a:gd name="T17" fmla="*/ 204 h 1592"/>
                <a:gd name="T18" fmla="*/ 1211 w 1593"/>
                <a:gd name="T19" fmla="*/ 144 h 1592"/>
                <a:gd name="T20" fmla="*/ 1073 w 1593"/>
                <a:gd name="T21" fmla="*/ 74 h 1592"/>
                <a:gd name="T22" fmla="*/ 1073 w 1593"/>
                <a:gd name="T23" fmla="*/ 74 h 1592"/>
                <a:gd name="T24" fmla="*/ 966 w 1593"/>
                <a:gd name="T25" fmla="*/ 30 h 1592"/>
                <a:gd name="T26" fmla="*/ 875 w 1593"/>
                <a:gd name="T27" fmla="*/ 4 h 1592"/>
                <a:gd name="T28" fmla="*/ 833 w 1593"/>
                <a:gd name="T29" fmla="*/ 12 h 1592"/>
                <a:gd name="T30" fmla="*/ 667 w 1593"/>
                <a:gd name="T31" fmla="*/ 34 h 1592"/>
                <a:gd name="T32" fmla="*/ 667 w 1593"/>
                <a:gd name="T33" fmla="*/ 34 h 1592"/>
                <a:gd name="T34" fmla="*/ 552 w 1593"/>
                <a:gd name="T35" fmla="*/ 51 h 1592"/>
                <a:gd name="T36" fmla="*/ 460 w 1593"/>
                <a:gd name="T37" fmla="*/ 74 h 1592"/>
                <a:gd name="T38" fmla="*/ 413 w 1593"/>
                <a:gd name="T39" fmla="*/ 98 h 1592"/>
                <a:gd name="T40" fmla="*/ 340 w 1593"/>
                <a:gd name="T41" fmla="*/ 158 h 1592"/>
                <a:gd name="T42" fmla="*/ 259 w 1593"/>
                <a:gd name="T43" fmla="*/ 241 h 1592"/>
                <a:gd name="T44" fmla="*/ 159 w 1593"/>
                <a:gd name="T45" fmla="*/ 360 h 1592"/>
                <a:gd name="T46" fmla="*/ 159 w 1593"/>
                <a:gd name="T47" fmla="*/ 360 h 1592"/>
                <a:gd name="T48" fmla="*/ 90 w 1593"/>
                <a:gd name="T49" fmla="*/ 454 h 1592"/>
                <a:gd name="T50" fmla="*/ 44 w 1593"/>
                <a:gd name="T51" fmla="*/ 536 h 1592"/>
                <a:gd name="T52" fmla="*/ 28 w 1593"/>
                <a:gd name="T53" fmla="*/ 587 h 1592"/>
                <a:gd name="T54" fmla="*/ 20 w 1593"/>
                <a:gd name="T55" fmla="*/ 681 h 1592"/>
                <a:gd name="T56" fmla="*/ 24 w 1593"/>
                <a:gd name="T57" fmla="*/ 797 h 1592"/>
                <a:gd name="T58" fmla="*/ 39 w 1593"/>
                <a:gd name="T59" fmla="*/ 951 h 1592"/>
                <a:gd name="T60" fmla="*/ 39 w 1593"/>
                <a:gd name="T61" fmla="*/ 951 h 1592"/>
                <a:gd name="T62" fmla="*/ 59 w 1593"/>
                <a:gd name="T63" fmla="*/ 1066 h 1592"/>
                <a:gd name="T64" fmla="*/ 86 w 1593"/>
                <a:gd name="T65" fmla="*/ 1156 h 1592"/>
                <a:gd name="T66" fmla="*/ 111 w 1593"/>
                <a:gd name="T67" fmla="*/ 1203 h 1592"/>
                <a:gd name="T68" fmla="*/ 174 w 1593"/>
                <a:gd name="T69" fmla="*/ 1274 h 1592"/>
                <a:gd name="T70" fmla="*/ 259 w 1593"/>
                <a:gd name="T71" fmla="*/ 1352 h 1592"/>
                <a:gd name="T72" fmla="*/ 381 w 1593"/>
                <a:gd name="T73" fmla="*/ 1448 h 1592"/>
                <a:gd name="T74" fmla="*/ 381 w 1593"/>
                <a:gd name="T75" fmla="*/ 1448 h 1592"/>
                <a:gd name="T76" fmla="*/ 477 w 1593"/>
                <a:gd name="T77" fmla="*/ 1513 h 1592"/>
                <a:gd name="T78" fmla="*/ 561 w 1593"/>
                <a:gd name="T79" fmla="*/ 1557 h 1592"/>
                <a:gd name="T80" fmla="*/ 612 w 1593"/>
                <a:gd name="T81" fmla="*/ 1571 h 1592"/>
                <a:gd name="T82" fmla="*/ 707 w 1593"/>
                <a:gd name="T83" fmla="*/ 1576 h 1592"/>
                <a:gd name="T84" fmla="*/ 823 w 1593"/>
                <a:gd name="T85" fmla="*/ 1569 h 1592"/>
                <a:gd name="T86" fmla="*/ 976 w 1593"/>
                <a:gd name="T87" fmla="*/ 1548 h 1592"/>
                <a:gd name="T88" fmla="*/ 976 w 1593"/>
                <a:gd name="T89" fmla="*/ 1548 h 1592"/>
                <a:gd name="T90" fmla="*/ 1090 w 1593"/>
                <a:gd name="T91" fmla="*/ 1524 h 1592"/>
                <a:gd name="T92" fmla="*/ 1179 w 1593"/>
                <a:gd name="T93" fmla="*/ 1495 h 1592"/>
                <a:gd name="T94" fmla="*/ 1225 w 1593"/>
                <a:gd name="T95" fmla="*/ 1468 h 1592"/>
                <a:gd name="T96" fmla="*/ 1294 w 1593"/>
                <a:gd name="T97" fmla="*/ 1403 h 1592"/>
                <a:gd name="T98" fmla="*/ 1370 w 1593"/>
                <a:gd name="T99" fmla="*/ 1315 h 1592"/>
                <a:gd name="T100" fmla="*/ 1462 w 1593"/>
                <a:gd name="T101" fmla="*/ 1190 h 1592"/>
                <a:gd name="T102" fmla="*/ 1462 w 1593"/>
                <a:gd name="T103" fmla="*/ 1190 h 1592"/>
                <a:gd name="T104" fmla="*/ 1524 w 1593"/>
                <a:gd name="T105" fmla="*/ 1092 h 1592"/>
                <a:gd name="T106" fmla="*/ 1565 w 1593"/>
                <a:gd name="T107" fmla="*/ 1007 h 1592"/>
                <a:gd name="T108" fmla="*/ 1577 w 1593"/>
                <a:gd name="T109" fmla="*/ 955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93" h="1592">
                  <a:moveTo>
                    <a:pt x="1569" y="794"/>
                  </a:moveTo>
                  <a:cubicBezTo>
                    <a:pt x="1569" y="795"/>
                    <a:pt x="1569" y="796"/>
                    <a:pt x="1569" y="796"/>
                  </a:cubicBezTo>
                  <a:cubicBezTo>
                    <a:pt x="1569" y="814"/>
                    <a:pt x="1569" y="831"/>
                    <a:pt x="1568" y="848"/>
                  </a:cubicBezTo>
                  <a:cubicBezTo>
                    <a:pt x="1567" y="854"/>
                    <a:pt x="1572" y="860"/>
                    <a:pt x="1579" y="860"/>
                  </a:cubicBezTo>
                  <a:cubicBezTo>
                    <a:pt x="1585" y="861"/>
                    <a:pt x="1591" y="856"/>
                    <a:pt x="1591" y="849"/>
                  </a:cubicBezTo>
                  <a:cubicBezTo>
                    <a:pt x="1592" y="832"/>
                    <a:pt x="1593" y="814"/>
                    <a:pt x="1593" y="796"/>
                  </a:cubicBezTo>
                  <a:cubicBezTo>
                    <a:pt x="1593" y="796"/>
                    <a:pt x="1593" y="795"/>
                    <a:pt x="1593" y="794"/>
                  </a:cubicBezTo>
                  <a:cubicBezTo>
                    <a:pt x="1593" y="788"/>
                    <a:pt x="1587" y="783"/>
                    <a:pt x="1581" y="783"/>
                  </a:cubicBezTo>
                  <a:cubicBezTo>
                    <a:pt x="1575" y="783"/>
                    <a:pt x="1569" y="788"/>
                    <a:pt x="1569" y="794"/>
                  </a:cubicBezTo>
                  <a:close/>
                  <a:moveTo>
                    <a:pt x="1562" y="691"/>
                  </a:moveTo>
                  <a:cubicBezTo>
                    <a:pt x="1565" y="708"/>
                    <a:pt x="1566" y="726"/>
                    <a:pt x="1567" y="743"/>
                  </a:cubicBezTo>
                  <a:cubicBezTo>
                    <a:pt x="1568" y="749"/>
                    <a:pt x="1574" y="754"/>
                    <a:pt x="1580" y="754"/>
                  </a:cubicBezTo>
                  <a:cubicBezTo>
                    <a:pt x="1586" y="753"/>
                    <a:pt x="1591" y="748"/>
                    <a:pt x="1591" y="741"/>
                  </a:cubicBezTo>
                  <a:cubicBezTo>
                    <a:pt x="1590" y="723"/>
                    <a:pt x="1588" y="706"/>
                    <a:pt x="1586" y="688"/>
                  </a:cubicBezTo>
                  <a:cubicBezTo>
                    <a:pt x="1585" y="682"/>
                    <a:pt x="1579" y="677"/>
                    <a:pt x="1572" y="678"/>
                  </a:cubicBezTo>
                  <a:cubicBezTo>
                    <a:pt x="1566" y="679"/>
                    <a:pt x="1561" y="685"/>
                    <a:pt x="1562" y="691"/>
                  </a:cubicBezTo>
                  <a:close/>
                  <a:moveTo>
                    <a:pt x="1542" y="590"/>
                  </a:moveTo>
                  <a:cubicBezTo>
                    <a:pt x="1546" y="607"/>
                    <a:pt x="1550" y="624"/>
                    <a:pt x="1554" y="641"/>
                  </a:cubicBezTo>
                  <a:cubicBezTo>
                    <a:pt x="1555" y="647"/>
                    <a:pt x="1561" y="651"/>
                    <a:pt x="1567" y="650"/>
                  </a:cubicBezTo>
                  <a:cubicBezTo>
                    <a:pt x="1574" y="648"/>
                    <a:pt x="1578" y="642"/>
                    <a:pt x="1577" y="636"/>
                  </a:cubicBezTo>
                  <a:cubicBezTo>
                    <a:pt x="1573" y="618"/>
                    <a:pt x="1569" y="601"/>
                    <a:pt x="1564" y="584"/>
                  </a:cubicBezTo>
                  <a:cubicBezTo>
                    <a:pt x="1562" y="578"/>
                    <a:pt x="1556" y="574"/>
                    <a:pt x="1550" y="576"/>
                  </a:cubicBezTo>
                  <a:cubicBezTo>
                    <a:pt x="1544" y="578"/>
                    <a:pt x="1540" y="584"/>
                    <a:pt x="1542" y="590"/>
                  </a:cubicBezTo>
                  <a:close/>
                  <a:moveTo>
                    <a:pt x="1508" y="493"/>
                  </a:moveTo>
                  <a:cubicBezTo>
                    <a:pt x="1514" y="509"/>
                    <a:pt x="1520" y="525"/>
                    <a:pt x="1526" y="541"/>
                  </a:cubicBezTo>
                  <a:cubicBezTo>
                    <a:pt x="1528" y="547"/>
                    <a:pt x="1535" y="550"/>
                    <a:pt x="1541" y="548"/>
                  </a:cubicBezTo>
                  <a:cubicBezTo>
                    <a:pt x="1547" y="546"/>
                    <a:pt x="1550" y="539"/>
                    <a:pt x="1548" y="533"/>
                  </a:cubicBezTo>
                  <a:cubicBezTo>
                    <a:pt x="1542" y="517"/>
                    <a:pt x="1536" y="500"/>
                    <a:pt x="1529" y="484"/>
                  </a:cubicBezTo>
                  <a:cubicBezTo>
                    <a:pt x="1527" y="478"/>
                    <a:pt x="1520" y="475"/>
                    <a:pt x="1514" y="478"/>
                  </a:cubicBezTo>
                  <a:cubicBezTo>
                    <a:pt x="1508" y="480"/>
                    <a:pt x="1505" y="487"/>
                    <a:pt x="1508" y="493"/>
                  </a:cubicBezTo>
                  <a:close/>
                  <a:moveTo>
                    <a:pt x="1461" y="401"/>
                  </a:moveTo>
                  <a:cubicBezTo>
                    <a:pt x="1470" y="416"/>
                    <a:pt x="1478" y="431"/>
                    <a:pt x="1486" y="446"/>
                  </a:cubicBezTo>
                  <a:cubicBezTo>
                    <a:pt x="1489" y="452"/>
                    <a:pt x="1496" y="454"/>
                    <a:pt x="1502" y="451"/>
                  </a:cubicBezTo>
                  <a:cubicBezTo>
                    <a:pt x="1507" y="449"/>
                    <a:pt x="1510" y="441"/>
                    <a:pt x="1507" y="436"/>
                  </a:cubicBezTo>
                  <a:cubicBezTo>
                    <a:pt x="1499" y="420"/>
                    <a:pt x="1490" y="404"/>
                    <a:pt x="1481" y="389"/>
                  </a:cubicBezTo>
                  <a:cubicBezTo>
                    <a:pt x="1478" y="384"/>
                    <a:pt x="1470" y="382"/>
                    <a:pt x="1465" y="385"/>
                  </a:cubicBezTo>
                  <a:cubicBezTo>
                    <a:pt x="1459" y="388"/>
                    <a:pt x="1457" y="396"/>
                    <a:pt x="1461" y="401"/>
                  </a:cubicBezTo>
                  <a:close/>
                  <a:moveTo>
                    <a:pt x="1402" y="316"/>
                  </a:moveTo>
                  <a:cubicBezTo>
                    <a:pt x="1413" y="330"/>
                    <a:pt x="1423" y="344"/>
                    <a:pt x="1433" y="358"/>
                  </a:cubicBezTo>
                  <a:cubicBezTo>
                    <a:pt x="1437" y="363"/>
                    <a:pt x="1444" y="364"/>
                    <a:pt x="1449" y="361"/>
                  </a:cubicBezTo>
                  <a:cubicBezTo>
                    <a:pt x="1455" y="357"/>
                    <a:pt x="1456" y="350"/>
                    <a:pt x="1452" y="344"/>
                  </a:cubicBezTo>
                  <a:cubicBezTo>
                    <a:pt x="1442" y="330"/>
                    <a:pt x="1432" y="316"/>
                    <a:pt x="1421" y="302"/>
                  </a:cubicBezTo>
                  <a:cubicBezTo>
                    <a:pt x="1417" y="297"/>
                    <a:pt x="1409" y="296"/>
                    <a:pt x="1404" y="300"/>
                  </a:cubicBezTo>
                  <a:cubicBezTo>
                    <a:pt x="1399" y="304"/>
                    <a:pt x="1398" y="311"/>
                    <a:pt x="1402" y="316"/>
                  </a:cubicBezTo>
                  <a:close/>
                  <a:moveTo>
                    <a:pt x="1333" y="240"/>
                  </a:moveTo>
                  <a:cubicBezTo>
                    <a:pt x="1345" y="252"/>
                    <a:pt x="1357" y="264"/>
                    <a:pt x="1369" y="277"/>
                  </a:cubicBezTo>
                  <a:cubicBezTo>
                    <a:pt x="1373" y="282"/>
                    <a:pt x="1381" y="282"/>
                    <a:pt x="1385" y="278"/>
                  </a:cubicBezTo>
                  <a:cubicBezTo>
                    <a:pt x="1390" y="273"/>
                    <a:pt x="1391" y="266"/>
                    <a:pt x="1386" y="261"/>
                  </a:cubicBezTo>
                  <a:cubicBezTo>
                    <a:pt x="1374" y="248"/>
                    <a:pt x="1362" y="235"/>
                    <a:pt x="1349" y="223"/>
                  </a:cubicBezTo>
                  <a:cubicBezTo>
                    <a:pt x="1344" y="218"/>
                    <a:pt x="1337" y="219"/>
                    <a:pt x="1332" y="223"/>
                  </a:cubicBezTo>
                  <a:cubicBezTo>
                    <a:pt x="1328" y="228"/>
                    <a:pt x="1328" y="235"/>
                    <a:pt x="1333" y="240"/>
                  </a:cubicBezTo>
                  <a:close/>
                  <a:moveTo>
                    <a:pt x="1254" y="173"/>
                  </a:moveTo>
                  <a:cubicBezTo>
                    <a:pt x="1268" y="183"/>
                    <a:pt x="1281" y="194"/>
                    <a:pt x="1294" y="205"/>
                  </a:cubicBezTo>
                  <a:cubicBezTo>
                    <a:pt x="1299" y="209"/>
                    <a:pt x="1307" y="209"/>
                    <a:pt x="1311" y="204"/>
                  </a:cubicBezTo>
                  <a:cubicBezTo>
                    <a:pt x="1315" y="199"/>
                    <a:pt x="1315" y="191"/>
                    <a:pt x="1310" y="187"/>
                  </a:cubicBezTo>
                  <a:cubicBezTo>
                    <a:pt x="1296" y="176"/>
                    <a:pt x="1282" y="165"/>
                    <a:pt x="1268" y="154"/>
                  </a:cubicBezTo>
                  <a:cubicBezTo>
                    <a:pt x="1263" y="150"/>
                    <a:pt x="1255" y="152"/>
                    <a:pt x="1251" y="157"/>
                  </a:cubicBezTo>
                  <a:cubicBezTo>
                    <a:pt x="1247" y="162"/>
                    <a:pt x="1249" y="169"/>
                    <a:pt x="1254" y="173"/>
                  </a:cubicBezTo>
                  <a:close/>
                  <a:moveTo>
                    <a:pt x="1167" y="118"/>
                  </a:moveTo>
                  <a:cubicBezTo>
                    <a:pt x="1182" y="126"/>
                    <a:pt x="1197" y="135"/>
                    <a:pt x="1211" y="144"/>
                  </a:cubicBezTo>
                  <a:cubicBezTo>
                    <a:pt x="1217" y="148"/>
                    <a:pt x="1224" y="146"/>
                    <a:pt x="1227" y="140"/>
                  </a:cubicBezTo>
                  <a:cubicBezTo>
                    <a:pt x="1231" y="135"/>
                    <a:pt x="1229" y="128"/>
                    <a:pt x="1224" y="124"/>
                  </a:cubicBezTo>
                  <a:cubicBezTo>
                    <a:pt x="1209" y="115"/>
                    <a:pt x="1194" y="106"/>
                    <a:pt x="1178" y="97"/>
                  </a:cubicBezTo>
                  <a:cubicBezTo>
                    <a:pt x="1172" y="94"/>
                    <a:pt x="1165" y="96"/>
                    <a:pt x="1162" y="102"/>
                  </a:cubicBezTo>
                  <a:cubicBezTo>
                    <a:pt x="1159" y="108"/>
                    <a:pt x="1161" y="115"/>
                    <a:pt x="1167" y="118"/>
                  </a:cubicBezTo>
                  <a:close/>
                  <a:moveTo>
                    <a:pt x="1073" y="74"/>
                  </a:moveTo>
                  <a:cubicBezTo>
                    <a:pt x="1089" y="81"/>
                    <a:pt x="1105" y="87"/>
                    <a:pt x="1121" y="94"/>
                  </a:cubicBezTo>
                  <a:cubicBezTo>
                    <a:pt x="1126" y="97"/>
                    <a:pt x="1133" y="95"/>
                    <a:pt x="1136" y="89"/>
                  </a:cubicBezTo>
                  <a:cubicBezTo>
                    <a:pt x="1139" y="83"/>
                    <a:pt x="1136" y="76"/>
                    <a:pt x="1130" y="73"/>
                  </a:cubicBezTo>
                  <a:cubicBezTo>
                    <a:pt x="1114" y="66"/>
                    <a:pt x="1098" y="59"/>
                    <a:pt x="1081" y="52"/>
                  </a:cubicBezTo>
                  <a:cubicBezTo>
                    <a:pt x="1075" y="50"/>
                    <a:pt x="1069" y="53"/>
                    <a:pt x="1066" y="59"/>
                  </a:cubicBezTo>
                  <a:cubicBezTo>
                    <a:pt x="1064" y="65"/>
                    <a:pt x="1067" y="72"/>
                    <a:pt x="1073" y="74"/>
                  </a:cubicBezTo>
                  <a:close/>
                  <a:moveTo>
                    <a:pt x="974" y="44"/>
                  </a:moveTo>
                  <a:cubicBezTo>
                    <a:pt x="991" y="48"/>
                    <a:pt x="1008" y="52"/>
                    <a:pt x="1024" y="58"/>
                  </a:cubicBezTo>
                  <a:cubicBezTo>
                    <a:pt x="1030" y="59"/>
                    <a:pt x="1037" y="56"/>
                    <a:pt x="1039" y="50"/>
                  </a:cubicBezTo>
                  <a:cubicBezTo>
                    <a:pt x="1041" y="44"/>
                    <a:pt x="1037" y="37"/>
                    <a:pt x="1031" y="35"/>
                  </a:cubicBezTo>
                  <a:cubicBezTo>
                    <a:pt x="1014" y="30"/>
                    <a:pt x="997" y="25"/>
                    <a:pt x="980" y="21"/>
                  </a:cubicBezTo>
                  <a:cubicBezTo>
                    <a:pt x="973" y="20"/>
                    <a:pt x="967" y="24"/>
                    <a:pt x="966" y="30"/>
                  </a:cubicBezTo>
                  <a:cubicBezTo>
                    <a:pt x="964" y="36"/>
                    <a:pt x="968" y="43"/>
                    <a:pt x="974" y="44"/>
                  </a:cubicBezTo>
                  <a:close/>
                  <a:moveTo>
                    <a:pt x="872" y="27"/>
                  </a:moveTo>
                  <a:cubicBezTo>
                    <a:pt x="890" y="29"/>
                    <a:pt x="907" y="31"/>
                    <a:pt x="924" y="34"/>
                  </a:cubicBezTo>
                  <a:cubicBezTo>
                    <a:pt x="930" y="35"/>
                    <a:pt x="936" y="31"/>
                    <a:pt x="937" y="24"/>
                  </a:cubicBezTo>
                  <a:cubicBezTo>
                    <a:pt x="938" y="18"/>
                    <a:pt x="934" y="12"/>
                    <a:pt x="927" y="11"/>
                  </a:cubicBezTo>
                  <a:cubicBezTo>
                    <a:pt x="910" y="8"/>
                    <a:pt x="892" y="5"/>
                    <a:pt x="875" y="4"/>
                  </a:cubicBezTo>
                  <a:cubicBezTo>
                    <a:pt x="868" y="3"/>
                    <a:pt x="863" y="8"/>
                    <a:pt x="862" y="14"/>
                  </a:cubicBezTo>
                  <a:cubicBezTo>
                    <a:pt x="861" y="21"/>
                    <a:pt x="866" y="27"/>
                    <a:pt x="872" y="27"/>
                  </a:cubicBezTo>
                  <a:close/>
                  <a:moveTo>
                    <a:pt x="769" y="24"/>
                  </a:moveTo>
                  <a:cubicBezTo>
                    <a:pt x="778" y="24"/>
                    <a:pt x="787" y="23"/>
                    <a:pt x="796" y="23"/>
                  </a:cubicBezTo>
                  <a:cubicBezTo>
                    <a:pt x="805" y="23"/>
                    <a:pt x="813" y="24"/>
                    <a:pt x="821" y="24"/>
                  </a:cubicBezTo>
                  <a:cubicBezTo>
                    <a:pt x="827" y="24"/>
                    <a:pt x="833" y="19"/>
                    <a:pt x="833" y="12"/>
                  </a:cubicBezTo>
                  <a:cubicBezTo>
                    <a:pt x="833" y="6"/>
                    <a:pt x="828" y="1"/>
                    <a:pt x="822" y="0"/>
                  </a:cubicBezTo>
                  <a:cubicBezTo>
                    <a:pt x="813" y="0"/>
                    <a:pt x="805" y="0"/>
                    <a:pt x="796" y="0"/>
                  </a:cubicBezTo>
                  <a:cubicBezTo>
                    <a:pt x="787" y="0"/>
                    <a:pt x="778" y="0"/>
                    <a:pt x="768" y="0"/>
                  </a:cubicBezTo>
                  <a:cubicBezTo>
                    <a:pt x="762" y="1"/>
                    <a:pt x="757" y="6"/>
                    <a:pt x="757" y="13"/>
                  </a:cubicBezTo>
                  <a:cubicBezTo>
                    <a:pt x="757" y="19"/>
                    <a:pt x="763" y="24"/>
                    <a:pt x="769" y="24"/>
                  </a:cubicBezTo>
                  <a:close/>
                  <a:moveTo>
                    <a:pt x="667" y="34"/>
                  </a:moveTo>
                  <a:cubicBezTo>
                    <a:pt x="683" y="31"/>
                    <a:pt x="701" y="29"/>
                    <a:pt x="718" y="27"/>
                  </a:cubicBezTo>
                  <a:cubicBezTo>
                    <a:pt x="724" y="27"/>
                    <a:pt x="729" y="21"/>
                    <a:pt x="728" y="15"/>
                  </a:cubicBezTo>
                  <a:cubicBezTo>
                    <a:pt x="728" y="8"/>
                    <a:pt x="722" y="3"/>
                    <a:pt x="715" y="4"/>
                  </a:cubicBezTo>
                  <a:cubicBezTo>
                    <a:pt x="698" y="6"/>
                    <a:pt x="680" y="8"/>
                    <a:pt x="663" y="11"/>
                  </a:cubicBezTo>
                  <a:cubicBezTo>
                    <a:pt x="656" y="12"/>
                    <a:pt x="652" y="18"/>
                    <a:pt x="653" y="25"/>
                  </a:cubicBezTo>
                  <a:cubicBezTo>
                    <a:pt x="654" y="31"/>
                    <a:pt x="660" y="35"/>
                    <a:pt x="667" y="34"/>
                  </a:cubicBezTo>
                  <a:close/>
                  <a:moveTo>
                    <a:pt x="566" y="58"/>
                  </a:moveTo>
                  <a:cubicBezTo>
                    <a:pt x="583" y="53"/>
                    <a:pt x="599" y="49"/>
                    <a:pt x="616" y="45"/>
                  </a:cubicBezTo>
                  <a:cubicBezTo>
                    <a:pt x="622" y="43"/>
                    <a:pt x="626" y="37"/>
                    <a:pt x="625" y="30"/>
                  </a:cubicBezTo>
                  <a:cubicBezTo>
                    <a:pt x="623" y="24"/>
                    <a:pt x="617" y="20"/>
                    <a:pt x="611" y="22"/>
                  </a:cubicBezTo>
                  <a:cubicBezTo>
                    <a:pt x="593" y="26"/>
                    <a:pt x="576" y="31"/>
                    <a:pt x="559" y="36"/>
                  </a:cubicBezTo>
                  <a:cubicBezTo>
                    <a:pt x="553" y="38"/>
                    <a:pt x="550" y="44"/>
                    <a:pt x="552" y="51"/>
                  </a:cubicBezTo>
                  <a:cubicBezTo>
                    <a:pt x="553" y="57"/>
                    <a:pt x="560" y="60"/>
                    <a:pt x="566" y="58"/>
                  </a:cubicBezTo>
                  <a:close/>
                  <a:moveTo>
                    <a:pt x="470" y="96"/>
                  </a:moveTo>
                  <a:cubicBezTo>
                    <a:pt x="486" y="88"/>
                    <a:pt x="501" y="82"/>
                    <a:pt x="517" y="75"/>
                  </a:cubicBezTo>
                  <a:cubicBezTo>
                    <a:pt x="524" y="73"/>
                    <a:pt x="527" y="66"/>
                    <a:pt x="524" y="60"/>
                  </a:cubicBezTo>
                  <a:cubicBezTo>
                    <a:pt x="522" y="54"/>
                    <a:pt x="515" y="51"/>
                    <a:pt x="509" y="53"/>
                  </a:cubicBezTo>
                  <a:cubicBezTo>
                    <a:pt x="492" y="60"/>
                    <a:pt x="476" y="67"/>
                    <a:pt x="460" y="74"/>
                  </a:cubicBezTo>
                  <a:cubicBezTo>
                    <a:pt x="454" y="77"/>
                    <a:pt x="452" y="84"/>
                    <a:pt x="454" y="90"/>
                  </a:cubicBezTo>
                  <a:cubicBezTo>
                    <a:pt x="457" y="96"/>
                    <a:pt x="464" y="98"/>
                    <a:pt x="470" y="96"/>
                  </a:cubicBezTo>
                  <a:close/>
                  <a:moveTo>
                    <a:pt x="380" y="145"/>
                  </a:moveTo>
                  <a:cubicBezTo>
                    <a:pt x="394" y="136"/>
                    <a:pt x="409" y="127"/>
                    <a:pt x="424" y="119"/>
                  </a:cubicBezTo>
                  <a:cubicBezTo>
                    <a:pt x="430" y="116"/>
                    <a:pt x="432" y="109"/>
                    <a:pt x="429" y="103"/>
                  </a:cubicBezTo>
                  <a:cubicBezTo>
                    <a:pt x="426" y="97"/>
                    <a:pt x="418" y="95"/>
                    <a:pt x="413" y="98"/>
                  </a:cubicBezTo>
                  <a:cubicBezTo>
                    <a:pt x="397" y="107"/>
                    <a:pt x="382" y="116"/>
                    <a:pt x="367" y="126"/>
                  </a:cubicBezTo>
                  <a:cubicBezTo>
                    <a:pt x="362" y="129"/>
                    <a:pt x="360" y="136"/>
                    <a:pt x="363" y="142"/>
                  </a:cubicBezTo>
                  <a:cubicBezTo>
                    <a:pt x="367" y="147"/>
                    <a:pt x="374" y="149"/>
                    <a:pt x="380" y="145"/>
                  </a:cubicBezTo>
                  <a:close/>
                  <a:moveTo>
                    <a:pt x="297" y="207"/>
                  </a:moveTo>
                  <a:cubicBezTo>
                    <a:pt x="310" y="196"/>
                    <a:pt x="323" y="185"/>
                    <a:pt x="337" y="175"/>
                  </a:cubicBezTo>
                  <a:cubicBezTo>
                    <a:pt x="342" y="171"/>
                    <a:pt x="344" y="163"/>
                    <a:pt x="340" y="158"/>
                  </a:cubicBezTo>
                  <a:cubicBezTo>
                    <a:pt x="336" y="153"/>
                    <a:pt x="328" y="152"/>
                    <a:pt x="323" y="156"/>
                  </a:cubicBezTo>
                  <a:cubicBezTo>
                    <a:pt x="309" y="166"/>
                    <a:pt x="295" y="177"/>
                    <a:pt x="282" y="189"/>
                  </a:cubicBezTo>
                  <a:cubicBezTo>
                    <a:pt x="277" y="193"/>
                    <a:pt x="276" y="200"/>
                    <a:pt x="280" y="205"/>
                  </a:cubicBezTo>
                  <a:cubicBezTo>
                    <a:pt x="284" y="210"/>
                    <a:pt x="292" y="211"/>
                    <a:pt x="297" y="207"/>
                  </a:cubicBezTo>
                  <a:close/>
                  <a:moveTo>
                    <a:pt x="223" y="279"/>
                  </a:moveTo>
                  <a:cubicBezTo>
                    <a:pt x="234" y="266"/>
                    <a:pt x="246" y="253"/>
                    <a:pt x="259" y="241"/>
                  </a:cubicBezTo>
                  <a:cubicBezTo>
                    <a:pt x="263" y="237"/>
                    <a:pt x="263" y="229"/>
                    <a:pt x="259" y="225"/>
                  </a:cubicBezTo>
                  <a:cubicBezTo>
                    <a:pt x="254" y="220"/>
                    <a:pt x="247" y="220"/>
                    <a:pt x="242" y="225"/>
                  </a:cubicBezTo>
                  <a:cubicBezTo>
                    <a:pt x="229" y="237"/>
                    <a:pt x="217" y="250"/>
                    <a:pt x="205" y="263"/>
                  </a:cubicBezTo>
                  <a:cubicBezTo>
                    <a:pt x="201" y="268"/>
                    <a:pt x="201" y="275"/>
                    <a:pt x="206" y="279"/>
                  </a:cubicBezTo>
                  <a:cubicBezTo>
                    <a:pt x="211" y="284"/>
                    <a:pt x="218" y="283"/>
                    <a:pt x="223" y="279"/>
                  </a:cubicBezTo>
                  <a:close/>
                  <a:moveTo>
                    <a:pt x="159" y="360"/>
                  </a:moveTo>
                  <a:cubicBezTo>
                    <a:pt x="168" y="345"/>
                    <a:pt x="179" y="332"/>
                    <a:pt x="189" y="318"/>
                  </a:cubicBezTo>
                  <a:cubicBezTo>
                    <a:pt x="193" y="313"/>
                    <a:pt x="192" y="306"/>
                    <a:pt x="187" y="302"/>
                  </a:cubicBezTo>
                  <a:cubicBezTo>
                    <a:pt x="182" y="297"/>
                    <a:pt x="175" y="298"/>
                    <a:pt x="171" y="303"/>
                  </a:cubicBezTo>
                  <a:cubicBezTo>
                    <a:pt x="160" y="317"/>
                    <a:pt x="149" y="332"/>
                    <a:pt x="139" y="346"/>
                  </a:cubicBezTo>
                  <a:cubicBezTo>
                    <a:pt x="136" y="352"/>
                    <a:pt x="137" y="359"/>
                    <a:pt x="142" y="363"/>
                  </a:cubicBezTo>
                  <a:cubicBezTo>
                    <a:pt x="148" y="366"/>
                    <a:pt x="155" y="365"/>
                    <a:pt x="159" y="360"/>
                  </a:cubicBezTo>
                  <a:close/>
                  <a:moveTo>
                    <a:pt x="106" y="449"/>
                  </a:moveTo>
                  <a:cubicBezTo>
                    <a:pt x="114" y="433"/>
                    <a:pt x="122" y="418"/>
                    <a:pt x="131" y="403"/>
                  </a:cubicBezTo>
                  <a:cubicBezTo>
                    <a:pt x="134" y="398"/>
                    <a:pt x="132" y="390"/>
                    <a:pt x="127" y="387"/>
                  </a:cubicBezTo>
                  <a:cubicBezTo>
                    <a:pt x="121" y="384"/>
                    <a:pt x="114" y="386"/>
                    <a:pt x="111" y="391"/>
                  </a:cubicBezTo>
                  <a:cubicBezTo>
                    <a:pt x="102" y="406"/>
                    <a:pt x="93" y="422"/>
                    <a:pt x="85" y="438"/>
                  </a:cubicBezTo>
                  <a:cubicBezTo>
                    <a:pt x="82" y="444"/>
                    <a:pt x="85" y="451"/>
                    <a:pt x="90" y="454"/>
                  </a:cubicBezTo>
                  <a:cubicBezTo>
                    <a:pt x="96" y="457"/>
                    <a:pt x="103" y="454"/>
                    <a:pt x="106" y="449"/>
                  </a:cubicBezTo>
                  <a:close/>
                  <a:moveTo>
                    <a:pt x="66" y="544"/>
                  </a:moveTo>
                  <a:cubicBezTo>
                    <a:pt x="71" y="527"/>
                    <a:pt x="78" y="511"/>
                    <a:pt x="84" y="495"/>
                  </a:cubicBezTo>
                  <a:cubicBezTo>
                    <a:pt x="87" y="489"/>
                    <a:pt x="84" y="483"/>
                    <a:pt x="78" y="480"/>
                  </a:cubicBezTo>
                  <a:cubicBezTo>
                    <a:pt x="72" y="477"/>
                    <a:pt x="65" y="480"/>
                    <a:pt x="63" y="486"/>
                  </a:cubicBezTo>
                  <a:cubicBezTo>
                    <a:pt x="56" y="503"/>
                    <a:pt x="49" y="519"/>
                    <a:pt x="44" y="536"/>
                  </a:cubicBezTo>
                  <a:cubicBezTo>
                    <a:pt x="42" y="542"/>
                    <a:pt x="45" y="549"/>
                    <a:pt x="51" y="551"/>
                  </a:cubicBezTo>
                  <a:cubicBezTo>
                    <a:pt x="57" y="553"/>
                    <a:pt x="64" y="550"/>
                    <a:pt x="66" y="544"/>
                  </a:cubicBezTo>
                  <a:close/>
                  <a:moveTo>
                    <a:pt x="39" y="643"/>
                  </a:moveTo>
                  <a:cubicBezTo>
                    <a:pt x="42" y="626"/>
                    <a:pt x="46" y="610"/>
                    <a:pt x="51" y="593"/>
                  </a:cubicBezTo>
                  <a:cubicBezTo>
                    <a:pt x="52" y="587"/>
                    <a:pt x="49" y="580"/>
                    <a:pt x="42" y="579"/>
                  </a:cubicBezTo>
                  <a:cubicBezTo>
                    <a:pt x="36" y="577"/>
                    <a:pt x="30" y="581"/>
                    <a:pt x="28" y="587"/>
                  </a:cubicBezTo>
                  <a:cubicBezTo>
                    <a:pt x="23" y="604"/>
                    <a:pt x="19" y="621"/>
                    <a:pt x="16" y="639"/>
                  </a:cubicBezTo>
                  <a:cubicBezTo>
                    <a:pt x="14" y="645"/>
                    <a:pt x="19" y="651"/>
                    <a:pt x="25" y="652"/>
                  </a:cubicBezTo>
                  <a:cubicBezTo>
                    <a:pt x="31" y="654"/>
                    <a:pt x="37" y="650"/>
                    <a:pt x="39" y="643"/>
                  </a:cubicBezTo>
                  <a:close/>
                  <a:moveTo>
                    <a:pt x="25" y="746"/>
                  </a:moveTo>
                  <a:cubicBezTo>
                    <a:pt x="26" y="728"/>
                    <a:pt x="28" y="711"/>
                    <a:pt x="30" y="694"/>
                  </a:cubicBezTo>
                  <a:cubicBezTo>
                    <a:pt x="31" y="688"/>
                    <a:pt x="27" y="682"/>
                    <a:pt x="20" y="681"/>
                  </a:cubicBezTo>
                  <a:cubicBezTo>
                    <a:pt x="14" y="680"/>
                    <a:pt x="8" y="685"/>
                    <a:pt x="7" y="691"/>
                  </a:cubicBezTo>
                  <a:cubicBezTo>
                    <a:pt x="5" y="709"/>
                    <a:pt x="3" y="726"/>
                    <a:pt x="2" y="744"/>
                  </a:cubicBezTo>
                  <a:cubicBezTo>
                    <a:pt x="1" y="751"/>
                    <a:pt x="6" y="756"/>
                    <a:pt x="13" y="757"/>
                  </a:cubicBezTo>
                  <a:cubicBezTo>
                    <a:pt x="19" y="757"/>
                    <a:pt x="25" y="752"/>
                    <a:pt x="25" y="746"/>
                  </a:cubicBezTo>
                  <a:close/>
                  <a:moveTo>
                    <a:pt x="25" y="849"/>
                  </a:moveTo>
                  <a:cubicBezTo>
                    <a:pt x="24" y="832"/>
                    <a:pt x="24" y="815"/>
                    <a:pt x="24" y="797"/>
                  </a:cubicBezTo>
                  <a:cubicBezTo>
                    <a:pt x="24" y="791"/>
                    <a:pt x="18" y="785"/>
                    <a:pt x="12" y="785"/>
                  </a:cubicBezTo>
                  <a:cubicBezTo>
                    <a:pt x="5" y="785"/>
                    <a:pt x="0" y="791"/>
                    <a:pt x="0" y="797"/>
                  </a:cubicBezTo>
                  <a:cubicBezTo>
                    <a:pt x="0" y="815"/>
                    <a:pt x="1" y="833"/>
                    <a:pt x="2" y="850"/>
                  </a:cubicBezTo>
                  <a:cubicBezTo>
                    <a:pt x="2" y="857"/>
                    <a:pt x="8" y="862"/>
                    <a:pt x="14" y="861"/>
                  </a:cubicBezTo>
                  <a:cubicBezTo>
                    <a:pt x="21" y="861"/>
                    <a:pt x="26" y="855"/>
                    <a:pt x="25" y="849"/>
                  </a:cubicBezTo>
                  <a:close/>
                  <a:moveTo>
                    <a:pt x="39" y="951"/>
                  </a:moveTo>
                  <a:cubicBezTo>
                    <a:pt x="36" y="934"/>
                    <a:pt x="33" y="917"/>
                    <a:pt x="31" y="900"/>
                  </a:cubicBezTo>
                  <a:cubicBezTo>
                    <a:pt x="30" y="894"/>
                    <a:pt x="24" y="889"/>
                    <a:pt x="17" y="890"/>
                  </a:cubicBezTo>
                  <a:cubicBezTo>
                    <a:pt x="11" y="891"/>
                    <a:pt x="6" y="897"/>
                    <a:pt x="7" y="903"/>
                  </a:cubicBezTo>
                  <a:cubicBezTo>
                    <a:pt x="10" y="921"/>
                    <a:pt x="13" y="938"/>
                    <a:pt x="16" y="956"/>
                  </a:cubicBezTo>
                  <a:cubicBezTo>
                    <a:pt x="17" y="962"/>
                    <a:pt x="24" y="966"/>
                    <a:pt x="30" y="965"/>
                  </a:cubicBezTo>
                  <a:cubicBezTo>
                    <a:pt x="36" y="964"/>
                    <a:pt x="40" y="957"/>
                    <a:pt x="39" y="951"/>
                  </a:cubicBezTo>
                  <a:close/>
                  <a:moveTo>
                    <a:pt x="66" y="1051"/>
                  </a:moveTo>
                  <a:cubicBezTo>
                    <a:pt x="61" y="1034"/>
                    <a:pt x="56" y="1018"/>
                    <a:pt x="51" y="1001"/>
                  </a:cubicBezTo>
                  <a:cubicBezTo>
                    <a:pt x="49" y="995"/>
                    <a:pt x="43" y="991"/>
                    <a:pt x="37" y="993"/>
                  </a:cubicBezTo>
                  <a:cubicBezTo>
                    <a:pt x="30" y="995"/>
                    <a:pt x="27" y="1001"/>
                    <a:pt x="28" y="1008"/>
                  </a:cubicBezTo>
                  <a:cubicBezTo>
                    <a:pt x="33" y="1025"/>
                    <a:pt x="38" y="1042"/>
                    <a:pt x="44" y="1058"/>
                  </a:cubicBezTo>
                  <a:cubicBezTo>
                    <a:pt x="46" y="1064"/>
                    <a:pt x="53" y="1068"/>
                    <a:pt x="59" y="1066"/>
                  </a:cubicBezTo>
                  <a:cubicBezTo>
                    <a:pt x="65" y="1063"/>
                    <a:pt x="69" y="1057"/>
                    <a:pt x="66" y="1051"/>
                  </a:cubicBezTo>
                  <a:close/>
                  <a:moveTo>
                    <a:pt x="107" y="1145"/>
                  </a:moveTo>
                  <a:cubicBezTo>
                    <a:pt x="99" y="1130"/>
                    <a:pt x="92" y="1115"/>
                    <a:pt x="85" y="1099"/>
                  </a:cubicBezTo>
                  <a:cubicBezTo>
                    <a:pt x="82" y="1093"/>
                    <a:pt x="76" y="1090"/>
                    <a:pt x="70" y="1092"/>
                  </a:cubicBezTo>
                  <a:cubicBezTo>
                    <a:pt x="64" y="1095"/>
                    <a:pt x="61" y="1102"/>
                    <a:pt x="63" y="1108"/>
                  </a:cubicBezTo>
                  <a:cubicBezTo>
                    <a:pt x="70" y="1124"/>
                    <a:pt x="78" y="1140"/>
                    <a:pt x="86" y="1156"/>
                  </a:cubicBezTo>
                  <a:cubicBezTo>
                    <a:pt x="89" y="1162"/>
                    <a:pt x="96" y="1164"/>
                    <a:pt x="102" y="1161"/>
                  </a:cubicBezTo>
                  <a:cubicBezTo>
                    <a:pt x="107" y="1158"/>
                    <a:pt x="110" y="1151"/>
                    <a:pt x="107" y="1145"/>
                  </a:cubicBezTo>
                  <a:close/>
                  <a:moveTo>
                    <a:pt x="159" y="1234"/>
                  </a:moveTo>
                  <a:cubicBezTo>
                    <a:pt x="150" y="1220"/>
                    <a:pt x="140" y="1205"/>
                    <a:pt x="132" y="1191"/>
                  </a:cubicBezTo>
                  <a:cubicBezTo>
                    <a:pt x="128" y="1185"/>
                    <a:pt x="121" y="1183"/>
                    <a:pt x="116" y="1187"/>
                  </a:cubicBezTo>
                  <a:cubicBezTo>
                    <a:pt x="110" y="1190"/>
                    <a:pt x="108" y="1197"/>
                    <a:pt x="111" y="1203"/>
                  </a:cubicBezTo>
                  <a:cubicBezTo>
                    <a:pt x="121" y="1218"/>
                    <a:pt x="130" y="1233"/>
                    <a:pt x="140" y="1247"/>
                  </a:cubicBezTo>
                  <a:cubicBezTo>
                    <a:pt x="144" y="1253"/>
                    <a:pt x="151" y="1254"/>
                    <a:pt x="156" y="1250"/>
                  </a:cubicBezTo>
                  <a:cubicBezTo>
                    <a:pt x="162" y="1247"/>
                    <a:pt x="163" y="1239"/>
                    <a:pt x="159" y="1234"/>
                  </a:cubicBezTo>
                  <a:close/>
                  <a:moveTo>
                    <a:pt x="224" y="1315"/>
                  </a:moveTo>
                  <a:cubicBezTo>
                    <a:pt x="212" y="1302"/>
                    <a:pt x="201" y="1289"/>
                    <a:pt x="190" y="1276"/>
                  </a:cubicBezTo>
                  <a:cubicBezTo>
                    <a:pt x="186" y="1271"/>
                    <a:pt x="179" y="1270"/>
                    <a:pt x="174" y="1274"/>
                  </a:cubicBezTo>
                  <a:cubicBezTo>
                    <a:pt x="169" y="1278"/>
                    <a:pt x="168" y="1285"/>
                    <a:pt x="172" y="1290"/>
                  </a:cubicBezTo>
                  <a:cubicBezTo>
                    <a:pt x="183" y="1304"/>
                    <a:pt x="194" y="1318"/>
                    <a:pt x="206" y="1331"/>
                  </a:cubicBezTo>
                  <a:cubicBezTo>
                    <a:pt x="210" y="1336"/>
                    <a:pt x="218" y="1336"/>
                    <a:pt x="223" y="1332"/>
                  </a:cubicBezTo>
                  <a:cubicBezTo>
                    <a:pt x="228" y="1327"/>
                    <a:pt x="228" y="1320"/>
                    <a:pt x="224" y="1315"/>
                  </a:cubicBezTo>
                  <a:close/>
                  <a:moveTo>
                    <a:pt x="298" y="1387"/>
                  </a:moveTo>
                  <a:cubicBezTo>
                    <a:pt x="285" y="1376"/>
                    <a:pt x="272" y="1364"/>
                    <a:pt x="259" y="1352"/>
                  </a:cubicBezTo>
                  <a:cubicBezTo>
                    <a:pt x="255" y="1348"/>
                    <a:pt x="247" y="1348"/>
                    <a:pt x="243" y="1352"/>
                  </a:cubicBezTo>
                  <a:cubicBezTo>
                    <a:pt x="238" y="1357"/>
                    <a:pt x="238" y="1364"/>
                    <a:pt x="243" y="1369"/>
                  </a:cubicBezTo>
                  <a:cubicBezTo>
                    <a:pt x="256" y="1381"/>
                    <a:pt x="269" y="1393"/>
                    <a:pt x="283" y="1405"/>
                  </a:cubicBezTo>
                  <a:cubicBezTo>
                    <a:pt x="288" y="1409"/>
                    <a:pt x="295" y="1408"/>
                    <a:pt x="299" y="1403"/>
                  </a:cubicBezTo>
                  <a:cubicBezTo>
                    <a:pt x="303" y="1398"/>
                    <a:pt x="303" y="1391"/>
                    <a:pt x="298" y="1387"/>
                  </a:cubicBezTo>
                  <a:close/>
                  <a:moveTo>
                    <a:pt x="381" y="1448"/>
                  </a:moveTo>
                  <a:cubicBezTo>
                    <a:pt x="366" y="1439"/>
                    <a:pt x="352" y="1429"/>
                    <a:pt x="338" y="1419"/>
                  </a:cubicBezTo>
                  <a:cubicBezTo>
                    <a:pt x="333" y="1415"/>
                    <a:pt x="326" y="1416"/>
                    <a:pt x="322" y="1421"/>
                  </a:cubicBezTo>
                  <a:cubicBezTo>
                    <a:pt x="318" y="1426"/>
                    <a:pt x="319" y="1434"/>
                    <a:pt x="324" y="1438"/>
                  </a:cubicBezTo>
                  <a:cubicBezTo>
                    <a:pt x="339" y="1448"/>
                    <a:pt x="353" y="1458"/>
                    <a:pt x="368" y="1468"/>
                  </a:cubicBezTo>
                  <a:cubicBezTo>
                    <a:pt x="374" y="1471"/>
                    <a:pt x="381" y="1470"/>
                    <a:pt x="384" y="1464"/>
                  </a:cubicBezTo>
                  <a:cubicBezTo>
                    <a:pt x="388" y="1459"/>
                    <a:pt x="386" y="1452"/>
                    <a:pt x="381" y="1448"/>
                  </a:cubicBezTo>
                  <a:close/>
                  <a:moveTo>
                    <a:pt x="471" y="1498"/>
                  </a:moveTo>
                  <a:cubicBezTo>
                    <a:pt x="456" y="1490"/>
                    <a:pt x="440" y="1483"/>
                    <a:pt x="425" y="1474"/>
                  </a:cubicBezTo>
                  <a:cubicBezTo>
                    <a:pt x="420" y="1471"/>
                    <a:pt x="413" y="1473"/>
                    <a:pt x="409" y="1479"/>
                  </a:cubicBezTo>
                  <a:cubicBezTo>
                    <a:pt x="406" y="1485"/>
                    <a:pt x="408" y="1492"/>
                    <a:pt x="414" y="1495"/>
                  </a:cubicBezTo>
                  <a:cubicBezTo>
                    <a:pt x="430" y="1504"/>
                    <a:pt x="445" y="1512"/>
                    <a:pt x="462" y="1519"/>
                  </a:cubicBezTo>
                  <a:cubicBezTo>
                    <a:pt x="467" y="1522"/>
                    <a:pt x="474" y="1519"/>
                    <a:pt x="477" y="1513"/>
                  </a:cubicBezTo>
                  <a:cubicBezTo>
                    <a:pt x="480" y="1507"/>
                    <a:pt x="477" y="1500"/>
                    <a:pt x="471" y="1498"/>
                  </a:cubicBezTo>
                  <a:close/>
                  <a:moveTo>
                    <a:pt x="568" y="1535"/>
                  </a:moveTo>
                  <a:cubicBezTo>
                    <a:pt x="551" y="1530"/>
                    <a:pt x="535" y="1524"/>
                    <a:pt x="519" y="1518"/>
                  </a:cubicBezTo>
                  <a:cubicBezTo>
                    <a:pt x="513" y="1516"/>
                    <a:pt x="506" y="1519"/>
                    <a:pt x="504" y="1525"/>
                  </a:cubicBezTo>
                  <a:cubicBezTo>
                    <a:pt x="502" y="1531"/>
                    <a:pt x="505" y="1537"/>
                    <a:pt x="511" y="1540"/>
                  </a:cubicBezTo>
                  <a:cubicBezTo>
                    <a:pt x="527" y="1546"/>
                    <a:pt x="544" y="1552"/>
                    <a:pt x="561" y="1557"/>
                  </a:cubicBezTo>
                  <a:cubicBezTo>
                    <a:pt x="567" y="1559"/>
                    <a:pt x="574" y="1556"/>
                    <a:pt x="576" y="1549"/>
                  </a:cubicBezTo>
                  <a:cubicBezTo>
                    <a:pt x="578" y="1543"/>
                    <a:pt x="574" y="1537"/>
                    <a:pt x="568" y="1535"/>
                  </a:cubicBezTo>
                  <a:close/>
                  <a:moveTo>
                    <a:pt x="668" y="1559"/>
                  </a:moveTo>
                  <a:cubicBezTo>
                    <a:pt x="651" y="1556"/>
                    <a:pt x="634" y="1552"/>
                    <a:pt x="618" y="1548"/>
                  </a:cubicBezTo>
                  <a:cubicBezTo>
                    <a:pt x="611" y="1547"/>
                    <a:pt x="605" y="1551"/>
                    <a:pt x="604" y="1557"/>
                  </a:cubicBezTo>
                  <a:cubicBezTo>
                    <a:pt x="602" y="1563"/>
                    <a:pt x="606" y="1570"/>
                    <a:pt x="612" y="1571"/>
                  </a:cubicBezTo>
                  <a:cubicBezTo>
                    <a:pt x="630" y="1575"/>
                    <a:pt x="647" y="1579"/>
                    <a:pt x="665" y="1582"/>
                  </a:cubicBezTo>
                  <a:cubicBezTo>
                    <a:pt x="671" y="1583"/>
                    <a:pt x="677" y="1578"/>
                    <a:pt x="678" y="1572"/>
                  </a:cubicBezTo>
                  <a:cubicBezTo>
                    <a:pt x="679" y="1566"/>
                    <a:pt x="675" y="1560"/>
                    <a:pt x="668" y="1559"/>
                  </a:cubicBezTo>
                  <a:close/>
                  <a:moveTo>
                    <a:pt x="771" y="1569"/>
                  </a:moveTo>
                  <a:cubicBezTo>
                    <a:pt x="754" y="1568"/>
                    <a:pt x="737" y="1567"/>
                    <a:pt x="720" y="1565"/>
                  </a:cubicBezTo>
                  <a:cubicBezTo>
                    <a:pt x="713" y="1565"/>
                    <a:pt x="707" y="1569"/>
                    <a:pt x="707" y="1576"/>
                  </a:cubicBezTo>
                  <a:cubicBezTo>
                    <a:pt x="706" y="1582"/>
                    <a:pt x="711" y="1588"/>
                    <a:pt x="717" y="1589"/>
                  </a:cubicBezTo>
                  <a:cubicBezTo>
                    <a:pt x="735" y="1590"/>
                    <a:pt x="752" y="1592"/>
                    <a:pt x="770" y="1592"/>
                  </a:cubicBezTo>
                  <a:cubicBezTo>
                    <a:pt x="777" y="1592"/>
                    <a:pt x="782" y="1587"/>
                    <a:pt x="782" y="1581"/>
                  </a:cubicBezTo>
                  <a:cubicBezTo>
                    <a:pt x="783" y="1574"/>
                    <a:pt x="778" y="1569"/>
                    <a:pt x="771" y="1569"/>
                  </a:cubicBezTo>
                  <a:close/>
                  <a:moveTo>
                    <a:pt x="874" y="1565"/>
                  </a:moveTo>
                  <a:cubicBezTo>
                    <a:pt x="857" y="1567"/>
                    <a:pt x="840" y="1568"/>
                    <a:pt x="823" y="1569"/>
                  </a:cubicBezTo>
                  <a:cubicBezTo>
                    <a:pt x="816" y="1569"/>
                    <a:pt x="811" y="1574"/>
                    <a:pt x="811" y="1581"/>
                  </a:cubicBezTo>
                  <a:cubicBezTo>
                    <a:pt x="812" y="1587"/>
                    <a:pt x="817" y="1592"/>
                    <a:pt x="824" y="1592"/>
                  </a:cubicBezTo>
                  <a:cubicBezTo>
                    <a:pt x="841" y="1592"/>
                    <a:pt x="859" y="1590"/>
                    <a:pt x="877" y="1589"/>
                  </a:cubicBezTo>
                  <a:cubicBezTo>
                    <a:pt x="883" y="1588"/>
                    <a:pt x="888" y="1582"/>
                    <a:pt x="887" y="1576"/>
                  </a:cubicBezTo>
                  <a:cubicBezTo>
                    <a:pt x="886" y="1569"/>
                    <a:pt x="881" y="1565"/>
                    <a:pt x="874" y="1565"/>
                  </a:cubicBezTo>
                  <a:close/>
                  <a:moveTo>
                    <a:pt x="976" y="1548"/>
                  </a:moveTo>
                  <a:cubicBezTo>
                    <a:pt x="959" y="1552"/>
                    <a:pt x="942" y="1556"/>
                    <a:pt x="925" y="1558"/>
                  </a:cubicBezTo>
                  <a:cubicBezTo>
                    <a:pt x="919" y="1559"/>
                    <a:pt x="915" y="1566"/>
                    <a:pt x="916" y="1572"/>
                  </a:cubicBezTo>
                  <a:cubicBezTo>
                    <a:pt x="917" y="1578"/>
                    <a:pt x="923" y="1583"/>
                    <a:pt x="929" y="1582"/>
                  </a:cubicBezTo>
                  <a:cubicBezTo>
                    <a:pt x="947" y="1579"/>
                    <a:pt x="964" y="1575"/>
                    <a:pt x="981" y="1571"/>
                  </a:cubicBezTo>
                  <a:cubicBezTo>
                    <a:pt x="988" y="1570"/>
                    <a:pt x="992" y="1563"/>
                    <a:pt x="990" y="1557"/>
                  </a:cubicBezTo>
                  <a:cubicBezTo>
                    <a:pt x="989" y="1551"/>
                    <a:pt x="982" y="1547"/>
                    <a:pt x="976" y="1548"/>
                  </a:cubicBezTo>
                  <a:close/>
                  <a:moveTo>
                    <a:pt x="1075" y="1518"/>
                  </a:moveTo>
                  <a:cubicBezTo>
                    <a:pt x="1059" y="1524"/>
                    <a:pt x="1042" y="1529"/>
                    <a:pt x="1026" y="1535"/>
                  </a:cubicBezTo>
                  <a:cubicBezTo>
                    <a:pt x="1020" y="1536"/>
                    <a:pt x="1016" y="1543"/>
                    <a:pt x="1018" y="1549"/>
                  </a:cubicBezTo>
                  <a:cubicBezTo>
                    <a:pt x="1020" y="1555"/>
                    <a:pt x="1027" y="1559"/>
                    <a:pt x="1033" y="1557"/>
                  </a:cubicBezTo>
                  <a:cubicBezTo>
                    <a:pt x="1050" y="1552"/>
                    <a:pt x="1067" y="1546"/>
                    <a:pt x="1083" y="1539"/>
                  </a:cubicBezTo>
                  <a:cubicBezTo>
                    <a:pt x="1089" y="1537"/>
                    <a:pt x="1092" y="1530"/>
                    <a:pt x="1090" y="1524"/>
                  </a:cubicBezTo>
                  <a:cubicBezTo>
                    <a:pt x="1087" y="1518"/>
                    <a:pt x="1081" y="1515"/>
                    <a:pt x="1075" y="1518"/>
                  </a:cubicBezTo>
                  <a:close/>
                  <a:moveTo>
                    <a:pt x="1168" y="1474"/>
                  </a:moveTo>
                  <a:cubicBezTo>
                    <a:pt x="1153" y="1482"/>
                    <a:pt x="1138" y="1490"/>
                    <a:pt x="1122" y="1497"/>
                  </a:cubicBezTo>
                  <a:cubicBezTo>
                    <a:pt x="1116" y="1500"/>
                    <a:pt x="1114" y="1507"/>
                    <a:pt x="1116" y="1513"/>
                  </a:cubicBezTo>
                  <a:cubicBezTo>
                    <a:pt x="1119" y="1519"/>
                    <a:pt x="1126" y="1521"/>
                    <a:pt x="1132" y="1519"/>
                  </a:cubicBezTo>
                  <a:cubicBezTo>
                    <a:pt x="1148" y="1511"/>
                    <a:pt x="1164" y="1503"/>
                    <a:pt x="1179" y="1495"/>
                  </a:cubicBezTo>
                  <a:cubicBezTo>
                    <a:pt x="1185" y="1492"/>
                    <a:pt x="1187" y="1484"/>
                    <a:pt x="1184" y="1479"/>
                  </a:cubicBezTo>
                  <a:cubicBezTo>
                    <a:pt x="1181" y="1473"/>
                    <a:pt x="1174" y="1471"/>
                    <a:pt x="1168" y="1474"/>
                  </a:cubicBezTo>
                  <a:close/>
                  <a:moveTo>
                    <a:pt x="1255" y="1418"/>
                  </a:moveTo>
                  <a:cubicBezTo>
                    <a:pt x="1241" y="1429"/>
                    <a:pt x="1227" y="1438"/>
                    <a:pt x="1212" y="1448"/>
                  </a:cubicBezTo>
                  <a:cubicBezTo>
                    <a:pt x="1207" y="1451"/>
                    <a:pt x="1205" y="1459"/>
                    <a:pt x="1209" y="1464"/>
                  </a:cubicBezTo>
                  <a:cubicBezTo>
                    <a:pt x="1212" y="1469"/>
                    <a:pt x="1220" y="1471"/>
                    <a:pt x="1225" y="1468"/>
                  </a:cubicBezTo>
                  <a:cubicBezTo>
                    <a:pt x="1240" y="1458"/>
                    <a:pt x="1255" y="1448"/>
                    <a:pt x="1269" y="1437"/>
                  </a:cubicBezTo>
                  <a:cubicBezTo>
                    <a:pt x="1274" y="1434"/>
                    <a:pt x="1275" y="1426"/>
                    <a:pt x="1271" y="1421"/>
                  </a:cubicBezTo>
                  <a:cubicBezTo>
                    <a:pt x="1268" y="1416"/>
                    <a:pt x="1260" y="1415"/>
                    <a:pt x="1255" y="1418"/>
                  </a:cubicBezTo>
                  <a:close/>
                  <a:moveTo>
                    <a:pt x="1334" y="1352"/>
                  </a:moveTo>
                  <a:cubicBezTo>
                    <a:pt x="1321" y="1364"/>
                    <a:pt x="1309" y="1375"/>
                    <a:pt x="1295" y="1386"/>
                  </a:cubicBezTo>
                  <a:cubicBezTo>
                    <a:pt x="1290" y="1391"/>
                    <a:pt x="1290" y="1398"/>
                    <a:pt x="1294" y="1403"/>
                  </a:cubicBezTo>
                  <a:cubicBezTo>
                    <a:pt x="1298" y="1408"/>
                    <a:pt x="1306" y="1409"/>
                    <a:pt x="1311" y="1404"/>
                  </a:cubicBezTo>
                  <a:cubicBezTo>
                    <a:pt x="1324" y="1393"/>
                    <a:pt x="1337" y="1381"/>
                    <a:pt x="1350" y="1369"/>
                  </a:cubicBezTo>
                  <a:cubicBezTo>
                    <a:pt x="1355" y="1364"/>
                    <a:pt x="1355" y="1357"/>
                    <a:pt x="1350" y="1352"/>
                  </a:cubicBezTo>
                  <a:cubicBezTo>
                    <a:pt x="1346" y="1347"/>
                    <a:pt x="1338" y="1347"/>
                    <a:pt x="1334" y="1352"/>
                  </a:cubicBezTo>
                  <a:close/>
                  <a:moveTo>
                    <a:pt x="1403" y="1275"/>
                  </a:moveTo>
                  <a:cubicBezTo>
                    <a:pt x="1392" y="1289"/>
                    <a:pt x="1381" y="1302"/>
                    <a:pt x="1370" y="1315"/>
                  </a:cubicBezTo>
                  <a:cubicBezTo>
                    <a:pt x="1365" y="1320"/>
                    <a:pt x="1366" y="1327"/>
                    <a:pt x="1370" y="1331"/>
                  </a:cubicBezTo>
                  <a:cubicBezTo>
                    <a:pt x="1375" y="1336"/>
                    <a:pt x="1383" y="1335"/>
                    <a:pt x="1387" y="1330"/>
                  </a:cubicBezTo>
                  <a:cubicBezTo>
                    <a:pt x="1399" y="1317"/>
                    <a:pt x="1410" y="1304"/>
                    <a:pt x="1421" y="1290"/>
                  </a:cubicBezTo>
                  <a:cubicBezTo>
                    <a:pt x="1425" y="1285"/>
                    <a:pt x="1425" y="1277"/>
                    <a:pt x="1420" y="1273"/>
                  </a:cubicBezTo>
                  <a:cubicBezTo>
                    <a:pt x="1414" y="1269"/>
                    <a:pt x="1407" y="1270"/>
                    <a:pt x="1403" y="1275"/>
                  </a:cubicBezTo>
                  <a:close/>
                  <a:moveTo>
                    <a:pt x="1462" y="1190"/>
                  </a:moveTo>
                  <a:cubicBezTo>
                    <a:pt x="1453" y="1205"/>
                    <a:pt x="1443" y="1220"/>
                    <a:pt x="1434" y="1234"/>
                  </a:cubicBezTo>
                  <a:cubicBezTo>
                    <a:pt x="1430" y="1239"/>
                    <a:pt x="1431" y="1246"/>
                    <a:pt x="1437" y="1250"/>
                  </a:cubicBezTo>
                  <a:cubicBezTo>
                    <a:pt x="1442" y="1254"/>
                    <a:pt x="1449" y="1252"/>
                    <a:pt x="1453" y="1247"/>
                  </a:cubicBezTo>
                  <a:cubicBezTo>
                    <a:pt x="1463" y="1232"/>
                    <a:pt x="1473" y="1217"/>
                    <a:pt x="1482" y="1202"/>
                  </a:cubicBezTo>
                  <a:cubicBezTo>
                    <a:pt x="1485" y="1197"/>
                    <a:pt x="1483" y="1189"/>
                    <a:pt x="1478" y="1186"/>
                  </a:cubicBezTo>
                  <a:cubicBezTo>
                    <a:pt x="1472" y="1183"/>
                    <a:pt x="1465" y="1185"/>
                    <a:pt x="1462" y="1190"/>
                  </a:cubicBezTo>
                  <a:close/>
                  <a:moveTo>
                    <a:pt x="1508" y="1098"/>
                  </a:moveTo>
                  <a:cubicBezTo>
                    <a:pt x="1501" y="1114"/>
                    <a:pt x="1494" y="1130"/>
                    <a:pt x="1486" y="1145"/>
                  </a:cubicBezTo>
                  <a:cubicBezTo>
                    <a:pt x="1483" y="1151"/>
                    <a:pt x="1486" y="1158"/>
                    <a:pt x="1492" y="1161"/>
                  </a:cubicBezTo>
                  <a:cubicBezTo>
                    <a:pt x="1497" y="1164"/>
                    <a:pt x="1504" y="1161"/>
                    <a:pt x="1507" y="1155"/>
                  </a:cubicBezTo>
                  <a:cubicBezTo>
                    <a:pt x="1515" y="1140"/>
                    <a:pt x="1523" y="1124"/>
                    <a:pt x="1530" y="1107"/>
                  </a:cubicBezTo>
                  <a:cubicBezTo>
                    <a:pt x="1532" y="1101"/>
                    <a:pt x="1530" y="1094"/>
                    <a:pt x="1524" y="1092"/>
                  </a:cubicBezTo>
                  <a:cubicBezTo>
                    <a:pt x="1518" y="1089"/>
                    <a:pt x="1511" y="1092"/>
                    <a:pt x="1508" y="1098"/>
                  </a:cubicBezTo>
                  <a:close/>
                  <a:moveTo>
                    <a:pt x="1542" y="1000"/>
                  </a:moveTo>
                  <a:cubicBezTo>
                    <a:pt x="1537" y="1017"/>
                    <a:pt x="1532" y="1034"/>
                    <a:pt x="1527" y="1050"/>
                  </a:cubicBezTo>
                  <a:cubicBezTo>
                    <a:pt x="1525" y="1056"/>
                    <a:pt x="1528" y="1063"/>
                    <a:pt x="1534" y="1065"/>
                  </a:cubicBezTo>
                  <a:cubicBezTo>
                    <a:pt x="1540" y="1067"/>
                    <a:pt x="1547" y="1064"/>
                    <a:pt x="1549" y="1057"/>
                  </a:cubicBezTo>
                  <a:cubicBezTo>
                    <a:pt x="1555" y="1041"/>
                    <a:pt x="1560" y="1024"/>
                    <a:pt x="1565" y="1007"/>
                  </a:cubicBezTo>
                  <a:cubicBezTo>
                    <a:pt x="1566" y="1000"/>
                    <a:pt x="1563" y="994"/>
                    <a:pt x="1556" y="992"/>
                  </a:cubicBezTo>
                  <a:cubicBezTo>
                    <a:pt x="1550" y="990"/>
                    <a:pt x="1544" y="994"/>
                    <a:pt x="1542" y="1000"/>
                  </a:cubicBezTo>
                  <a:close/>
                  <a:moveTo>
                    <a:pt x="1562" y="899"/>
                  </a:moveTo>
                  <a:cubicBezTo>
                    <a:pt x="1560" y="916"/>
                    <a:pt x="1557" y="933"/>
                    <a:pt x="1554" y="950"/>
                  </a:cubicBezTo>
                  <a:cubicBezTo>
                    <a:pt x="1553" y="957"/>
                    <a:pt x="1557" y="963"/>
                    <a:pt x="1563" y="964"/>
                  </a:cubicBezTo>
                  <a:cubicBezTo>
                    <a:pt x="1570" y="965"/>
                    <a:pt x="1576" y="961"/>
                    <a:pt x="1577" y="955"/>
                  </a:cubicBezTo>
                  <a:cubicBezTo>
                    <a:pt x="1580" y="938"/>
                    <a:pt x="1583" y="920"/>
                    <a:pt x="1586" y="902"/>
                  </a:cubicBezTo>
                  <a:cubicBezTo>
                    <a:pt x="1587" y="896"/>
                    <a:pt x="1582" y="890"/>
                    <a:pt x="1576" y="889"/>
                  </a:cubicBezTo>
                  <a:cubicBezTo>
                    <a:pt x="1569" y="888"/>
                    <a:pt x="1563" y="893"/>
                    <a:pt x="1562" y="899"/>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0" name="Freeform 62"/>
            <p:cNvSpPr>
              <a:spLocks noEditPoints="1"/>
            </p:cNvSpPr>
            <p:nvPr/>
          </p:nvSpPr>
          <p:spPr bwMode="auto">
            <a:xfrm>
              <a:off x="4687245" y="1956495"/>
              <a:ext cx="443628" cy="443628"/>
            </a:xfrm>
            <a:custGeom>
              <a:avLst/>
              <a:gdLst>
                <a:gd name="T0" fmla="*/ 146 w 293"/>
                <a:gd name="T1" fmla="*/ 20 h 293"/>
                <a:gd name="T2" fmla="*/ 160 w 293"/>
                <a:gd name="T3" fmla="*/ 21 h 293"/>
                <a:gd name="T4" fmla="*/ 167 w 293"/>
                <a:gd name="T5" fmla="*/ 0 h 293"/>
                <a:gd name="T6" fmla="*/ 211 w 293"/>
                <a:gd name="T7" fmla="*/ 13 h 293"/>
                <a:gd name="T8" fmla="*/ 204 w 293"/>
                <a:gd name="T9" fmla="*/ 34 h 293"/>
                <a:gd name="T10" fmla="*/ 245 w 293"/>
                <a:gd name="T11" fmla="*/ 67 h 293"/>
                <a:gd name="T12" fmla="*/ 264 w 293"/>
                <a:gd name="T13" fmla="*/ 57 h 293"/>
                <a:gd name="T14" fmla="*/ 286 w 293"/>
                <a:gd name="T15" fmla="*/ 98 h 293"/>
                <a:gd name="T16" fmla="*/ 267 w 293"/>
                <a:gd name="T17" fmla="*/ 108 h 293"/>
                <a:gd name="T18" fmla="*/ 272 w 293"/>
                <a:gd name="T19" fmla="*/ 160 h 293"/>
                <a:gd name="T20" fmla="*/ 293 w 293"/>
                <a:gd name="T21" fmla="*/ 167 h 293"/>
                <a:gd name="T22" fmla="*/ 279 w 293"/>
                <a:gd name="T23" fmla="*/ 211 h 293"/>
                <a:gd name="T24" fmla="*/ 258 w 293"/>
                <a:gd name="T25" fmla="*/ 204 h 293"/>
                <a:gd name="T26" fmla="*/ 225 w 293"/>
                <a:gd name="T27" fmla="*/ 245 h 293"/>
                <a:gd name="T28" fmla="*/ 235 w 293"/>
                <a:gd name="T29" fmla="*/ 264 h 293"/>
                <a:gd name="T30" fmla="*/ 195 w 293"/>
                <a:gd name="T31" fmla="*/ 286 h 293"/>
                <a:gd name="T32" fmla="*/ 184 w 293"/>
                <a:gd name="T33" fmla="*/ 267 h 293"/>
                <a:gd name="T34" fmla="*/ 146 w 293"/>
                <a:gd name="T35" fmla="*/ 272 h 293"/>
                <a:gd name="T36" fmla="*/ 146 w 293"/>
                <a:gd name="T37" fmla="*/ 239 h 293"/>
                <a:gd name="T38" fmla="*/ 235 w 293"/>
                <a:gd name="T39" fmla="*/ 173 h 293"/>
                <a:gd name="T40" fmla="*/ 173 w 293"/>
                <a:gd name="T41" fmla="*/ 57 h 293"/>
                <a:gd name="T42" fmla="*/ 146 w 293"/>
                <a:gd name="T43" fmla="*/ 53 h 293"/>
                <a:gd name="T44" fmla="*/ 146 w 293"/>
                <a:gd name="T45" fmla="*/ 20 h 293"/>
                <a:gd name="T46" fmla="*/ 67 w 293"/>
                <a:gd name="T47" fmla="*/ 48 h 293"/>
                <a:gd name="T48" fmla="*/ 57 w 293"/>
                <a:gd name="T49" fmla="*/ 28 h 293"/>
                <a:gd name="T50" fmla="*/ 98 w 293"/>
                <a:gd name="T51" fmla="*/ 7 h 293"/>
                <a:gd name="T52" fmla="*/ 108 w 293"/>
                <a:gd name="T53" fmla="*/ 26 h 293"/>
                <a:gd name="T54" fmla="*/ 146 w 293"/>
                <a:gd name="T55" fmla="*/ 20 h 293"/>
                <a:gd name="T56" fmla="*/ 146 w 293"/>
                <a:gd name="T57" fmla="*/ 53 h 293"/>
                <a:gd name="T58" fmla="*/ 57 w 293"/>
                <a:gd name="T59" fmla="*/ 119 h 293"/>
                <a:gd name="T60" fmla="*/ 119 w 293"/>
                <a:gd name="T61" fmla="*/ 235 h 293"/>
                <a:gd name="T62" fmla="*/ 146 w 293"/>
                <a:gd name="T63" fmla="*/ 239 h 293"/>
                <a:gd name="T64" fmla="*/ 146 w 293"/>
                <a:gd name="T65" fmla="*/ 272 h 293"/>
                <a:gd name="T66" fmla="*/ 132 w 293"/>
                <a:gd name="T67" fmla="*/ 272 h 293"/>
                <a:gd name="T68" fmla="*/ 126 w 293"/>
                <a:gd name="T69" fmla="*/ 293 h 293"/>
                <a:gd name="T70" fmla="*/ 82 w 293"/>
                <a:gd name="T71" fmla="*/ 279 h 293"/>
                <a:gd name="T72" fmla="*/ 88 w 293"/>
                <a:gd name="T73" fmla="*/ 258 h 293"/>
                <a:gd name="T74" fmla="*/ 48 w 293"/>
                <a:gd name="T75" fmla="*/ 225 h 293"/>
                <a:gd name="T76" fmla="*/ 28 w 293"/>
                <a:gd name="T77" fmla="*/ 235 h 293"/>
                <a:gd name="T78" fmla="*/ 7 w 293"/>
                <a:gd name="T79" fmla="*/ 195 h 293"/>
                <a:gd name="T80" fmla="*/ 26 w 293"/>
                <a:gd name="T81" fmla="*/ 184 h 293"/>
                <a:gd name="T82" fmla="*/ 21 w 293"/>
                <a:gd name="T83" fmla="*/ 132 h 293"/>
                <a:gd name="T84" fmla="*/ 0 w 293"/>
                <a:gd name="T85" fmla="*/ 126 h 293"/>
                <a:gd name="T86" fmla="*/ 13 w 293"/>
                <a:gd name="T87" fmla="*/ 82 h 293"/>
                <a:gd name="T88" fmla="*/ 34 w 293"/>
                <a:gd name="T89" fmla="*/ 88 h 293"/>
                <a:gd name="T90" fmla="*/ 67 w 293"/>
                <a:gd name="T91" fmla="*/ 4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3">
                  <a:moveTo>
                    <a:pt x="146" y="20"/>
                  </a:moveTo>
                  <a:cubicBezTo>
                    <a:pt x="151" y="20"/>
                    <a:pt x="156" y="20"/>
                    <a:pt x="160" y="21"/>
                  </a:cubicBezTo>
                  <a:cubicBezTo>
                    <a:pt x="167" y="0"/>
                    <a:pt x="167" y="0"/>
                    <a:pt x="167" y="0"/>
                  </a:cubicBezTo>
                  <a:cubicBezTo>
                    <a:pt x="211" y="13"/>
                    <a:pt x="211" y="13"/>
                    <a:pt x="211" y="13"/>
                  </a:cubicBezTo>
                  <a:cubicBezTo>
                    <a:pt x="204" y="34"/>
                    <a:pt x="204" y="34"/>
                    <a:pt x="204" y="34"/>
                  </a:cubicBezTo>
                  <a:cubicBezTo>
                    <a:pt x="220" y="42"/>
                    <a:pt x="234" y="54"/>
                    <a:pt x="245" y="67"/>
                  </a:cubicBezTo>
                  <a:cubicBezTo>
                    <a:pt x="264" y="57"/>
                    <a:pt x="264" y="57"/>
                    <a:pt x="264" y="57"/>
                  </a:cubicBezTo>
                  <a:cubicBezTo>
                    <a:pt x="286" y="98"/>
                    <a:pt x="286" y="98"/>
                    <a:pt x="286" y="98"/>
                  </a:cubicBezTo>
                  <a:cubicBezTo>
                    <a:pt x="267" y="108"/>
                    <a:pt x="267" y="108"/>
                    <a:pt x="267" y="108"/>
                  </a:cubicBezTo>
                  <a:cubicBezTo>
                    <a:pt x="272" y="125"/>
                    <a:pt x="274" y="142"/>
                    <a:pt x="272" y="160"/>
                  </a:cubicBezTo>
                  <a:cubicBezTo>
                    <a:pt x="293" y="167"/>
                    <a:pt x="293" y="167"/>
                    <a:pt x="293" y="167"/>
                  </a:cubicBezTo>
                  <a:cubicBezTo>
                    <a:pt x="279" y="211"/>
                    <a:pt x="279" y="211"/>
                    <a:pt x="279" y="211"/>
                  </a:cubicBezTo>
                  <a:cubicBezTo>
                    <a:pt x="258" y="204"/>
                    <a:pt x="258" y="204"/>
                    <a:pt x="258" y="204"/>
                  </a:cubicBezTo>
                  <a:cubicBezTo>
                    <a:pt x="250" y="220"/>
                    <a:pt x="239" y="234"/>
                    <a:pt x="225" y="245"/>
                  </a:cubicBezTo>
                  <a:cubicBezTo>
                    <a:pt x="235" y="264"/>
                    <a:pt x="235" y="264"/>
                    <a:pt x="235" y="264"/>
                  </a:cubicBezTo>
                  <a:cubicBezTo>
                    <a:pt x="195" y="286"/>
                    <a:pt x="195" y="286"/>
                    <a:pt x="195" y="286"/>
                  </a:cubicBezTo>
                  <a:cubicBezTo>
                    <a:pt x="184" y="267"/>
                    <a:pt x="184" y="267"/>
                    <a:pt x="184" y="267"/>
                  </a:cubicBezTo>
                  <a:cubicBezTo>
                    <a:pt x="172" y="270"/>
                    <a:pt x="159" y="272"/>
                    <a:pt x="146" y="272"/>
                  </a:cubicBezTo>
                  <a:cubicBezTo>
                    <a:pt x="146" y="239"/>
                    <a:pt x="146" y="239"/>
                    <a:pt x="146" y="239"/>
                  </a:cubicBezTo>
                  <a:cubicBezTo>
                    <a:pt x="186" y="239"/>
                    <a:pt x="223" y="214"/>
                    <a:pt x="235" y="173"/>
                  </a:cubicBezTo>
                  <a:cubicBezTo>
                    <a:pt x="250" y="124"/>
                    <a:pt x="223" y="72"/>
                    <a:pt x="173" y="57"/>
                  </a:cubicBezTo>
                  <a:cubicBezTo>
                    <a:pt x="164" y="54"/>
                    <a:pt x="155" y="53"/>
                    <a:pt x="146" y="53"/>
                  </a:cubicBezTo>
                  <a:lnTo>
                    <a:pt x="146" y="20"/>
                  </a:lnTo>
                  <a:close/>
                  <a:moveTo>
                    <a:pt x="67" y="48"/>
                  </a:moveTo>
                  <a:cubicBezTo>
                    <a:pt x="57" y="28"/>
                    <a:pt x="57" y="28"/>
                    <a:pt x="57" y="28"/>
                  </a:cubicBezTo>
                  <a:cubicBezTo>
                    <a:pt x="98" y="7"/>
                    <a:pt x="98" y="7"/>
                    <a:pt x="98" y="7"/>
                  </a:cubicBezTo>
                  <a:cubicBezTo>
                    <a:pt x="108" y="26"/>
                    <a:pt x="108" y="26"/>
                    <a:pt x="108" y="26"/>
                  </a:cubicBezTo>
                  <a:cubicBezTo>
                    <a:pt x="120" y="22"/>
                    <a:pt x="133" y="20"/>
                    <a:pt x="146" y="20"/>
                  </a:cubicBezTo>
                  <a:cubicBezTo>
                    <a:pt x="146" y="53"/>
                    <a:pt x="146" y="53"/>
                    <a:pt x="146" y="53"/>
                  </a:cubicBezTo>
                  <a:cubicBezTo>
                    <a:pt x="106" y="53"/>
                    <a:pt x="69" y="79"/>
                    <a:pt x="57" y="119"/>
                  </a:cubicBezTo>
                  <a:cubicBezTo>
                    <a:pt x="42" y="168"/>
                    <a:pt x="70" y="220"/>
                    <a:pt x="119" y="235"/>
                  </a:cubicBezTo>
                  <a:cubicBezTo>
                    <a:pt x="128" y="238"/>
                    <a:pt x="137" y="239"/>
                    <a:pt x="146" y="239"/>
                  </a:cubicBezTo>
                  <a:cubicBezTo>
                    <a:pt x="146" y="272"/>
                    <a:pt x="146" y="272"/>
                    <a:pt x="146" y="272"/>
                  </a:cubicBezTo>
                  <a:cubicBezTo>
                    <a:pt x="142" y="272"/>
                    <a:pt x="137" y="272"/>
                    <a:pt x="132" y="272"/>
                  </a:cubicBezTo>
                  <a:cubicBezTo>
                    <a:pt x="126" y="293"/>
                    <a:pt x="126" y="293"/>
                    <a:pt x="126" y="293"/>
                  </a:cubicBezTo>
                  <a:cubicBezTo>
                    <a:pt x="82" y="279"/>
                    <a:pt x="82" y="279"/>
                    <a:pt x="82" y="279"/>
                  </a:cubicBezTo>
                  <a:cubicBezTo>
                    <a:pt x="88" y="258"/>
                    <a:pt x="88" y="258"/>
                    <a:pt x="88" y="258"/>
                  </a:cubicBezTo>
                  <a:cubicBezTo>
                    <a:pt x="72" y="250"/>
                    <a:pt x="58" y="239"/>
                    <a:pt x="48" y="225"/>
                  </a:cubicBezTo>
                  <a:cubicBezTo>
                    <a:pt x="28" y="235"/>
                    <a:pt x="28" y="235"/>
                    <a:pt x="28" y="235"/>
                  </a:cubicBezTo>
                  <a:cubicBezTo>
                    <a:pt x="7" y="195"/>
                    <a:pt x="7" y="195"/>
                    <a:pt x="7" y="195"/>
                  </a:cubicBezTo>
                  <a:cubicBezTo>
                    <a:pt x="26" y="184"/>
                    <a:pt x="26" y="184"/>
                    <a:pt x="26" y="184"/>
                  </a:cubicBezTo>
                  <a:cubicBezTo>
                    <a:pt x="21" y="168"/>
                    <a:pt x="19" y="150"/>
                    <a:pt x="21" y="132"/>
                  </a:cubicBezTo>
                  <a:cubicBezTo>
                    <a:pt x="0" y="126"/>
                    <a:pt x="0" y="126"/>
                    <a:pt x="0" y="126"/>
                  </a:cubicBezTo>
                  <a:cubicBezTo>
                    <a:pt x="13" y="82"/>
                    <a:pt x="13" y="82"/>
                    <a:pt x="13" y="82"/>
                  </a:cubicBezTo>
                  <a:cubicBezTo>
                    <a:pt x="34" y="88"/>
                    <a:pt x="34" y="88"/>
                    <a:pt x="34" y="88"/>
                  </a:cubicBezTo>
                  <a:cubicBezTo>
                    <a:pt x="42" y="72"/>
                    <a:pt x="54" y="58"/>
                    <a:pt x="67" y="48"/>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1" name="Freeform 63"/>
            <p:cNvSpPr>
              <a:spLocks noEditPoints="1"/>
            </p:cNvSpPr>
            <p:nvPr/>
          </p:nvSpPr>
          <p:spPr bwMode="auto">
            <a:xfrm>
              <a:off x="7122147" y="2305499"/>
              <a:ext cx="281922" cy="281922"/>
            </a:xfrm>
            <a:custGeom>
              <a:avLst/>
              <a:gdLst>
                <a:gd name="T0" fmla="*/ 93 w 186"/>
                <a:gd name="T1" fmla="*/ 12 h 186"/>
                <a:gd name="T2" fmla="*/ 102 w 186"/>
                <a:gd name="T3" fmla="*/ 13 h 186"/>
                <a:gd name="T4" fmla="*/ 106 w 186"/>
                <a:gd name="T5" fmla="*/ 0 h 186"/>
                <a:gd name="T6" fmla="*/ 134 w 186"/>
                <a:gd name="T7" fmla="*/ 8 h 186"/>
                <a:gd name="T8" fmla="*/ 130 w 186"/>
                <a:gd name="T9" fmla="*/ 21 h 186"/>
                <a:gd name="T10" fmla="*/ 156 w 186"/>
                <a:gd name="T11" fmla="*/ 43 h 186"/>
                <a:gd name="T12" fmla="*/ 168 w 186"/>
                <a:gd name="T13" fmla="*/ 36 h 186"/>
                <a:gd name="T14" fmla="*/ 182 w 186"/>
                <a:gd name="T15" fmla="*/ 62 h 186"/>
                <a:gd name="T16" fmla="*/ 170 w 186"/>
                <a:gd name="T17" fmla="*/ 68 h 186"/>
                <a:gd name="T18" fmla="*/ 173 w 186"/>
                <a:gd name="T19" fmla="*/ 102 h 186"/>
                <a:gd name="T20" fmla="*/ 186 w 186"/>
                <a:gd name="T21" fmla="*/ 106 h 186"/>
                <a:gd name="T22" fmla="*/ 178 w 186"/>
                <a:gd name="T23" fmla="*/ 134 h 186"/>
                <a:gd name="T24" fmla="*/ 164 w 186"/>
                <a:gd name="T25" fmla="*/ 130 h 186"/>
                <a:gd name="T26" fmla="*/ 143 w 186"/>
                <a:gd name="T27" fmla="*/ 155 h 186"/>
                <a:gd name="T28" fmla="*/ 150 w 186"/>
                <a:gd name="T29" fmla="*/ 168 h 186"/>
                <a:gd name="T30" fmla="*/ 124 w 186"/>
                <a:gd name="T31" fmla="*/ 181 h 186"/>
                <a:gd name="T32" fmla="*/ 117 w 186"/>
                <a:gd name="T33" fmla="*/ 169 h 186"/>
                <a:gd name="T34" fmla="*/ 93 w 186"/>
                <a:gd name="T35" fmla="*/ 173 h 186"/>
                <a:gd name="T36" fmla="*/ 93 w 186"/>
                <a:gd name="T37" fmla="*/ 152 h 186"/>
                <a:gd name="T38" fmla="*/ 150 w 186"/>
                <a:gd name="T39" fmla="*/ 110 h 186"/>
                <a:gd name="T40" fmla="*/ 110 w 186"/>
                <a:gd name="T41" fmla="*/ 36 h 186"/>
                <a:gd name="T42" fmla="*/ 93 w 186"/>
                <a:gd name="T43" fmla="*/ 33 h 186"/>
                <a:gd name="T44" fmla="*/ 93 w 186"/>
                <a:gd name="T45" fmla="*/ 12 h 186"/>
                <a:gd name="T46" fmla="*/ 43 w 186"/>
                <a:gd name="T47" fmla="*/ 30 h 186"/>
                <a:gd name="T48" fmla="*/ 37 w 186"/>
                <a:gd name="T49" fmla="*/ 18 h 186"/>
                <a:gd name="T50" fmla="*/ 62 w 186"/>
                <a:gd name="T51" fmla="*/ 4 h 186"/>
                <a:gd name="T52" fmla="*/ 69 w 186"/>
                <a:gd name="T53" fmla="*/ 16 h 186"/>
                <a:gd name="T54" fmla="*/ 93 w 186"/>
                <a:gd name="T55" fmla="*/ 12 h 186"/>
                <a:gd name="T56" fmla="*/ 93 w 186"/>
                <a:gd name="T57" fmla="*/ 33 h 186"/>
                <a:gd name="T58" fmla="*/ 36 w 186"/>
                <a:gd name="T59" fmla="*/ 75 h 186"/>
                <a:gd name="T60" fmla="*/ 76 w 186"/>
                <a:gd name="T61" fmla="*/ 149 h 186"/>
                <a:gd name="T62" fmla="*/ 93 w 186"/>
                <a:gd name="T63" fmla="*/ 152 h 186"/>
                <a:gd name="T64" fmla="*/ 93 w 186"/>
                <a:gd name="T65" fmla="*/ 173 h 186"/>
                <a:gd name="T66" fmla="*/ 84 w 186"/>
                <a:gd name="T67" fmla="*/ 172 h 186"/>
                <a:gd name="T68" fmla="*/ 80 w 186"/>
                <a:gd name="T69" fmla="*/ 186 h 186"/>
                <a:gd name="T70" fmla="*/ 52 w 186"/>
                <a:gd name="T71" fmla="*/ 177 h 186"/>
                <a:gd name="T72" fmla="*/ 56 w 186"/>
                <a:gd name="T73" fmla="*/ 164 h 186"/>
                <a:gd name="T74" fmla="*/ 30 w 186"/>
                <a:gd name="T75" fmla="*/ 143 h 186"/>
                <a:gd name="T76" fmla="*/ 18 w 186"/>
                <a:gd name="T77" fmla="*/ 149 h 186"/>
                <a:gd name="T78" fmla="*/ 4 w 186"/>
                <a:gd name="T79" fmla="*/ 123 h 186"/>
                <a:gd name="T80" fmla="*/ 17 w 186"/>
                <a:gd name="T81" fmla="*/ 117 h 186"/>
                <a:gd name="T82" fmla="*/ 13 w 186"/>
                <a:gd name="T83" fmla="*/ 84 h 186"/>
                <a:gd name="T84" fmla="*/ 0 w 186"/>
                <a:gd name="T85" fmla="*/ 80 h 186"/>
                <a:gd name="T86" fmla="*/ 9 w 186"/>
                <a:gd name="T87" fmla="*/ 52 h 186"/>
                <a:gd name="T88" fmla="*/ 22 w 186"/>
                <a:gd name="T89" fmla="*/ 56 h 186"/>
                <a:gd name="T90" fmla="*/ 43 w 186"/>
                <a:gd name="T91" fmla="*/ 3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186">
                  <a:moveTo>
                    <a:pt x="93" y="12"/>
                  </a:moveTo>
                  <a:cubicBezTo>
                    <a:pt x="96" y="12"/>
                    <a:pt x="99" y="13"/>
                    <a:pt x="102" y="13"/>
                  </a:cubicBezTo>
                  <a:cubicBezTo>
                    <a:pt x="106" y="0"/>
                    <a:pt x="106" y="0"/>
                    <a:pt x="106" y="0"/>
                  </a:cubicBezTo>
                  <a:cubicBezTo>
                    <a:pt x="134" y="8"/>
                    <a:pt x="134" y="8"/>
                    <a:pt x="134" y="8"/>
                  </a:cubicBezTo>
                  <a:cubicBezTo>
                    <a:pt x="130" y="21"/>
                    <a:pt x="130" y="21"/>
                    <a:pt x="130" y="21"/>
                  </a:cubicBezTo>
                  <a:cubicBezTo>
                    <a:pt x="140" y="27"/>
                    <a:pt x="149" y="34"/>
                    <a:pt x="156" y="43"/>
                  </a:cubicBezTo>
                  <a:cubicBezTo>
                    <a:pt x="168" y="36"/>
                    <a:pt x="168" y="36"/>
                    <a:pt x="168" y="36"/>
                  </a:cubicBezTo>
                  <a:cubicBezTo>
                    <a:pt x="182" y="62"/>
                    <a:pt x="182" y="62"/>
                    <a:pt x="182" y="62"/>
                  </a:cubicBezTo>
                  <a:cubicBezTo>
                    <a:pt x="170" y="68"/>
                    <a:pt x="170" y="68"/>
                    <a:pt x="170" y="68"/>
                  </a:cubicBezTo>
                  <a:cubicBezTo>
                    <a:pt x="173" y="79"/>
                    <a:pt x="174" y="90"/>
                    <a:pt x="173" y="102"/>
                  </a:cubicBezTo>
                  <a:cubicBezTo>
                    <a:pt x="186" y="106"/>
                    <a:pt x="186" y="106"/>
                    <a:pt x="186" y="106"/>
                  </a:cubicBezTo>
                  <a:cubicBezTo>
                    <a:pt x="178" y="134"/>
                    <a:pt x="178" y="134"/>
                    <a:pt x="178" y="134"/>
                  </a:cubicBezTo>
                  <a:cubicBezTo>
                    <a:pt x="164" y="130"/>
                    <a:pt x="164" y="130"/>
                    <a:pt x="164" y="130"/>
                  </a:cubicBezTo>
                  <a:cubicBezTo>
                    <a:pt x="159" y="140"/>
                    <a:pt x="152" y="148"/>
                    <a:pt x="143" y="155"/>
                  </a:cubicBezTo>
                  <a:cubicBezTo>
                    <a:pt x="150" y="168"/>
                    <a:pt x="150" y="168"/>
                    <a:pt x="150" y="168"/>
                  </a:cubicBezTo>
                  <a:cubicBezTo>
                    <a:pt x="124" y="181"/>
                    <a:pt x="124" y="181"/>
                    <a:pt x="124" y="181"/>
                  </a:cubicBezTo>
                  <a:cubicBezTo>
                    <a:pt x="117" y="169"/>
                    <a:pt x="117" y="169"/>
                    <a:pt x="117" y="169"/>
                  </a:cubicBezTo>
                  <a:cubicBezTo>
                    <a:pt x="110" y="172"/>
                    <a:pt x="101" y="173"/>
                    <a:pt x="93" y="173"/>
                  </a:cubicBezTo>
                  <a:cubicBezTo>
                    <a:pt x="93" y="152"/>
                    <a:pt x="93" y="152"/>
                    <a:pt x="93" y="152"/>
                  </a:cubicBezTo>
                  <a:cubicBezTo>
                    <a:pt x="119" y="152"/>
                    <a:pt x="142" y="135"/>
                    <a:pt x="150" y="110"/>
                  </a:cubicBezTo>
                  <a:cubicBezTo>
                    <a:pt x="159" y="79"/>
                    <a:pt x="142" y="45"/>
                    <a:pt x="110" y="36"/>
                  </a:cubicBezTo>
                  <a:cubicBezTo>
                    <a:pt x="105" y="34"/>
                    <a:pt x="99" y="33"/>
                    <a:pt x="93" y="33"/>
                  </a:cubicBezTo>
                  <a:lnTo>
                    <a:pt x="93" y="12"/>
                  </a:lnTo>
                  <a:close/>
                  <a:moveTo>
                    <a:pt x="43" y="30"/>
                  </a:moveTo>
                  <a:cubicBezTo>
                    <a:pt x="37" y="18"/>
                    <a:pt x="37" y="18"/>
                    <a:pt x="37" y="18"/>
                  </a:cubicBezTo>
                  <a:cubicBezTo>
                    <a:pt x="62" y="4"/>
                    <a:pt x="62" y="4"/>
                    <a:pt x="62" y="4"/>
                  </a:cubicBezTo>
                  <a:cubicBezTo>
                    <a:pt x="69" y="16"/>
                    <a:pt x="69" y="16"/>
                    <a:pt x="69" y="16"/>
                  </a:cubicBezTo>
                  <a:cubicBezTo>
                    <a:pt x="77" y="14"/>
                    <a:pt x="85" y="12"/>
                    <a:pt x="93" y="12"/>
                  </a:cubicBezTo>
                  <a:cubicBezTo>
                    <a:pt x="93" y="33"/>
                    <a:pt x="93" y="33"/>
                    <a:pt x="93" y="33"/>
                  </a:cubicBezTo>
                  <a:cubicBezTo>
                    <a:pt x="68" y="33"/>
                    <a:pt x="44" y="50"/>
                    <a:pt x="36" y="75"/>
                  </a:cubicBezTo>
                  <a:cubicBezTo>
                    <a:pt x="27" y="107"/>
                    <a:pt x="45" y="140"/>
                    <a:pt x="76" y="149"/>
                  </a:cubicBezTo>
                  <a:cubicBezTo>
                    <a:pt x="82" y="151"/>
                    <a:pt x="87" y="152"/>
                    <a:pt x="93" y="152"/>
                  </a:cubicBezTo>
                  <a:cubicBezTo>
                    <a:pt x="93" y="173"/>
                    <a:pt x="93" y="173"/>
                    <a:pt x="93" y="173"/>
                  </a:cubicBezTo>
                  <a:cubicBezTo>
                    <a:pt x="90" y="173"/>
                    <a:pt x="87" y="173"/>
                    <a:pt x="84" y="172"/>
                  </a:cubicBezTo>
                  <a:cubicBezTo>
                    <a:pt x="80" y="186"/>
                    <a:pt x="80" y="186"/>
                    <a:pt x="80" y="186"/>
                  </a:cubicBezTo>
                  <a:cubicBezTo>
                    <a:pt x="52" y="177"/>
                    <a:pt x="52" y="177"/>
                    <a:pt x="52" y="177"/>
                  </a:cubicBezTo>
                  <a:cubicBezTo>
                    <a:pt x="56" y="164"/>
                    <a:pt x="56" y="164"/>
                    <a:pt x="56" y="164"/>
                  </a:cubicBezTo>
                  <a:cubicBezTo>
                    <a:pt x="46" y="159"/>
                    <a:pt x="37" y="151"/>
                    <a:pt x="30" y="143"/>
                  </a:cubicBezTo>
                  <a:cubicBezTo>
                    <a:pt x="18" y="149"/>
                    <a:pt x="18" y="149"/>
                    <a:pt x="18" y="149"/>
                  </a:cubicBezTo>
                  <a:cubicBezTo>
                    <a:pt x="4" y="123"/>
                    <a:pt x="4" y="123"/>
                    <a:pt x="4" y="123"/>
                  </a:cubicBezTo>
                  <a:cubicBezTo>
                    <a:pt x="17" y="117"/>
                    <a:pt x="17" y="117"/>
                    <a:pt x="17" y="117"/>
                  </a:cubicBezTo>
                  <a:cubicBezTo>
                    <a:pt x="13" y="106"/>
                    <a:pt x="12" y="95"/>
                    <a:pt x="13" y="84"/>
                  </a:cubicBezTo>
                  <a:cubicBezTo>
                    <a:pt x="0" y="80"/>
                    <a:pt x="0" y="80"/>
                    <a:pt x="0" y="80"/>
                  </a:cubicBezTo>
                  <a:cubicBezTo>
                    <a:pt x="9" y="52"/>
                    <a:pt x="9" y="52"/>
                    <a:pt x="9" y="52"/>
                  </a:cubicBezTo>
                  <a:cubicBezTo>
                    <a:pt x="22" y="56"/>
                    <a:pt x="22" y="56"/>
                    <a:pt x="22" y="56"/>
                  </a:cubicBezTo>
                  <a:cubicBezTo>
                    <a:pt x="27" y="46"/>
                    <a:pt x="34" y="37"/>
                    <a:pt x="43" y="30"/>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2" name="Freeform 64"/>
            <p:cNvSpPr>
              <a:spLocks noEditPoints="1"/>
            </p:cNvSpPr>
            <p:nvPr/>
          </p:nvSpPr>
          <p:spPr bwMode="auto">
            <a:xfrm>
              <a:off x="5937276" y="2153635"/>
              <a:ext cx="301071" cy="303199"/>
            </a:xfrm>
            <a:custGeom>
              <a:avLst/>
              <a:gdLst>
                <a:gd name="T0" fmla="*/ 100 w 199"/>
                <a:gd name="T1" fmla="*/ 14 h 200"/>
                <a:gd name="T2" fmla="*/ 109 w 199"/>
                <a:gd name="T3" fmla="*/ 14 h 200"/>
                <a:gd name="T4" fmla="*/ 114 w 199"/>
                <a:gd name="T5" fmla="*/ 0 h 200"/>
                <a:gd name="T6" fmla="*/ 144 w 199"/>
                <a:gd name="T7" fmla="*/ 9 h 200"/>
                <a:gd name="T8" fmla="*/ 139 w 199"/>
                <a:gd name="T9" fmla="*/ 24 h 200"/>
                <a:gd name="T10" fmla="*/ 167 w 199"/>
                <a:gd name="T11" fmla="*/ 46 h 200"/>
                <a:gd name="T12" fmla="*/ 180 w 199"/>
                <a:gd name="T13" fmla="*/ 39 h 200"/>
                <a:gd name="T14" fmla="*/ 195 w 199"/>
                <a:gd name="T15" fmla="*/ 67 h 200"/>
                <a:gd name="T16" fmla="*/ 182 w 199"/>
                <a:gd name="T17" fmla="*/ 74 h 200"/>
                <a:gd name="T18" fmla="*/ 185 w 199"/>
                <a:gd name="T19" fmla="*/ 110 h 200"/>
                <a:gd name="T20" fmla="*/ 199 w 199"/>
                <a:gd name="T21" fmla="*/ 114 h 200"/>
                <a:gd name="T22" fmla="*/ 190 w 199"/>
                <a:gd name="T23" fmla="*/ 144 h 200"/>
                <a:gd name="T24" fmla="*/ 176 w 199"/>
                <a:gd name="T25" fmla="*/ 140 h 200"/>
                <a:gd name="T26" fmla="*/ 153 w 199"/>
                <a:gd name="T27" fmla="*/ 167 h 200"/>
                <a:gd name="T28" fmla="*/ 160 w 199"/>
                <a:gd name="T29" fmla="*/ 180 h 200"/>
                <a:gd name="T30" fmla="*/ 133 w 199"/>
                <a:gd name="T31" fmla="*/ 195 h 200"/>
                <a:gd name="T32" fmla="*/ 126 w 199"/>
                <a:gd name="T33" fmla="*/ 182 h 200"/>
                <a:gd name="T34" fmla="*/ 100 w 199"/>
                <a:gd name="T35" fmla="*/ 186 h 200"/>
                <a:gd name="T36" fmla="*/ 100 w 199"/>
                <a:gd name="T37" fmla="*/ 163 h 200"/>
                <a:gd name="T38" fmla="*/ 161 w 199"/>
                <a:gd name="T39" fmla="*/ 118 h 200"/>
                <a:gd name="T40" fmla="*/ 118 w 199"/>
                <a:gd name="T41" fmla="*/ 39 h 200"/>
                <a:gd name="T42" fmla="*/ 100 w 199"/>
                <a:gd name="T43" fmla="*/ 36 h 200"/>
                <a:gd name="T44" fmla="*/ 100 w 199"/>
                <a:gd name="T45" fmla="*/ 14 h 200"/>
                <a:gd name="T46" fmla="*/ 46 w 199"/>
                <a:gd name="T47" fmla="*/ 33 h 200"/>
                <a:gd name="T48" fmla="*/ 39 w 199"/>
                <a:gd name="T49" fmla="*/ 20 h 200"/>
                <a:gd name="T50" fmla="*/ 67 w 199"/>
                <a:gd name="T51" fmla="*/ 5 h 200"/>
                <a:gd name="T52" fmla="*/ 74 w 199"/>
                <a:gd name="T53" fmla="*/ 18 h 200"/>
                <a:gd name="T54" fmla="*/ 100 w 199"/>
                <a:gd name="T55" fmla="*/ 14 h 200"/>
                <a:gd name="T56" fmla="*/ 100 w 199"/>
                <a:gd name="T57" fmla="*/ 36 h 200"/>
                <a:gd name="T58" fmla="*/ 39 w 199"/>
                <a:gd name="T59" fmla="*/ 81 h 200"/>
                <a:gd name="T60" fmla="*/ 81 w 199"/>
                <a:gd name="T61" fmla="*/ 161 h 200"/>
                <a:gd name="T62" fmla="*/ 100 w 199"/>
                <a:gd name="T63" fmla="*/ 163 h 200"/>
                <a:gd name="T64" fmla="*/ 100 w 199"/>
                <a:gd name="T65" fmla="*/ 186 h 200"/>
                <a:gd name="T66" fmla="*/ 90 w 199"/>
                <a:gd name="T67" fmla="*/ 185 h 200"/>
                <a:gd name="T68" fmla="*/ 86 w 199"/>
                <a:gd name="T69" fmla="*/ 200 h 200"/>
                <a:gd name="T70" fmla="*/ 56 w 199"/>
                <a:gd name="T71" fmla="*/ 191 h 200"/>
                <a:gd name="T72" fmla="*/ 60 w 199"/>
                <a:gd name="T73" fmla="*/ 176 h 200"/>
                <a:gd name="T74" fmla="*/ 33 w 199"/>
                <a:gd name="T75" fmla="*/ 154 h 200"/>
                <a:gd name="T76" fmla="*/ 19 w 199"/>
                <a:gd name="T77" fmla="*/ 161 h 200"/>
                <a:gd name="T78" fmla="*/ 5 w 199"/>
                <a:gd name="T79" fmla="*/ 133 h 200"/>
                <a:gd name="T80" fmla="*/ 18 w 199"/>
                <a:gd name="T81" fmla="*/ 126 h 200"/>
                <a:gd name="T82" fmla="*/ 14 w 199"/>
                <a:gd name="T83" fmla="*/ 90 h 200"/>
                <a:gd name="T84" fmla="*/ 0 w 199"/>
                <a:gd name="T85" fmla="*/ 86 h 200"/>
                <a:gd name="T86" fmla="*/ 9 w 199"/>
                <a:gd name="T87" fmla="*/ 56 h 200"/>
                <a:gd name="T88" fmla="*/ 23 w 199"/>
                <a:gd name="T89" fmla="*/ 60 h 200"/>
                <a:gd name="T90" fmla="*/ 46 w 199"/>
                <a:gd name="T91" fmla="*/ 3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00">
                  <a:moveTo>
                    <a:pt x="100" y="14"/>
                  </a:moveTo>
                  <a:cubicBezTo>
                    <a:pt x="103" y="14"/>
                    <a:pt x="106" y="14"/>
                    <a:pt x="109" y="14"/>
                  </a:cubicBezTo>
                  <a:cubicBezTo>
                    <a:pt x="114" y="0"/>
                    <a:pt x="114" y="0"/>
                    <a:pt x="114" y="0"/>
                  </a:cubicBezTo>
                  <a:cubicBezTo>
                    <a:pt x="144" y="9"/>
                    <a:pt x="144" y="9"/>
                    <a:pt x="144" y="9"/>
                  </a:cubicBezTo>
                  <a:cubicBezTo>
                    <a:pt x="139" y="24"/>
                    <a:pt x="139" y="24"/>
                    <a:pt x="139" y="24"/>
                  </a:cubicBezTo>
                  <a:cubicBezTo>
                    <a:pt x="150" y="29"/>
                    <a:pt x="160" y="37"/>
                    <a:pt x="167" y="46"/>
                  </a:cubicBezTo>
                  <a:cubicBezTo>
                    <a:pt x="180" y="39"/>
                    <a:pt x="180" y="39"/>
                    <a:pt x="180" y="39"/>
                  </a:cubicBezTo>
                  <a:cubicBezTo>
                    <a:pt x="195" y="67"/>
                    <a:pt x="195" y="67"/>
                    <a:pt x="195" y="67"/>
                  </a:cubicBezTo>
                  <a:cubicBezTo>
                    <a:pt x="182" y="74"/>
                    <a:pt x="182" y="74"/>
                    <a:pt x="182" y="74"/>
                  </a:cubicBezTo>
                  <a:cubicBezTo>
                    <a:pt x="185" y="85"/>
                    <a:pt x="187" y="97"/>
                    <a:pt x="185" y="110"/>
                  </a:cubicBezTo>
                  <a:cubicBezTo>
                    <a:pt x="199" y="114"/>
                    <a:pt x="199" y="114"/>
                    <a:pt x="199" y="114"/>
                  </a:cubicBezTo>
                  <a:cubicBezTo>
                    <a:pt x="190" y="144"/>
                    <a:pt x="190" y="144"/>
                    <a:pt x="190" y="144"/>
                  </a:cubicBezTo>
                  <a:cubicBezTo>
                    <a:pt x="176" y="140"/>
                    <a:pt x="176" y="140"/>
                    <a:pt x="176" y="140"/>
                  </a:cubicBezTo>
                  <a:cubicBezTo>
                    <a:pt x="170" y="150"/>
                    <a:pt x="163" y="160"/>
                    <a:pt x="153" y="167"/>
                  </a:cubicBezTo>
                  <a:cubicBezTo>
                    <a:pt x="160" y="180"/>
                    <a:pt x="160" y="180"/>
                    <a:pt x="160" y="180"/>
                  </a:cubicBezTo>
                  <a:cubicBezTo>
                    <a:pt x="133" y="195"/>
                    <a:pt x="133" y="195"/>
                    <a:pt x="133" y="195"/>
                  </a:cubicBezTo>
                  <a:cubicBezTo>
                    <a:pt x="126" y="182"/>
                    <a:pt x="126" y="182"/>
                    <a:pt x="126" y="182"/>
                  </a:cubicBezTo>
                  <a:cubicBezTo>
                    <a:pt x="117" y="185"/>
                    <a:pt x="109" y="186"/>
                    <a:pt x="100" y="186"/>
                  </a:cubicBezTo>
                  <a:cubicBezTo>
                    <a:pt x="100" y="163"/>
                    <a:pt x="100" y="163"/>
                    <a:pt x="100" y="163"/>
                  </a:cubicBezTo>
                  <a:cubicBezTo>
                    <a:pt x="127" y="163"/>
                    <a:pt x="152" y="146"/>
                    <a:pt x="161" y="118"/>
                  </a:cubicBezTo>
                  <a:cubicBezTo>
                    <a:pt x="171" y="85"/>
                    <a:pt x="152" y="49"/>
                    <a:pt x="118" y="39"/>
                  </a:cubicBezTo>
                  <a:cubicBezTo>
                    <a:pt x="112" y="37"/>
                    <a:pt x="106" y="36"/>
                    <a:pt x="100" y="36"/>
                  </a:cubicBezTo>
                  <a:lnTo>
                    <a:pt x="100" y="14"/>
                  </a:lnTo>
                  <a:close/>
                  <a:moveTo>
                    <a:pt x="46" y="33"/>
                  </a:moveTo>
                  <a:cubicBezTo>
                    <a:pt x="39" y="20"/>
                    <a:pt x="39" y="20"/>
                    <a:pt x="39" y="20"/>
                  </a:cubicBezTo>
                  <a:cubicBezTo>
                    <a:pt x="67" y="5"/>
                    <a:pt x="67" y="5"/>
                    <a:pt x="67" y="5"/>
                  </a:cubicBezTo>
                  <a:cubicBezTo>
                    <a:pt x="74" y="18"/>
                    <a:pt x="74" y="18"/>
                    <a:pt x="74" y="18"/>
                  </a:cubicBezTo>
                  <a:cubicBezTo>
                    <a:pt x="82" y="15"/>
                    <a:pt x="91" y="14"/>
                    <a:pt x="100" y="14"/>
                  </a:cubicBezTo>
                  <a:cubicBezTo>
                    <a:pt x="100" y="36"/>
                    <a:pt x="100" y="36"/>
                    <a:pt x="100" y="36"/>
                  </a:cubicBezTo>
                  <a:cubicBezTo>
                    <a:pt x="73" y="36"/>
                    <a:pt x="47" y="54"/>
                    <a:pt x="39" y="81"/>
                  </a:cubicBezTo>
                  <a:cubicBezTo>
                    <a:pt x="29" y="115"/>
                    <a:pt x="48" y="150"/>
                    <a:pt x="81" y="161"/>
                  </a:cubicBezTo>
                  <a:cubicBezTo>
                    <a:pt x="87" y="163"/>
                    <a:pt x="94" y="163"/>
                    <a:pt x="100" y="163"/>
                  </a:cubicBezTo>
                  <a:cubicBezTo>
                    <a:pt x="100" y="186"/>
                    <a:pt x="100" y="186"/>
                    <a:pt x="100" y="186"/>
                  </a:cubicBezTo>
                  <a:cubicBezTo>
                    <a:pt x="97" y="186"/>
                    <a:pt x="93" y="186"/>
                    <a:pt x="90" y="185"/>
                  </a:cubicBezTo>
                  <a:cubicBezTo>
                    <a:pt x="86" y="200"/>
                    <a:pt x="86" y="200"/>
                    <a:pt x="86" y="200"/>
                  </a:cubicBezTo>
                  <a:cubicBezTo>
                    <a:pt x="56" y="191"/>
                    <a:pt x="56" y="191"/>
                    <a:pt x="56" y="191"/>
                  </a:cubicBezTo>
                  <a:cubicBezTo>
                    <a:pt x="60" y="176"/>
                    <a:pt x="60" y="176"/>
                    <a:pt x="60" y="176"/>
                  </a:cubicBezTo>
                  <a:cubicBezTo>
                    <a:pt x="49" y="171"/>
                    <a:pt x="40" y="163"/>
                    <a:pt x="33" y="154"/>
                  </a:cubicBezTo>
                  <a:cubicBezTo>
                    <a:pt x="19" y="161"/>
                    <a:pt x="19" y="161"/>
                    <a:pt x="19" y="161"/>
                  </a:cubicBezTo>
                  <a:cubicBezTo>
                    <a:pt x="5" y="133"/>
                    <a:pt x="5" y="133"/>
                    <a:pt x="5" y="133"/>
                  </a:cubicBezTo>
                  <a:cubicBezTo>
                    <a:pt x="18" y="126"/>
                    <a:pt x="18" y="126"/>
                    <a:pt x="18" y="126"/>
                  </a:cubicBezTo>
                  <a:cubicBezTo>
                    <a:pt x="14" y="115"/>
                    <a:pt x="13" y="103"/>
                    <a:pt x="14" y="90"/>
                  </a:cubicBezTo>
                  <a:cubicBezTo>
                    <a:pt x="0" y="86"/>
                    <a:pt x="0" y="86"/>
                    <a:pt x="0" y="86"/>
                  </a:cubicBezTo>
                  <a:cubicBezTo>
                    <a:pt x="9" y="56"/>
                    <a:pt x="9" y="56"/>
                    <a:pt x="9" y="56"/>
                  </a:cubicBezTo>
                  <a:cubicBezTo>
                    <a:pt x="23" y="60"/>
                    <a:pt x="23" y="60"/>
                    <a:pt x="23" y="60"/>
                  </a:cubicBezTo>
                  <a:cubicBezTo>
                    <a:pt x="29" y="49"/>
                    <a:pt x="37" y="40"/>
                    <a:pt x="46" y="33"/>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3" name="Freeform 65"/>
            <p:cNvSpPr>
              <a:spLocks noEditPoints="1"/>
            </p:cNvSpPr>
            <p:nvPr/>
          </p:nvSpPr>
          <p:spPr bwMode="auto">
            <a:xfrm>
              <a:off x="4793631" y="3986946"/>
              <a:ext cx="230857" cy="230857"/>
            </a:xfrm>
            <a:custGeom>
              <a:avLst/>
              <a:gdLst>
                <a:gd name="T0" fmla="*/ 134 w 153"/>
                <a:gd name="T1" fmla="*/ 106 h 152"/>
                <a:gd name="T2" fmla="*/ 143 w 153"/>
                <a:gd name="T3" fmla="*/ 114 h 152"/>
                <a:gd name="T4" fmla="*/ 125 w 153"/>
                <a:gd name="T5" fmla="*/ 135 h 152"/>
                <a:gd name="T6" fmla="*/ 116 w 153"/>
                <a:gd name="T7" fmla="*/ 128 h 152"/>
                <a:gd name="T8" fmla="*/ 96 w 153"/>
                <a:gd name="T9" fmla="*/ 139 h 152"/>
                <a:gd name="T10" fmla="*/ 97 w 153"/>
                <a:gd name="T11" fmla="*/ 150 h 152"/>
                <a:gd name="T12" fmla="*/ 76 w 153"/>
                <a:gd name="T13" fmla="*/ 152 h 152"/>
                <a:gd name="T14" fmla="*/ 76 w 153"/>
                <a:gd name="T15" fmla="*/ 120 h 152"/>
                <a:gd name="T16" fmla="*/ 110 w 153"/>
                <a:gd name="T17" fmla="*/ 104 h 152"/>
                <a:gd name="T18" fmla="*/ 105 w 153"/>
                <a:gd name="T19" fmla="*/ 43 h 152"/>
                <a:gd name="T20" fmla="*/ 89 w 153"/>
                <a:gd name="T21" fmla="*/ 34 h 152"/>
                <a:gd name="T22" fmla="*/ 76 w 153"/>
                <a:gd name="T23" fmla="*/ 32 h 152"/>
                <a:gd name="T24" fmla="*/ 76 w 153"/>
                <a:gd name="T25" fmla="*/ 1 h 152"/>
                <a:gd name="T26" fmla="*/ 84 w 153"/>
                <a:gd name="T27" fmla="*/ 0 h 152"/>
                <a:gd name="T28" fmla="*/ 85 w 153"/>
                <a:gd name="T29" fmla="*/ 11 h 152"/>
                <a:gd name="T30" fmla="*/ 107 w 153"/>
                <a:gd name="T31" fmla="*/ 18 h 152"/>
                <a:gd name="T32" fmla="*/ 114 w 153"/>
                <a:gd name="T33" fmla="*/ 9 h 152"/>
                <a:gd name="T34" fmla="*/ 136 w 153"/>
                <a:gd name="T35" fmla="*/ 27 h 152"/>
                <a:gd name="T36" fmla="*/ 128 w 153"/>
                <a:gd name="T37" fmla="*/ 36 h 152"/>
                <a:gd name="T38" fmla="*/ 139 w 153"/>
                <a:gd name="T39" fmla="*/ 57 h 152"/>
                <a:gd name="T40" fmla="*/ 150 w 153"/>
                <a:gd name="T41" fmla="*/ 56 h 152"/>
                <a:gd name="T42" fmla="*/ 153 w 153"/>
                <a:gd name="T43" fmla="*/ 84 h 152"/>
                <a:gd name="T44" fmla="*/ 141 w 153"/>
                <a:gd name="T45" fmla="*/ 85 h 152"/>
                <a:gd name="T46" fmla="*/ 134 w 153"/>
                <a:gd name="T47" fmla="*/ 106 h 152"/>
                <a:gd name="T48" fmla="*/ 76 w 153"/>
                <a:gd name="T49" fmla="*/ 152 h 152"/>
                <a:gd name="T50" fmla="*/ 69 w 153"/>
                <a:gd name="T51" fmla="*/ 152 h 152"/>
                <a:gd name="T52" fmla="*/ 68 w 153"/>
                <a:gd name="T53" fmla="*/ 141 h 152"/>
                <a:gd name="T54" fmla="*/ 46 w 153"/>
                <a:gd name="T55" fmla="*/ 134 h 152"/>
                <a:gd name="T56" fmla="*/ 39 w 153"/>
                <a:gd name="T57" fmla="*/ 143 h 152"/>
                <a:gd name="T58" fmla="*/ 17 w 153"/>
                <a:gd name="T59" fmla="*/ 125 h 152"/>
                <a:gd name="T60" fmla="*/ 24 w 153"/>
                <a:gd name="T61" fmla="*/ 116 h 152"/>
                <a:gd name="T62" fmla="*/ 14 w 153"/>
                <a:gd name="T63" fmla="*/ 96 h 152"/>
                <a:gd name="T64" fmla="*/ 3 w 153"/>
                <a:gd name="T65" fmla="*/ 97 h 152"/>
                <a:gd name="T66" fmla="*/ 0 w 153"/>
                <a:gd name="T67" fmla="*/ 69 h 152"/>
                <a:gd name="T68" fmla="*/ 11 w 153"/>
                <a:gd name="T69" fmla="*/ 68 h 152"/>
                <a:gd name="T70" fmla="*/ 18 w 153"/>
                <a:gd name="T71" fmla="*/ 46 h 152"/>
                <a:gd name="T72" fmla="*/ 10 w 153"/>
                <a:gd name="T73" fmla="*/ 38 h 152"/>
                <a:gd name="T74" fmla="*/ 28 w 153"/>
                <a:gd name="T75" fmla="*/ 17 h 152"/>
                <a:gd name="T76" fmla="*/ 36 w 153"/>
                <a:gd name="T77" fmla="*/ 24 h 152"/>
                <a:gd name="T78" fmla="*/ 57 w 153"/>
                <a:gd name="T79" fmla="*/ 14 h 152"/>
                <a:gd name="T80" fmla="*/ 56 w 153"/>
                <a:gd name="T81" fmla="*/ 2 h 152"/>
                <a:gd name="T82" fmla="*/ 76 w 153"/>
                <a:gd name="T83" fmla="*/ 1 h 152"/>
                <a:gd name="T84" fmla="*/ 76 w 153"/>
                <a:gd name="T85" fmla="*/ 32 h 152"/>
                <a:gd name="T86" fmla="*/ 43 w 153"/>
                <a:gd name="T87" fmla="*/ 48 h 152"/>
                <a:gd name="T88" fmla="*/ 48 w 153"/>
                <a:gd name="T89" fmla="*/ 110 h 152"/>
                <a:gd name="T90" fmla="*/ 64 w 153"/>
                <a:gd name="T91" fmla="*/ 118 h 152"/>
                <a:gd name="T92" fmla="*/ 76 w 153"/>
                <a:gd name="T93" fmla="*/ 120 h 152"/>
                <a:gd name="T94" fmla="*/ 76 w 153"/>
                <a:gd name="T9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3" h="152">
                  <a:moveTo>
                    <a:pt x="134" y="106"/>
                  </a:moveTo>
                  <a:cubicBezTo>
                    <a:pt x="143" y="114"/>
                    <a:pt x="143" y="114"/>
                    <a:pt x="143" y="114"/>
                  </a:cubicBezTo>
                  <a:cubicBezTo>
                    <a:pt x="125" y="135"/>
                    <a:pt x="125" y="135"/>
                    <a:pt x="125" y="135"/>
                  </a:cubicBezTo>
                  <a:cubicBezTo>
                    <a:pt x="116" y="128"/>
                    <a:pt x="116" y="128"/>
                    <a:pt x="116" y="128"/>
                  </a:cubicBezTo>
                  <a:cubicBezTo>
                    <a:pt x="110" y="133"/>
                    <a:pt x="103" y="136"/>
                    <a:pt x="96" y="139"/>
                  </a:cubicBezTo>
                  <a:cubicBezTo>
                    <a:pt x="97" y="150"/>
                    <a:pt x="97" y="150"/>
                    <a:pt x="97" y="150"/>
                  </a:cubicBezTo>
                  <a:cubicBezTo>
                    <a:pt x="76" y="152"/>
                    <a:pt x="76" y="152"/>
                    <a:pt x="76" y="152"/>
                  </a:cubicBezTo>
                  <a:cubicBezTo>
                    <a:pt x="76" y="120"/>
                    <a:pt x="76" y="120"/>
                    <a:pt x="76" y="120"/>
                  </a:cubicBezTo>
                  <a:cubicBezTo>
                    <a:pt x="89" y="120"/>
                    <a:pt x="101" y="114"/>
                    <a:pt x="110" y="104"/>
                  </a:cubicBezTo>
                  <a:cubicBezTo>
                    <a:pt x="126" y="86"/>
                    <a:pt x="123" y="58"/>
                    <a:pt x="105" y="43"/>
                  </a:cubicBezTo>
                  <a:cubicBezTo>
                    <a:pt x="100" y="39"/>
                    <a:pt x="95" y="36"/>
                    <a:pt x="89" y="34"/>
                  </a:cubicBezTo>
                  <a:cubicBezTo>
                    <a:pt x="85" y="33"/>
                    <a:pt x="81" y="32"/>
                    <a:pt x="76" y="32"/>
                  </a:cubicBezTo>
                  <a:cubicBezTo>
                    <a:pt x="76" y="1"/>
                    <a:pt x="76" y="1"/>
                    <a:pt x="76" y="1"/>
                  </a:cubicBezTo>
                  <a:cubicBezTo>
                    <a:pt x="84" y="0"/>
                    <a:pt x="84" y="0"/>
                    <a:pt x="84" y="0"/>
                  </a:cubicBezTo>
                  <a:cubicBezTo>
                    <a:pt x="85" y="11"/>
                    <a:pt x="85" y="11"/>
                    <a:pt x="85" y="11"/>
                  </a:cubicBezTo>
                  <a:cubicBezTo>
                    <a:pt x="92" y="12"/>
                    <a:pt x="100" y="15"/>
                    <a:pt x="107" y="18"/>
                  </a:cubicBezTo>
                  <a:cubicBezTo>
                    <a:pt x="114" y="9"/>
                    <a:pt x="114" y="9"/>
                    <a:pt x="114" y="9"/>
                  </a:cubicBezTo>
                  <a:cubicBezTo>
                    <a:pt x="136" y="27"/>
                    <a:pt x="136" y="27"/>
                    <a:pt x="136" y="27"/>
                  </a:cubicBezTo>
                  <a:cubicBezTo>
                    <a:pt x="128" y="36"/>
                    <a:pt x="128" y="36"/>
                    <a:pt x="128" y="36"/>
                  </a:cubicBezTo>
                  <a:cubicBezTo>
                    <a:pt x="133" y="42"/>
                    <a:pt x="137" y="49"/>
                    <a:pt x="139" y="57"/>
                  </a:cubicBezTo>
                  <a:cubicBezTo>
                    <a:pt x="150" y="56"/>
                    <a:pt x="150" y="56"/>
                    <a:pt x="150" y="56"/>
                  </a:cubicBezTo>
                  <a:cubicBezTo>
                    <a:pt x="153" y="84"/>
                    <a:pt x="153" y="84"/>
                    <a:pt x="153" y="84"/>
                  </a:cubicBezTo>
                  <a:cubicBezTo>
                    <a:pt x="141" y="85"/>
                    <a:pt x="141" y="85"/>
                    <a:pt x="141" y="85"/>
                  </a:cubicBezTo>
                  <a:cubicBezTo>
                    <a:pt x="140" y="92"/>
                    <a:pt x="138" y="100"/>
                    <a:pt x="134" y="106"/>
                  </a:cubicBezTo>
                  <a:close/>
                  <a:moveTo>
                    <a:pt x="76" y="152"/>
                  </a:moveTo>
                  <a:cubicBezTo>
                    <a:pt x="69" y="152"/>
                    <a:pt x="69" y="152"/>
                    <a:pt x="69" y="152"/>
                  </a:cubicBezTo>
                  <a:cubicBezTo>
                    <a:pt x="68" y="141"/>
                    <a:pt x="68" y="141"/>
                    <a:pt x="68" y="141"/>
                  </a:cubicBezTo>
                  <a:cubicBezTo>
                    <a:pt x="60" y="140"/>
                    <a:pt x="53" y="138"/>
                    <a:pt x="46" y="134"/>
                  </a:cubicBezTo>
                  <a:cubicBezTo>
                    <a:pt x="39" y="143"/>
                    <a:pt x="39" y="143"/>
                    <a:pt x="39" y="143"/>
                  </a:cubicBezTo>
                  <a:cubicBezTo>
                    <a:pt x="17" y="125"/>
                    <a:pt x="17" y="125"/>
                    <a:pt x="17" y="125"/>
                  </a:cubicBezTo>
                  <a:cubicBezTo>
                    <a:pt x="24" y="116"/>
                    <a:pt x="24" y="116"/>
                    <a:pt x="24" y="116"/>
                  </a:cubicBezTo>
                  <a:cubicBezTo>
                    <a:pt x="20" y="110"/>
                    <a:pt x="16" y="103"/>
                    <a:pt x="14" y="96"/>
                  </a:cubicBezTo>
                  <a:cubicBezTo>
                    <a:pt x="3" y="97"/>
                    <a:pt x="3" y="97"/>
                    <a:pt x="3" y="97"/>
                  </a:cubicBezTo>
                  <a:cubicBezTo>
                    <a:pt x="0" y="69"/>
                    <a:pt x="0" y="69"/>
                    <a:pt x="0" y="69"/>
                  </a:cubicBezTo>
                  <a:cubicBezTo>
                    <a:pt x="11" y="68"/>
                    <a:pt x="11" y="68"/>
                    <a:pt x="11" y="68"/>
                  </a:cubicBezTo>
                  <a:cubicBezTo>
                    <a:pt x="12" y="60"/>
                    <a:pt x="15" y="53"/>
                    <a:pt x="18" y="46"/>
                  </a:cubicBezTo>
                  <a:cubicBezTo>
                    <a:pt x="10" y="38"/>
                    <a:pt x="10" y="38"/>
                    <a:pt x="10" y="38"/>
                  </a:cubicBezTo>
                  <a:cubicBezTo>
                    <a:pt x="28" y="17"/>
                    <a:pt x="28" y="17"/>
                    <a:pt x="28" y="17"/>
                  </a:cubicBezTo>
                  <a:cubicBezTo>
                    <a:pt x="36" y="24"/>
                    <a:pt x="36" y="24"/>
                    <a:pt x="36" y="24"/>
                  </a:cubicBezTo>
                  <a:cubicBezTo>
                    <a:pt x="43" y="19"/>
                    <a:pt x="49" y="16"/>
                    <a:pt x="57" y="14"/>
                  </a:cubicBezTo>
                  <a:cubicBezTo>
                    <a:pt x="56" y="2"/>
                    <a:pt x="56" y="2"/>
                    <a:pt x="56" y="2"/>
                  </a:cubicBezTo>
                  <a:cubicBezTo>
                    <a:pt x="76" y="1"/>
                    <a:pt x="76" y="1"/>
                    <a:pt x="76" y="1"/>
                  </a:cubicBezTo>
                  <a:cubicBezTo>
                    <a:pt x="76" y="32"/>
                    <a:pt x="76" y="32"/>
                    <a:pt x="76" y="32"/>
                  </a:cubicBezTo>
                  <a:cubicBezTo>
                    <a:pt x="64" y="32"/>
                    <a:pt x="51" y="38"/>
                    <a:pt x="43" y="48"/>
                  </a:cubicBezTo>
                  <a:cubicBezTo>
                    <a:pt x="27" y="66"/>
                    <a:pt x="30" y="94"/>
                    <a:pt x="48" y="110"/>
                  </a:cubicBezTo>
                  <a:cubicBezTo>
                    <a:pt x="53" y="114"/>
                    <a:pt x="58" y="116"/>
                    <a:pt x="64" y="118"/>
                  </a:cubicBezTo>
                  <a:cubicBezTo>
                    <a:pt x="68" y="119"/>
                    <a:pt x="72" y="120"/>
                    <a:pt x="76" y="120"/>
                  </a:cubicBezTo>
                  <a:lnTo>
                    <a:pt x="76" y="152"/>
                  </a:ln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4" name="Freeform 66"/>
            <p:cNvSpPr>
              <a:spLocks noEditPoints="1"/>
            </p:cNvSpPr>
            <p:nvPr/>
          </p:nvSpPr>
          <p:spPr bwMode="auto">
            <a:xfrm>
              <a:off x="7494423" y="3995900"/>
              <a:ext cx="229793" cy="231921"/>
            </a:xfrm>
            <a:custGeom>
              <a:avLst/>
              <a:gdLst>
                <a:gd name="T0" fmla="*/ 134 w 152"/>
                <a:gd name="T1" fmla="*/ 107 h 153"/>
                <a:gd name="T2" fmla="*/ 143 w 152"/>
                <a:gd name="T3" fmla="*/ 114 h 153"/>
                <a:gd name="T4" fmla="*/ 125 w 152"/>
                <a:gd name="T5" fmla="*/ 136 h 153"/>
                <a:gd name="T6" fmla="*/ 116 w 152"/>
                <a:gd name="T7" fmla="*/ 128 h 153"/>
                <a:gd name="T8" fmla="*/ 96 w 152"/>
                <a:gd name="T9" fmla="*/ 139 h 153"/>
                <a:gd name="T10" fmla="*/ 97 w 152"/>
                <a:gd name="T11" fmla="*/ 150 h 153"/>
                <a:gd name="T12" fmla="*/ 76 w 152"/>
                <a:gd name="T13" fmla="*/ 152 h 153"/>
                <a:gd name="T14" fmla="*/ 76 w 152"/>
                <a:gd name="T15" fmla="*/ 120 h 153"/>
                <a:gd name="T16" fmla="*/ 110 w 152"/>
                <a:gd name="T17" fmla="*/ 105 h 153"/>
                <a:gd name="T18" fmla="*/ 104 w 152"/>
                <a:gd name="T19" fmla="*/ 43 h 153"/>
                <a:gd name="T20" fmla="*/ 89 w 152"/>
                <a:gd name="T21" fmla="*/ 34 h 153"/>
                <a:gd name="T22" fmla="*/ 76 w 152"/>
                <a:gd name="T23" fmla="*/ 33 h 153"/>
                <a:gd name="T24" fmla="*/ 76 w 152"/>
                <a:gd name="T25" fmla="*/ 1 h 153"/>
                <a:gd name="T26" fmla="*/ 84 w 152"/>
                <a:gd name="T27" fmla="*/ 0 h 153"/>
                <a:gd name="T28" fmla="*/ 84 w 152"/>
                <a:gd name="T29" fmla="*/ 11 h 153"/>
                <a:gd name="T30" fmla="*/ 106 w 152"/>
                <a:gd name="T31" fmla="*/ 18 h 153"/>
                <a:gd name="T32" fmla="*/ 114 w 152"/>
                <a:gd name="T33" fmla="*/ 10 h 153"/>
                <a:gd name="T34" fmla="*/ 135 w 152"/>
                <a:gd name="T35" fmla="*/ 28 h 153"/>
                <a:gd name="T36" fmla="*/ 128 w 152"/>
                <a:gd name="T37" fmla="*/ 36 h 153"/>
                <a:gd name="T38" fmla="*/ 139 w 152"/>
                <a:gd name="T39" fmla="*/ 57 h 153"/>
                <a:gd name="T40" fmla="*/ 150 w 152"/>
                <a:gd name="T41" fmla="*/ 56 h 153"/>
                <a:gd name="T42" fmla="*/ 152 w 152"/>
                <a:gd name="T43" fmla="*/ 84 h 153"/>
                <a:gd name="T44" fmla="*/ 141 w 152"/>
                <a:gd name="T45" fmla="*/ 85 h 153"/>
                <a:gd name="T46" fmla="*/ 134 w 152"/>
                <a:gd name="T47" fmla="*/ 107 h 153"/>
                <a:gd name="T48" fmla="*/ 76 w 152"/>
                <a:gd name="T49" fmla="*/ 152 h 153"/>
                <a:gd name="T50" fmla="*/ 69 w 152"/>
                <a:gd name="T51" fmla="*/ 153 h 153"/>
                <a:gd name="T52" fmla="*/ 68 w 152"/>
                <a:gd name="T53" fmla="*/ 141 h 153"/>
                <a:gd name="T54" fmla="*/ 46 w 152"/>
                <a:gd name="T55" fmla="*/ 134 h 153"/>
                <a:gd name="T56" fmla="*/ 38 w 152"/>
                <a:gd name="T57" fmla="*/ 143 h 153"/>
                <a:gd name="T58" fmla="*/ 17 w 152"/>
                <a:gd name="T59" fmla="*/ 125 h 153"/>
                <a:gd name="T60" fmla="*/ 24 w 152"/>
                <a:gd name="T61" fmla="*/ 116 h 153"/>
                <a:gd name="T62" fmla="*/ 14 w 152"/>
                <a:gd name="T63" fmla="*/ 96 h 153"/>
                <a:gd name="T64" fmla="*/ 2 w 152"/>
                <a:gd name="T65" fmla="*/ 97 h 153"/>
                <a:gd name="T66" fmla="*/ 0 w 152"/>
                <a:gd name="T67" fmla="*/ 69 h 153"/>
                <a:gd name="T68" fmla="*/ 11 w 152"/>
                <a:gd name="T69" fmla="*/ 68 h 153"/>
                <a:gd name="T70" fmla="*/ 18 w 152"/>
                <a:gd name="T71" fmla="*/ 46 h 153"/>
                <a:gd name="T72" fmla="*/ 9 w 152"/>
                <a:gd name="T73" fmla="*/ 39 h 153"/>
                <a:gd name="T74" fmla="*/ 27 w 152"/>
                <a:gd name="T75" fmla="*/ 17 h 153"/>
                <a:gd name="T76" fmla="*/ 36 w 152"/>
                <a:gd name="T77" fmla="*/ 25 h 153"/>
                <a:gd name="T78" fmla="*/ 56 w 152"/>
                <a:gd name="T79" fmla="*/ 14 h 153"/>
                <a:gd name="T80" fmla="*/ 55 w 152"/>
                <a:gd name="T81" fmla="*/ 3 h 153"/>
                <a:gd name="T82" fmla="*/ 76 w 152"/>
                <a:gd name="T83" fmla="*/ 1 h 153"/>
                <a:gd name="T84" fmla="*/ 76 w 152"/>
                <a:gd name="T85" fmla="*/ 33 h 153"/>
                <a:gd name="T86" fmla="*/ 42 w 152"/>
                <a:gd name="T87" fmla="*/ 48 h 153"/>
                <a:gd name="T88" fmla="*/ 48 w 152"/>
                <a:gd name="T89" fmla="*/ 110 h 153"/>
                <a:gd name="T90" fmla="*/ 63 w 152"/>
                <a:gd name="T91" fmla="*/ 118 h 153"/>
                <a:gd name="T92" fmla="*/ 76 w 152"/>
                <a:gd name="T93" fmla="*/ 120 h 153"/>
                <a:gd name="T94" fmla="*/ 76 w 152"/>
                <a:gd name="T95" fmla="*/ 152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2" h="153">
                  <a:moveTo>
                    <a:pt x="134" y="107"/>
                  </a:moveTo>
                  <a:cubicBezTo>
                    <a:pt x="143" y="114"/>
                    <a:pt x="143" y="114"/>
                    <a:pt x="143" y="114"/>
                  </a:cubicBezTo>
                  <a:cubicBezTo>
                    <a:pt x="125" y="136"/>
                    <a:pt x="125" y="136"/>
                    <a:pt x="125" y="136"/>
                  </a:cubicBezTo>
                  <a:cubicBezTo>
                    <a:pt x="116" y="128"/>
                    <a:pt x="116" y="128"/>
                    <a:pt x="116" y="128"/>
                  </a:cubicBezTo>
                  <a:cubicBezTo>
                    <a:pt x="110" y="133"/>
                    <a:pt x="103" y="137"/>
                    <a:pt x="96" y="139"/>
                  </a:cubicBezTo>
                  <a:cubicBezTo>
                    <a:pt x="97" y="150"/>
                    <a:pt x="97" y="150"/>
                    <a:pt x="97" y="150"/>
                  </a:cubicBezTo>
                  <a:cubicBezTo>
                    <a:pt x="76" y="152"/>
                    <a:pt x="76" y="152"/>
                    <a:pt x="76" y="152"/>
                  </a:cubicBezTo>
                  <a:cubicBezTo>
                    <a:pt x="76" y="120"/>
                    <a:pt x="76" y="120"/>
                    <a:pt x="76" y="120"/>
                  </a:cubicBezTo>
                  <a:cubicBezTo>
                    <a:pt x="89" y="120"/>
                    <a:pt x="101" y="115"/>
                    <a:pt x="110" y="105"/>
                  </a:cubicBezTo>
                  <a:cubicBezTo>
                    <a:pt x="125" y="86"/>
                    <a:pt x="123" y="58"/>
                    <a:pt x="104" y="43"/>
                  </a:cubicBezTo>
                  <a:cubicBezTo>
                    <a:pt x="100" y="39"/>
                    <a:pt x="95" y="36"/>
                    <a:pt x="89" y="34"/>
                  </a:cubicBezTo>
                  <a:cubicBezTo>
                    <a:pt x="85" y="33"/>
                    <a:pt x="80" y="33"/>
                    <a:pt x="76" y="33"/>
                  </a:cubicBezTo>
                  <a:cubicBezTo>
                    <a:pt x="76" y="1"/>
                    <a:pt x="76" y="1"/>
                    <a:pt x="76" y="1"/>
                  </a:cubicBezTo>
                  <a:cubicBezTo>
                    <a:pt x="84" y="0"/>
                    <a:pt x="84" y="0"/>
                    <a:pt x="84" y="0"/>
                  </a:cubicBezTo>
                  <a:cubicBezTo>
                    <a:pt x="84" y="11"/>
                    <a:pt x="84" y="11"/>
                    <a:pt x="84" y="11"/>
                  </a:cubicBezTo>
                  <a:cubicBezTo>
                    <a:pt x="92" y="12"/>
                    <a:pt x="100" y="15"/>
                    <a:pt x="106" y="18"/>
                  </a:cubicBezTo>
                  <a:cubicBezTo>
                    <a:pt x="114" y="10"/>
                    <a:pt x="114" y="10"/>
                    <a:pt x="114" y="10"/>
                  </a:cubicBezTo>
                  <a:cubicBezTo>
                    <a:pt x="135" y="28"/>
                    <a:pt x="135" y="28"/>
                    <a:pt x="135" y="28"/>
                  </a:cubicBezTo>
                  <a:cubicBezTo>
                    <a:pt x="128" y="36"/>
                    <a:pt x="128" y="36"/>
                    <a:pt x="128" y="36"/>
                  </a:cubicBezTo>
                  <a:cubicBezTo>
                    <a:pt x="133" y="43"/>
                    <a:pt x="136" y="49"/>
                    <a:pt x="139" y="57"/>
                  </a:cubicBezTo>
                  <a:cubicBezTo>
                    <a:pt x="150" y="56"/>
                    <a:pt x="150" y="56"/>
                    <a:pt x="150" y="56"/>
                  </a:cubicBezTo>
                  <a:cubicBezTo>
                    <a:pt x="152" y="84"/>
                    <a:pt x="152" y="84"/>
                    <a:pt x="152" y="84"/>
                  </a:cubicBezTo>
                  <a:cubicBezTo>
                    <a:pt x="141" y="85"/>
                    <a:pt x="141" y="85"/>
                    <a:pt x="141" y="85"/>
                  </a:cubicBezTo>
                  <a:cubicBezTo>
                    <a:pt x="140" y="93"/>
                    <a:pt x="138" y="100"/>
                    <a:pt x="134" y="107"/>
                  </a:cubicBezTo>
                  <a:close/>
                  <a:moveTo>
                    <a:pt x="76" y="152"/>
                  </a:moveTo>
                  <a:cubicBezTo>
                    <a:pt x="69" y="153"/>
                    <a:pt x="69" y="153"/>
                    <a:pt x="69" y="153"/>
                  </a:cubicBezTo>
                  <a:cubicBezTo>
                    <a:pt x="68" y="141"/>
                    <a:pt x="68" y="141"/>
                    <a:pt x="68" y="141"/>
                  </a:cubicBezTo>
                  <a:cubicBezTo>
                    <a:pt x="60" y="140"/>
                    <a:pt x="53" y="138"/>
                    <a:pt x="46" y="134"/>
                  </a:cubicBezTo>
                  <a:cubicBezTo>
                    <a:pt x="38" y="143"/>
                    <a:pt x="38" y="143"/>
                    <a:pt x="38" y="143"/>
                  </a:cubicBezTo>
                  <a:cubicBezTo>
                    <a:pt x="17" y="125"/>
                    <a:pt x="17" y="125"/>
                    <a:pt x="17" y="125"/>
                  </a:cubicBezTo>
                  <a:cubicBezTo>
                    <a:pt x="24" y="116"/>
                    <a:pt x="24" y="116"/>
                    <a:pt x="24" y="116"/>
                  </a:cubicBezTo>
                  <a:cubicBezTo>
                    <a:pt x="19" y="110"/>
                    <a:pt x="16" y="103"/>
                    <a:pt x="14" y="96"/>
                  </a:cubicBezTo>
                  <a:cubicBezTo>
                    <a:pt x="2" y="97"/>
                    <a:pt x="2" y="97"/>
                    <a:pt x="2" y="97"/>
                  </a:cubicBezTo>
                  <a:cubicBezTo>
                    <a:pt x="0" y="69"/>
                    <a:pt x="0" y="69"/>
                    <a:pt x="0" y="69"/>
                  </a:cubicBezTo>
                  <a:cubicBezTo>
                    <a:pt x="11" y="68"/>
                    <a:pt x="11" y="68"/>
                    <a:pt x="11" y="68"/>
                  </a:cubicBezTo>
                  <a:cubicBezTo>
                    <a:pt x="12" y="60"/>
                    <a:pt x="14" y="53"/>
                    <a:pt x="18" y="46"/>
                  </a:cubicBezTo>
                  <a:cubicBezTo>
                    <a:pt x="9" y="39"/>
                    <a:pt x="9" y="39"/>
                    <a:pt x="9" y="39"/>
                  </a:cubicBezTo>
                  <a:cubicBezTo>
                    <a:pt x="27" y="17"/>
                    <a:pt x="27" y="17"/>
                    <a:pt x="27" y="17"/>
                  </a:cubicBezTo>
                  <a:cubicBezTo>
                    <a:pt x="36" y="25"/>
                    <a:pt x="36" y="25"/>
                    <a:pt x="36" y="25"/>
                  </a:cubicBezTo>
                  <a:cubicBezTo>
                    <a:pt x="42" y="20"/>
                    <a:pt x="49" y="16"/>
                    <a:pt x="56" y="14"/>
                  </a:cubicBezTo>
                  <a:cubicBezTo>
                    <a:pt x="55" y="3"/>
                    <a:pt x="55" y="3"/>
                    <a:pt x="55" y="3"/>
                  </a:cubicBezTo>
                  <a:cubicBezTo>
                    <a:pt x="76" y="1"/>
                    <a:pt x="76" y="1"/>
                    <a:pt x="76" y="1"/>
                  </a:cubicBezTo>
                  <a:cubicBezTo>
                    <a:pt x="76" y="33"/>
                    <a:pt x="76" y="33"/>
                    <a:pt x="76" y="33"/>
                  </a:cubicBezTo>
                  <a:cubicBezTo>
                    <a:pt x="63" y="33"/>
                    <a:pt x="51" y="38"/>
                    <a:pt x="42" y="48"/>
                  </a:cubicBezTo>
                  <a:cubicBezTo>
                    <a:pt x="27" y="67"/>
                    <a:pt x="29" y="94"/>
                    <a:pt x="48" y="110"/>
                  </a:cubicBezTo>
                  <a:cubicBezTo>
                    <a:pt x="52" y="114"/>
                    <a:pt x="58" y="117"/>
                    <a:pt x="63" y="118"/>
                  </a:cubicBezTo>
                  <a:cubicBezTo>
                    <a:pt x="67" y="120"/>
                    <a:pt x="72" y="120"/>
                    <a:pt x="76" y="120"/>
                  </a:cubicBezTo>
                  <a:lnTo>
                    <a:pt x="76" y="152"/>
                  </a:ln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5" name="Freeform 67"/>
            <p:cNvSpPr>
              <a:spLocks noEditPoints="1"/>
            </p:cNvSpPr>
            <p:nvPr/>
          </p:nvSpPr>
          <p:spPr bwMode="auto">
            <a:xfrm>
              <a:off x="4358936" y="3654152"/>
              <a:ext cx="226601" cy="225537"/>
            </a:xfrm>
            <a:custGeom>
              <a:avLst/>
              <a:gdLst>
                <a:gd name="T0" fmla="*/ 75 w 149"/>
                <a:gd name="T1" fmla="*/ 10 h 149"/>
                <a:gd name="T2" fmla="*/ 82 w 149"/>
                <a:gd name="T3" fmla="*/ 10 h 149"/>
                <a:gd name="T4" fmla="*/ 85 w 149"/>
                <a:gd name="T5" fmla="*/ 0 h 149"/>
                <a:gd name="T6" fmla="*/ 108 w 149"/>
                <a:gd name="T7" fmla="*/ 7 h 149"/>
                <a:gd name="T8" fmla="*/ 104 w 149"/>
                <a:gd name="T9" fmla="*/ 17 h 149"/>
                <a:gd name="T10" fmla="*/ 125 w 149"/>
                <a:gd name="T11" fmla="*/ 34 h 149"/>
                <a:gd name="T12" fmla="*/ 135 w 149"/>
                <a:gd name="T13" fmla="*/ 29 h 149"/>
                <a:gd name="T14" fmla="*/ 146 w 149"/>
                <a:gd name="T15" fmla="*/ 50 h 149"/>
                <a:gd name="T16" fmla="*/ 136 w 149"/>
                <a:gd name="T17" fmla="*/ 55 h 149"/>
                <a:gd name="T18" fmla="*/ 139 w 149"/>
                <a:gd name="T19" fmla="*/ 82 h 149"/>
                <a:gd name="T20" fmla="*/ 149 w 149"/>
                <a:gd name="T21" fmla="*/ 85 h 149"/>
                <a:gd name="T22" fmla="*/ 142 w 149"/>
                <a:gd name="T23" fmla="*/ 107 h 149"/>
                <a:gd name="T24" fmla="*/ 132 w 149"/>
                <a:gd name="T25" fmla="*/ 104 h 149"/>
                <a:gd name="T26" fmla="*/ 115 w 149"/>
                <a:gd name="T27" fmla="*/ 125 h 149"/>
                <a:gd name="T28" fmla="*/ 120 w 149"/>
                <a:gd name="T29" fmla="*/ 135 h 149"/>
                <a:gd name="T30" fmla="*/ 99 w 149"/>
                <a:gd name="T31" fmla="*/ 146 h 149"/>
                <a:gd name="T32" fmla="*/ 94 w 149"/>
                <a:gd name="T33" fmla="*/ 136 h 149"/>
                <a:gd name="T34" fmla="*/ 75 w 149"/>
                <a:gd name="T35" fmla="*/ 139 h 149"/>
                <a:gd name="T36" fmla="*/ 75 w 149"/>
                <a:gd name="T37" fmla="*/ 122 h 149"/>
                <a:gd name="T38" fmla="*/ 120 w 149"/>
                <a:gd name="T39" fmla="*/ 88 h 149"/>
                <a:gd name="T40" fmla="*/ 89 w 149"/>
                <a:gd name="T41" fmla="*/ 29 h 149"/>
                <a:gd name="T42" fmla="*/ 75 w 149"/>
                <a:gd name="T43" fmla="*/ 27 h 149"/>
                <a:gd name="T44" fmla="*/ 75 w 149"/>
                <a:gd name="T45" fmla="*/ 10 h 149"/>
                <a:gd name="T46" fmla="*/ 35 w 149"/>
                <a:gd name="T47" fmla="*/ 24 h 149"/>
                <a:gd name="T48" fmla="*/ 29 w 149"/>
                <a:gd name="T49" fmla="*/ 14 h 149"/>
                <a:gd name="T50" fmla="*/ 50 w 149"/>
                <a:gd name="T51" fmla="*/ 3 h 149"/>
                <a:gd name="T52" fmla="*/ 55 w 149"/>
                <a:gd name="T53" fmla="*/ 13 h 149"/>
                <a:gd name="T54" fmla="*/ 75 w 149"/>
                <a:gd name="T55" fmla="*/ 10 h 149"/>
                <a:gd name="T56" fmla="*/ 75 w 149"/>
                <a:gd name="T57" fmla="*/ 27 h 149"/>
                <a:gd name="T58" fmla="*/ 29 w 149"/>
                <a:gd name="T59" fmla="*/ 61 h 149"/>
                <a:gd name="T60" fmla="*/ 61 w 149"/>
                <a:gd name="T61" fmla="*/ 120 h 149"/>
                <a:gd name="T62" fmla="*/ 75 w 149"/>
                <a:gd name="T63" fmla="*/ 122 h 149"/>
                <a:gd name="T64" fmla="*/ 75 w 149"/>
                <a:gd name="T65" fmla="*/ 139 h 149"/>
                <a:gd name="T66" fmla="*/ 68 w 149"/>
                <a:gd name="T67" fmla="*/ 138 h 149"/>
                <a:gd name="T68" fmla="*/ 64 w 149"/>
                <a:gd name="T69" fmla="*/ 149 h 149"/>
                <a:gd name="T70" fmla="*/ 42 w 149"/>
                <a:gd name="T71" fmla="*/ 142 h 149"/>
                <a:gd name="T72" fmla="*/ 45 w 149"/>
                <a:gd name="T73" fmla="*/ 132 h 149"/>
                <a:gd name="T74" fmla="*/ 24 w 149"/>
                <a:gd name="T75" fmla="*/ 115 h 149"/>
                <a:gd name="T76" fmla="*/ 15 w 149"/>
                <a:gd name="T77" fmla="*/ 120 h 149"/>
                <a:gd name="T78" fmla="*/ 3 w 149"/>
                <a:gd name="T79" fmla="*/ 99 h 149"/>
                <a:gd name="T80" fmla="*/ 13 w 149"/>
                <a:gd name="T81" fmla="*/ 94 h 149"/>
                <a:gd name="T82" fmla="*/ 11 w 149"/>
                <a:gd name="T83" fmla="*/ 67 h 149"/>
                <a:gd name="T84" fmla="*/ 0 w 149"/>
                <a:gd name="T85" fmla="*/ 64 h 149"/>
                <a:gd name="T86" fmla="*/ 7 w 149"/>
                <a:gd name="T87" fmla="*/ 42 h 149"/>
                <a:gd name="T88" fmla="*/ 18 w 149"/>
                <a:gd name="T89" fmla="*/ 45 h 149"/>
                <a:gd name="T90" fmla="*/ 35 w 149"/>
                <a:gd name="T91" fmla="*/ 2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9" h="149">
                  <a:moveTo>
                    <a:pt x="75" y="10"/>
                  </a:moveTo>
                  <a:cubicBezTo>
                    <a:pt x="77" y="10"/>
                    <a:pt x="79" y="10"/>
                    <a:pt x="82" y="10"/>
                  </a:cubicBezTo>
                  <a:cubicBezTo>
                    <a:pt x="85" y="0"/>
                    <a:pt x="85" y="0"/>
                    <a:pt x="85" y="0"/>
                  </a:cubicBezTo>
                  <a:cubicBezTo>
                    <a:pt x="108" y="7"/>
                    <a:pt x="108" y="7"/>
                    <a:pt x="108" y="7"/>
                  </a:cubicBezTo>
                  <a:cubicBezTo>
                    <a:pt x="104" y="17"/>
                    <a:pt x="104" y="17"/>
                    <a:pt x="104" y="17"/>
                  </a:cubicBezTo>
                  <a:cubicBezTo>
                    <a:pt x="112" y="22"/>
                    <a:pt x="119" y="27"/>
                    <a:pt x="125" y="34"/>
                  </a:cubicBezTo>
                  <a:cubicBezTo>
                    <a:pt x="135" y="29"/>
                    <a:pt x="135" y="29"/>
                    <a:pt x="135" y="29"/>
                  </a:cubicBezTo>
                  <a:cubicBezTo>
                    <a:pt x="146" y="50"/>
                    <a:pt x="146" y="50"/>
                    <a:pt x="146" y="50"/>
                  </a:cubicBezTo>
                  <a:cubicBezTo>
                    <a:pt x="136" y="55"/>
                    <a:pt x="136" y="55"/>
                    <a:pt x="136" y="55"/>
                  </a:cubicBezTo>
                  <a:cubicBezTo>
                    <a:pt x="139" y="63"/>
                    <a:pt x="140" y="72"/>
                    <a:pt x="139" y="82"/>
                  </a:cubicBezTo>
                  <a:cubicBezTo>
                    <a:pt x="149" y="85"/>
                    <a:pt x="149" y="85"/>
                    <a:pt x="149" y="85"/>
                  </a:cubicBezTo>
                  <a:cubicBezTo>
                    <a:pt x="142" y="107"/>
                    <a:pt x="142" y="107"/>
                    <a:pt x="142" y="107"/>
                  </a:cubicBezTo>
                  <a:cubicBezTo>
                    <a:pt x="132" y="104"/>
                    <a:pt x="132" y="104"/>
                    <a:pt x="132" y="104"/>
                  </a:cubicBezTo>
                  <a:cubicBezTo>
                    <a:pt x="128" y="112"/>
                    <a:pt x="122" y="119"/>
                    <a:pt x="115" y="125"/>
                  </a:cubicBezTo>
                  <a:cubicBezTo>
                    <a:pt x="120" y="135"/>
                    <a:pt x="120" y="135"/>
                    <a:pt x="120" y="135"/>
                  </a:cubicBezTo>
                  <a:cubicBezTo>
                    <a:pt x="99" y="146"/>
                    <a:pt x="99" y="146"/>
                    <a:pt x="99" y="146"/>
                  </a:cubicBezTo>
                  <a:cubicBezTo>
                    <a:pt x="94" y="136"/>
                    <a:pt x="94" y="136"/>
                    <a:pt x="94" y="136"/>
                  </a:cubicBezTo>
                  <a:cubicBezTo>
                    <a:pt x="88" y="138"/>
                    <a:pt x="81" y="139"/>
                    <a:pt x="75" y="139"/>
                  </a:cubicBezTo>
                  <a:cubicBezTo>
                    <a:pt x="75" y="122"/>
                    <a:pt x="75" y="122"/>
                    <a:pt x="75" y="122"/>
                  </a:cubicBezTo>
                  <a:cubicBezTo>
                    <a:pt x="95" y="122"/>
                    <a:pt x="114" y="109"/>
                    <a:pt x="120" y="88"/>
                  </a:cubicBezTo>
                  <a:cubicBezTo>
                    <a:pt x="128" y="63"/>
                    <a:pt x="114" y="37"/>
                    <a:pt x="89" y="29"/>
                  </a:cubicBezTo>
                  <a:cubicBezTo>
                    <a:pt x="84" y="28"/>
                    <a:pt x="79" y="27"/>
                    <a:pt x="75" y="27"/>
                  </a:cubicBezTo>
                  <a:lnTo>
                    <a:pt x="75" y="10"/>
                  </a:lnTo>
                  <a:close/>
                  <a:moveTo>
                    <a:pt x="35" y="24"/>
                  </a:moveTo>
                  <a:cubicBezTo>
                    <a:pt x="29" y="14"/>
                    <a:pt x="29" y="14"/>
                    <a:pt x="29" y="14"/>
                  </a:cubicBezTo>
                  <a:cubicBezTo>
                    <a:pt x="50" y="3"/>
                    <a:pt x="50" y="3"/>
                    <a:pt x="50" y="3"/>
                  </a:cubicBezTo>
                  <a:cubicBezTo>
                    <a:pt x="55" y="13"/>
                    <a:pt x="55" y="13"/>
                    <a:pt x="55" y="13"/>
                  </a:cubicBezTo>
                  <a:cubicBezTo>
                    <a:pt x="61" y="11"/>
                    <a:pt x="68" y="10"/>
                    <a:pt x="75" y="10"/>
                  </a:cubicBezTo>
                  <a:cubicBezTo>
                    <a:pt x="75" y="27"/>
                    <a:pt x="75" y="27"/>
                    <a:pt x="75" y="27"/>
                  </a:cubicBezTo>
                  <a:cubicBezTo>
                    <a:pt x="54" y="27"/>
                    <a:pt x="35" y="40"/>
                    <a:pt x="29" y="61"/>
                  </a:cubicBezTo>
                  <a:cubicBezTo>
                    <a:pt x="22" y="86"/>
                    <a:pt x="36" y="112"/>
                    <a:pt x="61" y="120"/>
                  </a:cubicBezTo>
                  <a:cubicBezTo>
                    <a:pt x="65" y="121"/>
                    <a:pt x="70" y="122"/>
                    <a:pt x="75" y="122"/>
                  </a:cubicBezTo>
                  <a:cubicBezTo>
                    <a:pt x="75" y="139"/>
                    <a:pt x="75" y="139"/>
                    <a:pt x="75" y="139"/>
                  </a:cubicBezTo>
                  <a:cubicBezTo>
                    <a:pt x="72" y="139"/>
                    <a:pt x="70" y="139"/>
                    <a:pt x="68" y="138"/>
                  </a:cubicBezTo>
                  <a:cubicBezTo>
                    <a:pt x="64" y="149"/>
                    <a:pt x="64" y="149"/>
                    <a:pt x="64" y="149"/>
                  </a:cubicBezTo>
                  <a:cubicBezTo>
                    <a:pt x="42" y="142"/>
                    <a:pt x="42" y="142"/>
                    <a:pt x="42" y="142"/>
                  </a:cubicBezTo>
                  <a:cubicBezTo>
                    <a:pt x="45" y="132"/>
                    <a:pt x="45" y="132"/>
                    <a:pt x="45" y="132"/>
                  </a:cubicBezTo>
                  <a:cubicBezTo>
                    <a:pt x="37" y="127"/>
                    <a:pt x="30" y="122"/>
                    <a:pt x="24" y="115"/>
                  </a:cubicBezTo>
                  <a:cubicBezTo>
                    <a:pt x="15" y="120"/>
                    <a:pt x="15" y="120"/>
                    <a:pt x="15" y="120"/>
                  </a:cubicBezTo>
                  <a:cubicBezTo>
                    <a:pt x="3" y="99"/>
                    <a:pt x="3" y="99"/>
                    <a:pt x="3" y="99"/>
                  </a:cubicBezTo>
                  <a:cubicBezTo>
                    <a:pt x="13" y="94"/>
                    <a:pt x="13" y="94"/>
                    <a:pt x="13" y="94"/>
                  </a:cubicBezTo>
                  <a:cubicBezTo>
                    <a:pt x="11" y="85"/>
                    <a:pt x="10" y="76"/>
                    <a:pt x="11" y="67"/>
                  </a:cubicBezTo>
                  <a:cubicBezTo>
                    <a:pt x="0" y="64"/>
                    <a:pt x="0" y="64"/>
                    <a:pt x="0" y="64"/>
                  </a:cubicBezTo>
                  <a:cubicBezTo>
                    <a:pt x="7" y="42"/>
                    <a:pt x="7" y="42"/>
                    <a:pt x="7" y="42"/>
                  </a:cubicBezTo>
                  <a:cubicBezTo>
                    <a:pt x="18" y="45"/>
                    <a:pt x="18" y="45"/>
                    <a:pt x="18" y="45"/>
                  </a:cubicBezTo>
                  <a:cubicBezTo>
                    <a:pt x="22" y="37"/>
                    <a:pt x="28" y="30"/>
                    <a:pt x="35" y="24"/>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6" name="Freeform 68"/>
            <p:cNvSpPr>
              <a:spLocks/>
            </p:cNvSpPr>
            <p:nvPr/>
          </p:nvSpPr>
          <p:spPr bwMode="auto">
            <a:xfrm>
              <a:off x="4098749" y="2408096"/>
              <a:ext cx="2264949" cy="1257478"/>
            </a:xfrm>
            <a:custGeom>
              <a:avLst/>
              <a:gdLst>
                <a:gd name="T0" fmla="*/ 1080 w 1495"/>
                <a:gd name="T1" fmla="*/ 0 h 830"/>
                <a:gd name="T2" fmla="*/ 739 w 1495"/>
                <a:gd name="T3" fmla="*/ 179 h 830"/>
                <a:gd name="T4" fmla="*/ 633 w 1495"/>
                <a:gd name="T5" fmla="*/ 162 h 830"/>
                <a:gd name="T6" fmla="*/ 347 w 1495"/>
                <a:gd name="T7" fmla="*/ 324 h 830"/>
                <a:gd name="T8" fmla="*/ 240 w 1495"/>
                <a:gd name="T9" fmla="*/ 298 h 830"/>
                <a:gd name="T10" fmla="*/ 0 w 1495"/>
                <a:gd name="T11" fmla="*/ 539 h 830"/>
                <a:gd name="T12" fmla="*/ 633 w 1495"/>
                <a:gd name="T13" fmla="*/ 828 h 830"/>
                <a:gd name="T14" fmla="*/ 1080 w 1495"/>
                <a:gd name="T15" fmla="*/ 830 h 830"/>
                <a:gd name="T16" fmla="*/ 1495 w 1495"/>
                <a:gd name="T17" fmla="*/ 415 h 830"/>
                <a:gd name="T18" fmla="*/ 1080 w 1495"/>
                <a:gd name="T19" fmla="*/ 0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5" h="830">
                  <a:moveTo>
                    <a:pt x="1080" y="0"/>
                  </a:moveTo>
                  <a:cubicBezTo>
                    <a:pt x="938" y="0"/>
                    <a:pt x="814" y="71"/>
                    <a:pt x="739" y="179"/>
                  </a:cubicBezTo>
                  <a:cubicBezTo>
                    <a:pt x="705" y="168"/>
                    <a:pt x="670" y="162"/>
                    <a:pt x="633" y="162"/>
                  </a:cubicBezTo>
                  <a:cubicBezTo>
                    <a:pt x="511" y="162"/>
                    <a:pt x="405" y="227"/>
                    <a:pt x="347" y="324"/>
                  </a:cubicBezTo>
                  <a:cubicBezTo>
                    <a:pt x="315" y="308"/>
                    <a:pt x="278" y="298"/>
                    <a:pt x="240" y="298"/>
                  </a:cubicBezTo>
                  <a:cubicBezTo>
                    <a:pt x="107" y="298"/>
                    <a:pt x="0" y="406"/>
                    <a:pt x="0" y="539"/>
                  </a:cubicBezTo>
                  <a:cubicBezTo>
                    <a:pt x="0" y="671"/>
                    <a:pt x="66" y="828"/>
                    <a:pt x="633" y="828"/>
                  </a:cubicBezTo>
                  <a:cubicBezTo>
                    <a:pt x="712" y="828"/>
                    <a:pt x="991" y="830"/>
                    <a:pt x="1080" y="830"/>
                  </a:cubicBezTo>
                  <a:cubicBezTo>
                    <a:pt x="1309" y="830"/>
                    <a:pt x="1495" y="644"/>
                    <a:pt x="1495" y="415"/>
                  </a:cubicBezTo>
                  <a:cubicBezTo>
                    <a:pt x="1495" y="186"/>
                    <a:pt x="1309" y="0"/>
                    <a:pt x="1080" y="0"/>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7" name="Freeform 70"/>
            <p:cNvSpPr>
              <a:spLocks/>
            </p:cNvSpPr>
            <p:nvPr/>
          </p:nvSpPr>
          <p:spPr bwMode="auto">
            <a:xfrm flipH="1">
              <a:off x="5837612" y="2745231"/>
              <a:ext cx="2049614" cy="1030345"/>
            </a:xfrm>
            <a:custGeom>
              <a:avLst/>
              <a:gdLst>
                <a:gd name="T0" fmla="*/ 1080 w 1495"/>
                <a:gd name="T1" fmla="*/ 0 h 830"/>
                <a:gd name="T2" fmla="*/ 739 w 1495"/>
                <a:gd name="T3" fmla="*/ 179 h 830"/>
                <a:gd name="T4" fmla="*/ 633 w 1495"/>
                <a:gd name="T5" fmla="*/ 162 h 830"/>
                <a:gd name="T6" fmla="*/ 348 w 1495"/>
                <a:gd name="T7" fmla="*/ 324 h 830"/>
                <a:gd name="T8" fmla="*/ 240 w 1495"/>
                <a:gd name="T9" fmla="*/ 298 h 830"/>
                <a:gd name="T10" fmla="*/ 0 w 1495"/>
                <a:gd name="T11" fmla="*/ 539 h 830"/>
                <a:gd name="T12" fmla="*/ 633 w 1495"/>
                <a:gd name="T13" fmla="*/ 828 h 830"/>
                <a:gd name="T14" fmla="*/ 1080 w 1495"/>
                <a:gd name="T15" fmla="*/ 830 h 830"/>
                <a:gd name="T16" fmla="*/ 1495 w 1495"/>
                <a:gd name="T17" fmla="*/ 415 h 830"/>
                <a:gd name="T18" fmla="*/ 1080 w 1495"/>
                <a:gd name="T19" fmla="*/ 0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5" h="830">
                  <a:moveTo>
                    <a:pt x="1080" y="0"/>
                  </a:moveTo>
                  <a:cubicBezTo>
                    <a:pt x="939" y="0"/>
                    <a:pt x="814" y="71"/>
                    <a:pt x="739" y="179"/>
                  </a:cubicBezTo>
                  <a:cubicBezTo>
                    <a:pt x="706" y="168"/>
                    <a:pt x="670" y="162"/>
                    <a:pt x="633" y="162"/>
                  </a:cubicBezTo>
                  <a:cubicBezTo>
                    <a:pt x="512" y="162"/>
                    <a:pt x="406" y="227"/>
                    <a:pt x="348" y="324"/>
                  </a:cubicBezTo>
                  <a:cubicBezTo>
                    <a:pt x="315" y="307"/>
                    <a:pt x="279" y="298"/>
                    <a:pt x="240" y="298"/>
                  </a:cubicBezTo>
                  <a:cubicBezTo>
                    <a:pt x="108" y="298"/>
                    <a:pt x="0" y="406"/>
                    <a:pt x="0" y="539"/>
                  </a:cubicBezTo>
                  <a:cubicBezTo>
                    <a:pt x="0" y="671"/>
                    <a:pt x="67" y="828"/>
                    <a:pt x="633" y="828"/>
                  </a:cubicBezTo>
                  <a:cubicBezTo>
                    <a:pt x="712" y="828"/>
                    <a:pt x="992" y="830"/>
                    <a:pt x="1080" y="830"/>
                  </a:cubicBezTo>
                  <a:cubicBezTo>
                    <a:pt x="1310" y="830"/>
                    <a:pt x="1495" y="644"/>
                    <a:pt x="1495" y="415"/>
                  </a:cubicBezTo>
                  <a:cubicBezTo>
                    <a:pt x="1495" y="186"/>
                    <a:pt x="1310" y="0"/>
                    <a:pt x="1080" y="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8" name="Freeform 119"/>
            <p:cNvSpPr>
              <a:spLocks/>
            </p:cNvSpPr>
            <p:nvPr/>
          </p:nvSpPr>
          <p:spPr bwMode="auto">
            <a:xfrm>
              <a:off x="4676076" y="5486895"/>
              <a:ext cx="378733" cy="51065"/>
            </a:xfrm>
            <a:custGeom>
              <a:avLst/>
              <a:gdLst>
                <a:gd name="T0" fmla="*/ 215 w 250"/>
                <a:gd name="T1" fmla="*/ 0 h 34"/>
                <a:gd name="T2" fmla="*/ 36 w 250"/>
                <a:gd name="T3" fmla="*/ 0 h 34"/>
                <a:gd name="T4" fmla="*/ 27 w 250"/>
                <a:gd name="T5" fmla="*/ 2 h 34"/>
                <a:gd name="T6" fmla="*/ 27 w 250"/>
                <a:gd name="T7" fmla="*/ 2 h 34"/>
                <a:gd name="T8" fmla="*/ 26 w 250"/>
                <a:gd name="T9" fmla="*/ 2 h 34"/>
                <a:gd name="T10" fmla="*/ 0 w 250"/>
                <a:gd name="T11" fmla="*/ 14 h 34"/>
                <a:gd name="T12" fmla="*/ 125 w 250"/>
                <a:gd name="T13" fmla="*/ 34 h 34"/>
                <a:gd name="T14" fmla="*/ 250 w 250"/>
                <a:gd name="T15" fmla="*/ 14 h 34"/>
                <a:gd name="T16" fmla="*/ 215 w 250"/>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34">
                  <a:moveTo>
                    <a:pt x="215" y="0"/>
                  </a:moveTo>
                  <a:cubicBezTo>
                    <a:pt x="36" y="0"/>
                    <a:pt x="36" y="0"/>
                    <a:pt x="36" y="0"/>
                  </a:cubicBezTo>
                  <a:cubicBezTo>
                    <a:pt x="33" y="1"/>
                    <a:pt x="30" y="1"/>
                    <a:pt x="27" y="2"/>
                  </a:cubicBezTo>
                  <a:cubicBezTo>
                    <a:pt x="27" y="2"/>
                    <a:pt x="27" y="2"/>
                    <a:pt x="27" y="2"/>
                  </a:cubicBezTo>
                  <a:cubicBezTo>
                    <a:pt x="26" y="2"/>
                    <a:pt x="26" y="2"/>
                    <a:pt x="26" y="2"/>
                  </a:cubicBezTo>
                  <a:cubicBezTo>
                    <a:pt x="10" y="5"/>
                    <a:pt x="0" y="9"/>
                    <a:pt x="0" y="14"/>
                  </a:cubicBezTo>
                  <a:cubicBezTo>
                    <a:pt x="0" y="25"/>
                    <a:pt x="56" y="34"/>
                    <a:pt x="125" y="34"/>
                  </a:cubicBezTo>
                  <a:cubicBezTo>
                    <a:pt x="194" y="34"/>
                    <a:pt x="250" y="25"/>
                    <a:pt x="250" y="14"/>
                  </a:cubicBezTo>
                  <a:cubicBezTo>
                    <a:pt x="250" y="8"/>
                    <a:pt x="237" y="4"/>
                    <a:pt x="215"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9" name="Freeform 121"/>
            <p:cNvSpPr>
              <a:spLocks/>
            </p:cNvSpPr>
            <p:nvPr/>
          </p:nvSpPr>
          <p:spPr bwMode="auto">
            <a:xfrm>
              <a:off x="6723998" y="5570939"/>
              <a:ext cx="569163" cy="56384"/>
            </a:xfrm>
            <a:custGeom>
              <a:avLst/>
              <a:gdLst>
                <a:gd name="T0" fmla="*/ 368 w 376"/>
                <a:gd name="T1" fmla="*/ 0 h 37"/>
                <a:gd name="T2" fmla="*/ 344 w 376"/>
                <a:gd name="T3" fmla="*/ 12 h 37"/>
                <a:gd name="T4" fmla="*/ 30 w 376"/>
                <a:gd name="T5" fmla="*/ 12 h 37"/>
                <a:gd name="T6" fmla="*/ 8 w 376"/>
                <a:gd name="T7" fmla="*/ 0 h 37"/>
                <a:gd name="T8" fmla="*/ 0 w 376"/>
                <a:gd name="T9" fmla="*/ 8 h 37"/>
                <a:gd name="T10" fmla="*/ 188 w 376"/>
                <a:gd name="T11" fmla="*/ 37 h 37"/>
                <a:gd name="T12" fmla="*/ 376 w 376"/>
                <a:gd name="T13" fmla="*/ 8 h 37"/>
                <a:gd name="T14" fmla="*/ 368 w 376"/>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6" h="37">
                  <a:moveTo>
                    <a:pt x="368" y="0"/>
                  </a:moveTo>
                  <a:cubicBezTo>
                    <a:pt x="362" y="7"/>
                    <a:pt x="353" y="12"/>
                    <a:pt x="344" y="12"/>
                  </a:cubicBezTo>
                  <a:cubicBezTo>
                    <a:pt x="30" y="12"/>
                    <a:pt x="30" y="12"/>
                    <a:pt x="30" y="12"/>
                  </a:cubicBezTo>
                  <a:cubicBezTo>
                    <a:pt x="21" y="12"/>
                    <a:pt x="13" y="7"/>
                    <a:pt x="8" y="0"/>
                  </a:cubicBezTo>
                  <a:cubicBezTo>
                    <a:pt x="3" y="2"/>
                    <a:pt x="0" y="5"/>
                    <a:pt x="0" y="8"/>
                  </a:cubicBezTo>
                  <a:cubicBezTo>
                    <a:pt x="0" y="24"/>
                    <a:pt x="85" y="37"/>
                    <a:pt x="188" y="37"/>
                  </a:cubicBezTo>
                  <a:cubicBezTo>
                    <a:pt x="292" y="37"/>
                    <a:pt x="376" y="24"/>
                    <a:pt x="376" y="8"/>
                  </a:cubicBezTo>
                  <a:cubicBezTo>
                    <a:pt x="376" y="5"/>
                    <a:pt x="374" y="2"/>
                    <a:pt x="368"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0" name="Rectangle 122"/>
            <p:cNvSpPr>
              <a:spLocks noChangeArrowheads="1"/>
            </p:cNvSpPr>
            <p:nvPr/>
          </p:nvSpPr>
          <p:spPr bwMode="auto">
            <a:xfrm>
              <a:off x="5686739" y="5147525"/>
              <a:ext cx="393627" cy="139365"/>
            </a:xfrm>
            <a:prstGeom prst="rect">
              <a:avLst/>
            </a:pr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1" name="Freeform 123"/>
            <p:cNvSpPr>
              <a:spLocks/>
            </p:cNvSpPr>
            <p:nvPr/>
          </p:nvSpPr>
          <p:spPr bwMode="auto">
            <a:xfrm>
              <a:off x="5595247" y="5236888"/>
              <a:ext cx="581929" cy="110641"/>
            </a:xfrm>
            <a:custGeom>
              <a:avLst/>
              <a:gdLst>
                <a:gd name="T0" fmla="*/ 0 w 384"/>
                <a:gd name="T1" fmla="*/ 33 h 73"/>
                <a:gd name="T2" fmla="*/ 0 w 384"/>
                <a:gd name="T3" fmla="*/ 73 h 73"/>
                <a:gd name="T4" fmla="*/ 384 w 384"/>
                <a:gd name="T5" fmla="*/ 73 h 73"/>
                <a:gd name="T6" fmla="*/ 384 w 384"/>
                <a:gd name="T7" fmla="*/ 33 h 73"/>
                <a:gd name="T8" fmla="*/ 0 w 384"/>
                <a:gd name="T9" fmla="*/ 33 h 73"/>
              </a:gdLst>
              <a:ahLst/>
              <a:cxnLst>
                <a:cxn ang="0">
                  <a:pos x="T0" y="T1"/>
                </a:cxn>
                <a:cxn ang="0">
                  <a:pos x="T2" y="T3"/>
                </a:cxn>
                <a:cxn ang="0">
                  <a:pos x="T4" y="T5"/>
                </a:cxn>
                <a:cxn ang="0">
                  <a:pos x="T6" y="T7"/>
                </a:cxn>
                <a:cxn ang="0">
                  <a:pos x="T8" y="T9"/>
                </a:cxn>
              </a:cxnLst>
              <a:rect l="0" t="0" r="r" b="b"/>
              <a:pathLst>
                <a:path w="384" h="73">
                  <a:moveTo>
                    <a:pt x="0" y="33"/>
                  </a:moveTo>
                  <a:cubicBezTo>
                    <a:pt x="0" y="73"/>
                    <a:pt x="0" y="73"/>
                    <a:pt x="0" y="73"/>
                  </a:cubicBezTo>
                  <a:cubicBezTo>
                    <a:pt x="384" y="73"/>
                    <a:pt x="384" y="73"/>
                    <a:pt x="384" y="73"/>
                  </a:cubicBezTo>
                  <a:cubicBezTo>
                    <a:pt x="384" y="33"/>
                    <a:pt x="384" y="33"/>
                    <a:pt x="384" y="33"/>
                  </a:cubicBezTo>
                  <a:cubicBezTo>
                    <a:pt x="128" y="0"/>
                    <a:pt x="0" y="33"/>
                    <a:pt x="0" y="33"/>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2" name="Freeform 124"/>
            <p:cNvSpPr>
              <a:spLocks/>
            </p:cNvSpPr>
            <p:nvPr/>
          </p:nvSpPr>
          <p:spPr bwMode="auto">
            <a:xfrm>
              <a:off x="5098426" y="4244311"/>
              <a:ext cx="1575571" cy="945768"/>
            </a:xfrm>
            <a:custGeom>
              <a:avLst/>
              <a:gdLst>
                <a:gd name="T0" fmla="*/ 1040 w 1040"/>
                <a:gd name="T1" fmla="*/ 600 h 624"/>
                <a:gd name="T2" fmla="*/ 1016 w 1040"/>
                <a:gd name="T3" fmla="*/ 624 h 624"/>
                <a:gd name="T4" fmla="*/ 24 w 1040"/>
                <a:gd name="T5" fmla="*/ 624 h 624"/>
                <a:gd name="T6" fmla="*/ 0 w 1040"/>
                <a:gd name="T7" fmla="*/ 600 h 624"/>
                <a:gd name="T8" fmla="*/ 0 w 1040"/>
                <a:gd name="T9" fmla="*/ 24 h 624"/>
                <a:gd name="T10" fmla="*/ 24 w 1040"/>
                <a:gd name="T11" fmla="*/ 0 h 624"/>
                <a:gd name="T12" fmla="*/ 1016 w 1040"/>
                <a:gd name="T13" fmla="*/ 0 h 624"/>
                <a:gd name="T14" fmla="*/ 1040 w 1040"/>
                <a:gd name="T15" fmla="*/ 24 h 624"/>
                <a:gd name="T16" fmla="*/ 1040 w 1040"/>
                <a:gd name="T17" fmla="*/ 60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0" h="624">
                  <a:moveTo>
                    <a:pt x="1040" y="600"/>
                  </a:moveTo>
                  <a:cubicBezTo>
                    <a:pt x="1040" y="613"/>
                    <a:pt x="1029" y="624"/>
                    <a:pt x="1016" y="624"/>
                  </a:cubicBezTo>
                  <a:cubicBezTo>
                    <a:pt x="24" y="624"/>
                    <a:pt x="24" y="624"/>
                    <a:pt x="24" y="624"/>
                  </a:cubicBezTo>
                  <a:cubicBezTo>
                    <a:pt x="11" y="624"/>
                    <a:pt x="0" y="613"/>
                    <a:pt x="0" y="600"/>
                  </a:cubicBezTo>
                  <a:cubicBezTo>
                    <a:pt x="0" y="24"/>
                    <a:pt x="0" y="24"/>
                    <a:pt x="0" y="24"/>
                  </a:cubicBezTo>
                  <a:cubicBezTo>
                    <a:pt x="0" y="11"/>
                    <a:pt x="11" y="0"/>
                    <a:pt x="24" y="0"/>
                  </a:cubicBezTo>
                  <a:cubicBezTo>
                    <a:pt x="1016" y="0"/>
                    <a:pt x="1016" y="0"/>
                    <a:pt x="1016" y="0"/>
                  </a:cubicBezTo>
                  <a:cubicBezTo>
                    <a:pt x="1029" y="0"/>
                    <a:pt x="1040" y="11"/>
                    <a:pt x="1040" y="24"/>
                  </a:cubicBezTo>
                  <a:cubicBezTo>
                    <a:pt x="1040" y="600"/>
                    <a:pt x="1040" y="600"/>
                    <a:pt x="1040" y="600"/>
                  </a:cubicBezTo>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3" name="Freeform 125"/>
            <p:cNvSpPr>
              <a:spLocks/>
            </p:cNvSpPr>
            <p:nvPr/>
          </p:nvSpPr>
          <p:spPr bwMode="auto">
            <a:xfrm>
              <a:off x="5159066" y="4304951"/>
              <a:ext cx="1447908" cy="824488"/>
            </a:xfrm>
            <a:custGeom>
              <a:avLst/>
              <a:gdLst>
                <a:gd name="T0" fmla="*/ 956 w 956"/>
                <a:gd name="T1" fmla="*/ 533 h 544"/>
                <a:gd name="T2" fmla="*/ 947 w 956"/>
                <a:gd name="T3" fmla="*/ 544 h 544"/>
                <a:gd name="T4" fmla="*/ 14 w 956"/>
                <a:gd name="T5" fmla="*/ 544 h 544"/>
                <a:gd name="T6" fmla="*/ 0 w 956"/>
                <a:gd name="T7" fmla="*/ 533 h 544"/>
                <a:gd name="T8" fmla="*/ 0 w 956"/>
                <a:gd name="T9" fmla="*/ 7 h 544"/>
                <a:gd name="T10" fmla="*/ 14 w 956"/>
                <a:gd name="T11" fmla="*/ 0 h 544"/>
                <a:gd name="T12" fmla="*/ 947 w 956"/>
                <a:gd name="T13" fmla="*/ 0 h 544"/>
                <a:gd name="T14" fmla="*/ 956 w 956"/>
                <a:gd name="T15" fmla="*/ 7 h 544"/>
                <a:gd name="T16" fmla="*/ 956 w 956"/>
                <a:gd name="T17" fmla="*/ 533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6" h="544">
                  <a:moveTo>
                    <a:pt x="956" y="533"/>
                  </a:moveTo>
                  <a:cubicBezTo>
                    <a:pt x="956" y="539"/>
                    <a:pt x="952" y="544"/>
                    <a:pt x="947" y="544"/>
                  </a:cubicBezTo>
                  <a:cubicBezTo>
                    <a:pt x="14" y="544"/>
                    <a:pt x="14" y="544"/>
                    <a:pt x="14" y="544"/>
                  </a:cubicBezTo>
                  <a:cubicBezTo>
                    <a:pt x="9" y="544"/>
                    <a:pt x="0" y="539"/>
                    <a:pt x="0" y="533"/>
                  </a:cubicBezTo>
                  <a:cubicBezTo>
                    <a:pt x="0" y="7"/>
                    <a:pt x="0" y="7"/>
                    <a:pt x="0" y="7"/>
                  </a:cubicBezTo>
                  <a:cubicBezTo>
                    <a:pt x="0" y="2"/>
                    <a:pt x="9" y="0"/>
                    <a:pt x="14" y="0"/>
                  </a:cubicBezTo>
                  <a:cubicBezTo>
                    <a:pt x="947" y="0"/>
                    <a:pt x="947" y="0"/>
                    <a:pt x="947" y="0"/>
                  </a:cubicBezTo>
                  <a:cubicBezTo>
                    <a:pt x="952" y="0"/>
                    <a:pt x="956" y="2"/>
                    <a:pt x="956" y="7"/>
                  </a:cubicBezTo>
                  <a:cubicBezTo>
                    <a:pt x="956" y="533"/>
                    <a:pt x="956" y="533"/>
                    <a:pt x="956" y="5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4" name="Freeform 126"/>
            <p:cNvSpPr>
              <a:spLocks noEditPoints="1"/>
            </p:cNvSpPr>
            <p:nvPr/>
          </p:nvSpPr>
          <p:spPr bwMode="auto">
            <a:xfrm>
              <a:off x="5164386" y="4303887"/>
              <a:ext cx="1442589" cy="825552"/>
            </a:xfrm>
            <a:custGeom>
              <a:avLst/>
              <a:gdLst>
                <a:gd name="T0" fmla="*/ 0 w 953"/>
                <a:gd name="T1" fmla="*/ 540 h 545"/>
                <a:gd name="T2" fmla="*/ 11 w 953"/>
                <a:gd name="T3" fmla="*/ 545 h 545"/>
                <a:gd name="T4" fmla="*/ 0 w 953"/>
                <a:gd name="T5" fmla="*/ 540 h 545"/>
                <a:gd name="T6" fmla="*/ 944 w 953"/>
                <a:gd name="T7" fmla="*/ 0 h 545"/>
                <a:gd name="T8" fmla="*/ 942 w 953"/>
                <a:gd name="T9" fmla="*/ 1 h 545"/>
                <a:gd name="T10" fmla="*/ 944 w 953"/>
                <a:gd name="T11" fmla="*/ 1 h 545"/>
                <a:gd name="T12" fmla="*/ 953 w 953"/>
                <a:gd name="T13" fmla="*/ 6 h 545"/>
                <a:gd name="T14" fmla="*/ 944 w 953"/>
                <a:gd name="T15" fmla="*/ 0 h 5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3" h="545">
                  <a:moveTo>
                    <a:pt x="0" y="540"/>
                  </a:moveTo>
                  <a:cubicBezTo>
                    <a:pt x="2" y="543"/>
                    <a:pt x="7" y="545"/>
                    <a:pt x="11" y="545"/>
                  </a:cubicBezTo>
                  <a:cubicBezTo>
                    <a:pt x="7" y="545"/>
                    <a:pt x="3" y="543"/>
                    <a:pt x="0" y="540"/>
                  </a:cubicBezTo>
                  <a:moveTo>
                    <a:pt x="944" y="0"/>
                  </a:moveTo>
                  <a:cubicBezTo>
                    <a:pt x="942" y="1"/>
                    <a:pt x="942" y="1"/>
                    <a:pt x="942" y="1"/>
                  </a:cubicBezTo>
                  <a:cubicBezTo>
                    <a:pt x="944" y="1"/>
                    <a:pt x="944" y="1"/>
                    <a:pt x="944" y="1"/>
                  </a:cubicBezTo>
                  <a:cubicBezTo>
                    <a:pt x="949" y="1"/>
                    <a:pt x="952" y="3"/>
                    <a:pt x="953" y="6"/>
                  </a:cubicBezTo>
                  <a:cubicBezTo>
                    <a:pt x="952" y="2"/>
                    <a:pt x="948" y="0"/>
                    <a:pt x="944" y="0"/>
                  </a:cubicBezTo>
                </a:path>
              </a:pathLst>
            </a:custGeom>
            <a:solidFill>
              <a:srgbClr val="B967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5" name="Freeform 127"/>
            <p:cNvSpPr>
              <a:spLocks/>
            </p:cNvSpPr>
            <p:nvPr/>
          </p:nvSpPr>
          <p:spPr bwMode="auto">
            <a:xfrm>
              <a:off x="5162258" y="4304951"/>
              <a:ext cx="1444716" cy="824488"/>
            </a:xfrm>
            <a:custGeom>
              <a:avLst/>
              <a:gdLst>
                <a:gd name="T0" fmla="*/ 945 w 954"/>
                <a:gd name="T1" fmla="*/ 0 h 544"/>
                <a:gd name="T2" fmla="*/ 943 w 954"/>
                <a:gd name="T3" fmla="*/ 0 h 544"/>
                <a:gd name="T4" fmla="*/ 0 w 954"/>
                <a:gd name="T5" fmla="*/ 535 h 544"/>
                <a:gd name="T6" fmla="*/ 1 w 954"/>
                <a:gd name="T7" fmla="*/ 539 h 544"/>
                <a:gd name="T8" fmla="*/ 12 w 954"/>
                <a:gd name="T9" fmla="*/ 544 h 544"/>
                <a:gd name="T10" fmla="*/ 12 w 954"/>
                <a:gd name="T11" fmla="*/ 544 h 544"/>
                <a:gd name="T12" fmla="*/ 945 w 954"/>
                <a:gd name="T13" fmla="*/ 544 h 544"/>
                <a:gd name="T14" fmla="*/ 954 w 954"/>
                <a:gd name="T15" fmla="*/ 533 h 544"/>
                <a:gd name="T16" fmla="*/ 954 w 954"/>
                <a:gd name="T17" fmla="*/ 7 h 544"/>
                <a:gd name="T18" fmla="*/ 954 w 954"/>
                <a:gd name="T19" fmla="*/ 7 h 544"/>
                <a:gd name="T20" fmla="*/ 954 w 954"/>
                <a:gd name="T21" fmla="*/ 5 h 544"/>
                <a:gd name="T22" fmla="*/ 945 w 954"/>
                <a:gd name="T2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4" h="544">
                  <a:moveTo>
                    <a:pt x="945" y="0"/>
                  </a:moveTo>
                  <a:cubicBezTo>
                    <a:pt x="943" y="0"/>
                    <a:pt x="943" y="0"/>
                    <a:pt x="943" y="0"/>
                  </a:cubicBezTo>
                  <a:cubicBezTo>
                    <a:pt x="0" y="535"/>
                    <a:pt x="0" y="535"/>
                    <a:pt x="0" y="535"/>
                  </a:cubicBezTo>
                  <a:cubicBezTo>
                    <a:pt x="0" y="537"/>
                    <a:pt x="0" y="538"/>
                    <a:pt x="1" y="539"/>
                  </a:cubicBezTo>
                  <a:cubicBezTo>
                    <a:pt x="4" y="542"/>
                    <a:pt x="8" y="544"/>
                    <a:pt x="12" y="544"/>
                  </a:cubicBezTo>
                  <a:cubicBezTo>
                    <a:pt x="12" y="544"/>
                    <a:pt x="12" y="544"/>
                    <a:pt x="12" y="544"/>
                  </a:cubicBezTo>
                  <a:cubicBezTo>
                    <a:pt x="945" y="544"/>
                    <a:pt x="945" y="544"/>
                    <a:pt x="945" y="544"/>
                  </a:cubicBezTo>
                  <a:cubicBezTo>
                    <a:pt x="950" y="544"/>
                    <a:pt x="954" y="539"/>
                    <a:pt x="954" y="533"/>
                  </a:cubicBezTo>
                  <a:cubicBezTo>
                    <a:pt x="954" y="7"/>
                    <a:pt x="954" y="7"/>
                    <a:pt x="954" y="7"/>
                  </a:cubicBezTo>
                  <a:cubicBezTo>
                    <a:pt x="954" y="7"/>
                    <a:pt x="954" y="7"/>
                    <a:pt x="954" y="7"/>
                  </a:cubicBezTo>
                  <a:cubicBezTo>
                    <a:pt x="954" y="7"/>
                    <a:pt x="954" y="6"/>
                    <a:pt x="954" y="5"/>
                  </a:cubicBezTo>
                  <a:cubicBezTo>
                    <a:pt x="953" y="2"/>
                    <a:pt x="950" y="0"/>
                    <a:pt x="945" y="0"/>
                  </a:cubicBezTo>
                </a:path>
              </a:pathLst>
            </a:custGeom>
            <a:solidFill>
              <a:srgbClr val="F1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6" name="Freeform 128"/>
            <p:cNvSpPr>
              <a:spLocks/>
            </p:cNvSpPr>
            <p:nvPr/>
          </p:nvSpPr>
          <p:spPr bwMode="auto">
            <a:xfrm>
              <a:off x="6728254" y="4777303"/>
              <a:ext cx="563844" cy="812786"/>
            </a:xfrm>
            <a:custGeom>
              <a:avLst/>
              <a:gdLst>
                <a:gd name="T0" fmla="*/ 372 w 372"/>
                <a:gd name="T1" fmla="*/ 506 h 536"/>
                <a:gd name="T2" fmla="*/ 341 w 372"/>
                <a:gd name="T3" fmla="*/ 536 h 536"/>
                <a:gd name="T4" fmla="*/ 27 w 372"/>
                <a:gd name="T5" fmla="*/ 536 h 536"/>
                <a:gd name="T6" fmla="*/ 0 w 372"/>
                <a:gd name="T7" fmla="*/ 506 h 536"/>
                <a:gd name="T8" fmla="*/ 0 w 372"/>
                <a:gd name="T9" fmla="*/ 27 h 536"/>
                <a:gd name="T10" fmla="*/ 27 w 372"/>
                <a:gd name="T11" fmla="*/ 0 h 536"/>
                <a:gd name="T12" fmla="*/ 341 w 372"/>
                <a:gd name="T13" fmla="*/ 0 h 536"/>
                <a:gd name="T14" fmla="*/ 372 w 372"/>
                <a:gd name="T15" fmla="*/ 27 h 536"/>
                <a:gd name="T16" fmla="*/ 372 w 372"/>
                <a:gd name="T17" fmla="*/ 50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536">
                  <a:moveTo>
                    <a:pt x="372" y="506"/>
                  </a:moveTo>
                  <a:cubicBezTo>
                    <a:pt x="372" y="522"/>
                    <a:pt x="356" y="536"/>
                    <a:pt x="341" y="536"/>
                  </a:cubicBezTo>
                  <a:cubicBezTo>
                    <a:pt x="27" y="536"/>
                    <a:pt x="27" y="536"/>
                    <a:pt x="27" y="536"/>
                  </a:cubicBezTo>
                  <a:cubicBezTo>
                    <a:pt x="11" y="536"/>
                    <a:pt x="0" y="522"/>
                    <a:pt x="0" y="506"/>
                  </a:cubicBezTo>
                  <a:cubicBezTo>
                    <a:pt x="0" y="27"/>
                    <a:pt x="0" y="27"/>
                    <a:pt x="0" y="27"/>
                  </a:cubicBezTo>
                  <a:cubicBezTo>
                    <a:pt x="0" y="11"/>
                    <a:pt x="11" y="0"/>
                    <a:pt x="27" y="0"/>
                  </a:cubicBezTo>
                  <a:cubicBezTo>
                    <a:pt x="341" y="0"/>
                    <a:pt x="341" y="0"/>
                    <a:pt x="341" y="0"/>
                  </a:cubicBezTo>
                  <a:cubicBezTo>
                    <a:pt x="356" y="0"/>
                    <a:pt x="372" y="11"/>
                    <a:pt x="372" y="27"/>
                  </a:cubicBezTo>
                  <a:cubicBezTo>
                    <a:pt x="372" y="506"/>
                    <a:pt x="372" y="506"/>
                    <a:pt x="372" y="506"/>
                  </a:cubicBezTo>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7" name="Freeform 129"/>
            <p:cNvSpPr>
              <a:spLocks/>
            </p:cNvSpPr>
            <p:nvPr/>
          </p:nvSpPr>
          <p:spPr bwMode="auto">
            <a:xfrm>
              <a:off x="4712247" y="4990074"/>
              <a:ext cx="307454" cy="502140"/>
            </a:xfrm>
            <a:custGeom>
              <a:avLst/>
              <a:gdLst>
                <a:gd name="T0" fmla="*/ 203 w 203"/>
                <a:gd name="T1" fmla="*/ 329 h 332"/>
                <a:gd name="T2" fmla="*/ 202 w 203"/>
                <a:gd name="T3" fmla="*/ 328 h 332"/>
                <a:gd name="T4" fmla="*/ 1 w 203"/>
                <a:gd name="T5" fmla="*/ 328 h 332"/>
                <a:gd name="T6" fmla="*/ 3 w 203"/>
                <a:gd name="T7" fmla="*/ 329 h 332"/>
                <a:gd name="T8" fmla="*/ 3 w 203"/>
                <a:gd name="T9" fmla="*/ 2 h 332"/>
                <a:gd name="T10" fmla="*/ 1 w 203"/>
                <a:gd name="T11" fmla="*/ 8 h 332"/>
                <a:gd name="T12" fmla="*/ 202 w 203"/>
                <a:gd name="T13" fmla="*/ 8 h 332"/>
                <a:gd name="T14" fmla="*/ 203 w 203"/>
                <a:gd name="T15" fmla="*/ 2 h 332"/>
                <a:gd name="T16" fmla="*/ 203 w 203"/>
                <a:gd name="T17" fmla="*/ 32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332">
                  <a:moveTo>
                    <a:pt x="203" y="329"/>
                  </a:moveTo>
                  <a:cubicBezTo>
                    <a:pt x="203" y="332"/>
                    <a:pt x="203" y="328"/>
                    <a:pt x="202" y="328"/>
                  </a:cubicBezTo>
                  <a:cubicBezTo>
                    <a:pt x="1" y="328"/>
                    <a:pt x="1" y="328"/>
                    <a:pt x="1" y="328"/>
                  </a:cubicBezTo>
                  <a:cubicBezTo>
                    <a:pt x="0" y="328"/>
                    <a:pt x="3" y="332"/>
                    <a:pt x="3" y="329"/>
                  </a:cubicBezTo>
                  <a:cubicBezTo>
                    <a:pt x="3" y="2"/>
                    <a:pt x="3" y="2"/>
                    <a:pt x="3" y="2"/>
                  </a:cubicBezTo>
                  <a:cubicBezTo>
                    <a:pt x="3" y="0"/>
                    <a:pt x="0" y="8"/>
                    <a:pt x="1" y="8"/>
                  </a:cubicBezTo>
                  <a:cubicBezTo>
                    <a:pt x="202" y="8"/>
                    <a:pt x="202" y="8"/>
                    <a:pt x="202" y="8"/>
                  </a:cubicBezTo>
                  <a:cubicBezTo>
                    <a:pt x="203" y="8"/>
                    <a:pt x="203" y="0"/>
                    <a:pt x="203" y="2"/>
                  </a:cubicBezTo>
                  <a:cubicBezTo>
                    <a:pt x="203" y="329"/>
                    <a:pt x="203" y="329"/>
                    <a:pt x="203" y="3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8" name="Freeform 130"/>
            <p:cNvSpPr>
              <a:spLocks/>
            </p:cNvSpPr>
            <p:nvPr/>
          </p:nvSpPr>
          <p:spPr bwMode="auto">
            <a:xfrm>
              <a:off x="5001616" y="4994329"/>
              <a:ext cx="5319" cy="7447"/>
            </a:xfrm>
            <a:custGeom>
              <a:avLst/>
              <a:gdLst>
                <a:gd name="T0" fmla="*/ 3 w 3"/>
                <a:gd name="T1" fmla="*/ 0 h 5"/>
                <a:gd name="T2" fmla="*/ 0 w 3"/>
                <a:gd name="T3" fmla="*/ 5 h 5"/>
                <a:gd name="T4" fmla="*/ 3 w 3"/>
                <a:gd name="T5" fmla="*/ 5 h 5"/>
                <a:gd name="T6" fmla="*/ 3 w 3"/>
                <a:gd name="T7" fmla="*/ 0 h 5"/>
              </a:gdLst>
              <a:ahLst/>
              <a:cxnLst>
                <a:cxn ang="0">
                  <a:pos x="T0" y="T1"/>
                </a:cxn>
                <a:cxn ang="0">
                  <a:pos x="T2" y="T3"/>
                </a:cxn>
                <a:cxn ang="0">
                  <a:pos x="T4" y="T5"/>
                </a:cxn>
                <a:cxn ang="0">
                  <a:pos x="T6" y="T7"/>
                </a:cxn>
              </a:cxnLst>
              <a:rect l="0" t="0" r="r" b="b"/>
              <a:pathLst>
                <a:path w="3" h="5">
                  <a:moveTo>
                    <a:pt x="3" y="0"/>
                  </a:moveTo>
                  <a:cubicBezTo>
                    <a:pt x="2" y="2"/>
                    <a:pt x="1" y="3"/>
                    <a:pt x="0" y="5"/>
                  </a:cubicBezTo>
                  <a:cubicBezTo>
                    <a:pt x="3" y="5"/>
                    <a:pt x="3" y="5"/>
                    <a:pt x="3" y="5"/>
                  </a:cubicBezTo>
                  <a:cubicBezTo>
                    <a:pt x="3" y="0"/>
                    <a:pt x="3" y="0"/>
                    <a:pt x="3" y="0"/>
                  </a:cubicBezTo>
                </a:path>
              </a:pathLst>
            </a:custGeom>
            <a:solidFill>
              <a:srgbClr val="F1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9" name="Freeform 131"/>
            <p:cNvSpPr>
              <a:spLocks/>
            </p:cNvSpPr>
            <p:nvPr/>
          </p:nvSpPr>
          <p:spPr bwMode="auto">
            <a:xfrm>
              <a:off x="4725013" y="5001776"/>
              <a:ext cx="281922" cy="424479"/>
            </a:xfrm>
            <a:custGeom>
              <a:avLst/>
              <a:gdLst>
                <a:gd name="T0" fmla="*/ 186 w 186"/>
                <a:gd name="T1" fmla="*/ 0 h 280"/>
                <a:gd name="T2" fmla="*/ 183 w 186"/>
                <a:gd name="T3" fmla="*/ 0 h 280"/>
                <a:gd name="T4" fmla="*/ 3 w 186"/>
                <a:gd name="T5" fmla="*/ 280 h 280"/>
                <a:gd name="T6" fmla="*/ 182 w 186"/>
                <a:gd name="T7" fmla="*/ 280 h 280"/>
                <a:gd name="T8" fmla="*/ 186 w 186"/>
                <a:gd name="T9" fmla="*/ 0 h 280"/>
              </a:gdLst>
              <a:ahLst/>
              <a:cxnLst>
                <a:cxn ang="0">
                  <a:pos x="T0" y="T1"/>
                </a:cxn>
                <a:cxn ang="0">
                  <a:pos x="T2" y="T3"/>
                </a:cxn>
                <a:cxn ang="0">
                  <a:pos x="T4" y="T5"/>
                </a:cxn>
                <a:cxn ang="0">
                  <a:pos x="T6" y="T7"/>
                </a:cxn>
                <a:cxn ang="0">
                  <a:pos x="T8" y="T9"/>
                </a:cxn>
              </a:cxnLst>
              <a:rect l="0" t="0" r="r" b="b"/>
              <a:pathLst>
                <a:path w="186" h="280">
                  <a:moveTo>
                    <a:pt x="186" y="0"/>
                  </a:moveTo>
                  <a:cubicBezTo>
                    <a:pt x="183" y="0"/>
                    <a:pt x="183" y="0"/>
                    <a:pt x="183" y="0"/>
                  </a:cubicBezTo>
                  <a:cubicBezTo>
                    <a:pt x="140" y="72"/>
                    <a:pt x="0" y="280"/>
                    <a:pt x="3" y="280"/>
                  </a:cubicBezTo>
                  <a:cubicBezTo>
                    <a:pt x="182" y="280"/>
                    <a:pt x="182" y="280"/>
                    <a:pt x="182" y="280"/>
                  </a:cubicBezTo>
                  <a:cubicBezTo>
                    <a:pt x="186" y="0"/>
                    <a:pt x="186" y="0"/>
                    <a:pt x="186" y="0"/>
                  </a:cubicBezTo>
                </a:path>
              </a:pathLst>
            </a:custGeom>
            <a:solidFill>
              <a:srgbClr val="F1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0" name="Freeform 132"/>
            <p:cNvSpPr>
              <a:spLocks noEditPoints="1"/>
            </p:cNvSpPr>
            <p:nvPr/>
          </p:nvSpPr>
          <p:spPr bwMode="auto">
            <a:xfrm>
              <a:off x="4706927" y="4908157"/>
              <a:ext cx="319157" cy="602142"/>
            </a:xfrm>
            <a:custGeom>
              <a:avLst/>
              <a:gdLst>
                <a:gd name="T0" fmla="*/ 182 w 211"/>
                <a:gd name="T1" fmla="*/ 0 h 398"/>
                <a:gd name="T2" fmla="*/ 28 w 211"/>
                <a:gd name="T3" fmla="*/ 0 h 398"/>
                <a:gd name="T4" fmla="*/ 0 w 211"/>
                <a:gd name="T5" fmla="*/ 28 h 398"/>
                <a:gd name="T6" fmla="*/ 0 w 211"/>
                <a:gd name="T7" fmla="*/ 369 h 398"/>
                <a:gd name="T8" fmla="*/ 28 w 211"/>
                <a:gd name="T9" fmla="*/ 398 h 398"/>
                <a:gd name="T10" fmla="*/ 182 w 211"/>
                <a:gd name="T11" fmla="*/ 398 h 398"/>
                <a:gd name="T12" fmla="*/ 211 w 211"/>
                <a:gd name="T13" fmla="*/ 369 h 398"/>
                <a:gd name="T14" fmla="*/ 211 w 211"/>
                <a:gd name="T15" fmla="*/ 28 h 398"/>
                <a:gd name="T16" fmla="*/ 182 w 211"/>
                <a:gd name="T17" fmla="*/ 0 h 398"/>
                <a:gd name="T18" fmla="*/ 80 w 211"/>
                <a:gd name="T19" fmla="*/ 32 h 398"/>
                <a:gd name="T20" fmla="*/ 132 w 211"/>
                <a:gd name="T21" fmla="*/ 32 h 398"/>
                <a:gd name="T22" fmla="*/ 140 w 211"/>
                <a:gd name="T23" fmla="*/ 39 h 398"/>
                <a:gd name="T24" fmla="*/ 132 w 211"/>
                <a:gd name="T25" fmla="*/ 47 h 398"/>
                <a:gd name="T26" fmla="*/ 80 w 211"/>
                <a:gd name="T27" fmla="*/ 47 h 398"/>
                <a:gd name="T28" fmla="*/ 73 w 211"/>
                <a:gd name="T29" fmla="*/ 39 h 398"/>
                <a:gd name="T30" fmla="*/ 80 w 211"/>
                <a:gd name="T31" fmla="*/ 32 h 398"/>
                <a:gd name="T32" fmla="*/ 106 w 211"/>
                <a:gd name="T33" fmla="*/ 383 h 398"/>
                <a:gd name="T34" fmla="*/ 85 w 211"/>
                <a:gd name="T35" fmla="*/ 362 h 398"/>
                <a:gd name="T36" fmla="*/ 106 w 211"/>
                <a:gd name="T37" fmla="*/ 341 h 398"/>
                <a:gd name="T38" fmla="*/ 127 w 211"/>
                <a:gd name="T39" fmla="*/ 362 h 398"/>
                <a:gd name="T40" fmla="*/ 106 w 211"/>
                <a:gd name="T41" fmla="*/ 383 h 398"/>
                <a:gd name="T42" fmla="*/ 197 w 211"/>
                <a:gd name="T43" fmla="*/ 335 h 398"/>
                <a:gd name="T44" fmla="*/ 16 w 211"/>
                <a:gd name="T45" fmla="*/ 335 h 398"/>
                <a:gd name="T46" fmla="*/ 16 w 211"/>
                <a:gd name="T47" fmla="*/ 63 h 398"/>
                <a:gd name="T48" fmla="*/ 197 w 211"/>
                <a:gd name="T49" fmla="*/ 63 h 398"/>
                <a:gd name="T50" fmla="*/ 197 w 211"/>
                <a:gd name="T51" fmla="*/ 33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1" h="398">
                  <a:moveTo>
                    <a:pt x="182" y="0"/>
                  </a:moveTo>
                  <a:cubicBezTo>
                    <a:pt x="28" y="0"/>
                    <a:pt x="28" y="0"/>
                    <a:pt x="28" y="0"/>
                  </a:cubicBezTo>
                  <a:cubicBezTo>
                    <a:pt x="13" y="0"/>
                    <a:pt x="0" y="12"/>
                    <a:pt x="0" y="28"/>
                  </a:cubicBezTo>
                  <a:cubicBezTo>
                    <a:pt x="0" y="369"/>
                    <a:pt x="0" y="369"/>
                    <a:pt x="0" y="369"/>
                  </a:cubicBezTo>
                  <a:cubicBezTo>
                    <a:pt x="0" y="385"/>
                    <a:pt x="13" y="398"/>
                    <a:pt x="28" y="398"/>
                  </a:cubicBezTo>
                  <a:cubicBezTo>
                    <a:pt x="182" y="398"/>
                    <a:pt x="182" y="398"/>
                    <a:pt x="182" y="398"/>
                  </a:cubicBezTo>
                  <a:cubicBezTo>
                    <a:pt x="198" y="398"/>
                    <a:pt x="211" y="385"/>
                    <a:pt x="211" y="369"/>
                  </a:cubicBezTo>
                  <a:cubicBezTo>
                    <a:pt x="211" y="28"/>
                    <a:pt x="211" y="28"/>
                    <a:pt x="211" y="28"/>
                  </a:cubicBezTo>
                  <a:cubicBezTo>
                    <a:pt x="211" y="12"/>
                    <a:pt x="198" y="0"/>
                    <a:pt x="182" y="0"/>
                  </a:cubicBezTo>
                  <a:close/>
                  <a:moveTo>
                    <a:pt x="80" y="32"/>
                  </a:moveTo>
                  <a:cubicBezTo>
                    <a:pt x="132" y="32"/>
                    <a:pt x="132" y="32"/>
                    <a:pt x="132" y="32"/>
                  </a:cubicBezTo>
                  <a:cubicBezTo>
                    <a:pt x="136" y="32"/>
                    <a:pt x="140" y="35"/>
                    <a:pt x="140" y="39"/>
                  </a:cubicBezTo>
                  <a:cubicBezTo>
                    <a:pt x="140" y="43"/>
                    <a:pt x="136" y="47"/>
                    <a:pt x="132" y="47"/>
                  </a:cubicBezTo>
                  <a:cubicBezTo>
                    <a:pt x="80" y="47"/>
                    <a:pt x="80" y="47"/>
                    <a:pt x="80" y="47"/>
                  </a:cubicBezTo>
                  <a:cubicBezTo>
                    <a:pt x="76" y="47"/>
                    <a:pt x="73" y="43"/>
                    <a:pt x="73" y="39"/>
                  </a:cubicBezTo>
                  <a:cubicBezTo>
                    <a:pt x="73" y="35"/>
                    <a:pt x="76" y="32"/>
                    <a:pt x="80" y="32"/>
                  </a:cubicBezTo>
                  <a:close/>
                  <a:moveTo>
                    <a:pt x="106" y="383"/>
                  </a:moveTo>
                  <a:cubicBezTo>
                    <a:pt x="94" y="383"/>
                    <a:pt x="85" y="373"/>
                    <a:pt x="85" y="362"/>
                  </a:cubicBezTo>
                  <a:cubicBezTo>
                    <a:pt x="85" y="350"/>
                    <a:pt x="94" y="341"/>
                    <a:pt x="106" y="341"/>
                  </a:cubicBezTo>
                  <a:cubicBezTo>
                    <a:pt x="117" y="341"/>
                    <a:pt x="127" y="350"/>
                    <a:pt x="127" y="362"/>
                  </a:cubicBezTo>
                  <a:cubicBezTo>
                    <a:pt x="127" y="373"/>
                    <a:pt x="117" y="383"/>
                    <a:pt x="106" y="383"/>
                  </a:cubicBezTo>
                  <a:close/>
                  <a:moveTo>
                    <a:pt x="197" y="335"/>
                  </a:moveTo>
                  <a:cubicBezTo>
                    <a:pt x="16" y="335"/>
                    <a:pt x="16" y="335"/>
                    <a:pt x="16" y="335"/>
                  </a:cubicBezTo>
                  <a:cubicBezTo>
                    <a:pt x="16" y="63"/>
                    <a:pt x="16" y="63"/>
                    <a:pt x="16" y="63"/>
                  </a:cubicBezTo>
                  <a:cubicBezTo>
                    <a:pt x="197" y="63"/>
                    <a:pt x="197" y="63"/>
                    <a:pt x="197" y="63"/>
                  </a:cubicBezTo>
                  <a:lnTo>
                    <a:pt x="197" y="335"/>
                  </a:ln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1" name="Freeform 133"/>
            <p:cNvSpPr>
              <a:spLocks/>
            </p:cNvSpPr>
            <p:nvPr/>
          </p:nvSpPr>
          <p:spPr bwMode="auto">
            <a:xfrm>
              <a:off x="4822888" y="4961350"/>
              <a:ext cx="86172" cy="11702"/>
            </a:xfrm>
            <a:custGeom>
              <a:avLst/>
              <a:gdLst>
                <a:gd name="T0" fmla="*/ 4 w 57"/>
                <a:gd name="T1" fmla="*/ 8 h 8"/>
                <a:gd name="T2" fmla="*/ 54 w 57"/>
                <a:gd name="T3" fmla="*/ 8 h 8"/>
                <a:gd name="T4" fmla="*/ 57 w 57"/>
                <a:gd name="T5" fmla="*/ 4 h 8"/>
                <a:gd name="T6" fmla="*/ 54 w 57"/>
                <a:gd name="T7" fmla="*/ 0 h 8"/>
                <a:gd name="T8" fmla="*/ 4 w 57"/>
                <a:gd name="T9" fmla="*/ 0 h 8"/>
                <a:gd name="T10" fmla="*/ 0 w 57"/>
                <a:gd name="T11" fmla="*/ 4 h 8"/>
                <a:gd name="T12" fmla="*/ 4 w 5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57" h="8">
                  <a:moveTo>
                    <a:pt x="4" y="8"/>
                  </a:moveTo>
                  <a:cubicBezTo>
                    <a:pt x="54" y="8"/>
                    <a:pt x="54" y="8"/>
                    <a:pt x="54" y="8"/>
                  </a:cubicBezTo>
                  <a:cubicBezTo>
                    <a:pt x="56" y="8"/>
                    <a:pt x="57" y="6"/>
                    <a:pt x="57" y="4"/>
                  </a:cubicBezTo>
                  <a:cubicBezTo>
                    <a:pt x="57" y="2"/>
                    <a:pt x="56" y="0"/>
                    <a:pt x="54" y="0"/>
                  </a:cubicBezTo>
                  <a:cubicBezTo>
                    <a:pt x="4" y="0"/>
                    <a:pt x="4" y="0"/>
                    <a:pt x="4" y="0"/>
                  </a:cubicBezTo>
                  <a:cubicBezTo>
                    <a:pt x="2" y="0"/>
                    <a:pt x="0" y="2"/>
                    <a:pt x="0" y="4"/>
                  </a:cubicBezTo>
                  <a:cubicBezTo>
                    <a:pt x="0" y="6"/>
                    <a:pt x="2" y="8"/>
                    <a:pt x="4" y="8"/>
                  </a:cubicBezTo>
                  <a:close/>
                </a:path>
              </a:pathLst>
            </a:custGeom>
            <a:solidFill>
              <a:srgbClr val="B035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2" name="Freeform 134"/>
            <p:cNvSpPr>
              <a:spLocks/>
            </p:cNvSpPr>
            <p:nvPr/>
          </p:nvSpPr>
          <p:spPr bwMode="auto">
            <a:xfrm>
              <a:off x="6788894" y="4844326"/>
              <a:ext cx="439373" cy="658527"/>
            </a:xfrm>
            <a:custGeom>
              <a:avLst/>
              <a:gdLst>
                <a:gd name="T0" fmla="*/ 288 w 290"/>
                <a:gd name="T1" fmla="*/ 432 h 435"/>
                <a:gd name="T2" fmla="*/ 288 w 290"/>
                <a:gd name="T3" fmla="*/ 432 h 435"/>
                <a:gd name="T4" fmla="*/ 2 w 290"/>
                <a:gd name="T5" fmla="*/ 432 h 435"/>
                <a:gd name="T6" fmla="*/ 0 w 290"/>
                <a:gd name="T7" fmla="*/ 432 h 435"/>
                <a:gd name="T8" fmla="*/ 0 w 290"/>
                <a:gd name="T9" fmla="*/ 4 h 435"/>
                <a:gd name="T10" fmla="*/ 2 w 290"/>
                <a:gd name="T11" fmla="*/ 0 h 435"/>
                <a:gd name="T12" fmla="*/ 288 w 290"/>
                <a:gd name="T13" fmla="*/ 0 h 435"/>
                <a:gd name="T14" fmla="*/ 288 w 290"/>
                <a:gd name="T15" fmla="*/ 4 h 435"/>
                <a:gd name="T16" fmla="*/ 288 w 290"/>
                <a:gd name="T17" fmla="*/ 43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 h="435">
                  <a:moveTo>
                    <a:pt x="288" y="432"/>
                  </a:moveTo>
                  <a:cubicBezTo>
                    <a:pt x="288" y="435"/>
                    <a:pt x="290" y="432"/>
                    <a:pt x="288" y="432"/>
                  </a:cubicBezTo>
                  <a:cubicBezTo>
                    <a:pt x="2" y="432"/>
                    <a:pt x="2" y="432"/>
                    <a:pt x="2" y="432"/>
                  </a:cubicBezTo>
                  <a:cubicBezTo>
                    <a:pt x="1" y="432"/>
                    <a:pt x="0" y="435"/>
                    <a:pt x="0" y="432"/>
                  </a:cubicBezTo>
                  <a:cubicBezTo>
                    <a:pt x="0" y="4"/>
                    <a:pt x="0" y="4"/>
                    <a:pt x="0" y="4"/>
                  </a:cubicBezTo>
                  <a:cubicBezTo>
                    <a:pt x="0" y="0"/>
                    <a:pt x="1" y="0"/>
                    <a:pt x="2" y="0"/>
                  </a:cubicBezTo>
                  <a:cubicBezTo>
                    <a:pt x="288" y="0"/>
                    <a:pt x="288" y="0"/>
                    <a:pt x="288" y="0"/>
                  </a:cubicBezTo>
                  <a:cubicBezTo>
                    <a:pt x="290" y="0"/>
                    <a:pt x="288" y="0"/>
                    <a:pt x="288" y="4"/>
                  </a:cubicBezTo>
                  <a:cubicBezTo>
                    <a:pt x="288" y="432"/>
                    <a:pt x="288" y="432"/>
                    <a:pt x="288" y="43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3" name="Freeform 135"/>
            <p:cNvSpPr>
              <a:spLocks/>
            </p:cNvSpPr>
            <p:nvPr/>
          </p:nvSpPr>
          <p:spPr bwMode="auto">
            <a:xfrm>
              <a:off x="7225075" y="4853900"/>
              <a:ext cx="0" cy="644697"/>
            </a:xfrm>
            <a:custGeom>
              <a:avLst/>
              <a:gdLst>
                <a:gd name="T0" fmla="*/ 0 h 426"/>
                <a:gd name="T1" fmla="*/ 1 h 426"/>
                <a:gd name="T2" fmla="*/ 426 h 426"/>
                <a:gd name="T3" fmla="*/ 426 h 426"/>
                <a:gd name="T4" fmla="*/ 0 h 426"/>
                <a:gd name="T5" fmla="*/ 0 h 426"/>
              </a:gdLst>
              <a:ahLst/>
              <a:cxnLst>
                <a:cxn ang="0">
                  <a:pos x="0" y="T0"/>
                </a:cxn>
                <a:cxn ang="0">
                  <a:pos x="0" y="T1"/>
                </a:cxn>
                <a:cxn ang="0">
                  <a:pos x="0" y="T2"/>
                </a:cxn>
                <a:cxn ang="0">
                  <a:pos x="0" y="T3"/>
                </a:cxn>
                <a:cxn ang="0">
                  <a:pos x="0" y="T4"/>
                </a:cxn>
                <a:cxn ang="0">
                  <a:pos x="0" y="T5"/>
                </a:cxn>
              </a:cxnLst>
              <a:rect l="0" t="0" r="r" b="b"/>
              <a:pathLst>
                <a:path h="426">
                  <a:moveTo>
                    <a:pt x="0" y="0"/>
                  </a:moveTo>
                  <a:cubicBezTo>
                    <a:pt x="0" y="0"/>
                    <a:pt x="0" y="0"/>
                    <a:pt x="0" y="1"/>
                  </a:cubicBezTo>
                  <a:cubicBezTo>
                    <a:pt x="0" y="426"/>
                    <a:pt x="0" y="426"/>
                    <a:pt x="0" y="426"/>
                  </a:cubicBezTo>
                  <a:cubicBezTo>
                    <a:pt x="0" y="426"/>
                    <a:pt x="0" y="426"/>
                    <a:pt x="0" y="426"/>
                  </a:cubicBezTo>
                  <a:cubicBezTo>
                    <a:pt x="0" y="0"/>
                    <a:pt x="0" y="0"/>
                    <a:pt x="0" y="0"/>
                  </a:cubicBezTo>
                  <a:cubicBezTo>
                    <a:pt x="0" y="0"/>
                    <a:pt x="0" y="0"/>
                    <a:pt x="0" y="0"/>
                  </a:cubicBezTo>
                </a:path>
              </a:pathLst>
            </a:custGeom>
            <a:solidFill>
              <a:srgbClr val="B967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4" name="Freeform 136"/>
            <p:cNvSpPr>
              <a:spLocks/>
            </p:cNvSpPr>
            <p:nvPr/>
          </p:nvSpPr>
          <p:spPr bwMode="auto">
            <a:xfrm>
              <a:off x="6787830" y="4854964"/>
              <a:ext cx="437245" cy="643633"/>
            </a:xfrm>
            <a:custGeom>
              <a:avLst/>
              <a:gdLst>
                <a:gd name="T0" fmla="*/ 289 w 289"/>
                <a:gd name="T1" fmla="*/ 0 h 425"/>
                <a:gd name="T2" fmla="*/ 3 w 289"/>
                <a:gd name="T3" fmla="*/ 425 h 425"/>
                <a:gd name="T4" fmla="*/ 289 w 289"/>
                <a:gd name="T5" fmla="*/ 425 h 425"/>
                <a:gd name="T6" fmla="*/ 289 w 289"/>
                <a:gd name="T7" fmla="*/ 425 h 425"/>
                <a:gd name="T8" fmla="*/ 289 w 289"/>
                <a:gd name="T9" fmla="*/ 425 h 425"/>
                <a:gd name="T10" fmla="*/ 289 w 289"/>
                <a:gd name="T11" fmla="*/ 0 h 425"/>
              </a:gdLst>
              <a:ahLst/>
              <a:cxnLst>
                <a:cxn ang="0">
                  <a:pos x="T0" y="T1"/>
                </a:cxn>
                <a:cxn ang="0">
                  <a:pos x="T2" y="T3"/>
                </a:cxn>
                <a:cxn ang="0">
                  <a:pos x="T4" y="T5"/>
                </a:cxn>
                <a:cxn ang="0">
                  <a:pos x="T6" y="T7"/>
                </a:cxn>
                <a:cxn ang="0">
                  <a:pos x="T8" y="T9"/>
                </a:cxn>
                <a:cxn ang="0">
                  <a:pos x="T10" y="T11"/>
                </a:cxn>
              </a:cxnLst>
              <a:rect l="0" t="0" r="r" b="b"/>
              <a:pathLst>
                <a:path w="289" h="425">
                  <a:moveTo>
                    <a:pt x="289" y="0"/>
                  </a:moveTo>
                  <a:cubicBezTo>
                    <a:pt x="279" y="13"/>
                    <a:pt x="0" y="425"/>
                    <a:pt x="3" y="425"/>
                  </a:cubicBezTo>
                  <a:cubicBezTo>
                    <a:pt x="289" y="425"/>
                    <a:pt x="289" y="425"/>
                    <a:pt x="289" y="425"/>
                  </a:cubicBezTo>
                  <a:cubicBezTo>
                    <a:pt x="289" y="425"/>
                    <a:pt x="289" y="425"/>
                    <a:pt x="289" y="425"/>
                  </a:cubicBezTo>
                  <a:cubicBezTo>
                    <a:pt x="289" y="425"/>
                    <a:pt x="289" y="425"/>
                    <a:pt x="289" y="425"/>
                  </a:cubicBezTo>
                  <a:cubicBezTo>
                    <a:pt x="289" y="0"/>
                    <a:pt x="289" y="0"/>
                    <a:pt x="289" y="0"/>
                  </a:cubicBezTo>
                </a:path>
              </a:pathLst>
            </a:custGeom>
            <a:solidFill>
              <a:srgbClr val="F1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5" name="Oval 137"/>
            <p:cNvSpPr>
              <a:spLocks noChangeArrowheads="1"/>
            </p:cNvSpPr>
            <p:nvPr/>
          </p:nvSpPr>
          <p:spPr bwMode="auto">
            <a:xfrm>
              <a:off x="5308006" y="5648601"/>
              <a:ext cx="1151092" cy="48937"/>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6" name="Freeform 138"/>
            <p:cNvSpPr>
              <a:spLocks/>
            </p:cNvSpPr>
            <p:nvPr/>
          </p:nvSpPr>
          <p:spPr bwMode="auto">
            <a:xfrm>
              <a:off x="5312262" y="5383701"/>
              <a:ext cx="1147901" cy="272347"/>
            </a:xfrm>
            <a:custGeom>
              <a:avLst/>
              <a:gdLst>
                <a:gd name="T0" fmla="*/ 713 w 758"/>
                <a:gd name="T1" fmla="*/ 0 h 180"/>
                <a:gd name="T2" fmla="*/ 699 w 758"/>
                <a:gd name="T3" fmla="*/ 0 h 180"/>
                <a:gd name="T4" fmla="*/ 49 w 758"/>
                <a:gd name="T5" fmla="*/ 0 h 180"/>
                <a:gd name="T6" fmla="*/ 46 w 758"/>
                <a:gd name="T7" fmla="*/ 0 h 180"/>
                <a:gd name="T8" fmla="*/ 44 w 758"/>
                <a:gd name="T9" fmla="*/ 0 h 180"/>
                <a:gd name="T10" fmla="*/ 1 w 758"/>
                <a:gd name="T11" fmla="*/ 179 h 180"/>
                <a:gd name="T12" fmla="*/ 5 w 758"/>
                <a:gd name="T13" fmla="*/ 180 h 180"/>
                <a:gd name="T14" fmla="*/ 756 w 758"/>
                <a:gd name="T15" fmla="*/ 180 h 180"/>
                <a:gd name="T16" fmla="*/ 757 w 758"/>
                <a:gd name="T17" fmla="*/ 178 h 180"/>
                <a:gd name="T18" fmla="*/ 713 w 758"/>
                <a:gd name="T1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8" h="180">
                  <a:moveTo>
                    <a:pt x="713" y="0"/>
                  </a:moveTo>
                  <a:cubicBezTo>
                    <a:pt x="708" y="0"/>
                    <a:pt x="705" y="0"/>
                    <a:pt x="699" y="0"/>
                  </a:cubicBezTo>
                  <a:cubicBezTo>
                    <a:pt x="482" y="0"/>
                    <a:pt x="265" y="0"/>
                    <a:pt x="49" y="0"/>
                  </a:cubicBezTo>
                  <a:cubicBezTo>
                    <a:pt x="48" y="0"/>
                    <a:pt x="47" y="0"/>
                    <a:pt x="46" y="0"/>
                  </a:cubicBezTo>
                  <a:cubicBezTo>
                    <a:pt x="45" y="0"/>
                    <a:pt x="45" y="0"/>
                    <a:pt x="44" y="0"/>
                  </a:cubicBezTo>
                  <a:cubicBezTo>
                    <a:pt x="32" y="60"/>
                    <a:pt x="15" y="119"/>
                    <a:pt x="1" y="179"/>
                  </a:cubicBezTo>
                  <a:cubicBezTo>
                    <a:pt x="0" y="180"/>
                    <a:pt x="3" y="180"/>
                    <a:pt x="5" y="180"/>
                  </a:cubicBezTo>
                  <a:cubicBezTo>
                    <a:pt x="255" y="180"/>
                    <a:pt x="506" y="180"/>
                    <a:pt x="756" y="180"/>
                  </a:cubicBezTo>
                  <a:cubicBezTo>
                    <a:pt x="758" y="180"/>
                    <a:pt x="757" y="180"/>
                    <a:pt x="757" y="178"/>
                  </a:cubicBezTo>
                  <a:cubicBezTo>
                    <a:pt x="744" y="119"/>
                    <a:pt x="727" y="60"/>
                    <a:pt x="713" y="0"/>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27" name="组合 1"/>
            <p:cNvGrpSpPr/>
            <p:nvPr/>
          </p:nvGrpSpPr>
          <p:grpSpPr>
            <a:xfrm>
              <a:off x="5361199" y="5401786"/>
              <a:ext cx="1067047" cy="236176"/>
              <a:chOff x="5361199" y="5401786"/>
              <a:chExt cx="1067047" cy="236176"/>
            </a:xfrm>
          </p:grpSpPr>
          <p:sp>
            <p:nvSpPr>
              <p:cNvPr id="128" name="Freeform 139"/>
              <p:cNvSpPr>
                <a:spLocks/>
              </p:cNvSpPr>
              <p:nvPr/>
            </p:nvSpPr>
            <p:spPr bwMode="auto">
              <a:xfrm>
                <a:off x="5411200" y="5404978"/>
                <a:ext cx="65959" cy="43618"/>
              </a:xfrm>
              <a:custGeom>
                <a:avLst/>
                <a:gdLst>
                  <a:gd name="T0" fmla="*/ 39 w 44"/>
                  <a:gd name="T1" fmla="*/ 27 h 29"/>
                  <a:gd name="T2" fmla="*/ 36 w 44"/>
                  <a:gd name="T3" fmla="*/ 29 h 29"/>
                  <a:gd name="T4" fmla="*/ 2 w 44"/>
                  <a:gd name="T5" fmla="*/ 29 h 29"/>
                  <a:gd name="T6" fmla="*/ 0 w 44"/>
                  <a:gd name="T7" fmla="*/ 27 h 29"/>
                  <a:gd name="T8" fmla="*/ 5 w 44"/>
                  <a:gd name="T9" fmla="*/ 1 h 29"/>
                  <a:gd name="T10" fmla="*/ 7 w 44"/>
                  <a:gd name="T11" fmla="*/ 0 h 29"/>
                  <a:gd name="T12" fmla="*/ 42 w 44"/>
                  <a:gd name="T13" fmla="*/ 0 h 29"/>
                  <a:gd name="T14" fmla="*/ 44 w 44"/>
                  <a:gd name="T15" fmla="*/ 1 h 29"/>
                  <a:gd name="T16" fmla="*/ 39 w 44"/>
                  <a:gd name="T17"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9">
                    <a:moveTo>
                      <a:pt x="39" y="27"/>
                    </a:moveTo>
                    <a:cubicBezTo>
                      <a:pt x="39" y="28"/>
                      <a:pt x="38" y="29"/>
                      <a:pt x="36" y="29"/>
                    </a:cubicBezTo>
                    <a:cubicBezTo>
                      <a:pt x="23" y="29"/>
                      <a:pt x="16" y="29"/>
                      <a:pt x="2" y="29"/>
                    </a:cubicBezTo>
                    <a:cubicBezTo>
                      <a:pt x="0" y="29"/>
                      <a:pt x="0" y="28"/>
                      <a:pt x="0" y="27"/>
                    </a:cubicBezTo>
                    <a:cubicBezTo>
                      <a:pt x="2" y="18"/>
                      <a:pt x="3" y="13"/>
                      <a:pt x="5" y="1"/>
                    </a:cubicBezTo>
                    <a:cubicBezTo>
                      <a:pt x="5" y="0"/>
                      <a:pt x="6" y="0"/>
                      <a:pt x="7" y="0"/>
                    </a:cubicBezTo>
                    <a:cubicBezTo>
                      <a:pt x="21" y="0"/>
                      <a:pt x="28" y="0"/>
                      <a:pt x="42" y="0"/>
                    </a:cubicBezTo>
                    <a:cubicBezTo>
                      <a:pt x="43" y="0"/>
                      <a:pt x="44" y="0"/>
                      <a:pt x="44" y="1"/>
                    </a:cubicBezTo>
                    <a:cubicBezTo>
                      <a:pt x="42" y="13"/>
                      <a:pt x="41" y="18"/>
                      <a:pt x="39"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9" name="Freeform 140"/>
              <p:cNvSpPr>
                <a:spLocks/>
              </p:cNvSpPr>
              <p:nvPr/>
            </p:nvSpPr>
            <p:spPr bwMode="auto">
              <a:xfrm>
                <a:off x="5508011" y="5458170"/>
                <a:ext cx="64895" cy="36171"/>
              </a:xfrm>
              <a:custGeom>
                <a:avLst/>
                <a:gdLst>
                  <a:gd name="T0" fmla="*/ 39 w 43"/>
                  <a:gd name="T1" fmla="*/ 23 h 24"/>
                  <a:gd name="T2" fmla="*/ 36 w 43"/>
                  <a:gd name="T3" fmla="*/ 24 h 24"/>
                  <a:gd name="T4" fmla="*/ 2 w 43"/>
                  <a:gd name="T5" fmla="*/ 24 h 24"/>
                  <a:gd name="T6" fmla="*/ 0 w 43"/>
                  <a:gd name="T7" fmla="*/ 23 h 24"/>
                  <a:gd name="T8" fmla="*/ 5 w 43"/>
                  <a:gd name="T9" fmla="*/ 1 h 24"/>
                  <a:gd name="T10" fmla="*/ 8 w 43"/>
                  <a:gd name="T11" fmla="*/ 0 h 24"/>
                  <a:gd name="T12" fmla="*/ 41 w 43"/>
                  <a:gd name="T13" fmla="*/ 0 h 24"/>
                  <a:gd name="T14" fmla="*/ 43 w 43"/>
                  <a:gd name="T15" fmla="*/ 1 h 24"/>
                  <a:gd name="T16" fmla="*/ 39 w 43"/>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24">
                    <a:moveTo>
                      <a:pt x="39" y="23"/>
                    </a:moveTo>
                    <a:cubicBezTo>
                      <a:pt x="39" y="23"/>
                      <a:pt x="37" y="24"/>
                      <a:pt x="36" y="24"/>
                    </a:cubicBezTo>
                    <a:cubicBezTo>
                      <a:pt x="23" y="24"/>
                      <a:pt x="16" y="24"/>
                      <a:pt x="2" y="24"/>
                    </a:cubicBezTo>
                    <a:cubicBezTo>
                      <a:pt x="1" y="24"/>
                      <a:pt x="0" y="23"/>
                      <a:pt x="0" y="23"/>
                    </a:cubicBezTo>
                    <a:cubicBezTo>
                      <a:pt x="2" y="14"/>
                      <a:pt x="3" y="10"/>
                      <a:pt x="5" y="1"/>
                    </a:cubicBezTo>
                    <a:cubicBezTo>
                      <a:pt x="5" y="0"/>
                      <a:pt x="7" y="0"/>
                      <a:pt x="8" y="0"/>
                    </a:cubicBezTo>
                    <a:cubicBezTo>
                      <a:pt x="21" y="0"/>
                      <a:pt x="28" y="0"/>
                      <a:pt x="41" y="0"/>
                    </a:cubicBezTo>
                    <a:cubicBezTo>
                      <a:pt x="42" y="0"/>
                      <a:pt x="43" y="0"/>
                      <a:pt x="43" y="1"/>
                    </a:cubicBezTo>
                    <a:cubicBezTo>
                      <a:pt x="41" y="10"/>
                      <a:pt x="41" y="14"/>
                      <a:pt x="39"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0" name="Freeform 141"/>
              <p:cNvSpPr>
                <a:spLocks/>
              </p:cNvSpPr>
              <p:nvPr/>
            </p:nvSpPr>
            <p:spPr bwMode="auto">
              <a:xfrm>
                <a:off x="5513330" y="5501789"/>
                <a:ext cx="67023" cy="35107"/>
              </a:xfrm>
              <a:custGeom>
                <a:avLst/>
                <a:gdLst>
                  <a:gd name="T0" fmla="*/ 39 w 44"/>
                  <a:gd name="T1" fmla="*/ 21 h 23"/>
                  <a:gd name="T2" fmla="*/ 37 w 44"/>
                  <a:gd name="T3" fmla="*/ 23 h 23"/>
                  <a:gd name="T4" fmla="*/ 3 w 44"/>
                  <a:gd name="T5" fmla="*/ 23 h 23"/>
                  <a:gd name="T6" fmla="*/ 1 w 44"/>
                  <a:gd name="T7" fmla="*/ 21 h 23"/>
                  <a:gd name="T8" fmla="*/ 6 w 44"/>
                  <a:gd name="T9" fmla="*/ 1 h 23"/>
                  <a:gd name="T10" fmla="*/ 8 w 44"/>
                  <a:gd name="T11" fmla="*/ 0 h 23"/>
                  <a:gd name="T12" fmla="*/ 42 w 44"/>
                  <a:gd name="T13" fmla="*/ 0 h 23"/>
                  <a:gd name="T14" fmla="*/ 44 w 44"/>
                  <a:gd name="T15" fmla="*/ 1 h 23"/>
                  <a:gd name="T16" fmla="*/ 39 w 44"/>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3">
                    <a:moveTo>
                      <a:pt x="39" y="21"/>
                    </a:moveTo>
                    <a:cubicBezTo>
                      <a:pt x="39" y="22"/>
                      <a:pt x="38" y="23"/>
                      <a:pt x="37" y="23"/>
                    </a:cubicBezTo>
                    <a:cubicBezTo>
                      <a:pt x="23" y="23"/>
                      <a:pt x="16" y="23"/>
                      <a:pt x="3" y="23"/>
                    </a:cubicBezTo>
                    <a:cubicBezTo>
                      <a:pt x="1" y="23"/>
                      <a:pt x="0" y="22"/>
                      <a:pt x="1" y="21"/>
                    </a:cubicBezTo>
                    <a:cubicBezTo>
                      <a:pt x="3" y="13"/>
                      <a:pt x="4" y="9"/>
                      <a:pt x="6" y="1"/>
                    </a:cubicBezTo>
                    <a:cubicBezTo>
                      <a:pt x="6" y="1"/>
                      <a:pt x="7" y="0"/>
                      <a:pt x="8" y="0"/>
                    </a:cubicBezTo>
                    <a:cubicBezTo>
                      <a:pt x="22" y="0"/>
                      <a:pt x="29" y="0"/>
                      <a:pt x="42" y="0"/>
                    </a:cubicBezTo>
                    <a:cubicBezTo>
                      <a:pt x="43" y="0"/>
                      <a:pt x="44" y="1"/>
                      <a:pt x="44" y="1"/>
                    </a:cubicBezTo>
                    <a:cubicBezTo>
                      <a:pt x="42" y="9"/>
                      <a:pt x="41" y="13"/>
                      <a:pt x="39"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1" name="Freeform 142"/>
              <p:cNvSpPr>
                <a:spLocks/>
              </p:cNvSpPr>
              <p:nvPr/>
            </p:nvSpPr>
            <p:spPr bwMode="auto">
              <a:xfrm>
                <a:off x="5468648" y="5544343"/>
                <a:ext cx="68087" cy="35107"/>
              </a:xfrm>
              <a:custGeom>
                <a:avLst/>
                <a:gdLst>
                  <a:gd name="T0" fmla="*/ 40 w 45"/>
                  <a:gd name="T1" fmla="*/ 22 h 23"/>
                  <a:gd name="T2" fmla="*/ 37 w 45"/>
                  <a:gd name="T3" fmla="*/ 23 h 23"/>
                  <a:gd name="T4" fmla="*/ 2 w 45"/>
                  <a:gd name="T5" fmla="*/ 23 h 23"/>
                  <a:gd name="T6" fmla="*/ 0 w 45"/>
                  <a:gd name="T7" fmla="*/ 22 h 23"/>
                  <a:gd name="T8" fmla="*/ 5 w 45"/>
                  <a:gd name="T9" fmla="*/ 1 h 23"/>
                  <a:gd name="T10" fmla="*/ 8 w 45"/>
                  <a:gd name="T11" fmla="*/ 0 h 23"/>
                  <a:gd name="T12" fmla="*/ 43 w 45"/>
                  <a:gd name="T13" fmla="*/ 0 h 23"/>
                  <a:gd name="T14" fmla="*/ 45 w 45"/>
                  <a:gd name="T15" fmla="*/ 1 h 23"/>
                  <a:gd name="T16" fmla="*/ 40 w 45"/>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3">
                    <a:moveTo>
                      <a:pt x="40" y="22"/>
                    </a:moveTo>
                    <a:cubicBezTo>
                      <a:pt x="39" y="23"/>
                      <a:pt x="38" y="23"/>
                      <a:pt x="37" y="23"/>
                    </a:cubicBezTo>
                    <a:cubicBezTo>
                      <a:pt x="23" y="23"/>
                      <a:pt x="16" y="23"/>
                      <a:pt x="2" y="23"/>
                    </a:cubicBezTo>
                    <a:cubicBezTo>
                      <a:pt x="0" y="23"/>
                      <a:pt x="0" y="23"/>
                      <a:pt x="0" y="22"/>
                    </a:cubicBezTo>
                    <a:cubicBezTo>
                      <a:pt x="2" y="13"/>
                      <a:pt x="3" y="9"/>
                      <a:pt x="5" y="1"/>
                    </a:cubicBezTo>
                    <a:cubicBezTo>
                      <a:pt x="5" y="0"/>
                      <a:pt x="7" y="0"/>
                      <a:pt x="8" y="0"/>
                    </a:cubicBezTo>
                    <a:cubicBezTo>
                      <a:pt x="22" y="0"/>
                      <a:pt x="29" y="0"/>
                      <a:pt x="43" y="0"/>
                    </a:cubicBezTo>
                    <a:cubicBezTo>
                      <a:pt x="44" y="0"/>
                      <a:pt x="45" y="0"/>
                      <a:pt x="45" y="1"/>
                    </a:cubicBezTo>
                    <a:cubicBezTo>
                      <a:pt x="43" y="9"/>
                      <a:pt x="42" y="13"/>
                      <a:pt x="40"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2" name="Freeform 143"/>
              <p:cNvSpPr>
                <a:spLocks/>
              </p:cNvSpPr>
              <p:nvPr/>
            </p:nvSpPr>
            <p:spPr bwMode="auto">
              <a:xfrm>
                <a:off x="5361199" y="5587961"/>
                <a:ext cx="72342" cy="50001"/>
              </a:xfrm>
              <a:custGeom>
                <a:avLst/>
                <a:gdLst>
                  <a:gd name="T0" fmla="*/ 41 w 48"/>
                  <a:gd name="T1" fmla="*/ 31 h 33"/>
                  <a:gd name="T2" fmla="*/ 38 w 48"/>
                  <a:gd name="T3" fmla="*/ 33 h 33"/>
                  <a:gd name="T4" fmla="*/ 2 w 48"/>
                  <a:gd name="T5" fmla="*/ 33 h 33"/>
                  <a:gd name="T6" fmla="*/ 0 w 48"/>
                  <a:gd name="T7" fmla="*/ 31 h 33"/>
                  <a:gd name="T8" fmla="*/ 7 w 48"/>
                  <a:gd name="T9" fmla="*/ 2 h 33"/>
                  <a:gd name="T10" fmla="*/ 10 w 48"/>
                  <a:gd name="T11" fmla="*/ 0 h 33"/>
                  <a:gd name="T12" fmla="*/ 46 w 48"/>
                  <a:gd name="T13" fmla="*/ 0 h 33"/>
                  <a:gd name="T14" fmla="*/ 48 w 48"/>
                  <a:gd name="T15" fmla="*/ 2 h 33"/>
                  <a:gd name="T16" fmla="*/ 41 w 48"/>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33">
                    <a:moveTo>
                      <a:pt x="41" y="31"/>
                    </a:moveTo>
                    <a:cubicBezTo>
                      <a:pt x="41" y="32"/>
                      <a:pt x="40" y="33"/>
                      <a:pt x="38" y="33"/>
                    </a:cubicBezTo>
                    <a:cubicBezTo>
                      <a:pt x="24" y="33"/>
                      <a:pt x="17" y="33"/>
                      <a:pt x="2" y="33"/>
                    </a:cubicBezTo>
                    <a:cubicBezTo>
                      <a:pt x="1" y="33"/>
                      <a:pt x="0" y="32"/>
                      <a:pt x="0" y="31"/>
                    </a:cubicBezTo>
                    <a:cubicBezTo>
                      <a:pt x="3" y="18"/>
                      <a:pt x="5" y="13"/>
                      <a:pt x="7" y="2"/>
                    </a:cubicBezTo>
                    <a:cubicBezTo>
                      <a:pt x="8" y="1"/>
                      <a:pt x="9" y="0"/>
                      <a:pt x="10" y="0"/>
                    </a:cubicBezTo>
                    <a:cubicBezTo>
                      <a:pt x="24" y="0"/>
                      <a:pt x="32" y="0"/>
                      <a:pt x="46" y="0"/>
                    </a:cubicBezTo>
                    <a:cubicBezTo>
                      <a:pt x="47" y="0"/>
                      <a:pt x="48" y="1"/>
                      <a:pt x="48" y="2"/>
                    </a:cubicBezTo>
                    <a:cubicBezTo>
                      <a:pt x="45" y="12"/>
                      <a:pt x="44" y="18"/>
                      <a:pt x="41"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3" name="Freeform 144"/>
              <p:cNvSpPr>
                <a:spLocks/>
              </p:cNvSpPr>
              <p:nvPr/>
            </p:nvSpPr>
            <p:spPr bwMode="auto">
              <a:xfrm>
                <a:off x="5436733" y="5587961"/>
                <a:ext cx="69151" cy="50001"/>
              </a:xfrm>
              <a:custGeom>
                <a:avLst/>
                <a:gdLst>
                  <a:gd name="T0" fmla="*/ 40 w 46"/>
                  <a:gd name="T1" fmla="*/ 31 h 33"/>
                  <a:gd name="T2" fmla="*/ 38 w 46"/>
                  <a:gd name="T3" fmla="*/ 33 h 33"/>
                  <a:gd name="T4" fmla="*/ 2 w 46"/>
                  <a:gd name="T5" fmla="*/ 33 h 33"/>
                  <a:gd name="T6" fmla="*/ 0 w 46"/>
                  <a:gd name="T7" fmla="*/ 31 h 33"/>
                  <a:gd name="T8" fmla="*/ 6 w 46"/>
                  <a:gd name="T9" fmla="*/ 2 h 33"/>
                  <a:gd name="T10" fmla="*/ 9 w 46"/>
                  <a:gd name="T11" fmla="*/ 0 h 33"/>
                  <a:gd name="T12" fmla="*/ 44 w 46"/>
                  <a:gd name="T13" fmla="*/ 0 h 33"/>
                  <a:gd name="T14" fmla="*/ 46 w 46"/>
                  <a:gd name="T15" fmla="*/ 1 h 33"/>
                  <a:gd name="T16" fmla="*/ 40 w 46"/>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3">
                    <a:moveTo>
                      <a:pt x="40" y="31"/>
                    </a:moveTo>
                    <a:cubicBezTo>
                      <a:pt x="40" y="32"/>
                      <a:pt x="39" y="33"/>
                      <a:pt x="38" y="33"/>
                    </a:cubicBezTo>
                    <a:cubicBezTo>
                      <a:pt x="23" y="33"/>
                      <a:pt x="16" y="33"/>
                      <a:pt x="2" y="33"/>
                    </a:cubicBezTo>
                    <a:cubicBezTo>
                      <a:pt x="0" y="33"/>
                      <a:pt x="0" y="32"/>
                      <a:pt x="0" y="31"/>
                    </a:cubicBezTo>
                    <a:cubicBezTo>
                      <a:pt x="2" y="18"/>
                      <a:pt x="4" y="12"/>
                      <a:pt x="6" y="2"/>
                    </a:cubicBezTo>
                    <a:cubicBezTo>
                      <a:pt x="6" y="1"/>
                      <a:pt x="8" y="0"/>
                      <a:pt x="9" y="0"/>
                    </a:cubicBezTo>
                    <a:cubicBezTo>
                      <a:pt x="23" y="0"/>
                      <a:pt x="30" y="0"/>
                      <a:pt x="44" y="0"/>
                    </a:cubicBezTo>
                    <a:cubicBezTo>
                      <a:pt x="46" y="0"/>
                      <a:pt x="46" y="1"/>
                      <a:pt x="46" y="1"/>
                    </a:cubicBezTo>
                    <a:cubicBezTo>
                      <a:pt x="44" y="12"/>
                      <a:pt x="43" y="18"/>
                      <a:pt x="40"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4" name="Freeform 145"/>
              <p:cNvSpPr>
                <a:spLocks/>
              </p:cNvSpPr>
              <p:nvPr/>
            </p:nvSpPr>
            <p:spPr bwMode="auto">
              <a:xfrm>
                <a:off x="5511203" y="5587961"/>
                <a:ext cx="69151" cy="50001"/>
              </a:xfrm>
              <a:custGeom>
                <a:avLst/>
                <a:gdLst>
                  <a:gd name="T0" fmla="*/ 40 w 46"/>
                  <a:gd name="T1" fmla="*/ 31 h 33"/>
                  <a:gd name="T2" fmla="*/ 38 w 46"/>
                  <a:gd name="T3" fmla="*/ 33 h 33"/>
                  <a:gd name="T4" fmla="*/ 2 w 46"/>
                  <a:gd name="T5" fmla="*/ 33 h 33"/>
                  <a:gd name="T6" fmla="*/ 0 w 46"/>
                  <a:gd name="T7" fmla="*/ 31 h 33"/>
                  <a:gd name="T8" fmla="*/ 6 w 46"/>
                  <a:gd name="T9" fmla="*/ 1 h 33"/>
                  <a:gd name="T10" fmla="*/ 8 w 46"/>
                  <a:gd name="T11" fmla="*/ 0 h 33"/>
                  <a:gd name="T12" fmla="*/ 44 w 46"/>
                  <a:gd name="T13" fmla="*/ 0 h 33"/>
                  <a:gd name="T14" fmla="*/ 46 w 46"/>
                  <a:gd name="T15" fmla="*/ 1 h 33"/>
                  <a:gd name="T16" fmla="*/ 40 w 46"/>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3">
                    <a:moveTo>
                      <a:pt x="40" y="31"/>
                    </a:moveTo>
                    <a:cubicBezTo>
                      <a:pt x="40" y="32"/>
                      <a:pt x="39" y="33"/>
                      <a:pt x="38" y="33"/>
                    </a:cubicBezTo>
                    <a:cubicBezTo>
                      <a:pt x="23" y="33"/>
                      <a:pt x="16" y="33"/>
                      <a:pt x="2" y="33"/>
                    </a:cubicBezTo>
                    <a:cubicBezTo>
                      <a:pt x="1" y="33"/>
                      <a:pt x="0" y="32"/>
                      <a:pt x="0" y="31"/>
                    </a:cubicBezTo>
                    <a:cubicBezTo>
                      <a:pt x="2" y="18"/>
                      <a:pt x="3" y="12"/>
                      <a:pt x="6" y="1"/>
                    </a:cubicBezTo>
                    <a:cubicBezTo>
                      <a:pt x="6" y="1"/>
                      <a:pt x="7" y="0"/>
                      <a:pt x="8" y="0"/>
                    </a:cubicBezTo>
                    <a:cubicBezTo>
                      <a:pt x="23" y="0"/>
                      <a:pt x="30" y="0"/>
                      <a:pt x="44" y="0"/>
                    </a:cubicBezTo>
                    <a:cubicBezTo>
                      <a:pt x="45" y="0"/>
                      <a:pt x="46" y="0"/>
                      <a:pt x="46" y="1"/>
                    </a:cubicBezTo>
                    <a:cubicBezTo>
                      <a:pt x="43" y="12"/>
                      <a:pt x="42" y="18"/>
                      <a:pt x="40"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5" name="Freeform 146"/>
              <p:cNvSpPr>
                <a:spLocks/>
              </p:cNvSpPr>
              <p:nvPr/>
            </p:nvSpPr>
            <p:spPr bwMode="auto">
              <a:xfrm>
                <a:off x="6136750" y="5586897"/>
                <a:ext cx="68087" cy="47874"/>
              </a:xfrm>
              <a:custGeom>
                <a:avLst/>
                <a:gdLst>
                  <a:gd name="T0" fmla="*/ 45 w 45"/>
                  <a:gd name="T1" fmla="*/ 30 h 32"/>
                  <a:gd name="T2" fmla="*/ 43 w 45"/>
                  <a:gd name="T3" fmla="*/ 32 h 32"/>
                  <a:gd name="T4" fmla="*/ 7 w 45"/>
                  <a:gd name="T5" fmla="*/ 32 h 32"/>
                  <a:gd name="T6" fmla="*/ 5 w 45"/>
                  <a:gd name="T7" fmla="*/ 30 h 32"/>
                  <a:gd name="T8" fmla="*/ 0 w 45"/>
                  <a:gd name="T9" fmla="*/ 1 h 32"/>
                  <a:gd name="T10" fmla="*/ 3 w 45"/>
                  <a:gd name="T11" fmla="*/ 0 h 32"/>
                  <a:gd name="T12" fmla="*/ 37 w 45"/>
                  <a:gd name="T13" fmla="*/ 0 h 32"/>
                  <a:gd name="T14" fmla="*/ 40 w 45"/>
                  <a:gd name="T15" fmla="*/ 1 h 32"/>
                  <a:gd name="T16" fmla="*/ 45 w 45"/>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2">
                    <a:moveTo>
                      <a:pt x="45" y="30"/>
                    </a:moveTo>
                    <a:cubicBezTo>
                      <a:pt x="45" y="31"/>
                      <a:pt x="44" y="32"/>
                      <a:pt x="43" y="32"/>
                    </a:cubicBezTo>
                    <a:cubicBezTo>
                      <a:pt x="29" y="32"/>
                      <a:pt x="22" y="32"/>
                      <a:pt x="7" y="32"/>
                    </a:cubicBezTo>
                    <a:cubicBezTo>
                      <a:pt x="6" y="32"/>
                      <a:pt x="5" y="31"/>
                      <a:pt x="5" y="30"/>
                    </a:cubicBezTo>
                    <a:cubicBezTo>
                      <a:pt x="3" y="18"/>
                      <a:pt x="2" y="12"/>
                      <a:pt x="0" y="1"/>
                    </a:cubicBezTo>
                    <a:cubicBezTo>
                      <a:pt x="0" y="1"/>
                      <a:pt x="1" y="0"/>
                      <a:pt x="3" y="0"/>
                    </a:cubicBezTo>
                    <a:cubicBezTo>
                      <a:pt x="16" y="0"/>
                      <a:pt x="23" y="0"/>
                      <a:pt x="37" y="0"/>
                    </a:cubicBezTo>
                    <a:cubicBezTo>
                      <a:pt x="39" y="0"/>
                      <a:pt x="40" y="0"/>
                      <a:pt x="40" y="1"/>
                    </a:cubicBezTo>
                    <a:cubicBezTo>
                      <a:pt x="42" y="12"/>
                      <a:pt x="43" y="17"/>
                      <a:pt x="45"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6" name="Freeform 147"/>
              <p:cNvSpPr>
                <a:spLocks/>
              </p:cNvSpPr>
              <p:nvPr/>
            </p:nvSpPr>
            <p:spPr bwMode="auto">
              <a:xfrm>
                <a:off x="6213348" y="5609238"/>
                <a:ext cx="64895" cy="25533"/>
              </a:xfrm>
              <a:custGeom>
                <a:avLst/>
                <a:gdLst>
                  <a:gd name="T0" fmla="*/ 43 w 43"/>
                  <a:gd name="T1" fmla="*/ 15 h 17"/>
                  <a:gd name="T2" fmla="*/ 41 w 43"/>
                  <a:gd name="T3" fmla="*/ 17 h 17"/>
                  <a:gd name="T4" fmla="*/ 5 w 43"/>
                  <a:gd name="T5" fmla="*/ 17 h 17"/>
                  <a:gd name="T6" fmla="*/ 3 w 43"/>
                  <a:gd name="T7" fmla="*/ 15 h 17"/>
                  <a:gd name="T8" fmla="*/ 0 w 43"/>
                  <a:gd name="T9" fmla="*/ 2 h 17"/>
                  <a:gd name="T10" fmla="*/ 2 w 43"/>
                  <a:gd name="T11" fmla="*/ 0 h 17"/>
                  <a:gd name="T12" fmla="*/ 38 w 43"/>
                  <a:gd name="T13" fmla="*/ 0 h 17"/>
                  <a:gd name="T14" fmla="*/ 40 w 43"/>
                  <a:gd name="T15" fmla="*/ 2 h 17"/>
                  <a:gd name="T16" fmla="*/ 43 w 43"/>
                  <a:gd name="T1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7">
                    <a:moveTo>
                      <a:pt x="43" y="15"/>
                    </a:moveTo>
                    <a:cubicBezTo>
                      <a:pt x="43" y="16"/>
                      <a:pt x="42" y="17"/>
                      <a:pt x="41" y="17"/>
                    </a:cubicBezTo>
                    <a:cubicBezTo>
                      <a:pt x="27" y="17"/>
                      <a:pt x="20" y="17"/>
                      <a:pt x="5" y="17"/>
                    </a:cubicBezTo>
                    <a:cubicBezTo>
                      <a:pt x="4" y="17"/>
                      <a:pt x="3" y="16"/>
                      <a:pt x="3" y="15"/>
                    </a:cubicBezTo>
                    <a:cubicBezTo>
                      <a:pt x="2" y="10"/>
                      <a:pt x="1" y="7"/>
                      <a:pt x="0" y="2"/>
                    </a:cubicBezTo>
                    <a:cubicBezTo>
                      <a:pt x="0" y="1"/>
                      <a:pt x="1" y="0"/>
                      <a:pt x="2" y="0"/>
                    </a:cubicBezTo>
                    <a:cubicBezTo>
                      <a:pt x="17" y="0"/>
                      <a:pt x="24" y="0"/>
                      <a:pt x="38" y="0"/>
                    </a:cubicBezTo>
                    <a:cubicBezTo>
                      <a:pt x="39" y="0"/>
                      <a:pt x="40" y="1"/>
                      <a:pt x="40" y="2"/>
                    </a:cubicBezTo>
                    <a:cubicBezTo>
                      <a:pt x="42" y="7"/>
                      <a:pt x="42" y="9"/>
                      <a:pt x="4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7" name="Freeform 148"/>
              <p:cNvSpPr>
                <a:spLocks/>
              </p:cNvSpPr>
              <p:nvPr/>
            </p:nvSpPr>
            <p:spPr bwMode="auto">
              <a:xfrm>
                <a:off x="6362287" y="5609238"/>
                <a:ext cx="65959" cy="25533"/>
              </a:xfrm>
              <a:custGeom>
                <a:avLst/>
                <a:gdLst>
                  <a:gd name="T0" fmla="*/ 44 w 44"/>
                  <a:gd name="T1" fmla="*/ 15 h 17"/>
                  <a:gd name="T2" fmla="*/ 42 w 44"/>
                  <a:gd name="T3" fmla="*/ 17 h 17"/>
                  <a:gd name="T4" fmla="*/ 6 w 44"/>
                  <a:gd name="T5" fmla="*/ 17 h 17"/>
                  <a:gd name="T6" fmla="*/ 3 w 44"/>
                  <a:gd name="T7" fmla="*/ 15 h 17"/>
                  <a:gd name="T8" fmla="*/ 0 w 44"/>
                  <a:gd name="T9" fmla="*/ 1 h 17"/>
                  <a:gd name="T10" fmla="*/ 2 w 44"/>
                  <a:gd name="T11" fmla="*/ 0 h 17"/>
                  <a:gd name="T12" fmla="*/ 38 w 44"/>
                  <a:gd name="T13" fmla="*/ 0 h 17"/>
                  <a:gd name="T14" fmla="*/ 41 w 44"/>
                  <a:gd name="T15" fmla="*/ 1 h 17"/>
                  <a:gd name="T16" fmla="*/ 44 w 44"/>
                  <a:gd name="T1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7">
                    <a:moveTo>
                      <a:pt x="44" y="15"/>
                    </a:moveTo>
                    <a:cubicBezTo>
                      <a:pt x="44" y="16"/>
                      <a:pt x="43" y="17"/>
                      <a:pt x="42" y="17"/>
                    </a:cubicBezTo>
                    <a:cubicBezTo>
                      <a:pt x="27" y="17"/>
                      <a:pt x="20" y="17"/>
                      <a:pt x="6" y="17"/>
                    </a:cubicBezTo>
                    <a:cubicBezTo>
                      <a:pt x="5" y="17"/>
                      <a:pt x="3" y="16"/>
                      <a:pt x="3" y="15"/>
                    </a:cubicBezTo>
                    <a:cubicBezTo>
                      <a:pt x="2" y="9"/>
                      <a:pt x="1" y="7"/>
                      <a:pt x="0" y="1"/>
                    </a:cubicBezTo>
                    <a:cubicBezTo>
                      <a:pt x="0" y="0"/>
                      <a:pt x="1" y="0"/>
                      <a:pt x="2" y="0"/>
                    </a:cubicBezTo>
                    <a:cubicBezTo>
                      <a:pt x="17" y="0"/>
                      <a:pt x="24" y="0"/>
                      <a:pt x="38" y="0"/>
                    </a:cubicBezTo>
                    <a:cubicBezTo>
                      <a:pt x="39" y="0"/>
                      <a:pt x="41" y="0"/>
                      <a:pt x="41" y="1"/>
                    </a:cubicBezTo>
                    <a:cubicBezTo>
                      <a:pt x="42" y="6"/>
                      <a:pt x="43" y="9"/>
                      <a:pt x="44"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8" name="Freeform 149"/>
              <p:cNvSpPr>
                <a:spLocks/>
              </p:cNvSpPr>
              <p:nvPr/>
            </p:nvSpPr>
            <p:spPr bwMode="auto">
              <a:xfrm>
                <a:off x="5584609" y="5587961"/>
                <a:ext cx="87236" cy="50001"/>
              </a:xfrm>
              <a:custGeom>
                <a:avLst/>
                <a:gdLst>
                  <a:gd name="T0" fmla="*/ 53 w 57"/>
                  <a:gd name="T1" fmla="*/ 31 h 33"/>
                  <a:gd name="T2" fmla="*/ 51 w 57"/>
                  <a:gd name="T3" fmla="*/ 32 h 33"/>
                  <a:gd name="T4" fmla="*/ 2 w 57"/>
                  <a:gd name="T5" fmla="*/ 33 h 33"/>
                  <a:gd name="T6" fmla="*/ 0 w 57"/>
                  <a:gd name="T7" fmla="*/ 31 h 33"/>
                  <a:gd name="T8" fmla="*/ 5 w 57"/>
                  <a:gd name="T9" fmla="*/ 1 h 33"/>
                  <a:gd name="T10" fmla="*/ 8 w 57"/>
                  <a:gd name="T11" fmla="*/ 0 h 33"/>
                  <a:gd name="T12" fmla="*/ 55 w 57"/>
                  <a:gd name="T13" fmla="*/ 0 h 33"/>
                  <a:gd name="T14" fmla="*/ 57 w 57"/>
                  <a:gd name="T15" fmla="*/ 1 h 33"/>
                  <a:gd name="T16" fmla="*/ 53 w 57"/>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3">
                    <a:moveTo>
                      <a:pt x="53" y="31"/>
                    </a:moveTo>
                    <a:cubicBezTo>
                      <a:pt x="53" y="32"/>
                      <a:pt x="52" y="32"/>
                      <a:pt x="51" y="32"/>
                    </a:cubicBezTo>
                    <a:cubicBezTo>
                      <a:pt x="31" y="33"/>
                      <a:pt x="22" y="33"/>
                      <a:pt x="2" y="33"/>
                    </a:cubicBezTo>
                    <a:cubicBezTo>
                      <a:pt x="1" y="33"/>
                      <a:pt x="0" y="32"/>
                      <a:pt x="0" y="31"/>
                    </a:cubicBezTo>
                    <a:cubicBezTo>
                      <a:pt x="2" y="18"/>
                      <a:pt x="3" y="12"/>
                      <a:pt x="5" y="1"/>
                    </a:cubicBezTo>
                    <a:cubicBezTo>
                      <a:pt x="5" y="0"/>
                      <a:pt x="6" y="0"/>
                      <a:pt x="8" y="0"/>
                    </a:cubicBezTo>
                    <a:cubicBezTo>
                      <a:pt x="27" y="0"/>
                      <a:pt x="36" y="0"/>
                      <a:pt x="55" y="0"/>
                    </a:cubicBezTo>
                    <a:cubicBezTo>
                      <a:pt x="56" y="0"/>
                      <a:pt x="57" y="0"/>
                      <a:pt x="57" y="1"/>
                    </a:cubicBezTo>
                    <a:cubicBezTo>
                      <a:pt x="55" y="12"/>
                      <a:pt x="55" y="18"/>
                      <a:pt x="53"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9" name="Freeform 150"/>
              <p:cNvSpPr>
                <a:spLocks/>
              </p:cNvSpPr>
              <p:nvPr/>
            </p:nvSpPr>
            <p:spPr bwMode="auto">
              <a:xfrm>
                <a:off x="6045258" y="5586897"/>
                <a:ext cx="85108" cy="50001"/>
              </a:xfrm>
              <a:custGeom>
                <a:avLst/>
                <a:gdLst>
                  <a:gd name="T0" fmla="*/ 56 w 56"/>
                  <a:gd name="T1" fmla="*/ 31 h 33"/>
                  <a:gd name="T2" fmla="*/ 54 w 56"/>
                  <a:gd name="T3" fmla="*/ 32 h 33"/>
                  <a:gd name="T4" fmla="*/ 5 w 56"/>
                  <a:gd name="T5" fmla="*/ 33 h 33"/>
                  <a:gd name="T6" fmla="*/ 3 w 56"/>
                  <a:gd name="T7" fmla="*/ 31 h 33"/>
                  <a:gd name="T8" fmla="*/ 0 w 56"/>
                  <a:gd name="T9" fmla="*/ 1 h 33"/>
                  <a:gd name="T10" fmla="*/ 2 w 56"/>
                  <a:gd name="T11" fmla="*/ 0 h 33"/>
                  <a:gd name="T12" fmla="*/ 49 w 56"/>
                  <a:gd name="T13" fmla="*/ 0 h 33"/>
                  <a:gd name="T14" fmla="*/ 52 w 56"/>
                  <a:gd name="T15" fmla="*/ 1 h 33"/>
                  <a:gd name="T16" fmla="*/ 56 w 56"/>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33">
                    <a:moveTo>
                      <a:pt x="56" y="31"/>
                    </a:moveTo>
                    <a:cubicBezTo>
                      <a:pt x="56" y="32"/>
                      <a:pt x="55" y="32"/>
                      <a:pt x="54" y="32"/>
                    </a:cubicBezTo>
                    <a:cubicBezTo>
                      <a:pt x="34" y="32"/>
                      <a:pt x="25" y="32"/>
                      <a:pt x="5" y="33"/>
                    </a:cubicBezTo>
                    <a:cubicBezTo>
                      <a:pt x="4" y="33"/>
                      <a:pt x="3" y="32"/>
                      <a:pt x="3" y="31"/>
                    </a:cubicBezTo>
                    <a:cubicBezTo>
                      <a:pt x="2" y="18"/>
                      <a:pt x="1" y="12"/>
                      <a:pt x="0" y="1"/>
                    </a:cubicBezTo>
                    <a:cubicBezTo>
                      <a:pt x="0" y="1"/>
                      <a:pt x="1" y="0"/>
                      <a:pt x="2" y="0"/>
                    </a:cubicBezTo>
                    <a:cubicBezTo>
                      <a:pt x="21" y="0"/>
                      <a:pt x="31" y="0"/>
                      <a:pt x="49" y="0"/>
                    </a:cubicBezTo>
                    <a:cubicBezTo>
                      <a:pt x="51" y="0"/>
                      <a:pt x="52" y="1"/>
                      <a:pt x="52" y="1"/>
                    </a:cubicBezTo>
                    <a:cubicBezTo>
                      <a:pt x="53" y="12"/>
                      <a:pt x="54" y="18"/>
                      <a:pt x="56"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0" name="Freeform 151"/>
              <p:cNvSpPr>
                <a:spLocks/>
              </p:cNvSpPr>
              <p:nvPr/>
            </p:nvSpPr>
            <p:spPr bwMode="auto">
              <a:xfrm>
                <a:off x="5679292" y="5586897"/>
                <a:ext cx="357456" cy="50001"/>
              </a:xfrm>
              <a:custGeom>
                <a:avLst/>
                <a:gdLst>
                  <a:gd name="T0" fmla="*/ 236 w 236"/>
                  <a:gd name="T1" fmla="*/ 31 h 33"/>
                  <a:gd name="T2" fmla="*/ 234 w 236"/>
                  <a:gd name="T3" fmla="*/ 33 h 33"/>
                  <a:gd name="T4" fmla="*/ 2 w 236"/>
                  <a:gd name="T5" fmla="*/ 33 h 33"/>
                  <a:gd name="T6" fmla="*/ 0 w 236"/>
                  <a:gd name="T7" fmla="*/ 32 h 33"/>
                  <a:gd name="T8" fmla="*/ 4 w 236"/>
                  <a:gd name="T9" fmla="*/ 2 h 33"/>
                  <a:gd name="T10" fmla="*/ 6 w 236"/>
                  <a:gd name="T11" fmla="*/ 1 h 33"/>
                  <a:gd name="T12" fmla="*/ 231 w 236"/>
                  <a:gd name="T13" fmla="*/ 0 h 33"/>
                  <a:gd name="T14" fmla="*/ 234 w 236"/>
                  <a:gd name="T15" fmla="*/ 1 h 33"/>
                  <a:gd name="T16" fmla="*/ 236 w 236"/>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33">
                    <a:moveTo>
                      <a:pt x="236" y="31"/>
                    </a:moveTo>
                    <a:cubicBezTo>
                      <a:pt x="236" y="32"/>
                      <a:pt x="235" y="33"/>
                      <a:pt x="234" y="33"/>
                    </a:cubicBezTo>
                    <a:cubicBezTo>
                      <a:pt x="157" y="33"/>
                      <a:pt x="79" y="33"/>
                      <a:pt x="2" y="33"/>
                    </a:cubicBezTo>
                    <a:cubicBezTo>
                      <a:pt x="1" y="33"/>
                      <a:pt x="0" y="33"/>
                      <a:pt x="0" y="32"/>
                    </a:cubicBezTo>
                    <a:cubicBezTo>
                      <a:pt x="1" y="19"/>
                      <a:pt x="2" y="13"/>
                      <a:pt x="4" y="2"/>
                    </a:cubicBezTo>
                    <a:cubicBezTo>
                      <a:pt x="4" y="1"/>
                      <a:pt x="5" y="1"/>
                      <a:pt x="6" y="1"/>
                    </a:cubicBezTo>
                    <a:cubicBezTo>
                      <a:pt x="81" y="0"/>
                      <a:pt x="156" y="0"/>
                      <a:pt x="231" y="0"/>
                    </a:cubicBezTo>
                    <a:cubicBezTo>
                      <a:pt x="232" y="0"/>
                      <a:pt x="234" y="1"/>
                      <a:pt x="234" y="1"/>
                    </a:cubicBezTo>
                    <a:cubicBezTo>
                      <a:pt x="235" y="12"/>
                      <a:pt x="235" y="18"/>
                      <a:pt x="236"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1" name="Freeform 152"/>
              <p:cNvSpPr>
                <a:spLocks/>
              </p:cNvSpPr>
              <p:nvPr/>
            </p:nvSpPr>
            <p:spPr bwMode="auto">
              <a:xfrm>
                <a:off x="5540991" y="5544343"/>
                <a:ext cx="67023" cy="35107"/>
              </a:xfrm>
              <a:custGeom>
                <a:avLst/>
                <a:gdLst>
                  <a:gd name="T0" fmla="*/ 40 w 44"/>
                  <a:gd name="T1" fmla="*/ 22 h 23"/>
                  <a:gd name="T2" fmla="*/ 37 w 44"/>
                  <a:gd name="T3" fmla="*/ 23 h 23"/>
                  <a:gd name="T4" fmla="*/ 2 w 44"/>
                  <a:gd name="T5" fmla="*/ 23 h 23"/>
                  <a:gd name="T6" fmla="*/ 0 w 44"/>
                  <a:gd name="T7" fmla="*/ 22 h 23"/>
                  <a:gd name="T8" fmla="*/ 5 w 44"/>
                  <a:gd name="T9" fmla="*/ 1 h 23"/>
                  <a:gd name="T10" fmla="*/ 8 w 44"/>
                  <a:gd name="T11" fmla="*/ 0 h 23"/>
                  <a:gd name="T12" fmla="*/ 42 w 44"/>
                  <a:gd name="T13" fmla="*/ 0 h 23"/>
                  <a:gd name="T14" fmla="*/ 44 w 44"/>
                  <a:gd name="T15" fmla="*/ 1 h 23"/>
                  <a:gd name="T16" fmla="*/ 40 w 44"/>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3">
                    <a:moveTo>
                      <a:pt x="40" y="22"/>
                    </a:moveTo>
                    <a:cubicBezTo>
                      <a:pt x="39" y="23"/>
                      <a:pt x="38" y="23"/>
                      <a:pt x="37" y="23"/>
                    </a:cubicBezTo>
                    <a:cubicBezTo>
                      <a:pt x="23" y="23"/>
                      <a:pt x="16" y="23"/>
                      <a:pt x="2" y="23"/>
                    </a:cubicBezTo>
                    <a:cubicBezTo>
                      <a:pt x="1" y="23"/>
                      <a:pt x="0" y="23"/>
                      <a:pt x="0" y="22"/>
                    </a:cubicBezTo>
                    <a:cubicBezTo>
                      <a:pt x="2" y="13"/>
                      <a:pt x="3" y="9"/>
                      <a:pt x="5" y="1"/>
                    </a:cubicBezTo>
                    <a:cubicBezTo>
                      <a:pt x="5" y="0"/>
                      <a:pt x="6" y="0"/>
                      <a:pt x="8" y="0"/>
                    </a:cubicBezTo>
                    <a:cubicBezTo>
                      <a:pt x="21" y="0"/>
                      <a:pt x="28" y="0"/>
                      <a:pt x="42" y="0"/>
                    </a:cubicBezTo>
                    <a:cubicBezTo>
                      <a:pt x="43" y="0"/>
                      <a:pt x="44" y="0"/>
                      <a:pt x="44" y="1"/>
                    </a:cubicBezTo>
                    <a:cubicBezTo>
                      <a:pt x="42" y="9"/>
                      <a:pt x="41" y="13"/>
                      <a:pt x="40"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2" name="Freeform 153"/>
              <p:cNvSpPr>
                <a:spLocks/>
              </p:cNvSpPr>
              <p:nvPr/>
            </p:nvSpPr>
            <p:spPr bwMode="auto">
              <a:xfrm>
                <a:off x="5613333" y="5542215"/>
                <a:ext cx="65959" cy="37235"/>
              </a:xfrm>
              <a:custGeom>
                <a:avLst/>
                <a:gdLst>
                  <a:gd name="T0" fmla="*/ 39 w 43"/>
                  <a:gd name="T1" fmla="*/ 23 h 24"/>
                  <a:gd name="T2" fmla="*/ 37 w 43"/>
                  <a:gd name="T3" fmla="*/ 24 h 24"/>
                  <a:gd name="T4" fmla="*/ 2 w 43"/>
                  <a:gd name="T5" fmla="*/ 24 h 24"/>
                  <a:gd name="T6" fmla="*/ 0 w 43"/>
                  <a:gd name="T7" fmla="*/ 23 h 24"/>
                  <a:gd name="T8" fmla="*/ 4 w 43"/>
                  <a:gd name="T9" fmla="*/ 2 h 24"/>
                  <a:gd name="T10" fmla="*/ 7 w 43"/>
                  <a:gd name="T11" fmla="*/ 0 h 24"/>
                  <a:gd name="T12" fmla="*/ 41 w 43"/>
                  <a:gd name="T13" fmla="*/ 0 h 24"/>
                  <a:gd name="T14" fmla="*/ 43 w 43"/>
                  <a:gd name="T15" fmla="*/ 2 h 24"/>
                  <a:gd name="T16" fmla="*/ 39 w 43"/>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24">
                    <a:moveTo>
                      <a:pt x="39" y="23"/>
                    </a:moveTo>
                    <a:cubicBezTo>
                      <a:pt x="39" y="23"/>
                      <a:pt x="38" y="24"/>
                      <a:pt x="37" y="24"/>
                    </a:cubicBezTo>
                    <a:cubicBezTo>
                      <a:pt x="23" y="24"/>
                      <a:pt x="16" y="24"/>
                      <a:pt x="2" y="24"/>
                    </a:cubicBezTo>
                    <a:cubicBezTo>
                      <a:pt x="1" y="24"/>
                      <a:pt x="0" y="24"/>
                      <a:pt x="0" y="23"/>
                    </a:cubicBezTo>
                    <a:cubicBezTo>
                      <a:pt x="2" y="14"/>
                      <a:pt x="3" y="10"/>
                      <a:pt x="4" y="2"/>
                    </a:cubicBezTo>
                    <a:cubicBezTo>
                      <a:pt x="4" y="1"/>
                      <a:pt x="6" y="0"/>
                      <a:pt x="7" y="0"/>
                    </a:cubicBezTo>
                    <a:cubicBezTo>
                      <a:pt x="20" y="0"/>
                      <a:pt x="27" y="0"/>
                      <a:pt x="41" y="0"/>
                    </a:cubicBezTo>
                    <a:cubicBezTo>
                      <a:pt x="42" y="0"/>
                      <a:pt x="43" y="1"/>
                      <a:pt x="43" y="2"/>
                    </a:cubicBezTo>
                    <a:cubicBezTo>
                      <a:pt x="41" y="10"/>
                      <a:pt x="41" y="14"/>
                      <a:pt x="39"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3" name="Freeform 154"/>
              <p:cNvSpPr>
                <a:spLocks/>
              </p:cNvSpPr>
              <p:nvPr/>
            </p:nvSpPr>
            <p:spPr bwMode="auto">
              <a:xfrm>
                <a:off x="5686739" y="5542215"/>
                <a:ext cx="61704" cy="37235"/>
              </a:xfrm>
              <a:custGeom>
                <a:avLst/>
                <a:gdLst>
                  <a:gd name="T0" fmla="*/ 39 w 41"/>
                  <a:gd name="T1" fmla="*/ 23 h 24"/>
                  <a:gd name="T2" fmla="*/ 36 w 41"/>
                  <a:gd name="T3" fmla="*/ 24 h 24"/>
                  <a:gd name="T4" fmla="*/ 2 w 41"/>
                  <a:gd name="T5" fmla="*/ 24 h 24"/>
                  <a:gd name="T6" fmla="*/ 0 w 41"/>
                  <a:gd name="T7" fmla="*/ 23 h 24"/>
                  <a:gd name="T8" fmla="*/ 3 w 41"/>
                  <a:gd name="T9" fmla="*/ 2 h 24"/>
                  <a:gd name="T10" fmla="*/ 5 w 41"/>
                  <a:gd name="T11" fmla="*/ 0 h 24"/>
                  <a:gd name="T12" fmla="*/ 39 w 41"/>
                  <a:gd name="T13" fmla="*/ 0 h 24"/>
                  <a:gd name="T14" fmla="*/ 41 w 41"/>
                  <a:gd name="T15" fmla="*/ 2 h 24"/>
                  <a:gd name="T16" fmla="*/ 39 w 41"/>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4">
                    <a:moveTo>
                      <a:pt x="39" y="23"/>
                    </a:moveTo>
                    <a:cubicBezTo>
                      <a:pt x="39" y="23"/>
                      <a:pt x="38" y="24"/>
                      <a:pt x="36" y="24"/>
                    </a:cubicBezTo>
                    <a:cubicBezTo>
                      <a:pt x="23" y="24"/>
                      <a:pt x="16" y="24"/>
                      <a:pt x="2" y="24"/>
                    </a:cubicBezTo>
                    <a:cubicBezTo>
                      <a:pt x="1" y="24"/>
                      <a:pt x="0" y="23"/>
                      <a:pt x="0" y="23"/>
                    </a:cubicBezTo>
                    <a:cubicBezTo>
                      <a:pt x="1" y="14"/>
                      <a:pt x="2" y="10"/>
                      <a:pt x="3" y="2"/>
                    </a:cubicBezTo>
                    <a:cubicBezTo>
                      <a:pt x="3" y="1"/>
                      <a:pt x="4" y="0"/>
                      <a:pt x="5" y="0"/>
                    </a:cubicBezTo>
                    <a:cubicBezTo>
                      <a:pt x="19" y="0"/>
                      <a:pt x="26" y="0"/>
                      <a:pt x="39" y="0"/>
                    </a:cubicBezTo>
                    <a:cubicBezTo>
                      <a:pt x="40" y="0"/>
                      <a:pt x="41" y="1"/>
                      <a:pt x="41" y="2"/>
                    </a:cubicBezTo>
                    <a:cubicBezTo>
                      <a:pt x="40" y="10"/>
                      <a:pt x="40" y="14"/>
                      <a:pt x="39"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4" name="Freeform 155"/>
              <p:cNvSpPr>
                <a:spLocks/>
              </p:cNvSpPr>
              <p:nvPr/>
            </p:nvSpPr>
            <p:spPr bwMode="auto">
              <a:xfrm>
                <a:off x="5758017" y="5542215"/>
                <a:ext cx="60640" cy="37235"/>
              </a:xfrm>
              <a:custGeom>
                <a:avLst/>
                <a:gdLst>
                  <a:gd name="T0" fmla="*/ 39 w 40"/>
                  <a:gd name="T1" fmla="*/ 22 h 24"/>
                  <a:gd name="T2" fmla="*/ 37 w 40"/>
                  <a:gd name="T3" fmla="*/ 24 h 24"/>
                  <a:gd name="T4" fmla="*/ 2 w 40"/>
                  <a:gd name="T5" fmla="*/ 24 h 24"/>
                  <a:gd name="T6" fmla="*/ 0 w 40"/>
                  <a:gd name="T7" fmla="*/ 23 h 24"/>
                  <a:gd name="T8" fmla="*/ 2 w 40"/>
                  <a:gd name="T9" fmla="*/ 2 h 24"/>
                  <a:gd name="T10" fmla="*/ 5 w 40"/>
                  <a:gd name="T11" fmla="*/ 0 h 24"/>
                  <a:gd name="T12" fmla="*/ 38 w 40"/>
                  <a:gd name="T13" fmla="*/ 0 h 24"/>
                  <a:gd name="T14" fmla="*/ 40 w 40"/>
                  <a:gd name="T15" fmla="*/ 2 h 24"/>
                  <a:gd name="T16" fmla="*/ 39 w 40"/>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4">
                    <a:moveTo>
                      <a:pt x="39" y="22"/>
                    </a:moveTo>
                    <a:cubicBezTo>
                      <a:pt x="39" y="23"/>
                      <a:pt x="38" y="24"/>
                      <a:pt x="37" y="24"/>
                    </a:cubicBezTo>
                    <a:cubicBezTo>
                      <a:pt x="23" y="24"/>
                      <a:pt x="16" y="24"/>
                      <a:pt x="2" y="24"/>
                    </a:cubicBezTo>
                    <a:cubicBezTo>
                      <a:pt x="1" y="24"/>
                      <a:pt x="0" y="23"/>
                      <a:pt x="0" y="23"/>
                    </a:cubicBezTo>
                    <a:cubicBezTo>
                      <a:pt x="1" y="14"/>
                      <a:pt x="2" y="10"/>
                      <a:pt x="2" y="2"/>
                    </a:cubicBezTo>
                    <a:cubicBezTo>
                      <a:pt x="3" y="1"/>
                      <a:pt x="4" y="0"/>
                      <a:pt x="5" y="0"/>
                    </a:cubicBezTo>
                    <a:cubicBezTo>
                      <a:pt x="18" y="0"/>
                      <a:pt x="25" y="0"/>
                      <a:pt x="38" y="0"/>
                    </a:cubicBezTo>
                    <a:cubicBezTo>
                      <a:pt x="40" y="0"/>
                      <a:pt x="40" y="1"/>
                      <a:pt x="40" y="2"/>
                    </a:cubicBezTo>
                    <a:cubicBezTo>
                      <a:pt x="40" y="10"/>
                      <a:pt x="40" y="14"/>
                      <a:pt x="3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5" name="Freeform 156"/>
              <p:cNvSpPr>
                <a:spLocks/>
              </p:cNvSpPr>
              <p:nvPr/>
            </p:nvSpPr>
            <p:spPr bwMode="auto">
              <a:xfrm>
                <a:off x="5830359" y="5542215"/>
                <a:ext cx="59576" cy="37235"/>
              </a:xfrm>
              <a:custGeom>
                <a:avLst/>
                <a:gdLst>
                  <a:gd name="T0" fmla="*/ 38 w 39"/>
                  <a:gd name="T1" fmla="*/ 22 h 24"/>
                  <a:gd name="T2" fmla="*/ 36 w 39"/>
                  <a:gd name="T3" fmla="*/ 24 h 24"/>
                  <a:gd name="T4" fmla="*/ 2 w 39"/>
                  <a:gd name="T5" fmla="*/ 24 h 24"/>
                  <a:gd name="T6" fmla="*/ 0 w 39"/>
                  <a:gd name="T7" fmla="*/ 22 h 24"/>
                  <a:gd name="T8" fmla="*/ 1 w 39"/>
                  <a:gd name="T9" fmla="*/ 2 h 24"/>
                  <a:gd name="T10" fmla="*/ 3 w 39"/>
                  <a:gd name="T11" fmla="*/ 0 h 24"/>
                  <a:gd name="T12" fmla="*/ 36 w 39"/>
                  <a:gd name="T13" fmla="*/ 0 h 24"/>
                  <a:gd name="T14" fmla="*/ 39 w 39"/>
                  <a:gd name="T15" fmla="*/ 2 h 24"/>
                  <a:gd name="T16" fmla="*/ 38 w 39"/>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4">
                    <a:moveTo>
                      <a:pt x="38" y="22"/>
                    </a:moveTo>
                    <a:cubicBezTo>
                      <a:pt x="38" y="23"/>
                      <a:pt x="37" y="24"/>
                      <a:pt x="36" y="24"/>
                    </a:cubicBezTo>
                    <a:cubicBezTo>
                      <a:pt x="22" y="24"/>
                      <a:pt x="16" y="24"/>
                      <a:pt x="2" y="24"/>
                    </a:cubicBezTo>
                    <a:cubicBezTo>
                      <a:pt x="1" y="24"/>
                      <a:pt x="0" y="23"/>
                      <a:pt x="0" y="22"/>
                    </a:cubicBezTo>
                    <a:cubicBezTo>
                      <a:pt x="0" y="14"/>
                      <a:pt x="0" y="10"/>
                      <a:pt x="1" y="2"/>
                    </a:cubicBezTo>
                    <a:cubicBezTo>
                      <a:pt x="1" y="1"/>
                      <a:pt x="2" y="0"/>
                      <a:pt x="3" y="0"/>
                    </a:cubicBezTo>
                    <a:cubicBezTo>
                      <a:pt x="16" y="0"/>
                      <a:pt x="23" y="0"/>
                      <a:pt x="36" y="0"/>
                    </a:cubicBezTo>
                    <a:cubicBezTo>
                      <a:pt x="38" y="0"/>
                      <a:pt x="39" y="1"/>
                      <a:pt x="39" y="2"/>
                    </a:cubicBezTo>
                    <a:cubicBezTo>
                      <a:pt x="38" y="10"/>
                      <a:pt x="38" y="14"/>
                      <a:pt x="38"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6" name="Freeform 157"/>
              <p:cNvSpPr>
                <a:spLocks/>
              </p:cNvSpPr>
              <p:nvPr/>
            </p:nvSpPr>
            <p:spPr bwMode="auto">
              <a:xfrm>
                <a:off x="5901638" y="5542215"/>
                <a:ext cx="58512" cy="37235"/>
              </a:xfrm>
              <a:custGeom>
                <a:avLst/>
                <a:gdLst>
                  <a:gd name="T0" fmla="*/ 39 w 39"/>
                  <a:gd name="T1" fmla="*/ 22 h 24"/>
                  <a:gd name="T2" fmla="*/ 36 w 39"/>
                  <a:gd name="T3" fmla="*/ 24 h 24"/>
                  <a:gd name="T4" fmla="*/ 2 w 39"/>
                  <a:gd name="T5" fmla="*/ 24 h 24"/>
                  <a:gd name="T6" fmla="*/ 0 w 39"/>
                  <a:gd name="T7" fmla="*/ 22 h 24"/>
                  <a:gd name="T8" fmla="*/ 0 w 39"/>
                  <a:gd name="T9" fmla="*/ 2 h 24"/>
                  <a:gd name="T10" fmla="*/ 2 w 39"/>
                  <a:gd name="T11" fmla="*/ 0 h 24"/>
                  <a:gd name="T12" fmla="*/ 35 w 39"/>
                  <a:gd name="T13" fmla="*/ 0 h 24"/>
                  <a:gd name="T14" fmla="*/ 38 w 39"/>
                  <a:gd name="T15" fmla="*/ 2 h 24"/>
                  <a:gd name="T16" fmla="*/ 39 w 39"/>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4">
                    <a:moveTo>
                      <a:pt x="39" y="22"/>
                    </a:moveTo>
                    <a:cubicBezTo>
                      <a:pt x="39" y="23"/>
                      <a:pt x="38" y="24"/>
                      <a:pt x="36" y="24"/>
                    </a:cubicBezTo>
                    <a:cubicBezTo>
                      <a:pt x="23" y="24"/>
                      <a:pt x="16" y="24"/>
                      <a:pt x="2" y="24"/>
                    </a:cubicBezTo>
                    <a:cubicBezTo>
                      <a:pt x="1" y="24"/>
                      <a:pt x="0" y="23"/>
                      <a:pt x="0" y="22"/>
                    </a:cubicBezTo>
                    <a:cubicBezTo>
                      <a:pt x="0" y="14"/>
                      <a:pt x="0" y="10"/>
                      <a:pt x="0" y="2"/>
                    </a:cubicBezTo>
                    <a:cubicBezTo>
                      <a:pt x="0" y="1"/>
                      <a:pt x="1" y="0"/>
                      <a:pt x="2" y="0"/>
                    </a:cubicBezTo>
                    <a:cubicBezTo>
                      <a:pt x="15" y="0"/>
                      <a:pt x="22" y="0"/>
                      <a:pt x="35" y="0"/>
                    </a:cubicBezTo>
                    <a:cubicBezTo>
                      <a:pt x="37" y="0"/>
                      <a:pt x="38" y="1"/>
                      <a:pt x="38" y="2"/>
                    </a:cubicBezTo>
                    <a:cubicBezTo>
                      <a:pt x="38" y="10"/>
                      <a:pt x="38" y="14"/>
                      <a:pt x="3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7" name="Freeform 158"/>
              <p:cNvSpPr>
                <a:spLocks/>
              </p:cNvSpPr>
              <p:nvPr/>
            </p:nvSpPr>
            <p:spPr bwMode="auto">
              <a:xfrm>
                <a:off x="5970788" y="5542215"/>
                <a:ext cx="60640" cy="37235"/>
              </a:xfrm>
              <a:custGeom>
                <a:avLst/>
                <a:gdLst>
                  <a:gd name="T0" fmla="*/ 40 w 40"/>
                  <a:gd name="T1" fmla="*/ 22 h 24"/>
                  <a:gd name="T2" fmla="*/ 38 w 40"/>
                  <a:gd name="T3" fmla="*/ 24 h 24"/>
                  <a:gd name="T4" fmla="*/ 3 w 40"/>
                  <a:gd name="T5" fmla="*/ 24 h 24"/>
                  <a:gd name="T6" fmla="*/ 1 w 40"/>
                  <a:gd name="T7" fmla="*/ 22 h 24"/>
                  <a:gd name="T8" fmla="*/ 0 w 40"/>
                  <a:gd name="T9" fmla="*/ 2 h 24"/>
                  <a:gd name="T10" fmla="*/ 2 w 40"/>
                  <a:gd name="T11" fmla="*/ 0 h 24"/>
                  <a:gd name="T12" fmla="*/ 36 w 40"/>
                  <a:gd name="T13" fmla="*/ 0 h 24"/>
                  <a:gd name="T14" fmla="*/ 38 w 40"/>
                  <a:gd name="T15" fmla="*/ 2 h 24"/>
                  <a:gd name="T16" fmla="*/ 40 w 40"/>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4">
                    <a:moveTo>
                      <a:pt x="40" y="22"/>
                    </a:moveTo>
                    <a:cubicBezTo>
                      <a:pt x="40" y="23"/>
                      <a:pt x="39" y="24"/>
                      <a:pt x="38" y="24"/>
                    </a:cubicBezTo>
                    <a:cubicBezTo>
                      <a:pt x="24" y="24"/>
                      <a:pt x="17" y="24"/>
                      <a:pt x="3" y="24"/>
                    </a:cubicBezTo>
                    <a:cubicBezTo>
                      <a:pt x="2" y="24"/>
                      <a:pt x="1" y="23"/>
                      <a:pt x="1" y="22"/>
                    </a:cubicBezTo>
                    <a:cubicBezTo>
                      <a:pt x="1" y="14"/>
                      <a:pt x="0" y="10"/>
                      <a:pt x="0" y="2"/>
                    </a:cubicBezTo>
                    <a:cubicBezTo>
                      <a:pt x="0" y="1"/>
                      <a:pt x="1" y="0"/>
                      <a:pt x="2" y="0"/>
                    </a:cubicBezTo>
                    <a:cubicBezTo>
                      <a:pt x="15" y="0"/>
                      <a:pt x="22" y="0"/>
                      <a:pt x="36" y="0"/>
                    </a:cubicBezTo>
                    <a:cubicBezTo>
                      <a:pt x="37" y="0"/>
                      <a:pt x="38" y="1"/>
                      <a:pt x="38" y="2"/>
                    </a:cubicBezTo>
                    <a:cubicBezTo>
                      <a:pt x="39" y="10"/>
                      <a:pt x="39" y="14"/>
                      <a:pt x="40"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8" name="Freeform 159"/>
              <p:cNvSpPr>
                <a:spLocks/>
              </p:cNvSpPr>
              <p:nvPr/>
            </p:nvSpPr>
            <p:spPr bwMode="auto">
              <a:xfrm>
                <a:off x="6041003" y="5542215"/>
                <a:ext cx="61704" cy="37235"/>
              </a:xfrm>
              <a:custGeom>
                <a:avLst/>
                <a:gdLst>
                  <a:gd name="T0" fmla="*/ 41 w 41"/>
                  <a:gd name="T1" fmla="*/ 22 h 24"/>
                  <a:gd name="T2" fmla="*/ 39 w 41"/>
                  <a:gd name="T3" fmla="*/ 23 h 24"/>
                  <a:gd name="T4" fmla="*/ 5 w 41"/>
                  <a:gd name="T5" fmla="*/ 24 h 24"/>
                  <a:gd name="T6" fmla="*/ 2 w 41"/>
                  <a:gd name="T7" fmla="*/ 22 h 24"/>
                  <a:gd name="T8" fmla="*/ 0 w 41"/>
                  <a:gd name="T9" fmla="*/ 2 h 24"/>
                  <a:gd name="T10" fmla="*/ 2 w 41"/>
                  <a:gd name="T11" fmla="*/ 0 h 24"/>
                  <a:gd name="T12" fmla="*/ 36 w 41"/>
                  <a:gd name="T13" fmla="*/ 0 h 24"/>
                  <a:gd name="T14" fmla="*/ 38 w 41"/>
                  <a:gd name="T15" fmla="*/ 2 h 24"/>
                  <a:gd name="T16" fmla="*/ 41 w 41"/>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4">
                    <a:moveTo>
                      <a:pt x="41" y="22"/>
                    </a:moveTo>
                    <a:cubicBezTo>
                      <a:pt x="41" y="23"/>
                      <a:pt x="40" y="23"/>
                      <a:pt x="39" y="23"/>
                    </a:cubicBezTo>
                    <a:cubicBezTo>
                      <a:pt x="25" y="24"/>
                      <a:pt x="18" y="24"/>
                      <a:pt x="5" y="24"/>
                    </a:cubicBezTo>
                    <a:cubicBezTo>
                      <a:pt x="3" y="24"/>
                      <a:pt x="2" y="23"/>
                      <a:pt x="2" y="22"/>
                    </a:cubicBezTo>
                    <a:cubicBezTo>
                      <a:pt x="1" y="14"/>
                      <a:pt x="1" y="10"/>
                      <a:pt x="0" y="2"/>
                    </a:cubicBezTo>
                    <a:cubicBezTo>
                      <a:pt x="0" y="1"/>
                      <a:pt x="1" y="0"/>
                      <a:pt x="2" y="0"/>
                    </a:cubicBezTo>
                    <a:cubicBezTo>
                      <a:pt x="16" y="0"/>
                      <a:pt x="22" y="0"/>
                      <a:pt x="36" y="0"/>
                    </a:cubicBezTo>
                    <a:cubicBezTo>
                      <a:pt x="37" y="0"/>
                      <a:pt x="38" y="1"/>
                      <a:pt x="38" y="2"/>
                    </a:cubicBezTo>
                    <a:cubicBezTo>
                      <a:pt x="39" y="10"/>
                      <a:pt x="40" y="13"/>
                      <a:pt x="4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9" name="Freeform 160"/>
              <p:cNvSpPr>
                <a:spLocks/>
              </p:cNvSpPr>
              <p:nvPr/>
            </p:nvSpPr>
            <p:spPr bwMode="auto">
              <a:xfrm>
                <a:off x="6112281" y="5542215"/>
                <a:ext cx="63831" cy="35107"/>
              </a:xfrm>
              <a:custGeom>
                <a:avLst/>
                <a:gdLst>
                  <a:gd name="T0" fmla="*/ 42 w 42"/>
                  <a:gd name="T1" fmla="*/ 22 h 23"/>
                  <a:gd name="T2" fmla="*/ 40 w 42"/>
                  <a:gd name="T3" fmla="*/ 23 h 23"/>
                  <a:gd name="T4" fmla="*/ 5 w 42"/>
                  <a:gd name="T5" fmla="*/ 23 h 23"/>
                  <a:gd name="T6" fmla="*/ 3 w 42"/>
                  <a:gd name="T7" fmla="*/ 22 h 23"/>
                  <a:gd name="T8" fmla="*/ 0 w 42"/>
                  <a:gd name="T9" fmla="*/ 2 h 23"/>
                  <a:gd name="T10" fmla="*/ 2 w 42"/>
                  <a:gd name="T11" fmla="*/ 0 h 23"/>
                  <a:gd name="T12" fmla="*/ 36 w 42"/>
                  <a:gd name="T13" fmla="*/ 0 h 23"/>
                  <a:gd name="T14" fmla="*/ 38 w 42"/>
                  <a:gd name="T15" fmla="*/ 2 h 23"/>
                  <a:gd name="T16" fmla="*/ 42 w 42"/>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3">
                    <a:moveTo>
                      <a:pt x="42" y="22"/>
                    </a:moveTo>
                    <a:cubicBezTo>
                      <a:pt x="42" y="23"/>
                      <a:pt x="41" y="23"/>
                      <a:pt x="40" y="23"/>
                    </a:cubicBezTo>
                    <a:cubicBezTo>
                      <a:pt x="26" y="23"/>
                      <a:pt x="19" y="23"/>
                      <a:pt x="5" y="23"/>
                    </a:cubicBezTo>
                    <a:cubicBezTo>
                      <a:pt x="4" y="23"/>
                      <a:pt x="3" y="23"/>
                      <a:pt x="3" y="22"/>
                    </a:cubicBezTo>
                    <a:cubicBezTo>
                      <a:pt x="2" y="13"/>
                      <a:pt x="1" y="9"/>
                      <a:pt x="0" y="2"/>
                    </a:cubicBezTo>
                    <a:cubicBezTo>
                      <a:pt x="0" y="1"/>
                      <a:pt x="0" y="0"/>
                      <a:pt x="2" y="0"/>
                    </a:cubicBezTo>
                    <a:cubicBezTo>
                      <a:pt x="15" y="0"/>
                      <a:pt x="22" y="0"/>
                      <a:pt x="36" y="0"/>
                    </a:cubicBezTo>
                    <a:cubicBezTo>
                      <a:pt x="37" y="0"/>
                      <a:pt x="38" y="1"/>
                      <a:pt x="38" y="2"/>
                    </a:cubicBezTo>
                    <a:cubicBezTo>
                      <a:pt x="40" y="9"/>
                      <a:pt x="40" y="13"/>
                      <a:pt x="42"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0" name="Freeform 161"/>
              <p:cNvSpPr>
                <a:spLocks/>
              </p:cNvSpPr>
              <p:nvPr/>
            </p:nvSpPr>
            <p:spPr bwMode="auto">
              <a:xfrm>
                <a:off x="6181432" y="5542215"/>
                <a:ext cx="67023" cy="35107"/>
              </a:xfrm>
              <a:custGeom>
                <a:avLst/>
                <a:gdLst>
                  <a:gd name="T0" fmla="*/ 44 w 44"/>
                  <a:gd name="T1" fmla="*/ 22 h 23"/>
                  <a:gd name="T2" fmla="*/ 42 w 44"/>
                  <a:gd name="T3" fmla="*/ 23 h 23"/>
                  <a:gd name="T4" fmla="*/ 7 w 44"/>
                  <a:gd name="T5" fmla="*/ 23 h 23"/>
                  <a:gd name="T6" fmla="*/ 4 w 44"/>
                  <a:gd name="T7" fmla="*/ 22 h 23"/>
                  <a:gd name="T8" fmla="*/ 0 w 44"/>
                  <a:gd name="T9" fmla="*/ 2 h 23"/>
                  <a:gd name="T10" fmla="*/ 2 w 44"/>
                  <a:gd name="T11" fmla="*/ 0 h 23"/>
                  <a:gd name="T12" fmla="*/ 37 w 44"/>
                  <a:gd name="T13" fmla="*/ 0 h 23"/>
                  <a:gd name="T14" fmla="*/ 39 w 44"/>
                  <a:gd name="T15" fmla="*/ 2 h 23"/>
                  <a:gd name="T16" fmla="*/ 44 w 44"/>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3">
                    <a:moveTo>
                      <a:pt x="44" y="22"/>
                    </a:moveTo>
                    <a:cubicBezTo>
                      <a:pt x="44" y="23"/>
                      <a:pt x="43" y="23"/>
                      <a:pt x="42" y="23"/>
                    </a:cubicBezTo>
                    <a:cubicBezTo>
                      <a:pt x="28" y="23"/>
                      <a:pt x="21" y="23"/>
                      <a:pt x="7" y="23"/>
                    </a:cubicBezTo>
                    <a:cubicBezTo>
                      <a:pt x="6" y="23"/>
                      <a:pt x="5" y="23"/>
                      <a:pt x="4" y="22"/>
                    </a:cubicBezTo>
                    <a:cubicBezTo>
                      <a:pt x="3" y="13"/>
                      <a:pt x="2" y="9"/>
                      <a:pt x="0" y="2"/>
                    </a:cubicBezTo>
                    <a:cubicBezTo>
                      <a:pt x="0" y="1"/>
                      <a:pt x="1" y="0"/>
                      <a:pt x="2" y="0"/>
                    </a:cubicBezTo>
                    <a:cubicBezTo>
                      <a:pt x="16" y="0"/>
                      <a:pt x="23" y="0"/>
                      <a:pt x="37" y="0"/>
                    </a:cubicBezTo>
                    <a:cubicBezTo>
                      <a:pt x="38" y="0"/>
                      <a:pt x="39" y="1"/>
                      <a:pt x="39" y="2"/>
                    </a:cubicBezTo>
                    <a:cubicBezTo>
                      <a:pt x="41" y="9"/>
                      <a:pt x="42" y="13"/>
                      <a:pt x="44"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1" name="Freeform 162"/>
              <p:cNvSpPr>
                <a:spLocks/>
              </p:cNvSpPr>
              <p:nvPr/>
            </p:nvSpPr>
            <p:spPr bwMode="auto">
              <a:xfrm>
                <a:off x="6254838" y="5542215"/>
                <a:ext cx="160642" cy="35107"/>
              </a:xfrm>
              <a:custGeom>
                <a:avLst/>
                <a:gdLst>
                  <a:gd name="T0" fmla="*/ 106 w 106"/>
                  <a:gd name="T1" fmla="*/ 22 h 23"/>
                  <a:gd name="T2" fmla="*/ 104 w 106"/>
                  <a:gd name="T3" fmla="*/ 23 h 23"/>
                  <a:gd name="T4" fmla="*/ 7 w 106"/>
                  <a:gd name="T5" fmla="*/ 23 h 23"/>
                  <a:gd name="T6" fmla="*/ 5 w 106"/>
                  <a:gd name="T7" fmla="*/ 22 h 23"/>
                  <a:gd name="T8" fmla="*/ 0 w 106"/>
                  <a:gd name="T9" fmla="*/ 2 h 23"/>
                  <a:gd name="T10" fmla="*/ 2 w 106"/>
                  <a:gd name="T11" fmla="*/ 0 h 23"/>
                  <a:gd name="T12" fmla="*/ 97 w 106"/>
                  <a:gd name="T13" fmla="*/ 0 h 23"/>
                  <a:gd name="T14" fmla="*/ 100 w 106"/>
                  <a:gd name="T15" fmla="*/ 2 h 23"/>
                  <a:gd name="T16" fmla="*/ 106 w 106"/>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23">
                    <a:moveTo>
                      <a:pt x="106" y="22"/>
                    </a:moveTo>
                    <a:cubicBezTo>
                      <a:pt x="106" y="22"/>
                      <a:pt x="105" y="23"/>
                      <a:pt x="104" y="23"/>
                    </a:cubicBezTo>
                    <a:cubicBezTo>
                      <a:pt x="65" y="23"/>
                      <a:pt x="45" y="23"/>
                      <a:pt x="7" y="23"/>
                    </a:cubicBezTo>
                    <a:cubicBezTo>
                      <a:pt x="6" y="23"/>
                      <a:pt x="5" y="23"/>
                      <a:pt x="5" y="22"/>
                    </a:cubicBezTo>
                    <a:cubicBezTo>
                      <a:pt x="3" y="13"/>
                      <a:pt x="2" y="9"/>
                      <a:pt x="0" y="2"/>
                    </a:cubicBezTo>
                    <a:cubicBezTo>
                      <a:pt x="0" y="1"/>
                      <a:pt x="1" y="0"/>
                      <a:pt x="2" y="0"/>
                    </a:cubicBezTo>
                    <a:cubicBezTo>
                      <a:pt x="39" y="0"/>
                      <a:pt x="59" y="0"/>
                      <a:pt x="97" y="0"/>
                    </a:cubicBezTo>
                    <a:cubicBezTo>
                      <a:pt x="99" y="0"/>
                      <a:pt x="100" y="1"/>
                      <a:pt x="100" y="2"/>
                    </a:cubicBezTo>
                    <a:cubicBezTo>
                      <a:pt x="102" y="9"/>
                      <a:pt x="103" y="13"/>
                      <a:pt x="106"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2" name="Freeform 163"/>
              <p:cNvSpPr>
                <a:spLocks/>
              </p:cNvSpPr>
              <p:nvPr/>
            </p:nvSpPr>
            <p:spPr bwMode="auto">
              <a:xfrm>
                <a:off x="5586736" y="5501789"/>
                <a:ext cx="63831" cy="35107"/>
              </a:xfrm>
              <a:custGeom>
                <a:avLst/>
                <a:gdLst>
                  <a:gd name="T0" fmla="*/ 38 w 42"/>
                  <a:gd name="T1" fmla="*/ 21 h 23"/>
                  <a:gd name="T2" fmla="*/ 36 w 42"/>
                  <a:gd name="T3" fmla="*/ 23 h 23"/>
                  <a:gd name="T4" fmla="*/ 2 w 42"/>
                  <a:gd name="T5" fmla="*/ 23 h 23"/>
                  <a:gd name="T6" fmla="*/ 0 w 42"/>
                  <a:gd name="T7" fmla="*/ 21 h 23"/>
                  <a:gd name="T8" fmla="*/ 4 w 42"/>
                  <a:gd name="T9" fmla="*/ 1 h 23"/>
                  <a:gd name="T10" fmla="*/ 7 w 42"/>
                  <a:gd name="T11" fmla="*/ 0 h 23"/>
                  <a:gd name="T12" fmla="*/ 40 w 42"/>
                  <a:gd name="T13" fmla="*/ 0 h 23"/>
                  <a:gd name="T14" fmla="*/ 42 w 42"/>
                  <a:gd name="T15" fmla="*/ 1 h 23"/>
                  <a:gd name="T16" fmla="*/ 38 w 42"/>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3">
                    <a:moveTo>
                      <a:pt x="38" y="21"/>
                    </a:moveTo>
                    <a:cubicBezTo>
                      <a:pt x="38" y="22"/>
                      <a:pt x="37" y="23"/>
                      <a:pt x="36" y="23"/>
                    </a:cubicBezTo>
                    <a:cubicBezTo>
                      <a:pt x="22" y="23"/>
                      <a:pt x="15" y="23"/>
                      <a:pt x="2" y="23"/>
                    </a:cubicBezTo>
                    <a:cubicBezTo>
                      <a:pt x="1" y="23"/>
                      <a:pt x="0" y="22"/>
                      <a:pt x="0" y="21"/>
                    </a:cubicBezTo>
                    <a:cubicBezTo>
                      <a:pt x="2" y="13"/>
                      <a:pt x="3" y="9"/>
                      <a:pt x="4" y="1"/>
                    </a:cubicBezTo>
                    <a:cubicBezTo>
                      <a:pt x="4" y="1"/>
                      <a:pt x="6" y="0"/>
                      <a:pt x="7" y="0"/>
                    </a:cubicBezTo>
                    <a:cubicBezTo>
                      <a:pt x="20" y="0"/>
                      <a:pt x="27" y="0"/>
                      <a:pt x="40" y="0"/>
                    </a:cubicBezTo>
                    <a:cubicBezTo>
                      <a:pt x="41" y="0"/>
                      <a:pt x="42" y="1"/>
                      <a:pt x="42" y="1"/>
                    </a:cubicBezTo>
                    <a:cubicBezTo>
                      <a:pt x="41" y="9"/>
                      <a:pt x="40" y="13"/>
                      <a:pt x="3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3" name="Freeform 164"/>
              <p:cNvSpPr>
                <a:spLocks/>
              </p:cNvSpPr>
              <p:nvPr/>
            </p:nvSpPr>
            <p:spPr bwMode="auto">
              <a:xfrm>
                <a:off x="5655887" y="5501789"/>
                <a:ext cx="62768" cy="35107"/>
              </a:xfrm>
              <a:custGeom>
                <a:avLst/>
                <a:gdLst>
                  <a:gd name="T0" fmla="*/ 39 w 41"/>
                  <a:gd name="T1" fmla="*/ 21 h 23"/>
                  <a:gd name="T2" fmla="*/ 36 w 41"/>
                  <a:gd name="T3" fmla="*/ 23 h 23"/>
                  <a:gd name="T4" fmla="*/ 3 w 41"/>
                  <a:gd name="T5" fmla="*/ 23 h 23"/>
                  <a:gd name="T6" fmla="*/ 1 w 41"/>
                  <a:gd name="T7" fmla="*/ 21 h 23"/>
                  <a:gd name="T8" fmla="*/ 4 w 41"/>
                  <a:gd name="T9" fmla="*/ 1 h 23"/>
                  <a:gd name="T10" fmla="*/ 7 w 41"/>
                  <a:gd name="T11" fmla="*/ 0 h 23"/>
                  <a:gd name="T12" fmla="*/ 39 w 41"/>
                  <a:gd name="T13" fmla="*/ 0 h 23"/>
                  <a:gd name="T14" fmla="*/ 41 w 41"/>
                  <a:gd name="T15" fmla="*/ 1 h 23"/>
                  <a:gd name="T16" fmla="*/ 39 w 41"/>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3">
                    <a:moveTo>
                      <a:pt x="39" y="21"/>
                    </a:moveTo>
                    <a:cubicBezTo>
                      <a:pt x="38" y="22"/>
                      <a:pt x="37" y="23"/>
                      <a:pt x="36" y="23"/>
                    </a:cubicBezTo>
                    <a:cubicBezTo>
                      <a:pt x="23" y="23"/>
                      <a:pt x="16" y="23"/>
                      <a:pt x="3" y="23"/>
                    </a:cubicBezTo>
                    <a:cubicBezTo>
                      <a:pt x="1" y="23"/>
                      <a:pt x="0" y="22"/>
                      <a:pt x="1" y="21"/>
                    </a:cubicBezTo>
                    <a:cubicBezTo>
                      <a:pt x="2" y="13"/>
                      <a:pt x="3" y="9"/>
                      <a:pt x="4" y="1"/>
                    </a:cubicBezTo>
                    <a:cubicBezTo>
                      <a:pt x="4" y="1"/>
                      <a:pt x="5" y="0"/>
                      <a:pt x="7" y="0"/>
                    </a:cubicBezTo>
                    <a:cubicBezTo>
                      <a:pt x="20" y="0"/>
                      <a:pt x="26" y="0"/>
                      <a:pt x="39" y="0"/>
                    </a:cubicBezTo>
                    <a:cubicBezTo>
                      <a:pt x="41" y="0"/>
                      <a:pt x="41" y="1"/>
                      <a:pt x="41" y="1"/>
                    </a:cubicBezTo>
                    <a:cubicBezTo>
                      <a:pt x="40" y="9"/>
                      <a:pt x="40" y="13"/>
                      <a:pt x="39"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4" name="Freeform 165"/>
              <p:cNvSpPr>
                <a:spLocks/>
              </p:cNvSpPr>
              <p:nvPr/>
            </p:nvSpPr>
            <p:spPr bwMode="auto">
              <a:xfrm>
                <a:off x="5727165" y="5501789"/>
                <a:ext cx="59576" cy="35107"/>
              </a:xfrm>
              <a:custGeom>
                <a:avLst/>
                <a:gdLst>
                  <a:gd name="T0" fmla="*/ 38 w 39"/>
                  <a:gd name="T1" fmla="*/ 21 h 23"/>
                  <a:gd name="T2" fmla="*/ 35 w 39"/>
                  <a:gd name="T3" fmla="*/ 23 h 23"/>
                  <a:gd name="T4" fmla="*/ 2 w 39"/>
                  <a:gd name="T5" fmla="*/ 23 h 23"/>
                  <a:gd name="T6" fmla="*/ 0 w 39"/>
                  <a:gd name="T7" fmla="*/ 21 h 23"/>
                  <a:gd name="T8" fmla="*/ 2 w 39"/>
                  <a:gd name="T9" fmla="*/ 1 h 23"/>
                  <a:gd name="T10" fmla="*/ 5 w 39"/>
                  <a:gd name="T11" fmla="*/ 0 h 23"/>
                  <a:gd name="T12" fmla="*/ 37 w 39"/>
                  <a:gd name="T13" fmla="*/ 0 h 23"/>
                  <a:gd name="T14" fmla="*/ 39 w 39"/>
                  <a:gd name="T15" fmla="*/ 2 h 23"/>
                  <a:gd name="T16" fmla="*/ 38 w 39"/>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3">
                    <a:moveTo>
                      <a:pt x="38" y="21"/>
                    </a:moveTo>
                    <a:cubicBezTo>
                      <a:pt x="37" y="22"/>
                      <a:pt x="36" y="23"/>
                      <a:pt x="35" y="23"/>
                    </a:cubicBezTo>
                    <a:cubicBezTo>
                      <a:pt x="22" y="23"/>
                      <a:pt x="15" y="23"/>
                      <a:pt x="2" y="23"/>
                    </a:cubicBezTo>
                    <a:cubicBezTo>
                      <a:pt x="1" y="23"/>
                      <a:pt x="0" y="22"/>
                      <a:pt x="0" y="21"/>
                    </a:cubicBezTo>
                    <a:cubicBezTo>
                      <a:pt x="1" y="13"/>
                      <a:pt x="1" y="9"/>
                      <a:pt x="2" y="1"/>
                    </a:cubicBezTo>
                    <a:cubicBezTo>
                      <a:pt x="3" y="1"/>
                      <a:pt x="4" y="0"/>
                      <a:pt x="5" y="0"/>
                    </a:cubicBezTo>
                    <a:cubicBezTo>
                      <a:pt x="18" y="0"/>
                      <a:pt x="24" y="0"/>
                      <a:pt x="37" y="0"/>
                    </a:cubicBezTo>
                    <a:cubicBezTo>
                      <a:pt x="38" y="0"/>
                      <a:pt x="39" y="1"/>
                      <a:pt x="39" y="2"/>
                    </a:cubicBezTo>
                    <a:cubicBezTo>
                      <a:pt x="39" y="10"/>
                      <a:pt x="38" y="13"/>
                      <a:pt x="3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5" name="Freeform 166"/>
              <p:cNvSpPr>
                <a:spLocks/>
              </p:cNvSpPr>
              <p:nvPr/>
            </p:nvSpPr>
            <p:spPr bwMode="auto">
              <a:xfrm>
                <a:off x="5797380" y="5501789"/>
                <a:ext cx="57448" cy="35107"/>
              </a:xfrm>
              <a:custGeom>
                <a:avLst/>
                <a:gdLst>
                  <a:gd name="T0" fmla="*/ 37 w 38"/>
                  <a:gd name="T1" fmla="*/ 21 h 23"/>
                  <a:gd name="T2" fmla="*/ 35 w 38"/>
                  <a:gd name="T3" fmla="*/ 23 h 23"/>
                  <a:gd name="T4" fmla="*/ 2 w 38"/>
                  <a:gd name="T5" fmla="*/ 23 h 23"/>
                  <a:gd name="T6" fmla="*/ 0 w 38"/>
                  <a:gd name="T7" fmla="*/ 21 h 23"/>
                  <a:gd name="T8" fmla="*/ 1 w 38"/>
                  <a:gd name="T9" fmla="*/ 2 h 23"/>
                  <a:gd name="T10" fmla="*/ 3 w 38"/>
                  <a:gd name="T11" fmla="*/ 0 h 23"/>
                  <a:gd name="T12" fmla="*/ 36 w 38"/>
                  <a:gd name="T13" fmla="*/ 0 h 23"/>
                  <a:gd name="T14" fmla="*/ 38 w 38"/>
                  <a:gd name="T15" fmla="*/ 2 h 23"/>
                  <a:gd name="T16" fmla="*/ 37 w 38"/>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37" y="21"/>
                    </a:moveTo>
                    <a:cubicBezTo>
                      <a:pt x="37" y="22"/>
                      <a:pt x="36" y="23"/>
                      <a:pt x="35" y="23"/>
                    </a:cubicBezTo>
                    <a:cubicBezTo>
                      <a:pt x="22" y="23"/>
                      <a:pt x="15" y="23"/>
                      <a:pt x="2" y="23"/>
                    </a:cubicBezTo>
                    <a:cubicBezTo>
                      <a:pt x="1" y="23"/>
                      <a:pt x="0" y="22"/>
                      <a:pt x="0" y="21"/>
                    </a:cubicBezTo>
                    <a:cubicBezTo>
                      <a:pt x="0" y="13"/>
                      <a:pt x="1" y="10"/>
                      <a:pt x="1" y="2"/>
                    </a:cubicBezTo>
                    <a:cubicBezTo>
                      <a:pt x="1" y="1"/>
                      <a:pt x="2" y="0"/>
                      <a:pt x="3" y="0"/>
                    </a:cubicBezTo>
                    <a:cubicBezTo>
                      <a:pt x="16" y="0"/>
                      <a:pt x="23" y="0"/>
                      <a:pt x="36" y="0"/>
                    </a:cubicBezTo>
                    <a:cubicBezTo>
                      <a:pt x="37" y="0"/>
                      <a:pt x="38" y="1"/>
                      <a:pt x="38" y="2"/>
                    </a:cubicBezTo>
                    <a:cubicBezTo>
                      <a:pt x="38" y="10"/>
                      <a:pt x="38" y="13"/>
                      <a:pt x="37"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6" name="Freeform 167"/>
              <p:cNvSpPr>
                <a:spLocks/>
              </p:cNvSpPr>
              <p:nvPr/>
            </p:nvSpPr>
            <p:spPr bwMode="auto">
              <a:xfrm>
                <a:off x="5865467" y="5501789"/>
                <a:ext cx="57448" cy="35107"/>
              </a:xfrm>
              <a:custGeom>
                <a:avLst/>
                <a:gdLst>
                  <a:gd name="T0" fmla="*/ 38 w 38"/>
                  <a:gd name="T1" fmla="*/ 21 h 23"/>
                  <a:gd name="T2" fmla="*/ 36 w 38"/>
                  <a:gd name="T3" fmla="*/ 23 h 23"/>
                  <a:gd name="T4" fmla="*/ 3 w 38"/>
                  <a:gd name="T5" fmla="*/ 23 h 23"/>
                  <a:gd name="T6" fmla="*/ 0 w 38"/>
                  <a:gd name="T7" fmla="*/ 21 h 23"/>
                  <a:gd name="T8" fmla="*/ 1 w 38"/>
                  <a:gd name="T9" fmla="*/ 2 h 23"/>
                  <a:gd name="T10" fmla="*/ 3 w 38"/>
                  <a:gd name="T11" fmla="*/ 0 h 23"/>
                  <a:gd name="T12" fmla="*/ 35 w 38"/>
                  <a:gd name="T13" fmla="*/ 0 h 23"/>
                  <a:gd name="T14" fmla="*/ 38 w 38"/>
                  <a:gd name="T15" fmla="*/ 2 h 23"/>
                  <a:gd name="T16" fmla="*/ 38 w 38"/>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38" y="21"/>
                    </a:moveTo>
                    <a:cubicBezTo>
                      <a:pt x="38" y="22"/>
                      <a:pt x="37" y="23"/>
                      <a:pt x="36" y="23"/>
                    </a:cubicBezTo>
                    <a:cubicBezTo>
                      <a:pt x="23" y="23"/>
                      <a:pt x="16" y="23"/>
                      <a:pt x="3" y="23"/>
                    </a:cubicBezTo>
                    <a:cubicBezTo>
                      <a:pt x="1" y="23"/>
                      <a:pt x="0" y="22"/>
                      <a:pt x="0" y="21"/>
                    </a:cubicBezTo>
                    <a:cubicBezTo>
                      <a:pt x="1" y="13"/>
                      <a:pt x="1" y="10"/>
                      <a:pt x="1" y="2"/>
                    </a:cubicBezTo>
                    <a:cubicBezTo>
                      <a:pt x="1" y="1"/>
                      <a:pt x="2" y="0"/>
                      <a:pt x="3" y="0"/>
                    </a:cubicBezTo>
                    <a:cubicBezTo>
                      <a:pt x="16" y="0"/>
                      <a:pt x="22" y="0"/>
                      <a:pt x="35" y="0"/>
                    </a:cubicBezTo>
                    <a:cubicBezTo>
                      <a:pt x="37" y="0"/>
                      <a:pt x="37" y="1"/>
                      <a:pt x="38" y="2"/>
                    </a:cubicBezTo>
                    <a:cubicBezTo>
                      <a:pt x="38" y="10"/>
                      <a:pt x="38" y="13"/>
                      <a:pt x="3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7" name="Freeform 168"/>
              <p:cNvSpPr>
                <a:spLocks/>
              </p:cNvSpPr>
              <p:nvPr/>
            </p:nvSpPr>
            <p:spPr bwMode="auto">
              <a:xfrm>
                <a:off x="5933553" y="5501789"/>
                <a:ext cx="58512" cy="35107"/>
              </a:xfrm>
              <a:custGeom>
                <a:avLst/>
                <a:gdLst>
                  <a:gd name="T0" fmla="*/ 39 w 39"/>
                  <a:gd name="T1" fmla="*/ 21 h 23"/>
                  <a:gd name="T2" fmla="*/ 37 w 39"/>
                  <a:gd name="T3" fmla="*/ 23 h 23"/>
                  <a:gd name="T4" fmla="*/ 3 w 39"/>
                  <a:gd name="T5" fmla="*/ 23 h 23"/>
                  <a:gd name="T6" fmla="*/ 1 w 39"/>
                  <a:gd name="T7" fmla="*/ 21 h 23"/>
                  <a:gd name="T8" fmla="*/ 0 w 39"/>
                  <a:gd name="T9" fmla="*/ 2 h 23"/>
                  <a:gd name="T10" fmla="*/ 3 w 39"/>
                  <a:gd name="T11" fmla="*/ 0 h 23"/>
                  <a:gd name="T12" fmla="*/ 35 w 39"/>
                  <a:gd name="T13" fmla="*/ 0 h 23"/>
                  <a:gd name="T14" fmla="*/ 37 w 39"/>
                  <a:gd name="T15" fmla="*/ 2 h 23"/>
                  <a:gd name="T16" fmla="*/ 39 w 39"/>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3">
                    <a:moveTo>
                      <a:pt x="39" y="21"/>
                    </a:moveTo>
                    <a:cubicBezTo>
                      <a:pt x="39" y="22"/>
                      <a:pt x="38" y="23"/>
                      <a:pt x="37" y="23"/>
                    </a:cubicBezTo>
                    <a:cubicBezTo>
                      <a:pt x="23" y="23"/>
                      <a:pt x="17" y="23"/>
                      <a:pt x="3" y="23"/>
                    </a:cubicBezTo>
                    <a:cubicBezTo>
                      <a:pt x="2" y="23"/>
                      <a:pt x="1" y="22"/>
                      <a:pt x="1" y="21"/>
                    </a:cubicBezTo>
                    <a:cubicBezTo>
                      <a:pt x="1" y="13"/>
                      <a:pt x="1" y="10"/>
                      <a:pt x="0" y="2"/>
                    </a:cubicBezTo>
                    <a:cubicBezTo>
                      <a:pt x="0" y="1"/>
                      <a:pt x="1" y="0"/>
                      <a:pt x="3" y="0"/>
                    </a:cubicBezTo>
                    <a:cubicBezTo>
                      <a:pt x="15" y="0"/>
                      <a:pt x="22" y="0"/>
                      <a:pt x="35" y="0"/>
                    </a:cubicBezTo>
                    <a:cubicBezTo>
                      <a:pt x="36" y="0"/>
                      <a:pt x="37" y="1"/>
                      <a:pt x="37" y="2"/>
                    </a:cubicBezTo>
                    <a:cubicBezTo>
                      <a:pt x="38" y="10"/>
                      <a:pt x="38" y="13"/>
                      <a:pt x="39"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8" name="Freeform 169"/>
              <p:cNvSpPr>
                <a:spLocks/>
              </p:cNvSpPr>
              <p:nvPr/>
            </p:nvSpPr>
            <p:spPr bwMode="auto">
              <a:xfrm>
                <a:off x="6001640" y="5501789"/>
                <a:ext cx="60640" cy="35107"/>
              </a:xfrm>
              <a:custGeom>
                <a:avLst/>
                <a:gdLst>
                  <a:gd name="T0" fmla="*/ 40 w 40"/>
                  <a:gd name="T1" fmla="*/ 21 h 23"/>
                  <a:gd name="T2" fmla="*/ 38 w 40"/>
                  <a:gd name="T3" fmla="*/ 23 h 23"/>
                  <a:gd name="T4" fmla="*/ 4 w 40"/>
                  <a:gd name="T5" fmla="*/ 23 h 23"/>
                  <a:gd name="T6" fmla="*/ 2 w 40"/>
                  <a:gd name="T7" fmla="*/ 21 h 23"/>
                  <a:gd name="T8" fmla="*/ 0 w 40"/>
                  <a:gd name="T9" fmla="*/ 2 h 23"/>
                  <a:gd name="T10" fmla="*/ 2 w 40"/>
                  <a:gd name="T11" fmla="*/ 0 h 23"/>
                  <a:gd name="T12" fmla="*/ 35 w 40"/>
                  <a:gd name="T13" fmla="*/ 0 h 23"/>
                  <a:gd name="T14" fmla="*/ 37 w 40"/>
                  <a:gd name="T15" fmla="*/ 2 h 23"/>
                  <a:gd name="T16" fmla="*/ 40 w 40"/>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3">
                    <a:moveTo>
                      <a:pt x="40" y="21"/>
                    </a:moveTo>
                    <a:cubicBezTo>
                      <a:pt x="40" y="22"/>
                      <a:pt x="39" y="23"/>
                      <a:pt x="38" y="23"/>
                    </a:cubicBezTo>
                    <a:cubicBezTo>
                      <a:pt x="24" y="23"/>
                      <a:pt x="18" y="23"/>
                      <a:pt x="4" y="23"/>
                    </a:cubicBezTo>
                    <a:cubicBezTo>
                      <a:pt x="3" y="23"/>
                      <a:pt x="2" y="22"/>
                      <a:pt x="2" y="21"/>
                    </a:cubicBezTo>
                    <a:cubicBezTo>
                      <a:pt x="1" y="13"/>
                      <a:pt x="1" y="10"/>
                      <a:pt x="0" y="2"/>
                    </a:cubicBezTo>
                    <a:cubicBezTo>
                      <a:pt x="0" y="1"/>
                      <a:pt x="1" y="0"/>
                      <a:pt x="2" y="0"/>
                    </a:cubicBezTo>
                    <a:cubicBezTo>
                      <a:pt x="15" y="0"/>
                      <a:pt x="22" y="0"/>
                      <a:pt x="35" y="0"/>
                    </a:cubicBezTo>
                    <a:cubicBezTo>
                      <a:pt x="36" y="0"/>
                      <a:pt x="37" y="1"/>
                      <a:pt x="37" y="2"/>
                    </a:cubicBezTo>
                    <a:cubicBezTo>
                      <a:pt x="38" y="10"/>
                      <a:pt x="39" y="14"/>
                      <a:pt x="40"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9" name="Freeform 170"/>
              <p:cNvSpPr>
                <a:spLocks/>
              </p:cNvSpPr>
              <p:nvPr/>
            </p:nvSpPr>
            <p:spPr bwMode="auto">
              <a:xfrm>
                <a:off x="6069727" y="5501789"/>
                <a:ext cx="61704" cy="35107"/>
              </a:xfrm>
              <a:custGeom>
                <a:avLst/>
                <a:gdLst>
                  <a:gd name="T0" fmla="*/ 41 w 41"/>
                  <a:gd name="T1" fmla="*/ 21 h 23"/>
                  <a:gd name="T2" fmla="*/ 39 w 41"/>
                  <a:gd name="T3" fmla="*/ 23 h 23"/>
                  <a:gd name="T4" fmla="*/ 5 w 41"/>
                  <a:gd name="T5" fmla="*/ 23 h 23"/>
                  <a:gd name="T6" fmla="*/ 3 w 41"/>
                  <a:gd name="T7" fmla="*/ 21 h 23"/>
                  <a:gd name="T8" fmla="*/ 0 w 41"/>
                  <a:gd name="T9" fmla="*/ 2 h 23"/>
                  <a:gd name="T10" fmla="*/ 2 w 41"/>
                  <a:gd name="T11" fmla="*/ 1 h 23"/>
                  <a:gd name="T12" fmla="*/ 35 w 41"/>
                  <a:gd name="T13" fmla="*/ 1 h 23"/>
                  <a:gd name="T14" fmla="*/ 37 w 41"/>
                  <a:gd name="T15" fmla="*/ 2 h 23"/>
                  <a:gd name="T16" fmla="*/ 41 w 41"/>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3">
                    <a:moveTo>
                      <a:pt x="41" y="21"/>
                    </a:moveTo>
                    <a:cubicBezTo>
                      <a:pt x="41" y="22"/>
                      <a:pt x="40" y="23"/>
                      <a:pt x="39" y="23"/>
                    </a:cubicBezTo>
                    <a:cubicBezTo>
                      <a:pt x="25" y="23"/>
                      <a:pt x="19" y="23"/>
                      <a:pt x="5" y="23"/>
                    </a:cubicBezTo>
                    <a:cubicBezTo>
                      <a:pt x="4" y="23"/>
                      <a:pt x="3" y="22"/>
                      <a:pt x="3" y="21"/>
                    </a:cubicBezTo>
                    <a:cubicBezTo>
                      <a:pt x="2" y="14"/>
                      <a:pt x="1" y="10"/>
                      <a:pt x="0" y="2"/>
                    </a:cubicBezTo>
                    <a:cubicBezTo>
                      <a:pt x="0" y="1"/>
                      <a:pt x="1" y="0"/>
                      <a:pt x="2" y="1"/>
                    </a:cubicBezTo>
                    <a:cubicBezTo>
                      <a:pt x="15" y="1"/>
                      <a:pt x="22" y="1"/>
                      <a:pt x="35" y="1"/>
                    </a:cubicBezTo>
                    <a:cubicBezTo>
                      <a:pt x="36" y="1"/>
                      <a:pt x="37" y="1"/>
                      <a:pt x="37" y="2"/>
                    </a:cubicBezTo>
                    <a:cubicBezTo>
                      <a:pt x="39" y="10"/>
                      <a:pt x="39" y="14"/>
                      <a:pt x="41"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0" name="Freeform 171"/>
              <p:cNvSpPr>
                <a:spLocks/>
              </p:cNvSpPr>
              <p:nvPr/>
            </p:nvSpPr>
            <p:spPr bwMode="auto">
              <a:xfrm>
                <a:off x="6137814" y="5502852"/>
                <a:ext cx="64895" cy="34043"/>
              </a:xfrm>
              <a:custGeom>
                <a:avLst/>
                <a:gdLst>
                  <a:gd name="T0" fmla="*/ 43 w 43"/>
                  <a:gd name="T1" fmla="*/ 20 h 22"/>
                  <a:gd name="T2" fmla="*/ 41 w 43"/>
                  <a:gd name="T3" fmla="*/ 22 h 22"/>
                  <a:gd name="T4" fmla="*/ 7 w 43"/>
                  <a:gd name="T5" fmla="*/ 22 h 22"/>
                  <a:gd name="T6" fmla="*/ 4 w 43"/>
                  <a:gd name="T7" fmla="*/ 20 h 22"/>
                  <a:gd name="T8" fmla="*/ 1 w 43"/>
                  <a:gd name="T9" fmla="*/ 1 h 22"/>
                  <a:gd name="T10" fmla="*/ 2 w 43"/>
                  <a:gd name="T11" fmla="*/ 0 h 22"/>
                  <a:gd name="T12" fmla="*/ 36 w 43"/>
                  <a:gd name="T13" fmla="*/ 0 h 22"/>
                  <a:gd name="T14" fmla="*/ 38 w 43"/>
                  <a:gd name="T15" fmla="*/ 1 h 22"/>
                  <a:gd name="T16" fmla="*/ 43 w 43"/>
                  <a:gd name="T1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22">
                    <a:moveTo>
                      <a:pt x="43" y="20"/>
                    </a:moveTo>
                    <a:cubicBezTo>
                      <a:pt x="43" y="21"/>
                      <a:pt x="42" y="22"/>
                      <a:pt x="41" y="22"/>
                    </a:cubicBezTo>
                    <a:cubicBezTo>
                      <a:pt x="27" y="22"/>
                      <a:pt x="20" y="22"/>
                      <a:pt x="7" y="22"/>
                    </a:cubicBezTo>
                    <a:cubicBezTo>
                      <a:pt x="5" y="22"/>
                      <a:pt x="4" y="21"/>
                      <a:pt x="4" y="20"/>
                    </a:cubicBezTo>
                    <a:cubicBezTo>
                      <a:pt x="3" y="13"/>
                      <a:pt x="2" y="9"/>
                      <a:pt x="1" y="1"/>
                    </a:cubicBezTo>
                    <a:cubicBezTo>
                      <a:pt x="0" y="0"/>
                      <a:pt x="1" y="0"/>
                      <a:pt x="2" y="0"/>
                    </a:cubicBezTo>
                    <a:cubicBezTo>
                      <a:pt x="16" y="0"/>
                      <a:pt x="22" y="0"/>
                      <a:pt x="36" y="0"/>
                    </a:cubicBezTo>
                    <a:cubicBezTo>
                      <a:pt x="37" y="0"/>
                      <a:pt x="38" y="0"/>
                      <a:pt x="38" y="1"/>
                    </a:cubicBezTo>
                    <a:cubicBezTo>
                      <a:pt x="40" y="9"/>
                      <a:pt x="41" y="13"/>
                      <a:pt x="43"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1" name="Freeform 172"/>
              <p:cNvSpPr>
                <a:spLocks/>
              </p:cNvSpPr>
              <p:nvPr/>
            </p:nvSpPr>
            <p:spPr bwMode="auto">
              <a:xfrm>
                <a:off x="6208028" y="5502852"/>
                <a:ext cx="65959" cy="34043"/>
              </a:xfrm>
              <a:custGeom>
                <a:avLst/>
                <a:gdLst>
                  <a:gd name="T0" fmla="*/ 44 w 44"/>
                  <a:gd name="T1" fmla="*/ 20 h 22"/>
                  <a:gd name="T2" fmla="*/ 42 w 44"/>
                  <a:gd name="T3" fmla="*/ 22 h 22"/>
                  <a:gd name="T4" fmla="*/ 7 w 44"/>
                  <a:gd name="T5" fmla="*/ 22 h 22"/>
                  <a:gd name="T6" fmla="*/ 5 w 44"/>
                  <a:gd name="T7" fmla="*/ 20 h 22"/>
                  <a:gd name="T8" fmla="*/ 1 w 44"/>
                  <a:gd name="T9" fmla="*/ 1 h 22"/>
                  <a:gd name="T10" fmla="*/ 2 w 44"/>
                  <a:gd name="T11" fmla="*/ 0 h 22"/>
                  <a:gd name="T12" fmla="*/ 36 w 44"/>
                  <a:gd name="T13" fmla="*/ 0 h 22"/>
                  <a:gd name="T14" fmla="*/ 39 w 44"/>
                  <a:gd name="T15" fmla="*/ 1 h 22"/>
                  <a:gd name="T16" fmla="*/ 44 w 44"/>
                  <a:gd name="T1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2">
                    <a:moveTo>
                      <a:pt x="44" y="20"/>
                    </a:moveTo>
                    <a:cubicBezTo>
                      <a:pt x="44" y="21"/>
                      <a:pt x="43" y="22"/>
                      <a:pt x="42" y="22"/>
                    </a:cubicBezTo>
                    <a:cubicBezTo>
                      <a:pt x="28" y="22"/>
                      <a:pt x="21" y="22"/>
                      <a:pt x="7" y="22"/>
                    </a:cubicBezTo>
                    <a:cubicBezTo>
                      <a:pt x="6" y="22"/>
                      <a:pt x="5" y="21"/>
                      <a:pt x="5" y="20"/>
                    </a:cubicBezTo>
                    <a:cubicBezTo>
                      <a:pt x="3" y="13"/>
                      <a:pt x="2" y="9"/>
                      <a:pt x="1" y="1"/>
                    </a:cubicBezTo>
                    <a:cubicBezTo>
                      <a:pt x="0" y="0"/>
                      <a:pt x="1" y="0"/>
                      <a:pt x="2" y="0"/>
                    </a:cubicBezTo>
                    <a:cubicBezTo>
                      <a:pt x="16" y="0"/>
                      <a:pt x="23" y="0"/>
                      <a:pt x="36" y="0"/>
                    </a:cubicBezTo>
                    <a:cubicBezTo>
                      <a:pt x="38" y="0"/>
                      <a:pt x="39" y="0"/>
                      <a:pt x="39" y="1"/>
                    </a:cubicBezTo>
                    <a:cubicBezTo>
                      <a:pt x="41" y="9"/>
                      <a:pt x="42" y="13"/>
                      <a:pt x="4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2" name="Freeform 173"/>
              <p:cNvSpPr>
                <a:spLocks/>
              </p:cNvSpPr>
              <p:nvPr/>
            </p:nvSpPr>
            <p:spPr bwMode="auto">
              <a:xfrm>
                <a:off x="6278243" y="5502852"/>
                <a:ext cx="69151" cy="34043"/>
              </a:xfrm>
              <a:custGeom>
                <a:avLst/>
                <a:gdLst>
                  <a:gd name="T0" fmla="*/ 45 w 45"/>
                  <a:gd name="T1" fmla="*/ 20 h 22"/>
                  <a:gd name="T2" fmla="*/ 43 w 45"/>
                  <a:gd name="T3" fmla="*/ 22 h 22"/>
                  <a:gd name="T4" fmla="*/ 8 w 45"/>
                  <a:gd name="T5" fmla="*/ 22 h 22"/>
                  <a:gd name="T6" fmla="*/ 5 w 45"/>
                  <a:gd name="T7" fmla="*/ 20 h 22"/>
                  <a:gd name="T8" fmla="*/ 0 w 45"/>
                  <a:gd name="T9" fmla="*/ 1 h 22"/>
                  <a:gd name="T10" fmla="*/ 2 w 45"/>
                  <a:gd name="T11" fmla="*/ 0 h 22"/>
                  <a:gd name="T12" fmla="*/ 37 w 45"/>
                  <a:gd name="T13" fmla="*/ 0 h 22"/>
                  <a:gd name="T14" fmla="*/ 39 w 45"/>
                  <a:gd name="T15" fmla="*/ 1 h 22"/>
                  <a:gd name="T16" fmla="*/ 45 w 45"/>
                  <a:gd name="T1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2">
                    <a:moveTo>
                      <a:pt x="45" y="20"/>
                    </a:moveTo>
                    <a:cubicBezTo>
                      <a:pt x="45" y="21"/>
                      <a:pt x="44" y="22"/>
                      <a:pt x="43" y="22"/>
                    </a:cubicBezTo>
                    <a:cubicBezTo>
                      <a:pt x="29" y="22"/>
                      <a:pt x="22" y="22"/>
                      <a:pt x="8" y="22"/>
                    </a:cubicBezTo>
                    <a:cubicBezTo>
                      <a:pt x="7" y="22"/>
                      <a:pt x="6" y="21"/>
                      <a:pt x="5" y="20"/>
                    </a:cubicBezTo>
                    <a:cubicBezTo>
                      <a:pt x="3" y="13"/>
                      <a:pt x="2" y="9"/>
                      <a:pt x="0" y="1"/>
                    </a:cubicBezTo>
                    <a:cubicBezTo>
                      <a:pt x="0" y="0"/>
                      <a:pt x="1" y="0"/>
                      <a:pt x="2" y="0"/>
                    </a:cubicBezTo>
                    <a:cubicBezTo>
                      <a:pt x="16" y="0"/>
                      <a:pt x="23" y="0"/>
                      <a:pt x="37" y="0"/>
                    </a:cubicBezTo>
                    <a:cubicBezTo>
                      <a:pt x="38" y="0"/>
                      <a:pt x="39" y="0"/>
                      <a:pt x="39" y="1"/>
                    </a:cubicBezTo>
                    <a:cubicBezTo>
                      <a:pt x="42" y="9"/>
                      <a:pt x="43" y="13"/>
                      <a:pt x="45"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3" name="Freeform 174"/>
              <p:cNvSpPr>
                <a:spLocks/>
              </p:cNvSpPr>
              <p:nvPr/>
            </p:nvSpPr>
            <p:spPr bwMode="auto">
              <a:xfrm>
                <a:off x="5579289" y="5458170"/>
                <a:ext cx="61704" cy="36171"/>
              </a:xfrm>
              <a:custGeom>
                <a:avLst/>
                <a:gdLst>
                  <a:gd name="T0" fmla="*/ 38 w 41"/>
                  <a:gd name="T1" fmla="*/ 23 h 24"/>
                  <a:gd name="T2" fmla="*/ 35 w 41"/>
                  <a:gd name="T3" fmla="*/ 24 h 24"/>
                  <a:gd name="T4" fmla="*/ 2 w 41"/>
                  <a:gd name="T5" fmla="*/ 24 h 24"/>
                  <a:gd name="T6" fmla="*/ 0 w 41"/>
                  <a:gd name="T7" fmla="*/ 23 h 24"/>
                  <a:gd name="T8" fmla="*/ 4 w 41"/>
                  <a:gd name="T9" fmla="*/ 1 h 24"/>
                  <a:gd name="T10" fmla="*/ 7 w 41"/>
                  <a:gd name="T11" fmla="*/ 0 h 24"/>
                  <a:gd name="T12" fmla="*/ 39 w 41"/>
                  <a:gd name="T13" fmla="*/ 0 h 24"/>
                  <a:gd name="T14" fmla="*/ 41 w 41"/>
                  <a:gd name="T15" fmla="*/ 1 h 24"/>
                  <a:gd name="T16" fmla="*/ 38 w 41"/>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4">
                    <a:moveTo>
                      <a:pt x="38" y="23"/>
                    </a:moveTo>
                    <a:cubicBezTo>
                      <a:pt x="37" y="23"/>
                      <a:pt x="36" y="24"/>
                      <a:pt x="35" y="24"/>
                    </a:cubicBezTo>
                    <a:cubicBezTo>
                      <a:pt x="22" y="24"/>
                      <a:pt x="15" y="24"/>
                      <a:pt x="2" y="24"/>
                    </a:cubicBezTo>
                    <a:cubicBezTo>
                      <a:pt x="1" y="24"/>
                      <a:pt x="0" y="23"/>
                      <a:pt x="0" y="23"/>
                    </a:cubicBezTo>
                    <a:cubicBezTo>
                      <a:pt x="2" y="14"/>
                      <a:pt x="3" y="10"/>
                      <a:pt x="4" y="1"/>
                    </a:cubicBezTo>
                    <a:cubicBezTo>
                      <a:pt x="4" y="0"/>
                      <a:pt x="5" y="0"/>
                      <a:pt x="7" y="0"/>
                    </a:cubicBezTo>
                    <a:cubicBezTo>
                      <a:pt x="20" y="0"/>
                      <a:pt x="26" y="0"/>
                      <a:pt x="39" y="0"/>
                    </a:cubicBezTo>
                    <a:cubicBezTo>
                      <a:pt x="40" y="0"/>
                      <a:pt x="41" y="0"/>
                      <a:pt x="41" y="1"/>
                    </a:cubicBezTo>
                    <a:cubicBezTo>
                      <a:pt x="40" y="10"/>
                      <a:pt x="39" y="14"/>
                      <a:pt x="38"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4" name="Freeform 175"/>
              <p:cNvSpPr>
                <a:spLocks/>
              </p:cNvSpPr>
              <p:nvPr/>
            </p:nvSpPr>
            <p:spPr bwMode="auto">
              <a:xfrm>
                <a:off x="5648440" y="5458170"/>
                <a:ext cx="60640" cy="36171"/>
              </a:xfrm>
              <a:custGeom>
                <a:avLst/>
                <a:gdLst>
                  <a:gd name="T0" fmla="*/ 37 w 40"/>
                  <a:gd name="T1" fmla="*/ 23 h 24"/>
                  <a:gd name="T2" fmla="*/ 34 w 40"/>
                  <a:gd name="T3" fmla="*/ 24 h 24"/>
                  <a:gd name="T4" fmla="*/ 2 w 40"/>
                  <a:gd name="T5" fmla="*/ 24 h 24"/>
                  <a:gd name="T6" fmla="*/ 0 w 40"/>
                  <a:gd name="T7" fmla="*/ 23 h 24"/>
                  <a:gd name="T8" fmla="*/ 3 w 40"/>
                  <a:gd name="T9" fmla="*/ 1 h 24"/>
                  <a:gd name="T10" fmla="*/ 5 w 40"/>
                  <a:gd name="T11" fmla="*/ 0 h 24"/>
                  <a:gd name="T12" fmla="*/ 38 w 40"/>
                  <a:gd name="T13" fmla="*/ 0 h 24"/>
                  <a:gd name="T14" fmla="*/ 39 w 40"/>
                  <a:gd name="T15" fmla="*/ 1 h 24"/>
                  <a:gd name="T16" fmla="*/ 37 w 40"/>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4">
                    <a:moveTo>
                      <a:pt x="37" y="23"/>
                    </a:moveTo>
                    <a:cubicBezTo>
                      <a:pt x="37" y="24"/>
                      <a:pt x="36" y="24"/>
                      <a:pt x="34" y="24"/>
                    </a:cubicBezTo>
                    <a:cubicBezTo>
                      <a:pt x="21" y="24"/>
                      <a:pt x="15" y="24"/>
                      <a:pt x="2" y="24"/>
                    </a:cubicBezTo>
                    <a:cubicBezTo>
                      <a:pt x="0" y="24"/>
                      <a:pt x="0" y="23"/>
                      <a:pt x="0" y="23"/>
                    </a:cubicBezTo>
                    <a:cubicBezTo>
                      <a:pt x="1" y="14"/>
                      <a:pt x="2" y="10"/>
                      <a:pt x="3" y="1"/>
                    </a:cubicBezTo>
                    <a:cubicBezTo>
                      <a:pt x="3" y="0"/>
                      <a:pt x="4" y="0"/>
                      <a:pt x="5" y="0"/>
                    </a:cubicBezTo>
                    <a:cubicBezTo>
                      <a:pt x="18" y="0"/>
                      <a:pt x="25" y="0"/>
                      <a:pt x="38" y="0"/>
                    </a:cubicBezTo>
                    <a:cubicBezTo>
                      <a:pt x="39" y="0"/>
                      <a:pt x="40" y="0"/>
                      <a:pt x="39" y="1"/>
                    </a:cubicBezTo>
                    <a:cubicBezTo>
                      <a:pt x="38" y="10"/>
                      <a:pt x="38" y="15"/>
                      <a:pt x="37"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5" name="Freeform 176"/>
              <p:cNvSpPr>
                <a:spLocks/>
              </p:cNvSpPr>
              <p:nvPr/>
            </p:nvSpPr>
            <p:spPr bwMode="auto">
              <a:xfrm>
                <a:off x="5716527" y="5458170"/>
                <a:ext cx="57448" cy="36171"/>
              </a:xfrm>
              <a:custGeom>
                <a:avLst/>
                <a:gdLst>
                  <a:gd name="T0" fmla="*/ 36 w 38"/>
                  <a:gd name="T1" fmla="*/ 23 h 24"/>
                  <a:gd name="T2" fmla="*/ 34 w 38"/>
                  <a:gd name="T3" fmla="*/ 24 h 24"/>
                  <a:gd name="T4" fmla="*/ 2 w 38"/>
                  <a:gd name="T5" fmla="*/ 24 h 24"/>
                  <a:gd name="T6" fmla="*/ 0 w 38"/>
                  <a:gd name="T7" fmla="*/ 23 h 24"/>
                  <a:gd name="T8" fmla="*/ 2 w 38"/>
                  <a:gd name="T9" fmla="*/ 1 h 24"/>
                  <a:gd name="T10" fmla="*/ 5 w 38"/>
                  <a:gd name="T11" fmla="*/ 0 h 24"/>
                  <a:gd name="T12" fmla="*/ 36 w 38"/>
                  <a:gd name="T13" fmla="*/ 0 h 24"/>
                  <a:gd name="T14" fmla="*/ 38 w 38"/>
                  <a:gd name="T15" fmla="*/ 1 h 24"/>
                  <a:gd name="T16" fmla="*/ 36 w 38"/>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4">
                    <a:moveTo>
                      <a:pt x="36" y="23"/>
                    </a:moveTo>
                    <a:cubicBezTo>
                      <a:pt x="36" y="24"/>
                      <a:pt x="35" y="24"/>
                      <a:pt x="34" y="24"/>
                    </a:cubicBezTo>
                    <a:cubicBezTo>
                      <a:pt x="21" y="24"/>
                      <a:pt x="15" y="24"/>
                      <a:pt x="2" y="24"/>
                    </a:cubicBezTo>
                    <a:cubicBezTo>
                      <a:pt x="1" y="24"/>
                      <a:pt x="0" y="24"/>
                      <a:pt x="0" y="23"/>
                    </a:cubicBezTo>
                    <a:cubicBezTo>
                      <a:pt x="1" y="15"/>
                      <a:pt x="1" y="10"/>
                      <a:pt x="2" y="1"/>
                    </a:cubicBezTo>
                    <a:cubicBezTo>
                      <a:pt x="2" y="0"/>
                      <a:pt x="3" y="0"/>
                      <a:pt x="5" y="0"/>
                    </a:cubicBezTo>
                    <a:cubicBezTo>
                      <a:pt x="17" y="0"/>
                      <a:pt x="24" y="0"/>
                      <a:pt x="36" y="0"/>
                    </a:cubicBezTo>
                    <a:cubicBezTo>
                      <a:pt x="37" y="0"/>
                      <a:pt x="38" y="0"/>
                      <a:pt x="38" y="1"/>
                    </a:cubicBezTo>
                    <a:cubicBezTo>
                      <a:pt x="37" y="10"/>
                      <a:pt x="37" y="15"/>
                      <a:pt x="3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6" name="Freeform 177"/>
              <p:cNvSpPr>
                <a:spLocks/>
              </p:cNvSpPr>
              <p:nvPr/>
            </p:nvSpPr>
            <p:spPr bwMode="auto">
              <a:xfrm>
                <a:off x="5783550" y="5458170"/>
                <a:ext cx="56384" cy="36171"/>
              </a:xfrm>
              <a:custGeom>
                <a:avLst/>
                <a:gdLst>
                  <a:gd name="T0" fmla="*/ 37 w 37"/>
                  <a:gd name="T1" fmla="*/ 23 h 24"/>
                  <a:gd name="T2" fmla="*/ 35 w 37"/>
                  <a:gd name="T3" fmla="*/ 24 h 24"/>
                  <a:gd name="T4" fmla="*/ 2 w 37"/>
                  <a:gd name="T5" fmla="*/ 24 h 24"/>
                  <a:gd name="T6" fmla="*/ 0 w 37"/>
                  <a:gd name="T7" fmla="*/ 23 h 24"/>
                  <a:gd name="T8" fmla="*/ 2 w 37"/>
                  <a:gd name="T9" fmla="*/ 1 h 24"/>
                  <a:gd name="T10" fmla="*/ 4 w 37"/>
                  <a:gd name="T11" fmla="*/ 0 h 24"/>
                  <a:gd name="T12" fmla="*/ 35 w 37"/>
                  <a:gd name="T13" fmla="*/ 0 h 24"/>
                  <a:gd name="T14" fmla="*/ 37 w 37"/>
                  <a:gd name="T15" fmla="*/ 1 h 24"/>
                  <a:gd name="T16" fmla="*/ 37 w 37"/>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4">
                    <a:moveTo>
                      <a:pt x="37" y="23"/>
                    </a:moveTo>
                    <a:cubicBezTo>
                      <a:pt x="37" y="24"/>
                      <a:pt x="36" y="24"/>
                      <a:pt x="35" y="24"/>
                    </a:cubicBezTo>
                    <a:cubicBezTo>
                      <a:pt x="22" y="24"/>
                      <a:pt x="15" y="24"/>
                      <a:pt x="2" y="24"/>
                    </a:cubicBezTo>
                    <a:cubicBezTo>
                      <a:pt x="1" y="24"/>
                      <a:pt x="0" y="24"/>
                      <a:pt x="0" y="23"/>
                    </a:cubicBezTo>
                    <a:cubicBezTo>
                      <a:pt x="1" y="15"/>
                      <a:pt x="1" y="10"/>
                      <a:pt x="2" y="1"/>
                    </a:cubicBezTo>
                    <a:cubicBezTo>
                      <a:pt x="2" y="0"/>
                      <a:pt x="3" y="0"/>
                      <a:pt x="4" y="0"/>
                    </a:cubicBezTo>
                    <a:cubicBezTo>
                      <a:pt x="17" y="0"/>
                      <a:pt x="23" y="0"/>
                      <a:pt x="35" y="0"/>
                    </a:cubicBezTo>
                    <a:cubicBezTo>
                      <a:pt x="36" y="0"/>
                      <a:pt x="37" y="1"/>
                      <a:pt x="37" y="1"/>
                    </a:cubicBezTo>
                    <a:cubicBezTo>
                      <a:pt x="37" y="11"/>
                      <a:pt x="37" y="15"/>
                      <a:pt x="37"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7" name="Freeform 178"/>
              <p:cNvSpPr>
                <a:spLocks/>
              </p:cNvSpPr>
              <p:nvPr/>
            </p:nvSpPr>
            <p:spPr bwMode="auto">
              <a:xfrm>
                <a:off x="5851637" y="5458170"/>
                <a:ext cx="54257" cy="36171"/>
              </a:xfrm>
              <a:custGeom>
                <a:avLst/>
                <a:gdLst>
                  <a:gd name="T0" fmla="*/ 36 w 36"/>
                  <a:gd name="T1" fmla="*/ 23 h 24"/>
                  <a:gd name="T2" fmla="*/ 34 w 36"/>
                  <a:gd name="T3" fmla="*/ 24 h 24"/>
                  <a:gd name="T4" fmla="*/ 2 w 36"/>
                  <a:gd name="T5" fmla="*/ 24 h 24"/>
                  <a:gd name="T6" fmla="*/ 0 w 36"/>
                  <a:gd name="T7" fmla="*/ 23 h 24"/>
                  <a:gd name="T8" fmla="*/ 0 w 36"/>
                  <a:gd name="T9" fmla="*/ 1 h 24"/>
                  <a:gd name="T10" fmla="*/ 2 w 36"/>
                  <a:gd name="T11" fmla="*/ 0 h 24"/>
                  <a:gd name="T12" fmla="*/ 33 w 36"/>
                  <a:gd name="T13" fmla="*/ 0 h 24"/>
                  <a:gd name="T14" fmla="*/ 35 w 36"/>
                  <a:gd name="T15" fmla="*/ 1 h 24"/>
                  <a:gd name="T16" fmla="*/ 36 w 36"/>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4">
                    <a:moveTo>
                      <a:pt x="36" y="23"/>
                    </a:moveTo>
                    <a:cubicBezTo>
                      <a:pt x="36" y="24"/>
                      <a:pt x="35" y="24"/>
                      <a:pt x="34" y="24"/>
                    </a:cubicBezTo>
                    <a:cubicBezTo>
                      <a:pt x="21" y="24"/>
                      <a:pt x="14" y="24"/>
                      <a:pt x="2" y="24"/>
                    </a:cubicBezTo>
                    <a:cubicBezTo>
                      <a:pt x="0" y="24"/>
                      <a:pt x="0" y="24"/>
                      <a:pt x="0" y="23"/>
                    </a:cubicBezTo>
                    <a:cubicBezTo>
                      <a:pt x="0" y="15"/>
                      <a:pt x="0" y="11"/>
                      <a:pt x="0" y="1"/>
                    </a:cubicBezTo>
                    <a:cubicBezTo>
                      <a:pt x="0" y="1"/>
                      <a:pt x="1" y="0"/>
                      <a:pt x="2" y="0"/>
                    </a:cubicBezTo>
                    <a:cubicBezTo>
                      <a:pt x="15" y="0"/>
                      <a:pt x="21" y="0"/>
                      <a:pt x="33" y="0"/>
                    </a:cubicBezTo>
                    <a:cubicBezTo>
                      <a:pt x="34" y="0"/>
                      <a:pt x="35" y="1"/>
                      <a:pt x="35" y="1"/>
                    </a:cubicBezTo>
                    <a:cubicBezTo>
                      <a:pt x="36" y="11"/>
                      <a:pt x="36" y="15"/>
                      <a:pt x="3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8" name="Freeform 179"/>
              <p:cNvSpPr>
                <a:spLocks/>
              </p:cNvSpPr>
              <p:nvPr/>
            </p:nvSpPr>
            <p:spPr bwMode="auto">
              <a:xfrm>
                <a:off x="5916532" y="5458170"/>
                <a:ext cx="56384" cy="36171"/>
              </a:xfrm>
              <a:custGeom>
                <a:avLst/>
                <a:gdLst>
                  <a:gd name="T0" fmla="*/ 37 w 37"/>
                  <a:gd name="T1" fmla="*/ 23 h 24"/>
                  <a:gd name="T2" fmla="*/ 35 w 37"/>
                  <a:gd name="T3" fmla="*/ 24 h 24"/>
                  <a:gd name="T4" fmla="*/ 3 w 37"/>
                  <a:gd name="T5" fmla="*/ 24 h 24"/>
                  <a:gd name="T6" fmla="*/ 1 w 37"/>
                  <a:gd name="T7" fmla="*/ 23 h 24"/>
                  <a:gd name="T8" fmla="*/ 0 w 37"/>
                  <a:gd name="T9" fmla="*/ 1 h 24"/>
                  <a:gd name="T10" fmla="*/ 2 w 37"/>
                  <a:gd name="T11" fmla="*/ 0 h 24"/>
                  <a:gd name="T12" fmla="*/ 33 w 37"/>
                  <a:gd name="T13" fmla="*/ 0 h 24"/>
                  <a:gd name="T14" fmla="*/ 35 w 37"/>
                  <a:gd name="T15" fmla="*/ 1 h 24"/>
                  <a:gd name="T16" fmla="*/ 37 w 37"/>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4">
                    <a:moveTo>
                      <a:pt x="37" y="23"/>
                    </a:moveTo>
                    <a:cubicBezTo>
                      <a:pt x="37" y="24"/>
                      <a:pt x="36" y="24"/>
                      <a:pt x="35" y="24"/>
                    </a:cubicBezTo>
                    <a:cubicBezTo>
                      <a:pt x="22" y="24"/>
                      <a:pt x="16" y="24"/>
                      <a:pt x="3" y="24"/>
                    </a:cubicBezTo>
                    <a:cubicBezTo>
                      <a:pt x="2" y="24"/>
                      <a:pt x="1" y="24"/>
                      <a:pt x="1" y="23"/>
                    </a:cubicBezTo>
                    <a:cubicBezTo>
                      <a:pt x="1" y="15"/>
                      <a:pt x="0" y="11"/>
                      <a:pt x="0" y="1"/>
                    </a:cubicBezTo>
                    <a:cubicBezTo>
                      <a:pt x="0" y="1"/>
                      <a:pt x="1" y="0"/>
                      <a:pt x="2" y="0"/>
                    </a:cubicBezTo>
                    <a:cubicBezTo>
                      <a:pt x="15" y="0"/>
                      <a:pt x="21" y="0"/>
                      <a:pt x="33" y="0"/>
                    </a:cubicBezTo>
                    <a:cubicBezTo>
                      <a:pt x="34" y="0"/>
                      <a:pt x="35" y="1"/>
                      <a:pt x="35" y="1"/>
                    </a:cubicBezTo>
                    <a:cubicBezTo>
                      <a:pt x="36" y="11"/>
                      <a:pt x="36" y="15"/>
                      <a:pt x="37"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9" name="Freeform 180"/>
              <p:cNvSpPr>
                <a:spLocks/>
              </p:cNvSpPr>
              <p:nvPr/>
            </p:nvSpPr>
            <p:spPr bwMode="auto">
              <a:xfrm>
                <a:off x="5981427" y="5458170"/>
                <a:ext cx="59576" cy="37235"/>
              </a:xfrm>
              <a:custGeom>
                <a:avLst/>
                <a:gdLst>
                  <a:gd name="T0" fmla="*/ 38 w 39"/>
                  <a:gd name="T1" fmla="*/ 23 h 25"/>
                  <a:gd name="T2" fmla="*/ 36 w 39"/>
                  <a:gd name="T3" fmla="*/ 25 h 25"/>
                  <a:gd name="T4" fmla="*/ 4 w 39"/>
                  <a:gd name="T5" fmla="*/ 24 h 25"/>
                  <a:gd name="T6" fmla="*/ 2 w 39"/>
                  <a:gd name="T7" fmla="*/ 23 h 25"/>
                  <a:gd name="T8" fmla="*/ 0 w 39"/>
                  <a:gd name="T9" fmla="*/ 1 h 25"/>
                  <a:gd name="T10" fmla="*/ 2 w 39"/>
                  <a:gd name="T11" fmla="*/ 0 h 25"/>
                  <a:gd name="T12" fmla="*/ 34 w 39"/>
                  <a:gd name="T13" fmla="*/ 0 h 25"/>
                  <a:gd name="T14" fmla="*/ 36 w 39"/>
                  <a:gd name="T15" fmla="*/ 2 h 25"/>
                  <a:gd name="T16" fmla="*/ 38 w 39"/>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5">
                    <a:moveTo>
                      <a:pt x="38" y="23"/>
                    </a:moveTo>
                    <a:cubicBezTo>
                      <a:pt x="39" y="24"/>
                      <a:pt x="38" y="25"/>
                      <a:pt x="36" y="25"/>
                    </a:cubicBezTo>
                    <a:cubicBezTo>
                      <a:pt x="24" y="24"/>
                      <a:pt x="17" y="24"/>
                      <a:pt x="4" y="24"/>
                    </a:cubicBezTo>
                    <a:cubicBezTo>
                      <a:pt x="3" y="24"/>
                      <a:pt x="2" y="24"/>
                      <a:pt x="2" y="23"/>
                    </a:cubicBezTo>
                    <a:cubicBezTo>
                      <a:pt x="1" y="15"/>
                      <a:pt x="1" y="11"/>
                      <a:pt x="0" y="1"/>
                    </a:cubicBezTo>
                    <a:cubicBezTo>
                      <a:pt x="0" y="1"/>
                      <a:pt x="1" y="0"/>
                      <a:pt x="2" y="0"/>
                    </a:cubicBezTo>
                    <a:cubicBezTo>
                      <a:pt x="15" y="0"/>
                      <a:pt x="21" y="0"/>
                      <a:pt x="34" y="0"/>
                    </a:cubicBezTo>
                    <a:cubicBezTo>
                      <a:pt x="35" y="0"/>
                      <a:pt x="36" y="1"/>
                      <a:pt x="36" y="2"/>
                    </a:cubicBezTo>
                    <a:cubicBezTo>
                      <a:pt x="37" y="11"/>
                      <a:pt x="37" y="15"/>
                      <a:pt x="38"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0" name="Freeform 181"/>
              <p:cNvSpPr>
                <a:spLocks/>
              </p:cNvSpPr>
              <p:nvPr/>
            </p:nvSpPr>
            <p:spPr bwMode="auto">
              <a:xfrm>
                <a:off x="6047386" y="5458170"/>
                <a:ext cx="60640" cy="37235"/>
              </a:xfrm>
              <a:custGeom>
                <a:avLst/>
                <a:gdLst>
                  <a:gd name="T0" fmla="*/ 40 w 40"/>
                  <a:gd name="T1" fmla="*/ 23 h 25"/>
                  <a:gd name="T2" fmla="*/ 38 w 40"/>
                  <a:gd name="T3" fmla="*/ 25 h 25"/>
                  <a:gd name="T4" fmla="*/ 6 w 40"/>
                  <a:gd name="T5" fmla="*/ 25 h 25"/>
                  <a:gd name="T6" fmla="*/ 3 w 40"/>
                  <a:gd name="T7" fmla="*/ 23 h 25"/>
                  <a:gd name="T8" fmla="*/ 1 w 40"/>
                  <a:gd name="T9" fmla="*/ 2 h 25"/>
                  <a:gd name="T10" fmla="*/ 2 w 40"/>
                  <a:gd name="T11" fmla="*/ 0 h 25"/>
                  <a:gd name="T12" fmla="*/ 34 w 40"/>
                  <a:gd name="T13" fmla="*/ 0 h 25"/>
                  <a:gd name="T14" fmla="*/ 37 w 40"/>
                  <a:gd name="T15" fmla="*/ 2 h 25"/>
                  <a:gd name="T16" fmla="*/ 40 w 40"/>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5">
                    <a:moveTo>
                      <a:pt x="40" y="23"/>
                    </a:moveTo>
                    <a:cubicBezTo>
                      <a:pt x="40" y="24"/>
                      <a:pt x="40" y="25"/>
                      <a:pt x="38" y="25"/>
                    </a:cubicBezTo>
                    <a:cubicBezTo>
                      <a:pt x="25" y="25"/>
                      <a:pt x="19" y="25"/>
                      <a:pt x="6" y="25"/>
                    </a:cubicBezTo>
                    <a:cubicBezTo>
                      <a:pt x="5" y="25"/>
                      <a:pt x="4" y="24"/>
                      <a:pt x="3" y="23"/>
                    </a:cubicBezTo>
                    <a:cubicBezTo>
                      <a:pt x="2" y="15"/>
                      <a:pt x="2" y="11"/>
                      <a:pt x="1" y="2"/>
                    </a:cubicBezTo>
                    <a:cubicBezTo>
                      <a:pt x="0" y="1"/>
                      <a:pt x="1" y="0"/>
                      <a:pt x="2" y="0"/>
                    </a:cubicBezTo>
                    <a:cubicBezTo>
                      <a:pt x="15" y="0"/>
                      <a:pt x="22" y="0"/>
                      <a:pt x="34" y="0"/>
                    </a:cubicBezTo>
                    <a:cubicBezTo>
                      <a:pt x="35" y="0"/>
                      <a:pt x="37" y="1"/>
                      <a:pt x="37" y="2"/>
                    </a:cubicBezTo>
                    <a:cubicBezTo>
                      <a:pt x="38" y="11"/>
                      <a:pt x="39" y="15"/>
                      <a:pt x="40"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1" name="Freeform 182"/>
              <p:cNvSpPr>
                <a:spLocks/>
              </p:cNvSpPr>
              <p:nvPr/>
            </p:nvSpPr>
            <p:spPr bwMode="auto">
              <a:xfrm>
                <a:off x="6113345" y="5458170"/>
                <a:ext cx="63831" cy="37235"/>
              </a:xfrm>
              <a:custGeom>
                <a:avLst/>
                <a:gdLst>
                  <a:gd name="T0" fmla="*/ 42 w 42"/>
                  <a:gd name="T1" fmla="*/ 23 h 25"/>
                  <a:gd name="T2" fmla="*/ 40 w 42"/>
                  <a:gd name="T3" fmla="*/ 25 h 25"/>
                  <a:gd name="T4" fmla="*/ 7 w 42"/>
                  <a:gd name="T5" fmla="*/ 25 h 25"/>
                  <a:gd name="T6" fmla="*/ 4 w 42"/>
                  <a:gd name="T7" fmla="*/ 23 h 25"/>
                  <a:gd name="T8" fmla="*/ 1 w 42"/>
                  <a:gd name="T9" fmla="*/ 2 h 25"/>
                  <a:gd name="T10" fmla="*/ 2 w 42"/>
                  <a:gd name="T11" fmla="*/ 0 h 25"/>
                  <a:gd name="T12" fmla="*/ 35 w 42"/>
                  <a:gd name="T13" fmla="*/ 0 h 25"/>
                  <a:gd name="T14" fmla="*/ 37 w 42"/>
                  <a:gd name="T15" fmla="*/ 2 h 25"/>
                  <a:gd name="T16" fmla="*/ 42 w 42"/>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5">
                    <a:moveTo>
                      <a:pt x="42" y="23"/>
                    </a:moveTo>
                    <a:cubicBezTo>
                      <a:pt x="42" y="24"/>
                      <a:pt x="41" y="25"/>
                      <a:pt x="40" y="25"/>
                    </a:cubicBezTo>
                    <a:cubicBezTo>
                      <a:pt x="26" y="25"/>
                      <a:pt x="20" y="25"/>
                      <a:pt x="7" y="25"/>
                    </a:cubicBezTo>
                    <a:cubicBezTo>
                      <a:pt x="6" y="25"/>
                      <a:pt x="4" y="24"/>
                      <a:pt x="4" y="23"/>
                    </a:cubicBezTo>
                    <a:cubicBezTo>
                      <a:pt x="3" y="15"/>
                      <a:pt x="2" y="11"/>
                      <a:pt x="1" y="2"/>
                    </a:cubicBezTo>
                    <a:cubicBezTo>
                      <a:pt x="0" y="1"/>
                      <a:pt x="1" y="0"/>
                      <a:pt x="2" y="0"/>
                    </a:cubicBezTo>
                    <a:cubicBezTo>
                      <a:pt x="15" y="0"/>
                      <a:pt x="22" y="0"/>
                      <a:pt x="35" y="0"/>
                    </a:cubicBezTo>
                    <a:cubicBezTo>
                      <a:pt x="36" y="0"/>
                      <a:pt x="37" y="1"/>
                      <a:pt x="37" y="2"/>
                    </a:cubicBezTo>
                    <a:cubicBezTo>
                      <a:pt x="39" y="11"/>
                      <a:pt x="40" y="15"/>
                      <a:pt x="4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2" name="Freeform 183"/>
              <p:cNvSpPr>
                <a:spLocks/>
              </p:cNvSpPr>
              <p:nvPr/>
            </p:nvSpPr>
            <p:spPr bwMode="auto">
              <a:xfrm>
                <a:off x="6181432" y="5458170"/>
                <a:ext cx="65959" cy="37235"/>
              </a:xfrm>
              <a:custGeom>
                <a:avLst/>
                <a:gdLst>
                  <a:gd name="T0" fmla="*/ 43 w 43"/>
                  <a:gd name="T1" fmla="*/ 23 h 25"/>
                  <a:gd name="T2" fmla="*/ 41 w 43"/>
                  <a:gd name="T3" fmla="*/ 25 h 25"/>
                  <a:gd name="T4" fmla="*/ 7 w 43"/>
                  <a:gd name="T5" fmla="*/ 25 h 25"/>
                  <a:gd name="T6" fmla="*/ 5 w 43"/>
                  <a:gd name="T7" fmla="*/ 23 h 25"/>
                  <a:gd name="T8" fmla="*/ 0 w 43"/>
                  <a:gd name="T9" fmla="*/ 2 h 25"/>
                  <a:gd name="T10" fmla="*/ 2 w 43"/>
                  <a:gd name="T11" fmla="*/ 0 h 25"/>
                  <a:gd name="T12" fmla="*/ 35 w 43"/>
                  <a:gd name="T13" fmla="*/ 0 h 25"/>
                  <a:gd name="T14" fmla="*/ 38 w 43"/>
                  <a:gd name="T15" fmla="*/ 2 h 25"/>
                  <a:gd name="T16" fmla="*/ 43 w 43"/>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25">
                    <a:moveTo>
                      <a:pt x="43" y="23"/>
                    </a:moveTo>
                    <a:cubicBezTo>
                      <a:pt x="43" y="24"/>
                      <a:pt x="42" y="25"/>
                      <a:pt x="41" y="25"/>
                    </a:cubicBezTo>
                    <a:cubicBezTo>
                      <a:pt x="27" y="25"/>
                      <a:pt x="21" y="25"/>
                      <a:pt x="7" y="25"/>
                    </a:cubicBezTo>
                    <a:cubicBezTo>
                      <a:pt x="6" y="25"/>
                      <a:pt x="5" y="24"/>
                      <a:pt x="5" y="23"/>
                    </a:cubicBezTo>
                    <a:cubicBezTo>
                      <a:pt x="3" y="15"/>
                      <a:pt x="2" y="11"/>
                      <a:pt x="0" y="2"/>
                    </a:cubicBezTo>
                    <a:cubicBezTo>
                      <a:pt x="0" y="1"/>
                      <a:pt x="1" y="0"/>
                      <a:pt x="2" y="0"/>
                    </a:cubicBezTo>
                    <a:cubicBezTo>
                      <a:pt x="15" y="0"/>
                      <a:pt x="22" y="0"/>
                      <a:pt x="35" y="0"/>
                    </a:cubicBezTo>
                    <a:cubicBezTo>
                      <a:pt x="36" y="0"/>
                      <a:pt x="38" y="1"/>
                      <a:pt x="38" y="2"/>
                    </a:cubicBezTo>
                    <a:cubicBezTo>
                      <a:pt x="40" y="11"/>
                      <a:pt x="41" y="15"/>
                      <a:pt x="4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3" name="Freeform 184"/>
              <p:cNvSpPr>
                <a:spLocks/>
              </p:cNvSpPr>
              <p:nvPr/>
            </p:nvSpPr>
            <p:spPr bwMode="auto">
              <a:xfrm>
                <a:off x="6251646" y="5458170"/>
                <a:ext cx="65959" cy="37235"/>
              </a:xfrm>
              <a:custGeom>
                <a:avLst/>
                <a:gdLst>
                  <a:gd name="T0" fmla="*/ 44 w 44"/>
                  <a:gd name="T1" fmla="*/ 23 h 25"/>
                  <a:gd name="T2" fmla="*/ 42 w 44"/>
                  <a:gd name="T3" fmla="*/ 25 h 25"/>
                  <a:gd name="T4" fmla="*/ 8 w 44"/>
                  <a:gd name="T5" fmla="*/ 25 h 25"/>
                  <a:gd name="T6" fmla="*/ 5 w 44"/>
                  <a:gd name="T7" fmla="*/ 23 h 25"/>
                  <a:gd name="T8" fmla="*/ 0 w 44"/>
                  <a:gd name="T9" fmla="*/ 2 h 25"/>
                  <a:gd name="T10" fmla="*/ 2 w 44"/>
                  <a:gd name="T11" fmla="*/ 0 h 25"/>
                  <a:gd name="T12" fmla="*/ 36 w 44"/>
                  <a:gd name="T13" fmla="*/ 0 h 25"/>
                  <a:gd name="T14" fmla="*/ 38 w 44"/>
                  <a:gd name="T15" fmla="*/ 2 h 25"/>
                  <a:gd name="T16" fmla="*/ 44 w 44"/>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5">
                    <a:moveTo>
                      <a:pt x="44" y="23"/>
                    </a:moveTo>
                    <a:cubicBezTo>
                      <a:pt x="44" y="24"/>
                      <a:pt x="43" y="25"/>
                      <a:pt x="42" y="25"/>
                    </a:cubicBezTo>
                    <a:cubicBezTo>
                      <a:pt x="28" y="25"/>
                      <a:pt x="21" y="25"/>
                      <a:pt x="8" y="25"/>
                    </a:cubicBezTo>
                    <a:cubicBezTo>
                      <a:pt x="7" y="25"/>
                      <a:pt x="5" y="24"/>
                      <a:pt x="5" y="23"/>
                    </a:cubicBezTo>
                    <a:cubicBezTo>
                      <a:pt x="3" y="15"/>
                      <a:pt x="2" y="11"/>
                      <a:pt x="0" y="2"/>
                    </a:cubicBezTo>
                    <a:cubicBezTo>
                      <a:pt x="0" y="1"/>
                      <a:pt x="1" y="0"/>
                      <a:pt x="2" y="0"/>
                    </a:cubicBezTo>
                    <a:cubicBezTo>
                      <a:pt x="15" y="0"/>
                      <a:pt x="22" y="0"/>
                      <a:pt x="36" y="0"/>
                    </a:cubicBezTo>
                    <a:cubicBezTo>
                      <a:pt x="37" y="0"/>
                      <a:pt x="38" y="1"/>
                      <a:pt x="38" y="2"/>
                    </a:cubicBezTo>
                    <a:cubicBezTo>
                      <a:pt x="41" y="11"/>
                      <a:pt x="42" y="15"/>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4" name="Freeform 185"/>
              <p:cNvSpPr>
                <a:spLocks/>
              </p:cNvSpPr>
              <p:nvPr/>
            </p:nvSpPr>
            <p:spPr bwMode="auto">
              <a:xfrm>
                <a:off x="5398434" y="5456043"/>
                <a:ext cx="105322" cy="38299"/>
              </a:xfrm>
              <a:custGeom>
                <a:avLst/>
                <a:gdLst>
                  <a:gd name="T0" fmla="*/ 64 w 69"/>
                  <a:gd name="T1" fmla="*/ 23 h 25"/>
                  <a:gd name="T2" fmla="*/ 62 w 69"/>
                  <a:gd name="T3" fmla="*/ 25 h 25"/>
                  <a:gd name="T4" fmla="*/ 2 w 69"/>
                  <a:gd name="T5" fmla="*/ 25 h 25"/>
                  <a:gd name="T6" fmla="*/ 0 w 69"/>
                  <a:gd name="T7" fmla="*/ 24 h 25"/>
                  <a:gd name="T8" fmla="*/ 5 w 69"/>
                  <a:gd name="T9" fmla="*/ 2 h 25"/>
                  <a:gd name="T10" fmla="*/ 8 w 69"/>
                  <a:gd name="T11" fmla="*/ 0 h 25"/>
                  <a:gd name="T12" fmla="*/ 67 w 69"/>
                  <a:gd name="T13" fmla="*/ 0 h 25"/>
                  <a:gd name="T14" fmla="*/ 69 w 69"/>
                  <a:gd name="T15" fmla="*/ 2 h 25"/>
                  <a:gd name="T16" fmla="*/ 64 w 69"/>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25">
                    <a:moveTo>
                      <a:pt x="64" y="23"/>
                    </a:moveTo>
                    <a:cubicBezTo>
                      <a:pt x="64" y="24"/>
                      <a:pt x="63" y="25"/>
                      <a:pt x="62" y="25"/>
                    </a:cubicBezTo>
                    <a:cubicBezTo>
                      <a:pt x="38" y="25"/>
                      <a:pt x="26" y="25"/>
                      <a:pt x="2" y="25"/>
                    </a:cubicBezTo>
                    <a:cubicBezTo>
                      <a:pt x="1" y="25"/>
                      <a:pt x="0" y="24"/>
                      <a:pt x="0" y="24"/>
                    </a:cubicBezTo>
                    <a:cubicBezTo>
                      <a:pt x="2" y="15"/>
                      <a:pt x="3" y="11"/>
                      <a:pt x="5" y="2"/>
                    </a:cubicBezTo>
                    <a:cubicBezTo>
                      <a:pt x="5" y="1"/>
                      <a:pt x="7" y="1"/>
                      <a:pt x="8" y="0"/>
                    </a:cubicBezTo>
                    <a:cubicBezTo>
                      <a:pt x="32" y="0"/>
                      <a:pt x="44" y="0"/>
                      <a:pt x="67" y="0"/>
                    </a:cubicBezTo>
                    <a:cubicBezTo>
                      <a:pt x="68" y="0"/>
                      <a:pt x="69" y="1"/>
                      <a:pt x="69" y="2"/>
                    </a:cubicBezTo>
                    <a:cubicBezTo>
                      <a:pt x="67" y="11"/>
                      <a:pt x="66" y="15"/>
                      <a:pt x="6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5" name="Freeform 186"/>
              <p:cNvSpPr>
                <a:spLocks/>
              </p:cNvSpPr>
              <p:nvPr/>
            </p:nvSpPr>
            <p:spPr bwMode="auto">
              <a:xfrm>
                <a:off x="6273987" y="5401786"/>
                <a:ext cx="106386" cy="46810"/>
              </a:xfrm>
              <a:custGeom>
                <a:avLst/>
                <a:gdLst>
                  <a:gd name="T0" fmla="*/ 69 w 70"/>
                  <a:gd name="T1" fmla="*/ 30 h 31"/>
                  <a:gd name="T2" fmla="*/ 67 w 70"/>
                  <a:gd name="T3" fmla="*/ 31 h 31"/>
                  <a:gd name="T4" fmla="*/ 9 w 70"/>
                  <a:gd name="T5" fmla="*/ 31 h 31"/>
                  <a:gd name="T6" fmla="*/ 6 w 70"/>
                  <a:gd name="T7" fmla="*/ 30 h 31"/>
                  <a:gd name="T8" fmla="*/ 0 w 70"/>
                  <a:gd name="T9" fmla="*/ 2 h 31"/>
                  <a:gd name="T10" fmla="*/ 2 w 70"/>
                  <a:gd name="T11" fmla="*/ 0 h 31"/>
                  <a:gd name="T12" fmla="*/ 60 w 70"/>
                  <a:gd name="T13" fmla="*/ 0 h 31"/>
                  <a:gd name="T14" fmla="*/ 63 w 70"/>
                  <a:gd name="T15" fmla="*/ 2 h 31"/>
                  <a:gd name="T16" fmla="*/ 69 w 70"/>
                  <a:gd name="T17"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31">
                    <a:moveTo>
                      <a:pt x="69" y="30"/>
                    </a:moveTo>
                    <a:cubicBezTo>
                      <a:pt x="70" y="31"/>
                      <a:pt x="69" y="31"/>
                      <a:pt x="67" y="31"/>
                    </a:cubicBezTo>
                    <a:cubicBezTo>
                      <a:pt x="43" y="31"/>
                      <a:pt x="32" y="31"/>
                      <a:pt x="9" y="31"/>
                    </a:cubicBezTo>
                    <a:cubicBezTo>
                      <a:pt x="7" y="31"/>
                      <a:pt x="6" y="31"/>
                      <a:pt x="6" y="30"/>
                    </a:cubicBezTo>
                    <a:cubicBezTo>
                      <a:pt x="4" y="20"/>
                      <a:pt x="2" y="14"/>
                      <a:pt x="0" y="2"/>
                    </a:cubicBezTo>
                    <a:cubicBezTo>
                      <a:pt x="0" y="1"/>
                      <a:pt x="0" y="0"/>
                      <a:pt x="2" y="0"/>
                    </a:cubicBezTo>
                    <a:cubicBezTo>
                      <a:pt x="25" y="0"/>
                      <a:pt x="36" y="0"/>
                      <a:pt x="60" y="0"/>
                    </a:cubicBezTo>
                    <a:cubicBezTo>
                      <a:pt x="61" y="0"/>
                      <a:pt x="63" y="1"/>
                      <a:pt x="63" y="2"/>
                    </a:cubicBezTo>
                    <a:cubicBezTo>
                      <a:pt x="66" y="14"/>
                      <a:pt x="67" y="20"/>
                      <a:pt x="69"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6" name="Freeform 187"/>
              <p:cNvSpPr>
                <a:spLocks/>
              </p:cNvSpPr>
              <p:nvPr/>
            </p:nvSpPr>
            <p:spPr bwMode="auto">
              <a:xfrm>
                <a:off x="5386731" y="5501789"/>
                <a:ext cx="122343" cy="35107"/>
              </a:xfrm>
              <a:custGeom>
                <a:avLst/>
                <a:gdLst>
                  <a:gd name="T0" fmla="*/ 76 w 81"/>
                  <a:gd name="T1" fmla="*/ 21 h 23"/>
                  <a:gd name="T2" fmla="*/ 74 w 81"/>
                  <a:gd name="T3" fmla="*/ 23 h 23"/>
                  <a:gd name="T4" fmla="*/ 3 w 81"/>
                  <a:gd name="T5" fmla="*/ 23 h 23"/>
                  <a:gd name="T6" fmla="*/ 1 w 81"/>
                  <a:gd name="T7" fmla="*/ 21 h 23"/>
                  <a:gd name="T8" fmla="*/ 6 w 81"/>
                  <a:gd name="T9" fmla="*/ 1 h 23"/>
                  <a:gd name="T10" fmla="*/ 9 w 81"/>
                  <a:gd name="T11" fmla="*/ 0 h 23"/>
                  <a:gd name="T12" fmla="*/ 79 w 81"/>
                  <a:gd name="T13" fmla="*/ 0 h 23"/>
                  <a:gd name="T14" fmla="*/ 81 w 81"/>
                  <a:gd name="T15" fmla="*/ 1 h 23"/>
                  <a:gd name="T16" fmla="*/ 76 w 81"/>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3">
                    <a:moveTo>
                      <a:pt x="76" y="21"/>
                    </a:moveTo>
                    <a:cubicBezTo>
                      <a:pt x="76" y="22"/>
                      <a:pt x="75" y="23"/>
                      <a:pt x="74" y="23"/>
                    </a:cubicBezTo>
                    <a:cubicBezTo>
                      <a:pt x="45" y="23"/>
                      <a:pt x="31" y="23"/>
                      <a:pt x="3" y="23"/>
                    </a:cubicBezTo>
                    <a:cubicBezTo>
                      <a:pt x="1" y="23"/>
                      <a:pt x="0" y="22"/>
                      <a:pt x="1" y="21"/>
                    </a:cubicBezTo>
                    <a:cubicBezTo>
                      <a:pt x="3" y="13"/>
                      <a:pt x="4" y="9"/>
                      <a:pt x="6" y="1"/>
                    </a:cubicBezTo>
                    <a:cubicBezTo>
                      <a:pt x="6" y="0"/>
                      <a:pt x="8" y="0"/>
                      <a:pt x="9" y="0"/>
                    </a:cubicBezTo>
                    <a:cubicBezTo>
                      <a:pt x="38" y="0"/>
                      <a:pt x="52" y="0"/>
                      <a:pt x="79" y="0"/>
                    </a:cubicBezTo>
                    <a:cubicBezTo>
                      <a:pt x="81" y="0"/>
                      <a:pt x="81" y="1"/>
                      <a:pt x="81" y="1"/>
                    </a:cubicBezTo>
                    <a:cubicBezTo>
                      <a:pt x="79" y="9"/>
                      <a:pt x="78" y="13"/>
                      <a:pt x="76"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7" name="Freeform 188"/>
              <p:cNvSpPr>
                <a:spLocks/>
              </p:cNvSpPr>
              <p:nvPr/>
            </p:nvSpPr>
            <p:spPr bwMode="auto">
              <a:xfrm>
                <a:off x="5373965" y="5544343"/>
                <a:ext cx="89364" cy="36171"/>
              </a:xfrm>
              <a:custGeom>
                <a:avLst/>
                <a:gdLst>
                  <a:gd name="T0" fmla="*/ 53 w 59"/>
                  <a:gd name="T1" fmla="*/ 22 h 24"/>
                  <a:gd name="T2" fmla="*/ 50 w 59"/>
                  <a:gd name="T3" fmla="*/ 23 h 24"/>
                  <a:gd name="T4" fmla="*/ 3 w 59"/>
                  <a:gd name="T5" fmla="*/ 24 h 24"/>
                  <a:gd name="T6" fmla="*/ 1 w 59"/>
                  <a:gd name="T7" fmla="*/ 22 h 24"/>
                  <a:gd name="T8" fmla="*/ 6 w 59"/>
                  <a:gd name="T9" fmla="*/ 1 h 24"/>
                  <a:gd name="T10" fmla="*/ 9 w 59"/>
                  <a:gd name="T11" fmla="*/ 0 h 24"/>
                  <a:gd name="T12" fmla="*/ 57 w 59"/>
                  <a:gd name="T13" fmla="*/ 0 h 24"/>
                  <a:gd name="T14" fmla="*/ 59 w 59"/>
                  <a:gd name="T15" fmla="*/ 1 h 24"/>
                  <a:gd name="T16" fmla="*/ 53 w 59"/>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4">
                    <a:moveTo>
                      <a:pt x="53" y="22"/>
                    </a:moveTo>
                    <a:cubicBezTo>
                      <a:pt x="53" y="23"/>
                      <a:pt x="52" y="23"/>
                      <a:pt x="50" y="23"/>
                    </a:cubicBezTo>
                    <a:cubicBezTo>
                      <a:pt x="31" y="23"/>
                      <a:pt x="22" y="24"/>
                      <a:pt x="3" y="24"/>
                    </a:cubicBezTo>
                    <a:cubicBezTo>
                      <a:pt x="1" y="24"/>
                      <a:pt x="0" y="23"/>
                      <a:pt x="1" y="22"/>
                    </a:cubicBezTo>
                    <a:cubicBezTo>
                      <a:pt x="3" y="13"/>
                      <a:pt x="4" y="9"/>
                      <a:pt x="6" y="1"/>
                    </a:cubicBezTo>
                    <a:cubicBezTo>
                      <a:pt x="7" y="0"/>
                      <a:pt x="8" y="0"/>
                      <a:pt x="9" y="0"/>
                    </a:cubicBezTo>
                    <a:cubicBezTo>
                      <a:pt x="28" y="0"/>
                      <a:pt x="38" y="0"/>
                      <a:pt x="57" y="0"/>
                    </a:cubicBezTo>
                    <a:cubicBezTo>
                      <a:pt x="58" y="0"/>
                      <a:pt x="59" y="0"/>
                      <a:pt x="59" y="1"/>
                    </a:cubicBezTo>
                    <a:cubicBezTo>
                      <a:pt x="56" y="9"/>
                      <a:pt x="55" y="13"/>
                      <a:pt x="53"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8" name="Freeform 189"/>
              <p:cNvSpPr>
                <a:spLocks/>
              </p:cNvSpPr>
              <p:nvPr/>
            </p:nvSpPr>
            <p:spPr bwMode="auto">
              <a:xfrm>
                <a:off x="5482478" y="5402850"/>
                <a:ext cx="64895" cy="45746"/>
              </a:xfrm>
              <a:custGeom>
                <a:avLst/>
                <a:gdLst>
                  <a:gd name="T0" fmla="*/ 39 w 43"/>
                  <a:gd name="T1" fmla="*/ 28 h 30"/>
                  <a:gd name="T2" fmla="*/ 36 w 43"/>
                  <a:gd name="T3" fmla="*/ 30 h 30"/>
                  <a:gd name="T4" fmla="*/ 2 w 43"/>
                  <a:gd name="T5" fmla="*/ 30 h 30"/>
                  <a:gd name="T6" fmla="*/ 0 w 43"/>
                  <a:gd name="T7" fmla="*/ 28 h 30"/>
                  <a:gd name="T8" fmla="*/ 5 w 43"/>
                  <a:gd name="T9" fmla="*/ 2 h 30"/>
                  <a:gd name="T10" fmla="*/ 8 w 43"/>
                  <a:gd name="T11" fmla="*/ 1 h 30"/>
                  <a:gd name="T12" fmla="*/ 41 w 43"/>
                  <a:gd name="T13" fmla="*/ 0 h 30"/>
                  <a:gd name="T14" fmla="*/ 43 w 43"/>
                  <a:gd name="T15" fmla="*/ 2 h 30"/>
                  <a:gd name="T16" fmla="*/ 39 w 43"/>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30">
                    <a:moveTo>
                      <a:pt x="39" y="28"/>
                    </a:moveTo>
                    <a:cubicBezTo>
                      <a:pt x="38" y="29"/>
                      <a:pt x="37" y="30"/>
                      <a:pt x="36" y="30"/>
                    </a:cubicBezTo>
                    <a:cubicBezTo>
                      <a:pt x="23" y="30"/>
                      <a:pt x="16" y="30"/>
                      <a:pt x="2" y="30"/>
                    </a:cubicBezTo>
                    <a:cubicBezTo>
                      <a:pt x="1" y="30"/>
                      <a:pt x="0" y="29"/>
                      <a:pt x="0" y="28"/>
                    </a:cubicBezTo>
                    <a:cubicBezTo>
                      <a:pt x="2" y="19"/>
                      <a:pt x="3" y="14"/>
                      <a:pt x="5" y="2"/>
                    </a:cubicBezTo>
                    <a:cubicBezTo>
                      <a:pt x="5" y="1"/>
                      <a:pt x="6" y="1"/>
                      <a:pt x="8" y="1"/>
                    </a:cubicBezTo>
                    <a:cubicBezTo>
                      <a:pt x="21" y="1"/>
                      <a:pt x="28" y="1"/>
                      <a:pt x="41" y="0"/>
                    </a:cubicBezTo>
                    <a:cubicBezTo>
                      <a:pt x="42" y="0"/>
                      <a:pt x="43" y="1"/>
                      <a:pt x="43" y="2"/>
                    </a:cubicBezTo>
                    <a:cubicBezTo>
                      <a:pt x="41" y="14"/>
                      <a:pt x="40" y="19"/>
                      <a:pt x="39"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9" name="Freeform 190"/>
              <p:cNvSpPr>
                <a:spLocks/>
              </p:cNvSpPr>
              <p:nvPr/>
            </p:nvSpPr>
            <p:spPr bwMode="auto">
              <a:xfrm>
                <a:off x="5552693" y="5402850"/>
                <a:ext cx="62768" cy="45746"/>
              </a:xfrm>
              <a:custGeom>
                <a:avLst/>
                <a:gdLst>
                  <a:gd name="T0" fmla="*/ 37 w 41"/>
                  <a:gd name="T1" fmla="*/ 28 h 30"/>
                  <a:gd name="T2" fmla="*/ 35 w 41"/>
                  <a:gd name="T3" fmla="*/ 30 h 30"/>
                  <a:gd name="T4" fmla="*/ 2 w 41"/>
                  <a:gd name="T5" fmla="*/ 30 h 30"/>
                  <a:gd name="T6" fmla="*/ 0 w 41"/>
                  <a:gd name="T7" fmla="*/ 28 h 30"/>
                  <a:gd name="T8" fmla="*/ 4 w 41"/>
                  <a:gd name="T9" fmla="*/ 2 h 30"/>
                  <a:gd name="T10" fmla="*/ 6 w 41"/>
                  <a:gd name="T11" fmla="*/ 0 h 30"/>
                  <a:gd name="T12" fmla="*/ 39 w 41"/>
                  <a:gd name="T13" fmla="*/ 0 h 30"/>
                  <a:gd name="T14" fmla="*/ 41 w 41"/>
                  <a:gd name="T15" fmla="*/ 2 h 30"/>
                  <a:gd name="T16" fmla="*/ 37 w 41"/>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0">
                    <a:moveTo>
                      <a:pt x="37" y="28"/>
                    </a:moveTo>
                    <a:cubicBezTo>
                      <a:pt x="37" y="29"/>
                      <a:pt x="36" y="30"/>
                      <a:pt x="35" y="30"/>
                    </a:cubicBezTo>
                    <a:cubicBezTo>
                      <a:pt x="22" y="30"/>
                      <a:pt x="15" y="30"/>
                      <a:pt x="2" y="30"/>
                    </a:cubicBezTo>
                    <a:cubicBezTo>
                      <a:pt x="1" y="30"/>
                      <a:pt x="0" y="29"/>
                      <a:pt x="0" y="28"/>
                    </a:cubicBezTo>
                    <a:cubicBezTo>
                      <a:pt x="2" y="19"/>
                      <a:pt x="2" y="14"/>
                      <a:pt x="4" y="2"/>
                    </a:cubicBezTo>
                    <a:cubicBezTo>
                      <a:pt x="4" y="1"/>
                      <a:pt x="5" y="0"/>
                      <a:pt x="6" y="0"/>
                    </a:cubicBezTo>
                    <a:cubicBezTo>
                      <a:pt x="19" y="0"/>
                      <a:pt x="26" y="0"/>
                      <a:pt x="39" y="0"/>
                    </a:cubicBezTo>
                    <a:cubicBezTo>
                      <a:pt x="40" y="0"/>
                      <a:pt x="41" y="1"/>
                      <a:pt x="41" y="2"/>
                    </a:cubicBezTo>
                    <a:cubicBezTo>
                      <a:pt x="39" y="14"/>
                      <a:pt x="38" y="19"/>
                      <a:pt x="37"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0" name="Freeform 191"/>
              <p:cNvSpPr>
                <a:spLocks/>
              </p:cNvSpPr>
              <p:nvPr/>
            </p:nvSpPr>
            <p:spPr bwMode="auto">
              <a:xfrm>
                <a:off x="5621844" y="5402850"/>
                <a:ext cx="58512" cy="45746"/>
              </a:xfrm>
              <a:custGeom>
                <a:avLst/>
                <a:gdLst>
                  <a:gd name="T0" fmla="*/ 36 w 39"/>
                  <a:gd name="T1" fmla="*/ 28 h 30"/>
                  <a:gd name="T2" fmla="*/ 34 w 39"/>
                  <a:gd name="T3" fmla="*/ 30 h 30"/>
                  <a:gd name="T4" fmla="*/ 2 w 39"/>
                  <a:gd name="T5" fmla="*/ 30 h 30"/>
                  <a:gd name="T6" fmla="*/ 0 w 39"/>
                  <a:gd name="T7" fmla="*/ 28 h 30"/>
                  <a:gd name="T8" fmla="*/ 3 w 39"/>
                  <a:gd name="T9" fmla="*/ 2 h 30"/>
                  <a:gd name="T10" fmla="*/ 6 w 39"/>
                  <a:gd name="T11" fmla="*/ 0 h 30"/>
                  <a:gd name="T12" fmla="*/ 37 w 39"/>
                  <a:gd name="T13" fmla="*/ 0 h 30"/>
                  <a:gd name="T14" fmla="*/ 39 w 39"/>
                  <a:gd name="T15" fmla="*/ 2 h 30"/>
                  <a:gd name="T16" fmla="*/ 36 w 39"/>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0">
                    <a:moveTo>
                      <a:pt x="36" y="28"/>
                    </a:moveTo>
                    <a:cubicBezTo>
                      <a:pt x="36" y="29"/>
                      <a:pt x="35" y="30"/>
                      <a:pt x="34" y="30"/>
                    </a:cubicBezTo>
                    <a:cubicBezTo>
                      <a:pt x="21" y="30"/>
                      <a:pt x="15" y="30"/>
                      <a:pt x="2" y="30"/>
                    </a:cubicBezTo>
                    <a:cubicBezTo>
                      <a:pt x="1" y="30"/>
                      <a:pt x="0" y="29"/>
                      <a:pt x="0" y="28"/>
                    </a:cubicBezTo>
                    <a:cubicBezTo>
                      <a:pt x="1" y="19"/>
                      <a:pt x="2" y="14"/>
                      <a:pt x="3" y="2"/>
                    </a:cubicBezTo>
                    <a:cubicBezTo>
                      <a:pt x="4" y="1"/>
                      <a:pt x="5" y="0"/>
                      <a:pt x="6" y="0"/>
                    </a:cubicBezTo>
                    <a:cubicBezTo>
                      <a:pt x="18" y="0"/>
                      <a:pt x="25" y="0"/>
                      <a:pt x="37" y="0"/>
                    </a:cubicBezTo>
                    <a:cubicBezTo>
                      <a:pt x="38" y="0"/>
                      <a:pt x="39" y="1"/>
                      <a:pt x="39" y="2"/>
                    </a:cubicBezTo>
                    <a:cubicBezTo>
                      <a:pt x="38" y="14"/>
                      <a:pt x="37" y="19"/>
                      <a:pt x="36"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1" name="Freeform 192"/>
              <p:cNvSpPr>
                <a:spLocks/>
              </p:cNvSpPr>
              <p:nvPr/>
            </p:nvSpPr>
            <p:spPr bwMode="auto">
              <a:xfrm>
                <a:off x="5687803" y="5402850"/>
                <a:ext cx="57448" cy="45746"/>
              </a:xfrm>
              <a:custGeom>
                <a:avLst/>
                <a:gdLst>
                  <a:gd name="T0" fmla="*/ 36 w 38"/>
                  <a:gd name="T1" fmla="*/ 28 h 30"/>
                  <a:gd name="T2" fmla="*/ 34 w 38"/>
                  <a:gd name="T3" fmla="*/ 30 h 30"/>
                  <a:gd name="T4" fmla="*/ 2 w 38"/>
                  <a:gd name="T5" fmla="*/ 30 h 30"/>
                  <a:gd name="T6" fmla="*/ 0 w 38"/>
                  <a:gd name="T7" fmla="*/ 28 h 30"/>
                  <a:gd name="T8" fmla="*/ 3 w 38"/>
                  <a:gd name="T9" fmla="*/ 2 h 30"/>
                  <a:gd name="T10" fmla="*/ 5 w 38"/>
                  <a:gd name="T11" fmla="*/ 0 h 30"/>
                  <a:gd name="T12" fmla="*/ 36 w 38"/>
                  <a:gd name="T13" fmla="*/ 0 h 30"/>
                  <a:gd name="T14" fmla="*/ 38 w 38"/>
                  <a:gd name="T15" fmla="*/ 2 h 30"/>
                  <a:gd name="T16" fmla="*/ 36 w 38"/>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0">
                    <a:moveTo>
                      <a:pt x="36" y="28"/>
                    </a:moveTo>
                    <a:cubicBezTo>
                      <a:pt x="36" y="29"/>
                      <a:pt x="35" y="30"/>
                      <a:pt x="34" y="30"/>
                    </a:cubicBezTo>
                    <a:cubicBezTo>
                      <a:pt x="21" y="30"/>
                      <a:pt x="15" y="30"/>
                      <a:pt x="2" y="30"/>
                    </a:cubicBezTo>
                    <a:cubicBezTo>
                      <a:pt x="1" y="30"/>
                      <a:pt x="0" y="29"/>
                      <a:pt x="0" y="28"/>
                    </a:cubicBezTo>
                    <a:cubicBezTo>
                      <a:pt x="1" y="19"/>
                      <a:pt x="2" y="14"/>
                      <a:pt x="3" y="2"/>
                    </a:cubicBezTo>
                    <a:cubicBezTo>
                      <a:pt x="3" y="1"/>
                      <a:pt x="4" y="0"/>
                      <a:pt x="5" y="0"/>
                    </a:cubicBezTo>
                    <a:cubicBezTo>
                      <a:pt x="17" y="0"/>
                      <a:pt x="23" y="0"/>
                      <a:pt x="36" y="0"/>
                    </a:cubicBezTo>
                    <a:cubicBezTo>
                      <a:pt x="37" y="0"/>
                      <a:pt x="38" y="1"/>
                      <a:pt x="38" y="2"/>
                    </a:cubicBezTo>
                    <a:cubicBezTo>
                      <a:pt x="37" y="14"/>
                      <a:pt x="37" y="19"/>
                      <a:pt x="36"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2" name="Freeform 193"/>
              <p:cNvSpPr>
                <a:spLocks/>
              </p:cNvSpPr>
              <p:nvPr/>
            </p:nvSpPr>
            <p:spPr bwMode="auto">
              <a:xfrm>
                <a:off x="5754826" y="5402850"/>
                <a:ext cx="54257" cy="45746"/>
              </a:xfrm>
              <a:custGeom>
                <a:avLst/>
                <a:gdLst>
                  <a:gd name="T0" fmla="*/ 35 w 36"/>
                  <a:gd name="T1" fmla="*/ 28 h 30"/>
                  <a:gd name="T2" fmla="*/ 33 w 36"/>
                  <a:gd name="T3" fmla="*/ 30 h 30"/>
                  <a:gd name="T4" fmla="*/ 2 w 36"/>
                  <a:gd name="T5" fmla="*/ 30 h 30"/>
                  <a:gd name="T6" fmla="*/ 0 w 36"/>
                  <a:gd name="T7" fmla="*/ 28 h 30"/>
                  <a:gd name="T8" fmla="*/ 1 w 36"/>
                  <a:gd name="T9" fmla="*/ 2 h 30"/>
                  <a:gd name="T10" fmla="*/ 3 w 36"/>
                  <a:gd name="T11" fmla="*/ 0 h 30"/>
                  <a:gd name="T12" fmla="*/ 34 w 36"/>
                  <a:gd name="T13" fmla="*/ 0 h 30"/>
                  <a:gd name="T14" fmla="*/ 36 w 36"/>
                  <a:gd name="T15" fmla="*/ 2 h 30"/>
                  <a:gd name="T16" fmla="*/ 35 w 36"/>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0">
                    <a:moveTo>
                      <a:pt x="35" y="28"/>
                    </a:moveTo>
                    <a:cubicBezTo>
                      <a:pt x="35" y="29"/>
                      <a:pt x="34" y="30"/>
                      <a:pt x="33" y="30"/>
                    </a:cubicBezTo>
                    <a:cubicBezTo>
                      <a:pt x="20" y="30"/>
                      <a:pt x="14" y="30"/>
                      <a:pt x="2" y="30"/>
                    </a:cubicBezTo>
                    <a:cubicBezTo>
                      <a:pt x="0" y="30"/>
                      <a:pt x="0" y="29"/>
                      <a:pt x="0" y="28"/>
                    </a:cubicBezTo>
                    <a:cubicBezTo>
                      <a:pt x="0" y="19"/>
                      <a:pt x="1" y="14"/>
                      <a:pt x="1" y="2"/>
                    </a:cubicBezTo>
                    <a:cubicBezTo>
                      <a:pt x="1" y="1"/>
                      <a:pt x="2" y="0"/>
                      <a:pt x="3" y="0"/>
                    </a:cubicBezTo>
                    <a:cubicBezTo>
                      <a:pt x="15" y="0"/>
                      <a:pt x="21" y="0"/>
                      <a:pt x="34" y="0"/>
                    </a:cubicBezTo>
                    <a:cubicBezTo>
                      <a:pt x="35" y="0"/>
                      <a:pt x="36" y="1"/>
                      <a:pt x="36" y="2"/>
                    </a:cubicBezTo>
                    <a:cubicBezTo>
                      <a:pt x="35" y="14"/>
                      <a:pt x="35" y="19"/>
                      <a:pt x="35"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3" name="Freeform 194"/>
              <p:cNvSpPr>
                <a:spLocks/>
              </p:cNvSpPr>
              <p:nvPr/>
            </p:nvSpPr>
            <p:spPr bwMode="auto">
              <a:xfrm>
                <a:off x="5818657" y="5402850"/>
                <a:ext cx="54257" cy="45746"/>
              </a:xfrm>
              <a:custGeom>
                <a:avLst/>
                <a:gdLst>
                  <a:gd name="T0" fmla="*/ 36 w 36"/>
                  <a:gd name="T1" fmla="*/ 28 h 30"/>
                  <a:gd name="T2" fmla="*/ 34 w 36"/>
                  <a:gd name="T3" fmla="*/ 30 h 30"/>
                  <a:gd name="T4" fmla="*/ 3 w 36"/>
                  <a:gd name="T5" fmla="*/ 30 h 30"/>
                  <a:gd name="T6" fmla="*/ 1 w 36"/>
                  <a:gd name="T7" fmla="*/ 28 h 30"/>
                  <a:gd name="T8" fmla="*/ 1 w 36"/>
                  <a:gd name="T9" fmla="*/ 2 h 30"/>
                  <a:gd name="T10" fmla="*/ 3 w 36"/>
                  <a:gd name="T11" fmla="*/ 0 h 30"/>
                  <a:gd name="T12" fmla="*/ 33 w 36"/>
                  <a:gd name="T13" fmla="*/ 0 h 30"/>
                  <a:gd name="T14" fmla="*/ 35 w 36"/>
                  <a:gd name="T15" fmla="*/ 2 h 30"/>
                  <a:gd name="T16" fmla="*/ 36 w 36"/>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0">
                    <a:moveTo>
                      <a:pt x="36" y="28"/>
                    </a:moveTo>
                    <a:cubicBezTo>
                      <a:pt x="36" y="29"/>
                      <a:pt x="35" y="30"/>
                      <a:pt x="34" y="30"/>
                    </a:cubicBezTo>
                    <a:cubicBezTo>
                      <a:pt x="21" y="30"/>
                      <a:pt x="15" y="30"/>
                      <a:pt x="3" y="30"/>
                    </a:cubicBezTo>
                    <a:cubicBezTo>
                      <a:pt x="1" y="30"/>
                      <a:pt x="0" y="29"/>
                      <a:pt x="1" y="28"/>
                    </a:cubicBezTo>
                    <a:cubicBezTo>
                      <a:pt x="1" y="19"/>
                      <a:pt x="1" y="14"/>
                      <a:pt x="1" y="2"/>
                    </a:cubicBezTo>
                    <a:cubicBezTo>
                      <a:pt x="1" y="1"/>
                      <a:pt x="2" y="0"/>
                      <a:pt x="3" y="0"/>
                    </a:cubicBezTo>
                    <a:cubicBezTo>
                      <a:pt x="15" y="0"/>
                      <a:pt x="21" y="0"/>
                      <a:pt x="33" y="0"/>
                    </a:cubicBezTo>
                    <a:cubicBezTo>
                      <a:pt x="34" y="0"/>
                      <a:pt x="35" y="1"/>
                      <a:pt x="35" y="2"/>
                    </a:cubicBezTo>
                    <a:cubicBezTo>
                      <a:pt x="35" y="14"/>
                      <a:pt x="35" y="19"/>
                      <a:pt x="36"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4" name="Freeform 195"/>
              <p:cNvSpPr>
                <a:spLocks/>
              </p:cNvSpPr>
              <p:nvPr/>
            </p:nvSpPr>
            <p:spPr bwMode="auto">
              <a:xfrm>
                <a:off x="5883552" y="5402850"/>
                <a:ext cx="53193" cy="45746"/>
              </a:xfrm>
              <a:custGeom>
                <a:avLst/>
                <a:gdLst>
                  <a:gd name="T0" fmla="*/ 35 w 35"/>
                  <a:gd name="T1" fmla="*/ 28 h 30"/>
                  <a:gd name="T2" fmla="*/ 33 w 35"/>
                  <a:gd name="T3" fmla="*/ 30 h 30"/>
                  <a:gd name="T4" fmla="*/ 2 w 35"/>
                  <a:gd name="T5" fmla="*/ 30 h 30"/>
                  <a:gd name="T6" fmla="*/ 0 w 35"/>
                  <a:gd name="T7" fmla="*/ 28 h 30"/>
                  <a:gd name="T8" fmla="*/ 0 w 35"/>
                  <a:gd name="T9" fmla="*/ 2 h 30"/>
                  <a:gd name="T10" fmla="*/ 1 w 35"/>
                  <a:gd name="T11" fmla="*/ 0 h 30"/>
                  <a:gd name="T12" fmla="*/ 32 w 35"/>
                  <a:gd name="T13" fmla="*/ 0 h 30"/>
                  <a:gd name="T14" fmla="*/ 34 w 35"/>
                  <a:gd name="T15" fmla="*/ 2 h 30"/>
                  <a:gd name="T16" fmla="*/ 35 w 35"/>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0">
                    <a:moveTo>
                      <a:pt x="35" y="28"/>
                    </a:moveTo>
                    <a:cubicBezTo>
                      <a:pt x="35" y="29"/>
                      <a:pt x="34" y="30"/>
                      <a:pt x="33" y="30"/>
                    </a:cubicBezTo>
                    <a:cubicBezTo>
                      <a:pt x="21" y="30"/>
                      <a:pt x="15" y="30"/>
                      <a:pt x="2" y="30"/>
                    </a:cubicBezTo>
                    <a:cubicBezTo>
                      <a:pt x="1" y="30"/>
                      <a:pt x="0" y="29"/>
                      <a:pt x="0" y="28"/>
                    </a:cubicBezTo>
                    <a:cubicBezTo>
                      <a:pt x="0" y="19"/>
                      <a:pt x="0" y="14"/>
                      <a:pt x="0" y="2"/>
                    </a:cubicBezTo>
                    <a:cubicBezTo>
                      <a:pt x="0" y="1"/>
                      <a:pt x="0" y="0"/>
                      <a:pt x="1" y="0"/>
                    </a:cubicBezTo>
                    <a:cubicBezTo>
                      <a:pt x="13" y="0"/>
                      <a:pt x="19" y="0"/>
                      <a:pt x="32" y="0"/>
                    </a:cubicBezTo>
                    <a:cubicBezTo>
                      <a:pt x="33" y="0"/>
                      <a:pt x="34" y="1"/>
                      <a:pt x="34" y="2"/>
                    </a:cubicBezTo>
                    <a:cubicBezTo>
                      <a:pt x="34" y="14"/>
                      <a:pt x="35" y="19"/>
                      <a:pt x="35"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5" name="Freeform 196"/>
              <p:cNvSpPr>
                <a:spLocks/>
              </p:cNvSpPr>
              <p:nvPr/>
            </p:nvSpPr>
            <p:spPr bwMode="auto">
              <a:xfrm>
                <a:off x="5945256" y="5402850"/>
                <a:ext cx="56384" cy="45746"/>
              </a:xfrm>
              <a:custGeom>
                <a:avLst/>
                <a:gdLst>
                  <a:gd name="T0" fmla="*/ 37 w 37"/>
                  <a:gd name="T1" fmla="*/ 29 h 30"/>
                  <a:gd name="T2" fmla="*/ 35 w 37"/>
                  <a:gd name="T3" fmla="*/ 30 h 30"/>
                  <a:gd name="T4" fmla="*/ 4 w 37"/>
                  <a:gd name="T5" fmla="*/ 30 h 30"/>
                  <a:gd name="T6" fmla="*/ 2 w 37"/>
                  <a:gd name="T7" fmla="*/ 29 h 30"/>
                  <a:gd name="T8" fmla="*/ 0 w 37"/>
                  <a:gd name="T9" fmla="*/ 2 h 30"/>
                  <a:gd name="T10" fmla="*/ 2 w 37"/>
                  <a:gd name="T11" fmla="*/ 0 h 30"/>
                  <a:gd name="T12" fmla="*/ 32 w 37"/>
                  <a:gd name="T13" fmla="*/ 0 h 30"/>
                  <a:gd name="T14" fmla="*/ 34 w 37"/>
                  <a:gd name="T15" fmla="*/ 2 h 30"/>
                  <a:gd name="T16" fmla="*/ 37 w 37"/>
                  <a:gd name="T1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0">
                    <a:moveTo>
                      <a:pt x="37" y="29"/>
                    </a:moveTo>
                    <a:cubicBezTo>
                      <a:pt x="37" y="29"/>
                      <a:pt x="36" y="30"/>
                      <a:pt x="35" y="30"/>
                    </a:cubicBezTo>
                    <a:cubicBezTo>
                      <a:pt x="23" y="30"/>
                      <a:pt x="16" y="30"/>
                      <a:pt x="4" y="30"/>
                    </a:cubicBezTo>
                    <a:cubicBezTo>
                      <a:pt x="3" y="30"/>
                      <a:pt x="2" y="29"/>
                      <a:pt x="2" y="29"/>
                    </a:cubicBezTo>
                    <a:cubicBezTo>
                      <a:pt x="1" y="19"/>
                      <a:pt x="1" y="14"/>
                      <a:pt x="0" y="2"/>
                    </a:cubicBezTo>
                    <a:cubicBezTo>
                      <a:pt x="0" y="1"/>
                      <a:pt x="1" y="0"/>
                      <a:pt x="2" y="0"/>
                    </a:cubicBezTo>
                    <a:cubicBezTo>
                      <a:pt x="14" y="0"/>
                      <a:pt x="20" y="0"/>
                      <a:pt x="32" y="0"/>
                    </a:cubicBezTo>
                    <a:cubicBezTo>
                      <a:pt x="33" y="0"/>
                      <a:pt x="34" y="1"/>
                      <a:pt x="34" y="2"/>
                    </a:cubicBezTo>
                    <a:cubicBezTo>
                      <a:pt x="35" y="14"/>
                      <a:pt x="36" y="19"/>
                      <a:pt x="37"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6" name="Freeform 197"/>
              <p:cNvSpPr>
                <a:spLocks/>
              </p:cNvSpPr>
              <p:nvPr/>
            </p:nvSpPr>
            <p:spPr bwMode="auto">
              <a:xfrm>
                <a:off x="6009087" y="5402850"/>
                <a:ext cx="57448" cy="45746"/>
              </a:xfrm>
              <a:custGeom>
                <a:avLst/>
                <a:gdLst>
                  <a:gd name="T0" fmla="*/ 38 w 38"/>
                  <a:gd name="T1" fmla="*/ 29 h 30"/>
                  <a:gd name="T2" fmla="*/ 36 w 38"/>
                  <a:gd name="T3" fmla="*/ 30 h 30"/>
                  <a:gd name="T4" fmla="*/ 5 w 38"/>
                  <a:gd name="T5" fmla="*/ 30 h 30"/>
                  <a:gd name="T6" fmla="*/ 3 w 38"/>
                  <a:gd name="T7" fmla="*/ 29 h 30"/>
                  <a:gd name="T8" fmla="*/ 0 w 38"/>
                  <a:gd name="T9" fmla="*/ 2 h 30"/>
                  <a:gd name="T10" fmla="*/ 2 w 38"/>
                  <a:gd name="T11" fmla="*/ 0 h 30"/>
                  <a:gd name="T12" fmla="*/ 32 w 38"/>
                  <a:gd name="T13" fmla="*/ 0 h 30"/>
                  <a:gd name="T14" fmla="*/ 34 w 38"/>
                  <a:gd name="T15" fmla="*/ 2 h 30"/>
                  <a:gd name="T16" fmla="*/ 38 w 38"/>
                  <a:gd name="T1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0">
                    <a:moveTo>
                      <a:pt x="38" y="29"/>
                    </a:moveTo>
                    <a:cubicBezTo>
                      <a:pt x="38" y="29"/>
                      <a:pt x="37" y="30"/>
                      <a:pt x="36" y="30"/>
                    </a:cubicBezTo>
                    <a:cubicBezTo>
                      <a:pt x="24" y="30"/>
                      <a:pt x="17" y="30"/>
                      <a:pt x="5" y="30"/>
                    </a:cubicBezTo>
                    <a:cubicBezTo>
                      <a:pt x="4" y="30"/>
                      <a:pt x="3" y="29"/>
                      <a:pt x="3" y="29"/>
                    </a:cubicBezTo>
                    <a:cubicBezTo>
                      <a:pt x="2" y="19"/>
                      <a:pt x="1" y="14"/>
                      <a:pt x="0" y="2"/>
                    </a:cubicBezTo>
                    <a:cubicBezTo>
                      <a:pt x="0" y="1"/>
                      <a:pt x="1" y="0"/>
                      <a:pt x="2" y="0"/>
                    </a:cubicBezTo>
                    <a:cubicBezTo>
                      <a:pt x="14" y="0"/>
                      <a:pt x="20" y="0"/>
                      <a:pt x="32" y="0"/>
                    </a:cubicBezTo>
                    <a:cubicBezTo>
                      <a:pt x="33" y="0"/>
                      <a:pt x="34" y="1"/>
                      <a:pt x="34" y="2"/>
                    </a:cubicBezTo>
                    <a:cubicBezTo>
                      <a:pt x="36" y="14"/>
                      <a:pt x="37" y="19"/>
                      <a:pt x="38"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7" name="Freeform 198"/>
              <p:cNvSpPr>
                <a:spLocks/>
              </p:cNvSpPr>
              <p:nvPr/>
            </p:nvSpPr>
            <p:spPr bwMode="auto">
              <a:xfrm>
                <a:off x="6072919" y="5402850"/>
                <a:ext cx="60640" cy="45746"/>
              </a:xfrm>
              <a:custGeom>
                <a:avLst/>
                <a:gdLst>
                  <a:gd name="T0" fmla="*/ 40 w 40"/>
                  <a:gd name="T1" fmla="*/ 29 h 30"/>
                  <a:gd name="T2" fmla="*/ 38 w 40"/>
                  <a:gd name="T3" fmla="*/ 30 h 30"/>
                  <a:gd name="T4" fmla="*/ 6 w 40"/>
                  <a:gd name="T5" fmla="*/ 30 h 30"/>
                  <a:gd name="T6" fmla="*/ 4 w 40"/>
                  <a:gd name="T7" fmla="*/ 29 h 30"/>
                  <a:gd name="T8" fmla="*/ 0 w 40"/>
                  <a:gd name="T9" fmla="*/ 2 h 30"/>
                  <a:gd name="T10" fmla="*/ 2 w 40"/>
                  <a:gd name="T11" fmla="*/ 0 h 30"/>
                  <a:gd name="T12" fmla="*/ 33 w 40"/>
                  <a:gd name="T13" fmla="*/ 0 h 30"/>
                  <a:gd name="T14" fmla="*/ 35 w 40"/>
                  <a:gd name="T15" fmla="*/ 2 h 30"/>
                  <a:gd name="T16" fmla="*/ 40 w 40"/>
                  <a:gd name="T1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30">
                    <a:moveTo>
                      <a:pt x="40" y="29"/>
                    </a:moveTo>
                    <a:cubicBezTo>
                      <a:pt x="40" y="30"/>
                      <a:pt x="39" y="30"/>
                      <a:pt x="38" y="30"/>
                    </a:cubicBezTo>
                    <a:cubicBezTo>
                      <a:pt x="25" y="30"/>
                      <a:pt x="19" y="30"/>
                      <a:pt x="6" y="30"/>
                    </a:cubicBezTo>
                    <a:cubicBezTo>
                      <a:pt x="5" y="30"/>
                      <a:pt x="4" y="29"/>
                      <a:pt x="4" y="29"/>
                    </a:cubicBezTo>
                    <a:cubicBezTo>
                      <a:pt x="3" y="19"/>
                      <a:pt x="2" y="14"/>
                      <a:pt x="0" y="2"/>
                    </a:cubicBezTo>
                    <a:cubicBezTo>
                      <a:pt x="0" y="1"/>
                      <a:pt x="1" y="0"/>
                      <a:pt x="2" y="0"/>
                    </a:cubicBezTo>
                    <a:cubicBezTo>
                      <a:pt x="14" y="0"/>
                      <a:pt x="20" y="0"/>
                      <a:pt x="33" y="0"/>
                    </a:cubicBezTo>
                    <a:cubicBezTo>
                      <a:pt x="34" y="0"/>
                      <a:pt x="35" y="1"/>
                      <a:pt x="35" y="2"/>
                    </a:cubicBezTo>
                    <a:cubicBezTo>
                      <a:pt x="37" y="13"/>
                      <a:pt x="38" y="19"/>
                      <a:pt x="40"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8" name="Freeform 199"/>
              <p:cNvSpPr>
                <a:spLocks/>
              </p:cNvSpPr>
              <p:nvPr/>
            </p:nvSpPr>
            <p:spPr bwMode="auto">
              <a:xfrm>
                <a:off x="6137814" y="5402850"/>
                <a:ext cx="63831" cy="45746"/>
              </a:xfrm>
              <a:custGeom>
                <a:avLst/>
                <a:gdLst>
                  <a:gd name="T0" fmla="*/ 42 w 42"/>
                  <a:gd name="T1" fmla="*/ 29 h 30"/>
                  <a:gd name="T2" fmla="*/ 40 w 42"/>
                  <a:gd name="T3" fmla="*/ 30 h 30"/>
                  <a:gd name="T4" fmla="*/ 7 w 42"/>
                  <a:gd name="T5" fmla="*/ 30 h 30"/>
                  <a:gd name="T6" fmla="*/ 5 w 42"/>
                  <a:gd name="T7" fmla="*/ 29 h 30"/>
                  <a:gd name="T8" fmla="*/ 0 w 42"/>
                  <a:gd name="T9" fmla="*/ 2 h 30"/>
                  <a:gd name="T10" fmla="*/ 2 w 42"/>
                  <a:gd name="T11" fmla="*/ 0 h 30"/>
                  <a:gd name="T12" fmla="*/ 34 w 42"/>
                  <a:gd name="T13" fmla="*/ 0 h 30"/>
                  <a:gd name="T14" fmla="*/ 36 w 42"/>
                  <a:gd name="T15" fmla="*/ 2 h 30"/>
                  <a:gd name="T16" fmla="*/ 42 w 42"/>
                  <a:gd name="T1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0">
                    <a:moveTo>
                      <a:pt x="42" y="29"/>
                    </a:moveTo>
                    <a:cubicBezTo>
                      <a:pt x="42" y="30"/>
                      <a:pt x="41" y="30"/>
                      <a:pt x="40" y="30"/>
                    </a:cubicBezTo>
                    <a:cubicBezTo>
                      <a:pt x="27" y="30"/>
                      <a:pt x="20" y="30"/>
                      <a:pt x="7" y="30"/>
                    </a:cubicBezTo>
                    <a:cubicBezTo>
                      <a:pt x="6" y="30"/>
                      <a:pt x="5" y="30"/>
                      <a:pt x="5" y="29"/>
                    </a:cubicBezTo>
                    <a:cubicBezTo>
                      <a:pt x="3" y="19"/>
                      <a:pt x="2" y="13"/>
                      <a:pt x="0" y="2"/>
                    </a:cubicBezTo>
                    <a:cubicBezTo>
                      <a:pt x="0" y="1"/>
                      <a:pt x="1" y="0"/>
                      <a:pt x="2" y="0"/>
                    </a:cubicBezTo>
                    <a:cubicBezTo>
                      <a:pt x="15" y="0"/>
                      <a:pt x="21" y="0"/>
                      <a:pt x="34" y="0"/>
                    </a:cubicBezTo>
                    <a:cubicBezTo>
                      <a:pt x="35" y="0"/>
                      <a:pt x="36" y="0"/>
                      <a:pt x="36" y="2"/>
                    </a:cubicBezTo>
                    <a:cubicBezTo>
                      <a:pt x="39" y="13"/>
                      <a:pt x="40" y="19"/>
                      <a:pt x="4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9" name="Freeform 200"/>
              <p:cNvSpPr>
                <a:spLocks/>
              </p:cNvSpPr>
              <p:nvPr/>
            </p:nvSpPr>
            <p:spPr bwMode="auto">
              <a:xfrm>
                <a:off x="6204837" y="5401786"/>
                <a:ext cx="65959" cy="46810"/>
              </a:xfrm>
              <a:custGeom>
                <a:avLst/>
                <a:gdLst>
                  <a:gd name="T0" fmla="*/ 44 w 44"/>
                  <a:gd name="T1" fmla="*/ 30 h 31"/>
                  <a:gd name="T2" fmla="*/ 42 w 44"/>
                  <a:gd name="T3" fmla="*/ 31 h 31"/>
                  <a:gd name="T4" fmla="*/ 8 w 44"/>
                  <a:gd name="T5" fmla="*/ 31 h 31"/>
                  <a:gd name="T6" fmla="*/ 6 w 44"/>
                  <a:gd name="T7" fmla="*/ 30 h 31"/>
                  <a:gd name="T8" fmla="*/ 0 w 44"/>
                  <a:gd name="T9" fmla="*/ 3 h 31"/>
                  <a:gd name="T10" fmla="*/ 2 w 44"/>
                  <a:gd name="T11" fmla="*/ 1 h 31"/>
                  <a:gd name="T12" fmla="*/ 35 w 44"/>
                  <a:gd name="T13" fmla="*/ 0 h 31"/>
                  <a:gd name="T14" fmla="*/ 38 w 44"/>
                  <a:gd name="T15" fmla="*/ 2 h 31"/>
                  <a:gd name="T16" fmla="*/ 44 w 44"/>
                  <a:gd name="T17"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1">
                    <a:moveTo>
                      <a:pt x="44" y="30"/>
                    </a:moveTo>
                    <a:cubicBezTo>
                      <a:pt x="44" y="31"/>
                      <a:pt x="43" y="31"/>
                      <a:pt x="42" y="31"/>
                    </a:cubicBezTo>
                    <a:cubicBezTo>
                      <a:pt x="28" y="31"/>
                      <a:pt x="22" y="31"/>
                      <a:pt x="8" y="31"/>
                    </a:cubicBezTo>
                    <a:cubicBezTo>
                      <a:pt x="7" y="31"/>
                      <a:pt x="6" y="31"/>
                      <a:pt x="6" y="30"/>
                    </a:cubicBezTo>
                    <a:cubicBezTo>
                      <a:pt x="4" y="20"/>
                      <a:pt x="3" y="14"/>
                      <a:pt x="0" y="3"/>
                    </a:cubicBezTo>
                    <a:cubicBezTo>
                      <a:pt x="0" y="1"/>
                      <a:pt x="1" y="1"/>
                      <a:pt x="2" y="1"/>
                    </a:cubicBezTo>
                    <a:cubicBezTo>
                      <a:pt x="15" y="1"/>
                      <a:pt x="22" y="1"/>
                      <a:pt x="35" y="0"/>
                    </a:cubicBezTo>
                    <a:cubicBezTo>
                      <a:pt x="36" y="0"/>
                      <a:pt x="37" y="1"/>
                      <a:pt x="38" y="2"/>
                    </a:cubicBezTo>
                    <a:cubicBezTo>
                      <a:pt x="40" y="14"/>
                      <a:pt x="41" y="20"/>
                      <a:pt x="44"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0" name="Freeform 201"/>
              <p:cNvSpPr>
                <a:spLocks/>
              </p:cNvSpPr>
              <p:nvPr/>
            </p:nvSpPr>
            <p:spPr bwMode="auto">
              <a:xfrm>
                <a:off x="6287817" y="5610302"/>
                <a:ext cx="64895" cy="24469"/>
              </a:xfrm>
              <a:custGeom>
                <a:avLst/>
                <a:gdLst>
                  <a:gd name="T0" fmla="*/ 0 w 43"/>
                  <a:gd name="T1" fmla="*/ 0 h 16"/>
                  <a:gd name="T2" fmla="*/ 3 w 43"/>
                  <a:gd name="T3" fmla="*/ 14 h 16"/>
                  <a:gd name="T4" fmla="*/ 4 w 43"/>
                  <a:gd name="T5" fmla="*/ 15 h 16"/>
                  <a:gd name="T6" fmla="*/ 6 w 43"/>
                  <a:gd name="T7" fmla="*/ 16 h 16"/>
                  <a:gd name="T8" fmla="*/ 41 w 43"/>
                  <a:gd name="T9" fmla="*/ 16 h 16"/>
                  <a:gd name="T10" fmla="*/ 43 w 43"/>
                  <a:gd name="T11" fmla="*/ 15 h 16"/>
                  <a:gd name="T12" fmla="*/ 43 w 43"/>
                  <a:gd name="T13" fmla="*/ 14 h 16"/>
                  <a:gd name="T14" fmla="*/ 40 w 43"/>
                  <a:gd name="T15" fmla="*/ 0 h 16"/>
                  <a:gd name="T16" fmla="*/ 0 w 43"/>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6">
                    <a:moveTo>
                      <a:pt x="0" y="0"/>
                    </a:moveTo>
                    <a:cubicBezTo>
                      <a:pt x="1" y="5"/>
                      <a:pt x="2" y="8"/>
                      <a:pt x="3" y="14"/>
                    </a:cubicBezTo>
                    <a:cubicBezTo>
                      <a:pt x="3" y="15"/>
                      <a:pt x="3" y="15"/>
                      <a:pt x="4" y="15"/>
                    </a:cubicBezTo>
                    <a:cubicBezTo>
                      <a:pt x="4" y="16"/>
                      <a:pt x="5" y="16"/>
                      <a:pt x="6" y="16"/>
                    </a:cubicBezTo>
                    <a:cubicBezTo>
                      <a:pt x="20" y="16"/>
                      <a:pt x="27" y="16"/>
                      <a:pt x="41" y="16"/>
                    </a:cubicBezTo>
                    <a:cubicBezTo>
                      <a:pt x="42" y="16"/>
                      <a:pt x="43" y="16"/>
                      <a:pt x="43" y="15"/>
                    </a:cubicBezTo>
                    <a:cubicBezTo>
                      <a:pt x="43" y="15"/>
                      <a:pt x="43" y="14"/>
                      <a:pt x="43" y="14"/>
                    </a:cubicBezTo>
                    <a:cubicBezTo>
                      <a:pt x="42" y="8"/>
                      <a:pt x="42" y="5"/>
                      <a:pt x="40" y="0"/>
                    </a:cubicBezTo>
                    <a:cubicBezTo>
                      <a:pt x="24" y="0"/>
                      <a:pt x="16"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1" name="Freeform 202"/>
              <p:cNvSpPr>
                <a:spLocks/>
              </p:cNvSpPr>
              <p:nvPr/>
            </p:nvSpPr>
            <p:spPr bwMode="auto">
              <a:xfrm>
                <a:off x="6283562" y="5586897"/>
                <a:ext cx="64895" cy="21277"/>
              </a:xfrm>
              <a:custGeom>
                <a:avLst/>
                <a:gdLst>
                  <a:gd name="T0" fmla="*/ 43 w 43"/>
                  <a:gd name="T1" fmla="*/ 14 h 14"/>
                  <a:gd name="T2" fmla="*/ 40 w 43"/>
                  <a:gd name="T3" fmla="*/ 1 h 14"/>
                  <a:gd name="T4" fmla="*/ 39 w 43"/>
                  <a:gd name="T5" fmla="*/ 0 h 14"/>
                  <a:gd name="T6" fmla="*/ 37 w 43"/>
                  <a:gd name="T7" fmla="*/ 0 h 14"/>
                  <a:gd name="T8" fmla="*/ 2 w 43"/>
                  <a:gd name="T9" fmla="*/ 0 h 14"/>
                  <a:gd name="T10" fmla="*/ 0 w 43"/>
                  <a:gd name="T11" fmla="*/ 0 h 14"/>
                  <a:gd name="T12" fmla="*/ 0 w 43"/>
                  <a:gd name="T13" fmla="*/ 1 h 14"/>
                  <a:gd name="T14" fmla="*/ 3 w 43"/>
                  <a:gd name="T15" fmla="*/ 14 h 14"/>
                  <a:gd name="T16" fmla="*/ 43 w 43"/>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4">
                    <a:moveTo>
                      <a:pt x="43" y="14"/>
                    </a:moveTo>
                    <a:cubicBezTo>
                      <a:pt x="42" y="8"/>
                      <a:pt x="41" y="6"/>
                      <a:pt x="40" y="1"/>
                    </a:cubicBezTo>
                    <a:cubicBezTo>
                      <a:pt x="40" y="1"/>
                      <a:pt x="40" y="0"/>
                      <a:pt x="39" y="0"/>
                    </a:cubicBezTo>
                    <a:cubicBezTo>
                      <a:pt x="39" y="0"/>
                      <a:pt x="38" y="0"/>
                      <a:pt x="37" y="0"/>
                    </a:cubicBezTo>
                    <a:cubicBezTo>
                      <a:pt x="23" y="0"/>
                      <a:pt x="16" y="0"/>
                      <a:pt x="2" y="0"/>
                    </a:cubicBezTo>
                    <a:cubicBezTo>
                      <a:pt x="1" y="0"/>
                      <a:pt x="1" y="0"/>
                      <a:pt x="0" y="0"/>
                    </a:cubicBezTo>
                    <a:cubicBezTo>
                      <a:pt x="0" y="0"/>
                      <a:pt x="0" y="1"/>
                      <a:pt x="0" y="1"/>
                    </a:cubicBezTo>
                    <a:cubicBezTo>
                      <a:pt x="1" y="6"/>
                      <a:pt x="2" y="9"/>
                      <a:pt x="3" y="14"/>
                    </a:cubicBezTo>
                    <a:cubicBezTo>
                      <a:pt x="19" y="14"/>
                      <a:pt x="27" y="14"/>
                      <a:pt x="43"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2" name="Freeform 203"/>
              <p:cNvSpPr>
                <a:spLocks/>
              </p:cNvSpPr>
              <p:nvPr/>
            </p:nvSpPr>
            <p:spPr bwMode="auto">
              <a:xfrm>
                <a:off x="6322925" y="5458170"/>
                <a:ext cx="79789" cy="78725"/>
              </a:xfrm>
              <a:custGeom>
                <a:avLst/>
                <a:gdLst>
                  <a:gd name="T0" fmla="*/ 2 w 53"/>
                  <a:gd name="T1" fmla="*/ 0 h 52"/>
                  <a:gd name="T2" fmla="*/ 0 w 53"/>
                  <a:gd name="T3" fmla="*/ 1 h 52"/>
                  <a:gd name="T4" fmla="*/ 0 w 53"/>
                  <a:gd name="T5" fmla="*/ 2 h 52"/>
                  <a:gd name="T6" fmla="*/ 6 w 53"/>
                  <a:gd name="T7" fmla="*/ 23 h 52"/>
                  <a:gd name="T8" fmla="*/ 7 w 53"/>
                  <a:gd name="T9" fmla="*/ 24 h 52"/>
                  <a:gd name="T10" fmla="*/ 8 w 53"/>
                  <a:gd name="T11" fmla="*/ 25 h 52"/>
                  <a:gd name="T12" fmla="*/ 17 w 53"/>
                  <a:gd name="T13" fmla="*/ 25 h 52"/>
                  <a:gd name="T14" fmla="*/ 25 w 53"/>
                  <a:gd name="T15" fmla="*/ 50 h 52"/>
                  <a:gd name="T16" fmla="*/ 25 w 53"/>
                  <a:gd name="T17" fmla="*/ 51 h 52"/>
                  <a:gd name="T18" fmla="*/ 27 w 53"/>
                  <a:gd name="T19" fmla="*/ 52 h 52"/>
                  <a:gd name="T20" fmla="*/ 51 w 53"/>
                  <a:gd name="T21" fmla="*/ 52 h 52"/>
                  <a:gd name="T22" fmla="*/ 53 w 53"/>
                  <a:gd name="T23" fmla="*/ 51 h 52"/>
                  <a:gd name="T24" fmla="*/ 53 w 53"/>
                  <a:gd name="T25" fmla="*/ 50 h 52"/>
                  <a:gd name="T26" fmla="*/ 40 w 53"/>
                  <a:gd name="T27" fmla="*/ 2 h 52"/>
                  <a:gd name="T28" fmla="*/ 39 w 53"/>
                  <a:gd name="T29" fmla="*/ 1 h 52"/>
                  <a:gd name="T30" fmla="*/ 37 w 53"/>
                  <a:gd name="T31" fmla="*/ 0 h 52"/>
                  <a:gd name="T32" fmla="*/ 2 w 53"/>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52">
                    <a:moveTo>
                      <a:pt x="2" y="0"/>
                    </a:moveTo>
                    <a:cubicBezTo>
                      <a:pt x="1" y="0"/>
                      <a:pt x="1" y="0"/>
                      <a:pt x="0" y="1"/>
                    </a:cubicBezTo>
                    <a:cubicBezTo>
                      <a:pt x="0" y="1"/>
                      <a:pt x="0" y="1"/>
                      <a:pt x="0" y="2"/>
                    </a:cubicBezTo>
                    <a:cubicBezTo>
                      <a:pt x="2" y="11"/>
                      <a:pt x="3" y="15"/>
                      <a:pt x="6" y="23"/>
                    </a:cubicBezTo>
                    <a:cubicBezTo>
                      <a:pt x="6" y="24"/>
                      <a:pt x="6" y="24"/>
                      <a:pt x="7" y="24"/>
                    </a:cubicBezTo>
                    <a:cubicBezTo>
                      <a:pt x="7" y="25"/>
                      <a:pt x="8" y="25"/>
                      <a:pt x="8" y="25"/>
                    </a:cubicBezTo>
                    <a:cubicBezTo>
                      <a:pt x="12" y="25"/>
                      <a:pt x="14" y="25"/>
                      <a:pt x="17" y="25"/>
                    </a:cubicBezTo>
                    <a:cubicBezTo>
                      <a:pt x="20" y="35"/>
                      <a:pt x="22" y="40"/>
                      <a:pt x="25" y="50"/>
                    </a:cubicBezTo>
                    <a:cubicBezTo>
                      <a:pt x="25" y="51"/>
                      <a:pt x="25" y="51"/>
                      <a:pt x="25" y="51"/>
                    </a:cubicBezTo>
                    <a:cubicBezTo>
                      <a:pt x="26" y="51"/>
                      <a:pt x="27" y="52"/>
                      <a:pt x="27" y="52"/>
                    </a:cubicBezTo>
                    <a:cubicBezTo>
                      <a:pt x="37" y="52"/>
                      <a:pt x="41" y="52"/>
                      <a:pt x="51" y="52"/>
                    </a:cubicBezTo>
                    <a:cubicBezTo>
                      <a:pt x="52" y="52"/>
                      <a:pt x="52" y="51"/>
                      <a:pt x="53" y="51"/>
                    </a:cubicBezTo>
                    <a:cubicBezTo>
                      <a:pt x="53" y="51"/>
                      <a:pt x="53" y="51"/>
                      <a:pt x="53" y="50"/>
                    </a:cubicBezTo>
                    <a:cubicBezTo>
                      <a:pt x="48" y="32"/>
                      <a:pt x="45" y="24"/>
                      <a:pt x="40" y="2"/>
                    </a:cubicBezTo>
                    <a:cubicBezTo>
                      <a:pt x="40" y="1"/>
                      <a:pt x="39" y="1"/>
                      <a:pt x="39" y="1"/>
                    </a:cubicBezTo>
                    <a:cubicBezTo>
                      <a:pt x="38" y="0"/>
                      <a:pt x="38" y="0"/>
                      <a:pt x="37" y="0"/>
                    </a:cubicBezTo>
                    <a:cubicBezTo>
                      <a:pt x="23" y="0"/>
                      <a:pt x="16" y="0"/>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193" name="Freeform 204"/>
            <p:cNvSpPr>
              <a:spLocks/>
            </p:cNvSpPr>
            <p:nvPr/>
          </p:nvSpPr>
          <p:spPr bwMode="auto">
            <a:xfrm>
              <a:off x="5314389" y="5656048"/>
              <a:ext cx="1147901" cy="18086"/>
            </a:xfrm>
            <a:custGeom>
              <a:avLst/>
              <a:gdLst>
                <a:gd name="T0" fmla="*/ 1079 w 1079"/>
                <a:gd name="T1" fmla="*/ 17 h 17"/>
                <a:gd name="T2" fmla="*/ 0 w 1079"/>
                <a:gd name="T3" fmla="*/ 17 h 17"/>
                <a:gd name="T4" fmla="*/ 1 w 1079"/>
                <a:gd name="T5" fmla="*/ 0 h 17"/>
                <a:gd name="T6" fmla="*/ 1079 w 1079"/>
                <a:gd name="T7" fmla="*/ 0 h 17"/>
                <a:gd name="T8" fmla="*/ 1079 w 1079"/>
                <a:gd name="T9" fmla="*/ 17 h 17"/>
              </a:gdLst>
              <a:ahLst/>
              <a:cxnLst>
                <a:cxn ang="0">
                  <a:pos x="T0" y="T1"/>
                </a:cxn>
                <a:cxn ang="0">
                  <a:pos x="T2" y="T3"/>
                </a:cxn>
                <a:cxn ang="0">
                  <a:pos x="T4" y="T5"/>
                </a:cxn>
                <a:cxn ang="0">
                  <a:pos x="T6" y="T7"/>
                </a:cxn>
                <a:cxn ang="0">
                  <a:pos x="T8" y="T9"/>
                </a:cxn>
              </a:cxnLst>
              <a:rect l="0" t="0" r="r" b="b"/>
              <a:pathLst>
                <a:path w="1079" h="17">
                  <a:moveTo>
                    <a:pt x="1079" y="17"/>
                  </a:moveTo>
                  <a:lnTo>
                    <a:pt x="0" y="17"/>
                  </a:lnTo>
                  <a:lnTo>
                    <a:pt x="1" y="0"/>
                  </a:lnTo>
                  <a:lnTo>
                    <a:pt x="1079" y="0"/>
                  </a:lnTo>
                  <a:lnTo>
                    <a:pt x="1079" y="17"/>
                  </a:ln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4" name="Oval 206"/>
            <p:cNvSpPr>
              <a:spLocks noChangeArrowheads="1"/>
            </p:cNvSpPr>
            <p:nvPr/>
          </p:nvSpPr>
          <p:spPr bwMode="auto">
            <a:xfrm>
              <a:off x="6988899" y="5529449"/>
              <a:ext cx="30852" cy="297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95" name="Group 29"/>
            <p:cNvGrpSpPr>
              <a:grpSpLocks noChangeAspect="1"/>
            </p:cNvGrpSpPr>
            <p:nvPr/>
          </p:nvGrpSpPr>
          <p:grpSpPr bwMode="auto">
            <a:xfrm>
              <a:off x="4907763" y="2837599"/>
              <a:ext cx="367631" cy="367631"/>
              <a:chOff x="2899" y="653"/>
              <a:chExt cx="340" cy="340"/>
            </a:xfrm>
            <a:solidFill>
              <a:schemeClr val="bg1"/>
            </a:solidFill>
          </p:grpSpPr>
          <p:sp>
            <p:nvSpPr>
              <p:cNvPr id="196" name="Freeform 30"/>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97" name="Freeform 31"/>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98" name="Freeform 32"/>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199" name="Group 153"/>
            <p:cNvGrpSpPr>
              <a:grpSpLocks noChangeAspect="1"/>
            </p:cNvGrpSpPr>
            <p:nvPr/>
          </p:nvGrpSpPr>
          <p:grpSpPr bwMode="auto">
            <a:xfrm>
              <a:off x="6778975" y="2983484"/>
              <a:ext cx="368712" cy="367631"/>
              <a:chOff x="3641" y="1708"/>
              <a:chExt cx="341" cy="340"/>
            </a:xfrm>
            <a:solidFill>
              <a:schemeClr val="bg1"/>
            </a:solidFill>
          </p:grpSpPr>
          <p:sp>
            <p:nvSpPr>
              <p:cNvPr id="200" name="Freeform 154"/>
              <p:cNvSpPr>
                <a:spLocks noEditPoints="1"/>
              </p:cNvSpPr>
              <p:nvPr/>
            </p:nvSpPr>
            <p:spPr bwMode="auto">
              <a:xfrm>
                <a:off x="3641" y="170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01" name="Freeform 155"/>
              <p:cNvSpPr>
                <a:spLocks noEditPoints="1"/>
              </p:cNvSpPr>
              <p:nvPr/>
            </p:nvSpPr>
            <p:spPr bwMode="auto">
              <a:xfrm>
                <a:off x="3762" y="1774"/>
                <a:ext cx="145" cy="210"/>
              </a:xfrm>
              <a:custGeom>
                <a:avLst/>
                <a:gdLst>
                  <a:gd name="T0" fmla="*/ 110 w 219"/>
                  <a:gd name="T1" fmla="*/ 316 h 316"/>
                  <a:gd name="T2" fmla="*/ 100 w 219"/>
                  <a:gd name="T3" fmla="*/ 309 h 316"/>
                  <a:gd name="T4" fmla="*/ 73 w 219"/>
                  <a:gd name="T5" fmla="*/ 245 h 316"/>
                  <a:gd name="T6" fmla="*/ 18 w 219"/>
                  <a:gd name="T7" fmla="*/ 296 h 316"/>
                  <a:gd name="T8" fmla="*/ 6 w 219"/>
                  <a:gd name="T9" fmla="*/ 298 h 316"/>
                  <a:gd name="T10" fmla="*/ 0 w 219"/>
                  <a:gd name="T11" fmla="*/ 288 h 316"/>
                  <a:gd name="T12" fmla="*/ 0 w 219"/>
                  <a:gd name="T13" fmla="*/ 11 h 316"/>
                  <a:gd name="T14" fmla="*/ 7 w 219"/>
                  <a:gd name="T15" fmla="*/ 1 h 316"/>
                  <a:gd name="T16" fmla="*/ 18 w 219"/>
                  <a:gd name="T17" fmla="*/ 4 h 316"/>
                  <a:gd name="T18" fmla="*/ 215 w 219"/>
                  <a:gd name="T19" fmla="*/ 199 h 316"/>
                  <a:gd name="T20" fmla="*/ 218 w 219"/>
                  <a:gd name="T21" fmla="*/ 211 h 316"/>
                  <a:gd name="T22" fmla="*/ 208 w 219"/>
                  <a:gd name="T23" fmla="*/ 217 h 316"/>
                  <a:gd name="T24" fmla="*/ 132 w 219"/>
                  <a:gd name="T25" fmla="*/ 220 h 316"/>
                  <a:gd name="T26" fmla="*/ 159 w 219"/>
                  <a:gd name="T27" fmla="*/ 285 h 316"/>
                  <a:gd name="T28" fmla="*/ 159 w 219"/>
                  <a:gd name="T29" fmla="*/ 293 h 316"/>
                  <a:gd name="T30" fmla="*/ 153 w 219"/>
                  <a:gd name="T31" fmla="*/ 298 h 316"/>
                  <a:gd name="T32" fmla="*/ 114 w 219"/>
                  <a:gd name="T33" fmla="*/ 315 h 316"/>
                  <a:gd name="T34" fmla="*/ 110 w 219"/>
                  <a:gd name="T35" fmla="*/ 316 h 316"/>
                  <a:gd name="T36" fmla="*/ 77 w 219"/>
                  <a:gd name="T37" fmla="*/ 216 h 316"/>
                  <a:gd name="T38" fmla="*/ 79 w 219"/>
                  <a:gd name="T39" fmla="*/ 216 h 316"/>
                  <a:gd name="T40" fmla="*/ 87 w 219"/>
                  <a:gd name="T41" fmla="*/ 222 h 316"/>
                  <a:gd name="T42" fmla="*/ 116 w 219"/>
                  <a:gd name="T43" fmla="*/ 291 h 316"/>
                  <a:gd name="T44" fmla="*/ 135 w 219"/>
                  <a:gd name="T45" fmla="*/ 283 h 316"/>
                  <a:gd name="T46" fmla="*/ 107 w 219"/>
                  <a:gd name="T47" fmla="*/ 214 h 316"/>
                  <a:gd name="T48" fmla="*/ 108 w 219"/>
                  <a:gd name="T49" fmla="*/ 204 h 316"/>
                  <a:gd name="T50" fmla="*/ 116 w 219"/>
                  <a:gd name="T51" fmla="*/ 199 h 316"/>
                  <a:gd name="T52" fmla="*/ 183 w 219"/>
                  <a:gd name="T53" fmla="*/ 197 h 316"/>
                  <a:gd name="T54" fmla="*/ 22 w 219"/>
                  <a:gd name="T55" fmla="*/ 37 h 316"/>
                  <a:gd name="T56" fmla="*/ 21 w 219"/>
                  <a:gd name="T57" fmla="*/ 264 h 316"/>
                  <a:gd name="T58" fmla="*/ 70 w 219"/>
                  <a:gd name="T59" fmla="*/ 218 h 316"/>
                  <a:gd name="T60" fmla="*/ 77 w 219"/>
                  <a:gd name="T61" fmla="*/ 2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316">
                    <a:moveTo>
                      <a:pt x="110" y="316"/>
                    </a:moveTo>
                    <a:cubicBezTo>
                      <a:pt x="106" y="316"/>
                      <a:pt x="102" y="313"/>
                      <a:pt x="100" y="309"/>
                    </a:cubicBezTo>
                    <a:cubicBezTo>
                      <a:pt x="73" y="245"/>
                      <a:pt x="73" y="245"/>
                      <a:pt x="73" y="245"/>
                    </a:cubicBezTo>
                    <a:cubicBezTo>
                      <a:pt x="18" y="296"/>
                      <a:pt x="18" y="296"/>
                      <a:pt x="18" y="296"/>
                    </a:cubicBezTo>
                    <a:cubicBezTo>
                      <a:pt x="15" y="299"/>
                      <a:pt x="10" y="300"/>
                      <a:pt x="6" y="298"/>
                    </a:cubicBezTo>
                    <a:cubicBezTo>
                      <a:pt x="3" y="297"/>
                      <a:pt x="0" y="293"/>
                      <a:pt x="0" y="288"/>
                    </a:cubicBezTo>
                    <a:cubicBezTo>
                      <a:pt x="0" y="11"/>
                      <a:pt x="0" y="11"/>
                      <a:pt x="0" y="11"/>
                    </a:cubicBezTo>
                    <a:cubicBezTo>
                      <a:pt x="0" y="7"/>
                      <a:pt x="3" y="3"/>
                      <a:pt x="7" y="1"/>
                    </a:cubicBezTo>
                    <a:cubicBezTo>
                      <a:pt x="11" y="0"/>
                      <a:pt x="15" y="1"/>
                      <a:pt x="18" y="4"/>
                    </a:cubicBezTo>
                    <a:cubicBezTo>
                      <a:pt x="215" y="199"/>
                      <a:pt x="215" y="199"/>
                      <a:pt x="215" y="199"/>
                    </a:cubicBezTo>
                    <a:cubicBezTo>
                      <a:pt x="218" y="202"/>
                      <a:pt x="219" y="207"/>
                      <a:pt x="218" y="211"/>
                    </a:cubicBezTo>
                    <a:cubicBezTo>
                      <a:pt x="216" y="215"/>
                      <a:pt x="212" y="217"/>
                      <a:pt x="208" y="217"/>
                    </a:cubicBezTo>
                    <a:cubicBezTo>
                      <a:pt x="132" y="220"/>
                      <a:pt x="132" y="220"/>
                      <a:pt x="132" y="220"/>
                    </a:cubicBezTo>
                    <a:cubicBezTo>
                      <a:pt x="159" y="285"/>
                      <a:pt x="159" y="285"/>
                      <a:pt x="159" y="285"/>
                    </a:cubicBezTo>
                    <a:cubicBezTo>
                      <a:pt x="160" y="287"/>
                      <a:pt x="160" y="290"/>
                      <a:pt x="159" y="293"/>
                    </a:cubicBezTo>
                    <a:cubicBezTo>
                      <a:pt x="158" y="295"/>
                      <a:pt x="156" y="297"/>
                      <a:pt x="153" y="298"/>
                    </a:cubicBezTo>
                    <a:cubicBezTo>
                      <a:pt x="114" y="315"/>
                      <a:pt x="114" y="315"/>
                      <a:pt x="114" y="315"/>
                    </a:cubicBezTo>
                    <a:cubicBezTo>
                      <a:pt x="113" y="315"/>
                      <a:pt x="111" y="316"/>
                      <a:pt x="110" y="316"/>
                    </a:cubicBezTo>
                    <a:close/>
                    <a:moveTo>
                      <a:pt x="77" y="216"/>
                    </a:moveTo>
                    <a:cubicBezTo>
                      <a:pt x="78" y="216"/>
                      <a:pt x="79" y="216"/>
                      <a:pt x="79" y="216"/>
                    </a:cubicBezTo>
                    <a:cubicBezTo>
                      <a:pt x="83" y="217"/>
                      <a:pt x="86" y="219"/>
                      <a:pt x="87" y="222"/>
                    </a:cubicBezTo>
                    <a:cubicBezTo>
                      <a:pt x="116" y="291"/>
                      <a:pt x="116" y="291"/>
                      <a:pt x="116" y="291"/>
                    </a:cubicBezTo>
                    <a:cubicBezTo>
                      <a:pt x="135" y="283"/>
                      <a:pt x="135" y="283"/>
                      <a:pt x="135" y="283"/>
                    </a:cubicBezTo>
                    <a:cubicBezTo>
                      <a:pt x="107" y="214"/>
                      <a:pt x="107" y="214"/>
                      <a:pt x="107" y="214"/>
                    </a:cubicBezTo>
                    <a:cubicBezTo>
                      <a:pt x="105" y="211"/>
                      <a:pt x="106" y="207"/>
                      <a:pt x="108" y="204"/>
                    </a:cubicBezTo>
                    <a:cubicBezTo>
                      <a:pt x="110" y="201"/>
                      <a:pt x="113" y="199"/>
                      <a:pt x="116" y="199"/>
                    </a:cubicBezTo>
                    <a:cubicBezTo>
                      <a:pt x="183" y="197"/>
                      <a:pt x="183" y="197"/>
                      <a:pt x="183" y="197"/>
                    </a:cubicBezTo>
                    <a:cubicBezTo>
                      <a:pt x="22" y="37"/>
                      <a:pt x="22" y="37"/>
                      <a:pt x="22" y="37"/>
                    </a:cubicBezTo>
                    <a:cubicBezTo>
                      <a:pt x="21" y="264"/>
                      <a:pt x="21" y="264"/>
                      <a:pt x="21" y="264"/>
                    </a:cubicBezTo>
                    <a:cubicBezTo>
                      <a:pt x="70" y="218"/>
                      <a:pt x="70" y="218"/>
                      <a:pt x="70" y="218"/>
                    </a:cubicBezTo>
                    <a:cubicBezTo>
                      <a:pt x="72" y="217"/>
                      <a:pt x="75" y="216"/>
                      <a:pt x="77" y="21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202" name="Group 48"/>
            <p:cNvGrpSpPr>
              <a:grpSpLocks noChangeAspect="1"/>
            </p:cNvGrpSpPr>
            <p:nvPr/>
          </p:nvGrpSpPr>
          <p:grpSpPr bwMode="auto">
            <a:xfrm>
              <a:off x="4368399" y="3106041"/>
              <a:ext cx="369064" cy="367982"/>
              <a:chOff x="3100" y="2384"/>
              <a:chExt cx="341" cy="340"/>
            </a:xfrm>
            <a:solidFill>
              <a:schemeClr val="bg1"/>
            </a:solidFill>
          </p:grpSpPr>
          <p:sp>
            <p:nvSpPr>
              <p:cNvPr id="203" name="Freeform 342"/>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04" name="Freeform 343"/>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205" name="Group 417"/>
            <p:cNvGrpSpPr>
              <a:grpSpLocks noChangeAspect="1"/>
            </p:cNvGrpSpPr>
            <p:nvPr/>
          </p:nvGrpSpPr>
          <p:grpSpPr bwMode="auto">
            <a:xfrm>
              <a:off x="5350327" y="3098099"/>
              <a:ext cx="367631" cy="368712"/>
              <a:chOff x="2725" y="1609"/>
              <a:chExt cx="340" cy="341"/>
            </a:xfrm>
            <a:solidFill>
              <a:schemeClr val="bg1"/>
            </a:solidFill>
          </p:grpSpPr>
          <p:sp>
            <p:nvSpPr>
              <p:cNvPr id="206" name="Freeform 418"/>
              <p:cNvSpPr>
                <a:spLocks noEditPoints="1"/>
              </p:cNvSpPr>
              <p:nvPr/>
            </p:nvSpPr>
            <p:spPr bwMode="auto">
              <a:xfrm>
                <a:off x="2725" y="160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07" name="Freeform 419"/>
              <p:cNvSpPr>
                <a:spLocks noEditPoints="1"/>
              </p:cNvSpPr>
              <p:nvPr/>
            </p:nvSpPr>
            <p:spPr bwMode="auto">
              <a:xfrm>
                <a:off x="2817" y="1673"/>
                <a:ext cx="156" cy="213"/>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208" name="Group 577"/>
            <p:cNvGrpSpPr>
              <a:grpSpLocks noChangeAspect="1"/>
            </p:cNvGrpSpPr>
            <p:nvPr/>
          </p:nvGrpSpPr>
          <p:grpSpPr bwMode="auto">
            <a:xfrm>
              <a:off x="5456482" y="2587421"/>
              <a:ext cx="369021" cy="369021"/>
              <a:chOff x="7356" y="2314"/>
              <a:chExt cx="340" cy="340"/>
            </a:xfrm>
            <a:solidFill>
              <a:schemeClr val="bg1"/>
            </a:solidFill>
          </p:grpSpPr>
          <p:sp>
            <p:nvSpPr>
              <p:cNvPr id="209" name="Freeform 578"/>
              <p:cNvSpPr>
                <a:spLocks/>
              </p:cNvSpPr>
              <p:nvPr/>
            </p:nvSpPr>
            <p:spPr bwMode="auto">
              <a:xfrm>
                <a:off x="7441" y="2399"/>
                <a:ext cx="177" cy="170"/>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10" name="Freeform 579"/>
              <p:cNvSpPr>
                <a:spLocks noEditPoints="1"/>
              </p:cNvSpPr>
              <p:nvPr/>
            </p:nvSpPr>
            <p:spPr bwMode="auto">
              <a:xfrm>
                <a:off x="7356"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211" name="Group 977"/>
            <p:cNvGrpSpPr>
              <a:grpSpLocks noChangeAspect="1"/>
            </p:cNvGrpSpPr>
            <p:nvPr/>
          </p:nvGrpSpPr>
          <p:grpSpPr bwMode="auto">
            <a:xfrm>
              <a:off x="7291170" y="3274190"/>
              <a:ext cx="369021" cy="370106"/>
              <a:chOff x="5095" y="4001"/>
              <a:chExt cx="340" cy="341"/>
            </a:xfrm>
            <a:solidFill>
              <a:schemeClr val="bg1"/>
            </a:solidFill>
          </p:grpSpPr>
          <p:sp>
            <p:nvSpPr>
              <p:cNvPr id="212" name="Freeform 978"/>
              <p:cNvSpPr>
                <a:spLocks/>
              </p:cNvSpPr>
              <p:nvPr/>
            </p:nvSpPr>
            <p:spPr bwMode="auto">
              <a:xfrm>
                <a:off x="5159" y="4086"/>
                <a:ext cx="212" cy="171"/>
              </a:xfrm>
              <a:custGeom>
                <a:avLst/>
                <a:gdLst>
                  <a:gd name="T0" fmla="*/ 259 w 320"/>
                  <a:gd name="T1" fmla="*/ 90 h 257"/>
                  <a:gd name="T2" fmla="*/ 284 w 320"/>
                  <a:gd name="T3" fmla="*/ 65 h 257"/>
                  <a:gd name="T4" fmla="*/ 256 w 320"/>
                  <a:gd name="T5" fmla="*/ 65 h 257"/>
                  <a:gd name="T6" fmla="*/ 191 w 320"/>
                  <a:gd name="T7" fmla="*/ 110 h 257"/>
                  <a:gd name="T8" fmla="*/ 179 w 320"/>
                  <a:gd name="T9" fmla="*/ 124 h 257"/>
                  <a:gd name="T10" fmla="*/ 174 w 320"/>
                  <a:gd name="T11" fmla="*/ 129 h 257"/>
                  <a:gd name="T12" fmla="*/ 179 w 320"/>
                  <a:gd name="T13" fmla="*/ 135 h 257"/>
                  <a:gd name="T14" fmla="*/ 191 w 320"/>
                  <a:gd name="T15" fmla="*/ 149 h 257"/>
                  <a:gd name="T16" fmla="*/ 256 w 320"/>
                  <a:gd name="T17" fmla="*/ 193 h 257"/>
                  <a:gd name="T18" fmla="*/ 284 w 320"/>
                  <a:gd name="T19" fmla="*/ 193 h 257"/>
                  <a:gd name="T20" fmla="*/ 259 w 320"/>
                  <a:gd name="T21" fmla="*/ 169 h 257"/>
                  <a:gd name="T22" fmla="*/ 259 w 320"/>
                  <a:gd name="T23" fmla="*/ 154 h 257"/>
                  <a:gd name="T24" fmla="*/ 274 w 320"/>
                  <a:gd name="T25" fmla="*/ 154 h 257"/>
                  <a:gd name="T26" fmla="*/ 317 w 320"/>
                  <a:gd name="T27" fmla="*/ 196 h 257"/>
                  <a:gd name="T28" fmla="*/ 319 w 320"/>
                  <a:gd name="T29" fmla="*/ 200 h 257"/>
                  <a:gd name="T30" fmla="*/ 319 w 320"/>
                  <a:gd name="T31" fmla="*/ 208 h 257"/>
                  <a:gd name="T32" fmla="*/ 317 w 320"/>
                  <a:gd name="T33" fmla="*/ 212 h 257"/>
                  <a:gd name="T34" fmla="*/ 274 w 320"/>
                  <a:gd name="T35" fmla="*/ 254 h 257"/>
                  <a:gd name="T36" fmla="*/ 267 w 320"/>
                  <a:gd name="T37" fmla="*/ 257 h 257"/>
                  <a:gd name="T38" fmla="*/ 259 w 320"/>
                  <a:gd name="T39" fmla="*/ 254 h 257"/>
                  <a:gd name="T40" fmla="*/ 259 w 320"/>
                  <a:gd name="T41" fmla="*/ 239 h 257"/>
                  <a:gd name="T42" fmla="*/ 284 w 320"/>
                  <a:gd name="T43" fmla="*/ 215 h 257"/>
                  <a:gd name="T44" fmla="*/ 256 w 320"/>
                  <a:gd name="T45" fmla="*/ 215 h 257"/>
                  <a:gd name="T46" fmla="*/ 174 w 320"/>
                  <a:gd name="T47" fmla="*/ 162 h 257"/>
                  <a:gd name="T48" fmla="*/ 163 w 320"/>
                  <a:gd name="T49" fmla="*/ 149 h 257"/>
                  <a:gd name="T50" fmla="*/ 160 w 320"/>
                  <a:gd name="T51" fmla="*/ 146 h 257"/>
                  <a:gd name="T52" fmla="*/ 157 w 320"/>
                  <a:gd name="T53" fmla="*/ 149 h 257"/>
                  <a:gd name="T54" fmla="*/ 146 w 320"/>
                  <a:gd name="T55" fmla="*/ 162 h 257"/>
                  <a:gd name="T56" fmla="*/ 64 w 320"/>
                  <a:gd name="T57" fmla="*/ 215 h 257"/>
                  <a:gd name="T58" fmla="*/ 11 w 320"/>
                  <a:gd name="T59" fmla="*/ 215 h 257"/>
                  <a:gd name="T60" fmla="*/ 0 w 320"/>
                  <a:gd name="T61" fmla="*/ 204 h 257"/>
                  <a:gd name="T62" fmla="*/ 11 w 320"/>
                  <a:gd name="T63" fmla="*/ 193 h 257"/>
                  <a:gd name="T64" fmla="*/ 64 w 320"/>
                  <a:gd name="T65" fmla="*/ 193 h 257"/>
                  <a:gd name="T66" fmla="*/ 129 w 320"/>
                  <a:gd name="T67" fmla="*/ 149 h 257"/>
                  <a:gd name="T68" fmla="*/ 141 w 320"/>
                  <a:gd name="T69" fmla="*/ 134 h 257"/>
                  <a:gd name="T70" fmla="*/ 146 w 320"/>
                  <a:gd name="T71" fmla="*/ 129 h 257"/>
                  <a:gd name="T72" fmla="*/ 141 w 320"/>
                  <a:gd name="T73" fmla="*/ 124 h 257"/>
                  <a:gd name="T74" fmla="*/ 129 w 320"/>
                  <a:gd name="T75" fmla="*/ 110 h 257"/>
                  <a:gd name="T76" fmla="*/ 64 w 320"/>
                  <a:gd name="T77" fmla="*/ 65 h 257"/>
                  <a:gd name="T78" fmla="*/ 11 w 320"/>
                  <a:gd name="T79" fmla="*/ 65 h 257"/>
                  <a:gd name="T80" fmla="*/ 0 w 320"/>
                  <a:gd name="T81" fmla="*/ 55 h 257"/>
                  <a:gd name="T82" fmla="*/ 11 w 320"/>
                  <a:gd name="T83" fmla="*/ 44 h 257"/>
                  <a:gd name="T84" fmla="*/ 64 w 320"/>
                  <a:gd name="T85" fmla="*/ 44 h 257"/>
                  <a:gd name="T86" fmla="*/ 146 w 320"/>
                  <a:gd name="T87" fmla="*/ 96 h 257"/>
                  <a:gd name="T88" fmla="*/ 157 w 320"/>
                  <a:gd name="T89" fmla="*/ 110 h 257"/>
                  <a:gd name="T90" fmla="*/ 160 w 320"/>
                  <a:gd name="T91" fmla="*/ 113 h 257"/>
                  <a:gd name="T92" fmla="*/ 163 w 320"/>
                  <a:gd name="T93" fmla="*/ 110 h 257"/>
                  <a:gd name="T94" fmla="*/ 174 w 320"/>
                  <a:gd name="T95" fmla="*/ 96 h 257"/>
                  <a:gd name="T96" fmla="*/ 256 w 320"/>
                  <a:gd name="T97" fmla="*/ 44 h 257"/>
                  <a:gd name="T98" fmla="*/ 284 w 320"/>
                  <a:gd name="T99" fmla="*/ 44 h 257"/>
                  <a:gd name="T100" fmla="*/ 259 w 320"/>
                  <a:gd name="T101" fmla="*/ 20 h 257"/>
                  <a:gd name="T102" fmla="*/ 259 w 320"/>
                  <a:gd name="T103" fmla="*/ 4 h 257"/>
                  <a:gd name="T104" fmla="*/ 274 w 320"/>
                  <a:gd name="T105" fmla="*/ 4 h 257"/>
                  <a:gd name="T106" fmla="*/ 317 w 320"/>
                  <a:gd name="T107" fmla="*/ 47 h 257"/>
                  <a:gd name="T108" fmla="*/ 319 w 320"/>
                  <a:gd name="T109" fmla="*/ 51 h 257"/>
                  <a:gd name="T110" fmla="*/ 319 w 320"/>
                  <a:gd name="T111" fmla="*/ 59 h 257"/>
                  <a:gd name="T112" fmla="*/ 317 w 320"/>
                  <a:gd name="T113" fmla="*/ 62 h 257"/>
                  <a:gd name="T114" fmla="*/ 274 w 320"/>
                  <a:gd name="T115" fmla="*/ 105 h 257"/>
                  <a:gd name="T116" fmla="*/ 267 w 320"/>
                  <a:gd name="T117" fmla="*/ 108 h 257"/>
                  <a:gd name="T118" fmla="*/ 259 w 320"/>
                  <a:gd name="T119" fmla="*/ 105 h 257"/>
                  <a:gd name="T120" fmla="*/ 259 w 320"/>
                  <a:gd name="T121" fmla="*/ 9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0" h="257">
                    <a:moveTo>
                      <a:pt x="259" y="90"/>
                    </a:moveTo>
                    <a:cubicBezTo>
                      <a:pt x="284" y="65"/>
                      <a:pt x="284" y="65"/>
                      <a:pt x="284" y="65"/>
                    </a:cubicBezTo>
                    <a:cubicBezTo>
                      <a:pt x="256" y="65"/>
                      <a:pt x="256" y="65"/>
                      <a:pt x="256" y="65"/>
                    </a:cubicBezTo>
                    <a:cubicBezTo>
                      <a:pt x="225" y="65"/>
                      <a:pt x="207" y="89"/>
                      <a:pt x="191" y="110"/>
                    </a:cubicBezTo>
                    <a:cubicBezTo>
                      <a:pt x="186" y="115"/>
                      <a:pt x="182" y="120"/>
                      <a:pt x="179" y="124"/>
                    </a:cubicBezTo>
                    <a:cubicBezTo>
                      <a:pt x="174" y="129"/>
                      <a:pt x="174" y="129"/>
                      <a:pt x="174" y="129"/>
                    </a:cubicBezTo>
                    <a:cubicBezTo>
                      <a:pt x="179" y="135"/>
                      <a:pt x="179" y="135"/>
                      <a:pt x="179" y="135"/>
                    </a:cubicBezTo>
                    <a:cubicBezTo>
                      <a:pt x="182" y="139"/>
                      <a:pt x="186" y="144"/>
                      <a:pt x="191" y="149"/>
                    </a:cubicBezTo>
                    <a:cubicBezTo>
                      <a:pt x="207" y="170"/>
                      <a:pt x="225" y="193"/>
                      <a:pt x="256" y="193"/>
                    </a:cubicBezTo>
                    <a:cubicBezTo>
                      <a:pt x="284" y="193"/>
                      <a:pt x="284" y="193"/>
                      <a:pt x="284" y="193"/>
                    </a:cubicBezTo>
                    <a:cubicBezTo>
                      <a:pt x="259" y="169"/>
                      <a:pt x="259" y="169"/>
                      <a:pt x="259" y="169"/>
                    </a:cubicBezTo>
                    <a:cubicBezTo>
                      <a:pt x="255" y="165"/>
                      <a:pt x="255" y="158"/>
                      <a:pt x="259" y="154"/>
                    </a:cubicBezTo>
                    <a:cubicBezTo>
                      <a:pt x="263" y="150"/>
                      <a:pt x="270" y="150"/>
                      <a:pt x="274" y="154"/>
                    </a:cubicBezTo>
                    <a:cubicBezTo>
                      <a:pt x="317" y="196"/>
                      <a:pt x="317" y="196"/>
                      <a:pt x="317" y="196"/>
                    </a:cubicBezTo>
                    <a:cubicBezTo>
                      <a:pt x="318" y="197"/>
                      <a:pt x="319" y="199"/>
                      <a:pt x="319" y="200"/>
                    </a:cubicBezTo>
                    <a:cubicBezTo>
                      <a:pt x="320" y="203"/>
                      <a:pt x="320" y="205"/>
                      <a:pt x="319" y="208"/>
                    </a:cubicBezTo>
                    <a:cubicBezTo>
                      <a:pt x="319" y="209"/>
                      <a:pt x="318" y="211"/>
                      <a:pt x="317" y="212"/>
                    </a:cubicBezTo>
                    <a:cubicBezTo>
                      <a:pt x="274" y="254"/>
                      <a:pt x="274" y="254"/>
                      <a:pt x="274" y="254"/>
                    </a:cubicBezTo>
                    <a:cubicBezTo>
                      <a:pt x="272" y="256"/>
                      <a:pt x="269" y="257"/>
                      <a:pt x="267" y="257"/>
                    </a:cubicBezTo>
                    <a:cubicBezTo>
                      <a:pt x="264" y="257"/>
                      <a:pt x="261" y="256"/>
                      <a:pt x="259" y="254"/>
                    </a:cubicBezTo>
                    <a:cubicBezTo>
                      <a:pt x="255" y="250"/>
                      <a:pt x="255" y="243"/>
                      <a:pt x="259" y="239"/>
                    </a:cubicBezTo>
                    <a:cubicBezTo>
                      <a:pt x="284" y="215"/>
                      <a:pt x="284" y="215"/>
                      <a:pt x="284" y="215"/>
                    </a:cubicBezTo>
                    <a:cubicBezTo>
                      <a:pt x="256" y="215"/>
                      <a:pt x="256" y="215"/>
                      <a:pt x="256" y="215"/>
                    </a:cubicBezTo>
                    <a:cubicBezTo>
                      <a:pt x="215" y="215"/>
                      <a:pt x="191" y="184"/>
                      <a:pt x="174" y="162"/>
                    </a:cubicBezTo>
                    <a:cubicBezTo>
                      <a:pt x="170" y="157"/>
                      <a:pt x="166" y="153"/>
                      <a:pt x="163" y="149"/>
                    </a:cubicBezTo>
                    <a:cubicBezTo>
                      <a:pt x="160" y="146"/>
                      <a:pt x="160" y="146"/>
                      <a:pt x="160" y="146"/>
                    </a:cubicBezTo>
                    <a:cubicBezTo>
                      <a:pt x="157" y="149"/>
                      <a:pt x="157" y="149"/>
                      <a:pt x="157" y="149"/>
                    </a:cubicBezTo>
                    <a:cubicBezTo>
                      <a:pt x="154" y="153"/>
                      <a:pt x="150" y="157"/>
                      <a:pt x="146" y="162"/>
                    </a:cubicBezTo>
                    <a:cubicBezTo>
                      <a:pt x="129" y="184"/>
                      <a:pt x="105" y="215"/>
                      <a:pt x="64" y="215"/>
                    </a:cubicBezTo>
                    <a:cubicBezTo>
                      <a:pt x="11" y="215"/>
                      <a:pt x="11" y="215"/>
                      <a:pt x="11" y="215"/>
                    </a:cubicBezTo>
                    <a:cubicBezTo>
                      <a:pt x="5" y="215"/>
                      <a:pt x="0" y="210"/>
                      <a:pt x="0" y="204"/>
                    </a:cubicBezTo>
                    <a:cubicBezTo>
                      <a:pt x="0" y="198"/>
                      <a:pt x="5" y="193"/>
                      <a:pt x="11" y="193"/>
                    </a:cubicBezTo>
                    <a:cubicBezTo>
                      <a:pt x="64" y="193"/>
                      <a:pt x="64" y="193"/>
                      <a:pt x="64" y="193"/>
                    </a:cubicBezTo>
                    <a:cubicBezTo>
                      <a:pt x="95" y="193"/>
                      <a:pt x="113" y="170"/>
                      <a:pt x="129" y="149"/>
                    </a:cubicBezTo>
                    <a:cubicBezTo>
                      <a:pt x="134" y="144"/>
                      <a:pt x="138" y="139"/>
                      <a:pt x="141" y="134"/>
                    </a:cubicBezTo>
                    <a:cubicBezTo>
                      <a:pt x="146" y="129"/>
                      <a:pt x="146" y="129"/>
                      <a:pt x="146" y="129"/>
                    </a:cubicBezTo>
                    <a:cubicBezTo>
                      <a:pt x="141" y="124"/>
                      <a:pt x="141" y="124"/>
                      <a:pt x="141" y="124"/>
                    </a:cubicBezTo>
                    <a:cubicBezTo>
                      <a:pt x="138" y="120"/>
                      <a:pt x="134" y="115"/>
                      <a:pt x="129" y="110"/>
                    </a:cubicBezTo>
                    <a:cubicBezTo>
                      <a:pt x="113" y="89"/>
                      <a:pt x="95" y="65"/>
                      <a:pt x="64" y="65"/>
                    </a:cubicBezTo>
                    <a:cubicBezTo>
                      <a:pt x="11" y="65"/>
                      <a:pt x="11" y="65"/>
                      <a:pt x="11" y="65"/>
                    </a:cubicBezTo>
                    <a:cubicBezTo>
                      <a:pt x="5" y="65"/>
                      <a:pt x="0" y="61"/>
                      <a:pt x="0" y="55"/>
                    </a:cubicBezTo>
                    <a:cubicBezTo>
                      <a:pt x="0" y="49"/>
                      <a:pt x="5" y="44"/>
                      <a:pt x="11" y="44"/>
                    </a:cubicBezTo>
                    <a:cubicBezTo>
                      <a:pt x="64" y="44"/>
                      <a:pt x="64" y="44"/>
                      <a:pt x="64" y="44"/>
                    </a:cubicBezTo>
                    <a:cubicBezTo>
                      <a:pt x="105" y="44"/>
                      <a:pt x="129" y="74"/>
                      <a:pt x="146" y="96"/>
                    </a:cubicBezTo>
                    <a:cubicBezTo>
                      <a:pt x="150" y="101"/>
                      <a:pt x="154" y="106"/>
                      <a:pt x="157" y="110"/>
                    </a:cubicBezTo>
                    <a:cubicBezTo>
                      <a:pt x="160" y="113"/>
                      <a:pt x="160" y="113"/>
                      <a:pt x="160" y="113"/>
                    </a:cubicBezTo>
                    <a:cubicBezTo>
                      <a:pt x="163" y="110"/>
                      <a:pt x="163" y="110"/>
                      <a:pt x="163" y="110"/>
                    </a:cubicBezTo>
                    <a:cubicBezTo>
                      <a:pt x="166" y="106"/>
                      <a:pt x="170" y="101"/>
                      <a:pt x="174" y="96"/>
                    </a:cubicBezTo>
                    <a:cubicBezTo>
                      <a:pt x="191" y="74"/>
                      <a:pt x="215" y="44"/>
                      <a:pt x="256" y="44"/>
                    </a:cubicBezTo>
                    <a:cubicBezTo>
                      <a:pt x="284" y="44"/>
                      <a:pt x="284" y="44"/>
                      <a:pt x="284" y="44"/>
                    </a:cubicBezTo>
                    <a:cubicBezTo>
                      <a:pt x="259" y="20"/>
                      <a:pt x="259" y="20"/>
                      <a:pt x="259" y="20"/>
                    </a:cubicBezTo>
                    <a:cubicBezTo>
                      <a:pt x="255" y="15"/>
                      <a:pt x="255" y="9"/>
                      <a:pt x="259" y="4"/>
                    </a:cubicBezTo>
                    <a:cubicBezTo>
                      <a:pt x="263" y="0"/>
                      <a:pt x="270" y="0"/>
                      <a:pt x="274" y="4"/>
                    </a:cubicBezTo>
                    <a:cubicBezTo>
                      <a:pt x="317" y="47"/>
                      <a:pt x="317" y="47"/>
                      <a:pt x="317" y="47"/>
                    </a:cubicBezTo>
                    <a:cubicBezTo>
                      <a:pt x="318" y="48"/>
                      <a:pt x="319" y="49"/>
                      <a:pt x="319" y="51"/>
                    </a:cubicBezTo>
                    <a:cubicBezTo>
                      <a:pt x="320" y="53"/>
                      <a:pt x="320" y="56"/>
                      <a:pt x="319" y="59"/>
                    </a:cubicBezTo>
                    <a:cubicBezTo>
                      <a:pt x="319" y="60"/>
                      <a:pt x="318" y="61"/>
                      <a:pt x="317" y="62"/>
                    </a:cubicBezTo>
                    <a:cubicBezTo>
                      <a:pt x="274" y="105"/>
                      <a:pt x="274" y="105"/>
                      <a:pt x="274" y="105"/>
                    </a:cubicBezTo>
                    <a:cubicBezTo>
                      <a:pt x="272" y="107"/>
                      <a:pt x="269" y="108"/>
                      <a:pt x="267" y="108"/>
                    </a:cubicBezTo>
                    <a:cubicBezTo>
                      <a:pt x="264" y="108"/>
                      <a:pt x="261" y="107"/>
                      <a:pt x="259" y="105"/>
                    </a:cubicBezTo>
                    <a:cubicBezTo>
                      <a:pt x="255" y="101"/>
                      <a:pt x="255" y="94"/>
                      <a:pt x="259" y="9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13" name="Freeform 979"/>
              <p:cNvSpPr>
                <a:spLocks noEditPoints="1"/>
              </p:cNvSpPr>
              <p:nvPr/>
            </p:nvSpPr>
            <p:spPr bwMode="auto">
              <a:xfrm>
                <a:off x="5095" y="4001"/>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1 w 512"/>
                  <a:gd name="T13" fmla="*/ 256 h 512"/>
                  <a:gd name="T14" fmla="*/ 256 w 512"/>
                  <a:gd name="T15" fmla="*/ 22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56" y="491"/>
                    </a:moveTo>
                    <a:cubicBezTo>
                      <a:pt x="127" y="491"/>
                      <a:pt x="21" y="386"/>
                      <a:pt x="21" y="256"/>
                    </a:cubicBezTo>
                    <a:cubicBezTo>
                      <a:pt x="21" y="127"/>
                      <a:pt x="127" y="22"/>
                      <a:pt x="256" y="22"/>
                    </a:cubicBezTo>
                    <a:cubicBezTo>
                      <a:pt x="385" y="22"/>
                      <a:pt x="491" y="127"/>
                      <a:pt x="491" y="256"/>
                    </a:cubicBezTo>
                    <a:cubicBezTo>
                      <a:pt x="491" y="386"/>
                      <a:pt x="385" y="491"/>
                      <a:pt x="256" y="49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214" name="Group 555"/>
            <p:cNvGrpSpPr>
              <a:grpSpLocks noChangeAspect="1"/>
            </p:cNvGrpSpPr>
            <p:nvPr/>
          </p:nvGrpSpPr>
          <p:grpSpPr bwMode="auto">
            <a:xfrm>
              <a:off x="6173132" y="3219818"/>
              <a:ext cx="367982" cy="367982"/>
              <a:chOff x="4144" y="3013"/>
              <a:chExt cx="340" cy="340"/>
            </a:xfrm>
            <a:solidFill>
              <a:schemeClr val="bg1"/>
            </a:solidFill>
          </p:grpSpPr>
          <p:sp>
            <p:nvSpPr>
              <p:cNvPr id="215" name="Freeform 556"/>
              <p:cNvSpPr>
                <a:spLocks noEditPoints="1"/>
              </p:cNvSpPr>
              <p:nvPr/>
            </p:nvSpPr>
            <p:spPr bwMode="auto">
              <a:xfrm>
                <a:off x="4144" y="30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16" name="Freeform 557"/>
              <p:cNvSpPr>
                <a:spLocks noEditPoints="1"/>
              </p:cNvSpPr>
              <p:nvPr/>
            </p:nvSpPr>
            <p:spPr bwMode="auto">
              <a:xfrm>
                <a:off x="4236" y="3098"/>
                <a:ext cx="163" cy="163"/>
              </a:xfrm>
              <a:custGeom>
                <a:avLst/>
                <a:gdLst>
                  <a:gd name="T0" fmla="*/ 54 w 246"/>
                  <a:gd name="T1" fmla="*/ 245 h 245"/>
                  <a:gd name="T2" fmla="*/ 0 w 246"/>
                  <a:gd name="T3" fmla="*/ 192 h 245"/>
                  <a:gd name="T4" fmla="*/ 0 w 246"/>
                  <a:gd name="T5" fmla="*/ 85 h 245"/>
                  <a:gd name="T6" fmla="*/ 11 w 246"/>
                  <a:gd name="T7" fmla="*/ 74 h 245"/>
                  <a:gd name="T8" fmla="*/ 22 w 246"/>
                  <a:gd name="T9" fmla="*/ 85 h 245"/>
                  <a:gd name="T10" fmla="*/ 22 w 246"/>
                  <a:gd name="T11" fmla="*/ 192 h 245"/>
                  <a:gd name="T12" fmla="*/ 54 w 246"/>
                  <a:gd name="T13" fmla="*/ 224 h 245"/>
                  <a:gd name="T14" fmla="*/ 86 w 246"/>
                  <a:gd name="T15" fmla="*/ 192 h 245"/>
                  <a:gd name="T16" fmla="*/ 54 w 246"/>
                  <a:gd name="T17" fmla="*/ 160 h 245"/>
                  <a:gd name="T18" fmla="*/ 43 w 246"/>
                  <a:gd name="T19" fmla="*/ 149 h 245"/>
                  <a:gd name="T20" fmla="*/ 54 w 246"/>
                  <a:gd name="T21" fmla="*/ 138 h 245"/>
                  <a:gd name="T22" fmla="*/ 107 w 246"/>
                  <a:gd name="T23" fmla="*/ 192 h 245"/>
                  <a:gd name="T24" fmla="*/ 54 w 246"/>
                  <a:gd name="T25" fmla="*/ 245 h 245"/>
                  <a:gd name="T26" fmla="*/ 171 w 246"/>
                  <a:gd name="T27" fmla="*/ 192 h 245"/>
                  <a:gd name="T28" fmla="*/ 54 w 246"/>
                  <a:gd name="T29" fmla="*/ 74 h 245"/>
                  <a:gd name="T30" fmla="*/ 43 w 246"/>
                  <a:gd name="T31" fmla="*/ 85 h 245"/>
                  <a:gd name="T32" fmla="*/ 54 w 246"/>
                  <a:gd name="T33" fmla="*/ 96 h 245"/>
                  <a:gd name="T34" fmla="*/ 150 w 246"/>
                  <a:gd name="T35" fmla="*/ 192 h 245"/>
                  <a:gd name="T36" fmla="*/ 160 w 246"/>
                  <a:gd name="T37" fmla="*/ 202 h 245"/>
                  <a:gd name="T38" fmla="*/ 171 w 246"/>
                  <a:gd name="T39" fmla="*/ 192 h 245"/>
                  <a:gd name="T40" fmla="*/ 246 w 246"/>
                  <a:gd name="T41" fmla="*/ 192 h 245"/>
                  <a:gd name="T42" fmla="*/ 54 w 246"/>
                  <a:gd name="T43" fmla="*/ 0 h 245"/>
                  <a:gd name="T44" fmla="*/ 43 w 246"/>
                  <a:gd name="T45" fmla="*/ 10 h 245"/>
                  <a:gd name="T46" fmla="*/ 54 w 246"/>
                  <a:gd name="T47" fmla="*/ 21 h 245"/>
                  <a:gd name="T48" fmla="*/ 224 w 246"/>
                  <a:gd name="T49" fmla="*/ 192 h 245"/>
                  <a:gd name="T50" fmla="*/ 235 w 246"/>
                  <a:gd name="T51" fmla="*/ 202 h 245"/>
                  <a:gd name="T52" fmla="*/ 246 w 246"/>
                  <a:gd name="T53" fmla="*/ 1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45">
                    <a:moveTo>
                      <a:pt x="54" y="245"/>
                    </a:moveTo>
                    <a:cubicBezTo>
                      <a:pt x="24" y="245"/>
                      <a:pt x="0" y="221"/>
                      <a:pt x="0" y="192"/>
                    </a:cubicBezTo>
                    <a:cubicBezTo>
                      <a:pt x="0" y="85"/>
                      <a:pt x="0" y="85"/>
                      <a:pt x="0" y="85"/>
                    </a:cubicBezTo>
                    <a:cubicBezTo>
                      <a:pt x="0" y="79"/>
                      <a:pt x="5" y="74"/>
                      <a:pt x="11" y="74"/>
                    </a:cubicBezTo>
                    <a:cubicBezTo>
                      <a:pt x="17" y="74"/>
                      <a:pt x="22" y="79"/>
                      <a:pt x="22" y="85"/>
                    </a:cubicBezTo>
                    <a:cubicBezTo>
                      <a:pt x="22" y="192"/>
                      <a:pt x="22" y="192"/>
                      <a:pt x="22" y="192"/>
                    </a:cubicBezTo>
                    <a:cubicBezTo>
                      <a:pt x="22" y="209"/>
                      <a:pt x="36" y="224"/>
                      <a:pt x="54" y="224"/>
                    </a:cubicBezTo>
                    <a:cubicBezTo>
                      <a:pt x="71" y="224"/>
                      <a:pt x="86" y="209"/>
                      <a:pt x="86" y="192"/>
                    </a:cubicBezTo>
                    <a:cubicBezTo>
                      <a:pt x="86" y="174"/>
                      <a:pt x="71" y="160"/>
                      <a:pt x="54" y="160"/>
                    </a:cubicBezTo>
                    <a:cubicBezTo>
                      <a:pt x="48" y="160"/>
                      <a:pt x="43" y="155"/>
                      <a:pt x="43" y="149"/>
                    </a:cubicBezTo>
                    <a:cubicBezTo>
                      <a:pt x="43" y="143"/>
                      <a:pt x="48" y="138"/>
                      <a:pt x="54" y="138"/>
                    </a:cubicBezTo>
                    <a:cubicBezTo>
                      <a:pt x="83" y="138"/>
                      <a:pt x="107" y="162"/>
                      <a:pt x="107" y="192"/>
                    </a:cubicBezTo>
                    <a:cubicBezTo>
                      <a:pt x="107" y="221"/>
                      <a:pt x="83" y="245"/>
                      <a:pt x="54" y="245"/>
                    </a:cubicBezTo>
                    <a:close/>
                    <a:moveTo>
                      <a:pt x="171" y="192"/>
                    </a:moveTo>
                    <a:cubicBezTo>
                      <a:pt x="171" y="127"/>
                      <a:pt x="118" y="74"/>
                      <a:pt x="54" y="74"/>
                    </a:cubicBezTo>
                    <a:cubicBezTo>
                      <a:pt x="48" y="74"/>
                      <a:pt x="43" y="79"/>
                      <a:pt x="43" y="85"/>
                    </a:cubicBezTo>
                    <a:cubicBezTo>
                      <a:pt x="43" y="91"/>
                      <a:pt x="48" y="96"/>
                      <a:pt x="54" y="96"/>
                    </a:cubicBezTo>
                    <a:cubicBezTo>
                      <a:pt x="107" y="96"/>
                      <a:pt x="150" y="139"/>
                      <a:pt x="150" y="192"/>
                    </a:cubicBezTo>
                    <a:cubicBezTo>
                      <a:pt x="150" y="198"/>
                      <a:pt x="154" y="202"/>
                      <a:pt x="160" y="202"/>
                    </a:cubicBezTo>
                    <a:cubicBezTo>
                      <a:pt x="166" y="202"/>
                      <a:pt x="171" y="198"/>
                      <a:pt x="171" y="192"/>
                    </a:cubicBezTo>
                    <a:close/>
                    <a:moveTo>
                      <a:pt x="246" y="192"/>
                    </a:moveTo>
                    <a:cubicBezTo>
                      <a:pt x="246" y="86"/>
                      <a:pt x="160" y="0"/>
                      <a:pt x="54" y="0"/>
                    </a:cubicBezTo>
                    <a:cubicBezTo>
                      <a:pt x="48" y="0"/>
                      <a:pt x="43" y="4"/>
                      <a:pt x="43" y="10"/>
                    </a:cubicBezTo>
                    <a:cubicBezTo>
                      <a:pt x="43" y="16"/>
                      <a:pt x="48" y="21"/>
                      <a:pt x="54" y="21"/>
                    </a:cubicBezTo>
                    <a:cubicBezTo>
                      <a:pt x="148" y="21"/>
                      <a:pt x="224" y="98"/>
                      <a:pt x="224" y="192"/>
                    </a:cubicBezTo>
                    <a:cubicBezTo>
                      <a:pt x="224" y="198"/>
                      <a:pt x="229" y="202"/>
                      <a:pt x="235" y="202"/>
                    </a:cubicBezTo>
                    <a:cubicBezTo>
                      <a:pt x="241" y="202"/>
                      <a:pt x="246" y="198"/>
                      <a:pt x="246" y="19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spTree>
    <p:custDataLst>
      <p:tags r:id="rId1"/>
    </p:custDataLst>
    <p:extLst>
      <p:ext uri="{BB962C8B-B14F-4D97-AF65-F5344CB8AC3E}">
        <p14:creationId xmlns:p14="http://schemas.microsoft.com/office/powerpoint/2010/main" val="3618410895"/>
      </p:ext>
    </p:extLst>
  </p:cSld>
  <p:clrMapOvr>
    <a:masterClrMapping/>
  </p:clrMapOvr>
  <p:transition>
    <p:fade/>
  </p:transition>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lorful pawn"/>
          <p:cNvSpPr>
            <a:spLocks/>
          </p:cNvSpPr>
          <p:nvPr/>
        </p:nvSpPr>
        <p:spPr bwMode="auto">
          <a:xfrm>
            <a:off x="4071490" y="2498361"/>
            <a:ext cx="736275" cy="366969"/>
          </a:xfrm>
          <a:custGeom>
            <a:avLst/>
            <a:gdLst/>
            <a:ahLst/>
            <a:cxnLst>
              <a:cxn ang="0">
                <a:pos x="0" y="210"/>
              </a:cxn>
              <a:cxn ang="0">
                <a:pos x="210" y="0"/>
              </a:cxn>
              <a:cxn ang="0">
                <a:pos x="420" y="210"/>
              </a:cxn>
            </a:cxnLst>
            <a:rect l="0" t="0" r="r" b="b"/>
            <a:pathLst>
              <a:path w="420" h="210">
                <a:moveTo>
                  <a:pt x="0" y="210"/>
                </a:moveTo>
                <a:cubicBezTo>
                  <a:pt x="0" y="94"/>
                  <a:pt x="94" y="0"/>
                  <a:pt x="210" y="0"/>
                </a:cubicBezTo>
                <a:cubicBezTo>
                  <a:pt x="326" y="0"/>
                  <a:pt x="420" y="94"/>
                  <a:pt x="420" y="210"/>
                </a:cubicBezTo>
              </a:path>
            </a:pathLst>
          </a:cu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2" name="Colorful pawn"/>
          <p:cNvSpPr>
            <a:spLocks noChangeShapeType="1"/>
          </p:cNvSpPr>
          <p:nvPr/>
        </p:nvSpPr>
        <p:spPr bwMode="auto">
          <a:xfrm flipH="1">
            <a:off x="3648423" y="5487868"/>
            <a:ext cx="818083" cy="0"/>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3" name="Colorful pawn"/>
          <p:cNvSpPr>
            <a:spLocks noChangeShapeType="1"/>
          </p:cNvSpPr>
          <p:nvPr/>
        </p:nvSpPr>
        <p:spPr bwMode="auto">
          <a:xfrm flipH="1">
            <a:off x="4466506" y="5487868"/>
            <a:ext cx="764324" cy="0"/>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4" name="Colorful pawn"/>
          <p:cNvSpPr>
            <a:spLocks noChangeShapeType="1"/>
          </p:cNvSpPr>
          <p:nvPr/>
        </p:nvSpPr>
        <p:spPr bwMode="auto">
          <a:xfrm>
            <a:off x="3419362" y="5709920"/>
            <a:ext cx="1388403" cy="0"/>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5" name="Colorful pawn"/>
          <p:cNvSpPr>
            <a:spLocks noChangeShapeType="1"/>
          </p:cNvSpPr>
          <p:nvPr/>
        </p:nvSpPr>
        <p:spPr bwMode="auto">
          <a:xfrm>
            <a:off x="4029417" y="3477722"/>
            <a:ext cx="813410" cy="0"/>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6" name="Colorful pawn"/>
          <p:cNvSpPr>
            <a:spLocks noChangeShapeType="1"/>
          </p:cNvSpPr>
          <p:nvPr/>
        </p:nvSpPr>
        <p:spPr bwMode="auto">
          <a:xfrm flipH="1">
            <a:off x="3924236" y="3477722"/>
            <a:ext cx="317884" cy="1804457"/>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7" name="Colorful pawn"/>
          <p:cNvSpPr>
            <a:spLocks noChangeShapeType="1"/>
          </p:cNvSpPr>
          <p:nvPr/>
        </p:nvSpPr>
        <p:spPr bwMode="auto">
          <a:xfrm>
            <a:off x="4637136" y="3477722"/>
            <a:ext cx="175304" cy="1002737"/>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8" name="Colorful pawn"/>
          <p:cNvSpPr>
            <a:spLocks noChangeShapeType="1"/>
          </p:cNvSpPr>
          <p:nvPr/>
        </p:nvSpPr>
        <p:spPr bwMode="auto">
          <a:xfrm>
            <a:off x="4812440" y="4480458"/>
            <a:ext cx="142581" cy="801722"/>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9" name="Colorful pawn"/>
          <p:cNvSpPr>
            <a:spLocks noChangeShapeType="1"/>
          </p:cNvSpPr>
          <p:nvPr/>
        </p:nvSpPr>
        <p:spPr bwMode="auto">
          <a:xfrm>
            <a:off x="4812441" y="5709920"/>
            <a:ext cx="642779" cy="0"/>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0" name="Colorful pawn"/>
          <p:cNvSpPr>
            <a:spLocks/>
          </p:cNvSpPr>
          <p:nvPr/>
        </p:nvSpPr>
        <p:spPr bwMode="auto">
          <a:xfrm>
            <a:off x="4071490" y="2865328"/>
            <a:ext cx="736275" cy="371644"/>
          </a:xfrm>
          <a:custGeom>
            <a:avLst/>
            <a:gdLst/>
            <a:ahLst/>
            <a:cxnLst>
              <a:cxn ang="0">
                <a:pos x="420" y="0"/>
              </a:cxn>
              <a:cxn ang="0">
                <a:pos x="210" y="211"/>
              </a:cxn>
              <a:cxn ang="0">
                <a:pos x="0" y="0"/>
              </a:cxn>
            </a:cxnLst>
            <a:rect l="0" t="0" r="r" b="b"/>
            <a:pathLst>
              <a:path w="420" h="211">
                <a:moveTo>
                  <a:pt x="420" y="0"/>
                </a:moveTo>
                <a:cubicBezTo>
                  <a:pt x="420" y="117"/>
                  <a:pt x="326" y="211"/>
                  <a:pt x="210" y="211"/>
                </a:cubicBezTo>
                <a:cubicBezTo>
                  <a:pt x="94" y="211"/>
                  <a:pt x="0" y="117"/>
                  <a:pt x="0" y="0"/>
                </a:cubicBezTo>
              </a:path>
            </a:pathLst>
          </a:cu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1" name="Knight"/>
          <p:cNvSpPr>
            <a:spLocks noChangeShapeType="1"/>
          </p:cNvSpPr>
          <p:nvPr/>
        </p:nvSpPr>
        <p:spPr bwMode="auto">
          <a:xfrm>
            <a:off x="6135397" y="4730557"/>
            <a:ext cx="1175703" cy="0"/>
          </a:xfrm>
          <a:prstGeom prst="line">
            <a:avLst/>
          </a:pr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2" name="Knight"/>
          <p:cNvSpPr>
            <a:spLocks noChangeShapeType="1"/>
          </p:cNvSpPr>
          <p:nvPr/>
        </p:nvSpPr>
        <p:spPr bwMode="auto">
          <a:xfrm flipH="1">
            <a:off x="5911004" y="4940921"/>
            <a:ext cx="1923664" cy="0"/>
          </a:xfrm>
          <a:prstGeom prst="line">
            <a:avLst/>
          </a:prstGeom>
          <a:noFill/>
          <a:ln w="104775" cap="rnd">
            <a:solidFill>
              <a:srgbClr val="A0DCFF"/>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3" name="Knight"/>
          <p:cNvSpPr>
            <a:spLocks noChangeShapeType="1"/>
          </p:cNvSpPr>
          <p:nvPr/>
        </p:nvSpPr>
        <p:spPr bwMode="auto">
          <a:xfrm flipH="1">
            <a:off x="7834671" y="4940921"/>
            <a:ext cx="740950" cy="0"/>
          </a:xfrm>
          <a:prstGeom prst="line">
            <a:avLst/>
          </a:pr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4" name="Knight"/>
          <p:cNvSpPr>
            <a:spLocks/>
          </p:cNvSpPr>
          <p:nvPr/>
        </p:nvSpPr>
        <p:spPr bwMode="auto">
          <a:xfrm>
            <a:off x="8075422" y="1593794"/>
            <a:ext cx="638105" cy="2863291"/>
          </a:xfrm>
          <a:custGeom>
            <a:avLst/>
            <a:gdLst/>
            <a:ahLst/>
            <a:cxnLst>
              <a:cxn ang="0">
                <a:pos x="82" y="0"/>
              </a:cxn>
              <a:cxn ang="0">
                <a:pos x="0" y="1633"/>
              </a:cxn>
            </a:cxnLst>
            <a:rect l="0" t="0" r="r" b="b"/>
            <a:pathLst>
              <a:path w="364" h="1633">
                <a:moveTo>
                  <a:pt x="82" y="0"/>
                </a:moveTo>
                <a:cubicBezTo>
                  <a:pt x="330" y="332"/>
                  <a:pt x="364" y="899"/>
                  <a:pt x="0" y="1633"/>
                </a:cubicBezTo>
              </a:path>
            </a:pathLst>
          </a:cu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5" name="Knight"/>
          <p:cNvSpPr>
            <a:spLocks/>
          </p:cNvSpPr>
          <p:nvPr/>
        </p:nvSpPr>
        <p:spPr bwMode="auto">
          <a:xfrm>
            <a:off x="5611824" y="939328"/>
            <a:ext cx="722251" cy="1449175"/>
          </a:xfrm>
          <a:custGeom>
            <a:avLst/>
            <a:gdLst/>
            <a:ahLst/>
            <a:cxnLst>
              <a:cxn ang="0">
                <a:pos x="0" y="826"/>
              </a:cxn>
              <a:cxn ang="0">
                <a:pos x="366" y="0"/>
              </a:cxn>
            </a:cxnLst>
            <a:rect l="0" t="0" r="r" b="b"/>
            <a:pathLst>
              <a:path w="412" h="826">
                <a:moveTo>
                  <a:pt x="0" y="826"/>
                </a:moveTo>
                <a:cubicBezTo>
                  <a:pt x="106" y="711"/>
                  <a:pt x="412" y="261"/>
                  <a:pt x="366" y="0"/>
                </a:cubicBezTo>
              </a:path>
            </a:pathLst>
          </a:cu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6" name="Knight"/>
          <p:cNvSpPr>
            <a:spLocks noChangeShapeType="1"/>
          </p:cNvSpPr>
          <p:nvPr/>
        </p:nvSpPr>
        <p:spPr bwMode="auto">
          <a:xfrm flipH="1" flipV="1">
            <a:off x="5611824" y="2388503"/>
            <a:ext cx="285160" cy="271136"/>
          </a:xfrm>
          <a:prstGeom prst="line">
            <a:avLst/>
          </a:pr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47" name="Knight"/>
          <p:cNvSpPr>
            <a:spLocks/>
          </p:cNvSpPr>
          <p:nvPr/>
        </p:nvSpPr>
        <p:spPr bwMode="auto">
          <a:xfrm>
            <a:off x="6486004" y="1958425"/>
            <a:ext cx="542272" cy="395018"/>
          </a:xfrm>
          <a:custGeom>
            <a:avLst/>
            <a:gdLst/>
            <a:ahLst/>
            <a:cxnLst>
              <a:cxn ang="0">
                <a:pos x="310" y="0"/>
              </a:cxn>
              <a:cxn ang="0">
                <a:pos x="0" y="174"/>
              </a:cxn>
            </a:cxnLst>
            <a:rect l="0" t="0" r="r" b="b"/>
            <a:pathLst>
              <a:path w="310" h="226">
                <a:moveTo>
                  <a:pt x="310" y="0"/>
                </a:moveTo>
                <a:cubicBezTo>
                  <a:pt x="283" y="167"/>
                  <a:pt x="157" y="226"/>
                  <a:pt x="0" y="174"/>
                </a:cubicBezTo>
              </a:path>
            </a:pathLst>
          </a:custGeom>
          <a:noFill/>
          <a:ln w="104775" cap="rnd">
            <a:no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57" name="Knight"/>
          <p:cNvSpPr>
            <a:spLocks/>
          </p:cNvSpPr>
          <p:nvPr/>
        </p:nvSpPr>
        <p:spPr bwMode="auto">
          <a:xfrm>
            <a:off x="6235903" y="1958425"/>
            <a:ext cx="1121942" cy="1811470"/>
          </a:xfrm>
          <a:custGeom>
            <a:avLst/>
            <a:gdLst/>
            <a:ahLst/>
            <a:cxnLst>
              <a:cxn ang="0">
                <a:pos x="0" y="1034"/>
              </a:cxn>
              <a:cxn ang="0">
                <a:pos x="452" y="0"/>
              </a:cxn>
            </a:cxnLst>
            <a:rect l="0" t="0" r="r" b="b"/>
            <a:pathLst>
              <a:path w="640" h="1034">
                <a:moveTo>
                  <a:pt x="0" y="1034"/>
                </a:moveTo>
                <a:cubicBezTo>
                  <a:pt x="238" y="884"/>
                  <a:pt x="640" y="320"/>
                  <a:pt x="452" y="0"/>
                </a:cubicBezTo>
              </a:path>
            </a:pathLst>
          </a:custGeom>
          <a:noFill/>
          <a:ln w="104775" cap="rnd">
            <a:solidFill>
              <a:srgbClr val="00A3E0"/>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58" name="Knight"/>
          <p:cNvSpPr>
            <a:spLocks noChangeShapeType="1"/>
          </p:cNvSpPr>
          <p:nvPr/>
        </p:nvSpPr>
        <p:spPr bwMode="auto">
          <a:xfrm flipH="1" flipV="1">
            <a:off x="6235903" y="3769895"/>
            <a:ext cx="194003" cy="687190"/>
          </a:xfrm>
          <a:prstGeom prst="line">
            <a:avLst/>
          </a:pr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59" name="Knight"/>
          <p:cNvSpPr>
            <a:spLocks noChangeShapeType="1"/>
          </p:cNvSpPr>
          <p:nvPr/>
        </p:nvSpPr>
        <p:spPr bwMode="auto">
          <a:xfrm>
            <a:off x="7311098" y="4730557"/>
            <a:ext cx="1051821" cy="0"/>
          </a:xfrm>
          <a:prstGeom prst="line">
            <a:avLst/>
          </a:prstGeom>
          <a:noFill/>
          <a:ln w="104775" cap="rnd">
            <a:solidFill>
              <a:srgbClr val="00A3E0"/>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0" name="Knight"/>
          <p:cNvSpPr>
            <a:spLocks/>
          </p:cNvSpPr>
          <p:nvPr/>
        </p:nvSpPr>
        <p:spPr bwMode="auto">
          <a:xfrm>
            <a:off x="6254602" y="939328"/>
            <a:ext cx="226727" cy="137906"/>
          </a:xfrm>
          <a:custGeom>
            <a:avLst/>
            <a:gdLst/>
            <a:ahLst/>
            <a:cxnLst>
              <a:cxn ang="0">
                <a:pos x="0" y="0"/>
              </a:cxn>
              <a:cxn ang="0">
                <a:pos x="130" y="79"/>
              </a:cxn>
            </a:cxnLst>
            <a:rect l="0" t="0" r="r" b="b"/>
            <a:pathLst>
              <a:path w="130" h="79">
                <a:moveTo>
                  <a:pt x="0" y="0"/>
                </a:moveTo>
                <a:cubicBezTo>
                  <a:pt x="39" y="19"/>
                  <a:pt x="130" y="79"/>
                  <a:pt x="130" y="79"/>
                </a:cubicBezTo>
              </a:path>
            </a:pathLst>
          </a:custGeom>
          <a:noFill/>
          <a:ln w="104775" cap="rnd">
            <a:solidFill>
              <a:srgbClr val="00A3E0"/>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1" name="Knight"/>
          <p:cNvSpPr>
            <a:spLocks/>
          </p:cNvSpPr>
          <p:nvPr/>
        </p:nvSpPr>
        <p:spPr bwMode="auto">
          <a:xfrm>
            <a:off x="6481329" y="897255"/>
            <a:ext cx="1736674" cy="696539"/>
          </a:xfrm>
          <a:custGeom>
            <a:avLst/>
            <a:gdLst/>
            <a:ahLst/>
            <a:cxnLst>
              <a:cxn ang="0">
                <a:pos x="0" y="103"/>
              </a:cxn>
              <a:cxn ang="0">
                <a:pos x="991" y="397"/>
              </a:cxn>
            </a:cxnLst>
            <a:rect l="0" t="0" r="r" b="b"/>
            <a:pathLst>
              <a:path w="991" h="397">
                <a:moveTo>
                  <a:pt x="0" y="103"/>
                </a:moveTo>
                <a:cubicBezTo>
                  <a:pt x="410" y="0"/>
                  <a:pt x="779" y="113"/>
                  <a:pt x="991" y="397"/>
                </a:cubicBezTo>
              </a:path>
            </a:pathLst>
          </a:custGeom>
          <a:noFill/>
          <a:ln w="104775" cap="rnd">
            <a:solidFill>
              <a:srgbClr val="A0DCFF"/>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2" name="Knight"/>
          <p:cNvSpPr>
            <a:spLocks/>
          </p:cNvSpPr>
          <p:nvPr/>
        </p:nvSpPr>
        <p:spPr bwMode="auto">
          <a:xfrm>
            <a:off x="5896984" y="2262285"/>
            <a:ext cx="589020" cy="397355"/>
          </a:xfrm>
          <a:custGeom>
            <a:avLst/>
            <a:gdLst/>
            <a:ahLst/>
            <a:cxnLst>
              <a:cxn ang="0">
                <a:pos x="336" y="0"/>
              </a:cxn>
              <a:cxn ang="0">
                <a:pos x="0" y="226"/>
              </a:cxn>
            </a:cxnLst>
            <a:rect l="0" t="0" r="r" b="b"/>
            <a:pathLst>
              <a:path w="336" h="226">
                <a:moveTo>
                  <a:pt x="336" y="0"/>
                </a:moveTo>
                <a:cubicBezTo>
                  <a:pt x="254" y="54"/>
                  <a:pt x="0" y="226"/>
                  <a:pt x="0" y="226"/>
                </a:cubicBezTo>
              </a:path>
            </a:pathLst>
          </a:custGeom>
          <a:noFill/>
          <a:ln w="104775" cap="rnd">
            <a:solidFill>
              <a:srgbClr val="00A3E0"/>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grpSp>
        <p:nvGrpSpPr>
          <p:cNvPr id="63" name="Rook"/>
          <p:cNvGrpSpPr/>
          <p:nvPr/>
        </p:nvGrpSpPr>
        <p:grpSpPr>
          <a:xfrm>
            <a:off x="2577905" y="3699774"/>
            <a:ext cx="1065845" cy="1437488"/>
            <a:chOff x="2466976" y="2827338"/>
            <a:chExt cx="723900" cy="976312"/>
          </a:xfrm>
        </p:grpSpPr>
        <p:sp>
          <p:nvSpPr>
            <p:cNvPr id="64" name="Line 41"/>
            <p:cNvSpPr>
              <a:spLocks noChangeShapeType="1"/>
            </p:cNvSpPr>
            <p:nvPr/>
          </p:nvSpPr>
          <p:spPr bwMode="auto">
            <a:xfrm flipH="1">
              <a:off x="2547938" y="3727450"/>
              <a:ext cx="290513" cy="1588"/>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5" name="Line 42"/>
            <p:cNvSpPr>
              <a:spLocks noChangeShapeType="1"/>
            </p:cNvSpPr>
            <p:nvPr/>
          </p:nvSpPr>
          <p:spPr bwMode="auto">
            <a:xfrm flipH="1">
              <a:off x="2832100" y="3727450"/>
              <a:ext cx="277813"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6" name="Line 44"/>
            <p:cNvSpPr>
              <a:spLocks noChangeShapeType="1"/>
            </p:cNvSpPr>
            <p:nvPr/>
          </p:nvSpPr>
          <p:spPr bwMode="auto">
            <a:xfrm>
              <a:off x="2466976" y="3803650"/>
              <a:ext cx="514350" cy="0"/>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7" name="Line 46"/>
            <p:cNvSpPr>
              <a:spLocks noChangeShapeType="1"/>
            </p:cNvSpPr>
            <p:nvPr/>
          </p:nvSpPr>
          <p:spPr bwMode="auto">
            <a:xfrm>
              <a:off x="2619377" y="3065463"/>
              <a:ext cx="212724"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8" name="Line 48"/>
            <p:cNvSpPr>
              <a:spLocks noChangeShapeType="1"/>
            </p:cNvSpPr>
            <p:nvPr/>
          </p:nvSpPr>
          <p:spPr bwMode="auto">
            <a:xfrm>
              <a:off x="2668588" y="2989263"/>
              <a:ext cx="169863"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9" name="Line 49"/>
            <p:cNvSpPr>
              <a:spLocks noChangeShapeType="1"/>
            </p:cNvSpPr>
            <p:nvPr/>
          </p:nvSpPr>
          <p:spPr bwMode="auto">
            <a:xfrm>
              <a:off x="2832101" y="2913063"/>
              <a:ext cx="20637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0" name="Line 50"/>
            <p:cNvSpPr>
              <a:spLocks noChangeShapeType="1"/>
            </p:cNvSpPr>
            <p:nvPr/>
          </p:nvSpPr>
          <p:spPr bwMode="auto">
            <a:xfrm>
              <a:off x="2619377" y="2913063"/>
              <a:ext cx="212724" cy="0"/>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1" name="Line 51"/>
            <p:cNvSpPr>
              <a:spLocks noChangeShapeType="1"/>
            </p:cNvSpPr>
            <p:nvPr/>
          </p:nvSpPr>
          <p:spPr bwMode="auto">
            <a:xfrm>
              <a:off x="2728913" y="2827338"/>
              <a:ext cx="1588" cy="85725"/>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2" name="Line 52"/>
            <p:cNvSpPr>
              <a:spLocks noChangeShapeType="1"/>
            </p:cNvSpPr>
            <p:nvPr/>
          </p:nvSpPr>
          <p:spPr bwMode="auto">
            <a:xfrm>
              <a:off x="2832101" y="2827338"/>
              <a:ext cx="1588" cy="85725"/>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3" name="Line 53"/>
            <p:cNvSpPr>
              <a:spLocks noChangeShapeType="1"/>
            </p:cNvSpPr>
            <p:nvPr/>
          </p:nvSpPr>
          <p:spPr bwMode="auto">
            <a:xfrm>
              <a:off x="2935288" y="2827338"/>
              <a:ext cx="1588" cy="85725"/>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4" name="Line 54"/>
            <p:cNvSpPr>
              <a:spLocks noChangeShapeType="1"/>
            </p:cNvSpPr>
            <p:nvPr/>
          </p:nvSpPr>
          <p:spPr bwMode="auto">
            <a:xfrm>
              <a:off x="3038476" y="2827338"/>
              <a:ext cx="1588" cy="85725"/>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5" name="Line 55"/>
            <p:cNvSpPr>
              <a:spLocks noChangeShapeType="1"/>
            </p:cNvSpPr>
            <p:nvPr/>
          </p:nvSpPr>
          <p:spPr bwMode="auto">
            <a:xfrm>
              <a:off x="2624138" y="2827338"/>
              <a:ext cx="1588" cy="85725"/>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6" name="Freeform 56"/>
            <p:cNvSpPr>
              <a:spLocks/>
            </p:cNvSpPr>
            <p:nvPr/>
          </p:nvSpPr>
          <p:spPr bwMode="auto">
            <a:xfrm>
              <a:off x="2611438" y="3065463"/>
              <a:ext cx="69850" cy="585788"/>
            </a:xfrm>
            <a:custGeom>
              <a:avLst/>
              <a:gdLst/>
              <a:ahLst/>
              <a:cxnLst>
                <a:cxn ang="0">
                  <a:pos x="59" y="0"/>
                </a:cxn>
                <a:cxn ang="0">
                  <a:pos x="0" y="493"/>
                </a:cxn>
              </a:cxnLst>
              <a:rect l="0" t="0" r="r" b="b"/>
              <a:pathLst>
                <a:path w="59" h="493">
                  <a:moveTo>
                    <a:pt x="59" y="0"/>
                  </a:moveTo>
                  <a:cubicBezTo>
                    <a:pt x="59" y="120"/>
                    <a:pt x="55" y="270"/>
                    <a:pt x="0" y="493"/>
                  </a:cubicBezTo>
                </a:path>
              </a:pathLst>
            </a:cu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7" name="Freeform 57"/>
            <p:cNvSpPr>
              <a:spLocks/>
            </p:cNvSpPr>
            <p:nvPr/>
          </p:nvSpPr>
          <p:spPr bwMode="auto">
            <a:xfrm>
              <a:off x="2997201" y="3357563"/>
              <a:ext cx="53975" cy="293688"/>
            </a:xfrm>
            <a:custGeom>
              <a:avLst/>
              <a:gdLst/>
              <a:ahLst/>
              <a:cxnLst>
                <a:cxn ang="0">
                  <a:pos x="0" y="0"/>
                </a:cxn>
                <a:cxn ang="0">
                  <a:pos x="45" y="247"/>
                </a:cxn>
              </a:cxnLst>
              <a:rect l="0" t="0" r="r" b="b"/>
              <a:pathLst>
                <a:path w="45" h="247">
                  <a:moveTo>
                    <a:pt x="0" y="0"/>
                  </a:moveTo>
                  <a:cubicBezTo>
                    <a:pt x="8" y="72"/>
                    <a:pt x="22" y="153"/>
                    <a:pt x="45" y="247"/>
                  </a:cubicBezTo>
                </a:path>
              </a:pathLst>
            </a:cu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8" name="Freeform 58"/>
            <p:cNvSpPr>
              <a:spLocks/>
            </p:cNvSpPr>
            <p:nvPr/>
          </p:nvSpPr>
          <p:spPr bwMode="auto">
            <a:xfrm>
              <a:off x="2981326" y="3065463"/>
              <a:ext cx="15875" cy="292100"/>
            </a:xfrm>
            <a:custGeom>
              <a:avLst/>
              <a:gdLst/>
              <a:ahLst/>
              <a:cxnLst>
                <a:cxn ang="0">
                  <a:pos x="0" y="0"/>
                </a:cxn>
                <a:cxn ang="0">
                  <a:pos x="13" y="246"/>
                </a:cxn>
              </a:cxnLst>
              <a:rect l="0" t="0" r="r" b="b"/>
              <a:pathLst>
                <a:path w="13" h="246">
                  <a:moveTo>
                    <a:pt x="0" y="0"/>
                  </a:moveTo>
                  <a:cubicBezTo>
                    <a:pt x="0" y="69"/>
                    <a:pt x="1" y="149"/>
                    <a:pt x="13" y="246"/>
                  </a:cubicBezTo>
                </a:path>
              </a:pathLst>
            </a:cu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9" name="Line 43"/>
            <p:cNvSpPr>
              <a:spLocks noChangeShapeType="1"/>
            </p:cNvSpPr>
            <p:nvPr/>
          </p:nvSpPr>
          <p:spPr bwMode="auto">
            <a:xfrm>
              <a:off x="2971801" y="3803650"/>
              <a:ext cx="21907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0" name="Line 45"/>
            <p:cNvSpPr>
              <a:spLocks noChangeShapeType="1"/>
            </p:cNvSpPr>
            <p:nvPr/>
          </p:nvSpPr>
          <p:spPr bwMode="auto">
            <a:xfrm>
              <a:off x="2832101" y="3065463"/>
              <a:ext cx="206375" cy="0"/>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1" name="Line 47"/>
            <p:cNvSpPr>
              <a:spLocks noChangeShapeType="1"/>
            </p:cNvSpPr>
            <p:nvPr/>
          </p:nvSpPr>
          <p:spPr bwMode="auto">
            <a:xfrm>
              <a:off x="2832101" y="2989263"/>
              <a:ext cx="165100"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grpSp>
      <p:grpSp>
        <p:nvGrpSpPr>
          <p:cNvPr id="82" name="Pawn"/>
          <p:cNvGrpSpPr/>
          <p:nvPr/>
        </p:nvGrpSpPr>
        <p:grpSpPr>
          <a:xfrm>
            <a:off x="5230830" y="2893377"/>
            <a:ext cx="869507" cy="1446839"/>
            <a:chOff x="4268788" y="2279650"/>
            <a:chExt cx="590551" cy="982663"/>
          </a:xfrm>
        </p:grpSpPr>
        <p:sp>
          <p:nvSpPr>
            <p:cNvPr id="83" name="Freeform 32"/>
            <p:cNvSpPr>
              <a:spLocks/>
            </p:cNvSpPr>
            <p:nvPr/>
          </p:nvSpPr>
          <p:spPr bwMode="auto">
            <a:xfrm>
              <a:off x="4435476" y="2279650"/>
              <a:ext cx="225425" cy="112713"/>
            </a:xfrm>
            <a:custGeom>
              <a:avLst/>
              <a:gdLst/>
              <a:ahLst/>
              <a:cxnLst>
                <a:cxn ang="0">
                  <a:pos x="0" y="95"/>
                </a:cxn>
                <a:cxn ang="0">
                  <a:pos x="95" y="0"/>
                </a:cxn>
                <a:cxn ang="0">
                  <a:pos x="190" y="95"/>
                </a:cxn>
              </a:cxnLst>
              <a:rect l="0" t="0" r="r" b="b"/>
              <a:pathLst>
                <a:path w="190" h="95">
                  <a:moveTo>
                    <a:pt x="0" y="95"/>
                  </a:moveTo>
                  <a:cubicBezTo>
                    <a:pt x="0" y="43"/>
                    <a:pt x="43" y="0"/>
                    <a:pt x="95" y="0"/>
                  </a:cubicBezTo>
                  <a:cubicBezTo>
                    <a:pt x="147" y="0"/>
                    <a:pt x="190" y="43"/>
                    <a:pt x="190" y="95"/>
                  </a:cubicBezTo>
                </a:path>
              </a:pathLst>
            </a:cu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4" name="Line 33"/>
            <p:cNvSpPr>
              <a:spLocks noChangeShapeType="1"/>
            </p:cNvSpPr>
            <p:nvPr/>
          </p:nvSpPr>
          <p:spPr bwMode="auto">
            <a:xfrm flipH="1">
              <a:off x="4305300" y="3194050"/>
              <a:ext cx="25082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5" name="Line 34"/>
            <p:cNvSpPr>
              <a:spLocks noChangeShapeType="1"/>
            </p:cNvSpPr>
            <p:nvPr/>
          </p:nvSpPr>
          <p:spPr bwMode="auto">
            <a:xfrm flipH="1">
              <a:off x="4556125" y="3194050"/>
              <a:ext cx="233363"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6" name="Line 36"/>
            <p:cNvSpPr>
              <a:spLocks noChangeShapeType="1"/>
            </p:cNvSpPr>
            <p:nvPr/>
          </p:nvSpPr>
          <p:spPr bwMode="auto">
            <a:xfrm>
              <a:off x="4268788" y="3262313"/>
              <a:ext cx="40322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7" name="Line 38"/>
            <p:cNvSpPr>
              <a:spLocks noChangeShapeType="1"/>
            </p:cNvSpPr>
            <p:nvPr/>
          </p:nvSpPr>
          <p:spPr bwMode="auto">
            <a:xfrm flipH="1">
              <a:off x="4389438" y="2579688"/>
              <a:ext cx="98425" cy="550863"/>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8" name="Line 39"/>
            <p:cNvSpPr>
              <a:spLocks noChangeShapeType="1"/>
            </p:cNvSpPr>
            <p:nvPr/>
          </p:nvSpPr>
          <p:spPr bwMode="auto">
            <a:xfrm>
              <a:off x="4662488" y="2886075"/>
              <a:ext cx="42863" cy="244475"/>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9" name="Line 40"/>
            <p:cNvSpPr>
              <a:spLocks noChangeShapeType="1"/>
            </p:cNvSpPr>
            <p:nvPr/>
          </p:nvSpPr>
          <p:spPr bwMode="auto">
            <a:xfrm>
              <a:off x="4608513" y="2579688"/>
              <a:ext cx="53975" cy="306388"/>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0" name="Line 37"/>
            <p:cNvSpPr>
              <a:spLocks noChangeShapeType="1"/>
            </p:cNvSpPr>
            <p:nvPr/>
          </p:nvSpPr>
          <p:spPr bwMode="auto">
            <a:xfrm>
              <a:off x="4422776" y="2581276"/>
              <a:ext cx="25082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1" name="Line 35"/>
            <p:cNvSpPr>
              <a:spLocks noChangeShapeType="1"/>
            </p:cNvSpPr>
            <p:nvPr/>
          </p:nvSpPr>
          <p:spPr bwMode="auto">
            <a:xfrm>
              <a:off x="4662489" y="3262313"/>
              <a:ext cx="196850" cy="0"/>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2" name="Freeform 31"/>
            <p:cNvSpPr>
              <a:spLocks/>
            </p:cNvSpPr>
            <p:nvPr/>
          </p:nvSpPr>
          <p:spPr bwMode="auto">
            <a:xfrm>
              <a:off x="4435476" y="2392363"/>
              <a:ext cx="225425" cy="112713"/>
            </a:xfrm>
            <a:custGeom>
              <a:avLst/>
              <a:gdLst/>
              <a:ahLst/>
              <a:cxnLst>
                <a:cxn ang="0">
                  <a:pos x="190" y="0"/>
                </a:cxn>
                <a:cxn ang="0">
                  <a:pos x="95" y="95"/>
                </a:cxn>
                <a:cxn ang="0">
                  <a:pos x="0" y="0"/>
                </a:cxn>
              </a:cxnLst>
              <a:rect l="0" t="0" r="r" b="b"/>
              <a:pathLst>
                <a:path w="190" h="95">
                  <a:moveTo>
                    <a:pt x="190" y="0"/>
                  </a:moveTo>
                  <a:cubicBezTo>
                    <a:pt x="190" y="52"/>
                    <a:pt x="147" y="95"/>
                    <a:pt x="95" y="95"/>
                  </a:cubicBezTo>
                  <a:cubicBezTo>
                    <a:pt x="43" y="95"/>
                    <a:pt x="0" y="52"/>
                    <a:pt x="0" y="0"/>
                  </a:cubicBezTo>
                </a:path>
              </a:pathLst>
            </a:cu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grpSp>
      <p:grpSp>
        <p:nvGrpSpPr>
          <p:cNvPr id="93" name="Bishop"/>
          <p:cNvGrpSpPr/>
          <p:nvPr/>
        </p:nvGrpSpPr>
        <p:grpSpPr>
          <a:xfrm>
            <a:off x="8748587" y="1785459"/>
            <a:ext cx="1065845" cy="1675902"/>
            <a:chOff x="6657976" y="1527175"/>
            <a:chExt cx="723900" cy="1138238"/>
          </a:xfrm>
        </p:grpSpPr>
        <p:sp>
          <p:nvSpPr>
            <p:cNvPr id="94" name="Line 59"/>
            <p:cNvSpPr>
              <a:spLocks noChangeShapeType="1"/>
            </p:cNvSpPr>
            <p:nvPr/>
          </p:nvSpPr>
          <p:spPr bwMode="auto">
            <a:xfrm flipH="1">
              <a:off x="6738937" y="2589213"/>
              <a:ext cx="290513"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5" name="Line 60"/>
            <p:cNvSpPr>
              <a:spLocks noChangeShapeType="1"/>
            </p:cNvSpPr>
            <p:nvPr/>
          </p:nvSpPr>
          <p:spPr bwMode="auto">
            <a:xfrm flipH="1">
              <a:off x="7029451" y="2587625"/>
              <a:ext cx="273050" cy="1588"/>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6" name="Line 62"/>
            <p:cNvSpPr>
              <a:spLocks noChangeShapeType="1"/>
            </p:cNvSpPr>
            <p:nvPr/>
          </p:nvSpPr>
          <p:spPr bwMode="auto">
            <a:xfrm>
              <a:off x="6657976" y="2665413"/>
              <a:ext cx="512763" cy="0"/>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7" name="Line 64"/>
            <p:cNvSpPr>
              <a:spLocks noChangeShapeType="1"/>
            </p:cNvSpPr>
            <p:nvPr/>
          </p:nvSpPr>
          <p:spPr bwMode="auto">
            <a:xfrm>
              <a:off x="6810376" y="1989138"/>
              <a:ext cx="21907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8" name="Freeform 65"/>
            <p:cNvSpPr>
              <a:spLocks/>
            </p:cNvSpPr>
            <p:nvPr/>
          </p:nvSpPr>
          <p:spPr bwMode="auto">
            <a:xfrm>
              <a:off x="6804026" y="1989138"/>
              <a:ext cx="106363" cy="523875"/>
            </a:xfrm>
            <a:custGeom>
              <a:avLst/>
              <a:gdLst/>
              <a:ahLst/>
              <a:cxnLst>
                <a:cxn ang="0">
                  <a:pos x="90" y="0"/>
                </a:cxn>
                <a:cxn ang="0">
                  <a:pos x="0" y="440"/>
                </a:cxn>
              </a:cxnLst>
              <a:rect l="0" t="0" r="r" b="b"/>
              <a:pathLst>
                <a:path w="90" h="440">
                  <a:moveTo>
                    <a:pt x="90" y="0"/>
                  </a:moveTo>
                  <a:cubicBezTo>
                    <a:pt x="90" y="107"/>
                    <a:pt x="67" y="275"/>
                    <a:pt x="0" y="440"/>
                  </a:cubicBezTo>
                </a:path>
              </a:pathLst>
            </a:cu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9" name="Freeform 66"/>
            <p:cNvSpPr>
              <a:spLocks/>
            </p:cNvSpPr>
            <p:nvPr/>
          </p:nvSpPr>
          <p:spPr bwMode="auto">
            <a:xfrm>
              <a:off x="7170738" y="2289175"/>
              <a:ext cx="71438" cy="223838"/>
            </a:xfrm>
            <a:custGeom>
              <a:avLst/>
              <a:gdLst/>
              <a:ahLst/>
              <a:cxnLst>
                <a:cxn ang="0">
                  <a:pos x="0" y="0"/>
                </a:cxn>
                <a:cxn ang="0">
                  <a:pos x="60" y="189"/>
                </a:cxn>
              </a:cxnLst>
              <a:rect l="0" t="0" r="r" b="b"/>
              <a:pathLst>
                <a:path w="60" h="189">
                  <a:moveTo>
                    <a:pt x="0" y="0"/>
                  </a:moveTo>
                  <a:cubicBezTo>
                    <a:pt x="14" y="61"/>
                    <a:pt x="34" y="125"/>
                    <a:pt x="60" y="189"/>
                  </a:cubicBezTo>
                </a:path>
              </a:pathLst>
            </a:cu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100" name="Freeform 67"/>
            <p:cNvSpPr>
              <a:spLocks/>
            </p:cNvSpPr>
            <p:nvPr/>
          </p:nvSpPr>
          <p:spPr bwMode="auto">
            <a:xfrm>
              <a:off x="7134226" y="1989138"/>
              <a:ext cx="36513" cy="300038"/>
            </a:xfrm>
            <a:custGeom>
              <a:avLst/>
              <a:gdLst/>
              <a:ahLst/>
              <a:cxnLst>
                <a:cxn ang="0">
                  <a:pos x="0" y="0"/>
                </a:cxn>
                <a:cxn ang="0">
                  <a:pos x="30" y="251"/>
                </a:cxn>
              </a:cxnLst>
              <a:rect l="0" t="0" r="r" b="b"/>
              <a:pathLst>
                <a:path w="30" h="251">
                  <a:moveTo>
                    <a:pt x="0" y="0"/>
                  </a:moveTo>
                  <a:cubicBezTo>
                    <a:pt x="0" y="65"/>
                    <a:pt x="8" y="154"/>
                    <a:pt x="30" y="251"/>
                  </a:cubicBezTo>
                </a:path>
              </a:pathLst>
            </a:cu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101" name="Freeform 68"/>
            <p:cNvSpPr>
              <a:spLocks/>
            </p:cNvSpPr>
            <p:nvPr/>
          </p:nvSpPr>
          <p:spPr bwMode="auto">
            <a:xfrm>
              <a:off x="6843713" y="1527175"/>
              <a:ext cx="179388" cy="376238"/>
            </a:xfrm>
            <a:custGeom>
              <a:avLst/>
              <a:gdLst/>
              <a:ahLst/>
              <a:cxnLst>
                <a:cxn ang="0">
                  <a:pos x="61" y="315"/>
                </a:cxn>
                <a:cxn ang="0">
                  <a:pos x="150" y="0"/>
                </a:cxn>
              </a:cxnLst>
              <a:rect l="0" t="0" r="r" b="b"/>
              <a:pathLst>
                <a:path w="150" h="315">
                  <a:moveTo>
                    <a:pt x="61" y="315"/>
                  </a:moveTo>
                  <a:cubicBezTo>
                    <a:pt x="0" y="199"/>
                    <a:pt x="22" y="72"/>
                    <a:pt x="150" y="0"/>
                  </a:cubicBezTo>
                </a:path>
              </a:pathLst>
            </a:cu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102" name="Freeform 69"/>
            <p:cNvSpPr>
              <a:spLocks/>
            </p:cNvSpPr>
            <p:nvPr/>
          </p:nvSpPr>
          <p:spPr bwMode="auto">
            <a:xfrm>
              <a:off x="7023101" y="1527175"/>
              <a:ext cx="179388" cy="376238"/>
            </a:xfrm>
            <a:custGeom>
              <a:avLst/>
              <a:gdLst/>
              <a:ahLst/>
              <a:cxnLst>
                <a:cxn ang="0">
                  <a:pos x="89" y="315"/>
                </a:cxn>
                <a:cxn ang="0">
                  <a:pos x="0" y="0"/>
                </a:cxn>
              </a:cxnLst>
              <a:rect l="0" t="0" r="r" b="b"/>
              <a:pathLst>
                <a:path w="151" h="315">
                  <a:moveTo>
                    <a:pt x="89" y="315"/>
                  </a:moveTo>
                  <a:cubicBezTo>
                    <a:pt x="151" y="199"/>
                    <a:pt x="128" y="72"/>
                    <a:pt x="0" y="0"/>
                  </a:cubicBezTo>
                </a:path>
              </a:pathLst>
            </a:cu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103" name="Line 61"/>
            <p:cNvSpPr>
              <a:spLocks noChangeShapeType="1"/>
            </p:cNvSpPr>
            <p:nvPr/>
          </p:nvSpPr>
          <p:spPr bwMode="auto">
            <a:xfrm>
              <a:off x="7164388" y="2665413"/>
              <a:ext cx="217488"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104" name="Line 63"/>
            <p:cNvSpPr>
              <a:spLocks noChangeShapeType="1"/>
            </p:cNvSpPr>
            <p:nvPr/>
          </p:nvSpPr>
          <p:spPr bwMode="auto">
            <a:xfrm>
              <a:off x="7023101" y="1982488"/>
              <a:ext cx="20637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grpSp>
    </p:spTree>
    <p:custDataLst>
      <p:tags r:id="rId1"/>
    </p:custDataLst>
    <p:extLst>
      <p:ext uri="{BB962C8B-B14F-4D97-AF65-F5344CB8AC3E}">
        <p14:creationId xmlns:p14="http://schemas.microsoft.com/office/powerpoint/2010/main" val="2823398985"/>
      </p:ext>
    </p:extLst>
  </p:cSld>
  <p:clrMapOvr>
    <a:masterClrMapping/>
  </p:clrMapOvr>
  <p:transition>
    <p:fade/>
  </p:transition>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5"/>
          <p:cNvSpPr>
            <a:spLocks noEditPoints="1"/>
          </p:cNvSpPr>
          <p:nvPr/>
        </p:nvSpPr>
        <p:spPr bwMode="auto">
          <a:xfrm>
            <a:off x="3186372" y="2040610"/>
            <a:ext cx="4927607" cy="2760690"/>
          </a:xfrm>
          <a:custGeom>
            <a:avLst/>
            <a:gdLst>
              <a:gd name="T0" fmla="*/ 252 w 1184"/>
              <a:gd name="T1" fmla="*/ 328 h 665"/>
              <a:gd name="T2" fmla="*/ 252 w 1184"/>
              <a:gd name="T3" fmla="*/ 285 h 665"/>
              <a:gd name="T4" fmla="*/ 252 w 1184"/>
              <a:gd name="T5" fmla="*/ 272 h 665"/>
              <a:gd name="T6" fmla="*/ 459 w 1184"/>
              <a:gd name="T7" fmla="*/ 65 h 665"/>
              <a:gd name="T8" fmla="*/ 657 w 1184"/>
              <a:gd name="T9" fmla="*/ 216 h 665"/>
              <a:gd name="T10" fmla="*/ 665 w 1184"/>
              <a:gd name="T11" fmla="*/ 251 h 665"/>
              <a:gd name="T12" fmla="*/ 700 w 1184"/>
              <a:gd name="T13" fmla="*/ 242 h 665"/>
              <a:gd name="T14" fmla="*/ 747 w 1184"/>
              <a:gd name="T15" fmla="*/ 238 h 665"/>
              <a:gd name="T16" fmla="*/ 912 w 1184"/>
              <a:gd name="T17" fmla="*/ 364 h 665"/>
              <a:gd name="T18" fmla="*/ 988 w 1184"/>
              <a:gd name="T19" fmla="*/ 338 h 665"/>
              <a:gd name="T20" fmla="*/ 1112 w 1184"/>
              <a:gd name="T21" fmla="*/ 463 h 665"/>
              <a:gd name="T22" fmla="*/ 988 w 1184"/>
              <a:gd name="T23" fmla="*/ 587 h 665"/>
              <a:gd name="T24" fmla="*/ 980 w 1184"/>
              <a:gd name="T25" fmla="*/ 587 h 665"/>
              <a:gd name="T26" fmla="*/ 976 w 1184"/>
              <a:gd name="T27" fmla="*/ 587 h 665"/>
              <a:gd name="T28" fmla="*/ 747 w 1184"/>
              <a:gd name="T29" fmla="*/ 587 h 665"/>
              <a:gd name="T30" fmla="*/ 618 w 1184"/>
              <a:gd name="T31" fmla="*/ 587 h 665"/>
              <a:gd name="T32" fmla="*/ 205 w 1184"/>
              <a:gd name="T33" fmla="*/ 587 h 665"/>
              <a:gd name="T34" fmla="*/ 72 w 1184"/>
              <a:gd name="T35" fmla="*/ 458 h 665"/>
              <a:gd name="T36" fmla="*/ 205 w 1184"/>
              <a:gd name="T37" fmla="*/ 324 h 665"/>
              <a:gd name="T38" fmla="*/ 214 w 1184"/>
              <a:gd name="T39" fmla="*/ 324 h 665"/>
              <a:gd name="T40" fmla="*/ 252 w 1184"/>
              <a:gd name="T41" fmla="*/ 328 h 665"/>
              <a:gd name="T42" fmla="*/ 459 w 1184"/>
              <a:gd name="T43" fmla="*/ 0 h 665"/>
              <a:gd name="T44" fmla="*/ 181 w 1184"/>
              <a:gd name="T45" fmla="*/ 260 h 665"/>
              <a:gd name="T46" fmla="*/ 0 w 1184"/>
              <a:gd name="T47" fmla="*/ 464 h 665"/>
              <a:gd name="T48" fmla="*/ 205 w 1184"/>
              <a:gd name="T49" fmla="*/ 665 h 665"/>
              <a:gd name="T50" fmla="*/ 1013 w 1184"/>
              <a:gd name="T51" fmla="*/ 665 h 665"/>
              <a:gd name="T52" fmla="*/ 1048 w 1184"/>
              <a:gd name="T53" fmla="*/ 656 h 665"/>
              <a:gd name="T54" fmla="*/ 1184 w 1184"/>
              <a:gd name="T55" fmla="*/ 469 h 665"/>
              <a:gd name="T56" fmla="*/ 988 w 1184"/>
              <a:gd name="T57" fmla="*/ 272 h 665"/>
              <a:gd name="T58" fmla="*/ 947 w 1184"/>
              <a:gd name="T59" fmla="*/ 277 h 665"/>
              <a:gd name="T60" fmla="*/ 747 w 1184"/>
              <a:gd name="T61" fmla="*/ 172 h 665"/>
              <a:gd name="T62" fmla="*/ 717 w 1184"/>
              <a:gd name="T63" fmla="*/ 173 h 665"/>
              <a:gd name="T64" fmla="*/ 459 w 1184"/>
              <a:gd name="T6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4" h="665">
                <a:moveTo>
                  <a:pt x="252" y="328"/>
                </a:moveTo>
                <a:cubicBezTo>
                  <a:pt x="252" y="328"/>
                  <a:pt x="252" y="328"/>
                  <a:pt x="252" y="285"/>
                </a:cubicBezTo>
                <a:cubicBezTo>
                  <a:pt x="252" y="272"/>
                  <a:pt x="252" y="272"/>
                  <a:pt x="252" y="272"/>
                </a:cubicBezTo>
                <a:cubicBezTo>
                  <a:pt x="252" y="156"/>
                  <a:pt x="343" y="65"/>
                  <a:pt x="459" y="65"/>
                </a:cubicBezTo>
                <a:cubicBezTo>
                  <a:pt x="553" y="65"/>
                  <a:pt x="635" y="126"/>
                  <a:pt x="657" y="216"/>
                </a:cubicBezTo>
                <a:cubicBezTo>
                  <a:pt x="657" y="216"/>
                  <a:pt x="657" y="216"/>
                  <a:pt x="665" y="251"/>
                </a:cubicBezTo>
                <a:cubicBezTo>
                  <a:pt x="665" y="251"/>
                  <a:pt x="665" y="251"/>
                  <a:pt x="700" y="242"/>
                </a:cubicBezTo>
                <a:cubicBezTo>
                  <a:pt x="717" y="238"/>
                  <a:pt x="730" y="238"/>
                  <a:pt x="747" y="238"/>
                </a:cubicBezTo>
                <a:cubicBezTo>
                  <a:pt x="825" y="238"/>
                  <a:pt x="892" y="291"/>
                  <a:pt x="912" y="364"/>
                </a:cubicBezTo>
                <a:cubicBezTo>
                  <a:pt x="933" y="348"/>
                  <a:pt x="960" y="338"/>
                  <a:pt x="988" y="338"/>
                </a:cubicBezTo>
                <a:cubicBezTo>
                  <a:pt x="1057" y="338"/>
                  <a:pt x="1112" y="394"/>
                  <a:pt x="1112" y="463"/>
                </a:cubicBezTo>
                <a:cubicBezTo>
                  <a:pt x="1112" y="531"/>
                  <a:pt x="1057" y="587"/>
                  <a:pt x="988" y="587"/>
                </a:cubicBezTo>
                <a:cubicBezTo>
                  <a:pt x="985" y="587"/>
                  <a:pt x="983" y="587"/>
                  <a:pt x="980" y="587"/>
                </a:cubicBezTo>
                <a:cubicBezTo>
                  <a:pt x="979" y="587"/>
                  <a:pt x="977" y="587"/>
                  <a:pt x="976" y="587"/>
                </a:cubicBezTo>
                <a:cubicBezTo>
                  <a:pt x="747" y="587"/>
                  <a:pt x="747" y="587"/>
                  <a:pt x="747" y="587"/>
                </a:cubicBezTo>
                <a:cubicBezTo>
                  <a:pt x="747" y="587"/>
                  <a:pt x="747" y="587"/>
                  <a:pt x="618" y="587"/>
                </a:cubicBezTo>
                <a:cubicBezTo>
                  <a:pt x="539" y="587"/>
                  <a:pt x="412" y="587"/>
                  <a:pt x="205" y="587"/>
                </a:cubicBezTo>
                <a:cubicBezTo>
                  <a:pt x="132" y="587"/>
                  <a:pt x="72" y="527"/>
                  <a:pt x="72" y="458"/>
                </a:cubicBezTo>
                <a:cubicBezTo>
                  <a:pt x="72" y="385"/>
                  <a:pt x="132" y="324"/>
                  <a:pt x="205" y="324"/>
                </a:cubicBezTo>
                <a:cubicBezTo>
                  <a:pt x="205" y="324"/>
                  <a:pt x="209" y="324"/>
                  <a:pt x="214" y="324"/>
                </a:cubicBezTo>
                <a:cubicBezTo>
                  <a:pt x="214" y="324"/>
                  <a:pt x="214" y="324"/>
                  <a:pt x="252" y="328"/>
                </a:cubicBezTo>
                <a:moveTo>
                  <a:pt x="459" y="0"/>
                </a:moveTo>
                <a:cubicBezTo>
                  <a:pt x="309" y="0"/>
                  <a:pt x="190" y="112"/>
                  <a:pt x="181" y="260"/>
                </a:cubicBezTo>
                <a:cubicBezTo>
                  <a:pt x="79" y="272"/>
                  <a:pt x="0" y="359"/>
                  <a:pt x="0" y="464"/>
                </a:cubicBezTo>
                <a:cubicBezTo>
                  <a:pt x="0" y="573"/>
                  <a:pt x="94" y="665"/>
                  <a:pt x="205" y="665"/>
                </a:cubicBezTo>
                <a:cubicBezTo>
                  <a:pt x="1013" y="665"/>
                  <a:pt x="1013" y="665"/>
                  <a:pt x="1013" y="665"/>
                </a:cubicBezTo>
                <a:cubicBezTo>
                  <a:pt x="1048" y="656"/>
                  <a:pt x="1048" y="656"/>
                  <a:pt x="1048" y="656"/>
                </a:cubicBezTo>
                <a:cubicBezTo>
                  <a:pt x="1126" y="624"/>
                  <a:pt x="1184" y="556"/>
                  <a:pt x="1184" y="469"/>
                </a:cubicBezTo>
                <a:cubicBezTo>
                  <a:pt x="1184" y="361"/>
                  <a:pt x="1096" y="272"/>
                  <a:pt x="988" y="272"/>
                </a:cubicBezTo>
                <a:cubicBezTo>
                  <a:pt x="974" y="272"/>
                  <a:pt x="960" y="274"/>
                  <a:pt x="947" y="277"/>
                </a:cubicBezTo>
                <a:cubicBezTo>
                  <a:pt x="902" y="213"/>
                  <a:pt x="828" y="172"/>
                  <a:pt x="747" y="172"/>
                </a:cubicBezTo>
                <a:cubicBezTo>
                  <a:pt x="737" y="172"/>
                  <a:pt x="727" y="172"/>
                  <a:pt x="717" y="173"/>
                </a:cubicBezTo>
                <a:cubicBezTo>
                  <a:pt x="677" y="69"/>
                  <a:pt x="576" y="0"/>
                  <a:pt x="459" y="0"/>
                </a:cubicBezTo>
              </a:path>
            </a:pathLst>
          </a:custGeom>
          <a:solidFill>
            <a:schemeClr val="bg1">
              <a:lumMod val="75000"/>
              <a:alpha val="49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TextBox 3074">
            <a:extLst>
              <a:ext uri="{FF2B5EF4-FFF2-40B4-BE49-F238E27FC236}">
                <a16:creationId xmlns:a16="http://schemas.microsoft.com/office/drawing/2014/main" id="{EFFB8BF3-C46D-49FE-B5D5-DA969D290AFB}"/>
              </a:ext>
            </a:extLst>
          </p:cNvPr>
          <p:cNvSpPr txBox="1"/>
          <p:nvPr/>
        </p:nvSpPr>
        <p:spPr>
          <a:xfrm>
            <a:off x="8332800" y="3341221"/>
            <a:ext cx="1066695" cy="161583"/>
          </a:xfrm>
          <a:prstGeom prst="rect">
            <a:avLst/>
          </a:prstGeom>
          <a:noFill/>
        </p:spPr>
        <p:txBody>
          <a:bodyPr wrap="square" lIns="0" tIns="0" rIns="0" bIns="0" rtlCol="0">
            <a:spAutoFit/>
          </a:bodyPr>
          <a:lstStyle/>
          <a:p>
            <a:pPr algn="ctr">
              <a:spcBef>
                <a:spcPts val="600"/>
              </a:spcBef>
              <a:buSzPct val="100000"/>
            </a:pPr>
            <a:r>
              <a:rPr lang="en-US" sz="1050" dirty="0"/>
              <a:t>Lorem </a:t>
            </a:r>
            <a:r>
              <a:rPr lang="en-US" sz="1050" dirty="0" err="1"/>
              <a:t>ipsu</a:t>
            </a:r>
            <a:endParaRPr lang="en-US" sz="1050" dirty="0"/>
          </a:p>
        </p:txBody>
      </p:sp>
      <p:sp>
        <p:nvSpPr>
          <p:cNvPr id="30" name="TextBox 31">
            <a:extLst>
              <a:ext uri="{FF2B5EF4-FFF2-40B4-BE49-F238E27FC236}">
                <a16:creationId xmlns:a16="http://schemas.microsoft.com/office/drawing/2014/main" id="{157B9633-D9FD-460D-81D2-E12430F8EF05}"/>
              </a:ext>
            </a:extLst>
          </p:cNvPr>
          <p:cNvSpPr txBox="1"/>
          <p:nvPr/>
        </p:nvSpPr>
        <p:spPr>
          <a:xfrm>
            <a:off x="499955" y="4309939"/>
            <a:ext cx="1426669" cy="323165"/>
          </a:xfrm>
          <a:prstGeom prst="rect">
            <a:avLst/>
          </a:prstGeom>
          <a:noFill/>
        </p:spPr>
        <p:txBody>
          <a:bodyPr wrap="square" lIns="0" tIns="0" rIns="0" bIns="0" rtlCol="0">
            <a:spAutoFit/>
          </a:bodyPr>
          <a:lstStyle/>
          <a:p>
            <a:pPr algn="ctr">
              <a:spcBef>
                <a:spcPts val="600"/>
              </a:spcBef>
              <a:buSzPct val="100000"/>
            </a:pPr>
            <a:r>
              <a:rPr lang="en-US" sz="1050" dirty="0"/>
              <a:t>Lorem </a:t>
            </a:r>
            <a:r>
              <a:rPr lang="en-US" sz="1050" dirty="0" err="1"/>
              <a:t>ipsuLorem</a:t>
            </a:r>
            <a:r>
              <a:rPr lang="en-US" sz="1050" dirty="0"/>
              <a:t> </a:t>
            </a:r>
            <a:r>
              <a:rPr lang="en-US" sz="1050" dirty="0" err="1"/>
              <a:t>ipsuLorem</a:t>
            </a:r>
            <a:r>
              <a:rPr lang="en-US" sz="1050" dirty="0"/>
              <a:t> </a:t>
            </a:r>
            <a:r>
              <a:rPr lang="en-US" sz="1050" dirty="0" err="1"/>
              <a:t>ipsu</a:t>
            </a:r>
            <a:endParaRPr lang="en-US" sz="1050" dirty="0"/>
          </a:p>
        </p:txBody>
      </p:sp>
      <p:sp>
        <p:nvSpPr>
          <p:cNvPr id="31" name="TextBox 32">
            <a:extLst>
              <a:ext uri="{FF2B5EF4-FFF2-40B4-BE49-F238E27FC236}">
                <a16:creationId xmlns:a16="http://schemas.microsoft.com/office/drawing/2014/main" id="{671EA5EF-F4C9-46FB-84CD-5CC361123E44}"/>
              </a:ext>
            </a:extLst>
          </p:cNvPr>
          <p:cNvSpPr txBox="1"/>
          <p:nvPr/>
        </p:nvSpPr>
        <p:spPr>
          <a:xfrm>
            <a:off x="6833558" y="5546333"/>
            <a:ext cx="1732629" cy="323165"/>
          </a:xfrm>
          <a:prstGeom prst="rect">
            <a:avLst/>
          </a:prstGeom>
          <a:noFill/>
        </p:spPr>
        <p:txBody>
          <a:bodyPr wrap="square" lIns="0" tIns="0" rIns="0" bIns="0" rtlCol="0">
            <a:spAutoFit/>
          </a:bodyPr>
          <a:lstStyle/>
          <a:p>
            <a:pPr algn="ctr">
              <a:spcBef>
                <a:spcPts val="600"/>
              </a:spcBef>
              <a:buSzPct val="100000"/>
            </a:pPr>
            <a:r>
              <a:rPr lang="en-US" sz="1050" dirty="0"/>
              <a:t>Lorem </a:t>
            </a:r>
            <a:r>
              <a:rPr lang="en-US" sz="1050" dirty="0" err="1"/>
              <a:t>ipsuLorem</a:t>
            </a:r>
            <a:r>
              <a:rPr lang="en-US" sz="1050" dirty="0"/>
              <a:t> </a:t>
            </a:r>
            <a:r>
              <a:rPr lang="en-US" sz="1050" dirty="0" err="1"/>
              <a:t>ipsuLorem</a:t>
            </a:r>
            <a:r>
              <a:rPr lang="en-US" sz="1050" dirty="0"/>
              <a:t> </a:t>
            </a:r>
            <a:r>
              <a:rPr lang="en-US" sz="1050" dirty="0" err="1"/>
              <a:t>ipsu</a:t>
            </a:r>
            <a:endParaRPr lang="en-US" sz="1050" dirty="0"/>
          </a:p>
        </p:txBody>
      </p:sp>
      <p:sp>
        <p:nvSpPr>
          <p:cNvPr id="32" name="TextBox 33">
            <a:extLst>
              <a:ext uri="{FF2B5EF4-FFF2-40B4-BE49-F238E27FC236}">
                <a16:creationId xmlns:a16="http://schemas.microsoft.com/office/drawing/2014/main" id="{AED8A8E9-C422-4214-96AC-3F50D5EFE14E}"/>
              </a:ext>
            </a:extLst>
          </p:cNvPr>
          <p:cNvSpPr txBox="1"/>
          <p:nvPr/>
        </p:nvSpPr>
        <p:spPr>
          <a:xfrm>
            <a:off x="10020441" y="5600897"/>
            <a:ext cx="1732629" cy="161583"/>
          </a:xfrm>
          <a:prstGeom prst="rect">
            <a:avLst/>
          </a:prstGeom>
          <a:noFill/>
        </p:spPr>
        <p:txBody>
          <a:bodyPr wrap="square" lIns="0" tIns="0" rIns="0" bIns="0" rtlCol="0">
            <a:spAutoFit/>
          </a:bodyPr>
          <a:lstStyle/>
          <a:p>
            <a:pPr algn="ctr">
              <a:spcBef>
                <a:spcPts val="600"/>
              </a:spcBef>
              <a:buSzPct val="100000"/>
            </a:pPr>
            <a:r>
              <a:rPr lang="en-US" sz="1050" dirty="0"/>
              <a:t>Lorem </a:t>
            </a:r>
            <a:r>
              <a:rPr lang="en-US" sz="1050" dirty="0" err="1"/>
              <a:t>ipsuLorem</a:t>
            </a:r>
            <a:r>
              <a:rPr lang="en-US" sz="1050" dirty="0"/>
              <a:t> </a:t>
            </a:r>
            <a:r>
              <a:rPr lang="en-US" sz="1050" dirty="0" err="1"/>
              <a:t>ipsu</a:t>
            </a:r>
            <a:endParaRPr lang="en-US" sz="1050" dirty="0"/>
          </a:p>
        </p:txBody>
      </p:sp>
      <p:sp>
        <p:nvSpPr>
          <p:cNvPr id="33" name="TextBox 16">
            <a:extLst>
              <a:ext uri="{FF2B5EF4-FFF2-40B4-BE49-F238E27FC236}">
                <a16:creationId xmlns:a16="http://schemas.microsoft.com/office/drawing/2014/main" id="{E989B0B5-2F2B-4C28-94A8-85A92083F693}"/>
              </a:ext>
            </a:extLst>
          </p:cNvPr>
          <p:cNvSpPr txBox="1"/>
          <p:nvPr/>
        </p:nvSpPr>
        <p:spPr>
          <a:xfrm>
            <a:off x="839927" y="5760239"/>
            <a:ext cx="4086963" cy="138499"/>
          </a:xfrm>
          <a:prstGeom prst="rect">
            <a:avLst/>
          </a:prstGeom>
          <a:noFill/>
        </p:spPr>
        <p:txBody>
          <a:bodyPr wrap="square" lIns="0" tIns="0" rIns="0" bIns="0" rtlCol="0">
            <a:spAutoFit/>
          </a:bodyPr>
          <a:lstStyle/>
          <a:p>
            <a:pPr>
              <a:spcBef>
                <a:spcPts val="600"/>
              </a:spcBef>
              <a:buSzPct val="100000"/>
            </a:pPr>
            <a:r>
              <a:rPr lang="en-US" sz="900" dirty="0"/>
              <a:t>Lorem </a:t>
            </a:r>
            <a:r>
              <a:rPr lang="en-US" sz="900" dirty="0" err="1"/>
              <a:t>ipsuLorem</a:t>
            </a:r>
            <a:r>
              <a:rPr lang="en-US" sz="900" dirty="0"/>
              <a:t> </a:t>
            </a:r>
            <a:r>
              <a:rPr lang="en-US" sz="900" dirty="0" err="1"/>
              <a:t>ipsuLorem</a:t>
            </a:r>
            <a:r>
              <a:rPr lang="en-US" sz="900" dirty="0"/>
              <a:t> </a:t>
            </a:r>
            <a:r>
              <a:rPr lang="en-US" sz="900" dirty="0" err="1"/>
              <a:t>ipsuLorem</a:t>
            </a:r>
            <a:r>
              <a:rPr lang="en-US" sz="900" dirty="0"/>
              <a:t> </a:t>
            </a:r>
            <a:r>
              <a:rPr lang="en-US" sz="900" dirty="0" err="1"/>
              <a:t>ipsu</a:t>
            </a:r>
            <a:endParaRPr lang="en-US" sz="900" dirty="0"/>
          </a:p>
        </p:txBody>
      </p:sp>
      <p:sp>
        <p:nvSpPr>
          <p:cNvPr id="34" name="TextBox 43">
            <a:extLst>
              <a:ext uri="{FF2B5EF4-FFF2-40B4-BE49-F238E27FC236}">
                <a16:creationId xmlns:a16="http://schemas.microsoft.com/office/drawing/2014/main" id="{2FD99BB6-0847-4780-9CAF-710155F272C7}"/>
              </a:ext>
            </a:extLst>
          </p:cNvPr>
          <p:cNvSpPr txBox="1"/>
          <p:nvPr/>
        </p:nvSpPr>
        <p:spPr>
          <a:xfrm>
            <a:off x="836913" y="6106830"/>
            <a:ext cx="3516404" cy="138499"/>
          </a:xfrm>
          <a:prstGeom prst="rect">
            <a:avLst/>
          </a:prstGeom>
          <a:noFill/>
        </p:spPr>
        <p:txBody>
          <a:bodyPr wrap="square" lIns="0" tIns="0" rIns="0" bIns="0" rtlCol="0">
            <a:spAutoFit/>
          </a:bodyPr>
          <a:lstStyle/>
          <a:p>
            <a:pPr>
              <a:spcBef>
                <a:spcPts val="600"/>
              </a:spcBef>
              <a:buSzPct val="100000"/>
            </a:pPr>
            <a:r>
              <a:rPr lang="en-US" sz="900" dirty="0"/>
              <a:t>Lorem </a:t>
            </a:r>
            <a:r>
              <a:rPr lang="en-US" sz="900" dirty="0" err="1"/>
              <a:t>ipsuLorem</a:t>
            </a:r>
            <a:r>
              <a:rPr lang="en-US" sz="900" dirty="0"/>
              <a:t> </a:t>
            </a:r>
            <a:r>
              <a:rPr lang="en-US" sz="900" dirty="0" err="1"/>
              <a:t>ipsuLorem</a:t>
            </a:r>
            <a:r>
              <a:rPr lang="en-US" sz="900" dirty="0"/>
              <a:t> </a:t>
            </a:r>
            <a:r>
              <a:rPr lang="en-US" sz="900" dirty="0" err="1"/>
              <a:t>ipsuLorem</a:t>
            </a:r>
            <a:r>
              <a:rPr lang="en-US" sz="900" dirty="0"/>
              <a:t> </a:t>
            </a:r>
            <a:r>
              <a:rPr lang="en-US" sz="900" dirty="0" err="1"/>
              <a:t>ipsu</a:t>
            </a:r>
            <a:endParaRPr lang="en-US" sz="900" dirty="0"/>
          </a:p>
        </p:txBody>
      </p:sp>
      <p:sp>
        <p:nvSpPr>
          <p:cNvPr id="35" name="Freeform 765"/>
          <p:cNvSpPr>
            <a:spLocks noChangeAspect="1" noEditPoints="1"/>
          </p:cNvSpPr>
          <p:nvPr/>
        </p:nvSpPr>
        <p:spPr bwMode="auto">
          <a:xfrm>
            <a:off x="10701918" y="5144650"/>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CA" dirty="0"/>
          </a:p>
        </p:txBody>
      </p:sp>
      <p:sp>
        <p:nvSpPr>
          <p:cNvPr id="36" name="Freeform 765"/>
          <p:cNvSpPr>
            <a:spLocks noChangeAspect="1" noEditPoints="1"/>
          </p:cNvSpPr>
          <p:nvPr/>
        </p:nvSpPr>
        <p:spPr bwMode="auto">
          <a:xfrm>
            <a:off x="10265600" y="5144650"/>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CA" dirty="0"/>
          </a:p>
        </p:txBody>
      </p:sp>
      <p:sp>
        <p:nvSpPr>
          <p:cNvPr id="37" name="Freeform 765"/>
          <p:cNvSpPr>
            <a:spLocks noChangeAspect="1" noEditPoints="1"/>
          </p:cNvSpPr>
          <p:nvPr/>
        </p:nvSpPr>
        <p:spPr bwMode="auto">
          <a:xfrm>
            <a:off x="11138236" y="5144650"/>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CA" dirty="0"/>
          </a:p>
        </p:txBody>
      </p:sp>
      <p:grpSp>
        <p:nvGrpSpPr>
          <p:cNvPr id="40" name="组合 39"/>
          <p:cNvGrpSpPr/>
          <p:nvPr/>
        </p:nvGrpSpPr>
        <p:grpSpPr>
          <a:xfrm>
            <a:off x="1724376" y="3724446"/>
            <a:ext cx="1339482" cy="298255"/>
            <a:chOff x="1690512" y="3587757"/>
            <a:chExt cx="1339482" cy="298255"/>
          </a:xfrm>
        </p:grpSpPr>
        <p:sp>
          <p:nvSpPr>
            <p:cNvPr id="41" name="右箭头 40"/>
            <p:cNvSpPr/>
            <p:nvPr/>
          </p:nvSpPr>
          <p:spPr bwMode="gray">
            <a:xfrm>
              <a:off x="2260797" y="3587757"/>
              <a:ext cx="769197" cy="298255"/>
            </a:xfrm>
            <a:prstGeom prst="rightArrow">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矩形 41"/>
            <p:cNvSpPr/>
            <p:nvPr/>
          </p:nvSpPr>
          <p:spPr bwMode="gray">
            <a:xfrm>
              <a:off x="1969832" y="3663665"/>
              <a:ext cx="25809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矩形 42"/>
            <p:cNvSpPr/>
            <p:nvPr/>
          </p:nvSpPr>
          <p:spPr bwMode="gray">
            <a:xfrm>
              <a:off x="1805939" y="3663665"/>
              <a:ext cx="120685"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矩形 43"/>
            <p:cNvSpPr/>
            <p:nvPr/>
          </p:nvSpPr>
          <p:spPr bwMode="gray">
            <a:xfrm>
              <a:off x="1690512" y="3663665"/>
              <a:ext cx="7894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45" name="椭圆 44"/>
          <p:cNvSpPr/>
          <p:nvPr/>
        </p:nvSpPr>
        <p:spPr bwMode="gray">
          <a:xfrm>
            <a:off x="874826" y="3489903"/>
            <a:ext cx="706051" cy="706051"/>
          </a:xfrm>
          <a:prstGeom prst="ellipse">
            <a:avLst/>
          </a:prstGeom>
          <a:solidFill>
            <a:schemeClr val="bg1"/>
          </a:solid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Freeform 589"/>
          <p:cNvSpPr>
            <a:spLocks noChangeAspect="1" noEditPoints="1"/>
          </p:cNvSpPr>
          <p:nvPr/>
        </p:nvSpPr>
        <p:spPr bwMode="auto">
          <a:xfrm>
            <a:off x="947924" y="3563821"/>
            <a:ext cx="559855" cy="558214"/>
          </a:xfrm>
          <a:custGeom>
            <a:avLst/>
            <a:gdLst>
              <a:gd name="T0" fmla="*/ 267 w 512"/>
              <a:gd name="T1" fmla="*/ 160 h 512"/>
              <a:gd name="T2" fmla="*/ 287 w 512"/>
              <a:gd name="T3" fmla="*/ 348 h 512"/>
              <a:gd name="T4" fmla="*/ 256 w 512"/>
              <a:gd name="T5" fmla="*/ 388 h 512"/>
              <a:gd name="T6" fmla="*/ 224 w 512"/>
              <a:gd name="T7" fmla="*/ 348 h 512"/>
              <a:gd name="T8" fmla="*/ 244 w 512"/>
              <a:gd name="T9" fmla="*/ 160 h 512"/>
              <a:gd name="T10" fmla="*/ 267 w 512"/>
              <a:gd name="T11" fmla="*/ 160 h 512"/>
              <a:gd name="T12" fmla="*/ 269 w 512"/>
              <a:gd name="T13" fmla="*/ 138 h 512"/>
              <a:gd name="T14" fmla="*/ 274 w 512"/>
              <a:gd name="T15" fmla="*/ 117 h 512"/>
              <a:gd name="T16" fmla="*/ 237 w 512"/>
              <a:gd name="T17" fmla="*/ 117 h 512"/>
              <a:gd name="T18" fmla="*/ 243 w 512"/>
              <a:gd name="T19" fmla="*/ 138 h 512"/>
              <a:gd name="T20" fmla="*/ 269 w 512"/>
              <a:gd name="T21" fmla="*/ 138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9 w 512"/>
              <a:gd name="T33" fmla="*/ 351 h 512"/>
              <a:gd name="T34" fmla="*/ 288 w 512"/>
              <a:gd name="T35" fmla="*/ 150 h 512"/>
              <a:gd name="T36" fmla="*/ 298 w 512"/>
              <a:gd name="T37" fmla="*/ 109 h 512"/>
              <a:gd name="T38" fmla="*/ 296 w 512"/>
              <a:gd name="T39" fmla="*/ 100 h 512"/>
              <a:gd name="T40" fmla="*/ 288 w 512"/>
              <a:gd name="T41" fmla="*/ 96 h 512"/>
              <a:gd name="T42" fmla="*/ 224 w 512"/>
              <a:gd name="T43" fmla="*/ 96 h 512"/>
              <a:gd name="T44" fmla="*/ 215 w 512"/>
              <a:gd name="T45" fmla="*/ 100 h 512"/>
              <a:gd name="T46" fmla="*/ 213 w 512"/>
              <a:gd name="T47" fmla="*/ 109 h 512"/>
              <a:gd name="T48" fmla="*/ 224 w 512"/>
              <a:gd name="T49" fmla="*/ 150 h 512"/>
              <a:gd name="T50" fmla="*/ 202 w 512"/>
              <a:gd name="T51" fmla="*/ 351 h 512"/>
              <a:gd name="T52" fmla="*/ 205 w 512"/>
              <a:gd name="T53" fmla="*/ 358 h 512"/>
              <a:gd name="T54" fmla="*/ 247 w 512"/>
              <a:gd name="T55" fmla="*/ 412 h 512"/>
              <a:gd name="T56" fmla="*/ 256 w 512"/>
              <a:gd name="T57" fmla="*/ 416 h 512"/>
              <a:gd name="T58" fmla="*/ 264 w 512"/>
              <a:gd name="T59" fmla="*/ 412 h 512"/>
              <a:gd name="T60" fmla="*/ 307 w 512"/>
              <a:gd name="T61" fmla="*/ 358 h 512"/>
              <a:gd name="T62" fmla="*/ 309 w 512"/>
              <a:gd name="T6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67" y="160"/>
                </a:moveTo>
                <a:cubicBezTo>
                  <a:pt x="287" y="348"/>
                  <a:pt x="287" y="348"/>
                  <a:pt x="287" y="348"/>
                </a:cubicBezTo>
                <a:cubicBezTo>
                  <a:pt x="256" y="388"/>
                  <a:pt x="256" y="388"/>
                  <a:pt x="256" y="388"/>
                </a:cubicBezTo>
                <a:cubicBezTo>
                  <a:pt x="224" y="348"/>
                  <a:pt x="224" y="348"/>
                  <a:pt x="224" y="348"/>
                </a:cubicBezTo>
                <a:cubicBezTo>
                  <a:pt x="244" y="160"/>
                  <a:pt x="244" y="160"/>
                  <a:pt x="244" y="160"/>
                </a:cubicBezTo>
                <a:lnTo>
                  <a:pt x="267" y="160"/>
                </a:lnTo>
                <a:close/>
                <a:moveTo>
                  <a:pt x="269" y="138"/>
                </a:moveTo>
                <a:cubicBezTo>
                  <a:pt x="274" y="117"/>
                  <a:pt x="274" y="117"/>
                  <a:pt x="274" y="117"/>
                </a:cubicBezTo>
                <a:cubicBezTo>
                  <a:pt x="237" y="117"/>
                  <a:pt x="237" y="117"/>
                  <a:pt x="237" y="117"/>
                </a:cubicBezTo>
                <a:cubicBezTo>
                  <a:pt x="243" y="138"/>
                  <a:pt x="243" y="138"/>
                  <a:pt x="243" y="138"/>
                </a:cubicBezTo>
                <a:lnTo>
                  <a:pt x="269"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9" y="351"/>
                </a:moveTo>
                <a:cubicBezTo>
                  <a:pt x="288" y="150"/>
                  <a:pt x="288" y="150"/>
                  <a:pt x="288" y="150"/>
                </a:cubicBezTo>
                <a:cubicBezTo>
                  <a:pt x="298" y="109"/>
                  <a:pt x="298" y="109"/>
                  <a:pt x="298" y="109"/>
                </a:cubicBezTo>
                <a:cubicBezTo>
                  <a:pt x="299" y="106"/>
                  <a:pt x="298" y="102"/>
                  <a:pt x="296" y="100"/>
                </a:cubicBezTo>
                <a:cubicBezTo>
                  <a:pt x="294" y="97"/>
                  <a:pt x="291" y="96"/>
                  <a:pt x="288" y="96"/>
                </a:cubicBezTo>
                <a:cubicBezTo>
                  <a:pt x="224" y="96"/>
                  <a:pt x="224" y="96"/>
                  <a:pt x="224" y="96"/>
                </a:cubicBezTo>
                <a:cubicBezTo>
                  <a:pt x="220" y="96"/>
                  <a:pt x="217" y="97"/>
                  <a:pt x="215" y="100"/>
                </a:cubicBezTo>
                <a:cubicBezTo>
                  <a:pt x="213" y="102"/>
                  <a:pt x="213" y="106"/>
                  <a:pt x="213" y="109"/>
                </a:cubicBezTo>
                <a:cubicBezTo>
                  <a:pt x="224" y="150"/>
                  <a:pt x="224" y="150"/>
                  <a:pt x="224" y="150"/>
                </a:cubicBezTo>
                <a:cubicBezTo>
                  <a:pt x="202" y="351"/>
                  <a:pt x="202" y="351"/>
                  <a:pt x="202" y="351"/>
                </a:cubicBezTo>
                <a:cubicBezTo>
                  <a:pt x="202" y="353"/>
                  <a:pt x="203" y="356"/>
                  <a:pt x="205" y="358"/>
                </a:cubicBezTo>
                <a:cubicBezTo>
                  <a:pt x="247" y="412"/>
                  <a:pt x="247" y="412"/>
                  <a:pt x="247" y="412"/>
                </a:cubicBezTo>
                <a:cubicBezTo>
                  <a:pt x="249" y="414"/>
                  <a:pt x="252" y="416"/>
                  <a:pt x="256" y="416"/>
                </a:cubicBezTo>
                <a:cubicBezTo>
                  <a:pt x="259" y="416"/>
                  <a:pt x="262" y="414"/>
                  <a:pt x="264" y="412"/>
                </a:cubicBezTo>
                <a:cubicBezTo>
                  <a:pt x="307" y="358"/>
                  <a:pt x="307" y="358"/>
                  <a:pt x="307" y="358"/>
                </a:cubicBezTo>
                <a:cubicBezTo>
                  <a:pt x="308" y="356"/>
                  <a:pt x="309" y="353"/>
                  <a:pt x="309" y="351"/>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p>
        </p:txBody>
      </p:sp>
      <p:sp>
        <p:nvSpPr>
          <p:cNvPr id="47" name="圆角矩形 46"/>
          <p:cNvSpPr/>
          <p:nvPr/>
        </p:nvSpPr>
        <p:spPr bwMode="gray">
          <a:xfrm>
            <a:off x="9981280" y="3452227"/>
            <a:ext cx="1720089" cy="690874"/>
          </a:xfrm>
          <a:prstGeom prst="roundRect">
            <a:avLst>
              <a:gd name="adj" fmla="val 50000"/>
            </a:avLst>
          </a:prstGeom>
          <a:solidFill>
            <a:schemeClr val="bg1"/>
          </a:solidFill>
          <a:ln w="12700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50" b="1" dirty="0"/>
          </a:p>
        </p:txBody>
      </p:sp>
      <p:grpSp>
        <p:nvGrpSpPr>
          <p:cNvPr id="48" name="组合 47"/>
          <p:cNvGrpSpPr/>
          <p:nvPr/>
        </p:nvGrpSpPr>
        <p:grpSpPr>
          <a:xfrm rot="10800000">
            <a:off x="8257773" y="3901802"/>
            <a:ext cx="1521415" cy="298255"/>
            <a:chOff x="1690512" y="3587758"/>
            <a:chExt cx="1521415" cy="298255"/>
          </a:xfrm>
        </p:grpSpPr>
        <p:sp>
          <p:nvSpPr>
            <p:cNvPr id="49" name="右箭头 48"/>
            <p:cNvSpPr/>
            <p:nvPr/>
          </p:nvSpPr>
          <p:spPr bwMode="gray">
            <a:xfrm>
              <a:off x="2606454" y="3587758"/>
              <a:ext cx="605473" cy="298255"/>
            </a:xfrm>
            <a:prstGeom prst="rightArrow">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矩形 49"/>
            <p:cNvSpPr/>
            <p:nvPr/>
          </p:nvSpPr>
          <p:spPr bwMode="gray">
            <a:xfrm>
              <a:off x="2267998" y="3663665"/>
              <a:ext cx="301973"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矩形 50"/>
            <p:cNvSpPr/>
            <p:nvPr/>
          </p:nvSpPr>
          <p:spPr bwMode="gray">
            <a:xfrm>
              <a:off x="1969832" y="3663665"/>
              <a:ext cx="25809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矩形 51"/>
            <p:cNvSpPr/>
            <p:nvPr/>
          </p:nvSpPr>
          <p:spPr bwMode="gray">
            <a:xfrm>
              <a:off x="1805939" y="3663665"/>
              <a:ext cx="120685"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矩形 52"/>
            <p:cNvSpPr/>
            <p:nvPr/>
          </p:nvSpPr>
          <p:spPr bwMode="gray">
            <a:xfrm>
              <a:off x="1690512" y="3663665"/>
              <a:ext cx="7894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4" name="圆角右箭头 53"/>
          <p:cNvSpPr/>
          <p:nvPr/>
        </p:nvSpPr>
        <p:spPr bwMode="gray">
          <a:xfrm flipV="1">
            <a:off x="4931689" y="4856590"/>
            <a:ext cx="5088751" cy="622562"/>
          </a:xfrm>
          <a:prstGeom prst="bentArrow">
            <a:avLst>
              <a:gd name="adj1" fmla="val 25000"/>
              <a:gd name="adj2" fmla="val 23979"/>
              <a:gd name="adj3" fmla="val 25000"/>
              <a:gd name="adj4" fmla="val 43750"/>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62" name="组合 61"/>
          <p:cNvGrpSpPr/>
          <p:nvPr/>
        </p:nvGrpSpPr>
        <p:grpSpPr>
          <a:xfrm>
            <a:off x="4892895" y="5118961"/>
            <a:ext cx="2354074" cy="319165"/>
            <a:chOff x="4892895" y="5118961"/>
            <a:chExt cx="2354074" cy="319165"/>
          </a:xfrm>
        </p:grpSpPr>
        <p:cxnSp>
          <p:nvCxnSpPr>
            <p:cNvPr id="68" name="直接连接符 67"/>
            <p:cNvCxnSpPr/>
            <p:nvPr/>
          </p:nvCxnSpPr>
          <p:spPr>
            <a:xfrm>
              <a:off x="5309646" y="5169473"/>
              <a:ext cx="0" cy="268653"/>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直接连接符 68"/>
            <p:cNvCxnSpPr/>
            <p:nvPr/>
          </p:nvCxnSpPr>
          <p:spPr>
            <a:xfrm>
              <a:off x="6128903" y="5152825"/>
              <a:ext cx="0" cy="268653"/>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直接连接符 69"/>
            <p:cNvCxnSpPr/>
            <p:nvPr/>
          </p:nvCxnSpPr>
          <p:spPr>
            <a:xfrm>
              <a:off x="7246969" y="5145086"/>
              <a:ext cx="0" cy="268653"/>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a:off x="4892895" y="5118961"/>
              <a:ext cx="291493"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2" name="椭圆 71"/>
          <p:cNvSpPr/>
          <p:nvPr/>
        </p:nvSpPr>
        <p:spPr bwMode="gray">
          <a:xfrm>
            <a:off x="469900" y="5703520"/>
            <a:ext cx="261467" cy="261467"/>
          </a:xfrm>
          <a:prstGeom prst="ellipse">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3" name="圆角矩形 72"/>
          <p:cNvSpPr/>
          <p:nvPr/>
        </p:nvSpPr>
        <p:spPr bwMode="gray">
          <a:xfrm>
            <a:off x="500818" y="6076851"/>
            <a:ext cx="215619" cy="198458"/>
          </a:xfrm>
          <a:prstGeom prst="roundRect">
            <a:avLst>
              <a:gd name="adj" fmla="val 20065"/>
            </a:avLst>
          </a:prstGeom>
          <a:solidFill>
            <a:schemeClr val="bg1"/>
          </a:solidFill>
          <a:ln w="66675"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75" name="Picture 62" descr="A close up of a sign&#10;&#10;Description automatically generated">
            <a:extLst>
              <a:ext uri="{FF2B5EF4-FFF2-40B4-BE49-F238E27FC236}">
                <a16:creationId xmlns:a16="http://schemas.microsoft.com/office/drawing/2014/main" id="{F08D9512-F621-43E7-8EBE-9336842B906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69869" y="3635428"/>
            <a:ext cx="605251" cy="308678"/>
          </a:xfrm>
          <a:prstGeom prst="rect">
            <a:avLst/>
          </a:prstGeom>
        </p:spPr>
      </p:pic>
      <p:grpSp>
        <p:nvGrpSpPr>
          <p:cNvPr id="76" name="组合 75"/>
          <p:cNvGrpSpPr/>
          <p:nvPr/>
        </p:nvGrpSpPr>
        <p:grpSpPr>
          <a:xfrm>
            <a:off x="8270357" y="3559193"/>
            <a:ext cx="1521415" cy="298255"/>
            <a:chOff x="1690512" y="3587758"/>
            <a:chExt cx="1521415" cy="298255"/>
          </a:xfrm>
        </p:grpSpPr>
        <p:sp>
          <p:nvSpPr>
            <p:cNvPr id="87" name="右箭头 86"/>
            <p:cNvSpPr/>
            <p:nvPr/>
          </p:nvSpPr>
          <p:spPr bwMode="gray">
            <a:xfrm>
              <a:off x="2606454" y="3587758"/>
              <a:ext cx="605473" cy="298255"/>
            </a:xfrm>
            <a:prstGeom prst="rightArrow">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8" name="矩形 87"/>
            <p:cNvSpPr/>
            <p:nvPr/>
          </p:nvSpPr>
          <p:spPr bwMode="gray">
            <a:xfrm>
              <a:off x="2267998" y="3663665"/>
              <a:ext cx="301973"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矩形 88"/>
            <p:cNvSpPr/>
            <p:nvPr/>
          </p:nvSpPr>
          <p:spPr bwMode="gray">
            <a:xfrm>
              <a:off x="1969832" y="3663665"/>
              <a:ext cx="25809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0" name="矩形 89"/>
            <p:cNvSpPr/>
            <p:nvPr/>
          </p:nvSpPr>
          <p:spPr bwMode="gray">
            <a:xfrm>
              <a:off x="1805939" y="3663665"/>
              <a:ext cx="120685"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1" name="矩形 90"/>
            <p:cNvSpPr/>
            <p:nvPr/>
          </p:nvSpPr>
          <p:spPr bwMode="gray">
            <a:xfrm>
              <a:off x="1690512" y="3663665"/>
              <a:ext cx="7894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92" name="组合 91"/>
          <p:cNvGrpSpPr/>
          <p:nvPr/>
        </p:nvGrpSpPr>
        <p:grpSpPr>
          <a:xfrm>
            <a:off x="5431445" y="2990490"/>
            <a:ext cx="1638587" cy="1638587"/>
            <a:chOff x="4202960" y="2267220"/>
            <a:chExt cx="1792278" cy="1792278"/>
          </a:xfrm>
        </p:grpSpPr>
        <p:sp>
          <p:nvSpPr>
            <p:cNvPr id="93" name="椭圆 92"/>
            <p:cNvSpPr/>
            <p:nvPr/>
          </p:nvSpPr>
          <p:spPr bwMode="gray">
            <a:xfrm>
              <a:off x="4202960" y="2267220"/>
              <a:ext cx="1792278" cy="1792278"/>
            </a:xfrm>
            <a:prstGeom prst="ellipse">
              <a:avLst/>
            </a:prstGeom>
            <a:solidFill>
              <a:srgbClr val="0097A9"/>
            </a:solidFill>
            <a:ln w="698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4" name="TextBox 31">
              <a:extLst>
                <a:ext uri="{FF2B5EF4-FFF2-40B4-BE49-F238E27FC236}">
                  <a16:creationId xmlns:a16="http://schemas.microsoft.com/office/drawing/2014/main" id="{157B9633-D9FD-460D-81D2-E12430F8EF05}"/>
                </a:ext>
              </a:extLst>
            </p:cNvPr>
            <p:cNvSpPr txBox="1"/>
            <p:nvPr/>
          </p:nvSpPr>
          <p:spPr>
            <a:xfrm>
              <a:off x="4585566" y="2654884"/>
              <a:ext cx="1159188" cy="176739"/>
            </a:xfrm>
            <a:prstGeom prst="rect">
              <a:avLst/>
            </a:prstGeom>
            <a:noFill/>
          </p:spPr>
          <p:txBody>
            <a:bodyPr wrap="square" lIns="0" tIns="0" rIns="0" bIns="0" rtlCol="0">
              <a:spAutoFit/>
            </a:bodyPr>
            <a:lstStyle/>
            <a:p>
              <a:pPr algn="ctr" defTabSz="957263"/>
              <a:r>
                <a:rPr lang="en-US" sz="1050" b="1" dirty="0">
                  <a:solidFill>
                    <a:schemeClr val="bg1"/>
                  </a:solidFill>
                  <a:cs typeface="Calibri" panose="020F0502020204030204" pitchFamily="34" charset="0"/>
                </a:rPr>
                <a:t>Lorem </a:t>
              </a:r>
              <a:r>
                <a:rPr lang="en-US" sz="1050" b="1" dirty="0" err="1">
                  <a:solidFill>
                    <a:schemeClr val="bg1"/>
                  </a:solidFill>
                  <a:cs typeface="Calibri" panose="020F0502020204030204" pitchFamily="34" charset="0"/>
                </a:rPr>
                <a:t>ipsu</a:t>
              </a:r>
              <a:endParaRPr lang="en-US" sz="1050" b="1" dirty="0">
                <a:solidFill>
                  <a:schemeClr val="bg1"/>
                </a:solidFill>
                <a:cs typeface="Calibri" panose="020F0502020204030204" pitchFamily="34" charset="0"/>
              </a:endParaRPr>
            </a:p>
          </p:txBody>
        </p:sp>
        <p:sp>
          <p:nvSpPr>
            <p:cNvPr id="95" name="椭圆 94"/>
            <p:cNvSpPr/>
            <p:nvPr/>
          </p:nvSpPr>
          <p:spPr bwMode="gray">
            <a:xfrm>
              <a:off x="4516646" y="3200995"/>
              <a:ext cx="384496" cy="384496"/>
            </a:xfrm>
            <a:prstGeom prst="ellipse">
              <a:avLst/>
            </a:prstGeom>
            <a:solidFill>
              <a:schemeClr val="bg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US" sz="1050" b="1" dirty="0">
                  <a:solidFill>
                    <a:srgbClr val="0097A9"/>
                  </a:solidFill>
                </a:rPr>
                <a:t>T1</a:t>
              </a:r>
            </a:p>
          </p:txBody>
        </p:sp>
        <p:sp>
          <p:nvSpPr>
            <p:cNvPr id="96" name="椭圆 95"/>
            <p:cNvSpPr/>
            <p:nvPr/>
          </p:nvSpPr>
          <p:spPr bwMode="gray">
            <a:xfrm>
              <a:off x="5254254" y="3199515"/>
              <a:ext cx="385200" cy="385200"/>
            </a:xfrm>
            <a:prstGeom prst="ellipse">
              <a:avLst/>
            </a:prstGeom>
            <a:solidFill>
              <a:schemeClr val="bg1"/>
            </a:solidFill>
            <a:ln w="19050" algn="ctr">
              <a:noFill/>
              <a:miter lim="800000"/>
              <a:headEnd/>
              <a:tailEnd/>
            </a:ln>
          </p:spPr>
          <p:txBody>
            <a:bodyPr wrap="square" lIns="0" tIns="88900" rIns="0" bIns="88900" rtlCol="0" anchor="ctr"/>
            <a:lstStyle/>
            <a:p>
              <a:pPr algn="ctr">
                <a:lnSpc>
                  <a:spcPct val="106000"/>
                </a:lnSpc>
              </a:pPr>
              <a:r>
                <a:rPr lang="en-US" sz="1050" b="1" dirty="0">
                  <a:solidFill>
                    <a:srgbClr val="0097A9"/>
                  </a:solidFill>
                </a:rPr>
                <a:t>Tn</a:t>
              </a:r>
            </a:p>
          </p:txBody>
        </p:sp>
        <p:grpSp>
          <p:nvGrpSpPr>
            <p:cNvPr id="97" name="组合 96"/>
            <p:cNvGrpSpPr/>
            <p:nvPr/>
          </p:nvGrpSpPr>
          <p:grpSpPr>
            <a:xfrm>
              <a:off x="4950453" y="3390969"/>
              <a:ext cx="248532" cy="48045"/>
              <a:chOff x="5009359" y="3390969"/>
              <a:chExt cx="248532" cy="48045"/>
            </a:xfrm>
          </p:grpSpPr>
          <p:sp>
            <p:nvSpPr>
              <p:cNvPr id="98" name="椭圆 97"/>
              <p:cNvSpPr/>
              <p:nvPr/>
            </p:nvSpPr>
            <p:spPr bwMode="gray">
              <a:xfrm>
                <a:off x="5210988" y="3392111"/>
                <a:ext cx="46903" cy="4690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9" name="椭圆 98"/>
              <p:cNvSpPr/>
              <p:nvPr/>
            </p:nvSpPr>
            <p:spPr bwMode="gray">
              <a:xfrm>
                <a:off x="5112553" y="3392111"/>
                <a:ext cx="46903" cy="4690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0" name="椭圆 99"/>
              <p:cNvSpPr/>
              <p:nvPr/>
            </p:nvSpPr>
            <p:spPr bwMode="gray">
              <a:xfrm>
                <a:off x="5009359" y="3390969"/>
                <a:ext cx="46903" cy="4690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01" name="组合 100"/>
          <p:cNvGrpSpPr/>
          <p:nvPr/>
        </p:nvGrpSpPr>
        <p:grpSpPr>
          <a:xfrm>
            <a:off x="6825568" y="3452227"/>
            <a:ext cx="1055000" cy="1055000"/>
            <a:chOff x="6675067" y="3383065"/>
            <a:chExt cx="1183527" cy="1183527"/>
          </a:xfrm>
        </p:grpSpPr>
        <p:sp>
          <p:nvSpPr>
            <p:cNvPr id="102" name="椭圆 101"/>
            <p:cNvSpPr/>
            <p:nvPr/>
          </p:nvSpPr>
          <p:spPr bwMode="gray">
            <a:xfrm>
              <a:off x="6675067" y="3383065"/>
              <a:ext cx="1183527" cy="1183527"/>
            </a:xfrm>
            <a:prstGeom prst="ellipse">
              <a:avLst/>
            </a:prstGeom>
            <a:solidFill>
              <a:srgbClr val="0097A9"/>
            </a:solidFill>
            <a:ln w="57150" algn="ctr">
              <a:solidFill>
                <a:schemeClr val="bg1"/>
              </a:solidFill>
              <a:miter lim="800000"/>
              <a:headEnd/>
              <a:tailEnd/>
            </a:ln>
          </p:spPr>
          <p:txBody>
            <a:bodyPr wrap="square" lIns="0" tIns="0" rIns="0" bIns="0" rtlCol="0" anchor="ctr"/>
            <a:lstStyle/>
            <a:p>
              <a:pPr algn="ctr">
                <a:lnSpc>
                  <a:spcPct val="106000"/>
                </a:lnSpc>
              </a:pPr>
              <a:endParaRPr lang="en-US" sz="800" b="1" dirty="0">
                <a:solidFill>
                  <a:schemeClr val="bg1"/>
                </a:solidFill>
                <a:cs typeface="Calibri" panose="020F0502020204030204" pitchFamily="34" charset="0"/>
              </a:endParaRPr>
            </a:p>
          </p:txBody>
        </p:sp>
        <p:sp>
          <p:nvSpPr>
            <p:cNvPr id="103" name="TextBox 31">
              <a:extLst>
                <a:ext uri="{FF2B5EF4-FFF2-40B4-BE49-F238E27FC236}">
                  <a16:creationId xmlns:a16="http://schemas.microsoft.com/office/drawing/2014/main" id="{157B9633-D9FD-460D-81D2-E12430F8EF05}"/>
                </a:ext>
              </a:extLst>
            </p:cNvPr>
            <p:cNvSpPr txBox="1"/>
            <p:nvPr/>
          </p:nvSpPr>
          <p:spPr>
            <a:xfrm>
              <a:off x="6675192" y="3724446"/>
              <a:ext cx="1159188" cy="184001"/>
            </a:xfrm>
            <a:prstGeom prst="rect">
              <a:avLst/>
            </a:prstGeom>
            <a:noFill/>
          </p:spPr>
          <p:txBody>
            <a:bodyPr wrap="square" lIns="0" tIns="0" rIns="0" bIns="0" rtlCol="0">
              <a:spAutoFit/>
            </a:bodyPr>
            <a:lstStyle/>
            <a:p>
              <a:pPr algn="ctr">
                <a:lnSpc>
                  <a:spcPct val="106000"/>
                </a:lnSpc>
              </a:pPr>
              <a:r>
                <a:rPr lang="en-US" sz="1050" b="1" dirty="0">
                  <a:solidFill>
                    <a:schemeClr val="bg1"/>
                  </a:solidFill>
                  <a:cs typeface="Calibri" panose="020F0502020204030204" pitchFamily="34" charset="0"/>
                </a:rPr>
                <a:t>Lorem </a:t>
              </a:r>
              <a:r>
                <a:rPr lang="en-US" sz="1050" b="1" dirty="0" err="1">
                  <a:solidFill>
                    <a:schemeClr val="bg1"/>
                  </a:solidFill>
                  <a:cs typeface="Calibri" panose="020F0502020204030204" pitchFamily="34" charset="0"/>
                </a:rPr>
                <a:t>ipsu</a:t>
              </a:r>
              <a:endParaRPr lang="en-US" sz="1050" b="1" dirty="0">
                <a:solidFill>
                  <a:schemeClr val="bg1"/>
                </a:solidFill>
                <a:cs typeface="Calibri" panose="020F0502020204030204" pitchFamily="34" charset="0"/>
              </a:endParaRPr>
            </a:p>
          </p:txBody>
        </p:sp>
      </p:grpSp>
      <p:grpSp>
        <p:nvGrpSpPr>
          <p:cNvPr id="104" name="组合 103"/>
          <p:cNvGrpSpPr/>
          <p:nvPr/>
        </p:nvGrpSpPr>
        <p:grpSpPr>
          <a:xfrm>
            <a:off x="4229113" y="2291809"/>
            <a:ext cx="1730096" cy="1730096"/>
            <a:chOff x="5618668" y="3076537"/>
            <a:chExt cx="1426460" cy="1426460"/>
          </a:xfrm>
        </p:grpSpPr>
        <p:sp>
          <p:nvSpPr>
            <p:cNvPr id="105" name="椭圆 104"/>
            <p:cNvSpPr/>
            <p:nvPr/>
          </p:nvSpPr>
          <p:spPr bwMode="gray">
            <a:xfrm>
              <a:off x="5618668" y="3076537"/>
              <a:ext cx="1426460" cy="1426460"/>
            </a:xfrm>
            <a:prstGeom prst="ellipse">
              <a:avLst/>
            </a:prstGeom>
            <a:solidFill>
              <a:srgbClr val="0097A9"/>
            </a:solidFill>
            <a:ln w="698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6" name="TextBox 31">
              <a:extLst>
                <a:ext uri="{FF2B5EF4-FFF2-40B4-BE49-F238E27FC236}">
                  <a16:creationId xmlns:a16="http://schemas.microsoft.com/office/drawing/2014/main" id="{157B9633-D9FD-460D-81D2-E12430F8EF05}"/>
                </a:ext>
              </a:extLst>
            </p:cNvPr>
            <p:cNvSpPr txBox="1"/>
            <p:nvPr/>
          </p:nvSpPr>
          <p:spPr>
            <a:xfrm>
              <a:off x="5767163" y="3320173"/>
              <a:ext cx="1159188" cy="133225"/>
            </a:xfrm>
            <a:prstGeom prst="rect">
              <a:avLst/>
            </a:prstGeom>
            <a:noFill/>
          </p:spPr>
          <p:txBody>
            <a:bodyPr wrap="square" lIns="0" tIns="0" rIns="0" bIns="0" rtlCol="0">
              <a:spAutoFit/>
            </a:bodyPr>
            <a:lstStyle/>
            <a:p>
              <a:pPr algn="ctr" defTabSz="957263"/>
              <a:r>
                <a:rPr lang="en-US" sz="1050" b="1" dirty="0">
                  <a:solidFill>
                    <a:schemeClr val="bg1"/>
                  </a:solidFill>
                  <a:cs typeface="Calibri" panose="020F0502020204030204" pitchFamily="34" charset="0"/>
                </a:rPr>
                <a:t>Lorem </a:t>
              </a:r>
              <a:r>
                <a:rPr lang="en-US" sz="1050" b="1" dirty="0" err="1">
                  <a:solidFill>
                    <a:schemeClr val="bg1"/>
                  </a:solidFill>
                  <a:cs typeface="Calibri" panose="020F0502020204030204" pitchFamily="34" charset="0"/>
                </a:rPr>
                <a:t>ipsu</a:t>
              </a:r>
              <a:endParaRPr lang="en-US" sz="1050" b="1" dirty="0">
                <a:solidFill>
                  <a:schemeClr val="bg1"/>
                </a:solidFill>
                <a:cs typeface="Calibri" panose="020F0502020204030204" pitchFamily="34" charset="0"/>
              </a:endParaRPr>
            </a:p>
          </p:txBody>
        </p:sp>
        <p:sp>
          <p:nvSpPr>
            <p:cNvPr id="107" name="圆角矩形 106"/>
            <p:cNvSpPr/>
            <p:nvPr/>
          </p:nvSpPr>
          <p:spPr bwMode="gray">
            <a:xfrm>
              <a:off x="5817782" y="3563389"/>
              <a:ext cx="1023710" cy="209621"/>
            </a:xfrm>
            <a:prstGeom prst="roundRect">
              <a:avLst>
                <a:gd name="adj" fmla="val 50000"/>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rgbClr val="0097A9"/>
                  </a:solidFill>
                </a:rPr>
                <a:t>Lorem </a:t>
              </a:r>
              <a:r>
                <a:rPr lang="en-US" sz="1000" b="1" dirty="0" err="1">
                  <a:solidFill>
                    <a:srgbClr val="0097A9"/>
                  </a:solidFill>
                </a:rPr>
                <a:t>ipsu</a:t>
              </a:r>
              <a:endParaRPr lang="en-US" sz="1000" b="1" dirty="0">
                <a:solidFill>
                  <a:srgbClr val="0097A9"/>
                </a:solidFill>
              </a:endParaRPr>
            </a:p>
          </p:txBody>
        </p:sp>
        <p:sp>
          <p:nvSpPr>
            <p:cNvPr id="108" name="圆角矩形 107"/>
            <p:cNvSpPr/>
            <p:nvPr/>
          </p:nvSpPr>
          <p:spPr bwMode="gray">
            <a:xfrm>
              <a:off x="5821042" y="3841587"/>
              <a:ext cx="1023710" cy="209621"/>
            </a:xfrm>
            <a:prstGeom prst="roundRect">
              <a:avLst>
                <a:gd name="adj" fmla="val 50000"/>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rgbClr val="0097A9"/>
                  </a:solidFill>
                </a:rPr>
                <a:t>Lorem </a:t>
              </a:r>
              <a:r>
                <a:rPr lang="en-US" sz="1000" b="1" dirty="0" err="1">
                  <a:solidFill>
                    <a:srgbClr val="0097A9"/>
                  </a:solidFill>
                </a:rPr>
                <a:t>ipsu</a:t>
              </a:r>
              <a:endParaRPr lang="en-US" sz="1000" b="1" dirty="0">
                <a:solidFill>
                  <a:srgbClr val="0097A9"/>
                </a:solidFill>
              </a:endParaRPr>
            </a:p>
          </p:txBody>
        </p:sp>
      </p:grpSp>
      <p:grpSp>
        <p:nvGrpSpPr>
          <p:cNvPr id="109" name="组合 108"/>
          <p:cNvGrpSpPr/>
          <p:nvPr/>
        </p:nvGrpSpPr>
        <p:grpSpPr>
          <a:xfrm>
            <a:off x="3444015" y="3364182"/>
            <a:ext cx="1189291" cy="1189291"/>
            <a:chOff x="3520215" y="3359949"/>
            <a:chExt cx="1189291" cy="1189291"/>
          </a:xfrm>
        </p:grpSpPr>
        <p:sp>
          <p:nvSpPr>
            <p:cNvPr id="110" name="椭圆 109"/>
            <p:cNvSpPr/>
            <p:nvPr/>
          </p:nvSpPr>
          <p:spPr bwMode="gray">
            <a:xfrm>
              <a:off x="3520215" y="3359949"/>
              <a:ext cx="1189291" cy="1189291"/>
            </a:xfrm>
            <a:prstGeom prst="ellipse">
              <a:avLst/>
            </a:prstGeom>
            <a:solidFill>
              <a:srgbClr val="0097A9"/>
            </a:solidFill>
            <a:ln w="57150" algn="ctr">
              <a:solidFill>
                <a:schemeClr val="bg1"/>
              </a:solidFill>
              <a:miter lim="800000"/>
              <a:headEnd/>
              <a:tailEnd/>
            </a:ln>
          </p:spPr>
          <p:txBody>
            <a:bodyPr wrap="square" lIns="0" tIns="0" rIns="0" bIns="0" rtlCol="0" anchor="ctr"/>
            <a:lstStyle/>
            <a:p>
              <a:pPr algn="ctr">
                <a:lnSpc>
                  <a:spcPct val="106000"/>
                </a:lnSpc>
              </a:pPr>
              <a:endParaRPr lang="en-US" sz="800" b="1" dirty="0">
                <a:solidFill>
                  <a:schemeClr val="bg1"/>
                </a:solidFill>
                <a:cs typeface="Calibri" panose="020F0502020204030204" pitchFamily="34" charset="0"/>
              </a:endParaRPr>
            </a:p>
          </p:txBody>
        </p:sp>
        <p:sp>
          <p:nvSpPr>
            <p:cNvPr id="111" name="TextBox 31">
              <a:extLst>
                <a:ext uri="{FF2B5EF4-FFF2-40B4-BE49-F238E27FC236}">
                  <a16:creationId xmlns:a16="http://schemas.microsoft.com/office/drawing/2014/main" id="{157B9633-D9FD-460D-81D2-E12430F8EF05}"/>
                </a:ext>
              </a:extLst>
            </p:cNvPr>
            <p:cNvSpPr txBox="1"/>
            <p:nvPr/>
          </p:nvSpPr>
          <p:spPr>
            <a:xfrm>
              <a:off x="3537571" y="3742490"/>
              <a:ext cx="1159188" cy="342530"/>
            </a:xfrm>
            <a:prstGeom prst="rect">
              <a:avLst/>
            </a:prstGeom>
            <a:noFill/>
          </p:spPr>
          <p:txBody>
            <a:bodyPr wrap="square" lIns="0" tIns="0" rIns="0" bIns="0" rtlCol="0">
              <a:spAutoFit/>
            </a:bodyPr>
            <a:lstStyle/>
            <a:p>
              <a:pPr algn="ctr">
                <a:lnSpc>
                  <a:spcPct val="106000"/>
                </a:lnSpc>
              </a:pPr>
              <a:r>
                <a:rPr lang="en-US" sz="1050" b="1" dirty="0">
                  <a:solidFill>
                    <a:schemeClr val="bg1"/>
                  </a:solidFill>
                  <a:cs typeface="Calibri" panose="020F0502020204030204" pitchFamily="34" charset="0"/>
                </a:rPr>
                <a:t>Lorem </a:t>
              </a:r>
              <a:r>
                <a:rPr lang="en-US" sz="1050" b="1" dirty="0" err="1">
                  <a:solidFill>
                    <a:schemeClr val="bg1"/>
                  </a:solidFill>
                  <a:cs typeface="Calibri" panose="020F0502020204030204" pitchFamily="34" charset="0"/>
                </a:rPr>
                <a:t>ipsuLorem</a:t>
              </a:r>
              <a:r>
                <a:rPr lang="en-US" sz="1050" b="1" dirty="0">
                  <a:solidFill>
                    <a:schemeClr val="bg1"/>
                  </a:solidFill>
                  <a:cs typeface="Calibri" panose="020F0502020204030204" pitchFamily="34" charset="0"/>
                </a:rPr>
                <a:t> </a:t>
              </a:r>
              <a:r>
                <a:rPr lang="en-US" sz="1050" b="1" dirty="0" err="1">
                  <a:solidFill>
                    <a:schemeClr val="bg1"/>
                  </a:solidFill>
                  <a:cs typeface="Calibri" panose="020F0502020204030204" pitchFamily="34" charset="0"/>
                </a:rPr>
                <a:t>ipsu</a:t>
              </a:r>
              <a:endParaRPr lang="en-US" sz="1050" b="1" dirty="0">
                <a:solidFill>
                  <a:schemeClr val="bg1"/>
                </a:solidFill>
                <a:cs typeface="Calibri" panose="020F0502020204030204" pitchFamily="34" charset="0"/>
              </a:endParaRPr>
            </a:p>
          </p:txBody>
        </p:sp>
      </p:grpSp>
      <p:grpSp>
        <p:nvGrpSpPr>
          <p:cNvPr id="112" name="组合 111"/>
          <p:cNvGrpSpPr/>
          <p:nvPr/>
        </p:nvGrpSpPr>
        <p:grpSpPr>
          <a:xfrm>
            <a:off x="4169320" y="3868973"/>
            <a:ext cx="1658290" cy="982593"/>
            <a:chOff x="4440089" y="4055138"/>
            <a:chExt cx="1505355" cy="846665"/>
          </a:xfrm>
        </p:grpSpPr>
        <p:sp>
          <p:nvSpPr>
            <p:cNvPr id="113" name="Freeform 50"/>
            <p:cNvSpPr>
              <a:spLocks/>
            </p:cNvSpPr>
            <p:nvPr/>
          </p:nvSpPr>
          <p:spPr bwMode="auto">
            <a:xfrm>
              <a:off x="4440089" y="4055138"/>
              <a:ext cx="1505355" cy="846665"/>
            </a:xfrm>
            <a:custGeom>
              <a:avLst/>
              <a:gdLst>
                <a:gd name="T0" fmla="*/ 1136 w 1232"/>
                <a:gd name="T1" fmla="*/ 300 h 694"/>
                <a:gd name="T2" fmla="*/ 1136 w 1232"/>
                <a:gd name="T3" fmla="*/ 297 h 694"/>
                <a:gd name="T4" fmla="*/ 971 w 1232"/>
                <a:gd name="T5" fmla="*/ 131 h 694"/>
                <a:gd name="T6" fmla="*/ 913 w 1232"/>
                <a:gd name="T7" fmla="*/ 142 h 694"/>
                <a:gd name="T8" fmla="*/ 688 w 1232"/>
                <a:gd name="T9" fmla="*/ 0 h 694"/>
                <a:gd name="T10" fmla="*/ 449 w 1232"/>
                <a:gd name="T11" fmla="*/ 181 h 694"/>
                <a:gd name="T12" fmla="*/ 358 w 1232"/>
                <a:gd name="T13" fmla="*/ 157 h 694"/>
                <a:gd name="T14" fmla="*/ 179 w 1232"/>
                <a:gd name="T15" fmla="*/ 336 h 694"/>
                <a:gd name="T16" fmla="*/ 0 w 1232"/>
                <a:gd name="T17" fmla="*/ 515 h 694"/>
                <a:gd name="T18" fmla="*/ 179 w 1232"/>
                <a:gd name="T19" fmla="*/ 694 h 694"/>
                <a:gd name="T20" fmla="*/ 1016 w 1232"/>
                <a:gd name="T21" fmla="*/ 694 h 694"/>
                <a:gd name="T22" fmla="*/ 1232 w 1232"/>
                <a:gd name="T23" fmla="*/ 479 h 694"/>
                <a:gd name="T24" fmla="*/ 1136 w 1232"/>
                <a:gd name="T25" fmla="*/ 3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2" h="694">
                  <a:moveTo>
                    <a:pt x="1136" y="300"/>
                  </a:moveTo>
                  <a:cubicBezTo>
                    <a:pt x="1136" y="299"/>
                    <a:pt x="1136" y="298"/>
                    <a:pt x="1136" y="297"/>
                  </a:cubicBezTo>
                  <a:cubicBezTo>
                    <a:pt x="1136" y="205"/>
                    <a:pt x="1062" y="131"/>
                    <a:pt x="971" y="131"/>
                  </a:cubicBezTo>
                  <a:cubicBezTo>
                    <a:pt x="951" y="131"/>
                    <a:pt x="931" y="135"/>
                    <a:pt x="913" y="142"/>
                  </a:cubicBezTo>
                  <a:cubicBezTo>
                    <a:pt x="873" y="58"/>
                    <a:pt x="788" y="0"/>
                    <a:pt x="688" y="0"/>
                  </a:cubicBezTo>
                  <a:cubicBezTo>
                    <a:pt x="574" y="0"/>
                    <a:pt x="478" y="77"/>
                    <a:pt x="449" y="181"/>
                  </a:cubicBezTo>
                  <a:cubicBezTo>
                    <a:pt x="422" y="166"/>
                    <a:pt x="391" y="157"/>
                    <a:pt x="358" y="157"/>
                  </a:cubicBezTo>
                  <a:cubicBezTo>
                    <a:pt x="259" y="157"/>
                    <a:pt x="179" y="237"/>
                    <a:pt x="179" y="336"/>
                  </a:cubicBezTo>
                  <a:cubicBezTo>
                    <a:pt x="80" y="336"/>
                    <a:pt x="0" y="416"/>
                    <a:pt x="0" y="515"/>
                  </a:cubicBezTo>
                  <a:cubicBezTo>
                    <a:pt x="0" y="614"/>
                    <a:pt x="80" y="694"/>
                    <a:pt x="179" y="694"/>
                  </a:cubicBezTo>
                  <a:cubicBezTo>
                    <a:pt x="1016" y="694"/>
                    <a:pt x="1016" y="694"/>
                    <a:pt x="1016" y="694"/>
                  </a:cubicBezTo>
                  <a:cubicBezTo>
                    <a:pt x="1135" y="694"/>
                    <a:pt x="1232" y="598"/>
                    <a:pt x="1232" y="479"/>
                  </a:cubicBezTo>
                  <a:cubicBezTo>
                    <a:pt x="1232" y="404"/>
                    <a:pt x="1194" y="338"/>
                    <a:pt x="1136" y="300"/>
                  </a:cubicBezTo>
                  <a:close/>
                </a:path>
              </a:pathLst>
            </a:custGeom>
            <a:solidFill>
              <a:schemeClr val="bg1">
                <a:lumMod val="85000"/>
              </a:schemeClr>
            </a:solidFill>
            <a:ln w="69850">
              <a:solidFill>
                <a:schemeClr val="bg1"/>
              </a:solidFill>
            </a:ln>
          </p:spPr>
          <p:txBody>
            <a:bodyPr vert="horz" wrap="square" lIns="91440" tIns="45720" rIns="91440" bIns="45720" numCol="1" anchor="t" anchorCtr="0" compatLnSpc="1">
              <a:prstTxWarp prst="textNoShape">
                <a:avLst/>
              </a:prstTxWarp>
            </a:bodyPr>
            <a:lstStyle/>
            <a:p>
              <a:endParaRPr lang="id-ID" sz="2400" dirty="0">
                <a:cs typeface="+mn-ea"/>
                <a:sym typeface="+mn-lt"/>
              </a:endParaRPr>
            </a:p>
          </p:txBody>
        </p:sp>
        <p:sp>
          <p:nvSpPr>
            <p:cNvPr id="114" name="TextBox 31">
              <a:extLst>
                <a:ext uri="{FF2B5EF4-FFF2-40B4-BE49-F238E27FC236}">
                  <a16:creationId xmlns:a16="http://schemas.microsoft.com/office/drawing/2014/main" id="{157B9633-D9FD-460D-81D2-E12430F8EF05}"/>
                </a:ext>
              </a:extLst>
            </p:cNvPr>
            <p:cNvSpPr txBox="1"/>
            <p:nvPr/>
          </p:nvSpPr>
          <p:spPr>
            <a:xfrm>
              <a:off x="4672031" y="4400598"/>
              <a:ext cx="1159188" cy="337356"/>
            </a:xfrm>
            <a:prstGeom prst="rect">
              <a:avLst/>
            </a:prstGeom>
            <a:noFill/>
          </p:spPr>
          <p:txBody>
            <a:bodyPr wrap="square" lIns="0" tIns="0" rIns="0" bIns="0" rtlCol="0">
              <a:spAutoFit/>
            </a:bodyPr>
            <a:lstStyle/>
            <a:p>
              <a:pPr algn="ctr">
                <a:lnSpc>
                  <a:spcPct val="106000"/>
                </a:lnSpc>
              </a:pPr>
              <a:r>
                <a:rPr lang="en-US" sz="1200" b="1" dirty="0">
                  <a:solidFill>
                    <a:srgbClr val="0097A9"/>
                  </a:solidFill>
                  <a:cs typeface="Calibri" panose="020F0502020204030204" pitchFamily="34" charset="0"/>
                </a:rPr>
                <a:t>Lorem </a:t>
              </a:r>
              <a:r>
                <a:rPr lang="en-US" sz="1200" b="1" dirty="0" err="1">
                  <a:solidFill>
                    <a:srgbClr val="0097A9"/>
                  </a:solidFill>
                  <a:cs typeface="Calibri" panose="020F0502020204030204" pitchFamily="34" charset="0"/>
                </a:rPr>
                <a:t>ipsuLorem</a:t>
              </a:r>
              <a:r>
                <a:rPr lang="en-US" sz="1200" b="1" dirty="0">
                  <a:solidFill>
                    <a:srgbClr val="0097A9"/>
                  </a:solidFill>
                  <a:cs typeface="Calibri" panose="020F0502020204030204" pitchFamily="34" charset="0"/>
                </a:rPr>
                <a:t> </a:t>
              </a:r>
              <a:r>
                <a:rPr lang="en-US" sz="1200" b="1" dirty="0" err="1">
                  <a:solidFill>
                    <a:srgbClr val="0097A9"/>
                  </a:solidFill>
                  <a:cs typeface="Calibri" panose="020F0502020204030204" pitchFamily="34" charset="0"/>
                </a:rPr>
                <a:t>ipsu</a:t>
              </a:r>
              <a:endParaRPr lang="en-US" sz="1200" b="1" dirty="0">
                <a:solidFill>
                  <a:srgbClr val="0097A9"/>
                </a:solidFill>
                <a:cs typeface="Calibri" panose="020F0502020204030204" pitchFamily="34" charset="0"/>
              </a:endParaRPr>
            </a:p>
          </p:txBody>
        </p:sp>
      </p:grpSp>
    </p:spTree>
    <p:custDataLst>
      <p:tags r:id="rId1"/>
    </p:custDataLst>
    <p:extLst>
      <p:ext uri="{BB962C8B-B14F-4D97-AF65-F5344CB8AC3E}">
        <p14:creationId xmlns:p14="http://schemas.microsoft.com/office/powerpoint/2010/main" val="93881819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五边形 3"/>
          <p:cNvSpPr/>
          <p:nvPr/>
        </p:nvSpPr>
        <p:spPr>
          <a:xfrm flipH="1">
            <a:off x="527052" y="2981522"/>
            <a:ext cx="5568951" cy="818760"/>
          </a:xfrm>
          <a:prstGeom prst="homePlate">
            <a:avLst/>
          </a:prstGeom>
          <a:solidFill>
            <a:srgbClr val="43B02A"/>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5" name="同心圆 4"/>
          <p:cNvSpPr/>
          <p:nvPr/>
        </p:nvSpPr>
        <p:spPr>
          <a:xfrm>
            <a:off x="4791037" y="2086560"/>
            <a:ext cx="2608680" cy="2608680"/>
          </a:xfrm>
          <a:prstGeom prst="donut">
            <a:avLst>
              <a:gd name="adj" fmla="val 14351"/>
            </a:avLst>
          </a:prstGeom>
          <a:solidFill>
            <a:srgbClr val="D0D0CE"/>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400" dirty="0">
              <a:solidFill>
                <a:schemeClr val="tx1"/>
              </a:solidFill>
              <a:latin typeface="+mj-lt"/>
            </a:endParaRPr>
          </a:p>
        </p:txBody>
      </p:sp>
      <p:sp>
        <p:nvSpPr>
          <p:cNvPr id="6" name="五边形 5"/>
          <p:cNvSpPr/>
          <p:nvPr/>
        </p:nvSpPr>
        <p:spPr>
          <a:xfrm rot="10800000" flipH="1">
            <a:off x="6096000" y="2981519"/>
            <a:ext cx="5568950" cy="818762"/>
          </a:xfrm>
          <a:prstGeom prst="homePlate">
            <a:avLst/>
          </a:prstGeom>
          <a:solidFill>
            <a:srgbClr val="0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dirty="0"/>
          </a:p>
        </p:txBody>
      </p:sp>
      <p:sp>
        <p:nvSpPr>
          <p:cNvPr id="7" name="矩形 10"/>
          <p:cNvSpPr/>
          <p:nvPr/>
        </p:nvSpPr>
        <p:spPr>
          <a:xfrm>
            <a:off x="1033250" y="3112307"/>
            <a:ext cx="700320" cy="492443"/>
          </a:xfrm>
          <a:prstGeom prst="rect">
            <a:avLst/>
          </a:prstGeom>
        </p:spPr>
        <p:txBody>
          <a:bodyPr wrap="none" lIns="0" tIns="0" rIns="0" bIns="0">
            <a:spAutoFit/>
          </a:bodyPr>
          <a:lstStyle/>
          <a:p>
            <a:pPr algn="ctr"/>
            <a:r>
              <a:rPr lang="en-US" altLang="zh-CN" sz="3200" b="1" dirty="0">
                <a:solidFill>
                  <a:schemeClr val="bg1"/>
                </a:solidFill>
                <a:latin typeface="+mj-lt"/>
              </a:rPr>
              <a:t>Text</a:t>
            </a:r>
            <a:endParaRPr lang="en-US" altLang="zh-CN" sz="1600" b="1" dirty="0">
              <a:solidFill>
                <a:schemeClr val="bg1"/>
              </a:solidFill>
              <a:latin typeface="+mj-lt"/>
            </a:endParaRPr>
          </a:p>
        </p:txBody>
      </p:sp>
      <p:sp>
        <p:nvSpPr>
          <p:cNvPr id="8" name="矩形 11"/>
          <p:cNvSpPr/>
          <p:nvPr/>
        </p:nvSpPr>
        <p:spPr>
          <a:xfrm>
            <a:off x="10458429" y="3112307"/>
            <a:ext cx="700320" cy="492443"/>
          </a:xfrm>
          <a:prstGeom prst="rect">
            <a:avLst/>
          </a:prstGeom>
        </p:spPr>
        <p:txBody>
          <a:bodyPr wrap="none" lIns="0" tIns="0" rIns="0" bIns="0">
            <a:spAutoFit/>
          </a:bodyPr>
          <a:lstStyle/>
          <a:p>
            <a:pPr algn="ctr"/>
            <a:r>
              <a:rPr lang="en-US" altLang="zh-CN" sz="3200" b="1" dirty="0">
                <a:solidFill>
                  <a:schemeClr val="bg1"/>
                </a:solidFill>
                <a:latin typeface="+mj-lt"/>
              </a:rPr>
              <a:t>Text</a:t>
            </a:r>
            <a:endParaRPr lang="en-US" altLang="zh-CN" sz="1600" b="1" dirty="0">
              <a:solidFill>
                <a:schemeClr val="bg1"/>
              </a:solidFill>
              <a:latin typeface="+mj-lt"/>
            </a:endParaRPr>
          </a:p>
        </p:txBody>
      </p:sp>
      <p:sp>
        <p:nvSpPr>
          <p:cNvPr id="9" name="圆角矩形 12"/>
          <p:cNvSpPr/>
          <p:nvPr/>
        </p:nvSpPr>
        <p:spPr>
          <a:xfrm flipH="1">
            <a:off x="966629" y="3811709"/>
            <a:ext cx="3735597" cy="1330166"/>
          </a:xfrm>
          <a:prstGeom prst="roundRect">
            <a:avLst>
              <a:gd name="adj" fmla="val 6011"/>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spAutoFit/>
          </a:bodyPr>
          <a:lstStyle/>
          <a:p>
            <a:r>
              <a:rPr lang="en-US" altLang="zh-CN" sz="3200" b="1" dirty="0">
                <a:solidFill>
                  <a:srgbClr val="000000"/>
                </a:solidFill>
                <a:latin typeface="+mj-lt"/>
              </a:rPr>
              <a:t>Text</a:t>
            </a:r>
            <a:endParaRPr lang="en-US" altLang="zh-CN" sz="1600" b="1" dirty="0">
              <a:solidFill>
                <a:srgbClr val="000000"/>
              </a:solidFill>
              <a:latin typeface="+mj-lt"/>
            </a:endParaRPr>
          </a:p>
          <a:p>
            <a:r>
              <a:rPr lang="en-US" altLang="zh-CN" sz="1300" dirty="0">
                <a:solidFill>
                  <a:schemeClr val="tx1"/>
                </a:solidFill>
              </a:rPr>
              <a:t>This is dummy text it is not here to be read it is here to show how this document will look this is dummy text it is not here to be read it is here to show how this document will look </a:t>
            </a:r>
          </a:p>
        </p:txBody>
      </p:sp>
      <p:sp>
        <p:nvSpPr>
          <p:cNvPr id="10" name="圆角矩形 13"/>
          <p:cNvSpPr/>
          <p:nvPr/>
        </p:nvSpPr>
        <p:spPr>
          <a:xfrm flipH="1">
            <a:off x="7488528" y="3811709"/>
            <a:ext cx="3736842" cy="1330166"/>
          </a:xfrm>
          <a:prstGeom prst="roundRect">
            <a:avLst>
              <a:gd name="adj" fmla="val 6011"/>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spAutoFit/>
          </a:bodyPr>
          <a:lstStyle/>
          <a:p>
            <a:pPr algn="r"/>
            <a:r>
              <a:rPr lang="en-US" altLang="zh-CN" sz="3200" b="1" dirty="0">
                <a:solidFill>
                  <a:srgbClr val="43B02A"/>
                </a:solidFill>
                <a:latin typeface="+mj-lt"/>
              </a:rPr>
              <a:t>Text</a:t>
            </a:r>
            <a:endParaRPr lang="en-US" altLang="zh-CN" sz="1600" b="1" dirty="0">
              <a:solidFill>
                <a:srgbClr val="43B02A"/>
              </a:solidFill>
              <a:latin typeface="+mj-lt"/>
            </a:endParaRPr>
          </a:p>
          <a:p>
            <a:pPr algn="r"/>
            <a:r>
              <a:rPr lang="en-US" altLang="zh-CN" sz="1300" dirty="0">
                <a:solidFill>
                  <a:schemeClr val="tx1"/>
                </a:solidFill>
              </a:rPr>
              <a:t>This is dummy text it is not here to be read it is here to show how this document will look this is dummy text it is not here to be read it is here to show how this document will look </a:t>
            </a:r>
          </a:p>
        </p:txBody>
      </p:sp>
      <p:sp>
        <p:nvSpPr>
          <p:cNvPr id="11" name="矩形 15"/>
          <p:cNvSpPr/>
          <p:nvPr/>
        </p:nvSpPr>
        <p:spPr>
          <a:xfrm>
            <a:off x="4859867" y="1918434"/>
            <a:ext cx="2472266" cy="1761431"/>
          </a:xfrm>
          <a:prstGeom prst="rect">
            <a:avLst/>
          </a:prstGeom>
        </p:spPr>
        <p:txBody>
          <a:bodyPr wrap="none" lIns="0" tIns="0" rIns="0" bIns="0">
            <a:prstTxWarp prst="textArchUp">
              <a:avLst>
                <a:gd name="adj" fmla="val 12078931"/>
              </a:avLst>
            </a:prstTxWarp>
            <a:spAutoFit/>
          </a:bodyPr>
          <a:lstStyle/>
          <a:p>
            <a:pPr algn="ctr"/>
            <a:r>
              <a:rPr lang="en-US" altLang="zh-CN" sz="3200" b="1" dirty="0" err="1"/>
              <a:t>Text</a:t>
            </a:r>
            <a:r>
              <a:rPr lang="en-US" altLang="zh-CN" sz="3200" b="1" dirty="0" err="1">
                <a:solidFill>
                  <a:srgbClr val="43B02A"/>
                </a:solidFill>
              </a:rPr>
              <a:t>here</a:t>
            </a:r>
            <a:endParaRPr lang="en-US" altLang="zh-CN" sz="1600" b="1" dirty="0">
              <a:solidFill>
                <a:srgbClr val="43B02A"/>
              </a:solidFill>
            </a:endParaRPr>
          </a:p>
        </p:txBody>
      </p:sp>
      <p:sp>
        <p:nvSpPr>
          <p:cNvPr id="12" name="矩形 14"/>
          <p:cNvSpPr/>
          <p:nvPr/>
        </p:nvSpPr>
        <p:spPr>
          <a:xfrm>
            <a:off x="5745839" y="3112307"/>
            <a:ext cx="700320" cy="492443"/>
          </a:xfrm>
          <a:prstGeom prst="rect">
            <a:avLst/>
          </a:prstGeom>
        </p:spPr>
        <p:txBody>
          <a:bodyPr wrap="none" lIns="0" tIns="0" rIns="0" bIns="0">
            <a:spAutoFit/>
          </a:bodyPr>
          <a:lstStyle/>
          <a:p>
            <a:pPr algn="ctr"/>
            <a:r>
              <a:rPr lang="en-US" altLang="zh-CN" sz="3200" b="1" dirty="0">
                <a:solidFill>
                  <a:schemeClr val="bg1"/>
                </a:solidFill>
                <a:latin typeface="+mj-lt"/>
              </a:rPr>
              <a:t>Text</a:t>
            </a:r>
            <a:endParaRPr lang="en-US" altLang="zh-CN" sz="1600" b="1" dirty="0">
              <a:solidFill>
                <a:schemeClr val="bg1"/>
              </a:solidFill>
              <a:latin typeface="+mj-lt"/>
            </a:endParaRPr>
          </a:p>
        </p:txBody>
      </p:sp>
    </p:spTree>
    <p:custDataLst>
      <p:tags r:id="rId1"/>
    </p:custDataLst>
    <p:extLst>
      <p:ext uri="{BB962C8B-B14F-4D97-AF65-F5344CB8AC3E}">
        <p14:creationId xmlns:p14="http://schemas.microsoft.com/office/powerpoint/2010/main" val="1371492446"/>
      </p:ext>
    </p:extLst>
  </p:cSld>
  <p:clrMapOvr>
    <a:masterClrMapping/>
  </p:clrMapOvr>
  <p:transition>
    <p:fade/>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p:cNvSpPr>
            <a:spLocks noEditPoints="1"/>
          </p:cNvSpPr>
          <p:nvPr/>
        </p:nvSpPr>
        <p:spPr bwMode="auto">
          <a:xfrm>
            <a:off x="471449" y="1736017"/>
            <a:ext cx="2029619" cy="4549775"/>
          </a:xfrm>
          <a:custGeom>
            <a:avLst/>
            <a:gdLst>
              <a:gd name="T0" fmla="*/ 712 w 2557"/>
              <a:gd name="T1" fmla="*/ 1199 h 5732"/>
              <a:gd name="T2" fmla="*/ 974 w 2557"/>
              <a:gd name="T3" fmla="*/ 1396 h 5732"/>
              <a:gd name="T4" fmla="*/ 1152 w 2557"/>
              <a:gd name="T5" fmla="*/ 590 h 5732"/>
              <a:gd name="T6" fmla="*/ 1386 w 2557"/>
              <a:gd name="T7" fmla="*/ 693 h 5732"/>
              <a:gd name="T8" fmla="*/ 1620 w 2557"/>
              <a:gd name="T9" fmla="*/ 628 h 5732"/>
              <a:gd name="T10" fmla="*/ 1723 w 2557"/>
              <a:gd name="T11" fmla="*/ 693 h 5732"/>
              <a:gd name="T12" fmla="*/ 2014 w 2557"/>
              <a:gd name="T13" fmla="*/ 693 h 5732"/>
              <a:gd name="T14" fmla="*/ 2117 w 2557"/>
              <a:gd name="T15" fmla="*/ 674 h 5732"/>
              <a:gd name="T16" fmla="*/ 1115 w 2557"/>
              <a:gd name="T17" fmla="*/ 543 h 5732"/>
              <a:gd name="T18" fmla="*/ 1658 w 2557"/>
              <a:gd name="T19" fmla="*/ 5292 h 5732"/>
              <a:gd name="T20" fmla="*/ 1602 w 2557"/>
              <a:gd name="T21" fmla="*/ 1901 h 5732"/>
              <a:gd name="T22" fmla="*/ 1686 w 2557"/>
              <a:gd name="T23" fmla="*/ 2304 h 5732"/>
              <a:gd name="T24" fmla="*/ 1686 w 2557"/>
              <a:gd name="T25" fmla="*/ 2744 h 5732"/>
              <a:gd name="T26" fmla="*/ 1602 w 2557"/>
              <a:gd name="T27" fmla="*/ 3147 h 5732"/>
              <a:gd name="T28" fmla="*/ 1602 w 2557"/>
              <a:gd name="T29" fmla="*/ 3550 h 5732"/>
              <a:gd name="T30" fmla="*/ 1602 w 2557"/>
              <a:gd name="T31" fmla="*/ 4084 h 5732"/>
              <a:gd name="T32" fmla="*/ 1686 w 2557"/>
              <a:gd name="T33" fmla="*/ 4496 h 5732"/>
              <a:gd name="T34" fmla="*/ 1583 w 2557"/>
              <a:gd name="T35" fmla="*/ 1855 h 5732"/>
              <a:gd name="T36" fmla="*/ 1508 w 2557"/>
              <a:gd name="T37" fmla="*/ 2257 h 5732"/>
              <a:gd name="T38" fmla="*/ 1508 w 2557"/>
              <a:gd name="T39" fmla="*/ 2744 h 5732"/>
              <a:gd name="T40" fmla="*/ 1508 w 2557"/>
              <a:gd name="T41" fmla="*/ 3353 h 5732"/>
              <a:gd name="T42" fmla="*/ 1583 w 2557"/>
              <a:gd name="T43" fmla="*/ 3924 h 5732"/>
              <a:gd name="T44" fmla="*/ 1583 w 2557"/>
              <a:gd name="T45" fmla="*/ 4365 h 5732"/>
              <a:gd name="T46" fmla="*/ 1405 w 2557"/>
              <a:gd name="T47" fmla="*/ 1855 h 5732"/>
              <a:gd name="T48" fmla="*/ 1405 w 2557"/>
              <a:gd name="T49" fmla="*/ 2257 h 5732"/>
              <a:gd name="T50" fmla="*/ 1405 w 2557"/>
              <a:gd name="T51" fmla="*/ 2707 h 5732"/>
              <a:gd name="T52" fmla="*/ 1480 w 2557"/>
              <a:gd name="T53" fmla="*/ 3119 h 5732"/>
              <a:gd name="T54" fmla="*/ 1480 w 2557"/>
              <a:gd name="T55" fmla="*/ 3475 h 5732"/>
              <a:gd name="T56" fmla="*/ 1405 w 2557"/>
              <a:gd name="T57" fmla="*/ 3878 h 5732"/>
              <a:gd name="T58" fmla="*/ 1405 w 2557"/>
              <a:gd name="T59" fmla="*/ 4196 h 5732"/>
              <a:gd name="T60" fmla="*/ 1302 w 2557"/>
              <a:gd name="T61" fmla="*/ 1742 h 5732"/>
              <a:gd name="T62" fmla="*/ 1386 w 2557"/>
              <a:gd name="T63" fmla="*/ 2220 h 5732"/>
              <a:gd name="T64" fmla="*/ 1386 w 2557"/>
              <a:gd name="T65" fmla="*/ 2576 h 5732"/>
              <a:gd name="T66" fmla="*/ 1302 w 2557"/>
              <a:gd name="T67" fmla="*/ 2988 h 5732"/>
              <a:gd name="T68" fmla="*/ 1302 w 2557"/>
              <a:gd name="T69" fmla="*/ 3306 h 5732"/>
              <a:gd name="T70" fmla="*/ 1302 w 2557"/>
              <a:gd name="T71" fmla="*/ 3924 h 5732"/>
              <a:gd name="T72" fmla="*/ 1386 w 2557"/>
              <a:gd name="T73" fmla="*/ 4411 h 5732"/>
              <a:gd name="T74" fmla="*/ 1283 w 2557"/>
              <a:gd name="T75" fmla="*/ 1686 h 5732"/>
              <a:gd name="T76" fmla="*/ 1208 w 2557"/>
              <a:gd name="T77" fmla="*/ 2098 h 5732"/>
              <a:gd name="T78" fmla="*/ 1208 w 2557"/>
              <a:gd name="T79" fmla="*/ 2501 h 5732"/>
              <a:gd name="T80" fmla="*/ 1208 w 2557"/>
              <a:gd name="T81" fmla="*/ 3035 h 5732"/>
              <a:gd name="T82" fmla="*/ 1283 w 2557"/>
              <a:gd name="T83" fmla="*/ 3437 h 5732"/>
              <a:gd name="T84" fmla="*/ 1283 w 2557"/>
              <a:gd name="T85" fmla="*/ 3793 h 5732"/>
              <a:gd name="T86" fmla="*/ 1208 w 2557"/>
              <a:gd name="T87" fmla="*/ 4196 h 5732"/>
              <a:gd name="T88" fmla="*/ 759 w 2557"/>
              <a:gd name="T89" fmla="*/ 1836 h 5732"/>
              <a:gd name="T90" fmla="*/ 909 w 2557"/>
              <a:gd name="T91" fmla="*/ 1677 h 5732"/>
              <a:gd name="T92" fmla="*/ 768 w 2557"/>
              <a:gd name="T93" fmla="*/ 468 h 5732"/>
              <a:gd name="T94" fmla="*/ 862 w 2557"/>
              <a:gd name="T95" fmla="*/ 1030 h 5732"/>
              <a:gd name="T96" fmla="*/ 862 w 2557"/>
              <a:gd name="T97" fmla="*/ 169 h 5732"/>
              <a:gd name="T98" fmla="*/ 740 w 2557"/>
              <a:gd name="T99" fmla="*/ 1218 h 5732"/>
              <a:gd name="T100" fmla="*/ 731 w 2557"/>
              <a:gd name="T101" fmla="*/ 2257 h 5732"/>
              <a:gd name="T102" fmla="*/ 880 w 2557"/>
              <a:gd name="T103" fmla="*/ 2772 h 5732"/>
              <a:gd name="T104" fmla="*/ 843 w 2557"/>
              <a:gd name="T105" fmla="*/ 2688 h 5732"/>
              <a:gd name="T106" fmla="*/ 909 w 2557"/>
              <a:gd name="T107" fmla="*/ 3250 h 5732"/>
              <a:gd name="T108" fmla="*/ 328 w 2557"/>
              <a:gd name="T109" fmla="*/ 693 h 5732"/>
              <a:gd name="T110" fmla="*/ 674 w 2557"/>
              <a:gd name="T111" fmla="*/ 693 h 5732"/>
              <a:gd name="T112" fmla="*/ 712 w 2557"/>
              <a:gd name="T113" fmla="*/ 169 h 5732"/>
              <a:gd name="T114" fmla="*/ 253 w 2557"/>
              <a:gd name="T115" fmla="*/ 3878 h 5732"/>
              <a:gd name="T116" fmla="*/ 927 w 2557"/>
              <a:gd name="T117" fmla="*/ 4374 h 5732"/>
              <a:gd name="T118" fmla="*/ 927 w 2557"/>
              <a:gd name="T119" fmla="*/ 4824 h 5732"/>
              <a:gd name="T120" fmla="*/ 253 w 2557"/>
              <a:gd name="T121" fmla="*/ 5320 h 5732"/>
              <a:gd name="T122" fmla="*/ 927 w 2557"/>
              <a:gd name="T123" fmla="*/ 3409 h 5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57" h="5732">
                <a:moveTo>
                  <a:pt x="965" y="796"/>
                </a:moveTo>
                <a:lnTo>
                  <a:pt x="965" y="721"/>
                </a:lnTo>
                <a:lnTo>
                  <a:pt x="1527" y="721"/>
                </a:lnTo>
                <a:lnTo>
                  <a:pt x="1573" y="721"/>
                </a:lnTo>
                <a:lnTo>
                  <a:pt x="2557" y="721"/>
                </a:lnTo>
                <a:lnTo>
                  <a:pt x="2557" y="693"/>
                </a:lnTo>
                <a:lnTo>
                  <a:pt x="2473" y="656"/>
                </a:lnTo>
                <a:lnTo>
                  <a:pt x="2473" y="656"/>
                </a:lnTo>
                <a:lnTo>
                  <a:pt x="805" y="0"/>
                </a:lnTo>
                <a:lnTo>
                  <a:pt x="244" y="506"/>
                </a:lnTo>
                <a:lnTo>
                  <a:pt x="244" y="496"/>
                </a:lnTo>
                <a:lnTo>
                  <a:pt x="0" y="496"/>
                </a:lnTo>
                <a:lnTo>
                  <a:pt x="0" y="768"/>
                </a:lnTo>
                <a:lnTo>
                  <a:pt x="244" y="768"/>
                </a:lnTo>
                <a:lnTo>
                  <a:pt x="244" y="721"/>
                </a:lnTo>
                <a:lnTo>
                  <a:pt x="674" y="721"/>
                </a:lnTo>
                <a:lnTo>
                  <a:pt x="674" y="796"/>
                </a:lnTo>
                <a:lnTo>
                  <a:pt x="712" y="796"/>
                </a:lnTo>
                <a:lnTo>
                  <a:pt x="712" y="834"/>
                </a:lnTo>
                <a:lnTo>
                  <a:pt x="712" y="871"/>
                </a:lnTo>
                <a:lnTo>
                  <a:pt x="712" y="1002"/>
                </a:lnTo>
                <a:lnTo>
                  <a:pt x="712" y="1030"/>
                </a:lnTo>
                <a:lnTo>
                  <a:pt x="712" y="1171"/>
                </a:lnTo>
                <a:lnTo>
                  <a:pt x="712" y="1199"/>
                </a:lnTo>
                <a:lnTo>
                  <a:pt x="712" y="1396"/>
                </a:lnTo>
                <a:lnTo>
                  <a:pt x="656" y="1396"/>
                </a:lnTo>
                <a:lnTo>
                  <a:pt x="656" y="2295"/>
                </a:lnTo>
                <a:lnTo>
                  <a:pt x="656" y="2360"/>
                </a:lnTo>
                <a:lnTo>
                  <a:pt x="656" y="3297"/>
                </a:lnTo>
                <a:lnTo>
                  <a:pt x="159" y="3297"/>
                </a:lnTo>
                <a:lnTo>
                  <a:pt x="159" y="5657"/>
                </a:lnTo>
                <a:lnTo>
                  <a:pt x="75" y="5657"/>
                </a:lnTo>
                <a:lnTo>
                  <a:pt x="75" y="5732"/>
                </a:lnTo>
                <a:lnTo>
                  <a:pt x="1789" y="5732"/>
                </a:lnTo>
                <a:lnTo>
                  <a:pt x="1789" y="5723"/>
                </a:lnTo>
                <a:lnTo>
                  <a:pt x="1789" y="4505"/>
                </a:lnTo>
                <a:lnTo>
                  <a:pt x="1789" y="4505"/>
                </a:lnTo>
                <a:lnTo>
                  <a:pt x="1789" y="1227"/>
                </a:lnTo>
                <a:lnTo>
                  <a:pt x="1096" y="1471"/>
                </a:lnTo>
                <a:lnTo>
                  <a:pt x="1096" y="4505"/>
                </a:lnTo>
                <a:lnTo>
                  <a:pt x="1096" y="4505"/>
                </a:lnTo>
                <a:lnTo>
                  <a:pt x="1096" y="5657"/>
                </a:lnTo>
                <a:lnTo>
                  <a:pt x="1021" y="5657"/>
                </a:lnTo>
                <a:lnTo>
                  <a:pt x="1021" y="3297"/>
                </a:lnTo>
                <a:lnTo>
                  <a:pt x="974" y="3297"/>
                </a:lnTo>
                <a:lnTo>
                  <a:pt x="974" y="2360"/>
                </a:lnTo>
                <a:lnTo>
                  <a:pt x="974" y="2295"/>
                </a:lnTo>
                <a:lnTo>
                  <a:pt x="974" y="1396"/>
                </a:lnTo>
                <a:lnTo>
                  <a:pt x="927" y="1396"/>
                </a:lnTo>
                <a:lnTo>
                  <a:pt x="927" y="796"/>
                </a:lnTo>
                <a:lnTo>
                  <a:pt x="965" y="796"/>
                </a:lnTo>
                <a:close/>
                <a:moveTo>
                  <a:pt x="965" y="693"/>
                </a:moveTo>
                <a:lnTo>
                  <a:pt x="965" y="571"/>
                </a:lnTo>
                <a:lnTo>
                  <a:pt x="993" y="571"/>
                </a:lnTo>
                <a:lnTo>
                  <a:pt x="1049" y="628"/>
                </a:lnTo>
                <a:lnTo>
                  <a:pt x="983" y="693"/>
                </a:lnTo>
                <a:lnTo>
                  <a:pt x="965" y="693"/>
                </a:lnTo>
                <a:close/>
                <a:moveTo>
                  <a:pt x="1021" y="571"/>
                </a:moveTo>
                <a:lnTo>
                  <a:pt x="1105" y="571"/>
                </a:lnTo>
                <a:lnTo>
                  <a:pt x="1058" y="618"/>
                </a:lnTo>
                <a:lnTo>
                  <a:pt x="1021" y="571"/>
                </a:lnTo>
                <a:close/>
                <a:moveTo>
                  <a:pt x="1012" y="693"/>
                </a:moveTo>
                <a:lnTo>
                  <a:pt x="1058" y="646"/>
                </a:lnTo>
                <a:lnTo>
                  <a:pt x="1105" y="693"/>
                </a:lnTo>
                <a:lnTo>
                  <a:pt x="1012" y="693"/>
                </a:lnTo>
                <a:close/>
                <a:moveTo>
                  <a:pt x="1115" y="674"/>
                </a:moveTo>
                <a:lnTo>
                  <a:pt x="1077" y="628"/>
                </a:lnTo>
                <a:lnTo>
                  <a:pt x="1115" y="581"/>
                </a:lnTo>
                <a:lnTo>
                  <a:pt x="1115" y="674"/>
                </a:lnTo>
                <a:close/>
                <a:moveTo>
                  <a:pt x="1189" y="628"/>
                </a:moveTo>
                <a:lnTo>
                  <a:pt x="1152" y="665"/>
                </a:lnTo>
                <a:lnTo>
                  <a:pt x="1152" y="590"/>
                </a:lnTo>
                <a:lnTo>
                  <a:pt x="1189" y="628"/>
                </a:lnTo>
                <a:close/>
                <a:moveTo>
                  <a:pt x="1161" y="571"/>
                </a:moveTo>
                <a:lnTo>
                  <a:pt x="1246" y="571"/>
                </a:lnTo>
                <a:lnTo>
                  <a:pt x="1199" y="618"/>
                </a:lnTo>
                <a:lnTo>
                  <a:pt x="1161" y="571"/>
                </a:lnTo>
                <a:close/>
                <a:moveTo>
                  <a:pt x="1152" y="693"/>
                </a:moveTo>
                <a:lnTo>
                  <a:pt x="1199" y="646"/>
                </a:lnTo>
                <a:lnTo>
                  <a:pt x="1246" y="693"/>
                </a:lnTo>
                <a:lnTo>
                  <a:pt x="1152" y="693"/>
                </a:lnTo>
                <a:close/>
                <a:moveTo>
                  <a:pt x="1255" y="674"/>
                </a:moveTo>
                <a:lnTo>
                  <a:pt x="1218" y="628"/>
                </a:lnTo>
                <a:lnTo>
                  <a:pt x="1255" y="581"/>
                </a:lnTo>
                <a:lnTo>
                  <a:pt x="1255" y="674"/>
                </a:lnTo>
                <a:close/>
                <a:moveTo>
                  <a:pt x="1330" y="628"/>
                </a:moveTo>
                <a:lnTo>
                  <a:pt x="1293" y="665"/>
                </a:lnTo>
                <a:lnTo>
                  <a:pt x="1293" y="590"/>
                </a:lnTo>
                <a:lnTo>
                  <a:pt x="1330" y="628"/>
                </a:lnTo>
                <a:close/>
                <a:moveTo>
                  <a:pt x="1302" y="571"/>
                </a:moveTo>
                <a:lnTo>
                  <a:pt x="1386" y="571"/>
                </a:lnTo>
                <a:lnTo>
                  <a:pt x="1339" y="618"/>
                </a:lnTo>
                <a:lnTo>
                  <a:pt x="1302" y="571"/>
                </a:lnTo>
                <a:close/>
                <a:moveTo>
                  <a:pt x="1293" y="693"/>
                </a:moveTo>
                <a:lnTo>
                  <a:pt x="1339" y="646"/>
                </a:lnTo>
                <a:lnTo>
                  <a:pt x="1386" y="693"/>
                </a:lnTo>
                <a:lnTo>
                  <a:pt x="1293" y="693"/>
                </a:lnTo>
                <a:close/>
                <a:moveTo>
                  <a:pt x="1405" y="674"/>
                </a:moveTo>
                <a:lnTo>
                  <a:pt x="1358" y="628"/>
                </a:lnTo>
                <a:lnTo>
                  <a:pt x="1405" y="581"/>
                </a:lnTo>
                <a:lnTo>
                  <a:pt x="1405" y="674"/>
                </a:lnTo>
                <a:close/>
                <a:moveTo>
                  <a:pt x="1470" y="628"/>
                </a:moveTo>
                <a:lnTo>
                  <a:pt x="1433" y="665"/>
                </a:lnTo>
                <a:lnTo>
                  <a:pt x="1433" y="590"/>
                </a:lnTo>
                <a:lnTo>
                  <a:pt x="1470" y="628"/>
                </a:lnTo>
                <a:close/>
                <a:moveTo>
                  <a:pt x="1442" y="571"/>
                </a:moveTo>
                <a:lnTo>
                  <a:pt x="1527" y="571"/>
                </a:lnTo>
                <a:lnTo>
                  <a:pt x="1527" y="571"/>
                </a:lnTo>
                <a:lnTo>
                  <a:pt x="1489" y="618"/>
                </a:lnTo>
                <a:lnTo>
                  <a:pt x="1442" y="571"/>
                </a:lnTo>
                <a:close/>
                <a:moveTo>
                  <a:pt x="1527" y="693"/>
                </a:moveTo>
                <a:lnTo>
                  <a:pt x="1442" y="693"/>
                </a:lnTo>
                <a:lnTo>
                  <a:pt x="1489" y="646"/>
                </a:lnTo>
                <a:lnTo>
                  <a:pt x="1536" y="693"/>
                </a:lnTo>
                <a:lnTo>
                  <a:pt x="1527" y="693"/>
                </a:lnTo>
                <a:close/>
                <a:moveTo>
                  <a:pt x="1545" y="674"/>
                </a:moveTo>
                <a:lnTo>
                  <a:pt x="1499" y="628"/>
                </a:lnTo>
                <a:lnTo>
                  <a:pt x="1545" y="581"/>
                </a:lnTo>
                <a:lnTo>
                  <a:pt x="1545" y="674"/>
                </a:lnTo>
                <a:close/>
                <a:moveTo>
                  <a:pt x="1620" y="628"/>
                </a:moveTo>
                <a:lnTo>
                  <a:pt x="1573" y="674"/>
                </a:lnTo>
                <a:lnTo>
                  <a:pt x="1573" y="581"/>
                </a:lnTo>
                <a:lnTo>
                  <a:pt x="1620" y="628"/>
                </a:lnTo>
                <a:close/>
                <a:moveTo>
                  <a:pt x="1592" y="571"/>
                </a:moveTo>
                <a:lnTo>
                  <a:pt x="1676" y="571"/>
                </a:lnTo>
                <a:lnTo>
                  <a:pt x="1630" y="618"/>
                </a:lnTo>
                <a:lnTo>
                  <a:pt x="1592" y="571"/>
                </a:lnTo>
                <a:close/>
                <a:moveTo>
                  <a:pt x="1583" y="693"/>
                </a:moveTo>
                <a:lnTo>
                  <a:pt x="1630" y="646"/>
                </a:lnTo>
                <a:lnTo>
                  <a:pt x="1676" y="693"/>
                </a:lnTo>
                <a:lnTo>
                  <a:pt x="1583" y="693"/>
                </a:lnTo>
                <a:close/>
                <a:moveTo>
                  <a:pt x="1686" y="674"/>
                </a:moveTo>
                <a:lnTo>
                  <a:pt x="1648" y="628"/>
                </a:lnTo>
                <a:lnTo>
                  <a:pt x="1686" y="581"/>
                </a:lnTo>
                <a:lnTo>
                  <a:pt x="1686" y="674"/>
                </a:lnTo>
                <a:close/>
                <a:moveTo>
                  <a:pt x="1761" y="628"/>
                </a:moveTo>
                <a:lnTo>
                  <a:pt x="1723" y="665"/>
                </a:lnTo>
                <a:lnTo>
                  <a:pt x="1723" y="590"/>
                </a:lnTo>
                <a:lnTo>
                  <a:pt x="1761" y="628"/>
                </a:lnTo>
                <a:close/>
                <a:moveTo>
                  <a:pt x="1733" y="571"/>
                </a:moveTo>
                <a:lnTo>
                  <a:pt x="1817" y="571"/>
                </a:lnTo>
                <a:lnTo>
                  <a:pt x="1770" y="618"/>
                </a:lnTo>
                <a:lnTo>
                  <a:pt x="1733" y="571"/>
                </a:lnTo>
                <a:close/>
                <a:moveTo>
                  <a:pt x="1723" y="693"/>
                </a:moveTo>
                <a:lnTo>
                  <a:pt x="1770" y="646"/>
                </a:lnTo>
                <a:lnTo>
                  <a:pt x="1817" y="693"/>
                </a:lnTo>
                <a:lnTo>
                  <a:pt x="1723" y="693"/>
                </a:lnTo>
                <a:close/>
                <a:moveTo>
                  <a:pt x="1826" y="674"/>
                </a:moveTo>
                <a:lnTo>
                  <a:pt x="1789" y="628"/>
                </a:lnTo>
                <a:lnTo>
                  <a:pt x="1826" y="581"/>
                </a:lnTo>
                <a:lnTo>
                  <a:pt x="1826" y="674"/>
                </a:lnTo>
                <a:close/>
                <a:moveTo>
                  <a:pt x="1901" y="628"/>
                </a:moveTo>
                <a:lnTo>
                  <a:pt x="1864" y="665"/>
                </a:lnTo>
                <a:lnTo>
                  <a:pt x="1864" y="590"/>
                </a:lnTo>
                <a:lnTo>
                  <a:pt x="1901" y="628"/>
                </a:lnTo>
                <a:close/>
                <a:moveTo>
                  <a:pt x="1873" y="571"/>
                </a:moveTo>
                <a:lnTo>
                  <a:pt x="1957" y="571"/>
                </a:lnTo>
                <a:lnTo>
                  <a:pt x="1911" y="618"/>
                </a:lnTo>
                <a:lnTo>
                  <a:pt x="1873" y="571"/>
                </a:lnTo>
                <a:close/>
                <a:moveTo>
                  <a:pt x="1864" y="693"/>
                </a:moveTo>
                <a:lnTo>
                  <a:pt x="1911" y="646"/>
                </a:lnTo>
                <a:lnTo>
                  <a:pt x="1957" y="693"/>
                </a:lnTo>
                <a:lnTo>
                  <a:pt x="1864" y="693"/>
                </a:lnTo>
                <a:close/>
                <a:moveTo>
                  <a:pt x="1976" y="674"/>
                </a:moveTo>
                <a:lnTo>
                  <a:pt x="1929" y="628"/>
                </a:lnTo>
                <a:lnTo>
                  <a:pt x="1976" y="581"/>
                </a:lnTo>
                <a:lnTo>
                  <a:pt x="1976" y="674"/>
                </a:lnTo>
                <a:close/>
                <a:moveTo>
                  <a:pt x="2014" y="693"/>
                </a:moveTo>
                <a:lnTo>
                  <a:pt x="2060" y="646"/>
                </a:lnTo>
                <a:lnTo>
                  <a:pt x="2107" y="693"/>
                </a:lnTo>
                <a:lnTo>
                  <a:pt x="2014" y="693"/>
                </a:lnTo>
                <a:close/>
                <a:moveTo>
                  <a:pt x="2004" y="665"/>
                </a:moveTo>
                <a:lnTo>
                  <a:pt x="2004" y="590"/>
                </a:lnTo>
                <a:lnTo>
                  <a:pt x="2042" y="628"/>
                </a:lnTo>
                <a:lnTo>
                  <a:pt x="2004" y="665"/>
                </a:lnTo>
                <a:close/>
                <a:moveTo>
                  <a:pt x="2276" y="637"/>
                </a:moveTo>
                <a:lnTo>
                  <a:pt x="2426" y="693"/>
                </a:lnTo>
                <a:lnTo>
                  <a:pt x="2276" y="693"/>
                </a:lnTo>
                <a:lnTo>
                  <a:pt x="2276" y="637"/>
                </a:lnTo>
                <a:close/>
                <a:moveTo>
                  <a:pt x="2248" y="618"/>
                </a:moveTo>
                <a:lnTo>
                  <a:pt x="2248" y="693"/>
                </a:lnTo>
                <a:lnTo>
                  <a:pt x="2154" y="693"/>
                </a:lnTo>
                <a:lnTo>
                  <a:pt x="2229" y="618"/>
                </a:lnTo>
                <a:lnTo>
                  <a:pt x="2248" y="618"/>
                </a:lnTo>
                <a:close/>
                <a:moveTo>
                  <a:pt x="2145" y="581"/>
                </a:moveTo>
                <a:lnTo>
                  <a:pt x="2210" y="609"/>
                </a:lnTo>
                <a:lnTo>
                  <a:pt x="2145" y="674"/>
                </a:lnTo>
                <a:lnTo>
                  <a:pt x="2145" y="581"/>
                </a:lnTo>
                <a:close/>
                <a:moveTo>
                  <a:pt x="2117" y="674"/>
                </a:moveTo>
                <a:lnTo>
                  <a:pt x="2070" y="628"/>
                </a:lnTo>
                <a:lnTo>
                  <a:pt x="2117" y="581"/>
                </a:lnTo>
                <a:lnTo>
                  <a:pt x="2117" y="674"/>
                </a:lnTo>
                <a:close/>
                <a:moveTo>
                  <a:pt x="2060" y="618"/>
                </a:moveTo>
                <a:lnTo>
                  <a:pt x="2014" y="571"/>
                </a:lnTo>
                <a:lnTo>
                  <a:pt x="2098" y="571"/>
                </a:lnTo>
                <a:lnTo>
                  <a:pt x="2060" y="618"/>
                </a:lnTo>
                <a:close/>
                <a:moveTo>
                  <a:pt x="927" y="169"/>
                </a:moveTo>
                <a:lnTo>
                  <a:pt x="927" y="141"/>
                </a:lnTo>
                <a:lnTo>
                  <a:pt x="927" y="94"/>
                </a:lnTo>
                <a:lnTo>
                  <a:pt x="2051" y="543"/>
                </a:lnTo>
                <a:lnTo>
                  <a:pt x="2004" y="543"/>
                </a:lnTo>
                <a:lnTo>
                  <a:pt x="1976" y="543"/>
                </a:lnTo>
                <a:lnTo>
                  <a:pt x="1864" y="543"/>
                </a:lnTo>
                <a:lnTo>
                  <a:pt x="1826" y="543"/>
                </a:lnTo>
                <a:lnTo>
                  <a:pt x="1723" y="543"/>
                </a:lnTo>
                <a:lnTo>
                  <a:pt x="1686" y="543"/>
                </a:lnTo>
                <a:lnTo>
                  <a:pt x="1573" y="543"/>
                </a:lnTo>
                <a:lnTo>
                  <a:pt x="1573" y="543"/>
                </a:lnTo>
                <a:lnTo>
                  <a:pt x="1545" y="543"/>
                </a:lnTo>
                <a:lnTo>
                  <a:pt x="1527" y="543"/>
                </a:lnTo>
                <a:lnTo>
                  <a:pt x="1433" y="543"/>
                </a:lnTo>
                <a:lnTo>
                  <a:pt x="1405" y="543"/>
                </a:lnTo>
                <a:lnTo>
                  <a:pt x="1293" y="543"/>
                </a:lnTo>
                <a:lnTo>
                  <a:pt x="1255" y="543"/>
                </a:lnTo>
                <a:lnTo>
                  <a:pt x="1152" y="543"/>
                </a:lnTo>
                <a:lnTo>
                  <a:pt x="1115" y="543"/>
                </a:lnTo>
                <a:lnTo>
                  <a:pt x="965" y="543"/>
                </a:lnTo>
                <a:lnTo>
                  <a:pt x="965" y="468"/>
                </a:lnTo>
                <a:lnTo>
                  <a:pt x="927" y="468"/>
                </a:lnTo>
                <a:lnTo>
                  <a:pt x="927" y="169"/>
                </a:lnTo>
                <a:close/>
                <a:moveTo>
                  <a:pt x="1414" y="5292"/>
                </a:moveTo>
                <a:lnTo>
                  <a:pt x="1414" y="5030"/>
                </a:lnTo>
                <a:lnTo>
                  <a:pt x="1470" y="5030"/>
                </a:lnTo>
                <a:lnTo>
                  <a:pt x="1470" y="5292"/>
                </a:lnTo>
                <a:lnTo>
                  <a:pt x="1414" y="5292"/>
                </a:lnTo>
                <a:close/>
                <a:moveTo>
                  <a:pt x="1536" y="5610"/>
                </a:moveTo>
                <a:lnTo>
                  <a:pt x="1536" y="5339"/>
                </a:lnTo>
                <a:lnTo>
                  <a:pt x="1602" y="5339"/>
                </a:lnTo>
                <a:lnTo>
                  <a:pt x="1602" y="5610"/>
                </a:lnTo>
                <a:lnTo>
                  <a:pt x="1536" y="5610"/>
                </a:lnTo>
                <a:close/>
                <a:moveTo>
                  <a:pt x="1723" y="5339"/>
                </a:moveTo>
                <a:lnTo>
                  <a:pt x="1723" y="5610"/>
                </a:lnTo>
                <a:lnTo>
                  <a:pt x="1658" y="5610"/>
                </a:lnTo>
                <a:lnTo>
                  <a:pt x="1658" y="5339"/>
                </a:lnTo>
                <a:lnTo>
                  <a:pt x="1723" y="5339"/>
                </a:lnTo>
                <a:close/>
                <a:moveTo>
                  <a:pt x="1658" y="5292"/>
                </a:moveTo>
                <a:lnTo>
                  <a:pt x="1658" y="5030"/>
                </a:lnTo>
                <a:lnTo>
                  <a:pt x="1723" y="5030"/>
                </a:lnTo>
                <a:lnTo>
                  <a:pt x="1723" y="5292"/>
                </a:lnTo>
                <a:lnTo>
                  <a:pt x="1658" y="5292"/>
                </a:lnTo>
                <a:close/>
                <a:moveTo>
                  <a:pt x="1723" y="4964"/>
                </a:moveTo>
                <a:lnTo>
                  <a:pt x="1658" y="4964"/>
                </a:lnTo>
                <a:lnTo>
                  <a:pt x="1658" y="4692"/>
                </a:lnTo>
                <a:lnTo>
                  <a:pt x="1723" y="4692"/>
                </a:lnTo>
                <a:lnTo>
                  <a:pt x="1723" y="4964"/>
                </a:lnTo>
                <a:close/>
                <a:moveTo>
                  <a:pt x="1602" y="1611"/>
                </a:moveTo>
                <a:lnTo>
                  <a:pt x="1686" y="1611"/>
                </a:lnTo>
                <a:lnTo>
                  <a:pt x="1686" y="1658"/>
                </a:lnTo>
                <a:lnTo>
                  <a:pt x="1602" y="1658"/>
                </a:lnTo>
                <a:lnTo>
                  <a:pt x="1602" y="1611"/>
                </a:lnTo>
                <a:close/>
                <a:moveTo>
                  <a:pt x="1602" y="1686"/>
                </a:moveTo>
                <a:lnTo>
                  <a:pt x="1686" y="1686"/>
                </a:lnTo>
                <a:lnTo>
                  <a:pt x="1686" y="1742"/>
                </a:lnTo>
                <a:lnTo>
                  <a:pt x="1602" y="1742"/>
                </a:lnTo>
                <a:lnTo>
                  <a:pt x="1602" y="1686"/>
                </a:lnTo>
                <a:close/>
                <a:moveTo>
                  <a:pt x="1602" y="1770"/>
                </a:moveTo>
                <a:lnTo>
                  <a:pt x="1686" y="1770"/>
                </a:lnTo>
                <a:lnTo>
                  <a:pt x="1686" y="1817"/>
                </a:lnTo>
                <a:lnTo>
                  <a:pt x="1602" y="1817"/>
                </a:lnTo>
                <a:lnTo>
                  <a:pt x="1602" y="1770"/>
                </a:lnTo>
                <a:close/>
                <a:moveTo>
                  <a:pt x="1602" y="1855"/>
                </a:moveTo>
                <a:lnTo>
                  <a:pt x="1686" y="1855"/>
                </a:lnTo>
                <a:lnTo>
                  <a:pt x="1686" y="1901"/>
                </a:lnTo>
                <a:lnTo>
                  <a:pt x="1602" y="1901"/>
                </a:lnTo>
                <a:lnTo>
                  <a:pt x="1602" y="1855"/>
                </a:lnTo>
                <a:close/>
                <a:moveTo>
                  <a:pt x="1602" y="1929"/>
                </a:moveTo>
                <a:lnTo>
                  <a:pt x="1686" y="1929"/>
                </a:lnTo>
                <a:lnTo>
                  <a:pt x="1686" y="1986"/>
                </a:lnTo>
                <a:lnTo>
                  <a:pt x="1602" y="1986"/>
                </a:lnTo>
                <a:lnTo>
                  <a:pt x="1602" y="1929"/>
                </a:lnTo>
                <a:close/>
                <a:moveTo>
                  <a:pt x="1602" y="2014"/>
                </a:moveTo>
                <a:lnTo>
                  <a:pt x="1686" y="2014"/>
                </a:lnTo>
                <a:lnTo>
                  <a:pt x="1686" y="2061"/>
                </a:lnTo>
                <a:lnTo>
                  <a:pt x="1602" y="2061"/>
                </a:lnTo>
                <a:lnTo>
                  <a:pt x="1602" y="2014"/>
                </a:lnTo>
                <a:close/>
                <a:moveTo>
                  <a:pt x="1602" y="2098"/>
                </a:moveTo>
                <a:lnTo>
                  <a:pt x="1686" y="2098"/>
                </a:lnTo>
                <a:lnTo>
                  <a:pt x="1686" y="2145"/>
                </a:lnTo>
                <a:lnTo>
                  <a:pt x="1602" y="2145"/>
                </a:lnTo>
                <a:lnTo>
                  <a:pt x="1602" y="2098"/>
                </a:lnTo>
                <a:close/>
                <a:moveTo>
                  <a:pt x="1602" y="2173"/>
                </a:moveTo>
                <a:lnTo>
                  <a:pt x="1686" y="2173"/>
                </a:lnTo>
                <a:lnTo>
                  <a:pt x="1686" y="2220"/>
                </a:lnTo>
                <a:lnTo>
                  <a:pt x="1602" y="2220"/>
                </a:lnTo>
                <a:lnTo>
                  <a:pt x="1602" y="2173"/>
                </a:lnTo>
                <a:close/>
                <a:moveTo>
                  <a:pt x="1602" y="2257"/>
                </a:moveTo>
                <a:lnTo>
                  <a:pt x="1686" y="2257"/>
                </a:lnTo>
                <a:lnTo>
                  <a:pt x="1686" y="2304"/>
                </a:lnTo>
                <a:lnTo>
                  <a:pt x="1602" y="2304"/>
                </a:lnTo>
                <a:lnTo>
                  <a:pt x="1602" y="2257"/>
                </a:lnTo>
                <a:close/>
                <a:moveTo>
                  <a:pt x="1602" y="2416"/>
                </a:moveTo>
                <a:lnTo>
                  <a:pt x="1686" y="2416"/>
                </a:lnTo>
                <a:lnTo>
                  <a:pt x="1686" y="2463"/>
                </a:lnTo>
                <a:lnTo>
                  <a:pt x="1602" y="2463"/>
                </a:lnTo>
                <a:lnTo>
                  <a:pt x="1602" y="2416"/>
                </a:lnTo>
                <a:close/>
                <a:moveTo>
                  <a:pt x="1602" y="2501"/>
                </a:moveTo>
                <a:lnTo>
                  <a:pt x="1686" y="2501"/>
                </a:lnTo>
                <a:lnTo>
                  <a:pt x="1686" y="2548"/>
                </a:lnTo>
                <a:lnTo>
                  <a:pt x="1602" y="2548"/>
                </a:lnTo>
                <a:lnTo>
                  <a:pt x="1602" y="2501"/>
                </a:lnTo>
                <a:close/>
                <a:moveTo>
                  <a:pt x="1602" y="2576"/>
                </a:moveTo>
                <a:lnTo>
                  <a:pt x="1686" y="2576"/>
                </a:lnTo>
                <a:lnTo>
                  <a:pt x="1686" y="2632"/>
                </a:lnTo>
                <a:lnTo>
                  <a:pt x="1602" y="2632"/>
                </a:lnTo>
                <a:lnTo>
                  <a:pt x="1602" y="2576"/>
                </a:lnTo>
                <a:close/>
                <a:moveTo>
                  <a:pt x="1602" y="2660"/>
                </a:moveTo>
                <a:lnTo>
                  <a:pt x="1686" y="2660"/>
                </a:lnTo>
                <a:lnTo>
                  <a:pt x="1686" y="2707"/>
                </a:lnTo>
                <a:lnTo>
                  <a:pt x="1602" y="2707"/>
                </a:lnTo>
                <a:lnTo>
                  <a:pt x="1602" y="2660"/>
                </a:lnTo>
                <a:close/>
                <a:moveTo>
                  <a:pt x="1602" y="2744"/>
                </a:moveTo>
                <a:lnTo>
                  <a:pt x="1686" y="2744"/>
                </a:lnTo>
                <a:lnTo>
                  <a:pt x="1686" y="2791"/>
                </a:lnTo>
                <a:lnTo>
                  <a:pt x="1602" y="2791"/>
                </a:lnTo>
                <a:lnTo>
                  <a:pt x="1602" y="2744"/>
                </a:lnTo>
                <a:close/>
                <a:moveTo>
                  <a:pt x="1602" y="2819"/>
                </a:moveTo>
                <a:lnTo>
                  <a:pt x="1686" y="2819"/>
                </a:lnTo>
                <a:lnTo>
                  <a:pt x="1686" y="2875"/>
                </a:lnTo>
                <a:lnTo>
                  <a:pt x="1602" y="2875"/>
                </a:lnTo>
                <a:lnTo>
                  <a:pt x="1602" y="2819"/>
                </a:lnTo>
                <a:close/>
                <a:moveTo>
                  <a:pt x="1602" y="2904"/>
                </a:moveTo>
                <a:lnTo>
                  <a:pt x="1686" y="2904"/>
                </a:lnTo>
                <a:lnTo>
                  <a:pt x="1686" y="2950"/>
                </a:lnTo>
                <a:lnTo>
                  <a:pt x="1602" y="2950"/>
                </a:lnTo>
                <a:lnTo>
                  <a:pt x="1602" y="2904"/>
                </a:lnTo>
                <a:close/>
                <a:moveTo>
                  <a:pt x="1602" y="2988"/>
                </a:moveTo>
                <a:lnTo>
                  <a:pt x="1686" y="2988"/>
                </a:lnTo>
                <a:lnTo>
                  <a:pt x="1686" y="3035"/>
                </a:lnTo>
                <a:lnTo>
                  <a:pt x="1602" y="3035"/>
                </a:lnTo>
                <a:lnTo>
                  <a:pt x="1602" y="2988"/>
                </a:lnTo>
                <a:close/>
                <a:moveTo>
                  <a:pt x="1602" y="3063"/>
                </a:moveTo>
                <a:lnTo>
                  <a:pt x="1686" y="3063"/>
                </a:lnTo>
                <a:lnTo>
                  <a:pt x="1686" y="3119"/>
                </a:lnTo>
                <a:lnTo>
                  <a:pt x="1602" y="3119"/>
                </a:lnTo>
                <a:lnTo>
                  <a:pt x="1602" y="3063"/>
                </a:lnTo>
                <a:close/>
                <a:moveTo>
                  <a:pt x="1602" y="3147"/>
                </a:moveTo>
                <a:lnTo>
                  <a:pt x="1686" y="3147"/>
                </a:lnTo>
                <a:lnTo>
                  <a:pt x="1686" y="3194"/>
                </a:lnTo>
                <a:lnTo>
                  <a:pt x="1602" y="3194"/>
                </a:lnTo>
                <a:lnTo>
                  <a:pt x="1602" y="3147"/>
                </a:lnTo>
                <a:close/>
                <a:moveTo>
                  <a:pt x="1602" y="3231"/>
                </a:moveTo>
                <a:lnTo>
                  <a:pt x="1686" y="3231"/>
                </a:lnTo>
                <a:lnTo>
                  <a:pt x="1686" y="3278"/>
                </a:lnTo>
                <a:lnTo>
                  <a:pt x="1602" y="3278"/>
                </a:lnTo>
                <a:lnTo>
                  <a:pt x="1602" y="3231"/>
                </a:lnTo>
                <a:close/>
                <a:moveTo>
                  <a:pt x="1602" y="3306"/>
                </a:moveTo>
                <a:lnTo>
                  <a:pt x="1686" y="3306"/>
                </a:lnTo>
                <a:lnTo>
                  <a:pt x="1686" y="3353"/>
                </a:lnTo>
                <a:lnTo>
                  <a:pt x="1602" y="3353"/>
                </a:lnTo>
                <a:lnTo>
                  <a:pt x="1602" y="3306"/>
                </a:lnTo>
                <a:close/>
                <a:moveTo>
                  <a:pt x="1602" y="3475"/>
                </a:moveTo>
                <a:lnTo>
                  <a:pt x="1686" y="3475"/>
                </a:lnTo>
                <a:lnTo>
                  <a:pt x="1686" y="3522"/>
                </a:lnTo>
                <a:lnTo>
                  <a:pt x="1602" y="3522"/>
                </a:lnTo>
                <a:lnTo>
                  <a:pt x="1602" y="3475"/>
                </a:lnTo>
                <a:close/>
                <a:moveTo>
                  <a:pt x="1602" y="3550"/>
                </a:moveTo>
                <a:lnTo>
                  <a:pt x="1686" y="3550"/>
                </a:lnTo>
                <a:lnTo>
                  <a:pt x="1686" y="3597"/>
                </a:lnTo>
                <a:lnTo>
                  <a:pt x="1602" y="3597"/>
                </a:lnTo>
                <a:lnTo>
                  <a:pt x="1602" y="3550"/>
                </a:lnTo>
                <a:close/>
                <a:moveTo>
                  <a:pt x="1602" y="3709"/>
                </a:moveTo>
                <a:lnTo>
                  <a:pt x="1686" y="3709"/>
                </a:lnTo>
                <a:lnTo>
                  <a:pt x="1686" y="3765"/>
                </a:lnTo>
                <a:lnTo>
                  <a:pt x="1602" y="3765"/>
                </a:lnTo>
                <a:lnTo>
                  <a:pt x="1602" y="3709"/>
                </a:lnTo>
                <a:close/>
                <a:moveTo>
                  <a:pt x="1602" y="3793"/>
                </a:moveTo>
                <a:lnTo>
                  <a:pt x="1686" y="3793"/>
                </a:lnTo>
                <a:lnTo>
                  <a:pt x="1686" y="3840"/>
                </a:lnTo>
                <a:lnTo>
                  <a:pt x="1602" y="3840"/>
                </a:lnTo>
                <a:lnTo>
                  <a:pt x="1602" y="3793"/>
                </a:lnTo>
                <a:close/>
                <a:moveTo>
                  <a:pt x="1602" y="3878"/>
                </a:moveTo>
                <a:lnTo>
                  <a:pt x="1686" y="3878"/>
                </a:lnTo>
                <a:lnTo>
                  <a:pt x="1686" y="3924"/>
                </a:lnTo>
                <a:lnTo>
                  <a:pt x="1602" y="3924"/>
                </a:lnTo>
                <a:lnTo>
                  <a:pt x="1602" y="3878"/>
                </a:lnTo>
                <a:close/>
                <a:moveTo>
                  <a:pt x="1602" y="3953"/>
                </a:moveTo>
                <a:lnTo>
                  <a:pt x="1686" y="3953"/>
                </a:lnTo>
                <a:lnTo>
                  <a:pt x="1686" y="4009"/>
                </a:lnTo>
                <a:lnTo>
                  <a:pt x="1602" y="4009"/>
                </a:lnTo>
                <a:lnTo>
                  <a:pt x="1602" y="3953"/>
                </a:lnTo>
                <a:close/>
                <a:moveTo>
                  <a:pt x="1602" y="4037"/>
                </a:moveTo>
                <a:lnTo>
                  <a:pt x="1686" y="4037"/>
                </a:lnTo>
                <a:lnTo>
                  <a:pt x="1686" y="4084"/>
                </a:lnTo>
                <a:lnTo>
                  <a:pt x="1602" y="4084"/>
                </a:lnTo>
                <a:lnTo>
                  <a:pt x="1602" y="4037"/>
                </a:lnTo>
                <a:close/>
                <a:moveTo>
                  <a:pt x="1602" y="4121"/>
                </a:moveTo>
                <a:lnTo>
                  <a:pt x="1686" y="4121"/>
                </a:lnTo>
                <a:lnTo>
                  <a:pt x="1686" y="4168"/>
                </a:lnTo>
                <a:lnTo>
                  <a:pt x="1602" y="4168"/>
                </a:lnTo>
                <a:lnTo>
                  <a:pt x="1602" y="4121"/>
                </a:lnTo>
                <a:close/>
                <a:moveTo>
                  <a:pt x="1602" y="4196"/>
                </a:moveTo>
                <a:lnTo>
                  <a:pt x="1686" y="4196"/>
                </a:lnTo>
                <a:lnTo>
                  <a:pt x="1686" y="4252"/>
                </a:lnTo>
                <a:lnTo>
                  <a:pt x="1602" y="4252"/>
                </a:lnTo>
                <a:lnTo>
                  <a:pt x="1602" y="4196"/>
                </a:lnTo>
                <a:close/>
                <a:moveTo>
                  <a:pt x="1602" y="4280"/>
                </a:moveTo>
                <a:lnTo>
                  <a:pt x="1686" y="4280"/>
                </a:lnTo>
                <a:lnTo>
                  <a:pt x="1686" y="4327"/>
                </a:lnTo>
                <a:lnTo>
                  <a:pt x="1602" y="4327"/>
                </a:lnTo>
                <a:lnTo>
                  <a:pt x="1602" y="4280"/>
                </a:lnTo>
                <a:close/>
                <a:moveTo>
                  <a:pt x="1602" y="4365"/>
                </a:moveTo>
                <a:lnTo>
                  <a:pt x="1686" y="4365"/>
                </a:lnTo>
                <a:lnTo>
                  <a:pt x="1686" y="4411"/>
                </a:lnTo>
                <a:lnTo>
                  <a:pt x="1602" y="4411"/>
                </a:lnTo>
                <a:lnTo>
                  <a:pt x="1602" y="4365"/>
                </a:lnTo>
                <a:close/>
                <a:moveTo>
                  <a:pt x="1602" y="4440"/>
                </a:moveTo>
                <a:lnTo>
                  <a:pt x="1686" y="4440"/>
                </a:lnTo>
                <a:lnTo>
                  <a:pt x="1686" y="4496"/>
                </a:lnTo>
                <a:lnTo>
                  <a:pt x="1602" y="4496"/>
                </a:lnTo>
                <a:lnTo>
                  <a:pt x="1602" y="4440"/>
                </a:lnTo>
                <a:close/>
                <a:moveTo>
                  <a:pt x="1602" y="4964"/>
                </a:moveTo>
                <a:lnTo>
                  <a:pt x="1536" y="4964"/>
                </a:lnTo>
                <a:lnTo>
                  <a:pt x="1536" y="4692"/>
                </a:lnTo>
                <a:lnTo>
                  <a:pt x="1602" y="4692"/>
                </a:lnTo>
                <a:lnTo>
                  <a:pt x="1602" y="4964"/>
                </a:lnTo>
                <a:close/>
                <a:moveTo>
                  <a:pt x="1508" y="1611"/>
                </a:moveTo>
                <a:lnTo>
                  <a:pt x="1583" y="1611"/>
                </a:lnTo>
                <a:lnTo>
                  <a:pt x="1583" y="1658"/>
                </a:lnTo>
                <a:lnTo>
                  <a:pt x="1508" y="1658"/>
                </a:lnTo>
                <a:lnTo>
                  <a:pt x="1508" y="1611"/>
                </a:lnTo>
                <a:close/>
                <a:moveTo>
                  <a:pt x="1508" y="1686"/>
                </a:moveTo>
                <a:lnTo>
                  <a:pt x="1583" y="1686"/>
                </a:lnTo>
                <a:lnTo>
                  <a:pt x="1583" y="1742"/>
                </a:lnTo>
                <a:lnTo>
                  <a:pt x="1508" y="1742"/>
                </a:lnTo>
                <a:lnTo>
                  <a:pt x="1508" y="1686"/>
                </a:lnTo>
                <a:close/>
                <a:moveTo>
                  <a:pt x="1508" y="1770"/>
                </a:moveTo>
                <a:lnTo>
                  <a:pt x="1583" y="1770"/>
                </a:lnTo>
                <a:lnTo>
                  <a:pt x="1583" y="1817"/>
                </a:lnTo>
                <a:lnTo>
                  <a:pt x="1508" y="1817"/>
                </a:lnTo>
                <a:lnTo>
                  <a:pt x="1508" y="1770"/>
                </a:lnTo>
                <a:close/>
                <a:moveTo>
                  <a:pt x="1508" y="1855"/>
                </a:moveTo>
                <a:lnTo>
                  <a:pt x="1583" y="1855"/>
                </a:lnTo>
                <a:lnTo>
                  <a:pt x="1583" y="1901"/>
                </a:lnTo>
                <a:lnTo>
                  <a:pt x="1508" y="1901"/>
                </a:lnTo>
                <a:lnTo>
                  <a:pt x="1508" y="1855"/>
                </a:lnTo>
                <a:close/>
                <a:moveTo>
                  <a:pt x="1508" y="1929"/>
                </a:moveTo>
                <a:lnTo>
                  <a:pt x="1583" y="1929"/>
                </a:lnTo>
                <a:lnTo>
                  <a:pt x="1583" y="1986"/>
                </a:lnTo>
                <a:lnTo>
                  <a:pt x="1508" y="1986"/>
                </a:lnTo>
                <a:lnTo>
                  <a:pt x="1508" y="1929"/>
                </a:lnTo>
                <a:close/>
                <a:moveTo>
                  <a:pt x="1508" y="2014"/>
                </a:moveTo>
                <a:lnTo>
                  <a:pt x="1583" y="2014"/>
                </a:lnTo>
                <a:lnTo>
                  <a:pt x="1583" y="2061"/>
                </a:lnTo>
                <a:lnTo>
                  <a:pt x="1508" y="2061"/>
                </a:lnTo>
                <a:lnTo>
                  <a:pt x="1508" y="2014"/>
                </a:lnTo>
                <a:close/>
                <a:moveTo>
                  <a:pt x="1508" y="2098"/>
                </a:moveTo>
                <a:lnTo>
                  <a:pt x="1583" y="2098"/>
                </a:lnTo>
                <a:lnTo>
                  <a:pt x="1583" y="2145"/>
                </a:lnTo>
                <a:lnTo>
                  <a:pt x="1508" y="2145"/>
                </a:lnTo>
                <a:lnTo>
                  <a:pt x="1508" y="2098"/>
                </a:lnTo>
                <a:close/>
                <a:moveTo>
                  <a:pt x="1508" y="2173"/>
                </a:moveTo>
                <a:lnTo>
                  <a:pt x="1583" y="2173"/>
                </a:lnTo>
                <a:lnTo>
                  <a:pt x="1583" y="2220"/>
                </a:lnTo>
                <a:lnTo>
                  <a:pt x="1508" y="2220"/>
                </a:lnTo>
                <a:lnTo>
                  <a:pt x="1508" y="2173"/>
                </a:lnTo>
                <a:close/>
                <a:moveTo>
                  <a:pt x="1508" y="2257"/>
                </a:moveTo>
                <a:lnTo>
                  <a:pt x="1583" y="2257"/>
                </a:lnTo>
                <a:lnTo>
                  <a:pt x="1583" y="2304"/>
                </a:lnTo>
                <a:lnTo>
                  <a:pt x="1508" y="2304"/>
                </a:lnTo>
                <a:lnTo>
                  <a:pt x="1508" y="2257"/>
                </a:lnTo>
                <a:close/>
                <a:moveTo>
                  <a:pt x="1508" y="2332"/>
                </a:moveTo>
                <a:lnTo>
                  <a:pt x="1583" y="2332"/>
                </a:lnTo>
                <a:lnTo>
                  <a:pt x="1583" y="2388"/>
                </a:lnTo>
                <a:lnTo>
                  <a:pt x="1508" y="2388"/>
                </a:lnTo>
                <a:lnTo>
                  <a:pt x="1508" y="2332"/>
                </a:lnTo>
                <a:close/>
                <a:moveTo>
                  <a:pt x="1508" y="2416"/>
                </a:moveTo>
                <a:lnTo>
                  <a:pt x="1583" y="2416"/>
                </a:lnTo>
                <a:lnTo>
                  <a:pt x="1583" y="2463"/>
                </a:lnTo>
                <a:lnTo>
                  <a:pt x="1508" y="2463"/>
                </a:lnTo>
                <a:lnTo>
                  <a:pt x="1508" y="2416"/>
                </a:lnTo>
                <a:close/>
                <a:moveTo>
                  <a:pt x="1508" y="2576"/>
                </a:moveTo>
                <a:lnTo>
                  <a:pt x="1583" y="2576"/>
                </a:lnTo>
                <a:lnTo>
                  <a:pt x="1583" y="2632"/>
                </a:lnTo>
                <a:lnTo>
                  <a:pt x="1508" y="2632"/>
                </a:lnTo>
                <a:lnTo>
                  <a:pt x="1508" y="2576"/>
                </a:lnTo>
                <a:close/>
                <a:moveTo>
                  <a:pt x="1508" y="2744"/>
                </a:moveTo>
                <a:lnTo>
                  <a:pt x="1583" y="2744"/>
                </a:lnTo>
                <a:lnTo>
                  <a:pt x="1583" y="2791"/>
                </a:lnTo>
                <a:lnTo>
                  <a:pt x="1508" y="2791"/>
                </a:lnTo>
                <a:lnTo>
                  <a:pt x="1508" y="2744"/>
                </a:lnTo>
                <a:close/>
                <a:moveTo>
                  <a:pt x="1508" y="2819"/>
                </a:moveTo>
                <a:lnTo>
                  <a:pt x="1583" y="2819"/>
                </a:lnTo>
                <a:lnTo>
                  <a:pt x="1583" y="2875"/>
                </a:lnTo>
                <a:lnTo>
                  <a:pt x="1508" y="2875"/>
                </a:lnTo>
                <a:lnTo>
                  <a:pt x="1508" y="2819"/>
                </a:lnTo>
                <a:close/>
                <a:moveTo>
                  <a:pt x="1508" y="2988"/>
                </a:moveTo>
                <a:lnTo>
                  <a:pt x="1583" y="2988"/>
                </a:lnTo>
                <a:lnTo>
                  <a:pt x="1583" y="3035"/>
                </a:lnTo>
                <a:lnTo>
                  <a:pt x="1508" y="3035"/>
                </a:lnTo>
                <a:lnTo>
                  <a:pt x="1508" y="2988"/>
                </a:lnTo>
                <a:close/>
                <a:moveTo>
                  <a:pt x="1508" y="3063"/>
                </a:moveTo>
                <a:lnTo>
                  <a:pt x="1583" y="3063"/>
                </a:lnTo>
                <a:lnTo>
                  <a:pt x="1583" y="3119"/>
                </a:lnTo>
                <a:lnTo>
                  <a:pt x="1508" y="3119"/>
                </a:lnTo>
                <a:lnTo>
                  <a:pt x="1508" y="3063"/>
                </a:lnTo>
                <a:close/>
                <a:moveTo>
                  <a:pt x="1508" y="3147"/>
                </a:moveTo>
                <a:lnTo>
                  <a:pt x="1583" y="3147"/>
                </a:lnTo>
                <a:lnTo>
                  <a:pt x="1583" y="3194"/>
                </a:lnTo>
                <a:lnTo>
                  <a:pt x="1508" y="3194"/>
                </a:lnTo>
                <a:lnTo>
                  <a:pt x="1508" y="3147"/>
                </a:lnTo>
                <a:close/>
                <a:moveTo>
                  <a:pt x="1508" y="3306"/>
                </a:moveTo>
                <a:lnTo>
                  <a:pt x="1583" y="3306"/>
                </a:lnTo>
                <a:lnTo>
                  <a:pt x="1583" y="3353"/>
                </a:lnTo>
                <a:lnTo>
                  <a:pt x="1508" y="3353"/>
                </a:lnTo>
                <a:lnTo>
                  <a:pt x="1508" y="3306"/>
                </a:lnTo>
                <a:close/>
                <a:moveTo>
                  <a:pt x="1508" y="3391"/>
                </a:moveTo>
                <a:lnTo>
                  <a:pt x="1583" y="3391"/>
                </a:lnTo>
                <a:lnTo>
                  <a:pt x="1583" y="3437"/>
                </a:lnTo>
                <a:lnTo>
                  <a:pt x="1508" y="3437"/>
                </a:lnTo>
                <a:lnTo>
                  <a:pt x="1508" y="3391"/>
                </a:lnTo>
                <a:close/>
                <a:moveTo>
                  <a:pt x="1508" y="3550"/>
                </a:moveTo>
                <a:lnTo>
                  <a:pt x="1583" y="3550"/>
                </a:lnTo>
                <a:lnTo>
                  <a:pt x="1583" y="3597"/>
                </a:lnTo>
                <a:lnTo>
                  <a:pt x="1508" y="3597"/>
                </a:lnTo>
                <a:lnTo>
                  <a:pt x="1508" y="3550"/>
                </a:lnTo>
                <a:close/>
                <a:moveTo>
                  <a:pt x="1508" y="3634"/>
                </a:moveTo>
                <a:lnTo>
                  <a:pt x="1583" y="3634"/>
                </a:lnTo>
                <a:lnTo>
                  <a:pt x="1583" y="3681"/>
                </a:lnTo>
                <a:lnTo>
                  <a:pt x="1508" y="3681"/>
                </a:lnTo>
                <a:lnTo>
                  <a:pt x="1508" y="3634"/>
                </a:lnTo>
                <a:close/>
                <a:moveTo>
                  <a:pt x="1508" y="3709"/>
                </a:moveTo>
                <a:lnTo>
                  <a:pt x="1583" y="3709"/>
                </a:lnTo>
                <a:lnTo>
                  <a:pt x="1583" y="3765"/>
                </a:lnTo>
                <a:lnTo>
                  <a:pt x="1508" y="3765"/>
                </a:lnTo>
                <a:lnTo>
                  <a:pt x="1508" y="3709"/>
                </a:lnTo>
                <a:close/>
                <a:moveTo>
                  <a:pt x="1508" y="3878"/>
                </a:moveTo>
                <a:lnTo>
                  <a:pt x="1583" y="3878"/>
                </a:lnTo>
                <a:lnTo>
                  <a:pt x="1583" y="3924"/>
                </a:lnTo>
                <a:lnTo>
                  <a:pt x="1508" y="3924"/>
                </a:lnTo>
                <a:lnTo>
                  <a:pt x="1508" y="3878"/>
                </a:lnTo>
                <a:close/>
                <a:moveTo>
                  <a:pt x="1508" y="3953"/>
                </a:moveTo>
                <a:lnTo>
                  <a:pt x="1583" y="3953"/>
                </a:lnTo>
                <a:lnTo>
                  <a:pt x="1583" y="4009"/>
                </a:lnTo>
                <a:lnTo>
                  <a:pt x="1508" y="4009"/>
                </a:lnTo>
                <a:lnTo>
                  <a:pt x="1508" y="3953"/>
                </a:lnTo>
                <a:close/>
                <a:moveTo>
                  <a:pt x="1508" y="4037"/>
                </a:moveTo>
                <a:lnTo>
                  <a:pt x="1583" y="4037"/>
                </a:lnTo>
                <a:lnTo>
                  <a:pt x="1583" y="4084"/>
                </a:lnTo>
                <a:lnTo>
                  <a:pt x="1508" y="4084"/>
                </a:lnTo>
                <a:lnTo>
                  <a:pt x="1508" y="4037"/>
                </a:lnTo>
                <a:close/>
                <a:moveTo>
                  <a:pt x="1508" y="4121"/>
                </a:moveTo>
                <a:lnTo>
                  <a:pt x="1583" y="4121"/>
                </a:lnTo>
                <a:lnTo>
                  <a:pt x="1583" y="4168"/>
                </a:lnTo>
                <a:lnTo>
                  <a:pt x="1508" y="4168"/>
                </a:lnTo>
                <a:lnTo>
                  <a:pt x="1508" y="4121"/>
                </a:lnTo>
                <a:close/>
                <a:moveTo>
                  <a:pt x="1508" y="4280"/>
                </a:moveTo>
                <a:lnTo>
                  <a:pt x="1583" y="4280"/>
                </a:lnTo>
                <a:lnTo>
                  <a:pt x="1583" y="4327"/>
                </a:lnTo>
                <a:lnTo>
                  <a:pt x="1508" y="4327"/>
                </a:lnTo>
                <a:lnTo>
                  <a:pt x="1508" y="4280"/>
                </a:lnTo>
                <a:close/>
                <a:moveTo>
                  <a:pt x="1508" y="4365"/>
                </a:moveTo>
                <a:lnTo>
                  <a:pt x="1583" y="4365"/>
                </a:lnTo>
                <a:lnTo>
                  <a:pt x="1583" y="4411"/>
                </a:lnTo>
                <a:lnTo>
                  <a:pt x="1508" y="4411"/>
                </a:lnTo>
                <a:lnTo>
                  <a:pt x="1508" y="4365"/>
                </a:lnTo>
                <a:close/>
                <a:moveTo>
                  <a:pt x="1508" y="4440"/>
                </a:moveTo>
                <a:lnTo>
                  <a:pt x="1583" y="4440"/>
                </a:lnTo>
                <a:lnTo>
                  <a:pt x="1583" y="4496"/>
                </a:lnTo>
                <a:lnTo>
                  <a:pt x="1508" y="4496"/>
                </a:lnTo>
                <a:lnTo>
                  <a:pt x="1508" y="4440"/>
                </a:lnTo>
                <a:close/>
                <a:moveTo>
                  <a:pt x="1405" y="1611"/>
                </a:moveTo>
                <a:lnTo>
                  <a:pt x="1480" y="1611"/>
                </a:lnTo>
                <a:lnTo>
                  <a:pt x="1480" y="1658"/>
                </a:lnTo>
                <a:lnTo>
                  <a:pt x="1405" y="1658"/>
                </a:lnTo>
                <a:lnTo>
                  <a:pt x="1405" y="1611"/>
                </a:lnTo>
                <a:close/>
                <a:moveTo>
                  <a:pt x="1405" y="1686"/>
                </a:moveTo>
                <a:lnTo>
                  <a:pt x="1480" y="1686"/>
                </a:lnTo>
                <a:lnTo>
                  <a:pt x="1480" y="1742"/>
                </a:lnTo>
                <a:lnTo>
                  <a:pt x="1405" y="1742"/>
                </a:lnTo>
                <a:lnTo>
                  <a:pt x="1405" y="1686"/>
                </a:lnTo>
                <a:close/>
                <a:moveTo>
                  <a:pt x="1405" y="1770"/>
                </a:moveTo>
                <a:lnTo>
                  <a:pt x="1480" y="1770"/>
                </a:lnTo>
                <a:lnTo>
                  <a:pt x="1480" y="1817"/>
                </a:lnTo>
                <a:lnTo>
                  <a:pt x="1405" y="1817"/>
                </a:lnTo>
                <a:lnTo>
                  <a:pt x="1405" y="1770"/>
                </a:lnTo>
                <a:close/>
                <a:moveTo>
                  <a:pt x="1405" y="1855"/>
                </a:moveTo>
                <a:lnTo>
                  <a:pt x="1480" y="1855"/>
                </a:lnTo>
                <a:lnTo>
                  <a:pt x="1480" y="1901"/>
                </a:lnTo>
                <a:lnTo>
                  <a:pt x="1405" y="1901"/>
                </a:lnTo>
                <a:lnTo>
                  <a:pt x="1405" y="1855"/>
                </a:lnTo>
                <a:close/>
                <a:moveTo>
                  <a:pt x="1405" y="2014"/>
                </a:moveTo>
                <a:lnTo>
                  <a:pt x="1480" y="2014"/>
                </a:lnTo>
                <a:lnTo>
                  <a:pt x="1480" y="2061"/>
                </a:lnTo>
                <a:lnTo>
                  <a:pt x="1405" y="2061"/>
                </a:lnTo>
                <a:lnTo>
                  <a:pt x="1405" y="2014"/>
                </a:lnTo>
                <a:close/>
                <a:moveTo>
                  <a:pt x="1405" y="2098"/>
                </a:moveTo>
                <a:lnTo>
                  <a:pt x="1480" y="2098"/>
                </a:lnTo>
                <a:lnTo>
                  <a:pt x="1480" y="2145"/>
                </a:lnTo>
                <a:lnTo>
                  <a:pt x="1405" y="2145"/>
                </a:lnTo>
                <a:lnTo>
                  <a:pt x="1405" y="2098"/>
                </a:lnTo>
                <a:close/>
                <a:moveTo>
                  <a:pt x="1405" y="2173"/>
                </a:moveTo>
                <a:lnTo>
                  <a:pt x="1480" y="2173"/>
                </a:lnTo>
                <a:lnTo>
                  <a:pt x="1480" y="2220"/>
                </a:lnTo>
                <a:lnTo>
                  <a:pt x="1405" y="2220"/>
                </a:lnTo>
                <a:lnTo>
                  <a:pt x="1405" y="2173"/>
                </a:lnTo>
                <a:close/>
                <a:moveTo>
                  <a:pt x="1405" y="2257"/>
                </a:moveTo>
                <a:lnTo>
                  <a:pt x="1480" y="2257"/>
                </a:lnTo>
                <a:lnTo>
                  <a:pt x="1480" y="2304"/>
                </a:lnTo>
                <a:lnTo>
                  <a:pt x="1405" y="2304"/>
                </a:lnTo>
                <a:lnTo>
                  <a:pt x="1405" y="2257"/>
                </a:lnTo>
                <a:close/>
                <a:moveTo>
                  <a:pt x="1405" y="2332"/>
                </a:moveTo>
                <a:lnTo>
                  <a:pt x="1480" y="2332"/>
                </a:lnTo>
                <a:lnTo>
                  <a:pt x="1480" y="2388"/>
                </a:lnTo>
                <a:lnTo>
                  <a:pt x="1405" y="2388"/>
                </a:lnTo>
                <a:lnTo>
                  <a:pt x="1405" y="2332"/>
                </a:lnTo>
                <a:close/>
                <a:moveTo>
                  <a:pt x="1405" y="2416"/>
                </a:moveTo>
                <a:lnTo>
                  <a:pt x="1480" y="2416"/>
                </a:lnTo>
                <a:lnTo>
                  <a:pt x="1480" y="2463"/>
                </a:lnTo>
                <a:lnTo>
                  <a:pt x="1405" y="2463"/>
                </a:lnTo>
                <a:lnTo>
                  <a:pt x="1405" y="2416"/>
                </a:lnTo>
                <a:close/>
                <a:moveTo>
                  <a:pt x="1405" y="2501"/>
                </a:moveTo>
                <a:lnTo>
                  <a:pt x="1480" y="2501"/>
                </a:lnTo>
                <a:lnTo>
                  <a:pt x="1480" y="2548"/>
                </a:lnTo>
                <a:lnTo>
                  <a:pt x="1405" y="2548"/>
                </a:lnTo>
                <a:lnTo>
                  <a:pt x="1405" y="2501"/>
                </a:lnTo>
                <a:close/>
                <a:moveTo>
                  <a:pt x="1405" y="2576"/>
                </a:moveTo>
                <a:lnTo>
                  <a:pt x="1480" y="2576"/>
                </a:lnTo>
                <a:lnTo>
                  <a:pt x="1480" y="2632"/>
                </a:lnTo>
                <a:lnTo>
                  <a:pt x="1405" y="2632"/>
                </a:lnTo>
                <a:lnTo>
                  <a:pt x="1405" y="2576"/>
                </a:lnTo>
                <a:close/>
                <a:moveTo>
                  <a:pt x="1405" y="2660"/>
                </a:moveTo>
                <a:lnTo>
                  <a:pt x="1480" y="2660"/>
                </a:lnTo>
                <a:lnTo>
                  <a:pt x="1480" y="2707"/>
                </a:lnTo>
                <a:lnTo>
                  <a:pt x="1405" y="2707"/>
                </a:lnTo>
                <a:lnTo>
                  <a:pt x="1405" y="2660"/>
                </a:lnTo>
                <a:close/>
                <a:moveTo>
                  <a:pt x="1405" y="2744"/>
                </a:moveTo>
                <a:lnTo>
                  <a:pt x="1480" y="2744"/>
                </a:lnTo>
                <a:lnTo>
                  <a:pt x="1480" y="2791"/>
                </a:lnTo>
                <a:lnTo>
                  <a:pt x="1405" y="2791"/>
                </a:lnTo>
                <a:lnTo>
                  <a:pt x="1405" y="2744"/>
                </a:lnTo>
                <a:close/>
                <a:moveTo>
                  <a:pt x="1405" y="2819"/>
                </a:moveTo>
                <a:lnTo>
                  <a:pt x="1480" y="2819"/>
                </a:lnTo>
                <a:lnTo>
                  <a:pt x="1480" y="2875"/>
                </a:lnTo>
                <a:lnTo>
                  <a:pt x="1405" y="2875"/>
                </a:lnTo>
                <a:lnTo>
                  <a:pt x="1405" y="2819"/>
                </a:lnTo>
                <a:close/>
                <a:moveTo>
                  <a:pt x="1405" y="2904"/>
                </a:moveTo>
                <a:lnTo>
                  <a:pt x="1480" y="2904"/>
                </a:lnTo>
                <a:lnTo>
                  <a:pt x="1480" y="2950"/>
                </a:lnTo>
                <a:lnTo>
                  <a:pt x="1405" y="2950"/>
                </a:lnTo>
                <a:lnTo>
                  <a:pt x="1405" y="2904"/>
                </a:lnTo>
                <a:close/>
                <a:moveTo>
                  <a:pt x="1405" y="2988"/>
                </a:moveTo>
                <a:lnTo>
                  <a:pt x="1480" y="2988"/>
                </a:lnTo>
                <a:lnTo>
                  <a:pt x="1480" y="3035"/>
                </a:lnTo>
                <a:lnTo>
                  <a:pt x="1405" y="3035"/>
                </a:lnTo>
                <a:lnTo>
                  <a:pt x="1405" y="2988"/>
                </a:lnTo>
                <a:close/>
                <a:moveTo>
                  <a:pt x="1405" y="3063"/>
                </a:moveTo>
                <a:lnTo>
                  <a:pt x="1480" y="3063"/>
                </a:lnTo>
                <a:lnTo>
                  <a:pt x="1480" y="3119"/>
                </a:lnTo>
                <a:lnTo>
                  <a:pt x="1405" y="3119"/>
                </a:lnTo>
                <a:lnTo>
                  <a:pt x="1405" y="3063"/>
                </a:lnTo>
                <a:close/>
                <a:moveTo>
                  <a:pt x="1405" y="3147"/>
                </a:moveTo>
                <a:lnTo>
                  <a:pt x="1480" y="3147"/>
                </a:lnTo>
                <a:lnTo>
                  <a:pt x="1480" y="3194"/>
                </a:lnTo>
                <a:lnTo>
                  <a:pt x="1405" y="3194"/>
                </a:lnTo>
                <a:lnTo>
                  <a:pt x="1405" y="3147"/>
                </a:lnTo>
                <a:close/>
                <a:moveTo>
                  <a:pt x="1405" y="3231"/>
                </a:moveTo>
                <a:lnTo>
                  <a:pt x="1480" y="3231"/>
                </a:lnTo>
                <a:lnTo>
                  <a:pt x="1480" y="3278"/>
                </a:lnTo>
                <a:lnTo>
                  <a:pt x="1405" y="3278"/>
                </a:lnTo>
                <a:lnTo>
                  <a:pt x="1405" y="3231"/>
                </a:lnTo>
                <a:close/>
                <a:moveTo>
                  <a:pt x="1405" y="3306"/>
                </a:moveTo>
                <a:lnTo>
                  <a:pt x="1480" y="3306"/>
                </a:lnTo>
                <a:lnTo>
                  <a:pt x="1480" y="3353"/>
                </a:lnTo>
                <a:lnTo>
                  <a:pt x="1405" y="3353"/>
                </a:lnTo>
                <a:lnTo>
                  <a:pt x="1405" y="3306"/>
                </a:lnTo>
                <a:close/>
                <a:moveTo>
                  <a:pt x="1405" y="3391"/>
                </a:moveTo>
                <a:lnTo>
                  <a:pt x="1480" y="3391"/>
                </a:lnTo>
                <a:lnTo>
                  <a:pt x="1480" y="3437"/>
                </a:lnTo>
                <a:lnTo>
                  <a:pt x="1405" y="3437"/>
                </a:lnTo>
                <a:lnTo>
                  <a:pt x="1405" y="3391"/>
                </a:lnTo>
                <a:close/>
                <a:moveTo>
                  <a:pt x="1405" y="3475"/>
                </a:moveTo>
                <a:lnTo>
                  <a:pt x="1480" y="3475"/>
                </a:lnTo>
                <a:lnTo>
                  <a:pt x="1480" y="3522"/>
                </a:lnTo>
                <a:lnTo>
                  <a:pt x="1405" y="3522"/>
                </a:lnTo>
                <a:lnTo>
                  <a:pt x="1405" y="3475"/>
                </a:lnTo>
                <a:close/>
                <a:moveTo>
                  <a:pt x="1405" y="3550"/>
                </a:moveTo>
                <a:lnTo>
                  <a:pt x="1480" y="3550"/>
                </a:lnTo>
                <a:lnTo>
                  <a:pt x="1480" y="3597"/>
                </a:lnTo>
                <a:lnTo>
                  <a:pt x="1405" y="3597"/>
                </a:lnTo>
                <a:lnTo>
                  <a:pt x="1405" y="3550"/>
                </a:lnTo>
                <a:close/>
                <a:moveTo>
                  <a:pt x="1405" y="3634"/>
                </a:moveTo>
                <a:lnTo>
                  <a:pt x="1480" y="3634"/>
                </a:lnTo>
                <a:lnTo>
                  <a:pt x="1480" y="3681"/>
                </a:lnTo>
                <a:lnTo>
                  <a:pt x="1405" y="3681"/>
                </a:lnTo>
                <a:lnTo>
                  <a:pt x="1405" y="3634"/>
                </a:lnTo>
                <a:close/>
                <a:moveTo>
                  <a:pt x="1405" y="3709"/>
                </a:moveTo>
                <a:lnTo>
                  <a:pt x="1480" y="3709"/>
                </a:lnTo>
                <a:lnTo>
                  <a:pt x="1480" y="3765"/>
                </a:lnTo>
                <a:lnTo>
                  <a:pt x="1405" y="3765"/>
                </a:lnTo>
                <a:lnTo>
                  <a:pt x="1405" y="3709"/>
                </a:lnTo>
                <a:close/>
                <a:moveTo>
                  <a:pt x="1405" y="3793"/>
                </a:moveTo>
                <a:lnTo>
                  <a:pt x="1480" y="3793"/>
                </a:lnTo>
                <a:lnTo>
                  <a:pt x="1480" y="3840"/>
                </a:lnTo>
                <a:lnTo>
                  <a:pt x="1405" y="3840"/>
                </a:lnTo>
                <a:lnTo>
                  <a:pt x="1405" y="3793"/>
                </a:lnTo>
                <a:close/>
                <a:moveTo>
                  <a:pt x="1405" y="3878"/>
                </a:moveTo>
                <a:lnTo>
                  <a:pt x="1480" y="3878"/>
                </a:lnTo>
                <a:lnTo>
                  <a:pt x="1480" y="3924"/>
                </a:lnTo>
                <a:lnTo>
                  <a:pt x="1405" y="3924"/>
                </a:lnTo>
                <a:lnTo>
                  <a:pt x="1405" y="3878"/>
                </a:lnTo>
                <a:close/>
                <a:moveTo>
                  <a:pt x="1405" y="3953"/>
                </a:moveTo>
                <a:lnTo>
                  <a:pt x="1480" y="3953"/>
                </a:lnTo>
                <a:lnTo>
                  <a:pt x="1480" y="4009"/>
                </a:lnTo>
                <a:lnTo>
                  <a:pt x="1405" y="4009"/>
                </a:lnTo>
                <a:lnTo>
                  <a:pt x="1405" y="3953"/>
                </a:lnTo>
                <a:close/>
                <a:moveTo>
                  <a:pt x="1405" y="4037"/>
                </a:moveTo>
                <a:lnTo>
                  <a:pt x="1480" y="4037"/>
                </a:lnTo>
                <a:lnTo>
                  <a:pt x="1480" y="4084"/>
                </a:lnTo>
                <a:lnTo>
                  <a:pt x="1405" y="4084"/>
                </a:lnTo>
                <a:lnTo>
                  <a:pt x="1405" y="4037"/>
                </a:lnTo>
                <a:close/>
                <a:moveTo>
                  <a:pt x="1405" y="4121"/>
                </a:moveTo>
                <a:lnTo>
                  <a:pt x="1480" y="4121"/>
                </a:lnTo>
                <a:lnTo>
                  <a:pt x="1480" y="4168"/>
                </a:lnTo>
                <a:lnTo>
                  <a:pt x="1405" y="4168"/>
                </a:lnTo>
                <a:lnTo>
                  <a:pt x="1405" y="4121"/>
                </a:lnTo>
                <a:close/>
                <a:moveTo>
                  <a:pt x="1405" y="4196"/>
                </a:moveTo>
                <a:lnTo>
                  <a:pt x="1480" y="4196"/>
                </a:lnTo>
                <a:lnTo>
                  <a:pt x="1480" y="4252"/>
                </a:lnTo>
                <a:lnTo>
                  <a:pt x="1405" y="4252"/>
                </a:lnTo>
                <a:lnTo>
                  <a:pt x="1405" y="4196"/>
                </a:lnTo>
                <a:close/>
                <a:moveTo>
                  <a:pt x="1405" y="4280"/>
                </a:moveTo>
                <a:lnTo>
                  <a:pt x="1480" y="4280"/>
                </a:lnTo>
                <a:lnTo>
                  <a:pt x="1480" y="4327"/>
                </a:lnTo>
                <a:lnTo>
                  <a:pt x="1405" y="4327"/>
                </a:lnTo>
                <a:lnTo>
                  <a:pt x="1405" y="4280"/>
                </a:lnTo>
                <a:close/>
                <a:moveTo>
                  <a:pt x="1405" y="4365"/>
                </a:moveTo>
                <a:lnTo>
                  <a:pt x="1480" y="4365"/>
                </a:lnTo>
                <a:lnTo>
                  <a:pt x="1480" y="4411"/>
                </a:lnTo>
                <a:lnTo>
                  <a:pt x="1405" y="4411"/>
                </a:lnTo>
                <a:lnTo>
                  <a:pt x="1405" y="4365"/>
                </a:lnTo>
                <a:close/>
                <a:moveTo>
                  <a:pt x="1405" y="4440"/>
                </a:moveTo>
                <a:lnTo>
                  <a:pt x="1480" y="4440"/>
                </a:lnTo>
                <a:lnTo>
                  <a:pt x="1480" y="4496"/>
                </a:lnTo>
                <a:lnTo>
                  <a:pt x="1405" y="4496"/>
                </a:lnTo>
                <a:lnTo>
                  <a:pt x="1405" y="4440"/>
                </a:lnTo>
                <a:close/>
                <a:moveTo>
                  <a:pt x="1302" y="1611"/>
                </a:moveTo>
                <a:lnTo>
                  <a:pt x="1386" y="1611"/>
                </a:lnTo>
                <a:lnTo>
                  <a:pt x="1386" y="1658"/>
                </a:lnTo>
                <a:lnTo>
                  <a:pt x="1302" y="1658"/>
                </a:lnTo>
                <a:lnTo>
                  <a:pt x="1302" y="1611"/>
                </a:lnTo>
                <a:close/>
                <a:moveTo>
                  <a:pt x="1302" y="1686"/>
                </a:moveTo>
                <a:lnTo>
                  <a:pt x="1386" y="1686"/>
                </a:lnTo>
                <a:lnTo>
                  <a:pt x="1386" y="1742"/>
                </a:lnTo>
                <a:lnTo>
                  <a:pt x="1302" y="1742"/>
                </a:lnTo>
                <a:lnTo>
                  <a:pt x="1302" y="1686"/>
                </a:lnTo>
                <a:close/>
                <a:moveTo>
                  <a:pt x="1302" y="1770"/>
                </a:moveTo>
                <a:lnTo>
                  <a:pt x="1386" y="1770"/>
                </a:lnTo>
                <a:lnTo>
                  <a:pt x="1386" y="1817"/>
                </a:lnTo>
                <a:lnTo>
                  <a:pt x="1302" y="1817"/>
                </a:lnTo>
                <a:lnTo>
                  <a:pt x="1302" y="1770"/>
                </a:lnTo>
                <a:close/>
                <a:moveTo>
                  <a:pt x="1302" y="1855"/>
                </a:moveTo>
                <a:lnTo>
                  <a:pt x="1386" y="1855"/>
                </a:lnTo>
                <a:lnTo>
                  <a:pt x="1386" y="1901"/>
                </a:lnTo>
                <a:lnTo>
                  <a:pt x="1302" y="1901"/>
                </a:lnTo>
                <a:lnTo>
                  <a:pt x="1302" y="1855"/>
                </a:lnTo>
                <a:close/>
                <a:moveTo>
                  <a:pt x="1302" y="1929"/>
                </a:moveTo>
                <a:lnTo>
                  <a:pt x="1386" y="1929"/>
                </a:lnTo>
                <a:lnTo>
                  <a:pt x="1386" y="1986"/>
                </a:lnTo>
                <a:lnTo>
                  <a:pt x="1302" y="1986"/>
                </a:lnTo>
                <a:lnTo>
                  <a:pt x="1302" y="1929"/>
                </a:lnTo>
                <a:close/>
                <a:moveTo>
                  <a:pt x="1302" y="2014"/>
                </a:moveTo>
                <a:lnTo>
                  <a:pt x="1386" y="2014"/>
                </a:lnTo>
                <a:lnTo>
                  <a:pt x="1386" y="2061"/>
                </a:lnTo>
                <a:lnTo>
                  <a:pt x="1302" y="2061"/>
                </a:lnTo>
                <a:lnTo>
                  <a:pt x="1302" y="2014"/>
                </a:lnTo>
                <a:close/>
                <a:moveTo>
                  <a:pt x="1302" y="2173"/>
                </a:moveTo>
                <a:lnTo>
                  <a:pt x="1386" y="2173"/>
                </a:lnTo>
                <a:lnTo>
                  <a:pt x="1386" y="2220"/>
                </a:lnTo>
                <a:lnTo>
                  <a:pt x="1302" y="2220"/>
                </a:lnTo>
                <a:lnTo>
                  <a:pt x="1302" y="2173"/>
                </a:lnTo>
                <a:close/>
                <a:moveTo>
                  <a:pt x="1302" y="2257"/>
                </a:moveTo>
                <a:lnTo>
                  <a:pt x="1386" y="2257"/>
                </a:lnTo>
                <a:lnTo>
                  <a:pt x="1386" y="2304"/>
                </a:lnTo>
                <a:lnTo>
                  <a:pt x="1302" y="2304"/>
                </a:lnTo>
                <a:lnTo>
                  <a:pt x="1302" y="2257"/>
                </a:lnTo>
                <a:close/>
                <a:moveTo>
                  <a:pt x="1302" y="2332"/>
                </a:moveTo>
                <a:lnTo>
                  <a:pt x="1386" y="2332"/>
                </a:lnTo>
                <a:lnTo>
                  <a:pt x="1386" y="2388"/>
                </a:lnTo>
                <a:lnTo>
                  <a:pt x="1302" y="2388"/>
                </a:lnTo>
                <a:lnTo>
                  <a:pt x="1302" y="2332"/>
                </a:lnTo>
                <a:close/>
                <a:moveTo>
                  <a:pt x="1302" y="2416"/>
                </a:moveTo>
                <a:lnTo>
                  <a:pt x="1386" y="2416"/>
                </a:lnTo>
                <a:lnTo>
                  <a:pt x="1386" y="2463"/>
                </a:lnTo>
                <a:lnTo>
                  <a:pt x="1302" y="2463"/>
                </a:lnTo>
                <a:lnTo>
                  <a:pt x="1302" y="2416"/>
                </a:lnTo>
                <a:close/>
                <a:moveTo>
                  <a:pt x="1302" y="2501"/>
                </a:moveTo>
                <a:lnTo>
                  <a:pt x="1386" y="2501"/>
                </a:lnTo>
                <a:lnTo>
                  <a:pt x="1386" y="2548"/>
                </a:lnTo>
                <a:lnTo>
                  <a:pt x="1302" y="2548"/>
                </a:lnTo>
                <a:lnTo>
                  <a:pt x="1302" y="2501"/>
                </a:lnTo>
                <a:close/>
                <a:moveTo>
                  <a:pt x="1302" y="2576"/>
                </a:moveTo>
                <a:lnTo>
                  <a:pt x="1386" y="2576"/>
                </a:lnTo>
                <a:lnTo>
                  <a:pt x="1386" y="2632"/>
                </a:lnTo>
                <a:lnTo>
                  <a:pt x="1302" y="2632"/>
                </a:lnTo>
                <a:lnTo>
                  <a:pt x="1302" y="2576"/>
                </a:lnTo>
                <a:close/>
                <a:moveTo>
                  <a:pt x="1302" y="2660"/>
                </a:moveTo>
                <a:lnTo>
                  <a:pt x="1386" y="2660"/>
                </a:lnTo>
                <a:lnTo>
                  <a:pt x="1386" y="2707"/>
                </a:lnTo>
                <a:lnTo>
                  <a:pt x="1302" y="2707"/>
                </a:lnTo>
                <a:lnTo>
                  <a:pt x="1302" y="2660"/>
                </a:lnTo>
                <a:close/>
                <a:moveTo>
                  <a:pt x="1302" y="2744"/>
                </a:moveTo>
                <a:lnTo>
                  <a:pt x="1386" y="2744"/>
                </a:lnTo>
                <a:lnTo>
                  <a:pt x="1386" y="2791"/>
                </a:lnTo>
                <a:lnTo>
                  <a:pt x="1302" y="2791"/>
                </a:lnTo>
                <a:lnTo>
                  <a:pt x="1302" y="2744"/>
                </a:lnTo>
                <a:close/>
                <a:moveTo>
                  <a:pt x="1302" y="2819"/>
                </a:moveTo>
                <a:lnTo>
                  <a:pt x="1386" y="2819"/>
                </a:lnTo>
                <a:lnTo>
                  <a:pt x="1386" y="2875"/>
                </a:lnTo>
                <a:lnTo>
                  <a:pt x="1302" y="2875"/>
                </a:lnTo>
                <a:lnTo>
                  <a:pt x="1302" y="2819"/>
                </a:lnTo>
                <a:close/>
                <a:moveTo>
                  <a:pt x="1302" y="2904"/>
                </a:moveTo>
                <a:lnTo>
                  <a:pt x="1386" y="2904"/>
                </a:lnTo>
                <a:lnTo>
                  <a:pt x="1386" y="2950"/>
                </a:lnTo>
                <a:lnTo>
                  <a:pt x="1302" y="2950"/>
                </a:lnTo>
                <a:lnTo>
                  <a:pt x="1302" y="2904"/>
                </a:lnTo>
                <a:close/>
                <a:moveTo>
                  <a:pt x="1302" y="2988"/>
                </a:moveTo>
                <a:lnTo>
                  <a:pt x="1386" y="2988"/>
                </a:lnTo>
                <a:lnTo>
                  <a:pt x="1386" y="3035"/>
                </a:lnTo>
                <a:lnTo>
                  <a:pt x="1302" y="3035"/>
                </a:lnTo>
                <a:lnTo>
                  <a:pt x="1302" y="2988"/>
                </a:lnTo>
                <a:close/>
                <a:moveTo>
                  <a:pt x="1302" y="3063"/>
                </a:moveTo>
                <a:lnTo>
                  <a:pt x="1386" y="3063"/>
                </a:lnTo>
                <a:lnTo>
                  <a:pt x="1386" y="3119"/>
                </a:lnTo>
                <a:lnTo>
                  <a:pt x="1302" y="3119"/>
                </a:lnTo>
                <a:lnTo>
                  <a:pt x="1302" y="3063"/>
                </a:lnTo>
                <a:close/>
                <a:moveTo>
                  <a:pt x="1302" y="3147"/>
                </a:moveTo>
                <a:lnTo>
                  <a:pt x="1386" y="3147"/>
                </a:lnTo>
                <a:lnTo>
                  <a:pt x="1386" y="3194"/>
                </a:lnTo>
                <a:lnTo>
                  <a:pt x="1302" y="3194"/>
                </a:lnTo>
                <a:lnTo>
                  <a:pt x="1302" y="3147"/>
                </a:lnTo>
                <a:close/>
                <a:moveTo>
                  <a:pt x="1302" y="3231"/>
                </a:moveTo>
                <a:lnTo>
                  <a:pt x="1386" y="3231"/>
                </a:lnTo>
                <a:lnTo>
                  <a:pt x="1386" y="3278"/>
                </a:lnTo>
                <a:lnTo>
                  <a:pt x="1302" y="3278"/>
                </a:lnTo>
                <a:lnTo>
                  <a:pt x="1302" y="3231"/>
                </a:lnTo>
                <a:close/>
                <a:moveTo>
                  <a:pt x="1302" y="3306"/>
                </a:moveTo>
                <a:lnTo>
                  <a:pt x="1386" y="3306"/>
                </a:lnTo>
                <a:lnTo>
                  <a:pt x="1386" y="3353"/>
                </a:lnTo>
                <a:lnTo>
                  <a:pt x="1302" y="3353"/>
                </a:lnTo>
                <a:lnTo>
                  <a:pt x="1302" y="3306"/>
                </a:lnTo>
                <a:close/>
                <a:moveTo>
                  <a:pt x="1302" y="3475"/>
                </a:moveTo>
                <a:lnTo>
                  <a:pt x="1386" y="3475"/>
                </a:lnTo>
                <a:lnTo>
                  <a:pt x="1386" y="3522"/>
                </a:lnTo>
                <a:lnTo>
                  <a:pt x="1302" y="3522"/>
                </a:lnTo>
                <a:lnTo>
                  <a:pt x="1302" y="3475"/>
                </a:lnTo>
                <a:close/>
                <a:moveTo>
                  <a:pt x="1302" y="3550"/>
                </a:moveTo>
                <a:lnTo>
                  <a:pt x="1386" y="3550"/>
                </a:lnTo>
                <a:lnTo>
                  <a:pt x="1386" y="3597"/>
                </a:lnTo>
                <a:lnTo>
                  <a:pt x="1302" y="3597"/>
                </a:lnTo>
                <a:lnTo>
                  <a:pt x="1302" y="3550"/>
                </a:lnTo>
                <a:close/>
                <a:moveTo>
                  <a:pt x="1302" y="3634"/>
                </a:moveTo>
                <a:lnTo>
                  <a:pt x="1386" y="3634"/>
                </a:lnTo>
                <a:lnTo>
                  <a:pt x="1386" y="3681"/>
                </a:lnTo>
                <a:lnTo>
                  <a:pt x="1302" y="3681"/>
                </a:lnTo>
                <a:lnTo>
                  <a:pt x="1302" y="3634"/>
                </a:lnTo>
                <a:close/>
                <a:moveTo>
                  <a:pt x="1302" y="3793"/>
                </a:moveTo>
                <a:lnTo>
                  <a:pt x="1386" y="3793"/>
                </a:lnTo>
                <a:lnTo>
                  <a:pt x="1386" y="3840"/>
                </a:lnTo>
                <a:lnTo>
                  <a:pt x="1302" y="3840"/>
                </a:lnTo>
                <a:lnTo>
                  <a:pt x="1302" y="3793"/>
                </a:lnTo>
                <a:close/>
                <a:moveTo>
                  <a:pt x="1302" y="3878"/>
                </a:moveTo>
                <a:lnTo>
                  <a:pt x="1386" y="3878"/>
                </a:lnTo>
                <a:lnTo>
                  <a:pt x="1386" y="3924"/>
                </a:lnTo>
                <a:lnTo>
                  <a:pt x="1302" y="3924"/>
                </a:lnTo>
                <a:lnTo>
                  <a:pt x="1302" y="3878"/>
                </a:lnTo>
                <a:close/>
                <a:moveTo>
                  <a:pt x="1302" y="3953"/>
                </a:moveTo>
                <a:lnTo>
                  <a:pt x="1386" y="3953"/>
                </a:lnTo>
                <a:lnTo>
                  <a:pt x="1386" y="4009"/>
                </a:lnTo>
                <a:lnTo>
                  <a:pt x="1302" y="4009"/>
                </a:lnTo>
                <a:lnTo>
                  <a:pt x="1302" y="3953"/>
                </a:lnTo>
                <a:close/>
                <a:moveTo>
                  <a:pt x="1302" y="4037"/>
                </a:moveTo>
                <a:lnTo>
                  <a:pt x="1386" y="4037"/>
                </a:lnTo>
                <a:lnTo>
                  <a:pt x="1386" y="4084"/>
                </a:lnTo>
                <a:lnTo>
                  <a:pt x="1302" y="4084"/>
                </a:lnTo>
                <a:lnTo>
                  <a:pt x="1302" y="4037"/>
                </a:lnTo>
                <a:close/>
                <a:moveTo>
                  <a:pt x="1302" y="4121"/>
                </a:moveTo>
                <a:lnTo>
                  <a:pt x="1386" y="4121"/>
                </a:lnTo>
                <a:lnTo>
                  <a:pt x="1386" y="4168"/>
                </a:lnTo>
                <a:lnTo>
                  <a:pt x="1302" y="4168"/>
                </a:lnTo>
                <a:lnTo>
                  <a:pt x="1302" y="4121"/>
                </a:lnTo>
                <a:close/>
                <a:moveTo>
                  <a:pt x="1302" y="4280"/>
                </a:moveTo>
                <a:lnTo>
                  <a:pt x="1386" y="4280"/>
                </a:lnTo>
                <a:lnTo>
                  <a:pt x="1386" y="4327"/>
                </a:lnTo>
                <a:lnTo>
                  <a:pt x="1302" y="4327"/>
                </a:lnTo>
                <a:lnTo>
                  <a:pt x="1302" y="4280"/>
                </a:lnTo>
                <a:close/>
                <a:moveTo>
                  <a:pt x="1302" y="4365"/>
                </a:moveTo>
                <a:lnTo>
                  <a:pt x="1386" y="4365"/>
                </a:lnTo>
                <a:lnTo>
                  <a:pt x="1386" y="4411"/>
                </a:lnTo>
                <a:lnTo>
                  <a:pt x="1302" y="4411"/>
                </a:lnTo>
                <a:lnTo>
                  <a:pt x="1302" y="4365"/>
                </a:lnTo>
                <a:close/>
                <a:moveTo>
                  <a:pt x="1302" y="4440"/>
                </a:moveTo>
                <a:lnTo>
                  <a:pt x="1386" y="4440"/>
                </a:lnTo>
                <a:lnTo>
                  <a:pt x="1386" y="4496"/>
                </a:lnTo>
                <a:lnTo>
                  <a:pt x="1302" y="4496"/>
                </a:lnTo>
                <a:lnTo>
                  <a:pt x="1302" y="4440"/>
                </a:lnTo>
                <a:close/>
                <a:moveTo>
                  <a:pt x="1283" y="4692"/>
                </a:moveTo>
                <a:lnTo>
                  <a:pt x="1349" y="4692"/>
                </a:lnTo>
                <a:lnTo>
                  <a:pt x="1349" y="4964"/>
                </a:lnTo>
                <a:lnTo>
                  <a:pt x="1283" y="4964"/>
                </a:lnTo>
                <a:lnTo>
                  <a:pt x="1283" y="4692"/>
                </a:lnTo>
                <a:close/>
                <a:moveTo>
                  <a:pt x="1283" y="5030"/>
                </a:moveTo>
                <a:lnTo>
                  <a:pt x="1349" y="5030"/>
                </a:lnTo>
                <a:lnTo>
                  <a:pt x="1349" y="5292"/>
                </a:lnTo>
                <a:lnTo>
                  <a:pt x="1283" y="5292"/>
                </a:lnTo>
                <a:lnTo>
                  <a:pt x="1283" y="5030"/>
                </a:lnTo>
                <a:close/>
                <a:moveTo>
                  <a:pt x="1283" y="5339"/>
                </a:moveTo>
                <a:lnTo>
                  <a:pt x="1349" y="5339"/>
                </a:lnTo>
                <a:lnTo>
                  <a:pt x="1349" y="5610"/>
                </a:lnTo>
                <a:lnTo>
                  <a:pt x="1283" y="5610"/>
                </a:lnTo>
                <a:lnTo>
                  <a:pt x="1283" y="5339"/>
                </a:lnTo>
                <a:close/>
                <a:moveTo>
                  <a:pt x="1208" y="1686"/>
                </a:moveTo>
                <a:lnTo>
                  <a:pt x="1283" y="1686"/>
                </a:lnTo>
                <a:lnTo>
                  <a:pt x="1283" y="1742"/>
                </a:lnTo>
                <a:lnTo>
                  <a:pt x="1208" y="1742"/>
                </a:lnTo>
                <a:lnTo>
                  <a:pt x="1208" y="1686"/>
                </a:lnTo>
                <a:close/>
                <a:moveTo>
                  <a:pt x="1208" y="1770"/>
                </a:moveTo>
                <a:lnTo>
                  <a:pt x="1283" y="1770"/>
                </a:lnTo>
                <a:lnTo>
                  <a:pt x="1283" y="1817"/>
                </a:lnTo>
                <a:lnTo>
                  <a:pt x="1208" y="1817"/>
                </a:lnTo>
                <a:lnTo>
                  <a:pt x="1208" y="1770"/>
                </a:lnTo>
                <a:close/>
                <a:moveTo>
                  <a:pt x="1208" y="1855"/>
                </a:moveTo>
                <a:lnTo>
                  <a:pt x="1283" y="1855"/>
                </a:lnTo>
                <a:lnTo>
                  <a:pt x="1283" y="1901"/>
                </a:lnTo>
                <a:lnTo>
                  <a:pt x="1208" y="1901"/>
                </a:lnTo>
                <a:lnTo>
                  <a:pt x="1208" y="1855"/>
                </a:lnTo>
                <a:close/>
                <a:moveTo>
                  <a:pt x="1208" y="1929"/>
                </a:moveTo>
                <a:lnTo>
                  <a:pt x="1283" y="1929"/>
                </a:lnTo>
                <a:lnTo>
                  <a:pt x="1283" y="1986"/>
                </a:lnTo>
                <a:lnTo>
                  <a:pt x="1208" y="1986"/>
                </a:lnTo>
                <a:lnTo>
                  <a:pt x="1208" y="1929"/>
                </a:lnTo>
                <a:close/>
                <a:moveTo>
                  <a:pt x="1208" y="2014"/>
                </a:moveTo>
                <a:lnTo>
                  <a:pt x="1283" y="2014"/>
                </a:lnTo>
                <a:lnTo>
                  <a:pt x="1283" y="2061"/>
                </a:lnTo>
                <a:lnTo>
                  <a:pt x="1208" y="2061"/>
                </a:lnTo>
                <a:lnTo>
                  <a:pt x="1208" y="2014"/>
                </a:lnTo>
                <a:close/>
                <a:moveTo>
                  <a:pt x="1208" y="2098"/>
                </a:moveTo>
                <a:lnTo>
                  <a:pt x="1283" y="2098"/>
                </a:lnTo>
                <a:lnTo>
                  <a:pt x="1283" y="2145"/>
                </a:lnTo>
                <a:lnTo>
                  <a:pt x="1208" y="2145"/>
                </a:lnTo>
                <a:lnTo>
                  <a:pt x="1208" y="2098"/>
                </a:lnTo>
                <a:close/>
                <a:moveTo>
                  <a:pt x="1208" y="2173"/>
                </a:moveTo>
                <a:lnTo>
                  <a:pt x="1283" y="2173"/>
                </a:lnTo>
                <a:lnTo>
                  <a:pt x="1283" y="2220"/>
                </a:lnTo>
                <a:lnTo>
                  <a:pt x="1208" y="2220"/>
                </a:lnTo>
                <a:lnTo>
                  <a:pt x="1208" y="2173"/>
                </a:lnTo>
                <a:close/>
                <a:moveTo>
                  <a:pt x="1208" y="2332"/>
                </a:moveTo>
                <a:lnTo>
                  <a:pt x="1283" y="2332"/>
                </a:lnTo>
                <a:lnTo>
                  <a:pt x="1283" y="2388"/>
                </a:lnTo>
                <a:lnTo>
                  <a:pt x="1208" y="2388"/>
                </a:lnTo>
                <a:lnTo>
                  <a:pt x="1208" y="2332"/>
                </a:lnTo>
                <a:close/>
                <a:moveTo>
                  <a:pt x="1208" y="2416"/>
                </a:moveTo>
                <a:lnTo>
                  <a:pt x="1283" y="2416"/>
                </a:lnTo>
                <a:lnTo>
                  <a:pt x="1283" y="2463"/>
                </a:lnTo>
                <a:lnTo>
                  <a:pt x="1208" y="2463"/>
                </a:lnTo>
                <a:lnTo>
                  <a:pt x="1208" y="2416"/>
                </a:lnTo>
                <a:close/>
                <a:moveTo>
                  <a:pt x="1208" y="2501"/>
                </a:moveTo>
                <a:lnTo>
                  <a:pt x="1283" y="2501"/>
                </a:lnTo>
                <a:lnTo>
                  <a:pt x="1283" y="2548"/>
                </a:lnTo>
                <a:lnTo>
                  <a:pt x="1208" y="2548"/>
                </a:lnTo>
                <a:lnTo>
                  <a:pt x="1208" y="2501"/>
                </a:lnTo>
                <a:close/>
                <a:moveTo>
                  <a:pt x="1208" y="2576"/>
                </a:moveTo>
                <a:lnTo>
                  <a:pt x="1283" y="2576"/>
                </a:lnTo>
                <a:lnTo>
                  <a:pt x="1283" y="2632"/>
                </a:lnTo>
                <a:lnTo>
                  <a:pt x="1208" y="2632"/>
                </a:lnTo>
                <a:lnTo>
                  <a:pt x="1208" y="2576"/>
                </a:lnTo>
                <a:close/>
                <a:moveTo>
                  <a:pt x="1208" y="2660"/>
                </a:moveTo>
                <a:lnTo>
                  <a:pt x="1283" y="2660"/>
                </a:lnTo>
                <a:lnTo>
                  <a:pt x="1283" y="2707"/>
                </a:lnTo>
                <a:lnTo>
                  <a:pt x="1208" y="2707"/>
                </a:lnTo>
                <a:lnTo>
                  <a:pt x="1208" y="2660"/>
                </a:lnTo>
                <a:close/>
                <a:moveTo>
                  <a:pt x="1208" y="2744"/>
                </a:moveTo>
                <a:lnTo>
                  <a:pt x="1283" y="2744"/>
                </a:lnTo>
                <a:lnTo>
                  <a:pt x="1283" y="2791"/>
                </a:lnTo>
                <a:lnTo>
                  <a:pt x="1208" y="2791"/>
                </a:lnTo>
                <a:lnTo>
                  <a:pt x="1208" y="2744"/>
                </a:lnTo>
                <a:close/>
                <a:moveTo>
                  <a:pt x="1208" y="2819"/>
                </a:moveTo>
                <a:lnTo>
                  <a:pt x="1283" y="2819"/>
                </a:lnTo>
                <a:lnTo>
                  <a:pt x="1283" y="2875"/>
                </a:lnTo>
                <a:lnTo>
                  <a:pt x="1208" y="2875"/>
                </a:lnTo>
                <a:lnTo>
                  <a:pt x="1208" y="2819"/>
                </a:lnTo>
                <a:close/>
                <a:moveTo>
                  <a:pt x="1208" y="2988"/>
                </a:moveTo>
                <a:lnTo>
                  <a:pt x="1283" y="2988"/>
                </a:lnTo>
                <a:lnTo>
                  <a:pt x="1283" y="3035"/>
                </a:lnTo>
                <a:lnTo>
                  <a:pt x="1208" y="3035"/>
                </a:lnTo>
                <a:lnTo>
                  <a:pt x="1208" y="2988"/>
                </a:lnTo>
                <a:close/>
                <a:moveTo>
                  <a:pt x="1208" y="3063"/>
                </a:moveTo>
                <a:lnTo>
                  <a:pt x="1283" y="3063"/>
                </a:lnTo>
                <a:lnTo>
                  <a:pt x="1283" y="3119"/>
                </a:lnTo>
                <a:lnTo>
                  <a:pt x="1208" y="3119"/>
                </a:lnTo>
                <a:lnTo>
                  <a:pt x="1208" y="3063"/>
                </a:lnTo>
                <a:close/>
                <a:moveTo>
                  <a:pt x="1208" y="3147"/>
                </a:moveTo>
                <a:lnTo>
                  <a:pt x="1283" y="3147"/>
                </a:lnTo>
                <a:lnTo>
                  <a:pt x="1283" y="3194"/>
                </a:lnTo>
                <a:lnTo>
                  <a:pt x="1208" y="3194"/>
                </a:lnTo>
                <a:lnTo>
                  <a:pt x="1208" y="3147"/>
                </a:lnTo>
                <a:close/>
                <a:moveTo>
                  <a:pt x="1208" y="3231"/>
                </a:moveTo>
                <a:lnTo>
                  <a:pt x="1283" y="3231"/>
                </a:lnTo>
                <a:lnTo>
                  <a:pt x="1283" y="3278"/>
                </a:lnTo>
                <a:lnTo>
                  <a:pt x="1208" y="3278"/>
                </a:lnTo>
                <a:lnTo>
                  <a:pt x="1208" y="3231"/>
                </a:lnTo>
                <a:close/>
                <a:moveTo>
                  <a:pt x="1208" y="3306"/>
                </a:moveTo>
                <a:lnTo>
                  <a:pt x="1283" y="3306"/>
                </a:lnTo>
                <a:lnTo>
                  <a:pt x="1283" y="3353"/>
                </a:lnTo>
                <a:lnTo>
                  <a:pt x="1208" y="3353"/>
                </a:lnTo>
                <a:lnTo>
                  <a:pt x="1208" y="3306"/>
                </a:lnTo>
                <a:close/>
                <a:moveTo>
                  <a:pt x="1208" y="3391"/>
                </a:moveTo>
                <a:lnTo>
                  <a:pt x="1283" y="3391"/>
                </a:lnTo>
                <a:lnTo>
                  <a:pt x="1283" y="3437"/>
                </a:lnTo>
                <a:lnTo>
                  <a:pt x="1208" y="3437"/>
                </a:lnTo>
                <a:lnTo>
                  <a:pt x="1208" y="3391"/>
                </a:lnTo>
                <a:close/>
                <a:moveTo>
                  <a:pt x="1208" y="3475"/>
                </a:moveTo>
                <a:lnTo>
                  <a:pt x="1283" y="3475"/>
                </a:lnTo>
                <a:lnTo>
                  <a:pt x="1283" y="3522"/>
                </a:lnTo>
                <a:lnTo>
                  <a:pt x="1208" y="3522"/>
                </a:lnTo>
                <a:lnTo>
                  <a:pt x="1208" y="3475"/>
                </a:lnTo>
                <a:close/>
                <a:moveTo>
                  <a:pt x="1208" y="3550"/>
                </a:moveTo>
                <a:lnTo>
                  <a:pt x="1283" y="3550"/>
                </a:lnTo>
                <a:lnTo>
                  <a:pt x="1283" y="3597"/>
                </a:lnTo>
                <a:lnTo>
                  <a:pt x="1208" y="3597"/>
                </a:lnTo>
                <a:lnTo>
                  <a:pt x="1208" y="3550"/>
                </a:lnTo>
                <a:close/>
                <a:moveTo>
                  <a:pt x="1208" y="3634"/>
                </a:moveTo>
                <a:lnTo>
                  <a:pt x="1283" y="3634"/>
                </a:lnTo>
                <a:lnTo>
                  <a:pt x="1283" y="3681"/>
                </a:lnTo>
                <a:lnTo>
                  <a:pt x="1208" y="3681"/>
                </a:lnTo>
                <a:lnTo>
                  <a:pt x="1208" y="3634"/>
                </a:lnTo>
                <a:close/>
                <a:moveTo>
                  <a:pt x="1208" y="3709"/>
                </a:moveTo>
                <a:lnTo>
                  <a:pt x="1283" y="3709"/>
                </a:lnTo>
                <a:lnTo>
                  <a:pt x="1283" y="3765"/>
                </a:lnTo>
                <a:lnTo>
                  <a:pt x="1208" y="3765"/>
                </a:lnTo>
                <a:lnTo>
                  <a:pt x="1208" y="3709"/>
                </a:lnTo>
                <a:close/>
                <a:moveTo>
                  <a:pt x="1208" y="3793"/>
                </a:moveTo>
                <a:lnTo>
                  <a:pt x="1283" y="3793"/>
                </a:lnTo>
                <a:lnTo>
                  <a:pt x="1283" y="3840"/>
                </a:lnTo>
                <a:lnTo>
                  <a:pt x="1208" y="3840"/>
                </a:lnTo>
                <a:lnTo>
                  <a:pt x="1208" y="3793"/>
                </a:lnTo>
                <a:close/>
                <a:moveTo>
                  <a:pt x="1208" y="3878"/>
                </a:moveTo>
                <a:lnTo>
                  <a:pt x="1283" y="3878"/>
                </a:lnTo>
                <a:lnTo>
                  <a:pt x="1283" y="3924"/>
                </a:lnTo>
                <a:lnTo>
                  <a:pt x="1208" y="3924"/>
                </a:lnTo>
                <a:lnTo>
                  <a:pt x="1208" y="3878"/>
                </a:lnTo>
                <a:close/>
                <a:moveTo>
                  <a:pt x="1208" y="3953"/>
                </a:moveTo>
                <a:lnTo>
                  <a:pt x="1283" y="3953"/>
                </a:lnTo>
                <a:lnTo>
                  <a:pt x="1283" y="4009"/>
                </a:lnTo>
                <a:lnTo>
                  <a:pt x="1208" y="4009"/>
                </a:lnTo>
                <a:lnTo>
                  <a:pt x="1208" y="3953"/>
                </a:lnTo>
                <a:close/>
                <a:moveTo>
                  <a:pt x="1208" y="4037"/>
                </a:moveTo>
                <a:lnTo>
                  <a:pt x="1283" y="4037"/>
                </a:lnTo>
                <a:lnTo>
                  <a:pt x="1283" y="4084"/>
                </a:lnTo>
                <a:lnTo>
                  <a:pt x="1208" y="4084"/>
                </a:lnTo>
                <a:lnTo>
                  <a:pt x="1208" y="4037"/>
                </a:lnTo>
                <a:close/>
                <a:moveTo>
                  <a:pt x="1208" y="4121"/>
                </a:moveTo>
                <a:lnTo>
                  <a:pt x="1283" y="4121"/>
                </a:lnTo>
                <a:lnTo>
                  <a:pt x="1283" y="4168"/>
                </a:lnTo>
                <a:lnTo>
                  <a:pt x="1208" y="4168"/>
                </a:lnTo>
                <a:lnTo>
                  <a:pt x="1208" y="4121"/>
                </a:lnTo>
                <a:close/>
                <a:moveTo>
                  <a:pt x="1208" y="4196"/>
                </a:moveTo>
                <a:lnTo>
                  <a:pt x="1283" y="4196"/>
                </a:lnTo>
                <a:lnTo>
                  <a:pt x="1283" y="4252"/>
                </a:lnTo>
                <a:lnTo>
                  <a:pt x="1208" y="4252"/>
                </a:lnTo>
                <a:lnTo>
                  <a:pt x="1208" y="4196"/>
                </a:lnTo>
                <a:close/>
                <a:moveTo>
                  <a:pt x="1208" y="4365"/>
                </a:moveTo>
                <a:lnTo>
                  <a:pt x="1283" y="4365"/>
                </a:lnTo>
                <a:lnTo>
                  <a:pt x="1283" y="4411"/>
                </a:lnTo>
                <a:lnTo>
                  <a:pt x="1208" y="4411"/>
                </a:lnTo>
                <a:lnTo>
                  <a:pt x="1208" y="4365"/>
                </a:lnTo>
                <a:close/>
                <a:moveTo>
                  <a:pt x="1208" y="4440"/>
                </a:moveTo>
                <a:lnTo>
                  <a:pt x="1283" y="4440"/>
                </a:lnTo>
                <a:lnTo>
                  <a:pt x="1283" y="4496"/>
                </a:lnTo>
                <a:lnTo>
                  <a:pt x="1208" y="4496"/>
                </a:lnTo>
                <a:lnTo>
                  <a:pt x="1208" y="4440"/>
                </a:lnTo>
                <a:close/>
                <a:moveTo>
                  <a:pt x="890" y="1667"/>
                </a:moveTo>
                <a:lnTo>
                  <a:pt x="815" y="1733"/>
                </a:lnTo>
                <a:lnTo>
                  <a:pt x="749" y="1667"/>
                </a:lnTo>
                <a:lnTo>
                  <a:pt x="890" y="1667"/>
                </a:lnTo>
                <a:close/>
                <a:moveTo>
                  <a:pt x="759" y="1620"/>
                </a:moveTo>
                <a:lnTo>
                  <a:pt x="815" y="1555"/>
                </a:lnTo>
                <a:lnTo>
                  <a:pt x="880" y="1620"/>
                </a:lnTo>
                <a:lnTo>
                  <a:pt x="759" y="1620"/>
                </a:lnTo>
                <a:close/>
                <a:moveTo>
                  <a:pt x="880" y="1836"/>
                </a:moveTo>
                <a:lnTo>
                  <a:pt x="759" y="1836"/>
                </a:lnTo>
                <a:lnTo>
                  <a:pt x="815" y="1770"/>
                </a:lnTo>
                <a:lnTo>
                  <a:pt x="880" y="1836"/>
                </a:lnTo>
                <a:close/>
                <a:moveTo>
                  <a:pt x="890" y="1883"/>
                </a:moveTo>
                <a:lnTo>
                  <a:pt x="815" y="1948"/>
                </a:lnTo>
                <a:lnTo>
                  <a:pt x="749" y="1883"/>
                </a:lnTo>
                <a:lnTo>
                  <a:pt x="890" y="1883"/>
                </a:lnTo>
                <a:close/>
                <a:moveTo>
                  <a:pt x="880" y="2061"/>
                </a:moveTo>
                <a:lnTo>
                  <a:pt x="759" y="2061"/>
                </a:lnTo>
                <a:lnTo>
                  <a:pt x="815" y="1995"/>
                </a:lnTo>
                <a:lnTo>
                  <a:pt x="880" y="2061"/>
                </a:lnTo>
                <a:close/>
                <a:moveTo>
                  <a:pt x="890" y="2107"/>
                </a:moveTo>
                <a:lnTo>
                  <a:pt x="815" y="2173"/>
                </a:lnTo>
                <a:lnTo>
                  <a:pt x="749" y="2107"/>
                </a:lnTo>
                <a:lnTo>
                  <a:pt x="890" y="2107"/>
                </a:lnTo>
                <a:close/>
                <a:moveTo>
                  <a:pt x="909" y="2117"/>
                </a:moveTo>
                <a:lnTo>
                  <a:pt x="909" y="2267"/>
                </a:lnTo>
                <a:lnTo>
                  <a:pt x="843" y="2192"/>
                </a:lnTo>
                <a:lnTo>
                  <a:pt x="909" y="2117"/>
                </a:lnTo>
                <a:close/>
                <a:moveTo>
                  <a:pt x="843" y="1976"/>
                </a:moveTo>
                <a:lnTo>
                  <a:pt x="909" y="1901"/>
                </a:lnTo>
                <a:lnTo>
                  <a:pt x="909" y="2042"/>
                </a:lnTo>
                <a:lnTo>
                  <a:pt x="843" y="1976"/>
                </a:lnTo>
                <a:close/>
                <a:moveTo>
                  <a:pt x="843" y="1751"/>
                </a:moveTo>
                <a:lnTo>
                  <a:pt x="909" y="1677"/>
                </a:lnTo>
                <a:lnTo>
                  <a:pt x="909" y="1826"/>
                </a:lnTo>
                <a:lnTo>
                  <a:pt x="843" y="1751"/>
                </a:lnTo>
                <a:close/>
                <a:moveTo>
                  <a:pt x="843" y="1536"/>
                </a:moveTo>
                <a:lnTo>
                  <a:pt x="909" y="1461"/>
                </a:lnTo>
                <a:lnTo>
                  <a:pt x="909" y="1602"/>
                </a:lnTo>
                <a:lnTo>
                  <a:pt x="843" y="1536"/>
                </a:lnTo>
                <a:close/>
                <a:moveTo>
                  <a:pt x="815" y="1508"/>
                </a:moveTo>
                <a:lnTo>
                  <a:pt x="749" y="1442"/>
                </a:lnTo>
                <a:lnTo>
                  <a:pt x="890" y="1442"/>
                </a:lnTo>
                <a:lnTo>
                  <a:pt x="815" y="1508"/>
                </a:lnTo>
                <a:close/>
                <a:moveTo>
                  <a:pt x="862" y="337"/>
                </a:moveTo>
                <a:lnTo>
                  <a:pt x="815" y="384"/>
                </a:lnTo>
                <a:lnTo>
                  <a:pt x="759" y="337"/>
                </a:lnTo>
                <a:lnTo>
                  <a:pt x="862" y="337"/>
                </a:lnTo>
                <a:close/>
                <a:moveTo>
                  <a:pt x="768" y="300"/>
                </a:moveTo>
                <a:lnTo>
                  <a:pt x="815" y="253"/>
                </a:lnTo>
                <a:lnTo>
                  <a:pt x="862" y="300"/>
                </a:lnTo>
                <a:lnTo>
                  <a:pt x="768" y="300"/>
                </a:lnTo>
                <a:close/>
                <a:moveTo>
                  <a:pt x="890" y="347"/>
                </a:moveTo>
                <a:lnTo>
                  <a:pt x="890" y="459"/>
                </a:lnTo>
                <a:lnTo>
                  <a:pt x="834" y="403"/>
                </a:lnTo>
                <a:lnTo>
                  <a:pt x="890" y="347"/>
                </a:lnTo>
                <a:close/>
                <a:moveTo>
                  <a:pt x="862" y="468"/>
                </a:moveTo>
                <a:lnTo>
                  <a:pt x="768" y="468"/>
                </a:lnTo>
                <a:lnTo>
                  <a:pt x="815" y="422"/>
                </a:lnTo>
                <a:lnTo>
                  <a:pt x="862" y="468"/>
                </a:lnTo>
                <a:close/>
                <a:moveTo>
                  <a:pt x="880" y="796"/>
                </a:moveTo>
                <a:lnTo>
                  <a:pt x="880" y="824"/>
                </a:lnTo>
                <a:lnTo>
                  <a:pt x="852" y="796"/>
                </a:lnTo>
                <a:lnTo>
                  <a:pt x="880" y="796"/>
                </a:lnTo>
                <a:close/>
                <a:moveTo>
                  <a:pt x="824" y="796"/>
                </a:moveTo>
                <a:lnTo>
                  <a:pt x="862" y="834"/>
                </a:lnTo>
                <a:lnTo>
                  <a:pt x="768" y="834"/>
                </a:lnTo>
                <a:lnTo>
                  <a:pt x="796" y="796"/>
                </a:lnTo>
                <a:lnTo>
                  <a:pt x="824" y="796"/>
                </a:lnTo>
                <a:close/>
                <a:moveTo>
                  <a:pt x="862" y="871"/>
                </a:moveTo>
                <a:lnTo>
                  <a:pt x="815" y="918"/>
                </a:lnTo>
                <a:lnTo>
                  <a:pt x="759" y="871"/>
                </a:lnTo>
                <a:lnTo>
                  <a:pt x="862" y="871"/>
                </a:lnTo>
                <a:close/>
                <a:moveTo>
                  <a:pt x="880" y="880"/>
                </a:moveTo>
                <a:lnTo>
                  <a:pt x="880" y="993"/>
                </a:lnTo>
                <a:lnTo>
                  <a:pt x="824" y="937"/>
                </a:lnTo>
                <a:lnTo>
                  <a:pt x="880" y="880"/>
                </a:lnTo>
                <a:close/>
                <a:moveTo>
                  <a:pt x="862" y="1002"/>
                </a:moveTo>
                <a:lnTo>
                  <a:pt x="768" y="1002"/>
                </a:lnTo>
                <a:lnTo>
                  <a:pt x="815" y="955"/>
                </a:lnTo>
                <a:lnTo>
                  <a:pt x="862" y="1002"/>
                </a:lnTo>
                <a:close/>
                <a:moveTo>
                  <a:pt x="862" y="1030"/>
                </a:moveTo>
                <a:lnTo>
                  <a:pt x="815" y="1087"/>
                </a:lnTo>
                <a:lnTo>
                  <a:pt x="759" y="1030"/>
                </a:lnTo>
                <a:lnTo>
                  <a:pt x="862" y="1030"/>
                </a:lnTo>
                <a:close/>
                <a:moveTo>
                  <a:pt x="880" y="1049"/>
                </a:moveTo>
                <a:lnTo>
                  <a:pt x="880" y="1161"/>
                </a:lnTo>
                <a:lnTo>
                  <a:pt x="824" y="1105"/>
                </a:lnTo>
                <a:lnTo>
                  <a:pt x="880" y="1049"/>
                </a:lnTo>
                <a:close/>
                <a:moveTo>
                  <a:pt x="862" y="1171"/>
                </a:moveTo>
                <a:lnTo>
                  <a:pt x="768" y="1171"/>
                </a:lnTo>
                <a:lnTo>
                  <a:pt x="815" y="1115"/>
                </a:lnTo>
                <a:lnTo>
                  <a:pt x="862" y="1171"/>
                </a:lnTo>
                <a:close/>
                <a:moveTo>
                  <a:pt x="862" y="1199"/>
                </a:moveTo>
                <a:lnTo>
                  <a:pt x="815" y="1255"/>
                </a:lnTo>
                <a:lnTo>
                  <a:pt x="759" y="1199"/>
                </a:lnTo>
                <a:lnTo>
                  <a:pt x="862" y="1199"/>
                </a:lnTo>
                <a:close/>
                <a:moveTo>
                  <a:pt x="880" y="1218"/>
                </a:moveTo>
                <a:lnTo>
                  <a:pt x="880" y="1330"/>
                </a:lnTo>
                <a:lnTo>
                  <a:pt x="824" y="1274"/>
                </a:lnTo>
                <a:lnTo>
                  <a:pt x="880" y="1218"/>
                </a:lnTo>
                <a:close/>
                <a:moveTo>
                  <a:pt x="890" y="290"/>
                </a:moveTo>
                <a:lnTo>
                  <a:pt x="834" y="234"/>
                </a:lnTo>
                <a:lnTo>
                  <a:pt x="890" y="178"/>
                </a:lnTo>
                <a:lnTo>
                  <a:pt x="890" y="290"/>
                </a:lnTo>
                <a:close/>
                <a:moveTo>
                  <a:pt x="862" y="169"/>
                </a:moveTo>
                <a:lnTo>
                  <a:pt x="815" y="215"/>
                </a:lnTo>
                <a:lnTo>
                  <a:pt x="759" y="169"/>
                </a:lnTo>
                <a:lnTo>
                  <a:pt x="862" y="169"/>
                </a:lnTo>
                <a:close/>
                <a:moveTo>
                  <a:pt x="749" y="178"/>
                </a:moveTo>
                <a:lnTo>
                  <a:pt x="796" y="234"/>
                </a:lnTo>
                <a:lnTo>
                  <a:pt x="749" y="290"/>
                </a:lnTo>
                <a:lnTo>
                  <a:pt x="749" y="178"/>
                </a:lnTo>
                <a:close/>
                <a:moveTo>
                  <a:pt x="749" y="347"/>
                </a:moveTo>
                <a:lnTo>
                  <a:pt x="796" y="403"/>
                </a:lnTo>
                <a:lnTo>
                  <a:pt x="749" y="450"/>
                </a:lnTo>
                <a:lnTo>
                  <a:pt x="749" y="347"/>
                </a:lnTo>
                <a:close/>
                <a:moveTo>
                  <a:pt x="740" y="796"/>
                </a:moveTo>
                <a:lnTo>
                  <a:pt x="768" y="796"/>
                </a:lnTo>
                <a:lnTo>
                  <a:pt x="740" y="815"/>
                </a:lnTo>
                <a:lnTo>
                  <a:pt x="740" y="796"/>
                </a:lnTo>
                <a:close/>
                <a:moveTo>
                  <a:pt x="740" y="880"/>
                </a:moveTo>
                <a:lnTo>
                  <a:pt x="796" y="937"/>
                </a:lnTo>
                <a:lnTo>
                  <a:pt x="740" y="983"/>
                </a:lnTo>
                <a:lnTo>
                  <a:pt x="740" y="880"/>
                </a:lnTo>
                <a:close/>
                <a:moveTo>
                  <a:pt x="740" y="1049"/>
                </a:moveTo>
                <a:lnTo>
                  <a:pt x="796" y="1105"/>
                </a:lnTo>
                <a:lnTo>
                  <a:pt x="740" y="1152"/>
                </a:lnTo>
                <a:lnTo>
                  <a:pt x="740" y="1049"/>
                </a:lnTo>
                <a:close/>
                <a:moveTo>
                  <a:pt x="740" y="1218"/>
                </a:moveTo>
                <a:lnTo>
                  <a:pt x="796" y="1274"/>
                </a:lnTo>
                <a:lnTo>
                  <a:pt x="740" y="1321"/>
                </a:lnTo>
                <a:lnTo>
                  <a:pt x="740" y="1218"/>
                </a:lnTo>
                <a:close/>
                <a:moveTo>
                  <a:pt x="740" y="1358"/>
                </a:moveTo>
                <a:lnTo>
                  <a:pt x="815" y="1283"/>
                </a:lnTo>
                <a:lnTo>
                  <a:pt x="880" y="1358"/>
                </a:lnTo>
                <a:lnTo>
                  <a:pt x="880" y="1396"/>
                </a:lnTo>
                <a:lnTo>
                  <a:pt x="740" y="1396"/>
                </a:lnTo>
                <a:lnTo>
                  <a:pt x="740" y="1358"/>
                </a:lnTo>
                <a:close/>
                <a:moveTo>
                  <a:pt x="731" y="1461"/>
                </a:moveTo>
                <a:lnTo>
                  <a:pt x="796" y="1536"/>
                </a:lnTo>
                <a:lnTo>
                  <a:pt x="731" y="1602"/>
                </a:lnTo>
                <a:lnTo>
                  <a:pt x="731" y="1461"/>
                </a:lnTo>
                <a:close/>
                <a:moveTo>
                  <a:pt x="731" y="1686"/>
                </a:moveTo>
                <a:lnTo>
                  <a:pt x="796" y="1751"/>
                </a:lnTo>
                <a:lnTo>
                  <a:pt x="731" y="1817"/>
                </a:lnTo>
                <a:lnTo>
                  <a:pt x="731" y="1686"/>
                </a:lnTo>
                <a:close/>
                <a:moveTo>
                  <a:pt x="731" y="1901"/>
                </a:moveTo>
                <a:lnTo>
                  <a:pt x="796" y="1976"/>
                </a:lnTo>
                <a:lnTo>
                  <a:pt x="731" y="2042"/>
                </a:lnTo>
                <a:lnTo>
                  <a:pt x="731" y="1901"/>
                </a:lnTo>
                <a:close/>
                <a:moveTo>
                  <a:pt x="731" y="2126"/>
                </a:moveTo>
                <a:lnTo>
                  <a:pt x="796" y="2192"/>
                </a:lnTo>
                <a:lnTo>
                  <a:pt x="731" y="2257"/>
                </a:lnTo>
                <a:lnTo>
                  <a:pt x="731" y="2126"/>
                </a:lnTo>
                <a:close/>
                <a:moveTo>
                  <a:pt x="731" y="2304"/>
                </a:moveTo>
                <a:lnTo>
                  <a:pt x="815" y="2210"/>
                </a:lnTo>
                <a:lnTo>
                  <a:pt x="909" y="2304"/>
                </a:lnTo>
                <a:lnTo>
                  <a:pt x="909" y="2304"/>
                </a:lnTo>
                <a:lnTo>
                  <a:pt x="909" y="2332"/>
                </a:lnTo>
                <a:lnTo>
                  <a:pt x="731" y="2332"/>
                </a:lnTo>
                <a:lnTo>
                  <a:pt x="731" y="2304"/>
                </a:lnTo>
                <a:close/>
                <a:moveTo>
                  <a:pt x="880" y="2557"/>
                </a:moveTo>
                <a:lnTo>
                  <a:pt x="759" y="2557"/>
                </a:lnTo>
                <a:lnTo>
                  <a:pt x="815" y="2491"/>
                </a:lnTo>
                <a:lnTo>
                  <a:pt x="880" y="2557"/>
                </a:lnTo>
                <a:close/>
                <a:moveTo>
                  <a:pt x="749" y="2379"/>
                </a:moveTo>
                <a:lnTo>
                  <a:pt x="890" y="2379"/>
                </a:lnTo>
                <a:lnTo>
                  <a:pt x="815" y="2454"/>
                </a:lnTo>
                <a:lnTo>
                  <a:pt x="749" y="2379"/>
                </a:lnTo>
                <a:close/>
                <a:moveTo>
                  <a:pt x="890" y="2604"/>
                </a:moveTo>
                <a:lnTo>
                  <a:pt x="815" y="2669"/>
                </a:lnTo>
                <a:lnTo>
                  <a:pt x="749" y="2604"/>
                </a:lnTo>
                <a:lnTo>
                  <a:pt x="890" y="2604"/>
                </a:lnTo>
                <a:close/>
                <a:moveTo>
                  <a:pt x="880" y="2772"/>
                </a:moveTo>
                <a:lnTo>
                  <a:pt x="759" y="2772"/>
                </a:lnTo>
                <a:lnTo>
                  <a:pt x="815" y="2716"/>
                </a:lnTo>
                <a:lnTo>
                  <a:pt x="880" y="2772"/>
                </a:lnTo>
                <a:close/>
                <a:moveTo>
                  <a:pt x="890" y="2819"/>
                </a:moveTo>
                <a:lnTo>
                  <a:pt x="815" y="2894"/>
                </a:lnTo>
                <a:lnTo>
                  <a:pt x="749" y="2819"/>
                </a:lnTo>
                <a:lnTo>
                  <a:pt x="890" y="2819"/>
                </a:lnTo>
                <a:close/>
                <a:moveTo>
                  <a:pt x="880" y="2997"/>
                </a:moveTo>
                <a:lnTo>
                  <a:pt x="759" y="2997"/>
                </a:lnTo>
                <a:lnTo>
                  <a:pt x="815" y="2932"/>
                </a:lnTo>
                <a:lnTo>
                  <a:pt x="880" y="2997"/>
                </a:lnTo>
                <a:close/>
                <a:moveTo>
                  <a:pt x="890" y="3044"/>
                </a:moveTo>
                <a:lnTo>
                  <a:pt x="815" y="3110"/>
                </a:lnTo>
                <a:lnTo>
                  <a:pt x="749" y="3044"/>
                </a:lnTo>
                <a:lnTo>
                  <a:pt x="890" y="3044"/>
                </a:lnTo>
                <a:close/>
                <a:moveTo>
                  <a:pt x="909" y="3063"/>
                </a:moveTo>
                <a:lnTo>
                  <a:pt x="909" y="3203"/>
                </a:lnTo>
                <a:lnTo>
                  <a:pt x="843" y="3128"/>
                </a:lnTo>
                <a:lnTo>
                  <a:pt x="909" y="3063"/>
                </a:lnTo>
                <a:close/>
                <a:moveTo>
                  <a:pt x="843" y="2913"/>
                </a:moveTo>
                <a:lnTo>
                  <a:pt x="909" y="2838"/>
                </a:lnTo>
                <a:lnTo>
                  <a:pt x="909" y="2988"/>
                </a:lnTo>
                <a:lnTo>
                  <a:pt x="843" y="2913"/>
                </a:lnTo>
                <a:close/>
                <a:moveTo>
                  <a:pt x="843" y="2688"/>
                </a:moveTo>
                <a:lnTo>
                  <a:pt x="909" y="2623"/>
                </a:lnTo>
                <a:lnTo>
                  <a:pt x="909" y="2763"/>
                </a:lnTo>
                <a:lnTo>
                  <a:pt x="843" y="2688"/>
                </a:lnTo>
                <a:close/>
                <a:moveTo>
                  <a:pt x="843" y="2473"/>
                </a:moveTo>
                <a:lnTo>
                  <a:pt x="909" y="2398"/>
                </a:lnTo>
                <a:lnTo>
                  <a:pt x="909" y="2548"/>
                </a:lnTo>
                <a:lnTo>
                  <a:pt x="843" y="2473"/>
                </a:lnTo>
                <a:close/>
                <a:moveTo>
                  <a:pt x="731" y="2407"/>
                </a:moveTo>
                <a:lnTo>
                  <a:pt x="796" y="2473"/>
                </a:lnTo>
                <a:lnTo>
                  <a:pt x="731" y="2538"/>
                </a:lnTo>
                <a:lnTo>
                  <a:pt x="731" y="2407"/>
                </a:lnTo>
                <a:close/>
                <a:moveTo>
                  <a:pt x="731" y="2623"/>
                </a:moveTo>
                <a:lnTo>
                  <a:pt x="796" y="2688"/>
                </a:lnTo>
                <a:lnTo>
                  <a:pt x="731" y="2763"/>
                </a:lnTo>
                <a:lnTo>
                  <a:pt x="731" y="2623"/>
                </a:lnTo>
                <a:close/>
                <a:moveTo>
                  <a:pt x="731" y="2847"/>
                </a:moveTo>
                <a:lnTo>
                  <a:pt x="796" y="2913"/>
                </a:lnTo>
                <a:lnTo>
                  <a:pt x="731" y="2978"/>
                </a:lnTo>
                <a:lnTo>
                  <a:pt x="731" y="2847"/>
                </a:lnTo>
                <a:close/>
                <a:moveTo>
                  <a:pt x="731" y="3063"/>
                </a:moveTo>
                <a:lnTo>
                  <a:pt x="796" y="3128"/>
                </a:lnTo>
                <a:lnTo>
                  <a:pt x="731" y="3203"/>
                </a:lnTo>
                <a:lnTo>
                  <a:pt x="731" y="3063"/>
                </a:lnTo>
                <a:close/>
                <a:moveTo>
                  <a:pt x="731" y="3241"/>
                </a:moveTo>
                <a:lnTo>
                  <a:pt x="815" y="3156"/>
                </a:lnTo>
                <a:lnTo>
                  <a:pt x="909" y="3250"/>
                </a:lnTo>
                <a:lnTo>
                  <a:pt x="909" y="3250"/>
                </a:lnTo>
                <a:lnTo>
                  <a:pt x="909" y="3297"/>
                </a:lnTo>
                <a:lnTo>
                  <a:pt x="731" y="3297"/>
                </a:lnTo>
                <a:lnTo>
                  <a:pt x="731" y="3241"/>
                </a:lnTo>
                <a:close/>
                <a:moveTo>
                  <a:pt x="244" y="571"/>
                </a:moveTo>
                <a:lnTo>
                  <a:pt x="272" y="571"/>
                </a:lnTo>
                <a:lnTo>
                  <a:pt x="244" y="599"/>
                </a:lnTo>
                <a:lnTo>
                  <a:pt x="244" y="571"/>
                </a:lnTo>
                <a:close/>
                <a:moveTo>
                  <a:pt x="244" y="693"/>
                </a:moveTo>
                <a:lnTo>
                  <a:pt x="244" y="656"/>
                </a:lnTo>
                <a:lnTo>
                  <a:pt x="281" y="693"/>
                </a:lnTo>
                <a:lnTo>
                  <a:pt x="244" y="693"/>
                </a:lnTo>
                <a:close/>
                <a:moveTo>
                  <a:pt x="290" y="674"/>
                </a:moveTo>
                <a:lnTo>
                  <a:pt x="244" y="628"/>
                </a:lnTo>
                <a:lnTo>
                  <a:pt x="290" y="581"/>
                </a:lnTo>
                <a:lnTo>
                  <a:pt x="290" y="674"/>
                </a:lnTo>
                <a:close/>
                <a:moveTo>
                  <a:pt x="356" y="628"/>
                </a:moveTo>
                <a:lnTo>
                  <a:pt x="318" y="665"/>
                </a:lnTo>
                <a:lnTo>
                  <a:pt x="318" y="590"/>
                </a:lnTo>
                <a:lnTo>
                  <a:pt x="356" y="628"/>
                </a:lnTo>
                <a:close/>
                <a:moveTo>
                  <a:pt x="328" y="571"/>
                </a:moveTo>
                <a:lnTo>
                  <a:pt x="422" y="571"/>
                </a:lnTo>
                <a:lnTo>
                  <a:pt x="375" y="618"/>
                </a:lnTo>
                <a:lnTo>
                  <a:pt x="328" y="571"/>
                </a:lnTo>
                <a:close/>
                <a:moveTo>
                  <a:pt x="328" y="693"/>
                </a:moveTo>
                <a:lnTo>
                  <a:pt x="375" y="646"/>
                </a:lnTo>
                <a:lnTo>
                  <a:pt x="422" y="693"/>
                </a:lnTo>
                <a:lnTo>
                  <a:pt x="328" y="693"/>
                </a:lnTo>
                <a:close/>
                <a:moveTo>
                  <a:pt x="431" y="674"/>
                </a:moveTo>
                <a:lnTo>
                  <a:pt x="384" y="628"/>
                </a:lnTo>
                <a:lnTo>
                  <a:pt x="431" y="581"/>
                </a:lnTo>
                <a:lnTo>
                  <a:pt x="431" y="674"/>
                </a:lnTo>
                <a:close/>
                <a:moveTo>
                  <a:pt x="506" y="628"/>
                </a:moveTo>
                <a:lnTo>
                  <a:pt x="459" y="665"/>
                </a:lnTo>
                <a:lnTo>
                  <a:pt x="459" y="590"/>
                </a:lnTo>
                <a:lnTo>
                  <a:pt x="506" y="628"/>
                </a:lnTo>
                <a:close/>
                <a:moveTo>
                  <a:pt x="468" y="571"/>
                </a:moveTo>
                <a:lnTo>
                  <a:pt x="562" y="571"/>
                </a:lnTo>
                <a:lnTo>
                  <a:pt x="515" y="618"/>
                </a:lnTo>
                <a:lnTo>
                  <a:pt x="468" y="571"/>
                </a:lnTo>
                <a:close/>
                <a:moveTo>
                  <a:pt x="468" y="693"/>
                </a:moveTo>
                <a:lnTo>
                  <a:pt x="515" y="646"/>
                </a:lnTo>
                <a:lnTo>
                  <a:pt x="562" y="693"/>
                </a:lnTo>
                <a:lnTo>
                  <a:pt x="468" y="693"/>
                </a:lnTo>
                <a:close/>
                <a:moveTo>
                  <a:pt x="571" y="674"/>
                </a:moveTo>
                <a:lnTo>
                  <a:pt x="525" y="628"/>
                </a:lnTo>
                <a:lnTo>
                  <a:pt x="571" y="581"/>
                </a:lnTo>
                <a:lnTo>
                  <a:pt x="571" y="674"/>
                </a:lnTo>
                <a:close/>
                <a:moveTo>
                  <a:pt x="674" y="693"/>
                </a:moveTo>
                <a:lnTo>
                  <a:pt x="609" y="693"/>
                </a:lnTo>
                <a:lnTo>
                  <a:pt x="656" y="646"/>
                </a:lnTo>
                <a:lnTo>
                  <a:pt x="674" y="656"/>
                </a:lnTo>
                <a:lnTo>
                  <a:pt x="674" y="693"/>
                </a:lnTo>
                <a:close/>
                <a:moveTo>
                  <a:pt x="599" y="665"/>
                </a:moveTo>
                <a:lnTo>
                  <a:pt x="599" y="590"/>
                </a:lnTo>
                <a:lnTo>
                  <a:pt x="646" y="628"/>
                </a:lnTo>
                <a:lnTo>
                  <a:pt x="599" y="665"/>
                </a:lnTo>
                <a:close/>
                <a:moveTo>
                  <a:pt x="674" y="599"/>
                </a:moveTo>
                <a:lnTo>
                  <a:pt x="656" y="618"/>
                </a:lnTo>
                <a:lnTo>
                  <a:pt x="609" y="571"/>
                </a:lnTo>
                <a:lnTo>
                  <a:pt x="674" y="571"/>
                </a:lnTo>
                <a:lnTo>
                  <a:pt x="674" y="599"/>
                </a:lnTo>
                <a:close/>
                <a:moveTo>
                  <a:pt x="674" y="468"/>
                </a:moveTo>
                <a:lnTo>
                  <a:pt x="674" y="543"/>
                </a:lnTo>
                <a:lnTo>
                  <a:pt x="599" y="543"/>
                </a:lnTo>
                <a:lnTo>
                  <a:pt x="571" y="543"/>
                </a:lnTo>
                <a:lnTo>
                  <a:pt x="459" y="543"/>
                </a:lnTo>
                <a:lnTo>
                  <a:pt x="431" y="543"/>
                </a:lnTo>
                <a:lnTo>
                  <a:pt x="318" y="543"/>
                </a:lnTo>
                <a:lnTo>
                  <a:pt x="290" y="543"/>
                </a:lnTo>
                <a:lnTo>
                  <a:pt x="281" y="543"/>
                </a:lnTo>
                <a:lnTo>
                  <a:pt x="712" y="150"/>
                </a:lnTo>
                <a:lnTo>
                  <a:pt x="712" y="169"/>
                </a:lnTo>
                <a:lnTo>
                  <a:pt x="712" y="300"/>
                </a:lnTo>
                <a:lnTo>
                  <a:pt x="712" y="337"/>
                </a:lnTo>
                <a:lnTo>
                  <a:pt x="712" y="468"/>
                </a:lnTo>
                <a:lnTo>
                  <a:pt x="712" y="468"/>
                </a:lnTo>
                <a:lnTo>
                  <a:pt x="674" y="468"/>
                </a:lnTo>
                <a:close/>
                <a:moveTo>
                  <a:pt x="253" y="3512"/>
                </a:moveTo>
                <a:lnTo>
                  <a:pt x="927" y="3512"/>
                </a:lnTo>
                <a:lnTo>
                  <a:pt x="927" y="3578"/>
                </a:lnTo>
                <a:lnTo>
                  <a:pt x="253" y="3578"/>
                </a:lnTo>
                <a:lnTo>
                  <a:pt x="253" y="3512"/>
                </a:lnTo>
                <a:close/>
                <a:moveTo>
                  <a:pt x="253" y="3615"/>
                </a:moveTo>
                <a:lnTo>
                  <a:pt x="927" y="3615"/>
                </a:lnTo>
                <a:lnTo>
                  <a:pt x="927" y="3672"/>
                </a:lnTo>
                <a:lnTo>
                  <a:pt x="253" y="3672"/>
                </a:lnTo>
                <a:lnTo>
                  <a:pt x="253" y="3615"/>
                </a:lnTo>
                <a:close/>
                <a:moveTo>
                  <a:pt x="253" y="3709"/>
                </a:moveTo>
                <a:lnTo>
                  <a:pt x="927" y="3709"/>
                </a:lnTo>
                <a:lnTo>
                  <a:pt x="927" y="3775"/>
                </a:lnTo>
                <a:lnTo>
                  <a:pt x="253" y="3775"/>
                </a:lnTo>
                <a:lnTo>
                  <a:pt x="253" y="3709"/>
                </a:lnTo>
                <a:close/>
                <a:moveTo>
                  <a:pt x="253" y="3812"/>
                </a:moveTo>
                <a:lnTo>
                  <a:pt x="927" y="3812"/>
                </a:lnTo>
                <a:lnTo>
                  <a:pt x="927" y="3878"/>
                </a:lnTo>
                <a:lnTo>
                  <a:pt x="253" y="3878"/>
                </a:lnTo>
                <a:lnTo>
                  <a:pt x="253" y="3812"/>
                </a:lnTo>
                <a:close/>
                <a:moveTo>
                  <a:pt x="253" y="3915"/>
                </a:moveTo>
                <a:lnTo>
                  <a:pt x="927" y="3915"/>
                </a:lnTo>
                <a:lnTo>
                  <a:pt x="927" y="3971"/>
                </a:lnTo>
                <a:lnTo>
                  <a:pt x="253" y="3971"/>
                </a:lnTo>
                <a:lnTo>
                  <a:pt x="253" y="3915"/>
                </a:lnTo>
                <a:close/>
                <a:moveTo>
                  <a:pt x="253" y="4018"/>
                </a:moveTo>
                <a:lnTo>
                  <a:pt x="927" y="4018"/>
                </a:lnTo>
                <a:lnTo>
                  <a:pt x="927" y="4074"/>
                </a:lnTo>
                <a:lnTo>
                  <a:pt x="253" y="4074"/>
                </a:lnTo>
                <a:lnTo>
                  <a:pt x="253" y="4018"/>
                </a:lnTo>
                <a:close/>
                <a:moveTo>
                  <a:pt x="253" y="4112"/>
                </a:moveTo>
                <a:lnTo>
                  <a:pt x="927" y="4112"/>
                </a:lnTo>
                <a:lnTo>
                  <a:pt x="927" y="4177"/>
                </a:lnTo>
                <a:lnTo>
                  <a:pt x="253" y="4177"/>
                </a:lnTo>
                <a:lnTo>
                  <a:pt x="253" y="4112"/>
                </a:lnTo>
                <a:close/>
                <a:moveTo>
                  <a:pt x="253" y="4215"/>
                </a:moveTo>
                <a:lnTo>
                  <a:pt x="927" y="4215"/>
                </a:lnTo>
                <a:lnTo>
                  <a:pt x="927" y="4280"/>
                </a:lnTo>
                <a:lnTo>
                  <a:pt x="253" y="4280"/>
                </a:lnTo>
                <a:lnTo>
                  <a:pt x="253" y="4215"/>
                </a:lnTo>
                <a:close/>
                <a:moveTo>
                  <a:pt x="253" y="4318"/>
                </a:moveTo>
                <a:lnTo>
                  <a:pt x="927" y="4318"/>
                </a:lnTo>
                <a:lnTo>
                  <a:pt x="927" y="4374"/>
                </a:lnTo>
                <a:lnTo>
                  <a:pt x="253" y="4374"/>
                </a:lnTo>
                <a:lnTo>
                  <a:pt x="253" y="4318"/>
                </a:lnTo>
                <a:close/>
                <a:moveTo>
                  <a:pt x="253" y="4421"/>
                </a:moveTo>
                <a:lnTo>
                  <a:pt x="927" y="4421"/>
                </a:lnTo>
                <a:lnTo>
                  <a:pt x="927" y="4477"/>
                </a:lnTo>
                <a:lnTo>
                  <a:pt x="253" y="4477"/>
                </a:lnTo>
                <a:lnTo>
                  <a:pt x="253" y="4421"/>
                </a:lnTo>
                <a:close/>
                <a:moveTo>
                  <a:pt x="253" y="4514"/>
                </a:moveTo>
                <a:lnTo>
                  <a:pt x="927" y="4514"/>
                </a:lnTo>
                <a:lnTo>
                  <a:pt x="927" y="4580"/>
                </a:lnTo>
                <a:lnTo>
                  <a:pt x="253" y="4580"/>
                </a:lnTo>
                <a:lnTo>
                  <a:pt x="253" y="4514"/>
                </a:lnTo>
                <a:close/>
                <a:moveTo>
                  <a:pt x="253" y="4617"/>
                </a:moveTo>
                <a:lnTo>
                  <a:pt x="927" y="4617"/>
                </a:lnTo>
                <a:lnTo>
                  <a:pt x="927" y="4683"/>
                </a:lnTo>
                <a:lnTo>
                  <a:pt x="253" y="4683"/>
                </a:lnTo>
                <a:lnTo>
                  <a:pt x="253" y="4617"/>
                </a:lnTo>
                <a:close/>
                <a:moveTo>
                  <a:pt x="253" y="4721"/>
                </a:moveTo>
                <a:lnTo>
                  <a:pt x="927" y="4721"/>
                </a:lnTo>
                <a:lnTo>
                  <a:pt x="927" y="4777"/>
                </a:lnTo>
                <a:lnTo>
                  <a:pt x="253" y="4777"/>
                </a:lnTo>
                <a:lnTo>
                  <a:pt x="253" y="4721"/>
                </a:lnTo>
                <a:close/>
                <a:moveTo>
                  <a:pt x="253" y="4824"/>
                </a:moveTo>
                <a:lnTo>
                  <a:pt x="927" y="4824"/>
                </a:lnTo>
                <a:lnTo>
                  <a:pt x="927" y="4880"/>
                </a:lnTo>
                <a:lnTo>
                  <a:pt x="253" y="4880"/>
                </a:lnTo>
                <a:lnTo>
                  <a:pt x="253" y="4824"/>
                </a:lnTo>
                <a:close/>
                <a:moveTo>
                  <a:pt x="253" y="4917"/>
                </a:moveTo>
                <a:lnTo>
                  <a:pt x="927" y="4917"/>
                </a:lnTo>
                <a:lnTo>
                  <a:pt x="927" y="4983"/>
                </a:lnTo>
                <a:lnTo>
                  <a:pt x="253" y="4983"/>
                </a:lnTo>
                <a:lnTo>
                  <a:pt x="253" y="4917"/>
                </a:lnTo>
                <a:close/>
                <a:moveTo>
                  <a:pt x="253" y="5020"/>
                </a:moveTo>
                <a:lnTo>
                  <a:pt x="927" y="5020"/>
                </a:lnTo>
                <a:lnTo>
                  <a:pt x="927" y="5086"/>
                </a:lnTo>
                <a:lnTo>
                  <a:pt x="253" y="5086"/>
                </a:lnTo>
                <a:lnTo>
                  <a:pt x="253" y="5020"/>
                </a:lnTo>
                <a:close/>
                <a:moveTo>
                  <a:pt x="253" y="5123"/>
                </a:moveTo>
                <a:lnTo>
                  <a:pt x="927" y="5123"/>
                </a:lnTo>
                <a:lnTo>
                  <a:pt x="927" y="5179"/>
                </a:lnTo>
                <a:lnTo>
                  <a:pt x="253" y="5179"/>
                </a:lnTo>
                <a:lnTo>
                  <a:pt x="253" y="5123"/>
                </a:lnTo>
                <a:close/>
                <a:moveTo>
                  <a:pt x="253" y="5226"/>
                </a:moveTo>
                <a:lnTo>
                  <a:pt x="927" y="5226"/>
                </a:lnTo>
                <a:lnTo>
                  <a:pt x="927" y="5282"/>
                </a:lnTo>
                <a:lnTo>
                  <a:pt x="253" y="5282"/>
                </a:lnTo>
                <a:lnTo>
                  <a:pt x="253" y="5226"/>
                </a:lnTo>
                <a:close/>
                <a:moveTo>
                  <a:pt x="253" y="5320"/>
                </a:moveTo>
                <a:lnTo>
                  <a:pt x="927" y="5320"/>
                </a:lnTo>
                <a:lnTo>
                  <a:pt x="927" y="5386"/>
                </a:lnTo>
                <a:lnTo>
                  <a:pt x="253" y="5386"/>
                </a:lnTo>
                <a:lnTo>
                  <a:pt x="253" y="5320"/>
                </a:lnTo>
                <a:close/>
                <a:moveTo>
                  <a:pt x="253" y="5423"/>
                </a:moveTo>
                <a:lnTo>
                  <a:pt x="927" y="5423"/>
                </a:lnTo>
                <a:lnTo>
                  <a:pt x="927" y="5489"/>
                </a:lnTo>
                <a:lnTo>
                  <a:pt x="253" y="5489"/>
                </a:lnTo>
                <a:lnTo>
                  <a:pt x="253" y="5423"/>
                </a:lnTo>
                <a:close/>
                <a:moveTo>
                  <a:pt x="253" y="5526"/>
                </a:moveTo>
                <a:lnTo>
                  <a:pt x="927" y="5526"/>
                </a:lnTo>
                <a:lnTo>
                  <a:pt x="927" y="5582"/>
                </a:lnTo>
                <a:lnTo>
                  <a:pt x="253" y="5582"/>
                </a:lnTo>
                <a:lnTo>
                  <a:pt x="253" y="5526"/>
                </a:lnTo>
                <a:close/>
                <a:moveTo>
                  <a:pt x="253" y="5657"/>
                </a:moveTo>
                <a:lnTo>
                  <a:pt x="253" y="5629"/>
                </a:lnTo>
                <a:lnTo>
                  <a:pt x="927" y="5629"/>
                </a:lnTo>
                <a:lnTo>
                  <a:pt x="927" y="5657"/>
                </a:lnTo>
                <a:lnTo>
                  <a:pt x="253" y="5657"/>
                </a:lnTo>
                <a:close/>
                <a:moveTo>
                  <a:pt x="927" y="3409"/>
                </a:moveTo>
                <a:lnTo>
                  <a:pt x="927" y="3475"/>
                </a:lnTo>
                <a:lnTo>
                  <a:pt x="253" y="3475"/>
                </a:lnTo>
                <a:lnTo>
                  <a:pt x="253" y="3409"/>
                </a:lnTo>
                <a:lnTo>
                  <a:pt x="927" y="3409"/>
                </a:ln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th-TH" sz="900"/>
          </a:p>
        </p:txBody>
      </p:sp>
      <p:grpSp>
        <p:nvGrpSpPr>
          <p:cNvPr id="5" name="กลุ่ม 38"/>
          <p:cNvGrpSpPr/>
          <p:nvPr/>
        </p:nvGrpSpPr>
        <p:grpSpPr>
          <a:xfrm>
            <a:off x="2590800" y="2402798"/>
            <a:ext cx="3070235" cy="494468"/>
            <a:chOff x="1148809" y="20942"/>
            <a:chExt cx="6140469" cy="988935"/>
          </a:xfrm>
        </p:grpSpPr>
        <p:sp>
          <p:nvSpPr>
            <p:cNvPr id="7" name="TextBox 39"/>
            <p:cNvSpPr txBox="1"/>
            <p:nvPr/>
          </p:nvSpPr>
          <p:spPr>
            <a:xfrm>
              <a:off x="2164449" y="20942"/>
              <a:ext cx="5124829" cy="960225"/>
            </a:xfrm>
            <a:prstGeom prst="rect">
              <a:avLst/>
            </a:prstGeom>
            <a:noFill/>
          </p:spPr>
          <p:txBody>
            <a:bodyPr wrap="square" lIns="109710" tIns="54855" rIns="109710" bIns="54855" rtlCol="0">
              <a:spAutoFit/>
            </a:bodyPr>
            <a:lstStyle/>
            <a:p>
              <a:r>
                <a:rPr lang="en-US" sz="1200" dirty="0">
                  <a:solidFill>
                    <a:schemeClr val="bg1"/>
                  </a:solidFill>
                  <a:ea typeface="Lato" pitchFamily="34" charset="0"/>
                  <a:cs typeface="Lato" pitchFamily="34" charset="0"/>
                </a:rPr>
                <a:t>Devotion save me now.</a:t>
              </a:r>
            </a:p>
            <a:p>
              <a:r>
                <a:rPr lang="en-US" sz="1200" dirty="0">
                  <a:solidFill>
                    <a:schemeClr val="bg1"/>
                  </a:solidFill>
                  <a:ea typeface="Lato" pitchFamily="34" charset="0"/>
                  <a:cs typeface="Lato" pitchFamily="34" charset="0"/>
                </a:rPr>
                <a:t>Devotion save me now.</a:t>
              </a:r>
            </a:p>
          </p:txBody>
        </p:sp>
        <p:grpSp>
          <p:nvGrpSpPr>
            <p:cNvPr id="8" name="กลุ่ม 40"/>
            <p:cNvGrpSpPr/>
            <p:nvPr/>
          </p:nvGrpSpPr>
          <p:grpSpPr>
            <a:xfrm>
              <a:off x="1148809" y="82573"/>
              <a:ext cx="927304" cy="927304"/>
              <a:chOff x="1189784" y="-1448340"/>
              <a:chExt cx="1371600" cy="1371600"/>
            </a:xfrm>
          </p:grpSpPr>
          <p:sp>
            <p:nvSpPr>
              <p:cNvPr id="9" name="วงรี 41"/>
              <p:cNvSpPr/>
              <p:nvPr/>
            </p:nvSpPr>
            <p:spPr>
              <a:xfrm>
                <a:off x="1189784" y="-1448340"/>
                <a:ext cx="1371600" cy="13716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900" dirty="0">
                  <a:solidFill>
                    <a:schemeClr val="bg1"/>
                  </a:solidFill>
                </a:endParaRPr>
              </a:p>
            </p:txBody>
          </p:sp>
          <p:sp>
            <p:nvSpPr>
              <p:cNvPr id="10" name="Freeform 33"/>
              <p:cNvSpPr>
                <a:spLocks noChangeArrowheads="1"/>
              </p:cNvSpPr>
              <p:nvPr/>
            </p:nvSpPr>
            <p:spPr bwMode="auto">
              <a:xfrm>
                <a:off x="1469182" y="-1204522"/>
                <a:ext cx="779815" cy="820429"/>
              </a:xfrm>
              <a:custGeom>
                <a:avLst/>
                <a:gdLst>
                  <a:gd name="T0" fmla="*/ 124 w 338"/>
                  <a:gd name="T1" fmla="*/ 355 h 356"/>
                  <a:gd name="T2" fmla="*/ 124 w 338"/>
                  <a:gd name="T3" fmla="*/ 355 h 356"/>
                  <a:gd name="T4" fmla="*/ 98 w 338"/>
                  <a:gd name="T5" fmla="*/ 337 h 356"/>
                  <a:gd name="T6" fmla="*/ 9 w 338"/>
                  <a:gd name="T7" fmla="*/ 222 h 356"/>
                  <a:gd name="T8" fmla="*/ 18 w 338"/>
                  <a:gd name="T9" fmla="*/ 178 h 356"/>
                  <a:gd name="T10" fmla="*/ 62 w 338"/>
                  <a:gd name="T11" fmla="*/ 178 h 356"/>
                  <a:gd name="T12" fmla="*/ 124 w 338"/>
                  <a:gd name="T13" fmla="*/ 258 h 356"/>
                  <a:gd name="T14" fmla="*/ 266 w 338"/>
                  <a:gd name="T15" fmla="*/ 27 h 356"/>
                  <a:gd name="T16" fmla="*/ 319 w 338"/>
                  <a:gd name="T17" fmla="*/ 9 h 356"/>
                  <a:gd name="T18" fmla="*/ 328 w 338"/>
                  <a:gd name="T19" fmla="*/ 62 h 356"/>
                  <a:gd name="T20" fmla="*/ 160 w 338"/>
                  <a:gd name="T21" fmla="*/ 337 h 356"/>
                  <a:gd name="T22" fmla="*/ 124 w 338"/>
                  <a:gd name="T23" fmla="*/ 355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8" h="356">
                    <a:moveTo>
                      <a:pt x="124" y="355"/>
                    </a:moveTo>
                    <a:lnTo>
                      <a:pt x="124" y="355"/>
                    </a:lnTo>
                    <a:cubicBezTo>
                      <a:pt x="115" y="355"/>
                      <a:pt x="107" y="346"/>
                      <a:pt x="98" y="337"/>
                    </a:cubicBezTo>
                    <a:cubicBezTo>
                      <a:pt x="9" y="222"/>
                      <a:pt x="9" y="222"/>
                      <a:pt x="9" y="222"/>
                    </a:cubicBezTo>
                    <a:cubicBezTo>
                      <a:pt x="0" y="204"/>
                      <a:pt x="0" y="187"/>
                      <a:pt x="18" y="178"/>
                    </a:cubicBezTo>
                    <a:cubicBezTo>
                      <a:pt x="36" y="160"/>
                      <a:pt x="53" y="168"/>
                      <a:pt x="62" y="178"/>
                    </a:cubicBezTo>
                    <a:cubicBezTo>
                      <a:pt x="124" y="258"/>
                      <a:pt x="124" y="258"/>
                      <a:pt x="124" y="258"/>
                    </a:cubicBezTo>
                    <a:cubicBezTo>
                      <a:pt x="266" y="27"/>
                      <a:pt x="266" y="27"/>
                      <a:pt x="266" y="27"/>
                    </a:cubicBezTo>
                    <a:cubicBezTo>
                      <a:pt x="284" y="9"/>
                      <a:pt x="301" y="0"/>
                      <a:pt x="319" y="9"/>
                    </a:cubicBezTo>
                    <a:cubicBezTo>
                      <a:pt x="337" y="18"/>
                      <a:pt x="337" y="45"/>
                      <a:pt x="328" y="62"/>
                    </a:cubicBezTo>
                    <a:cubicBezTo>
                      <a:pt x="160" y="337"/>
                      <a:pt x="160" y="337"/>
                      <a:pt x="160" y="337"/>
                    </a:cubicBezTo>
                    <a:cubicBezTo>
                      <a:pt x="151" y="346"/>
                      <a:pt x="142" y="355"/>
                      <a:pt x="124" y="355"/>
                    </a:cubicBezTo>
                  </a:path>
                </a:pathLst>
              </a:custGeom>
              <a:solidFill>
                <a:schemeClr val="bg1"/>
              </a:solidFill>
              <a:ln>
                <a:noFill/>
              </a:ln>
              <a:effectLst/>
            </p:spPr>
            <p:txBody>
              <a:bodyPr wrap="none" lIns="17145" tIns="8573" rIns="17145" bIns="8573" anchor="ctr"/>
              <a:lstStyle/>
              <a:p>
                <a:pPr>
                  <a:defRPr/>
                </a:pPr>
                <a:endParaRPr lang="en-US" sz="900" dirty="0">
                  <a:solidFill>
                    <a:schemeClr val="bg1"/>
                  </a:solidFill>
                </a:endParaRPr>
              </a:p>
            </p:txBody>
          </p:sp>
        </p:grpSp>
      </p:grpSp>
      <p:grpSp>
        <p:nvGrpSpPr>
          <p:cNvPr id="11" name="กลุ่ม 43"/>
          <p:cNvGrpSpPr/>
          <p:nvPr/>
        </p:nvGrpSpPr>
        <p:grpSpPr>
          <a:xfrm>
            <a:off x="2606666" y="3011565"/>
            <a:ext cx="3070235" cy="494468"/>
            <a:chOff x="1148809" y="20942"/>
            <a:chExt cx="6140469" cy="988935"/>
          </a:xfrm>
        </p:grpSpPr>
        <p:sp>
          <p:nvSpPr>
            <p:cNvPr id="12" name="TextBox 44"/>
            <p:cNvSpPr txBox="1"/>
            <p:nvPr/>
          </p:nvSpPr>
          <p:spPr>
            <a:xfrm>
              <a:off x="2164449" y="20942"/>
              <a:ext cx="5124829" cy="960225"/>
            </a:xfrm>
            <a:prstGeom prst="rect">
              <a:avLst/>
            </a:prstGeom>
            <a:noFill/>
          </p:spPr>
          <p:txBody>
            <a:bodyPr wrap="square" lIns="109710" tIns="54855" rIns="109710" bIns="54855" rtlCol="0">
              <a:spAutoFit/>
            </a:bodyPr>
            <a:lstStyle/>
            <a:p>
              <a:r>
                <a:rPr lang="en-US" sz="1200" dirty="0">
                  <a:solidFill>
                    <a:schemeClr val="bg1"/>
                  </a:solidFill>
                  <a:ea typeface="Lato" pitchFamily="34" charset="0"/>
                  <a:cs typeface="Lato" pitchFamily="34" charset="0"/>
                </a:rPr>
                <a:t>Devotion save me now.</a:t>
              </a:r>
            </a:p>
            <a:p>
              <a:r>
                <a:rPr lang="en-US" sz="1200" dirty="0">
                  <a:solidFill>
                    <a:schemeClr val="bg1"/>
                  </a:solidFill>
                  <a:ea typeface="Lato" pitchFamily="34" charset="0"/>
                  <a:cs typeface="Lato" pitchFamily="34" charset="0"/>
                </a:rPr>
                <a:t>Devotion save me now.</a:t>
              </a:r>
            </a:p>
          </p:txBody>
        </p:sp>
        <p:grpSp>
          <p:nvGrpSpPr>
            <p:cNvPr id="13" name="กลุ่ม 45"/>
            <p:cNvGrpSpPr/>
            <p:nvPr/>
          </p:nvGrpSpPr>
          <p:grpSpPr>
            <a:xfrm>
              <a:off x="1148809" y="82573"/>
              <a:ext cx="927304" cy="927304"/>
              <a:chOff x="1189784" y="-1448340"/>
              <a:chExt cx="1371600" cy="1371600"/>
            </a:xfrm>
          </p:grpSpPr>
          <p:sp>
            <p:nvSpPr>
              <p:cNvPr id="14" name="วงรี 46"/>
              <p:cNvSpPr/>
              <p:nvPr/>
            </p:nvSpPr>
            <p:spPr>
              <a:xfrm>
                <a:off x="1189784" y="-1448340"/>
                <a:ext cx="1371600" cy="1371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900" dirty="0">
                  <a:solidFill>
                    <a:schemeClr val="bg1"/>
                  </a:solidFill>
                </a:endParaRPr>
              </a:p>
            </p:txBody>
          </p:sp>
          <p:sp>
            <p:nvSpPr>
              <p:cNvPr id="15" name="Freeform 33"/>
              <p:cNvSpPr>
                <a:spLocks noChangeArrowheads="1"/>
              </p:cNvSpPr>
              <p:nvPr/>
            </p:nvSpPr>
            <p:spPr bwMode="auto">
              <a:xfrm>
                <a:off x="1469182" y="-1204522"/>
                <a:ext cx="779815" cy="820429"/>
              </a:xfrm>
              <a:custGeom>
                <a:avLst/>
                <a:gdLst>
                  <a:gd name="T0" fmla="*/ 124 w 338"/>
                  <a:gd name="T1" fmla="*/ 355 h 356"/>
                  <a:gd name="T2" fmla="*/ 124 w 338"/>
                  <a:gd name="T3" fmla="*/ 355 h 356"/>
                  <a:gd name="T4" fmla="*/ 98 w 338"/>
                  <a:gd name="T5" fmla="*/ 337 h 356"/>
                  <a:gd name="T6" fmla="*/ 9 w 338"/>
                  <a:gd name="T7" fmla="*/ 222 h 356"/>
                  <a:gd name="T8" fmla="*/ 18 w 338"/>
                  <a:gd name="T9" fmla="*/ 178 h 356"/>
                  <a:gd name="T10" fmla="*/ 62 w 338"/>
                  <a:gd name="T11" fmla="*/ 178 h 356"/>
                  <a:gd name="T12" fmla="*/ 124 w 338"/>
                  <a:gd name="T13" fmla="*/ 258 h 356"/>
                  <a:gd name="T14" fmla="*/ 266 w 338"/>
                  <a:gd name="T15" fmla="*/ 27 h 356"/>
                  <a:gd name="T16" fmla="*/ 319 w 338"/>
                  <a:gd name="T17" fmla="*/ 9 h 356"/>
                  <a:gd name="T18" fmla="*/ 328 w 338"/>
                  <a:gd name="T19" fmla="*/ 62 h 356"/>
                  <a:gd name="T20" fmla="*/ 160 w 338"/>
                  <a:gd name="T21" fmla="*/ 337 h 356"/>
                  <a:gd name="T22" fmla="*/ 124 w 338"/>
                  <a:gd name="T23" fmla="*/ 355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8" h="356">
                    <a:moveTo>
                      <a:pt x="124" y="355"/>
                    </a:moveTo>
                    <a:lnTo>
                      <a:pt x="124" y="355"/>
                    </a:lnTo>
                    <a:cubicBezTo>
                      <a:pt x="115" y="355"/>
                      <a:pt x="107" y="346"/>
                      <a:pt x="98" y="337"/>
                    </a:cubicBezTo>
                    <a:cubicBezTo>
                      <a:pt x="9" y="222"/>
                      <a:pt x="9" y="222"/>
                      <a:pt x="9" y="222"/>
                    </a:cubicBezTo>
                    <a:cubicBezTo>
                      <a:pt x="0" y="204"/>
                      <a:pt x="0" y="187"/>
                      <a:pt x="18" y="178"/>
                    </a:cubicBezTo>
                    <a:cubicBezTo>
                      <a:pt x="36" y="160"/>
                      <a:pt x="53" y="168"/>
                      <a:pt x="62" y="178"/>
                    </a:cubicBezTo>
                    <a:cubicBezTo>
                      <a:pt x="124" y="258"/>
                      <a:pt x="124" y="258"/>
                      <a:pt x="124" y="258"/>
                    </a:cubicBezTo>
                    <a:cubicBezTo>
                      <a:pt x="266" y="27"/>
                      <a:pt x="266" y="27"/>
                      <a:pt x="266" y="27"/>
                    </a:cubicBezTo>
                    <a:cubicBezTo>
                      <a:pt x="284" y="9"/>
                      <a:pt x="301" y="0"/>
                      <a:pt x="319" y="9"/>
                    </a:cubicBezTo>
                    <a:cubicBezTo>
                      <a:pt x="337" y="18"/>
                      <a:pt x="337" y="45"/>
                      <a:pt x="328" y="62"/>
                    </a:cubicBezTo>
                    <a:cubicBezTo>
                      <a:pt x="160" y="337"/>
                      <a:pt x="160" y="337"/>
                      <a:pt x="160" y="337"/>
                    </a:cubicBezTo>
                    <a:cubicBezTo>
                      <a:pt x="151" y="346"/>
                      <a:pt x="142" y="355"/>
                      <a:pt x="124" y="355"/>
                    </a:cubicBezTo>
                  </a:path>
                </a:pathLst>
              </a:custGeom>
              <a:solidFill>
                <a:schemeClr val="bg1"/>
              </a:solidFill>
              <a:ln>
                <a:noFill/>
              </a:ln>
              <a:effectLst/>
            </p:spPr>
            <p:txBody>
              <a:bodyPr wrap="none" lIns="17145" tIns="8573" rIns="17145" bIns="8573" anchor="ctr"/>
              <a:lstStyle/>
              <a:p>
                <a:pPr>
                  <a:defRPr/>
                </a:pPr>
                <a:endParaRPr lang="en-US" sz="900" dirty="0">
                  <a:solidFill>
                    <a:schemeClr val="bg1"/>
                  </a:solidFill>
                </a:endParaRPr>
              </a:p>
            </p:txBody>
          </p:sp>
        </p:grpSp>
      </p:grpSp>
      <p:grpSp>
        <p:nvGrpSpPr>
          <p:cNvPr id="16" name="กลุ่ม 48"/>
          <p:cNvGrpSpPr/>
          <p:nvPr/>
        </p:nvGrpSpPr>
        <p:grpSpPr>
          <a:xfrm>
            <a:off x="2596369" y="3620333"/>
            <a:ext cx="3070235" cy="494468"/>
            <a:chOff x="1148809" y="20942"/>
            <a:chExt cx="6140469" cy="988935"/>
          </a:xfrm>
        </p:grpSpPr>
        <p:sp>
          <p:nvSpPr>
            <p:cNvPr id="17" name="TextBox 49"/>
            <p:cNvSpPr txBox="1"/>
            <p:nvPr/>
          </p:nvSpPr>
          <p:spPr>
            <a:xfrm>
              <a:off x="2164449" y="20942"/>
              <a:ext cx="5124829" cy="960225"/>
            </a:xfrm>
            <a:prstGeom prst="rect">
              <a:avLst/>
            </a:prstGeom>
            <a:noFill/>
          </p:spPr>
          <p:txBody>
            <a:bodyPr wrap="square" lIns="109710" tIns="54855" rIns="109710" bIns="54855" rtlCol="0">
              <a:spAutoFit/>
            </a:bodyPr>
            <a:lstStyle/>
            <a:p>
              <a:r>
                <a:rPr lang="en-US" sz="1200" dirty="0">
                  <a:solidFill>
                    <a:schemeClr val="bg1"/>
                  </a:solidFill>
                  <a:ea typeface="Lato" pitchFamily="34" charset="0"/>
                  <a:cs typeface="Lato" pitchFamily="34" charset="0"/>
                </a:rPr>
                <a:t>Devotion save me now.</a:t>
              </a:r>
            </a:p>
            <a:p>
              <a:r>
                <a:rPr lang="en-US" sz="1200" dirty="0">
                  <a:solidFill>
                    <a:schemeClr val="bg1"/>
                  </a:solidFill>
                  <a:ea typeface="Lato" pitchFamily="34" charset="0"/>
                  <a:cs typeface="Lato" pitchFamily="34" charset="0"/>
                </a:rPr>
                <a:t>Devotion save me now.</a:t>
              </a:r>
            </a:p>
          </p:txBody>
        </p:sp>
        <p:grpSp>
          <p:nvGrpSpPr>
            <p:cNvPr id="18" name="กลุ่ม 50"/>
            <p:cNvGrpSpPr/>
            <p:nvPr/>
          </p:nvGrpSpPr>
          <p:grpSpPr>
            <a:xfrm>
              <a:off x="1148809" y="82573"/>
              <a:ext cx="927304" cy="927304"/>
              <a:chOff x="1189784" y="-1448340"/>
              <a:chExt cx="1371600" cy="1371600"/>
            </a:xfrm>
          </p:grpSpPr>
          <p:sp>
            <p:nvSpPr>
              <p:cNvPr id="19" name="วงรี 51"/>
              <p:cNvSpPr/>
              <p:nvPr/>
            </p:nvSpPr>
            <p:spPr>
              <a:xfrm>
                <a:off x="1189784" y="-1448340"/>
                <a:ext cx="1371600" cy="13716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900" dirty="0">
                  <a:solidFill>
                    <a:schemeClr val="bg1"/>
                  </a:solidFill>
                </a:endParaRPr>
              </a:p>
            </p:txBody>
          </p:sp>
          <p:sp>
            <p:nvSpPr>
              <p:cNvPr id="20" name="Freeform 33"/>
              <p:cNvSpPr>
                <a:spLocks noChangeArrowheads="1"/>
              </p:cNvSpPr>
              <p:nvPr/>
            </p:nvSpPr>
            <p:spPr bwMode="auto">
              <a:xfrm>
                <a:off x="1469182" y="-1204522"/>
                <a:ext cx="779815" cy="820429"/>
              </a:xfrm>
              <a:custGeom>
                <a:avLst/>
                <a:gdLst>
                  <a:gd name="T0" fmla="*/ 124 w 338"/>
                  <a:gd name="T1" fmla="*/ 355 h 356"/>
                  <a:gd name="T2" fmla="*/ 124 w 338"/>
                  <a:gd name="T3" fmla="*/ 355 h 356"/>
                  <a:gd name="T4" fmla="*/ 98 w 338"/>
                  <a:gd name="T5" fmla="*/ 337 h 356"/>
                  <a:gd name="T6" fmla="*/ 9 w 338"/>
                  <a:gd name="T7" fmla="*/ 222 h 356"/>
                  <a:gd name="T8" fmla="*/ 18 w 338"/>
                  <a:gd name="T9" fmla="*/ 178 h 356"/>
                  <a:gd name="T10" fmla="*/ 62 w 338"/>
                  <a:gd name="T11" fmla="*/ 178 h 356"/>
                  <a:gd name="T12" fmla="*/ 124 w 338"/>
                  <a:gd name="T13" fmla="*/ 258 h 356"/>
                  <a:gd name="T14" fmla="*/ 266 w 338"/>
                  <a:gd name="T15" fmla="*/ 27 h 356"/>
                  <a:gd name="T16" fmla="*/ 319 w 338"/>
                  <a:gd name="T17" fmla="*/ 9 h 356"/>
                  <a:gd name="T18" fmla="*/ 328 w 338"/>
                  <a:gd name="T19" fmla="*/ 62 h 356"/>
                  <a:gd name="T20" fmla="*/ 160 w 338"/>
                  <a:gd name="T21" fmla="*/ 337 h 356"/>
                  <a:gd name="T22" fmla="*/ 124 w 338"/>
                  <a:gd name="T23" fmla="*/ 355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8" h="356">
                    <a:moveTo>
                      <a:pt x="124" y="355"/>
                    </a:moveTo>
                    <a:lnTo>
                      <a:pt x="124" y="355"/>
                    </a:lnTo>
                    <a:cubicBezTo>
                      <a:pt x="115" y="355"/>
                      <a:pt x="107" y="346"/>
                      <a:pt x="98" y="337"/>
                    </a:cubicBezTo>
                    <a:cubicBezTo>
                      <a:pt x="9" y="222"/>
                      <a:pt x="9" y="222"/>
                      <a:pt x="9" y="222"/>
                    </a:cubicBezTo>
                    <a:cubicBezTo>
                      <a:pt x="0" y="204"/>
                      <a:pt x="0" y="187"/>
                      <a:pt x="18" y="178"/>
                    </a:cubicBezTo>
                    <a:cubicBezTo>
                      <a:pt x="36" y="160"/>
                      <a:pt x="53" y="168"/>
                      <a:pt x="62" y="178"/>
                    </a:cubicBezTo>
                    <a:cubicBezTo>
                      <a:pt x="124" y="258"/>
                      <a:pt x="124" y="258"/>
                      <a:pt x="124" y="258"/>
                    </a:cubicBezTo>
                    <a:cubicBezTo>
                      <a:pt x="266" y="27"/>
                      <a:pt x="266" y="27"/>
                      <a:pt x="266" y="27"/>
                    </a:cubicBezTo>
                    <a:cubicBezTo>
                      <a:pt x="284" y="9"/>
                      <a:pt x="301" y="0"/>
                      <a:pt x="319" y="9"/>
                    </a:cubicBezTo>
                    <a:cubicBezTo>
                      <a:pt x="337" y="18"/>
                      <a:pt x="337" y="45"/>
                      <a:pt x="328" y="62"/>
                    </a:cubicBezTo>
                    <a:cubicBezTo>
                      <a:pt x="160" y="337"/>
                      <a:pt x="160" y="337"/>
                      <a:pt x="160" y="337"/>
                    </a:cubicBezTo>
                    <a:cubicBezTo>
                      <a:pt x="151" y="346"/>
                      <a:pt x="142" y="355"/>
                      <a:pt x="124" y="355"/>
                    </a:cubicBezTo>
                  </a:path>
                </a:pathLst>
              </a:custGeom>
              <a:solidFill>
                <a:schemeClr val="bg1"/>
              </a:solidFill>
              <a:ln>
                <a:noFill/>
              </a:ln>
              <a:effectLst/>
            </p:spPr>
            <p:txBody>
              <a:bodyPr wrap="none" lIns="17145" tIns="8573" rIns="17145" bIns="8573" anchor="ctr"/>
              <a:lstStyle/>
              <a:p>
                <a:pPr>
                  <a:defRPr/>
                </a:pPr>
                <a:endParaRPr lang="en-US" sz="900" dirty="0">
                  <a:solidFill>
                    <a:schemeClr val="bg1"/>
                  </a:solidFill>
                </a:endParaRPr>
              </a:p>
            </p:txBody>
          </p:sp>
        </p:grpSp>
      </p:grpSp>
      <p:grpSp>
        <p:nvGrpSpPr>
          <p:cNvPr id="21" name="กลุ่ม 52361"/>
          <p:cNvGrpSpPr/>
          <p:nvPr/>
        </p:nvGrpSpPr>
        <p:grpSpPr>
          <a:xfrm>
            <a:off x="9696681" y="3603127"/>
            <a:ext cx="2025419" cy="2698142"/>
            <a:chOff x="12712700" y="3581400"/>
            <a:chExt cx="5764213" cy="7678738"/>
          </a:xfrm>
          <a:solidFill>
            <a:schemeClr val="accent1"/>
          </a:solidFill>
        </p:grpSpPr>
        <p:sp>
          <p:nvSpPr>
            <p:cNvPr id="22" name="Freeform 6"/>
            <p:cNvSpPr>
              <a:spLocks noEditPoints="1"/>
            </p:cNvSpPr>
            <p:nvPr/>
          </p:nvSpPr>
          <p:spPr bwMode="auto">
            <a:xfrm>
              <a:off x="12712700" y="3581400"/>
              <a:ext cx="5764213" cy="7678738"/>
            </a:xfrm>
            <a:custGeom>
              <a:avLst/>
              <a:gdLst>
                <a:gd name="T0" fmla="*/ 303 w 304"/>
                <a:gd name="T1" fmla="*/ 332 h 405"/>
                <a:gd name="T2" fmla="*/ 286 w 304"/>
                <a:gd name="T3" fmla="*/ 142 h 405"/>
                <a:gd name="T4" fmla="*/ 107 w 304"/>
                <a:gd name="T5" fmla="*/ 6 h 405"/>
                <a:gd name="T6" fmla="*/ 39 w 304"/>
                <a:gd name="T7" fmla="*/ 40 h 405"/>
                <a:gd name="T8" fmla="*/ 35 w 304"/>
                <a:gd name="T9" fmla="*/ 51 h 405"/>
                <a:gd name="T10" fmla="*/ 22 w 304"/>
                <a:gd name="T11" fmla="*/ 116 h 405"/>
                <a:gd name="T12" fmla="*/ 30 w 304"/>
                <a:gd name="T13" fmla="*/ 148 h 405"/>
                <a:gd name="T14" fmla="*/ 4 w 304"/>
                <a:gd name="T15" fmla="*/ 218 h 405"/>
                <a:gd name="T16" fmla="*/ 3 w 304"/>
                <a:gd name="T17" fmla="*/ 225 h 405"/>
                <a:gd name="T18" fmla="*/ 57 w 304"/>
                <a:gd name="T19" fmla="*/ 267 h 405"/>
                <a:gd name="T20" fmla="*/ 73 w 304"/>
                <a:gd name="T21" fmla="*/ 222 h 405"/>
                <a:gd name="T22" fmla="*/ 41 w 304"/>
                <a:gd name="T23" fmla="*/ 184 h 405"/>
                <a:gd name="T24" fmla="*/ 49 w 304"/>
                <a:gd name="T25" fmla="*/ 159 h 405"/>
                <a:gd name="T26" fmla="*/ 41 w 304"/>
                <a:gd name="T27" fmla="*/ 170 h 405"/>
                <a:gd name="T28" fmla="*/ 32 w 304"/>
                <a:gd name="T29" fmla="*/ 170 h 405"/>
                <a:gd name="T30" fmla="*/ 39 w 304"/>
                <a:gd name="T31" fmla="*/ 130 h 405"/>
                <a:gd name="T32" fmla="*/ 39 w 304"/>
                <a:gd name="T33" fmla="*/ 73 h 405"/>
                <a:gd name="T34" fmla="*/ 105 w 304"/>
                <a:gd name="T35" fmla="*/ 52 h 405"/>
                <a:gd name="T36" fmla="*/ 228 w 304"/>
                <a:gd name="T37" fmla="*/ 330 h 405"/>
                <a:gd name="T38" fmla="*/ 219 w 304"/>
                <a:gd name="T39" fmla="*/ 299 h 405"/>
                <a:gd name="T40" fmla="*/ 219 w 304"/>
                <a:gd name="T41" fmla="*/ 286 h 405"/>
                <a:gd name="T42" fmla="*/ 212 w 304"/>
                <a:gd name="T43" fmla="*/ 292 h 405"/>
                <a:gd name="T44" fmla="*/ 203 w 304"/>
                <a:gd name="T45" fmla="*/ 290 h 405"/>
                <a:gd name="T46" fmla="*/ 177 w 304"/>
                <a:gd name="T47" fmla="*/ 304 h 405"/>
                <a:gd name="T48" fmla="*/ 173 w 304"/>
                <a:gd name="T49" fmla="*/ 363 h 405"/>
                <a:gd name="T50" fmla="*/ 173 w 304"/>
                <a:gd name="T51" fmla="*/ 368 h 405"/>
                <a:gd name="T52" fmla="*/ 145 w 304"/>
                <a:gd name="T53" fmla="*/ 373 h 405"/>
                <a:gd name="T54" fmla="*/ 292 w 304"/>
                <a:gd name="T55" fmla="*/ 389 h 405"/>
                <a:gd name="T56" fmla="*/ 301 w 304"/>
                <a:gd name="T57" fmla="*/ 370 h 405"/>
                <a:gd name="T58" fmla="*/ 304 w 304"/>
                <a:gd name="T59" fmla="*/ 364 h 405"/>
                <a:gd name="T60" fmla="*/ 41 w 304"/>
                <a:gd name="T61" fmla="*/ 190 h 405"/>
                <a:gd name="T62" fmla="*/ 32 w 304"/>
                <a:gd name="T63" fmla="*/ 189 h 405"/>
                <a:gd name="T64" fmla="*/ 88 w 304"/>
                <a:gd name="T65" fmla="*/ 30 h 405"/>
                <a:gd name="T66" fmla="*/ 40 w 304"/>
                <a:gd name="T67" fmla="*/ 43 h 405"/>
                <a:gd name="T68" fmla="*/ 100 w 304"/>
                <a:gd name="T69" fmla="*/ 22 h 405"/>
                <a:gd name="T70" fmla="*/ 146 w 304"/>
                <a:gd name="T71" fmla="*/ 397 h 405"/>
                <a:gd name="T72" fmla="*/ 116 w 304"/>
                <a:gd name="T73" fmla="*/ 55 h 405"/>
                <a:gd name="T74" fmla="*/ 143 w 304"/>
                <a:gd name="T75" fmla="*/ 76 h 405"/>
                <a:gd name="T76" fmla="*/ 120 w 304"/>
                <a:gd name="T77" fmla="*/ 58 h 405"/>
                <a:gd name="T78" fmla="*/ 150 w 304"/>
                <a:gd name="T79" fmla="*/ 82 h 405"/>
                <a:gd name="T80" fmla="*/ 147 w 304"/>
                <a:gd name="T81" fmla="*/ 79 h 405"/>
                <a:gd name="T82" fmla="*/ 174 w 304"/>
                <a:gd name="T83" fmla="*/ 82 h 405"/>
                <a:gd name="T84" fmla="*/ 196 w 304"/>
                <a:gd name="T85" fmla="*/ 119 h 405"/>
                <a:gd name="T86" fmla="*/ 219 w 304"/>
                <a:gd name="T87" fmla="*/ 138 h 405"/>
                <a:gd name="T88" fmla="*/ 219 w 304"/>
                <a:gd name="T89" fmla="*/ 138 h 405"/>
                <a:gd name="T90" fmla="*/ 200 w 304"/>
                <a:gd name="T91" fmla="*/ 122 h 405"/>
                <a:gd name="T92" fmla="*/ 105 w 304"/>
                <a:gd name="T93" fmla="*/ 10 h 405"/>
                <a:gd name="T94" fmla="*/ 237 w 304"/>
                <a:gd name="T95" fmla="*/ 124 h 405"/>
                <a:gd name="T96" fmla="*/ 226 w 304"/>
                <a:gd name="T97" fmla="*/ 124 h 405"/>
                <a:gd name="T98" fmla="*/ 237 w 304"/>
                <a:gd name="T99" fmla="*/ 161 h 405"/>
                <a:gd name="T100" fmla="*/ 234 w 304"/>
                <a:gd name="T101" fmla="*/ 179 h 405"/>
                <a:gd name="T102" fmla="*/ 234 w 304"/>
                <a:gd name="T103" fmla="*/ 179 h 405"/>
                <a:gd name="T104" fmla="*/ 237 w 304"/>
                <a:gd name="T105" fmla="*/ 218 h 405"/>
                <a:gd name="T106" fmla="*/ 237 w 304"/>
                <a:gd name="T107" fmla="*/ 225 h 405"/>
                <a:gd name="T108" fmla="*/ 240 w 304"/>
                <a:gd name="T109" fmla="*/ 264 h 405"/>
                <a:gd name="T110" fmla="*/ 241 w 304"/>
                <a:gd name="T111" fmla="*/ 271 h 405"/>
                <a:gd name="T112" fmla="*/ 242 w 304"/>
                <a:gd name="T113" fmla="*/ 308 h 405"/>
                <a:gd name="T114" fmla="*/ 261 w 304"/>
                <a:gd name="T115" fmla="*/ 330 h 405"/>
                <a:gd name="T116" fmla="*/ 268 w 304"/>
                <a:gd name="T117" fmla="*/ 328 h 405"/>
                <a:gd name="T118" fmla="*/ 255 w 304"/>
                <a:gd name="T119" fmla="*/ 145 h 405"/>
                <a:gd name="T120" fmla="*/ 275 w 304"/>
                <a:gd name="T121" fmla="*/ 33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4" h="405">
                  <a:moveTo>
                    <a:pt x="303" y="363"/>
                  </a:moveTo>
                  <a:cubicBezTo>
                    <a:pt x="303" y="362"/>
                    <a:pt x="303" y="362"/>
                    <a:pt x="303" y="362"/>
                  </a:cubicBezTo>
                  <a:cubicBezTo>
                    <a:pt x="303" y="361"/>
                    <a:pt x="303" y="361"/>
                    <a:pt x="303" y="361"/>
                  </a:cubicBezTo>
                  <a:cubicBezTo>
                    <a:pt x="303" y="332"/>
                    <a:pt x="303" y="332"/>
                    <a:pt x="303" y="332"/>
                  </a:cubicBezTo>
                  <a:cubicBezTo>
                    <a:pt x="303" y="331"/>
                    <a:pt x="302" y="330"/>
                    <a:pt x="300" y="330"/>
                  </a:cubicBezTo>
                  <a:cubicBezTo>
                    <a:pt x="293" y="330"/>
                    <a:pt x="293" y="330"/>
                    <a:pt x="293" y="330"/>
                  </a:cubicBezTo>
                  <a:cubicBezTo>
                    <a:pt x="278" y="153"/>
                    <a:pt x="278" y="153"/>
                    <a:pt x="278" y="153"/>
                  </a:cubicBezTo>
                  <a:cubicBezTo>
                    <a:pt x="283" y="151"/>
                    <a:pt x="286" y="147"/>
                    <a:pt x="286" y="142"/>
                  </a:cubicBezTo>
                  <a:cubicBezTo>
                    <a:pt x="286" y="136"/>
                    <a:pt x="282" y="132"/>
                    <a:pt x="276" y="132"/>
                  </a:cubicBezTo>
                  <a:cubicBezTo>
                    <a:pt x="273" y="132"/>
                    <a:pt x="270" y="133"/>
                    <a:pt x="268" y="135"/>
                  </a:cubicBezTo>
                  <a:cubicBezTo>
                    <a:pt x="107" y="8"/>
                    <a:pt x="107" y="8"/>
                    <a:pt x="107" y="8"/>
                  </a:cubicBezTo>
                  <a:cubicBezTo>
                    <a:pt x="107" y="7"/>
                    <a:pt x="107" y="6"/>
                    <a:pt x="107" y="6"/>
                  </a:cubicBezTo>
                  <a:cubicBezTo>
                    <a:pt x="107" y="3"/>
                    <a:pt x="105" y="0"/>
                    <a:pt x="102" y="0"/>
                  </a:cubicBezTo>
                  <a:cubicBezTo>
                    <a:pt x="99" y="0"/>
                    <a:pt x="96" y="3"/>
                    <a:pt x="96" y="6"/>
                  </a:cubicBezTo>
                  <a:cubicBezTo>
                    <a:pt x="96" y="6"/>
                    <a:pt x="96" y="7"/>
                    <a:pt x="96" y="7"/>
                  </a:cubicBezTo>
                  <a:cubicBezTo>
                    <a:pt x="39" y="40"/>
                    <a:pt x="39" y="40"/>
                    <a:pt x="39" y="40"/>
                  </a:cubicBezTo>
                  <a:cubicBezTo>
                    <a:pt x="38" y="39"/>
                    <a:pt x="37" y="39"/>
                    <a:pt x="37" y="39"/>
                  </a:cubicBezTo>
                  <a:cubicBezTo>
                    <a:pt x="34" y="39"/>
                    <a:pt x="33" y="40"/>
                    <a:pt x="33" y="43"/>
                  </a:cubicBezTo>
                  <a:cubicBezTo>
                    <a:pt x="33" y="44"/>
                    <a:pt x="34" y="46"/>
                    <a:pt x="35" y="46"/>
                  </a:cubicBezTo>
                  <a:cubicBezTo>
                    <a:pt x="35" y="51"/>
                    <a:pt x="35" y="51"/>
                    <a:pt x="35" y="51"/>
                  </a:cubicBezTo>
                  <a:cubicBezTo>
                    <a:pt x="30" y="52"/>
                    <a:pt x="26" y="57"/>
                    <a:pt x="26" y="62"/>
                  </a:cubicBezTo>
                  <a:cubicBezTo>
                    <a:pt x="26" y="68"/>
                    <a:pt x="29" y="72"/>
                    <a:pt x="34" y="73"/>
                  </a:cubicBezTo>
                  <a:cubicBezTo>
                    <a:pt x="34" y="104"/>
                    <a:pt x="34" y="104"/>
                    <a:pt x="34" y="104"/>
                  </a:cubicBezTo>
                  <a:cubicBezTo>
                    <a:pt x="22" y="116"/>
                    <a:pt x="22" y="116"/>
                    <a:pt x="22" y="116"/>
                  </a:cubicBezTo>
                  <a:cubicBezTo>
                    <a:pt x="22" y="117"/>
                    <a:pt x="22" y="117"/>
                    <a:pt x="22" y="118"/>
                  </a:cubicBezTo>
                  <a:cubicBezTo>
                    <a:pt x="34" y="130"/>
                    <a:pt x="34" y="130"/>
                    <a:pt x="34" y="130"/>
                  </a:cubicBezTo>
                  <a:cubicBezTo>
                    <a:pt x="34" y="141"/>
                    <a:pt x="34" y="141"/>
                    <a:pt x="34" y="141"/>
                  </a:cubicBezTo>
                  <a:cubicBezTo>
                    <a:pt x="34" y="144"/>
                    <a:pt x="32" y="146"/>
                    <a:pt x="30" y="148"/>
                  </a:cubicBezTo>
                  <a:cubicBezTo>
                    <a:pt x="24" y="151"/>
                    <a:pt x="20" y="158"/>
                    <a:pt x="22" y="164"/>
                  </a:cubicBezTo>
                  <a:cubicBezTo>
                    <a:pt x="23" y="170"/>
                    <a:pt x="27" y="174"/>
                    <a:pt x="32" y="176"/>
                  </a:cubicBezTo>
                  <a:cubicBezTo>
                    <a:pt x="32" y="184"/>
                    <a:pt x="32" y="184"/>
                    <a:pt x="32" y="184"/>
                  </a:cubicBezTo>
                  <a:cubicBezTo>
                    <a:pt x="4" y="218"/>
                    <a:pt x="4" y="218"/>
                    <a:pt x="4" y="218"/>
                  </a:cubicBezTo>
                  <a:cubicBezTo>
                    <a:pt x="3" y="218"/>
                    <a:pt x="3" y="218"/>
                    <a:pt x="3" y="218"/>
                  </a:cubicBezTo>
                  <a:cubicBezTo>
                    <a:pt x="1" y="218"/>
                    <a:pt x="0" y="219"/>
                    <a:pt x="0" y="220"/>
                  </a:cubicBezTo>
                  <a:cubicBezTo>
                    <a:pt x="0" y="222"/>
                    <a:pt x="0" y="222"/>
                    <a:pt x="0" y="222"/>
                  </a:cubicBezTo>
                  <a:cubicBezTo>
                    <a:pt x="0" y="224"/>
                    <a:pt x="1" y="225"/>
                    <a:pt x="3" y="225"/>
                  </a:cubicBezTo>
                  <a:cubicBezTo>
                    <a:pt x="5" y="225"/>
                    <a:pt x="5" y="225"/>
                    <a:pt x="5" y="225"/>
                  </a:cubicBezTo>
                  <a:cubicBezTo>
                    <a:pt x="13" y="264"/>
                    <a:pt x="13" y="264"/>
                    <a:pt x="13" y="264"/>
                  </a:cubicBezTo>
                  <a:cubicBezTo>
                    <a:pt x="13" y="266"/>
                    <a:pt x="15" y="267"/>
                    <a:pt x="17" y="267"/>
                  </a:cubicBezTo>
                  <a:cubicBezTo>
                    <a:pt x="57" y="267"/>
                    <a:pt x="57" y="267"/>
                    <a:pt x="57" y="267"/>
                  </a:cubicBezTo>
                  <a:cubicBezTo>
                    <a:pt x="59" y="267"/>
                    <a:pt x="60" y="266"/>
                    <a:pt x="61" y="264"/>
                  </a:cubicBezTo>
                  <a:cubicBezTo>
                    <a:pt x="69" y="225"/>
                    <a:pt x="69" y="225"/>
                    <a:pt x="69" y="225"/>
                  </a:cubicBezTo>
                  <a:cubicBezTo>
                    <a:pt x="71" y="225"/>
                    <a:pt x="71" y="225"/>
                    <a:pt x="71" y="225"/>
                  </a:cubicBezTo>
                  <a:cubicBezTo>
                    <a:pt x="72" y="225"/>
                    <a:pt x="73" y="224"/>
                    <a:pt x="73" y="222"/>
                  </a:cubicBezTo>
                  <a:cubicBezTo>
                    <a:pt x="73" y="220"/>
                    <a:pt x="73" y="220"/>
                    <a:pt x="73" y="220"/>
                  </a:cubicBezTo>
                  <a:cubicBezTo>
                    <a:pt x="73" y="219"/>
                    <a:pt x="72" y="218"/>
                    <a:pt x="71" y="218"/>
                  </a:cubicBezTo>
                  <a:cubicBezTo>
                    <a:pt x="70" y="218"/>
                    <a:pt x="70" y="218"/>
                    <a:pt x="70" y="218"/>
                  </a:cubicBezTo>
                  <a:cubicBezTo>
                    <a:pt x="41" y="184"/>
                    <a:pt x="41" y="184"/>
                    <a:pt x="41" y="184"/>
                  </a:cubicBezTo>
                  <a:cubicBezTo>
                    <a:pt x="41" y="176"/>
                    <a:pt x="41" y="176"/>
                    <a:pt x="41" y="176"/>
                  </a:cubicBezTo>
                  <a:cubicBezTo>
                    <a:pt x="43" y="175"/>
                    <a:pt x="45" y="174"/>
                    <a:pt x="46" y="173"/>
                  </a:cubicBezTo>
                  <a:cubicBezTo>
                    <a:pt x="50" y="170"/>
                    <a:pt x="52" y="166"/>
                    <a:pt x="52" y="161"/>
                  </a:cubicBezTo>
                  <a:cubicBezTo>
                    <a:pt x="52" y="160"/>
                    <a:pt x="51" y="159"/>
                    <a:pt x="49" y="159"/>
                  </a:cubicBezTo>
                  <a:cubicBezTo>
                    <a:pt x="48" y="159"/>
                    <a:pt x="47" y="160"/>
                    <a:pt x="47" y="161"/>
                  </a:cubicBezTo>
                  <a:cubicBezTo>
                    <a:pt x="47" y="164"/>
                    <a:pt x="45" y="167"/>
                    <a:pt x="43" y="169"/>
                  </a:cubicBezTo>
                  <a:cubicBezTo>
                    <a:pt x="42" y="169"/>
                    <a:pt x="42" y="170"/>
                    <a:pt x="41" y="170"/>
                  </a:cubicBezTo>
                  <a:cubicBezTo>
                    <a:pt x="41" y="170"/>
                    <a:pt x="41" y="170"/>
                    <a:pt x="41" y="170"/>
                  </a:cubicBezTo>
                  <a:cubicBezTo>
                    <a:pt x="41" y="168"/>
                    <a:pt x="40" y="167"/>
                    <a:pt x="39" y="167"/>
                  </a:cubicBezTo>
                  <a:cubicBezTo>
                    <a:pt x="35" y="167"/>
                    <a:pt x="35" y="167"/>
                    <a:pt x="35" y="167"/>
                  </a:cubicBezTo>
                  <a:cubicBezTo>
                    <a:pt x="34" y="167"/>
                    <a:pt x="32" y="168"/>
                    <a:pt x="32" y="170"/>
                  </a:cubicBezTo>
                  <a:cubicBezTo>
                    <a:pt x="32" y="170"/>
                    <a:pt x="32" y="170"/>
                    <a:pt x="32" y="170"/>
                  </a:cubicBezTo>
                  <a:cubicBezTo>
                    <a:pt x="30" y="169"/>
                    <a:pt x="27" y="167"/>
                    <a:pt x="27" y="163"/>
                  </a:cubicBezTo>
                  <a:cubicBezTo>
                    <a:pt x="26" y="159"/>
                    <a:pt x="28" y="154"/>
                    <a:pt x="32" y="152"/>
                  </a:cubicBezTo>
                  <a:cubicBezTo>
                    <a:pt x="36" y="150"/>
                    <a:pt x="39" y="146"/>
                    <a:pt x="39" y="141"/>
                  </a:cubicBezTo>
                  <a:cubicBezTo>
                    <a:pt x="39" y="130"/>
                    <a:pt x="39" y="130"/>
                    <a:pt x="39" y="130"/>
                  </a:cubicBezTo>
                  <a:cubicBezTo>
                    <a:pt x="51" y="118"/>
                    <a:pt x="51" y="118"/>
                    <a:pt x="51" y="118"/>
                  </a:cubicBezTo>
                  <a:cubicBezTo>
                    <a:pt x="52" y="117"/>
                    <a:pt x="52" y="117"/>
                    <a:pt x="51" y="116"/>
                  </a:cubicBezTo>
                  <a:cubicBezTo>
                    <a:pt x="39" y="104"/>
                    <a:pt x="39" y="104"/>
                    <a:pt x="39" y="104"/>
                  </a:cubicBezTo>
                  <a:cubicBezTo>
                    <a:pt x="39" y="73"/>
                    <a:pt x="39" y="73"/>
                    <a:pt x="39" y="73"/>
                  </a:cubicBezTo>
                  <a:cubicBezTo>
                    <a:pt x="42" y="73"/>
                    <a:pt x="45" y="70"/>
                    <a:pt x="47" y="67"/>
                  </a:cubicBezTo>
                  <a:cubicBezTo>
                    <a:pt x="97" y="52"/>
                    <a:pt x="97" y="52"/>
                    <a:pt x="97" y="52"/>
                  </a:cubicBezTo>
                  <a:cubicBezTo>
                    <a:pt x="98" y="52"/>
                    <a:pt x="100" y="52"/>
                    <a:pt x="102" y="52"/>
                  </a:cubicBezTo>
                  <a:cubicBezTo>
                    <a:pt x="103" y="52"/>
                    <a:pt x="104" y="52"/>
                    <a:pt x="105" y="52"/>
                  </a:cubicBezTo>
                  <a:cubicBezTo>
                    <a:pt x="219" y="144"/>
                    <a:pt x="219" y="144"/>
                    <a:pt x="219" y="144"/>
                  </a:cubicBezTo>
                  <a:cubicBezTo>
                    <a:pt x="219" y="149"/>
                    <a:pt x="222" y="153"/>
                    <a:pt x="226" y="156"/>
                  </a:cubicBezTo>
                  <a:cubicBezTo>
                    <a:pt x="236" y="330"/>
                    <a:pt x="236" y="330"/>
                    <a:pt x="236" y="330"/>
                  </a:cubicBezTo>
                  <a:cubicBezTo>
                    <a:pt x="228" y="330"/>
                    <a:pt x="228" y="330"/>
                    <a:pt x="228" y="330"/>
                  </a:cubicBezTo>
                  <a:cubicBezTo>
                    <a:pt x="227" y="305"/>
                    <a:pt x="227" y="305"/>
                    <a:pt x="227" y="305"/>
                  </a:cubicBezTo>
                  <a:cubicBezTo>
                    <a:pt x="227" y="301"/>
                    <a:pt x="224" y="299"/>
                    <a:pt x="221" y="299"/>
                  </a:cubicBezTo>
                  <a:cubicBezTo>
                    <a:pt x="221" y="299"/>
                    <a:pt x="221" y="299"/>
                    <a:pt x="221" y="299"/>
                  </a:cubicBezTo>
                  <a:cubicBezTo>
                    <a:pt x="219" y="299"/>
                    <a:pt x="219" y="299"/>
                    <a:pt x="219" y="299"/>
                  </a:cubicBezTo>
                  <a:cubicBezTo>
                    <a:pt x="219" y="292"/>
                    <a:pt x="219" y="292"/>
                    <a:pt x="219" y="292"/>
                  </a:cubicBezTo>
                  <a:cubicBezTo>
                    <a:pt x="220" y="292"/>
                    <a:pt x="220" y="292"/>
                    <a:pt x="220" y="292"/>
                  </a:cubicBezTo>
                  <a:cubicBezTo>
                    <a:pt x="220" y="287"/>
                    <a:pt x="220" y="287"/>
                    <a:pt x="220" y="287"/>
                  </a:cubicBezTo>
                  <a:cubicBezTo>
                    <a:pt x="220" y="286"/>
                    <a:pt x="220" y="286"/>
                    <a:pt x="219" y="286"/>
                  </a:cubicBezTo>
                  <a:cubicBezTo>
                    <a:pt x="211" y="286"/>
                    <a:pt x="211" y="286"/>
                    <a:pt x="211" y="286"/>
                  </a:cubicBezTo>
                  <a:cubicBezTo>
                    <a:pt x="211" y="286"/>
                    <a:pt x="211" y="286"/>
                    <a:pt x="211" y="287"/>
                  </a:cubicBezTo>
                  <a:cubicBezTo>
                    <a:pt x="211" y="292"/>
                    <a:pt x="211" y="292"/>
                    <a:pt x="211" y="292"/>
                  </a:cubicBezTo>
                  <a:cubicBezTo>
                    <a:pt x="212" y="292"/>
                    <a:pt x="212" y="292"/>
                    <a:pt x="212" y="292"/>
                  </a:cubicBezTo>
                  <a:cubicBezTo>
                    <a:pt x="212" y="299"/>
                    <a:pt x="212" y="299"/>
                    <a:pt x="212" y="299"/>
                  </a:cubicBezTo>
                  <a:cubicBezTo>
                    <a:pt x="208" y="299"/>
                    <a:pt x="208" y="299"/>
                    <a:pt x="208" y="299"/>
                  </a:cubicBezTo>
                  <a:cubicBezTo>
                    <a:pt x="208" y="290"/>
                    <a:pt x="208" y="290"/>
                    <a:pt x="208" y="290"/>
                  </a:cubicBezTo>
                  <a:cubicBezTo>
                    <a:pt x="203" y="290"/>
                    <a:pt x="203" y="290"/>
                    <a:pt x="203" y="290"/>
                  </a:cubicBezTo>
                  <a:cubicBezTo>
                    <a:pt x="203" y="299"/>
                    <a:pt x="203" y="299"/>
                    <a:pt x="203" y="299"/>
                  </a:cubicBezTo>
                  <a:cubicBezTo>
                    <a:pt x="183" y="299"/>
                    <a:pt x="183" y="299"/>
                    <a:pt x="183" y="299"/>
                  </a:cubicBezTo>
                  <a:cubicBezTo>
                    <a:pt x="183" y="299"/>
                    <a:pt x="183" y="299"/>
                    <a:pt x="183" y="299"/>
                  </a:cubicBezTo>
                  <a:cubicBezTo>
                    <a:pt x="180" y="299"/>
                    <a:pt x="177" y="301"/>
                    <a:pt x="177" y="304"/>
                  </a:cubicBezTo>
                  <a:cubicBezTo>
                    <a:pt x="177" y="305"/>
                    <a:pt x="177" y="305"/>
                    <a:pt x="177" y="305"/>
                  </a:cubicBezTo>
                  <a:cubicBezTo>
                    <a:pt x="177" y="305"/>
                    <a:pt x="177" y="305"/>
                    <a:pt x="177" y="305"/>
                  </a:cubicBezTo>
                  <a:cubicBezTo>
                    <a:pt x="173" y="361"/>
                    <a:pt x="173" y="361"/>
                    <a:pt x="173" y="361"/>
                  </a:cubicBezTo>
                  <a:cubicBezTo>
                    <a:pt x="173" y="363"/>
                    <a:pt x="173" y="363"/>
                    <a:pt x="173" y="363"/>
                  </a:cubicBezTo>
                  <a:cubicBezTo>
                    <a:pt x="173" y="363"/>
                    <a:pt x="172" y="363"/>
                    <a:pt x="172" y="364"/>
                  </a:cubicBezTo>
                  <a:cubicBezTo>
                    <a:pt x="172" y="366"/>
                    <a:pt x="172" y="366"/>
                    <a:pt x="172" y="366"/>
                  </a:cubicBezTo>
                  <a:cubicBezTo>
                    <a:pt x="172" y="367"/>
                    <a:pt x="173" y="367"/>
                    <a:pt x="173" y="367"/>
                  </a:cubicBezTo>
                  <a:cubicBezTo>
                    <a:pt x="173" y="368"/>
                    <a:pt x="173" y="368"/>
                    <a:pt x="173" y="368"/>
                  </a:cubicBezTo>
                  <a:cubicBezTo>
                    <a:pt x="173" y="369"/>
                    <a:pt x="174" y="370"/>
                    <a:pt x="175" y="370"/>
                  </a:cubicBezTo>
                  <a:cubicBezTo>
                    <a:pt x="187" y="370"/>
                    <a:pt x="187" y="370"/>
                    <a:pt x="187" y="370"/>
                  </a:cubicBezTo>
                  <a:cubicBezTo>
                    <a:pt x="187" y="373"/>
                    <a:pt x="187" y="373"/>
                    <a:pt x="187" y="373"/>
                  </a:cubicBezTo>
                  <a:cubicBezTo>
                    <a:pt x="145" y="373"/>
                    <a:pt x="145" y="373"/>
                    <a:pt x="145" y="373"/>
                  </a:cubicBezTo>
                  <a:cubicBezTo>
                    <a:pt x="136" y="373"/>
                    <a:pt x="129" y="380"/>
                    <a:pt x="129" y="389"/>
                  </a:cubicBezTo>
                  <a:cubicBezTo>
                    <a:pt x="129" y="398"/>
                    <a:pt x="136" y="405"/>
                    <a:pt x="145" y="405"/>
                  </a:cubicBezTo>
                  <a:cubicBezTo>
                    <a:pt x="276" y="405"/>
                    <a:pt x="276" y="405"/>
                    <a:pt x="276" y="405"/>
                  </a:cubicBezTo>
                  <a:cubicBezTo>
                    <a:pt x="285" y="405"/>
                    <a:pt x="292" y="398"/>
                    <a:pt x="292" y="389"/>
                  </a:cubicBezTo>
                  <a:cubicBezTo>
                    <a:pt x="292" y="380"/>
                    <a:pt x="285" y="373"/>
                    <a:pt x="276" y="373"/>
                  </a:cubicBezTo>
                  <a:cubicBezTo>
                    <a:pt x="236" y="373"/>
                    <a:pt x="236" y="373"/>
                    <a:pt x="236" y="373"/>
                  </a:cubicBezTo>
                  <a:cubicBezTo>
                    <a:pt x="236" y="370"/>
                    <a:pt x="236" y="370"/>
                    <a:pt x="236" y="370"/>
                  </a:cubicBezTo>
                  <a:cubicBezTo>
                    <a:pt x="301" y="370"/>
                    <a:pt x="301" y="370"/>
                    <a:pt x="301" y="370"/>
                  </a:cubicBezTo>
                  <a:cubicBezTo>
                    <a:pt x="302" y="370"/>
                    <a:pt x="303" y="369"/>
                    <a:pt x="303" y="368"/>
                  </a:cubicBezTo>
                  <a:cubicBezTo>
                    <a:pt x="303" y="367"/>
                    <a:pt x="303" y="367"/>
                    <a:pt x="303" y="367"/>
                  </a:cubicBezTo>
                  <a:cubicBezTo>
                    <a:pt x="304" y="367"/>
                    <a:pt x="304" y="367"/>
                    <a:pt x="304" y="366"/>
                  </a:cubicBezTo>
                  <a:cubicBezTo>
                    <a:pt x="304" y="364"/>
                    <a:pt x="304" y="364"/>
                    <a:pt x="304" y="364"/>
                  </a:cubicBezTo>
                  <a:cubicBezTo>
                    <a:pt x="304" y="363"/>
                    <a:pt x="304" y="363"/>
                    <a:pt x="303" y="363"/>
                  </a:cubicBezTo>
                  <a:close/>
                  <a:moveTo>
                    <a:pt x="35" y="192"/>
                  </a:moveTo>
                  <a:cubicBezTo>
                    <a:pt x="39" y="192"/>
                    <a:pt x="39" y="192"/>
                    <a:pt x="39" y="192"/>
                  </a:cubicBezTo>
                  <a:cubicBezTo>
                    <a:pt x="40" y="192"/>
                    <a:pt x="41" y="191"/>
                    <a:pt x="41" y="190"/>
                  </a:cubicBezTo>
                  <a:cubicBezTo>
                    <a:pt x="41" y="189"/>
                    <a:pt x="41" y="189"/>
                    <a:pt x="41" y="189"/>
                  </a:cubicBezTo>
                  <a:cubicBezTo>
                    <a:pt x="66" y="218"/>
                    <a:pt x="66" y="218"/>
                    <a:pt x="66" y="218"/>
                  </a:cubicBezTo>
                  <a:cubicBezTo>
                    <a:pt x="7" y="218"/>
                    <a:pt x="7" y="218"/>
                    <a:pt x="7" y="218"/>
                  </a:cubicBezTo>
                  <a:cubicBezTo>
                    <a:pt x="32" y="189"/>
                    <a:pt x="32" y="189"/>
                    <a:pt x="32" y="189"/>
                  </a:cubicBezTo>
                  <a:cubicBezTo>
                    <a:pt x="32" y="190"/>
                    <a:pt x="32" y="190"/>
                    <a:pt x="32" y="190"/>
                  </a:cubicBezTo>
                  <a:cubicBezTo>
                    <a:pt x="32" y="191"/>
                    <a:pt x="34" y="192"/>
                    <a:pt x="35" y="192"/>
                  </a:cubicBezTo>
                  <a:close/>
                  <a:moveTo>
                    <a:pt x="100" y="22"/>
                  </a:moveTo>
                  <a:cubicBezTo>
                    <a:pt x="95" y="22"/>
                    <a:pt x="90" y="26"/>
                    <a:pt x="88" y="30"/>
                  </a:cubicBezTo>
                  <a:cubicBezTo>
                    <a:pt x="40" y="52"/>
                    <a:pt x="40" y="52"/>
                    <a:pt x="40" y="52"/>
                  </a:cubicBezTo>
                  <a:cubicBezTo>
                    <a:pt x="39" y="52"/>
                    <a:pt x="39" y="51"/>
                    <a:pt x="38" y="51"/>
                  </a:cubicBezTo>
                  <a:cubicBezTo>
                    <a:pt x="38" y="46"/>
                    <a:pt x="38" y="46"/>
                    <a:pt x="38" y="46"/>
                  </a:cubicBezTo>
                  <a:cubicBezTo>
                    <a:pt x="40" y="46"/>
                    <a:pt x="40" y="44"/>
                    <a:pt x="40" y="43"/>
                  </a:cubicBezTo>
                  <a:cubicBezTo>
                    <a:pt x="40" y="42"/>
                    <a:pt x="40" y="42"/>
                    <a:pt x="40" y="42"/>
                  </a:cubicBezTo>
                  <a:cubicBezTo>
                    <a:pt x="98" y="10"/>
                    <a:pt x="98" y="10"/>
                    <a:pt x="98" y="10"/>
                  </a:cubicBezTo>
                  <a:cubicBezTo>
                    <a:pt x="99" y="10"/>
                    <a:pt x="99" y="11"/>
                    <a:pt x="100" y="11"/>
                  </a:cubicBezTo>
                  <a:lnTo>
                    <a:pt x="100" y="22"/>
                  </a:lnTo>
                  <a:close/>
                  <a:moveTo>
                    <a:pt x="274" y="379"/>
                  </a:moveTo>
                  <a:cubicBezTo>
                    <a:pt x="279" y="379"/>
                    <a:pt x="283" y="383"/>
                    <a:pt x="283" y="388"/>
                  </a:cubicBezTo>
                  <a:cubicBezTo>
                    <a:pt x="283" y="393"/>
                    <a:pt x="279" y="397"/>
                    <a:pt x="274" y="397"/>
                  </a:cubicBezTo>
                  <a:cubicBezTo>
                    <a:pt x="146" y="397"/>
                    <a:pt x="146" y="397"/>
                    <a:pt x="146" y="397"/>
                  </a:cubicBezTo>
                  <a:cubicBezTo>
                    <a:pt x="141" y="397"/>
                    <a:pt x="137" y="393"/>
                    <a:pt x="137" y="388"/>
                  </a:cubicBezTo>
                  <a:cubicBezTo>
                    <a:pt x="137" y="383"/>
                    <a:pt x="141" y="379"/>
                    <a:pt x="146" y="379"/>
                  </a:cubicBezTo>
                  <a:lnTo>
                    <a:pt x="274" y="379"/>
                  </a:lnTo>
                  <a:close/>
                  <a:moveTo>
                    <a:pt x="116" y="55"/>
                  </a:moveTo>
                  <a:cubicBezTo>
                    <a:pt x="110" y="50"/>
                    <a:pt x="110" y="50"/>
                    <a:pt x="110" y="50"/>
                  </a:cubicBezTo>
                  <a:cubicBezTo>
                    <a:pt x="113" y="48"/>
                    <a:pt x="115" y="46"/>
                    <a:pt x="116" y="42"/>
                  </a:cubicBezTo>
                  <a:lnTo>
                    <a:pt x="116" y="55"/>
                  </a:lnTo>
                  <a:close/>
                  <a:moveTo>
                    <a:pt x="143" y="76"/>
                  </a:moveTo>
                  <a:cubicBezTo>
                    <a:pt x="124" y="61"/>
                    <a:pt x="124" y="61"/>
                    <a:pt x="124" y="61"/>
                  </a:cubicBezTo>
                  <a:cubicBezTo>
                    <a:pt x="143" y="58"/>
                    <a:pt x="143" y="58"/>
                    <a:pt x="143" y="58"/>
                  </a:cubicBezTo>
                  <a:lnTo>
                    <a:pt x="143" y="76"/>
                  </a:lnTo>
                  <a:close/>
                  <a:moveTo>
                    <a:pt x="120" y="58"/>
                  </a:moveTo>
                  <a:cubicBezTo>
                    <a:pt x="120" y="40"/>
                    <a:pt x="120" y="40"/>
                    <a:pt x="120" y="40"/>
                  </a:cubicBezTo>
                  <a:cubicBezTo>
                    <a:pt x="139" y="55"/>
                    <a:pt x="139" y="55"/>
                    <a:pt x="139" y="55"/>
                  </a:cubicBezTo>
                  <a:lnTo>
                    <a:pt x="120" y="58"/>
                  </a:lnTo>
                  <a:close/>
                  <a:moveTo>
                    <a:pt x="150" y="82"/>
                  </a:moveTo>
                  <a:cubicBezTo>
                    <a:pt x="169" y="79"/>
                    <a:pt x="169" y="79"/>
                    <a:pt x="169" y="79"/>
                  </a:cubicBezTo>
                  <a:cubicBezTo>
                    <a:pt x="170" y="98"/>
                    <a:pt x="170" y="98"/>
                    <a:pt x="170" y="98"/>
                  </a:cubicBezTo>
                  <a:lnTo>
                    <a:pt x="150" y="82"/>
                  </a:lnTo>
                  <a:close/>
                  <a:moveTo>
                    <a:pt x="147" y="79"/>
                  </a:moveTo>
                  <a:cubicBezTo>
                    <a:pt x="147" y="61"/>
                    <a:pt x="147" y="61"/>
                    <a:pt x="147" y="61"/>
                  </a:cubicBezTo>
                  <a:cubicBezTo>
                    <a:pt x="166" y="76"/>
                    <a:pt x="166" y="76"/>
                    <a:pt x="166" y="76"/>
                  </a:cubicBezTo>
                  <a:lnTo>
                    <a:pt x="147" y="79"/>
                  </a:lnTo>
                  <a:close/>
                  <a:moveTo>
                    <a:pt x="174" y="82"/>
                  </a:moveTo>
                  <a:cubicBezTo>
                    <a:pt x="193" y="97"/>
                    <a:pt x="193" y="97"/>
                    <a:pt x="193" y="97"/>
                  </a:cubicBezTo>
                  <a:cubicBezTo>
                    <a:pt x="174" y="101"/>
                    <a:pt x="174" y="101"/>
                    <a:pt x="174" y="101"/>
                  </a:cubicBezTo>
                  <a:lnTo>
                    <a:pt x="174" y="82"/>
                  </a:lnTo>
                  <a:close/>
                  <a:moveTo>
                    <a:pt x="196" y="119"/>
                  </a:moveTo>
                  <a:cubicBezTo>
                    <a:pt x="178" y="104"/>
                    <a:pt x="178" y="104"/>
                    <a:pt x="178" y="104"/>
                  </a:cubicBezTo>
                  <a:cubicBezTo>
                    <a:pt x="196" y="101"/>
                    <a:pt x="196" y="101"/>
                    <a:pt x="196" y="101"/>
                  </a:cubicBezTo>
                  <a:lnTo>
                    <a:pt x="196" y="119"/>
                  </a:lnTo>
                  <a:close/>
                  <a:moveTo>
                    <a:pt x="219" y="138"/>
                  </a:moveTo>
                  <a:cubicBezTo>
                    <a:pt x="204" y="125"/>
                    <a:pt x="204" y="125"/>
                    <a:pt x="204" y="125"/>
                  </a:cubicBezTo>
                  <a:cubicBezTo>
                    <a:pt x="222" y="121"/>
                    <a:pt x="222" y="121"/>
                    <a:pt x="222" y="121"/>
                  </a:cubicBezTo>
                  <a:cubicBezTo>
                    <a:pt x="222" y="132"/>
                    <a:pt x="222" y="132"/>
                    <a:pt x="222" y="132"/>
                  </a:cubicBezTo>
                  <a:cubicBezTo>
                    <a:pt x="221" y="133"/>
                    <a:pt x="220" y="136"/>
                    <a:pt x="219" y="138"/>
                  </a:cubicBezTo>
                  <a:close/>
                  <a:moveTo>
                    <a:pt x="200" y="122"/>
                  </a:moveTo>
                  <a:cubicBezTo>
                    <a:pt x="200" y="103"/>
                    <a:pt x="200" y="103"/>
                    <a:pt x="200" y="103"/>
                  </a:cubicBezTo>
                  <a:cubicBezTo>
                    <a:pt x="218" y="118"/>
                    <a:pt x="218" y="118"/>
                    <a:pt x="218" y="118"/>
                  </a:cubicBezTo>
                  <a:lnTo>
                    <a:pt x="200" y="122"/>
                  </a:lnTo>
                  <a:close/>
                  <a:moveTo>
                    <a:pt x="115" y="29"/>
                  </a:moveTo>
                  <a:cubicBezTo>
                    <a:pt x="113" y="25"/>
                    <a:pt x="108" y="22"/>
                    <a:pt x="103" y="22"/>
                  </a:cubicBezTo>
                  <a:cubicBezTo>
                    <a:pt x="103" y="11"/>
                    <a:pt x="103" y="11"/>
                    <a:pt x="103" y="11"/>
                  </a:cubicBezTo>
                  <a:cubicBezTo>
                    <a:pt x="104" y="11"/>
                    <a:pt x="105" y="11"/>
                    <a:pt x="105" y="10"/>
                  </a:cubicBezTo>
                  <a:cubicBezTo>
                    <a:pt x="267" y="137"/>
                    <a:pt x="267" y="137"/>
                    <a:pt x="267" y="137"/>
                  </a:cubicBezTo>
                  <a:cubicBezTo>
                    <a:pt x="266" y="138"/>
                    <a:pt x="266" y="139"/>
                    <a:pt x="265" y="140"/>
                  </a:cubicBezTo>
                  <a:cubicBezTo>
                    <a:pt x="255" y="140"/>
                    <a:pt x="255" y="140"/>
                    <a:pt x="255" y="140"/>
                  </a:cubicBezTo>
                  <a:cubicBezTo>
                    <a:pt x="254" y="131"/>
                    <a:pt x="246" y="124"/>
                    <a:pt x="237" y="124"/>
                  </a:cubicBezTo>
                  <a:cubicBezTo>
                    <a:pt x="236" y="124"/>
                    <a:pt x="236" y="124"/>
                    <a:pt x="235" y="124"/>
                  </a:cubicBezTo>
                  <a:lnTo>
                    <a:pt x="115" y="29"/>
                  </a:lnTo>
                  <a:close/>
                  <a:moveTo>
                    <a:pt x="226" y="128"/>
                  </a:moveTo>
                  <a:cubicBezTo>
                    <a:pt x="226" y="124"/>
                    <a:pt x="226" y="124"/>
                    <a:pt x="226" y="124"/>
                  </a:cubicBezTo>
                  <a:cubicBezTo>
                    <a:pt x="229" y="126"/>
                    <a:pt x="229" y="126"/>
                    <a:pt x="229" y="126"/>
                  </a:cubicBezTo>
                  <a:cubicBezTo>
                    <a:pt x="228" y="126"/>
                    <a:pt x="227" y="127"/>
                    <a:pt x="226" y="128"/>
                  </a:cubicBezTo>
                  <a:close/>
                  <a:moveTo>
                    <a:pt x="233" y="160"/>
                  </a:moveTo>
                  <a:cubicBezTo>
                    <a:pt x="234" y="160"/>
                    <a:pt x="236" y="161"/>
                    <a:pt x="237" y="161"/>
                  </a:cubicBezTo>
                  <a:cubicBezTo>
                    <a:pt x="238" y="161"/>
                    <a:pt x="239" y="160"/>
                    <a:pt x="240" y="160"/>
                  </a:cubicBezTo>
                  <a:cubicBezTo>
                    <a:pt x="234" y="170"/>
                    <a:pt x="234" y="170"/>
                    <a:pt x="234" y="170"/>
                  </a:cubicBezTo>
                  <a:lnTo>
                    <a:pt x="233" y="160"/>
                  </a:lnTo>
                  <a:close/>
                  <a:moveTo>
                    <a:pt x="234" y="179"/>
                  </a:moveTo>
                  <a:cubicBezTo>
                    <a:pt x="245" y="161"/>
                    <a:pt x="245" y="161"/>
                    <a:pt x="245" y="161"/>
                  </a:cubicBezTo>
                  <a:cubicBezTo>
                    <a:pt x="250" y="193"/>
                    <a:pt x="250" y="193"/>
                    <a:pt x="250" y="193"/>
                  </a:cubicBezTo>
                  <a:cubicBezTo>
                    <a:pt x="234" y="180"/>
                    <a:pt x="234" y="180"/>
                    <a:pt x="234" y="180"/>
                  </a:cubicBezTo>
                  <a:lnTo>
                    <a:pt x="234" y="179"/>
                  </a:lnTo>
                  <a:close/>
                  <a:moveTo>
                    <a:pt x="235" y="187"/>
                  </a:moveTo>
                  <a:cubicBezTo>
                    <a:pt x="251" y="200"/>
                    <a:pt x="251" y="200"/>
                    <a:pt x="251" y="200"/>
                  </a:cubicBezTo>
                  <a:cubicBezTo>
                    <a:pt x="251" y="200"/>
                    <a:pt x="251" y="200"/>
                    <a:pt x="251" y="200"/>
                  </a:cubicBezTo>
                  <a:cubicBezTo>
                    <a:pt x="237" y="218"/>
                    <a:pt x="237" y="218"/>
                    <a:pt x="237" y="218"/>
                  </a:cubicBezTo>
                  <a:lnTo>
                    <a:pt x="235" y="187"/>
                  </a:lnTo>
                  <a:close/>
                  <a:moveTo>
                    <a:pt x="252" y="207"/>
                  </a:moveTo>
                  <a:cubicBezTo>
                    <a:pt x="256" y="239"/>
                    <a:pt x="256" y="239"/>
                    <a:pt x="256" y="239"/>
                  </a:cubicBezTo>
                  <a:cubicBezTo>
                    <a:pt x="237" y="225"/>
                    <a:pt x="237" y="225"/>
                    <a:pt x="237" y="225"/>
                  </a:cubicBezTo>
                  <a:lnTo>
                    <a:pt x="252" y="207"/>
                  </a:lnTo>
                  <a:close/>
                  <a:moveTo>
                    <a:pt x="238" y="232"/>
                  </a:moveTo>
                  <a:cubicBezTo>
                    <a:pt x="257" y="246"/>
                    <a:pt x="257" y="246"/>
                    <a:pt x="257" y="246"/>
                  </a:cubicBezTo>
                  <a:cubicBezTo>
                    <a:pt x="240" y="264"/>
                    <a:pt x="240" y="264"/>
                    <a:pt x="240" y="264"/>
                  </a:cubicBezTo>
                  <a:lnTo>
                    <a:pt x="238" y="232"/>
                  </a:lnTo>
                  <a:close/>
                  <a:moveTo>
                    <a:pt x="258" y="253"/>
                  </a:moveTo>
                  <a:cubicBezTo>
                    <a:pt x="262" y="283"/>
                    <a:pt x="262" y="283"/>
                    <a:pt x="262" y="283"/>
                  </a:cubicBezTo>
                  <a:cubicBezTo>
                    <a:pt x="241" y="271"/>
                    <a:pt x="241" y="271"/>
                    <a:pt x="241" y="271"/>
                  </a:cubicBezTo>
                  <a:lnTo>
                    <a:pt x="258" y="253"/>
                  </a:lnTo>
                  <a:close/>
                  <a:moveTo>
                    <a:pt x="240" y="276"/>
                  </a:moveTo>
                  <a:cubicBezTo>
                    <a:pt x="262" y="289"/>
                    <a:pt x="262" y="289"/>
                    <a:pt x="262" y="289"/>
                  </a:cubicBezTo>
                  <a:cubicBezTo>
                    <a:pt x="242" y="308"/>
                    <a:pt x="242" y="308"/>
                    <a:pt x="242" y="308"/>
                  </a:cubicBezTo>
                  <a:lnTo>
                    <a:pt x="240" y="276"/>
                  </a:lnTo>
                  <a:close/>
                  <a:moveTo>
                    <a:pt x="244" y="330"/>
                  </a:moveTo>
                  <a:cubicBezTo>
                    <a:pt x="243" y="320"/>
                    <a:pt x="243" y="320"/>
                    <a:pt x="243" y="320"/>
                  </a:cubicBezTo>
                  <a:cubicBezTo>
                    <a:pt x="261" y="330"/>
                    <a:pt x="261" y="330"/>
                    <a:pt x="261" y="330"/>
                  </a:cubicBezTo>
                  <a:lnTo>
                    <a:pt x="244" y="330"/>
                  </a:lnTo>
                  <a:close/>
                  <a:moveTo>
                    <a:pt x="243" y="315"/>
                  </a:moveTo>
                  <a:cubicBezTo>
                    <a:pt x="263" y="294"/>
                    <a:pt x="263" y="294"/>
                    <a:pt x="263" y="294"/>
                  </a:cubicBezTo>
                  <a:cubicBezTo>
                    <a:pt x="268" y="328"/>
                    <a:pt x="268" y="328"/>
                    <a:pt x="268" y="328"/>
                  </a:cubicBezTo>
                  <a:lnTo>
                    <a:pt x="243" y="315"/>
                  </a:lnTo>
                  <a:close/>
                  <a:moveTo>
                    <a:pt x="275" y="330"/>
                  </a:moveTo>
                  <a:cubicBezTo>
                    <a:pt x="252" y="153"/>
                    <a:pt x="252" y="153"/>
                    <a:pt x="252" y="153"/>
                  </a:cubicBezTo>
                  <a:cubicBezTo>
                    <a:pt x="254" y="151"/>
                    <a:pt x="255" y="148"/>
                    <a:pt x="255" y="145"/>
                  </a:cubicBezTo>
                  <a:cubicBezTo>
                    <a:pt x="265" y="145"/>
                    <a:pt x="265" y="145"/>
                    <a:pt x="265" y="145"/>
                  </a:cubicBezTo>
                  <a:cubicBezTo>
                    <a:pt x="267" y="149"/>
                    <a:pt x="270" y="152"/>
                    <a:pt x="275" y="153"/>
                  </a:cubicBezTo>
                  <a:cubicBezTo>
                    <a:pt x="290" y="330"/>
                    <a:pt x="290" y="330"/>
                    <a:pt x="290" y="330"/>
                  </a:cubicBezTo>
                  <a:lnTo>
                    <a:pt x="275"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3" name="Oval 7"/>
            <p:cNvSpPr>
              <a:spLocks noChangeArrowheads="1"/>
            </p:cNvSpPr>
            <p:nvPr/>
          </p:nvSpPr>
          <p:spPr bwMode="auto">
            <a:xfrm>
              <a:off x="15481300" y="10804525"/>
              <a:ext cx="26511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4" name="Oval 8"/>
            <p:cNvSpPr>
              <a:spLocks noChangeArrowheads="1"/>
            </p:cNvSpPr>
            <p:nvPr/>
          </p:nvSpPr>
          <p:spPr bwMode="auto">
            <a:xfrm>
              <a:off x="15841663" y="10804525"/>
              <a:ext cx="26511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5" name="Oval 9"/>
            <p:cNvSpPr>
              <a:spLocks noChangeArrowheads="1"/>
            </p:cNvSpPr>
            <p:nvPr/>
          </p:nvSpPr>
          <p:spPr bwMode="auto">
            <a:xfrm>
              <a:off x="16202025" y="10804525"/>
              <a:ext cx="26511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6" name="Oval 10"/>
            <p:cNvSpPr>
              <a:spLocks noChangeArrowheads="1"/>
            </p:cNvSpPr>
            <p:nvPr/>
          </p:nvSpPr>
          <p:spPr bwMode="auto">
            <a:xfrm>
              <a:off x="16581438" y="10804525"/>
              <a:ext cx="24606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7" name="Oval 11"/>
            <p:cNvSpPr>
              <a:spLocks noChangeArrowheads="1"/>
            </p:cNvSpPr>
            <p:nvPr/>
          </p:nvSpPr>
          <p:spPr bwMode="auto">
            <a:xfrm>
              <a:off x="16884650" y="10804525"/>
              <a:ext cx="26511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8" name="Oval 12"/>
            <p:cNvSpPr>
              <a:spLocks noChangeArrowheads="1"/>
            </p:cNvSpPr>
            <p:nvPr/>
          </p:nvSpPr>
          <p:spPr bwMode="auto">
            <a:xfrm>
              <a:off x="17264063" y="10804525"/>
              <a:ext cx="24606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9" name="Oval 13"/>
            <p:cNvSpPr>
              <a:spLocks noChangeArrowheads="1"/>
            </p:cNvSpPr>
            <p:nvPr/>
          </p:nvSpPr>
          <p:spPr bwMode="auto">
            <a:xfrm>
              <a:off x="17603788" y="10804525"/>
              <a:ext cx="266700"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grpSp>
      <p:grpSp>
        <p:nvGrpSpPr>
          <p:cNvPr id="30" name="กลุ่ม 57353"/>
          <p:cNvGrpSpPr/>
          <p:nvPr/>
        </p:nvGrpSpPr>
        <p:grpSpPr>
          <a:xfrm>
            <a:off x="6967651" y="5058717"/>
            <a:ext cx="1464299" cy="1227075"/>
            <a:chOff x="3954463" y="3844925"/>
            <a:chExt cx="4938712" cy="4138613"/>
          </a:xfrm>
          <a:solidFill>
            <a:schemeClr val="accent6"/>
          </a:solidFill>
        </p:grpSpPr>
        <p:sp>
          <p:nvSpPr>
            <p:cNvPr id="31" name="Rectangle 6"/>
            <p:cNvSpPr>
              <a:spLocks noChangeArrowheads="1"/>
            </p:cNvSpPr>
            <p:nvPr/>
          </p:nvSpPr>
          <p:spPr bwMode="auto">
            <a:xfrm>
              <a:off x="5180013" y="7005638"/>
              <a:ext cx="3713162" cy="1079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2" name="Freeform 7"/>
            <p:cNvSpPr>
              <a:spLocks/>
            </p:cNvSpPr>
            <p:nvPr/>
          </p:nvSpPr>
          <p:spPr bwMode="auto">
            <a:xfrm>
              <a:off x="5180013" y="3844925"/>
              <a:ext cx="3552825" cy="3090863"/>
            </a:xfrm>
            <a:custGeom>
              <a:avLst/>
              <a:gdLst>
                <a:gd name="T0" fmla="*/ 95 w 200"/>
                <a:gd name="T1" fmla="*/ 160 h 174"/>
                <a:gd name="T2" fmla="*/ 78 w 200"/>
                <a:gd name="T3" fmla="*/ 147 h 174"/>
                <a:gd name="T4" fmla="*/ 65 w 200"/>
                <a:gd name="T5" fmla="*/ 147 h 174"/>
                <a:gd name="T6" fmla="*/ 65 w 200"/>
                <a:gd name="T7" fmla="*/ 114 h 174"/>
                <a:gd name="T8" fmla="*/ 61 w 200"/>
                <a:gd name="T9" fmla="*/ 114 h 174"/>
                <a:gd name="T10" fmla="*/ 190 w 200"/>
                <a:gd name="T11" fmla="*/ 18 h 174"/>
                <a:gd name="T12" fmla="*/ 190 w 200"/>
                <a:gd name="T13" fmla="*/ 47 h 174"/>
                <a:gd name="T14" fmla="*/ 182 w 200"/>
                <a:gd name="T15" fmla="*/ 55 h 174"/>
                <a:gd name="T16" fmla="*/ 182 w 200"/>
                <a:gd name="T17" fmla="*/ 64 h 174"/>
                <a:gd name="T18" fmla="*/ 190 w 200"/>
                <a:gd name="T19" fmla="*/ 72 h 174"/>
                <a:gd name="T20" fmla="*/ 190 w 200"/>
                <a:gd name="T21" fmla="*/ 76 h 174"/>
                <a:gd name="T22" fmla="*/ 181 w 200"/>
                <a:gd name="T23" fmla="*/ 86 h 174"/>
                <a:gd name="T24" fmla="*/ 190 w 200"/>
                <a:gd name="T25" fmla="*/ 95 h 174"/>
                <a:gd name="T26" fmla="*/ 190 w 200"/>
                <a:gd name="T27" fmla="*/ 106 h 174"/>
                <a:gd name="T28" fmla="*/ 181 w 200"/>
                <a:gd name="T29" fmla="*/ 115 h 174"/>
                <a:gd name="T30" fmla="*/ 172 w 200"/>
                <a:gd name="T31" fmla="*/ 106 h 174"/>
                <a:gd name="T32" fmla="*/ 172 w 200"/>
                <a:gd name="T33" fmla="*/ 106 h 174"/>
                <a:gd name="T34" fmla="*/ 181 w 200"/>
                <a:gd name="T35" fmla="*/ 116 h 174"/>
                <a:gd name="T36" fmla="*/ 191 w 200"/>
                <a:gd name="T37" fmla="*/ 106 h 174"/>
                <a:gd name="T38" fmla="*/ 191 w 200"/>
                <a:gd name="T39" fmla="*/ 95 h 174"/>
                <a:gd name="T40" fmla="*/ 200 w 200"/>
                <a:gd name="T41" fmla="*/ 86 h 174"/>
                <a:gd name="T42" fmla="*/ 191 w 200"/>
                <a:gd name="T43" fmla="*/ 76 h 174"/>
                <a:gd name="T44" fmla="*/ 191 w 200"/>
                <a:gd name="T45" fmla="*/ 72 h 174"/>
                <a:gd name="T46" fmla="*/ 198 w 200"/>
                <a:gd name="T47" fmla="*/ 64 h 174"/>
                <a:gd name="T48" fmla="*/ 198 w 200"/>
                <a:gd name="T49" fmla="*/ 55 h 174"/>
                <a:gd name="T50" fmla="*/ 191 w 200"/>
                <a:gd name="T51" fmla="*/ 47 h 174"/>
                <a:gd name="T52" fmla="*/ 191 w 200"/>
                <a:gd name="T53" fmla="*/ 17 h 174"/>
                <a:gd name="T54" fmla="*/ 198 w 200"/>
                <a:gd name="T55" fmla="*/ 12 h 174"/>
                <a:gd name="T56" fmla="*/ 190 w 200"/>
                <a:gd name="T57" fmla="*/ 0 h 174"/>
                <a:gd name="T58" fmla="*/ 37 w 200"/>
                <a:gd name="T59" fmla="*/ 114 h 174"/>
                <a:gd name="T60" fmla="*/ 2 w 200"/>
                <a:gd name="T61" fmla="*/ 114 h 174"/>
                <a:gd name="T62" fmla="*/ 2 w 200"/>
                <a:gd name="T63" fmla="*/ 147 h 174"/>
                <a:gd name="T64" fmla="*/ 0 w 200"/>
                <a:gd name="T65" fmla="*/ 147 h 174"/>
                <a:gd name="T66" fmla="*/ 0 w 200"/>
                <a:gd name="T67" fmla="*/ 174 h 174"/>
                <a:gd name="T68" fmla="*/ 95 w 200"/>
                <a:gd name="T69" fmla="*/ 174 h 174"/>
                <a:gd name="T70" fmla="*/ 95 w 200"/>
                <a:gd name="T71"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 h="174">
                  <a:moveTo>
                    <a:pt x="95" y="160"/>
                  </a:moveTo>
                  <a:cubicBezTo>
                    <a:pt x="78" y="147"/>
                    <a:pt x="78" y="147"/>
                    <a:pt x="78" y="147"/>
                  </a:cubicBezTo>
                  <a:cubicBezTo>
                    <a:pt x="65" y="147"/>
                    <a:pt x="65" y="147"/>
                    <a:pt x="65" y="147"/>
                  </a:cubicBezTo>
                  <a:cubicBezTo>
                    <a:pt x="65" y="114"/>
                    <a:pt x="65" y="114"/>
                    <a:pt x="65" y="114"/>
                  </a:cubicBezTo>
                  <a:cubicBezTo>
                    <a:pt x="61" y="114"/>
                    <a:pt x="61" y="114"/>
                    <a:pt x="61" y="114"/>
                  </a:cubicBezTo>
                  <a:cubicBezTo>
                    <a:pt x="190" y="18"/>
                    <a:pt x="190" y="18"/>
                    <a:pt x="190" y="18"/>
                  </a:cubicBezTo>
                  <a:cubicBezTo>
                    <a:pt x="190" y="47"/>
                    <a:pt x="190" y="47"/>
                    <a:pt x="190" y="47"/>
                  </a:cubicBezTo>
                  <a:cubicBezTo>
                    <a:pt x="186" y="47"/>
                    <a:pt x="182" y="51"/>
                    <a:pt x="182" y="55"/>
                  </a:cubicBezTo>
                  <a:cubicBezTo>
                    <a:pt x="182" y="64"/>
                    <a:pt x="182" y="64"/>
                    <a:pt x="182" y="64"/>
                  </a:cubicBezTo>
                  <a:cubicBezTo>
                    <a:pt x="182" y="69"/>
                    <a:pt x="186" y="72"/>
                    <a:pt x="190" y="72"/>
                  </a:cubicBezTo>
                  <a:cubicBezTo>
                    <a:pt x="190" y="76"/>
                    <a:pt x="190" y="76"/>
                    <a:pt x="190" y="76"/>
                  </a:cubicBezTo>
                  <a:cubicBezTo>
                    <a:pt x="185" y="77"/>
                    <a:pt x="181" y="81"/>
                    <a:pt x="181" y="86"/>
                  </a:cubicBezTo>
                  <a:cubicBezTo>
                    <a:pt x="181" y="91"/>
                    <a:pt x="185" y="95"/>
                    <a:pt x="190" y="95"/>
                  </a:cubicBezTo>
                  <a:cubicBezTo>
                    <a:pt x="190" y="106"/>
                    <a:pt x="190" y="106"/>
                    <a:pt x="190" y="106"/>
                  </a:cubicBezTo>
                  <a:cubicBezTo>
                    <a:pt x="190" y="111"/>
                    <a:pt x="186" y="115"/>
                    <a:pt x="181" y="115"/>
                  </a:cubicBezTo>
                  <a:cubicBezTo>
                    <a:pt x="176" y="115"/>
                    <a:pt x="172" y="111"/>
                    <a:pt x="172" y="106"/>
                  </a:cubicBezTo>
                  <a:cubicBezTo>
                    <a:pt x="172" y="106"/>
                    <a:pt x="172" y="106"/>
                    <a:pt x="172" y="106"/>
                  </a:cubicBezTo>
                  <a:cubicBezTo>
                    <a:pt x="172" y="111"/>
                    <a:pt x="176" y="116"/>
                    <a:pt x="181" y="116"/>
                  </a:cubicBezTo>
                  <a:cubicBezTo>
                    <a:pt x="186" y="116"/>
                    <a:pt x="191" y="111"/>
                    <a:pt x="191" y="106"/>
                  </a:cubicBezTo>
                  <a:cubicBezTo>
                    <a:pt x="191" y="95"/>
                    <a:pt x="191" y="95"/>
                    <a:pt x="191" y="95"/>
                  </a:cubicBezTo>
                  <a:cubicBezTo>
                    <a:pt x="196" y="95"/>
                    <a:pt x="200" y="91"/>
                    <a:pt x="200" y="86"/>
                  </a:cubicBezTo>
                  <a:cubicBezTo>
                    <a:pt x="200" y="81"/>
                    <a:pt x="196" y="77"/>
                    <a:pt x="191" y="76"/>
                  </a:cubicBezTo>
                  <a:cubicBezTo>
                    <a:pt x="191" y="72"/>
                    <a:pt x="191" y="72"/>
                    <a:pt x="191" y="72"/>
                  </a:cubicBezTo>
                  <a:cubicBezTo>
                    <a:pt x="195" y="72"/>
                    <a:pt x="198" y="69"/>
                    <a:pt x="198" y="64"/>
                  </a:cubicBezTo>
                  <a:cubicBezTo>
                    <a:pt x="198" y="55"/>
                    <a:pt x="198" y="55"/>
                    <a:pt x="198" y="55"/>
                  </a:cubicBezTo>
                  <a:cubicBezTo>
                    <a:pt x="198" y="51"/>
                    <a:pt x="195" y="47"/>
                    <a:pt x="191" y="47"/>
                  </a:cubicBezTo>
                  <a:cubicBezTo>
                    <a:pt x="191" y="17"/>
                    <a:pt x="191" y="17"/>
                    <a:pt x="191" y="17"/>
                  </a:cubicBezTo>
                  <a:cubicBezTo>
                    <a:pt x="198" y="12"/>
                    <a:pt x="198" y="12"/>
                    <a:pt x="198" y="12"/>
                  </a:cubicBezTo>
                  <a:cubicBezTo>
                    <a:pt x="190" y="0"/>
                    <a:pt x="190" y="0"/>
                    <a:pt x="190" y="0"/>
                  </a:cubicBezTo>
                  <a:cubicBezTo>
                    <a:pt x="37" y="114"/>
                    <a:pt x="37" y="114"/>
                    <a:pt x="37" y="114"/>
                  </a:cubicBezTo>
                  <a:cubicBezTo>
                    <a:pt x="2" y="114"/>
                    <a:pt x="2" y="114"/>
                    <a:pt x="2" y="114"/>
                  </a:cubicBezTo>
                  <a:cubicBezTo>
                    <a:pt x="2" y="147"/>
                    <a:pt x="2" y="147"/>
                    <a:pt x="2" y="147"/>
                  </a:cubicBezTo>
                  <a:cubicBezTo>
                    <a:pt x="0" y="147"/>
                    <a:pt x="0" y="147"/>
                    <a:pt x="0" y="147"/>
                  </a:cubicBezTo>
                  <a:cubicBezTo>
                    <a:pt x="0" y="174"/>
                    <a:pt x="0" y="174"/>
                    <a:pt x="0" y="174"/>
                  </a:cubicBezTo>
                  <a:cubicBezTo>
                    <a:pt x="95" y="174"/>
                    <a:pt x="95" y="174"/>
                    <a:pt x="95" y="174"/>
                  </a:cubicBezTo>
                  <a:lnTo>
                    <a:pt x="95"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3" name="Freeform 8"/>
            <p:cNvSpPr>
              <a:spLocks noEditPoints="1"/>
            </p:cNvSpPr>
            <p:nvPr/>
          </p:nvSpPr>
          <p:spPr bwMode="auto">
            <a:xfrm>
              <a:off x="3954463" y="6224588"/>
              <a:ext cx="4938712" cy="1758950"/>
            </a:xfrm>
            <a:custGeom>
              <a:avLst/>
              <a:gdLst>
                <a:gd name="T0" fmla="*/ 69 w 278"/>
                <a:gd name="T1" fmla="*/ 69 h 99"/>
                <a:gd name="T2" fmla="*/ 134 w 278"/>
                <a:gd name="T3" fmla="*/ 69 h 99"/>
                <a:gd name="T4" fmla="*/ 132 w 278"/>
                <a:gd name="T5" fmla="*/ 73 h 99"/>
                <a:gd name="T6" fmla="*/ 66 w 278"/>
                <a:gd name="T7" fmla="*/ 73 h 99"/>
                <a:gd name="T8" fmla="*/ 66 w 278"/>
                <a:gd name="T9" fmla="*/ 0 h 99"/>
                <a:gd name="T10" fmla="*/ 45 w 278"/>
                <a:gd name="T11" fmla="*/ 0 h 99"/>
                <a:gd name="T12" fmla="*/ 45 w 278"/>
                <a:gd name="T13" fmla="*/ 9 h 99"/>
                <a:gd name="T14" fmla="*/ 29 w 278"/>
                <a:gd name="T15" fmla="*/ 26 h 99"/>
                <a:gd name="T16" fmla="*/ 29 w 278"/>
                <a:gd name="T17" fmla="*/ 38 h 99"/>
                <a:gd name="T18" fmla="*/ 6 w 278"/>
                <a:gd name="T19" fmla="*/ 43 h 99"/>
                <a:gd name="T20" fmla="*/ 6 w 278"/>
                <a:gd name="T21" fmla="*/ 73 h 99"/>
                <a:gd name="T22" fmla="*/ 0 w 278"/>
                <a:gd name="T23" fmla="*/ 73 h 99"/>
                <a:gd name="T24" fmla="*/ 0 w 278"/>
                <a:gd name="T25" fmla="*/ 79 h 99"/>
                <a:gd name="T26" fmla="*/ 15 w 278"/>
                <a:gd name="T27" fmla="*/ 79 h 99"/>
                <a:gd name="T28" fmla="*/ 35 w 278"/>
                <a:gd name="T29" fmla="*/ 99 h 99"/>
                <a:gd name="T30" fmla="*/ 55 w 278"/>
                <a:gd name="T31" fmla="*/ 79 h 99"/>
                <a:gd name="T32" fmla="*/ 131 w 278"/>
                <a:gd name="T33" fmla="*/ 79 h 99"/>
                <a:gd name="T34" fmla="*/ 151 w 278"/>
                <a:gd name="T35" fmla="*/ 99 h 99"/>
                <a:gd name="T36" fmla="*/ 172 w 278"/>
                <a:gd name="T37" fmla="*/ 79 h 99"/>
                <a:gd name="T38" fmla="*/ 222 w 278"/>
                <a:gd name="T39" fmla="*/ 79 h 99"/>
                <a:gd name="T40" fmla="*/ 243 w 278"/>
                <a:gd name="T41" fmla="*/ 99 h 99"/>
                <a:gd name="T42" fmla="*/ 263 w 278"/>
                <a:gd name="T43" fmla="*/ 79 h 99"/>
                <a:gd name="T44" fmla="*/ 278 w 278"/>
                <a:gd name="T45" fmla="*/ 79 h 99"/>
                <a:gd name="T46" fmla="*/ 278 w 278"/>
                <a:gd name="T47" fmla="*/ 73 h 99"/>
                <a:gd name="T48" fmla="*/ 262 w 278"/>
                <a:gd name="T49" fmla="*/ 73 h 99"/>
                <a:gd name="T50" fmla="*/ 260 w 278"/>
                <a:gd name="T51" fmla="*/ 69 h 99"/>
                <a:gd name="T52" fmla="*/ 278 w 278"/>
                <a:gd name="T53" fmla="*/ 69 h 99"/>
                <a:gd name="T54" fmla="*/ 278 w 278"/>
                <a:gd name="T55" fmla="*/ 53 h 99"/>
                <a:gd name="T56" fmla="*/ 69 w 278"/>
                <a:gd name="T57" fmla="*/ 53 h 99"/>
                <a:gd name="T58" fmla="*/ 69 w 278"/>
                <a:gd name="T59" fmla="*/ 69 h 99"/>
                <a:gd name="T60" fmla="*/ 35 w 278"/>
                <a:gd name="T61" fmla="*/ 88 h 99"/>
                <a:gd name="T62" fmla="*/ 26 w 278"/>
                <a:gd name="T63" fmla="*/ 79 h 99"/>
                <a:gd name="T64" fmla="*/ 35 w 278"/>
                <a:gd name="T65" fmla="*/ 71 h 99"/>
                <a:gd name="T66" fmla="*/ 44 w 278"/>
                <a:gd name="T67" fmla="*/ 79 h 99"/>
                <a:gd name="T68" fmla="*/ 35 w 278"/>
                <a:gd name="T69" fmla="*/ 88 h 99"/>
                <a:gd name="T70" fmla="*/ 52 w 278"/>
                <a:gd name="T71" fmla="*/ 37 h 99"/>
                <a:gd name="T72" fmla="*/ 35 w 278"/>
                <a:gd name="T73" fmla="*/ 37 h 99"/>
                <a:gd name="T74" fmla="*/ 35 w 278"/>
                <a:gd name="T75" fmla="*/ 27 h 99"/>
                <a:gd name="T76" fmla="*/ 52 w 278"/>
                <a:gd name="T77" fmla="*/ 27 h 99"/>
                <a:gd name="T78" fmla="*/ 52 w 278"/>
                <a:gd name="T79" fmla="*/ 37 h 99"/>
                <a:gd name="T80" fmla="*/ 243 w 278"/>
                <a:gd name="T81" fmla="*/ 71 h 99"/>
                <a:gd name="T82" fmla="*/ 252 w 278"/>
                <a:gd name="T83" fmla="*/ 79 h 99"/>
                <a:gd name="T84" fmla="*/ 243 w 278"/>
                <a:gd name="T85" fmla="*/ 88 h 99"/>
                <a:gd name="T86" fmla="*/ 234 w 278"/>
                <a:gd name="T87" fmla="*/ 79 h 99"/>
                <a:gd name="T88" fmla="*/ 243 w 278"/>
                <a:gd name="T89" fmla="*/ 71 h 99"/>
                <a:gd name="T90" fmla="*/ 225 w 278"/>
                <a:gd name="T91" fmla="*/ 69 h 99"/>
                <a:gd name="T92" fmla="*/ 224 w 278"/>
                <a:gd name="T93" fmla="*/ 73 h 99"/>
                <a:gd name="T94" fmla="*/ 170 w 278"/>
                <a:gd name="T95" fmla="*/ 73 h 99"/>
                <a:gd name="T96" fmla="*/ 169 w 278"/>
                <a:gd name="T97" fmla="*/ 69 h 99"/>
                <a:gd name="T98" fmla="*/ 225 w 278"/>
                <a:gd name="T99" fmla="*/ 69 h 99"/>
                <a:gd name="T100" fmla="*/ 151 w 278"/>
                <a:gd name="T101" fmla="*/ 71 h 99"/>
                <a:gd name="T102" fmla="*/ 160 w 278"/>
                <a:gd name="T103" fmla="*/ 79 h 99"/>
                <a:gd name="T104" fmla="*/ 151 w 278"/>
                <a:gd name="T105" fmla="*/ 88 h 99"/>
                <a:gd name="T106" fmla="*/ 143 w 278"/>
                <a:gd name="T107" fmla="*/ 79 h 99"/>
                <a:gd name="T108" fmla="*/ 151 w 278"/>
                <a:gd name="T109" fmla="*/ 7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99">
                  <a:moveTo>
                    <a:pt x="69" y="69"/>
                  </a:moveTo>
                  <a:cubicBezTo>
                    <a:pt x="134" y="69"/>
                    <a:pt x="134" y="69"/>
                    <a:pt x="134" y="69"/>
                  </a:cubicBezTo>
                  <a:cubicBezTo>
                    <a:pt x="133" y="70"/>
                    <a:pt x="132" y="71"/>
                    <a:pt x="132" y="73"/>
                  </a:cubicBezTo>
                  <a:cubicBezTo>
                    <a:pt x="66" y="73"/>
                    <a:pt x="66" y="73"/>
                    <a:pt x="66" y="73"/>
                  </a:cubicBezTo>
                  <a:cubicBezTo>
                    <a:pt x="66" y="0"/>
                    <a:pt x="66" y="0"/>
                    <a:pt x="66" y="0"/>
                  </a:cubicBezTo>
                  <a:cubicBezTo>
                    <a:pt x="45" y="0"/>
                    <a:pt x="45" y="0"/>
                    <a:pt x="45" y="0"/>
                  </a:cubicBezTo>
                  <a:cubicBezTo>
                    <a:pt x="45" y="9"/>
                    <a:pt x="45" y="9"/>
                    <a:pt x="45" y="9"/>
                  </a:cubicBezTo>
                  <a:cubicBezTo>
                    <a:pt x="29" y="26"/>
                    <a:pt x="29" y="26"/>
                    <a:pt x="29" y="26"/>
                  </a:cubicBezTo>
                  <a:cubicBezTo>
                    <a:pt x="29" y="38"/>
                    <a:pt x="29" y="38"/>
                    <a:pt x="29" y="38"/>
                  </a:cubicBezTo>
                  <a:cubicBezTo>
                    <a:pt x="6" y="43"/>
                    <a:pt x="6" y="43"/>
                    <a:pt x="6" y="43"/>
                  </a:cubicBezTo>
                  <a:cubicBezTo>
                    <a:pt x="6" y="73"/>
                    <a:pt x="6" y="73"/>
                    <a:pt x="6" y="73"/>
                  </a:cubicBezTo>
                  <a:cubicBezTo>
                    <a:pt x="0" y="73"/>
                    <a:pt x="0" y="73"/>
                    <a:pt x="0" y="73"/>
                  </a:cubicBezTo>
                  <a:cubicBezTo>
                    <a:pt x="0" y="79"/>
                    <a:pt x="0" y="79"/>
                    <a:pt x="0" y="79"/>
                  </a:cubicBezTo>
                  <a:cubicBezTo>
                    <a:pt x="15" y="79"/>
                    <a:pt x="15" y="79"/>
                    <a:pt x="15" y="79"/>
                  </a:cubicBezTo>
                  <a:cubicBezTo>
                    <a:pt x="15" y="90"/>
                    <a:pt x="24" y="99"/>
                    <a:pt x="35" y="99"/>
                  </a:cubicBezTo>
                  <a:cubicBezTo>
                    <a:pt x="46" y="99"/>
                    <a:pt x="55" y="90"/>
                    <a:pt x="55" y="79"/>
                  </a:cubicBezTo>
                  <a:cubicBezTo>
                    <a:pt x="131" y="79"/>
                    <a:pt x="131" y="79"/>
                    <a:pt x="131" y="79"/>
                  </a:cubicBezTo>
                  <a:cubicBezTo>
                    <a:pt x="131" y="90"/>
                    <a:pt x="140" y="99"/>
                    <a:pt x="151" y="99"/>
                  </a:cubicBezTo>
                  <a:cubicBezTo>
                    <a:pt x="162" y="99"/>
                    <a:pt x="172" y="90"/>
                    <a:pt x="172" y="79"/>
                  </a:cubicBezTo>
                  <a:cubicBezTo>
                    <a:pt x="222" y="79"/>
                    <a:pt x="222" y="79"/>
                    <a:pt x="222" y="79"/>
                  </a:cubicBezTo>
                  <a:cubicBezTo>
                    <a:pt x="222" y="90"/>
                    <a:pt x="232" y="99"/>
                    <a:pt x="243" y="99"/>
                  </a:cubicBezTo>
                  <a:cubicBezTo>
                    <a:pt x="254" y="99"/>
                    <a:pt x="263" y="90"/>
                    <a:pt x="263" y="79"/>
                  </a:cubicBezTo>
                  <a:cubicBezTo>
                    <a:pt x="278" y="79"/>
                    <a:pt x="278" y="79"/>
                    <a:pt x="278" y="79"/>
                  </a:cubicBezTo>
                  <a:cubicBezTo>
                    <a:pt x="278" y="73"/>
                    <a:pt x="278" y="73"/>
                    <a:pt x="278" y="73"/>
                  </a:cubicBezTo>
                  <a:cubicBezTo>
                    <a:pt x="262" y="73"/>
                    <a:pt x="262" y="73"/>
                    <a:pt x="262" y="73"/>
                  </a:cubicBezTo>
                  <a:cubicBezTo>
                    <a:pt x="262" y="71"/>
                    <a:pt x="261" y="70"/>
                    <a:pt x="260" y="69"/>
                  </a:cubicBezTo>
                  <a:cubicBezTo>
                    <a:pt x="278" y="69"/>
                    <a:pt x="278" y="69"/>
                    <a:pt x="278" y="69"/>
                  </a:cubicBezTo>
                  <a:cubicBezTo>
                    <a:pt x="278" y="53"/>
                    <a:pt x="278" y="53"/>
                    <a:pt x="278" y="53"/>
                  </a:cubicBezTo>
                  <a:cubicBezTo>
                    <a:pt x="69" y="53"/>
                    <a:pt x="69" y="53"/>
                    <a:pt x="69" y="53"/>
                  </a:cubicBezTo>
                  <a:lnTo>
                    <a:pt x="69" y="69"/>
                  </a:lnTo>
                  <a:close/>
                  <a:moveTo>
                    <a:pt x="35" y="88"/>
                  </a:moveTo>
                  <a:cubicBezTo>
                    <a:pt x="30" y="88"/>
                    <a:pt x="26" y="84"/>
                    <a:pt x="26" y="79"/>
                  </a:cubicBezTo>
                  <a:cubicBezTo>
                    <a:pt x="26" y="75"/>
                    <a:pt x="30" y="71"/>
                    <a:pt x="35" y="71"/>
                  </a:cubicBezTo>
                  <a:cubicBezTo>
                    <a:pt x="40" y="71"/>
                    <a:pt x="44" y="75"/>
                    <a:pt x="44" y="79"/>
                  </a:cubicBezTo>
                  <a:cubicBezTo>
                    <a:pt x="44" y="84"/>
                    <a:pt x="40" y="88"/>
                    <a:pt x="35" y="88"/>
                  </a:cubicBezTo>
                  <a:close/>
                  <a:moveTo>
                    <a:pt x="52" y="37"/>
                  </a:moveTo>
                  <a:cubicBezTo>
                    <a:pt x="35" y="37"/>
                    <a:pt x="35" y="37"/>
                    <a:pt x="35" y="37"/>
                  </a:cubicBezTo>
                  <a:cubicBezTo>
                    <a:pt x="35" y="27"/>
                    <a:pt x="35" y="27"/>
                    <a:pt x="35" y="27"/>
                  </a:cubicBezTo>
                  <a:cubicBezTo>
                    <a:pt x="52" y="27"/>
                    <a:pt x="52" y="27"/>
                    <a:pt x="52" y="27"/>
                  </a:cubicBezTo>
                  <a:lnTo>
                    <a:pt x="52" y="37"/>
                  </a:lnTo>
                  <a:close/>
                  <a:moveTo>
                    <a:pt x="243" y="71"/>
                  </a:moveTo>
                  <a:cubicBezTo>
                    <a:pt x="248" y="71"/>
                    <a:pt x="252" y="75"/>
                    <a:pt x="252" y="79"/>
                  </a:cubicBezTo>
                  <a:cubicBezTo>
                    <a:pt x="252" y="84"/>
                    <a:pt x="248" y="88"/>
                    <a:pt x="243" y="88"/>
                  </a:cubicBezTo>
                  <a:cubicBezTo>
                    <a:pt x="238" y="88"/>
                    <a:pt x="234" y="84"/>
                    <a:pt x="234" y="79"/>
                  </a:cubicBezTo>
                  <a:cubicBezTo>
                    <a:pt x="234" y="75"/>
                    <a:pt x="238" y="71"/>
                    <a:pt x="243" y="71"/>
                  </a:cubicBezTo>
                  <a:close/>
                  <a:moveTo>
                    <a:pt x="225" y="69"/>
                  </a:moveTo>
                  <a:cubicBezTo>
                    <a:pt x="225" y="70"/>
                    <a:pt x="224" y="71"/>
                    <a:pt x="224" y="73"/>
                  </a:cubicBezTo>
                  <a:cubicBezTo>
                    <a:pt x="170" y="73"/>
                    <a:pt x="170" y="73"/>
                    <a:pt x="170" y="73"/>
                  </a:cubicBezTo>
                  <a:cubicBezTo>
                    <a:pt x="170" y="71"/>
                    <a:pt x="169" y="70"/>
                    <a:pt x="169" y="69"/>
                  </a:cubicBezTo>
                  <a:lnTo>
                    <a:pt x="225" y="69"/>
                  </a:lnTo>
                  <a:close/>
                  <a:moveTo>
                    <a:pt x="151" y="71"/>
                  </a:moveTo>
                  <a:cubicBezTo>
                    <a:pt x="156" y="71"/>
                    <a:pt x="160" y="75"/>
                    <a:pt x="160" y="79"/>
                  </a:cubicBezTo>
                  <a:cubicBezTo>
                    <a:pt x="160" y="84"/>
                    <a:pt x="156" y="88"/>
                    <a:pt x="151" y="88"/>
                  </a:cubicBezTo>
                  <a:cubicBezTo>
                    <a:pt x="147" y="88"/>
                    <a:pt x="143" y="84"/>
                    <a:pt x="143" y="79"/>
                  </a:cubicBezTo>
                  <a:cubicBezTo>
                    <a:pt x="143" y="75"/>
                    <a:pt x="147" y="71"/>
                    <a:pt x="151"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grpSp>
      <p:grpSp>
        <p:nvGrpSpPr>
          <p:cNvPr id="34" name="กลุ่ม 57354"/>
          <p:cNvGrpSpPr/>
          <p:nvPr/>
        </p:nvGrpSpPr>
        <p:grpSpPr>
          <a:xfrm>
            <a:off x="3038265" y="5697538"/>
            <a:ext cx="1132467" cy="558232"/>
            <a:chOff x="11272838" y="6118225"/>
            <a:chExt cx="3819525" cy="1882775"/>
          </a:xfrm>
          <a:solidFill>
            <a:schemeClr val="accent1"/>
          </a:solidFill>
        </p:grpSpPr>
        <p:sp>
          <p:nvSpPr>
            <p:cNvPr id="35" name="Freeform 9"/>
            <p:cNvSpPr>
              <a:spLocks/>
            </p:cNvSpPr>
            <p:nvPr/>
          </p:nvSpPr>
          <p:spPr bwMode="auto">
            <a:xfrm>
              <a:off x="12534900" y="6172200"/>
              <a:ext cx="407987" cy="709613"/>
            </a:xfrm>
            <a:custGeom>
              <a:avLst/>
              <a:gdLst>
                <a:gd name="T0" fmla="*/ 23 w 23"/>
                <a:gd name="T1" fmla="*/ 40 h 40"/>
                <a:gd name="T2" fmla="*/ 23 w 23"/>
                <a:gd name="T3" fmla="*/ 0 h 40"/>
                <a:gd name="T4" fmla="*/ 0 w 23"/>
                <a:gd name="T5" fmla="*/ 35 h 40"/>
                <a:gd name="T6" fmla="*/ 1 w 23"/>
                <a:gd name="T7" fmla="*/ 40 h 40"/>
                <a:gd name="T8" fmla="*/ 23 w 23"/>
                <a:gd name="T9" fmla="*/ 40 h 40"/>
              </a:gdLst>
              <a:ahLst/>
              <a:cxnLst>
                <a:cxn ang="0">
                  <a:pos x="T0" y="T1"/>
                </a:cxn>
                <a:cxn ang="0">
                  <a:pos x="T2" y="T3"/>
                </a:cxn>
                <a:cxn ang="0">
                  <a:pos x="T4" y="T5"/>
                </a:cxn>
                <a:cxn ang="0">
                  <a:pos x="T6" y="T7"/>
                </a:cxn>
                <a:cxn ang="0">
                  <a:pos x="T8" y="T9"/>
                </a:cxn>
              </a:cxnLst>
              <a:rect l="0" t="0" r="r" b="b"/>
              <a:pathLst>
                <a:path w="23" h="40">
                  <a:moveTo>
                    <a:pt x="23" y="40"/>
                  </a:moveTo>
                  <a:cubicBezTo>
                    <a:pt x="23" y="0"/>
                    <a:pt x="23" y="0"/>
                    <a:pt x="23" y="0"/>
                  </a:cubicBezTo>
                  <a:cubicBezTo>
                    <a:pt x="10" y="6"/>
                    <a:pt x="0" y="19"/>
                    <a:pt x="0" y="35"/>
                  </a:cubicBezTo>
                  <a:cubicBezTo>
                    <a:pt x="0" y="37"/>
                    <a:pt x="1" y="38"/>
                    <a:pt x="1" y="40"/>
                  </a:cubicBezTo>
                  <a:lnTo>
                    <a:pt x="23"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6" name="Freeform 10"/>
            <p:cNvSpPr>
              <a:spLocks/>
            </p:cNvSpPr>
            <p:nvPr/>
          </p:nvSpPr>
          <p:spPr bwMode="auto">
            <a:xfrm>
              <a:off x="12552363" y="6935788"/>
              <a:ext cx="390525" cy="479425"/>
            </a:xfrm>
            <a:custGeom>
              <a:avLst/>
              <a:gdLst>
                <a:gd name="T0" fmla="*/ 22 w 22"/>
                <a:gd name="T1" fmla="*/ 27 h 27"/>
                <a:gd name="T2" fmla="*/ 22 w 22"/>
                <a:gd name="T3" fmla="*/ 0 h 27"/>
                <a:gd name="T4" fmla="*/ 0 w 22"/>
                <a:gd name="T5" fmla="*/ 0 h 27"/>
                <a:gd name="T6" fmla="*/ 22 w 22"/>
                <a:gd name="T7" fmla="*/ 27 h 27"/>
              </a:gdLst>
              <a:ahLst/>
              <a:cxnLst>
                <a:cxn ang="0">
                  <a:pos x="T0" y="T1"/>
                </a:cxn>
                <a:cxn ang="0">
                  <a:pos x="T2" y="T3"/>
                </a:cxn>
                <a:cxn ang="0">
                  <a:pos x="T4" y="T5"/>
                </a:cxn>
                <a:cxn ang="0">
                  <a:pos x="T6" y="T7"/>
                </a:cxn>
              </a:cxnLst>
              <a:rect l="0" t="0" r="r" b="b"/>
              <a:pathLst>
                <a:path w="22" h="27">
                  <a:moveTo>
                    <a:pt x="22" y="27"/>
                  </a:moveTo>
                  <a:cubicBezTo>
                    <a:pt x="22" y="0"/>
                    <a:pt x="22" y="0"/>
                    <a:pt x="22" y="0"/>
                  </a:cubicBezTo>
                  <a:cubicBezTo>
                    <a:pt x="0" y="0"/>
                    <a:pt x="0" y="0"/>
                    <a:pt x="0" y="0"/>
                  </a:cubicBezTo>
                  <a:cubicBezTo>
                    <a:pt x="3" y="12"/>
                    <a:pt x="11" y="22"/>
                    <a:pt x="2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7" name="Freeform 11"/>
            <p:cNvSpPr>
              <a:spLocks/>
            </p:cNvSpPr>
            <p:nvPr/>
          </p:nvSpPr>
          <p:spPr bwMode="auto">
            <a:xfrm>
              <a:off x="14524038" y="6935788"/>
              <a:ext cx="142875" cy="531813"/>
            </a:xfrm>
            <a:custGeom>
              <a:avLst/>
              <a:gdLst>
                <a:gd name="T0" fmla="*/ 8 w 8"/>
                <a:gd name="T1" fmla="*/ 0 h 30"/>
                <a:gd name="T2" fmla="*/ 0 w 8"/>
                <a:gd name="T3" fmla="*/ 0 h 30"/>
                <a:gd name="T4" fmla="*/ 0 w 8"/>
                <a:gd name="T5" fmla="*/ 30 h 30"/>
                <a:gd name="T6" fmla="*/ 8 w 8"/>
                <a:gd name="T7" fmla="*/ 28 h 30"/>
                <a:gd name="T8" fmla="*/ 8 w 8"/>
                <a:gd name="T9" fmla="*/ 0 h 30"/>
              </a:gdLst>
              <a:ahLst/>
              <a:cxnLst>
                <a:cxn ang="0">
                  <a:pos x="T0" y="T1"/>
                </a:cxn>
                <a:cxn ang="0">
                  <a:pos x="T2" y="T3"/>
                </a:cxn>
                <a:cxn ang="0">
                  <a:pos x="T4" y="T5"/>
                </a:cxn>
                <a:cxn ang="0">
                  <a:pos x="T6" y="T7"/>
                </a:cxn>
                <a:cxn ang="0">
                  <a:pos x="T8" y="T9"/>
                </a:cxn>
              </a:cxnLst>
              <a:rect l="0" t="0" r="r" b="b"/>
              <a:pathLst>
                <a:path w="8" h="30">
                  <a:moveTo>
                    <a:pt x="8" y="0"/>
                  </a:moveTo>
                  <a:cubicBezTo>
                    <a:pt x="0" y="0"/>
                    <a:pt x="0" y="0"/>
                    <a:pt x="0" y="0"/>
                  </a:cubicBezTo>
                  <a:cubicBezTo>
                    <a:pt x="0" y="30"/>
                    <a:pt x="0" y="30"/>
                    <a:pt x="0" y="30"/>
                  </a:cubicBezTo>
                  <a:cubicBezTo>
                    <a:pt x="3" y="29"/>
                    <a:pt x="5" y="29"/>
                    <a:pt x="8" y="28"/>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8" name="Freeform 12"/>
            <p:cNvSpPr>
              <a:spLocks/>
            </p:cNvSpPr>
            <p:nvPr/>
          </p:nvSpPr>
          <p:spPr bwMode="auto">
            <a:xfrm>
              <a:off x="12979400" y="6935788"/>
              <a:ext cx="123825" cy="531813"/>
            </a:xfrm>
            <a:custGeom>
              <a:avLst/>
              <a:gdLst>
                <a:gd name="T0" fmla="*/ 7 w 7"/>
                <a:gd name="T1" fmla="*/ 0 h 30"/>
                <a:gd name="T2" fmla="*/ 0 w 7"/>
                <a:gd name="T3" fmla="*/ 0 h 30"/>
                <a:gd name="T4" fmla="*/ 0 w 7"/>
                <a:gd name="T5" fmla="*/ 28 h 30"/>
                <a:gd name="T6" fmla="*/ 7 w 7"/>
                <a:gd name="T7" fmla="*/ 30 h 30"/>
                <a:gd name="T8" fmla="*/ 7 w 7"/>
                <a:gd name="T9" fmla="*/ 0 h 30"/>
              </a:gdLst>
              <a:ahLst/>
              <a:cxnLst>
                <a:cxn ang="0">
                  <a:pos x="T0" y="T1"/>
                </a:cxn>
                <a:cxn ang="0">
                  <a:pos x="T2" y="T3"/>
                </a:cxn>
                <a:cxn ang="0">
                  <a:pos x="T4" y="T5"/>
                </a:cxn>
                <a:cxn ang="0">
                  <a:pos x="T6" y="T7"/>
                </a:cxn>
                <a:cxn ang="0">
                  <a:pos x="T8" y="T9"/>
                </a:cxn>
              </a:cxnLst>
              <a:rect l="0" t="0" r="r" b="b"/>
              <a:pathLst>
                <a:path w="7" h="30">
                  <a:moveTo>
                    <a:pt x="7" y="0"/>
                  </a:moveTo>
                  <a:cubicBezTo>
                    <a:pt x="0" y="0"/>
                    <a:pt x="0" y="0"/>
                    <a:pt x="0" y="0"/>
                  </a:cubicBezTo>
                  <a:cubicBezTo>
                    <a:pt x="0" y="28"/>
                    <a:pt x="0" y="28"/>
                    <a:pt x="0" y="28"/>
                  </a:cubicBezTo>
                  <a:cubicBezTo>
                    <a:pt x="3" y="29"/>
                    <a:pt x="5" y="29"/>
                    <a:pt x="7" y="30"/>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9" name="Freeform 13"/>
            <p:cNvSpPr>
              <a:spLocks/>
            </p:cNvSpPr>
            <p:nvPr/>
          </p:nvSpPr>
          <p:spPr bwMode="auto">
            <a:xfrm>
              <a:off x="12979400" y="6118225"/>
              <a:ext cx="123825" cy="763588"/>
            </a:xfrm>
            <a:custGeom>
              <a:avLst/>
              <a:gdLst>
                <a:gd name="T0" fmla="*/ 7 w 7"/>
                <a:gd name="T1" fmla="*/ 0 h 43"/>
                <a:gd name="T2" fmla="*/ 0 w 7"/>
                <a:gd name="T3" fmla="*/ 2 h 43"/>
                <a:gd name="T4" fmla="*/ 0 w 7"/>
                <a:gd name="T5" fmla="*/ 43 h 43"/>
                <a:gd name="T6" fmla="*/ 7 w 7"/>
                <a:gd name="T7" fmla="*/ 43 h 43"/>
                <a:gd name="T8" fmla="*/ 7 w 7"/>
                <a:gd name="T9" fmla="*/ 0 h 43"/>
              </a:gdLst>
              <a:ahLst/>
              <a:cxnLst>
                <a:cxn ang="0">
                  <a:pos x="T0" y="T1"/>
                </a:cxn>
                <a:cxn ang="0">
                  <a:pos x="T2" y="T3"/>
                </a:cxn>
                <a:cxn ang="0">
                  <a:pos x="T4" y="T5"/>
                </a:cxn>
                <a:cxn ang="0">
                  <a:pos x="T6" y="T7"/>
                </a:cxn>
                <a:cxn ang="0">
                  <a:pos x="T8" y="T9"/>
                </a:cxn>
              </a:cxnLst>
              <a:rect l="0" t="0" r="r" b="b"/>
              <a:pathLst>
                <a:path w="7" h="43">
                  <a:moveTo>
                    <a:pt x="7" y="0"/>
                  </a:moveTo>
                  <a:cubicBezTo>
                    <a:pt x="5" y="0"/>
                    <a:pt x="3" y="1"/>
                    <a:pt x="0" y="2"/>
                  </a:cubicBezTo>
                  <a:cubicBezTo>
                    <a:pt x="0" y="43"/>
                    <a:pt x="0" y="43"/>
                    <a:pt x="0" y="43"/>
                  </a:cubicBezTo>
                  <a:cubicBezTo>
                    <a:pt x="7" y="43"/>
                    <a:pt x="7" y="43"/>
                    <a:pt x="7" y="43"/>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0" name="Freeform 14"/>
            <p:cNvSpPr>
              <a:spLocks/>
            </p:cNvSpPr>
            <p:nvPr/>
          </p:nvSpPr>
          <p:spPr bwMode="auto">
            <a:xfrm>
              <a:off x="14701838" y="6172200"/>
              <a:ext cx="390525" cy="709613"/>
            </a:xfrm>
            <a:custGeom>
              <a:avLst/>
              <a:gdLst>
                <a:gd name="T0" fmla="*/ 0 w 22"/>
                <a:gd name="T1" fmla="*/ 0 h 40"/>
                <a:gd name="T2" fmla="*/ 0 w 22"/>
                <a:gd name="T3" fmla="*/ 40 h 40"/>
                <a:gd name="T4" fmla="*/ 22 w 22"/>
                <a:gd name="T5" fmla="*/ 40 h 40"/>
                <a:gd name="T6" fmla="*/ 22 w 22"/>
                <a:gd name="T7" fmla="*/ 35 h 40"/>
                <a:gd name="T8" fmla="*/ 0 w 22"/>
                <a:gd name="T9" fmla="*/ 0 h 40"/>
              </a:gdLst>
              <a:ahLst/>
              <a:cxnLst>
                <a:cxn ang="0">
                  <a:pos x="T0" y="T1"/>
                </a:cxn>
                <a:cxn ang="0">
                  <a:pos x="T2" y="T3"/>
                </a:cxn>
                <a:cxn ang="0">
                  <a:pos x="T4" y="T5"/>
                </a:cxn>
                <a:cxn ang="0">
                  <a:pos x="T6" y="T7"/>
                </a:cxn>
                <a:cxn ang="0">
                  <a:pos x="T8" y="T9"/>
                </a:cxn>
              </a:cxnLst>
              <a:rect l="0" t="0" r="r" b="b"/>
              <a:pathLst>
                <a:path w="22" h="40">
                  <a:moveTo>
                    <a:pt x="0" y="0"/>
                  </a:moveTo>
                  <a:cubicBezTo>
                    <a:pt x="0" y="40"/>
                    <a:pt x="0" y="40"/>
                    <a:pt x="0" y="40"/>
                  </a:cubicBezTo>
                  <a:cubicBezTo>
                    <a:pt x="22" y="40"/>
                    <a:pt x="22" y="40"/>
                    <a:pt x="22" y="40"/>
                  </a:cubicBezTo>
                  <a:cubicBezTo>
                    <a:pt x="22" y="38"/>
                    <a:pt x="22" y="37"/>
                    <a:pt x="22" y="35"/>
                  </a:cubicBezTo>
                  <a:cubicBezTo>
                    <a:pt x="22" y="19"/>
                    <a:pt x="13"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1" name="Freeform 15"/>
            <p:cNvSpPr>
              <a:spLocks/>
            </p:cNvSpPr>
            <p:nvPr/>
          </p:nvSpPr>
          <p:spPr bwMode="auto">
            <a:xfrm>
              <a:off x="13155613" y="6118225"/>
              <a:ext cx="1333500" cy="763588"/>
            </a:xfrm>
            <a:custGeom>
              <a:avLst/>
              <a:gdLst>
                <a:gd name="T0" fmla="*/ 75 w 75"/>
                <a:gd name="T1" fmla="*/ 0 h 43"/>
                <a:gd name="T2" fmla="*/ 71 w 75"/>
                <a:gd name="T3" fmla="*/ 0 h 43"/>
                <a:gd name="T4" fmla="*/ 4 w 75"/>
                <a:gd name="T5" fmla="*/ 0 h 43"/>
                <a:gd name="T6" fmla="*/ 0 w 75"/>
                <a:gd name="T7" fmla="*/ 0 h 43"/>
                <a:gd name="T8" fmla="*/ 0 w 75"/>
                <a:gd name="T9" fmla="*/ 43 h 43"/>
                <a:gd name="T10" fmla="*/ 75 w 75"/>
                <a:gd name="T11" fmla="*/ 43 h 43"/>
                <a:gd name="T12" fmla="*/ 75 w 75"/>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75" h="43">
                  <a:moveTo>
                    <a:pt x="75" y="0"/>
                  </a:moveTo>
                  <a:cubicBezTo>
                    <a:pt x="74" y="0"/>
                    <a:pt x="72" y="0"/>
                    <a:pt x="71" y="0"/>
                  </a:cubicBezTo>
                  <a:cubicBezTo>
                    <a:pt x="4" y="0"/>
                    <a:pt x="4" y="0"/>
                    <a:pt x="4" y="0"/>
                  </a:cubicBezTo>
                  <a:cubicBezTo>
                    <a:pt x="2" y="0"/>
                    <a:pt x="1" y="0"/>
                    <a:pt x="0" y="0"/>
                  </a:cubicBezTo>
                  <a:cubicBezTo>
                    <a:pt x="0" y="43"/>
                    <a:pt x="0" y="43"/>
                    <a:pt x="0" y="43"/>
                  </a:cubicBezTo>
                  <a:cubicBezTo>
                    <a:pt x="75" y="43"/>
                    <a:pt x="75" y="43"/>
                    <a:pt x="75" y="43"/>
                  </a:cubicBez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2" name="Freeform 16"/>
            <p:cNvSpPr>
              <a:spLocks/>
            </p:cNvSpPr>
            <p:nvPr/>
          </p:nvSpPr>
          <p:spPr bwMode="auto">
            <a:xfrm>
              <a:off x="14701838" y="6935788"/>
              <a:ext cx="390525" cy="479425"/>
            </a:xfrm>
            <a:custGeom>
              <a:avLst/>
              <a:gdLst>
                <a:gd name="T0" fmla="*/ 0 w 22"/>
                <a:gd name="T1" fmla="*/ 27 h 27"/>
                <a:gd name="T2" fmla="*/ 22 w 22"/>
                <a:gd name="T3" fmla="*/ 0 h 27"/>
                <a:gd name="T4" fmla="*/ 0 w 22"/>
                <a:gd name="T5" fmla="*/ 0 h 27"/>
                <a:gd name="T6" fmla="*/ 0 w 22"/>
                <a:gd name="T7" fmla="*/ 27 h 27"/>
              </a:gdLst>
              <a:ahLst/>
              <a:cxnLst>
                <a:cxn ang="0">
                  <a:pos x="T0" y="T1"/>
                </a:cxn>
                <a:cxn ang="0">
                  <a:pos x="T2" y="T3"/>
                </a:cxn>
                <a:cxn ang="0">
                  <a:pos x="T4" y="T5"/>
                </a:cxn>
                <a:cxn ang="0">
                  <a:pos x="T6" y="T7"/>
                </a:cxn>
              </a:cxnLst>
              <a:rect l="0" t="0" r="r" b="b"/>
              <a:pathLst>
                <a:path w="22" h="27">
                  <a:moveTo>
                    <a:pt x="0" y="27"/>
                  </a:moveTo>
                  <a:cubicBezTo>
                    <a:pt x="11" y="22"/>
                    <a:pt x="19" y="12"/>
                    <a:pt x="22" y="0"/>
                  </a:cubicBezTo>
                  <a:cubicBezTo>
                    <a:pt x="0" y="0"/>
                    <a:pt x="0" y="0"/>
                    <a:pt x="0" y="0"/>
                  </a:cubicBezTo>
                  <a:lnTo>
                    <a:pt x="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3" name="Freeform 17"/>
            <p:cNvSpPr>
              <a:spLocks/>
            </p:cNvSpPr>
            <p:nvPr/>
          </p:nvSpPr>
          <p:spPr bwMode="auto">
            <a:xfrm>
              <a:off x="14524038" y="6118225"/>
              <a:ext cx="142875" cy="763588"/>
            </a:xfrm>
            <a:custGeom>
              <a:avLst/>
              <a:gdLst>
                <a:gd name="T0" fmla="*/ 8 w 8"/>
                <a:gd name="T1" fmla="*/ 2 h 43"/>
                <a:gd name="T2" fmla="*/ 0 w 8"/>
                <a:gd name="T3" fmla="*/ 0 h 43"/>
                <a:gd name="T4" fmla="*/ 0 w 8"/>
                <a:gd name="T5" fmla="*/ 43 h 43"/>
                <a:gd name="T6" fmla="*/ 8 w 8"/>
                <a:gd name="T7" fmla="*/ 43 h 43"/>
                <a:gd name="T8" fmla="*/ 8 w 8"/>
                <a:gd name="T9" fmla="*/ 2 h 43"/>
              </a:gdLst>
              <a:ahLst/>
              <a:cxnLst>
                <a:cxn ang="0">
                  <a:pos x="T0" y="T1"/>
                </a:cxn>
                <a:cxn ang="0">
                  <a:pos x="T2" y="T3"/>
                </a:cxn>
                <a:cxn ang="0">
                  <a:pos x="T4" y="T5"/>
                </a:cxn>
                <a:cxn ang="0">
                  <a:pos x="T6" y="T7"/>
                </a:cxn>
                <a:cxn ang="0">
                  <a:pos x="T8" y="T9"/>
                </a:cxn>
              </a:cxnLst>
              <a:rect l="0" t="0" r="r" b="b"/>
              <a:pathLst>
                <a:path w="8" h="43">
                  <a:moveTo>
                    <a:pt x="8" y="2"/>
                  </a:moveTo>
                  <a:cubicBezTo>
                    <a:pt x="5" y="1"/>
                    <a:pt x="3" y="0"/>
                    <a:pt x="0" y="0"/>
                  </a:cubicBezTo>
                  <a:cubicBezTo>
                    <a:pt x="0" y="43"/>
                    <a:pt x="0" y="43"/>
                    <a:pt x="0" y="43"/>
                  </a:cubicBezTo>
                  <a:cubicBezTo>
                    <a:pt x="8" y="43"/>
                    <a:pt x="8" y="43"/>
                    <a:pt x="8" y="43"/>
                  </a:cubicBez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4" name="Freeform 18"/>
            <p:cNvSpPr>
              <a:spLocks noEditPoints="1"/>
            </p:cNvSpPr>
            <p:nvPr/>
          </p:nvSpPr>
          <p:spPr bwMode="auto">
            <a:xfrm>
              <a:off x="11272838" y="6242050"/>
              <a:ext cx="3748087" cy="1758950"/>
            </a:xfrm>
            <a:custGeom>
              <a:avLst/>
              <a:gdLst>
                <a:gd name="T0" fmla="*/ 169 w 211"/>
                <a:gd name="T1" fmla="*/ 69 h 99"/>
                <a:gd name="T2" fmla="*/ 177 w 211"/>
                <a:gd name="T3" fmla="*/ 69 h 99"/>
                <a:gd name="T4" fmla="*/ 181 w 211"/>
                <a:gd name="T5" fmla="*/ 69 h 99"/>
                <a:gd name="T6" fmla="*/ 181 w 211"/>
                <a:gd name="T7" fmla="*/ 39 h 99"/>
                <a:gd name="T8" fmla="*/ 106 w 211"/>
                <a:gd name="T9" fmla="*/ 39 h 99"/>
                <a:gd name="T10" fmla="*/ 106 w 211"/>
                <a:gd name="T11" fmla="*/ 69 h 99"/>
                <a:gd name="T12" fmla="*/ 110 w 211"/>
                <a:gd name="T13" fmla="*/ 69 h 99"/>
                <a:gd name="T14" fmla="*/ 134 w 211"/>
                <a:gd name="T15" fmla="*/ 69 h 99"/>
                <a:gd name="T16" fmla="*/ 132 w 211"/>
                <a:gd name="T17" fmla="*/ 72 h 99"/>
                <a:gd name="T18" fmla="*/ 66 w 211"/>
                <a:gd name="T19" fmla="*/ 72 h 99"/>
                <a:gd name="T20" fmla="*/ 66 w 211"/>
                <a:gd name="T21" fmla="*/ 0 h 99"/>
                <a:gd name="T22" fmla="*/ 45 w 211"/>
                <a:gd name="T23" fmla="*/ 0 h 99"/>
                <a:gd name="T24" fmla="*/ 45 w 211"/>
                <a:gd name="T25" fmla="*/ 9 h 99"/>
                <a:gd name="T26" fmla="*/ 29 w 211"/>
                <a:gd name="T27" fmla="*/ 26 h 99"/>
                <a:gd name="T28" fmla="*/ 29 w 211"/>
                <a:gd name="T29" fmla="*/ 38 h 99"/>
                <a:gd name="T30" fmla="*/ 6 w 211"/>
                <a:gd name="T31" fmla="*/ 43 h 99"/>
                <a:gd name="T32" fmla="*/ 6 w 211"/>
                <a:gd name="T33" fmla="*/ 72 h 99"/>
                <a:gd name="T34" fmla="*/ 0 w 211"/>
                <a:gd name="T35" fmla="*/ 72 h 99"/>
                <a:gd name="T36" fmla="*/ 0 w 211"/>
                <a:gd name="T37" fmla="*/ 79 h 99"/>
                <a:gd name="T38" fmla="*/ 15 w 211"/>
                <a:gd name="T39" fmla="*/ 79 h 99"/>
                <a:gd name="T40" fmla="*/ 35 w 211"/>
                <a:gd name="T41" fmla="*/ 99 h 99"/>
                <a:gd name="T42" fmla="*/ 55 w 211"/>
                <a:gd name="T43" fmla="*/ 79 h 99"/>
                <a:gd name="T44" fmla="*/ 131 w 211"/>
                <a:gd name="T45" fmla="*/ 79 h 99"/>
                <a:gd name="T46" fmla="*/ 151 w 211"/>
                <a:gd name="T47" fmla="*/ 99 h 99"/>
                <a:gd name="T48" fmla="*/ 172 w 211"/>
                <a:gd name="T49" fmla="*/ 79 h 99"/>
                <a:gd name="T50" fmla="*/ 211 w 211"/>
                <a:gd name="T51" fmla="*/ 79 h 99"/>
                <a:gd name="T52" fmla="*/ 211 w 211"/>
                <a:gd name="T53" fmla="*/ 72 h 99"/>
                <a:gd name="T54" fmla="*/ 171 w 211"/>
                <a:gd name="T55" fmla="*/ 72 h 99"/>
                <a:gd name="T56" fmla="*/ 169 w 211"/>
                <a:gd name="T57" fmla="*/ 69 h 99"/>
                <a:gd name="T58" fmla="*/ 36 w 211"/>
                <a:gd name="T59" fmla="*/ 90 h 99"/>
                <a:gd name="T60" fmla="*/ 27 w 211"/>
                <a:gd name="T61" fmla="*/ 81 h 99"/>
                <a:gd name="T62" fmla="*/ 36 w 211"/>
                <a:gd name="T63" fmla="*/ 72 h 99"/>
                <a:gd name="T64" fmla="*/ 44 w 211"/>
                <a:gd name="T65" fmla="*/ 81 h 99"/>
                <a:gd name="T66" fmla="*/ 36 w 211"/>
                <a:gd name="T67" fmla="*/ 90 h 99"/>
                <a:gd name="T68" fmla="*/ 53 w 211"/>
                <a:gd name="T69" fmla="*/ 39 h 99"/>
                <a:gd name="T70" fmla="*/ 36 w 211"/>
                <a:gd name="T71" fmla="*/ 39 h 99"/>
                <a:gd name="T72" fmla="*/ 36 w 211"/>
                <a:gd name="T73" fmla="*/ 28 h 99"/>
                <a:gd name="T74" fmla="*/ 53 w 211"/>
                <a:gd name="T75" fmla="*/ 28 h 99"/>
                <a:gd name="T76" fmla="*/ 53 w 211"/>
                <a:gd name="T77" fmla="*/ 39 h 99"/>
                <a:gd name="T78" fmla="*/ 152 w 211"/>
                <a:gd name="T79" fmla="*/ 90 h 99"/>
                <a:gd name="T80" fmla="*/ 143 w 211"/>
                <a:gd name="T81" fmla="*/ 81 h 99"/>
                <a:gd name="T82" fmla="*/ 152 w 211"/>
                <a:gd name="T83" fmla="*/ 72 h 99"/>
                <a:gd name="T84" fmla="*/ 161 w 211"/>
                <a:gd name="T85" fmla="*/ 81 h 99"/>
                <a:gd name="T86" fmla="*/ 152 w 211"/>
                <a:gd name="T87" fmla="*/ 9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1" h="99">
                  <a:moveTo>
                    <a:pt x="169" y="69"/>
                  </a:moveTo>
                  <a:cubicBezTo>
                    <a:pt x="177" y="69"/>
                    <a:pt x="177" y="69"/>
                    <a:pt x="177" y="69"/>
                  </a:cubicBezTo>
                  <a:cubicBezTo>
                    <a:pt x="178" y="69"/>
                    <a:pt x="180" y="69"/>
                    <a:pt x="181" y="69"/>
                  </a:cubicBezTo>
                  <a:cubicBezTo>
                    <a:pt x="181" y="39"/>
                    <a:pt x="181" y="39"/>
                    <a:pt x="181" y="39"/>
                  </a:cubicBezTo>
                  <a:cubicBezTo>
                    <a:pt x="106" y="39"/>
                    <a:pt x="106" y="39"/>
                    <a:pt x="106" y="39"/>
                  </a:cubicBezTo>
                  <a:cubicBezTo>
                    <a:pt x="106" y="69"/>
                    <a:pt x="106" y="69"/>
                    <a:pt x="106" y="69"/>
                  </a:cubicBezTo>
                  <a:cubicBezTo>
                    <a:pt x="107" y="69"/>
                    <a:pt x="108" y="69"/>
                    <a:pt x="110" y="69"/>
                  </a:cubicBezTo>
                  <a:cubicBezTo>
                    <a:pt x="134" y="69"/>
                    <a:pt x="134" y="69"/>
                    <a:pt x="134" y="69"/>
                  </a:cubicBezTo>
                  <a:cubicBezTo>
                    <a:pt x="133" y="70"/>
                    <a:pt x="133" y="71"/>
                    <a:pt x="132" y="72"/>
                  </a:cubicBezTo>
                  <a:cubicBezTo>
                    <a:pt x="66" y="72"/>
                    <a:pt x="66" y="72"/>
                    <a:pt x="66" y="72"/>
                  </a:cubicBezTo>
                  <a:cubicBezTo>
                    <a:pt x="66" y="0"/>
                    <a:pt x="66" y="0"/>
                    <a:pt x="66" y="0"/>
                  </a:cubicBezTo>
                  <a:cubicBezTo>
                    <a:pt x="45" y="0"/>
                    <a:pt x="45" y="0"/>
                    <a:pt x="45" y="0"/>
                  </a:cubicBezTo>
                  <a:cubicBezTo>
                    <a:pt x="45" y="9"/>
                    <a:pt x="45" y="9"/>
                    <a:pt x="45" y="9"/>
                  </a:cubicBezTo>
                  <a:cubicBezTo>
                    <a:pt x="29" y="26"/>
                    <a:pt x="29" y="26"/>
                    <a:pt x="29" y="26"/>
                  </a:cubicBezTo>
                  <a:cubicBezTo>
                    <a:pt x="29" y="38"/>
                    <a:pt x="29" y="38"/>
                    <a:pt x="29" y="38"/>
                  </a:cubicBezTo>
                  <a:cubicBezTo>
                    <a:pt x="6" y="43"/>
                    <a:pt x="6" y="43"/>
                    <a:pt x="6" y="43"/>
                  </a:cubicBezTo>
                  <a:cubicBezTo>
                    <a:pt x="6" y="72"/>
                    <a:pt x="6" y="72"/>
                    <a:pt x="6" y="72"/>
                  </a:cubicBezTo>
                  <a:cubicBezTo>
                    <a:pt x="0" y="72"/>
                    <a:pt x="0" y="72"/>
                    <a:pt x="0" y="72"/>
                  </a:cubicBezTo>
                  <a:cubicBezTo>
                    <a:pt x="0" y="79"/>
                    <a:pt x="0" y="79"/>
                    <a:pt x="0" y="79"/>
                  </a:cubicBezTo>
                  <a:cubicBezTo>
                    <a:pt x="15" y="79"/>
                    <a:pt x="15" y="79"/>
                    <a:pt x="15" y="79"/>
                  </a:cubicBezTo>
                  <a:cubicBezTo>
                    <a:pt x="15" y="90"/>
                    <a:pt x="24" y="99"/>
                    <a:pt x="35" y="99"/>
                  </a:cubicBezTo>
                  <a:cubicBezTo>
                    <a:pt x="46" y="99"/>
                    <a:pt x="55" y="90"/>
                    <a:pt x="55" y="79"/>
                  </a:cubicBezTo>
                  <a:cubicBezTo>
                    <a:pt x="131" y="79"/>
                    <a:pt x="131" y="79"/>
                    <a:pt x="131" y="79"/>
                  </a:cubicBezTo>
                  <a:cubicBezTo>
                    <a:pt x="131" y="90"/>
                    <a:pt x="140" y="99"/>
                    <a:pt x="151" y="99"/>
                  </a:cubicBezTo>
                  <a:cubicBezTo>
                    <a:pt x="163" y="99"/>
                    <a:pt x="172" y="90"/>
                    <a:pt x="172" y="79"/>
                  </a:cubicBezTo>
                  <a:cubicBezTo>
                    <a:pt x="211" y="79"/>
                    <a:pt x="211" y="79"/>
                    <a:pt x="211" y="79"/>
                  </a:cubicBezTo>
                  <a:cubicBezTo>
                    <a:pt x="211" y="72"/>
                    <a:pt x="211" y="72"/>
                    <a:pt x="211" y="72"/>
                  </a:cubicBezTo>
                  <a:cubicBezTo>
                    <a:pt x="171" y="72"/>
                    <a:pt x="171" y="72"/>
                    <a:pt x="171" y="72"/>
                  </a:cubicBezTo>
                  <a:cubicBezTo>
                    <a:pt x="170" y="71"/>
                    <a:pt x="170" y="70"/>
                    <a:pt x="169" y="69"/>
                  </a:cubicBezTo>
                  <a:close/>
                  <a:moveTo>
                    <a:pt x="36" y="90"/>
                  </a:moveTo>
                  <a:cubicBezTo>
                    <a:pt x="31" y="90"/>
                    <a:pt x="27" y="86"/>
                    <a:pt x="27" y="81"/>
                  </a:cubicBezTo>
                  <a:cubicBezTo>
                    <a:pt x="27" y="76"/>
                    <a:pt x="31" y="72"/>
                    <a:pt x="36" y="72"/>
                  </a:cubicBezTo>
                  <a:cubicBezTo>
                    <a:pt x="41" y="72"/>
                    <a:pt x="44" y="76"/>
                    <a:pt x="44" y="81"/>
                  </a:cubicBezTo>
                  <a:cubicBezTo>
                    <a:pt x="44" y="86"/>
                    <a:pt x="41" y="90"/>
                    <a:pt x="36" y="90"/>
                  </a:cubicBezTo>
                  <a:close/>
                  <a:moveTo>
                    <a:pt x="53" y="39"/>
                  </a:moveTo>
                  <a:cubicBezTo>
                    <a:pt x="36" y="39"/>
                    <a:pt x="36" y="39"/>
                    <a:pt x="36" y="39"/>
                  </a:cubicBezTo>
                  <a:cubicBezTo>
                    <a:pt x="36" y="28"/>
                    <a:pt x="36" y="28"/>
                    <a:pt x="36" y="28"/>
                  </a:cubicBezTo>
                  <a:cubicBezTo>
                    <a:pt x="53" y="28"/>
                    <a:pt x="53" y="28"/>
                    <a:pt x="53" y="28"/>
                  </a:cubicBezTo>
                  <a:lnTo>
                    <a:pt x="53" y="39"/>
                  </a:lnTo>
                  <a:close/>
                  <a:moveTo>
                    <a:pt x="152" y="90"/>
                  </a:moveTo>
                  <a:cubicBezTo>
                    <a:pt x="147" y="90"/>
                    <a:pt x="143" y="86"/>
                    <a:pt x="143" y="81"/>
                  </a:cubicBezTo>
                  <a:cubicBezTo>
                    <a:pt x="143" y="76"/>
                    <a:pt x="147" y="72"/>
                    <a:pt x="152" y="72"/>
                  </a:cubicBezTo>
                  <a:cubicBezTo>
                    <a:pt x="157" y="72"/>
                    <a:pt x="161" y="76"/>
                    <a:pt x="161" y="81"/>
                  </a:cubicBezTo>
                  <a:cubicBezTo>
                    <a:pt x="161" y="86"/>
                    <a:pt x="157" y="90"/>
                    <a:pt x="15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grpSp>
      <p:sp>
        <p:nvSpPr>
          <p:cNvPr id="45" name="Freeform 19"/>
          <p:cNvSpPr>
            <a:spLocks noEditPoints="1"/>
          </p:cNvSpPr>
          <p:nvPr/>
        </p:nvSpPr>
        <p:spPr bwMode="auto">
          <a:xfrm>
            <a:off x="5554850" y="5676700"/>
            <a:ext cx="1116464" cy="610949"/>
          </a:xfrm>
          <a:custGeom>
            <a:avLst/>
            <a:gdLst>
              <a:gd name="T0" fmla="*/ 171 w 212"/>
              <a:gd name="T1" fmla="*/ 89 h 116"/>
              <a:gd name="T2" fmla="*/ 167 w 212"/>
              <a:gd name="T3" fmla="*/ 83 h 116"/>
              <a:gd name="T4" fmla="*/ 208 w 212"/>
              <a:gd name="T5" fmla="*/ 83 h 116"/>
              <a:gd name="T6" fmla="*/ 208 w 212"/>
              <a:gd name="T7" fmla="*/ 29 h 116"/>
              <a:gd name="T8" fmla="*/ 104 w 212"/>
              <a:gd name="T9" fmla="*/ 29 h 116"/>
              <a:gd name="T10" fmla="*/ 76 w 212"/>
              <a:gd name="T11" fmla="*/ 0 h 116"/>
              <a:gd name="T12" fmla="*/ 36 w 212"/>
              <a:gd name="T13" fmla="*/ 1 h 116"/>
              <a:gd name="T14" fmla="*/ 36 w 212"/>
              <a:gd name="T15" fmla="*/ 13 h 116"/>
              <a:gd name="T16" fmla="*/ 73 w 212"/>
              <a:gd name="T17" fmla="*/ 13 h 116"/>
              <a:gd name="T18" fmla="*/ 73 w 212"/>
              <a:gd name="T19" fmla="*/ 83 h 116"/>
              <a:gd name="T20" fmla="*/ 136 w 212"/>
              <a:gd name="T21" fmla="*/ 83 h 116"/>
              <a:gd name="T22" fmla="*/ 133 w 212"/>
              <a:gd name="T23" fmla="*/ 89 h 116"/>
              <a:gd name="T24" fmla="*/ 66 w 212"/>
              <a:gd name="T25" fmla="*/ 89 h 116"/>
              <a:gd name="T26" fmla="*/ 66 w 212"/>
              <a:gd name="T27" fmla="*/ 17 h 116"/>
              <a:gd name="T28" fmla="*/ 46 w 212"/>
              <a:gd name="T29" fmla="*/ 17 h 116"/>
              <a:gd name="T30" fmla="*/ 46 w 212"/>
              <a:gd name="T31" fmla="*/ 26 h 116"/>
              <a:gd name="T32" fmla="*/ 29 w 212"/>
              <a:gd name="T33" fmla="*/ 43 h 116"/>
              <a:gd name="T34" fmla="*/ 29 w 212"/>
              <a:gd name="T35" fmla="*/ 55 h 116"/>
              <a:gd name="T36" fmla="*/ 7 w 212"/>
              <a:gd name="T37" fmla="*/ 60 h 116"/>
              <a:gd name="T38" fmla="*/ 7 w 212"/>
              <a:gd name="T39" fmla="*/ 89 h 116"/>
              <a:gd name="T40" fmla="*/ 0 w 212"/>
              <a:gd name="T41" fmla="*/ 89 h 116"/>
              <a:gd name="T42" fmla="*/ 0 w 212"/>
              <a:gd name="T43" fmla="*/ 96 h 116"/>
              <a:gd name="T44" fmla="*/ 15 w 212"/>
              <a:gd name="T45" fmla="*/ 96 h 116"/>
              <a:gd name="T46" fmla="*/ 36 w 212"/>
              <a:gd name="T47" fmla="*/ 116 h 116"/>
              <a:gd name="T48" fmla="*/ 56 w 212"/>
              <a:gd name="T49" fmla="*/ 96 h 116"/>
              <a:gd name="T50" fmla="*/ 132 w 212"/>
              <a:gd name="T51" fmla="*/ 96 h 116"/>
              <a:gd name="T52" fmla="*/ 152 w 212"/>
              <a:gd name="T53" fmla="*/ 116 h 116"/>
              <a:gd name="T54" fmla="*/ 172 w 212"/>
              <a:gd name="T55" fmla="*/ 96 h 116"/>
              <a:gd name="T56" fmla="*/ 212 w 212"/>
              <a:gd name="T57" fmla="*/ 96 h 116"/>
              <a:gd name="T58" fmla="*/ 212 w 212"/>
              <a:gd name="T59" fmla="*/ 89 h 116"/>
              <a:gd name="T60" fmla="*/ 171 w 212"/>
              <a:gd name="T61" fmla="*/ 89 h 116"/>
              <a:gd name="T62" fmla="*/ 35 w 212"/>
              <a:gd name="T63" fmla="*/ 106 h 116"/>
              <a:gd name="T64" fmla="*/ 26 w 212"/>
              <a:gd name="T65" fmla="*/ 98 h 116"/>
              <a:gd name="T66" fmla="*/ 35 w 212"/>
              <a:gd name="T67" fmla="*/ 89 h 116"/>
              <a:gd name="T68" fmla="*/ 44 w 212"/>
              <a:gd name="T69" fmla="*/ 98 h 116"/>
              <a:gd name="T70" fmla="*/ 35 w 212"/>
              <a:gd name="T71" fmla="*/ 106 h 116"/>
              <a:gd name="T72" fmla="*/ 52 w 212"/>
              <a:gd name="T73" fmla="*/ 55 h 116"/>
              <a:gd name="T74" fmla="*/ 35 w 212"/>
              <a:gd name="T75" fmla="*/ 55 h 116"/>
              <a:gd name="T76" fmla="*/ 35 w 212"/>
              <a:gd name="T77" fmla="*/ 45 h 116"/>
              <a:gd name="T78" fmla="*/ 52 w 212"/>
              <a:gd name="T79" fmla="*/ 45 h 116"/>
              <a:gd name="T80" fmla="*/ 52 w 212"/>
              <a:gd name="T81" fmla="*/ 55 h 116"/>
              <a:gd name="T82" fmla="*/ 151 w 212"/>
              <a:gd name="T83" fmla="*/ 106 h 116"/>
              <a:gd name="T84" fmla="*/ 142 w 212"/>
              <a:gd name="T85" fmla="*/ 98 h 116"/>
              <a:gd name="T86" fmla="*/ 151 w 212"/>
              <a:gd name="T87" fmla="*/ 89 h 116"/>
              <a:gd name="T88" fmla="*/ 160 w 212"/>
              <a:gd name="T89" fmla="*/ 98 h 116"/>
              <a:gd name="T90" fmla="*/ 151 w 212"/>
              <a:gd name="T91" fmla="*/ 10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 h="116">
                <a:moveTo>
                  <a:pt x="171" y="89"/>
                </a:moveTo>
                <a:cubicBezTo>
                  <a:pt x="170" y="87"/>
                  <a:pt x="169" y="85"/>
                  <a:pt x="167" y="83"/>
                </a:cubicBezTo>
                <a:cubicBezTo>
                  <a:pt x="208" y="83"/>
                  <a:pt x="208" y="83"/>
                  <a:pt x="208" y="83"/>
                </a:cubicBezTo>
                <a:cubicBezTo>
                  <a:pt x="208" y="29"/>
                  <a:pt x="208" y="29"/>
                  <a:pt x="208" y="29"/>
                </a:cubicBezTo>
                <a:cubicBezTo>
                  <a:pt x="104" y="29"/>
                  <a:pt x="104" y="29"/>
                  <a:pt x="104" y="29"/>
                </a:cubicBezTo>
                <a:cubicBezTo>
                  <a:pt x="76" y="0"/>
                  <a:pt x="76" y="0"/>
                  <a:pt x="76" y="0"/>
                </a:cubicBezTo>
                <a:cubicBezTo>
                  <a:pt x="36" y="1"/>
                  <a:pt x="36" y="1"/>
                  <a:pt x="36" y="1"/>
                </a:cubicBezTo>
                <a:cubicBezTo>
                  <a:pt x="36" y="13"/>
                  <a:pt x="36" y="13"/>
                  <a:pt x="36" y="13"/>
                </a:cubicBezTo>
                <a:cubicBezTo>
                  <a:pt x="73" y="13"/>
                  <a:pt x="73" y="13"/>
                  <a:pt x="73" y="13"/>
                </a:cubicBezTo>
                <a:cubicBezTo>
                  <a:pt x="73" y="83"/>
                  <a:pt x="73" y="83"/>
                  <a:pt x="73" y="83"/>
                </a:cubicBezTo>
                <a:cubicBezTo>
                  <a:pt x="136" y="83"/>
                  <a:pt x="136" y="83"/>
                  <a:pt x="136" y="83"/>
                </a:cubicBezTo>
                <a:cubicBezTo>
                  <a:pt x="135" y="85"/>
                  <a:pt x="133" y="87"/>
                  <a:pt x="133" y="89"/>
                </a:cubicBezTo>
                <a:cubicBezTo>
                  <a:pt x="66" y="89"/>
                  <a:pt x="66" y="89"/>
                  <a:pt x="66" y="89"/>
                </a:cubicBezTo>
                <a:cubicBezTo>
                  <a:pt x="66" y="17"/>
                  <a:pt x="66" y="17"/>
                  <a:pt x="66" y="17"/>
                </a:cubicBezTo>
                <a:cubicBezTo>
                  <a:pt x="46" y="17"/>
                  <a:pt x="46" y="17"/>
                  <a:pt x="46" y="17"/>
                </a:cubicBezTo>
                <a:cubicBezTo>
                  <a:pt x="46" y="26"/>
                  <a:pt x="46" y="26"/>
                  <a:pt x="46" y="26"/>
                </a:cubicBezTo>
                <a:cubicBezTo>
                  <a:pt x="29" y="43"/>
                  <a:pt x="29" y="43"/>
                  <a:pt x="29" y="43"/>
                </a:cubicBezTo>
                <a:cubicBezTo>
                  <a:pt x="29" y="55"/>
                  <a:pt x="29" y="55"/>
                  <a:pt x="29" y="55"/>
                </a:cubicBezTo>
                <a:cubicBezTo>
                  <a:pt x="7" y="60"/>
                  <a:pt x="7" y="60"/>
                  <a:pt x="7" y="60"/>
                </a:cubicBezTo>
                <a:cubicBezTo>
                  <a:pt x="7" y="89"/>
                  <a:pt x="7" y="89"/>
                  <a:pt x="7" y="89"/>
                </a:cubicBezTo>
                <a:cubicBezTo>
                  <a:pt x="0" y="89"/>
                  <a:pt x="0" y="89"/>
                  <a:pt x="0" y="89"/>
                </a:cubicBezTo>
                <a:cubicBezTo>
                  <a:pt x="0" y="96"/>
                  <a:pt x="0" y="96"/>
                  <a:pt x="0" y="96"/>
                </a:cubicBezTo>
                <a:cubicBezTo>
                  <a:pt x="15" y="96"/>
                  <a:pt x="15" y="96"/>
                  <a:pt x="15" y="96"/>
                </a:cubicBezTo>
                <a:cubicBezTo>
                  <a:pt x="15" y="107"/>
                  <a:pt x="24" y="116"/>
                  <a:pt x="36" y="116"/>
                </a:cubicBezTo>
                <a:cubicBezTo>
                  <a:pt x="47" y="116"/>
                  <a:pt x="56" y="107"/>
                  <a:pt x="56" y="96"/>
                </a:cubicBezTo>
                <a:cubicBezTo>
                  <a:pt x="132" y="96"/>
                  <a:pt x="132" y="96"/>
                  <a:pt x="132" y="96"/>
                </a:cubicBezTo>
                <a:cubicBezTo>
                  <a:pt x="132" y="107"/>
                  <a:pt x="141" y="116"/>
                  <a:pt x="152" y="116"/>
                </a:cubicBezTo>
                <a:cubicBezTo>
                  <a:pt x="163" y="116"/>
                  <a:pt x="172" y="107"/>
                  <a:pt x="172" y="96"/>
                </a:cubicBezTo>
                <a:cubicBezTo>
                  <a:pt x="212" y="96"/>
                  <a:pt x="212" y="96"/>
                  <a:pt x="212" y="96"/>
                </a:cubicBezTo>
                <a:cubicBezTo>
                  <a:pt x="212" y="89"/>
                  <a:pt x="212" y="89"/>
                  <a:pt x="212" y="89"/>
                </a:cubicBezTo>
                <a:lnTo>
                  <a:pt x="171" y="89"/>
                </a:lnTo>
                <a:close/>
                <a:moveTo>
                  <a:pt x="35" y="106"/>
                </a:moveTo>
                <a:cubicBezTo>
                  <a:pt x="30" y="106"/>
                  <a:pt x="26" y="103"/>
                  <a:pt x="26" y="98"/>
                </a:cubicBezTo>
                <a:cubicBezTo>
                  <a:pt x="26" y="93"/>
                  <a:pt x="30" y="89"/>
                  <a:pt x="35" y="89"/>
                </a:cubicBezTo>
                <a:cubicBezTo>
                  <a:pt x="40" y="89"/>
                  <a:pt x="44" y="93"/>
                  <a:pt x="44" y="98"/>
                </a:cubicBezTo>
                <a:cubicBezTo>
                  <a:pt x="44" y="103"/>
                  <a:pt x="40" y="106"/>
                  <a:pt x="35" y="106"/>
                </a:cubicBezTo>
                <a:close/>
                <a:moveTo>
                  <a:pt x="52" y="55"/>
                </a:moveTo>
                <a:cubicBezTo>
                  <a:pt x="35" y="55"/>
                  <a:pt x="35" y="55"/>
                  <a:pt x="35" y="55"/>
                </a:cubicBezTo>
                <a:cubicBezTo>
                  <a:pt x="35" y="45"/>
                  <a:pt x="35" y="45"/>
                  <a:pt x="35" y="45"/>
                </a:cubicBezTo>
                <a:cubicBezTo>
                  <a:pt x="52" y="45"/>
                  <a:pt x="52" y="45"/>
                  <a:pt x="52" y="45"/>
                </a:cubicBezTo>
                <a:lnTo>
                  <a:pt x="52" y="55"/>
                </a:lnTo>
                <a:close/>
                <a:moveTo>
                  <a:pt x="151" y="106"/>
                </a:moveTo>
                <a:cubicBezTo>
                  <a:pt x="146" y="106"/>
                  <a:pt x="142" y="103"/>
                  <a:pt x="142" y="98"/>
                </a:cubicBezTo>
                <a:cubicBezTo>
                  <a:pt x="142" y="93"/>
                  <a:pt x="146" y="89"/>
                  <a:pt x="151" y="89"/>
                </a:cubicBezTo>
                <a:cubicBezTo>
                  <a:pt x="156" y="89"/>
                  <a:pt x="160" y="93"/>
                  <a:pt x="160" y="98"/>
                </a:cubicBezTo>
                <a:cubicBezTo>
                  <a:pt x="160" y="103"/>
                  <a:pt x="156" y="106"/>
                  <a:pt x="151" y="106"/>
                </a:cubicBezTo>
                <a:close/>
              </a:path>
            </a:pathLst>
          </a:custGeom>
          <a:solidFill>
            <a:schemeClr val="accent6"/>
          </a:solidFill>
          <a:ln>
            <a:noFill/>
          </a:ln>
        </p:spPr>
        <p:txBody>
          <a:bodyPr vert="horz" wrap="square" lIns="45720" tIns="22860" rIns="45720" bIns="22860" numCol="1" anchor="t" anchorCtr="0" compatLnSpc="1">
            <a:prstTxWarp prst="textNoShape">
              <a:avLst/>
            </a:prstTxWarp>
          </a:bodyPr>
          <a:lstStyle/>
          <a:p>
            <a:endParaRPr lang="th-TH" sz="900"/>
          </a:p>
        </p:txBody>
      </p:sp>
      <p:grpSp>
        <p:nvGrpSpPr>
          <p:cNvPr id="46" name="กลุ่ม 20"/>
          <p:cNvGrpSpPr/>
          <p:nvPr/>
        </p:nvGrpSpPr>
        <p:grpSpPr>
          <a:xfrm>
            <a:off x="3168255" y="4288573"/>
            <a:ext cx="921554" cy="1168127"/>
            <a:chOff x="3078163" y="4573588"/>
            <a:chExt cx="2124076" cy="2692400"/>
          </a:xfrm>
          <a:solidFill>
            <a:schemeClr val="accent6"/>
          </a:solidFill>
        </p:grpSpPr>
        <p:sp>
          <p:nvSpPr>
            <p:cNvPr id="47" name="Freeform 7"/>
            <p:cNvSpPr>
              <a:spLocks noEditPoints="1"/>
            </p:cNvSpPr>
            <p:nvPr/>
          </p:nvSpPr>
          <p:spPr bwMode="auto">
            <a:xfrm>
              <a:off x="3078163" y="5514975"/>
              <a:ext cx="1643063" cy="1751013"/>
            </a:xfrm>
            <a:custGeom>
              <a:avLst/>
              <a:gdLst>
                <a:gd name="T0" fmla="*/ 72 w 75"/>
                <a:gd name="T1" fmla="*/ 53 h 80"/>
                <a:gd name="T2" fmla="*/ 59 w 75"/>
                <a:gd name="T3" fmla="*/ 4 h 80"/>
                <a:gd name="T4" fmla="*/ 52 w 75"/>
                <a:gd name="T5" fmla="*/ 0 h 80"/>
                <a:gd name="T6" fmla="*/ 50 w 75"/>
                <a:gd name="T7" fmla="*/ 42 h 80"/>
                <a:gd name="T8" fmla="*/ 42 w 75"/>
                <a:gd name="T9" fmla="*/ 1 h 80"/>
                <a:gd name="T10" fmla="*/ 34 w 75"/>
                <a:gd name="T11" fmla="*/ 3 h 80"/>
                <a:gd name="T12" fmla="*/ 23 w 75"/>
                <a:gd name="T13" fmla="*/ 4 h 80"/>
                <a:gd name="T14" fmla="*/ 17 w 75"/>
                <a:gd name="T15" fmla="*/ 0 h 80"/>
                <a:gd name="T16" fmla="*/ 14 w 75"/>
                <a:gd name="T17" fmla="*/ 42 h 80"/>
                <a:gd name="T18" fmla="*/ 4 w 75"/>
                <a:gd name="T19" fmla="*/ 63 h 80"/>
                <a:gd name="T20" fmla="*/ 0 w 75"/>
                <a:gd name="T21" fmla="*/ 80 h 80"/>
                <a:gd name="T22" fmla="*/ 34 w 75"/>
                <a:gd name="T23" fmla="*/ 72 h 80"/>
                <a:gd name="T24" fmla="*/ 34 w 75"/>
                <a:gd name="T25" fmla="*/ 59 h 80"/>
                <a:gd name="T26" fmla="*/ 48 w 75"/>
                <a:gd name="T27" fmla="*/ 77 h 80"/>
                <a:gd name="T28" fmla="*/ 48 w 75"/>
                <a:gd name="T29" fmla="*/ 77 h 80"/>
                <a:gd name="T30" fmla="*/ 47 w 75"/>
                <a:gd name="T31" fmla="*/ 61 h 80"/>
                <a:gd name="T32" fmla="*/ 51 w 75"/>
                <a:gd name="T33" fmla="*/ 72 h 80"/>
                <a:gd name="T34" fmla="*/ 50 w 75"/>
                <a:gd name="T35" fmla="*/ 59 h 80"/>
                <a:gd name="T36" fmla="*/ 64 w 75"/>
                <a:gd name="T37" fmla="*/ 77 h 80"/>
                <a:gd name="T38" fmla="*/ 64 w 75"/>
                <a:gd name="T39" fmla="*/ 77 h 80"/>
                <a:gd name="T40" fmla="*/ 64 w 75"/>
                <a:gd name="T41" fmla="*/ 65 h 80"/>
                <a:gd name="T42" fmla="*/ 63 w 75"/>
                <a:gd name="T43" fmla="*/ 57 h 80"/>
                <a:gd name="T44" fmla="*/ 63 w 75"/>
                <a:gd name="T45" fmla="*/ 59 h 80"/>
                <a:gd name="T46" fmla="*/ 56 w 75"/>
                <a:gd name="T47" fmla="*/ 69 h 80"/>
                <a:gd name="T48" fmla="*/ 56 w 75"/>
                <a:gd name="T49" fmla="*/ 69 h 80"/>
                <a:gd name="T50" fmla="*/ 50 w 75"/>
                <a:gd name="T51" fmla="*/ 54 h 80"/>
                <a:gd name="T52" fmla="*/ 51 w 75"/>
                <a:gd name="T53" fmla="*/ 46 h 80"/>
                <a:gd name="T54" fmla="*/ 51 w 75"/>
                <a:gd name="T55" fmla="*/ 47 h 80"/>
                <a:gd name="T56" fmla="*/ 48 w 75"/>
                <a:gd name="T57" fmla="*/ 69 h 80"/>
                <a:gd name="T58" fmla="*/ 48 w 75"/>
                <a:gd name="T59" fmla="*/ 69 h 80"/>
                <a:gd name="T60" fmla="*/ 44 w 75"/>
                <a:gd name="T61" fmla="*/ 46 h 80"/>
                <a:gd name="T62" fmla="*/ 47 w 75"/>
                <a:gd name="T63" fmla="*/ 49 h 80"/>
                <a:gd name="T64" fmla="*/ 47 w 75"/>
                <a:gd name="T65" fmla="*/ 57 h 80"/>
                <a:gd name="T66" fmla="*/ 40 w 75"/>
                <a:gd name="T67" fmla="*/ 45 h 80"/>
                <a:gd name="T68" fmla="*/ 40 w 75"/>
                <a:gd name="T69" fmla="*/ 45 h 80"/>
                <a:gd name="T70" fmla="*/ 40 w 75"/>
                <a:gd name="T71" fmla="*/ 49 h 80"/>
                <a:gd name="T72" fmla="*/ 34 w 75"/>
                <a:gd name="T73" fmla="*/ 65 h 80"/>
                <a:gd name="T74" fmla="*/ 34 w 75"/>
                <a:gd name="T75" fmla="*/ 57 h 80"/>
                <a:gd name="T76" fmla="*/ 36 w 75"/>
                <a:gd name="T77" fmla="*/ 45 h 80"/>
                <a:gd name="T78" fmla="*/ 36 w 75"/>
                <a:gd name="T79" fmla="*/ 45 h 80"/>
                <a:gd name="T80" fmla="*/ 36 w 75"/>
                <a:gd name="T81" fmla="*/ 49 h 80"/>
                <a:gd name="T82" fmla="*/ 35 w 75"/>
                <a:gd name="T83" fmla="*/ 46 h 80"/>
                <a:gd name="T84" fmla="*/ 35 w 75"/>
                <a:gd name="T85" fmla="*/ 47 h 80"/>
                <a:gd name="T86" fmla="*/ 24 w 75"/>
                <a:gd name="T87" fmla="*/ 77 h 80"/>
                <a:gd name="T88" fmla="*/ 24 w 75"/>
                <a:gd name="T89" fmla="*/ 77 h 80"/>
                <a:gd name="T90" fmla="*/ 32 w 75"/>
                <a:gd name="T91" fmla="*/ 72 h 80"/>
                <a:gd name="T92" fmla="*/ 31 w 75"/>
                <a:gd name="T93" fmla="*/ 59 h 80"/>
                <a:gd name="T94" fmla="*/ 26 w 75"/>
                <a:gd name="T95" fmla="*/ 69 h 80"/>
                <a:gd name="T96" fmla="*/ 31 w 75"/>
                <a:gd name="T97" fmla="*/ 57 h 80"/>
                <a:gd name="T98" fmla="*/ 31 w 75"/>
                <a:gd name="T99" fmla="*/ 57 h 80"/>
                <a:gd name="T100" fmla="*/ 28 w 75"/>
                <a:gd name="T101" fmla="*/ 46 h 80"/>
                <a:gd name="T102" fmla="*/ 31 w 75"/>
                <a:gd name="T103" fmla="*/ 49 h 80"/>
                <a:gd name="T104" fmla="*/ 27 w 75"/>
                <a:gd name="T105" fmla="*/ 45 h 80"/>
                <a:gd name="T106" fmla="*/ 24 w 75"/>
                <a:gd name="T107" fmla="*/ 47 h 80"/>
                <a:gd name="T108" fmla="*/ 24 w 75"/>
                <a:gd name="T109" fmla="*/ 47 h 80"/>
                <a:gd name="T110" fmla="*/ 18 w 75"/>
                <a:gd name="T111" fmla="*/ 65 h 80"/>
                <a:gd name="T112" fmla="*/ 23 w 75"/>
                <a:gd name="T113" fmla="*/ 57 h 80"/>
                <a:gd name="T114" fmla="*/ 23 w 75"/>
                <a:gd name="T115" fmla="*/ 59 h 80"/>
                <a:gd name="T116" fmla="*/ 16 w 75"/>
                <a:gd name="T117" fmla="*/ 77 h 80"/>
                <a:gd name="T118" fmla="*/ 16 w 75"/>
                <a:gd name="T119" fmla="*/ 77 h 80"/>
                <a:gd name="T120" fmla="*/ 16 w 75"/>
                <a:gd name="T121" fmla="*/ 65 h 80"/>
                <a:gd name="T122" fmla="*/ 15 w 75"/>
                <a:gd name="T123" fmla="*/ 57 h 80"/>
                <a:gd name="T124" fmla="*/ 15 w 75"/>
                <a:gd name="T12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 h="80">
                  <a:moveTo>
                    <a:pt x="75" y="80"/>
                  </a:moveTo>
                  <a:cubicBezTo>
                    <a:pt x="75" y="63"/>
                    <a:pt x="75" y="63"/>
                    <a:pt x="75" y="63"/>
                  </a:cubicBezTo>
                  <a:cubicBezTo>
                    <a:pt x="72" y="63"/>
                    <a:pt x="72" y="63"/>
                    <a:pt x="72" y="63"/>
                  </a:cubicBezTo>
                  <a:cubicBezTo>
                    <a:pt x="72" y="53"/>
                    <a:pt x="72" y="53"/>
                    <a:pt x="72" y="53"/>
                  </a:cubicBezTo>
                  <a:cubicBezTo>
                    <a:pt x="69" y="53"/>
                    <a:pt x="69" y="53"/>
                    <a:pt x="69" y="53"/>
                  </a:cubicBezTo>
                  <a:cubicBezTo>
                    <a:pt x="69" y="42"/>
                    <a:pt x="69" y="42"/>
                    <a:pt x="69" y="42"/>
                  </a:cubicBezTo>
                  <a:cubicBezTo>
                    <a:pt x="61" y="42"/>
                    <a:pt x="61" y="42"/>
                    <a:pt x="61" y="42"/>
                  </a:cubicBezTo>
                  <a:cubicBezTo>
                    <a:pt x="59" y="4"/>
                    <a:pt x="59" y="4"/>
                    <a:pt x="59" y="4"/>
                  </a:cubicBezTo>
                  <a:cubicBezTo>
                    <a:pt x="60" y="4"/>
                    <a:pt x="60" y="4"/>
                    <a:pt x="60" y="3"/>
                  </a:cubicBezTo>
                  <a:cubicBezTo>
                    <a:pt x="60" y="1"/>
                    <a:pt x="60" y="1"/>
                    <a:pt x="60" y="1"/>
                  </a:cubicBezTo>
                  <a:cubicBezTo>
                    <a:pt x="60" y="1"/>
                    <a:pt x="59" y="0"/>
                    <a:pt x="59" y="0"/>
                  </a:cubicBezTo>
                  <a:cubicBezTo>
                    <a:pt x="52" y="0"/>
                    <a:pt x="52" y="0"/>
                    <a:pt x="52" y="0"/>
                  </a:cubicBezTo>
                  <a:cubicBezTo>
                    <a:pt x="52" y="0"/>
                    <a:pt x="52" y="1"/>
                    <a:pt x="52" y="1"/>
                  </a:cubicBezTo>
                  <a:cubicBezTo>
                    <a:pt x="52" y="3"/>
                    <a:pt x="52" y="3"/>
                    <a:pt x="52" y="3"/>
                  </a:cubicBezTo>
                  <a:cubicBezTo>
                    <a:pt x="52" y="4"/>
                    <a:pt x="52" y="4"/>
                    <a:pt x="52" y="4"/>
                  </a:cubicBezTo>
                  <a:cubicBezTo>
                    <a:pt x="50" y="42"/>
                    <a:pt x="50" y="42"/>
                    <a:pt x="50" y="42"/>
                  </a:cubicBezTo>
                  <a:cubicBezTo>
                    <a:pt x="43" y="42"/>
                    <a:pt x="43" y="42"/>
                    <a:pt x="43" y="42"/>
                  </a:cubicBezTo>
                  <a:cubicBezTo>
                    <a:pt x="41" y="4"/>
                    <a:pt x="41" y="4"/>
                    <a:pt x="41" y="4"/>
                  </a:cubicBezTo>
                  <a:cubicBezTo>
                    <a:pt x="42" y="4"/>
                    <a:pt x="42" y="4"/>
                    <a:pt x="42" y="3"/>
                  </a:cubicBezTo>
                  <a:cubicBezTo>
                    <a:pt x="42" y="1"/>
                    <a:pt x="42" y="1"/>
                    <a:pt x="42" y="1"/>
                  </a:cubicBezTo>
                  <a:cubicBezTo>
                    <a:pt x="42" y="1"/>
                    <a:pt x="42" y="0"/>
                    <a:pt x="41" y="0"/>
                  </a:cubicBezTo>
                  <a:cubicBezTo>
                    <a:pt x="35" y="0"/>
                    <a:pt x="35" y="0"/>
                    <a:pt x="35" y="0"/>
                  </a:cubicBezTo>
                  <a:cubicBezTo>
                    <a:pt x="34" y="0"/>
                    <a:pt x="34" y="1"/>
                    <a:pt x="34" y="1"/>
                  </a:cubicBezTo>
                  <a:cubicBezTo>
                    <a:pt x="34" y="3"/>
                    <a:pt x="34" y="3"/>
                    <a:pt x="34" y="3"/>
                  </a:cubicBezTo>
                  <a:cubicBezTo>
                    <a:pt x="34" y="4"/>
                    <a:pt x="34" y="4"/>
                    <a:pt x="34" y="4"/>
                  </a:cubicBezTo>
                  <a:cubicBezTo>
                    <a:pt x="32" y="42"/>
                    <a:pt x="32" y="42"/>
                    <a:pt x="32" y="42"/>
                  </a:cubicBezTo>
                  <a:cubicBezTo>
                    <a:pt x="25" y="42"/>
                    <a:pt x="25" y="42"/>
                    <a:pt x="25" y="42"/>
                  </a:cubicBezTo>
                  <a:cubicBezTo>
                    <a:pt x="23" y="4"/>
                    <a:pt x="23" y="4"/>
                    <a:pt x="23" y="4"/>
                  </a:cubicBezTo>
                  <a:cubicBezTo>
                    <a:pt x="24" y="4"/>
                    <a:pt x="24" y="4"/>
                    <a:pt x="24" y="3"/>
                  </a:cubicBezTo>
                  <a:cubicBezTo>
                    <a:pt x="24" y="1"/>
                    <a:pt x="24" y="1"/>
                    <a:pt x="24" y="1"/>
                  </a:cubicBezTo>
                  <a:cubicBezTo>
                    <a:pt x="24" y="1"/>
                    <a:pt x="24" y="0"/>
                    <a:pt x="23" y="0"/>
                  </a:cubicBezTo>
                  <a:cubicBezTo>
                    <a:pt x="17" y="0"/>
                    <a:pt x="17" y="0"/>
                    <a:pt x="17" y="0"/>
                  </a:cubicBezTo>
                  <a:cubicBezTo>
                    <a:pt x="16" y="0"/>
                    <a:pt x="16" y="1"/>
                    <a:pt x="16" y="1"/>
                  </a:cubicBezTo>
                  <a:cubicBezTo>
                    <a:pt x="16" y="3"/>
                    <a:pt x="16" y="3"/>
                    <a:pt x="16" y="3"/>
                  </a:cubicBezTo>
                  <a:cubicBezTo>
                    <a:pt x="16" y="4"/>
                    <a:pt x="16" y="4"/>
                    <a:pt x="16" y="4"/>
                  </a:cubicBezTo>
                  <a:cubicBezTo>
                    <a:pt x="14" y="42"/>
                    <a:pt x="14" y="42"/>
                    <a:pt x="14" y="42"/>
                  </a:cubicBezTo>
                  <a:cubicBezTo>
                    <a:pt x="6" y="42"/>
                    <a:pt x="6" y="42"/>
                    <a:pt x="6" y="42"/>
                  </a:cubicBezTo>
                  <a:cubicBezTo>
                    <a:pt x="6" y="53"/>
                    <a:pt x="6" y="53"/>
                    <a:pt x="6" y="53"/>
                  </a:cubicBezTo>
                  <a:cubicBezTo>
                    <a:pt x="4" y="53"/>
                    <a:pt x="4" y="53"/>
                    <a:pt x="4" y="53"/>
                  </a:cubicBezTo>
                  <a:cubicBezTo>
                    <a:pt x="4" y="63"/>
                    <a:pt x="4" y="63"/>
                    <a:pt x="4" y="63"/>
                  </a:cubicBezTo>
                  <a:cubicBezTo>
                    <a:pt x="0" y="63"/>
                    <a:pt x="0" y="63"/>
                    <a:pt x="0" y="63"/>
                  </a:cubicBezTo>
                  <a:cubicBezTo>
                    <a:pt x="0" y="73"/>
                    <a:pt x="0" y="73"/>
                    <a:pt x="0" y="73"/>
                  </a:cubicBezTo>
                  <a:cubicBezTo>
                    <a:pt x="0" y="73"/>
                    <a:pt x="0" y="73"/>
                    <a:pt x="0" y="72"/>
                  </a:cubicBezTo>
                  <a:cubicBezTo>
                    <a:pt x="0" y="80"/>
                    <a:pt x="0" y="80"/>
                    <a:pt x="0" y="80"/>
                  </a:cubicBezTo>
                  <a:lnTo>
                    <a:pt x="75" y="80"/>
                  </a:lnTo>
                  <a:close/>
                  <a:moveTo>
                    <a:pt x="40" y="77"/>
                  </a:moveTo>
                  <a:cubicBezTo>
                    <a:pt x="34" y="77"/>
                    <a:pt x="34" y="77"/>
                    <a:pt x="34" y="77"/>
                  </a:cubicBezTo>
                  <a:cubicBezTo>
                    <a:pt x="34" y="72"/>
                    <a:pt x="34" y="72"/>
                    <a:pt x="34" y="72"/>
                  </a:cubicBezTo>
                  <a:cubicBezTo>
                    <a:pt x="40" y="72"/>
                    <a:pt x="40" y="72"/>
                    <a:pt x="40" y="72"/>
                  </a:cubicBezTo>
                  <a:lnTo>
                    <a:pt x="40" y="77"/>
                  </a:lnTo>
                  <a:close/>
                  <a:moveTo>
                    <a:pt x="34" y="61"/>
                  </a:moveTo>
                  <a:cubicBezTo>
                    <a:pt x="34" y="59"/>
                    <a:pt x="34" y="59"/>
                    <a:pt x="34" y="59"/>
                  </a:cubicBezTo>
                  <a:cubicBezTo>
                    <a:pt x="39" y="59"/>
                    <a:pt x="39" y="59"/>
                    <a:pt x="39" y="59"/>
                  </a:cubicBezTo>
                  <a:cubicBezTo>
                    <a:pt x="39" y="61"/>
                    <a:pt x="39" y="61"/>
                    <a:pt x="39" y="61"/>
                  </a:cubicBezTo>
                  <a:lnTo>
                    <a:pt x="34" y="61"/>
                  </a:lnTo>
                  <a:close/>
                  <a:moveTo>
                    <a:pt x="48" y="77"/>
                  </a:moveTo>
                  <a:cubicBezTo>
                    <a:pt x="43" y="77"/>
                    <a:pt x="43" y="77"/>
                    <a:pt x="43" y="77"/>
                  </a:cubicBezTo>
                  <a:cubicBezTo>
                    <a:pt x="43" y="72"/>
                    <a:pt x="43" y="72"/>
                    <a:pt x="43" y="72"/>
                  </a:cubicBezTo>
                  <a:cubicBezTo>
                    <a:pt x="48" y="72"/>
                    <a:pt x="48" y="72"/>
                    <a:pt x="48" y="72"/>
                  </a:cubicBezTo>
                  <a:lnTo>
                    <a:pt x="48" y="77"/>
                  </a:lnTo>
                  <a:close/>
                  <a:moveTo>
                    <a:pt x="42" y="61"/>
                  </a:moveTo>
                  <a:cubicBezTo>
                    <a:pt x="42" y="59"/>
                    <a:pt x="42" y="59"/>
                    <a:pt x="42" y="59"/>
                  </a:cubicBezTo>
                  <a:cubicBezTo>
                    <a:pt x="47" y="59"/>
                    <a:pt x="47" y="59"/>
                    <a:pt x="47" y="59"/>
                  </a:cubicBezTo>
                  <a:cubicBezTo>
                    <a:pt x="47" y="61"/>
                    <a:pt x="47" y="61"/>
                    <a:pt x="47" y="61"/>
                  </a:cubicBezTo>
                  <a:lnTo>
                    <a:pt x="42" y="61"/>
                  </a:lnTo>
                  <a:close/>
                  <a:moveTo>
                    <a:pt x="56" y="77"/>
                  </a:moveTo>
                  <a:cubicBezTo>
                    <a:pt x="51" y="77"/>
                    <a:pt x="51" y="77"/>
                    <a:pt x="51" y="77"/>
                  </a:cubicBezTo>
                  <a:cubicBezTo>
                    <a:pt x="51" y="72"/>
                    <a:pt x="51" y="72"/>
                    <a:pt x="51" y="72"/>
                  </a:cubicBezTo>
                  <a:cubicBezTo>
                    <a:pt x="56" y="72"/>
                    <a:pt x="56" y="72"/>
                    <a:pt x="56" y="72"/>
                  </a:cubicBezTo>
                  <a:lnTo>
                    <a:pt x="56" y="77"/>
                  </a:lnTo>
                  <a:close/>
                  <a:moveTo>
                    <a:pt x="50" y="61"/>
                  </a:moveTo>
                  <a:cubicBezTo>
                    <a:pt x="50" y="59"/>
                    <a:pt x="50" y="59"/>
                    <a:pt x="50" y="59"/>
                  </a:cubicBezTo>
                  <a:cubicBezTo>
                    <a:pt x="55" y="59"/>
                    <a:pt x="55" y="59"/>
                    <a:pt x="55" y="59"/>
                  </a:cubicBezTo>
                  <a:cubicBezTo>
                    <a:pt x="55" y="61"/>
                    <a:pt x="55" y="61"/>
                    <a:pt x="55" y="61"/>
                  </a:cubicBezTo>
                  <a:lnTo>
                    <a:pt x="50" y="61"/>
                  </a:lnTo>
                  <a:close/>
                  <a:moveTo>
                    <a:pt x="64" y="77"/>
                  </a:moveTo>
                  <a:cubicBezTo>
                    <a:pt x="59" y="77"/>
                    <a:pt x="59" y="77"/>
                    <a:pt x="59" y="77"/>
                  </a:cubicBezTo>
                  <a:cubicBezTo>
                    <a:pt x="59" y="72"/>
                    <a:pt x="59" y="72"/>
                    <a:pt x="59" y="72"/>
                  </a:cubicBezTo>
                  <a:cubicBezTo>
                    <a:pt x="64" y="72"/>
                    <a:pt x="64" y="72"/>
                    <a:pt x="64" y="72"/>
                  </a:cubicBezTo>
                  <a:lnTo>
                    <a:pt x="64" y="77"/>
                  </a:lnTo>
                  <a:close/>
                  <a:moveTo>
                    <a:pt x="64" y="69"/>
                  </a:moveTo>
                  <a:cubicBezTo>
                    <a:pt x="59" y="69"/>
                    <a:pt x="59" y="69"/>
                    <a:pt x="59" y="69"/>
                  </a:cubicBezTo>
                  <a:cubicBezTo>
                    <a:pt x="59" y="65"/>
                    <a:pt x="59" y="65"/>
                    <a:pt x="59" y="65"/>
                  </a:cubicBezTo>
                  <a:cubicBezTo>
                    <a:pt x="64" y="65"/>
                    <a:pt x="64" y="65"/>
                    <a:pt x="64" y="65"/>
                  </a:cubicBezTo>
                  <a:lnTo>
                    <a:pt x="64" y="69"/>
                  </a:lnTo>
                  <a:close/>
                  <a:moveTo>
                    <a:pt x="58" y="54"/>
                  </a:moveTo>
                  <a:cubicBezTo>
                    <a:pt x="63" y="54"/>
                    <a:pt x="63" y="54"/>
                    <a:pt x="63" y="54"/>
                  </a:cubicBezTo>
                  <a:cubicBezTo>
                    <a:pt x="63" y="57"/>
                    <a:pt x="63" y="57"/>
                    <a:pt x="63" y="57"/>
                  </a:cubicBezTo>
                  <a:cubicBezTo>
                    <a:pt x="58" y="57"/>
                    <a:pt x="58" y="57"/>
                    <a:pt x="58" y="57"/>
                  </a:cubicBezTo>
                  <a:lnTo>
                    <a:pt x="58" y="54"/>
                  </a:lnTo>
                  <a:close/>
                  <a:moveTo>
                    <a:pt x="58" y="59"/>
                  </a:moveTo>
                  <a:cubicBezTo>
                    <a:pt x="63" y="59"/>
                    <a:pt x="63" y="59"/>
                    <a:pt x="63" y="59"/>
                  </a:cubicBezTo>
                  <a:cubicBezTo>
                    <a:pt x="63" y="61"/>
                    <a:pt x="63" y="61"/>
                    <a:pt x="63" y="61"/>
                  </a:cubicBezTo>
                  <a:cubicBezTo>
                    <a:pt x="58" y="61"/>
                    <a:pt x="58" y="61"/>
                    <a:pt x="58" y="61"/>
                  </a:cubicBezTo>
                  <a:lnTo>
                    <a:pt x="58" y="59"/>
                  </a:lnTo>
                  <a:close/>
                  <a:moveTo>
                    <a:pt x="56" y="69"/>
                  </a:moveTo>
                  <a:cubicBezTo>
                    <a:pt x="51" y="69"/>
                    <a:pt x="51" y="69"/>
                    <a:pt x="51" y="69"/>
                  </a:cubicBezTo>
                  <a:cubicBezTo>
                    <a:pt x="51" y="65"/>
                    <a:pt x="51" y="65"/>
                    <a:pt x="51" y="65"/>
                  </a:cubicBezTo>
                  <a:cubicBezTo>
                    <a:pt x="56" y="65"/>
                    <a:pt x="56" y="65"/>
                    <a:pt x="56" y="65"/>
                  </a:cubicBezTo>
                  <a:lnTo>
                    <a:pt x="56" y="69"/>
                  </a:lnTo>
                  <a:close/>
                  <a:moveTo>
                    <a:pt x="55" y="54"/>
                  </a:moveTo>
                  <a:cubicBezTo>
                    <a:pt x="55" y="57"/>
                    <a:pt x="55" y="57"/>
                    <a:pt x="55" y="57"/>
                  </a:cubicBezTo>
                  <a:cubicBezTo>
                    <a:pt x="50" y="57"/>
                    <a:pt x="50" y="57"/>
                    <a:pt x="50" y="57"/>
                  </a:cubicBezTo>
                  <a:cubicBezTo>
                    <a:pt x="50" y="54"/>
                    <a:pt x="50" y="54"/>
                    <a:pt x="50" y="54"/>
                  </a:cubicBezTo>
                  <a:lnTo>
                    <a:pt x="55" y="54"/>
                  </a:lnTo>
                  <a:close/>
                  <a:moveTo>
                    <a:pt x="48" y="45"/>
                  </a:moveTo>
                  <a:cubicBezTo>
                    <a:pt x="51" y="45"/>
                    <a:pt x="51" y="45"/>
                    <a:pt x="51" y="45"/>
                  </a:cubicBezTo>
                  <a:cubicBezTo>
                    <a:pt x="51" y="46"/>
                    <a:pt x="51" y="46"/>
                    <a:pt x="51" y="46"/>
                  </a:cubicBezTo>
                  <a:cubicBezTo>
                    <a:pt x="48" y="46"/>
                    <a:pt x="48" y="46"/>
                    <a:pt x="48" y="46"/>
                  </a:cubicBezTo>
                  <a:lnTo>
                    <a:pt x="48" y="45"/>
                  </a:lnTo>
                  <a:close/>
                  <a:moveTo>
                    <a:pt x="48" y="47"/>
                  </a:moveTo>
                  <a:cubicBezTo>
                    <a:pt x="51" y="47"/>
                    <a:pt x="51" y="47"/>
                    <a:pt x="51" y="47"/>
                  </a:cubicBezTo>
                  <a:cubicBezTo>
                    <a:pt x="51" y="49"/>
                    <a:pt x="51" y="49"/>
                    <a:pt x="51" y="49"/>
                  </a:cubicBezTo>
                  <a:cubicBezTo>
                    <a:pt x="48" y="49"/>
                    <a:pt x="48" y="49"/>
                    <a:pt x="48" y="49"/>
                  </a:cubicBezTo>
                  <a:lnTo>
                    <a:pt x="48" y="47"/>
                  </a:lnTo>
                  <a:close/>
                  <a:moveTo>
                    <a:pt x="48" y="69"/>
                  </a:moveTo>
                  <a:cubicBezTo>
                    <a:pt x="43" y="69"/>
                    <a:pt x="43" y="69"/>
                    <a:pt x="43" y="69"/>
                  </a:cubicBezTo>
                  <a:cubicBezTo>
                    <a:pt x="43" y="65"/>
                    <a:pt x="43" y="65"/>
                    <a:pt x="43" y="65"/>
                  </a:cubicBezTo>
                  <a:cubicBezTo>
                    <a:pt x="48" y="65"/>
                    <a:pt x="48" y="65"/>
                    <a:pt x="48" y="65"/>
                  </a:cubicBezTo>
                  <a:lnTo>
                    <a:pt x="48" y="69"/>
                  </a:lnTo>
                  <a:close/>
                  <a:moveTo>
                    <a:pt x="44" y="45"/>
                  </a:moveTo>
                  <a:cubicBezTo>
                    <a:pt x="47" y="45"/>
                    <a:pt x="47" y="45"/>
                    <a:pt x="47" y="45"/>
                  </a:cubicBezTo>
                  <a:cubicBezTo>
                    <a:pt x="47" y="46"/>
                    <a:pt x="47" y="46"/>
                    <a:pt x="47" y="46"/>
                  </a:cubicBezTo>
                  <a:cubicBezTo>
                    <a:pt x="44" y="46"/>
                    <a:pt x="44" y="46"/>
                    <a:pt x="44" y="46"/>
                  </a:cubicBezTo>
                  <a:lnTo>
                    <a:pt x="44" y="45"/>
                  </a:lnTo>
                  <a:close/>
                  <a:moveTo>
                    <a:pt x="44" y="47"/>
                  </a:moveTo>
                  <a:cubicBezTo>
                    <a:pt x="47" y="47"/>
                    <a:pt x="47" y="47"/>
                    <a:pt x="47" y="47"/>
                  </a:cubicBezTo>
                  <a:cubicBezTo>
                    <a:pt x="47" y="49"/>
                    <a:pt x="47" y="49"/>
                    <a:pt x="47" y="49"/>
                  </a:cubicBezTo>
                  <a:cubicBezTo>
                    <a:pt x="44" y="49"/>
                    <a:pt x="44" y="49"/>
                    <a:pt x="44" y="49"/>
                  </a:cubicBezTo>
                  <a:lnTo>
                    <a:pt x="44" y="47"/>
                  </a:lnTo>
                  <a:close/>
                  <a:moveTo>
                    <a:pt x="47" y="54"/>
                  </a:moveTo>
                  <a:cubicBezTo>
                    <a:pt x="47" y="57"/>
                    <a:pt x="47" y="57"/>
                    <a:pt x="47" y="57"/>
                  </a:cubicBezTo>
                  <a:cubicBezTo>
                    <a:pt x="42" y="57"/>
                    <a:pt x="42" y="57"/>
                    <a:pt x="42" y="57"/>
                  </a:cubicBezTo>
                  <a:cubicBezTo>
                    <a:pt x="42" y="54"/>
                    <a:pt x="42" y="54"/>
                    <a:pt x="42" y="54"/>
                  </a:cubicBezTo>
                  <a:lnTo>
                    <a:pt x="47" y="54"/>
                  </a:lnTo>
                  <a:close/>
                  <a:moveTo>
                    <a:pt x="40" y="45"/>
                  </a:moveTo>
                  <a:cubicBezTo>
                    <a:pt x="43" y="45"/>
                    <a:pt x="43" y="45"/>
                    <a:pt x="43" y="45"/>
                  </a:cubicBezTo>
                  <a:cubicBezTo>
                    <a:pt x="43" y="46"/>
                    <a:pt x="43" y="46"/>
                    <a:pt x="43" y="46"/>
                  </a:cubicBezTo>
                  <a:cubicBezTo>
                    <a:pt x="40" y="46"/>
                    <a:pt x="40" y="46"/>
                    <a:pt x="40" y="46"/>
                  </a:cubicBezTo>
                  <a:lnTo>
                    <a:pt x="40" y="45"/>
                  </a:lnTo>
                  <a:close/>
                  <a:moveTo>
                    <a:pt x="40" y="47"/>
                  </a:moveTo>
                  <a:cubicBezTo>
                    <a:pt x="43" y="47"/>
                    <a:pt x="43" y="47"/>
                    <a:pt x="43" y="47"/>
                  </a:cubicBezTo>
                  <a:cubicBezTo>
                    <a:pt x="43" y="49"/>
                    <a:pt x="43" y="49"/>
                    <a:pt x="43" y="49"/>
                  </a:cubicBezTo>
                  <a:cubicBezTo>
                    <a:pt x="40" y="49"/>
                    <a:pt x="40" y="49"/>
                    <a:pt x="40" y="49"/>
                  </a:cubicBezTo>
                  <a:lnTo>
                    <a:pt x="40" y="47"/>
                  </a:lnTo>
                  <a:close/>
                  <a:moveTo>
                    <a:pt x="40" y="69"/>
                  </a:moveTo>
                  <a:cubicBezTo>
                    <a:pt x="34" y="69"/>
                    <a:pt x="34" y="69"/>
                    <a:pt x="34" y="69"/>
                  </a:cubicBezTo>
                  <a:cubicBezTo>
                    <a:pt x="34" y="65"/>
                    <a:pt x="34" y="65"/>
                    <a:pt x="34" y="65"/>
                  </a:cubicBezTo>
                  <a:cubicBezTo>
                    <a:pt x="40" y="65"/>
                    <a:pt x="40" y="65"/>
                    <a:pt x="40" y="65"/>
                  </a:cubicBezTo>
                  <a:lnTo>
                    <a:pt x="40" y="69"/>
                  </a:lnTo>
                  <a:close/>
                  <a:moveTo>
                    <a:pt x="39" y="57"/>
                  </a:moveTo>
                  <a:cubicBezTo>
                    <a:pt x="34" y="57"/>
                    <a:pt x="34" y="57"/>
                    <a:pt x="34" y="57"/>
                  </a:cubicBezTo>
                  <a:cubicBezTo>
                    <a:pt x="34" y="54"/>
                    <a:pt x="34" y="54"/>
                    <a:pt x="34" y="54"/>
                  </a:cubicBezTo>
                  <a:cubicBezTo>
                    <a:pt x="39" y="54"/>
                    <a:pt x="39" y="54"/>
                    <a:pt x="39" y="54"/>
                  </a:cubicBezTo>
                  <a:lnTo>
                    <a:pt x="39" y="57"/>
                  </a:lnTo>
                  <a:close/>
                  <a:moveTo>
                    <a:pt x="36" y="45"/>
                  </a:moveTo>
                  <a:cubicBezTo>
                    <a:pt x="39" y="45"/>
                    <a:pt x="39" y="45"/>
                    <a:pt x="39" y="45"/>
                  </a:cubicBezTo>
                  <a:cubicBezTo>
                    <a:pt x="39" y="46"/>
                    <a:pt x="39" y="46"/>
                    <a:pt x="39" y="46"/>
                  </a:cubicBezTo>
                  <a:cubicBezTo>
                    <a:pt x="36" y="46"/>
                    <a:pt x="36" y="46"/>
                    <a:pt x="36" y="46"/>
                  </a:cubicBezTo>
                  <a:lnTo>
                    <a:pt x="36" y="45"/>
                  </a:lnTo>
                  <a:close/>
                  <a:moveTo>
                    <a:pt x="36" y="47"/>
                  </a:moveTo>
                  <a:cubicBezTo>
                    <a:pt x="39" y="47"/>
                    <a:pt x="39" y="47"/>
                    <a:pt x="39" y="47"/>
                  </a:cubicBezTo>
                  <a:cubicBezTo>
                    <a:pt x="39" y="49"/>
                    <a:pt x="39" y="49"/>
                    <a:pt x="39" y="49"/>
                  </a:cubicBezTo>
                  <a:cubicBezTo>
                    <a:pt x="36" y="49"/>
                    <a:pt x="36" y="49"/>
                    <a:pt x="36" y="49"/>
                  </a:cubicBezTo>
                  <a:lnTo>
                    <a:pt x="36" y="47"/>
                  </a:lnTo>
                  <a:close/>
                  <a:moveTo>
                    <a:pt x="32" y="45"/>
                  </a:moveTo>
                  <a:cubicBezTo>
                    <a:pt x="35" y="45"/>
                    <a:pt x="35" y="45"/>
                    <a:pt x="35" y="45"/>
                  </a:cubicBezTo>
                  <a:cubicBezTo>
                    <a:pt x="35" y="46"/>
                    <a:pt x="35" y="46"/>
                    <a:pt x="35" y="46"/>
                  </a:cubicBezTo>
                  <a:cubicBezTo>
                    <a:pt x="32" y="46"/>
                    <a:pt x="32" y="46"/>
                    <a:pt x="32" y="46"/>
                  </a:cubicBezTo>
                  <a:lnTo>
                    <a:pt x="32" y="45"/>
                  </a:lnTo>
                  <a:close/>
                  <a:moveTo>
                    <a:pt x="32" y="47"/>
                  </a:moveTo>
                  <a:cubicBezTo>
                    <a:pt x="35" y="47"/>
                    <a:pt x="35" y="47"/>
                    <a:pt x="35" y="47"/>
                  </a:cubicBezTo>
                  <a:cubicBezTo>
                    <a:pt x="35" y="49"/>
                    <a:pt x="35" y="49"/>
                    <a:pt x="35" y="49"/>
                  </a:cubicBezTo>
                  <a:cubicBezTo>
                    <a:pt x="32" y="49"/>
                    <a:pt x="32" y="49"/>
                    <a:pt x="32" y="49"/>
                  </a:cubicBezTo>
                  <a:lnTo>
                    <a:pt x="32" y="47"/>
                  </a:lnTo>
                  <a:close/>
                  <a:moveTo>
                    <a:pt x="24" y="77"/>
                  </a:moveTo>
                  <a:cubicBezTo>
                    <a:pt x="18" y="77"/>
                    <a:pt x="18" y="77"/>
                    <a:pt x="18" y="77"/>
                  </a:cubicBezTo>
                  <a:cubicBezTo>
                    <a:pt x="18" y="72"/>
                    <a:pt x="18" y="72"/>
                    <a:pt x="18" y="72"/>
                  </a:cubicBezTo>
                  <a:cubicBezTo>
                    <a:pt x="24" y="72"/>
                    <a:pt x="24" y="72"/>
                    <a:pt x="24" y="72"/>
                  </a:cubicBezTo>
                  <a:lnTo>
                    <a:pt x="24" y="77"/>
                  </a:lnTo>
                  <a:close/>
                  <a:moveTo>
                    <a:pt x="32" y="77"/>
                  </a:moveTo>
                  <a:cubicBezTo>
                    <a:pt x="26" y="77"/>
                    <a:pt x="26" y="77"/>
                    <a:pt x="26" y="77"/>
                  </a:cubicBezTo>
                  <a:cubicBezTo>
                    <a:pt x="26" y="72"/>
                    <a:pt x="26" y="72"/>
                    <a:pt x="26" y="72"/>
                  </a:cubicBezTo>
                  <a:cubicBezTo>
                    <a:pt x="32" y="72"/>
                    <a:pt x="32" y="72"/>
                    <a:pt x="32" y="72"/>
                  </a:cubicBezTo>
                  <a:lnTo>
                    <a:pt x="32" y="77"/>
                  </a:lnTo>
                  <a:close/>
                  <a:moveTo>
                    <a:pt x="26" y="61"/>
                  </a:moveTo>
                  <a:cubicBezTo>
                    <a:pt x="26" y="59"/>
                    <a:pt x="26" y="59"/>
                    <a:pt x="26" y="59"/>
                  </a:cubicBezTo>
                  <a:cubicBezTo>
                    <a:pt x="31" y="59"/>
                    <a:pt x="31" y="59"/>
                    <a:pt x="31" y="59"/>
                  </a:cubicBezTo>
                  <a:cubicBezTo>
                    <a:pt x="31" y="61"/>
                    <a:pt x="31" y="61"/>
                    <a:pt x="31" y="61"/>
                  </a:cubicBezTo>
                  <a:lnTo>
                    <a:pt x="26" y="61"/>
                  </a:lnTo>
                  <a:close/>
                  <a:moveTo>
                    <a:pt x="32" y="69"/>
                  </a:moveTo>
                  <a:cubicBezTo>
                    <a:pt x="26" y="69"/>
                    <a:pt x="26" y="69"/>
                    <a:pt x="26" y="69"/>
                  </a:cubicBezTo>
                  <a:cubicBezTo>
                    <a:pt x="26" y="65"/>
                    <a:pt x="26" y="65"/>
                    <a:pt x="26" y="65"/>
                  </a:cubicBezTo>
                  <a:cubicBezTo>
                    <a:pt x="32" y="65"/>
                    <a:pt x="32" y="65"/>
                    <a:pt x="32" y="65"/>
                  </a:cubicBezTo>
                  <a:lnTo>
                    <a:pt x="32" y="69"/>
                  </a:lnTo>
                  <a:close/>
                  <a:moveTo>
                    <a:pt x="31" y="57"/>
                  </a:moveTo>
                  <a:cubicBezTo>
                    <a:pt x="26" y="57"/>
                    <a:pt x="26" y="57"/>
                    <a:pt x="26" y="57"/>
                  </a:cubicBezTo>
                  <a:cubicBezTo>
                    <a:pt x="26" y="54"/>
                    <a:pt x="26" y="54"/>
                    <a:pt x="26" y="54"/>
                  </a:cubicBezTo>
                  <a:cubicBezTo>
                    <a:pt x="31" y="54"/>
                    <a:pt x="31" y="54"/>
                    <a:pt x="31" y="54"/>
                  </a:cubicBezTo>
                  <a:lnTo>
                    <a:pt x="31" y="57"/>
                  </a:lnTo>
                  <a:close/>
                  <a:moveTo>
                    <a:pt x="28" y="45"/>
                  </a:moveTo>
                  <a:cubicBezTo>
                    <a:pt x="31" y="45"/>
                    <a:pt x="31" y="45"/>
                    <a:pt x="31" y="45"/>
                  </a:cubicBezTo>
                  <a:cubicBezTo>
                    <a:pt x="31" y="46"/>
                    <a:pt x="31" y="46"/>
                    <a:pt x="31" y="46"/>
                  </a:cubicBezTo>
                  <a:cubicBezTo>
                    <a:pt x="28" y="46"/>
                    <a:pt x="28" y="46"/>
                    <a:pt x="28" y="46"/>
                  </a:cubicBezTo>
                  <a:lnTo>
                    <a:pt x="28" y="45"/>
                  </a:lnTo>
                  <a:close/>
                  <a:moveTo>
                    <a:pt x="28" y="47"/>
                  </a:moveTo>
                  <a:cubicBezTo>
                    <a:pt x="31" y="47"/>
                    <a:pt x="31" y="47"/>
                    <a:pt x="31" y="47"/>
                  </a:cubicBezTo>
                  <a:cubicBezTo>
                    <a:pt x="31" y="49"/>
                    <a:pt x="31" y="49"/>
                    <a:pt x="31" y="49"/>
                  </a:cubicBezTo>
                  <a:cubicBezTo>
                    <a:pt x="28" y="49"/>
                    <a:pt x="28" y="49"/>
                    <a:pt x="28" y="49"/>
                  </a:cubicBezTo>
                  <a:lnTo>
                    <a:pt x="28" y="47"/>
                  </a:lnTo>
                  <a:close/>
                  <a:moveTo>
                    <a:pt x="24" y="45"/>
                  </a:moveTo>
                  <a:cubicBezTo>
                    <a:pt x="27" y="45"/>
                    <a:pt x="27" y="45"/>
                    <a:pt x="27" y="45"/>
                  </a:cubicBezTo>
                  <a:cubicBezTo>
                    <a:pt x="27" y="46"/>
                    <a:pt x="27" y="46"/>
                    <a:pt x="27" y="46"/>
                  </a:cubicBezTo>
                  <a:cubicBezTo>
                    <a:pt x="24" y="46"/>
                    <a:pt x="24" y="46"/>
                    <a:pt x="24" y="46"/>
                  </a:cubicBezTo>
                  <a:lnTo>
                    <a:pt x="24" y="45"/>
                  </a:lnTo>
                  <a:close/>
                  <a:moveTo>
                    <a:pt x="24" y="47"/>
                  </a:moveTo>
                  <a:cubicBezTo>
                    <a:pt x="27" y="47"/>
                    <a:pt x="27" y="47"/>
                    <a:pt x="27" y="47"/>
                  </a:cubicBezTo>
                  <a:cubicBezTo>
                    <a:pt x="27" y="49"/>
                    <a:pt x="27" y="49"/>
                    <a:pt x="27" y="49"/>
                  </a:cubicBezTo>
                  <a:cubicBezTo>
                    <a:pt x="24" y="49"/>
                    <a:pt x="24" y="49"/>
                    <a:pt x="24" y="49"/>
                  </a:cubicBezTo>
                  <a:lnTo>
                    <a:pt x="24" y="47"/>
                  </a:lnTo>
                  <a:close/>
                  <a:moveTo>
                    <a:pt x="24" y="65"/>
                  </a:moveTo>
                  <a:cubicBezTo>
                    <a:pt x="24" y="69"/>
                    <a:pt x="24" y="69"/>
                    <a:pt x="24" y="69"/>
                  </a:cubicBezTo>
                  <a:cubicBezTo>
                    <a:pt x="18" y="69"/>
                    <a:pt x="18" y="69"/>
                    <a:pt x="18" y="69"/>
                  </a:cubicBezTo>
                  <a:cubicBezTo>
                    <a:pt x="18" y="65"/>
                    <a:pt x="18" y="65"/>
                    <a:pt x="18" y="65"/>
                  </a:cubicBezTo>
                  <a:lnTo>
                    <a:pt x="24" y="65"/>
                  </a:lnTo>
                  <a:close/>
                  <a:moveTo>
                    <a:pt x="18" y="54"/>
                  </a:moveTo>
                  <a:cubicBezTo>
                    <a:pt x="23" y="54"/>
                    <a:pt x="23" y="54"/>
                    <a:pt x="23" y="54"/>
                  </a:cubicBezTo>
                  <a:cubicBezTo>
                    <a:pt x="23" y="57"/>
                    <a:pt x="23" y="57"/>
                    <a:pt x="23" y="57"/>
                  </a:cubicBezTo>
                  <a:cubicBezTo>
                    <a:pt x="18" y="57"/>
                    <a:pt x="18" y="57"/>
                    <a:pt x="18" y="57"/>
                  </a:cubicBezTo>
                  <a:lnTo>
                    <a:pt x="18" y="54"/>
                  </a:lnTo>
                  <a:close/>
                  <a:moveTo>
                    <a:pt x="18" y="59"/>
                  </a:moveTo>
                  <a:cubicBezTo>
                    <a:pt x="23" y="59"/>
                    <a:pt x="23" y="59"/>
                    <a:pt x="23" y="59"/>
                  </a:cubicBezTo>
                  <a:cubicBezTo>
                    <a:pt x="23" y="61"/>
                    <a:pt x="23" y="61"/>
                    <a:pt x="23" y="61"/>
                  </a:cubicBezTo>
                  <a:cubicBezTo>
                    <a:pt x="18" y="61"/>
                    <a:pt x="18" y="61"/>
                    <a:pt x="18" y="61"/>
                  </a:cubicBezTo>
                  <a:lnTo>
                    <a:pt x="18" y="59"/>
                  </a:lnTo>
                  <a:close/>
                  <a:moveTo>
                    <a:pt x="16" y="77"/>
                  </a:moveTo>
                  <a:cubicBezTo>
                    <a:pt x="10" y="77"/>
                    <a:pt x="10" y="77"/>
                    <a:pt x="10" y="77"/>
                  </a:cubicBezTo>
                  <a:cubicBezTo>
                    <a:pt x="10" y="72"/>
                    <a:pt x="10" y="72"/>
                    <a:pt x="10" y="72"/>
                  </a:cubicBezTo>
                  <a:cubicBezTo>
                    <a:pt x="16" y="72"/>
                    <a:pt x="16" y="72"/>
                    <a:pt x="16" y="72"/>
                  </a:cubicBezTo>
                  <a:lnTo>
                    <a:pt x="16" y="77"/>
                  </a:lnTo>
                  <a:close/>
                  <a:moveTo>
                    <a:pt x="16" y="69"/>
                  </a:moveTo>
                  <a:cubicBezTo>
                    <a:pt x="10" y="69"/>
                    <a:pt x="10" y="69"/>
                    <a:pt x="10" y="69"/>
                  </a:cubicBezTo>
                  <a:cubicBezTo>
                    <a:pt x="10" y="65"/>
                    <a:pt x="10" y="65"/>
                    <a:pt x="10" y="65"/>
                  </a:cubicBezTo>
                  <a:cubicBezTo>
                    <a:pt x="16" y="65"/>
                    <a:pt x="16" y="65"/>
                    <a:pt x="16" y="65"/>
                  </a:cubicBezTo>
                  <a:lnTo>
                    <a:pt x="16" y="69"/>
                  </a:lnTo>
                  <a:close/>
                  <a:moveTo>
                    <a:pt x="9" y="54"/>
                  </a:moveTo>
                  <a:cubicBezTo>
                    <a:pt x="15" y="54"/>
                    <a:pt x="15" y="54"/>
                    <a:pt x="15" y="54"/>
                  </a:cubicBezTo>
                  <a:cubicBezTo>
                    <a:pt x="15" y="57"/>
                    <a:pt x="15" y="57"/>
                    <a:pt x="15" y="57"/>
                  </a:cubicBezTo>
                  <a:cubicBezTo>
                    <a:pt x="9" y="57"/>
                    <a:pt x="9" y="57"/>
                    <a:pt x="9" y="57"/>
                  </a:cubicBezTo>
                  <a:lnTo>
                    <a:pt x="9" y="54"/>
                  </a:lnTo>
                  <a:close/>
                  <a:moveTo>
                    <a:pt x="9" y="59"/>
                  </a:moveTo>
                  <a:cubicBezTo>
                    <a:pt x="15" y="59"/>
                    <a:pt x="15" y="59"/>
                    <a:pt x="15" y="59"/>
                  </a:cubicBezTo>
                  <a:cubicBezTo>
                    <a:pt x="15" y="61"/>
                    <a:pt x="15" y="61"/>
                    <a:pt x="15" y="61"/>
                  </a:cubicBezTo>
                  <a:cubicBezTo>
                    <a:pt x="9" y="61"/>
                    <a:pt x="9" y="61"/>
                    <a:pt x="9" y="61"/>
                  </a:cubicBezTo>
                  <a:lnTo>
                    <a:pt x="9"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8" name="Freeform 8"/>
            <p:cNvSpPr>
              <a:spLocks noEditPoints="1"/>
            </p:cNvSpPr>
            <p:nvPr/>
          </p:nvSpPr>
          <p:spPr bwMode="auto">
            <a:xfrm>
              <a:off x="3384551" y="4573588"/>
              <a:ext cx="1817688" cy="919163"/>
            </a:xfrm>
            <a:custGeom>
              <a:avLst/>
              <a:gdLst>
                <a:gd name="T0" fmla="*/ 76 w 83"/>
                <a:gd name="T1" fmla="*/ 4 h 42"/>
                <a:gd name="T2" fmla="*/ 68 w 83"/>
                <a:gd name="T3" fmla="*/ 2 h 42"/>
                <a:gd name="T4" fmla="*/ 66 w 83"/>
                <a:gd name="T5" fmla="*/ 2 h 42"/>
                <a:gd name="T6" fmla="*/ 56 w 83"/>
                <a:gd name="T7" fmla="*/ 6 h 42"/>
                <a:gd name="T8" fmla="*/ 47 w 83"/>
                <a:gd name="T9" fmla="*/ 6 h 42"/>
                <a:gd name="T10" fmla="*/ 41 w 83"/>
                <a:gd name="T11" fmla="*/ 7 h 42"/>
                <a:gd name="T12" fmla="*/ 36 w 83"/>
                <a:gd name="T13" fmla="*/ 7 h 42"/>
                <a:gd name="T14" fmla="*/ 31 w 83"/>
                <a:gd name="T15" fmla="*/ 6 h 42"/>
                <a:gd name="T16" fmla="*/ 26 w 83"/>
                <a:gd name="T17" fmla="*/ 9 h 42"/>
                <a:gd name="T18" fmla="*/ 19 w 83"/>
                <a:gd name="T19" fmla="*/ 9 h 42"/>
                <a:gd name="T20" fmla="*/ 15 w 83"/>
                <a:gd name="T21" fmla="*/ 15 h 42"/>
                <a:gd name="T22" fmla="*/ 10 w 83"/>
                <a:gd name="T23" fmla="*/ 16 h 42"/>
                <a:gd name="T24" fmla="*/ 5 w 83"/>
                <a:gd name="T25" fmla="*/ 20 h 42"/>
                <a:gd name="T26" fmla="*/ 5 w 83"/>
                <a:gd name="T27" fmla="*/ 21 h 42"/>
                <a:gd name="T28" fmla="*/ 2 w 83"/>
                <a:gd name="T29" fmla="*/ 28 h 42"/>
                <a:gd name="T30" fmla="*/ 2 w 83"/>
                <a:gd name="T31" fmla="*/ 34 h 42"/>
                <a:gd name="T32" fmla="*/ 1 w 83"/>
                <a:gd name="T33" fmla="*/ 39 h 42"/>
                <a:gd name="T34" fmla="*/ 8 w 83"/>
                <a:gd name="T35" fmla="*/ 37 h 42"/>
                <a:gd name="T36" fmla="*/ 10 w 83"/>
                <a:gd name="T37" fmla="*/ 32 h 42"/>
                <a:gd name="T38" fmla="*/ 13 w 83"/>
                <a:gd name="T39" fmla="*/ 25 h 42"/>
                <a:gd name="T40" fmla="*/ 14 w 83"/>
                <a:gd name="T41" fmla="*/ 25 h 42"/>
                <a:gd name="T42" fmla="*/ 23 w 83"/>
                <a:gd name="T43" fmla="*/ 20 h 42"/>
                <a:gd name="T44" fmla="*/ 27 w 83"/>
                <a:gd name="T45" fmla="*/ 21 h 42"/>
                <a:gd name="T46" fmla="*/ 23 w 83"/>
                <a:gd name="T47" fmla="*/ 27 h 42"/>
                <a:gd name="T48" fmla="*/ 24 w 83"/>
                <a:gd name="T49" fmla="*/ 30 h 42"/>
                <a:gd name="T50" fmla="*/ 27 w 83"/>
                <a:gd name="T51" fmla="*/ 41 h 42"/>
                <a:gd name="T52" fmla="*/ 36 w 83"/>
                <a:gd name="T53" fmla="*/ 30 h 42"/>
                <a:gd name="T54" fmla="*/ 43 w 83"/>
                <a:gd name="T55" fmla="*/ 26 h 42"/>
                <a:gd name="T56" fmla="*/ 43 w 83"/>
                <a:gd name="T57" fmla="*/ 21 h 42"/>
                <a:gd name="T58" fmla="*/ 52 w 83"/>
                <a:gd name="T59" fmla="*/ 20 h 42"/>
                <a:gd name="T60" fmla="*/ 59 w 83"/>
                <a:gd name="T61" fmla="*/ 19 h 42"/>
                <a:gd name="T62" fmla="*/ 69 w 83"/>
                <a:gd name="T63" fmla="*/ 15 h 42"/>
                <a:gd name="T64" fmla="*/ 75 w 83"/>
                <a:gd name="T65" fmla="*/ 11 h 42"/>
                <a:gd name="T66" fmla="*/ 81 w 83"/>
                <a:gd name="T67" fmla="*/ 5 h 42"/>
                <a:gd name="T68" fmla="*/ 35 w 83"/>
                <a:gd name="T69" fmla="*/ 13 h 42"/>
                <a:gd name="T70" fmla="*/ 34 w 83"/>
                <a:gd name="T71"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3" h="42">
                  <a:moveTo>
                    <a:pt x="81" y="5"/>
                  </a:moveTo>
                  <a:cubicBezTo>
                    <a:pt x="80" y="4"/>
                    <a:pt x="78" y="3"/>
                    <a:pt x="76" y="4"/>
                  </a:cubicBezTo>
                  <a:cubicBezTo>
                    <a:pt x="76" y="3"/>
                    <a:pt x="76" y="3"/>
                    <a:pt x="76" y="2"/>
                  </a:cubicBezTo>
                  <a:cubicBezTo>
                    <a:pt x="74" y="0"/>
                    <a:pt x="70" y="0"/>
                    <a:pt x="68" y="2"/>
                  </a:cubicBezTo>
                  <a:cubicBezTo>
                    <a:pt x="68" y="2"/>
                    <a:pt x="67" y="3"/>
                    <a:pt x="67" y="4"/>
                  </a:cubicBezTo>
                  <a:cubicBezTo>
                    <a:pt x="67" y="3"/>
                    <a:pt x="66" y="3"/>
                    <a:pt x="66" y="2"/>
                  </a:cubicBezTo>
                  <a:cubicBezTo>
                    <a:pt x="64" y="0"/>
                    <a:pt x="60" y="0"/>
                    <a:pt x="58" y="2"/>
                  </a:cubicBezTo>
                  <a:cubicBezTo>
                    <a:pt x="57" y="3"/>
                    <a:pt x="56" y="4"/>
                    <a:pt x="56" y="6"/>
                  </a:cubicBezTo>
                  <a:cubicBezTo>
                    <a:pt x="54" y="5"/>
                    <a:pt x="51" y="6"/>
                    <a:pt x="50" y="8"/>
                  </a:cubicBezTo>
                  <a:cubicBezTo>
                    <a:pt x="49" y="7"/>
                    <a:pt x="48" y="6"/>
                    <a:pt x="47" y="6"/>
                  </a:cubicBezTo>
                  <a:cubicBezTo>
                    <a:pt x="45" y="6"/>
                    <a:pt x="44" y="6"/>
                    <a:pt x="42" y="8"/>
                  </a:cubicBezTo>
                  <a:cubicBezTo>
                    <a:pt x="42" y="7"/>
                    <a:pt x="41" y="7"/>
                    <a:pt x="41" y="7"/>
                  </a:cubicBezTo>
                  <a:cubicBezTo>
                    <a:pt x="39" y="6"/>
                    <a:pt x="38" y="7"/>
                    <a:pt x="36" y="8"/>
                  </a:cubicBezTo>
                  <a:cubicBezTo>
                    <a:pt x="36" y="8"/>
                    <a:pt x="36" y="7"/>
                    <a:pt x="36" y="7"/>
                  </a:cubicBezTo>
                  <a:cubicBezTo>
                    <a:pt x="35" y="6"/>
                    <a:pt x="33" y="6"/>
                    <a:pt x="32" y="7"/>
                  </a:cubicBezTo>
                  <a:cubicBezTo>
                    <a:pt x="32" y="7"/>
                    <a:pt x="32" y="6"/>
                    <a:pt x="31" y="6"/>
                  </a:cubicBezTo>
                  <a:cubicBezTo>
                    <a:pt x="30" y="5"/>
                    <a:pt x="27" y="6"/>
                    <a:pt x="26" y="7"/>
                  </a:cubicBezTo>
                  <a:cubicBezTo>
                    <a:pt x="26" y="8"/>
                    <a:pt x="26" y="8"/>
                    <a:pt x="26" y="9"/>
                  </a:cubicBezTo>
                  <a:cubicBezTo>
                    <a:pt x="25" y="9"/>
                    <a:pt x="25" y="8"/>
                    <a:pt x="25" y="8"/>
                  </a:cubicBezTo>
                  <a:cubicBezTo>
                    <a:pt x="23" y="7"/>
                    <a:pt x="21" y="8"/>
                    <a:pt x="19" y="9"/>
                  </a:cubicBezTo>
                  <a:cubicBezTo>
                    <a:pt x="19" y="10"/>
                    <a:pt x="19" y="11"/>
                    <a:pt x="19" y="12"/>
                  </a:cubicBezTo>
                  <a:cubicBezTo>
                    <a:pt x="17" y="12"/>
                    <a:pt x="16" y="13"/>
                    <a:pt x="15" y="15"/>
                  </a:cubicBezTo>
                  <a:cubicBezTo>
                    <a:pt x="15" y="14"/>
                    <a:pt x="14" y="14"/>
                    <a:pt x="13" y="14"/>
                  </a:cubicBezTo>
                  <a:cubicBezTo>
                    <a:pt x="12" y="14"/>
                    <a:pt x="10" y="15"/>
                    <a:pt x="10" y="16"/>
                  </a:cubicBezTo>
                  <a:cubicBezTo>
                    <a:pt x="10" y="16"/>
                    <a:pt x="9" y="16"/>
                    <a:pt x="9" y="16"/>
                  </a:cubicBezTo>
                  <a:cubicBezTo>
                    <a:pt x="7" y="16"/>
                    <a:pt x="5" y="18"/>
                    <a:pt x="5" y="20"/>
                  </a:cubicBezTo>
                  <a:cubicBezTo>
                    <a:pt x="5" y="20"/>
                    <a:pt x="5" y="21"/>
                    <a:pt x="6" y="21"/>
                  </a:cubicBezTo>
                  <a:cubicBezTo>
                    <a:pt x="5" y="21"/>
                    <a:pt x="5" y="21"/>
                    <a:pt x="5" y="21"/>
                  </a:cubicBezTo>
                  <a:cubicBezTo>
                    <a:pt x="2" y="21"/>
                    <a:pt x="1" y="23"/>
                    <a:pt x="1" y="25"/>
                  </a:cubicBezTo>
                  <a:cubicBezTo>
                    <a:pt x="1" y="26"/>
                    <a:pt x="1" y="27"/>
                    <a:pt x="2" y="28"/>
                  </a:cubicBezTo>
                  <a:cubicBezTo>
                    <a:pt x="1" y="29"/>
                    <a:pt x="0" y="31"/>
                    <a:pt x="1" y="32"/>
                  </a:cubicBezTo>
                  <a:cubicBezTo>
                    <a:pt x="1" y="33"/>
                    <a:pt x="1" y="34"/>
                    <a:pt x="2" y="34"/>
                  </a:cubicBezTo>
                  <a:cubicBezTo>
                    <a:pt x="2" y="34"/>
                    <a:pt x="2" y="35"/>
                    <a:pt x="2" y="35"/>
                  </a:cubicBezTo>
                  <a:cubicBezTo>
                    <a:pt x="1" y="36"/>
                    <a:pt x="0" y="38"/>
                    <a:pt x="1" y="39"/>
                  </a:cubicBezTo>
                  <a:cubicBezTo>
                    <a:pt x="1" y="41"/>
                    <a:pt x="4" y="42"/>
                    <a:pt x="6" y="41"/>
                  </a:cubicBezTo>
                  <a:cubicBezTo>
                    <a:pt x="7" y="41"/>
                    <a:pt x="8" y="39"/>
                    <a:pt x="8" y="37"/>
                  </a:cubicBezTo>
                  <a:cubicBezTo>
                    <a:pt x="9" y="36"/>
                    <a:pt x="10" y="34"/>
                    <a:pt x="10" y="32"/>
                  </a:cubicBezTo>
                  <a:cubicBezTo>
                    <a:pt x="10" y="32"/>
                    <a:pt x="10" y="32"/>
                    <a:pt x="10" y="32"/>
                  </a:cubicBezTo>
                  <a:cubicBezTo>
                    <a:pt x="12" y="32"/>
                    <a:pt x="14" y="30"/>
                    <a:pt x="14" y="28"/>
                  </a:cubicBezTo>
                  <a:cubicBezTo>
                    <a:pt x="14" y="27"/>
                    <a:pt x="13" y="26"/>
                    <a:pt x="13" y="25"/>
                  </a:cubicBezTo>
                  <a:cubicBezTo>
                    <a:pt x="13" y="25"/>
                    <a:pt x="13" y="25"/>
                    <a:pt x="13" y="25"/>
                  </a:cubicBezTo>
                  <a:cubicBezTo>
                    <a:pt x="13" y="25"/>
                    <a:pt x="14" y="25"/>
                    <a:pt x="14" y="25"/>
                  </a:cubicBezTo>
                  <a:cubicBezTo>
                    <a:pt x="16" y="26"/>
                    <a:pt x="18" y="25"/>
                    <a:pt x="19" y="23"/>
                  </a:cubicBezTo>
                  <a:cubicBezTo>
                    <a:pt x="20" y="23"/>
                    <a:pt x="22" y="22"/>
                    <a:pt x="23" y="20"/>
                  </a:cubicBezTo>
                  <a:cubicBezTo>
                    <a:pt x="23" y="20"/>
                    <a:pt x="23" y="20"/>
                    <a:pt x="23" y="20"/>
                  </a:cubicBezTo>
                  <a:cubicBezTo>
                    <a:pt x="24" y="21"/>
                    <a:pt x="26" y="21"/>
                    <a:pt x="27" y="21"/>
                  </a:cubicBezTo>
                  <a:cubicBezTo>
                    <a:pt x="27" y="21"/>
                    <a:pt x="27" y="21"/>
                    <a:pt x="27" y="21"/>
                  </a:cubicBezTo>
                  <a:cubicBezTo>
                    <a:pt x="25" y="22"/>
                    <a:pt x="23" y="24"/>
                    <a:pt x="23" y="27"/>
                  </a:cubicBezTo>
                  <a:cubicBezTo>
                    <a:pt x="23" y="28"/>
                    <a:pt x="24" y="28"/>
                    <a:pt x="24" y="29"/>
                  </a:cubicBezTo>
                  <a:cubicBezTo>
                    <a:pt x="24" y="30"/>
                    <a:pt x="24" y="30"/>
                    <a:pt x="24" y="30"/>
                  </a:cubicBezTo>
                  <a:cubicBezTo>
                    <a:pt x="22" y="31"/>
                    <a:pt x="21" y="34"/>
                    <a:pt x="21" y="36"/>
                  </a:cubicBezTo>
                  <a:cubicBezTo>
                    <a:pt x="21" y="39"/>
                    <a:pt x="24" y="41"/>
                    <a:pt x="27" y="41"/>
                  </a:cubicBezTo>
                  <a:cubicBezTo>
                    <a:pt x="30" y="41"/>
                    <a:pt x="32" y="38"/>
                    <a:pt x="32" y="36"/>
                  </a:cubicBezTo>
                  <a:cubicBezTo>
                    <a:pt x="34" y="35"/>
                    <a:pt x="36" y="32"/>
                    <a:pt x="36" y="30"/>
                  </a:cubicBezTo>
                  <a:cubicBezTo>
                    <a:pt x="36" y="30"/>
                    <a:pt x="36" y="30"/>
                    <a:pt x="37" y="30"/>
                  </a:cubicBezTo>
                  <a:cubicBezTo>
                    <a:pt x="40" y="31"/>
                    <a:pt x="43" y="29"/>
                    <a:pt x="43" y="26"/>
                  </a:cubicBezTo>
                  <a:cubicBezTo>
                    <a:pt x="44" y="24"/>
                    <a:pt x="44" y="22"/>
                    <a:pt x="43" y="21"/>
                  </a:cubicBezTo>
                  <a:cubicBezTo>
                    <a:pt x="43" y="21"/>
                    <a:pt x="43" y="21"/>
                    <a:pt x="43" y="21"/>
                  </a:cubicBezTo>
                  <a:cubicBezTo>
                    <a:pt x="43" y="21"/>
                    <a:pt x="44" y="22"/>
                    <a:pt x="45" y="22"/>
                  </a:cubicBezTo>
                  <a:cubicBezTo>
                    <a:pt x="47" y="23"/>
                    <a:pt x="50" y="23"/>
                    <a:pt x="52" y="20"/>
                  </a:cubicBezTo>
                  <a:cubicBezTo>
                    <a:pt x="54" y="21"/>
                    <a:pt x="57" y="20"/>
                    <a:pt x="58" y="18"/>
                  </a:cubicBezTo>
                  <a:cubicBezTo>
                    <a:pt x="59" y="18"/>
                    <a:pt x="59" y="18"/>
                    <a:pt x="59" y="19"/>
                  </a:cubicBezTo>
                  <a:cubicBezTo>
                    <a:pt x="61" y="21"/>
                    <a:pt x="65" y="21"/>
                    <a:pt x="67" y="19"/>
                  </a:cubicBezTo>
                  <a:cubicBezTo>
                    <a:pt x="68" y="18"/>
                    <a:pt x="69" y="16"/>
                    <a:pt x="69" y="15"/>
                  </a:cubicBezTo>
                  <a:cubicBezTo>
                    <a:pt x="70" y="15"/>
                    <a:pt x="72" y="14"/>
                    <a:pt x="73" y="13"/>
                  </a:cubicBezTo>
                  <a:cubicBezTo>
                    <a:pt x="74" y="13"/>
                    <a:pt x="74" y="12"/>
                    <a:pt x="75" y="11"/>
                  </a:cubicBezTo>
                  <a:cubicBezTo>
                    <a:pt x="76" y="13"/>
                    <a:pt x="79" y="13"/>
                    <a:pt x="81" y="11"/>
                  </a:cubicBezTo>
                  <a:cubicBezTo>
                    <a:pt x="83" y="10"/>
                    <a:pt x="83" y="7"/>
                    <a:pt x="81" y="5"/>
                  </a:cubicBezTo>
                  <a:close/>
                  <a:moveTo>
                    <a:pt x="34" y="13"/>
                  </a:moveTo>
                  <a:cubicBezTo>
                    <a:pt x="34" y="13"/>
                    <a:pt x="34" y="13"/>
                    <a:pt x="35" y="13"/>
                  </a:cubicBezTo>
                  <a:cubicBezTo>
                    <a:pt x="35" y="13"/>
                    <a:pt x="35" y="13"/>
                    <a:pt x="35" y="13"/>
                  </a:cubicBezTo>
                  <a:cubicBezTo>
                    <a:pt x="34" y="13"/>
                    <a:pt x="34" y="13"/>
                    <a:pt x="3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9" name="Freeform 9"/>
            <p:cNvSpPr>
              <a:spLocks/>
            </p:cNvSpPr>
            <p:nvPr/>
          </p:nvSpPr>
          <p:spPr bwMode="auto">
            <a:xfrm>
              <a:off x="4260851" y="5032375"/>
              <a:ext cx="876300" cy="438150"/>
            </a:xfrm>
            <a:custGeom>
              <a:avLst/>
              <a:gdLst>
                <a:gd name="T0" fmla="*/ 36 w 40"/>
                <a:gd name="T1" fmla="*/ 4 h 20"/>
                <a:gd name="T2" fmla="*/ 36 w 40"/>
                <a:gd name="T3" fmla="*/ 3 h 20"/>
                <a:gd name="T4" fmla="*/ 32 w 40"/>
                <a:gd name="T5" fmla="*/ 2 h 20"/>
                <a:gd name="T6" fmla="*/ 31 w 40"/>
                <a:gd name="T7" fmla="*/ 3 h 20"/>
                <a:gd name="T8" fmla="*/ 30 w 40"/>
                <a:gd name="T9" fmla="*/ 2 h 20"/>
                <a:gd name="T10" fmla="*/ 26 w 40"/>
                <a:gd name="T11" fmla="*/ 1 h 20"/>
                <a:gd name="T12" fmla="*/ 24 w 40"/>
                <a:gd name="T13" fmla="*/ 3 h 20"/>
                <a:gd name="T14" fmla="*/ 20 w 40"/>
                <a:gd name="T15" fmla="*/ 4 h 20"/>
                <a:gd name="T16" fmla="*/ 19 w 40"/>
                <a:gd name="T17" fmla="*/ 2 h 20"/>
                <a:gd name="T18" fmla="*/ 16 w 40"/>
                <a:gd name="T19" fmla="*/ 2 h 20"/>
                <a:gd name="T20" fmla="*/ 15 w 40"/>
                <a:gd name="T21" fmla="*/ 2 h 20"/>
                <a:gd name="T22" fmla="*/ 11 w 40"/>
                <a:gd name="T23" fmla="*/ 3 h 20"/>
                <a:gd name="T24" fmla="*/ 11 w 40"/>
                <a:gd name="T25" fmla="*/ 5 h 20"/>
                <a:gd name="T26" fmla="*/ 10 w 40"/>
                <a:gd name="T27" fmla="*/ 4 h 20"/>
                <a:gd name="T28" fmla="*/ 5 w 40"/>
                <a:gd name="T29" fmla="*/ 6 h 20"/>
                <a:gd name="T30" fmla="*/ 5 w 40"/>
                <a:gd name="T31" fmla="*/ 9 h 20"/>
                <a:gd name="T32" fmla="*/ 2 w 40"/>
                <a:gd name="T33" fmla="*/ 11 h 20"/>
                <a:gd name="T34" fmla="*/ 3 w 40"/>
                <a:gd name="T35" fmla="*/ 13 h 20"/>
                <a:gd name="T36" fmla="*/ 3 w 40"/>
                <a:gd name="T37" fmla="*/ 14 h 20"/>
                <a:gd name="T38" fmla="*/ 0 w 40"/>
                <a:gd name="T39" fmla="*/ 17 h 20"/>
                <a:gd name="T40" fmla="*/ 3 w 40"/>
                <a:gd name="T41" fmla="*/ 20 h 20"/>
                <a:gd name="T42" fmla="*/ 6 w 40"/>
                <a:gd name="T43" fmla="*/ 18 h 20"/>
                <a:gd name="T44" fmla="*/ 9 w 40"/>
                <a:gd name="T45" fmla="*/ 15 h 20"/>
                <a:gd name="T46" fmla="*/ 10 w 40"/>
                <a:gd name="T47" fmla="*/ 15 h 20"/>
                <a:gd name="T48" fmla="*/ 14 w 40"/>
                <a:gd name="T49" fmla="*/ 13 h 20"/>
                <a:gd name="T50" fmla="*/ 14 w 40"/>
                <a:gd name="T51" fmla="*/ 10 h 20"/>
                <a:gd name="T52" fmla="*/ 15 w 40"/>
                <a:gd name="T53" fmla="*/ 10 h 20"/>
                <a:gd name="T54" fmla="*/ 15 w 40"/>
                <a:gd name="T55" fmla="*/ 11 h 20"/>
                <a:gd name="T56" fmla="*/ 20 w 40"/>
                <a:gd name="T57" fmla="*/ 11 h 20"/>
                <a:gd name="T58" fmla="*/ 24 w 40"/>
                <a:gd name="T59" fmla="*/ 10 h 20"/>
                <a:gd name="T60" fmla="*/ 24 w 40"/>
                <a:gd name="T61" fmla="*/ 11 h 20"/>
                <a:gd name="T62" fmla="*/ 29 w 40"/>
                <a:gd name="T63" fmla="*/ 12 h 20"/>
                <a:gd name="T64" fmla="*/ 31 w 40"/>
                <a:gd name="T65" fmla="*/ 10 h 20"/>
                <a:gd name="T66" fmla="*/ 33 w 40"/>
                <a:gd name="T67" fmla="*/ 9 h 20"/>
                <a:gd name="T68" fmla="*/ 34 w 40"/>
                <a:gd name="T69" fmla="*/ 8 h 20"/>
                <a:gd name="T70" fmla="*/ 38 w 40"/>
                <a:gd name="T71" fmla="*/ 9 h 20"/>
                <a:gd name="T72" fmla="*/ 39 w 40"/>
                <a:gd name="T73" fmla="*/ 5 h 20"/>
                <a:gd name="T74" fmla="*/ 36 w 40"/>
                <a:gd name="T75"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20">
                  <a:moveTo>
                    <a:pt x="36" y="4"/>
                  </a:moveTo>
                  <a:cubicBezTo>
                    <a:pt x="36" y="4"/>
                    <a:pt x="36" y="3"/>
                    <a:pt x="36" y="3"/>
                  </a:cubicBezTo>
                  <a:cubicBezTo>
                    <a:pt x="35" y="2"/>
                    <a:pt x="33" y="1"/>
                    <a:pt x="32" y="2"/>
                  </a:cubicBezTo>
                  <a:cubicBezTo>
                    <a:pt x="31" y="2"/>
                    <a:pt x="31" y="3"/>
                    <a:pt x="31" y="3"/>
                  </a:cubicBezTo>
                  <a:cubicBezTo>
                    <a:pt x="31" y="3"/>
                    <a:pt x="30" y="2"/>
                    <a:pt x="30" y="2"/>
                  </a:cubicBezTo>
                  <a:cubicBezTo>
                    <a:pt x="29" y="1"/>
                    <a:pt x="27" y="0"/>
                    <a:pt x="26" y="1"/>
                  </a:cubicBezTo>
                  <a:cubicBezTo>
                    <a:pt x="25" y="1"/>
                    <a:pt x="24" y="2"/>
                    <a:pt x="24" y="3"/>
                  </a:cubicBezTo>
                  <a:cubicBezTo>
                    <a:pt x="23" y="2"/>
                    <a:pt x="21" y="3"/>
                    <a:pt x="20" y="4"/>
                  </a:cubicBezTo>
                  <a:cubicBezTo>
                    <a:pt x="20" y="3"/>
                    <a:pt x="20" y="2"/>
                    <a:pt x="19" y="2"/>
                  </a:cubicBezTo>
                  <a:cubicBezTo>
                    <a:pt x="18" y="2"/>
                    <a:pt x="17" y="2"/>
                    <a:pt x="16" y="2"/>
                  </a:cubicBezTo>
                  <a:cubicBezTo>
                    <a:pt x="16" y="2"/>
                    <a:pt x="15" y="2"/>
                    <a:pt x="15" y="2"/>
                  </a:cubicBezTo>
                  <a:cubicBezTo>
                    <a:pt x="13" y="1"/>
                    <a:pt x="12" y="2"/>
                    <a:pt x="11" y="3"/>
                  </a:cubicBezTo>
                  <a:cubicBezTo>
                    <a:pt x="11" y="4"/>
                    <a:pt x="11" y="4"/>
                    <a:pt x="11" y="5"/>
                  </a:cubicBezTo>
                  <a:cubicBezTo>
                    <a:pt x="10" y="5"/>
                    <a:pt x="10" y="4"/>
                    <a:pt x="10" y="4"/>
                  </a:cubicBezTo>
                  <a:cubicBezTo>
                    <a:pt x="8" y="3"/>
                    <a:pt x="6" y="4"/>
                    <a:pt x="5" y="6"/>
                  </a:cubicBezTo>
                  <a:cubicBezTo>
                    <a:pt x="5" y="7"/>
                    <a:pt x="5" y="8"/>
                    <a:pt x="5" y="9"/>
                  </a:cubicBezTo>
                  <a:cubicBezTo>
                    <a:pt x="4" y="9"/>
                    <a:pt x="3" y="10"/>
                    <a:pt x="2" y="11"/>
                  </a:cubicBezTo>
                  <a:cubicBezTo>
                    <a:pt x="2" y="12"/>
                    <a:pt x="3" y="12"/>
                    <a:pt x="3" y="13"/>
                  </a:cubicBezTo>
                  <a:cubicBezTo>
                    <a:pt x="3" y="13"/>
                    <a:pt x="3" y="13"/>
                    <a:pt x="3" y="14"/>
                  </a:cubicBezTo>
                  <a:cubicBezTo>
                    <a:pt x="1" y="14"/>
                    <a:pt x="0" y="15"/>
                    <a:pt x="0" y="17"/>
                  </a:cubicBezTo>
                  <a:cubicBezTo>
                    <a:pt x="0" y="18"/>
                    <a:pt x="1" y="20"/>
                    <a:pt x="3" y="20"/>
                  </a:cubicBezTo>
                  <a:cubicBezTo>
                    <a:pt x="4" y="20"/>
                    <a:pt x="6" y="19"/>
                    <a:pt x="6" y="18"/>
                  </a:cubicBezTo>
                  <a:cubicBezTo>
                    <a:pt x="8" y="17"/>
                    <a:pt x="9" y="16"/>
                    <a:pt x="9" y="15"/>
                  </a:cubicBezTo>
                  <a:cubicBezTo>
                    <a:pt x="9" y="15"/>
                    <a:pt x="10" y="15"/>
                    <a:pt x="10" y="15"/>
                  </a:cubicBezTo>
                  <a:cubicBezTo>
                    <a:pt x="11" y="16"/>
                    <a:pt x="14" y="15"/>
                    <a:pt x="14" y="13"/>
                  </a:cubicBezTo>
                  <a:cubicBezTo>
                    <a:pt x="15" y="12"/>
                    <a:pt x="15" y="11"/>
                    <a:pt x="14" y="10"/>
                  </a:cubicBezTo>
                  <a:cubicBezTo>
                    <a:pt x="14" y="10"/>
                    <a:pt x="15" y="10"/>
                    <a:pt x="15" y="10"/>
                  </a:cubicBezTo>
                  <a:cubicBezTo>
                    <a:pt x="15" y="11"/>
                    <a:pt x="15" y="11"/>
                    <a:pt x="15" y="11"/>
                  </a:cubicBezTo>
                  <a:cubicBezTo>
                    <a:pt x="17" y="12"/>
                    <a:pt x="19" y="12"/>
                    <a:pt x="20" y="11"/>
                  </a:cubicBezTo>
                  <a:cubicBezTo>
                    <a:pt x="21" y="12"/>
                    <a:pt x="23" y="12"/>
                    <a:pt x="24" y="10"/>
                  </a:cubicBezTo>
                  <a:cubicBezTo>
                    <a:pt x="24" y="11"/>
                    <a:pt x="24" y="11"/>
                    <a:pt x="24" y="11"/>
                  </a:cubicBezTo>
                  <a:cubicBezTo>
                    <a:pt x="25" y="12"/>
                    <a:pt x="27" y="13"/>
                    <a:pt x="29" y="12"/>
                  </a:cubicBezTo>
                  <a:cubicBezTo>
                    <a:pt x="30" y="12"/>
                    <a:pt x="30" y="11"/>
                    <a:pt x="31" y="10"/>
                  </a:cubicBezTo>
                  <a:cubicBezTo>
                    <a:pt x="31" y="10"/>
                    <a:pt x="32" y="10"/>
                    <a:pt x="33" y="9"/>
                  </a:cubicBezTo>
                  <a:cubicBezTo>
                    <a:pt x="34" y="9"/>
                    <a:pt x="34" y="9"/>
                    <a:pt x="34" y="8"/>
                  </a:cubicBezTo>
                  <a:cubicBezTo>
                    <a:pt x="35" y="9"/>
                    <a:pt x="37" y="10"/>
                    <a:pt x="38" y="9"/>
                  </a:cubicBezTo>
                  <a:cubicBezTo>
                    <a:pt x="39" y="8"/>
                    <a:pt x="40" y="7"/>
                    <a:pt x="39" y="5"/>
                  </a:cubicBezTo>
                  <a:cubicBezTo>
                    <a:pt x="38" y="4"/>
                    <a:pt x="37" y="4"/>
                    <a:pt x="3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grpSp>
      <p:sp>
        <p:nvSpPr>
          <p:cNvPr id="50" name="Freeform 10"/>
          <p:cNvSpPr>
            <a:spLocks noEditPoints="1"/>
          </p:cNvSpPr>
          <p:nvPr/>
        </p:nvSpPr>
        <p:spPr bwMode="auto">
          <a:xfrm>
            <a:off x="5524046" y="4184349"/>
            <a:ext cx="1074470" cy="1272351"/>
          </a:xfrm>
          <a:custGeom>
            <a:avLst/>
            <a:gdLst>
              <a:gd name="T0" fmla="*/ 896 w 1200"/>
              <a:gd name="T1" fmla="*/ 732 h 1421"/>
              <a:gd name="T2" fmla="*/ 745 w 1200"/>
              <a:gd name="T3" fmla="*/ 138 h 1421"/>
              <a:gd name="T4" fmla="*/ 290 w 1200"/>
              <a:gd name="T5" fmla="*/ 318 h 1421"/>
              <a:gd name="T6" fmla="*/ 83 w 1200"/>
              <a:gd name="T7" fmla="*/ 1338 h 1421"/>
              <a:gd name="T8" fmla="*/ 1021 w 1200"/>
              <a:gd name="T9" fmla="*/ 787 h 1421"/>
              <a:gd name="T10" fmla="*/ 993 w 1200"/>
              <a:gd name="T11" fmla="*/ 883 h 1421"/>
              <a:gd name="T12" fmla="*/ 993 w 1200"/>
              <a:gd name="T13" fmla="*/ 952 h 1421"/>
              <a:gd name="T14" fmla="*/ 1021 w 1200"/>
              <a:gd name="T15" fmla="*/ 1035 h 1421"/>
              <a:gd name="T16" fmla="*/ 993 w 1200"/>
              <a:gd name="T17" fmla="*/ 1049 h 1421"/>
              <a:gd name="T18" fmla="*/ 1021 w 1200"/>
              <a:gd name="T19" fmla="*/ 1159 h 1421"/>
              <a:gd name="T20" fmla="*/ 993 w 1200"/>
              <a:gd name="T21" fmla="*/ 1242 h 1421"/>
              <a:gd name="T22" fmla="*/ 924 w 1200"/>
              <a:gd name="T23" fmla="*/ 787 h 1421"/>
              <a:gd name="T24" fmla="*/ 965 w 1200"/>
              <a:gd name="T25" fmla="*/ 883 h 1421"/>
              <a:gd name="T26" fmla="*/ 924 w 1200"/>
              <a:gd name="T27" fmla="*/ 897 h 1421"/>
              <a:gd name="T28" fmla="*/ 965 w 1200"/>
              <a:gd name="T29" fmla="*/ 994 h 1421"/>
              <a:gd name="T30" fmla="*/ 924 w 1200"/>
              <a:gd name="T31" fmla="*/ 1090 h 1421"/>
              <a:gd name="T32" fmla="*/ 924 w 1200"/>
              <a:gd name="T33" fmla="*/ 1159 h 1421"/>
              <a:gd name="T34" fmla="*/ 965 w 1200"/>
              <a:gd name="T35" fmla="*/ 1242 h 1421"/>
              <a:gd name="T36" fmla="*/ 924 w 1200"/>
              <a:gd name="T37" fmla="*/ 1256 h 1421"/>
              <a:gd name="T38" fmla="*/ 717 w 1200"/>
              <a:gd name="T39" fmla="*/ 290 h 1421"/>
              <a:gd name="T40" fmla="*/ 510 w 1200"/>
              <a:gd name="T41" fmla="*/ 373 h 1421"/>
              <a:gd name="T42" fmla="*/ 510 w 1200"/>
              <a:gd name="T43" fmla="*/ 469 h 1421"/>
              <a:gd name="T44" fmla="*/ 717 w 1200"/>
              <a:gd name="T45" fmla="*/ 566 h 1421"/>
              <a:gd name="T46" fmla="*/ 510 w 1200"/>
              <a:gd name="T47" fmla="*/ 594 h 1421"/>
              <a:gd name="T48" fmla="*/ 717 w 1200"/>
              <a:gd name="T49" fmla="*/ 773 h 1421"/>
              <a:gd name="T50" fmla="*/ 510 w 1200"/>
              <a:gd name="T51" fmla="*/ 869 h 1421"/>
              <a:gd name="T52" fmla="*/ 510 w 1200"/>
              <a:gd name="T53" fmla="*/ 952 h 1421"/>
              <a:gd name="T54" fmla="*/ 717 w 1200"/>
              <a:gd name="T55" fmla="*/ 1049 h 1421"/>
              <a:gd name="T56" fmla="*/ 510 w 1200"/>
              <a:gd name="T57" fmla="*/ 1076 h 1421"/>
              <a:gd name="T58" fmla="*/ 717 w 1200"/>
              <a:gd name="T59" fmla="*/ 1201 h 1421"/>
              <a:gd name="T60" fmla="*/ 386 w 1200"/>
              <a:gd name="T61" fmla="*/ 552 h 1421"/>
              <a:gd name="T62" fmla="*/ 386 w 1200"/>
              <a:gd name="T63" fmla="*/ 704 h 1421"/>
              <a:gd name="T64" fmla="*/ 427 w 1200"/>
              <a:gd name="T65" fmla="*/ 897 h 1421"/>
              <a:gd name="T66" fmla="*/ 386 w 1200"/>
              <a:gd name="T67" fmla="*/ 925 h 1421"/>
              <a:gd name="T68" fmla="*/ 427 w 1200"/>
              <a:gd name="T69" fmla="*/ 1159 h 1421"/>
              <a:gd name="T70" fmla="*/ 317 w 1200"/>
              <a:gd name="T71" fmla="*/ 428 h 1421"/>
              <a:gd name="T72" fmla="*/ 317 w 1200"/>
              <a:gd name="T73" fmla="*/ 704 h 1421"/>
              <a:gd name="T74" fmla="*/ 358 w 1200"/>
              <a:gd name="T75" fmla="*/ 897 h 1421"/>
              <a:gd name="T76" fmla="*/ 317 w 1200"/>
              <a:gd name="T77" fmla="*/ 925 h 1421"/>
              <a:gd name="T78" fmla="*/ 358 w 1200"/>
              <a:gd name="T79" fmla="*/ 1159 h 1421"/>
              <a:gd name="T80" fmla="*/ 290 w 1200"/>
              <a:gd name="T81" fmla="*/ 414 h 1421"/>
              <a:gd name="T82" fmla="*/ 248 w 1200"/>
              <a:gd name="T83" fmla="*/ 552 h 1421"/>
              <a:gd name="T84" fmla="*/ 248 w 1200"/>
              <a:gd name="T85" fmla="*/ 704 h 1421"/>
              <a:gd name="T86" fmla="*/ 290 w 1200"/>
              <a:gd name="T87" fmla="*/ 897 h 1421"/>
              <a:gd name="T88" fmla="*/ 248 w 1200"/>
              <a:gd name="T89" fmla="*/ 925 h 1421"/>
              <a:gd name="T90" fmla="*/ 221 w 1200"/>
              <a:gd name="T91" fmla="*/ 359 h 1421"/>
              <a:gd name="T92" fmla="*/ 179 w 1200"/>
              <a:gd name="T93" fmla="*/ 552 h 1421"/>
              <a:gd name="T94" fmla="*/ 179 w 1200"/>
              <a:gd name="T95" fmla="*/ 814 h 1421"/>
              <a:gd name="T96" fmla="*/ 221 w 1200"/>
              <a:gd name="T97" fmla="*/ 1118 h 1421"/>
              <a:gd name="T98" fmla="*/ 179 w 1200"/>
              <a:gd name="T99" fmla="*/ 1159 h 1421"/>
              <a:gd name="T100" fmla="*/ 152 w 1200"/>
              <a:gd name="T101" fmla="*/ 594 h 1421"/>
              <a:gd name="T102" fmla="*/ 110 w 1200"/>
              <a:gd name="T103" fmla="*/ 787 h 1421"/>
              <a:gd name="T104" fmla="*/ 110 w 1200"/>
              <a:gd name="T105" fmla="*/ 925 h 1421"/>
              <a:gd name="T106" fmla="*/ 152 w 1200"/>
              <a:gd name="T107" fmla="*/ 1118 h 1421"/>
              <a:gd name="T108" fmla="*/ 110 w 1200"/>
              <a:gd name="T109" fmla="*/ 1159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0" h="1421">
                <a:moveTo>
                  <a:pt x="1103" y="1338"/>
                </a:moveTo>
                <a:lnTo>
                  <a:pt x="1103" y="732"/>
                </a:lnTo>
                <a:lnTo>
                  <a:pt x="965" y="732"/>
                </a:lnTo>
                <a:lnTo>
                  <a:pt x="965" y="676"/>
                </a:lnTo>
                <a:lnTo>
                  <a:pt x="924" y="676"/>
                </a:lnTo>
                <a:lnTo>
                  <a:pt x="924" y="732"/>
                </a:lnTo>
                <a:lnTo>
                  <a:pt x="896" y="732"/>
                </a:lnTo>
                <a:lnTo>
                  <a:pt x="896" y="635"/>
                </a:lnTo>
                <a:lnTo>
                  <a:pt x="869" y="635"/>
                </a:lnTo>
                <a:lnTo>
                  <a:pt x="869" y="732"/>
                </a:lnTo>
                <a:lnTo>
                  <a:pt x="786" y="732"/>
                </a:lnTo>
                <a:lnTo>
                  <a:pt x="786" y="1338"/>
                </a:lnTo>
                <a:lnTo>
                  <a:pt x="745" y="1338"/>
                </a:lnTo>
                <a:lnTo>
                  <a:pt x="745" y="138"/>
                </a:lnTo>
                <a:lnTo>
                  <a:pt x="483" y="0"/>
                </a:lnTo>
                <a:lnTo>
                  <a:pt x="483" y="1338"/>
                </a:lnTo>
                <a:lnTo>
                  <a:pt x="455" y="1338"/>
                </a:lnTo>
                <a:lnTo>
                  <a:pt x="455" y="442"/>
                </a:lnTo>
                <a:lnTo>
                  <a:pt x="400" y="442"/>
                </a:lnTo>
                <a:lnTo>
                  <a:pt x="400" y="318"/>
                </a:lnTo>
                <a:lnTo>
                  <a:pt x="290" y="318"/>
                </a:lnTo>
                <a:lnTo>
                  <a:pt x="290" y="166"/>
                </a:lnTo>
                <a:lnTo>
                  <a:pt x="248" y="166"/>
                </a:lnTo>
                <a:lnTo>
                  <a:pt x="248" y="318"/>
                </a:lnTo>
                <a:lnTo>
                  <a:pt x="152" y="318"/>
                </a:lnTo>
                <a:lnTo>
                  <a:pt x="152" y="442"/>
                </a:lnTo>
                <a:lnTo>
                  <a:pt x="83" y="442"/>
                </a:lnTo>
                <a:lnTo>
                  <a:pt x="83" y="1338"/>
                </a:lnTo>
                <a:lnTo>
                  <a:pt x="0" y="1338"/>
                </a:lnTo>
                <a:lnTo>
                  <a:pt x="0" y="1421"/>
                </a:lnTo>
                <a:lnTo>
                  <a:pt x="1200" y="1421"/>
                </a:lnTo>
                <a:lnTo>
                  <a:pt x="1200" y="1338"/>
                </a:lnTo>
                <a:lnTo>
                  <a:pt x="1103" y="1338"/>
                </a:lnTo>
                <a:close/>
                <a:moveTo>
                  <a:pt x="993" y="787"/>
                </a:moveTo>
                <a:lnTo>
                  <a:pt x="1021" y="787"/>
                </a:lnTo>
                <a:lnTo>
                  <a:pt x="1021" y="828"/>
                </a:lnTo>
                <a:lnTo>
                  <a:pt x="993" y="828"/>
                </a:lnTo>
                <a:lnTo>
                  <a:pt x="993" y="787"/>
                </a:lnTo>
                <a:close/>
                <a:moveTo>
                  <a:pt x="993" y="842"/>
                </a:moveTo>
                <a:lnTo>
                  <a:pt x="1021" y="842"/>
                </a:lnTo>
                <a:lnTo>
                  <a:pt x="1021" y="883"/>
                </a:lnTo>
                <a:lnTo>
                  <a:pt x="993" y="883"/>
                </a:lnTo>
                <a:lnTo>
                  <a:pt x="993" y="842"/>
                </a:lnTo>
                <a:close/>
                <a:moveTo>
                  <a:pt x="993" y="897"/>
                </a:moveTo>
                <a:lnTo>
                  <a:pt x="1021" y="897"/>
                </a:lnTo>
                <a:lnTo>
                  <a:pt x="1021" y="925"/>
                </a:lnTo>
                <a:lnTo>
                  <a:pt x="993" y="925"/>
                </a:lnTo>
                <a:lnTo>
                  <a:pt x="993" y="897"/>
                </a:lnTo>
                <a:close/>
                <a:moveTo>
                  <a:pt x="993" y="952"/>
                </a:moveTo>
                <a:lnTo>
                  <a:pt x="1021" y="952"/>
                </a:lnTo>
                <a:lnTo>
                  <a:pt x="1021" y="980"/>
                </a:lnTo>
                <a:lnTo>
                  <a:pt x="993" y="980"/>
                </a:lnTo>
                <a:lnTo>
                  <a:pt x="993" y="952"/>
                </a:lnTo>
                <a:close/>
                <a:moveTo>
                  <a:pt x="993" y="994"/>
                </a:moveTo>
                <a:lnTo>
                  <a:pt x="1021" y="994"/>
                </a:lnTo>
                <a:lnTo>
                  <a:pt x="1021" y="1035"/>
                </a:lnTo>
                <a:lnTo>
                  <a:pt x="993" y="1035"/>
                </a:lnTo>
                <a:lnTo>
                  <a:pt x="993" y="994"/>
                </a:lnTo>
                <a:close/>
                <a:moveTo>
                  <a:pt x="993" y="1049"/>
                </a:moveTo>
                <a:lnTo>
                  <a:pt x="1021" y="1049"/>
                </a:lnTo>
                <a:lnTo>
                  <a:pt x="1021" y="1090"/>
                </a:lnTo>
                <a:lnTo>
                  <a:pt x="993" y="1090"/>
                </a:lnTo>
                <a:lnTo>
                  <a:pt x="993" y="1049"/>
                </a:lnTo>
                <a:close/>
                <a:moveTo>
                  <a:pt x="993" y="1104"/>
                </a:moveTo>
                <a:lnTo>
                  <a:pt x="1021" y="1104"/>
                </a:lnTo>
                <a:lnTo>
                  <a:pt x="1021" y="1145"/>
                </a:lnTo>
                <a:lnTo>
                  <a:pt x="993" y="1145"/>
                </a:lnTo>
                <a:lnTo>
                  <a:pt x="993" y="1104"/>
                </a:lnTo>
                <a:close/>
                <a:moveTo>
                  <a:pt x="993" y="1159"/>
                </a:moveTo>
                <a:lnTo>
                  <a:pt x="1021" y="1159"/>
                </a:lnTo>
                <a:lnTo>
                  <a:pt x="1021" y="1187"/>
                </a:lnTo>
                <a:lnTo>
                  <a:pt x="993" y="1187"/>
                </a:lnTo>
                <a:lnTo>
                  <a:pt x="993" y="1159"/>
                </a:lnTo>
                <a:close/>
                <a:moveTo>
                  <a:pt x="993" y="1214"/>
                </a:moveTo>
                <a:lnTo>
                  <a:pt x="1021" y="1214"/>
                </a:lnTo>
                <a:lnTo>
                  <a:pt x="1021" y="1242"/>
                </a:lnTo>
                <a:lnTo>
                  <a:pt x="993" y="1242"/>
                </a:lnTo>
                <a:lnTo>
                  <a:pt x="993" y="1214"/>
                </a:lnTo>
                <a:close/>
                <a:moveTo>
                  <a:pt x="993" y="1256"/>
                </a:moveTo>
                <a:lnTo>
                  <a:pt x="1021" y="1256"/>
                </a:lnTo>
                <a:lnTo>
                  <a:pt x="1021" y="1297"/>
                </a:lnTo>
                <a:lnTo>
                  <a:pt x="993" y="1297"/>
                </a:lnTo>
                <a:lnTo>
                  <a:pt x="993" y="1256"/>
                </a:lnTo>
                <a:close/>
                <a:moveTo>
                  <a:pt x="924" y="787"/>
                </a:moveTo>
                <a:lnTo>
                  <a:pt x="965" y="787"/>
                </a:lnTo>
                <a:lnTo>
                  <a:pt x="965" y="828"/>
                </a:lnTo>
                <a:lnTo>
                  <a:pt x="924" y="828"/>
                </a:lnTo>
                <a:lnTo>
                  <a:pt x="924" y="787"/>
                </a:lnTo>
                <a:close/>
                <a:moveTo>
                  <a:pt x="924" y="842"/>
                </a:moveTo>
                <a:lnTo>
                  <a:pt x="965" y="842"/>
                </a:lnTo>
                <a:lnTo>
                  <a:pt x="965" y="883"/>
                </a:lnTo>
                <a:lnTo>
                  <a:pt x="924" y="883"/>
                </a:lnTo>
                <a:lnTo>
                  <a:pt x="924" y="842"/>
                </a:lnTo>
                <a:close/>
                <a:moveTo>
                  <a:pt x="924" y="897"/>
                </a:moveTo>
                <a:lnTo>
                  <a:pt x="965" y="897"/>
                </a:lnTo>
                <a:lnTo>
                  <a:pt x="965" y="925"/>
                </a:lnTo>
                <a:lnTo>
                  <a:pt x="924" y="925"/>
                </a:lnTo>
                <a:lnTo>
                  <a:pt x="924" y="897"/>
                </a:lnTo>
                <a:close/>
                <a:moveTo>
                  <a:pt x="924" y="952"/>
                </a:moveTo>
                <a:lnTo>
                  <a:pt x="965" y="952"/>
                </a:lnTo>
                <a:lnTo>
                  <a:pt x="965" y="980"/>
                </a:lnTo>
                <a:lnTo>
                  <a:pt x="924" y="980"/>
                </a:lnTo>
                <a:lnTo>
                  <a:pt x="924" y="952"/>
                </a:lnTo>
                <a:close/>
                <a:moveTo>
                  <a:pt x="924" y="994"/>
                </a:moveTo>
                <a:lnTo>
                  <a:pt x="965" y="994"/>
                </a:lnTo>
                <a:lnTo>
                  <a:pt x="965" y="1035"/>
                </a:lnTo>
                <a:lnTo>
                  <a:pt x="924" y="1035"/>
                </a:lnTo>
                <a:lnTo>
                  <a:pt x="924" y="994"/>
                </a:lnTo>
                <a:close/>
                <a:moveTo>
                  <a:pt x="924" y="1049"/>
                </a:moveTo>
                <a:lnTo>
                  <a:pt x="965" y="1049"/>
                </a:lnTo>
                <a:lnTo>
                  <a:pt x="965" y="1090"/>
                </a:lnTo>
                <a:lnTo>
                  <a:pt x="924" y="1090"/>
                </a:lnTo>
                <a:lnTo>
                  <a:pt x="924" y="1049"/>
                </a:lnTo>
                <a:close/>
                <a:moveTo>
                  <a:pt x="924" y="1104"/>
                </a:moveTo>
                <a:lnTo>
                  <a:pt x="965" y="1104"/>
                </a:lnTo>
                <a:lnTo>
                  <a:pt x="965" y="1145"/>
                </a:lnTo>
                <a:lnTo>
                  <a:pt x="924" y="1145"/>
                </a:lnTo>
                <a:lnTo>
                  <a:pt x="924" y="1104"/>
                </a:lnTo>
                <a:close/>
                <a:moveTo>
                  <a:pt x="924" y="1159"/>
                </a:moveTo>
                <a:lnTo>
                  <a:pt x="965" y="1159"/>
                </a:lnTo>
                <a:lnTo>
                  <a:pt x="965" y="1187"/>
                </a:lnTo>
                <a:lnTo>
                  <a:pt x="924" y="1187"/>
                </a:lnTo>
                <a:lnTo>
                  <a:pt x="924" y="1159"/>
                </a:lnTo>
                <a:close/>
                <a:moveTo>
                  <a:pt x="924" y="1214"/>
                </a:moveTo>
                <a:lnTo>
                  <a:pt x="965" y="1214"/>
                </a:lnTo>
                <a:lnTo>
                  <a:pt x="965" y="1242"/>
                </a:lnTo>
                <a:lnTo>
                  <a:pt x="924" y="1242"/>
                </a:lnTo>
                <a:lnTo>
                  <a:pt x="924" y="1214"/>
                </a:lnTo>
                <a:close/>
                <a:moveTo>
                  <a:pt x="924" y="1256"/>
                </a:moveTo>
                <a:lnTo>
                  <a:pt x="965" y="1256"/>
                </a:lnTo>
                <a:lnTo>
                  <a:pt x="965" y="1297"/>
                </a:lnTo>
                <a:lnTo>
                  <a:pt x="924" y="1297"/>
                </a:lnTo>
                <a:lnTo>
                  <a:pt x="924" y="1256"/>
                </a:lnTo>
                <a:close/>
                <a:moveTo>
                  <a:pt x="510" y="221"/>
                </a:moveTo>
                <a:lnTo>
                  <a:pt x="717" y="221"/>
                </a:lnTo>
                <a:lnTo>
                  <a:pt x="717" y="263"/>
                </a:lnTo>
                <a:lnTo>
                  <a:pt x="510" y="263"/>
                </a:lnTo>
                <a:lnTo>
                  <a:pt x="510" y="221"/>
                </a:lnTo>
                <a:close/>
                <a:moveTo>
                  <a:pt x="510" y="290"/>
                </a:moveTo>
                <a:lnTo>
                  <a:pt x="717" y="290"/>
                </a:lnTo>
                <a:lnTo>
                  <a:pt x="717" y="318"/>
                </a:lnTo>
                <a:lnTo>
                  <a:pt x="510" y="318"/>
                </a:lnTo>
                <a:lnTo>
                  <a:pt x="510" y="290"/>
                </a:lnTo>
                <a:close/>
                <a:moveTo>
                  <a:pt x="510" y="345"/>
                </a:moveTo>
                <a:lnTo>
                  <a:pt x="717" y="345"/>
                </a:lnTo>
                <a:lnTo>
                  <a:pt x="717" y="373"/>
                </a:lnTo>
                <a:lnTo>
                  <a:pt x="510" y="373"/>
                </a:lnTo>
                <a:lnTo>
                  <a:pt x="510" y="345"/>
                </a:lnTo>
                <a:close/>
                <a:moveTo>
                  <a:pt x="510" y="414"/>
                </a:moveTo>
                <a:lnTo>
                  <a:pt x="717" y="414"/>
                </a:lnTo>
                <a:lnTo>
                  <a:pt x="717" y="442"/>
                </a:lnTo>
                <a:lnTo>
                  <a:pt x="510" y="442"/>
                </a:lnTo>
                <a:lnTo>
                  <a:pt x="510" y="414"/>
                </a:lnTo>
                <a:close/>
                <a:moveTo>
                  <a:pt x="510" y="469"/>
                </a:moveTo>
                <a:lnTo>
                  <a:pt x="717" y="469"/>
                </a:lnTo>
                <a:lnTo>
                  <a:pt x="717" y="497"/>
                </a:lnTo>
                <a:lnTo>
                  <a:pt x="510" y="497"/>
                </a:lnTo>
                <a:lnTo>
                  <a:pt x="510" y="469"/>
                </a:lnTo>
                <a:close/>
                <a:moveTo>
                  <a:pt x="510" y="525"/>
                </a:moveTo>
                <a:lnTo>
                  <a:pt x="717" y="525"/>
                </a:lnTo>
                <a:lnTo>
                  <a:pt x="717" y="566"/>
                </a:lnTo>
                <a:lnTo>
                  <a:pt x="510" y="566"/>
                </a:lnTo>
                <a:lnTo>
                  <a:pt x="510" y="525"/>
                </a:lnTo>
                <a:close/>
                <a:moveTo>
                  <a:pt x="510" y="594"/>
                </a:moveTo>
                <a:lnTo>
                  <a:pt x="717" y="594"/>
                </a:lnTo>
                <a:lnTo>
                  <a:pt x="717" y="621"/>
                </a:lnTo>
                <a:lnTo>
                  <a:pt x="510" y="621"/>
                </a:lnTo>
                <a:lnTo>
                  <a:pt x="510" y="594"/>
                </a:lnTo>
                <a:close/>
                <a:moveTo>
                  <a:pt x="510" y="649"/>
                </a:moveTo>
                <a:lnTo>
                  <a:pt x="717" y="649"/>
                </a:lnTo>
                <a:lnTo>
                  <a:pt x="717" y="676"/>
                </a:lnTo>
                <a:lnTo>
                  <a:pt x="510" y="676"/>
                </a:lnTo>
                <a:lnTo>
                  <a:pt x="510" y="649"/>
                </a:lnTo>
                <a:close/>
                <a:moveTo>
                  <a:pt x="510" y="773"/>
                </a:moveTo>
                <a:lnTo>
                  <a:pt x="717" y="773"/>
                </a:lnTo>
                <a:lnTo>
                  <a:pt x="717" y="800"/>
                </a:lnTo>
                <a:lnTo>
                  <a:pt x="510" y="800"/>
                </a:lnTo>
                <a:lnTo>
                  <a:pt x="510" y="773"/>
                </a:lnTo>
                <a:close/>
                <a:moveTo>
                  <a:pt x="510" y="828"/>
                </a:moveTo>
                <a:lnTo>
                  <a:pt x="717" y="828"/>
                </a:lnTo>
                <a:lnTo>
                  <a:pt x="717" y="869"/>
                </a:lnTo>
                <a:lnTo>
                  <a:pt x="510" y="869"/>
                </a:lnTo>
                <a:lnTo>
                  <a:pt x="510" y="828"/>
                </a:lnTo>
                <a:close/>
                <a:moveTo>
                  <a:pt x="510" y="897"/>
                </a:moveTo>
                <a:lnTo>
                  <a:pt x="717" y="897"/>
                </a:lnTo>
                <a:lnTo>
                  <a:pt x="717" y="925"/>
                </a:lnTo>
                <a:lnTo>
                  <a:pt x="510" y="925"/>
                </a:lnTo>
                <a:lnTo>
                  <a:pt x="510" y="897"/>
                </a:lnTo>
                <a:close/>
                <a:moveTo>
                  <a:pt x="510" y="952"/>
                </a:moveTo>
                <a:lnTo>
                  <a:pt x="717" y="952"/>
                </a:lnTo>
                <a:lnTo>
                  <a:pt x="717" y="980"/>
                </a:lnTo>
                <a:lnTo>
                  <a:pt x="510" y="980"/>
                </a:lnTo>
                <a:lnTo>
                  <a:pt x="510" y="952"/>
                </a:lnTo>
                <a:close/>
                <a:moveTo>
                  <a:pt x="510" y="1021"/>
                </a:moveTo>
                <a:lnTo>
                  <a:pt x="717" y="1021"/>
                </a:lnTo>
                <a:lnTo>
                  <a:pt x="717" y="1049"/>
                </a:lnTo>
                <a:lnTo>
                  <a:pt x="510" y="1049"/>
                </a:lnTo>
                <a:lnTo>
                  <a:pt x="510" y="1021"/>
                </a:lnTo>
                <a:close/>
                <a:moveTo>
                  <a:pt x="510" y="1076"/>
                </a:moveTo>
                <a:lnTo>
                  <a:pt x="717" y="1076"/>
                </a:lnTo>
                <a:lnTo>
                  <a:pt x="717" y="1104"/>
                </a:lnTo>
                <a:lnTo>
                  <a:pt x="510" y="1104"/>
                </a:lnTo>
                <a:lnTo>
                  <a:pt x="510" y="1076"/>
                </a:lnTo>
                <a:close/>
                <a:moveTo>
                  <a:pt x="510" y="1132"/>
                </a:moveTo>
                <a:lnTo>
                  <a:pt x="717" y="1132"/>
                </a:lnTo>
                <a:lnTo>
                  <a:pt x="717" y="1173"/>
                </a:lnTo>
                <a:lnTo>
                  <a:pt x="510" y="1173"/>
                </a:lnTo>
                <a:lnTo>
                  <a:pt x="510" y="1132"/>
                </a:lnTo>
                <a:close/>
                <a:moveTo>
                  <a:pt x="510" y="1201"/>
                </a:moveTo>
                <a:lnTo>
                  <a:pt x="717" y="1201"/>
                </a:lnTo>
                <a:lnTo>
                  <a:pt x="717" y="1228"/>
                </a:lnTo>
                <a:lnTo>
                  <a:pt x="510" y="1228"/>
                </a:lnTo>
                <a:lnTo>
                  <a:pt x="510" y="1201"/>
                </a:lnTo>
                <a:close/>
                <a:moveTo>
                  <a:pt x="386" y="483"/>
                </a:moveTo>
                <a:lnTo>
                  <a:pt x="427" y="483"/>
                </a:lnTo>
                <a:lnTo>
                  <a:pt x="427" y="552"/>
                </a:lnTo>
                <a:lnTo>
                  <a:pt x="386" y="552"/>
                </a:lnTo>
                <a:lnTo>
                  <a:pt x="386" y="483"/>
                </a:lnTo>
                <a:close/>
                <a:moveTo>
                  <a:pt x="386" y="594"/>
                </a:moveTo>
                <a:lnTo>
                  <a:pt x="427" y="594"/>
                </a:lnTo>
                <a:lnTo>
                  <a:pt x="427" y="676"/>
                </a:lnTo>
                <a:lnTo>
                  <a:pt x="386" y="676"/>
                </a:lnTo>
                <a:lnTo>
                  <a:pt x="386" y="594"/>
                </a:lnTo>
                <a:close/>
                <a:moveTo>
                  <a:pt x="386" y="704"/>
                </a:moveTo>
                <a:lnTo>
                  <a:pt x="427" y="704"/>
                </a:lnTo>
                <a:lnTo>
                  <a:pt x="427" y="787"/>
                </a:lnTo>
                <a:lnTo>
                  <a:pt x="386" y="787"/>
                </a:lnTo>
                <a:lnTo>
                  <a:pt x="386" y="704"/>
                </a:lnTo>
                <a:close/>
                <a:moveTo>
                  <a:pt x="386" y="814"/>
                </a:moveTo>
                <a:lnTo>
                  <a:pt x="427" y="814"/>
                </a:lnTo>
                <a:lnTo>
                  <a:pt x="427" y="897"/>
                </a:lnTo>
                <a:lnTo>
                  <a:pt x="386" y="897"/>
                </a:lnTo>
                <a:lnTo>
                  <a:pt x="386" y="814"/>
                </a:lnTo>
                <a:close/>
                <a:moveTo>
                  <a:pt x="386" y="925"/>
                </a:moveTo>
                <a:lnTo>
                  <a:pt x="427" y="925"/>
                </a:lnTo>
                <a:lnTo>
                  <a:pt x="427" y="1007"/>
                </a:lnTo>
                <a:lnTo>
                  <a:pt x="386" y="1007"/>
                </a:lnTo>
                <a:lnTo>
                  <a:pt x="386" y="925"/>
                </a:lnTo>
                <a:close/>
                <a:moveTo>
                  <a:pt x="386" y="1049"/>
                </a:moveTo>
                <a:lnTo>
                  <a:pt x="427" y="1049"/>
                </a:lnTo>
                <a:lnTo>
                  <a:pt x="427" y="1118"/>
                </a:lnTo>
                <a:lnTo>
                  <a:pt x="386" y="1118"/>
                </a:lnTo>
                <a:lnTo>
                  <a:pt x="386" y="1049"/>
                </a:lnTo>
                <a:close/>
                <a:moveTo>
                  <a:pt x="386" y="1159"/>
                </a:moveTo>
                <a:lnTo>
                  <a:pt x="427" y="1159"/>
                </a:lnTo>
                <a:lnTo>
                  <a:pt x="427" y="1228"/>
                </a:lnTo>
                <a:lnTo>
                  <a:pt x="386" y="1228"/>
                </a:lnTo>
                <a:lnTo>
                  <a:pt x="386" y="1159"/>
                </a:lnTo>
                <a:close/>
                <a:moveTo>
                  <a:pt x="317" y="359"/>
                </a:moveTo>
                <a:lnTo>
                  <a:pt x="358" y="359"/>
                </a:lnTo>
                <a:lnTo>
                  <a:pt x="358" y="428"/>
                </a:lnTo>
                <a:lnTo>
                  <a:pt x="317" y="428"/>
                </a:lnTo>
                <a:lnTo>
                  <a:pt x="317" y="359"/>
                </a:lnTo>
                <a:close/>
                <a:moveTo>
                  <a:pt x="317" y="483"/>
                </a:moveTo>
                <a:lnTo>
                  <a:pt x="358" y="483"/>
                </a:lnTo>
                <a:lnTo>
                  <a:pt x="358" y="552"/>
                </a:lnTo>
                <a:lnTo>
                  <a:pt x="317" y="552"/>
                </a:lnTo>
                <a:lnTo>
                  <a:pt x="317" y="483"/>
                </a:lnTo>
                <a:close/>
                <a:moveTo>
                  <a:pt x="317" y="704"/>
                </a:moveTo>
                <a:lnTo>
                  <a:pt x="358" y="704"/>
                </a:lnTo>
                <a:lnTo>
                  <a:pt x="358" y="787"/>
                </a:lnTo>
                <a:lnTo>
                  <a:pt x="317" y="787"/>
                </a:lnTo>
                <a:lnTo>
                  <a:pt x="317" y="704"/>
                </a:lnTo>
                <a:close/>
                <a:moveTo>
                  <a:pt x="317" y="814"/>
                </a:moveTo>
                <a:lnTo>
                  <a:pt x="358" y="814"/>
                </a:lnTo>
                <a:lnTo>
                  <a:pt x="358" y="897"/>
                </a:lnTo>
                <a:lnTo>
                  <a:pt x="317" y="897"/>
                </a:lnTo>
                <a:lnTo>
                  <a:pt x="317" y="814"/>
                </a:lnTo>
                <a:close/>
                <a:moveTo>
                  <a:pt x="317" y="925"/>
                </a:moveTo>
                <a:lnTo>
                  <a:pt x="358" y="925"/>
                </a:lnTo>
                <a:lnTo>
                  <a:pt x="358" y="1007"/>
                </a:lnTo>
                <a:lnTo>
                  <a:pt x="317" y="1007"/>
                </a:lnTo>
                <a:lnTo>
                  <a:pt x="317" y="925"/>
                </a:lnTo>
                <a:close/>
                <a:moveTo>
                  <a:pt x="317" y="1049"/>
                </a:moveTo>
                <a:lnTo>
                  <a:pt x="358" y="1049"/>
                </a:lnTo>
                <a:lnTo>
                  <a:pt x="358" y="1118"/>
                </a:lnTo>
                <a:lnTo>
                  <a:pt x="317" y="1118"/>
                </a:lnTo>
                <a:lnTo>
                  <a:pt x="317" y="1049"/>
                </a:lnTo>
                <a:close/>
                <a:moveTo>
                  <a:pt x="317" y="1159"/>
                </a:moveTo>
                <a:lnTo>
                  <a:pt x="358" y="1159"/>
                </a:lnTo>
                <a:lnTo>
                  <a:pt x="358" y="1228"/>
                </a:lnTo>
                <a:lnTo>
                  <a:pt x="317" y="1228"/>
                </a:lnTo>
                <a:lnTo>
                  <a:pt x="317" y="1159"/>
                </a:lnTo>
                <a:close/>
                <a:moveTo>
                  <a:pt x="248" y="414"/>
                </a:moveTo>
                <a:lnTo>
                  <a:pt x="248" y="359"/>
                </a:lnTo>
                <a:lnTo>
                  <a:pt x="290" y="359"/>
                </a:lnTo>
                <a:lnTo>
                  <a:pt x="290" y="414"/>
                </a:lnTo>
                <a:lnTo>
                  <a:pt x="290" y="428"/>
                </a:lnTo>
                <a:lnTo>
                  <a:pt x="248" y="428"/>
                </a:lnTo>
                <a:lnTo>
                  <a:pt x="248" y="414"/>
                </a:lnTo>
                <a:close/>
                <a:moveTo>
                  <a:pt x="248" y="483"/>
                </a:moveTo>
                <a:lnTo>
                  <a:pt x="290" y="483"/>
                </a:lnTo>
                <a:lnTo>
                  <a:pt x="290" y="552"/>
                </a:lnTo>
                <a:lnTo>
                  <a:pt x="248" y="552"/>
                </a:lnTo>
                <a:lnTo>
                  <a:pt x="248" y="483"/>
                </a:lnTo>
                <a:close/>
                <a:moveTo>
                  <a:pt x="248" y="594"/>
                </a:moveTo>
                <a:lnTo>
                  <a:pt x="290" y="594"/>
                </a:lnTo>
                <a:lnTo>
                  <a:pt x="290" y="676"/>
                </a:lnTo>
                <a:lnTo>
                  <a:pt x="248" y="676"/>
                </a:lnTo>
                <a:lnTo>
                  <a:pt x="248" y="594"/>
                </a:lnTo>
                <a:close/>
                <a:moveTo>
                  <a:pt x="248" y="704"/>
                </a:moveTo>
                <a:lnTo>
                  <a:pt x="290" y="704"/>
                </a:lnTo>
                <a:lnTo>
                  <a:pt x="290" y="787"/>
                </a:lnTo>
                <a:lnTo>
                  <a:pt x="248" y="787"/>
                </a:lnTo>
                <a:lnTo>
                  <a:pt x="248" y="704"/>
                </a:lnTo>
                <a:close/>
                <a:moveTo>
                  <a:pt x="248" y="814"/>
                </a:moveTo>
                <a:lnTo>
                  <a:pt x="290" y="814"/>
                </a:lnTo>
                <a:lnTo>
                  <a:pt x="290" y="897"/>
                </a:lnTo>
                <a:lnTo>
                  <a:pt x="248" y="897"/>
                </a:lnTo>
                <a:lnTo>
                  <a:pt x="248" y="814"/>
                </a:lnTo>
                <a:close/>
                <a:moveTo>
                  <a:pt x="248" y="925"/>
                </a:moveTo>
                <a:lnTo>
                  <a:pt x="290" y="925"/>
                </a:lnTo>
                <a:lnTo>
                  <a:pt x="290" y="1007"/>
                </a:lnTo>
                <a:lnTo>
                  <a:pt x="248" y="1007"/>
                </a:lnTo>
                <a:lnTo>
                  <a:pt x="248" y="925"/>
                </a:lnTo>
                <a:close/>
                <a:moveTo>
                  <a:pt x="248" y="1159"/>
                </a:moveTo>
                <a:lnTo>
                  <a:pt x="290" y="1159"/>
                </a:lnTo>
                <a:lnTo>
                  <a:pt x="290" y="1228"/>
                </a:lnTo>
                <a:lnTo>
                  <a:pt x="248" y="1228"/>
                </a:lnTo>
                <a:lnTo>
                  <a:pt x="248" y="1159"/>
                </a:lnTo>
                <a:close/>
                <a:moveTo>
                  <a:pt x="179" y="359"/>
                </a:moveTo>
                <a:lnTo>
                  <a:pt x="221" y="359"/>
                </a:lnTo>
                <a:lnTo>
                  <a:pt x="221" y="428"/>
                </a:lnTo>
                <a:lnTo>
                  <a:pt x="179" y="428"/>
                </a:lnTo>
                <a:lnTo>
                  <a:pt x="179" y="359"/>
                </a:lnTo>
                <a:close/>
                <a:moveTo>
                  <a:pt x="179" y="483"/>
                </a:moveTo>
                <a:lnTo>
                  <a:pt x="221" y="483"/>
                </a:lnTo>
                <a:lnTo>
                  <a:pt x="221" y="552"/>
                </a:lnTo>
                <a:lnTo>
                  <a:pt x="179" y="552"/>
                </a:lnTo>
                <a:lnTo>
                  <a:pt x="179" y="483"/>
                </a:lnTo>
                <a:close/>
                <a:moveTo>
                  <a:pt x="179" y="594"/>
                </a:moveTo>
                <a:lnTo>
                  <a:pt x="221" y="594"/>
                </a:lnTo>
                <a:lnTo>
                  <a:pt x="221" y="676"/>
                </a:lnTo>
                <a:lnTo>
                  <a:pt x="179" y="676"/>
                </a:lnTo>
                <a:lnTo>
                  <a:pt x="179" y="594"/>
                </a:lnTo>
                <a:close/>
                <a:moveTo>
                  <a:pt x="179" y="814"/>
                </a:moveTo>
                <a:lnTo>
                  <a:pt x="221" y="814"/>
                </a:lnTo>
                <a:lnTo>
                  <a:pt x="221" y="897"/>
                </a:lnTo>
                <a:lnTo>
                  <a:pt x="179" y="897"/>
                </a:lnTo>
                <a:lnTo>
                  <a:pt x="179" y="814"/>
                </a:lnTo>
                <a:close/>
                <a:moveTo>
                  <a:pt x="179" y="1049"/>
                </a:moveTo>
                <a:lnTo>
                  <a:pt x="221" y="1049"/>
                </a:lnTo>
                <a:lnTo>
                  <a:pt x="221" y="1118"/>
                </a:lnTo>
                <a:lnTo>
                  <a:pt x="179" y="1118"/>
                </a:lnTo>
                <a:lnTo>
                  <a:pt x="179" y="1049"/>
                </a:lnTo>
                <a:close/>
                <a:moveTo>
                  <a:pt x="179" y="1159"/>
                </a:moveTo>
                <a:lnTo>
                  <a:pt x="221" y="1159"/>
                </a:lnTo>
                <a:lnTo>
                  <a:pt x="221" y="1228"/>
                </a:lnTo>
                <a:lnTo>
                  <a:pt x="179" y="1228"/>
                </a:lnTo>
                <a:lnTo>
                  <a:pt x="179" y="1159"/>
                </a:lnTo>
                <a:close/>
                <a:moveTo>
                  <a:pt x="110" y="483"/>
                </a:moveTo>
                <a:lnTo>
                  <a:pt x="152" y="483"/>
                </a:lnTo>
                <a:lnTo>
                  <a:pt x="152" y="552"/>
                </a:lnTo>
                <a:lnTo>
                  <a:pt x="110" y="552"/>
                </a:lnTo>
                <a:lnTo>
                  <a:pt x="110" y="483"/>
                </a:lnTo>
                <a:close/>
                <a:moveTo>
                  <a:pt x="110" y="594"/>
                </a:moveTo>
                <a:lnTo>
                  <a:pt x="152" y="594"/>
                </a:lnTo>
                <a:lnTo>
                  <a:pt x="152" y="676"/>
                </a:lnTo>
                <a:lnTo>
                  <a:pt x="110" y="676"/>
                </a:lnTo>
                <a:lnTo>
                  <a:pt x="110" y="594"/>
                </a:lnTo>
                <a:close/>
                <a:moveTo>
                  <a:pt x="110" y="704"/>
                </a:moveTo>
                <a:lnTo>
                  <a:pt x="152" y="704"/>
                </a:lnTo>
                <a:lnTo>
                  <a:pt x="152" y="787"/>
                </a:lnTo>
                <a:lnTo>
                  <a:pt x="110" y="787"/>
                </a:lnTo>
                <a:lnTo>
                  <a:pt x="110" y="704"/>
                </a:lnTo>
                <a:close/>
                <a:moveTo>
                  <a:pt x="110" y="814"/>
                </a:moveTo>
                <a:lnTo>
                  <a:pt x="152" y="814"/>
                </a:lnTo>
                <a:lnTo>
                  <a:pt x="152" y="897"/>
                </a:lnTo>
                <a:lnTo>
                  <a:pt x="110" y="897"/>
                </a:lnTo>
                <a:lnTo>
                  <a:pt x="110" y="814"/>
                </a:lnTo>
                <a:close/>
                <a:moveTo>
                  <a:pt x="110" y="925"/>
                </a:moveTo>
                <a:lnTo>
                  <a:pt x="152" y="925"/>
                </a:lnTo>
                <a:lnTo>
                  <a:pt x="152" y="1007"/>
                </a:lnTo>
                <a:lnTo>
                  <a:pt x="110" y="1007"/>
                </a:lnTo>
                <a:lnTo>
                  <a:pt x="110" y="925"/>
                </a:lnTo>
                <a:close/>
                <a:moveTo>
                  <a:pt x="110" y="1049"/>
                </a:moveTo>
                <a:lnTo>
                  <a:pt x="152" y="1049"/>
                </a:lnTo>
                <a:lnTo>
                  <a:pt x="152" y="1118"/>
                </a:lnTo>
                <a:lnTo>
                  <a:pt x="110" y="1118"/>
                </a:lnTo>
                <a:lnTo>
                  <a:pt x="110" y="1049"/>
                </a:lnTo>
                <a:close/>
                <a:moveTo>
                  <a:pt x="110" y="1159"/>
                </a:moveTo>
                <a:lnTo>
                  <a:pt x="152" y="1159"/>
                </a:lnTo>
                <a:lnTo>
                  <a:pt x="152" y="1228"/>
                </a:lnTo>
                <a:lnTo>
                  <a:pt x="110" y="1228"/>
                </a:lnTo>
                <a:lnTo>
                  <a:pt x="110" y="1159"/>
                </a:lnTo>
                <a:close/>
              </a:path>
            </a:pathLst>
          </a:custGeom>
          <a:solidFill>
            <a:schemeClr val="bg1">
              <a:lumMod val="75000"/>
            </a:schemeClr>
          </a:solidFill>
          <a:ln>
            <a:noFill/>
          </a:ln>
        </p:spPr>
        <p:txBody>
          <a:bodyPr vert="horz" wrap="square" lIns="45720" tIns="22860" rIns="45720" bIns="22860" numCol="1" anchor="t" anchorCtr="0" compatLnSpc="1">
            <a:prstTxWarp prst="textNoShape">
              <a:avLst/>
            </a:prstTxWarp>
          </a:bodyPr>
          <a:lstStyle/>
          <a:p>
            <a:endParaRPr lang="th-TH" sz="900"/>
          </a:p>
        </p:txBody>
      </p:sp>
      <p:grpSp>
        <p:nvGrpSpPr>
          <p:cNvPr id="51" name="กลุ่ม 21"/>
          <p:cNvGrpSpPr/>
          <p:nvPr/>
        </p:nvGrpSpPr>
        <p:grpSpPr>
          <a:xfrm>
            <a:off x="8595750" y="4266532"/>
            <a:ext cx="670054" cy="1107984"/>
            <a:chOff x="13284638" y="4463256"/>
            <a:chExt cx="1576388" cy="2606675"/>
          </a:xfrm>
          <a:solidFill>
            <a:schemeClr val="bg1">
              <a:lumMod val="75000"/>
            </a:schemeClr>
          </a:solidFill>
        </p:grpSpPr>
        <p:sp>
          <p:nvSpPr>
            <p:cNvPr id="52" name="Freeform 11"/>
            <p:cNvSpPr>
              <a:spLocks/>
            </p:cNvSpPr>
            <p:nvPr/>
          </p:nvSpPr>
          <p:spPr bwMode="auto">
            <a:xfrm>
              <a:off x="13787876" y="5711031"/>
              <a:ext cx="1073150" cy="1358900"/>
            </a:xfrm>
            <a:custGeom>
              <a:avLst/>
              <a:gdLst>
                <a:gd name="T0" fmla="*/ 43 w 49"/>
                <a:gd name="T1" fmla="*/ 0 h 62"/>
                <a:gd name="T2" fmla="*/ 43 w 49"/>
                <a:gd name="T3" fmla="*/ 0 h 62"/>
                <a:gd name="T4" fmla="*/ 7 w 49"/>
                <a:gd name="T5" fmla="*/ 0 h 62"/>
                <a:gd name="T6" fmla="*/ 7 w 49"/>
                <a:gd name="T7" fmla="*/ 1 h 62"/>
                <a:gd name="T8" fmla="*/ 0 w 49"/>
                <a:gd name="T9" fmla="*/ 53 h 62"/>
                <a:gd name="T10" fmla="*/ 23 w 49"/>
                <a:gd name="T11" fmla="*/ 62 h 62"/>
                <a:gd name="T12" fmla="*/ 49 w 49"/>
                <a:gd name="T13" fmla="*/ 54 h 62"/>
                <a:gd name="T14" fmla="*/ 43 w 49"/>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2">
                  <a:moveTo>
                    <a:pt x="43" y="0"/>
                  </a:moveTo>
                  <a:cubicBezTo>
                    <a:pt x="43" y="0"/>
                    <a:pt x="43" y="0"/>
                    <a:pt x="43" y="0"/>
                  </a:cubicBezTo>
                  <a:cubicBezTo>
                    <a:pt x="7" y="0"/>
                    <a:pt x="7" y="0"/>
                    <a:pt x="7" y="0"/>
                  </a:cubicBezTo>
                  <a:cubicBezTo>
                    <a:pt x="7" y="0"/>
                    <a:pt x="7" y="0"/>
                    <a:pt x="7" y="1"/>
                  </a:cubicBezTo>
                  <a:cubicBezTo>
                    <a:pt x="11" y="23"/>
                    <a:pt x="0" y="53"/>
                    <a:pt x="0" y="53"/>
                  </a:cubicBezTo>
                  <a:cubicBezTo>
                    <a:pt x="0" y="53"/>
                    <a:pt x="4" y="62"/>
                    <a:pt x="23" y="62"/>
                  </a:cubicBezTo>
                  <a:cubicBezTo>
                    <a:pt x="42" y="62"/>
                    <a:pt x="49" y="54"/>
                    <a:pt x="49" y="54"/>
                  </a:cubicBezTo>
                  <a:cubicBezTo>
                    <a:pt x="49" y="54"/>
                    <a:pt x="38" y="29"/>
                    <a:pt x="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53" name="Freeform 12"/>
            <p:cNvSpPr>
              <a:spLocks/>
            </p:cNvSpPr>
            <p:nvPr/>
          </p:nvSpPr>
          <p:spPr bwMode="auto">
            <a:xfrm>
              <a:off x="13284638" y="4463256"/>
              <a:ext cx="1423988" cy="1204913"/>
            </a:xfrm>
            <a:custGeom>
              <a:avLst/>
              <a:gdLst>
                <a:gd name="T0" fmla="*/ 40 w 65"/>
                <a:gd name="T1" fmla="*/ 48 h 55"/>
                <a:gd name="T2" fmla="*/ 46 w 65"/>
                <a:gd name="T3" fmla="*/ 46 h 55"/>
                <a:gd name="T4" fmla="*/ 54 w 65"/>
                <a:gd name="T5" fmla="*/ 48 h 55"/>
                <a:gd name="T6" fmla="*/ 56 w 65"/>
                <a:gd name="T7" fmla="*/ 52 h 55"/>
                <a:gd name="T8" fmla="*/ 59 w 65"/>
                <a:gd name="T9" fmla="*/ 52 h 55"/>
                <a:gd name="T10" fmla="*/ 61 w 65"/>
                <a:gd name="T11" fmla="*/ 47 h 55"/>
                <a:gd name="T12" fmla="*/ 64 w 65"/>
                <a:gd name="T13" fmla="*/ 42 h 55"/>
                <a:gd name="T14" fmla="*/ 63 w 65"/>
                <a:gd name="T15" fmla="*/ 36 h 55"/>
                <a:gd name="T16" fmla="*/ 64 w 65"/>
                <a:gd name="T17" fmla="*/ 30 h 55"/>
                <a:gd name="T18" fmla="*/ 55 w 65"/>
                <a:gd name="T19" fmla="*/ 15 h 55"/>
                <a:gd name="T20" fmla="*/ 46 w 65"/>
                <a:gd name="T21" fmla="*/ 10 h 55"/>
                <a:gd name="T22" fmla="*/ 41 w 65"/>
                <a:gd name="T23" fmla="*/ 5 h 55"/>
                <a:gd name="T24" fmla="*/ 35 w 65"/>
                <a:gd name="T25" fmla="*/ 4 h 55"/>
                <a:gd name="T26" fmla="*/ 26 w 65"/>
                <a:gd name="T27" fmla="*/ 4 h 55"/>
                <a:gd name="T28" fmla="*/ 21 w 65"/>
                <a:gd name="T29" fmla="*/ 0 h 55"/>
                <a:gd name="T30" fmla="*/ 18 w 65"/>
                <a:gd name="T31" fmla="*/ 4 h 55"/>
                <a:gd name="T32" fmla="*/ 13 w 65"/>
                <a:gd name="T33" fmla="*/ 5 h 55"/>
                <a:gd name="T34" fmla="*/ 8 w 65"/>
                <a:gd name="T35" fmla="*/ 8 h 55"/>
                <a:gd name="T36" fmla="*/ 8 w 65"/>
                <a:gd name="T37" fmla="*/ 14 h 55"/>
                <a:gd name="T38" fmla="*/ 13 w 65"/>
                <a:gd name="T39" fmla="*/ 13 h 55"/>
                <a:gd name="T40" fmla="*/ 19 w 65"/>
                <a:gd name="T41" fmla="*/ 14 h 55"/>
                <a:gd name="T42" fmla="*/ 26 w 65"/>
                <a:gd name="T43" fmla="*/ 13 h 55"/>
                <a:gd name="T44" fmla="*/ 35 w 65"/>
                <a:gd name="T45" fmla="*/ 20 h 55"/>
                <a:gd name="T46" fmla="*/ 43 w 65"/>
                <a:gd name="T47" fmla="*/ 27 h 55"/>
                <a:gd name="T48" fmla="*/ 42 w 65"/>
                <a:gd name="T49" fmla="*/ 32 h 55"/>
                <a:gd name="T50" fmla="*/ 36 w 65"/>
                <a:gd name="T51" fmla="*/ 30 h 55"/>
                <a:gd name="T52" fmla="*/ 28 w 65"/>
                <a:gd name="T53" fmla="*/ 24 h 55"/>
                <a:gd name="T54" fmla="*/ 15 w 65"/>
                <a:gd name="T55" fmla="*/ 23 h 55"/>
                <a:gd name="T56" fmla="*/ 8 w 65"/>
                <a:gd name="T57" fmla="*/ 35 h 55"/>
                <a:gd name="T58" fmla="*/ 0 w 65"/>
                <a:gd name="T59" fmla="*/ 39 h 55"/>
                <a:gd name="T60" fmla="*/ 7 w 65"/>
                <a:gd name="T61" fmla="*/ 43 h 55"/>
                <a:gd name="T62" fmla="*/ 18 w 65"/>
                <a:gd name="T63" fmla="*/ 50 h 55"/>
                <a:gd name="T64" fmla="*/ 29 w 65"/>
                <a:gd name="T6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 h="55">
                  <a:moveTo>
                    <a:pt x="39" y="48"/>
                  </a:moveTo>
                  <a:cubicBezTo>
                    <a:pt x="39" y="48"/>
                    <a:pt x="40" y="48"/>
                    <a:pt x="40" y="48"/>
                  </a:cubicBezTo>
                  <a:cubicBezTo>
                    <a:pt x="42" y="48"/>
                    <a:pt x="43" y="47"/>
                    <a:pt x="44" y="45"/>
                  </a:cubicBezTo>
                  <a:cubicBezTo>
                    <a:pt x="45" y="45"/>
                    <a:pt x="45" y="46"/>
                    <a:pt x="46" y="46"/>
                  </a:cubicBezTo>
                  <a:cubicBezTo>
                    <a:pt x="47" y="46"/>
                    <a:pt x="48" y="45"/>
                    <a:pt x="49" y="45"/>
                  </a:cubicBezTo>
                  <a:cubicBezTo>
                    <a:pt x="50" y="46"/>
                    <a:pt x="52" y="48"/>
                    <a:pt x="54" y="48"/>
                  </a:cubicBezTo>
                  <a:cubicBezTo>
                    <a:pt x="54" y="49"/>
                    <a:pt x="55" y="51"/>
                    <a:pt x="57" y="51"/>
                  </a:cubicBezTo>
                  <a:cubicBezTo>
                    <a:pt x="56" y="51"/>
                    <a:pt x="56" y="52"/>
                    <a:pt x="56" y="52"/>
                  </a:cubicBezTo>
                  <a:cubicBezTo>
                    <a:pt x="56" y="53"/>
                    <a:pt x="57" y="54"/>
                    <a:pt x="58" y="54"/>
                  </a:cubicBezTo>
                  <a:cubicBezTo>
                    <a:pt x="59" y="54"/>
                    <a:pt x="59" y="53"/>
                    <a:pt x="59" y="52"/>
                  </a:cubicBezTo>
                  <a:cubicBezTo>
                    <a:pt x="59" y="52"/>
                    <a:pt x="59" y="51"/>
                    <a:pt x="59" y="51"/>
                  </a:cubicBezTo>
                  <a:cubicBezTo>
                    <a:pt x="60" y="50"/>
                    <a:pt x="61" y="49"/>
                    <a:pt x="61" y="47"/>
                  </a:cubicBezTo>
                  <a:cubicBezTo>
                    <a:pt x="63" y="47"/>
                    <a:pt x="64" y="45"/>
                    <a:pt x="64" y="44"/>
                  </a:cubicBezTo>
                  <a:cubicBezTo>
                    <a:pt x="64" y="43"/>
                    <a:pt x="64" y="42"/>
                    <a:pt x="64" y="42"/>
                  </a:cubicBezTo>
                  <a:cubicBezTo>
                    <a:pt x="64" y="41"/>
                    <a:pt x="65" y="40"/>
                    <a:pt x="65" y="39"/>
                  </a:cubicBezTo>
                  <a:cubicBezTo>
                    <a:pt x="65" y="38"/>
                    <a:pt x="64" y="37"/>
                    <a:pt x="63" y="36"/>
                  </a:cubicBezTo>
                  <a:cubicBezTo>
                    <a:pt x="64" y="36"/>
                    <a:pt x="65" y="34"/>
                    <a:pt x="65" y="33"/>
                  </a:cubicBezTo>
                  <a:cubicBezTo>
                    <a:pt x="65" y="31"/>
                    <a:pt x="65" y="30"/>
                    <a:pt x="64" y="30"/>
                  </a:cubicBezTo>
                  <a:cubicBezTo>
                    <a:pt x="63" y="24"/>
                    <a:pt x="59" y="20"/>
                    <a:pt x="53" y="19"/>
                  </a:cubicBezTo>
                  <a:cubicBezTo>
                    <a:pt x="54" y="18"/>
                    <a:pt x="55" y="17"/>
                    <a:pt x="55" y="15"/>
                  </a:cubicBezTo>
                  <a:cubicBezTo>
                    <a:pt x="55" y="12"/>
                    <a:pt x="52" y="9"/>
                    <a:pt x="48" y="9"/>
                  </a:cubicBezTo>
                  <a:cubicBezTo>
                    <a:pt x="47" y="9"/>
                    <a:pt x="46" y="9"/>
                    <a:pt x="46" y="10"/>
                  </a:cubicBezTo>
                  <a:cubicBezTo>
                    <a:pt x="46" y="9"/>
                    <a:pt x="46" y="9"/>
                    <a:pt x="46" y="9"/>
                  </a:cubicBezTo>
                  <a:cubicBezTo>
                    <a:pt x="46" y="7"/>
                    <a:pt x="44" y="5"/>
                    <a:pt x="41" y="5"/>
                  </a:cubicBezTo>
                  <a:cubicBezTo>
                    <a:pt x="41" y="5"/>
                    <a:pt x="40" y="5"/>
                    <a:pt x="40" y="5"/>
                  </a:cubicBezTo>
                  <a:cubicBezTo>
                    <a:pt x="38" y="5"/>
                    <a:pt x="37" y="4"/>
                    <a:pt x="35" y="4"/>
                  </a:cubicBezTo>
                  <a:cubicBezTo>
                    <a:pt x="33" y="4"/>
                    <a:pt x="32" y="5"/>
                    <a:pt x="30" y="6"/>
                  </a:cubicBezTo>
                  <a:cubicBezTo>
                    <a:pt x="29" y="5"/>
                    <a:pt x="28" y="4"/>
                    <a:pt x="26" y="4"/>
                  </a:cubicBezTo>
                  <a:cubicBezTo>
                    <a:pt x="26" y="4"/>
                    <a:pt x="26" y="4"/>
                    <a:pt x="25" y="4"/>
                  </a:cubicBezTo>
                  <a:cubicBezTo>
                    <a:pt x="25" y="2"/>
                    <a:pt x="23" y="0"/>
                    <a:pt x="21" y="0"/>
                  </a:cubicBezTo>
                  <a:cubicBezTo>
                    <a:pt x="19" y="0"/>
                    <a:pt x="18" y="2"/>
                    <a:pt x="18" y="4"/>
                  </a:cubicBezTo>
                  <a:cubicBezTo>
                    <a:pt x="18" y="4"/>
                    <a:pt x="18" y="4"/>
                    <a:pt x="18" y="4"/>
                  </a:cubicBezTo>
                  <a:cubicBezTo>
                    <a:pt x="16" y="4"/>
                    <a:pt x="16" y="5"/>
                    <a:pt x="15" y="6"/>
                  </a:cubicBezTo>
                  <a:cubicBezTo>
                    <a:pt x="14" y="5"/>
                    <a:pt x="14" y="5"/>
                    <a:pt x="13" y="5"/>
                  </a:cubicBezTo>
                  <a:cubicBezTo>
                    <a:pt x="11" y="5"/>
                    <a:pt x="9" y="6"/>
                    <a:pt x="9" y="8"/>
                  </a:cubicBezTo>
                  <a:cubicBezTo>
                    <a:pt x="9" y="8"/>
                    <a:pt x="9" y="8"/>
                    <a:pt x="8" y="8"/>
                  </a:cubicBezTo>
                  <a:cubicBezTo>
                    <a:pt x="5" y="8"/>
                    <a:pt x="2" y="9"/>
                    <a:pt x="2" y="11"/>
                  </a:cubicBezTo>
                  <a:cubicBezTo>
                    <a:pt x="2" y="13"/>
                    <a:pt x="5" y="14"/>
                    <a:pt x="8" y="14"/>
                  </a:cubicBezTo>
                  <a:cubicBezTo>
                    <a:pt x="10" y="14"/>
                    <a:pt x="11" y="14"/>
                    <a:pt x="12" y="13"/>
                  </a:cubicBezTo>
                  <a:cubicBezTo>
                    <a:pt x="12" y="13"/>
                    <a:pt x="13" y="13"/>
                    <a:pt x="13" y="13"/>
                  </a:cubicBezTo>
                  <a:cubicBezTo>
                    <a:pt x="14" y="13"/>
                    <a:pt x="15" y="13"/>
                    <a:pt x="15" y="12"/>
                  </a:cubicBezTo>
                  <a:cubicBezTo>
                    <a:pt x="16" y="13"/>
                    <a:pt x="17" y="14"/>
                    <a:pt x="19" y="14"/>
                  </a:cubicBezTo>
                  <a:cubicBezTo>
                    <a:pt x="20" y="14"/>
                    <a:pt x="22" y="13"/>
                    <a:pt x="23" y="12"/>
                  </a:cubicBezTo>
                  <a:cubicBezTo>
                    <a:pt x="23" y="13"/>
                    <a:pt x="25" y="13"/>
                    <a:pt x="26" y="13"/>
                  </a:cubicBezTo>
                  <a:cubicBezTo>
                    <a:pt x="27" y="13"/>
                    <a:pt x="27" y="13"/>
                    <a:pt x="27" y="13"/>
                  </a:cubicBezTo>
                  <a:cubicBezTo>
                    <a:pt x="28" y="17"/>
                    <a:pt x="31" y="20"/>
                    <a:pt x="35" y="20"/>
                  </a:cubicBezTo>
                  <a:cubicBezTo>
                    <a:pt x="35" y="24"/>
                    <a:pt x="38" y="27"/>
                    <a:pt x="42" y="27"/>
                  </a:cubicBezTo>
                  <a:cubicBezTo>
                    <a:pt x="42" y="27"/>
                    <a:pt x="42" y="27"/>
                    <a:pt x="43" y="27"/>
                  </a:cubicBezTo>
                  <a:cubicBezTo>
                    <a:pt x="42" y="28"/>
                    <a:pt x="42" y="29"/>
                    <a:pt x="42" y="30"/>
                  </a:cubicBezTo>
                  <a:cubicBezTo>
                    <a:pt x="42" y="31"/>
                    <a:pt x="42" y="31"/>
                    <a:pt x="42" y="32"/>
                  </a:cubicBezTo>
                  <a:cubicBezTo>
                    <a:pt x="42" y="32"/>
                    <a:pt x="42" y="32"/>
                    <a:pt x="41" y="32"/>
                  </a:cubicBezTo>
                  <a:cubicBezTo>
                    <a:pt x="40" y="31"/>
                    <a:pt x="38" y="30"/>
                    <a:pt x="36" y="30"/>
                  </a:cubicBezTo>
                  <a:cubicBezTo>
                    <a:pt x="36" y="30"/>
                    <a:pt x="35" y="30"/>
                    <a:pt x="34" y="31"/>
                  </a:cubicBezTo>
                  <a:cubicBezTo>
                    <a:pt x="34" y="27"/>
                    <a:pt x="31" y="24"/>
                    <a:pt x="28" y="24"/>
                  </a:cubicBezTo>
                  <a:cubicBezTo>
                    <a:pt x="26" y="24"/>
                    <a:pt x="24" y="25"/>
                    <a:pt x="22" y="27"/>
                  </a:cubicBezTo>
                  <a:cubicBezTo>
                    <a:pt x="21" y="24"/>
                    <a:pt x="18" y="23"/>
                    <a:pt x="15" y="23"/>
                  </a:cubicBezTo>
                  <a:cubicBezTo>
                    <a:pt x="11" y="23"/>
                    <a:pt x="7" y="27"/>
                    <a:pt x="7" y="31"/>
                  </a:cubicBezTo>
                  <a:cubicBezTo>
                    <a:pt x="7" y="33"/>
                    <a:pt x="7" y="34"/>
                    <a:pt x="8" y="35"/>
                  </a:cubicBezTo>
                  <a:cubicBezTo>
                    <a:pt x="7" y="34"/>
                    <a:pt x="6" y="34"/>
                    <a:pt x="5" y="34"/>
                  </a:cubicBezTo>
                  <a:cubicBezTo>
                    <a:pt x="2" y="34"/>
                    <a:pt x="0" y="36"/>
                    <a:pt x="0" y="39"/>
                  </a:cubicBezTo>
                  <a:cubicBezTo>
                    <a:pt x="0" y="41"/>
                    <a:pt x="2" y="44"/>
                    <a:pt x="5" y="44"/>
                  </a:cubicBezTo>
                  <a:cubicBezTo>
                    <a:pt x="6" y="44"/>
                    <a:pt x="7" y="43"/>
                    <a:pt x="7" y="43"/>
                  </a:cubicBezTo>
                  <a:cubicBezTo>
                    <a:pt x="8" y="45"/>
                    <a:pt x="11" y="47"/>
                    <a:pt x="13" y="48"/>
                  </a:cubicBezTo>
                  <a:cubicBezTo>
                    <a:pt x="14" y="49"/>
                    <a:pt x="16" y="50"/>
                    <a:pt x="18" y="50"/>
                  </a:cubicBezTo>
                  <a:cubicBezTo>
                    <a:pt x="18" y="50"/>
                    <a:pt x="19" y="50"/>
                    <a:pt x="20" y="49"/>
                  </a:cubicBezTo>
                  <a:cubicBezTo>
                    <a:pt x="22" y="53"/>
                    <a:pt x="25" y="55"/>
                    <a:pt x="29" y="55"/>
                  </a:cubicBezTo>
                  <a:cubicBezTo>
                    <a:pt x="34" y="55"/>
                    <a:pt x="38" y="52"/>
                    <a:pt x="3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grpSp>
      <p:sp>
        <p:nvSpPr>
          <p:cNvPr id="54" name="Freeform 13"/>
          <p:cNvSpPr>
            <a:spLocks/>
          </p:cNvSpPr>
          <p:nvPr/>
        </p:nvSpPr>
        <p:spPr bwMode="auto">
          <a:xfrm>
            <a:off x="6740756" y="4203062"/>
            <a:ext cx="866723" cy="1234924"/>
          </a:xfrm>
          <a:custGeom>
            <a:avLst/>
            <a:gdLst>
              <a:gd name="T0" fmla="*/ 80 w 80"/>
              <a:gd name="T1" fmla="*/ 87 h 114"/>
              <a:gd name="T2" fmla="*/ 75 w 80"/>
              <a:gd name="T3" fmla="*/ 82 h 114"/>
              <a:gd name="T4" fmla="*/ 65 w 80"/>
              <a:gd name="T5" fmla="*/ 78 h 114"/>
              <a:gd name="T6" fmla="*/ 65 w 80"/>
              <a:gd name="T7" fmla="*/ 76 h 114"/>
              <a:gd name="T8" fmla="*/ 64 w 80"/>
              <a:gd name="T9" fmla="*/ 76 h 114"/>
              <a:gd name="T10" fmla="*/ 64 w 80"/>
              <a:gd name="T11" fmla="*/ 60 h 114"/>
              <a:gd name="T12" fmla="*/ 62 w 80"/>
              <a:gd name="T13" fmla="*/ 66 h 114"/>
              <a:gd name="T14" fmla="*/ 64 w 80"/>
              <a:gd name="T15" fmla="*/ 76 h 114"/>
              <a:gd name="T16" fmla="*/ 63 w 80"/>
              <a:gd name="T17" fmla="*/ 77 h 114"/>
              <a:gd name="T18" fmla="*/ 63 w 80"/>
              <a:gd name="T19" fmla="*/ 78 h 114"/>
              <a:gd name="T20" fmla="*/ 48 w 80"/>
              <a:gd name="T21" fmla="*/ 86 h 114"/>
              <a:gd name="T22" fmla="*/ 55 w 80"/>
              <a:gd name="T23" fmla="*/ 85 h 114"/>
              <a:gd name="T24" fmla="*/ 63 w 80"/>
              <a:gd name="T25" fmla="*/ 79 h 114"/>
              <a:gd name="T26" fmla="*/ 63 w 80"/>
              <a:gd name="T27" fmla="*/ 79 h 114"/>
              <a:gd name="T28" fmla="*/ 64 w 80"/>
              <a:gd name="T29" fmla="*/ 79 h 114"/>
              <a:gd name="T30" fmla="*/ 62 w 80"/>
              <a:gd name="T31" fmla="*/ 110 h 114"/>
              <a:gd name="T32" fmla="*/ 43 w 80"/>
              <a:gd name="T33" fmla="*/ 110 h 114"/>
              <a:gd name="T34" fmla="*/ 40 w 80"/>
              <a:gd name="T35" fmla="*/ 41 h 114"/>
              <a:gd name="T36" fmla="*/ 41 w 80"/>
              <a:gd name="T37" fmla="*/ 41 h 114"/>
              <a:gd name="T38" fmla="*/ 72 w 80"/>
              <a:gd name="T39" fmla="*/ 59 h 114"/>
              <a:gd name="T40" fmla="*/ 63 w 80"/>
              <a:gd name="T41" fmla="*/ 48 h 114"/>
              <a:gd name="T42" fmla="*/ 42 w 80"/>
              <a:gd name="T43" fmla="*/ 39 h 114"/>
              <a:gd name="T44" fmla="*/ 41 w 80"/>
              <a:gd name="T45" fmla="*/ 36 h 114"/>
              <a:gd name="T46" fmla="*/ 40 w 80"/>
              <a:gd name="T47" fmla="*/ 36 h 114"/>
              <a:gd name="T48" fmla="*/ 40 w 80"/>
              <a:gd name="T49" fmla="*/ 0 h 114"/>
              <a:gd name="T50" fmla="*/ 35 w 80"/>
              <a:gd name="T51" fmla="*/ 13 h 114"/>
              <a:gd name="T52" fmla="*/ 38 w 80"/>
              <a:gd name="T53" fmla="*/ 36 h 114"/>
              <a:gd name="T54" fmla="*/ 37 w 80"/>
              <a:gd name="T55" fmla="*/ 37 h 114"/>
              <a:gd name="T56" fmla="*/ 36 w 80"/>
              <a:gd name="T57" fmla="*/ 40 h 114"/>
              <a:gd name="T58" fmla="*/ 5 w 80"/>
              <a:gd name="T59" fmla="*/ 57 h 114"/>
              <a:gd name="T60" fmla="*/ 19 w 80"/>
              <a:gd name="T61" fmla="*/ 55 h 114"/>
              <a:gd name="T62" fmla="*/ 37 w 80"/>
              <a:gd name="T63" fmla="*/ 41 h 114"/>
              <a:gd name="T64" fmla="*/ 38 w 80"/>
              <a:gd name="T65" fmla="*/ 41 h 114"/>
              <a:gd name="T66" fmla="*/ 38 w 80"/>
              <a:gd name="T67" fmla="*/ 41 h 114"/>
              <a:gd name="T68" fmla="*/ 35 w 80"/>
              <a:gd name="T69" fmla="*/ 110 h 114"/>
              <a:gd name="T70" fmla="*/ 17 w 80"/>
              <a:gd name="T71" fmla="*/ 110 h 114"/>
              <a:gd name="T72" fmla="*/ 16 w 80"/>
              <a:gd name="T73" fmla="*/ 79 h 114"/>
              <a:gd name="T74" fmla="*/ 17 w 80"/>
              <a:gd name="T75" fmla="*/ 78 h 114"/>
              <a:gd name="T76" fmla="*/ 31 w 80"/>
              <a:gd name="T77" fmla="*/ 87 h 114"/>
              <a:gd name="T78" fmla="*/ 27 w 80"/>
              <a:gd name="T79" fmla="*/ 82 h 114"/>
              <a:gd name="T80" fmla="*/ 17 w 80"/>
              <a:gd name="T81" fmla="*/ 78 h 114"/>
              <a:gd name="T82" fmla="*/ 16 w 80"/>
              <a:gd name="T83" fmla="*/ 76 h 114"/>
              <a:gd name="T84" fmla="*/ 16 w 80"/>
              <a:gd name="T85" fmla="*/ 76 h 114"/>
              <a:gd name="T86" fmla="*/ 16 w 80"/>
              <a:gd name="T87" fmla="*/ 60 h 114"/>
              <a:gd name="T88" fmla="*/ 14 w 80"/>
              <a:gd name="T89" fmla="*/ 66 h 114"/>
              <a:gd name="T90" fmla="*/ 15 w 80"/>
              <a:gd name="T91" fmla="*/ 76 h 114"/>
              <a:gd name="T92" fmla="*/ 14 w 80"/>
              <a:gd name="T93" fmla="*/ 77 h 114"/>
              <a:gd name="T94" fmla="*/ 14 w 80"/>
              <a:gd name="T95" fmla="*/ 78 h 114"/>
              <a:gd name="T96" fmla="*/ 0 w 80"/>
              <a:gd name="T97" fmla="*/ 86 h 114"/>
              <a:gd name="T98" fmla="*/ 6 w 80"/>
              <a:gd name="T99" fmla="*/ 85 h 114"/>
              <a:gd name="T100" fmla="*/ 15 w 80"/>
              <a:gd name="T101" fmla="*/ 79 h 114"/>
              <a:gd name="T102" fmla="*/ 15 w 80"/>
              <a:gd name="T103" fmla="*/ 79 h 114"/>
              <a:gd name="T104" fmla="*/ 15 w 80"/>
              <a:gd name="T105" fmla="*/ 79 h 114"/>
              <a:gd name="T106" fmla="*/ 14 w 80"/>
              <a:gd name="T107" fmla="*/ 110 h 114"/>
              <a:gd name="T108" fmla="*/ 10 w 80"/>
              <a:gd name="T109" fmla="*/ 110 h 114"/>
              <a:gd name="T110" fmla="*/ 10 w 80"/>
              <a:gd name="T111" fmla="*/ 114 h 114"/>
              <a:gd name="T112" fmla="*/ 69 w 80"/>
              <a:gd name="T113" fmla="*/ 114 h 114"/>
              <a:gd name="T114" fmla="*/ 69 w 80"/>
              <a:gd name="T115" fmla="*/ 110 h 114"/>
              <a:gd name="T116" fmla="*/ 66 w 80"/>
              <a:gd name="T117" fmla="*/ 110 h 114"/>
              <a:gd name="T118" fmla="*/ 65 w 80"/>
              <a:gd name="T119" fmla="*/ 79 h 114"/>
              <a:gd name="T120" fmla="*/ 65 w 80"/>
              <a:gd name="T121" fmla="*/ 78 h 114"/>
              <a:gd name="T122" fmla="*/ 80 w 80"/>
              <a:gd name="T123" fmla="*/ 8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 h="114">
                <a:moveTo>
                  <a:pt x="80" y="87"/>
                </a:moveTo>
                <a:cubicBezTo>
                  <a:pt x="80" y="86"/>
                  <a:pt x="80" y="84"/>
                  <a:pt x="75" y="82"/>
                </a:cubicBezTo>
                <a:cubicBezTo>
                  <a:pt x="72" y="80"/>
                  <a:pt x="68" y="78"/>
                  <a:pt x="65" y="78"/>
                </a:cubicBezTo>
                <a:cubicBezTo>
                  <a:pt x="66" y="77"/>
                  <a:pt x="65" y="77"/>
                  <a:pt x="65" y="76"/>
                </a:cubicBezTo>
                <a:cubicBezTo>
                  <a:pt x="65" y="76"/>
                  <a:pt x="65" y="76"/>
                  <a:pt x="64" y="76"/>
                </a:cubicBezTo>
                <a:cubicBezTo>
                  <a:pt x="64" y="60"/>
                  <a:pt x="64" y="60"/>
                  <a:pt x="64" y="60"/>
                </a:cubicBezTo>
                <a:cubicBezTo>
                  <a:pt x="64" y="60"/>
                  <a:pt x="62" y="61"/>
                  <a:pt x="62" y="66"/>
                </a:cubicBezTo>
                <a:cubicBezTo>
                  <a:pt x="62" y="69"/>
                  <a:pt x="63" y="74"/>
                  <a:pt x="64" y="76"/>
                </a:cubicBezTo>
                <a:cubicBezTo>
                  <a:pt x="63" y="76"/>
                  <a:pt x="63" y="76"/>
                  <a:pt x="63" y="77"/>
                </a:cubicBezTo>
                <a:cubicBezTo>
                  <a:pt x="63" y="77"/>
                  <a:pt x="63" y="78"/>
                  <a:pt x="63" y="78"/>
                </a:cubicBezTo>
                <a:cubicBezTo>
                  <a:pt x="48" y="86"/>
                  <a:pt x="48" y="86"/>
                  <a:pt x="48" y="86"/>
                </a:cubicBezTo>
                <a:cubicBezTo>
                  <a:pt x="49" y="87"/>
                  <a:pt x="51" y="88"/>
                  <a:pt x="55" y="85"/>
                </a:cubicBezTo>
                <a:cubicBezTo>
                  <a:pt x="58" y="83"/>
                  <a:pt x="62" y="80"/>
                  <a:pt x="63" y="79"/>
                </a:cubicBezTo>
                <a:cubicBezTo>
                  <a:pt x="63" y="79"/>
                  <a:pt x="63" y="79"/>
                  <a:pt x="63" y="79"/>
                </a:cubicBezTo>
                <a:cubicBezTo>
                  <a:pt x="63" y="79"/>
                  <a:pt x="64" y="79"/>
                  <a:pt x="64" y="79"/>
                </a:cubicBezTo>
                <a:cubicBezTo>
                  <a:pt x="62" y="110"/>
                  <a:pt x="62" y="110"/>
                  <a:pt x="62" y="110"/>
                </a:cubicBezTo>
                <a:cubicBezTo>
                  <a:pt x="43" y="110"/>
                  <a:pt x="43" y="110"/>
                  <a:pt x="43" y="110"/>
                </a:cubicBezTo>
                <a:cubicBezTo>
                  <a:pt x="40" y="41"/>
                  <a:pt x="40" y="41"/>
                  <a:pt x="40" y="41"/>
                </a:cubicBezTo>
                <a:cubicBezTo>
                  <a:pt x="41" y="41"/>
                  <a:pt x="41" y="41"/>
                  <a:pt x="41" y="41"/>
                </a:cubicBezTo>
                <a:cubicBezTo>
                  <a:pt x="72" y="59"/>
                  <a:pt x="72" y="59"/>
                  <a:pt x="72" y="59"/>
                </a:cubicBezTo>
                <a:cubicBezTo>
                  <a:pt x="73" y="57"/>
                  <a:pt x="72" y="53"/>
                  <a:pt x="63" y="48"/>
                </a:cubicBezTo>
                <a:cubicBezTo>
                  <a:pt x="56" y="44"/>
                  <a:pt x="47" y="40"/>
                  <a:pt x="42" y="39"/>
                </a:cubicBezTo>
                <a:cubicBezTo>
                  <a:pt x="42" y="38"/>
                  <a:pt x="42" y="37"/>
                  <a:pt x="41" y="36"/>
                </a:cubicBezTo>
                <a:cubicBezTo>
                  <a:pt x="40" y="36"/>
                  <a:pt x="40" y="36"/>
                  <a:pt x="40" y="36"/>
                </a:cubicBezTo>
                <a:cubicBezTo>
                  <a:pt x="40" y="0"/>
                  <a:pt x="40" y="0"/>
                  <a:pt x="40" y="0"/>
                </a:cubicBezTo>
                <a:cubicBezTo>
                  <a:pt x="38" y="0"/>
                  <a:pt x="35" y="3"/>
                  <a:pt x="35" y="13"/>
                </a:cubicBezTo>
                <a:cubicBezTo>
                  <a:pt x="35" y="21"/>
                  <a:pt x="37" y="32"/>
                  <a:pt x="38" y="36"/>
                </a:cubicBezTo>
                <a:cubicBezTo>
                  <a:pt x="38" y="36"/>
                  <a:pt x="37" y="37"/>
                  <a:pt x="37" y="37"/>
                </a:cubicBezTo>
                <a:cubicBezTo>
                  <a:pt x="36" y="38"/>
                  <a:pt x="36" y="39"/>
                  <a:pt x="36" y="40"/>
                </a:cubicBezTo>
                <a:cubicBezTo>
                  <a:pt x="5" y="57"/>
                  <a:pt x="5" y="57"/>
                  <a:pt x="5" y="57"/>
                </a:cubicBezTo>
                <a:cubicBezTo>
                  <a:pt x="6" y="59"/>
                  <a:pt x="10" y="60"/>
                  <a:pt x="19" y="55"/>
                </a:cubicBezTo>
                <a:cubicBezTo>
                  <a:pt x="26" y="51"/>
                  <a:pt x="34" y="45"/>
                  <a:pt x="37" y="41"/>
                </a:cubicBezTo>
                <a:cubicBezTo>
                  <a:pt x="37" y="41"/>
                  <a:pt x="37" y="41"/>
                  <a:pt x="38" y="41"/>
                </a:cubicBezTo>
                <a:cubicBezTo>
                  <a:pt x="38" y="41"/>
                  <a:pt x="38" y="41"/>
                  <a:pt x="38" y="41"/>
                </a:cubicBezTo>
                <a:cubicBezTo>
                  <a:pt x="35" y="110"/>
                  <a:pt x="35" y="110"/>
                  <a:pt x="35" y="110"/>
                </a:cubicBezTo>
                <a:cubicBezTo>
                  <a:pt x="17" y="110"/>
                  <a:pt x="17" y="110"/>
                  <a:pt x="17" y="110"/>
                </a:cubicBezTo>
                <a:cubicBezTo>
                  <a:pt x="16" y="79"/>
                  <a:pt x="16" y="79"/>
                  <a:pt x="16" y="79"/>
                </a:cubicBezTo>
                <a:cubicBezTo>
                  <a:pt x="16" y="79"/>
                  <a:pt x="16" y="79"/>
                  <a:pt x="17" y="78"/>
                </a:cubicBezTo>
                <a:cubicBezTo>
                  <a:pt x="31" y="87"/>
                  <a:pt x="31" y="87"/>
                  <a:pt x="31" y="87"/>
                </a:cubicBezTo>
                <a:cubicBezTo>
                  <a:pt x="31" y="86"/>
                  <a:pt x="31" y="84"/>
                  <a:pt x="27" y="82"/>
                </a:cubicBezTo>
                <a:cubicBezTo>
                  <a:pt x="24" y="80"/>
                  <a:pt x="19" y="78"/>
                  <a:pt x="17" y="78"/>
                </a:cubicBezTo>
                <a:cubicBezTo>
                  <a:pt x="17" y="77"/>
                  <a:pt x="17" y="77"/>
                  <a:pt x="16" y="76"/>
                </a:cubicBezTo>
                <a:cubicBezTo>
                  <a:pt x="16" y="76"/>
                  <a:pt x="16" y="76"/>
                  <a:pt x="16" y="76"/>
                </a:cubicBezTo>
                <a:cubicBezTo>
                  <a:pt x="16" y="60"/>
                  <a:pt x="16" y="60"/>
                  <a:pt x="16" y="60"/>
                </a:cubicBezTo>
                <a:cubicBezTo>
                  <a:pt x="15" y="60"/>
                  <a:pt x="14" y="61"/>
                  <a:pt x="14" y="66"/>
                </a:cubicBezTo>
                <a:cubicBezTo>
                  <a:pt x="14" y="69"/>
                  <a:pt x="14" y="74"/>
                  <a:pt x="15" y="76"/>
                </a:cubicBezTo>
                <a:cubicBezTo>
                  <a:pt x="15" y="76"/>
                  <a:pt x="15" y="76"/>
                  <a:pt x="14" y="77"/>
                </a:cubicBezTo>
                <a:cubicBezTo>
                  <a:pt x="14" y="77"/>
                  <a:pt x="14" y="78"/>
                  <a:pt x="14" y="78"/>
                </a:cubicBezTo>
                <a:cubicBezTo>
                  <a:pt x="0" y="86"/>
                  <a:pt x="0" y="86"/>
                  <a:pt x="0" y="86"/>
                </a:cubicBezTo>
                <a:cubicBezTo>
                  <a:pt x="0" y="87"/>
                  <a:pt x="2" y="88"/>
                  <a:pt x="6" y="85"/>
                </a:cubicBezTo>
                <a:cubicBezTo>
                  <a:pt x="10" y="83"/>
                  <a:pt x="13" y="80"/>
                  <a:pt x="15" y="79"/>
                </a:cubicBezTo>
                <a:cubicBezTo>
                  <a:pt x="15" y="79"/>
                  <a:pt x="15" y="79"/>
                  <a:pt x="15" y="79"/>
                </a:cubicBezTo>
                <a:cubicBezTo>
                  <a:pt x="15" y="79"/>
                  <a:pt x="15" y="79"/>
                  <a:pt x="15" y="79"/>
                </a:cubicBezTo>
                <a:cubicBezTo>
                  <a:pt x="14" y="110"/>
                  <a:pt x="14" y="110"/>
                  <a:pt x="14" y="110"/>
                </a:cubicBezTo>
                <a:cubicBezTo>
                  <a:pt x="10" y="110"/>
                  <a:pt x="10" y="110"/>
                  <a:pt x="10" y="110"/>
                </a:cubicBezTo>
                <a:cubicBezTo>
                  <a:pt x="10" y="114"/>
                  <a:pt x="10" y="114"/>
                  <a:pt x="10" y="114"/>
                </a:cubicBezTo>
                <a:cubicBezTo>
                  <a:pt x="69" y="114"/>
                  <a:pt x="69" y="114"/>
                  <a:pt x="69" y="114"/>
                </a:cubicBezTo>
                <a:cubicBezTo>
                  <a:pt x="69" y="110"/>
                  <a:pt x="69" y="110"/>
                  <a:pt x="69" y="110"/>
                </a:cubicBezTo>
                <a:cubicBezTo>
                  <a:pt x="66" y="110"/>
                  <a:pt x="66" y="110"/>
                  <a:pt x="66" y="110"/>
                </a:cubicBezTo>
                <a:cubicBezTo>
                  <a:pt x="65" y="79"/>
                  <a:pt x="65" y="79"/>
                  <a:pt x="65" y="79"/>
                </a:cubicBezTo>
                <a:cubicBezTo>
                  <a:pt x="65" y="79"/>
                  <a:pt x="65" y="79"/>
                  <a:pt x="65" y="78"/>
                </a:cubicBezTo>
                <a:lnTo>
                  <a:pt x="80" y="87"/>
                </a:lnTo>
                <a:close/>
              </a:path>
            </a:pathLst>
          </a:custGeom>
          <a:solidFill>
            <a:schemeClr val="accent6"/>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55" name="Freeform 6"/>
          <p:cNvSpPr>
            <a:spLocks noEditPoints="1"/>
          </p:cNvSpPr>
          <p:nvPr/>
        </p:nvSpPr>
        <p:spPr bwMode="auto">
          <a:xfrm>
            <a:off x="4007099" y="4377515"/>
            <a:ext cx="1348268" cy="1079185"/>
          </a:xfrm>
          <a:custGeom>
            <a:avLst/>
            <a:gdLst>
              <a:gd name="T0" fmla="*/ 445 w 466"/>
              <a:gd name="T1" fmla="*/ 342 h 373"/>
              <a:gd name="T2" fmla="*/ 426 w 466"/>
              <a:gd name="T3" fmla="*/ 327 h 373"/>
              <a:gd name="T4" fmla="*/ 445 w 466"/>
              <a:gd name="T5" fmla="*/ 306 h 373"/>
              <a:gd name="T6" fmla="*/ 417 w 466"/>
              <a:gd name="T7" fmla="*/ 197 h 373"/>
              <a:gd name="T8" fmla="*/ 346 w 466"/>
              <a:gd name="T9" fmla="*/ 38 h 373"/>
              <a:gd name="T10" fmla="*/ 248 w 466"/>
              <a:gd name="T11" fmla="*/ 28 h 373"/>
              <a:gd name="T12" fmla="*/ 84 w 466"/>
              <a:gd name="T13" fmla="*/ 248 h 373"/>
              <a:gd name="T14" fmla="*/ 45 w 466"/>
              <a:gd name="T15" fmla="*/ 279 h 373"/>
              <a:gd name="T16" fmla="*/ 52 w 466"/>
              <a:gd name="T17" fmla="*/ 327 h 373"/>
              <a:gd name="T18" fmla="*/ 42 w 466"/>
              <a:gd name="T19" fmla="*/ 339 h 373"/>
              <a:gd name="T20" fmla="*/ 22 w 466"/>
              <a:gd name="T21" fmla="*/ 351 h 373"/>
              <a:gd name="T22" fmla="*/ 0 w 466"/>
              <a:gd name="T23" fmla="*/ 373 h 373"/>
              <a:gd name="T24" fmla="*/ 466 w 466"/>
              <a:gd name="T25" fmla="*/ 351 h 373"/>
              <a:gd name="T26" fmla="*/ 213 w 466"/>
              <a:gd name="T27" fmla="*/ 192 h 373"/>
              <a:gd name="T28" fmla="*/ 241 w 466"/>
              <a:gd name="T29" fmla="*/ 223 h 373"/>
              <a:gd name="T30" fmla="*/ 213 w 466"/>
              <a:gd name="T31" fmla="*/ 192 h 373"/>
              <a:gd name="T32" fmla="*/ 248 w 466"/>
              <a:gd name="T33" fmla="*/ 246 h 373"/>
              <a:gd name="T34" fmla="*/ 202 w 466"/>
              <a:gd name="T35" fmla="*/ 278 h 373"/>
              <a:gd name="T36" fmla="*/ 77 w 466"/>
              <a:gd name="T37" fmla="*/ 269 h 373"/>
              <a:gd name="T38" fmla="*/ 77 w 466"/>
              <a:gd name="T39" fmla="*/ 289 h 373"/>
              <a:gd name="T40" fmla="*/ 77 w 466"/>
              <a:gd name="T41" fmla="*/ 269 h 373"/>
              <a:gd name="T42" fmla="*/ 64 w 466"/>
              <a:gd name="T43" fmla="*/ 327 h 373"/>
              <a:gd name="T44" fmla="*/ 77 w 466"/>
              <a:gd name="T45" fmla="*/ 311 h 373"/>
              <a:gd name="T46" fmla="*/ 89 w 466"/>
              <a:gd name="T47" fmla="*/ 327 h 373"/>
              <a:gd name="T48" fmla="*/ 108 w 466"/>
              <a:gd name="T49" fmla="*/ 351 h 373"/>
              <a:gd name="T50" fmla="*/ 101 w 466"/>
              <a:gd name="T51" fmla="*/ 327 h 373"/>
              <a:gd name="T52" fmla="*/ 108 w 466"/>
              <a:gd name="T53" fmla="*/ 279 h 373"/>
              <a:gd name="T54" fmla="*/ 176 w 466"/>
              <a:gd name="T55" fmla="*/ 222 h 373"/>
              <a:gd name="T56" fmla="*/ 192 w 466"/>
              <a:gd name="T57" fmla="*/ 351 h 373"/>
              <a:gd name="T58" fmla="*/ 255 w 466"/>
              <a:gd name="T59" fmla="*/ 351 h 373"/>
              <a:gd name="T60" fmla="*/ 204 w 466"/>
              <a:gd name="T61" fmla="*/ 299 h 373"/>
              <a:gd name="T62" fmla="*/ 280 w 466"/>
              <a:gd name="T63" fmla="*/ 344 h 373"/>
              <a:gd name="T64" fmla="*/ 406 w 466"/>
              <a:gd name="T65" fmla="*/ 306 h 373"/>
              <a:gd name="T66" fmla="*/ 378 w 466"/>
              <a:gd name="T67" fmla="*/ 327 h 373"/>
              <a:gd name="T68" fmla="*/ 397 w 466"/>
              <a:gd name="T69" fmla="*/ 342 h 373"/>
              <a:gd name="T70" fmla="*/ 378 w 466"/>
              <a:gd name="T71" fmla="*/ 351 h 373"/>
              <a:gd name="T72" fmla="*/ 255 w 466"/>
              <a:gd name="T73" fmla="*/ 158 h 373"/>
              <a:gd name="T74" fmla="*/ 406 w 466"/>
              <a:gd name="T75" fmla="*/ 205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6" h="373">
                <a:moveTo>
                  <a:pt x="445" y="351"/>
                </a:moveTo>
                <a:cubicBezTo>
                  <a:pt x="445" y="342"/>
                  <a:pt x="445" y="342"/>
                  <a:pt x="445" y="342"/>
                </a:cubicBezTo>
                <a:cubicBezTo>
                  <a:pt x="426" y="342"/>
                  <a:pt x="426" y="342"/>
                  <a:pt x="426" y="342"/>
                </a:cubicBezTo>
                <a:cubicBezTo>
                  <a:pt x="426" y="327"/>
                  <a:pt x="426" y="327"/>
                  <a:pt x="426" y="327"/>
                </a:cubicBezTo>
                <a:cubicBezTo>
                  <a:pt x="445" y="327"/>
                  <a:pt x="445" y="327"/>
                  <a:pt x="445" y="327"/>
                </a:cubicBezTo>
                <a:cubicBezTo>
                  <a:pt x="445" y="306"/>
                  <a:pt x="445" y="306"/>
                  <a:pt x="445" y="306"/>
                </a:cubicBezTo>
                <a:cubicBezTo>
                  <a:pt x="417" y="306"/>
                  <a:pt x="417" y="306"/>
                  <a:pt x="417" y="306"/>
                </a:cubicBezTo>
                <a:cubicBezTo>
                  <a:pt x="417" y="197"/>
                  <a:pt x="417" y="197"/>
                  <a:pt x="417" y="197"/>
                </a:cubicBezTo>
                <a:cubicBezTo>
                  <a:pt x="428" y="188"/>
                  <a:pt x="428" y="188"/>
                  <a:pt x="428" y="188"/>
                </a:cubicBezTo>
                <a:cubicBezTo>
                  <a:pt x="346" y="38"/>
                  <a:pt x="346" y="38"/>
                  <a:pt x="346" y="38"/>
                </a:cubicBezTo>
                <a:cubicBezTo>
                  <a:pt x="284" y="0"/>
                  <a:pt x="284" y="0"/>
                  <a:pt x="284" y="0"/>
                </a:cubicBezTo>
                <a:cubicBezTo>
                  <a:pt x="248" y="28"/>
                  <a:pt x="248" y="28"/>
                  <a:pt x="248" y="28"/>
                </a:cubicBezTo>
                <a:cubicBezTo>
                  <a:pt x="276" y="93"/>
                  <a:pt x="276" y="93"/>
                  <a:pt x="276" y="93"/>
                </a:cubicBezTo>
                <a:cubicBezTo>
                  <a:pt x="84" y="248"/>
                  <a:pt x="84" y="248"/>
                  <a:pt x="84" y="248"/>
                </a:cubicBezTo>
                <a:cubicBezTo>
                  <a:pt x="81" y="248"/>
                  <a:pt x="79" y="248"/>
                  <a:pt x="77" y="248"/>
                </a:cubicBezTo>
                <a:cubicBezTo>
                  <a:pt x="59" y="248"/>
                  <a:pt x="45" y="262"/>
                  <a:pt x="45" y="279"/>
                </a:cubicBezTo>
                <a:cubicBezTo>
                  <a:pt x="45" y="287"/>
                  <a:pt x="48" y="294"/>
                  <a:pt x="52" y="299"/>
                </a:cubicBezTo>
                <a:cubicBezTo>
                  <a:pt x="52" y="327"/>
                  <a:pt x="52" y="327"/>
                  <a:pt x="52" y="327"/>
                </a:cubicBezTo>
                <a:cubicBezTo>
                  <a:pt x="42" y="327"/>
                  <a:pt x="42" y="327"/>
                  <a:pt x="42" y="327"/>
                </a:cubicBezTo>
                <a:cubicBezTo>
                  <a:pt x="42" y="339"/>
                  <a:pt x="42" y="339"/>
                  <a:pt x="42" y="339"/>
                </a:cubicBezTo>
                <a:cubicBezTo>
                  <a:pt x="22" y="339"/>
                  <a:pt x="22" y="339"/>
                  <a:pt x="22" y="339"/>
                </a:cubicBezTo>
                <a:cubicBezTo>
                  <a:pt x="22" y="351"/>
                  <a:pt x="22" y="351"/>
                  <a:pt x="22" y="351"/>
                </a:cubicBezTo>
                <a:cubicBezTo>
                  <a:pt x="0" y="351"/>
                  <a:pt x="0" y="351"/>
                  <a:pt x="0" y="351"/>
                </a:cubicBezTo>
                <a:cubicBezTo>
                  <a:pt x="0" y="373"/>
                  <a:pt x="0" y="373"/>
                  <a:pt x="0" y="373"/>
                </a:cubicBezTo>
                <a:cubicBezTo>
                  <a:pt x="466" y="373"/>
                  <a:pt x="466" y="373"/>
                  <a:pt x="466" y="373"/>
                </a:cubicBezTo>
                <a:cubicBezTo>
                  <a:pt x="466" y="351"/>
                  <a:pt x="466" y="351"/>
                  <a:pt x="466" y="351"/>
                </a:cubicBezTo>
                <a:lnTo>
                  <a:pt x="445" y="351"/>
                </a:lnTo>
                <a:close/>
                <a:moveTo>
                  <a:pt x="213" y="192"/>
                </a:moveTo>
                <a:cubicBezTo>
                  <a:pt x="228" y="180"/>
                  <a:pt x="228" y="180"/>
                  <a:pt x="228" y="180"/>
                </a:cubicBezTo>
                <a:cubicBezTo>
                  <a:pt x="241" y="223"/>
                  <a:pt x="241" y="223"/>
                  <a:pt x="241" y="223"/>
                </a:cubicBezTo>
                <a:cubicBezTo>
                  <a:pt x="211" y="211"/>
                  <a:pt x="211" y="211"/>
                  <a:pt x="211" y="211"/>
                </a:cubicBezTo>
                <a:lnTo>
                  <a:pt x="213" y="192"/>
                </a:lnTo>
                <a:close/>
                <a:moveTo>
                  <a:pt x="208" y="230"/>
                </a:moveTo>
                <a:cubicBezTo>
                  <a:pt x="248" y="246"/>
                  <a:pt x="248" y="246"/>
                  <a:pt x="248" y="246"/>
                </a:cubicBezTo>
                <a:cubicBezTo>
                  <a:pt x="249" y="247"/>
                  <a:pt x="249" y="247"/>
                  <a:pt x="249" y="247"/>
                </a:cubicBezTo>
                <a:cubicBezTo>
                  <a:pt x="202" y="278"/>
                  <a:pt x="202" y="278"/>
                  <a:pt x="202" y="278"/>
                </a:cubicBezTo>
                <a:lnTo>
                  <a:pt x="208" y="230"/>
                </a:lnTo>
                <a:close/>
                <a:moveTo>
                  <a:pt x="77" y="269"/>
                </a:moveTo>
                <a:cubicBezTo>
                  <a:pt x="82" y="269"/>
                  <a:pt x="87" y="274"/>
                  <a:pt x="87" y="279"/>
                </a:cubicBezTo>
                <a:cubicBezTo>
                  <a:pt x="87" y="285"/>
                  <a:pt x="82" y="289"/>
                  <a:pt x="77" y="289"/>
                </a:cubicBezTo>
                <a:cubicBezTo>
                  <a:pt x="71" y="289"/>
                  <a:pt x="67" y="285"/>
                  <a:pt x="67" y="279"/>
                </a:cubicBezTo>
                <a:cubicBezTo>
                  <a:pt x="67" y="274"/>
                  <a:pt x="71" y="269"/>
                  <a:pt x="77" y="269"/>
                </a:cubicBezTo>
                <a:close/>
                <a:moveTo>
                  <a:pt x="89" y="327"/>
                </a:moveTo>
                <a:cubicBezTo>
                  <a:pt x="64" y="327"/>
                  <a:pt x="64" y="327"/>
                  <a:pt x="64" y="327"/>
                </a:cubicBezTo>
                <a:cubicBezTo>
                  <a:pt x="64" y="309"/>
                  <a:pt x="64" y="309"/>
                  <a:pt x="64" y="309"/>
                </a:cubicBezTo>
                <a:cubicBezTo>
                  <a:pt x="68" y="310"/>
                  <a:pt x="72" y="311"/>
                  <a:pt x="77" y="311"/>
                </a:cubicBezTo>
                <a:cubicBezTo>
                  <a:pt x="81" y="311"/>
                  <a:pt x="85" y="310"/>
                  <a:pt x="89" y="309"/>
                </a:cubicBezTo>
                <a:lnTo>
                  <a:pt x="89" y="327"/>
                </a:lnTo>
                <a:close/>
                <a:moveTo>
                  <a:pt x="159" y="351"/>
                </a:moveTo>
                <a:cubicBezTo>
                  <a:pt x="108" y="351"/>
                  <a:pt x="108" y="351"/>
                  <a:pt x="108" y="351"/>
                </a:cubicBezTo>
                <a:cubicBezTo>
                  <a:pt x="108" y="327"/>
                  <a:pt x="108" y="327"/>
                  <a:pt x="108" y="327"/>
                </a:cubicBezTo>
                <a:cubicBezTo>
                  <a:pt x="101" y="327"/>
                  <a:pt x="101" y="327"/>
                  <a:pt x="101" y="327"/>
                </a:cubicBezTo>
                <a:cubicBezTo>
                  <a:pt x="101" y="299"/>
                  <a:pt x="101" y="299"/>
                  <a:pt x="101" y="299"/>
                </a:cubicBezTo>
                <a:cubicBezTo>
                  <a:pt x="106" y="294"/>
                  <a:pt x="108" y="287"/>
                  <a:pt x="108" y="279"/>
                </a:cubicBezTo>
                <a:cubicBezTo>
                  <a:pt x="108" y="279"/>
                  <a:pt x="108" y="278"/>
                  <a:pt x="108" y="277"/>
                </a:cubicBezTo>
                <a:cubicBezTo>
                  <a:pt x="176" y="222"/>
                  <a:pt x="176" y="222"/>
                  <a:pt x="176" y="222"/>
                </a:cubicBezTo>
                <a:lnTo>
                  <a:pt x="159" y="351"/>
                </a:lnTo>
                <a:close/>
                <a:moveTo>
                  <a:pt x="192" y="351"/>
                </a:moveTo>
                <a:cubicBezTo>
                  <a:pt x="197" y="317"/>
                  <a:pt x="197" y="317"/>
                  <a:pt x="197" y="317"/>
                </a:cubicBezTo>
                <a:cubicBezTo>
                  <a:pt x="255" y="351"/>
                  <a:pt x="255" y="351"/>
                  <a:pt x="255" y="351"/>
                </a:cubicBezTo>
                <a:lnTo>
                  <a:pt x="192" y="351"/>
                </a:lnTo>
                <a:close/>
                <a:moveTo>
                  <a:pt x="204" y="299"/>
                </a:moveTo>
                <a:cubicBezTo>
                  <a:pt x="255" y="265"/>
                  <a:pt x="255" y="265"/>
                  <a:pt x="255" y="265"/>
                </a:cubicBezTo>
                <a:cubicBezTo>
                  <a:pt x="280" y="344"/>
                  <a:pt x="280" y="344"/>
                  <a:pt x="280" y="344"/>
                </a:cubicBezTo>
                <a:lnTo>
                  <a:pt x="204" y="299"/>
                </a:lnTo>
                <a:close/>
                <a:moveTo>
                  <a:pt x="406" y="306"/>
                </a:moveTo>
                <a:cubicBezTo>
                  <a:pt x="378" y="306"/>
                  <a:pt x="378" y="306"/>
                  <a:pt x="378" y="306"/>
                </a:cubicBezTo>
                <a:cubicBezTo>
                  <a:pt x="378" y="327"/>
                  <a:pt x="378" y="327"/>
                  <a:pt x="378" y="327"/>
                </a:cubicBezTo>
                <a:cubicBezTo>
                  <a:pt x="397" y="327"/>
                  <a:pt x="397" y="327"/>
                  <a:pt x="397" y="327"/>
                </a:cubicBezTo>
                <a:cubicBezTo>
                  <a:pt x="397" y="342"/>
                  <a:pt x="397" y="342"/>
                  <a:pt x="397" y="342"/>
                </a:cubicBezTo>
                <a:cubicBezTo>
                  <a:pt x="378" y="342"/>
                  <a:pt x="378" y="342"/>
                  <a:pt x="378" y="342"/>
                </a:cubicBezTo>
                <a:cubicBezTo>
                  <a:pt x="378" y="351"/>
                  <a:pt x="378" y="351"/>
                  <a:pt x="378" y="351"/>
                </a:cubicBezTo>
                <a:cubicBezTo>
                  <a:pt x="317" y="351"/>
                  <a:pt x="317" y="351"/>
                  <a:pt x="317" y="351"/>
                </a:cubicBezTo>
                <a:cubicBezTo>
                  <a:pt x="255" y="158"/>
                  <a:pt x="255" y="158"/>
                  <a:pt x="255" y="158"/>
                </a:cubicBezTo>
                <a:cubicBezTo>
                  <a:pt x="305" y="118"/>
                  <a:pt x="305" y="118"/>
                  <a:pt x="305" y="118"/>
                </a:cubicBezTo>
                <a:cubicBezTo>
                  <a:pt x="406" y="205"/>
                  <a:pt x="406" y="205"/>
                  <a:pt x="406" y="205"/>
                </a:cubicBezTo>
                <a:lnTo>
                  <a:pt x="406" y="306"/>
                </a:lnTo>
                <a:close/>
              </a:path>
            </a:pathLst>
          </a:custGeom>
          <a:solidFill>
            <a:schemeClr val="accent2"/>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56" name="Freeform 6"/>
          <p:cNvSpPr>
            <a:spLocks noEditPoints="1"/>
          </p:cNvSpPr>
          <p:nvPr/>
        </p:nvSpPr>
        <p:spPr bwMode="auto">
          <a:xfrm>
            <a:off x="8624493" y="5538322"/>
            <a:ext cx="1072188" cy="747470"/>
          </a:xfrm>
          <a:custGeom>
            <a:avLst/>
            <a:gdLst>
              <a:gd name="T0" fmla="*/ 394 w 413"/>
              <a:gd name="T1" fmla="*/ 264 h 288"/>
              <a:gd name="T2" fmla="*/ 380 w 413"/>
              <a:gd name="T3" fmla="*/ 250 h 288"/>
              <a:gd name="T4" fmla="*/ 394 w 413"/>
              <a:gd name="T5" fmla="*/ 231 h 288"/>
              <a:gd name="T6" fmla="*/ 370 w 413"/>
              <a:gd name="T7" fmla="*/ 151 h 288"/>
              <a:gd name="T8" fmla="*/ 385 w 413"/>
              <a:gd name="T9" fmla="*/ 7 h 288"/>
              <a:gd name="T10" fmla="*/ 321 w 413"/>
              <a:gd name="T11" fmla="*/ 57 h 288"/>
              <a:gd name="T12" fmla="*/ 79 w 413"/>
              <a:gd name="T13" fmla="*/ 10 h 288"/>
              <a:gd name="T14" fmla="*/ 48 w 413"/>
              <a:gd name="T15" fmla="*/ 56 h 288"/>
              <a:gd name="T16" fmla="*/ 38 w 413"/>
              <a:gd name="T17" fmla="*/ 250 h 288"/>
              <a:gd name="T18" fmla="*/ 24 w 413"/>
              <a:gd name="T19" fmla="*/ 259 h 288"/>
              <a:gd name="T20" fmla="*/ 0 w 413"/>
              <a:gd name="T21" fmla="*/ 269 h 288"/>
              <a:gd name="T22" fmla="*/ 413 w 413"/>
              <a:gd name="T23" fmla="*/ 288 h 288"/>
              <a:gd name="T24" fmla="*/ 394 w 413"/>
              <a:gd name="T25" fmla="*/ 269 h 288"/>
              <a:gd name="T26" fmla="*/ 191 w 413"/>
              <a:gd name="T27" fmla="*/ 110 h 288"/>
              <a:gd name="T28" fmla="*/ 219 w 413"/>
              <a:gd name="T29" fmla="*/ 155 h 288"/>
              <a:gd name="T30" fmla="*/ 222 w 413"/>
              <a:gd name="T31" fmla="*/ 175 h 288"/>
              <a:gd name="T32" fmla="*/ 181 w 413"/>
              <a:gd name="T33" fmla="*/ 204 h 288"/>
              <a:gd name="T34" fmla="*/ 222 w 413"/>
              <a:gd name="T35" fmla="*/ 175 h 288"/>
              <a:gd name="T36" fmla="*/ 72 w 413"/>
              <a:gd name="T37" fmla="*/ 29 h 288"/>
              <a:gd name="T38" fmla="*/ 67 w 413"/>
              <a:gd name="T39" fmla="*/ 45 h 288"/>
              <a:gd name="T40" fmla="*/ 57 w 413"/>
              <a:gd name="T41" fmla="*/ 250 h 288"/>
              <a:gd name="T42" fmla="*/ 60 w 413"/>
              <a:gd name="T43" fmla="*/ 64 h 288"/>
              <a:gd name="T44" fmla="*/ 81 w 413"/>
              <a:gd name="T45" fmla="*/ 250 h 288"/>
              <a:gd name="T46" fmla="*/ 100 w 413"/>
              <a:gd name="T47" fmla="*/ 269 h 288"/>
              <a:gd name="T48" fmla="*/ 91 w 413"/>
              <a:gd name="T49" fmla="*/ 250 h 288"/>
              <a:gd name="T50" fmla="*/ 91 w 413"/>
              <a:gd name="T51" fmla="*/ 55 h 288"/>
              <a:gd name="T52" fmla="*/ 143 w 413"/>
              <a:gd name="T53" fmla="*/ 277 h 288"/>
              <a:gd name="T54" fmla="*/ 173 w 413"/>
              <a:gd name="T55" fmla="*/ 269 h 288"/>
              <a:gd name="T56" fmla="*/ 228 w 413"/>
              <a:gd name="T57" fmla="*/ 269 h 288"/>
              <a:gd name="T58" fmla="*/ 183 w 413"/>
              <a:gd name="T59" fmla="*/ 223 h 288"/>
              <a:gd name="T60" fmla="*/ 250 w 413"/>
              <a:gd name="T61" fmla="*/ 262 h 288"/>
              <a:gd name="T62" fmla="*/ 351 w 413"/>
              <a:gd name="T63" fmla="*/ 250 h 288"/>
              <a:gd name="T64" fmla="*/ 337 w 413"/>
              <a:gd name="T65" fmla="*/ 264 h 288"/>
              <a:gd name="T66" fmla="*/ 283 w 413"/>
              <a:gd name="T67" fmla="*/ 269 h 288"/>
              <a:gd name="T68" fmla="*/ 266 w 413"/>
              <a:gd name="T69" fmla="*/ 82 h 288"/>
              <a:gd name="T70" fmla="*/ 325 w 413"/>
              <a:gd name="T71" fmla="*/ 208 h 288"/>
              <a:gd name="T72" fmla="*/ 361 w 413"/>
              <a:gd name="T73" fmla="*/ 179 h 288"/>
              <a:gd name="T74" fmla="*/ 337 w 413"/>
              <a:gd name="T75" fmla="*/ 231 h 288"/>
              <a:gd name="T76" fmla="*/ 351 w 413"/>
              <a:gd name="T77" fmla="*/ 25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3" h="288">
                <a:moveTo>
                  <a:pt x="394" y="269"/>
                </a:moveTo>
                <a:cubicBezTo>
                  <a:pt x="394" y="264"/>
                  <a:pt x="394" y="264"/>
                  <a:pt x="394" y="264"/>
                </a:cubicBezTo>
                <a:cubicBezTo>
                  <a:pt x="380" y="264"/>
                  <a:pt x="380" y="264"/>
                  <a:pt x="380" y="264"/>
                </a:cubicBezTo>
                <a:cubicBezTo>
                  <a:pt x="380" y="250"/>
                  <a:pt x="380" y="250"/>
                  <a:pt x="380" y="250"/>
                </a:cubicBezTo>
                <a:cubicBezTo>
                  <a:pt x="394" y="250"/>
                  <a:pt x="394" y="250"/>
                  <a:pt x="394" y="250"/>
                </a:cubicBezTo>
                <a:cubicBezTo>
                  <a:pt x="394" y="231"/>
                  <a:pt x="394" y="231"/>
                  <a:pt x="394" y="231"/>
                </a:cubicBezTo>
                <a:cubicBezTo>
                  <a:pt x="370" y="231"/>
                  <a:pt x="370" y="231"/>
                  <a:pt x="370" y="231"/>
                </a:cubicBezTo>
                <a:cubicBezTo>
                  <a:pt x="370" y="151"/>
                  <a:pt x="370" y="151"/>
                  <a:pt x="370" y="151"/>
                </a:cubicBezTo>
                <a:cubicBezTo>
                  <a:pt x="398" y="70"/>
                  <a:pt x="398" y="70"/>
                  <a:pt x="398" y="70"/>
                </a:cubicBezTo>
                <a:cubicBezTo>
                  <a:pt x="385" y="7"/>
                  <a:pt x="385" y="7"/>
                  <a:pt x="385" y="7"/>
                </a:cubicBezTo>
                <a:cubicBezTo>
                  <a:pt x="346" y="0"/>
                  <a:pt x="346" y="0"/>
                  <a:pt x="346" y="0"/>
                </a:cubicBezTo>
                <a:cubicBezTo>
                  <a:pt x="321" y="57"/>
                  <a:pt x="321" y="57"/>
                  <a:pt x="321" y="57"/>
                </a:cubicBezTo>
                <a:cubicBezTo>
                  <a:pt x="94" y="22"/>
                  <a:pt x="94" y="22"/>
                  <a:pt x="94" y="22"/>
                </a:cubicBezTo>
                <a:cubicBezTo>
                  <a:pt x="91" y="17"/>
                  <a:pt x="86" y="12"/>
                  <a:pt x="79" y="10"/>
                </a:cubicBezTo>
                <a:cubicBezTo>
                  <a:pt x="64" y="5"/>
                  <a:pt x="48" y="13"/>
                  <a:pt x="42" y="28"/>
                </a:cubicBezTo>
                <a:cubicBezTo>
                  <a:pt x="39" y="38"/>
                  <a:pt x="41" y="48"/>
                  <a:pt x="48" y="56"/>
                </a:cubicBezTo>
                <a:cubicBezTo>
                  <a:pt x="48" y="250"/>
                  <a:pt x="48" y="250"/>
                  <a:pt x="48" y="250"/>
                </a:cubicBezTo>
                <a:cubicBezTo>
                  <a:pt x="38" y="250"/>
                  <a:pt x="38" y="250"/>
                  <a:pt x="38" y="250"/>
                </a:cubicBezTo>
                <a:cubicBezTo>
                  <a:pt x="38" y="259"/>
                  <a:pt x="38" y="259"/>
                  <a:pt x="38" y="259"/>
                </a:cubicBezTo>
                <a:cubicBezTo>
                  <a:pt x="24" y="259"/>
                  <a:pt x="24" y="259"/>
                  <a:pt x="24" y="259"/>
                </a:cubicBezTo>
                <a:cubicBezTo>
                  <a:pt x="24" y="269"/>
                  <a:pt x="24" y="269"/>
                  <a:pt x="24" y="269"/>
                </a:cubicBezTo>
                <a:cubicBezTo>
                  <a:pt x="0" y="269"/>
                  <a:pt x="0" y="269"/>
                  <a:pt x="0" y="269"/>
                </a:cubicBezTo>
                <a:cubicBezTo>
                  <a:pt x="0" y="288"/>
                  <a:pt x="0" y="288"/>
                  <a:pt x="0" y="288"/>
                </a:cubicBezTo>
                <a:cubicBezTo>
                  <a:pt x="413" y="288"/>
                  <a:pt x="413" y="288"/>
                  <a:pt x="413" y="288"/>
                </a:cubicBezTo>
                <a:cubicBezTo>
                  <a:pt x="413" y="269"/>
                  <a:pt x="413" y="269"/>
                  <a:pt x="413" y="269"/>
                </a:cubicBezTo>
                <a:lnTo>
                  <a:pt x="394" y="269"/>
                </a:lnTo>
                <a:close/>
                <a:moveTo>
                  <a:pt x="188" y="142"/>
                </a:moveTo>
                <a:cubicBezTo>
                  <a:pt x="191" y="110"/>
                  <a:pt x="191" y="110"/>
                  <a:pt x="191" y="110"/>
                </a:cubicBezTo>
                <a:cubicBezTo>
                  <a:pt x="208" y="107"/>
                  <a:pt x="208" y="107"/>
                  <a:pt x="208" y="107"/>
                </a:cubicBezTo>
                <a:cubicBezTo>
                  <a:pt x="219" y="155"/>
                  <a:pt x="219" y="155"/>
                  <a:pt x="219" y="155"/>
                </a:cubicBezTo>
                <a:lnTo>
                  <a:pt x="188" y="142"/>
                </a:lnTo>
                <a:close/>
                <a:moveTo>
                  <a:pt x="222" y="175"/>
                </a:moveTo>
                <a:cubicBezTo>
                  <a:pt x="222" y="176"/>
                  <a:pt x="222" y="176"/>
                  <a:pt x="222" y="176"/>
                </a:cubicBezTo>
                <a:cubicBezTo>
                  <a:pt x="181" y="204"/>
                  <a:pt x="181" y="204"/>
                  <a:pt x="181" y="204"/>
                </a:cubicBezTo>
                <a:cubicBezTo>
                  <a:pt x="187" y="161"/>
                  <a:pt x="187" y="161"/>
                  <a:pt x="187" y="161"/>
                </a:cubicBezTo>
                <a:lnTo>
                  <a:pt x="222" y="175"/>
                </a:lnTo>
                <a:close/>
                <a:moveTo>
                  <a:pt x="62" y="34"/>
                </a:moveTo>
                <a:cubicBezTo>
                  <a:pt x="63" y="30"/>
                  <a:pt x="68" y="27"/>
                  <a:pt x="72" y="29"/>
                </a:cubicBezTo>
                <a:cubicBezTo>
                  <a:pt x="77" y="30"/>
                  <a:pt x="79" y="35"/>
                  <a:pt x="78" y="40"/>
                </a:cubicBezTo>
                <a:cubicBezTo>
                  <a:pt x="76" y="44"/>
                  <a:pt x="71" y="46"/>
                  <a:pt x="67" y="45"/>
                </a:cubicBezTo>
                <a:cubicBezTo>
                  <a:pt x="62" y="43"/>
                  <a:pt x="60" y="39"/>
                  <a:pt x="62" y="34"/>
                </a:cubicBezTo>
                <a:close/>
                <a:moveTo>
                  <a:pt x="57" y="250"/>
                </a:moveTo>
                <a:cubicBezTo>
                  <a:pt x="57" y="63"/>
                  <a:pt x="57" y="63"/>
                  <a:pt x="57" y="63"/>
                </a:cubicBezTo>
                <a:cubicBezTo>
                  <a:pt x="58" y="63"/>
                  <a:pt x="59" y="64"/>
                  <a:pt x="60" y="64"/>
                </a:cubicBezTo>
                <a:cubicBezTo>
                  <a:pt x="67" y="66"/>
                  <a:pt x="75" y="66"/>
                  <a:pt x="81" y="63"/>
                </a:cubicBezTo>
                <a:cubicBezTo>
                  <a:pt x="81" y="250"/>
                  <a:pt x="81" y="250"/>
                  <a:pt x="81" y="250"/>
                </a:cubicBezTo>
                <a:lnTo>
                  <a:pt x="57" y="250"/>
                </a:lnTo>
                <a:close/>
                <a:moveTo>
                  <a:pt x="100" y="269"/>
                </a:moveTo>
                <a:cubicBezTo>
                  <a:pt x="100" y="250"/>
                  <a:pt x="100" y="250"/>
                  <a:pt x="100" y="250"/>
                </a:cubicBezTo>
                <a:cubicBezTo>
                  <a:pt x="91" y="250"/>
                  <a:pt x="91" y="250"/>
                  <a:pt x="91" y="250"/>
                </a:cubicBezTo>
                <a:cubicBezTo>
                  <a:pt x="91" y="56"/>
                  <a:pt x="91" y="56"/>
                  <a:pt x="91" y="56"/>
                </a:cubicBezTo>
                <a:cubicBezTo>
                  <a:pt x="91" y="56"/>
                  <a:pt x="91" y="56"/>
                  <a:pt x="91" y="55"/>
                </a:cubicBezTo>
                <a:cubicBezTo>
                  <a:pt x="170" y="68"/>
                  <a:pt x="170" y="68"/>
                  <a:pt x="170" y="68"/>
                </a:cubicBezTo>
                <a:cubicBezTo>
                  <a:pt x="143" y="277"/>
                  <a:pt x="143" y="277"/>
                  <a:pt x="143" y="277"/>
                </a:cubicBezTo>
                <a:lnTo>
                  <a:pt x="100" y="269"/>
                </a:lnTo>
                <a:close/>
                <a:moveTo>
                  <a:pt x="173" y="269"/>
                </a:moveTo>
                <a:cubicBezTo>
                  <a:pt x="177" y="238"/>
                  <a:pt x="177" y="238"/>
                  <a:pt x="177" y="238"/>
                </a:cubicBezTo>
                <a:cubicBezTo>
                  <a:pt x="228" y="269"/>
                  <a:pt x="228" y="269"/>
                  <a:pt x="228" y="269"/>
                </a:cubicBezTo>
                <a:lnTo>
                  <a:pt x="173" y="269"/>
                </a:lnTo>
                <a:close/>
                <a:moveTo>
                  <a:pt x="183" y="223"/>
                </a:moveTo>
                <a:cubicBezTo>
                  <a:pt x="228" y="193"/>
                  <a:pt x="228" y="193"/>
                  <a:pt x="228" y="193"/>
                </a:cubicBezTo>
                <a:cubicBezTo>
                  <a:pt x="250" y="262"/>
                  <a:pt x="250" y="262"/>
                  <a:pt x="250" y="262"/>
                </a:cubicBezTo>
                <a:lnTo>
                  <a:pt x="183" y="223"/>
                </a:lnTo>
                <a:close/>
                <a:moveTo>
                  <a:pt x="351" y="250"/>
                </a:moveTo>
                <a:cubicBezTo>
                  <a:pt x="351" y="264"/>
                  <a:pt x="351" y="264"/>
                  <a:pt x="351" y="264"/>
                </a:cubicBezTo>
                <a:cubicBezTo>
                  <a:pt x="337" y="264"/>
                  <a:pt x="337" y="264"/>
                  <a:pt x="337" y="264"/>
                </a:cubicBezTo>
                <a:cubicBezTo>
                  <a:pt x="337" y="269"/>
                  <a:pt x="337" y="269"/>
                  <a:pt x="337" y="269"/>
                </a:cubicBezTo>
                <a:cubicBezTo>
                  <a:pt x="283" y="269"/>
                  <a:pt x="283" y="269"/>
                  <a:pt x="283" y="269"/>
                </a:cubicBezTo>
                <a:cubicBezTo>
                  <a:pt x="220" y="75"/>
                  <a:pt x="220" y="75"/>
                  <a:pt x="220" y="75"/>
                </a:cubicBezTo>
                <a:cubicBezTo>
                  <a:pt x="266" y="82"/>
                  <a:pt x="266" y="82"/>
                  <a:pt x="266" y="82"/>
                </a:cubicBezTo>
                <a:cubicBezTo>
                  <a:pt x="321" y="90"/>
                  <a:pt x="321" y="90"/>
                  <a:pt x="321" y="90"/>
                </a:cubicBezTo>
                <a:cubicBezTo>
                  <a:pt x="325" y="208"/>
                  <a:pt x="325" y="208"/>
                  <a:pt x="325" y="208"/>
                </a:cubicBezTo>
                <a:cubicBezTo>
                  <a:pt x="349" y="213"/>
                  <a:pt x="349" y="213"/>
                  <a:pt x="349" y="213"/>
                </a:cubicBezTo>
                <a:cubicBezTo>
                  <a:pt x="361" y="179"/>
                  <a:pt x="361" y="179"/>
                  <a:pt x="361" y="179"/>
                </a:cubicBezTo>
                <a:cubicBezTo>
                  <a:pt x="361" y="231"/>
                  <a:pt x="361" y="231"/>
                  <a:pt x="361" y="231"/>
                </a:cubicBezTo>
                <a:cubicBezTo>
                  <a:pt x="337" y="231"/>
                  <a:pt x="337" y="231"/>
                  <a:pt x="337" y="231"/>
                </a:cubicBezTo>
                <a:cubicBezTo>
                  <a:pt x="337" y="250"/>
                  <a:pt x="337" y="250"/>
                  <a:pt x="337" y="250"/>
                </a:cubicBezTo>
                <a:lnTo>
                  <a:pt x="351" y="250"/>
                </a:lnTo>
                <a:close/>
              </a:path>
            </a:pathLst>
          </a:custGeom>
          <a:solidFill>
            <a:schemeClr val="accent2"/>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57" name="Freeform 10"/>
          <p:cNvSpPr>
            <a:spLocks noEditPoints="1"/>
          </p:cNvSpPr>
          <p:nvPr/>
        </p:nvSpPr>
        <p:spPr bwMode="auto">
          <a:xfrm>
            <a:off x="4443418" y="5551846"/>
            <a:ext cx="890367" cy="703924"/>
          </a:xfrm>
          <a:custGeom>
            <a:avLst/>
            <a:gdLst>
              <a:gd name="T0" fmla="*/ 325 w 325"/>
              <a:gd name="T1" fmla="*/ 103 h 257"/>
              <a:gd name="T2" fmla="*/ 254 w 325"/>
              <a:gd name="T3" fmla="*/ 54 h 257"/>
              <a:gd name="T4" fmla="*/ 242 w 325"/>
              <a:gd name="T5" fmla="*/ 0 h 257"/>
              <a:gd name="T6" fmla="*/ 201 w 325"/>
              <a:gd name="T7" fmla="*/ 15 h 257"/>
              <a:gd name="T8" fmla="*/ 189 w 325"/>
              <a:gd name="T9" fmla="*/ 0 h 257"/>
              <a:gd name="T10" fmla="*/ 49 w 325"/>
              <a:gd name="T11" fmla="*/ 54 h 257"/>
              <a:gd name="T12" fmla="*/ 0 w 325"/>
              <a:gd name="T13" fmla="*/ 151 h 257"/>
              <a:gd name="T14" fmla="*/ 16 w 325"/>
              <a:gd name="T15" fmla="*/ 200 h 257"/>
              <a:gd name="T16" fmla="*/ 8 w 325"/>
              <a:gd name="T17" fmla="*/ 216 h 257"/>
              <a:gd name="T18" fmla="*/ 30 w 325"/>
              <a:gd name="T19" fmla="*/ 224 h 257"/>
              <a:gd name="T20" fmla="*/ 47 w 325"/>
              <a:gd name="T21" fmla="*/ 257 h 257"/>
              <a:gd name="T22" fmla="*/ 65 w 325"/>
              <a:gd name="T23" fmla="*/ 224 h 257"/>
              <a:gd name="T24" fmla="*/ 75 w 325"/>
              <a:gd name="T25" fmla="*/ 236 h 257"/>
              <a:gd name="T26" fmla="*/ 117 w 325"/>
              <a:gd name="T27" fmla="*/ 236 h 257"/>
              <a:gd name="T28" fmla="*/ 212 w 325"/>
              <a:gd name="T29" fmla="*/ 224 h 257"/>
              <a:gd name="T30" fmla="*/ 229 w 325"/>
              <a:gd name="T31" fmla="*/ 257 h 257"/>
              <a:gd name="T32" fmla="*/ 246 w 325"/>
              <a:gd name="T33" fmla="*/ 224 h 257"/>
              <a:gd name="T34" fmla="*/ 256 w 325"/>
              <a:gd name="T35" fmla="*/ 236 h 257"/>
              <a:gd name="T36" fmla="*/ 299 w 325"/>
              <a:gd name="T37" fmla="*/ 236 h 257"/>
              <a:gd name="T38" fmla="*/ 309 w 325"/>
              <a:gd name="T39" fmla="*/ 224 h 257"/>
              <a:gd name="T40" fmla="*/ 317 w 325"/>
              <a:gd name="T41" fmla="*/ 208 h 257"/>
              <a:gd name="T42" fmla="*/ 285 w 325"/>
              <a:gd name="T43" fmla="*/ 200 h 257"/>
              <a:gd name="T44" fmla="*/ 47 w 325"/>
              <a:gd name="T45" fmla="*/ 250 h 257"/>
              <a:gd name="T46" fmla="*/ 40 w 325"/>
              <a:gd name="T47" fmla="*/ 224 h 257"/>
              <a:gd name="T48" fmla="*/ 61 w 325"/>
              <a:gd name="T49" fmla="*/ 236 h 257"/>
              <a:gd name="T50" fmla="*/ 76 w 325"/>
              <a:gd name="T51" fmla="*/ 165 h 257"/>
              <a:gd name="T52" fmla="*/ 88 w 325"/>
              <a:gd name="T53" fmla="*/ 155 h 257"/>
              <a:gd name="T54" fmla="*/ 90 w 325"/>
              <a:gd name="T55" fmla="*/ 143 h 257"/>
              <a:gd name="T56" fmla="*/ 83 w 325"/>
              <a:gd name="T57" fmla="*/ 140 h 257"/>
              <a:gd name="T58" fmla="*/ 73 w 325"/>
              <a:gd name="T59" fmla="*/ 141 h 257"/>
              <a:gd name="T60" fmla="*/ 68 w 325"/>
              <a:gd name="T61" fmla="*/ 151 h 257"/>
              <a:gd name="T62" fmla="*/ 56 w 325"/>
              <a:gd name="T63" fmla="*/ 144 h 257"/>
              <a:gd name="T64" fmla="*/ 66 w 325"/>
              <a:gd name="T65" fmla="*/ 166 h 257"/>
              <a:gd name="T66" fmla="*/ 44 w 325"/>
              <a:gd name="T67" fmla="*/ 123 h 257"/>
              <a:gd name="T68" fmla="*/ 50 w 325"/>
              <a:gd name="T69" fmla="*/ 104 h 257"/>
              <a:gd name="T70" fmla="*/ 59 w 325"/>
              <a:gd name="T71" fmla="*/ 84 h 257"/>
              <a:gd name="T72" fmla="*/ 72 w 325"/>
              <a:gd name="T73" fmla="*/ 70 h 257"/>
              <a:gd name="T74" fmla="*/ 86 w 325"/>
              <a:gd name="T75" fmla="*/ 89 h 257"/>
              <a:gd name="T76" fmla="*/ 102 w 325"/>
              <a:gd name="T77" fmla="*/ 107 h 257"/>
              <a:gd name="T78" fmla="*/ 108 w 325"/>
              <a:gd name="T79" fmla="*/ 133 h 257"/>
              <a:gd name="T80" fmla="*/ 76 w 325"/>
              <a:gd name="T81" fmla="*/ 165 h 257"/>
              <a:gd name="T82" fmla="*/ 82 w 325"/>
              <a:gd name="T83" fmla="*/ 236 h 257"/>
              <a:gd name="T84" fmla="*/ 103 w 325"/>
              <a:gd name="T85" fmla="*/ 224 h 257"/>
              <a:gd name="T86" fmla="*/ 96 w 325"/>
              <a:gd name="T87" fmla="*/ 250 h 257"/>
              <a:gd name="T88" fmla="*/ 242 w 325"/>
              <a:gd name="T89" fmla="*/ 25 h 257"/>
              <a:gd name="T90" fmla="*/ 201 w 325"/>
              <a:gd name="T91" fmla="*/ 38 h 257"/>
              <a:gd name="T92" fmla="*/ 201 w 325"/>
              <a:gd name="T93" fmla="*/ 54 h 257"/>
              <a:gd name="T94" fmla="*/ 242 w 325"/>
              <a:gd name="T95" fmla="*/ 48 h 257"/>
              <a:gd name="T96" fmla="*/ 201 w 325"/>
              <a:gd name="T97" fmla="*/ 54 h 257"/>
              <a:gd name="T98" fmla="*/ 215 w 325"/>
              <a:gd name="T99" fmla="*/ 236 h 257"/>
              <a:gd name="T100" fmla="*/ 236 w 325"/>
              <a:gd name="T101" fmla="*/ 224 h 257"/>
              <a:gd name="T102" fmla="*/ 229 w 325"/>
              <a:gd name="T103" fmla="*/ 250 h 257"/>
              <a:gd name="T104" fmla="*/ 277 w 325"/>
              <a:gd name="T105" fmla="*/ 250 h 257"/>
              <a:gd name="T106" fmla="*/ 270 w 325"/>
              <a:gd name="T107" fmla="*/ 224 h 257"/>
              <a:gd name="T108" fmla="*/ 291 w 325"/>
              <a:gd name="T109" fmla="*/ 236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5" h="257">
                <a:moveTo>
                  <a:pt x="325" y="151"/>
                </a:moveTo>
                <a:cubicBezTo>
                  <a:pt x="325" y="103"/>
                  <a:pt x="325" y="103"/>
                  <a:pt x="325" y="103"/>
                </a:cubicBezTo>
                <a:cubicBezTo>
                  <a:pt x="325" y="76"/>
                  <a:pt x="303" y="54"/>
                  <a:pt x="276" y="54"/>
                </a:cubicBezTo>
                <a:cubicBezTo>
                  <a:pt x="254" y="54"/>
                  <a:pt x="254" y="54"/>
                  <a:pt x="254" y="54"/>
                </a:cubicBezTo>
                <a:cubicBezTo>
                  <a:pt x="254" y="0"/>
                  <a:pt x="254" y="0"/>
                  <a:pt x="254" y="0"/>
                </a:cubicBezTo>
                <a:cubicBezTo>
                  <a:pt x="242" y="0"/>
                  <a:pt x="242" y="0"/>
                  <a:pt x="242" y="0"/>
                </a:cubicBezTo>
                <a:cubicBezTo>
                  <a:pt x="242" y="15"/>
                  <a:pt x="242" y="15"/>
                  <a:pt x="242" y="15"/>
                </a:cubicBezTo>
                <a:cubicBezTo>
                  <a:pt x="201" y="15"/>
                  <a:pt x="201" y="15"/>
                  <a:pt x="201" y="15"/>
                </a:cubicBezTo>
                <a:cubicBezTo>
                  <a:pt x="201" y="0"/>
                  <a:pt x="201" y="0"/>
                  <a:pt x="201" y="0"/>
                </a:cubicBezTo>
                <a:cubicBezTo>
                  <a:pt x="189" y="0"/>
                  <a:pt x="189" y="0"/>
                  <a:pt x="189" y="0"/>
                </a:cubicBezTo>
                <a:cubicBezTo>
                  <a:pt x="189" y="54"/>
                  <a:pt x="189" y="54"/>
                  <a:pt x="189" y="54"/>
                </a:cubicBezTo>
                <a:cubicBezTo>
                  <a:pt x="49" y="54"/>
                  <a:pt x="49" y="54"/>
                  <a:pt x="49" y="54"/>
                </a:cubicBezTo>
                <a:cubicBezTo>
                  <a:pt x="22" y="54"/>
                  <a:pt x="0" y="76"/>
                  <a:pt x="0" y="103"/>
                </a:cubicBezTo>
                <a:cubicBezTo>
                  <a:pt x="0" y="151"/>
                  <a:pt x="0" y="151"/>
                  <a:pt x="0" y="151"/>
                </a:cubicBezTo>
                <a:cubicBezTo>
                  <a:pt x="0" y="174"/>
                  <a:pt x="17" y="195"/>
                  <a:pt x="40" y="200"/>
                </a:cubicBezTo>
                <a:cubicBezTo>
                  <a:pt x="16" y="200"/>
                  <a:pt x="16" y="200"/>
                  <a:pt x="16" y="200"/>
                </a:cubicBezTo>
                <a:cubicBezTo>
                  <a:pt x="12" y="200"/>
                  <a:pt x="8" y="203"/>
                  <a:pt x="8" y="208"/>
                </a:cubicBezTo>
                <a:cubicBezTo>
                  <a:pt x="8" y="216"/>
                  <a:pt x="8" y="216"/>
                  <a:pt x="8" y="216"/>
                </a:cubicBezTo>
                <a:cubicBezTo>
                  <a:pt x="8" y="220"/>
                  <a:pt x="12" y="224"/>
                  <a:pt x="16" y="224"/>
                </a:cubicBezTo>
                <a:cubicBezTo>
                  <a:pt x="30" y="224"/>
                  <a:pt x="30" y="224"/>
                  <a:pt x="30" y="224"/>
                </a:cubicBezTo>
                <a:cubicBezTo>
                  <a:pt x="28" y="227"/>
                  <a:pt x="26" y="231"/>
                  <a:pt x="26" y="236"/>
                </a:cubicBezTo>
                <a:cubicBezTo>
                  <a:pt x="26" y="248"/>
                  <a:pt x="36" y="257"/>
                  <a:pt x="47" y="257"/>
                </a:cubicBezTo>
                <a:cubicBezTo>
                  <a:pt x="59" y="257"/>
                  <a:pt x="68" y="248"/>
                  <a:pt x="68" y="236"/>
                </a:cubicBezTo>
                <a:cubicBezTo>
                  <a:pt x="68" y="231"/>
                  <a:pt x="67" y="227"/>
                  <a:pt x="65" y="224"/>
                </a:cubicBezTo>
                <a:cubicBezTo>
                  <a:pt x="79" y="224"/>
                  <a:pt x="79" y="224"/>
                  <a:pt x="79" y="224"/>
                </a:cubicBezTo>
                <a:cubicBezTo>
                  <a:pt x="76" y="227"/>
                  <a:pt x="75" y="231"/>
                  <a:pt x="75" y="236"/>
                </a:cubicBezTo>
                <a:cubicBezTo>
                  <a:pt x="75" y="248"/>
                  <a:pt x="84" y="257"/>
                  <a:pt x="96" y="257"/>
                </a:cubicBezTo>
                <a:cubicBezTo>
                  <a:pt x="108" y="257"/>
                  <a:pt x="117" y="248"/>
                  <a:pt x="117" y="236"/>
                </a:cubicBezTo>
                <a:cubicBezTo>
                  <a:pt x="117" y="231"/>
                  <a:pt x="116" y="227"/>
                  <a:pt x="113" y="224"/>
                </a:cubicBezTo>
                <a:cubicBezTo>
                  <a:pt x="212" y="224"/>
                  <a:pt x="212" y="224"/>
                  <a:pt x="212" y="224"/>
                </a:cubicBezTo>
                <a:cubicBezTo>
                  <a:pt x="209" y="227"/>
                  <a:pt x="208" y="231"/>
                  <a:pt x="208" y="236"/>
                </a:cubicBezTo>
                <a:cubicBezTo>
                  <a:pt x="208" y="248"/>
                  <a:pt x="217" y="257"/>
                  <a:pt x="229" y="257"/>
                </a:cubicBezTo>
                <a:cubicBezTo>
                  <a:pt x="241" y="257"/>
                  <a:pt x="250" y="248"/>
                  <a:pt x="250" y="236"/>
                </a:cubicBezTo>
                <a:cubicBezTo>
                  <a:pt x="250" y="231"/>
                  <a:pt x="249" y="227"/>
                  <a:pt x="246" y="224"/>
                </a:cubicBezTo>
                <a:cubicBezTo>
                  <a:pt x="260" y="224"/>
                  <a:pt x="260" y="224"/>
                  <a:pt x="260" y="224"/>
                </a:cubicBezTo>
                <a:cubicBezTo>
                  <a:pt x="258" y="227"/>
                  <a:pt x="256" y="231"/>
                  <a:pt x="256" y="236"/>
                </a:cubicBezTo>
                <a:cubicBezTo>
                  <a:pt x="256" y="248"/>
                  <a:pt x="266" y="257"/>
                  <a:pt x="277" y="257"/>
                </a:cubicBezTo>
                <a:cubicBezTo>
                  <a:pt x="289" y="257"/>
                  <a:pt x="299" y="248"/>
                  <a:pt x="299" y="236"/>
                </a:cubicBezTo>
                <a:cubicBezTo>
                  <a:pt x="299" y="231"/>
                  <a:pt x="297" y="227"/>
                  <a:pt x="295" y="224"/>
                </a:cubicBezTo>
                <a:cubicBezTo>
                  <a:pt x="309" y="224"/>
                  <a:pt x="309" y="224"/>
                  <a:pt x="309" y="224"/>
                </a:cubicBezTo>
                <a:cubicBezTo>
                  <a:pt x="313" y="224"/>
                  <a:pt x="317" y="220"/>
                  <a:pt x="317" y="216"/>
                </a:cubicBezTo>
                <a:cubicBezTo>
                  <a:pt x="317" y="208"/>
                  <a:pt x="317" y="208"/>
                  <a:pt x="317" y="208"/>
                </a:cubicBezTo>
                <a:cubicBezTo>
                  <a:pt x="317" y="203"/>
                  <a:pt x="313" y="200"/>
                  <a:pt x="309" y="200"/>
                </a:cubicBezTo>
                <a:cubicBezTo>
                  <a:pt x="285" y="200"/>
                  <a:pt x="285" y="200"/>
                  <a:pt x="285" y="200"/>
                </a:cubicBezTo>
                <a:cubicBezTo>
                  <a:pt x="308" y="195"/>
                  <a:pt x="325" y="174"/>
                  <a:pt x="325" y="151"/>
                </a:cubicBezTo>
                <a:close/>
                <a:moveTo>
                  <a:pt x="47" y="250"/>
                </a:moveTo>
                <a:cubicBezTo>
                  <a:pt x="40" y="250"/>
                  <a:pt x="33" y="244"/>
                  <a:pt x="33" y="236"/>
                </a:cubicBezTo>
                <a:cubicBezTo>
                  <a:pt x="33" y="231"/>
                  <a:pt x="36" y="226"/>
                  <a:pt x="40" y="224"/>
                </a:cubicBezTo>
                <a:cubicBezTo>
                  <a:pt x="55" y="224"/>
                  <a:pt x="55" y="224"/>
                  <a:pt x="55" y="224"/>
                </a:cubicBezTo>
                <a:cubicBezTo>
                  <a:pt x="59" y="226"/>
                  <a:pt x="61" y="231"/>
                  <a:pt x="61" y="236"/>
                </a:cubicBezTo>
                <a:cubicBezTo>
                  <a:pt x="61" y="244"/>
                  <a:pt x="55" y="250"/>
                  <a:pt x="47" y="250"/>
                </a:cubicBezTo>
                <a:close/>
                <a:moveTo>
                  <a:pt x="76" y="165"/>
                </a:moveTo>
                <a:cubicBezTo>
                  <a:pt x="76" y="165"/>
                  <a:pt x="76" y="165"/>
                  <a:pt x="76" y="165"/>
                </a:cubicBezTo>
                <a:cubicBezTo>
                  <a:pt x="79" y="162"/>
                  <a:pt x="85" y="158"/>
                  <a:pt x="88" y="155"/>
                </a:cubicBezTo>
                <a:cubicBezTo>
                  <a:pt x="93" y="150"/>
                  <a:pt x="94" y="141"/>
                  <a:pt x="94" y="141"/>
                </a:cubicBezTo>
                <a:cubicBezTo>
                  <a:pt x="93" y="143"/>
                  <a:pt x="90" y="143"/>
                  <a:pt x="90" y="143"/>
                </a:cubicBezTo>
                <a:cubicBezTo>
                  <a:pt x="93" y="138"/>
                  <a:pt x="89" y="130"/>
                  <a:pt x="89" y="130"/>
                </a:cubicBezTo>
                <a:cubicBezTo>
                  <a:pt x="89" y="131"/>
                  <a:pt x="88" y="138"/>
                  <a:pt x="83" y="140"/>
                </a:cubicBezTo>
                <a:cubicBezTo>
                  <a:pt x="85" y="135"/>
                  <a:pt x="84" y="123"/>
                  <a:pt x="78" y="116"/>
                </a:cubicBezTo>
                <a:cubicBezTo>
                  <a:pt x="79" y="132"/>
                  <a:pt x="73" y="141"/>
                  <a:pt x="73" y="141"/>
                </a:cubicBezTo>
                <a:cubicBezTo>
                  <a:pt x="73" y="141"/>
                  <a:pt x="70" y="137"/>
                  <a:pt x="68" y="130"/>
                </a:cubicBezTo>
                <a:cubicBezTo>
                  <a:pt x="66" y="134"/>
                  <a:pt x="65" y="142"/>
                  <a:pt x="68" y="151"/>
                </a:cubicBezTo>
                <a:cubicBezTo>
                  <a:pt x="64" y="150"/>
                  <a:pt x="60" y="140"/>
                  <a:pt x="59" y="130"/>
                </a:cubicBezTo>
                <a:cubicBezTo>
                  <a:pt x="55" y="136"/>
                  <a:pt x="56" y="144"/>
                  <a:pt x="56" y="144"/>
                </a:cubicBezTo>
                <a:cubicBezTo>
                  <a:pt x="55" y="144"/>
                  <a:pt x="53" y="141"/>
                  <a:pt x="53" y="141"/>
                </a:cubicBezTo>
                <a:cubicBezTo>
                  <a:pt x="53" y="151"/>
                  <a:pt x="62" y="161"/>
                  <a:pt x="66" y="166"/>
                </a:cubicBezTo>
                <a:cubicBezTo>
                  <a:pt x="57" y="167"/>
                  <a:pt x="48" y="162"/>
                  <a:pt x="44" y="150"/>
                </a:cubicBezTo>
                <a:cubicBezTo>
                  <a:pt x="41" y="139"/>
                  <a:pt x="44" y="130"/>
                  <a:pt x="44" y="123"/>
                </a:cubicBezTo>
                <a:cubicBezTo>
                  <a:pt x="46" y="124"/>
                  <a:pt x="48" y="128"/>
                  <a:pt x="48" y="128"/>
                </a:cubicBezTo>
                <a:cubicBezTo>
                  <a:pt x="51" y="120"/>
                  <a:pt x="50" y="104"/>
                  <a:pt x="50" y="104"/>
                </a:cubicBezTo>
                <a:cubicBezTo>
                  <a:pt x="53" y="104"/>
                  <a:pt x="57" y="109"/>
                  <a:pt x="57" y="112"/>
                </a:cubicBezTo>
                <a:cubicBezTo>
                  <a:pt x="61" y="107"/>
                  <a:pt x="61" y="89"/>
                  <a:pt x="59" y="84"/>
                </a:cubicBezTo>
                <a:cubicBezTo>
                  <a:pt x="65" y="86"/>
                  <a:pt x="68" y="93"/>
                  <a:pt x="68" y="93"/>
                </a:cubicBezTo>
                <a:cubicBezTo>
                  <a:pt x="71" y="87"/>
                  <a:pt x="66" y="78"/>
                  <a:pt x="72" y="70"/>
                </a:cubicBezTo>
                <a:cubicBezTo>
                  <a:pt x="75" y="84"/>
                  <a:pt x="84" y="88"/>
                  <a:pt x="85" y="99"/>
                </a:cubicBezTo>
                <a:cubicBezTo>
                  <a:pt x="87" y="96"/>
                  <a:pt x="86" y="89"/>
                  <a:pt x="86" y="89"/>
                </a:cubicBezTo>
                <a:cubicBezTo>
                  <a:pt x="96" y="93"/>
                  <a:pt x="98" y="116"/>
                  <a:pt x="98" y="116"/>
                </a:cubicBezTo>
                <a:cubicBezTo>
                  <a:pt x="102" y="112"/>
                  <a:pt x="102" y="107"/>
                  <a:pt x="102" y="107"/>
                </a:cubicBezTo>
                <a:cubicBezTo>
                  <a:pt x="112" y="117"/>
                  <a:pt x="103" y="139"/>
                  <a:pt x="103" y="139"/>
                </a:cubicBezTo>
                <a:cubicBezTo>
                  <a:pt x="107" y="137"/>
                  <a:pt x="108" y="133"/>
                  <a:pt x="108" y="133"/>
                </a:cubicBezTo>
                <a:cubicBezTo>
                  <a:pt x="108" y="133"/>
                  <a:pt x="110" y="143"/>
                  <a:pt x="108" y="149"/>
                </a:cubicBezTo>
                <a:cubicBezTo>
                  <a:pt x="105" y="155"/>
                  <a:pt x="95" y="170"/>
                  <a:pt x="76" y="165"/>
                </a:cubicBezTo>
                <a:close/>
                <a:moveTo>
                  <a:pt x="96" y="250"/>
                </a:moveTo>
                <a:cubicBezTo>
                  <a:pt x="88" y="250"/>
                  <a:pt x="82" y="244"/>
                  <a:pt x="82" y="236"/>
                </a:cubicBezTo>
                <a:cubicBezTo>
                  <a:pt x="82" y="231"/>
                  <a:pt x="85" y="226"/>
                  <a:pt x="89" y="224"/>
                </a:cubicBezTo>
                <a:cubicBezTo>
                  <a:pt x="103" y="224"/>
                  <a:pt x="103" y="224"/>
                  <a:pt x="103" y="224"/>
                </a:cubicBezTo>
                <a:cubicBezTo>
                  <a:pt x="107" y="226"/>
                  <a:pt x="110" y="231"/>
                  <a:pt x="110" y="236"/>
                </a:cubicBezTo>
                <a:cubicBezTo>
                  <a:pt x="110" y="244"/>
                  <a:pt x="104" y="250"/>
                  <a:pt x="96" y="250"/>
                </a:cubicBezTo>
                <a:close/>
                <a:moveTo>
                  <a:pt x="201" y="25"/>
                </a:moveTo>
                <a:cubicBezTo>
                  <a:pt x="242" y="25"/>
                  <a:pt x="242" y="25"/>
                  <a:pt x="242" y="25"/>
                </a:cubicBezTo>
                <a:cubicBezTo>
                  <a:pt x="242" y="38"/>
                  <a:pt x="242" y="38"/>
                  <a:pt x="242" y="38"/>
                </a:cubicBezTo>
                <a:cubicBezTo>
                  <a:pt x="201" y="38"/>
                  <a:pt x="201" y="38"/>
                  <a:pt x="201" y="38"/>
                </a:cubicBezTo>
                <a:lnTo>
                  <a:pt x="201" y="25"/>
                </a:lnTo>
                <a:close/>
                <a:moveTo>
                  <a:pt x="201" y="54"/>
                </a:moveTo>
                <a:cubicBezTo>
                  <a:pt x="201" y="48"/>
                  <a:pt x="201" y="48"/>
                  <a:pt x="201" y="48"/>
                </a:cubicBezTo>
                <a:cubicBezTo>
                  <a:pt x="242" y="48"/>
                  <a:pt x="242" y="48"/>
                  <a:pt x="242" y="48"/>
                </a:cubicBezTo>
                <a:cubicBezTo>
                  <a:pt x="242" y="54"/>
                  <a:pt x="242" y="54"/>
                  <a:pt x="242" y="54"/>
                </a:cubicBezTo>
                <a:lnTo>
                  <a:pt x="201" y="54"/>
                </a:lnTo>
                <a:close/>
                <a:moveTo>
                  <a:pt x="229" y="250"/>
                </a:moveTo>
                <a:cubicBezTo>
                  <a:pt x="221" y="250"/>
                  <a:pt x="215" y="244"/>
                  <a:pt x="215" y="236"/>
                </a:cubicBezTo>
                <a:cubicBezTo>
                  <a:pt x="215" y="231"/>
                  <a:pt x="218" y="226"/>
                  <a:pt x="222" y="224"/>
                </a:cubicBezTo>
                <a:cubicBezTo>
                  <a:pt x="236" y="224"/>
                  <a:pt x="236" y="224"/>
                  <a:pt x="236" y="224"/>
                </a:cubicBezTo>
                <a:cubicBezTo>
                  <a:pt x="240" y="226"/>
                  <a:pt x="243" y="231"/>
                  <a:pt x="243" y="236"/>
                </a:cubicBezTo>
                <a:cubicBezTo>
                  <a:pt x="243" y="244"/>
                  <a:pt x="237" y="250"/>
                  <a:pt x="229" y="250"/>
                </a:cubicBezTo>
                <a:close/>
                <a:moveTo>
                  <a:pt x="291" y="236"/>
                </a:moveTo>
                <a:cubicBezTo>
                  <a:pt x="291" y="244"/>
                  <a:pt x="285" y="250"/>
                  <a:pt x="277" y="250"/>
                </a:cubicBezTo>
                <a:cubicBezTo>
                  <a:pt x="270" y="250"/>
                  <a:pt x="263" y="244"/>
                  <a:pt x="263" y="236"/>
                </a:cubicBezTo>
                <a:cubicBezTo>
                  <a:pt x="263" y="231"/>
                  <a:pt x="266" y="226"/>
                  <a:pt x="270" y="224"/>
                </a:cubicBezTo>
                <a:cubicBezTo>
                  <a:pt x="285" y="224"/>
                  <a:pt x="285" y="224"/>
                  <a:pt x="285" y="224"/>
                </a:cubicBezTo>
                <a:cubicBezTo>
                  <a:pt x="289" y="226"/>
                  <a:pt x="291" y="231"/>
                  <a:pt x="291" y="236"/>
                </a:cubicBezTo>
                <a:close/>
              </a:path>
            </a:pathLst>
          </a:custGeom>
          <a:solidFill>
            <a:schemeClr val="accent1"/>
          </a:solidFill>
          <a:ln>
            <a:noFill/>
          </a:ln>
        </p:spPr>
        <p:txBody>
          <a:bodyPr vert="horz" wrap="square" lIns="45720" tIns="22860" rIns="45720" bIns="22860" numCol="1" anchor="t" anchorCtr="0" compatLnSpc="1">
            <a:prstTxWarp prst="textNoShape">
              <a:avLst/>
            </a:prstTxWarp>
          </a:bodyPr>
          <a:lstStyle/>
          <a:p>
            <a:endParaRPr lang="th-TH" sz="900"/>
          </a:p>
        </p:txBody>
      </p:sp>
    </p:spTree>
    <p:custDataLst>
      <p:tags r:id="rId1"/>
    </p:custDataLst>
    <p:extLst>
      <p:ext uri="{BB962C8B-B14F-4D97-AF65-F5344CB8AC3E}">
        <p14:creationId xmlns:p14="http://schemas.microsoft.com/office/powerpoint/2010/main" val="30641391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53" presetClass="entr" presetSubtype="16" fill="hold" nodeType="withEffect">
                                  <p:stCondLst>
                                    <p:cond delay="500"/>
                                  </p:stCondLst>
                                  <p:childTnLst>
                                    <p:set>
                                      <p:cBhvr>
                                        <p:cTn id="10" dur="1" fill="hold">
                                          <p:stCondLst>
                                            <p:cond delay="0"/>
                                          </p:stCondLst>
                                        </p:cTn>
                                        <p:tgtEl>
                                          <p:spTgt spid="5"/>
                                        </p:tgtEl>
                                        <p:attrNameLst>
                                          <p:attrName>style.visibility</p:attrName>
                                        </p:attrNameLst>
                                      </p:cBhvr>
                                      <p:to>
                                        <p:strVal val="visible"/>
                                      </p:to>
                                    </p:set>
                                    <p:anim calcmode="lin" valueType="num">
                                      <p:cBhvr>
                                        <p:cTn id="11" dur="500" fill="hold"/>
                                        <p:tgtEl>
                                          <p:spTgt spid="5"/>
                                        </p:tgtEl>
                                        <p:attrNameLst>
                                          <p:attrName>ppt_w</p:attrName>
                                        </p:attrNameLst>
                                      </p:cBhvr>
                                      <p:tavLst>
                                        <p:tav tm="0">
                                          <p:val>
                                            <p:fltVal val="0"/>
                                          </p:val>
                                        </p:tav>
                                        <p:tav tm="100000">
                                          <p:val>
                                            <p:strVal val="#ppt_w"/>
                                          </p:val>
                                        </p:tav>
                                      </p:tavLst>
                                    </p:anim>
                                    <p:anim calcmode="lin" valueType="num">
                                      <p:cBhvr>
                                        <p:cTn id="12" dur="500" fill="hold"/>
                                        <p:tgtEl>
                                          <p:spTgt spid="5"/>
                                        </p:tgtEl>
                                        <p:attrNameLst>
                                          <p:attrName>ppt_h</p:attrName>
                                        </p:attrNameLst>
                                      </p:cBhvr>
                                      <p:tavLst>
                                        <p:tav tm="0">
                                          <p:val>
                                            <p:fltVal val="0"/>
                                          </p:val>
                                        </p:tav>
                                        <p:tav tm="100000">
                                          <p:val>
                                            <p:strVal val="#ppt_h"/>
                                          </p:val>
                                        </p:tav>
                                      </p:tavLst>
                                    </p:anim>
                                    <p:animEffect transition="in" filter="fade">
                                      <p:cBhvr>
                                        <p:cTn id="13" dur="500"/>
                                        <p:tgtEl>
                                          <p:spTgt spid="5"/>
                                        </p:tgtEl>
                                      </p:cBhvr>
                                    </p:animEffect>
                                  </p:childTnLst>
                                </p:cTn>
                              </p:par>
                              <p:par>
                                <p:cTn id="14" presetID="53" presetClass="entr" presetSubtype="16" fill="hold" nodeType="withEffect">
                                  <p:stCondLst>
                                    <p:cond delay="500"/>
                                  </p:stCondLst>
                                  <p:childTnLst>
                                    <p:set>
                                      <p:cBhvr>
                                        <p:cTn id="15" dur="1" fill="hold">
                                          <p:stCondLst>
                                            <p:cond delay="0"/>
                                          </p:stCondLst>
                                        </p:cTn>
                                        <p:tgtEl>
                                          <p:spTgt spid="11"/>
                                        </p:tgtEl>
                                        <p:attrNameLst>
                                          <p:attrName>style.visibility</p:attrName>
                                        </p:attrNameLst>
                                      </p:cBhvr>
                                      <p:to>
                                        <p:strVal val="visible"/>
                                      </p:to>
                                    </p:set>
                                    <p:anim calcmode="lin" valueType="num">
                                      <p:cBhvr>
                                        <p:cTn id="16" dur="500" fill="hold"/>
                                        <p:tgtEl>
                                          <p:spTgt spid="11"/>
                                        </p:tgtEl>
                                        <p:attrNameLst>
                                          <p:attrName>ppt_w</p:attrName>
                                        </p:attrNameLst>
                                      </p:cBhvr>
                                      <p:tavLst>
                                        <p:tav tm="0">
                                          <p:val>
                                            <p:fltVal val="0"/>
                                          </p:val>
                                        </p:tav>
                                        <p:tav tm="100000">
                                          <p:val>
                                            <p:strVal val="#ppt_w"/>
                                          </p:val>
                                        </p:tav>
                                      </p:tavLst>
                                    </p:anim>
                                    <p:anim calcmode="lin" valueType="num">
                                      <p:cBhvr>
                                        <p:cTn id="17" dur="500" fill="hold"/>
                                        <p:tgtEl>
                                          <p:spTgt spid="11"/>
                                        </p:tgtEl>
                                        <p:attrNameLst>
                                          <p:attrName>ppt_h</p:attrName>
                                        </p:attrNameLst>
                                      </p:cBhvr>
                                      <p:tavLst>
                                        <p:tav tm="0">
                                          <p:val>
                                            <p:fltVal val="0"/>
                                          </p:val>
                                        </p:tav>
                                        <p:tav tm="100000">
                                          <p:val>
                                            <p:strVal val="#ppt_h"/>
                                          </p:val>
                                        </p:tav>
                                      </p:tavLst>
                                    </p:anim>
                                    <p:animEffect transition="in" filter="fade">
                                      <p:cBhvr>
                                        <p:cTn id="18" dur="500"/>
                                        <p:tgtEl>
                                          <p:spTgt spid="11"/>
                                        </p:tgtEl>
                                      </p:cBhvr>
                                    </p:animEffect>
                                  </p:childTnLst>
                                </p:cTn>
                              </p:par>
                              <p:par>
                                <p:cTn id="19" presetID="53" presetClass="entr" presetSubtype="16" fill="hold" nodeType="withEffect">
                                  <p:stCondLst>
                                    <p:cond delay="500"/>
                                  </p:stCondLst>
                                  <p:childTnLst>
                                    <p:set>
                                      <p:cBhvr>
                                        <p:cTn id="20" dur="1" fill="hold">
                                          <p:stCondLst>
                                            <p:cond delay="0"/>
                                          </p:stCondLst>
                                        </p:cTn>
                                        <p:tgtEl>
                                          <p:spTgt spid="16"/>
                                        </p:tgtEl>
                                        <p:attrNameLst>
                                          <p:attrName>style.visibility</p:attrName>
                                        </p:attrNameLst>
                                      </p:cBhvr>
                                      <p:to>
                                        <p:strVal val="visible"/>
                                      </p:to>
                                    </p:set>
                                    <p:anim calcmode="lin" valueType="num">
                                      <p:cBhvr>
                                        <p:cTn id="21" dur="500" fill="hold"/>
                                        <p:tgtEl>
                                          <p:spTgt spid="16"/>
                                        </p:tgtEl>
                                        <p:attrNameLst>
                                          <p:attrName>ppt_w</p:attrName>
                                        </p:attrNameLst>
                                      </p:cBhvr>
                                      <p:tavLst>
                                        <p:tav tm="0">
                                          <p:val>
                                            <p:fltVal val="0"/>
                                          </p:val>
                                        </p:tav>
                                        <p:tav tm="100000">
                                          <p:val>
                                            <p:strVal val="#ppt_w"/>
                                          </p:val>
                                        </p:tav>
                                      </p:tavLst>
                                    </p:anim>
                                    <p:anim calcmode="lin" valueType="num">
                                      <p:cBhvr>
                                        <p:cTn id="22" dur="500" fill="hold"/>
                                        <p:tgtEl>
                                          <p:spTgt spid="16"/>
                                        </p:tgtEl>
                                        <p:attrNameLst>
                                          <p:attrName>ppt_h</p:attrName>
                                        </p:attrNameLst>
                                      </p:cBhvr>
                                      <p:tavLst>
                                        <p:tav tm="0">
                                          <p:val>
                                            <p:fltVal val="0"/>
                                          </p:val>
                                        </p:tav>
                                        <p:tav tm="100000">
                                          <p:val>
                                            <p:strVal val="#ppt_h"/>
                                          </p:val>
                                        </p:tav>
                                      </p:tavLst>
                                    </p:anim>
                                    <p:animEffect transition="in" filter="fade">
                                      <p:cBhvr>
                                        <p:cTn id="23" dur="500"/>
                                        <p:tgtEl>
                                          <p:spTgt spid="16"/>
                                        </p:tgtEl>
                                      </p:cBhvr>
                                    </p:animEffect>
                                  </p:childTnLst>
                                </p:cTn>
                              </p:par>
                              <p:par>
                                <p:cTn id="24" presetID="53" presetClass="entr" presetSubtype="16" fill="hold" nodeType="withEffect">
                                  <p:stCondLst>
                                    <p:cond delay="500"/>
                                  </p:stCondLst>
                                  <p:childTnLst>
                                    <p:set>
                                      <p:cBhvr>
                                        <p:cTn id="25" dur="1" fill="hold">
                                          <p:stCondLst>
                                            <p:cond delay="0"/>
                                          </p:stCondLst>
                                        </p:cTn>
                                        <p:tgtEl>
                                          <p:spTgt spid="21"/>
                                        </p:tgtEl>
                                        <p:attrNameLst>
                                          <p:attrName>style.visibility</p:attrName>
                                        </p:attrNameLst>
                                      </p:cBhvr>
                                      <p:to>
                                        <p:strVal val="visible"/>
                                      </p:to>
                                    </p:set>
                                    <p:anim calcmode="lin" valueType="num">
                                      <p:cBhvr>
                                        <p:cTn id="26" dur="500" fill="hold"/>
                                        <p:tgtEl>
                                          <p:spTgt spid="21"/>
                                        </p:tgtEl>
                                        <p:attrNameLst>
                                          <p:attrName>ppt_w</p:attrName>
                                        </p:attrNameLst>
                                      </p:cBhvr>
                                      <p:tavLst>
                                        <p:tav tm="0">
                                          <p:val>
                                            <p:fltVal val="0"/>
                                          </p:val>
                                        </p:tav>
                                        <p:tav tm="100000">
                                          <p:val>
                                            <p:strVal val="#ppt_w"/>
                                          </p:val>
                                        </p:tav>
                                      </p:tavLst>
                                    </p:anim>
                                    <p:anim calcmode="lin" valueType="num">
                                      <p:cBhvr>
                                        <p:cTn id="27" dur="500" fill="hold"/>
                                        <p:tgtEl>
                                          <p:spTgt spid="21"/>
                                        </p:tgtEl>
                                        <p:attrNameLst>
                                          <p:attrName>ppt_h</p:attrName>
                                        </p:attrNameLst>
                                      </p:cBhvr>
                                      <p:tavLst>
                                        <p:tav tm="0">
                                          <p:val>
                                            <p:fltVal val="0"/>
                                          </p:val>
                                        </p:tav>
                                        <p:tav tm="100000">
                                          <p:val>
                                            <p:strVal val="#ppt_h"/>
                                          </p:val>
                                        </p:tav>
                                      </p:tavLst>
                                    </p:anim>
                                    <p:animEffect transition="in" filter="fade">
                                      <p:cBhvr>
                                        <p:cTn id="28" dur="500"/>
                                        <p:tgtEl>
                                          <p:spTgt spid="21"/>
                                        </p:tgtEl>
                                      </p:cBhvr>
                                    </p:animEffect>
                                  </p:childTnLst>
                                </p:cTn>
                              </p:par>
                              <p:par>
                                <p:cTn id="29" presetID="53" presetClass="entr" presetSubtype="16" fill="hold" nodeType="withEffect">
                                  <p:stCondLst>
                                    <p:cond delay="500"/>
                                  </p:stCondLst>
                                  <p:childTnLst>
                                    <p:set>
                                      <p:cBhvr>
                                        <p:cTn id="30" dur="1" fill="hold">
                                          <p:stCondLst>
                                            <p:cond delay="0"/>
                                          </p:stCondLst>
                                        </p:cTn>
                                        <p:tgtEl>
                                          <p:spTgt spid="30"/>
                                        </p:tgtEl>
                                        <p:attrNameLst>
                                          <p:attrName>style.visibility</p:attrName>
                                        </p:attrNameLst>
                                      </p:cBhvr>
                                      <p:to>
                                        <p:strVal val="visible"/>
                                      </p:to>
                                    </p:set>
                                    <p:anim calcmode="lin" valueType="num">
                                      <p:cBhvr>
                                        <p:cTn id="31" dur="500" fill="hold"/>
                                        <p:tgtEl>
                                          <p:spTgt spid="30"/>
                                        </p:tgtEl>
                                        <p:attrNameLst>
                                          <p:attrName>ppt_w</p:attrName>
                                        </p:attrNameLst>
                                      </p:cBhvr>
                                      <p:tavLst>
                                        <p:tav tm="0">
                                          <p:val>
                                            <p:fltVal val="0"/>
                                          </p:val>
                                        </p:tav>
                                        <p:tav tm="100000">
                                          <p:val>
                                            <p:strVal val="#ppt_w"/>
                                          </p:val>
                                        </p:tav>
                                      </p:tavLst>
                                    </p:anim>
                                    <p:anim calcmode="lin" valueType="num">
                                      <p:cBhvr>
                                        <p:cTn id="32" dur="500" fill="hold"/>
                                        <p:tgtEl>
                                          <p:spTgt spid="30"/>
                                        </p:tgtEl>
                                        <p:attrNameLst>
                                          <p:attrName>ppt_h</p:attrName>
                                        </p:attrNameLst>
                                      </p:cBhvr>
                                      <p:tavLst>
                                        <p:tav tm="0">
                                          <p:val>
                                            <p:fltVal val="0"/>
                                          </p:val>
                                        </p:tav>
                                        <p:tav tm="100000">
                                          <p:val>
                                            <p:strVal val="#ppt_h"/>
                                          </p:val>
                                        </p:tav>
                                      </p:tavLst>
                                    </p:anim>
                                    <p:animEffect transition="in" filter="fade">
                                      <p:cBhvr>
                                        <p:cTn id="33" dur="500"/>
                                        <p:tgtEl>
                                          <p:spTgt spid="30"/>
                                        </p:tgtEl>
                                      </p:cBhvr>
                                    </p:animEffect>
                                  </p:childTnLst>
                                </p:cTn>
                              </p:par>
                              <p:par>
                                <p:cTn id="34" presetID="53" presetClass="entr" presetSubtype="16" fill="hold" nodeType="withEffect">
                                  <p:stCondLst>
                                    <p:cond delay="500"/>
                                  </p:stCondLst>
                                  <p:childTnLst>
                                    <p:set>
                                      <p:cBhvr>
                                        <p:cTn id="35" dur="1" fill="hold">
                                          <p:stCondLst>
                                            <p:cond delay="0"/>
                                          </p:stCondLst>
                                        </p:cTn>
                                        <p:tgtEl>
                                          <p:spTgt spid="34"/>
                                        </p:tgtEl>
                                        <p:attrNameLst>
                                          <p:attrName>style.visibility</p:attrName>
                                        </p:attrNameLst>
                                      </p:cBhvr>
                                      <p:to>
                                        <p:strVal val="visible"/>
                                      </p:to>
                                    </p:set>
                                    <p:anim calcmode="lin" valueType="num">
                                      <p:cBhvr>
                                        <p:cTn id="36" dur="500" fill="hold"/>
                                        <p:tgtEl>
                                          <p:spTgt spid="34"/>
                                        </p:tgtEl>
                                        <p:attrNameLst>
                                          <p:attrName>ppt_w</p:attrName>
                                        </p:attrNameLst>
                                      </p:cBhvr>
                                      <p:tavLst>
                                        <p:tav tm="0">
                                          <p:val>
                                            <p:fltVal val="0"/>
                                          </p:val>
                                        </p:tav>
                                        <p:tav tm="100000">
                                          <p:val>
                                            <p:strVal val="#ppt_w"/>
                                          </p:val>
                                        </p:tav>
                                      </p:tavLst>
                                    </p:anim>
                                    <p:anim calcmode="lin" valueType="num">
                                      <p:cBhvr>
                                        <p:cTn id="37" dur="500" fill="hold"/>
                                        <p:tgtEl>
                                          <p:spTgt spid="34"/>
                                        </p:tgtEl>
                                        <p:attrNameLst>
                                          <p:attrName>ppt_h</p:attrName>
                                        </p:attrNameLst>
                                      </p:cBhvr>
                                      <p:tavLst>
                                        <p:tav tm="0">
                                          <p:val>
                                            <p:fltVal val="0"/>
                                          </p:val>
                                        </p:tav>
                                        <p:tav tm="100000">
                                          <p:val>
                                            <p:strVal val="#ppt_h"/>
                                          </p:val>
                                        </p:tav>
                                      </p:tavLst>
                                    </p:anim>
                                    <p:animEffect transition="in" filter="fade">
                                      <p:cBhvr>
                                        <p:cTn id="38" dur="500"/>
                                        <p:tgtEl>
                                          <p:spTgt spid="34"/>
                                        </p:tgtEl>
                                      </p:cBhvr>
                                    </p:animEffect>
                                  </p:childTnLst>
                                </p:cTn>
                              </p:par>
                              <p:par>
                                <p:cTn id="39" presetID="53" presetClass="entr" presetSubtype="16" fill="hold" grpId="0" nodeType="withEffect">
                                  <p:stCondLst>
                                    <p:cond delay="500"/>
                                  </p:stCondLst>
                                  <p:childTnLst>
                                    <p:set>
                                      <p:cBhvr>
                                        <p:cTn id="40" dur="1" fill="hold">
                                          <p:stCondLst>
                                            <p:cond delay="0"/>
                                          </p:stCondLst>
                                        </p:cTn>
                                        <p:tgtEl>
                                          <p:spTgt spid="45"/>
                                        </p:tgtEl>
                                        <p:attrNameLst>
                                          <p:attrName>style.visibility</p:attrName>
                                        </p:attrNameLst>
                                      </p:cBhvr>
                                      <p:to>
                                        <p:strVal val="visible"/>
                                      </p:to>
                                    </p:set>
                                    <p:anim calcmode="lin" valueType="num">
                                      <p:cBhvr>
                                        <p:cTn id="41" dur="500" fill="hold"/>
                                        <p:tgtEl>
                                          <p:spTgt spid="45"/>
                                        </p:tgtEl>
                                        <p:attrNameLst>
                                          <p:attrName>ppt_w</p:attrName>
                                        </p:attrNameLst>
                                      </p:cBhvr>
                                      <p:tavLst>
                                        <p:tav tm="0">
                                          <p:val>
                                            <p:fltVal val="0"/>
                                          </p:val>
                                        </p:tav>
                                        <p:tav tm="100000">
                                          <p:val>
                                            <p:strVal val="#ppt_w"/>
                                          </p:val>
                                        </p:tav>
                                      </p:tavLst>
                                    </p:anim>
                                    <p:anim calcmode="lin" valueType="num">
                                      <p:cBhvr>
                                        <p:cTn id="42" dur="500" fill="hold"/>
                                        <p:tgtEl>
                                          <p:spTgt spid="45"/>
                                        </p:tgtEl>
                                        <p:attrNameLst>
                                          <p:attrName>ppt_h</p:attrName>
                                        </p:attrNameLst>
                                      </p:cBhvr>
                                      <p:tavLst>
                                        <p:tav tm="0">
                                          <p:val>
                                            <p:fltVal val="0"/>
                                          </p:val>
                                        </p:tav>
                                        <p:tav tm="100000">
                                          <p:val>
                                            <p:strVal val="#ppt_h"/>
                                          </p:val>
                                        </p:tav>
                                      </p:tavLst>
                                    </p:anim>
                                    <p:animEffect transition="in" filter="fade">
                                      <p:cBhvr>
                                        <p:cTn id="43" dur="500"/>
                                        <p:tgtEl>
                                          <p:spTgt spid="45"/>
                                        </p:tgtEl>
                                      </p:cBhvr>
                                    </p:animEffect>
                                  </p:childTnLst>
                                </p:cTn>
                              </p:par>
                              <p:par>
                                <p:cTn id="44" presetID="53" presetClass="entr" presetSubtype="16" fill="hold" nodeType="withEffect">
                                  <p:stCondLst>
                                    <p:cond delay="500"/>
                                  </p:stCondLst>
                                  <p:childTnLst>
                                    <p:set>
                                      <p:cBhvr>
                                        <p:cTn id="45" dur="1" fill="hold">
                                          <p:stCondLst>
                                            <p:cond delay="0"/>
                                          </p:stCondLst>
                                        </p:cTn>
                                        <p:tgtEl>
                                          <p:spTgt spid="46"/>
                                        </p:tgtEl>
                                        <p:attrNameLst>
                                          <p:attrName>style.visibility</p:attrName>
                                        </p:attrNameLst>
                                      </p:cBhvr>
                                      <p:to>
                                        <p:strVal val="visible"/>
                                      </p:to>
                                    </p:set>
                                    <p:anim calcmode="lin" valueType="num">
                                      <p:cBhvr>
                                        <p:cTn id="46" dur="500" fill="hold"/>
                                        <p:tgtEl>
                                          <p:spTgt spid="46"/>
                                        </p:tgtEl>
                                        <p:attrNameLst>
                                          <p:attrName>ppt_w</p:attrName>
                                        </p:attrNameLst>
                                      </p:cBhvr>
                                      <p:tavLst>
                                        <p:tav tm="0">
                                          <p:val>
                                            <p:fltVal val="0"/>
                                          </p:val>
                                        </p:tav>
                                        <p:tav tm="100000">
                                          <p:val>
                                            <p:strVal val="#ppt_w"/>
                                          </p:val>
                                        </p:tav>
                                      </p:tavLst>
                                    </p:anim>
                                    <p:anim calcmode="lin" valueType="num">
                                      <p:cBhvr>
                                        <p:cTn id="47" dur="500" fill="hold"/>
                                        <p:tgtEl>
                                          <p:spTgt spid="46"/>
                                        </p:tgtEl>
                                        <p:attrNameLst>
                                          <p:attrName>ppt_h</p:attrName>
                                        </p:attrNameLst>
                                      </p:cBhvr>
                                      <p:tavLst>
                                        <p:tav tm="0">
                                          <p:val>
                                            <p:fltVal val="0"/>
                                          </p:val>
                                        </p:tav>
                                        <p:tav tm="100000">
                                          <p:val>
                                            <p:strVal val="#ppt_h"/>
                                          </p:val>
                                        </p:tav>
                                      </p:tavLst>
                                    </p:anim>
                                    <p:animEffect transition="in" filter="fade">
                                      <p:cBhvr>
                                        <p:cTn id="48" dur="500"/>
                                        <p:tgtEl>
                                          <p:spTgt spid="46"/>
                                        </p:tgtEl>
                                      </p:cBhvr>
                                    </p:animEffect>
                                  </p:childTnLst>
                                </p:cTn>
                              </p:par>
                              <p:par>
                                <p:cTn id="49" presetID="53" presetClass="entr" presetSubtype="16" fill="hold" grpId="0" nodeType="withEffect">
                                  <p:stCondLst>
                                    <p:cond delay="500"/>
                                  </p:stCondLst>
                                  <p:childTnLst>
                                    <p:set>
                                      <p:cBhvr>
                                        <p:cTn id="50" dur="1" fill="hold">
                                          <p:stCondLst>
                                            <p:cond delay="0"/>
                                          </p:stCondLst>
                                        </p:cTn>
                                        <p:tgtEl>
                                          <p:spTgt spid="50"/>
                                        </p:tgtEl>
                                        <p:attrNameLst>
                                          <p:attrName>style.visibility</p:attrName>
                                        </p:attrNameLst>
                                      </p:cBhvr>
                                      <p:to>
                                        <p:strVal val="visible"/>
                                      </p:to>
                                    </p:set>
                                    <p:anim calcmode="lin" valueType="num">
                                      <p:cBhvr>
                                        <p:cTn id="51" dur="500" fill="hold"/>
                                        <p:tgtEl>
                                          <p:spTgt spid="50"/>
                                        </p:tgtEl>
                                        <p:attrNameLst>
                                          <p:attrName>ppt_w</p:attrName>
                                        </p:attrNameLst>
                                      </p:cBhvr>
                                      <p:tavLst>
                                        <p:tav tm="0">
                                          <p:val>
                                            <p:fltVal val="0"/>
                                          </p:val>
                                        </p:tav>
                                        <p:tav tm="100000">
                                          <p:val>
                                            <p:strVal val="#ppt_w"/>
                                          </p:val>
                                        </p:tav>
                                      </p:tavLst>
                                    </p:anim>
                                    <p:anim calcmode="lin" valueType="num">
                                      <p:cBhvr>
                                        <p:cTn id="52" dur="500" fill="hold"/>
                                        <p:tgtEl>
                                          <p:spTgt spid="50"/>
                                        </p:tgtEl>
                                        <p:attrNameLst>
                                          <p:attrName>ppt_h</p:attrName>
                                        </p:attrNameLst>
                                      </p:cBhvr>
                                      <p:tavLst>
                                        <p:tav tm="0">
                                          <p:val>
                                            <p:fltVal val="0"/>
                                          </p:val>
                                        </p:tav>
                                        <p:tav tm="100000">
                                          <p:val>
                                            <p:strVal val="#ppt_h"/>
                                          </p:val>
                                        </p:tav>
                                      </p:tavLst>
                                    </p:anim>
                                    <p:animEffect transition="in" filter="fade">
                                      <p:cBhvr>
                                        <p:cTn id="53" dur="500"/>
                                        <p:tgtEl>
                                          <p:spTgt spid="50"/>
                                        </p:tgtEl>
                                      </p:cBhvr>
                                    </p:animEffect>
                                  </p:childTnLst>
                                </p:cTn>
                              </p:par>
                              <p:par>
                                <p:cTn id="54" presetID="53" presetClass="entr" presetSubtype="16" fill="hold" nodeType="withEffect">
                                  <p:stCondLst>
                                    <p:cond delay="500"/>
                                  </p:stCondLst>
                                  <p:childTnLst>
                                    <p:set>
                                      <p:cBhvr>
                                        <p:cTn id="55" dur="1" fill="hold">
                                          <p:stCondLst>
                                            <p:cond delay="0"/>
                                          </p:stCondLst>
                                        </p:cTn>
                                        <p:tgtEl>
                                          <p:spTgt spid="51"/>
                                        </p:tgtEl>
                                        <p:attrNameLst>
                                          <p:attrName>style.visibility</p:attrName>
                                        </p:attrNameLst>
                                      </p:cBhvr>
                                      <p:to>
                                        <p:strVal val="visible"/>
                                      </p:to>
                                    </p:set>
                                    <p:anim calcmode="lin" valueType="num">
                                      <p:cBhvr>
                                        <p:cTn id="56" dur="500" fill="hold"/>
                                        <p:tgtEl>
                                          <p:spTgt spid="51"/>
                                        </p:tgtEl>
                                        <p:attrNameLst>
                                          <p:attrName>ppt_w</p:attrName>
                                        </p:attrNameLst>
                                      </p:cBhvr>
                                      <p:tavLst>
                                        <p:tav tm="0">
                                          <p:val>
                                            <p:fltVal val="0"/>
                                          </p:val>
                                        </p:tav>
                                        <p:tav tm="100000">
                                          <p:val>
                                            <p:strVal val="#ppt_w"/>
                                          </p:val>
                                        </p:tav>
                                      </p:tavLst>
                                    </p:anim>
                                    <p:anim calcmode="lin" valueType="num">
                                      <p:cBhvr>
                                        <p:cTn id="57" dur="500" fill="hold"/>
                                        <p:tgtEl>
                                          <p:spTgt spid="51"/>
                                        </p:tgtEl>
                                        <p:attrNameLst>
                                          <p:attrName>ppt_h</p:attrName>
                                        </p:attrNameLst>
                                      </p:cBhvr>
                                      <p:tavLst>
                                        <p:tav tm="0">
                                          <p:val>
                                            <p:fltVal val="0"/>
                                          </p:val>
                                        </p:tav>
                                        <p:tav tm="100000">
                                          <p:val>
                                            <p:strVal val="#ppt_h"/>
                                          </p:val>
                                        </p:tav>
                                      </p:tavLst>
                                    </p:anim>
                                    <p:animEffect transition="in" filter="fade">
                                      <p:cBhvr>
                                        <p:cTn id="58" dur="500"/>
                                        <p:tgtEl>
                                          <p:spTgt spid="51"/>
                                        </p:tgtEl>
                                      </p:cBhvr>
                                    </p:animEffect>
                                  </p:childTnLst>
                                </p:cTn>
                              </p:par>
                              <p:par>
                                <p:cTn id="59" presetID="53" presetClass="entr" presetSubtype="16" fill="hold" grpId="0" nodeType="withEffect">
                                  <p:stCondLst>
                                    <p:cond delay="500"/>
                                  </p:stCondLst>
                                  <p:childTnLst>
                                    <p:set>
                                      <p:cBhvr>
                                        <p:cTn id="60" dur="1" fill="hold">
                                          <p:stCondLst>
                                            <p:cond delay="0"/>
                                          </p:stCondLst>
                                        </p:cTn>
                                        <p:tgtEl>
                                          <p:spTgt spid="54"/>
                                        </p:tgtEl>
                                        <p:attrNameLst>
                                          <p:attrName>style.visibility</p:attrName>
                                        </p:attrNameLst>
                                      </p:cBhvr>
                                      <p:to>
                                        <p:strVal val="visible"/>
                                      </p:to>
                                    </p:set>
                                    <p:anim calcmode="lin" valueType="num">
                                      <p:cBhvr>
                                        <p:cTn id="61" dur="500" fill="hold"/>
                                        <p:tgtEl>
                                          <p:spTgt spid="54"/>
                                        </p:tgtEl>
                                        <p:attrNameLst>
                                          <p:attrName>ppt_w</p:attrName>
                                        </p:attrNameLst>
                                      </p:cBhvr>
                                      <p:tavLst>
                                        <p:tav tm="0">
                                          <p:val>
                                            <p:fltVal val="0"/>
                                          </p:val>
                                        </p:tav>
                                        <p:tav tm="100000">
                                          <p:val>
                                            <p:strVal val="#ppt_w"/>
                                          </p:val>
                                        </p:tav>
                                      </p:tavLst>
                                    </p:anim>
                                    <p:anim calcmode="lin" valueType="num">
                                      <p:cBhvr>
                                        <p:cTn id="62" dur="500" fill="hold"/>
                                        <p:tgtEl>
                                          <p:spTgt spid="54"/>
                                        </p:tgtEl>
                                        <p:attrNameLst>
                                          <p:attrName>ppt_h</p:attrName>
                                        </p:attrNameLst>
                                      </p:cBhvr>
                                      <p:tavLst>
                                        <p:tav tm="0">
                                          <p:val>
                                            <p:fltVal val="0"/>
                                          </p:val>
                                        </p:tav>
                                        <p:tav tm="100000">
                                          <p:val>
                                            <p:strVal val="#ppt_h"/>
                                          </p:val>
                                        </p:tav>
                                      </p:tavLst>
                                    </p:anim>
                                    <p:animEffect transition="in" filter="fade">
                                      <p:cBhvr>
                                        <p:cTn id="63" dur="500"/>
                                        <p:tgtEl>
                                          <p:spTgt spid="54"/>
                                        </p:tgtEl>
                                      </p:cBhvr>
                                    </p:animEffect>
                                  </p:childTnLst>
                                </p:cTn>
                              </p:par>
                            </p:childTnLst>
                          </p:cTn>
                        </p:par>
                        <p:par>
                          <p:cTn id="64" fill="hold">
                            <p:stCondLst>
                              <p:cond delay="1000"/>
                            </p:stCondLst>
                            <p:childTnLst>
                              <p:par>
                                <p:cTn id="65" presetID="53" presetClass="entr" presetSubtype="16" fill="hold" grpId="0" nodeType="afterEffect">
                                  <p:stCondLst>
                                    <p:cond delay="500"/>
                                  </p:stCondLst>
                                  <p:childTnLst>
                                    <p:set>
                                      <p:cBhvr>
                                        <p:cTn id="66" dur="1" fill="hold">
                                          <p:stCondLst>
                                            <p:cond delay="0"/>
                                          </p:stCondLst>
                                        </p:cTn>
                                        <p:tgtEl>
                                          <p:spTgt spid="55"/>
                                        </p:tgtEl>
                                        <p:attrNameLst>
                                          <p:attrName>style.visibility</p:attrName>
                                        </p:attrNameLst>
                                      </p:cBhvr>
                                      <p:to>
                                        <p:strVal val="visible"/>
                                      </p:to>
                                    </p:set>
                                    <p:anim calcmode="lin" valueType="num">
                                      <p:cBhvr>
                                        <p:cTn id="67" dur="500" fill="hold"/>
                                        <p:tgtEl>
                                          <p:spTgt spid="55"/>
                                        </p:tgtEl>
                                        <p:attrNameLst>
                                          <p:attrName>ppt_w</p:attrName>
                                        </p:attrNameLst>
                                      </p:cBhvr>
                                      <p:tavLst>
                                        <p:tav tm="0">
                                          <p:val>
                                            <p:fltVal val="0"/>
                                          </p:val>
                                        </p:tav>
                                        <p:tav tm="100000">
                                          <p:val>
                                            <p:strVal val="#ppt_w"/>
                                          </p:val>
                                        </p:tav>
                                      </p:tavLst>
                                    </p:anim>
                                    <p:anim calcmode="lin" valueType="num">
                                      <p:cBhvr>
                                        <p:cTn id="68" dur="500" fill="hold"/>
                                        <p:tgtEl>
                                          <p:spTgt spid="55"/>
                                        </p:tgtEl>
                                        <p:attrNameLst>
                                          <p:attrName>ppt_h</p:attrName>
                                        </p:attrNameLst>
                                      </p:cBhvr>
                                      <p:tavLst>
                                        <p:tav tm="0">
                                          <p:val>
                                            <p:fltVal val="0"/>
                                          </p:val>
                                        </p:tav>
                                        <p:tav tm="100000">
                                          <p:val>
                                            <p:strVal val="#ppt_h"/>
                                          </p:val>
                                        </p:tav>
                                      </p:tavLst>
                                    </p:anim>
                                    <p:animEffect transition="in" filter="fade">
                                      <p:cBhvr>
                                        <p:cTn id="69" dur="500"/>
                                        <p:tgtEl>
                                          <p:spTgt spid="55"/>
                                        </p:tgtEl>
                                      </p:cBhvr>
                                    </p:animEffect>
                                  </p:childTnLst>
                                </p:cTn>
                              </p:par>
                              <p:par>
                                <p:cTn id="70" presetID="53" presetClass="entr" presetSubtype="16" fill="hold" grpId="0" nodeType="withEffect">
                                  <p:stCondLst>
                                    <p:cond delay="500"/>
                                  </p:stCondLst>
                                  <p:childTnLst>
                                    <p:set>
                                      <p:cBhvr>
                                        <p:cTn id="71" dur="1" fill="hold">
                                          <p:stCondLst>
                                            <p:cond delay="0"/>
                                          </p:stCondLst>
                                        </p:cTn>
                                        <p:tgtEl>
                                          <p:spTgt spid="56"/>
                                        </p:tgtEl>
                                        <p:attrNameLst>
                                          <p:attrName>style.visibility</p:attrName>
                                        </p:attrNameLst>
                                      </p:cBhvr>
                                      <p:to>
                                        <p:strVal val="visible"/>
                                      </p:to>
                                    </p:set>
                                    <p:anim calcmode="lin" valueType="num">
                                      <p:cBhvr>
                                        <p:cTn id="72" dur="500" fill="hold"/>
                                        <p:tgtEl>
                                          <p:spTgt spid="56"/>
                                        </p:tgtEl>
                                        <p:attrNameLst>
                                          <p:attrName>ppt_w</p:attrName>
                                        </p:attrNameLst>
                                      </p:cBhvr>
                                      <p:tavLst>
                                        <p:tav tm="0">
                                          <p:val>
                                            <p:fltVal val="0"/>
                                          </p:val>
                                        </p:tav>
                                        <p:tav tm="100000">
                                          <p:val>
                                            <p:strVal val="#ppt_w"/>
                                          </p:val>
                                        </p:tav>
                                      </p:tavLst>
                                    </p:anim>
                                    <p:anim calcmode="lin" valueType="num">
                                      <p:cBhvr>
                                        <p:cTn id="73" dur="500" fill="hold"/>
                                        <p:tgtEl>
                                          <p:spTgt spid="56"/>
                                        </p:tgtEl>
                                        <p:attrNameLst>
                                          <p:attrName>ppt_h</p:attrName>
                                        </p:attrNameLst>
                                      </p:cBhvr>
                                      <p:tavLst>
                                        <p:tav tm="0">
                                          <p:val>
                                            <p:fltVal val="0"/>
                                          </p:val>
                                        </p:tav>
                                        <p:tav tm="100000">
                                          <p:val>
                                            <p:strVal val="#ppt_h"/>
                                          </p:val>
                                        </p:tav>
                                      </p:tavLst>
                                    </p:anim>
                                    <p:animEffect transition="in" filter="fad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5" grpId="0" animBg="1"/>
      <p:bldP spid="50" grpId="0" animBg="1"/>
      <p:bldP spid="54" grpId="0" animBg="1"/>
      <p:bldP spid="55" grpId="0" animBg="1"/>
      <p:bldP spid="56" grpId="0" animBg="1"/>
    </p:bldLst>
  </p:timing>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bject 52">
            <a:extLst>
              <a:ext uri="{FF2B5EF4-FFF2-40B4-BE49-F238E27FC236}">
                <a16:creationId xmlns:a16="http://schemas.microsoft.com/office/drawing/2014/main" id="{DDA11886-2BEB-B742-99DF-8106CB5E81B3}"/>
              </a:ext>
            </a:extLst>
          </p:cNvPr>
          <p:cNvSpPr txBox="1"/>
          <p:nvPr/>
        </p:nvSpPr>
        <p:spPr>
          <a:xfrm rot="506911">
            <a:off x="2261003" y="1482358"/>
            <a:ext cx="3461552" cy="3680924"/>
          </a:xfrm>
          <a:prstGeom prst="arc">
            <a:avLst>
              <a:gd name="adj1" fmla="val 17383634"/>
              <a:gd name="adj2" fmla="val 13758785"/>
            </a:avLst>
          </a:prstGeom>
        </p:spPr>
        <p:txBody>
          <a:bodyPr spcFirstLastPara="1" vert="horz" wrap="square" lIns="0" tIns="0" rIns="0" bIns="0" numCol="1" rtlCol="0">
            <a:prstTxWarp prst="textArchUp">
              <a:avLst>
                <a:gd name="adj" fmla="val 19059760"/>
              </a:avLst>
            </a:prstTxWarp>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2700">
              <a:defRPr/>
            </a:pPr>
            <a:r>
              <a:rPr lang="en-US" sz="1600" b="1" dirty="0">
                <a:solidFill>
                  <a:sysClr val="windowText" lastClr="000000"/>
                </a:solidFill>
              </a:rPr>
              <a:t>Lorem ipsum d</a:t>
            </a:r>
            <a:endParaRPr sz="1600" b="1" dirty="0">
              <a:solidFill>
                <a:sysClr val="windowText" lastClr="000000"/>
              </a:solidFill>
            </a:endParaRPr>
          </a:p>
        </p:txBody>
      </p:sp>
      <p:sp>
        <p:nvSpPr>
          <p:cNvPr id="25" name="Oval 24">
            <a:extLst>
              <a:ext uri="{FF2B5EF4-FFF2-40B4-BE49-F238E27FC236}">
                <a16:creationId xmlns:a16="http://schemas.microsoft.com/office/drawing/2014/main" id="{332B12B6-89AB-CC42-B8A1-B8DC2CC91E9F}"/>
              </a:ext>
            </a:extLst>
          </p:cNvPr>
          <p:cNvSpPr/>
          <p:nvPr/>
        </p:nvSpPr>
        <p:spPr bwMode="gray">
          <a:xfrm>
            <a:off x="3139429" y="2164480"/>
            <a:ext cx="2396970" cy="2396970"/>
          </a:xfrm>
          <a:prstGeom prst="ellipse">
            <a:avLst/>
          </a:prstGeom>
          <a:noFill/>
          <a:ln w="19050" algn="ctr">
            <a:solidFill>
              <a:srgbClr val="0076A8"/>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r>
              <a:rPr lang="en-US" sz="1200" b="1" dirty="0">
                <a:solidFill>
                  <a:srgbClr val="0076A8"/>
                </a:solidFill>
              </a:rPr>
              <a:t>Lorem ipsum d</a:t>
            </a:r>
          </a:p>
        </p:txBody>
      </p:sp>
      <p:sp>
        <p:nvSpPr>
          <p:cNvPr id="26" name="Freeform 25">
            <a:extLst>
              <a:ext uri="{FF2B5EF4-FFF2-40B4-BE49-F238E27FC236}">
                <a16:creationId xmlns:a16="http://schemas.microsoft.com/office/drawing/2014/main" id="{4EB4CE45-743C-4A49-99B1-13D922F56E1F}"/>
              </a:ext>
            </a:extLst>
          </p:cNvPr>
          <p:cNvSpPr>
            <a:spLocks noEditPoints="1"/>
          </p:cNvSpPr>
          <p:nvPr/>
        </p:nvSpPr>
        <p:spPr bwMode="auto">
          <a:xfrm>
            <a:off x="5613310" y="5277321"/>
            <a:ext cx="230188" cy="207963"/>
          </a:xfrm>
          <a:custGeom>
            <a:avLst/>
            <a:gdLst>
              <a:gd name="T0" fmla="*/ 462 w 543"/>
              <a:gd name="T1" fmla="*/ 217 h 489"/>
              <a:gd name="T2" fmla="*/ 462 w 543"/>
              <a:gd name="T3" fmla="*/ 217 h 489"/>
              <a:gd name="T4" fmla="*/ 462 w 543"/>
              <a:gd name="T5" fmla="*/ 136 h 489"/>
              <a:gd name="T6" fmla="*/ 407 w 543"/>
              <a:gd name="T7" fmla="*/ 136 h 489"/>
              <a:gd name="T8" fmla="*/ 407 w 543"/>
              <a:gd name="T9" fmla="*/ 217 h 489"/>
              <a:gd name="T10" fmla="*/ 326 w 543"/>
              <a:gd name="T11" fmla="*/ 217 h 489"/>
              <a:gd name="T12" fmla="*/ 326 w 543"/>
              <a:gd name="T13" fmla="*/ 272 h 489"/>
              <a:gd name="T14" fmla="*/ 407 w 543"/>
              <a:gd name="T15" fmla="*/ 272 h 489"/>
              <a:gd name="T16" fmla="*/ 407 w 543"/>
              <a:gd name="T17" fmla="*/ 353 h 489"/>
              <a:gd name="T18" fmla="*/ 462 w 543"/>
              <a:gd name="T19" fmla="*/ 353 h 489"/>
              <a:gd name="T20" fmla="*/ 462 w 543"/>
              <a:gd name="T21" fmla="*/ 272 h 489"/>
              <a:gd name="T22" fmla="*/ 543 w 543"/>
              <a:gd name="T23" fmla="*/ 272 h 489"/>
              <a:gd name="T24" fmla="*/ 543 w 543"/>
              <a:gd name="T25" fmla="*/ 217 h 489"/>
              <a:gd name="T26" fmla="*/ 462 w 543"/>
              <a:gd name="T27" fmla="*/ 217 h 489"/>
              <a:gd name="T28" fmla="*/ 336 w 543"/>
              <a:gd name="T29" fmla="*/ 365 h 489"/>
              <a:gd name="T30" fmla="*/ 336 w 543"/>
              <a:gd name="T31" fmla="*/ 365 h 489"/>
              <a:gd name="T32" fmla="*/ 247 w 543"/>
              <a:gd name="T33" fmla="*/ 276 h 489"/>
              <a:gd name="T34" fmla="*/ 276 w 543"/>
              <a:gd name="T35" fmla="*/ 210 h 489"/>
              <a:gd name="T36" fmla="*/ 302 w 543"/>
              <a:gd name="T37" fmla="*/ 164 h 489"/>
              <a:gd name="T38" fmla="*/ 292 w 543"/>
              <a:gd name="T39" fmla="*/ 141 h 489"/>
              <a:gd name="T40" fmla="*/ 299 w 543"/>
              <a:gd name="T41" fmla="*/ 93 h 489"/>
              <a:gd name="T42" fmla="*/ 190 w 543"/>
              <a:gd name="T43" fmla="*/ 0 h 489"/>
              <a:gd name="T44" fmla="*/ 81 w 543"/>
              <a:gd name="T45" fmla="*/ 93 h 489"/>
              <a:gd name="T46" fmla="*/ 88 w 543"/>
              <a:gd name="T47" fmla="*/ 141 h 489"/>
              <a:gd name="T48" fmla="*/ 78 w 543"/>
              <a:gd name="T49" fmla="*/ 164 h 489"/>
              <a:gd name="T50" fmla="*/ 103 w 543"/>
              <a:gd name="T51" fmla="*/ 210 h 489"/>
              <a:gd name="T52" fmla="*/ 133 w 543"/>
              <a:gd name="T53" fmla="*/ 276 h 489"/>
              <a:gd name="T54" fmla="*/ 44 w 543"/>
              <a:gd name="T55" fmla="*/ 365 h 489"/>
              <a:gd name="T56" fmla="*/ 0 w 543"/>
              <a:gd name="T57" fmla="*/ 380 h 489"/>
              <a:gd name="T58" fmla="*/ 0 w 543"/>
              <a:gd name="T59" fmla="*/ 489 h 489"/>
              <a:gd name="T60" fmla="*/ 435 w 543"/>
              <a:gd name="T61" fmla="*/ 489 h 489"/>
              <a:gd name="T62" fmla="*/ 435 w 543"/>
              <a:gd name="T63" fmla="*/ 432 h 489"/>
              <a:gd name="T64" fmla="*/ 336 w 543"/>
              <a:gd name="T65" fmla="*/ 365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3" h="489">
                <a:moveTo>
                  <a:pt x="462" y="217"/>
                </a:moveTo>
                <a:lnTo>
                  <a:pt x="462" y="217"/>
                </a:lnTo>
                <a:lnTo>
                  <a:pt x="462" y="136"/>
                </a:lnTo>
                <a:lnTo>
                  <a:pt x="407" y="136"/>
                </a:lnTo>
                <a:lnTo>
                  <a:pt x="407" y="217"/>
                </a:lnTo>
                <a:lnTo>
                  <a:pt x="326" y="217"/>
                </a:lnTo>
                <a:lnTo>
                  <a:pt x="326" y="272"/>
                </a:lnTo>
                <a:lnTo>
                  <a:pt x="407" y="272"/>
                </a:lnTo>
                <a:lnTo>
                  <a:pt x="407" y="353"/>
                </a:lnTo>
                <a:lnTo>
                  <a:pt x="462" y="353"/>
                </a:lnTo>
                <a:lnTo>
                  <a:pt x="462" y="272"/>
                </a:lnTo>
                <a:lnTo>
                  <a:pt x="543" y="272"/>
                </a:lnTo>
                <a:lnTo>
                  <a:pt x="543" y="217"/>
                </a:lnTo>
                <a:lnTo>
                  <a:pt x="462" y="217"/>
                </a:lnTo>
                <a:close/>
                <a:moveTo>
                  <a:pt x="336" y="365"/>
                </a:moveTo>
                <a:lnTo>
                  <a:pt x="336" y="365"/>
                </a:lnTo>
                <a:cubicBezTo>
                  <a:pt x="268" y="341"/>
                  <a:pt x="247" y="320"/>
                  <a:pt x="247" y="276"/>
                </a:cubicBezTo>
                <a:cubicBezTo>
                  <a:pt x="247" y="250"/>
                  <a:pt x="267" y="258"/>
                  <a:pt x="276" y="210"/>
                </a:cubicBezTo>
                <a:cubicBezTo>
                  <a:pt x="280" y="190"/>
                  <a:pt x="298" y="209"/>
                  <a:pt x="302" y="164"/>
                </a:cubicBezTo>
                <a:cubicBezTo>
                  <a:pt x="302" y="145"/>
                  <a:pt x="292" y="141"/>
                  <a:pt x="292" y="141"/>
                </a:cubicBezTo>
                <a:cubicBezTo>
                  <a:pt x="292" y="141"/>
                  <a:pt x="297" y="114"/>
                  <a:pt x="299" y="93"/>
                </a:cubicBezTo>
                <a:cubicBezTo>
                  <a:pt x="302" y="67"/>
                  <a:pt x="284" y="0"/>
                  <a:pt x="190" y="0"/>
                </a:cubicBezTo>
                <a:cubicBezTo>
                  <a:pt x="96" y="0"/>
                  <a:pt x="78" y="67"/>
                  <a:pt x="81" y="93"/>
                </a:cubicBezTo>
                <a:cubicBezTo>
                  <a:pt x="83" y="114"/>
                  <a:pt x="88" y="141"/>
                  <a:pt x="88" y="141"/>
                </a:cubicBezTo>
                <a:cubicBezTo>
                  <a:pt x="88" y="141"/>
                  <a:pt x="78" y="145"/>
                  <a:pt x="78" y="164"/>
                </a:cubicBezTo>
                <a:cubicBezTo>
                  <a:pt x="81" y="209"/>
                  <a:pt x="100" y="190"/>
                  <a:pt x="103" y="210"/>
                </a:cubicBezTo>
                <a:cubicBezTo>
                  <a:pt x="112" y="258"/>
                  <a:pt x="133" y="250"/>
                  <a:pt x="133" y="276"/>
                </a:cubicBezTo>
                <a:cubicBezTo>
                  <a:pt x="133" y="320"/>
                  <a:pt x="111" y="341"/>
                  <a:pt x="44" y="365"/>
                </a:cubicBezTo>
                <a:cubicBezTo>
                  <a:pt x="35" y="368"/>
                  <a:pt x="16" y="373"/>
                  <a:pt x="0" y="380"/>
                </a:cubicBezTo>
                <a:lnTo>
                  <a:pt x="0" y="489"/>
                </a:lnTo>
                <a:lnTo>
                  <a:pt x="435" y="489"/>
                </a:lnTo>
                <a:lnTo>
                  <a:pt x="435" y="432"/>
                </a:lnTo>
                <a:cubicBezTo>
                  <a:pt x="435" y="415"/>
                  <a:pt x="404" y="390"/>
                  <a:pt x="336" y="365"/>
                </a:cubicBez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US" sz="1200" dirty="0">
              <a:solidFill>
                <a:sysClr val="windowText" lastClr="000000"/>
              </a:solidFill>
            </a:endParaRPr>
          </a:p>
        </p:txBody>
      </p:sp>
      <p:sp>
        <p:nvSpPr>
          <p:cNvPr id="27" name="Arc 26">
            <a:extLst>
              <a:ext uri="{FF2B5EF4-FFF2-40B4-BE49-F238E27FC236}">
                <a16:creationId xmlns:a16="http://schemas.microsoft.com/office/drawing/2014/main" id="{FFB2B151-4D93-E945-874B-48A6E4123CED}"/>
              </a:ext>
            </a:extLst>
          </p:cNvPr>
          <p:cNvSpPr/>
          <p:nvPr/>
        </p:nvSpPr>
        <p:spPr>
          <a:xfrm rot="21352523" flipH="1">
            <a:off x="2570517" y="1751630"/>
            <a:ext cx="3192759" cy="3189623"/>
          </a:xfrm>
          <a:prstGeom prst="arc">
            <a:avLst>
              <a:gd name="adj1" fmla="val 14846042"/>
              <a:gd name="adj2" fmla="val 5908097"/>
            </a:avLst>
          </a:prstGeom>
          <a:noFill/>
          <a:ln w="6350" cap="flat" cmpd="sng" algn="ctr">
            <a:solidFill>
              <a:srgbClr val="75787B"/>
            </a:solidFill>
            <a:prstDash val="solid"/>
          </a:ln>
          <a:effectLst/>
        </p:spPr>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defRPr/>
            </a:pPr>
            <a:endParaRPr lang="en-US" sz="1200" dirty="0">
              <a:solidFill>
                <a:sysClr val="windowText" lastClr="000000"/>
              </a:solidFill>
            </a:endParaRPr>
          </a:p>
        </p:txBody>
      </p:sp>
      <p:sp>
        <p:nvSpPr>
          <p:cNvPr id="28" name="Oval 27">
            <a:extLst>
              <a:ext uri="{FF2B5EF4-FFF2-40B4-BE49-F238E27FC236}">
                <a16:creationId xmlns:a16="http://schemas.microsoft.com/office/drawing/2014/main" id="{C2793E6B-2408-0147-8093-EEF41B99F0B2}"/>
              </a:ext>
            </a:extLst>
          </p:cNvPr>
          <p:cNvSpPr/>
          <p:nvPr/>
        </p:nvSpPr>
        <p:spPr bwMode="gray">
          <a:xfrm>
            <a:off x="3473157" y="1588514"/>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29" name="Oval 28">
            <a:extLst>
              <a:ext uri="{FF2B5EF4-FFF2-40B4-BE49-F238E27FC236}">
                <a16:creationId xmlns:a16="http://schemas.microsoft.com/office/drawing/2014/main" id="{69210DA2-F763-B44D-B4C6-4F5B57F0C5F8}"/>
              </a:ext>
            </a:extLst>
          </p:cNvPr>
          <p:cNvSpPr/>
          <p:nvPr/>
        </p:nvSpPr>
        <p:spPr bwMode="gray">
          <a:xfrm>
            <a:off x="2651364" y="2149905"/>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30" name="Oval 29">
            <a:extLst>
              <a:ext uri="{FF2B5EF4-FFF2-40B4-BE49-F238E27FC236}">
                <a16:creationId xmlns:a16="http://schemas.microsoft.com/office/drawing/2014/main" id="{DCC28053-5773-9745-B6DC-2854999EF767}"/>
              </a:ext>
            </a:extLst>
          </p:cNvPr>
          <p:cNvSpPr/>
          <p:nvPr/>
        </p:nvSpPr>
        <p:spPr bwMode="gray">
          <a:xfrm>
            <a:off x="2357376" y="3117840"/>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31" name="Oval 30">
            <a:extLst>
              <a:ext uri="{FF2B5EF4-FFF2-40B4-BE49-F238E27FC236}">
                <a16:creationId xmlns:a16="http://schemas.microsoft.com/office/drawing/2014/main" id="{125E3377-B680-A24B-951A-F0B880608D19}"/>
              </a:ext>
            </a:extLst>
          </p:cNvPr>
          <p:cNvSpPr/>
          <p:nvPr/>
        </p:nvSpPr>
        <p:spPr bwMode="gray">
          <a:xfrm>
            <a:off x="2651364" y="4112928"/>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32" name="Oval 31">
            <a:extLst>
              <a:ext uri="{FF2B5EF4-FFF2-40B4-BE49-F238E27FC236}">
                <a16:creationId xmlns:a16="http://schemas.microsoft.com/office/drawing/2014/main" id="{DFF30B6B-5136-9548-B207-B43CF180BA9E}"/>
              </a:ext>
            </a:extLst>
          </p:cNvPr>
          <p:cNvSpPr/>
          <p:nvPr/>
        </p:nvSpPr>
        <p:spPr bwMode="gray">
          <a:xfrm>
            <a:off x="3473157" y="4661957"/>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33" name="TextBox 118">
            <a:extLst>
              <a:ext uri="{FF2B5EF4-FFF2-40B4-BE49-F238E27FC236}">
                <a16:creationId xmlns:a16="http://schemas.microsoft.com/office/drawing/2014/main" id="{413BC6F4-9D3B-9D46-9C93-45CC1BC0F8EE}"/>
              </a:ext>
            </a:extLst>
          </p:cNvPr>
          <p:cNvSpPr txBox="1"/>
          <p:nvPr/>
        </p:nvSpPr>
        <p:spPr>
          <a:xfrm>
            <a:off x="4258969" y="1387572"/>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34" name="TextBox 119">
            <a:extLst>
              <a:ext uri="{FF2B5EF4-FFF2-40B4-BE49-F238E27FC236}">
                <a16:creationId xmlns:a16="http://schemas.microsoft.com/office/drawing/2014/main" id="{89796A1D-6F7B-AA4A-8BD2-62D38767BD32}"/>
              </a:ext>
            </a:extLst>
          </p:cNvPr>
          <p:cNvSpPr txBox="1"/>
          <p:nvPr/>
        </p:nvSpPr>
        <p:spPr>
          <a:xfrm>
            <a:off x="1609277" y="2286172"/>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buSzPct val="100000"/>
              <a:defRPr/>
            </a:pPr>
            <a:r>
              <a:rPr lang="en-US" sz="1200" dirty="0">
                <a:solidFill>
                  <a:sysClr val="windowText" lastClr="000000"/>
                </a:solidFill>
              </a:rPr>
              <a:t>Lorem ipsum d</a:t>
            </a:r>
          </a:p>
        </p:txBody>
      </p:sp>
      <p:sp>
        <p:nvSpPr>
          <p:cNvPr id="35" name="TextBox 120">
            <a:extLst>
              <a:ext uri="{FF2B5EF4-FFF2-40B4-BE49-F238E27FC236}">
                <a16:creationId xmlns:a16="http://schemas.microsoft.com/office/drawing/2014/main" id="{F766FC20-1F90-1840-B9C2-758EF6F9B0D1}"/>
              </a:ext>
            </a:extLst>
          </p:cNvPr>
          <p:cNvSpPr txBox="1"/>
          <p:nvPr/>
        </p:nvSpPr>
        <p:spPr>
          <a:xfrm>
            <a:off x="1027236" y="3254107"/>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36" name="TextBox 121">
            <a:extLst>
              <a:ext uri="{FF2B5EF4-FFF2-40B4-BE49-F238E27FC236}">
                <a16:creationId xmlns:a16="http://schemas.microsoft.com/office/drawing/2014/main" id="{F1A5F863-9FC6-9B45-BE7C-0B716BF39F40}"/>
              </a:ext>
            </a:extLst>
          </p:cNvPr>
          <p:cNvSpPr txBox="1"/>
          <p:nvPr/>
        </p:nvSpPr>
        <p:spPr>
          <a:xfrm>
            <a:off x="1271914" y="4249195"/>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37" name="TextBox 122">
            <a:extLst>
              <a:ext uri="{FF2B5EF4-FFF2-40B4-BE49-F238E27FC236}">
                <a16:creationId xmlns:a16="http://schemas.microsoft.com/office/drawing/2014/main" id="{4776B8AD-5C07-A44E-87FD-41A300B37784}"/>
              </a:ext>
            </a:extLst>
          </p:cNvPr>
          <p:cNvSpPr txBox="1"/>
          <p:nvPr/>
        </p:nvSpPr>
        <p:spPr>
          <a:xfrm>
            <a:off x="1940478" y="4798224"/>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rgbClr val="313131"/>
                </a:solidFill>
              </a:rPr>
              <a:t>Lorem ipsum d</a:t>
            </a:r>
          </a:p>
        </p:txBody>
      </p:sp>
      <p:sp>
        <p:nvSpPr>
          <p:cNvPr id="38" name="Oval 37">
            <a:extLst>
              <a:ext uri="{FF2B5EF4-FFF2-40B4-BE49-F238E27FC236}">
                <a16:creationId xmlns:a16="http://schemas.microsoft.com/office/drawing/2014/main" id="{7D82CAA0-D932-D548-9A51-39B82DE3EC07}"/>
              </a:ext>
            </a:extLst>
          </p:cNvPr>
          <p:cNvSpPr/>
          <p:nvPr/>
        </p:nvSpPr>
        <p:spPr bwMode="gray">
          <a:xfrm>
            <a:off x="4599828" y="1708257"/>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39" name="Oval 38">
            <a:extLst>
              <a:ext uri="{FF2B5EF4-FFF2-40B4-BE49-F238E27FC236}">
                <a16:creationId xmlns:a16="http://schemas.microsoft.com/office/drawing/2014/main" id="{415A965E-EA03-AD4F-A3EA-C1D73821677E}"/>
              </a:ext>
            </a:extLst>
          </p:cNvPr>
          <p:cNvSpPr/>
          <p:nvPr/>
        </p:nvSpPr>
        <p:spPr bwMode="gray">
          <a:xfrm>
            <a:off x="4403885" y="4644092"/>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40" name="Oval 39">
            <a:extLst>
              <a:ext uri="{FF2B5EF4-FFF2-40B4-BE49-F238E27FC236}">
                <a16:creationId xmlns:a16="http://schemas.microsoft.com/office/drawing/2014/main" id="{CA3CA399-7267-A847-8954-670F62CD8EEA}"/>
              </a:ext>
            </a:extLst>
          </p:cNvPr>
          <p:cNvSpPr/>
          <p:nvPr/>
        </p:nvSpPr>
        <p:spPr bwMode="gray">
          <a:xfrm flipH="1">
            <a:off x="6227660" y="2164480"/>
            <a:ext cx="2396970" cy="2396970"/>
          </a:xfrm>
          <a:prstGeom prst="ellipse">
            <a:avLst/>
          </a:prstGeom>
          <a:noFill/>
          <a:ln w="19050" algn="ctr">
            <a:solidFill>
              <a:schemeClr val="accent2"/>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r>
              <a:rPr lang="en-US" sz="1200" b="1" dirty="0">
                <a:solidFill>
                  <a:schemeClr val="accent2"/>
                </a:solidFill>
              </a:rPr>
              <a:t>Lorem ipsum d</a:t>
            </a:r>
          </a:p>
        </p:txBody>
      </p:sp>
      <p:sp>
        <p:nvSpPr>
          <p:cNvPr id="41" name="Arc 40">
            <a:extLst>
              <a:ext uri="{FF2B5EF4-FFF2-40B4-BE49-F238E27FC236}">
                <a16:creationId xmlns:a16="http://schemas.microsoft.com/office/drawing/2014/main" id="{788654EE-5026-6A42-BC6B-94DD42275D08}"/>
              </a:ext>
            </a:extLst>
          </p:cNvPr>
          <p:cNvSpPr/>
          <p:nvPr/>
        </p:nvSpPr>
        <p:spPr>
          <a:xfrm rot="247477">
            <a:off x="6000785" y="1751630"/>
            <a:ext cx="3192759" cy="3189623"/>
          </a:xfrm>
          <a:prstGeom prst="arc">
            <a:avLst>
              <a:gd name="adj1" fmla="val 14846042"/>
              <a:gd name="adj2" fmla="val 5908097"/>
            </a:avLst>
          </a:prstGeom>
          <a:noFill/>
          <a:ln w="6350" cap="flat" cmpd="sng" algn="ctr">
            <a:solidFill>
              <a:srgbClr val="75787B"/>
            </a:solidFill>
            <a:prstDash val="solid"/>
          </a:ln>
          <a:effectLst/>
        </p:spPr>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defRPr/>
            </a:pPr>
            <a:endParaRPr lang="en-US" sz="1200" dirty="0">
              <a:solidFill>
                <a:sysClr val="windowText" lastClr="000000"/>
              </a:solidFill>
            </a:endParaRPr>
          </a:p>
        </p:txBody>
      </p:sp>
      <p:sp>
        <p:nvSpPr>
          <p:cNvPr id="42" name="Oval 41">
            <a:extLst>
              <a:ext uri="{FF2B5EF4-FFF2-40B4-BE49-F238E27FC236}">
                <a16:creationId xmlns:a16="http://schemas.microsoft.com/office/drawing/2014/main" id="{65E62A9C-44C7-8948-9C23-A5BB94F7D94A}"/>
              </a:ext>
            </a:extLst>
          </p:cNvPr>
          <p:cNvSpPr/>
          <p:nvPr/>
        </p:nvSpPr>
        <p:spPr bwMode="gray">
          <a:xfrm flipH="1">
            <a:off x="7948002" y="1681043"/>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48" name="Oval 47">
            <a:extLst>
              <a:ext uri="{FF2B5EF4-FFF2-40B4-BE49-F238E27FC236}">
                <a16:creationId xmlns:a16="http://schemas.microsoft.com/office/drawing/2014/main" id="{F73C6FAA-675C-BC45-9921-030C2DC377F6}"/>
              </a:ext>
            </a:extLst>
          </p:cNvPr>
          <p:cNvSpPr/>
          <p:nvPr/>
        </p:nvSpPr>
        <p:spPr bwMode="gray">
          <a:xfrm flipH="1">
            <a:off x="8758909" y="2356734"/>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49" name="Oval 48">
            <a:extLst>
              <a:ext uri="{FF2B5EF4-FFF2-40B4-BE49-F238E27FC236}">
                <a16:creationId xmlns:a16="http://schemas.microsoft.com/office/drawing/2014/main" id="{92350106-4685-AB41-84FB-FDF0EBCF2443}"/>
              </a:ext>
            </a:extLst>
          </p:cNvPr>
          <p:cNvSpPr/>
          <p:nvPr/>
        </p:nvSpPr>
        <p:spPr bwMode="gray">
          <a:xfrm flipH="1">
            <a:off x="8922268" y="3438969"/>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50" name="Oval 49">
            <a:extLst>
              <a:ext uri="{FF2B5EF4-FFF2-40B4-BE49-F238E27FC236}">
                <a16:creationId xmlns:a16="http://schemas.microsoft.com/office/drawing/2014/main" id="{5DE2F621-640B-3947-9430-52AC7EAA3E84}"/>
              </a:ext>
            </a:extLst>
          </p:cNvPr>
          <p:cNvSpPr/>
          <p:nvPr/>
        </p:nvSpPr>
        <p:spPr bwMode="gray">
          <a:xfrm flipH="1">
            <a:off x="8258167" y="4406843"/>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67" name="TextBox 180">
            <a:extLst>
              <a:ext uri="{FF2B5EF4-FFF2-40B4-BE49-F238E27FC236}">
                <a16:creationId xmlns:a16="http://schemas.microsoft.com/office/drawing/2014/main" id="{3B05B82C-33EB-B64C-8431-07B89488D1BC}"/>
              </a:ext>
            </a:extLst>
          </p:cNvPr>
          <p:cNvSpPr txBox="1"/>
          <p:nvPr/>
        </p:nvSpPr>
        <p:spPr>
          <a:xfrm flipH="1">
            <a:off x="8483287" y="1817310"/>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68" name="TextBox 185">
            <a:extLst>
              <a:ext uri="{FF2B5EF4-FFF2-40B4-BE49-F238E27FC236}">
                <a16:creationId xmlns:a16="http://schemas.microsoft.com/office/drawing/2014/main" id="{4C90D128-D232-3B4A-88F1-375CDDD29823}"/>
              </a:ext>
            </a:extLst>
          </p:cNvPr>
          <p:cNvSpPr txBox="1"/>
          <p:nvPr/>
        </p:nvSpPr>
        <p:spPr>
          <a:xfrm flipH="1">
            <a:off x="9322123" y="2493001"/>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69" name="TextBox 190">
            <a:extLst>
              <a:ext uri="{FF2B5EF4-FFF2-40B4-BE49-F238E27FC236}">
                <a16:creationId xmlns:a16="http://schemas.microsoft.com/office/drawing/2014/main" id="{AD1A2FEA-15DC-A746-A7A6-2BD5EAC105B1}"/>
              </a:ext>
            </a:extLst>
          </p:cNvPr>
          <p:cNvSpPr txBox="1"/>
          <p:nvPr/>
        </p:nvSpPr>
        <p:spPr>
          <a:xfrm flipH="1">
            <a:off x="9440997" y="3575236"/>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70" name="TextBox 193">
            <a:extLst>
              <a:ext uri="{FF2B5EF4-FFF2-40B4-BE49-F238E27FC236}">
                <a16:creationId xmlns:a16="http://schemas.microsoft.com/office/drawing/2014/main" id="{3B155029-8E4A-054D-8C54-EE7C068D149E}"/>
              </a:ext>
            </a:extLst>
          </p:cNvPr>
          <p:cNvSpPr txBox="1"/>
          <p:nvPr/>
        </p:nvSpPr>
        <p:spPr>
          <a:xfrm flipH="1">
            <a:off x="8839736" y="4543110"/>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71" name="TextBox 196">
            <a:extLst>
              <a:ext uri="{FF2B5EF4-FFF2-40B4-BE49-F238E27FC236}">
                <a16:creationId xmlns:a16="http://schemas.microsoft.com/office/drawing/2014/main" id="{026B2CB4-56B5-DB4D-883D-06DE897DB767}"/>
              </a:ext>
            </a:extLst>
          </p:cNvPr>
          <p:cNvSpPr txBox="1"/>
          <p:nvPr/>
        </p:nvSpPr>
        <p:spPr>
          <a:xfrm flipH="1">
            <a:off x="7186608" y="5190110"/>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72" name="Oval 71">
            <a:extLst>
              <a:ext uri="{FF2B5EF4-FFF2-40B4-BE49-F238E27FC236}">
                <a16:creationId xmlns:a16="http://schemas.microsoft.com/office/drawing/2014/main" id="{F5C5E9D9-6F09-C943-B241-8E4DC1B93A3B}"/>
              </a:ext>
            </a:extLst>
          </p:cNvPr>
          <p:cNvSpPr/>
          <p:nvPr/>
        </p:nvSpPr>
        <p:spPr bwMode="gray">
          <a:xfrm flipH="1">
            <a:off x="6707031" y="1708257"/>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73" name="Oval 72">
            <a:extLst>
              <a:ext uri="{FF2B5EF4-FFF2-40B4-BE49-F238E27FC236}">
                <a16:creationId xmlns:a16="http://schemas.microsoft.com/office/drawing/2014/main" id="{8CB26BCA-DE28-B54E-8B20-785F1D688531}"/>
              </a:ext>
            </a:extLst>
          </p:cNvPr>
          <p:cNvSpPr/>
          <p:nvPr/>
        </p:nvSpPr>
        <p:spPr bwMode="gray">
          <a:xfrm flipH="1">
            <a:off x="6902974" y="4644092"/>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74" name="TextBox 199">
            <a:extLst>
              <a:ext uri="{FF2B5EF4-FFF2-40B4-BE49-F238E27FC236}">
                <a16:creationId xmlns:a16="http://schemas.microsoft.com/office/drawing/2014/main" id="{09440772-DEC0-C14C-BA45-6115A9A6B621}"/>
              </a:ext>
            </a:extLst>
          </p:cNvPr>
          <p:cNvSpPr txBox="1"/>
          <p:nvPr/>
        </p:nvSpPr>
        <p:spPr>
          <a:xfrm>
            <a:off x="1979955" y="1372718"/>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75" name="TextBox 200">
            <a:extLst>
              <a:ext uri="{FF2B5EF4-FFF2-40B4-BE49-F238E27FC236}">
                <a16:creationId xmlns:a16="http://schemas.microsoft.com/office/drawing/2014/main" id="{567B16EA-880A-4447-9645-25B9B40CFD89}"/>
              </a:ext>
            </a:extLst>
          </p:cNvPr>
          <p:cNvSpPr txBox="1"/>
          <p:nvPr/>
        </p:nvSpPr>
        <p:spPr>
          <a:xfrm>
            <a:off x="3975941" y="5213900"/>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76" name="TextBox 201">
            <a:extLst>
              <a:ext uri="{FF2B5EF4-FFF2-40B4-BE49-F238E27FC236}">
                <a16:creationId xmlns:a16="http://schemas.microsoft.com/office/drawing/2014/main" id="{7C68E826-6964-5D49-B67D-9347CF057B2C}"/>
              </a:ext>
            </a:extLst>
          </p:cNvPr>
          <p:cNvSpPr txBox="1"/>
          <p:nvPr/>
        </p:nvSpPr>
        <p:spPr>
          <a:xfrm flipH="1">
            <a:off x="6273487" y="1403900"/>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grpSp>
        <p:nvGrpSpPr>
          <p:cNvPr id="77" name="Group 76">
            <a:extLst>
              <a:ext uri="{FF2B5EF4-FFF2-40B4-BE49-F238E27FC236}">
                <a16:creationId xmlns:a16="http://schemas.microsoft.com/office/drawing/2014/main" id="{BA126E6E-F0D1-224A-B8BC-114A20596AE3}"/>
              </a:ext>
            </a:extLst>
          </p:cNvPr>
          <p:cNvGrpSpPr>
            <a:grpSpLocks noChangeAspect="1"/>
          </p:cNvGrpSpPr>
          <p:nvPr/>
        </p:nvGrpSpPr>
        <p:grpSpPr bwMode="auto">
          <a:xfrm>
            <a:off x="4691268" y="1799697"/>
            <a:ext cx="274320" cy="274320"/>
            <a:chOff x="1144" y="2344"/>
            <a:chExt cx="340" cy="340"/>
          </a:xfrm>
          <a:solidFill>
            <a:sysClr val="window" lastClr="FFFFFF"/>
          </a:solidFill>
        </p:grpSpPr>
        <p:sp>
          <p:nvSpPr>
            <p:cNvPr id="78" name="Freeform 77">
              <a:extLst>
                <a:ext uri="{FF2B5EF4-FFF2-40B4-BE49-F238E27FC236}">
                  <a16:creationId xmlns:a16="http://schemas.microsoft.com/office/drawing/2014/main" id="{A80E1DD0-5C3C-7D44-B2C1-3226DD5327EC}"/>
                </a:ext>
              </a:extLst>
            </p:cNvPr>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80" name="Freeform 79">
              <a:extLst>
                <a:ext uri="{FF2B5EF4-FFF2-40B4-BE49-F238E27FC236}">
                  <a16:creationId xmlns:a16="http://schemas.microsoft.com/office/drawing/2014/main" id="{CEF126DD-5F25-D341-BE49-354FBB6BEF7C}"/>
                </a:ext>
              </a:extLst>
            </p:cNvPr>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1" name="Group 80">
            <a:extLst>
              <a:ext uri="{FF2B5EF4-FFF2-40B4-BE49-F238E27FC236}">
                <a16:creationId xmlns:a16="http://schemas.microsoft.com/office/drawing/2014/main" id="{897081E0-9AD6-2647-BE54-B3523DD56E3C}"/>
              </a:ext>
            </a:extLst>
          </p:cNvPr>
          <p:cNvGrpSpPr>
            <a:grpSpLocks noChangeAspect="1"/>
          </p:cNvGrpSpPr>
          <p:nvPr/>
        </p:nvGrpSpPr>
        <p:grpSpPr bwMode="auto">
          <a:xfrm>
            <a:off x="8039442" y="1772483"/>
            <a:ext cx="274320" cy="274320"/>
            <a:chOff x="1144" y="2344"/>
            <a:chExt cx="340" cy="340"/>
          </a:xfrm>
          <a:solidFill>
            <a:sysClr val="window" lastClr="FFFFFF"/>
          </a:solidFill>
        </p:grpSpPr>
        <p:sp>
          <p:nvSpPr>
            <p:cNvPr id="82" name="Freeform 81">
              <a:extLst>
                <a:ext uri="{FF2B5EF4-FFF2-40B4-BE49-F238E27FC236}">
                  <a16:creationId xmlns:a16="http://schemas.microsoft.com/office/drawing/2014/main" id="{124348AE-9B04-8142-B85D-003A3D7DE60B}"/>
                </a:ext>
              </a:extLst>
            </p:cNvPr>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83" name="Freeform 82">
              <a:extLst>
                <a:ext uri="{FF2B5EF4-FFF2-40B4-BE49-F238E27FC236}">
                  <a16:creationId xmlns:a16="http://schemas.microsoft.com/office/drawing/2014/main" id="{8822C5C7-3095-9D48-8D33-2F33842F96DA}"/>
                </a:ext>
              </a:extLst>
            </p:cNvPr>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4" name="Group 83">
            <a:extLst>
              <a:ext uri="{FF2B5EF4-FFF2-40B4-BE49-F238E27FC236}">
                <a16:creationId xmlns:a16="http://schemas.microsoft.com/office/drawing/2014/main" id="{65080FFE-9CF4-424B-BEF5-8ECA04D468F9}"/>
              </a:ext>
            </a:extLst>
          </p:cNvPr>
          <p:cNvGrpSpPr>
            <a:grpSpLocks noChangeAspect="1"/>
          </p:cNvGrpSpPr>
          <p:nvPr/>
        </p:nvGrpSpPr>
        <p:grpSpPr bwMode="auto">
          <a:xfrm>
            <a:off x="3564597" y="1679954"/>
            <a:ext cx="274320" cy="274320"/>
            <a:chOff x="880" y="418"/>
            <a:chExt cx="3635" cy="3635"/>
          </a:xfrm>
          <a:solidFill>
            <a:sysClr val="window" lastClr="FFFFFF"/>
          </a:solidFill>
        </p:grpSpPr>
        <p:sp>
          <p:nvSpPr>
            <p:cNvPr id="85" name="Freeform 84">
              <a:extLst>
                <a:ext uri="{FF2B5EF4-FFF2-40B4-BE49-F238E27FC236}">
                  <a16:creationId xmlns:a16="http://schemas.microsoft.com/office/drawing/2014/main" id="{3512BB73-BF06-D448-883F-9C3293A3E62D}"/>
                </a:ext>
              </a:extLst>
            </p:cNvPr>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86" name="Freeform 85">
              <a:extLst>
                <a:ext uri="{FF2B5EF4-FFF2-40B4-BE49-F238E27FC236}">
                  <a16:creationId xmlns:a16="http://schemas.microsoft.com/office/drawing/2014/main" id="{BD4A4F18-9905-834E-84D1-5B8D93BE64CA}"/>
                </a:ext>
              </a:extLst>
            </p:cNvPr>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87" name="Group 86">
            <a:extLst>
              <a:ext uri="{FF2B5EF4-FFF2-40B4-BE49-F238E27FC236}">
                <a16:creationId xmlns:a16="http://schemas.microsoft.com/office/drawing/2014/main" id="{0E505DCE-C874-084C-B91B-6A7CF05CD0D6}"/>
              </a:ext>
            </a:extLst>
          </p:cNvPr>
          <p:cNvGrpSpPr>
            <a:grpSpLocks noChangeAspect="1"/>
          </p:cNvGrpSpPr>
          <p:nvPr/>
        </p:nvGrpSpPr>
        <p:grpSpPr bwMode="auto">
          <a:xfrm>
            <a:off x="2742804" y="2241345"/>
            <a:ext cx="274320" cy="274320"/>
            <a:chOff x="4880" y="3759"/>
            <a:chExt cx="340" cy="340"/>
          </a:xfrm>
          <a:solidFill>
            <a:sysClr val="window" lastClr="FFFFFF"/>
          </a:solidFill>
        </p:grpSpPr>
        <p:sp>
          <p:nvSpPr>
            <p:cNvPr id="88" name="Freeform 87">
              <a:extLst>
                <a:ext uri="{FF2B5EF4-FFF2-40B4-BE49-F238E27FC236}">
                  <a16:creationId xmlns:a16="http://schemas.microsoft.com/office/drawing/2014/main" id="{21350256-EC4D-9947-B12C-A6D475DD9CFA}"/>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89" name="Freeform 88">
              <a:extLst>
                <a:ext uri="{FF2B5EF4-FFF2-40B4-BE49-F238E27FC236}">
                  <a16:creationId xmlns:a16="http://schemas.microsoft.com/office/drawing/2014/main" id="{306E40EA-1AD6-DA48-92C2-DBD7D7664CC8}"/>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90" name="Group 89">
            <a:extLst>
              <a:ext uri="{FF2B5EF4-FFF2-40B4-BE49-F238E27FC236}">
                <a16:creationId xmlns:a16="http://schemas.microsoft.com/office/drawing/2014/main" id="{A4125773-98A3-4C4B-8517-EF80E425479D}"/>
              </a:ext>
            </a:extLst>
          </p:cNvPr>
          <p:cNvGrpSpPr>
            <a:grpSpLocks noChangeAspect="1"/>
          </p:cNvGrpSpPr>
          <p:nvPr/>
        </p:nvGrpSpPr>
        <p:grpSpPr bwMode="auto">
          <a:xfrm>
            <a:off x="2448826" y="3209279"/>
            <a:ext cx="274321" cy="274320"/>
            <a:chOff x="2920" y="2264"/>
            <a:chExt cx="340" cy="340"/>
          </a:xfrm>
          <a:solidFill>
            <a:sysClr val="window" lastClr="FFFFFF"/>
          </a:solidFill>
        </p:grpSpPr>
        <p:sp>
          <p:nvSpPr>
            <p:cNvPr id="91" name="Freeform 90">
              <a:extLst>
                <a:ext uri="{FF2B5EF4-FFF2-40B4-BE49-F238E27FC236}">
                  <a16:creationId xmlns:a16="http://schemas.microsoft.com/office/drawing/2014/main" id="{EBC852BB-EBB7-BE4D-8BB9-1AC62A75DD1D}"/>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2" name="Freeform 91">
              <a:extLst>
                <a:ext uri="{FF2B5EF4-FFF2-40B4-BE49-F238E27FC236}">
                  <a16:creationId xmlns:a16="http://schemas.microsoft.com/office/drawing/2014/main" id="{CCFAEF1B-4576-6E45-95C3-03F696774083}"/>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3" name="Freeform 92">
              <a:extLst>
                <a:ext uri="{FF2B5EF4-FFF2-40B4-BE49-F238E27FC236}">
                  <a16:creationId xmlns:a16="http://schemas.microsoft.com/office/drawing/2014/main" id="{56FCCDF5-FE34-1040-A50B-DA3E2EF7A240}"/>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94" name="Group 93">
            <a:extLst>
              <a:ext uri="{FF2B5EF4-FFF2-40B4-BE49-F238E27FC236}">
                <a16:creationId xmlns:a16="http://schemas.microsoft.com/office/drawing/2014/main" id="{76FA5C96-71A4-214E-9F88-D22D68C8B934}"/>
              </a:ext>
            </a:extLst>
          </p:cNvPr>
          <p:cNvGrpSpPr>
            <a:grpSpLocks noChangeAspect="1"/>
          </p:cNvGrpSpPr>
          <p:nvPr/>
        </p:nvGrpSpPr>
        <p:grpSpPr bwMode="auto">
          <a:xfrm>
            <a:off x="2742799" y="4204374"/>
            <a:ext cx="274319" cy="274321"/>
            <a:chOff x="1920" y="2027"/>
            <a:chExt cx="340" cy="340"/>
          </a:xfrm>
          <a:solidFill>
            <a:sysClr val="window" lastClr="FFFFFF"/>
          </a:solidFill>
        </p:grpSpPr>
        <p:sp>
          <p:nvSpPr>
            <p:cNvPr id="95" name="Freeform 94">
              <a:extLst>
                <a:ext uri="{FF2B5EF4-FFF2-40B4-BE49-F238E27FC236}">
                  <a16:creationId xmlns:a16="http://schemas.microsoft.com/office/drawing/2014/main" id="{FAA132DB-804F-7B43-9041-85EE8C93F779}"/>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96" name="Freeform 95">
              <a:extLst>
                <a:ext uri="{FF2B5EF4-FFF2-40B4-BE49-F238E27FC236}">
                  <a16:creationId xmlns:a16="http://schemas.microsoft.com/office/drawing/2014/main" id="{18357B61-CE86-144B-87F7-409155660418}"/>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97" name="Group 96">
            <a:extLst>
              <a:ext uri="{FF2B5EF4-FFF2-40B4-BE49-F238E27FC236}">
                <a16:creationId xmlns:a16="http://schemas.microsoft.com/office/drawing/2014/main" id="{427407CA-50CA-3C4C-9CB8-402CAD886870}"/>
              </a:ext>
            </a:extLst>
          </p:cNvPr>
          <p:cNvGrpSpPr>
            <a:grpSpLocks noChangeAspect="1"/>
          </p:cNvGrpSpPr>
          <p:nvPr/>
        </p:nvGrpSpPr>
        <p:grpSpPr bwMode="auto">
          <a:xfrm>
            <a:off x="3564597" y="4753397"/>
            <a:ext cx="274320" cy="274320"/>
            <a:chOff x="4646" y="1397"/>
            <a:chExt cx="340" cy="340"/>
          </a:xfrm>
          <a:solidFill>
            <a:sysClr val="window" lastClr="FFFFFF"/>
          </a:solidFill>
        </p:grpSpPr>
        <p:sp>
          <p:nvSpPr>
            <p:cNvPr id="98" name="Freeform 97">
              <a:extLst>
                <a:ext uri="{FF2B5EF4-FFF2-40B4-BE49-F238E27FC236}">
                  <a16:creationId xmlns:a16="http://schemas.microsoft.com/office/drawing/2014/main" id="{4B9E26D3-0BDE-624F-A703-A7B066727CCC}"/>
                </a:ext>
              </a:extLst>
            </p:cNvPr>
            <p:cNvSpPr>
              <a:spLocks noEditPoints="1"/>
            </p:cNvSpPr>
            <p:nvPr/>
          </p:nvSpPr>
          <p:spPr bwMode="auto">
            <a:xfrm>
              <a:off x="4646" y="13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9" name="Freeform 98">
              <a:extLst>
                <a:ext uri="{FF2B5EF4-FFF2-40B4-BE49-F238E27FC236}">
                  <a16:creationId xmlns:a16="http://schemas.microsoft.com/office/drawing/2014/main" id="{F37BB0E4-C535-A043-B371-8A4542D310E2}"/>
                </a:ext>
              </a:extLst>
            </p:cNvPr>
            <p:cNvSpPr>
              <a:spLocks noEditPoints="1"/>
            </p:cNvSpPr>
            <p:nvPr/>
          </p:nvSpPr>
          <p:spPr bwMode="auto">
            <a:xfrm>
              <a:off x="4738" y="146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100" name="Group 99">
            <a:extLst>
              <a:ext uri="{FF2B5EF4-FFF2-40B4-BE49-F238E27FC236}">
                <a16:creationId xmlns:a16="http://schemas.microsoft.com/office/drawing/2014/main" id="{9804D163-D18D-6D43-8798-3E7DEFF21939}"/>
              </a:ext>
            </a:extLst>
          </p:cNvPr>
          <p:cNvGrpSpPr>
            <a:grpSpLocks noChangeAspect="1"/>
          </p:cNvGrpSpPr>
          <p:nvPr/>
        </p:nvGrpSpPr>
        <p:grpSpPr>
          <a:xfrm>
            <a:off x="4494558" y="4735532"/>
            <a:ext cx="275854" cy="274320"/>
            <a:chOff x="3441700" y="3584575"/>
            <a:chExt cx="2570163" cy="2555875"/>
          </a:xfrm>
          <a:solidFill>
            <a:sysClr val="window" lastClr="FFFFFF"/>
          </a:solidFill>
        </p:grpSpPr>
        <p:sp>
          <p:nvSpPr>
            <p:cNvPr id="101" name="Freeform 100">
              <a:extLst>
                <a:ext uri="{FF2B5EF4-FFF2-40B4-BE49-F238E27FC236}">
                  <a16:creationId xmlns:a16="http://schemas.microsoft.com/office/drawing/2014/main" id="{4E45BB80-2106-D845-80C6-BC08644FF864}"/>
                </a:ext>
              </a:extLst>
            </p:cNvPr>
            <p:cNvSpPr>
              <a:spLocks noEditPoints="1"/>
            </p:cNvSpPr>
            <p:nvPr/>
          </p:nvSpPr>
          <p:spPr bwMode="auto">
            <a:xfrm>
              <a:off x="3441700" y="3584575"/>
              <a:ext cx="2570163" cy="2555875"/>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US" dirty="0">
                <a:solidFill>
                  <a:sysClr val="windowText" lastClr="000000"/>
                </a:solidFill>
              </a:endParaRPr>
            </a:p>
          </p:txBody>
        </p:sp>
        <p:sp>
          <p:nvSpPr>
            <p:cNvPr id="102" name="Freeform 101">
              <a:extLst>
                <a:ext uri="{FF2B5EF4-FFF2-40B4-BE49-F238E27FC236}">
                  <a16:creationId xmlns:a16="http://schemas.microsoft.com/office/drawing/2014/main" id="{A42EF641-A4B2-D64C-8E04-EA30631CF0F7}"/>
                </a:ext>
              </a:extLst>
            </p:cNvPr>
            <p:cNvSpPr>
              <a:spLocks noEditPoints="1"/>
            </p:cNvSpPr>
            <p:nvPr/>
          </p:nvSpPr>
          <p:spPr bwMode="auto">
            <a:xfrm>
              <a:off x="3976688" y="4210050"/>
              <a:ext cx="1479550" cy="1184275"/>
            </a:xfrm>
            <a:custGeom>
              <a:avLst/>
              <a:gdLst>
                <a:gd name="T0" fmla="*/ 56 w 221"/>
                <a:gd name="T1" fmla="*/ 122 h 178"/>
                <a:gd name="T2" fmla="*/ 88 w 221"/>
                <a:gd name="T3" fmla="*/ 90 h 178"/>
                <a:gd name="T4" fmla="*/ 56 w 221"/>
                <a:gd name="T5" fmla="*/ 58 h 178"/>
                <a:gd name="T6" fmla="*/ 24 w 221"/>
                <a:gd name="T7" fmla="*/ 90 h 178"/>
                <a:gd name="T8" fmla="*/ 56 w 221"/>
                <a:gd name="T9" fmla="*/ 122 h 178"/>
                <a:gd name="T10" fmla="*/ 56 w 221"/>
                <a:gd name="T11" fmla="*/ 74 h 178"/>
                <a:gd name="T12" fmla="*/ 72 w 221"/>
                <a:gd name="T13" fmla="*/ 90 h 178"/>
                <a:gd name="T14" fmla="*/ 56 w 221"/>
                <a:gd name="T15" fmla="*/ 106 h 178"/>
                <a:gd name="T16" fmla="*/ 40 w 221"/>
                <a:gd name="T17" fmla="*/ 90 h 178"/>
                <a:gd name="T18" fmla="*/ 56 w 221"/>
                <a:gd name="T19" fmla="*/ 74 h 178"/>
                <a:gd name="T20" fmla="*/ 127 w 221"/>
                <a:gd name="T21" fmla="*/ 68 h 178"/>
                <a:gd name="T22" fmla="*/ 136 w 221"/>
                <a:gd name="T23" fmla="*/ 89 h 178"/>
                <a:gd name="T24" fmla="*/ 127 w 221"/>
                <a:gd name="T25" fmla="*/ 111 h 178"/>
                <a:gd name="T26" fmla="*/ 122 w 221"/>
                <a:gd name="T27" fmla="*/ 113 h 178"/>
                <a:gd name="T28" fmla="*/ 116 w 221"/>
                <a:gd name="T29" fmla="*/ 111 h 178"/>
                <a:gd name="T30" fmla="*/ 116 w 221"/>
                <a:gd name="T31" fmla="*/ 100 h 178"/>
                <a:gd name="T32" fmla="*/ 120 w 221"/>
                <a:gd name="T33" fmla="*/ 89 h 178"/>
                <a:gd name="T34" fmla="*/ 116 w 221"/>
                <a:gd name="T35" fmla="*/ 78 h 178"/>
                <a:gd name="T36" fmla="*/ 116 w 221"/>
                <a:gd name="T37" fmla="*/ 67 h 178"/>
                <a:gd name="T38" fmla="*/ 127 w 221"/>
                <a:gd name="T39" fmla="*/ 68 h 178"/>
                <a:gd name="T40" fmla="*/ 178 w 221"/>
                <a:gd name="T41" fmla="*/ 89 h 178"/>
                <a:gd name="T42" fmla="*/ 153 w 221"/>
                <a:gd name="T43" fmla="*/ 144 h 178"/>
                <a:gd name="T44" fmla="*/ 147 w 221"/>
                <a:gd name="T45" fmla="*/ 145 h 178"/>
                <a:gd name="T46" fmla="*/ 141 w 221"/>
                <a:gd name="T47" fmla="*/ 143 h 178"/>
                <a:gd name="T48" fmla="*/ 142 w 221"/>
                <a:gd name="T49" fmla="*/ 131 h 178"/>
                <a:gd name="T50" fmla="*/ 162 w 221"/>
                <a:gd name="T51" fmla="*/ 89 h 178"/>
                <a:gd name="T52" fmla="*/ 142 w 221"/>
                <a:gd name="T53" fmla="*/ 47 h 178"/>
                <a:gd name="T54" fmla="*/ 141 w 221"/>
                <a:gd name="T55" fmla="*/ 36 h 178"/>
                <a:gd name="T56" fmla="*/ 153 w 221"/>
                <a:gd name="T57" fmla="*/ 35 h 178"/>
                <a:gd name="T58" fmla="*/ 178 w 221"/>
                <a:gd name="T59" fmla="*/ 89 h 178"/>
                <a:gd name="T60" fmla="*/ 221 w 221"/>
                <a:gd name="T61" fmla="*/ 89 h 178"/>
                <a:gd name="T62" fmla="*/ 178 w 221"/>
                <a:gd name="T63" fmla="*/ 176 h 178"/>
                <a:gd name="T64" fmla="*/ 173 w 221"/>
                <a:gd name="T65" fmla="*/ 178 h 178"/>
                <a:gd name="T66" fmla="*/ 167 w 221"/>
                <a:gd name="T67" fmla="*/ 175 h 178"/>
                <a:gd name="T68" fmla="*/ 168 w 221"/>
                <a:gd name="T69" fmla="*/ 163 h 178"/>
                <a:gd name="T70" fmla="*/ 205 w 221"/>
                <a:gd name="T71" fmla="*/ 89 h 178"/>
                <a:gd name="T72" fmla="*/ 168 w 221"/>
                <a:gd name="T73" fmla="*/ 15 h 178"/>
                <a:gd name="T74" fmla="*/ 167 w 221"/>
                <a:gd name="T75" fmla="*/ 4 h 178"/>
                <a:gd name="T76" fmla="*/ 178 w 221"/>
                <a:gd name="T77" fmla="*/ 2 h 178"/>
                <a:gd name="T78" fmla="*/ 221 w 221"/>
                <a:gd name="T79" fmla="*/ 89 h 178"/>
                <a:gd name="T80" fmla="*/ 112 w 221"/>
                <a:gd name="T81" fmla="*/ 146 h 178"/>
                <a:gd name="T82" fmla="*/ 112 w 221"/>
                <a:gd name="T83" fmla="*/ 170 h 178"/>
                <a:gd name="T84" fmla="*/ 104 w 221"/>
                <a:gd name="T85" fmla="*/ 178 h 178"/>
                <a:gd name="T86" fmla="*/ 96 w 221"/>
                <a:gd name="T87" fmla="*/ 170 h 178"/>
                <a:gd name="T88" fmla="*/ 96 w 221"/>
                <a:gd name="T89" fmla="*/ 154 h 178"/>
                <a:gd name="T90" fmla="*/ 16 w 221"/>
                <a:gd name="T91" fmla="*/ 154 h 178"/>
                <a:gd name="T92" fmla="*/ 16 w 221"/>
                <a:gd name="T93" fmla="*/ 170 h 178"/>
                <a:gd name="T94" fmla="*/ 8 w 221"/>
                <a:gd name="T95" fmla="*/ 178 h 178"/>
                <a:gd name="T96" fmla="*/ 0 w 221"/>
                <a:gd name="T97" fmla="*/ 170 h 178"/>
                <a:gd name="T98" fmla="*/ 0 w 221"/>
                <a:gd name="T99" fmla="*/ 146 h 178"/>
                <a:gd name="T100" fmla="*/ 8 w 221"/>
                <a:gd name="T101" fmla="*/ 138 h 178"/>
                <a:gd name="T102" fmla="*/ 104 w 221"/>
                <a:gd name="T103" fmla="*/ 138 h 178"/>
                <a:gd name="T104" fmla="*/ 112 w 221"/>
                <a:gd name="T105"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178">
                  <a:moveTo>
                    <a:pt x="56" y="122"/>
                  </a:moveTo>
                  <a:cubicBezTo>
                    <a:pt x="73" y="122"/>
                    <a:pt x="88" y="107"/>
                    <a:pt x="88" y="90"/>
                  </a:cubicBezTo>
                  <a:cubicBezTo>
                    <a:pt x="88" y="72"/>
                    <a:pt x="73" y="58"/>
                    <a:pt x="56" y="58"/>
                  </a:cubicBezTo>
                  <a:cubicBezTo>
                    <a:pt x="38" y="58"/>
                    <a:pt x="24" y="72"/>
                    <a:pt x="24" y="90"/>
                  </a:cubicBezTo>
                  <a:cubicBezTo>
                    <a:pt x="24" y="107"/>
                    <a:pt x="38" y="122"/>
                    <a:pt x="56" y="122"/>
                  </a:cubicBezTo>
                  <a:close/>
                  <a:moveTo>
                    <a:pt x="56" y="74"/>
                  </a:moveTo>
                  <a:cubicBezTo>
                    <a:pt x="64" y="74"/>
                    <a:pt x="72" y="81"/>
                    <a:pt x="72" y="90"/>
                  </a:cubicBezTo>
                  <a:cubicBezTo>
                    <a:pt x="72" y="98"/>
                    <a:pt x="64" y="106"/>
                    <a:pt x="56" y="106"/>
                  </a:cubicBezTo>
                  <a:cubicBezTo>
                    <a:pt x="47" y="106"/>
                    <a:pt x="40" y="98"/>
                    <a:pt x="40" y="90"/>
                  </a:cubicBezTo>
                  <a:cubicBezTo>
                    <a:pt x="40" y="81"/>
                    <a:pt x="47" y="74"/>
                    <a:pt x="56" y="74"/>
                  </a:cubicBezTo>
                  <a:close/>
                  <a:moveTo>
                    <a:pt x="127" y="68"/>
                  </a:moveTo>
                  <a:cubicBezTo>
                    <a:pt x="133" y="73"/>
                    <a:pt x="136" y="81"/>
                    <a:pt x="136" y="89"/>
                  </a:cubicBezTo>
                  <a:cubicBezTo>
                    <a:pt x="136" y="97"/>
                    <a:pt x="133" y="105"/>
                    <a:pt x="127" y="111"/>
                  </a:cubicBezTo>
                  <a:cubicBezTo>
                    <a:pt x="126" y="112"/>
                    <a:pt x="124" y="113"/>
                    <a:pt x="122" y="113"/>
                  </a:cubicBezTo>
                  <a:cubicBezTo>
                    <a:pt x="120" y="113"/>
                    <a:pt x="118" y="112"/>
                    <a:pt x="116" y="111"/>
                  </a:cubicBezTo>
                  <a:cubicBezTo>
                    <a:pt x="113" y="108"/>
                    <a:pt x="113" y="103"/>
                    <a:pt x="116" y="100"/>
                  </a:cubicBezTo>
                  <a:cubicBezTo>
                    <a:pt x="118" y="97"/>
                    <a:pt x="120" y="93"/>
                    <a:pt x="120" y="89"/>
                  </a:cubicBezTo>
                  <a:cubicBezTo>
                    <a:pt x="120" y="85"/>
                    <a:pt x="118" y="81"/>
                    <a:pt x="116" y="78"/>
                  </a:cubicBezTo>
                  <a:cubicBezTo>
                    <a:pt x="113" y="75"/>
                    <a:pt x="113" y="70"/>
                    <a:pt x="116" y="67"/>
                  </a:cubicBezTo>
                  <a:cubicBezTo>
                    <a:pt x="119" y="64"/>
                    <a:pt x="124" y="64"/>
                    <a:pt x="127" y="68"/>
                  </a:cubicBezTo>
                  <a:close/>
                  <a:moveTo>
                    <a:pt x="178" y="89"/>
                  </a:moveTo>
                  <a:cubicBezTo>
                    <a:pt x="178" y="110"/>
                    <a:pt x="169" y="130"/>
                    <a:pt x="153" y="144"/>
                  </a:cubicBezTo>
                  <a:cubicBezTo>
                    <a:pt x="151" y="145"/>
                    <a:pt x="149" y="145"/>
                    <a:pt x="147" y="145"/>
                  </a:cubicBezTo>
                  <a:cubicBezTo>
                    <a:pt x="145" y="145"/>
                    <a:pt x="143" y="144"/>
                    <a:pt x="141" y="143"/>
                  </a:cubicBezTo>
                  <a:cubicBezTo>
                    <a:pt x="138" y="139"/>
                    <a:pt x="139" y="134"/>
                    <a:pt x="142" y="131"/>
                  </a:cubicBezTo>
                  <a:cubicBezTo>
                    <a:pt x="155" y="121"/>
                    <a:pt x="162" y="105"/>
                    <a:pt x="162" y="89"/>
                  </a:cubicBezTo>
                  <a:cubicBezTo>
                    <a:pt x="162" y="73"/>
                    <a:pt x="155" y="58"/>
                    <a:pt x="142" y="47"/>
                  </a:cubicBezTo>
                  <a:cubicBezTo>
                    <a:pt x="139" y="44"/>
                    <a:pt x="138" y="39"/>
                    <a:pt x="141" y="36"/>
                  </a:cubicBezTo>
                  <a:cubicBezTo>
                    <a:pt x="144" y="32"/>
                    <a:pt x="149" y="32"/>
                    <a:pt x="153" y="35"/>
                  </a:cubicBezTo>
                  <a:cubicBezTo>
                    <a:pt x="169" y="48"/>
                    <a:pt x="178" y="68"/>
                    <a:pt x="178" y="89"/>
                  </a:cubicBezTo>
                  <a:close/>
                  <a:moveTo>
                    <a:pt x="221" y="89"/>
                  </a:moveTo>
                  <a:cubicBezTo>
                    <a:pt x="221" y="123"/>
                    <a:pt x="205" y="154"/>
                    <a:pt x="178" y="176"/>
                  </a:cubicBezTo>
                  <a:cubicBezTo>
                    <a:pt x="176" y="177"/>
                    <a:pt x="175" y="178"/>
                    <a:pt x="173" y="178"/>
                  </a:cubicBezTo>
                  <a:cubicBezTo>
                    <a:pt x="171" y="178"/>
                    <a:pt x="168" y="177"/>
                    <a:pt x="167" y="175"/>
                  </a:cubicBezTo>
                  <a:cubicBezTo>
                    <a:pt x="164" y="171"/>
                    <a:pt x="164" y="166"/>
                    <a:pt x="168" y="163"/>
                  </a:cubicBezTo>
                  <a:cubicBezTo>
                    <a:pt x="191" y="145"/>
                    <a:pt x="205" y="118"/>
                    <a:pt x="205" y="89"/>
                  </a:cubicBezTo>
                  <a:cubicBezTo>
                    <a:pt x="205" y="60"/>
                    <a:pt x="191" y="33"/>
                    <a:pt x="168" y="15"/>
                  </a:cubicBezTo>
                  <a:cubicBezTo>
                    <a:pt x="164" y="12"/>
                    <a:pt x="164" y="7"/>
                    <a:pt x="167" y="4"/>
                  </a:cubicBezTo>
                  <a:cubicBezTo>
                    <a:pt x="169" y="0"/>
                    <a:pt x="174" y="0"/>
                    <a:pt x="178" y="2"/>
                  </a:cubicBezTo>
                  <a:cubicBezTo>
                    <a:pt x="205" y="24"/>
                    <a:pt x="221" y="55"/>
                    <a:pt x="221" y="89"/>
                  </a:cubicBezTo>
                  <a:close/>
                  <a:moveTo>
                    <a:pt x="112" y="146"/>
                  </a:moveTo>
                  <a:cubicBezTo>
                    <a:pt x="112" y="170"/>
                    <a:pt x="112" y="170"/>
                    <a:pt x="112" y="170"/>
                  </a:cubicBezTo>
                  <a:cubicBezTo>
                    <a:pt x="112" y="174"/>
                    <a:pt x="108" y="178"/>
                    <a:pt x="104" y="178"/>
                  </a:cubicBezTo>
                  <a:cubicBezTo>
                    <a:pt x="99" y="178"/>
                    <a:pt x="96" y="174"/>
                    <a:pt x="96" y="170"/>
                  </a:cubicBezTo>
                  <a:cubicBezTo>
                    <a:pt x="96" y="154"/>
                    <a:pt x="96" y="154"/>
                    <a:pt x="96" y="154"/>
                  </a:cubicBezTo>
                  <a:cubicBezTo>
                    <a:pt x="16" y="154"/>
                    <a:pt x="16" y="154"/>
                    <a:pt x="16" y="154"/>
                  </a:cubicBezTo>
                  <a:cubicBezTo>
                    <a:pt x="16" y="170"/>
                    <a:pt x="16" y="170"/>
                    <a:pt x="16" y="170"/>
                  </a:cubicBezTo>
                  <a:cubicBezTo>
                    <a:pt x="16" y="174"/>
                    <a:pt x="12" y="178"/>
                    <a:pt x="8" y="178"/>
                  </a:cubicBezTo>
                  <a:cubicBezTo>
                    <a:pt x="3" y="178"/>
                    <a:pt x="0" y="174"/>
                    <a:pt x="0" y="170"/>
                  </a:cubicBezTo>
                  <a:cubicBezTo>
                    <a:pt x="0" y="146"/>
                    <a:pt x="0" y="146"/>
                    <a:pt x="0" y="146"/>
                  </a:cubicBezTo>
                  <a:cubicBezTo>
                    <a:pt x="0" y="141"/>
                    <a:pt x="3" y="138"/>
                    <a:pt x="8" y="138"/>
                  </a:cubicBezTo>
                  <a:cubicBezTo>
                    <a:pt x="104" y="138"/>
                    <a:pt x="104" y="138"/>
                    <a:pt x="104" y="138"/>
                  </a:cubicBezTo>
                  <a:cubicBezTo>
                    <a:pt x="108" y="138"/>
                    <a:pt x="112" y="141"/>
                    <a:pt x="112" y="146"/>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US" dirty="0">
                <a:solidFill>
                  <a:sysClr val="windowText" lastClr="000000"/>
                </a:solidFill>
              </a:endParaRPr>
            </a:p>
          </p:txBody>
        </p:sp>
      </p:grpSp>
      <p:grpSp>
        <p:nvGrpSpPr>
          <p:cNvPr id="103" name="Group 102">
            <a:extLst>
              <a:ext uri="{FF2B5EF4-FFF2-40B4-BE49-F238E27FC236}">
                <a16:creationId xmlns:a16="http://schemas.microsoft.com/office/drawing/2014/main" id="{213C1630-207B-754A-B650-0FED3D8E328D}"/>
              </a:ext>
            </a:extLst>
          </p:cNvPr>
          <p:cNvGrpSpPr>
            <a:grpSpLocks noChangeAspect="1"/>
          </p:cNvGrpSpPr>
          <p:nvPr/>
        </p:nvGrpSpPr>
        <p:grpSpPr bwMode="auto">
          <a:xfrm>
            <a:off x="8349607" y="4498283"/>
            <a:ext cx="274320" cy="274320"/>
            <a:chOff x="4646" y="1397"/>
            <a:chExt cx="340" cy="340"/>
          </a:xfrm>
          <a:solidFill>
            <a:sysClr val="window" lastClr="FFFFFF"/>
          </a:solidFill>
        </p:grpSpPr>
        <p:sp>
          <p:nvSpPr>
            <p:cNvPr id="104" name="Freeform 103">
              <a:extLst>
                <a:ext uri="{FF2B5EF4-FFF2-40B4-BE49-F238E27FC236}">
                  <a16:creationId xmlns:a16="http://schemas.microsoft.com/office/drawing/2014/main" id="{81D84BBC-9FB2-3445-8736-552163C9F02D}"/>
                </a:ext>
              </a:extLst>
            </p:cNvPr>
            <p:cNvSpPr>
              <a:spLocks noEditPoints="1"/>
            </p:cNvSpPr>
            <p:nvPr/>
          </p:nvSpPr>
          <p:spPr bwMode="auto">
            <a:xfrm>
              <a:off x="4646" y="13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5" name="Freeform 104">
              <a:extLst>
                <a:ext uri="{FF2B5EF4-FFF2-40B4-BE49-F238E27FC236}">
                  <a16:creationId xmlns:a16="http://schemas.microsoft.com/office/drawing/2014/main" id="{124CC9DD-A7C6-664D-85E0-3E2F5A88C6EB}"/>
                </a:ext>
              </a:extLst>
            </p:cNvPr>
            <p:cNvSpPr>
              <a:spLocks noEditPoints="1"/>
            </p:cNvSpPr>
            <p:nvPr/>
          </p:nvSpPr>
          <p:spPr bwMode="auto">
            <a:xfrm>
              <a:off x="4738" y="146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106" name="Group 105">
            <a:extLst>
              <a:ext uri="{FF2B5EF4-FFF2-40B4-BE49-F238E27FC236}">
                <a16:creationId xmlns:a16="http://schemas.microsoft.com/office/drawing/2014/main" id="{A7C70E9A-482D-484A-B3DD-C21535063ABD}"/>
              </a:ext>
            </a:extLst>
          </p:cNvPr>
          <p:cNvGrpSpPr>
            <a:grpSpLocks noChangeAspect="1"/>
          </p:cNvGrpSpPr>
          <p:nvPr/>
        </p:nvGrpSpPr>
        <p:grpSpPr bwMode="auto">
          <a:xfrm>
            <a:off x="8849946" y="2448174"/>
            <a:ext cx="275126" cy="274320"/>
            <a:chOff x="405" y="1575"/>
            <a:chExt cx="341" cy="340"/>
          </a:xfrm>
          <a:solidFill>
            <a:sysClr val="window" lastClr="FFFFFF"/>
          </a:solidFill>
        </p:grpSpPr>
        <p:sp>
          <p:nvSpPr>
            <p:cNvPr id="107" name="Freeform 106">
              <a:extLst>
                <a:ext uri="{FF2B5EF4-FFF2-40B4-BE49-F238E27FC236}">
                  <a16:creationId xmlns:a16="http://schemas.microsoft.com/office/drawing/2014/main" id="{37A940B8-DE8A-D14F-8808-E361BDA21079}"/>
                </a:ext>
              </a:extLst>
            </p:cNvPr>
            <p:cNvSpPr>
              <a:spLocks noEditPoints="1"/>
            </p:cNvSpPr>
            <p:nvPr/>
          </p:nvSpPr>
          <p:spPr bwMode="auto">
            <a:xfrm>
              <a:off x="405" y="15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8" name="Freeform 107">
              <a:extLst>
                <a:ext uri="{FF2B5EF4-FFF2-40B4-BE49-F238E27FC236}">
                  <a16:creationId xmlns:a16="http://schemas.microsoft.com/office/drawing/2014/main" id="{8ABEB366-BC3B-4445-A232-A59FDBB078A7}"/>
                </a:ext>
              </a:extLst>
            </p:cNvPr>
            <p:cNvSpPr>
              <a:spLocks noEditPoints="1"/>
            </p:cNvSpPr>
            <p:nvPr/>
          </p:nvSpPr>
          <p:spPr bwMode="auto">
            <a:xfrm>
              <a:off x="475" y="1652"/>
              <a:ext cx="179" cy="192"/>
            </a:xfrm>
            <a:custGeom>
              <a:avLst/>
              <a:gdLst>
                <a:gd name="T0" fmla="*/ 236 w 269"/>
                <a:gd name="T1" fmla="*/ 268 h 289"/>
                <a:gd name="T2" fmla="*/ 215 w 269"/>
                <a:gd name="T3" fmla="*/ 289 h 289"/>
                <a:gd name="T4" fmla="*/ 193 w 269"/>
                <a:gd name="T5" fmla="*/ 268 h 289"/>
                <a:gd name="T6" fmla="*/ 215 w 269"/>
                <a:gd name="T7" fmla="*/ 246 h 289"/>
                <a:gd name="T8" fmla="*/ 236 w 269"/>
                <a:gd name="T9" fmla="*/ 268 h 289"/>
                <a:gd name="T10" fmla="*/ 261 w 269"/>
                <a:gd name="T11" fmla="*/ 23 h 289"/>
                <a:gd name="T12" fmla="*/ 229 w 269"/>
                <a:gd name="T13" fmla="*/ 12 h 289"/>
                <a:gd name="T14" fmla="*/ 215 w 269"/>
                <a:gd name="T15" fmla="*/ 19 h 289"/>
                <a:gd name="T16" fmla="*/ 133 w 269"/>
                <a:gd name="T17" fmla="*/ 265 h 289"/>
                <a:gd name="T18" fmla="*/ 47 w 269"/>
                <a:gd name="T19" fmla="*/ 236 h 289"/>
                <a:gd name="T20" fmla="*/ 34 w 269"/>
                <a:gd name="T21" fmla="*/ 243 h 289"/>
                <a:gd name="T22" fmla="*/ 41 w 269"/>
                <a:gd name="T23" fmla="*/ 256 h 289"/>
                <a:gd name="T24" fmla="*/ 137 w 269"/>
                <a:gd name="T25" fmla="*/ 288 h 289"/>
                <a:gd name="T26" fmla="*/ 140 w 269"/>
                <a:gd name="T27" fmla="*/ 289 h 289"/>
                <a:gd name="T28" fmla="*/ 150 w 269"/>
                <a:gd name="T29" fmla="*/ 282 h 289"/>
                <a:gd name="T30" fmla="*/ 232 w 269"/>
                <a:gd name="T31" fmla="*/ 36 h 289"/>
                <a:gd name="T32" fmla="*/ 254 w 269"/>
                <a:gd name="T33" fmla="*/ 43 h 289"/>
                <a:gd name="T34" fmla="*/ 257 w 269"/>
                <a:gd name="T35" fmla="*/ 44 h 289"/>
                <a:gd name="T36" fmla="*/ 267 w 269"/>
                <a:gd name="T37" fmla="*/ 36 h 289"/>
                <a:gd name="T38" fmla="*/ 261 w 269"/>
                <a:gd name="T39" fmla="*/ 23 h 289"/>
                <a:gd name="T40" fmla="*/ 105 w 269"/>
                <a:gd name="T41" fmla="*/ 224 h 289"/>
                <a:gd name="T42" fmla="*/ 9 w 269"/>
                <a:gd name="T43" fmla="*/ 192 h 289"/>
                <a:gd name="T44" fmla="*/ 2 w 269"/>
                <a:gd name="T45" fmla="*/ 179 h 289"/>
                <a:gd name="T46" fmla="*/ 23 w 269"/>
                <a:gd name="T47" fmla="*/ 115 h 289"/>
                <a:gd name="T48" fmla="*/ 37 w 269"/>
                <a:gd name="T49" fmla="*/ 108 h 289"/>
                <a:gd name="T50" fmla="*/ 133 w 269"/>
                <a:gd name="T51" fmla="*/ 140 h 289"/>
                <a:gd name="T52" fmla="*/ 139 w 269"/>
                <a:gd name="T53" fmla="*/ 154 h 289"/>
                <a:gd name="T54" fmla="*/ 118 w 269"/>
                <a:gd name="T55" fmla="*/ 218 h 289"/>
                <a:gd name="T56" fmla="*/ 108 w 269"/>
                <a:gd name="T57" fmla="*/ 225 h 289"/>
                <a:gd name="T58" fmla="*/ 105 w 269"/>
                <a:gd name="T59" fmla="*/ 224 h 289"/>
                <a:gd name="T60" fmla="*/ 101 w 269"/>
                <a:gd name="T61" fmla="*/ 201 h 289"/>
                <a:gd name="T62" fmla="*/ 116 w 269"/>
                <a:gd name="T63" fmla="*/ 157 h 289"/>
                <a:gd name="T64" fmla="*/ 40 w 269"/>
                <a:gd name="T65" fmla="*/ 132 h 289"/>
                <a:gd name="T66" fmla="*/ 25 w 269"/>
                <a:gd name="T67" fmla="*/ 176 h 289"/>
                <a:gd name="T68" fmla="*/ 101 w 269"/>
                <a:gd name="T69" fmla="*/ 201 h 289"/>
                <a:gd name="T70" fmla="*/ 34 w 269"/>
                <a:gd name="T71" fmla="*/ 72 h 289"/>
                <a:gd name="T72" fmla="*/ 55 w 269"/>
                <a:gd name="T73" fmla="*/ 8 h 289"/>
                <a:gd name="T74" fmla="*/ 69 w 269"/>
                <a:gd name="T75" fmla="*/ 2 h 289"/>
                <a:gd name="T76" fmla="*/ 165 w 269"/>
                <a:gd name="T77" fmla="*/ 34 h 289"/>
                <a:gd name="T78" fmla="*/ 171 w 269"/>
                <a:gd name="T79" fmla="*/ 47 h 289"/>
                <a:gd name="T80" fmla="*/ 150 w 269"/>
                <a:gd name="T81" fmla="*/ 111 h 289"/>
                <a:gd name="T82" fmla="*/ 140 w 269"/>
                <a:gd name="T83" fmla="*/ 118 h 289"/>
                <a:gd name="T84" fmla="*/ 137 w 269"/>
                <a:gd name="T85" fmla="*/ 118 h 289"/>
                <a:gd name="T86" fmla="*/ 41 w 269"/>
                <a:gd name="T87" fmla="*/ 86 h 289"/>
                <a:gd name="T88" fmla="*/ 34 w 269"/>
                <a:gd name="T89" fmla="*/ 72 h 289"/>
                <a:gd name="T90" fmla="*/ 72 w 269"/>
                <a:gd name="T91" fmla="*/ 25 h 289"/>
                <a:gd name="T92" fmla="*/ 57 w 269"/>
                <a:gd name="T93" fmla="*/ 69 h 289"/>
                <a:gd name="T94" fmla="*/ 133 w 269"/>
                <a:gd name="T95" fmla="*/ 94 h 289"/>
                <a:gd name="T96" fmla="*/ 148 w 269"/>
                <a:gd name="T97" fmla="*/ 50 h 289"/>
                <a:gd name="T98" fmla="*/ 72 w 269"/>
                <a:gd name="T99"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 h="289">
                  <a:moveTo>
                    <a:pt x="236" y="268"/>
                  </a:moveTo>
                  <a:cubicBezTo>
                    <a:pt x="236" y="279"/>
                    <a:pt x="226" y="289"/>
                    <a:pt x="215" y="289"/>
                  </a:cubicBezTo>
                  <a:cubicBezTo>
                    <a:pt x="203" y="289"/>
                    <a:pt x="193" y="279"/>
                    <a:pt x="193" y="268"/>
                  </a:cubicBezTo>
                  <a:cubicBezTo>
                    <a:pt x="193" y="256"/>
                    <a:pt x="203" y="246"/>
                    <a:pt x="215" y="246"/>
                  </a:cubicBezTo>
                  <a:cubicBezTo>
                    <a:pt x="226" y="246"/>
                    <a:pt x="236" y="256"/>
                    <a:pt x="236" y="268"/>
                  </a:cubicBezTo>
                  <a:close/>
                  <a:moveTo>
                    <a:pt x="261" y="23"/>
                  </a:moveTo>
                  <a:cubicBezTo>
                    <a:pt x="229" y="12"/>
                    <a:pt x="229" y="12"/>
                    <a:pt x="229" y="12"/>
                  </a:cubicBezTo>
                  <a:cubicBezTo>
                    <a:pt x="223" y="10"/>
                    <a:pt x="217" y="13"/>
                    <a:pt x="215" y="19"/>
                  </a:cubicBezTo>
                  <a:cubicBezTo>
                    <a:pt x="133" y="265"/>
                    <a:pt x="133" y="265"/>
                    <a:pt x="133" y="265"/>
                  </a:cubicBezTo>
                  <a:cubicBezTo>
                    <a:pt x="47" y="236"/>
                    <a:pt x="47" y="236"/>
                    <a:pt x="47" y="236"/>
                  </a:cubicBezTo>
                  <a:cubicBezTo>
                    <a:pt x="42" y="234"/>
                    <a:pt x="36" y="237"/>
                    <a:pt x="34" y="243"/>
                  </a:cubicBezTo>
                  <a:cubicBezTo>
                    <a:pt x="32" y="249"/>
                    <a:pt x="35" y="255"/>
                    <a:pt x="41" y="256"/>
                  </a:cubicBezTo>
                  <a:cubicBezTo>
                    <a:pt x="137" y="288"/>
                    <a:pt x="137" y="288"/>
                    <a:pt x="137" y="288"/>
                  </a:cubicBezTo>
                  <a:cubicBezTo>
                    <a:pt x="138" y="289"/>
                    <a:pt x="139" y="289"/>
                    <a:pt x="140" y="289"/>
                  </a:cubicBezTo>
                  <a:cubicBezTo>
                    <a:pt x="144" y="289"/>
                    <a:pt x="149" y="286"/>
                    <a:pt x="150" y="282"/>
                  </a:cubicBezTo>
                  <a:cubicBezTo>
                    <a:pt x="232" y="36"/>
                    <a:pt x="232" y="36"/>
                    <a:pt x="232" y="36"/>
                  </a:cubicBezTo>
                  <a:cubicBezTo>
                    <a:pt x="254" y="43"/>
                    <a:pt x="254" y="43"/>
                    <a:pt x="254" y="43"/>
                  </a:cubicBezTo>
                  <a:cubicBezTo>
                    <a:pt x="255" y="43"/>
                    <a:pt x="256" y="44"/>
                    <a:pt x="257" y="44"/>
                  </a:cubicBezTo>
                  <a:cubicBezTo>
                    <a:pt x="262" y="44"/>
                    <a:pt x="266" y="41"/>
                    <a:pt x="267" y="36"/>
                  </a:cubicBezTo>
                  <a:cubicBezTo>
                    <a:pt x="269" y="31"/>
                    <a:pt x="266" y="25"/>
                    <a:pt x="261" y="23"/>
                  </a:cubicBezTo>
                  <a:close/>
                  <a:moveTo>
                    <a:pt x="105" y="224"/>
                  </a:moveTo>
                  <a:cubicBezTo>
                    <a:pt x="9" y="192"/>
                    <a:pt x="9" y="192"/>
                    <a:pt x="9" y="192"/>
                  </a:cubicBezTo>
                  <a:cubicBezTo>
                    <a:pt x="3" y="191"/>
                    <a:pt x="0" y="185"/>
                    <a:pt x="2" y="179"/>
                  </a:cubicBezTo>
                  <a:cubicBezTo>
                    <a:pt x="23" y="115"/>
                    <a:pt x="23" y="115"/>
                    <a:pt x="23" y="115"/>
                  </a:cubicBezTo>
                  <a:cubicBezTo>
                    <a:pt x="25" y="109"/>
                    <a:pt x="31" y="106"/>
                    <a:pt x="37" y="108"/>
                  </a:cubicBezTo>
                  <a:cubicBezTo>
                    <a:pt x="133" y="140"/>
                    <a:pt x="133" y="140"/>
                    <a:pt x="133" y="140"/>
                  </a:cubicBezTo>
                  <a:cubicBezTo>
                    <a:pt x="138" y="142"/>
                    <a:pt x="141" y="148"/>
                    <a:pt x="139" y="154"/>
                  </a:cubicBezTo>
                  <a:cubicBezTo>
                    <a:pt x="118" y="218"/>
                    <a:pt x="118" y="218"/>
                    <a:pt x="118" y="218"/>
                  </a:cubicBezTo>
                  <a:cubicBezTo>
                    <a:pt x="117" y="222"/>
                    <a:pt x="112" y="225"/>
                    <a:pt x="108" y="225"/>
                  </a:cubicBezTo>
                  <a:cubicBezTo>
                    <a:pt x="107" y="225"/>
                    <a:pt x="106" y="225"/>
                    <a:pt x="105" y="224"/>
                  </a:cubicBezTo>
                  <a:close/>
                  <a:moveTo>
                    <a:pt x="101" y="201"/>
                  </a:moveTo>
                  <a:cubicBezTo>
                    <a:pt x="116" y="157"/>
                    <a:pt x="116" y="157"/>
                    <a:pt x="116" y="157"/>
                  </a:cubicBezTo>
                  <a:cubicBezTo>
                    <a:pt x="40" y="132"/>
                    <a:pt x="40" y="132"/>
                    <a:pt x="40" y="132"/>
                  </a:cubicBezTo>
                  <a:cubicBezTo>
                    <a:pt x="25" y="176"/>
                    <a:pt x="25" y="176"/>
                    <a:pt x="25" y="176"/>
                  </a:cubicBezTo>
                  <a:lnTo>
                    <a:pt x="101" y="201"/>
                  </a:lnTo>
                  <a:close/>
                  <a:moveTo>
                    <a:pt x="34" y="72"/>
                  </a:moveTo>
                  <a:cubicBezTo>
                    <a:pt x="55" y="8"/>
                    <a:pt x="55" y="8"/>
                    <a:pt x="55" y="8"/>
                  </a:cubicBezTo>
                  <a:cubicBezTo>
                    <a:pt x="57" y="3"/>
                    <a:pt x="63" y="0"/>
                    <a:pt x="69" y="2"/>
                  </a:cubicBezTo>
                  <a:cubicBezTo>
                    <a:pt x="165" y="34"/>
                    <a:pt x="165" y="34"/>
                    <a:pt x="165" y="34"/>
                  </a:cubicBezTo>
                  <a:cubicBezTo>
                    <a:pt x="170" y="35"/>
                    <a:pt x="173" y="41"/>
                    <a:pt x="171" y="47"/>
                  </a:cubicBezTo>
                  <a:cubicBezTo>
                    <a:pt x="150" y="111"/>
                    <a:pt x="150" y="111"/>
                    <a:pt x="150" y="111"/>
                  </a:cubicBezTo>
                  <a:cubicBezTo>
                    <a:pt x="149" y="116"/>
                    <a:pt x="144" y="118"/>
                    <a:pt x="140" y="118"/>
                  </a:cubicBezTo>
                  <a:cubicBezTo>
                    <a:pt x="139" y="118"/>
                    <a:pt x="138" y="118"/>
                    <a:pt x="137" y="118"/>
                  </a:cubicBezTo>
                  <a:cubicBezTo>
                    <a:pt x="41" y="86"/>
                    <a:pt x="41" y="86"/>
                    <a:pt x="41" y="86"/>
                  </a:cubicBezTo>
                  <a:cubicBezTo>
                    <a:pt x="35" y="84"/>
                    <a:pt x="32" y="78"/>
                    <a:pt x="34" y="72"/>
                  </a:cubicBezTo>
                  <a:close/>
                  <a:moveTo>
                    <a:pt x="72" y="25"/>
                  </a:moveTo>
                  <a:cubicBezTo>
                    <a:pt x="57" y="69"/>
                    <a:pt x="57" y="69"/>
                    <a:pt x="57" y="69"/>
                  </a:cubicBezTo>
                  <a:cubicBezTo>
                    <a:pt x="133" y="94"/>
                    <a:pt x="133" y="94"/>
                    <a:pt x="133" y="94"/>
                  </a:cubicBezTo>
                  <a:cubicBezTo>
                    <a:pt x="148" y="50"/>
                    <a:pt x="148" y="50"/>
                    <a:pt x="148" y="50"/>
                  </a:cubicBezTo>
                  <a:lnTo>
                    <a:pt x="72" y="25"/>
                  </a:ln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109" name="Group 108">
            <a:extLst>
              <a:ext uri="{FF2B5EF4-FFF2-40B4-BE49-F238E27FC236}">
                <a16:creationId xmlns:a16="http://schemas.microsoft.com/office/drawing/2014/main" id="{72027080-71AF-5645-A7C2-DCA12C09087F}"/>
              </a:ext>
            </a:extLst>
          </p:cNvPr>
          <p:cNvGrpSpPr>
            <a:grpSpLocks noChangeAspect="1"/>
          </p:cNvGrpSpPr>
          <p:nvPr/>
        </p:nvGrpSpPr>
        <p:grpSpPr bwMode="auto">
          <a:xfrm>
            <a:off x="9013721" y="3530409"/>
            <a:ext cx="274321" cy="274320"/>
            <a:chOff x="4274" y="3998"/>
            <a:chExt cx="340" cy="340"/>
          </a:xfrm>
          <a:solidFill>
            <a:sysClr val="window" lastClr="FFFFFF"/>
          </a:solidFill>
        </p:grpSpPr>
        <p:sp>
          <p:nvSpPr>
            <p:cNvPr id="110" name="Freeform 109">
              <a:extLst>
                <a:ext uri="{FF2B5EF4-FFF2-40B4-BE49-F238E27FC236}">
                  <a16:creationId xmlns:a16="http://schemas.microsoft.com/office/drawing/2014/main" id="{5AD760B8-24C5-9847-AE93-ABD7281789B7}"/>
                </a:ext>
              </a:extLst>
            </p:cNvPr>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1" name="Freeform 110">
              <a:extLst>
                <a:ext uri="{FF2B5EF4-FFF2-40B4-BE49-F238E27FC236}">
                  <a16:creationId xmlns:a16="http://schemas.microsoft.com/office/drawing/2014/main" id="{2D423AB6-3A26-D647-BD14-631517A25FF0}"/>
                </a:ext>
              </a:extLst>
            </p:cNvPr>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112" name="Group 111">
            <a:extLst>
              <a:ext uri="{FF2B5EF4-FFF2-40B4-BE49-F238E27FC236}">
                <a16:creationId xmlns:a16="http://schemas.microsoft.com/office/drawing/2014/main" id="{C2A5C561-569A-B843-9488-F7B1C5EDB3EF}"/>
              </a:ext>
            </a:extLst>
          </p:cNvPr>
          <p:cNvGrpSpPr>
            <a:grpSpLocks noChangeAspect="1"/>
          </p:cNvGrpSpPr>
          <p:nvPr/>
        </p:nvGrpSpPr>
        <p:grpSpPr bwMode="auto">
          <a:xfrm>
            <a:off x="6798471" y="1799697"/>
            <a:ext cx="274320" cy="274320"/>
            <a:chOff x="2732" y="1561"/>
            <a:chExt cx="340" cy="340"/>
          </a:xfrm>
          <a:solidFill>
            <a:sysClr val="window" lastClr="FFFFFF"/>
          </a:solidFill>
        </p:grpSpPr>
        <p:sp>
          <p:nvSpPr>
            <p:cNvPr id="113" name="Freeform 112">
              <a:extLst>
                <a:ext uri="{FF2B5EF4-FFF2-40B4-BE49-F238E27FC236}">
                  <a16:creationId xmlns:a16="http://schemas.microsoft.com/office/drawing/2014/main" id="{B8C46128-4861-9B42-AF28-EC1D79A66E10}"/>
                </a:ext>
              </a:extLst>
            </p:cNvPr>
            <p:cNvSpPr>
              <a:spLocks noEditPoints="1"/>
            </p:cNvSpPr>
            <p:nvPr/>
          </p:nvSpPr>
          <p:spPr bwMode="auto">
            <a:xfrm>
              <a:off x="2732" y="15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4" name="Freeform 113">
              <a:extLst>
                <a:ext uri="{FF2B5EF4-FFF2-40B4-BE49-F238E27FC236}">
                  <a16:creationId xmlns:a16="http://schemas.microsoft.com/office/drawing/2014/main" id="{679148FA-B262-954A-A975-2DFD270068E3}"/>
                </a:ext>
              </a:extLst>
            </p:cNvPr>
            <p:cNvSpPr>
              <a:spLocks noEditPoints="1"/>
            </p:cNvSpPr>
            <p:nvPr/>
          </p:nvSpPr>
          <p:spPr bwMode="auto">
            <a:xfrm>
              <a:off x="2795" y="1630"/>
              <a:ext cx="211" cy="207"/>
            </a:xfrm>
            <a:custGeom>
              <a:avLst/>
              <a:gdLst>
                <a:gd name="T0" fmla="*/ 132 w 318"/>
                <a:gd name="T1" fmla="*/ 312 h 312"/>
                <a:gd name="T2" fmla="*/ 124 w 318"/>
                <a:gd name="T3" fmla="*/ 309 h 312"/>
                <a:gd name="T4" fmla="*/ 4 w 318"/>
                <a:gd name="T5" fmla="*/ 188 h 312"/>
                <a:gd name="T6" fmla="*/ 4 w 318"/>
                <a:gd name="T7" fmla="*/ 173 h 312"/>
                <a:gd name="T8" fmla="*/ 173 w 318"/>
                <a:gd name="T9" fmla="*/ 4 h 312"/>
                <a:gd name="T10" fmla="*/ 182 w 318"/>
                <a:gd name="T11" fmla="*/ 0 h 312"/>
                <a:gd name="T12" fmla="*/ 292 w 318"/>
                <a:gd name="T13" fmla="*/ 11 h 312"/>
                <a:gd name="T14" fmla="*/ 302 w 318"/>
                <a:gd name="T15" fmla="*/ 20 h 312"/>
                <a:gd name="T16" fmla="*/ 317 w 318"/>
                <a:gd name="T17" fmla="*/ 125 h 312"/>
                <a:gd name="T18" fmla="*/ 314 w 318"/>
                <a:gd name="T19" fmla="*/ 134 h 312"/>
                <a:gd name="T20" fmla="*/ 140 w 318"/>
                <a:gd name="T21" fmla="*/ 309 h 312"/>
                <a:gd name="T22" fmla="*/ 132 w 318"/>
                <a:gd name="T23" fmla="*/ 312 h 312"/>
                <a:gd name="T24" fmla="*/ 26 w 318"/>
                <a:gd name="T25" fmla="*/ 180 h 312"/>
                <a:gd name="T26" fmla="*/ 132 w 318"/>
                <a:gd name="T27" fmla="*/ 286 h 312"/>
                <a:gd name="T28" fmla="*/ 295 w 318"/>
                <a:gd name="T29" fmla="*/ 123 h 312"/>
                <a:gd name="T30" fmla="*/ 282 w 318"/>
                <a:gd name="T31" fmla="*/ 31 h 312"/>
                <a:gd name="T32" fmla="*/ 185 w 318"/>
                <a:gd name="T33" fmla="*/ 22 h 312"/>
                <a:gd name="T34" fmla="*/ 26 w 318"/>
                <a:gd name="T35" fmla="*/ 180 h 312"/>
                <a:gd name="T36" fmla="*/ 245 w 318"/>
                <a:gd name="T37" fmla="*/ 67 h 312"/>
                <a:gd name="T38" fmla="*/ 214 w 318"/>
                <a:gd name="T39" fmla="*/ 67 h 312"/>
                <a:gd name="T40" fmla="*/ 214 w 318"/>
                <a:gd name="T41" fmla="*/ 98 h 312"/>
                <a:gd name="T42" fmla="*/ 245 w 318"/>
                <a:gd name="T43" fmla="*/ 98 h 312"/>
                <a:gd name="T44" fmla="*/ 245 w 318"/>
                <a:gd name="T45" fmla="*/ 67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8" h="312">
                  <a:moveTo>
                    <a:pt x="132" y="312"/>
                  </a:moveTo>
                  <a:cubicBezTo>
                    <a:pt x="129" y="312"/>
                    <a:pt x="127" y="311"/>
                    <a:pt x="124" y="309"/>
                  </a:cubicBezTo>
                  <a:cubicBezTo>
                    <a:pt x="4" y="188"/>
                    <a:pt x="4" y="188"/>
                    <a:pt x="4" y="188"/>
                  </a:cubicBezTo>
                  <a:cubicBezTo>
                    <a:pt x="0" y="184"/>
                    <a:pt x="0" y="177"/>
                    <a:pt x="4" y="173"/>
                  </a:cubicBezTo>
                  <a:cubicBezTo>
                    <a:pt x="173" y="4"/>
                    <a:pt x="173" y="4"/>
                    <a:pt x="173" y="4"/>
                  </a:cubicBezTo>
                  <a:cubicBezTo>
                    <a:pt x="175" y="1"/>
                    <a:pt x="178" y="0"/>
                    <a:pt x="182" y="0"/>
                  </a:cubicBezTo>
                  <a:cubicBezTo>
                    <a:pt x="292" y="11"/>
                    <a:pt x="292" y="11"/>
                    <a:pt x="292" y="11"/>
                  </a:cubicBezTo>
                  <a:cubicBezTo>
                    <a:pt x="297" y="11"/>
                    <a:pt x="301" y="15"/>
                    <a:pt x="302" y="20"/>
                  </a:cubicBezTo>
                  <a:cubicBezTo>
                    <a:pt x="317" y="125"/>
                    <a:pt x="317" y="125"/>
                    <a:pt x="317" y="125"/>
                  </a:cubicBezTo>
                  <a:cubicBezTo>
                    <a:pt x="318" y="128"/>
                    <a:pt x="316" y="132"/>
                    <a:pt x="314" y="134"/>
                  </a:cubicBezTo>
                  <a:cubicBezTo>
                    <a:pt x="140" y="309"/>
                    <a:pt x="140" y="309"/>
                    <a:pt x="140" y="309"/>
                  </a:cubicBezTo>
                  <a:cubicBezTo>
                    <a:pt x="137" y="311"/>
                    <a:pt x="135" y="312"/>
                    <a:pt x="132" y="312"/>
                  </a:cubicBezTo>
                  <a:close/>
                  <a:moveTo>
                    <a:pt x="26" y="180"/>
                  </a:moveTo>
                  <a:cubicBezTo>
                    <a:pt x="132" y="286"/>
                    <a:pt x="132" y="286"/>
                    <a:pt x="132" y="286"/>
                  </a:cubicBezTo>
                  <a:cubicBezTo>
                    <a:pt x="295" y="123"/>
                    <a:pt x="295" y="123"/>
                    <a:pt x="295" y="123"/>
                  </a:cubicBezTo>
                  <a:cubicBezTo>
                    <a:pt x="282" y="31"/>
                    <a:pt x="282" y="31"/>
                    <a:pt x="282" y="31"/>
                  </a:cubicBezTo>
                  <a:cubicBezTo>
                    <a:pt x="185" y="22"/>
                    <a:pt x="185" y="22"/>
                    <a:pt x="185" y="22"/>
                  </a:cubicBezTo>
                  <a:lnTo>
                    <a:pt x="26" y="180"/>
                  </a:lnTo>
                  <a:close/>
                  <a:moveTo>
                    <a:pt x="245" y="67"/>
                  </a:moveTo>
                  <a:cubicBezTo>
                    <a:pt x="236" y="58"/>
                    <a:pt x="222" y="58"/>
                    <a:pt x="214" y="67"/>
                  </a:cubicBezTo>
                  <a:cubicBezTo>
                    <a:pt x="205" y="75"/>
                    <a:pt x="205" y="89"/>
                    <a:pt x="214" y="98"/>
                  </a:cubicBezTo>
                  <a:cubicBezTo>
                    <a:pt x="222" y="106"/>
                    <a:pt x="236" y="106"/>
                    <a:pt x="245" y="98"/>
                  </a:cubicBezTo>
                  <a:cubicBezTo>
                    <a:pt x="253" y="89"/>
                    <a:pt x="253" y="75"/>
                    <a:pt x="245" y="67"/>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115" name="Group 114">
            <a:extLst>
              <a:ext uri="{FF2B5EF4-FFF2-40B4-BE49-F238E27FC236}">
                <a16:creationId xmlns:a16="http://schemas.microsoft.com/office/drawing/2014/main" id="{7029FC6E-7314-9249-81EC-C14149F034C8}"/>
              </a:ext>
            </a:extLst>
          </p:cNvPr>
          <p:cNvGrpSpPr>
            <a:grpSpLocks noChangeAspect="1"/>
          </p:cNvGrpSpPr>
          <p:nvPr/>
        </p:nvGrpSpPr>
        <p:grpSpPr bwMode="auto">
          <a:xfrm>
            <a:off x="6994457" y="4735530"/>
            <a:ext cx="274322" cy="274319"/>
            <a:chOff x="7362" y="1207"/>
            <a:chExt cx="340" cy="340"/>
          </a:xfrm>
          <a:solidFill>
            <a:sysClr val="window" lastClr="FFFFFF"/>
          </a:solidFill>
        </p:grpSpPr>
        <p:sp>
          <p:nvSpPr>
            <p:cNvPr id="116" name="Freeform 115">
              <a:extLst>
                <a:ext uri="{FF2B5EF4-FFF2-40B4-BE49-F238E27FC236}">
                  <a16:creationId xmlns:a16="http://schemas.microsoft.com/office/drawing/2014/main" id="{7A58486F-C1B4-C245-8F93-2D66DB2C5FBB}"/>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7" name="Freeform 116">
              <a:extLst>
                <a:ext uri="{FF2B5EF4-FFF2-40B4-BE49-F238E27FC236}">
                  <a16:creationId xmlns:a16="http://schemas.microsoft.com/office/drawing/2014/main" id="{B6A255CB-0C1C-754D-9AD9-4A440707EAF6}"/>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spTree>
    <p:custDataLst>
      <p:tags r:id="rId1"/>
    </p:custDataLst>
    <p:extLst>
      <p:ext uri="{BB962C8B-B14F-4D97-AF65-F5344CB8AC3E}">
        <p14:creationId xmlns:p14="http://schemas.microsoft.com/office/powerpoint/2010/main" val="3497983645"/>
      </p:ext>
    </p:extLst>
  </p:cSld>
  <p:clrMapOvr>
    <a:masterClrMapping/>
  </p:clrMapOvr>
  <p:transition>
    <p:fade/>
  </p:transition>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7752202" y="1070592"/>
            <a:ext cx="4134225" cy="1620716"/>
            <a:chOff x="7706482" y="1032492"/>
            <a:chExt cx="4134225" cy="1620716"/>
          </a:xfrm>
        </p:grpSpPr>
        <p:grpSp>
          <p:nvGrpSpPr>
            <p:cNvPr id="11" name="组合 10"/>
            <p:cNvGrpSpPr/>
            <p:nvPr/>
          </p:nvGrpSpPr>
          <p:grpSpPr>
            <a:xfrm>
              <a:off x="8008194" y="2206272"/>
              <a:ext cx="22522" cy="446936"/>
              <a:chOff x="8008194" y="2206272"/>
              <a:chExt cx="22522" cy="446936"/>
            </a:xfrm>
          </p:grpSpPr>
          <p:sp>
            <p:nvSpPr>
              <p:cNvPr id="161" name="Rectangle 48"/>
              <p:cNvSpPr>
                <a:spLocks noChangeArrowheads="1"/>
              </p:cNvSpPr>
              <p:nvPr/>
            </p:nvSpPr>
            <p:spPr bwMode="auto">
              <a:xfrm>
                <a:off x="8008194" y="2387858"/>
                <a:ext cx="22522" cy="9008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62" name="Rectangle 50"/>
              <p:cNvSpPr>
                <a:spLocks noChangeArrowheads="1"/>
              </p:cNvSpPr>
              <p:nvPr/>
            </p:nvSpPr>
            <p:spPr bwMode="auto">
              <a:xfrm>
                <a:off x="8008194" y="2206272"/>
                <a:ext cx="22522" cy="9149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63" name="Rectangle 48"/>
              <p:cNvSpPr>
                <a:spLocks noChangeArrowheads="1"/>
              </p:cNvSpPr>
              <p:nvPr/>
            </p:nvSpPr>
            <p:spPr bwMode="auto">
              <a:xfrm>
                <a:off x="8008194" y="2563119"/>
                <a:ext cx="22522" cy="9008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nvGrpSpPr>
            <p:cNvPr id="312" name="组合 311"/>
            <p:cNvGrpSpPr/>
            <p:nvPr/>
          </p:nvGrpSpPr>
          <p:grpSpPr>
            <a:xfrm>
              <a:off x="7706482" y="1032492"/>
              <a:ext cx="4134225" cy="1117796"/>
              <a:chOff x="7447402" y="1824972"/>
              <a:chExt cx="4134225" cy="1117796"/>
            </a:xfrm>
          </p:grpSpPr>
          <p:grpSp>
            <p:nvGrpSpPr>
              <p:cNvPr id="272" name="组合 271"/>
              <p:cNvGrpSpPr/>
              <p:nvPr/>
            </p:nvGrpSpPr>
            <p:grpSpPr>
              <a:xfrm>
                <a:off x="7447402" y="1824972"/>
                <a:ext cx="4134225" cy="942534"/>
                <a:chOff x="5005782" y="1751592"/>
                <a:chExt cx="4662451" cy="1062961"/>
              </a:xfrm>
            </p:grpSpPr>
            <p:grpSp>
              <p:nvGrpSpPr>
                <p:cNvPr id="136" name="组合 135"/>
                <p:cNvGrpSpPr/>
                <p:nvPr/>
              </p:nvGrpSpPr>
              <p:grpSpPr>
                <a:xfrm>
                  <a:off x="5005782" y="1751592"/>
                  <a:ext cx="4662451" cy="720000"/>
                  <a:chOff x="6273194" y="5095945"/>
                  <a:chExt cx="4662451" cy="720000"/>
                </a:xfrm>
              </p:grpSpPr>
              <p:sp>
                <p:nvSpPr>
                  <p:cNvPr id="100" name="Rectangle 78"/>
                  <p:cNvSpPr/>
                  <p:nvPr/>
                </p:nvSpPr>
                <p:spPr>
                  <a:xfrm>
                    <a:off x="7009200" y="5228567"/>
                    <a:ext cx="3926445" cy="447951"/>
                  </a:xfrm>
                  <a:prstGeom prst="rect">
                    <a:avLst/>
                  </a:prstGeom>
                  <a:ln>
                    <a:noFill/>
                  </a:ln>
                </p:spPr>
                <p:txBody>
                  <a:bodyPr wrap="square" lIns="90000" tIns="90000" rIns="90000" bIns="90000" anchor="ctr" anchorCtr="0">
                    <a:spAutoFit/>
                  </a:bodyPr>
                  <a:lstStyle/>
                  <a:p>
                    <a:pPr>
                      <a:spcAft>
                        <a:spcPts val="600"/>
                      </a:spcAft>
                    </a:pPr>
                    <a:r>
                      <a:rPr lang="en-US" altLang="zh-CN" sz="1400" b="1" dirty="0">
                        <a:solidFill>
                          <a:schemeClr val="bg1"/>
                        </a:solidFill>
                        <a:latin typeface="+mj-ea"/>
                        <a:ea typeface="+mj-ea"/>
                      </a:rPr>
                      <a:t>Lorem ipsum</a:t>
                    </a:r>
                    <a:endParaRPr lang="en-US" sz="1400" spc="-30" dirty="0">
                      <a:solidFill>
                        <a:schemeClr val="bg1"/>
                      </a:solidFill>
                      <a:latin typeface="+mj-ea"/>
                      <a:ea typeface="+mj-ea"/>
                    </a:endParaRPr>
                  </a:p>
                </p:txBody>
              </p:sp>
              <p:grpSp>
                <p:nvGrpSpPr>
                  <p:cNvPr id="92" name="Group 1000"/>
                  <p:cNvGrpSpPr>
                    <a:grpSpLocks noChangeAspect="1"/>
                  </p:cNvGrpSpPr>
                  <p:nvPr/>
                </p:nvGrpSpPr>
                <p:grpSpPr bwMode="auto">
                  <a:xfrm>
                    <a:off x="6273194" y="5095945"/>
                    <a:ext cx="720000" cy="720000"/>
                    <a:chOff x="5030" y="4107"/>
                    <a:chExt cx="340" cy="340"/>
                  </a:xfrm>
                  <a:solidFill>
                    <a:schemeClr val="bg1"/>
                  </a:solidFill>
                </p:grpSpPr>
                <p:sp>
                  <p:nvSpPr>
                    <p:cNvPr id="93" name="Freeform 1001"/>
                    <p:cNvSpPr>
                      <a:spLocks noEditPoints="1"/>
                    </p:cNvSpPr>
                    <p:nvPr/>
                  </p:nvSpPr>
                  <p:spPr bwMode="auto">
                    <a:xfrm>
                      <a:off x="5094" y="420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solidFill>
                      <a:schemeClr val="accent6"/>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94" name="Freeform 1002"/>
                    <p:cNvSpPr>
                      <a:spLocks noEditPoints="1"/>
                    </p:cNvSpPr>
                    <p:nvPr/>
                  </p:nvSpPr>
                  <p:spPr bwMode="auto">
                    <a:xfrm>
                      <a:off x="5030" y="41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grpSp>
            </p:grpSp>
            <p:grpSp>
              <p:nvGrpSpPr>
                <p:cNvPr id="250" name="组合 249"/>
                <p:cNvGrpSpPr/>
                <p:nvPr/>
              </p:nvGrpSpPr>
              <p:grpSpPr>
                <a:xfrm>
                  <a:off x="5346043" y="2508166"/>
                  <a:ext cx="25400" cy="306387"/>
                  <a:chOff x="3060242" y="1846313"/>
                  <a:chExt cx="25400" cy="306387"/>
                </a:xfrm>
              </p:grpSpPr>
              <p:sp>
                <p:nvSpPr>
                  <p:cNvPr id="251" name="Rectangle 48"/>
                  <p:cNvSpPr>
                    <a:spLocks noChangeArrowheads="1"/>
                  </p:cNvSpPr>
                  <p:nvPr/>
                </p:nvSpPr>
                <p:spPr bwMode="auto">
                  <a:xfrm>
                    <a:off x="3060242" y="2051100"/>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52" name="Rectangle 50"/>
                  <p:cNvSpPr>
                    <a:spLocks noChangeArrowheads="1"/>
                  </p:cNvSpPr>
                  <p:nvPr/>
                </p:nvSpPr>
                <p:spPr bwMode="auto">
                  <a:xfrm>
                    <a:off x="3060242" y="1846313"/>
                    <a:ext cx="25400" cy="10318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sp>
            <p:nvSpPr>
              <p:cNvPr id="311" name="Rectangle 48"/>
              <p:cNvSpPr>
                <a:spLocks noChangeArrowheads="1"/>
              </p:cNvSpPr>
              <p:nvPr/>
            </p:nvSpPr>
            <p:spPr bwMode="auto">
              <a:xfrm>
                <a:off x="7749114" y="2852679"/>
                <a:ext cx="22522" cy="9008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grpSp>
        <p:nvGrpSpPr>
          <p:cNvPr id="216" name="组合 215"/>
          <p:cNvGrpSpPr/>
          <p:nvPr/>
        </p:nvGrpSpPr>
        <p:grpSpPr>
          <a:xfrm rot="16200000">
            <a:off x="7136517" y="4606284"/>
            <a:ext cx="560244" cy="1344302"/>
            <a:chOff x="2453817" y="1043038"/>
            <a:chExt cx="631826" cy="1516062"/>
          </a:xfrm>
        </p:grpSpPr>
        <p:sp>
          <p:nvSpPr>
            <p:cNvPr id="219" name="Rectangle 44"/>
            <p:cNvSpPr>
              <a:spLocks noChangeArrowheads="1"/>
            </p:cNvSpPr>
            <p:nvPr/>
          </p:nvSpPr>
          <p:spPr bwMode="auto">
            <a:xfrm>
              <a:off x="3060242" y="2459088"/>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0" name="Rectangle 46"/>
            <p:cNvSpPr>
              <a:spLocks noChangeArrowheads="1"/>
            </p:cNvSpPr>
            <p:nvPr/>
          </p:nvSpPr>
          <p:spPr bwMode="auto">
            <a:xfrm>
              <a:off x="3060242" y="2255888"/>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1" name="Rectangle 48"/>
            <p:cNvSpPr>
              <a:spLocks noChangeArrowheads="1"/>
            </p:cNvSpPr>
            <p:nvPr/>
          </p:nvSpPr>
          <p:spPr bwMode="auto">
            <a:xfrm>
              <a:off x="3060242" y="2051100"/>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2" name="Rectangle 50"/>
            <p:cNvSpPr>
              <a:spLocks noChangeArrowheads="1"/>
            </p:cNvSpPr>
            <p:nvPr/>
          </p:nvSpPr>
          <p:spPr bwMode="auto">
            <a:xfrm>
              <a:off x="3060242" y="1846313"/>
              <a:ext cx="25400" cy="10318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3" name="Rectangle 52"/>
            <p:cNvSpPr>
              <a:spLocks noChangeArrowheads="1"/>
            </p:cNvSpPr>
            <p:nvPr/>
          </p:nvSpPr>
          <p:spPr bwMode="auto">
            <a:xfrm>
              <a:off x="3060242" y="1643113"/>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4" name="Freeform 54"/>
            <p:cNvSpPr>
              <a:spLocks/>
            </p:cNvSpPr>
            <p:nvPr/>
          </p:nvSpPr>
          <p:spPr bwMode="auto">
            <a:xfrm>
              <a:off x="3055480" y="1438325"/>
              <a:ext cx="30163" cy="104775"/>
            </a:xfrm>
            <a:custGeom>
              <a:avLst/>
              <a:gdLst>
                <a:gd name="T0" fmla="*/ 11 w 11"/>
                <a:gd name="T1" fmla="*/ 37 h 37"/>
                <a:gd name="T2" fmla="*/ 2 w 11"/>
                <a:gd name="T3" fmla="*/ 37 h 37"/>
                <a:gd name="T4" fmla="*/ 2 w 11"/>
                <a:gd name="T5" fmla="*/ 19 h 37"/>
                <a:gd name="T6" fmla="*/ 0 w 11"/>
                <a:gd name="T7" fmla="*/ 1 h 37"/>
                <a:gd name="T8" fmla="*/ 9 w 11"/>
                <a:gd name="T9" fmla="*/ 0 h 37"/>
                <a:gd name="T10" fmla="*/ 11 w 11"/>
                <a:gd name="T11" fmla="*/ 19 h 37"/>
                <a:gd name="T12" fmla="*/ 11 w 11"/>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11" h="37">
                  <a:moveTo>
                    <a:pt x="11" y="37"/>
                  </a:moveTo>
                  <a:cubicBezTo>
                    <a:pt x="2" y="37"/>
                    <a:pt x="2" y="37"/>
                    <a:pt x="2" y="37"/>
                  </a:cubicBezTo>
                  <a:cubicBezTo>
                    <a:pt x="2" y="19"/>
                    <a:pt x="2" y="19"/>
                    <a:pt x="2" y="19"/>
                  </a:cubicBezTo>
                  <a:cubicBezTo>
                    <a:pt x="2" y="13"/>
                    <a:pt x="1" y="7"/>
                    <a:pt x="0" y="1"/>
                  </a:cubicBezTo>
                  <a:cubicBezTo>
                    <a:pt x="9" y="0"/>
                    <a:pt x="9" y="0"/>
                    <a:pt x="9" y="0"/>
                  </a:cubicBezTo>
                  <a:cubicBezTo>
                    <a:pt x="10" y="6"/>
                    <a:pt x="11" y="13"/>
                    <a:pt x="11" y="19"/>
                  </a:cubicBezTo>
                  <a:lnTo>
                    <a:pt x="11" y="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5" name="Freeform 56"/>
            <p:cNvSpPr>
              <a:spLocks/>
            </p:cNvSpPr>
            <p:nvPr/>
          </p:nvSpPr>
          <p:spPr bwMode="auto">
            <a:xfrm>
              <a:off x="2987217" y="1244650"/>
              <a:ext cx="69850" cy="101600"/>
            </a:xfrm>
            <a:custGeom>
              <a:avLst/>
              <a:gdLst>
                <a:gd name="T0" fmla="*/ 16 w 25"/>
                <a:gd name="T1" fmla="*/ 36 h 36"/>
                <a:gd name="T2" fmla="*/ 0 w 25"/>
                <a:gd name="T3" fmla="*/ 5 h 36"/>
                <a:gd name="T4" fmla="*/ 8 w 25"/>
                <a:gd name="T5" fmla="*/ 0 h 36"/>
                <a:gd name="T6" fmla="*/ 25 w 25"/>
                <a:gd name="T7" fmla="*/ 33 h 36"/>
                <a:gd name="T8" fmla="*/ 16 w 25"/>
                <a:gd name="T9" fmla="*/ 36 h 36"/>
              </a:gdLst>
              <a:ahLst/>
              <a:cxnLst>
                <a:cxn ang="0">
                  <a:pos x="T0" y="T1"/>
                </a:cxn>
                <a:cxn ang="0">
                  <a:pos x="T2" y="T3"/>
                </a:cxn>
                <a:cxn ang="0">
                  <a:pos x="T4" y="T5"/>
                </a:cxn>
                <a:cxn ang="0">
                  <a:pos x="T6" y="T7"/>
                </a:cxn>
                <a:cxn ang="0">
                  <a:pos x="T8" y="T9"/>
                </a:cxn>
              </a:cxnLst>
              <a:rect l="0" t="0" r="r" b="b"/>
              <a:pathLst>
                <a:path w="25" h="36">
                  <a:moveTo>
                    <a:pt x="16" y="36"/>
                  </a:moveTo>
                  <a:cubicBezTo>
                    <a:pt x="12" y="25"/>
                    <a:pt x="7" y="14"/>
                    <a:pt x="0" y="5"/>
                  </a:cubicBezTo>
                  <a:cubicBezTo>
                    <a:pt x="8" y="0"/>
                    <a:pt x="8" y="0"/>
                    <a:pt x="8" y="0"/>
                  </a:cubicBezTo>
                  <a:cubicBezTo>
                    <a:pt x="15" y="10"/>
                    <a:pt x="20" y="21"/>
                    <a:pt x="25" y="33"/>
                  </a:cubicBezTo>
                  <a:lnTo>
                    <a:pt x="16" y="3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6" name="Freeform 58"/>
            <p:cNvSpPr>
              <a:spLocks/>
            </p:cNvSpPr>
            <p:nvPr/>
          </p:nvSpPr>
          <p:spPr bwMode="auto">
            <a:xfrm>
              <a:off x="2844342" y="1101775"/>
              <a:ext cx="98425" cy="80962"/>
            </a:xfrm>
            <a:custGeom>
              <a:avLst/>
              <a:gdLst>
                <a:gd name="T0" fmla="*/ 29 w 35"/>
                <a:gd name="T1" fmla="*/ 29 h 29"/>
                <a:gd name="T2" fmla="*/ 0 w 35"/>
                <a:gd name="T3" fmla="*/ 8 h 29"/>
                <a:gd name="T4" fmla="*/ 5 w 35"/>
                <a:gd name="T5" fmla="*/ 0 h 29"/>
                <a:gd name="T6" fmla="*/ 35 w 35"/>
                <a:gd name="T7" fmla="*/ 22 h 29"/>
                <a:gd name="T8" fmla="*/ 29 w 35"/>
                <a:gd name="T9" fmla="*/ 29 h 29"/>
              </a:gdLst>
              <a:ahLst/>
              <a:cxnLst>
                <a:cxn ang="0">
                  <a:pos x="T0" y="T1"/>
                </a:cxn>
                <a:cxn ang="0">
                  <a:pos x="T2" y="T3"/>
                </a:cxn>
                <a:cxn ang="0">
                  <a:pos x="T4" y="T5"/>
                </a:cxn>
                <a:cxn ang="0">
                  <a:pos x="T6" y="T7"/>
                </a:cxn>
                <a:cxn ang="0">
                  <a:pos x="T8" y="T9"/>
                </a:cxn>
              </a:cxnLst>
              <a:rect l="0" t="0" r="r" b="b"/>
              <a:pathLst>
                <a:path w="35" h="29">
                  <a:moveTo>
                    <a:pt x="29" y="29"/>
                  </a:moveTo>
                  <a:cubicBezTo>
                    <a:pt x="20" y="21"/>
                    <a:pt x="11" y="14"/>
                    <a:pt x="0" y="8"/>
                  </a:cubicBezTo>
                  <a:cubicBezTo>
                    <a:pt x="5" y="0"/>
                    <a:pt x="5" y="0"/>
                    <a:pt x="5" y="0"/>
                  </a:cubicBezTo>
                  <a:cubicBezTo>
                    <a:pt x="16" y="6"/>
                    <a:pt x="26" y="14"/>
                    <a:pt x="35" y="22"/>
                  </a:cubicBezTo>
                  <a:lnTo>
                    <a:pt x="29" y="29"/>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7" name="Freeform 60"/>
            <p:cNvSpPr>
              <a:spLocks/>
            </p:cNvSpPr>
            <p:nvPr/>
          </p:nvSpPr>
          <p:spPr bwMode="auto">
            <a:xfrm>
              <a:off x="2657017" y="1043038"/>
              <a:ext cx="106363" cy="41275"/>
            </a:xfrm>
            <a:custGeom>
              <a:avLst/>
              <a:gdLst>
                <a:gd name="T0" fmla="*/ 35 w 38"/>
                <a:gd name="T1" fmla="*/ 15 h 15"/>
                <a:gd name="T2" fmla="*/ 0 w 38"/>
                <a:gd name="T3" fmla="*/ 9 h 15"/>
                <a:gd name="T4" fmla="*/ 1 w 38"/>
                <a:gd name="T5" fmla="*/ 0 h 15"/>
                <a:gd name="T6" fmla="*/ 38 w 38"/>
                <a:gd name="T7" fmla="*/ 6 h 15"/>
                <a:gd name="T8" fmla="*/ 35 w 38"/>
                <a:gd name="T9" fmla="*/ 15 h 15"/>
              </a:gdLst>
              <a:ahLst/>
              <a:cxnLst>
                <a:cxn ang="0">
                  <a:pos x="T0" y="T1"/>
                </a:cxn>
                <a:cxn ang="0">
                  <a:pos x="T2" y="T3"/>
                </a:cxn>
                <a:cxn ang="0">
                  <a:pos x="T4" y="T5"/>
                </a:cxn>
                <a:cxn ang="0">
                  <a:pos x="T6" y="T7"/>
                </a:cxn>
                <a:cxn ang="0">
                  <a:pos x="T8" y="T9"/>
                </a:cxn>
              </a:cxnLst>
              <a:rect l="0" t="0" r="r" b="b"/>
              <a:pathLst>
                <a:path w="38" h="15">
                  <a:moveTo>
                    <a:pt x="35" y="15"/>
                  </a:moveTo>
                  <a:cubicBezTo>
                    <a:pt x="24" y="11"/>
                    <a:pt x="12" y="9"/>
                    <a:pt x="0" y="9"/>
                  </a:cubicBezTo>
                  <a:cubicBezTo>
                    <a:pt x="1" y="0"/>
                    <a:pt x="1" y="0"/>
                    <a:pt x="1" y="0"/>
                  </a:cubicBezTo>
                  <a:cubicBezTo>
                    <a:pt x="13" y="0"/>
                    <a:pt x="26" y="3"/>
                    <a:pt x="38" y="6"/>
                  </a:cubicBezTo>
                  <a:lnTo>
                    <a:pt x="35" y="15"/>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8" name="Rectangle 62"/>
            <p:cNvSpPr>
              <a:spLocks noChangeArrowheads="1"/>
            </p:cNvSpPr>
            <p:nvPr/>
          </p:nvSpPr>
          <p:spPr bwMode="auto">
            <a:xfrm>
              <a:off x="2453817" y="1043038"/>
              <a:ext cx="101600" cy="254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nvGrpSpPr>
          <p:cNvPr id="104" name="Group 367"/>
          <p:cNvGrpSpPr>
            <a:grpSpLocks/>
          </p:cNvGrpSpPr>
          <p:nvPr/>
        </p:nvGrpSpPr>
        <p:grpSpPr bwMode="auto">
          <a:xfrm>
            <a:off x="6440662" y="5632357"/>
            <a:ext cx="638429" cy="638429"/>
            <a:chOff x="4383" y="2119"/>
            <a:chExt cx="340" cy="341"/>
          </a:xfrm>
          <a:solidFill>
            <a:schemeClr val="accent1"/>
          </a:solidFill>
        </p:grpSpPr>
        <p:sp>
          <p:nvSpPr>
            <p:cNvPr id="105" name="Freeform 83"/>
            <p:cNvSpPr>
              <a:spLocks noEditPoints="1"/>
            </p:cNvSpPr>
            <p:nvPr/>
          </p:nvSpPr>
          <p:spPr bwMode="auto">
            <a:xfrm>
              <a:off x="4445" y="2201"/>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06" name="Freeform 84"/>
            <p:cNvSpPr>
              <a:spLocks noEditPoints="1"/>
            </p:cNvSpPr>
            <p:nvPr/>
          </p:nvSpPr>
          <p:spPr bwMode="auto">
            <a:xfrm>
              <a:off x="4383" y="21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grpSp>
      <p:sp>
        <p:nvSpPr>
          <p:cNvPr id="108" name="Rectangle 78"/>
          <p:cNvSpPr/>
          <p:nvPr/>
        </p:nvSpPr>
        <p:spPr>
          <a:xfrm>
            <a:off x="7079091" y="5754790"/>
            <a:ext cx="1344799" cy="397201"/>
          </a:xfrm>
          <a:prstGeom prst="rect">
            <a:avLst/>
          </a:prstGeom>
          <a:ln>
            <a:noFill/>
          </a:ln>
        </p:spPr>
        <p:txBody>
          <a:bodyPr wrap="square" lIns="90000" tIns="90000" rIns="90000" bIns="90000" anchor="ctr" anchorCtr="0">
            <a:spAutoFit/>
          </a:bodyPr>
          <a:lstStyle/>
          <a:p>
            <a:pPr>
              <a:spcAft>
                <a:spcPts val="600"/>
              </a:spcAft>
            </a:pPr>
            <a:r>
              <a:rPr lang="en-US" altLang="zh-CN" sz="1400" b="1" dirty="0">
                <a:solidFill>
                  <a:schemeClr val="accent1"/>
                </a:solidFill>
                <a:latin typeface="+mj-ea"/>
                <a:ea typeface="+mj-ea"/>
              </a:rPr>
              <a:t>Lorem ipsum</a:t>
            </a:r>
            <a:endParaRPr lang="en-US" sz="1400" dirty="0">
              <a:solidFill>
                <a:schemeClr val="accent1"/>
              </a:solidFill>
              <a:latin typeface="+mj-ea"/>
              <a:ea typeface="+mj-ea"/>
            </a:endParaRPr>
          </a:p>
        </p:txBody>
      </p:sp>
      <p:pic>
        <p:nvPicPr>
          <p:cNvPr id="335" name="Picture 34">
            <a:extLst>
              <a:ext uri="{FF2B5EF4-FFF2-40B4-BE49-F238E27FC236}">
                <a16:creationId xmlns:a16="http://schemas.microsoft.com/office/drawing/2014/main" id="{F51C4BEF-9B72-C044-91ED-8ADC32368EB7}"/>
              </a:ext>
            </a:extLst>
          </p:cNvPr>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rot="7554366">
            <a:off x="1272007" y="3141996"/>
            <a:ext cx="1914411" cy="2377364"/>
          </a:xfrm>
          <a:prstGeom prst="rect">
            <a:avLst/>
          </a:prstGeom>
        </p:spPr>
      </p:pic>
      <p:grpSp>
        <p:nvGrpSpPr>
          <p:cNvPr id="9" name="组合 8"/>
          <p:cNvGrpSpPr/>
          <p:nvPr/>
        </p:nvGrpSpPr>
        <p:grpSpPr>
          <a:xfrm>
            <a:off x="467725" y="2236223"/>
            <a:ext cx="7513264" cy="367540"/>
            <a:chOff x="467725" y="2464823"/>
            <a:chExt cx="7513264" cy="367540"/>
          </a:xfrm>
          <a:solidFill>
            <a:schemeClr val="accent1"/>
          </a:solidFill>
        </p:grpSpPr>
        <p:grpSp>
          <p:nvGrpSpPr>
            <p:cNvPr id="360" name="组合 359"/>
            <p:cNvGrpSpPr/>
            <p:nvPr/>
          </p:nvGrpSpPr>
          <p:grpSpPr>
            <a:xfrm>
              <a:off x="467725" y="2464823"/>
              <a:ext cx="7513264" cy="360000"/>
              <a:chOff x="460105" y="2838203"/>
              <a:chExt cx="7513264" cy="360000"/>
            </a:xfrm>
            <a:grpFill/>
          </p:grpSpPr>
          <p:sp>
            <p:nvSpPr>
              <p:cNvPr id="349" name="五边形 348"/>
              <p:cNvSpPr/>
              <p:nvPr/>
            </p:nvSpPr>
            <p:spPr bwMode="gray">
              <a:xfrm rot="10800000" flipH="1">
                <a:off x="460105" y="2838203"/>
                <a:ext cx="1854079"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sp>
            <p:nvSpPr>
              <p:cNvPr id="350" name="五边形 349"/>
              <p:cNvSpPr/>
              <p:nvPr/>
            </p:nvSpPr>
            <p:spPr bwMode="gray">
              <a:xfrm flipH="1">
                <a:off x="2331216" y="2838203"/>
                <a:ext cx="5642153"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grpSp>
        <p:sp>
          <p:nvSpPr>
            <p:cNvPr id="283" name="Rectangle 51"/>
            <p:cNvSpPr/>
            <p:nvPr/>
          </p:nvSpPr>
          <p:spPr>
            <a:xfrm>
              <a:off x="620232" y="2524719"/>
              <a:ext cx="1512805" cy="307644"/>
            </a:xfrm>
            <a:prstGeom prst="rect">
              <a:avLst/>
            </a:prstGeom>
            <a:grpFill/>
          </p:spPr>
          <p:txBody>
            <a:bodyPr wrap="square" lIns="0" tIns="0" rIns="0" bIns="0">
              <a:noAutofit/>
            </a:bodyPr>
            <a:lstStyle/>
            <a:p>
              <a:pPr>
                <a:spcAft>
                  <a:spcPts val="1333"/>
                </a:spcAft>
              </a:pPr>
              <a:r>
                <a:rPr lang="en-US" altLang="zh-CN" sz="1400" b="1" spc="-60" dirty="0">
                  <a:solidFill>
                    <a:srgbClr val="FFFFFF"/>
                  </a:solidFill>
                  <a:latin typeface="+mj-ea"/>
                  <a:ea typeface="+mj-ea"/>
                </a:rPr>
                <a:t>Lorem ipsum</a:t>
              </a:r>
              <a:endParaRPr lang="zh-CN" altLang="en-US" sz="1400" b="1" spc="-60" dirty="0">
                <a:solidFill>
                  <a:srgbClr val="FFFFFF"/>
                </a:solidFill>
                <a:latin typeface="+mj-ea"/>
                <a:ea typeface="+mj-ea"/>
              </a:endParaRPr>
            </a:p>
          </p:txBody>
        </p:sp>
        <p:sp>
          <p:nvSpPr>
            <p:cNvPr id="284" name="L 形 283"/>
            <p:cNvSpPr/>
            <p:nvPr/>
          </p:nvSpPr>
          <p:spPr bwMode="gray">
            <a:xfrm rot="13491571">
              <a:off x="2563580" y="2583287"/>
              <a:ext cx="124672" cy="122446"/>
            </a:xfrm>
            <a:prstGeom prst="corner">
              <a:avLst>
                <a:gd name="adj1" fmla="val 28182"/>
                <a:gd name="adj2" fmla="val 3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b="1" dirty="0">
                <a:solidFill>
                  <a:schemeClr val="bg1"/>
                </a:solidFill>
                <a:latin typeface="+mj-ea"/>
                <a:ea typeface="+mj-ea"/>
              </a:endParaRPr>
            </a:p>
          </p:txBody>
        </p:sp>
        <p:sp>
          <p:nvSpPr>
            <p:cNvPr id="285" name="Rectangle 51"/>
            <p:cNvSpPr/>
            <p:nvPr/>
          </p:nvSpPr>
          <p:spPr>
            <a:xfrm>
              <a:off x="2792485" y="2524719"/>
              <a:ext cx="2587472" cy="225753"/>
            </a:xfrm>
            <a:prstGeom prst="rect">
              <a:avLst/>
            </a:prstGeom>
            <a:grpFill/>
          </p:spPr>
          <p:txBody>
            <a:bodyPr wrap="square" lIns="0" tIns="0" rIns="0" bIns="0">
              <a:noAutofit/>
            </a:bodyPr>
            <a:lstStyle/>
            <a:p>
              <a:pPr>
                <a:spcAft>
                  <a:spcPts val="1333"/>
                </a:spcAft>
              </a:pPr>
              <a:r>
                <a:rPr lang="en-US" altLang="zh-CN" sz="1400" b="1" dirty="0">
                  <a:solidFill>
                    <a:srgbClr val="FFFFFF"/>
                  </a:solidFill>
                  <a:latin typeface="+mj-ea"/>
                  <a:ea typeface="+mj-ea"/>
                </a:rPr>
                <a:t>Lorem </a:t>
              </a:r>
              <a:r>
                <a:rPr lang="en-US" altLang="zh-CN" sz="1400" b="1" dirty="0" err="1">
                  <a:solidFill>
                    <a:srgbClr val="FFFFFF"/>
                  </a:solidFill>
                  <a:latin typeface="+mj-ea"/>
                  <a:ea typeface="+mj-ea"/>
                </a:rPr>
                <a:t>ipsumLorem</a:t>
              </a:r>
              <a:r>
                <a:rPr lang="en-US" altLang="zh-CN" sz="1400" b="1" dirty="0">
                  <a:solidFill>
                    <a:srgbClr val="FFFFFF"/>
                  </a:solidFill>
                  <a:latin typeface="+mj-ea"/>
                  <a:ea typeface="+mj-ea"/>
                </a:rPr>
                <a:t> ipsum</a:t>
              </a:r>
              <a:endParaRPr lang="zh-CN" altLang="en-US" sz="1400" b="1" dirty="0">
                <a:solidFill>
                  <a:srgbClr val="FFFFFF"/>
                </a:solidFill>
                <a:latin typeface="+mj-ea"/>
                <a:ea typeface="+mj-ea"/>
              </a:endParaRPr>
            </a:p>
          </p:txBody>
        </p:sp>
      </p:grpSp>
      <p:grpSp>
        <p:nvGrpSpPr>
          <p:cNvPr id="7" name="组合 6"/>
          <p:cNvGrpSpPr/>
          <p:nvPr/>
        </p:nvGrpSpPr>
        <p:grpSpPr>
          <a:xfrm>
            <a:off x="467725" y="4041581"/>
            <a:ext cx="6771892" cy="370167"/>
            <a:chOff x="467725" y="4102541"/>
            <a:chExt cx="6771892" cy="370167"/>
          </a:xfrm>
          <a:solidFill>
            <a:schemeClr val="bg1">
              <a:lumMod val="50000"/>
            </a:schemeClr>
          </a:solidFill>
        </p:grpSpPr>
        <p:grpSp>
          <p:nvGrpSpPr>
            <p:cNvPr id="357" name="组合 356"/>
            <p:cNvGrpSpPr/>
            <p:nvPr/>
          </p:nvGrpSpPr>
          <p:grpSpPr>
            <a:xfrm>
              <a:off x="467725" y="4102541"/>
              <a:ext cx="6771892" cy="360000"/>
              <a:chOff x="467725" y="3934901"/>
              <a:chExt cx="6771892" cy="360000"/>
            </a:xfrm>
            <a:grpFill/>
          </p:grpSpPr>
          <p:sp>
            <p:nvSpPr>
              <p:cNvPr id="358" name="五边形 357"/>
              <p:cNvSpPr/>
              <p:nvPr/>
            </p:nvSpPr>
            <p:spPr bwMode="gray">
              <a:xfrm rot="10800000" flipH="1">
                <a:off x="467725" y="3934901"/>
                <a:ext cx="1854079"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sp>
            <p:nvSpPr>
              <p:cNvPr id="359" name="五边形 358"/>
              <p:cNvSpPr/>
              <p:nvPr/>
            </p:nvSpPr>
            <p:spPr bwMode="gray">
              <a:xfrm flipH="1">
                <a:off x="2338837" y="3934901"/>
                <a:ext cx="4900780"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grpSp>
        <p:sp>
          <p:nvSpPr>
            <p:cNvPr id="289" name="Rectangle 51"/>
            <p:cNvSpPr/>
            <p:nvPr/>
          </p:nvSpPr>
          <p:spPr>
            <a:xfrm>
              <a:off x="612612" y="4165064"/>
              <a:ext cx="1425505" cy="307644"/>
            </a:xfrm>
            <a:prstGeom prst="rect">
              <a:avLst/>
            </a:prstGeom>
            <a:grpFill/>
          </p:spPr>
          <p:txBody>
            <a:bodyPr wrap="square" lIns="0" tIns="0" rIns="0" bIns="0">
              <a:noAutofit/>
            </a:bodyPr>
            <a:lstStyle/>
            <a:p>
              <a:pPr>
                <a:spcAft>
                  <a:spcPts val="1333"/>
                </a:spcAft>
              </a:pPr>
              <a:r>
                <a:rPr lang="en-US" altLang="zh-CN" sz="1400" b="1" dirty="0">
                  <a:solidFill>
                    <a:srgbClr val="FFFFFF"/>
                  </a:solidFill>
                  <a:latin typeface="+mj-ea"/>
                  <a:ea typeface="+mj-ea"/>
                </a:rPr>
                <a:t>Lorem ipsum</a:t>
              </a:r>
              <a:endParaRPr lang="zh-CN" altLang="en-US" sz="1400" b="1" dirty="0">
                <a:solidFill>
                  <a:srgbClr val="FFFFFF"/>
                </a:solidFill>
                <a:latin typeface="+mj-ea"/>
                <a:ea typeface="+mj-ea"/>
              </a:endParaRPr>
            </a:p>
          </p:txBody>
        </p:sp>
        <p:sp>
          <p:nvSpPr>
            <p:cNvPr id="290" name="L 形 289"/>
            <p:cNvSpPr/>
            <p:nvPr/>
          </p:nvSpPr>
          <p:spPr bwMode="gray">
            <a:xfrm rot="13491571">
              <a:off x="2602950" y="4223632"/>
              <a:ext cx="124672" cy="122446"/>
            </a:xfrm>
            <a:prstGeom prst="corner">
              <a:avLst>
                <a:gd name="adj1" fmla="val 28182"/>
                <a:gd name="adj2" fmla="val 3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b="1" dirty="0">
                <a:solidFill>
                  <a:schemeClr val="bg1"/>
                </a:solidFill>
                <a:latin typeface="+mj-ea"/>
                <a:ea typeface="+mj-ea"/>
              </a:endParaRPr>
            </a:p>
          </p:txBody>
        </p:sp>
        <p:sp>
          <p:nvSpPr>
            <p:cNvPr id="291" name="Rectangle 51"/>
            <p:cNvSpPr/>
            <p:nvPr/>
          </p:nvSpPr>
          <p:spPr>
            <a:xfrm>
              <a:off x="2831855" y="4157444"/>
              <a:ext cx="3431812" cy="276147"/>
            </a:xfrm>
            <a:prstGeom prst="rect">
              <a:avLst/>
            </a:prstGeom>
            <a:grpFill/>
          </p:spPr>
          <p:txBody>
            <a:bodyPr wrap="square" lIns="0" tIns="0" rIns="0" bIns="0">
              <a:noAutofit/>
            </a:bodyPr>
            <a:lstStyle/>
            <a:p>
              <a:pPr>
                <a:spcAft>
                  <a:spcPts val="1333"/>
                </a:spcAft>
              </a:pPr>
              <a:r>
                <a:rPr lang="en-US" altLang="zh-CN" sz="1400" b="1" dirty="0">
                  <a:solidFill>
                    <a:srgbClr val="FFFFFF"/>
                  </a:solidFill>
                  <a:latin typeface="+mj-ea"/>
                  <a:ea typeface="+mj-ea"/>
                </a:rPr>
                <a:t>Lorem </a:t>
              </a:r>
              <a:r>
                <a:rPr lang="en-US" altLang="zh-CN" sz="1400" b="1" dirty="0" err="1">
                  <a:solidFill>
                    <a:srgbClr val="FFFFFF"/>
                  </a:solidFill>
                  <a:latin typeface="+mj-ea"/>
                  <a:ea typeface="+mj-ea"/>
                </a:rPr>
                <a:t>ipsumLorem</a:t>
              </a:r>
              <a:r>
                <a:rPr lang="en-US" altLang="zh-CN" sz="1400" b="1" dirty="0">
                  <a:solidFill>
                    <a:srgbClr val="FFFFFF"/>
                  </a:solidFill>
                  <a:latin typeface="+mj-ea"/>
                  <a:ea typeface="+mj-ea"/>
                </a:rPr>
                <a:t> ipsum</a:t>
              </a:r>
              <a:endParaRPr lang="zh-CN" altLang="en-US" sz="1400" b="1" dirty="0">
                <a:solidFill>
                  <a:srgbClr val="FFFFFF"/>
                </a:solidFill>
                <a:latin typeface="+mj-ea"/>
                <a:ea typeface="+mj-ea"/>
              </a:endParaRPr>
            </a:p>
          </p:txBody>
        </p:sp>
      </p:grpSp>
      <p:grpSp>
        <p:nvGrpSpPr>
          <p:cNvPr id="5" name="组合 4"/>
          <p:cNvGrpSpPr/>
          <p:nvPr/>
        </p:nvGrpSpPr>
        <p:grpSpPr>
          <a:xfrm>
            <a:off x="467725" y="3443999"/>
            <a:ext cx="6771892" cy="364406"/>
            <a:chOff x="467725" y="3561521"/>
            <a:chExt cx="6771892" cy="364406"/>
          </a:xfrm>
          <a:solidFill>
            <a:schemeClr val="bg1">
              <a:lumMod val="75000"/>
            </a:schemeClr>
          </a:solidFill>
        </p:grpSpPr>
        <p:grpSp>
          <p:nvGrpSpPr>
            <p:cNvPr id="355" name="组合 354"/>
            <p:cNvGrpSpPr/>
            <p:nvPr/>
          </p:nvGrpSpPr>
          <p:grpSpPr>
            <a:xfrm>
              <a:off x="467725" y="3561521"/>
              <a:ext cx="6771892" cy="360000"/>
              <a:chOff x="467725" y="3934901"/>
              <a:chExt cx="6771892" cy="360000"/>
            </a:xfrm>
            <a:grpFill/>
          </p:grpSpPr>
          <p:sp>
            <p:nvSpPr>
              <p:cNvPr id="353" name="五边形 352"/>
              <p:cNvSpPr/>
              <p:nvPr/>
            </p:nvSpPr>
            <p:spPr bwMode="gray">
              <a:xfrm rot="10800000" flipH="1">
                <a:off x="467725" y="3934901"/>
                <a:ext cx="1854079"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sp>
            <p:nvSpPr>
              <p:cNvPr id="354" name="五边形 353"/>
              <p:cNvSpPr/>
              <p:nvPr/>
            </p:nvSpPr>
            <p:spPr bwMode="gray">
              <a:xfrm flipH="1">
                <a:off x="2338837" y="3934901"/>
                <a:ext cx="4900780"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grpSp>
        <p:sp>
          <p:nvSpPr>
            <p:cNvPr id="295" name="Rectangle 51"/>
            <p:cNvSpPr/>
            <p:nvPr/>
          </p:nvSpPr>
          <p:spPr>
            <a:xfrm>
              <a:off x="612612" y="3618283"/>
              <a:ext cx="1425505" cy="307644"/>
            </a:xfrm>
            <a:prstGeom prst="rect">
              <a:avLst/>
            </a:prstGeom>
            <a:grpFill/>
          </p:spPr>
          <p:txBody>
            <a:bodyPr wrap="square" lIns="0" tIns="0" rIns="0" bIns="0">
              <a:noAutofit/>
            </a:bodyPr>
            <a:lstStyle/>
            <a:p>
              <a:pPr>
                <a:spcAft>
                  <a:spcPts val="1333"/>
                </a:spcAft>
              </a:pPr>
              <a:r>
                <a:rPr lang="en-US" altLang="zh-CN" sz="1400" b="1" dirty="0">
                  <a:latin typeface="+mj-ea"/>
                  <a:ea typeface="+mj-ea"/>
                </a:rPr>
                <a:t>Lorem ipsum</a:t>
              </a:r>
              <a:endParaRPr lang="zh-CN" altLang="en-US" sz="1400" b="1" dirty="0">
                <a:latin typeface="+mj-ea"/>
                <a:ea typeface="+mj-ea"/>
              </a:endParaRPr>
            </a:p>
          </p:txBody>
        </p:sp>
        <p:sp>
          <p:nvSpPr>
            <p:cNvPr id="296" name="L 形 295"/>
            <p:cNvSpPr/>
            <p:nvPr/>
          </p:nvSpPr>
          <p:spPr bwMode="gray">
            <a:xfrm rot="13491571">
              <a:off x="2583519" y="3676851"/>
              <a:ext cx="124672" cy="122446"/>
            </a:xfrm>
            <a:prstGeom prst="corner">
              <a:avLst>
                <a:gd name="adj1" fmla="val 28182"/>
                <a:gd name="adj2" fmla="val 3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b="1" dirty="0">
                <a:solidFill>
                  <a:schemeClr val="bg1"/>
                </a:solidFill>
                <a:latin typeface="+mj-ea"/>
                <a:ea typeface="+mj-ea"/>
              </a:endParaRPr>
            </a:p>
          </p:txBody>
        </p:sp>
        <p:sp>
          <p:nvSpPr>
            <p:cNvPr id="297" name="Rectangle 51"/>
            <p:cNvSpPr/>
            <p:nvPr/>
          </p:nvSpPr>
          <p:spPr>
            <a:xfrm>
              <a:off x="2812424" y="3618283"/>
              <a:ext cx="3117834" cy="257492"/>
            </a:xfrm>
            <a:prstGeom prst="rect">
              <a:avLst/>
            </a:prstGeom>
            <a:grpFill/>
          </p:spPr>
          <p:txBody>
            <a:bodyPr wrap="square" lIns="0" tIns="0" rIns="0" bIns="0">
              <a:noAutofit/>
            </a:bodyPr>
            <a:lstStyle/>
            <a:p>
              <a:pPr>
                <a:spcAft>
                  <a:spcPts val="1333"/>
                </a:spcAft>
              </a:pPr>
              <a:r>
                <a:rPr lang="en-US" altLang="zh-CN" sz="1400" b="1" dirty="0">
                  <a:latin typeface="+mj-ea"/>
                  <a:ea typeface="+mj-ea"/>
                </a:rPr>
                <a:t>Lorem </a:t>
              </a:r>
              <a:r>
                <a:rPr lang="en-US" altLang="zh-CN" sz="1400" b="1" dirty="0" err="1">
                  <a:latin typeface="+mj-ea"/>
                  <a:ea typeface="+mj-ea"/>
                </a:rPr>
                <a:t>ipsumLorem</a:t>
              </a:r>
              <a:r>
                <a:rPr lang="en-US" altLang="zh-CN" sz="1400" b="1" dirty="0">
                  <a:latin typeface="+mj-ea"/>
                  <a:ea typeface="+mj-ea"/>
                </a:rPr>
                <a:t> ipsum</a:t>
              </a:r>
              <a:endParaRPr lang="zh-CN" altLang="en-US" sz="1400" b="1" dirty="0">
                <a:latin typeface="+mj-ea"/>
                <a:ea typeface="+mj-ea"/>
              </a:endParaRPr>
            </a:p>
          </p:txBody>
        </p:sp>
      </p:grpSp>
      <p:grpSp>
        <p:nvGrpSpPr>
          <p:cNvPr id="3" name="组合 2"/>
          <p:cNvGrpSpPr/>
          <p:nvPr/>
        </p:nvGrpSpPr>
        <p:grpSpPr>
          <a:xfrm>
            <a:off x="1580945" y="1085279"/>
            <a:ext cx="1498837" cy="882152"/>
            <a:chOff x="1575380" y="1333589"/>
            <a:chExt cx="1498837" cy="882152"/>
          </a:xfrm>
        </p:grpSpPr>
        <p:sp>
          <p:nvSpPr>
            <p:cNvPr id="298" name="Freeform 10"/>
            <p:cNvSpPr>
              <a:spLocks/>
            </p:cNvSpPr>
            <p:nvPr/>
          </p:nvSpPr>
          <p:spPr bwMode="auto">
            <a:xfrm>
              <a:off x="1575380" y="1333589"/>
              <a:ext cx="1498837" cy="882152"/>
            </a:xfrm>
            <a:custGeom>
              <a:avLst/>
              <a:gdLst>
                <a:gd name="T0" fmla="*/ 1139 w 1139"/>
                <a:gd name="T1" fmla="*/ 538 h 670"/>
                <a:gd name="T2" fmla="*/ 1031 w 1139"/>
                <a:gd name="T3" fmla="*/ 411 h 670"/>
                <a:gd name="T4" fmla="*/ 1045 w 1139"/>
                <a:gd name="T5" fmla="*/ 347 h 670"/>
                <a:gd name="T6" fmla="*/ 857 w 1139"/>
                <a:gd name="T7" fmla="*/ 176 h 670"/>
                <a:gd name="T8" fmla="*/ 802 w 1139"/>
                <a:gd name="T9" fmla="*/ 184 h 670"/>
                <a:gd name="T10" fmla="*/ 487 w 1139"/>
                <a:gd name="T11" fmla="*/ 0 h 670"/>
                <a:gd name="T12" fmla="*/ 141 w 1139"/>
                <a:gd name="T13" fmla="*/ 317 h 670"/>
                <a:gd name="T14" fmla="*/ 153 w 1139"/>
                <a:gd name="T15" fmla="*/ 400 h 670"/>
                <a:gd name="T16" fmla="*/ 150 w 1139"/>
                <a:gd name="T17" fmla="*/ 400 h 670"/>
                <a:gd name="T18" fmla="*/ 0 w 1139"/>
                <a:gd name="T19" fmla="*/ 535 h 670"/>
                <a:gd name="T20" fmla="*/ 135 w 1139"/>
                <a:gd name="T21" fmla="*/ 669 h 670"/>
                <a:gd name="T22" fmla="*/ 142 w 1139"/>
                <a:gd name="T23" fmla="*/ 670 h 670"/>
                <a:gd name="T24" fmla="*/ 997 w 1139"/>
                <a:gd name="T25" fmla="*/ 670 h 670"/>
                <a:gd name="T26" fmla="*/ 1001 w 1139"/>
                <a:gd name="T27" fmla="*/ 670 h 670"/>
                <a:gd name="T28" fmla="*/ 1139 w 1139"/>
                <a:gd name="T29" fmla="*/ 538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9" h="670">
                  <a:moveTo>
                    <a:pt x="1139" y="538"/>
                  </a:moveTo>
                  <a:cubicBezTo>
                    <a:pt x="1139" y="477"/>
                    <a:pt x="1093" y="426"/>
                    <a:pt x="1031" y="411"/>
                  </a:cubicBezTo>
                  <a:cubicBezTo>
                    <a:pt x="1040" y="391"/>
                    <a:pt x="1045" y="369"/>
                    <a:pt x="1045" y="347"/>
                  </a:cubicBezTo>
                  <a:cubicBezTo>
                    <a:pt x="1045" y="253"/>
                    <a:pt x="961" y="176"/>
                    <a:pt x="857" y="176"/>
                  </a:cubicBezTo>
                  <a:cubicBezTo>
                    <a:pt x="838" y="176"/>
                    <a:pt x="819" y="179"/>
                    <a:pt x="802" y="184"/>
                  </a:cubicBezTo>
                  <a:cubicBezTo>
                    <a:pt x="747" y="76"/>
                    <a:pt x="626" y="0"/>
                    <a:pt x="487" y="0"/>
                  </a:cubicBezTo>
                  <a:cubicBezTo>
                    <a:pt x="296" y="0"/>
                    <a:pt x="141" y="142"/>
                    <a:pt x="141" y="317"/>
                  </a:cubicBezTo>
                  <a:cubicBezTo>
                    <a:pt x="141" y="346"/>
                    <a:pt x="145" y="374"/>
                    <a:pt x="153" y="400"/>
                  </a:cubicBezTo>
                  <a:cubicBezTo>
                    <a:pt x="152" y="400"/>
                    <a:pt x="151" y="400"/>
                    <a:pt x="150" y="400"/>
                  </a:cubicBezTo>
                  <a:cubicBezTo>
                    <a:pt x="67" y="400"/>
                    <a:pt x="0" y="460"/>
                    <a:pt x="0" y="535"/>
                  </a:cubicBezTo>
                  <a:cubicBezTo>
                    <a:pt x="0" y="605"/>
                    <a:pt x="59" y="663"/>
                    <a:pt x="135" y="669"/>
                  </a:cubicBezTo>
                  <a:cubicBezTo>
                    <a:pt x="137" y="670"/>
                    <a:pt x="140" y="670"/>
                    <a:pt x="142" y="670"/>
                  </a:cubicBezTo>
                  <a:cubicBezTo>
                    <a:pt x="997" y="670"/>
                    <a:pt x="997" y="670"/>
                    <a:pt x="997" y="670"/>
                  </a:cubicBezTo>
                  <a:cubicBezTo>
                    <a:pt x="998" y="670"/>
                    <a:pt x="1000" y="670"/>
                    <a:pt x="1001" y="670"/>
                  </a:cubicBezTo>
                  <a:cubicBezTo>
                    <a:pt x="1078" y="665"/>
                    <a:pt x="1139" y="608"/>
                    <a:pt x="1139" y="538"/>
                  </a:cubicBezTo>
                  <a:close/>
                </a:path>
              </a:pathLst>
            </a:custGeom>
            <a:noFill/>
            <a:ln w="28575">
              <a:solidFill>
                <a:srgbClr val="FFFFFF"/>
              </a:solidFill>
            </a:ln>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10" name="矩形 309"/>
            <p:cNvSpPr/>
            <p:nvPr/>
          </p:nvSpPr>
          <p:spPr>
            <a:xfrm>
              <a:off x="1894644" y="1736135"/>
              <a:ext cx="732893" cy="307777"/>
            </a:xfrm>
            <a:prstGeom prst="rect">
              <a:avLst/>
            </a:prstGeom>
          </p:spPr>
          <p:txBody>
            <a:bodyPr wrap="none">
              <a:spAutoFit/>
            </a:bodyPr>
            <a:lstStyle/>
            <a:p>
              <a:r>
                <a:rPr lang="en-US" altLang="zh-CN" sz="1400" b="1" dirty="0">
                  <a:solidFill>
                    <a:srgbClr val="FFFFFF"/>
                  </a:solidFill>
                  <a:latin typeface="+mj-ea"/>
                  <a:ea typeface="+mj-ea"/>
                </a:rPr>
                <a:t>Lorem</a:t>
              </a:r>
              <a:endParaRPr lang="en-US" sz="1400" dirty="0">
                <a:solidFill>
                  <a:srgbClr val="FFFFFF"/>
                </a:solidFill>
                <a:latin typeface="+mj-ea"/>
                <a:ea typeface="+mj-ea"/>
              </a:endParaRPr>
            </a:p>
          </p:txBody>
        </p:sp>
      </p:grpSp>
      <p:pic>
        <p:nvPicPr>
          <p:cNvPr id="336" name="Picture 34">
            <a:extLst>
              <a:ext uri="{FF2B5EF4-FFF2-40B4-BE49-F238E27FC236}">
                <a16:creationId xmlns:a16="http://schemas.microsoft.com/office/drawing/2014/main" id="{F51C4BEF-9B72-C044-91ED-8ADC32368EB7}"/>
              </a:ext>
            </a:extLst>
          </p:cNvPr>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rot="15088179" flipV="1">
            <a:off x="7544441" y="2007811"/>
            <a:ext cx="1749691" cy="2079088"/>
          </a:xfrm>
          <a:prstGeom prst="rect">
            <a:avLst/>
          </a:prstGeom>
        </p:spPr>
      </p:pic>
      <p:grpSp>
        <p:nvGrpSpPr>
          <p:cNvPr id="242" name="组合 241"/>
          <p:cNvGrpSpPr/>
          <p:nvPr/>
        </p:nvGrpSpPr>
        <p:grpSpPr>
          <a:xfrm>
            <a:off x="9123689" y="3997110"/>
            <a:ext cx="611881" cy="560245"/>
            <a:chOff x="1062991" y="2352226"/>
            <a:chExt cx="690060" cy="631826"/>
          </a:xfrm>
        </p:grpSpPr>
        <p:sp>
          <p:nvSpPr>
            <p:cNvPr id="236" name="Rectangle 52"/>
            <p:cNvSpPr>
              <a:spLocks noChangeArrowheads="1"/>
            </p:cNvSpPr>
            <p:nvPr/>
          </p:nvSpPr>
          <p:spPr bwMode="auto">
            <a:xfrm rot="5400000" flipV="1">
              <a:off x="1690392" y="2921391"/>
              <a:ext cx="25400" cy="9991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37" name="Freeform 54"/>
            <p:cNvSpPr>
              <a:spLocks/>
            </p:cNvSpPr>
            <p:nvPr/>
          </p:nvSpPr>
          <p:spPr bwMode="auto">
            <a:xfrm rot="5400000" flipV="1">
              <a:off x="1488174" y="2917450"/>
              <a:ext cx="30163" cy="103041"/>
            </a:xfrm>
            <a:custGeom>
              <a:avLst/>
              <a:gdLst>
                <a:gd name="T0" fmla="*/ 11 w 11"/>
                <a:gd name="T1" fmla="*/ 37 h 37"/>
                <a:gd name="T2" fmla="*/ 2 w 11"/>
                <a:gd name="T3" fmla="*/ 37 h 37"/>
                <a:gd name="T4" fmla="*/ 2 w 11"/>
                <a:gd name="T5" fmla="*/ 19 h 37"/>
                <a:gd name="T6" fmla="*/ 0 w 11"/>
                <a:gd name="T7" fmla="*/ 1 h 37"/>
                <a:gd name="T8" fmla="*/ 9 w 11"/>
                <a:gd name="T9" fmla="*/ 0 h 37"/>
                <a:gd name="T10" fmla="*/ 11 w 11"/>
                <a:gd name="T11" fmla="*/ 19 h 37"/>
                <a:gd name="T12" fmla="*/ 11 w 11"/>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11" h="37">
                  <a:moveTo>
                    <a:pt x="11" y="37"/>
                  </a:moveTo>
                  <a:cubicBezTo>
                    <a:pt x="2" y="37"/>
                    <a:pt x="2" y="37"/>
                    <a:pt x="2" y="37"/>
                  </a:cubicBezTo>
                  <a:cubicBezTo>
                    <a:pt x="2" y="19"/>
                    <a:pt x="2" y="19"/>
                    <a:pt x="2" y="19"/>
                  </a:cubicBezTo>
                  <a:cubicBezTo>
                    <a:pt x="2" y="13"/>
                    <a:pt x="1" y="7"/>
                    <a:pt x="0" y="1"/>
                  </a:cubicBezTo>
                  <a:cubicBezTo>
                    <a:pt x="9" y="0"/>
                    <a:pt x="9" y="0"/>
                    <a:pt x="9" y="0"/>
                  </a:cubicBezTo>
                  <a:cubicBezTo>
                    <a:pt x="10" y="6"/>
                    <a:pt x="11" y="13"/>
                    <a:pt x="11" y="19"/>
                  </a:cubicBezTo>
                  <a:lnTo>
                    <a:pt x="11" y="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38" name="Freeform 56"/>
            <p:cNvSpPr>
              <a:spLocks/>
            </p:cNvSpPr>
            <p:nvPr/>
          </p:nvSpPr>
          <p:spPr bwMode="auto">
            <a:xfrm rot="5400000" flipV="1">
              <a:off x="1276300" y="2870591"/>
              <a:ext cx="69850" cy="99918"/>
            </a:xfrm>
            <a:custGeom>
              <a:avLst/>
              <a:gdLst>
                <a:gd name="T0" fmla="*/ 16 w 25"/>
                <a:gd name="T1" fmla="*/ 36 h 36"/>
                <a:gd name="T2" fmla="*/ 0 w 25"/>
                <a:gd name="T3" fmla="*/ 5 h 36"/>
                <a:gd name="T4" fmla="*/ 8 w 25"/>
                <a:gd name="T5" fmla="*/ 0 h 36"/>
                <a:gd name="T6" fmla="*/ 25 w 25"/>
                <a:gd name="T7" fmla="*/ 33 h 36"/>
                <a:gd name="T8" fmla="*/ 16 w 25"/>
                <a:gd name="T9" fmla="*/ 36 h 36"/>
              </a:gdLst>
              <a:ahLst/>
              <a:cxnLst>
                <a:cxn ang="0">
                  <a:pos x="T0" y="T1"/>
                </a:cxn>
                <a:cxn ang="0">
                  <a:pos x="T2" y="T3"/>
                </a:cxn>
                <a:cxn ang="0">
                  <a:pos x="T4" y="T5"/>
                </a:cxn>
                <a:cxn ang="0">
                  <a:pos x="T6" y="T7"/>
                </a:cxn>
                <a:cxn ang="0">
                  <a:pos x="T8" y="T9"/>
                </a:cxn>
              </a:cxnLst>
              <a:rect l="0" t="0" r="r" b="b"/>
              <a:pathLst>
                <a:path w="25" h="36">
                  <a:moveTo>
                    <a:pt x="16" y="36"/>
                  </a:moveTo>
                  <a:cubicBezTo>
                    <a:pt x="12" y="25"/>
                    <a:pt x="7" y="14"/>
                    <a:pt x="0" y="5"/>
                  </a:cubicBezTo>
                  <a:cubicBezTo>
                    <a:pt x="8" y="0"/>
                    <a:pt x="8" y="0"/>
                    <a:pt x="8" y="0"/>
                  </a:cubicBezTo>
                  <a:cubicBezTo>
                    <a:pt x="15" y="10"/>
                    <a:pt x="20" y="21"/>
                    <a:pt x="25" y="33"/>
                  </a:cubicBezTo>
                  <a:lnTo>
                    <a:pt x="16" y="3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39" name="Freeform 58"/>
            <p:cNvSpPr>
              <a:spLocks/>
            </p:cNvSpPr>
            <p:nvPr/>
          </p:nvSpPr>
          <p:spPr bwMode="auto">
            <a:xfrm rot="5400000" flipV="1">
              <a:off x="1111355" y="2752152"/>
              <a:ext cx="98425" cy="79622"/>
            </a:xfrm>
            <a:custGeom>
              <a:avLst/>
              <a:gdLst>
                <a:gd name="T0" fmla="*/ 29 w 35"/>
                <a:gd name="T1" fmla="*/ 29 h 29"/>
                <a:gd name="T2" fmla="*/ 0 w 35"/>
                <a:gd name="T3" fmla="*/ 8 h 29"/>
                <a:gd name="T4" fmla="*/ 5 w 35"/>
                <a:gd name="T5" fmla="*/ 0 h 29"/>
                <a:gd name="T6" fmla="*/ 35 w 35"/>
                <a:gd name="T7" fmla="*/ 22 h 29"/>
                <a:gd name="T8" fmla="*/ 29 w 35"/>
                <a:gd name="T9" fmla="*/ 29 h 29"/>
              </a:gdLst>
              <a:ahLst/>
              <a:cxnLst>
                <a:cxn ang="0">
                  <a:pos x="T0" y="T1"/>
                </a:cxn>
                <a:cxn ang="0">
                  <a:pos x="T2" y="T3"/>
                </a:cxn>
                <a:cxn ang="0">
                  <a:pos x="T4" y="T5"/>
                </a:cxn>
                <a:cxn ang="0">
                  <a:pos x="T6" y="T7"/>
                </a:cxn>
                <a:cxn ang="0">
                  <a:pos x="T8" y="T9"/>
                </a:cxn>
              </a:cxnLst>
              <a:rect l="0" t="0" r="r" b="b"/>
              <a:pathLst>
                <a:path w="35" h="29">
                  <a:moveTo>
                    <a:pt x="29" y="29"/>
                  </a:moveTo>
                  <a:cubicBezTo>
                    <a:pt x="20" y="21"/>
                    <a:pt x="11" y="14"/>
                    <a:pt x="0" y="8"/>
                  </a:cubicBezTo>
                  <a:cubicBezTo>
                    <a:pt x="5" y="0"/>
                    <a:pt x="5" y="0"/>
                    <a:pt x="5" y="0"/>
                  </a:cubicBezTo>
                  <a:cubicBezTo>
                    <a:pt x="16" y="6"/>
                    <a:pt x="26" y="14"/>
                    <a:pt x="35" y="22"/>
                  </a:cubicBezTo>
                  <a:lnTo>
                    <a:pt x="29" y="29"/>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40" name="Freeform 60"/>
            <p:cNvSpPr>
              <a:spLocks/>
            </p:cNvSpPr>
            <p:nvPr/>
          </p:nvSpPr>
          <p:spPr bwMode="auto">
            <a:xfrm rot="5400000" flipV="1">
              <a:off x="1030106" y="2588311"/>
              <a:ext cx="106363" cy="40592"/>
            </a:xfrm>
            <a:custGeom>
              <a:avLst/>
              <a:gdLst>
                <a:gd name="T0" fmla="*/ 35 w 38"/>
                <a:gd name="T1" fmla="*/ 15 h 15"/>
                <a:gd name="T2" fmla="*/ 0 w 38"/>
                <a:gd name="T3" fmla="*/ 9 h 15"/>
                <a:gd name="T4" fmla="*/ 1 w 38"/>
                <a:gd name="T5" fmla="*/ 0 h 15"/>
                <a:gd name="T6" fmla="*/ 38 w 38"/>
                <a:gd name="T7" fmla="*/ 6 h 15"/>
                <a:gd name="T8" fmla="*/ 35 w 38"/>
                <a:gd name="T9" fmla="*/ 15 h 15"/>
              </a:gdLst>
              <a:ahLst/>
              <a:cxnLst>
                <a:cxn ang="0">
                  <a:pos x="T0" y="T1"/>
                </a:cxn>
                <a:cxn ang="0">
                  <a:pos x="T2" y="T3"/>
                </a:cxn>
                <a:cxn ang="0">
                  <a:pos x="T4" y="T5"/>
                </a:cxn>
                <a:cxn ang="0">
                  <a:pos x="T6" y="T7"/>
                </a:cxn>
                <a:cxn ang="0">
                  <a:pos x="T8" y="T9"/>
                </a:cxn>
              </a:cxnLst>
              <a:rect l="0" t="0" r="r" b="b"/>
              <a:pathLst>
                <a:path w="38" h="15">
                  <a:moveTo>
                    <a:pt x="35" y="15"/>
                  </a:moveTo>
                  <a:cubicBezTo>
                    <a:pt x="24" y="11"/>
                    <a:pt x="12" y="9"/>
                    <a:pt x="0" y="9"/>
                  </a:cubicBezTo>
                  <a:cubicBezTo>
                    <a:pt x="1" y="0"/>
                    <a:pt x="1" y="0"/>
                    <a:pt x="1" y="0"/>
                  </a:cubicBezTo>
                  <a:cubicBezTo>
                    <a:pt x="13" y="0"/>
                    <a:pt x="26" y="3"/>
                    <a:pt x="38" y="6"/>
                  </a:cubicBezTo>
                  <a:lnTo>
                    <a:pt x="35" y="15"/>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41" name="Rectangle 62"/>
            <p:cNvSpPr>
              <a:spLocks noChangeArrowheads="1"/>
            </p:cNvSpPr>
            <p:nvPr/>
          </p:nvSpPr>
          <p:spPr bwMode="auto">
            <a:xfrm rot="5400000" flipV="1">
              <a:off x="1024681" y="2390536"/>
              <a:ext cx="101600" cy="2498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nvGrpSpPr>
          <p:cNvPr id="110" name="Group 795"/>
          <p:cNvGrpSpPr>
            <a:grpSpLocks noChangeAspect="1"/>
          </p:cNvGrpSpPr>
          <p:nvPr/>
        </p:nvGrpSpPr>
        <p:grpSpPr bwMode="auto">
          <a:xfrm>
            <a:off x="9746535" y="4181211"/>
            <a:ext cx="638428" cy="638429"/>
            <a:chOff x="7361" y="3009"/>
            <a:chExt cx="340" cy="340"/>
          </a:xfrm>
          <a:solidFill>
            <a:schemeClr val="accent1"/>
          </a:solidFill>
        </p:grpSpPr>
        <p:sp>
          <p:nvSpPr>
            <p:cNvPr id="111" name="Freeform 796"/>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2" name="Freeform 797"/>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3" name="Freeform 798"/>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4" name="Freeform 799"/>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5" name="Freeform 800"/>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6" name="Freeform 801"/>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7" name="Freeform 802"/>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grpSp>
      <p:sp>
        <p:nvSpPr>
          <p:cNvPr id="118" name="Rectangle 78"/>
          <p:cNvSpPr/>
          <p:nvPr/>
        </p:nvSpPr>
        <p:spPr>
          <a:xfrm>
            <a:off x="10399156" y="4301826"/>
            <a:ext cx="1441551" cy="397201"/>
          </a:xfrm>
          <a:prstGeom prst="rect">
            <a:avLst/>
          </a:prstGeom>
          <a:ln>
            <a:noFill/>
          </a:ln>
        </p:spPr>
        <p:txBody>
          <a:bodyPr wrap="square" lIns="90000" tIns="90000" rIns="90000" bIns="90000" anchor="ctr" anchorCtr="0">
            <a:spAutoFit/>
          </a:bodyPr>
          <a:lstStyle/>
          <a:p>
            <a:pPr>
              <a:spcAft>
                <a:spcPts val="600"/>
              </a:spcAft>
            </a:pPr>
            <a:r>
              <a:rPr lang="en-US" altLang="zh-CN" sz="1400" b="1" dirty="0">
                <a:solidFill>
                  <a:schemeClr val="accent1"/>
                </a:solidFill>
                <a:latin typeface="+mj-ea"/>
                <a:ea typeface="+mj-ea"/>
              </a:rPr>
              <a:t>Lorem ipsum</a:t>
            </a:r>
            <a:endParaRPr lang="en-US" sz="1400" dirty="0">
              <a:solidFill>
                <a:schemeClr val="accent1"/>
              </a:solidFill>
              <a:latin typeface="+mj-ea"/>
              <a:ea typeface="+mj-ea"/>
            </a:endParaRPr>
          </a:p>
        </p:txBody>
      </p:sp>
      <p:grpSp>
        <p:nvGrpSpPr>
          <p:cNvPr id="271" name="组合 270"/>
          <p:cNvGrpSpPr/>
          <p:nvPr/>
        </p:nvGrpSpPr>
        <p:grpSpPr>
          <a:xfrm>
            <a:off x="8351025" y="2542403"/>
            <a:ext cx="3469437" cy="1217327"/>
            <a:chOff x="6031376" y="2782935"/>
            <a:chExt cx="3912724" cy="1372864"/>
          </a:xfrm>
        </p:grpSpPr>
        <p:grpSp>
          <p:nvGrpSpPr>
            <p:cNvPr id="215" name="组合 214"/>
            <p:cNvGrpSpPr/>
            <p:nvPr/>
          </p:nvGrpSpPr>
          <p:grpSpPr>
            <a:xfrm rot="5400000">
              <a:off x="6677488" y="2877861"/>
              <a:ext cx="631826" cy="1924050"/>
              <a:chOff x="2453817" y="1043038"/>
              <a:chExt cx="631826" cy="1924050"/>
            </a:xfrm>
          </p:grpSpPr>
          <p:sp>
            <p:nvSpPr>
              <p:cNvPr id="203" name="Rectangle 40"/>
              <p:cNvSpPr>
                <a:spLocks noChangeArrowheads="1"/>
              </p:cNvSpPr>
              <p:nvPr/>
            </p:nvSpPr>
            <p:spPr bwMode="auto">
              <a:xfrm>
                <a:off x="3060242" y="2865488"/>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4" name="Rectangle 42"/>
              <p:cNvSpPr>
                <a:spLocks noChangeArrowheads="1"/>
              </p:cNvSpPr>
              <p:nvPr/>
            </p:nvSpPr>
            <p:spPr bwMode="auto">
              <a:xfrm>
                <a:off x="3060242" y="2663875"/>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5" name="Rectangle 44"/>
              <p:cNvSpPr>
                <a:spLocks noChangeArrowheads="1"/>
              </p:cNvSpPr>
              <p:nvPr/>
            </p:nvSpPr>
            <p:spPr bwMode="auto">
              <a:xfrm>
                <a:off x="3060242" y="2459088"/>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6" name="Rectangle 46"/>
              <p:cNvSpPr>
                <a:spLocks noChangeArrowheads="1"/>
              </p:cNvSpPr>
              <p:nvPr/>
            </p:nvSpPr>
            <p:spPr bwMode="auto">
              <a:xfrm>
                <a:off x="3060242" y="2255888"/>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7" name="Rectangle 48"/>
              <p:cNvSpPr>
                <a:spLocks noChangeArrowheads="1"/>
              </p:cNvSpPr>
              <p:nvPr/>
            </p:nvSpPr>
            <p:spPr bwMode="auto">
              <a:xfrm>
                <a:off x="3060242" y="2051100"/>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8" name="Rectangle 50"/>
              <p:cNvSpPr>
                <a:spLocks noChangeArrowheads="1"/>
              </p:cNvSpPr>
              <p:nvPr/>
            </p:nvSpPr>
            <p:spPr bwMode="auto">
              <a:xfrm>
                <a:off x="3060242" y="1846313"/>
                <a:ext cx="25400" cy="10318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9" name="Rectangle 52"/>
              <p:cNvSpPr>
                <a:spLocks noChangeArrowheads="1"/>
              </p:cNvSpPr>
              <p:nvPr/>
            </p:nvSpPr>
            <p:spPr bwMode="auto">
              <a:xfrm>
                <a:off x="3060242" y="1643113"/>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10" name="Freeform 54"/>
              <p:cNvSpPr>
                <a:spLocks/>
              </p:cNvSpPr>
              <p:nvPr/>
            </p:nvSpPr>
            <p:spPr bwMode="auto">
              <a:xfrm>
                <a:off x="3055480" y="1438325"/>
                <a:ext cx="30163" cy="104775"/>
              </a:xfrm>
              <a:custGeom>
                <a:avLst/>
                <a:gdLst>
                  <a:gd name="T0" fmla="*/ 11 w 11"/>
                  <a:gd name="T1" fmla="*/ 37 h 37"/>
                  <a:gd name="T2" fmla="*/ 2 w 11"/>
                  <a:gd name="T3" fmla="*/ 37 h 37"/>
                  <a:gd name="T4" fmla="*/ 2 w 11"/>
                  <a:gd name="T5" fmla="*/ 19 h 37"/>
                  <a:gd name="T6" fmla="*/ 0 w 11"/>
                  <a:gd name="T7" fmla="*/ 1 h 37"/>
                  <a:gd name="T8" fmla="*/ 9 w 11"/>
                  <a:gd name="T9" fmla="*/ 0 h 37"/>
                  <a:gd name="T10" fmla="*/ 11 w 11"/>
                  <a:gd name="T11" fmla="*/ 19 h 37"/>
                  <a:gd name="T12" fmla="*/ 11 w 11"/>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11" h="37">
                    <a:moveTo>
                      <a:pt x="11" y="37"/>
                    </a:moveTo>
                    <a:cubicBezTo>
                      <a:pt x="2" y="37"/>
                      <a:pt x="2" y="37"/>
                      <a:pt x="2" y="37"/>
                    </a:cubicBezTo>
                    <a:cubicBezTo>
                      <a:pt x="2" y="19"/>
                      <a:pt x="2" y="19"/>
                      <a:pt x="2" y="19"/>
                    </a:cubicBezTo>
                    <a:cubicBezTo>
                      <a:pt x="2" y="13"/>
                      <a:pt x="1" y="7"/>
                      <a:pt x="0" y="1"/>
                    </a:cubicBezTo>
                    <a:cubicBezTo>
                      <a:pt x="9" y="0"/>
                      <a:pt x="9" y="0"/>
                      <a:pt x="9" y="0"/>
                    </a:cubicBezTo>
                    <a:cubicBezTo>
                      <a:pt x="10" y="6"/>
                      <a:pt x="11" y="13"/>
                      <a:pt x="11" y="19"/>
                    </a:cubicBezTo>
                    <a:lnTo>
                      <a:pt x="11" y="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11" name="Freeform 56"/>
              <p:cNvSpPr>
                <a:spLocks/>
              </p:cNvSpPr>
              <p:nvPr/>
            </p:nvSpPr>
            <p:spPr bwMode="auto">
              <a:xfrm>
                <a:off x="2987217" y="1244650"/>
                <a:ext cx="69850" cy="101600"/>
              </a:xfrm>
              <a:custGeom>
                <a:avLst/>
                <a:gdLst>
                  <a:gd name="T0" fmla="*/ 16 w 25"/>
                  <a:gd name="T1" fmla="*/ 36 h 36"/>
                  <a:gd name="T2" fmla="*/ 0 w 25"/>
                  <a:gd name="T3" fmla="*/ 5 h 36"/>
                  <a:gd name="T4" fmla="*/ 8 w 25"/>
                  <a:gd name="T5" fmla="*/ 0 h 36"/>
                  <a:gd name="T6" fmla="*/ 25 w 25"/>
                  <a:gd name="T7" fmla="*/ 33 h 36"/>
                  <a:gd name="T8" fmla="*/ 16 w 25"/>
                  <a:gd name="T9" fmla="*/ 36 h 36"/>
                </a:gdLst>
                <a:ahLst/>
                <a:cxnLst>
                  <a:cxn ang="0">
                    <a:pos x="T0" y="T1"/>
                  </a:cxn>
                  <a:cxn ang="0">
                    <a:pos x="T2" y="T3"/>
                  </a:cxn>
                  <a:cxn ang="0">
                    <a:pos x="T4" y="T5"/>
                  </a:cxn>
                  <a:cxn ang="0">
                    <a:pos x="T6" y="T7"/>
                  </a:cxn>
                  <a:cxn ang="0">
                    <a:pos x="T8" y="T9"/>
                  </a:cxn>
                </a:cxnLst>
                <a:rect l="0" t="0" r="r" b="b"/>
                <a:pathLst>
                  <a:path w="25" h="36">
                    <a:moveTo>
                      <a:pt x="16" y="36"/>
                    </a:moveTo>
                    <a:cubicBezTo>
                      <a:pt x="12" y="25"/>
                      <a:pt x="7" y="14"/>
                      <a:pt x="0" y="5"/>
                    </a:cubicBezTo>
                    <a:cubicBezTo>
                      <a:pt x="8" y="0"/>
                      <a:pt x="8" y="0"/>
                      <a:pt x="8" y="0"/>
                    </a:cubicBezTo>
                    <a:cubicBezTo>
                      <a:pt x="15" y="10"/>
                      <a:pt x="20" y="21"/>
                      <a:pt x="25" y="33"/>
                    </a:cubicBezTo>
                    <a:lnTo>
                      <a:pt x="16" y="3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12" name="Freeform 58"/>
              <p:cNvSpPr>
                <a:spLocks/>
              </p:cNvSpPr>
              <p:nvPr/>
            </p:nvSpPr>
            <p:spPr bwMode="auto">
              <a:xfrm>
                <a:off x="2844342" y="1101775"/>
                <a:ext cx="98425" cy="80962"/>
              </a:xfrm>
              <a:custGeom>
                <a:avLst/>
                <a:gdLst>
                  <a:gd name="T0" fmla="*/ 29 w 35"/>
                  <a:gd name="T1" fmla="*/ 29 h 29"/>
                  <a:gd name="T2" fmla="*/ 0 w 35"/>
                  <a:gd name="T3" fmla="*/ 8 h 29"/>
                  <a:gd name="T4" fmla="*/ 5 w 35"/>
                  <a:gd name="T5" fmla="*/ 0 h 29"/>
                  <a:gd name="T6" fmla="*/ 35 w 35"/>
                  <a:gd name="T7" fmla="*/ 22 h 29"/>
                  <a:gd name="T8" fmla="*/ 29 w 35"/>
                  <a:gd name="T9" fmla="*/ 29 h 29"/>
                </a:gdLst>
                <a:ahLst/>
                <a:cxnLst>
                  <a:cxn ang="0">
                    <a:pos x="T0" y="T1"/>
                  </a:cxn>
                  <a:cxn ang="0">
                    <a:pos x="T2" y="T3"/>
                  </a:cxn>
                  <a:cxn ang="0">
                    <a:pos x="T4" y="T5"/>
                  </a:cxn>
                  <a:cxn ang="0">
                    <a:pos x="T6" y="T7"/>
                  </a:cxn>
                  <a:cxn ang="0">
                    <a:pos x="T8" y="T9"/>
                  </a:cxn>
                </a:cxnLst>
                <a:rect l="0" t="0" r="r" b="b"/>
                <a:pathLst>
                  <a:path w="35" h="29">
                    <a:moveTo>
                      <a:pt x="29" y="29"/>
                    </a:moveTo>
                    <a:cubicBezTo>
                      <a:pt x="20" y="21"/>
                      <a:pt x="11" y="14"/>
                      <a:pt x="0" y="8"/>
                    </a:cubicBezTo>
                    <a:cubicBezTo>
                      <a:pt x="5" y="0"/>
                      <a:pt x="5" y="0"/>
                      <a:pt x="5" y="0"/>
                    </a:cubicBezTo>
                    <a:cubicBezTo>
                      <a:pt x="16" y="6"/>
                      <a:pt x="26" y="14"/>
                      <a:pt x="35" y="22"/>
                    </a:cubicBezTo>
                    <a:lnTo>
                      <a:pt x="29" y="29"/>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13" name="Freeform 60"/>
              <p:cNvSpPr>
                <a:spLocks/>
              </p:cNvSpPr>
              <p:nvPr/>
            </p:nvSpPr>
            <p:spPr bwMode="auto">
              <a:xfrm>
                <a:off x="2657017" y="1043038"/>
                <a:ext cx="106363" cy="41275"/>
              </a:xfrm>
              <a:custGeom>
                <a:avLst/>
                <a:gdLst>
                  <a:gd name="T0" fmla="*/ 35 w 38"/>
                  <a:gd name="T1" fmla="*/ 15 h 15"/>
                  <a:gd name="T2" fmla="*/ 0 w 38"/>
                  <a:gd name="T3" fmla="*/ 9 h 15"/>
                  <a:gd name="T4" fmla="*/ 1 w 38"/>
                  <a:gd name="T5" fmla="*/ 0 h 15"/>
                  <a:gd name="T6" fmla="*/ 38 w 38"/>
                  <a:gd name="T7" fmla="*/ 6 h 15"/>
                  <a:gd name="T8" fmla="*/ 35 w 38"/>
                  <a:gd name="T9" fmla="*/ 15 h 15"/>
                </a:gdLst>
                <a:ahLst/>
                <a:cxnLst>
                  <a:cxn ang="0">
                    <a:pos x="T0" y="T1"/>
                  </a:cxn>
                  <a:cxn ang="0">
                    <a:pos x="T2" y="T3"/>
                  </a:cxn>
                  <a:cxn ang="0">
                    <a:pos x="T4" y="T5"/>
                  </a:cxn>
                  <a:cxn ang="0">
                    <a:pos x="T6" y="T7"/>
                  </a:cxn>
                  <a:cxn ang="0">
                    <a:pos x="T8" y="T9"/>
                  </a:cxn>
                </a:cxnLst>
                <a:rect l="0" t="0" r="r" b="b"/>
                <a:pathLst>
                  <a:path w="38" h="15">
                    <a:moveTo>
                      <a:pt x="35" y="15"/>
                    </a:moveTo>
                    <a:cubicBezTo>
                      <a:pt x="24" y="11"/>
                      <a:pt x="12" y="9"/>
                      <a:pt x="0" y="9"/>
                    </a:cubicBezTo>
                    <a:cubicBezTo>
                      <a:pt x="1" y="0"/>
                      <a:pt x="1" y="0"/>
                      <a:pt x="1" y="0"/>
                    </a:cubicBezTo>
                    <a:cubicBezTo>
                      <a:pt x="13" y="0"/>
                      <a:pt x="26" y="3"/>
                      <a:pt x="38" y="6"/>
                    </a:cubicBezTo>
                    <a:lnTo>
                      <a:pt x="35" y="15"/>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14" name="Rectangle 62"/>
              <p:cNvSpPr>
                <a:spLocks noChangeArrowheads="1"/>
              </p:cNvSpPr>
              <p:nvPr/>
            </p:nvSpPr>
            <p:spPr bwMode="auto">
              <a:xfrm>
                <a:off x="2453817" y="1043038"/>
                <a:ext cx="101600" cy="254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nvGrpSpPr>
            <p:cNvPr id="130" name="组合 129"/>
            <p:cNvGrpSpPr/>
            <p:nvPr/>
          </p:nvGrpSpPr>
          <p:grpSpPr>
            <a:xfrm>
              <a:off x="7594888" y="2782935"/>
              <a:ext cx="2349212" cy="720000"/>
              <a:chOff x="6273194" y="6006160"/>
              <a:chExt cx="2349212" cy="720000"/>
            </a:xfrm>
          </p:grpSpPr>
          <p:grpSp>
            <p:nvGrpSpPr>
              <p:cNvPr id="126" name="Group 853"/>
              <p:cNvGrpSpPr>
                <a:grpSpLocks noChangeAspect="1"/>
              </p:cNvGrpSpPr>
              <p:nvPr/>
            </p:nvGrpSpPr>
            <p:grpSpPr bwMode="auto">
              <a:xfrm>
                <a:off x="6273194" y="6006160"/>
                <a:ext cx="720000" cy="720000"/>
                <a:chOff x="7360" y="3435"/>
                <a:chExt cx="340" cy="340"/>
              </a:xfrm>
              <a:solidFill>
                <a:schemeClr val="bg1"/>
              </a:solidFill>
            </p:grpSpPr>
            <p:sp>
              <p:nvSpPr>
                <p:cNvPr id="127" name="Freeform 854"/>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chemeClr val="accent6"/>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28" name="Freeform 855"/>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dirty="0">
                    <a:solidFill>
                      <a:prstClr val="black"/>
                    </a:solidFill>
                    <a:latin typeface="+mj-ea"/>
                    <a:ea typeface="+mj-ea"/>
                  </a:endParaRPr>
                </a:p>
              </p:txBody>
            </p:sp>
          </p:grpSp>
          <p:sp>
            <p:nvSpPr>
              <p:cNvPr id="129" name="Rectangle 78"/>
              <p:cNvSpPr/>
              <p:nvPr/>
            </p:nvSpPr>
            <p:spPr>
              <a:xfrm>
                <a:off x="7009201" y="6142185"/>
                <a:ext cx="1613205" cy="447951"/>
              </a:xfrm>
              <a:prstGeom prst="rect">
                <a:avLst/>
              </a:prstGeom>
              <a:ln>
                <a:noFill/>
              </a:ln>
            </p:spPr>
            <p:txBody>
              <a:bodyPr wrap="square" lIns="90000" tIns="90000" rIns="90000" bIns="90000" anchor="ctr" anchorCtr="0">
                <a:spAutoFit/>
              </a:bodyPr>
              <a:lstStyle/>
              <a:p>
                <a:pPr>
                  <a:spcAft>
                    <a:spcPts val="600"/>
                  </a:spcAft>
                </a:pPr>
                <a:r>
                  <a:rPr lang="en-US" altLang="zh-CN" sz="1400" b="1" dirty="0">
                    <a:solidFill>
                      <a:schemeClr val="bg1"/>
                    </a:solidFill>
                    <a:latin typeface="+mj-ea"/>
                    <a:ea typeface="+mj-ea"/>
                  </a:rPr>
                  <a:t>Lorem ipsum</a:t>
                </a:r>
                <a:endParaRPr lang="zh-CN" altLang="en-US" sz="1400" dirty="0">
                  <a:solidFill>
                    <a:schemeClr val="bg1"/>
                  </a:solidFill>
                  <a:latin typeface="+mj-ea"/>
                  <a:ea typeface="+mj-ea"/>
                </a:endParaRPr>
              </a:p>
            </p:txBody>
          </p:sp>
        </p:grpSp>
      </p:grpSp>
      <p:grpSp>
        <p:nvGrpSpPr>
          <p:cNvPr id="120" name="Group 977"/>
          <p:cNvGrpSpPr>
            <a:grpSpLocks/>
          </p:cNvGrpSpPr>
          <p:nvPr/>
        </p:nvGrpSpPr>
        <p:grpSpPr bwMode="auto">
          <a:xfrm>
            <a:off x="8814503" y="5628501"/>
            <a:ext cx="638428" cy="638429"/>
            <a:chOff x="5095" y="4021"/>
            <a:chExt cx="340" cy="341"/>
          </a:xfrm>
          <a:solidFill>
            <a:schemeClr val="accent6"/>
          </a:solidFill>
        </p:grpSpPr>
        <p:sp>
          <p:nvSpPr>
            <p:cNvPr id="121" name="Freeform 978"/>
            <p:cNvSpPr>
              <a:spLocks/>
            </p:cNvSpPr>
            <p:nvPr/>
          </p:nvSpPr>
          <p:spPr bwMode="auto">
            <a:xfrm>
              <a:off x="5159" y="4086"/>
              <a:ext cx="212" cy="171"/>
            </a:xfrm>
            <a:custGeom>
              <a:avLst/>
              <a:gdLst>
                <a:gd name="T0" fmla="*/ 259 w 320"/>
                <a:gd name="T1" fmla="*/ 90 h 257"/>
                <a:gd name="T2" fmla="*/ 284 w 320"/>
                <a:gd name="T3" fmla="*/ 65 h 257"/>
                <a:gd name="T4" fmla="*/ 256 w 320"/>
                <a:gd name="T5" fmla="*/ 65 h 257"/>
                <a:gd name="T6" fmla="*/ 191 w 320"/>
                <a:gd name="T7" fmla="*/ 110 h 257"/>
                <a:gd name="T8" fmla="*/ 179 w 320"/>
                <a:gd name="T9" fmla="*/ 124 h 257"/>
                <a:gd name="T10" fmla="*/ 174 w 320"/>
                <a:gd name="T11" fmla="*/ 129 h 257"/>
                <a:gd name="T12" fmla="*/ 179 w 320"/>
                <a:gd name="T13" fmla="*/ 135 h 257"/>
                <a:gd name="T14" fmla="*/ 191 w 320"/>
                <a:gd name="T15" fmla="*/ 149 h 257"/>
                <a:gd name="T16" fmla="*/ 256 w 320"/>
                <a:gd name="T17" fmla="*/ 193 h 257"/>
                <a:gd name="T18" fmla="*/ 284 w 320"/>
                <a:gd name="T19" fmla="*/ 193 h 257"/>
                <a:gd name="T20" fmla="*/ 259 w 320"/>
                <a:gd name="T21" fmla="*/ 169 h 257"/>
                <a:gd name="T22" fmla="*/ 259 w 320"/>
                <a:gd name="T23" fmla="*/ 154 h 257"/>
                <a:gd name="T24" fmla="*/ 274 w 320"/>
                <a:gd name="T25" fmla="*/ 154 h 257"/>
                <a:gd name="T26" fmla="*/ 317 w 320"/>
                <a:gd name="T27" fmla="*/ 196 h 257"/>
                <a:gd name="T28" fmla="*/ 319 w 320"/>
                <a:gd name="T29" fmla="*/ 200 h 257"/>
                <a:gd name="T30" fmla="*/ 319 w 320"/>
                <a:gd name="T31" fmla="*/ 208 h 257"/>
                <a:gd name="T32" fmla="*/ 317 w 320"/>
                <a:gd name="T33" fmla="*/ 212 h 257"/>
                <a:gd name="T34" fmla="*/ 274 w 320"/>
                <a:gd name="T35" fmla="*/ 254 h 257"/>
                <a:gd name="T36" fmla="*/ 267 w 320"/>
                <a:gd name="T37" fmla="*/ 257 h 257"/>
                <a:gd name="T38" fmla="*/ 259 w 320"/>
                <a:gd name="T39" fmla="*/ 254 h 257"/>
                <a:gd name="T40" fmla="*/ 259 w 320"/>
                <a:gd name="T41" fmla="*/ 239 h 257"/>
                <a:gd name="T42" fmla="*/ 284 w 320"/>
                <a:gd name="T43" fmla="*/ 215 h 257"/>
                <a:gd name="T44" fmla="*/ 256 w 320"/>
                <a:gd name="T45" fmla="*/ 215 h 257"/>
                <a:gd name="T46" fmla="*/ 174 w 320"/>
                <a:gd name="T47" fmla="*/ 162 h 257"/>
                <a:gd name="T48" fmla="*/ 163 w 320"/>
                <a:gd name="T49" fmla="*/ 149 h 257"/>
                <a:gd name="T50" fmla="*/ 160 w 320"/>
                <a:gd name="T51" fmla="*/ 146 h 257"/>
                <a:gd name="T52" fmla="*/ 157 w 320"/>
                <a:gd name="T53" fmla="*/ 149 h 257"/>
                <a:gd name="T54" fmla="*/ 146 w 320"/>
                <a:gd name="T55" fmla="*/ 162 h 257"/>
                <a:gd name="T56" fmla="*/ 64 w 320"/>
                <a:gd name="T57" fmla="*/ 215 h 257"/>
                <a:gd name="T58" fmla="*/ 11 w 320"/>
                <a:gd name="T59" fmla="*/ 215 h 257"/>
                <a:gd name="T60" fmla="*/ 0 w 320"/>
                <a:gd name="T61" fmla="*/ 204 h 257"/>
                <a:gd name="T62" fmla="*/ 11 w 320"/>
                <a:gd name="T63" fmla="*/ 193 h 257"/>
                <a:gd name="T64" fmla="*/ 64 w 320"/>
                <a:gd name="T65" fmla="*/ 193 h 257"/>
                <a:gd name="T66" fmla="*/ 129 w 320"/>
                <a:gd name="T67" fmla="*/ 149 h 257"/>
                <a:gd name="T68" fmla="*/ 141 w 320"/>
                <a:gd name="T69" fmla="*/ 134 h 257"/>
                <a:gd name="T70" fmla="*/ 146 w 320"/>
                <a:gd name="T71" fmla="*/ 129 h 257"/>
                <a:gd name="T72" fmla="*/ 141 w 320"/>
                <a:gd name="T73" fmla="*/ 124 h 257"/>
                <a:gd name="T74" fmla="*/ 129 w 320"/>
                <a:gd name="T75" fmla="*/ 110 h 257"/>
                <a:gd name="T76" fmla="*/ 64 w 320"/>
                <a:gd name="T77" fmla="*/ 65 h 257"/>
                <a:gd name="T78" fmla="*/ 11 w 320"/>
                <a:gd name="T79" fmla="*/ 65 h 257"/>
                <a:gd name="T80" fmla="*/ 0 w 320"/>
                <a:gd name="T81" fmla="*/ 55 h 257"/>
                <a:gd name="T82" fmla="*/ 11 w 320"/>
                <a:gd name="T83" fmla="*/ 44 h 257"/>
                <a:gd name="T84" fmla="*/ 64 w 320"/>
                <a:gd name="T85" fmla="*/ 44 h 257"/>
                <a:gd name="T86" fmla="*/ 146 w 320"/>
                <a:gd name="T87" fmla="*/ 96 h 257"/>
                <a:gd name="T88" fmla="*/ 157 w 320"/>
                <a:gd name="T89" fmla="*/ 110 h 257"/>
                <a:gd name="T90" fmla="*/ 160 w 320"/>
                <a:gd name="T91" fmla="*/ 113 h 257"/>
                <a:gd name="T92" fmla="*/ 163 w 320"/>
                <a:gd name="T93" fmla="*/ 110 h 257"/>
                <a:gd name="T94" fmla="*/ 174 w 320"/>
                <a:gd name="T95" fmla="*/ 96 h 257"/>
                <a:gd name="T96" fmla="*/ 256 w 320"/>
                <a:gd name="T97" fmla="*/ 44 h 257"/>
                <a:gd name="T98" fmla="*/ 284 w 320"/>
                <a:gd name="T99" fmla="*/ 44 h 257"/>
                <a:gd name="T100" fmla="*/ 259 w 320"/>
                <a:gd name="T101" fmla="*/ 20 h 257"/>
                <a:gd name="T102" fmla="*/ 259 w 320"/>
                <a:gd name="T103" fmla="*/ 4 h 257"/>
                <a:gd name="T104" fmla="*/ 274 w 320"/>
                <a:gd name="T105" fmla="*/ 4 h 257"/>
                <a:gd name="T106" fmla="*/ 317 w 320"/>
                <a:gd name="T107" fmla="*/ 47 h 257"/>
                <a:gd name="T108" fmla="*/ 319 w 320"/>
                <a:gd name="T109" fmla="*/ 51 h 257"/>
                <a:gd name="T110" fmla="*/ 319 w 320"/>
                <a:gd name="T111" fmla="*/ 59 h 257"/>
                <a:gd name="T112" fmla="*/ 317 w 320"/>
                <a:gd name="T113" fmla="*/ 62 h 257"/>
                <a:gd name="T114" fmla="*/ 274 w 320"/>
                <a:gd name="T115" fmla="*/ 105 h 257"/>
                <a:gd name="T116" fmla="*/ 267 w 320"/>
                <a:gd name="T117" fmla="*/ 108 h 257"/>
                <a:gd name="T118" fmla="*/ 259 w 320"/>
                <a:gd name="T119" fmla="*/ 105 h 257"/>
                <a:gd name="T120" fmla="*/ 259 w 320"/>
                <a:gd name="T121" fmla="*/ 9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0" h="257">
                  <a:moveTo>
                    <a:pt x="259" y="90"/>
                  </a:moveTo>
                  <a:cubicBezTo>
                    <a:pt x="284" y="65"/>
                    <a:pt x="284" y="65"/>
                    <a:pt x="284" y="65"/>
                  </a:cubicBezTo>
                  <a:cubicBezTo>
                    <a:pt x="256" y="65"/>
                    <a:pt x="256" y="65"/>
                    <a:pt x="256" y="65"/>
                  </a:cubicBezTo>
                  <a:cubicBezTo>
                    <a:pt x="225" y="65"/>
                    <a:pt x="207" y="89"/>
                    <a:pt x="191" y="110"/>
                  </a:cubicBezTo>
                  <a:cubicBezTo>
                    <a:pt x="186" y="115"/>
                    <a:pt x="182" y="120"/>
                    <a:pt x="179" y="124"/>
                  </a:cubicBezTo>
                  <a:cubicBezTo>
                    <a:pt x="174" y="129"/>
                    <a:pt x="174" y="129"/>
                    <a:pt x="174" y="129"/>
                  </a:cubicBezTo>
                  <a:cubicBezTo>
                    <a:pt x="179" y="135"/>
                    <a:pt x="179" y="135"/>
                    <a:pt x="179" y="135"/>
                  </a:cubicBezTo>
                  <a:cubicBezTo>
                    <a:pt x="182" y="139"/>
                    <a:pt x="186" y="144"/>
                    <a:pt x="191" y="149"/>
                  </a:cubicBezTo>
                  <a:cubicBezTo>
                    <a:pt x="207" y="170"/>
                    <a:pt x="225" y="193"/>
                    <a:pt x="256" y="193"/>
                  </a:cubicBezTo>
                  <a:cubicBezTo>
                    <a:pt x="284" y="193"/>
                    <a:pt x="284" y="193"/>
                    <a:pt x="284" y="193"/>
                  </a:cubicBezTo>
                  <a:cubicBezTo>
                    <a:pt x="259" y="169"/>
                    <a:pt x="259" y="169"/>
                    <a:pt x="259" y="169"/>
                  </a:cubicBezTo>
                  <a:cubicBezTo>
                    <a:pt x="255" y="165"/>
                    <a:pt x="255" y="158"/>
                    <a:pt x="259" y="154"/>
                  </a:cubicBezTo>
                  <a:cubicBezTo>
                    <a:pt x="263" y="150"/>
                    <a:pt x="270" y="150"/>
                    <a:pt x="274" y="154"/>
                  </a:cubicBezTo>
                  <a:cubicBezTo>
                    <a:pt x="317" y="196"/>
                    <a:pt x="317" y="196"/>
                    <a:pt x="317" y="196"/>
                  </a:cubicBezTo>
                  <a:cubicBezTo>
                    <a:pt x="318" y="197"/>
                    <a:pt x="319" y="199"/>
                    <a:pt x="319" y="200"/>
                  </a:cubicBezTo>
                  <a:cubicBezTo>
                    <a:pt x="320" y="203"/>
                    <a:pt x="320" y="205"/>
                    <a:pt x="319" y="208"/>
                  </a:cubicBezTo>
                  <a:cubicBezTo>
                    <a:pt x="319" y="209"/>
                    <a:pt x="318" y="211"/>
                    <a:pt x="317" y="212"/>
                  </a:cubicBezTo>
                  <a:cubicBezTo>
                    <a:pt x="274" y="254"/>
                    <a:pt x="274" y="254"/>
                    <a:pt x="274" y="254"/>
                  </a:cubicBezTo>
                  <a:cubicBezTo>
                    <a:pt x="272" y="256"/>
                    <a:pt x="269" y="257"/>
                    <a:pt x="267" y="257"/>
                  </a:cubicBezTo>
                  <a:cubicBezTo>
                    <a:pt x="264" y="257"/>
                    <a:pt x="261" y="256"/>
                    <a:pt x="259" y="254"/>
                  </a:cubicBezTo>
                  <a:cubicBezTo>
                    <a:pt x="255" y="250"/>
                    <a:pt x="255" y="243"/>
                    <a:pt x="259" y="239"/>
                  </a:cubicBezTo>
                  <a:cubicBezTo>
                    <a:pt x="284" y="215"/>
                    <a:pt x="284" y="215"/>
                    <a:pt x="284" y="215"/>
                  </a:cubicBezTo>
                  <a:cubicBezTo>
                    <a:pt x="256" y="215"/>
                    <a:pt x="256" y="215"/>
                    <a:pt x="256" y="215"/>
                  </a:cubicBezTo>
                  <a:cubicBezTo>
                    <a:pt x="215" y="215"/>
                    <a:pt x="191" y="184"/>
                    <a:pt x="174" y="162"/>
                  </a:cubicBezTo>
                  <a:cubicBezTo>
                    <a:pt x="170" y="157"/>
                    <a:pt x="166" y="153"/>
                    <a:pt x="163" y="149"/>
                  </a:cubicBezTo>
                  <a:cubicBezTo>
                    <a:pt x="160" y="146"/>
                    <a:pt x="160" y="146"/>
                    <a:pt x="160" y="146"/>
                  </a:cubicBezTo>
                  <a:cubicBezTo>
                    <a:pt x="157" y="149"/>
                    <a:pt x="157" y="149"/>
                    <a:pt x="157" y="149"/>
                  </a:cubicBezTo>
                  <a:cubicBezTo>
                    <a:pt x="154" y="153"/>
                    <a:pt x="150" y="157"/>
                    <a:pt x="146" y="162"/>
                  </a:cubicBezTo>
                  <a:cubicBezTo>
                    <a:pt x="129" y="184"/>
                    <a:pt x="105" y="215"/>
                    <a:pt x="64" y="215"/>
                  </a:cubicBezTo>
                  <a:cubicBezTo>
                    <a:pt x="11" y="215"/>
                    <a:pt x="11" y="215"/>
                    <a:pt x="11" y="215"/>
                  </a:cubicBezTo>
                  <a:cubicBezTo>
                    <a:pt x="5" y="215"/>
                    <a:pt x="0" y="210"/>
                    <a:pt x="0" y="204"/>
                  </a:cubicBezTo>
                  <a:cubicBezTo>
                    <a:pt x="0" y="198"/>
                    <a:pt x="5" y="193"/>
                    <a:pt x="11" y="193"/>
                  </a:cubicBezTo>
                  <a:cubicBezTo>
                    <a:pt x="64" y="193"/>
                    <a:pt x="64" y="193"/>
                    <a:pt x="64" y="193"/>
                  </a:cubicBezTo>
                  <a:cubicBezTo>
                    <a:pt x="95" y="193"/>
                    <a:pt x="113" y="170"/>
                    <a:pt x="129" y="149"/>
                  </a:cubicBezTo>
                  <a:cubicBezTo>
                    <a:pt x="134" y="144"/>
                    <a:pt x="138" y="139"/>
                    <a:pt x="141" y="134"/>
                  </a:cubicBezTo>
                  <a:cubicBezTo>
                    <a:pt x="146" y="129"/>
                    <a:pt x="146" y="129"/>
                    <a:pt x="146" y="129"/>
                  </a:cubicBezTo>
                  <a:cubicBezTo>
                    <a:pt x="141" y="124"/>
                    <a:pt x="141" y="124"/>
                    <a:pt x="141" y="124"/>
                  </a:cubicBezTo>
                  <a:cubicBezTo>
                    <a:pt x="138" y="120"/>
                    <a:pt x="134" y="115"/>
                    <a:pt x="129" y="110"/>
                  </a:cubicBezTo>
                  <a:cubicBezTo>
                    <a:pt x="113" y="89"/>
                    <a:pt x="95" y="65"/>
                    <a:pt x="64" y="65"/>
                  </a:cubicBezTo>
                  <a:cubicBezTo>
                    <a:pt x="11" y="65"/>
                    <a:pt x="11" y="65"/>
                    <a:pt x="11" y="65"/>
                  </a:cubicBezTo>
                  <a:cubicBezTo>
                    <a:pt x="5" y="65"/>
                    <a:pt x="0" y="61"/>
                    <a:pt x="0" y="55"/>
                  </a:cubicBezTo>
                  <a:cubicBezTo>
                    <a:pt x="0" y="49"/>
                    <a:pt x="5" y="44"/>
                    <a:pt x="11" y="44"/>
                  </a:cubicBezTo>
                  <a:cubicBezTo>
                    <a:pt x="64" y="44"/>
                    <a:pt x="64" y="44"/>
                    <a:pt x="64" y="44"/>
                  </a:cubicBezTo>
                  <a:cubicBezTo>
                    <a:pt x="105" y="44"/>
                    <a:pt x="129" y="74"/>
                    <a:pt x="146" y="96"/>
                  </a:cubicBezTo>
                  <a:cubicBezTo>
                    <a:pt x="150" y="101"/>
                    <a:pt x="154" y="106"/>
                    <a:pt x="157" y="110"/>
                  </a:cubicBezTo>
                  <a:cubicBezTo>
                    <a:pt x="160" y="113"/>
                    <a:pt x="160" y="113"/>
                    <a:pt x="160" y="113"/>
                  </a:cubicBezTo>
                  <a:cubicBezTo>
                    <a:pt x="163" y="110"/>
                    <a:pt x="163" y="110"/>
                    <a:pt x="163" y="110"/>
                  </a:cubicBezTo>
                  <a:cubicBezTo>
                    <a:pt x="166" y="106"/>
                    <a:pt x="170" y="101"/>
                    <a:pt x="174" y="96"/>
                  </a:cubicBezTo>
                  <a:cubicBezTo>
                    <a:pt x="191" y="74"/>
                    <a:pt x="215" y="44"/>
                    <a:pt x="256" y="44"/>
                  </a:cubicBezTo>
                  <a:cubicBezTo>
                    <a:pt x="284" y="44"/>
                    <a:pt x="284" y="44"/>
                    <a:pt x="284" y="44"/>
                  </a:cubicBezTo>
                  <a:cubicBezTo>
                    <a:pt x="259" y="20"/>
                    <a:pt x="259" y="20"/>
                    <a:pt x="259" y="20"/>
                  </a:cubicBezTo>
                  <a:cubicBezTo>
                    <a:pt x="255" y="15"/>
                    <a:pt x="255" y="9"/>
                    <a:pt x="259" y="4"/>
                  </a:cubicBezTo>
                  <a:cubicBezTo>
                    <a:pt x="263" y="0"/>
                    <a:pt x="270" y="0"/>
                    <a:pt x="274" y="4"/>
                  </a:cubicBezTo>
                  <a:cubicBezTo>
                    <a:pt x="317" y="47"/>
                    <a:pt x="317" y="47"/>
                    <a:pt x="317" y="47"/>
                  </a:cubicBezTo>
                  <a:cubicBezTo>
                    <a:pt x="318" y="48"/>
                    <a:pt x="319" y="49"/>
                    <a:pt x="319" y="51"/>
                  </a:cubicBezTo>
                  <a:cubicBezTo>
                    <a:pt x="320" y="53"/>
                    <a:pt x="320" y="56"/>
                    <a:pt x="319" y="59"/>
                  </a:cubicBezTo>
                  <a:cubicBezTo>
                    <a:pt x="319" y="60"/>
                    <a:pt x="318" y="61"/>
                    <a:pt x="317" y="62"/>
                  </a:cubicBezTo>
                  <a:cubicBezTo>
                    <a:pt x="274" y="105"/>
                    <a:pt x="274" y="105"/>
                    <a:pt x="274" y="105"/>
                  </a:cubicBezTo>
                  <a:cubicBezTo>
                    <a:pt x="272" y="107"/>
                    <a:pt x="269" y="108"/>
                    <a:pt x="267" y="108"/>
                  </a:cubicBezTo>
                  <a:cubicBezTo>
                    <a:pt x="264" y="108"/>
                    <a:pt x="261" y="107"/>
                    <a:pt x="259" y="105"/>
                  </a:cubicBezTo>
                  <a:cubicBezTo>
                    <a:pt x="255" y="101"/>
                    <a:pt x="255" y="94"/>
                    <a:pt x="259" y="9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22" name="Freeform 979"/>
            <p:cNvSpPr>
              <a:spLocks noEditPoints="1"/>
            </p:cNvSpPr>
            <p:nvPr/>
          </p:nvSpPr>
          <p:spPr bwMode="auto">
            <a:xfrm>
              <a:off x="5095" y="4021"/>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1 w 512"/>
                <a:gd name="T13" fmla="*/ 256 h 512"/>
                <a:gd name="T14" fmla="*/ 256 w 512"/>
                <a:gd name="T15" fmla="*/ 22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56" y="491"/>
                  </a:moveTo>
                  <a:cubicBezTo>
                    <a:pt x="127" y="491"/>
                    <a:pt x="21" y="386"/>
                    <a:pt x="21" y="256"/>
                  </a:cubicBezTo>
                  <a:cubicBezTo>
                    <a:pt x="21" y="127"/>
                    <a:pt x="127" y="22"/>
                    <a:pt x="256" y="22"/>
                  </a:cubicBezTo>
                  <a:cubicBezTo>
                    <a:pt x="385" y="22"/>
                    <a:pt x="491" y="127"/>
                    <a:pt x="491" y="256"/>
                  </a:cubicBezTo>
                  <a:cubicBezTo>
                    <a:pt x="491" y="386"/>
                    <a:pt x="385" y="491"/>
                    <a:pt x="256" y="49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grpSp>
      <p:sp>
        <p:nvSpPr>
          <p:cNvPr id="123" name="Rectangle 78"/>
          <p:cNvSpPr/>
          <p:nvPr/>
        </p:nvSpPr>
        <p:spPr>
          <a:xfrm>
            <a:off x="9467126" y="5749113"/>
            <a:ext cx="1484003" cy="397201"/>
          </a:xfrm>
          <a:prstGeom prst="rect">
            <a:avLst/>
          </a:prstGeom>
          <a:ln>
            <a:noFill/>
          </a:ln>
        </p:spPr>
        <p:txBody>
          <a:bodyPr wrap="square" lIns="90000" tIns="90000" rIns="90000" bIns="90000" anchor="ctr" anchorCtr="0">
            <a:spAutoFit/>
          </a:bodyPr>
          <a:lstStyle/>
          <a:p>
            <a:pPr>
              <a:spcAft>
                <a:spcPts val="600"/>
              </a:spcAft>
            </a:pPr>
            <a:r>
              <a:rPr lang="en-US" altLang="zh-CN" sz="1400" b="1" dirty="0">
                <a:solidFill>
                  <a:schemeClr val="bg1"/>
                </a:solidFill>
                <a:latin typeface="+mj-ea"/>
                <a:ea typeface="+mj-ea"/>
              </a:rPr>
              <a:t>Lorem ipsum</a:t>
            </a:r>
            <a:endParaRPr lang="zh-CN" altLang="en-US" sz="1400" dirty="0">
              <a:solidFill>
                <a:schemeClr val="bg1"/>
              </a:solidFill>
              <a:latin typeface="+mj-ea"/>
              <a:ea typeface="+mj-ea"/>
            </a:endParaRPr>
          </a:p>
        </p:txBody>
      </p:sp>
      <p:grpSp>
        <p:nvGrpSpPr>
          <p:cNvPr id="249" name="组合 248"/>
          <p:cNvGrpSpPr/>
          <p:nvPr/>
        </p:nvGrpSpPr>
        <p:grpSpPr>
          <a:xfrm>
            <a:off x="9106078" y="5125658"/>
            <a:ext cx="22522" cy="451854"/>
            <a:chOff x="3060242" y="1643113"/>
            <a:chExt cx="25400" cy="509587"/>
          </a:xfrm>
        </p:grpSpPr>
        <p:sp>
          <p:nvSpPr>
            <p:cNvPr id="246" name="Rectangle 48"/>
            <p:cNvSpPr>
              <a:spLocks noChangeArrowheads="1"/>
            </p:cNvSpPr>
            <p:nvPr/>
          </p:nvSpPr>
          <p:spPr bwMode="auto">
            <a:xfrm>
              <a:off x="3060242" y="2051100"/>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47" name="Rectangle 50"/>
            <p:cNvSpPr>
              <a:spLocks noChangeArrowheads="1"/>
            </p:cNvSpPr>
            <p:nvPr/>
          </p:nvSpPr>
          <p:spPr bwMode="auto">
            <a:xfrm>
              <a:off x="3060242" y="1846313"/>
              <a:ext cx="25400" cy="10318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48" name="Rectangle 52"/>
            <p:cNvSpPr>
              <a:spLocks noChangeArrowheads="1"/>
            </p:cNvSpPr>
            <p:nvPr/>
          </p:nvSpPr>
          <p:spPr bwMode="auto">
            <a:xfrm>
              <a:off x="3060242" y="1643113"/>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sp>
        <p:nvSpPr>
          <p:cNvPr id="347" name="Rectangle 52"/>
          <p:cNvSpPr>
            <a:spLocks noChangeArrowheads="1"/>
          </p:cNvSpPr>
          <p:nvPr/>
        </p:nvSpPr>
        <p:spPr bwMode="auto">
          <a:xfrm>
            <a:off x="9102170" y="4949805"/>
            <a:ext cx="22522" cy="9008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43" name="Rectangle 52"/>
          <p:cNvSpPr>
            <a:spLocks noChangeArrowheads="1"/>
          </p:cNvSpPr>
          <p:nvPr/>
        </p:nvSpPr>
        <p:spPr bwMode="auto">
          <a:xfrm>
            <a:off x="9102170" y="4759305"/>
            <a:ext cx="22522" cy="9008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nvGrpSpPr>
          <p:cNvPr id="4" name="组合 3"/>
          <p:cNvGrpSpPr/>
          <p:nvPr/>
        </p:nvGrpSpPr>
        <p:grpSpPr>
          <a:xfrm>
            <a:off x="2316157" y="2041480"/>
            <a:ext cx="25400" cy="2743441"/>
            <a:chOff x="2308537" y="1469980"/>
            <a:chExt cx="25400" cy="2743441"/>
          </a:xfrm>
        </p:grpSpPr>
        <p:grpSp>
          <p:nvGrpSpPr>
            <p:cNvPr id="2" name="组合 1"/>
            <p:cNvGrpSpPr/>
            <p:nvPr/>
          </p:nvGrpSpPr>
          <p:grpSpPr>
            <a:xfrm>
              <a:off x="2308537" y="2483047"/>
              <a:ext cx="25400" cy="1730374"/>
              <a:chOff x="2308537" y="2483047"/>
              <a:chExt cx="25400" cy="1730374"/>
            </a:xfrm>
          </p:grpSpPr>
          <p:sp>
            <p:nvSpPr>
              <p:cNvPr id="299" name="Rectangle 36"/>
              <p:cNvSpPr>
                <a:spLocks noChangeArrowheads="1"/>
              </p:cNvSpPr>
              <p:nvPr/>
            </p:nvSpPr>
            <p:spPr bwMode="auto">
              <a:xfrm>
                <a:off x="2308537" y="4113409"/>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0" name="Rectangle 38"/>
              <p:cNvSpPr>
                <a:spLocks noChangeArrowheads="1"/>
              </p:cNvSpPr>
              <p:nvPr/>
            </p:nvSpPr>
            <p:spPr bwMode="auto">
              <a:xfrm>
                <a:off x="2308537" y="3910209"/>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1" name="Rectangle 40"/>
              <p:cNvSpPr>
                <a:spLocks noChangeArrowheads="1"/>
              </p:cNvSpPr>
              <p:nvPr/>
            </p:nvSpPr>
            <p:spPr bwMode="auto">
              <a:xfrm>
                <a:off x="2308537" y="3705422"/>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2" name="Rectangle 42"/>
              <p:cNvSpPr>
                <a:spLocks noChangeArrowheads="1"/>
              </p:cNvSpPr>
              <p:nvPr/>
            </p:nvSpPr>
            <p:spPr bwMode="auto">
              <a:xfrm>
                <a:off x="2308537" y="3503809"/>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3" name="Rectangle 44"/>
              <p:cNvSpPr>
                <a:spLocks noChangeArrowheads="1"/>
              </p:cNvSpPr>
              <p:nvPr/>
            </p:nvSpPr>
            <p:spPr bwMode="auto">
              <a:xfrm>
                <a:off x="2308537" y="3299022"/>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4" name="Rectangle 46"/>
              <p:cNvSpPr>
                <a:spLocks noChangeArrowheads="1"/>
              </p:cNvSpPr>
              <p:nvPr/>
            </p:nvSpPr>
            <p:spPr bwMode="auto">
              <a:xfrm>
                <a:off x="2308537" y="3095822"/>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5" name="Rectangle 48"/>
              <p:cNvSpPr>
                <a:spLocks noChangeArrowheads="1"/>
              </p:cNvSpPr>
              <p:nvPr/>
            </p:nvSpPr>
            <p:spPr bwMode="auto">
              <a:xfrm>
                <a:off x="2308537" y="2891034"/>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6" name="Rectangle 50"/>
              <p:cNvSpPr>
                <a:spLocks noChangeArrowheads="1"/>
              </p:cNvSpPr>
              <p:nvPr/>
            </p:nvSpPr>
            <p:spPr bwMode="auto">
              <a:xfrm>
                <a:off x="2308537" y="2686247"/>
                <a:ext cx="25400" cy="10318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7" name="Rectangle 52"/>
              <p:cNvSpPr>
                <a:spLocks noChangeArrowheads="1"/>
              </p:cNvSpPr>
              <p:nvPr/>
            </p:nvSpPr>
            <p:spPr bwMode="auto">
              <a:xfrm>
                <a:off x="2308537" y="2483047"/>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sp>
          <p:nvSpPr>
            <p:cNvPr id="145" name="Rectangle 36"/>
            <p:cNvSpPr>
              <a:spLocks noChangeArrowheads="1"/>
            </p:cNvSpPr>
            <p:nvPr/>
          </p:nvSpPr>
          <p:spPr bwMode="auto">
            <a:xfrm>
              <a:off x="2308537" y="2284367"/>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46" name="Rectangle 38"/>
            <p:cNvSpPr>
              <a:spLocks noChangeArrowheads="1"/>
            </p:cNvSpPr>
            <p:nvPr/>
          </p:nvSpPr>
          <p:spPr bwMode="auto">
            <a:xfrm>
              <a:off x="2308537" y="2081167"/>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47" name="Rectangle 40"/>
            <p:cNvSpPr>
              <a:spLocks noChangeArrowheads="1"/>
            </p:cNvSpPr>
            <p:nvPr/>
          </p:nvSpPr>
          <p:spPr bwMode="auto">
            <a:xfrm>
              <a:off x="2308537" y="1876380"/>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48" name="Rectangle 42"/>
            <p:cNvSpPr>
              <a:spLocks noChangeArrowheads="1"/>
            </p:cNvSpPr>
            <p:nvPr/>
          </p:nvSpPr>
          <p:spPr bwMode="auto">
            <a:xfrm>
              <a:off x="2308537" y="1674767"/>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49" name="Rectangle 44"/>
            <p:cNvSpPr>
              <a:spLocks noChangeArrowheads="1"/>
            </p:cNvSpPr>
            <p:nvPr/>
          </p:nvSpPr>
          <p:spPr bwMode="auto">
            <a:xfrm>
              <a:off x="2308537" y="1469980"/>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nvGrpSpPr>
          <p:cNvPr id="266" name="组合 265"/>
          <p:cNvGrpSpPr/>
          <p:nvPr/>
        </p:nvGrpSpPr>
        <p:grpSpPr>
          <a:xfrm>
            <a:off x="6130481" y="2206846"/>
            <a:ext cx="3629476" cy="3035081"/>
            <a:chOff x="2975066" y="1838511"/>
            <a:chExt cx="4093207" cy="3422875"/>
          </a:xfrm>
        </p:grpSpPr>
        <p:grpSp>
          <p:nvGrpSpPr>
            <p:cNvPr id="265" name="组合 264"/>
            <p:cNvGrpSpPr/>
            <p:nvPr/>
          </p:nvGrpSpPr>
          <p:grpSpPr>
            <a:xfrm>
              <a:off x="2975066" y="1838511"/>
              <a:ext cx="4093207" cy="3422875"/>
              <a:chOff x="2975066" y="1838511"/>
              <a:chExt cx="4093207" cy="3422875"/>
            </a:xfrm>
          </p:grpSpPr>
          <p:sp>
            <p:nvSpPr>
              <p:cNvPr id="75" name="Freeform 8"/>
              <p:cNvSpPr>
                <a:spLocks/>
              </p:cNvSpPr>
              <p:nvPr/>
            </p:nvSpPr>
            <p:spPr bwMode="auto">
              <a:xfrm flipH="1">
                <a:off x="3565342" y="1838511"/>
                <a:ext cx="2545720" cy="1464194"/>
              </a:xfrm>
              <a:custGeom>
                <a:avLst/>
                <a:gdLst>
                  <a:gd name="T0" fmla="*/ 972 w 972"/>
                  <a:gd name="T1" fmla="*/ 458 h 571"/>
                  <a:gd name="T2" fmla="*/ 880 w 972"/>
                  <a:gd name="T3" fmla="*/ 350 h 571"/>
                  <a:gd name="T4" fmla="*/ 892 w 972"/>
                  <a:gd name="T5" fmla="*/ 295 h 571"/>
                  <a:gd name="T6" fmla="*/ 732 w 972"/>
                  <a:gd name="T7" fmla="*/ 150 h 571"/>
                  <a:gd name="T8" fmla="*/ 684 w 972"/>
                  <a:gd name="T9" fmla="*/ 156 h 571"/>
                  <a:gd name="T10" fmla="*/ 416 w 972"/>
                  <a:gd name="T11" fmla="*/ 0 h 571"/>
                  <a:gd name="T12" fmla="*/ 120 w 972"/>
                  <a:gd name="T13" fmla="*/ 270 h 571"/>
                  <a:gd name="T14" fmla="*/ 130 w 972"/>
                  <a:gd name="T15" fmla="*/ 341 h 571"/>
                  <a:gd name="T16" fmla="*/ 128 w 972"/>
                  <a:gd name="T17" fmla="*/ 340 h 571"/>
                  <a:gd name="T18" fmla="*/ 0 w 972"/>
                  <a:gd name="T19" fmla="*/ 456 h 571"/>
                  <a:gd name="T20" fmla="*/ 116 w 972"/>
                  <a:gd name="T21" fmla="*/ 570 h 571"/>
                  <a:gd name="T22" fmla="*/ 121 w 972"/>
                  <a:gd name="T23" fmla="*/ 571 h 571"/>
                  <a:gd name="T24" fmla="*/ 851 w 972"/>
                  <a:gd name="T25" fmla="*/ 571 h 571"/>
                  <a:gd name="T26" fmla="*/ 854 w 972"/>
                  <a:gd name="T27" fmla="*/ 571 h 571"/>
                  <a:gd name="T28" fmla="*/ 972 w 972"/>
                  <a:gd name="T29" fmla="*/ 458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2" h="571">
                    <a:moveTo>
                      <a:pt x="972" y="458"/>
                    </a:moveTo>
                    <a:cubicBezTo>
                      <a:pt x="972" y="406"/>
                      <a:pt x="933" y="363"/>
                      <a:pt x="880" y="350"/>
                    </a:cubicBezTo>
                    <a:cubicBezTo>
                      <a:pt x="888" y="333"/>
                      <a:pt x="892" y="314"/>
                      <a:pt x="892" y="295"/>
                    </a:cubicBezTo>
                    <a:cubicBezTo>
                      <a:pt x="892" y="215"/>
                      <a:pt x="820" y="150"/>
                      <a:pt x="732" y="150"/>
                    </a:cubicBezTo>
                    <a:cubicBezTo>
                      <a:pt x="715" y="150"/>
                      <a:pt x="699" y="152"/>
                      <a:pt x="684" y="156"/>
                    </a:cubicBezTo>
                    <a:cubicBezTo>
                      <a:pt x="637" y="64"/>
                      <a:pt x="535" y="0"/>
                      <a:pt x="416" y="0"/>
                    </a:cubicBezTo>
                    <a:cubicBezTo>
                      <a:pt x="253" y="0"/>
                      <a:pt x="120" y="121"/>
                      <a:pt x="120" y="270"/>
                    </a:cubicBezTo>
                    <a:cubicBezTo>
                      <a:pt x="120" y="295"/>
                      <a:pt x="124" y="318"/>
                      <a:pt x="130" y="341"/>
                    </a:cubicBezTo>
                    <a:cubicBezTo>
                      <a:pt x="129" y="340"/>
                      <a:pt x="129" y="340"/>
                      <a:pt x="128" y="340"/>
                    </a:cubicBezTo>
                    <a:cubicBezTo>
                      <a:pt x="57" y="340"/>
                      <a:pt x="0" y="392"/>
                      <a:pt x="0" y="456"/>
                    </a:cubicBezTo>
                    <a:cubicBezTo>
                      <a:pt x="0" y="516"/>
                      <a:pt x="51" y="565"/>
                      <a:pt x="116" y="570"/>
                    </a:cubicBezTo>
                    <a:cubicBezTo>
                      <a:pt x="117" y="571"/>
                      <a:pt x="119" y="571"/>
                      <a:pt x="121" y="571"/>
                    </a:cubicBezTo>
                    <a:cubicBezTo>
                      <a:pt x="851" y="571"/>
                      <a:pt x="851" y="571"/>
                      <a:pt x="851" y="571"/>
                    </a:cubicBezTo>
                    <a:cubicBezTo>
                      <a:pt x="852" y="571"/>
                      <a:pt x="853" y="571"/>
                      <a:pt x="854" y="571"/>
                    </a:cubicBezTo>
                    <a:cubicBezTo>
                      <a:pt x="920" y="567"/>
                      <a:pt x="972" y="518"/>
                      <a:pt x="972" y="458"/>
                    </a:cubicBezTo>
                    <a:close/>
                  </a:path>
                </a:pathLst>
              </a:custGeom>
              <a:solidFill>
                <a:srgbClr val="0055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73" name="Freeform 6"/>
              <p:cNvSpPr>
                <a:spLocks/>
              </p:cNvSpPr>
              <p:nvPr/>
            </p:nvSpPr>
            <p:spPr bwMode="auto">
              <a:xfrm>
                <a:off x="2975066" y="3430815"/>
                <a:ext cx="2926656" cy="1830571"/>
              </a:xfrm>
              <a:custGeom>
                <a:avLst/>
                <a:gdLst>
                  <a:gd name="T0" fmla="*/ 0 w 1290"/>
                  <a:gd name="T1" fmla="*/ 150 h 758"/>
                  <a:gd name="T2" fmla="*/ 122 w 1290"/>
                  <a:gd name="T3" fmla="*/ 294 h 758"/>
                  <a:gd name="T4" fmla="*/ 106 w 1290"/>
                  <a:gd name="T5" fmla="*/ 366 h 758"/>
                  <a:gd name="T6" fmla="*/ 319 w 1290"/>
                  <a:gd name="T7" fmla="*/ 559 h 758"/>
                  <a:gd name="T8" fmla="*/ 382 w 1290"/>
                  <a:gd name="T9" fmla="*/ 550 h 758"/>
                  <a:gd name="T10" fmla="*/ 738 w 1290"/>
                  <a:gd name="T11" fmla="*/ 758 h 758"/>
                  <a:gd name="T12" fmla="*/ 1130 w 1290"/>
                  <a:gd name="T13" fmla="*/ 399 h 758"/>
                  <a:gd name="T14" fmla="*/ 1117 w 1290"/>
                  <a:gd name="T15" fmla="*/ 306 h 758"/>
                  <a:gd name="T16" fmla="*/ 1120 w 1290"/>
                  <a:gd name="T17" fmla="*/ 306 h 758"/>
                  <a:gd name="T18" fmla="*/ 1290 w 1290"/>
                  <a:gd name="T19" fmla="*/ 153 h 758"/>
                  <a:gd name="T20" fmla="*/ 1136 w 1290"/>
                  <a:gd name="T21" fmla="*/ 1 h 758"/>
                  <a:gd name="T22" fmla="*/ 1129 w 1290"/>
                  <a:gd name="T23" fmla="*/ 0 h 758"/>
                  <a:gd name="T24" fmla="*/ 161 w 1290"/>
                  <a:gd name="T25" fmla="*/ 0 h 758"/>
                  <a:gd name="T26" fmla="*/ 156 w 1290"/>
                  <a:gd name="T27" fmla="*/ 0 h 758"/>
                  <a:gd name="T28" fmla="*/ 0 w 1290"/>
                  <a:gd name="T29" fmla="*/ 150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0" h="758">
                    <a:moveTo>
                      <a:pt x="0" y="150"/>
                    </a:moveTo>
                    <a:cubicBezTo>
                      <a:pt x="0" y="218"/>
                      <a:pt x="52" y="276"/>
                      <a:pt x="122" y="294"/>
                    </a:cubicBezTo>
                    <a:cubicBezTo>
                      <a:pt x="112" y="316"/>
                      <a:pt x="106" y="340"/>
                      <a:pt x="106" y="366"/>
                    </a:cubicBezTo>
                    <a:cubicBezTo>
                      <a:pt x="106" y="472"/>
                      <a:pt x="202" y="559"/>
                      <a:pt x="319" y="559"/>
                    </a:cubicBezTo>
                    <a:cubicBezTo>
                      <a:pt x="341" y="559"/>
                      <a:pt x="362" y="556"/>
                      <a:pt x="382" y="550"/>
                    </a:cubicBezTo>
                    <a:cubicBezTo>
                      <a:pt x="444" y="673"/>
                      <a:pt x="580" y="758"/>
                      <a:pt x="738" y="758"/>
                    </a:cubicBezTo>
                    <a:cubicBezTo>
                      <a:pt x="955" y="758"/>
                      <a:pt x="1130" y="597"/>
                      <a:pt x="1130" y="399"/>
                    </a:cubicBezTo>
                    <a:cubicBezTo>
                      <a:pt x="1130" y="367"/>
                      <a:pt x="1125" y="336"/>
                      <a:pt x="1117" y="306"/>
                    </a:cubicBezTo>
                    <a:cubicBezTo>
                      <a:pt x="1118" y="306"/>
                      <a:pt x="1119" y="306"/>
                      <a:pt x="1120" y="306"/>
                    </a:cubicBezTo>
                    <a:cubicBezTo>
                      <a:pt x="1214" y="306"/>
                      <a:pt x="1290" y="237"/>
                      <a:pt x="1290" y="153"/>
                    </a:cubicBezTo>
                    <a:cubicBezTo>
                      <a:pt x="1290" y="73"/>
                      <a:pt x="1222" y="8"/>
                      <a:pt x="1136" y="1"/>
                    </a:cubicBezTo>
                    <a:cubicBezTo>
                      <a:pt x="1134" y="0"/>
                      <a:pt x="1132" y="0"/>
                      <a:pt x="1129" y="0"/>
                    </a:cubicBezTo>
                    <a:cubicBezTo>
                      <a:pt x="161" y="0"/>
                      <a:pt x="161" y="0"/>
                      <a:pt x="161" y="0"/>
                    </a:cubicBezTo>
                    <a:cubicBezTo>
                      <a:pt x="159" y="0"/>
                      <a:pt x="158" y="0"/>
                      <a:pt x="156" y="0"/>
                    </a:cubicBezTo>
                    <a:cubicBezTo>
                      <a:pt x="69" y="5"/>
                      <a:pt x="0" y="70"/>
                      <a:pt x="0" y="150"/>
                    </a:cubicBezTo>
                    <a:close/>
                  </a:path>
                </a:pathLst>
              </a:custGeom>
              <a:solidFill>
                <a:srgbClr val="002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76" name="Freeform 9"/>
              <p:cNvSpPr>
                <a:spLocks/>
              </p:cNvSpPr>
              <p:nvPr/>
            </p:nvSpPr>
            <p:spPr bwMode="auto">
              <a:xfrm>
                <a:off x="5145446" y="2323048"/>
                <a:ext cx="1697023" cy="998294"/>
              </a:xfrm>
              <a:custGeom>
                <a:avLst/>
                <a:gdLst>
                  <a:gd name="T0" fmla="*/ 1197 w 1197"/>
                  <a:gd name="T1" fmla="*/ 565 h 704"/>
                  <a:gd name="T2" fmla="*/ 1084 w 1197"/>
                  <a:gd name="T3" fmla="*/ 431 h 704"/>
                  <a:gd name="T4" fmla="*/ 1098 w 1197"/>
                  <a:gd name="T5" fmla="*/ 364 h 704"/>
                  <a:gd name="T6" fmla="*/ 901 w 1197"/>
                  <a:gd name="T7" fmla="*/ 185 h 704"/>
                  <a:gd name="T8" fmla="*/ 842 w 1197"/>
                  <a:gd name="T9" fmla="*/ 193 h 704"/>
                  <a:gd name="T10" fmla="*/ 512 w 1197"/>
                  <a:gd name="T11" fmla="*/ 0 h 704"/>
                  <a:gd name="T12" fmla="*/ 148 w 1197"/>
                  <a:gd name="T13" fmla="*/ 333 h 704"/>
                  <a:gd name="T14" fmla="*/ 160 w 1197"/>
                  <a:gd name="T15" fmla="*/ 420 h 704"/>
                  <a:gd name="T16" fmla="*/ 157 w 1197"/>
                  <a:gd name="T17" fmla="*/ 420 h 704"/>
                  <a:gd name="T18" fmla="*/ 0 w 1197"/>
                  <a:gd name="T19" fmla="*/ 562 h 704"/>
                  <a:gd name="T20" fmla="*/ 142 w 1197"/>
                  <a:gd name="T21" fmla="*/ 703 h 704"/>
                  <a:gd name="T22" fmla="*/ 149 w 1197"/>
                  <a:gd name="T23" fmla="*/ 704 h 704"/>
                  <a:gd name="T24" fmla="*/ 1048 w 1197"/>
                  <a:gd name="T25" fmla="*/ 704 h 704"/>
                  <a:gd name="T26" fmla="*/ 1052 w 1197"/>
                  <a:gd name="T27" fmla="*/ 704 h 704"/>
                  <a:gd name="T28" fmla="*/ 1197 w 1197"/>
                  <a:gd name="T29" fmla="*/ 565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7" h="704">
                    <a:moveTo>
                      <a:pt x="1197" y="565"/>
                    </a:moveTo>
                    <a:cubicBezTo>
                      <a:pt x="1197" y="501"/>
                      <a:pt x="1149" y="447"/>
                      <a:pt x="1084" y="431"/>
                    </a:cubicBezTo>
                    <a:cubicBezTo>
                      <a:pt x="1093" y="411"/>
                      <a:pt x="1098" y="388"/>
                      <a:pt x="1098" y="364"/>
                    </a:cubicBezTo>
                    <a:cubicBezTo>
                      <a:pt x="1098" y="265"/>
                      <a:pt x="1010" y="185"/>
                      <a:pt x="901" y="185"/>
                    </a:cubicBezTo>
                    <a:cubicBezTo>
                      <a:pt x="881" y="185"/>
                      <a:pt x="861" y="188"/>
                      <a:pt x="842" y="193"/>
                    </a:cubicBezTo>
                    <a:cubicBezTo>
                      <a:pt x="785" y="79"/>
                      <a:pt x="659" y="0"/>
                      <a:pt x="512" y="0"/>
                    </a:cubicBezTo>
                    <a:cubicBezTo>
                      <a:pt x="311" y="0"/>
                      <a:pt x="148" y="149"/>
                      <a:pt x="148" y="333"/>
                    </a:cubicBezTo>
                    <a:cubicBezTo>
                      <a:pt x="148" y="363"/>
                      <a:pt x="152" y="392"/>
                      <a:pt x="160" y="420"/>
                    </a:cubicBezTo>
                    <a:cubicBezTo>
                      <a:pt x="159" y="420"/>
                      <a:pt x="158" y="420"/>
                      <a:pt x="157" y="420"/>
                    </a:cubicBezTo>
                    <a:cubicBezTo>
                      <a:pt x="70" y="420"/>
                      <a:pt x="0" y="484"/>
                      <a:pt x="0" y="562"/>
                    </a:cubicBezTo>
                    <a:cubicBezTo>
                      <a:pt x="0" y="636"/>
                      <a:pt x="62" y="696"/>
                      <a:pt x="142" y="703"/>
                    </a:cubicBezTo>
                    <a:cubicBezTo>
                      <a:pt x="144" y="704"/>
                      <a:pt x="147" y="704"/>
                      <a:pt x="149" y="704"/>
                    </a:cubicBezTo>
                    <a:cubicBezTo>
                      <a:pt x="1048" y="704"/>
                      <a:pt x="1048" y="704"/>
                      <a:pt x="1048" y="704"/>
                    </a:cubicBezTo>
                    <a:cubicBezTo>
                      <a:pt x="1049" y="704"/>
                      <a:pt x="1051" y="704"/>
                      <a:pt x="1052" y="704"/>
                    </a:cubicBezTo>
                    <a:cubicBezTo>
                      <a:pt x="1133" y="699"/>
                      <a:pt x="1197" y="639"/>
                      <a:pt x="1197" y="565"/>
                    </a:cubicBezTo>
                    <a:close/>
                  </a:path>
                </a:pathLst>
              </a:custGeom>
              <a:solidFill>
                <a:srgbClr val="002F7D"/>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77" name="Freeform 10"/>
              <p:cNvSpPr>
                <a:spLocks/>
              </p:cNvSpPr>
              <p:nvPr/>
            </p:nvSpPr>
            <p:spPr bwMode="auto">
              <a:xfrm>
                <a:off x="5453972" y="3042932"/>
                <a:ext cx="1614301" cy="950107"/>
              </a:xfrm>
              <a:custGeom>
                <a:avLst/>
                <a:gdLst>
                  <a:gd name="T0" fmla="*/ 1139 w 1139"/>
                  <a:gd name="T1" fmla="*/ 538 h 670"/>
                  <a:gd name="T2" fmla="*/ 1031 w 1139"/>
                  <a:gd name="T3" fmla="*/ 411 h 670"/>
                  <a:gd name="T4" fmla="*/ 1045 w 1139"/>
                  <a:gd name="T5" fmla="*/ 347 h 670"/>
                  <a:gd name="T6" fmla="*/ 857 w 1139"/>
                  <a:gd name="T7" fmla="*/ 176 h 670"/>
                  <a:gd name="T8" fmla="*/ 802 w 1139"/>
                  <a:gd name="T9" fmla="*/ 184 h 670"/>
                  <a:gd name="T10" fmla="*/ 487 w 1139"/>
                  <a:gd name="T11" fmla="*/ 0 h 670"/>
                  <a:gd name="T12" fmla="*/ 141 w 1139"/>
                  <a:gd name="T13" fmla="*/ 317 h 670"/>
                  <a:gd name="T14" fmla="*/ 153 w 1139"/>
                  <a:gd name="T15" fmla="*/ 400 h 670"/>
                  <a:gd name="T16" fmla="*/ 150 w 1139"/>
                  <a:gd name="T17" fmla="*/ 400 h 670"/>
                  <a:gd name="T18" fmla="*/ 0 w 1139"/>
                  <a:gd name="T19" fmla="*/ 535 h 670"/>
                  <a:gd name="T20" fmla="*/ 135 w 1139"/>
                  <a:gd name="T21" fmla="*/ 669 h 670"/>
                  <a:gd name="T22" fmla="*/ 142 w 1139"/>
                  <a:gd name="T23" fmla="*/ 670 h 670"/>
                  <a:gd name="T24" fmla="*/ 997 w 1139"/>
                  <a:gd name="T25" fmla="*/ 670 h 670"/>
                  <a:gd name="T26" fmla="*/ 1001 w 1139"/>
                  <a:gd name="T27" fmla="*/ 670 h 670"/>
                  <a:gd name="T28" fmla="*/ 1139 w 1139"/>
                  <a:gd name="T29" fmla="*/ 538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9" h="670">
                    <a:moveTo>
                      <a:pt x="1139" y="538"/>
                    </a:moveTo>
                    <a:cubicBezTo>
                      <a:pt x="1139" y="477"/>
                      <a:pt x="1093" y="426"/>
                      <a:pt x="1031" y="411"/>
                    </a:cubicBezTo>
                    <a:cubicBezTo>
                      <a:pt x="1040" y="391"/>
                      <a:pt x="1045" y="369"/>
                      <a:pt x="1045" y="347"/>
                    </a:cubicBezTo>
                    <a:cubicBezTo>
                      <a:pt x="1045" y="253"/>
                      <a:pt x="961" y="176"/>
                      <a:pt x="857" y="176"/>
                    </a:cubicBezTo>
                    <a:cubicBezTo>
                      <a:pt x="838" y="176"/>
                      <a:pt x="819" y="179"/>
                      <a:pt x="802" y="184"/>
                    </a:cubicBezTo>
                    <a:cubicBezTo>
                      <a:pt x="747" y="76"/>
                      <a:pt x="626" y="0"/>
                      <a:pt x="487" y="0"/>
                    </a:cubicBezTo>
                    <a:cubicBezTo>
                      <a:pt x="296" y="0"/>
                      <a:pt x="141" y="142"/>
                      <a:pt x="141" y="317"/>
                    </a:cubicBezTo>
                    <a:cubicBezTo>
                      <a:pt x="141" y="346"/>
                      <a:pt x="145" y="374"/>
                      <a:pt x="153" y="400"/>
                    </a:cubicBezTo>
                    <a:cubicBezTo>
                      <a:pt x="152" y="400"/>
                      <a:pt x="151" y="400"/>
                      <a:pt x="150" y="400"/>
                    </a:cubicBezTo>
                    <a:cubicBezTo>
                      <a:pt x="67" y="400"/>
                      <a:pt x="0" y="460"/>
                      <a:pt x="0" y="535"/>
                    </a:cubicBezTo>
                    <a:cubicBezTo>
                      <a:pt x="0" y="605"/>
                      <a:pt x="59" y="663"/>
                      <a:pt x="135" y="669"/>
                    </a:cubicBezTo>
                    <a:cubicBezTo>
                      <a:pt x="137" y="670"/>
                      <a:pt x="140" y="670"/>
                      <a:pt x="142" y="670"/>
                    </a:cubicBezTo>
                    <a:cubicBezTo>
                      <a:pt x="997" y="670"/>
                      <a:pt x="997" y="670"/>
                      <a:pt x="997" y="670"/>
                    </a:cubicBezTo>
                    <a:cubicBezTo>
                      <a:pt x="998" y="670"/>
                      <a:pt x="1000" y="670"/>
                      <a:pt x="1001" y="670"/>
                    </a:cubicBezTo>
                    <a:cubicBezTo>
                      <a:pt x="1078" y="665"/>
                      <a:pt x="1139" y="608"/>
                      <a:pt x="1139" y="538"/>
                    </a:cubicBezTo>
                    <a:close/>
                  </a:path>
                </a:pathLst>
              </a:custGeom>
              <a:solidFill>
                <a:srgbClr val="0055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78" name="Freeform 11"/>
              <p:cNvSpPr>
                <a:spLocks/>
              </p:cNvSpPr>
              <p:nvPr/>
            </p:nvSpPr>
            <p:spPr bwMode="auto">
              <a:xfrm>
                <a:off x="4647230" y="3684054"/>
                <a:ext cx="2362950" cy="1388702"/>
              </a:xfrm>
              <a:custGeom>
                <a:avLst/>
                <a:gdLst>
                  <a:gd name="T0" fmla="*/ 1179 w 1179"/>
                  <a:gd name="T1" fmla="*/ 137 h 693"/>
                  <a:gd name="T2" fmla="*/ 1068 w 1179"/>
                  <a:gd name="T3" fmla="*/ 269 h 693"/>
                  <a:gd name="T4" fmla="*/ 1082 w 1179"/>
                  <a:gd name="T5" fmla="*/ 334 h 693"/>
                  <a:gd name="T6" fmla="*/ 887 w 1179"/>
                  <a:gd name="T7" fmla="*/ 511 h 693"/>
                  <a:gd name="T8" fmla="*/ 830 w 1179"/>
                  <a:gd name="T9" fmla="*/ 503 h 693"/>
                  <a:gd name="T10" fmla="*/ 504 w 1179"/>
                  <a:gd name="T11" fmla="*/ 693 h 693"/>
                  <a:gd name="T12" fmla="*/ 146 w 1179"/>
                  <a:gd name="T13" fmla="*/ 365 h 693"/>
                  <a:gd name="T14" fmla="*/ 158 w 1179"/>
                  <a:gd name="T15" fmla="*/ 280 h 693"/>
                  <a:gd name="T16" fmla="*/ 155 w 1179"/>
                  <a:gd name="T17" fmla="*/ 280 h 693"/>
                  <a:gd name="T18" fmla="*/ 0 w 1179"/>
                  <a:gd name="T19" fmla="*/ 140 h 693"/>
                  <a:gd name="T20" fmla="*/ 140 w 1179"/>
                  <a:gd name="T21" fmla="*/ 1 h 693"/>
                  <a:gd name="T22" fmla="*/ 147 w 1179"/>
                  <a:gd name="T23" fmla="*/ 0 h 693"/>
                  <a:gd name="T24" fmla="*/ 1032 w 1179"/>
                  <a:gd name="T25" fmla="*/ 0 h 693"/>
                  <a:gd name="T26" fmla="*/ 1036 w 1179"/>
                  <a:gd name="T27" fmla="*/ 0 h 693"/>
                  <a:gd name="T28" fmla="*/ 1179 w 1179"/>
                  <a:gd name="T29" fmla="*/ 13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693">
                    <a:moveTo>
                      <a:pt x="1179" y="137"/>
                    </a:moveTo>
                    <a:cubicBezTo>
                      <a:pt x="1179" y="200"/>
                      <a:pt x="1132" y="253"/>
                      <a:pt x="1068" y="269"/>
                    </a:cubicBezTo>
                    <a:cubicBezTo>
                      <a:pt x="1077" y="289"/>
                      <a:pt x="1082" y="311"/>
                      <a:pt x="1082" y="334"/>
                    </a:cubicBezTo>
                    <a:cubicBezTo>
                      <a:pt x="1082" y="432"/>
                      <a:pt x="995" y="511"/>
                      <a:pt x="887" y="511"/>
                    </a:cubicBezTo>
                    <a:cubicBezTo>
                      <a:pt x="867" y="511"/>
                      <a:pt x="848" y="508"/>
                      <a:pt x="830" y="503"/>
                    </a:cubicBezTo>
                    <a:cubicBezTo>
                      <a:pt x="773" y="615"/>
                      <a:pt x="648" y="693"/>
                      <a:pt x="504" y="693"/>
                    </a:cubicBezTo>
                    <a:cubicBezTo>
                      <a:pt x="306" y="693"/>
                      <a:pt x="146" y="546"/>
                      <a:pt x="146" y="365"/>
                    </a:cubicBezTo>
                    <a:cubicBezTo>
                      <a:pt x="146" y="335"/>
                      <a:pt x="150" y="307"/>
                      <a:pt x="158" y="280"/>
                    </a:cubicBezTo>
                    <a:cubicBezTo>
                      <a:pt x="157" y="280"/>
                      <a:pt x="156" y="280"/>
                      <a:pt x="155" y="280"/>
                    </a:cubicBezTo>
                    <a:cubicBezTo>
                      <a:pt x="69" y="280"/>
                      <a:pt x="0" y="217"/>
                      <a:pt x="0" y="140"/>
                    </a:cubicBezTo>
                    <a:cubicBezTo>
                      <a:pt x="0" y="67"/>
                      <a:pt x="61" y="7"/>
                      <a:pt x="140" y="1"/>
                    </a:cubicBezTo>
                    <a:cubicBezTo>
                      <a:pt x="142" y="0"/>
                      <a:pt x="144" y="0"/>
                      <a:pt x="147" y="0"/>
                    </a:cubicBezTo>
                    <a:cubicBezTo>
                      <a:pt x="1032" y="0"/>
                      <a:pt x="1032" y="0"/>
                      <a:pt x="1032" y="0"/>
                    </a:cubicBezTo>
                    <a:cubicBezTo>
                      <a:pt x="1034" y="0"/>
                      <a:pt x="1035" y="0"/>
                      <a:pt x="1036" y="0"/>
                    </a:cubicBezTo>
                    <a:cubicBezTo>
                      <a:pt x="1116" y="5"/>
                      <a:pt x="1179" y="64"/>
                      <a:pt x="1179" y="137"/>
                    </a:cubicBez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pic>
          <p:nvPicPr>
            <p:cNvPr id="262" name="Picture 34">
              <a:extLst>
                <a:ext uri="{FF2B5EF4-FFF2-40B4-BE49-F238E27FC236}">
                  <a16:creationId xmlns:a16="http://schemas.microsoft.com/office/drawing/2014/main" id="{F51C4BEF-9B72-C044-91ED-8ADC32368EB7}"/>
                </a:ext>
              </a:extLst>
            </p:cNvPr>
            <p:cNvPicPr>
              <a:picLocks noChangeAspect="1"/>
            </p:cNvPicPr>
            <p:nvPr/>
          </p:nvPicPr>
          <p:blipFill>
            <a:blip r:embed="rId6" cstate="screen">
              <a:grayscl/>
              <a:extLst>
                <a:ext uri="{28A0092B-C50C-407E-A947-70E740481C1C}">
                  <a14:useLocalDpi xmlns:a14="http://schemas.microsoft.com/office/drawing/2010/main"/>
                </a:ext>
              </a:extLst>
            </a:blip>
            <a:stretch>
              <a:fillRect/>
            </a:stretch>
          </p:blipFill>
          <p:spPr>
            <a:xfrm rot="9438374">
              <a:off x="3645159" y="2516180"/>
              <a:ext cx="1805470" cy="2242077"/>
            </a:xfrm>
            <a:prstGeom prst="rect">
              <a:avLst/>
            </a:prstGeom>
          </p:spPr>
        </p:pic>
      </p:grpSp>
      <p:grpSp>
        <p:nvGrpSpPr>
          <p:cNvPr id="8" name="组合 7"/>
          <p:cNvGrpSpPr/>
          <p:nvPr/>
        </p:nvGrpSpPr>
        <p:grpSpPr>
          <a:xfrm>
            <a:off x="467725" y="2836939"/>
            <a:ext cx="6771892" cy="373884"/>
            <a:chOff x="467725" y="3005261"/>
            <a:chExt cx="6771892" cy="373884"/>
          </a:xfrm>
          <a:solidFill>
            <a:schemeClr val="accent2"/>
          </a:solidFill>
        </p:grpSpPr>
        <p:grpSp>
          <p:nvGrpSpPr>
            <p:cNvPr id="356" name="组合 355"/>
            <p:cNvGrpSpPr/>
            <p:nvPr/>
          </p:nvGrpSpPr>
          <p:grpSpPr>
            <a:xfrm>
              <a:off x="467725" y="3005261"/>
              <a:ext cx="6771892" cy="360000"/>
              <a:chOff x="460105" y="3378641"/>
              <a:chExt cx="6771892" cy="360000"/>
            </a:xfrm>
            <a:grpFill/>
          </p:grpSpPr>
          <p:sp>
            <p:nvSpPr>
              <p:cNvPr id="351" name="五边形 350"/>
              <p:cNvSpPr/>
              <p:nvPr/>
            </p:nvSpPr>
            <p:spPr bwMode="gray">
              <a:xfrm rot="10800000" flipH="1">
                <a:off x="460105" y="3378641"/>
                <a:ext cx="1854079"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sp>
            <p:nvSpPr>
              <p:cNvPr id="352" name="五边形 351"/>
              <p:cNvSpPr/>
              <p:nvPr/>
            </p:nvSpPr>
            <p:spPr bwMode="gray">
              <a:xfrm flipH="1">
                <a:off x="2331217" y="3378641"/>
                <a:ext cx="4900780"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grpSp>
        <p:sp>
          <p:nvSpPr>
            <p:cNvPr id="277" name="Rectangle 51"/>
            <p:cNvSpPr/>
            <p:nvPr/>
          </p:nvSpPr>
          <p:spPr>
            <a:xfrm>
              <a:off x="620232" y="3071501"/>
              <a:ext cx="1390465" cy="307644"/>
            </a:xfrm>
            <a:prstGeom prst="rect">
              <a:avLst/>
            </a:prstGeom>
            <a:grpFill/>
          </p:spPr>
          <p:txBody>
            <a:bodyPr wrap="square" lIns="0" tIns="0" rIns="0" bIns="0">
              <a:noAutofit/>
            </a:bodyPr>
            <a:lstStyle/>
            <a:p>
              <a:pPr>
                <a:spcAft>
                  <a:spcPts val="1333"/>
                </a:spcAft>
              </a:pPr>
              <a:r>
                <a:rPr lang="en-US" altLang="zh-CN" sz="1400" b="1" dirty="0">
                  <a:solidFill>
                    <a:srgbClr val="FFFFFF"/>
                  </a:solidFill>
                  <a:latin typeface="+mj-ea"/>
                  <a:ea typeface="+mj-ea"/>
                </a:rPr>
                <a:t>Lorem ipsum</a:t>
              </a:r>
              <a:endParaRPr lang="zh-CN" altLang="en-US" sz="1400" b="1" dirty="0">
                <a:solidFill>
                  <a:srgbClr val="FFFFFF"/>
                </a:solidFill>
                <a:latin typeface="+mj-ea"/>
                <a:ea typeface="+mj-ea"/>
              </a:endParaRPr>
            </a:p>
          </p:txBody>
        </p:sp>
        <p:sp>
          <p:nvSpPr>
            <p:cNvPr id="278" name="L 形 277"/>
            <p:cNvSpPr/>
            <p:nvPr/>
          </p:nvSpPr>
          <p:spPr bwMode="gray">
            <a:xfrm rot="13491571">
              <a:off x="2571200" y="3130069"/>
              <a:ext cx="124672" cy="122446"/>
            </a:xfrm>
            <a:prstGeom prst="corner">
              <a:avLst>
                <a:gd name="adj1" fmla="val 28182"/>
                <a:gd name="adj2" fmla="val 3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b="1" dirty="0">
                <a:solidFill>
                  <a:schemeClr val="bg1"/>
                </a:solidFill>
                <a:latin typeface="+mj-ea"/>
                <a:ea typeface="+mj-ea"/>
              </a:endParaRPr>
            </a:p>
          </p:txBody>
        </p:sp>
        <p:sp>
          <p:nvSpPr>
            <p:cNvPr id="279" name="Rectangle 51"/>
            <p:cNvSpPr/>
            <p:nvPr/>
          </p:nvSpPr>
          <p:spPr>
            <a:xfrm>
              <a:off x="2800104" y="3071501"/>
              <a:ext cx="3617545" cy="236390"/>
            </a:xfrm>
            <a:prstGeom prst="rect">
              <a:avLst/>
            </a:prstGeom>
            <a:grpFill/>
          </p:spPr>
          <p:txBody>
            <a:bodyPr wrap="square" lIns="0" tIns="0" rIns="0" bIns="0">
              <a:noAutofit/>
            </a:bodyPr>
            <a:lstStyle/>
            <a:p>
              <a:pPr>
                <a:spcAft>
                  <a:spcPts val="1333"/>
                </a:spcAft>
              </a:pPr>
              <a:r>
                <a:rPr lang="en-US" altLang="zh-CN" sz="1400" b="1" dirty="0">
                  <a:solidFill>
                    <a:srgbClr val="FFFFFF"/>
                  </a:solidFill>
                  <a:latin typeface="+mj-ea"/>
                  <a:ea typeface="+mj-ea"/>
                </a:rPr>
                <a:t>Lorem </a:t>
              </a:r>
              <a:r>
                <a:rPr lang="en-US" altLang="zh-CN" sz="1400" b="1" dirty="0" err="1">
                  <a:solidFill>
                    <a:srgbClr val="FFFFFF"/>
                  </a:solidFill>
                  <a:latin typeface="+mj-ea"/>
                  <a:ea typeface="+mj-ea"/>
                </a:rPr>
                <a:t>ipsumLorem</a:t>
              </a:r>
              <a:r>
                <a:rPr lang="en-US" altLang="zh-CN" sz="1400" b="1" dirty="0">
                  <a:solidFill>
                    <a:srgbClr val="FFFFFF"/>
                  </a:solidFill>
                  <a:latin typeface="+mj-ea"/>
                  <a:ea typeface="+mj-ea"/>
                </a:rPr>
                <a:t> ipsum</a:t>
              </a:r>
              <a:endParaRPr lang="zh-CN" altLang="en-US" sz="1400" b="1" dirty="0">
                <a:solidFill>
                  <a:srgbClr val="FFFFFF"/>
                </a:solidFill>
                <a:latin typeface="+mj-ea"/>
                <a:ea typeface="+mj-ea"/>
              </a:endParaRPr>
            </a:p>
          </p:txBody>
        </p:sp>
      </p:grpSp>
      <p:grpSp>
        <p:nvGrpSpPr>
          <p:cNvPr id="263" name="组合 262"/>
          <p:cNvGrpSpPr/>
          <p:nvPr/>
        </p:nvGrpSpPr>
        <p:grpSpPr>
          <a:xfrm>
            <a:off x="6503877" y="2630903"/>
            <a:ext cx="2981846" cy="1755241"/>
            <a:chOff x="3403777" y="2324970"/>
            <a:chExt cx="3362830" cy="1979508"/>
          </a:xfrm>
        </p:grpSpPr>
        <p:sp>
          <p:nvSpPr>
            <p:cNvPr id="79" name="Freeform 12"/>
            <p:cNvSpPr>
              <a:spLocks/>
            </p:cNvSpPr>
            <p:nvPr/>
          </p:nvSpPr>
          <p:spPr bwMode="auto">
            <a:xfrm>
              <a:off x="3403777" y="2324970"/>
              <a:ext cx="3362830" cy="1979508"/>
            </a:xfrm>
            <a:custGeom>
              <a:avLst/>
              <a:gdLst>
                <a:gd name="T0" fmla="*/ 1387 w 1387"/>
                <a:gd name="T1" fmla="*/ 655 h 816"/>
                <a:gd name="T2" fmla="*/ 1256 w 1387"/>
                <a:gd name="T3" fmla="*/ 500 h 816"/>
                <a:gd name="T4" fmla="*/ 1273 w 1387"/>
                <a:gd name="T5" fmla="*/ 423 h 816"/>
                <a:gd name="T6" fmla="*/ 1044 w 1387"/>
                <a:gd name="T7" fmla="*/ 215 h 816"/>
                <a:gd name="T8" fmla="*/ 976 w 1387"/>
                <a:gd name="T9" fmla="*/ 224 h 816"/>
                <a:gd name="T10" fmla="*/ 593 w 1387"/>
                <a:gd name="T11" fmla="*/ 0 h 816"/>
                <a:gd name="T12" fmla="*/ 171 w 1387"/>
                <a:gd name="T13" fmla="*/ 387 h 816"/>
                <a:gd name="T14" fmla="*/ 186 w 1387"/>
                <a:gd name="T15" fmla="*/ 487 h 816"/>
                <a:gd name="T16" fmla="*/ 182 w 1387"/>
                <a:gd name="T17" fmla="*/ 487 h 816"/>
                <a:gd name="T18" fmla="*/ 0 w 1387"/>
                <a:gd name="T19" fmla="*/ 651 h 816"/>
                <a:gd name="T20" fmla="*/ 165 w 1387"/>
                <a:gd name="T21" fmla="*/ 815 h 816"/>
                <a:gd name="T22" fmla="*/ 173 w 1387"/>
                <a:gd name="T23" fmla="*/ 816 h 816"/>
                <a:gd name="T24" fmla="*/ 1214 w 1387"/>
                <a:gd name="T25" fmla="*/ 816 h 816"/>
                <a:gd name="T26" fmla="*/ 1219 w 1387"/>
                <a:gd name="T27" fmla="*/ 816 h 816"/>
                <a:gd name="T28" fmla="*/ 1387 w 1387"/>
                <a:gd name="T29" fmla="*/ 655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7" h="816">
                  <a:moveTo>
                    <a:pt x="1387" y="655"/>
                  </a:moveTo>
                  <a:cubicBezTo>
                    <a:pt x="1387" y="581"/>
                    <a:pt x="1331" y="519"/>
                    <a:pt x="1256" y="500"/>
                  </a:cubicBezTo>
                  <a:cubicBezTo>
                    <a:pt x="1267" y="476"/>
                    <a:pt x="1273" y="450"/>
                    <a:pt x="1273" y="423"/>
                  </a:cubicBezTo>
                  <a:cubicBezTo>
                    <a:pt x="1273" y="308"/>
                    <a:pt x="1170" y="215"/>
                    <a:pt x="1044" y="215"/>
                  </a:cubicBezTo>
                  <a:cubicBezTo>
                    <a:pt x="1020" y="215"/>
                    <a:pt x="997" y="218"/>
                    <a:pt x="976" y="224"/>
                  </a:cubicBezTo>
                  <a:cubicBezTo>
                    <a:pt x="909" y="92"/>
                    <a:pt x="763" y="0"/>
                    <a:pt x="593" y="0"/>
                  </a:cubicBezTo>
                  <a:cubicBezTo>
                    <a:pt x="360" y="0"/>
                    <a:pt x="171" y="173"/>
                    <a:pt x="171" y="387"/>
                  </a:cubicBezTo>
                  <a:cubicBezTo>
                    <a:pt x="171" y="421"/>
                    <a:pt x="177" y="455"/>
                    <a:pt x="186" y="487"/>
                  </a:cubicBezTo>
                  <a:cubicBezTo>
                    <a:pt x="185" y="487"/>
                    <a:pt x="183" y="487"/>
                    <a:pt x="182" y="487"/>
                  </a:cubicBezTo>
                  <a:cubicBezTo>
                    <a:pt x="81" y="487"/>
                    <a:pt x="0" y="561"/>
                    <a:pt x="0" y="651"/>
                  </a:cubicBezTo>
                  <a:cubicBezTo>
                    <a:pt x="0" y="737"/>
                    <a:pt x="72" y="807"/>
                    <a:pt x="165" y="815"/>
                  </a:cubicBezTo>
                  <a:cubicBezTo>
                    <a:pt x="167" y="816"/>
                    <a:pt x="170" y="816"/>
                    <a:pt x="173" y="816"/>
                  </a:cubicBezTo>
                  <a:cubicBezTo>
                    <a:pt x="1214" y="816"/>
                    <a:pt x="1214" y="816"/>
                    <a:pt x="1214" y="816"/>
                  </a:cubicBezTo>
                  <a:cubicBezTo>
                    <a:pt x="1216" y="816"/>
                    <a:pt x="1217" y="816"/>
                    <a:pt x="1219" y="816"/>
                  </a:cubicBezTo>
                  <a:cubicBezTo>
                    <a:pt x="1313" y="810"/>
                    <a:pt x="1387" y="741"/>
                    <a:pt x="1387" y="655"/>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25" name="矩形 124"/>
            <p:cNvSpPr/>
            <p:nvPr/>
          </p:nvSpPr>
          <p:spPr>
            <a:xfrm>
              <a:off x="4055023" y="3231266"/>
              <a:ext cx="2142778" cy="590072"/>
            </a:xfrm>
            <a:prstGeom prst="rect">
              <a:avLst/>
            </a:prstGeom>
          </p:spPr>
          <p:txBody>
            <a:bodyPr wrap="square">
              <a:spAutoFit/>
            </a:bodyPr>
            <a:lstStyle/>
            <a:p>
              <a:pPr algn="ctr"/>
              <a:r>
                <a:rPr lang="en-US" altLang="zh-CN" sz="1400" b="1" dirty="0">
                  <a:solidFill>
                    <a:schemeClr val="bg1"/>
                  </a:solidFill>
                  <a:latin typeface="+mj-ea"/>
                  <a:ea typeface="+mj-ea"/>
                </a:rPr>
                <a:t>Lorem </a:t>
              </a:r>
              <a:r>
                <a:rPr lang="en-US" altLang="zh-CN" sz="1400" b="1" dirty="0" err="1">
                  <a:solidFill>
                    <a:schemeClr val="bg1"/>
                  </a:solidFill>
                  <a:latin typeface="+mj-ea"/>
                  <a:ea typeface="+mj-ea"/>
                </a:rPr>
                <a:t>ipsumLorem</a:t>
              </a:r>
              <a:r>
                <a:rPr lang="en-US" altLang="zh-CN" sz="1400" b="1" dirty="0">
                  <a:solidFill>
                    <a:schemeClr val="bg1"/>
                  </a:solidFill>
                  <a:latin typeface="+mj-ea"/>
                  <a:ea typeface="+mj-ea"/>
                </a:rPr>
                <a:t> </a:t>
              </a:r>
              <a:r>
                <a:rPr lang="en-US" altLang="zh-CN" sz="1400" b="1" dirty="0" err="1">
                  <a:solidFill>
                    <a:schemeClr val="bg1"/>
                  </a:solidFill>
                  <a:latin typeface="+mj-ea"/>
                  <a:ea typeface="+mj-ea"/>
                </a:rPr>
                <a:t>ipsumLorem</a:t>
              </a:r>
              <a:r>
                <a:rPr lang="en-US" altLang="zh-CN" sz="1400" b="1" dirty="0">
                  <a:solidFill>
                    <a:schemeClr val="bg1"/>
                  </a:solidFill>
                  <a:latin typeface="+mj-ea"/>
                  <a:ea typeface="+mj-ea"/>
                </a:rPr>
                <a:t> ipsum</a:t>
              </a:r>
              <a:endParaRPr lang="en-US" sz="1400" dirty="0">
                <a:solidFill>
                  <a:schemeClr val="bg1"/>
                </a:solidFill>
                <a:latin typeface="+mj-ea"/>
                <a:ea typeface="+mj-ea"/>
              </a:endParaRPr>
            </a:p>
          </p:txBody>
        </p:sp>
      </p:grpSp>
    </p:spTree>
    <p:custDataLst>
      <p:tags r:id="rId1"/>
    </p:custDataLst>
    <p:extLst>
      <p:ext uri="{BB962C8B-B14F-4D97-AF65-F5344CB8AC3E}">
        <p14:creationId xmlns:p14="http://schemas.microsoft.com/office/powerpoint/2010/main" val="2672317680"/>
      </p:ext>
    </p:extLst>
  </p:cSld>
  <p:clrMapOvr>
    <a:masterClrMapping/>
  </p:clrMapOvr>
  <p:transition>
    <p:fade/>
  </p:transition>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AC4866D4-3017-C444-8B82-4F995742AAF2}"/>
              </a:ext>
            </a:extLst>
          </p:cNvPr>
          <p:cNvSpPr/>
          <p:nvPr/>
        </p:nvSpPr>
        <p:spPr bwMode="gray">
          <a:xfrm>
            <a:off x="7983636" y="2598359"/>
            <a:ext cx="2319241" cy="2519507"/>
          </a:xfrm>
          <a:prstGeom prst="rect">
            <a:avLst/>
          </a:prstGeom>
          <a:noFill/>
          <a:ln w="9525" algn="ctr">
            <a:solidFill>
              <a:schemeClr val="bg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Rectangle 25">
            <a:extLst>
              <a:ext uri="{FF2B5EF4-FFF2-40B4-BE49-F238E27FC236}">
                <a16:creationId xmlns:a16="http://schemas.microsoft.com/office/drawing/2014/main" id="{57B20355-B007-4B4C-B90A-3C0A3EA84F1C}"/>
              </a:ext>
            </a:extLst>
          </p:cNvPr>
          <p:cNvSpPr/>
          <p:nvPr/>
        </p:nvSpPr>
        <p:spPr bwMode="gray">
          <a:xfrm>
            <a:off x="7983636" y="2598359"/>
            <a:ext cx="2319241" cy="332399"/>
          </a:xfrm>
          <a:prstGeom prst="rect">
            <a:avLst/>
          </a:prstGeom>
          <a:solidFill>
            <a:schemeClr val="accent6"/>
          </a:solidFill>
          <a:ln w="9525" algn="ctr">
            <a:solidFill>
              <a:schemeClr val="bg2">
                <a:lumMod val="60000"/>
                <a:lumOff val="40000"/>
              </a:scheme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algn="ctr"/>
            <a:r>
              <a:rPr lang="pt-BR" sz="1200" dirty="0">
                <a:solidFill>
                  <a:srgbClr val="FFFFFF"/>
                </a:solidFill>
              </a:rPr>
              <a:t>Lorem ipsum dolor sit a</a:t>
            </a:r>
            <a:endParaRPr lang="en-US" sz="1200" dirty="0">
              <a:solidFill>
                <a:srgbClr val="FFFFFF"/>
              </a:solidFill>
            </a:endParaRPr>
          </a:p>
        </p:txBody>
      </p:sp>
      <p:sp>
        <p:nvSpPr>
          <p:cNvPr id="27" name="Pentagon 26">
            <a:extLst>
              <a:ext uri="{FF2B5EF4-FFF2-40B4-BE49-F238E27FC236}">
                <a16:creationId xmlns:a16="http://schemas.microsoft.com/office/drawing/2014/main" id="{9C3DA7C0-9E94-0C42-AFBC-29D112AB65F9}"/>
              </a:ext>
            </a:extLst>
          </p:cNvPr>
          <p:cNvSpPr/>
          <p:nvPr/>
        </p:nvSpPr>
        <p:spPr bwMode="gray">
          <a:xfrm rot="10800000">
            <a:off x="9463088" y="5532894"/>
            <a:ext cx="839787" cy="816942"/>
          </a:xfrm>
          <a:prstGeom prst="homePlate">
            <a:avLst>
              <a:gd name="adj" fmla="val 18761"/>
            </a:avLst>
          </a:prstGeom>
          <a:solidFill>
            <a:schemeClr val="bg2"/>
          </a:solid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Rectangle 27">
            <a:extLst>
              <a:ext uri="{FF2B5EF4-FFF2-40B4-BE49-F238E27FC236}">
                <a16:creationId xmlns:a16="http://schemas.microsoft.com/office/drawing/2014/main" id="{8BA3E5D7-96DA-8342-9978-95FC99EE1833}"/>
              </a:ext>
            </a:extLst>
          </p:cNvPr>
          <p:cNvSpPr/>
          <p:nvPr/>
        </p:nvSpPr>
        <p:spPr bwMode="gray">
          <a:xfrm>
            <a:off x="1889126" y="501446"/>
            <a:ext cx="8413751" cy="2014283"/>
          </a:xfrm>
          <a:prstGeom prst="rect">
            <a:avLst/>
          </a:prstGeom>
          <a:noFill/>
          <a:ln w="9525" algn="ctr">
            <a:solidFill>
              <a:schemeClr val="bg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Rectangle 28">
            <a:extLst>
              <a:ext uri="{FF2B5EF4-FFF2-40B4-BE49-F238E27FC236}">
                <a16:creationId xmlns:a16="http://schemas.microsoft.com/office/drawing/2014/main" id="{87305F25-74E9-F04F-8DEA-E60D9777ADF2}"/>
              </a:ext>
            </a:extLst>
          </p:cNvPr>
          <p:cNvSpPr/>
          <p:nvPr/>
        </p:nvSpPr>
        <p:spPr bwMode="gray">
          <a:xfrm>
            <a:off x="1889124" y="114779"/>
            <a:ext cx="8412480" cy="364202"/>
          </a:xfrm>
          <a:prstGeom prst="rect">
            <a:avLst/>
          </a:prstGeom>
          <a:solidFill>
            <a:schemeClr val="accent1"/>
          </a:solidFill>
          <a:ln w="19050" algn="ctr">
            <a:noFill/>
            <a:miter lim="800000"/>
            <a:headEnd/>
            <a:tailEnd/>
          </a:ln>
        </p:spPr>
        <p:txBody>
          <a:bodyPr wrap="square" lIns="88900" tIns="88900" rIns="88900" bIns="88900" rtlCol="0" anchor="ctr">
            <a:spAutoFit/>
          </a:bodyPr>
          <a:lstStyle/>
          <a:p>
            <a:pPr lvl="0" algn="ctr"/>
            <a:r>
              <a:rPr lang="en-US" sz="1200" b="1" dirty="0">
                <a:solidFill>
                  <a:schemeClr val="bg1"/>
                </a:solidFill>
              </a:rPr>
              <a:t>Lorem ipsum dolor sit </a:t>
            </a:r>
            <a:r>
              <a:rPr lang="en-US" sz="1200" b="1" dirty="0" err="1">
                <a:solidFill>
                  <a:schemeClr val="bg1"/>
                </a:solidFill>
              </a:rPr>
              <a:t>amet</a:t>
            </a:r>
            <a:r>
              <a:rPr lang="en-US" sz="1200" b="1" dirty="0">
                <a:solidFill>
                  <a:schemeClr val="bg1"/>
                </a:solidFill>
              </a:rPr>
              <a:t>, </a:t>
            </a:r>
            <a:r>
              <a:rPr lang="en-US" sz="1200" b="1" dirty="0" err="1">
                <a:solidFill>
                  <a:schemeClr val="bg1"/>
                </a:solidFill>
              </a:rPr>
              <a:t>consectetur</a:t>
            </a:r>
            <a:r>
              <a:rPr lang="en-US" sz="1200" b="1" dirty="0">
                <a:solidFill>
                  <a:schemeClr val="bg1"/>
                </a:solidFill>
              </a:rPr>
              <a:t> </a:t>
            </a:r>
            <a:r>
              <a:rPr lang="en-US" sz="1200" b="1" dirty="0" err="1">
                <a:solidFill>
                  <a:schemeClr val="bg1"/>
                </a:solidFill>
              </a:rPr>
              <a:t>adipiscing</a:t>
            </a:r>
            <a:r>
              <a:rPr lang="en-US" sz="1200" b="1" dirty="0">
                <a:solidFill>
                  <a:schemeClr val="bg1"/>
                </a:solidFill>
              </a:rPr>
              <a:t> </a:t>
            </a:r>
            <a:r>
              <a:rPr lang="en-US" sz="1200" b="1" dirty="0" err="1">
                <a:solidFill>
                  <a:schemeClr val="bg1"/>
                </a:solidFill>
              </a:rPr>
              <a:t>elit</a:t>
            </a:r>
            <a:endParaRPr lang="en-US" sz="1200" b="1" dirty="0">
              <a:solidFill>
                <a:schemeClr val="bg1"/>
              </a:solidFill>
            </a:endParaRPr>
          </a:p>
        </p:txBody>
      </p:sp>
      <p:sp>
        <p:nvSpPr>
          <p:cNvPr id="47" name="Freeform 33">
            <a:extLst>
              <a:ext uri="{FF2B5EF4-FFF2-40B4-BE49-F238E27FC236}">
                <a16:creationId xmlns:a16="http://schemas.microsoft.com/office/drawing/2014/main" id="{665464AA-954E-3A4F-A5C9-602F9A09AE54}"/>
              </a:ext>
            </a:extLst>
          </p:cNvPr>
          <p:cNvSpPr>
            <a:spLocks noEditPoints="1"/>
          </p:cNvSpPr>
          <p:nvPr/>
        </p:nvSpPr>
        <p:spPr bwMode="auto">
          <a:xfrm>
            <a:off x="5157424" y="1022753"/>
            <a:ext cx="832386" cy="837080"/>
          </a:xfrm>
          <a:custGeom>
            <a:avLst/>
            <a:gdLst>
              <a:gd name="T0" fmla="*/ 254 w 295"/>
              <a:gd name="T1" fmla="*/ 191 h 297"/>
              <a:gd name="T2" fmla="*/ 259 w 295"/>
              <a:gd name="T3" fmla="*/ 176 h 297"/>
              <a:gd name="T4" fmla="*/ 293 w 295"/>
              <a:gd name="T5" fmla="*/ 173 h 297"/>
              <a:gd name="T6" fmla="*/ 294 w 295"/>
              <a:gd name="T7" fmla="*/ 132 h 297"/>
              <a:gd name="T8" fmla="*/ 260 w 295"/>
              <a:gd name="T9" fmla="*/ 127 h 297"/>
              <a:gd name="T10" fmla="*/ 256 w 295"/>
              <a:gd name="T11" fmla="*/ 112 h 297"/>
              <a:gd name="T12" fmla="*/ 250 w 295"/>
              <a:gd name="T13" fmla="*/ 98 h 297"/>
              <a:gd name="T14" fmla="*/ 274 w 295"/>
              <a:gd name="T15" fmla="*/ 73 h 297"/>
              <a:gd name="T16" fmla="*/ 249 w 295"/>
              <a:gd name="T17" fmla="*/ 41 h 297"/>
              <a:gd name="T18" fmla="*/ 220 w 295"/>
              <a:gd name="T19" fmla="*/ 59 h 297"/>
              <a:gd name="T20" fmla="*/ 207 w 295"/>
              <a:gd name="T21" fmla="*/ 50 h 297"/>
              <a:gd name="T22" fmla="*/ 193 w 295"/>
              <a:gd name="T23" fmla="*/ 43 h 297"/>
              <a:gd name="T24" fmla="*/ 196 w 295"/>
              <a:gd name="T25" fmla="*/ 9 h 297"/>
              <a:gd name="T26" fmla="*/ 156 w 295"/>
              <a:gd name="T27" fmla="*/ 0 h 297"/>
              <a:gd name="T28" fmla="*/ 145 w 295"/>
              <a:gd name="T29" fmla="*/ 32 h 297"/>
              <a:gd name="T30" fmla="*/ 130 w 295"/>
              <a:gd name="T31" fmla="*/ 34 h 297"/>
              <a:gd name="T32" fmla="*/ 114 w 295"/>
              <a:gd name="T33" fmla="*/ 37 h 297"/>
              <a:gd name="T34" fmla="*/ 95 w 295"/>
              <a:gd name="T35" fmla="*/ 9 h 297"/>
              <a:gd name="T36" fmla="*/ 59 w 295"/>
              <a:gd name="T37" fmla="*/ 29 h 297"/>
              <a:gd name="T38" fmla="*/ 71 w 295"/>
              <a:gd name="T39" fmla="*/ 60 h 297"/>
              <a:gd name="T40" fmla="*/ 60 w 295"/>
              <a:gd name="T41" fmla="*/ 71 h 297"/>
              <a:gd name="T42" fmla="*/ 50 w 295"/>
              <a:gd name="T43" fmla="*/ 84 h 297"/>
              <a:gd name="T44" fmla="*/ 17 w 295"/>
              <a:gd name="T45" fmla="*/ 75 h 297"/>
              <a:gd name="T46" fmla="*/ 2 w 295"/>
              <a:gd name="T47" fmla="*/ 113 h 297"/>
              <a:gd name="T48" fmla="*/ 32 w 295"/>
              <a:gd name="T49" fmla="*/ 130 h 297"/>
              <a:gd name="T50" fmla="*/ 31 w 295"/>
              <a:gd name="T51" fmla="*/ 145 h 297"/>
              <a:gd name="T52" fmla="*/ 31 w 295"/>
              <a:gd name="T53" fmla="*/ 160 h 297"/>
              <a:gd name="T54" fmla="*/ 0 w 295"/>
              <a:gd name="T55" fmla="*/ 175 h 297"/>
              <a:gd name="T56" fmla="*/ 13 w 295"/>
              <a:gd name="T57" fmla="*/ 214 h 297"/>
              <a:gd name="T58" fmla="*/ 47 w 295"/>
              <a:gd name="T59" fmla="*/ 207 h 297"/>
              <a:gd name="T60" fmla="*/ 55 w 295"/>
              <a:gd name="T61" fmla="*/ 220 h 297"/>
              <a:gd name="T62" fmla="*/ 66 w 295"/>
              <a:gd name="T63" fmla="*/ 232 h 297"/>
              <a:gd name="T64" fmla="*/ 52 w 295"/>
              <a:gd name="T65" fmla="*/ 263 h 297"/>
              <a:gd name="T66" fmla="*/ 87 w 295"/>
              <a:gd name="T67" fmla="*/ 284 h 297"/>
              <a:gd name="T68" fmla="*/ 108 w 295"/>
              <a:gd name="T69" fmla="*/ 258 h 297"/>
              <a:gd name="T70" fmla="*/ 123 w 295"/>
              <a:gd name="T71" fmla="*/ 262 h 297"/>
              <a:gd name="T72" fmla="*/ 138 w 295"/>
              <a:gd name="T73" fmla="*/ 264 h 297"/>
              <a:gd name="T74" fmla="*/ 147 w 295"/>
              <a:gd name="T75" fmla="*/ 297 h 297"/>
              <a:gd name="T76" fmla="*/ 188 w 295"/>
              <a:gd name="T77" fmla="*/ 291 h 297"/>
              <a:gd name="T78" fmla="*/ 187 w 295"/>
              <a:gd name="T79" fmla="*/ 257 h 297"/>
              <a:gd name="T80" fmla="*/ 201 w 295"/>
              <a:gd name="T81" fmla="*/ 250 h 297"/>
              <a:gd name="T82" fmla="*/ 214 w 295"/>
              <a:gd name="T83" fmla="*/ 242 h 297"/>
              <a:gd name="T84" fmla="*/ 242 w 295"/>
              <a:gd name="T85" fmla="*/ 262 h 297"/>
              <a:gd name="T86" fmla="*/ 270 w 295"/>
              <a:gd name="T87" fmla="*/ 231 h 297"/>
              <a:gd name="T88" fmla="*/ 247 w 295"/>
              <a:gd name="T89" fmla="*/ 205 h 297"/>
              <a:gd name="T90" fmla="*/ 254 w 295"/>
              <a:gd name="T91" fmla="*/ 191 h 297"/>
              <a:gd name="T92" fmla="*/ 130 w 295"/>
              <a:gd name="T93" fmla="*/ 228 h 297"/>
              <a:gd name="T94" fmla="*/ 83 w 295"/>
              <a:gd name="T95" fmla="*/ 199 h 297"/>
              <a:gd name="T96" fmla="*/ 65 w 295"/>
              <a:gd name="T97" fmla="*/ 146 h 297"/>
              <a:gd name="T98" fmla="*/ 86 w 295"/>
              <a:gd name="T99" fmla="*/ 95 h 297"/>
              <a:gd name="T100" fmla="*/ 135 w 295"/>
              <a:gd name="T101" fmla="*/ 68 h 297"/>
              <a:gd name="T102" fmla="*/ 189 w 295"/>
              <a:gd name="T103" fmla="*/ 80 h 297"/>
              <a:gd name="T104" fmla="*/ 223 w 295"/>
              <a:gd name="T105" fmla="*/ 123 h 297"/>
              <a:gd name="T106" fmla="*/ 222 w 295"/>
              <a:gd name="T107" fmla="*/ 178 h 297"/>
              <a:gd name="T108" fmla="*/ 185 w 295"/>
              <a:gd name="T109" fmla="*/ 220 h 297"/>
              <a:gd name="T110" fmla="*/ 130 w 295"/>
              <a:gd name="T111" fmla="*/ 22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5" h="297">
                <a:moveTo>
                  <a:pt x="254" y="191"/>
                </a:moveTo>
                <a:cubicBezTo>
                  <a:pt x="256" y="186"/>
                  <a:pt x="258" y="182"/>
                  <a:pt x="259" y="176"/>
                </a:cubicBezTo>
                <a:cubicBezTo>
                  <a:pt x="270" y="176"/>
                  <a:pt x="281" y="175"/>
                  <a:pt x="293" y="173"/>
                </a:cubicBezTo>
                <a:cubicBezTo>
                  <a:pt x="295" y="160"/>
                  <a:pt x="295" y="146"/>
                  <a:pt x="294" y="132"/>
                </a:cubicBezTo>
                <a:cubicBezTo>
                  <a:pt x="283" y="130"/>
                  <a:pt x="271" y="128"/>
                  <a:pt x="260" y="127"/>
                </a:cubicBezTo>
                <a:cubicBezTo>
                  <a:pt x="259" y="122"/>
                  <a:pt x="258" y="117"/>
                  <a:pt x="256" y="112"/>
                </a:cubicBezTo>
                <a:cubicBezTo>
                  <a:pt x="254" y="107"/>
                  <a:pt x="253" y="102"/>
                  <a:pt x="250" y="98"/>
                </a:cubicBezTo>
                <a:cubicBezTo>
                  <a:pt x="259" y="90"/>
                  <a:pt x="267" y="82"/>
                  <a:pt x="274" y="73"/>
                </a:cubicBezTo>
                <a:cubicBezTo>
                  <a:pt x="268" y="61"/>
                  <a:pt x="259" y="51"/>
                  <a:pt x="249" y="41"/>
                </a:cubicBezTo>
                <a:cubicBezTo>
                  <a:pt x="239" y="46"/>
                  <a:pt x="229" y="52"/>
                  <a:pt x="220" y="59"/>
                </a:cubicBezTo>
                <a:cubicBezTo>
                  <a:pt x="216" y="56"/>
                  <a:pt x="212" y="52"/>
                  <a:pt x="207" y="50"/>
                </a:cubicBezTo>
                <a:cubicBezTo>
                  <a:pt x="203" y="47"/>
                  <a:pt x="198" y="45"/>
                  <a:pt x="193" y="43"/>
                </a:cubicBezTo>
                <a:cubicBezTo>
                  <a:pt x="195" y="31"/>
                  <a:pt x="196" y="20"/>
                  <a:pt x="196" y="9"/>
                </a:cubicBezTo>
                <a:cubicBezTo>
                  <a:pt x="183" y="4"/>
                  <a:pt x="170" y="1"/>
                  <a:pt x="156" y="0"/>
                </a:cubicBezTo>
                <a:cubicBezTo>
                  <a:pt x="151" y="11"/>
                  <a:pt x="148" y="22"/>
                  <a:pt x="145" y="32"/>
                </a:cubicBezTo>
                <a:cubicBezTo>
                  <a:pt x="140" y="33"/>
                  <a:pt x="135" y="33"/>
                  <a:pt x="130" y="34"/>
                </a:cubicBezTo>
                <a:cubicBezTo>
                  <a:pt x="124" y="35"/>
                  <a:pt x="119" y="36"/>
                  <a:pt x="114" y="37"/>
                </a:cubicBezTo>
                <a:cubicBezTo>
                  <a:pt x="109" y="27"/>
                  <a:pt x="102" y="18"/>
                  <a:pt x="95" y="9"/>
                </a:cubicBezTo>
                <a:cubicBezTo>
                  <a:pt x="82" y="14"/>
                  <a:pt x="70" y="21"/>
                  <a:pt x="59" y="29"/>
                </a:cubicBezTo>
                <a:cubicBezTo>
                  <a:pt x="62" y="40"/>
                  <a:pt x="66" y="50"/>
                  <a:pt x="71" y="60"/>
                </a:cubicBezTo>
                <a:cubicBezTo>
                  <a:pt x="67" y="64"/>
                  <a:pt x="63" y="67"/>
                  <a:pt x="60" y="71"/>
                </a:cubicBezTo>
                <a:cubicBezTo>
                  <a:pt x="56" y="75"/>
                  <a:pt x="53" y="79"/>
                  <a:pt x="50" y="84"/>
                </a:cubicBezTo>
                <a:cubicBezTo>
                  <a:pt x="39" y="80"/>
                  <a:pt x="29" y="77"/>
                  <a:pt x="17" y="75"/>
                </a:cubicBezTo>
                <a:cubicBezTo>
                  <a:pt x="10" y="87"/>
                  <a:pt x="5" y="100"/>
                  <a:pt x="2" y="113"/>
                </a:cubicBezTo>
                <a:cubicBezTo>
                  <a:pt x="12" y="119"/>
                  <a:pt x="22" y="125"/>
                  <a:pt x="32" y="130"/>
                </a:cubicBezTo>
                <a:cubicBezTo>
                  <a:pt x="31" y="135"/>
                  <a:pt x="30" y="140"/>
                  <a:pt x="31" y="145"/>
                </a:cubicBezTo>
                <a:cubicBezTo>
                  <a:pt x="30" y="150"/>
                  <a:pt x="31" y="155"/>
                  <a:pt x="31" y="160"/>
                </a:cubicBezTo>
                <a:cubicBezTo>
                  <a:pt x="20" y="165"/>
                  <a:pt x="10" y="169"/>
                  <a:pt x="0" y="175"/>
                </a:cubicBezTo>
                <a:cubicBezTo>
                  <a:pt x="3" y="189"/>
                  <a:pt x="7" y="202"/>
                  <a:pt x="13" y="214"/>
                </a:cubicBezTo>
                <a:cubicBezTo>
                  <a:pt x="25" y="213"/>
                  <a:pt x="36" y="210"/>
                  <a:pt x="47" y="207"/>
                </a:cubicBezTo>
                <a:cubicBezTo>
                  <a:pt x="49" y="212"/>
                  <a:pt x="52" y="216"/>
                  <a:pt x="55" y="220"/>
                </a:cubicBezTo>
                <a:cubicBezTo>
                  <a:pt x="58" y="224"/>
                  <a:pt x="62" y="228"/>
                  <a:pt x="66" y="232"/>
                </a:cubicBezTo>
                <a:cubicBezTo>
                  <a:pt x="60" y="242"/>
                  <a:pt x="56" y="252"/>
                  <a:pt x="52" y="263"/>
                </a:cubicBezTo>
                <a:cubicBezTo>
                  <a:pt x="62" y="271"/>
                  <a:pt x="74" y="279"/>
                  <a:pt x="87" y="284"/>
                </a:cubicBezTo>
                <a:cubicBezTo>
                  <a:pt x="94" y="276"/>
                  <a:pt x="101" y="267"/>
                  <a:pt x="108" y="258"/>
                </a:cubicBezTo>
                <a:cubicBezTo>
                  <a:pt x="113" y="259"/>
                  <a:pt x="118" y="261"/>
                  <a:pt x="123" y="262"/>
                </a:cubicBezTo>
                <a:cubicBezTo>
                  <a:pt x="128" y="263"/>
                  <a:pt x="133" y="263"/>
                  <a:pt x="138" y="264"/>
                </a:cubicBezTo>
                <a:cubicBezTo>
                  <a:pt x="140" y="275"/>
                  <a:pt x="143" y="286"/>
                  <a:pt x="147" y="297"/>
                </a:cubicBezTo>
                <a:cubicBezTo>
                  <a:pt x="161" y="297"/>
                  <a:pt x="175" y="295"/>
                  <a:pt x="188" y="291"/>
                </a:cubicBezTo>
                <a:cubicBezTo>
                  <a:pt x="189" y="280"/>
                  <a:pt x="188" y="268"/>
                  <a:pt x="187" y="257"/>
                </a:cubicBezTo>
                <a:cubicBezTo>
                  <a:pt x="192" y="255"/>
                  <a:pt x="197" y="253"/>
                  <a:pt x="201" y="250"/>
                </a:cubicBezTo>
                <a:cubicBezTo>
                  <a:pt x="206" y="248"/>
                  <a:pt x="210" y="245"/>
                  <a:pt x="214" y="242"/>
                </a:cubicBezTo>
                <a:cubicBezTo>
                  <a:pt x="223" y="249"/>
                  <a:pt x="233" y="256"/>
                  <a:pt x="242" y="262"/>
                </a:cubicBezTo>
                <a:cubicBezTo>
                  <a:pt x="253" y="253"/>
                  <a:pt x="262" y="242"/>
                  <a:pt x="270" y="231"/>
                </a:cubicBezTo>
                <a:cubicBezTo>
                  <a:pt x="263" y="222"/>
                  <a:pt x="255" y="213"/>
                  <a:pt x="247" y="205"/>
                </a:cubicBezTo>
                <a:cubicBezTo>
                  <a:pt x="250" y="201"/>
                  <a:pt x="252" y="196"/>
                  <a:pt x="254" y="191"/>
                </a:cubicBezTo>
                <a:close/>
                <a:moveTo>
                  <a:pt x="130" y="228"/>
                </a:moveTo>
                <a:cubicBezTo>
                  <a:pt x="111" y="224"/>
                  <a:pt x="94" y="213"/>
                  <a:pt x="83" y="199"/>
                </a:cubicBezTo>
                <a:cubicBezTo>
                  <a:pt x="71" y="184"/>
                  <a:pt x="65" y="165"/>
                  <a:pt x="65" y="146"/>
                </a:cubicBezTo>
                <a:cubicBezTo>
                  <a:pt x="66" y="127"/>
                  <a:pt x="73" y="108"/>
                  <a:pt x="86" y="95"/>
                </a:cubicBezTo>
                <a:cubicBezTo>
                  <a:pt x="98" y="81"/>
                  <a:pt x="116" y="71"/>
                  <a:pt x="135" y="68"/>
                </a:cubicBezTo>
                <a:cubicBezTo>
                  <a:pt x="153" y="66"/>
                  <a:pt x="173" y="69"/>
                  <a:pt x="189" y="80"/>
                </a:cubicBezTo>
                <a:cubicBezTo>
                  <a:pt x="205" y="89"/>
                  <a:pt x="217" y="105"/>
                  <a:pt x="223" y="123"/>
                </a:cubicBezTo>
                <a:cubicBezTo>
                  <a:pt x="229" y="141"/>
                  <a:pt x="228" y="161"/>
                  <a:pt x="222" y="178"/>
                </a:cubicBezTo>
                <a:cubicBezTo>
                  <a:pt x="214" y="196"/>
                  <a:pt x="201" y="211"/>
                  <a:pt x="185" y="220"/>
                </a:cubicBezTo>
                <a:cubicBezTo>
                  <a:pt x="168" y="229"/>
                  <a:pt x="148" y="231"/>
                  <a:pt x="130" y="228"/>
                </a:cubicBezTo>
                <a:close/>
              </a:path>
            </a:pathLst>
          </a:custGeom>
          <a:solidFill>
            <a:schemeClr val="accent2"/>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3">
            <a:extLst>
              <a:ext uri="{FF2B5EF4-FFF2-40B4-BE49-F238E27FC236}">
                <a16:creationId xmlns:a16="http://schemas.microsoft.com/office/drawing/2014/main" id="{6B5EC0F5-CF44-F54D-A31B-BC929FAD5D61}"/>
              </a:ext>
            </a:extLst>
          </p:cNvPr>
          <p:cNvSpPr>
            <a:spLocks noEditPoints="1"/>
          </p:cNvSpPr>
          <p:nvPr/>
        </p:nvSpPr>
        <p:spPr bwMode="auto">
          <a:xfrm>
            <a:off x="5988439" y="1261802"/>
            <a:ext cx="1046138" cy="1052038"/>
          </a:xfrm>
          <a:custGeom>
            <a:avLst/>
            <a:gdLst>
              <a:gd name="T0" fmla="*/ 254 w 295"/>
              <a:gd name="T1" fmla="*/ 191 h 297"/>
              <a:gd name="T2" fmla="*/ 259 w 295"/>
              <a:gd name="T3" fmla="*/ 176 h 297"/>
              <a:gd name="T4" fmla="*/ 293 w 295"/>
              <a:gd name="T5" fmla="*/ 173 h 297"/>
              <a:gd name="T6" fmla="*/ 294 w 295"/>
              <a:gd name="T7" fmla="*/ 132 h 297"/>
              <a:gd name="T8" fmla="*/ 260 w 295"/>
              <a:gd name="T9" fmla="*/ 127 h 297"/>
              <a:gd name="T10" fmla="*/ 256 w 295"/>
              <a:gd name="T11" fmla="*/ 112 h 297"/>
              <a:gd name="T12" fmla="*/ 250 w 295"/>
              <a:gd name="T13" fmla="*/ 98 h 297"/>
              <a:gd name="T14" fmla="*/ 274 w 295"/>
              <a:gd name="T15" fmla="*/ 73 h 297"/>
              <a:gd name="T16" fmla="*/ 249 w 295"/>
              <a:gd name="T17" fmla="*/ 41 h 297"/>
              <a:gd name="T18" fmla="*/ 220 w 295"/>
              <a:gd name="T19" fmla="*/ 59 h 297"/>
              <a:gd name="T20" fmla="*/ 207 w 295"/>
              <a:gd name="T21" fmla="*/ 50 h 297"/>
              <a:gd name="T22" fmla="*/ 193 w 295"/>
              <a:gd name="T23" fmla="*/ 43 h 297"/>
              <a:gd name="T24" fmla="*/ 196 w 295"/>
              <a:gd name="T25" fmla="*/ 9 h 297"/>
              <a:gd name="T26" fmla="*/ 156 w 295"/>
              <a:gd name="T27" fmla="*/ 0 h 297"/>
              <a:gd name="T28" fmla="*/ 145 w 295"/>
              <a:gd name="T29" fmla="*/ 32 h 297"/>
              <a:gd name="T30" fmla="*/ 130 w 295"/>
              <a:gd name="T31" fmla="*/ 34 h 297"/>
              <a:gd name="T32" fmla="*/ 114 w 295"/>
              <a:gd name="T33" fmla="*/ 37 h 297"/>
              <a:gd name="T34" fmla="*/ 95 w 295"/>
              <a:gd name="T35" fmla="*/ 9 h 297"/>
              <a:gd name="T36" fmla="*/ 59 w 295"/>
              <a:gd name="T37" fmla="*/ 29 h 297"/>
              <a:gd name="T38" fmla="*/ 71 w 295"/>
              <a:gd name="T39" fmla="*/ 60 h 297"/>
              <a:gd name="T40" fmla="*/ 60 w 295"/>
              <a:gd name="T41" fmla="*/ 71 h 297"/>
              <a:gd name="T42" fmla="*/ 50 w 295"/>
              <a:gd name="T43" fmla="*/ 84 h 297"/>
              <a:gd name="T44" fmla="*/ 17 w 295"/>
              <a:gd name="T45" fmla="*/ 75 h 297"/>
              <a:gd name="T46" fmla="*/ 2 w 295"/>
              <a:gd name="T47" fmla="*/ 113 h 297"/>
              <a:gd name="T48" fmla="*/ 32 w 295"/>
              <a:gd name="T49" fmla="*/ 130 h 297"/>
              <a:gd name="T50" fmla="*/ 31 w 295"/>
              <a:gd name="T51" fmla="*/ 145 h 297"/>
              <a:gd name="T52" fmla="*/ 31 w 295"/>
              <a:gd name="T53" fmla="*/ 160 h 297"/>
              <a:gd name="T54" fmla="*/ 0 w 295"/>
              <a:gd name="T55" fmla="*/ 175 h 297"/>
              <a:gd name="T56" fmla="*/ 13 w 295"/>
              <a:gd name="T57" fmla="*/ 214 h 297"/>
              <a:gd name="T58" fmla="*/ 47 w 295"/>
              <a:gd name="T59" fmla="*/ 207 h 297"/>
              <a:gd name="T60" fmla="*/ 55 w 295"/>
              <a:gd name="T61" fmla="*/ 220 h 297"/>
              <a:gd name="T62" fmla="*/ 66 w 295"/>
              <a:gd name="T63" fmla="*/ 232 h 297"/>
              <a:gd name="T64" fmla="*/ 52 w 295"/>
              <a:gd name="T65" fmla="*/ 263 h 297"/>
              <a:gd name="T66" fmla="*/ 87 w 295"/>
              <a:gd name="T67" fmla="*/ 284 h 297"/>
              <a:gd name="T68" fmla="*/ 108 w 295"/>
              <a:gd name="T69" fmla="*/ 258 h 297"/>
              <a:gd name="T70" fmla="*/ 123 w 295"/>
              <a:gd name="T71" fmla="*/ 262 h 297"/>
              <a:gd name="T72" fmla="*/ 138 w 295"/>
              <a:gd name="T73" fmla="*/ 264 h 297"/>
              <a:gd name="T74" fmla="*/ 147 w 295"/>
              <a:gd name="T75" fmla="*/ 297 h 297"/>
              <a:gd name="T76" fmla="*/ 188 w 295"/>
              <a:gd name="T77" fmla="*/ 291 h 297"/>
              <a:gd name="T78" fmla="*/ 187 w 295"/>
              <a:gd name="T79" fmla="*/ 257 h 297"/>
              <a:gd name="T80" fmla="*/ 201 w 295"/>
              <a:gd name="T81" fmla="*/ 250 h 297"/>
              <a:gd name="T82" fmla="*/ 214 w 295"/>
              <a:gd name="T83" fmla="*/ 242 h 297"/>
              <a:gd name="T84" fmla="*/ 242 w 295"/>
              <a:gd name="T85" fmla="*/ 262 h 297"/>
              <a:gd name="T86" fmla="*/ 270 w 295"/>
              <a:gd name="T87" fmla="*/ 231 h 297"/>
              <a:gd name="T88" fmla="*/ 247 w 295"/>
              <a:gd name="T89" fmla="*/ 205 h 297"/>
              <a:gd name="T90" fmla="*/ 254 w 295"/>
              <a:gd name="T91" fmla="*/ 191 h 297"/>
              <a:gd name="T92" fmla="*/ 130 w 295"/>
              <a:gd name="T93" fmla="*/ 228 h 297"/>
              <a:gd name="T94" fmla="*/ 83 w 295"/>
              <a:gd name="T95" fmla="*/ 199 h 297"/>
              <a:gd name="T96" fmla="*/ 65 w 295"/>
              <a:gd name="T97" fmla="*/ 146 h 297"/>
              <a:gd name="T98" fmla="*/ 86 w 295"/>
              <a:gd name="T99" fmla="*/ 95 h 297"/>
              <a:gd name="T100" fmla="*/ 135 w 295"/>
              <a:gd name="T101" fmla="*/ 68 h 297"/>
              <a:gd name="T102" fmla="*/ 189 w 295"/>
              <a:gd name="T103" fmla="*/ 80 h 297"/>
              <a:gd name="T104" fmla="*/ 223 w 295"/>
              <a:gd name="T105" fmla="*/ 123 h 297"/>
              <a:gd name="T106" fmla="*/ 222 w 295"/>
              <a:gd name="T107" fmla="*/ 178 h 297"/>
              <a:gd name="T108" fmla="*/ 185 w 295"/>
              <a:gd name="T109" fmla="*/ 220 h 297"/>
              <a:gd name="T110" fmla="*/ 130 w 295"/>
              <a:gd name="T111" fmla="*/ 22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5" h="297">
                <a:moveTo>
                  <a:pt x="254" y="191"/>
                </a:moveTo>
                <a:cubicBezTo>
                  <a:pt x="256" y="186"/>
                  <a:pt x="258" y="182"/>
                  <a:pt x="259" y="176"/>
                </a:cubicBezTo>
                <a:cubicBezTo>
                  <a:pt x="270" y="176"/>
                  <a:pt x="281" y="175"/>
                  <a:pt x="293" y="173"/>
                </a:cubicBezTo>
                <a:cubicBezTo>
                  <a:pt x="295" y="160"/>
                  <a:pt x="295" y="146"/>
                  <a:pt x="294" y="132"/>
                </a:cubicBezTo>
                <a:cubicBezTo>
                  <a:pt x="283" y="130"/>
                  <a:pt x="271" y="128"/>
                  <a:pt x="260" y="127"/>
                </a:cubicBezTo>
                <a:cubicBezTo>
                  <a:pt x="259" y="122"/>
                  <a:pt x="258" y="117"/>
                  <a:pt x="256" y="112"/>
                </a:cubicBezTo>
                <a:cubicBezTo>
                  <a:pt x="254" y="107"/>
                  <a:pt x="253" y="102"/>
                  <a:pt x="250" y="98"/>
                </a:cubicBezTo>
                <a:cubicBezTo>
                  <a:pt x="259" y="90"/>
                  <a:pt x="267" y="82"/>
                  <a:pt x="274" y="73"/>
                </a:cubicBezTo>
                <a:cubicBezTo>
                  <a:pt x="268" y="61"/>
                  <a:pt x="259" y="51"/>
                  <a:pt x="249" y="41"/>
                </a:cubicBezTo>
                <a:cubicBezTo>
                  <a:pt x="239" y="46"/>
                  <a:pt x="229" y="52"/>
                  <a:pt x="220" y="59"/>
                </a:cubicBezTo>
                <a:cubicBezTo>
                  <a:pt x="216" y="56"/>
                  <a:pt x="212" y="52"/>
                  <a:pt x="207" y="50"/>
                </a:cubicBezTo>
                <a:cubicBezTo>
                  <a:pt x="203" y="47"/>
                  <a:pt x="198" y="45"/>
                  <a:pt x="193" y="43"/>
                </a:cubicBezTo>
                <a:cubicBezTo>
                  <a:pt x="195" y="31"/>
                  <a:pt x="196" y="20"/>
                  <a:pt x="196" y="9"/>
                </a:cubicBezTo>
                <a:cubicBezTo>
                  <a:pt x="183" y="4"/>
                  <a:pt x="170" y="1"/>
                  <a:pt x="156" y="0"/>
                </a:cubicBezTo>
                <a:cubicBezTo>
                  <a:pt x="151" y="11"/>
                  <a:pt x="148" y="22"/>
                  <a:pt x="145" y="32"/>
                </a:cubicBezTo>
                <a:cubicBezTo>
                  <a:pt x="140" y="33"/>
                  <a:pt x="135" y="33"/>
                  <a:pt x="130" y="34"/>
                </a:cubicBezTo>
                <a:cubicBezTo>
                  <a:pt x="124" y="35"/>
                  <a:pt x="119" y="36"/>
                  <a:pt x="114" y="37"/>
                </a:cubicBezTo>
                <a:cubicBezTo>
                  <a:pt x="109" y="27"/>
                  <a:pt x="102" y="18"/>
                  <a:pt x="95" y="9"/>
                </a:cubicBezTo>
                <a:cubicBezTo>
                  <a:pt x="82" y="14"/>
                  <a:pt x="70" y="21"/>
                  <a:pt x="59" y="29"/>
                </a:cubicBezTo>
                <a:cubicBezTo>
                  <a:pt x="62" y="40"/>
                  <a:pt x="66" y="50"/>
                  <a:pt x="71" y="60"/>
                </a:cubicBezTo>
                <a:cubicBezTo>
                  <a:pt x="67" y="64"/>
                  <a:pt x="63" y="67"/>
                  <a:pt x="60" y="71"/>
                </a:cubicBezTo>
                <a:cubicBezTo>
                  <a:pt x="56" y="75"/>
                  <a:pt x="53" y="79"/>
                  <a:pt x="50" y="84"/>
                </a:cubicBezTo>
                <a:cubicBezTo>
                  <a:pt x="39" y="80"/>
                  <a:pt x="29" y="77"/>
                  <a:pt x="17" y="75"/>
                </a:cubicBezTo>
                <a:cubicBezTo>
                  <a:pt x="10" y="87"/>
                  <a:pt x="5" y="100"/>
                  <a:pt x="2" y="113"/>
                </a:cubicBezTo>
                <a:cubicBezTo>
                  <a:pt x="12" y="119"/>
                  <a:pt x="22" y="125"/>
                  <a:pt x="32" y="130"/>
                </a:cubicBezTo>
                <a:cubicBezTo>
                  <a:pt x="31" y="135"/>
                  <a:pt x="30" y="140"/>
                  <a:pt x="31" y="145"/>
                </a:cubicBezTo>
                <a:cubicBezTo>
                  <a:pt x="30" y="150"/>
                  <a:pt x="31" y="155"/>
                  <a:pt x="31" y="160"/>
                </a:cubicBezTo>
                <a:cubicBezTo>
                  <a:pt x="20" y="165"/>
                  <a:pt x="10" y="169"/>
                  <a:pt x="0" y="175"/>
                </a:cubicBezTo>
                <a:cubicBezTo>
                  <a:pt x="3" y="189"/>
                  <a:pt x="7" y="202"/>
                  <a:pt x="13" y="214"/>
                </a:cubicBezTo>
                <a:cubicBezTo>
                  <a:pt x="25" y="213"/>
                  <a:pt x="36" y="210"/>
                  <a:pt x="47" y="207"/>
                </a:cubicBezTo>
                <a:cubicBezTo>
                  <a:pt x="49" y="212"/>
                  <a:pt x="52" y="216"/>
                  <a:pt x="55" y="220"/>
                </a:cubicBezTo>
                <a:cubicBezTo>
                  <a:pt x="58" y="224"/>
                  <a:pt x="62" y="228"/>
                  <a:pt x="66" y="232"/>
                </a:cubicBezTo>
                <a:cubicBezTo>
                  <a:pt x="60" y="242"/>
                  <a:pt x="56" y="252"/>
                  <a:pt x="52" y="263"/>
                </a:cubicBezTo>
                <a:cubicBezTo>
                  <a:pt x="62" y="271"/>
                  <a:pt x="74" y="279"/>
                  <a:pt x="87" y="284"/>
                </a:cubicBezTo>
                <a:cubicBezTo>
                  <a:pt x="94" y="276"/>
                  <a:pt x="101" y="267"/>
                  <a:pt x="108" y="258"/>
                </a:cubicBezTo>
                <a:cubicBezTo>
                  <a:pt x="113" y="259"/>
                  <a:pt x="118" y="261"/>
                  <a:pt x="123" y="262"/>
                </a:cubicBezTo>
                <a:cubicBezTo>
                  <a:pt x="128" y="263"/>
                  <a:pt x="133" y="263"/>
                  <a:pt x="138" y="264"/>
                </a:cubicBezTo>
                <a:cubicBezTo>
                  <a:pt x="140" y="275"/>
                  <a:pt x="143" y="286"/>
                  <a:pt x="147" y="297"/>
                </a:cubicBezTo>
                <a:cubicBezTo>
                  <a:pt x="161" y="297"/>
                  <a:pt x="175" y="295"/>
                  <a:pt x="188" y="291"/>
                </a:cubicBezTo>
                <a:cubicBezTo>
                  <a:pt x="189" y="280"/>
                  <a:pt x="188" y="268"/>
                  <a:pt x="187" y="257"/>
                </a:cubicBezTo>
                <a:cubicBezTo>
                  <a:pt x="192" y="255"/>
                  <a:pt x="197" y="253"/>
                  <a:pt x="201" y="250"/>
                </a:cubicBezTo>
                <a:cubicBezTo>
                  <a:pt x="206" y="248"/>
                  <a:pt x="210" y="245"/>
                  <a:pt x="214" y="242"/>
                </a:cubicBezTo>
                <a:cubicBezTo>
                  <a:pt x="223" y="249"/>
                  <a:pt x="233" y="256"/>
                  <a:pt x="242" y="262"/>
                </a:cubicBezTo>
                <a:cubicBezTo>
                  <a:pt x="253" y="253"/>
                  <a:pt x="262" y="242"/>
                  <a:pt x="270" y="231"/>
                </a:cubicBezTo>
                <a:cubicBezTo>
                  <a:pt x="263" y="222"/>
                  <a:pt x="255" y="213"/>
                  <a:pt x="247" y="205"/>
                </a:cubicBezTo>
                <a:cubicBezTo>
                  <a:pt x="250" y="201"/>
                  <a:pt x="252" y="196"/>
                  <a:pt x="254" y="191"/>
                </a:cubicBezTo>
                <a:close/>
                <a:moveTo>
                  <a:pt x="130" y="228"/>
                </a:moveTo>
                <a:cubicBezTo>
                  <a:pt x="111" y="224"/>
                  <a:pt x="94" y="213"/>
                  <a:pt x="83" y="199"/>
                </a:cubicBezTo>
                <a:cubicBezTo>
                  <a:pt x="71" y="184"/>
                  <a:pt x="65" y="165"/>
                  <a:pt x="65" y="146"/>
                </a:cubicBezTo>
                <a:cubicBezTo>
                  <a:pt x="66" y="127"/>
                  <a:pt x="73" y="108"/>
                  <a:pt x="86" y="95"/>
                </a:cubicBezTo>
                <a:cubicBezTo>
                  <a:pt x="98" y="81"/>
                  <a:pt x="116" y="71"/>
                  <a:pt x="135" y="68"/>
                </a:cubicBezTo>
                <a:cubicBezTo>
                  <a:pt x="153" y="66"/>
                  <a:pt x="173" y="69"/>
                  <a:pt x="189" y="80"/>
                </a:cubicBezTo>
                <a:cubicBezTo>
                  <a:pt x="205" y="89"/>
                  <a:pt x="217" y="105"/>
                  <a:pt x="223" y="123"/>
                </a:cubicBezTo>
                <a:cubicBezTo>
                  <a:pt x="229" y="141"/>
                  <a:pt x="228" y="161"/>
                  <a:pt x="222" y="178"/>
                </a:cubicBezTo>
                <a:cubicBezTo>
                  <a:pt x="214" y="196"/>
                  <a:pt x="201" y="211"/>
                  <a:pt x="185" y="220"/>
                </a:cubicBezTo>
                <a:cubicBezTo>
                  <a:pt x="168" y="229"/>
                  <a:pt x="148" y="231"/>
                  <a:pt x="130" y="228"/>
                </a:cubicBezTo>
                <a:close/>
              </a:path>
            </a:pathLst>
          </a:custGeom>
          <a:solidFill>
            <a:schemeClr val="accent3"/>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3">
            <a:extLst>
              <a:ext uri="{FF2B5EF4-FFF2-40B4-BE49-F238E27FC236}">
                <a16:creationId xmlns:a16="http://schemas.microsoft.com/office/drawing/2014/main" id="{54056BF9-EB8A-E444-BB77-83D139061257}"/>
              </a:ext>
            </a:extLst>
          </p:cNvPr>
          <p:cNvSpPr>
            <a:spLocks noEditPoints="1"/>
          </p:cNvSpPr>
          <p:nvPr/>
        </p:nvSpPr>
        <p:spPr bwMode="auto">
          <a:xfrm>
            <a:off x="7033203" y="941334"/>
            <a:ext cx="952469" cy="957840"/>
          </a:xfrm>
          <a:custGeom>
            <a:avLst/>
            <a:gdLst>
              <a:gd name="T0" fmla="*/ 254 w 295"/>
              <a:gd name="T1" fmla="*/ 191 h 297"/>
              <a:gd name="T2" fmla="*/ 259 w 295"/>
              <a:gd name="T3" fmla="*/ 176 h 297"/>
              <a:gd name="T4" fmla="*/ 293 w 295"/>
              <a:gd name="T5" fmla="*/ 173 h 297"/>
              <a:gd name="T6" fmla="*/ 294 w 295"/>
              <a:gd name="T7" fmla="*/ 132 h 297"/>
              <a:gd name="T8" fmla="*/ 260 w 295"/>
              <a:gd name="T9" fmla="*/ 127 h 297"/>
              <a:gd name="T10" fmla="*/ 256 w 295"/>
              <a:gd name="T11" fmla="*/ 112 h 297"/>
              <a:gd name="T12" fmla="*/ 250 w 295"/>
              <a:gd name="T13" fmla="*/ 98 h 297"/>
              <a:gd name="T14" fmla="*/ 274 w 295"/>
              <a:gd name="T15" fmla="*/ 73 h 297"/>
              <a:gd name="T16" fmla="*/ 249 w 295"/>
              <a:gd name="T17" fmla="*/ 41 h 297"/>
              <a:gd name="T18" fmla="*/ 220 w 295"/>
              <a:gd name="T19" fmla="*/ 59 h 297"/>
              <a:gd name="T20" fmla="*/ 207 w 295"/>
              <a:gd name="T21" fmla="*/ 50 h 297"/>
              <a:gd name="T22" fmla="*/ 193 w 295"/>
              <a:gd name="T23" fmla="*/ 43 h 297"/>
              <a:gd name="T24" fmla="*/ 196 w 295"/>
              <a:gd name="T25" fmla="*/ 9 h 297"/>
              <a:gd name="T26" fmla="*/ 156 w 295"/>
              <a:gd name="T27" fmla="*/ 0 h 297"/>
              <a:gd name="T28" fmla="*/ 145 w 295"/>
              <a:gd name="T29" fmla="*/ 32 h 297"/>
              <a:gd name="T30" fmla="*/ 130 w 295"/>
              <a:gd name="T31" fmla="*/ 34 h 297"/>
              <a:gd name="T32" fmla="*/ 114 w 295"/>
              <a:gd name="T33" fmla="*/ 37 h 297"/>
              <a:gd name="T34" fmla="*/ 95 w 295"/>
              <a:gd name="T35" fmla="*/ 9 h 297"/>
              <a:gd name="T36" fmla="*/ 59 w 295"/>
              <a:gd name="T37" fmla="*/ 29 h 297"/>
              <a:gd name="T38" fmla="*/ 71 w 295"/>
              <a:gd name="T39" fmla="*/ 60 h 297"/>
              <a:gd name="T40" fmla="*/ 60 w 295"/>
              <a:gd name="T41" fmla="*/ 71 h 297"/>
              <a:gd name="T42" fmla="*/ 50 w 295"/>
              <a:gd name="T43" fmla="*/ 84 h 297"/>
              <a:gd name="T44" fmla="*/ 17 w 295"/>
              <a:gd name="T45" fmla="*/ 75 h 297"/>
              <a:gd name="T46" fmla="*/ 2 w 295"/>
              <a:gd name="T47" fmla="*/ 113 h 297"/>
              <a:gd name="T48" fmla="*/ 32 w 295"/>
              <a:gd name="T49" fmla="*/ 130 h 297"/>
              <a:gd name="T50" fmla="*/ 31 w 295"/>
              <a:gd name="T51" fmla="*/ 145 h 297"/>
              <a:gd name="T52" fmla="*/ 31 w 295"/>
              <a:gd name="T53" fmla="*/ 160 h 297"/>
              <a:gd name="T54" fmla="*/ 0 w 295"/>
              <a:gd name="T55" fmla="*/ 175 h 297"/>
              <a:gd name="T56" fmla="*/ 13 w 295"/>
              <a:gd name="T57" fmla="*/ 214 h 297"/>
              <a:gd name="T58" fmla="*/ 47 w 295"/>
              <a:gd name="T59" fmla="*/ 207 h 297"/>
              <a:gd name="T60" fmla="*/ 55 w 295"/>
              <a:gd name="T61" fmla="*/ 220 h 297"/>
              <a:gd name="T62" fmla="*/ 66 w 295"/>
              <a:gd name="T63" fmla="*/ 232 h 297"/>
              <a:gd name="T64" fmla="*/ 52 w 295"/>
              <a:gd name="T65" fmla="*/ 263 h 297"/>
              <a:gd name="T66" fmla="*/ 87 w 295"/>
              <a:gd name="T67" fmla="*/ 284 h 297"/>
              <a:gd name="T68" fmla="*/ 108 w 295"/>
              <a:gd name="T69" fmla="*/ 258 h 297"/>
              <a:gd name="T70" fmla="*/ 123 w 295"/>
              <a:gd name="T71" fmla="*/ 262 h 297"/>
              <a:gd name="T72" fmla="*/ 138 w 295"/>
              <a:gd name="T73" fmla="*/ 264 h 297"/>
              <a:gd name="T74" fmla="*/ 147 w 295"/>
              <a:gd name="T75" fmla="*/ 297 h 297"/>
              <a:gd name="T76" fmla="*/ 188 w 295"/>
              <a:gd name="T77" fmla="*/ 291 h 297"/>
              <a:gd name="T78" fmla="*/ 187 w 295"/>
              <a:gd name="T79" fmla="*/ 257 h 297"/>
              <a:gd name="T80" fmla="*/ 201 w 295"/>
              <a:gd name="T81" fmla="*/ 250 h 297"/>
              <a:gd name="T82" fmla="*/ 214 w 295"/>
              <a:gd name="T83" fmla="*/ 242 h 297"/>
              <a:gd name="T84" fmla="*/ 242 w 295"/>
              <a:gd name="T85" fmla="*/ 262 h 297"/>
              <a:gd name="T86" fmla="*/ 270 w 295"/>
              <a:gd name="T87" fmla="*/ 231 h 297"/>
              <a:gd name="T88" fmla="*/ 247 w 295"/>
              <a:gd name="T89" fmla="*/ 205 h 297"/>
              <a:gd name="T90" fmla="*/ 254 w 295"/>
              <a:gd name="T91" fmla="*/ 191 h 297"/>
              <a:gd name="T92" fmla="*/ 130 w 295"/>
              <a:gd name="T93" fmla="*/ 228 h 297"/>
              <a:gd name="T94" fmla="*/ 83 w 295"/>
              <a:gd name="T95" fmla="*/ 199 h 297"/>
              <a:gd name="T96" fmla="*/ 65 w 295"/>
              <a:gd name="T97" fmla="*/ 146 h 297"/>
              <a:gd name="T98" fmla="*/ 86 w 295"/>
              <a:gd name="T99" fmla="*/ 95 h 297"/>
              <a:gd name="T100" fmla="*/ 135 w 295"/>
              <a:gd name="T101" fmla="*/ 68 h 297"/>
              <a:gd name="T102" fmla="*/ 189 w 295"/>
              <a:gd name="T103" fmla="*/ 80 h 297"/>
              <a:gd name="T104" fmla="*/ 223 w 295"/>
              <a:gd name="T105" fmla="*/ 123 h 297"/>
              <a:gd name="T106" fmla="*/ 222 w 295"/>
              <a:gd name="T107" fmla="*/ 178 h 297"/>
              <a:gd name="T108" fmla="*/ 185 w 295"/>
              <a:gd name="T109" fmla="*/ 220 h 297"/>
              <a:gd name="T110" fmla="*/ 130 w 295"/>
              <a:gd name="T111" fmla="*/ 22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5" h="297">
                <a:moveTo>
                  <a:pt x="254" y="191"/>
                </a:moveTo>
                <a:cubicBezTo>
                  <a:pt x="256" y="186"/>
                  <a:pt x="258" y="182"/>
                  <a:pt x="259" y="176"/>
                </a:cubicBezTo>
                <a:cubicBezTo>
                  <a:pt x="270" y="176"/>
                  <a:pt x="281" y="175"/>
                  <a:pt x="293" y="173"/>
                </a:cubicBezTo>
                <a:cubicBezTo>
                  <a:pt x="295" y="160"/>
                  <a:pt x="295" y="146"/>
                  <a:pt x="294" y="132"/>
                </a:cubicBezTo>
                <a:cubicBezTo>
                  <a:pt x="283" y="130"/>
                  <a:pt x="271" y="128"/>
                  <a:pt x="260" y="127"/>
                </a:cubicBezTo>
                <a:cubicBezTo>
                  <a:pt x="259" y="122"/>
                  <a:pt x="258" y="117"/>
                  <a:pt x="256" y="112"/>
                </a:cubicBezTo>
                <a:cubicBezTo>
                  <a:pt x="254" y="107"/>
                  <a:pt x="253" y="102"/>
                  <a:pt x="250" y="98"/>
                </a:cubicBezTo>
                <a:cubicBezTo>
                  <a:pt x="259" y="90"/>
                  <a:pt x="267" y="82"/>
                  <a:pt x="274" y="73"/>
                </a:cubicBezTo>
                <a:cubicBezTo>
                  <a:pt x="268" y="61"/>
                  <a:pt x="259" y="51"/>
                  <a:pt x="249" y="41"/>
                </a:cubicBezTo>
                <a:cubicBezTo>
                  <a:pt x="239" y="46"/>
                  <a:pt x="229" y="52"/>
                  <a:pt x="220" y="59"/>
                </a:cubicBezTo>
                <a:cubicBezTo>
                  <a:pt x="216" y="56"/>
                  <a:pt x="212" y="52"/>
                  <a:pt x="207" y="50"/>
                </a:cubicBezTo>
                <a:cubicBezTo>
                  <a:pt x="203" y="47"/>
                  <a:pt x="198" y="45"/>
                  <a:pt x="193" y="43"/>
                </a:cubicBezTo>
                <a:cubicBezTo>
                  <a:pt x="195" y="31"/>
                  <a:pt x="196" y="20"/>
                  <a:pt x="196" y="9"/>
                </a:cubicBezTo>
                <a:cubicBezTo>
                  <a:pt x="183" y="4"/>
                  <a:pt x="170" y="1"/>
                  <a:pt x="156" y="0"/>
                </a:cubicBezTo>
                <a:cubicBezTo>
                  <a:pt x="151" y="11"/>
                  <a:pt x="148" y="22"/>
                  <a:pt x="145" y="32"/>
                </a:cubicBezTo>
                <a:cubicBezTo>
                  <a:pt x="140" y="33"/>
                  <a:pt x="135" y="33"/>
                  <a:pt x="130" y="34"/>
                </a:cubicBezTo>
                <a:cubicBezTo>
                  <a:pt x="124" y="35"/>
                  <a:pt x="119" y="36"/>
                  <a:pt x="114" y="37"/>
                </a:cubicBezTo>
                <a:cubicBezTo>
                  <a:pt x="109" y="27"/>
                  <a:pt x="102" y="18"/>
                  <a:pt x="95" y="9"/>
                </a:cubicBezTo>
                <a:cubicBezTo>
                  <a:pt x="82" y="14"/>
                  <a:pt x="70" y="21"/>
                  <a:pt x="59" y="29"/>
                </a:cubicBezTo>
                <a:cubicBezTo>
                  <a:pt x="62" y="40"/>
                  <a:pt x="66" y="50"/>
                  <a:pt x="71" y="60"/>
                </a:cubicBezTo>
                <a:cubicBezTo>
                  <a:pt x="67" y="64"/>
                  <a:pt x="63" y="67"/>
                  <a:pt x="60" y="71"/>
                </a:cubicBezTo>
                <a:cubicBezTo>
                  <a:pt x="56" y="75"/>
                  <a:pt x="53" y="79"/>
                  <a:pt x="50" y="84"/>
                </a:cubicBezTo>
                <a:cubicBezTo>
                  <a:pt x="39" y="80"/>
                  <a:pt x="29" y="77"/>
                  <a:pt x="17" y="75"/>
                </a:cubicBezTo>
                <a:cubicBezTo>
                  <a:pt x="10" y="87"/>
                  <a:pt x="5" y="100"/>
                  <a:pt x="2" y="113"/>
                </a:cubicBezTo>
                <a:cubicBezTo>
                  <a:pt x="12" y="119"/>
                  <a:pt x="22" y="125"/>
                  <a:pt x="32" y="130"/>
                </a:cubicBezTo>
                <a:cubicBezTo>
                  <a:pt x="31" y="135"/>
                  <a:pt x="30" y="140"/>
                  <a:pt x="31" y="145"/>
                </a:cubicBezTo>
                <a:cubicBezTo>
                  <a:pt x="30" y="150"/>
                  <a:pt x="31" y="155"/>
                  <a:pt x="31" y="160"/>
                </a:cubicBezTo>
                <a:cubicBezTo>
                  <a:pt x="20" y="165"/>
                  <a:pt x="10" y="169"/>
                  <a:pt x="0" y="175"/>
                </a:cubicBezTo>
                <a:cubicBezTo>
                  <a:pt x="3" y="189"/>
                  <a:pt x="7" y="202"/>
                  <a:pt x="13" y="214"/>
                </a:cubicBezTo>
                <a:cubicBezTo>
                  <a:pt x="25" y="213"/>
                  <a:pt x="36" y="210"/>
                  <a:pt x="47" y="207"/>
                </a:cubicBezTo>
                <a:cubicBezTo>
                  <a:pt x="49" y="212"/>
                  <a:pt x="52" y="216"/>
                  <a:pt x="55" y="220"/>
                </a:cubicBezTo>
                <a:cubicBezTo>
                  <a:pt x="58" y="224"/>
                  <a:pt x="62" y="228"/>
                  <a:pt x="66" y="232"/>
                </a:cubicBezTo>
                <a:cubicBezTo>
                  <a:pt x="60" y="242"/>
                  <a:pt x="56" y="252"/>
                  <a:pt x="52" y="263"/>
                </a:cubicBezTo>
                <a:cubicBezTo>
                  <a:pt x="62" y="271"/>
                  <a:pt x="74" y="279"/>
                  <a:pt x="87" y="284"/>
                </a:cubicBezTo>
                <a:cubicBezTo>
                  <a:pt x="94" y="276"/>
                  <a:pt x="101" y="267"/>
                  <a:pt x="108" y="258"/>
                </a:cubicBezTo>
                <a:cubicBezTo>
                  <a:pt x="113" y="259"/>
                  <a:pt x="118" y="261"/>
                  <a:pt x="123" y="262"/>
                </a:cubicBezTo>
                <a:cubicBezTo>
                  <a:pt x="128" y="263"/>
                  <a:pt x="133" y="263"/>
                  <a:pt x="138" y="264"/>
                </a:cubicBezTo>
                <a:cubicBezTo>
                  <a:pt x="140" y="275"/>
                  <a:pt x="143" y="286"/>
                  <a:pt x="147" y="297"/>
                </a:cubicBezTo>
                <a:cubicBezTo>
                  <a:pt x="161" y="297"/>
                  <a:pt x="175" y="295"/>
                  <a:pt x="188" y="291"/>
                </a:cubicBezTo>
                <a:cubicBezTo>
                  <a:pt x="189" y="280"/>
                  <a:pt x="188" y="268"/>
                  <a:pt x="187" y="257"/>
                </a:cubicBezTo>
                <a:cubicBezTo>
                  <a:pt x="192" y="255"/>
                  <a:pt x="197" y="253"/>
                  <a:pt x="201" y="250"/>
                </a:cubicBezTo>
                <a:cubicBezTo>
                  <a:pt x="206" y="248"/>
                  <a:pt x="210" y="245"/>
                  <a:pt x="214" y="242"/>
                </a:cubicBezTo>
                <a:cubicBezTo>
                  <a:pt x="223" y="249"/>
                  <a:pt x="233" y="256"/>
                  <a:pt x="242" y="262"/>
                </a:cubicBezTo>
                <a:cubicBezTo>
                  <a:pt x="253" y="253"/>
                  <a:pt x="262" y="242"/>
                  <a:pt x="270" y="231"/>
                </a:cubicBezTo>
                <a:cubicBezTo>
                  <a:pt x="263" y="222"/>
                  <a:pt x="255" y="213"/>
                  <a:pt x="247" y="205"/>
                </a:cubicBezTo>
                <a:cubicBezTo>
                  <a:pt x="250" y="201"/>
                  <a:pt x="252" y="196"/>
                  <a:pt x="254" y="191"/>
                </a:cubicBezTo>
                <a:close/>
                <a:moveTo>
                  <a:pt x="130" y="228"/>
                </a:moveTo>
                <a:cubicBezTo>
                  <a:pt x="111" y="224"/>
                  <a:pt x="94" y="213"/>
                  <a:pt x="83" y="199"/>
                </a:cubicBezTo>
                <a:cubicBezTo>
                  <a:pt x="71" y="184"/>
                  <a:pt x="65" y="165"/>
                  <a:pt x="65" y="146"/>
                </a:cubicBezTo>
                <a:cubicBezTo>
                  <a:pt x="66" y="127"/>
                  <a:pt x="73" y="108"/>
                  <a:pt x="86" y="95"/>
                </a:cubicBezTo>
                <a:cubicBezTo>
                  <a:pt x="98" y="81"/>
                  <a:pt x="116" y="71"/>
                  <a:pt x="135" y="68"/>
                </a:cubicBezTo>
                <a:cubicBezTo>
                  <a:pt x="153" y="66"/>
                  <a:pt x="173" y="69"/>
                  <a:pt x="189" y="80"/>
                </a:cubicBezTo>
                <a:cubicBezTo>
                  <a:pt x="205" y="89"/>
                  <a:pt x="217" y="105"/>
                  <a:pt x="223" y="123"/>
                </a:cubicBezTo>
                <a:cubicBezTo>
                  <a:pt x="229" y="141"/>
                  <a:pt x="228" y="161"/>
                  <a:pt x="222" y="178"/>
                </a:cubicBezTo>
                <a:cubicBezTo>
                  <a:pt x="214" y="196"/>
                  <a:pt x="201" y="211"/>
                  <a:pt x="185" y="220"/>
                </a:cubicBezTo>
                <a:cubicBezTo>
                  <a:pt x="168" y="229"/>
                  <a:pt x="148" y="231"/>
                  <a:pt x="130" y="228"/>
                </a:cubicBezTo>
                <a:close/>
              </a:path>
            </a:pathLst>
          </a:custGeom>
          <a:solidFill>
            <a:schemeClr val="accent3"/>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33">
            <a:extLst>
              <a:ext uri="{FF2B5EF4-FFF2-40B4-BE49-F238E27FC236}">
                <a16:creationId xmlns:a16="http://schemas.microsoft.com/office/drawing/2014/main" id="{DADF212F-3E73-FE49-A2AD-6F631117E6AF}"/>
              </a:ext>
            </a:extLst>
          </p:cNvPr>
          <p:cNvSpPr>
            <a:spLocks noEditPoints="1"/>
          </p:cNvSpPr>
          <p:nvPr/>
        </p:nvSpPr>
        <p:spPr bwMode="auto">
          <a:xfrm>
            <a:off x="4206328" y="1261802"/>
            <a:ext cx="952469" cy="957840"/>
          </a:xfrm>
          <a:custGeom>
            <a:avLst/>
            <a:gdLst>
              <a:gd name="T0" fmla="*/ 254 w 295"/>
              <a:gd name="T1" fmla="*/ 191 h 297"/>
              <a:gd name="T2" fmla="*/ 259 w 295"/>
              <a:gd name="T3" fmla="*/ 176 h 297"/>
              <a:gd name="T4" fmla="*/ 293 w 295"/>
              <a:gd name="T5" fmla="*/ 173 h 297"/>
              <a:gd name="T6" fmla="*/ 294 w 295"/>
              <a:gd name="T7" fmla="*/ 132 h 297"/>
              <a:gd name="T8" fmla="*/ 260 w 295"/>
              <a:gd name="T9" fmla="*/ 127 h 297"/>
              <a:gd name="T10" fmla="*/ 256 w 295"/>
              <a:gd name="T11" fmla="*/ 112 h 297"/>
              <a:gd name="T12" fmla="*/ 250 w 295"/>
              <a:gd name="T13" fmla="*/ 98 h 297"/>
              <a:gd name="T14" fmla="*/ 274 w 295"/>
              <a:gd name="T15" fmla="*/ 73 h 297"/>
              <a:gd name="T16" fmla="*/ 249 w 295"/>
              <a:gd name="T17" fmla="*/ 41 h 297"/>
              <a:gd name="T18" fmla="*/ 220 w 295"/>
              <a:gd name="T19" fmla="*/ 59 h 297"/>
              <a:gd name="T20" fmla="*/ 207 w 295"/>
              <a:gd name="T21" fmla="*/ 50 h 297"/>
              <a:gd name="T22" fmla="*/ 193 w 295"/>
              <a:gd name="T23" fmla="*/ 43 h 297"/>
              <a:gd name="T24" fmla="*/ 196 w 295"/>
              <a:gd name="T25" fmla="*/ 9 h 297"/>
              <a:gd name="T26" fmla="*/ 156 w 295"/>
              <a:gd name="T27" fmla="*/ 0 h 297"/>
              <a:gd name="T28" fmla="*/ 145 w 295"/>
              <a:gd name="T29" fmla="*/ 32 h 297"/>
              <a:gd name="T30" fmla="*/ 130 w 295"/>
              <a:gd name="T31" fmla="*/ 34 h 297"/>
              <a:gd name="T32" fmla="*/ 114 w 295"/>
              <a:gd name="T33" fmla="*/ 37 h 297"/>
              <a:gd name="T34" fmla="*/ 95 w 295"/>
              <a:gd name="T35" fmla="*/ 9 h 297"/>
              <a:gd name="T36" fmla="*/ 59 w 295"/>
              <a:gd name="T37" fmla="*/ 29 h 297"/>
              <a:gd name="T38" fmla="*/ 71 w 295"/>
              <a:gd name="T39" fmla="*/ 60 h 297"/>
              <a:gd name="T40" fmla="*/ 60 w 295"/>
              <a:gd name="T41" fmla="*/ 71 h 297"/>
              <a:gd name="T42" fmla="*/ 50 w 295"/>
              <a:gd name="T43" fmla="*/ 84 h 297"/>
              <a:gd name="T44" fmla="*/ 17 w 295"/>
              <a:gd name="T45" fmla="*/ 75 h 297"/>
              <a:gd name="T46" fmla="*/ 2 w 295"/>
              <a:gd name="T47" fmla="*/ 113 h 297"/>
              <a:gd name="T48" fmla="*/ 32 w 295"/>
              <a:gd name="T49" fmla="*/ 130 h 297"/>
              <a:gd name="T50" fmla="*/ 31 w 295"/>
              <a:gd name="T51" fmla="*/ 145 h 297"/>
              <a:gd name="T52" fmla="*/ 31 w 295"/>
              <a:gd name="T53" fmla="*/ 160 h 297"/>
              <a:gd name="T54" fmla="*/ 0 w 295"/>
              <a:gd name="T55" fmla="*/ 175 h 297"/>
              <a:gd name="T56" fmla="*/ 13 w 295"/>
              <a:gd name="T57" fmla="*/ 214 h 297"/>
              <a:gd name="T58" fmla="*/ 47 w 295"/>
              <a:gd name="T59" fmla="*/ 207 h 297"/>
              <a:gd name="T60" fmla="*/ 55 w 295"/>
              <a:gd name="T61" fmla="*/ 220 h 297"/>
              <a:gd name="T62" fmla="*/ 66 w 295"/>
              <a:gd name="T63" fmla="*/ 232 h 297"/>
              <a:gd name="T64" fmla="*/ 52 w 295"/>
              <a:gd name="T65" fmla="*/ 263 h 297"/>
              <a:gd name="T66" fmla="*/ 87 w 295"/>
              <a:gd name="T67" fmla="*/ 284 h 297"/>
              <a:gd name="T68" fmla="*/ 108 w 295"/>
              <a:gd name="T69" fmla="*/ 258 h 297"/>
              <a:gd name="T70" fmla="*/ 123 w 295"/>
              <a:gd name="T71" fmla="*/ 262 h 297"/>
              <a:gd name="T72" fmla="*/ 138 w 295"/>
              <a:gd name="T73" fmla="*/ 264 h 297"/>
              <a:gd name="T74" fmla="*/ 147 w 295"/>
              <a:gd name="T75" fmla="*/ 297 h 297"/>
              <a:gd name="T76" fmla="*/ 188 w 295"/>
              <a:gd name="T77" fmla="*/ 291 h 297"/>
              <a:gd name="T78" fmla="*/ 187 w 295"/>
              <a:gd name="T79" fmla="*/ 257 h 297"/>
              <a:gd name="T80" fmla="*/ 201 w 295"/>
              <a:gd name="T81" fmla="*/ 250 h 297"/>
              <a:gd name="T82" fmla="*/ 214 w 295"/>
              <a:gd name="T83" fmla="*/ 242 h 297"/>
              <a:gd name="T84" fmla="*/ 242 w 295"/>
              <a:gd name="T85" fmla="*/ 262 h 297"/>
              <a:gd name="T86" fmla="*/ 270 w 295"/>
              <a:gd name="T87" fmla="*/ 231 h 297"/>
              <a:gd name="T88" fmla="*/ 247 w 295"/>
              <a:gd name="T89" fmla="*/ 205 h 297"/>
              <a:gd name="T90" fmla="*/ 254 w 295"/>
              <a:gd name="T91" fmla="*/ 191 h 297"/>
              <a:gd name="T92" fmla="*/ 130 w 295"/>
              <a:gd name="T93" fmla="*/ 228 h 297"/>
              <a:gd name="T94" fmla="*/ 83 w 295"/>
              <a:gd name="T95" fmla="*/ 199 h 297"/>
              <a:gd name="T96" fmla="*/ 65 w 295"/>
              <a:gd name="T97" fmla="*/ 146 h 297"/>
              <a:gd name="T98" fmla="*/ 86 w 295"/>
              <a:gd name="T99" fmla="*/ 95 h 297"/>
              <a:gd name="T100" fmla="*/ 135 w 295"/>
              <a:gd name="T101" fmla="*/ 68 h 297"/>
              <a:gd name="T102" fmla="*/ 189 w 295"/>
              <a:gd name="T103" fmla="*/ 80 h 297"/>
              <a:gd name="T104" fmla="*/ 223 w 295"/>
              <a:gd name="T105" fmla="*/ 123 h 297"/>
              <a:gd name="T106" fmla="*/ 222 w 295"/>
              <a:gd name="T107" fmla="*/ 178 h 297"/>
              <a:gd name="T108" fmla="*/ 185 w 295"/>
              <a:gd name="T109" fmla="*/ 220 h 297"/>
              <a:gd name="T110" fmla="*/ 130 w 295"/>
              <a:gd name="T111" fmla="*/ 22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5" h="297">
                <a:moveTo>
                  <a:pt x="254" y="191"/>
                </a:moveTo>
                <a:cubicBezTo>
                  <a:pt x="256" y="186"/>
                  <a:pt x="258" y="182"/>
                  <a:pt x="259" y="176"/>
                </a:cubicBezTo>
                <a:cubicBezTo>
                  <a:pt x="270" y="176"/>
                  <a:pt x="281" y="175"/>
                  <a:pt x="293" y="173"/>
                </a:cubicBezTo>
                <a:cubicBezTo>
                  <a:pt x="295" y="160"/>
                  <a:pt x="295" y="146"/>
                  <a:pt x="294" y="132"/>
                </a:cubicBezTo>
                <a:cubicBezTo>
                  <a:pt x="283" y="130"/>
                  <a:pt x="271" y="128"/>
                  <a:pt x="260" y="127"/>
                </a:cubicBezTo>
                <a:cubicBezTo>
                  <a:pt x="259" y="122"/>
                  <a:pt x="258" y="117"/>
                  <a:pt x="256" y="112"/>
                </a:cubicBezTo>
                <a:cubicBezTo>
                  <a:pt x="254" y="107"/>
                  <a:pt x="253" y="102"/>
                  <a:pt x="250" y="98"/>
                </a:cubicBezTo>
                <a:cubicBezTo>
                  <a:pt x="259" y="90"/>
                  <a:pt x="267" y="82"/>
                  <a:pt x="274" y="73"/>
                </a:cubicBezTo>
                <a:cubicBezTo>
                  <a:pt x="268" y="61"/>
                  <a:pt x="259" y="51"/>
                  <a:pt x="249" y="41"/>
                </a:cubicBezTo>
                <a:cubicBezTo>
                  <a:pt x="239" y="46"/>
                  <a:pt x="229" y="52"/>
                  <a:pt x="220" y="59"/>
                </a:cubicBezTo>
                <a:cubicBezTo>
                  <a:pt x="216" y="56"/>
                  <a:pt x="212" y="52"/>
                  <a:pt x="207" y="50"/>
                </a:cubicBezTo>
                <a:cubicBezTo>
                  <a:pt x="203" y="47"/>
                  <a:pt x="198" y="45"/>
                  <a:pt x="193" y="43"/>
                </a:cubicBezTo>
                <a:cubicBezTo>
                  <a:pt x="195" y="31"/>
                  <a:pt x="196" y="20"/>
                  <a:pt x="196" y="9"/>
                </a:cubicBezTo>
                <a:cubicBezTo>
                  <a:pt x="183" y="4"/>
                  <a:pt x="170" y="1"/>
                  <a:pt x="156" y="0"/>
                </a:cubicBezTo>
                <a:cubicBezTo>
                  <a:pt x="151" y="11"/>
                  <a:pt x="148" y="22"/>
                  <a:pt x="145" y="32"/>
                </a:cubicBezTo>
                <a:cubicBezTo>
                  <a:pt x="140" y="33"/>
                  <a:pt x="135" y="33"/>
                  <a:pt x="130" y="34"/>
                </a:cubicBezTo>
                <a:cubicBezTo>
                  <a:pt x="124" y="35"/>
                  <a:pt x="119" y="36"/>
                  <a:pt x="114" y="37"/>
                </a:cubicBezTo>
                <a:cubicBezTo>
                  <a:pt x="109" y="27"/>
                  <a:pt x="102" y="18"/>
                  <a:pt x="95" y="9"/>
                </a:cubicBezTo>
                <a:cubicBezTo>
                  <a:pt x="82" y="14"/>
                  <a:pt x="70" y="21"/>
                  <a:pt x="59" y="29"/>
                </a:cubicBezTo>
                <a:cubicBezTo>
                  <a:pt x="62" y="40"/>
                  <a:pt x="66" y="50"/>
                  <a:pt x="71" y="60"/>
                </a:cubicBezTo>
                <a:cubicBezTo>
                  <a:pt x="67" y="64"/>
                  <a:pt x="63" y="67"/>
                  <a:pt x="60" y="71"/>
                </a:cubicBezTo>
                <a:cubicBezTo>
                  <a:pt x="56" y="75"/>
                  <a:pt x="53" y="79"/>
                  <a:pt x="50" y="84"/>
                </a:cubicBezTo>
                <a:cubicBezTo>
                  <a:pt x="39" y="80"/>
                  <a:pt x="29" y="77"/>
                  <a:pt x="17" y="75"/>
                </a:cubicBezTo>
                <a:cubicBezTo>
                  <a:pt x="10" y="87"/>
                  <a:pt x="5" y="100"/>
                  <a:pt x="2" y="113"/>
                </a:cubicBezTo>
                <a:cubicBezTo>
                  <a:pt x="12" y="119"/>
                  <a:pt x="22" y="125"/>
                  <a:pt x="32" y="130"/>
                </a:cubicBezTo>
                <a:cubicBezTo>
                  <a:pt x="31" y="135"/>
                  <a:pt x="30" y="140"/>
                  <a:pt x="31" y="145"/>
                </a:cubicBezTo>
                <a:cubicBezTo>
                  <a:pt x="30" y="150"/>
                  <a:pt x="31" y="155"/>
                  <a:pt x="31" y="160"/>
                </a:cubicBezTo>
                <a:cubicBezTo>
                  <a:pt x="20" y="165"/>
                  <a:pt x="10" y="169"/>
                  <a:pt x="0" y="175"/>
                </a:cubicBezTo>
                <a:cubicBezTo>
                  <a:pt x="3" y="189"/>
                  <a:pt x="7" y="202"/>
                  <a:pt x="13" y="214"/>
                </a:cubicBezTo>
                <a:cubicBezTo>
                  <a:pt x="25" y="213"/>
                  <a:pt x="36" y="210"/>
                  <a:pt x="47" y="207"/>
                </a:cubicBezTo>
                <a:cubicBezTo>
                  <a:pt x="49" y="212"/>
                  <a:pt x="52" y="216"/>
                  <a:pt x="55" y="220"/>
                </a:cubicBezTo>
                <a:cubicBezTo>
                  <a:pt x="58" y="224"/>
                  <a:pt x="62" y="228"/>
                  <a:pt x="66" y="232"/>
                </a:cubicBezTo>
                <a:cubicBezTo>
                  <a:pt x="60" y="242"/>
                  <a:pt x="56" y="252"/>
                  <a:pt x="52" y="263"/>
                </a:cubicBezTo>
                <a:cubicBezTo>
                  <a:pt x="62" y="271"/>
                  <a:pt x="74" y="279"/>
                  <a:pt x="87" y="284"/>
                </a:cubicBezTo>
                <a:cubicBezTo>
                  <a:pt x="94" y="276"/>
                  <a:pt x="101" y="267"/>
                  <a:pt x="108" y="258"/>
                </a:cubicBezTo>
                <a:cubicBezTo>
                  <a:pt x="113" y="259"/>
                  <a:pt x="118" y="261"/>
                  <a:pt x="123" y="262"/>
                </a:cubicBezTo>
                <a:cubicBezTo>
                  <a:pt x="128" y="263"/>
                  <a:pt x="133" y="263"/>
                  <a:pt x="138" y="264"/>
                </a:cubicBezTo>
                <a:cubicBezTo>
                  <a:pt x="140" y="275"/>
                  <a:pt x="143" y="286"/>
                  <a:pt x="147" y="297"/>
                </a:cubicBezTo>
                <a:cubicBezTo>
                  <a:pt x="161" y="297"/>
                  <a:pt x="175" y="295"/>
                  <a:pt x="188" y="291"/>
                </a:cubicBezTo>
                <a:cubicBezTo>
                  <a:pt x="189" y="280"/>
                  <a:pt x="188" y="268"/>
                  <a:pt x="187" y="257"/>
                </a:cubicBezTo>
                <a:cubicBezTo>
                  <a:pt x="192" y="255"/>
                  <a:pt x="197" y="253"/>
                  <a:pt x="201" y="250"/>
                </a:cubicBezTo>
                <a:cubicBezTo>
                  <a:pt x="206" y="248"/>
                  <a:pt x="210" y="245"/>
                  <a:pt x="214" y="242"/>
                </a:cubicBezTo>
                <a:cubicBezTo>
                  <a:pt x="223" y="249"/>
                  <a:pt x="233" y="256"/>
                  <a:pt x="242" y="262"/>
                </a:cubicBezTo>
                <a:cubicBezTo>
                  <a:pt x="253" y="253"/>
                  <a:pt x="262" y="242"/>
                  <a:pt x="270" y="231"/>
                </a:cubicBezTo>
                <a:cubicBezTo>
                  <a:pt x="263" y="222"/>
                  <a:pt x="255" y="213"/>
                  <a:pt x="247" y="205"/>
                </a:cubicBezTo>
                <a:cubicBezTo>
                  <a:pt x="250" y="201"/>
                  <a:pt x="252" y="196"/>
                  <a:pt x="254" y="191"/>
                </a:cubicBezTo>
                <a:close/>
                <a:moveTo>
                  <a:pt x="130" y="228"/>
                </a:moveTo>
                <a:cubicBezTo>
                  <a:pt x="111" y="224"/>
                  <a:pt x="94" y="213"/>
                  <a:pt x="83" y="199"/>
                </a:cubicBezTo>
                <a:cubicBezTo>
                  <a:pt x="71" y="184"/>
                  <a:pt x="65" y="165"/>
                  <a:pt x="65" y="146"/>
                </a:cubicBezTo>
                <a:cubicBezTo>
                  <a:pt x="66" y="127"/>
                  <a:pt x="73" y="108"/>
                  <a:pt x="86" y="95"/>
                </a:cubicBezTo>
                <a:cubicBezTo>
                  <a:pt x="98" y="81"/>
                  <a:pt x="116" y="71"/>
                  <a:pt x="135" y="68"/>
                </a:cubicBezTo>
                <a:cubicBezTo>
                  <a:pt x="153" y="66"/>
                  <a:pt x="173" y="69"/>
                  <a:pt x="189" y="80"/>
                </a:cubicBezTo>
                <a:cubicBezTo>
                  <a:pt x="205" y="89"/>
                  <a:pt x="217" y="105"/>
                  <a:pt x="223" y="123"/>
                </a:cubicBezTo>
                <a:cubicBezTo>
                  <a:pt x="229" y="141"/>
                  <a:pt x="228" y="161"/>
                  <a:pt x="222" y="178"/>
                </a:cubicBezTo>
                <a:cubicBezTo>
                  <a:pt x="214" y="196"/>
                  <a:pt x="201" y="211"/>
                  <a:pt x="185" y="220"/>
                </a:cubicBezTo>
                <a:cubicBezTo>
                  <a:pt x="168" y="229"/>
                  <a:pt x="148" y="231"/>
                  <a:pt x="130" y="228"/>
                </a:cubicBezTo>
                <a:close/>
              </a:path>
            </a:pathLst>
          </a:custGeom>
          <a:solidFill>
            <a:schemeClr val="accent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49">
            <a:extLst>
              <a:ext uri="{FF2B5EF4-FFF2-40B4-BE49-F238E27FC236}">
                <a16:creationId xmlns:a16="http://schemas.microsoft.com/office/drawing/2014/main" id="{7C7DBD04-9D1B-0F4E-8BAE-CCC2DFFFEED6}"/>
              </a:ext>
            </a:extLst>
          </p:cNvPr>
          <p:cNvSpPr/>
          <p:nvPr/>
        </p:nvSpPr>
        <p:spPr bwMode="gray">
          <a:xfrm>
            <a:off x="1889125" y="501446"/>
            <a:ext cx="8413750" cy="332399"/>
          </a:xfrm>
          <a:prstGeom prst="rect">
            <a:avLst/>
          </a:prstGeom>
          <a:solidFill>
            <a:schemeClr val="accent2"/>
          </a:solidFill>
          <a:ln w="9525" algn="ctr">
            <a:solidFill>
              <a:schemeClr val="bg2">
                <a:lumMod val="60000"/>
                <a:lumOff val="40000"/>
              </a:schemeClr>
            </a:solidFill>
            <a:miter lim="800000"/>
            <a:headEnd/>
            <a:tailEnd/>
          </a:ln>
        </p:spPr>
        <p:txBody>
          <a:bodyPr wrap="square" lIns="88900" tIns="73152" rIns="88900" bIns="73152" rtlCol="0" anchor="ctr">
            <a:spAutoFit/>
          </a:bodyPr>
          <a:lstStyle/>
          <a:p>
            <a:pPr lvl="0" algn="ctr"/>
            <a:r>
              <a:rPr lang="en-US" sz="1200" dirty="0">
                <a:solidFill>
                  <a:schemeClr val="bg1"/>
                </a:solidFill>
              </a:rPr>
              <a:t>Lorem ipsum dolor sit </a:t>
            </a:r>
            <a:r>
              <a:rPr lang="en-US" sz="1200" dirty="0" err="1">
                <a:solidFill>
                  <a:schemeClr val="bg1"/>
                </a:solidFill>
              </a:rPr>
              <a:t>amet</a:t>
            </a:r>
            <a:r>
              <a:rPr lang="en-US" sz="1200" dirty="0">
                <a:solidFill>
                  <a:schemeClr val="bg1"/>
                </a:solidFill>
              </a:rPr>
              <a:t>, </a:t>
            </a:r>
            <a:r>
              <a:rPr lang="en-US" sz="1200" dirty="0" err="1">
                <a:solidFill>
                  <a:schemeClr val="bg1"/>
                </a:solidFill>
              </a:rPr>
              <a:t>consectetur</a:t>
            </a:r>
            <a:r>
              <a:rPr lang="en-US" sz="1200" dirty="0">
                <a:solidFill>
                  <a:schemeClr val="bg1"/>
                </a:solidFill>
              </a:rPr>
              <a:t> </a:t>
            </a:r>
            <a:r>
              <a:rPr lang="en-US" sz="1200" dirty="0" err="1">
                <a:solidFill>
                  <a:schemeClr val="bg1"/>
                </a:solidFill>
              </a:rPr>
              <a:t>adipiscing</a:t>
            </a:r>
            <a:r>
              <a:rPr lang="en-US" sz="1200" dirty="0">
                <a:solidFill>
                  <a:schemeClr val="bg1"/>
                </a:solidFill>
              </a:rPr>
              <a:t> </a:t>
            </a:r>
            <a:r>
              <a:rPr lang="en-US" sz="1200" dirty="0" err="1">
                <a:solidFill>
                  <a:schemeClr val="bg1"/>
                </a:solidFill>
              </a:rPr>
              <a:t>elit</a:t>
            </a:r>
            <a:endParaRPr lang="en-US" sz="1200" dirty="0">
              <a:solidFill>
                <a:schemeClr val="bg1"/>
              </a:solidFill>
            </a:endParaRPr>
          </a:p>
        </p:txBody>
      </p:sp>
      <p:sp>
        <p:nvSpPr>
          <p:cNvPr id="51" name="Arc 50">
            <a:extLst>
              <a:ext uri="{FF2B5EF4-FFF2-40B4-BE49-F238E27FC236}">
                <a16:creationId xmlns:a16="http://schemas.microsoft.com/office/drawing/2014/main" id="{63BE4BCA-0319-5044-A6C9-BD68A9D92EBC}"/>
              </a:ext>
            </a:extLst>
          </p:cNvPr>
          <p:cNvSpPr/>
          <p:nvPr/>
        </p:nvSpPr>
        <p:spPr bwMode="gray">
          <a:xfrm rot="8184080" flipV="1">
            <a:off x="3444299" y="481981"/>
            <a:ext cx="988478" cy="1340147"/>
          </a:xfrm>
          <a:prstGeom prst="arc">
            <a:avLst>
              <a:gd name="adj1" fmla="val 20786512"/>
              <a:gd name="adj2" fmla="val 4219514"/>
            </a:avLst>
          </a:prstGeom>
          <a:ln w="12700">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1200" dirty="0">
              <a:solidFill>
                <a:srgbClr val="000000"/>
              </a:solidFill>
              <a:latin typeface="+mj-lt"/>
              <a:cs typeface="Arial" panose="020B0604020202020204" pitchFamily="34" charset="0"/>
            </a:endParaRPr>
          </a:p>
        </p:txBody>
      </p:sp>
      <p:sp>
        <p:nvSpPr>
          <p:cNvPr id="52" name="Rectangle 51">
            <a:extLst>
              <a:ext uri="{FF2B5EF4-FFF2-40B4-BE49-F238E27FC236}">
                <a16:creationId xmlns:a16="http://schemas.microsoft.com/office/drawing/2014/main" id="{9C0079A0-A54C-D44C-88A9-864B813A25F9}"/>
              </a:ext>
            </a:extLst>
          </p:cNvPr>
          <p:cNvSpPr/>
          <p:nvPr/>
        </p:nvSpPr>
        <p:spPr>
          <a:xfrm>
            <a:off x="2089925" y="1070040"/>
            <a:ext cx="2097523" cy="307777"/>
          </a:xfrm>
          <a:prstGeom prst="rect">
            <a:avLst/>
          </a:prstGeom>
        </p:spPr>
        <p:txBody>
          <a:bodyPr wrap="square" lIns="0" tIns="0" rIns="0" bIns="0">
            <a:spAutoFit/>
          </a:bodyPr>
          <a:lstStyle/>
          <a:p>
            <a:r>
              <a:rPr lang="en-US" sz="1000" dirty="0">
                <a:solidFill>
                  <a:schemeClr val="tx2"/>
                </a:solidFill>
              </a:rPr>
              <a:t>Lorem ipsum dolor sit </a:t>
            </a:r>
            <a:r>
              <a:rPr lang="en-US" sz="1000" dirty="0" err="1">
                <a:solidFill>
                  <a:schemeClr val="tx2"/>
                </a:solidFill>
              </a:rPr>
              <a:t>amet</a:t>
            </a:r>
            <a:r>
              <a:rPr lang="en-US" sz="1000" dirty="0">
                <a:solidFill>
                  <a:schemeClr val="tx2"/>
                </a:solidFill>
              </a:rPr>
              <a:t>, </a:t>
            </a:r>
            <a:r>
              <a:rPr lang="en-US" sz="1000" dirty="0" err="1">
                <a:solidFill>
                  <a:schemeClr val="tx2"/>
                </a:solidFill>
              </a:rPr>
              <a:t>consectetur</a:t>
            </a:r>
            <a:r>
              <a:rPr lang="en-US" sz="1000" dirty="0">
                <a:solidFill>
                  <a:schemeClr val="tx2"/>
                </a:solidFill>
              </a:rPr>
              <a:t> </a:t>
            </a:r>
            <a:r>
              <a:rPr lang="en-US" sz="1000" dirty="0" err="1">
                <a:solidFill>
                  <a:schemeClr val="tx2"/>
                </a:solidFill>
              </a:rPr>
              <a:t>adipiscing</a:t>
            </a:r>
            <a:r>
              <a:rPr lang="en-US" sz="1000" dirty="0">
                <a:solidFill>
                  <a:schemeClr val="tx2"/>
                </a:solidFill>
              </a:rPr>
              <a:t> </a:t>
            </a:r>
            <a:r>
              <a:rPr lang="en-US" sz="1000" dirty="0" err="1">
                <a:solidFill>
                  <a:schemeClr val="tx2"/>
                </a:solidFill>
              </a:rPr>
              <a:t>elit</a:t>
            </a:r>
            <a:endParaRPr lang="en-US" sz="1000" dirty="0">
              <a:solidFill>
                <a:schemeClr val="tx2"/>
              </a:solidFill>
            </a:endParaRPr>
          </a:p>
        </p:txBody>
      </p:sp>
      <p:sp>
        <p:nvSpPr>
          <p:cNvPr id="53" name="Arc 52">
            <a:extLst>
              <a:ext uri="{FF2B5EF4-FFF2-40B4-BE49-F238E27FC236}">
                <a16:creationId xmlns:a16="http://schemas.microsoft.com/office/drawing/2014/main" id="{AEB77737-84DE-C74F-8795-FA4F4DDF0368}"/>
              </a:ext>
            </a:extLst>
          </p:cNvPr>
          <p:cNvSpPr/>
          <p:nvPr/>
        </p:nvSpPr>
        <p:spPr bwMode="gray">
          <a:xfrm rot="4149155" flipV="1">
            <a:off x="4301245" y="1214172"/>
            <a:ext cx="988478" cy="1340147"/>
          </a:xfrm>
          <a:prstGeom prst="arc">
            <a:avLst>
              <a:gd name="adj1" fmla="val 17148772"/>
              <a:gd name="adj2" fmla="val 4219514"/>
            </a:avLst>
          </a:prstGeom>
          <a:ln w="12700">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1200" dirty="0">
              <a:solidFill>
                <a:srgbClr val="000000"/>
              </a:solidFill>
              <a:latin typeface="+mj-lt"/>
              <a:cs typeface="Arial" panose="020B0604020202020204" pitchFamily="34" charset="0"/>
            </a:endParaRPr>
          </a:p>
        </p:txBody>
      </p:sp>
      <p:sp>
        <p:nvSpPr>
          <p:cNvPr id="54" name="Rectangle 53">
            <a:extLst>
              <a:ext uri="{FF2B5EF4-FFF2-40B4-BE49-F238E27FC236}">
                <a16:creationId xmlns:a16="http://schemas.microsoft.com/office/drawing/2014/main" id="{01920FBB-46F9-9E43-81B6-BE3FBF08863F}"/>
              </a:ext>
            </a:extLst>
          </p:cNvPr>
          <p:cNvSpPr/>
          <p:nvPr/>
        </p:nvSpPr>
        <p:spPr>
          <a:xfrm>
            <a:off x="2325690" y="2048714"/>
            <a:ext cx="1897062" cy="307777"/>
          </a:xfrm>
          <a:prstGeom prst="rect">
            <a:avLst/>
          </a:prstGeom>
        </p:spPr>
        <p:txBody>
          <a:bodyPr wrap="square" lIns="0" tIns="0" rIns="0" bIns="0">
            <a:spAutoFit/>
          </a:bodyPr>
          <a:lstStyle/>
          <a:p>
            <a:r>
              <a:rPr lang="en-US" sz="1000" dirty="0">
                <a:solidFill>
                  <a:schemeClr val="tx2"/>
                </a:solidFill>
              </a:rPr>
              <a:t>Lorem ipsum dolor sit </a:t>
            </a:r>
            <a:r>
              <a:rPr lang="en-US" sz="1000" dirty="0" err="1">
                <a:solidFill>
                  <a:schemeClr val="tx2"/>
                </a:solidFill>
              </a:rPr>
              <a:t>amet</a:t>
            </a:r>
            <a:r>
              <a:rPr lang="en-US" sz="1000" dirty="0">
                <a:solidFill>
                  <a:schemeClr val="tx2"/>
                </a:solidFill>
              </a:rPr>
              <a:t>, </a:t>
            </a:r>
            <a:r>
              <a:rPr lang="en-US" sz="1000" dirty="0" err="1">
                <a:solidFill>
                  <a:schemeClr val="tx2"/>
                </a:solidFill>
              </a:rPr>
              <a:t>consectetur</a:t>
            </a:r>
            <a:r>
              <a:rPr lang="en-US" sz="1000" dirty="0">
                <a:solidFill>
                  <a:schemeClr val="tx2"/>
                </a:solidFill>
              </a:rPr>
              <a:t> </a:t>
            </a:r>
            <a:r>
              <a:rPr lang="en-US" sz="1000" dirty="0" err="1">
                <a:solidFill>
                  <a:schemeClr val="tx2"/>
                </a:solidFill>
              </a:rPr>
              <a:t>adipiscing</a:t>
            </a:r>
            <a:r>
              <a:rPr lang="en-US" sz="1000" dirty="0">
                <a:solidFill>
                  <a:schemeClr val="tx2"/>
                </a:solidFill>
              </a:rPr>
              <a:t> </a:t>
            </a:r>
            <a:r>
              <a:rPr lang="en-US" sz="1000" dirty="0" err="1">
                <a:solidFill>
                  <a:schemeClr val="tx2"/>
                </a:solidFill>
              </a:rPr>
              <a:t>elit</a:t>
            </a:r>
            <a:endParaRPr lang="en-US" sz="1000" dirty="0">
              <a:solidFill>
                <a:schemeClr val="tx2"/>
              </a:solidFill>
            </a:endParaRPr>
          </a:p>
        </p:txBody>
      </p:sp>
      <p:sp>
        <p:nvSpPr>
          <p:cNvPr id="55" name="Arc 54">
            <a:extLst>
              <a:ext uri="{FF2B5EF4-FFF2-40B4-BE49-F238E27FC236}">
                <a16:creationId xmlns:a16="http://schemas.microsoft.com/office/drawing/2014/main" id="{53867E90-1F87-1E4B-8E3B-ABFCB7BBA95B}"/>
              </a:ext>
            </a:extLst>
          </p:cNvPr>
          <p:cNvSpPr/>
          <p:nvPr/>
        </p:nvSpPr>
        <p:spPr bwMode="gray">
          <a:xfrm rot="13415920" flipH="1" flipV="1">
            <a:off x="7522775" y="591729"/>
            <a:ext cx="988478" cy="1340147"/>
          </a:xfrm>
          <a:prstGeom prst="arc">
            <a:avLst>
              <a:gd name="adj1" fmla="val 20786512"/>
              <a:gd name="adj2" fmla="val 4219514"/>
            </a:avLst>
          </a:prstGeom>
          <a:ln w="12700">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1200" dirty="0">
              <a:solidFill>
                <a:srgbClr val="000000"/>
              </a:solidFill>
              <a:latin typeface="+mj-lt"/>
              <a:cs typeface="Arial" panose="020B0604020202020204" pitchFamily="34" charset="0"/>
            </a:endParaRPr>
          </a:p>
        </p:txBody>
      </p:sp>
      <p:sp>
        <p:nvSpPr>
          <p:cNvPr id="78" name="Rectangle 77">
            <a:extLst>
              <a:ext uri="{FF2B5EF4-FFF2-40B4-BE49-F238E27FC236}">
                <a16:creationId xmlns:a16="http://schemas.microsoft.com/office/drawing/2014/main" id="{8A367038-C617-D741-9502-DCE959F8F2C0}"/>
              </a:ext>
            </a:extLst>
          </p:cNvPr>
          <p:cNvSpPr/>
          <p:nvPr/>
        </p:nvSpPr>
        <p:spPr>
          <a:xfrm>
            <a:off x="8089338" y="1095753"/>
            <a:ext cx="1616638" cy="307777"/>
          </a:xfrm>
          <a:prstGeom prst="rect">
            <a:avLst/>
          </a:prstGeom>
        </p:spPr>
        <p:txBody>
          <a:bodyPr wrap="square" lIns="0" tIns="0" rIns="0" bIns="0">
            <a:spAutoFit/>
          </a:bodyPr>
          <a:lstStyle/>
          <a:p>
            <a:r>
              <a:rPr lang="en-US" sz="1000" dirty="0">
                <a:solidFill>
                  <a:schemeClr val="tx2"/>
                </a:solidFill>
              </a:rPr>
              <a:t>Lorem ipsum dolor sit </a:t>
            </a:r>
            <a:r>
              <a:rPr lang="en-US" sz="1000" dirty="0" err="1">
                <a:solidFill>
                  <a:schemeClr val="tx2"/>
                </a:solidFill>
              </a:rPr>
              <a:t>amet</a:t>
            </a:r>
            <a:r>
              <a:rPr lang="en-US" sz="1000" dirty="0">
                <a:solidFill>
                  <a:schemeClr val="tx2"/>
                </a:solidFill>
              </a:rPr>
              <a:t>, </a:t>
            </a:r>
            <a:r>
              <a:rPr lang="en-US" sz="1000" dirty="0" err="1">
                <a:solidFill>
                  <a:schemeClr val="tx2"/>
                </a:solidFill>
              </a:rPr>
              <a:t>consectetur</a:t>
            </a:r>
            <a:r>
              <a:rPr lang="en-US" sz="1000" dirty="0">
                <a:solidFill>
                  <a:schemeClr val="tx2"/>
                </a:solidFill>
              </a:rPr>
              <a:t> </a:t>
            </a:r>
            <a:r>
              <a:rPr lang="en-US" sz="1000" dirty="0" err="1">
                <a:solidFill>
                  <a:schemeClr val="tx2"/>
                </a:solidFill>
              </a:rPr>
              <a:t>adipiscing</a:t>
            </a:r>
            <a:r>
              <a:rPr lang="en-US" sz="1000" dirty="0">
                <a:solidFill>
                  <a:schemeClr val="tx2"/>
                </a:solidFill>
              </a:rPr>
              <a:t> </a:t>
            </a:r>
            <a:r>
              <a:rPr lang="en-US" sz="1000" dirty="0" err="1">
                <a:solidFill>
                  <a:schemeClr val="tx2"/>
                </a:solidFill>
              </a:rPr>
              <a:t>elit</a:t>
            </a:r>
            <a:endParaRPr lang="en-US" sz="1000" dirty="0">
              <a:solidFill>
                <a:schemeClr val="tx2"/>
              </a:solidFill>
            </a:endParaRPr>
          </a:p>
        </p:txBody>
      </p:sp>
      <p:sp>
        <p:nvSpPr>
          <p:cNvPr id="79" name="Arc 78">
            <a:extLst>
              <a:ext uri="{FF2B5EF4-FFF2-40B4-BE49-F238E27FC236}">
                <a16:creationId xmlns:a16="http://schemas.microsoft.com/office/drawing/2014/main" id="{00932775-5C71-3E4D-9548-A7BFD2DCA52C}"/>
              </a:ext>
            </a:extLst>
          </p:cNvPr>
          <p:cNvSpPr/>
          <p:nvPr/>
        </p:nvSpPr>
        <p:spPr bwMode="gray">
          <a:xfrm rot="16381505" flipH="1" flipV="1">
            <a:off x="6808660" y="1206460"/>
            <a:ext cx="988478" cy="1340147"/>
          </a:xfrm>
          <a:prstGeom prst="arc">
            <a:avLst>
              <a:gd name="adj1" fmla="val 17474540"/>
              <a:gd name="adj2" fmla="val 2743542"/>
            </a:avLst>
          </a:prstGeom>
          <a:ln w="12700">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1200" dirty="0">
              <a:solidFill>
                <a:srgbClr val="000000"/>
              </a:solidFill>
              <a:latin typeface="+mj-lt"/>
              <a:cs typeface="Arial" panose="020B0604020202020204" pitchFamily="34" charset="0"/>
            </a:endParaRPr>
          </a:p>
        </p:txBody>
      </p:sp>
      <p:sp>
        <p:nvSpPr>
          <p:cNvPr id="80" name="Rectangle 79">
            <a:extLst>
              <a:ext uri="{FF2B5EF4-FFF2-40B4-BE49-F238E27FC236}">
                <a16:creationId xmlns:a16="http://schemas.microsoft.com/office/drawing/2014/main" id="{699FF947-AACF-934C-9E31-C3A5952DB9BD}"/>
              </a:ext>
            </a:extLst>
          </p:cNvPr>
          <p:cNvSpPr/>
          <p:nvPr/>
        </p:nvSpPr>
        <p:spPr>
          <a:xfrm>
            <a:off x="7983636" y="1976386"/>
            <a:ext cx="1931889" cy="307777"/>
          </a:xfrm>
          <a:prstGeom prst="rect">
            <a:avLst/>
          </a:prstGeom>
        </p:spPr>
        <p:txBody>
          <a:bodyPr wrap="square" lIns="0" tIns="0" rIns="0" bIns="0">
            <a:spAutoFit/>
          </a:bodyPr>
          <a:lstStyle/>
          <a:p>
            <a:r>
              <a:rPr lang="en-US" sz="1000" dirty="0">
                <a:solidFill>
                  <a:schemeClr val="tx2"/>
                </a:solidFill>
              </a:rPr>
              <a:t>Lorem ipsum dolor sit </a:t>
            </a:r>
            <a:r>
              <a:rPr lang="en-US" sz="1000" dirty="0" err="1">
                <a:solidFill>
                  <a:schemeClr val="tx2"/>
                </a:solidFill>
              </a:rPr>
              <a:t>amet</a:t>
            </a:r>
            <a:r>
              <a:rPr lang="en-US" sz="1000" dirty="0">
                <a:solidFill>
                  <a:schemeClr val="tx2"/>
                </a:solidFill>
              </a:rPr>
              <a:t>, </a:t>
            </a:r>
            <a:r>
              <a:rPr lang="en-US" sz="1000" dirty="0" err="1">
                <a:solidFill>
                  <a:schemeClr val="tx2"/>
                </a:solidFill>
              </a:rPr>
              <a:t>consectetur</a:t>
            </a:r>
            <a:r>
              <a:rPr lang="en-US" sz="1000" dirty="0">
                <a:solidFill>
                  <a:schemeClr val="tx2"/>
                </a:solidFill>
              </a:rPr>
              <a:t> </a:t>
            </a:r>
            <a:r>
              <a:rPr lang="en-US" sz="1000" dirty="0" err="1">
                <a:solidFill>
                  <a:schemeClr val="tx2"/>
                </a:solidFill>
              </a:rPr>
              <a:t>adipiscing</a:t>
            </a:r>
            <a:r>
              <a:rPr lang="en-US" sz="1000" dirty="0">
                <a:solidFill>
                  <a:schemeClr val="tx2"/>
                </a:solidFill>
              </a:rPr>
              <a:t> </a:t>
            </a:r>
            <a:r>
              <a:rPr lang="en-US" sz="1000" dirty="0" err="1">
                <a:solidFill>
                  <a:schemeClr val="tx2"/>
                </a:solidFill>
              </a:rPr>
              <a:t>elit</a:t>
            </a:r>
            <a:endParaRPr lang="en-US" sz="1000" dirty="0">
              <a:solidFill>
                <a:schemeClr val="tx2"/>
              </a:solidFill>
            </a:endParaRPr>
          </a:p>
        </p:txBody>
      </p:sp>
      <p:sp>
        <p:nvSpPr>
          <p:cNvPr id="81" name="Rectangle 80">
            <a:extLst>
              <a:ext uri="{FF2B5EF4-FFF2-40B4-BE49-F238E27FC236}">
                <a16:creationId xmlns:a16="http://schemas.microsoft.com/office/drawing/2014/main" id="{2C2E7F81-80C9-7646-996C-CD8A74FC735C}"/>
              </a:ext>
            </a:extLst>
          </p:cNvPr>
          <p:cNvSpPr/>
          <p:nvPr/>
        </p:nvSpPr>
        <p:spPr bwMode="gray">
          <a:xfrm>
            <a:off x="1889126" y="5200496"/>
            <a:ext cx="8413751" cy="1149341"/>
          </a:xfrm>
          <a:prstGeom prst="rect">
            <a:avLst/>
          </a:prstGeom>
          <a:noFill/>
          <a:ln w="9525" algn="ctr">
            <a:solidFill>
              <a:schemeClr val="bg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2" name="Rectangle 81">
            <a:extLst>
              <a:ext uri="{FF2B5EF4-FFF2-40B4-BE49-F238E27FC236}">
                <a16:creationId xmlns:a16="http://schemas.microsoft.com/office/drawing/2014/main" id="{AB8DD0EF-2DE2-8C4C-8771-3FC32CBC7520}"/>
              </a:ext>
            </a:extLst>
          </p:cNvPr>
          <p:cNvSpPr/>
          <p:nvPr/>
        </p:nvSpPr>
        <p:spPr bwMode="gray">
          <a:xfrm>
            <a:off x="1889125" y="5200496"/>
            <a:ext cx="8413750" cy="332399"/>
          </a:xfrm>
          <a:prstGeom prst="rect">
            <a:avLst/>
          </a:prstGeom>
          <a:solidFill>
            <a:schemeClr val="tx1"/>
          </a:solidFill>
          <a:ln w="9525" algn="ctr">
            <a:solidFill>
              <a:schemeClr val="bg2">
                <a:lumMod val="60000"/>
                <a:lumOff val="40000"/>
              </a:scheme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algn="ctr"/>
            <a:r>
              <a:rPr lang="en-US" sz="1200" dirty="0">
                <a:solidFill>
                  <a:srgbClr val="FFFFFF"/>
                </a:solidFill>
              </a:rPr>
              <a:t>OUR VALUE</a:t>
            </a:r>
          </a:p>
        </p:txBody>
      </p:sp>
      <p:sp>
        <p:nvSpPr>
          <p:cNvPr id="83" name="Rectangle 82">
            <a:extLst>
              <a:ext uri="{FF2B5EF4-FFF2-40B4-BE49-F238E27FC236}">
                <a16:creationId xmlns:a16="http://schemas.microsoft.com/office/drawing/2014/main" id="{9F0629D3-BFE8-BD45-9D33-06EF0A7D6887}"/>
              </a:ext>
            </a:extLst>
          </p:cNvPr>
          <p:cNvSpPr/>
          <p:nvPr/>
        </p:nvSpPr>
        <p:spPr>
          <a:xfrm>
            <a:off x="1981200" y="5700239"/>
            <a:ext cx="8229600" cy="630735"/>
          </a:xfrm>
          <a:prstGeom prst="rect">
            <a:avLst/>
          </a:prstGeom>
        </p:spPr>
        <p:txBody>
          <a:bodyPr wrap="square" lIns="0" tIns="0" rIns="0" bIns="0" numCol="3" spcCol="91440">
            <a:noAutofit/>
          </a:bodyPr>
          <a:lstStyle/>
          <a:p>
            <a:pPr marL="114300" indent="-114300">
              <a:buSzPct val="100000"/>
              <a:buFont typeface="Arial" panose="020B0604020202020204" pitchFamily="34" charset="0"/>
              <a:buChar char="•"/>
            </a:pPr>
            <a:r>
              <a:rPr lang="pt-BR" sz="1000" dirty="0">
                <a:solidFill>
                  <a:schemeClr val="tx2"/>
                </a:solidFill>
              </a:rPr>
              <a:t>Lorem ipsum dolor sit a</a:t>
            </a:r>
          </a:p>
          <a:p>
            <a:pPr marL="114300" indent="-114300">
              <a:buSzPct val="100000"/>
              <a:buFont typeface="Arial" panose="020B0604020202020204" pitchFamily="34" charset="0"/>
              <a:buChar char="•"/>
            </a:pPr>
            <a:r>
              <a:rPr lang="pt-BR" sz="1000" dirty="0">
                <a:solidFill>
                  <a:schemeClr val="tx2"/>
                </a:solidFill>
              </a:rPr>
              <a:t>Lorem ipsum dolor sit </a:t>
            </a:r>
          </a:p>
          <a:p>
            <a:pPr marL="114300" indent="-114300">
              <a:buSzPct val="100000"/>
              <a:buFont typeface="Arial" panose="020B0604020202020204" pitchFamily="34" charset="0"/>
              <a:buChar char="•"/>
            </a:pPr>
            <a:r>
              <a:rPr lang="pt-BR" sz="1000" dirty="0">
                <a:solidFill>
                  <a:schemeClr val="tx2"/>
                </a:solidFill>
              </a:rPr>
              <a:t>Lorem ipsum dolor sit a</a:t>
            </a:r>
          </a:p>
          <a:p>
            <a:pPr marL="114300" indent="-114300">
              <a:buSzPct val="100000"/>
              <a:buFont typeface="Arial" panose="020B0604020202020204" pitchFamily="34" charset="0"/>
              <a:buChar char="•"/>
            </a:pPr>
            <a:r>
              <a:rPr lang="pt-BR" sz="1000" dirty="0">
                <a:solidFill>
                  <a:schemeClr val="tx2"/>
                </a:solidFill>
              </a:rPr>
              <a:t>Lorem ipsum dolor sit aaLore</a:t>
            </a:r>
          </a:p>
          <a:p>
            <a:pPr marL="114300" indent="-114300">
              <a:buSzPct val="100000"/>
              <a:buFont typeface="Arial" panose="020B0604020202020204" pitchFamily="34" charset="0"/>
              <a:buChar char="•"/>
            </a:pPr>
            <a:r>
              <a:rPr lang="pt-BR" sz="1000" dirty="0">
                <a:solidFill>
                  <a:schemeClr val="tx2"/>
                </a:solidFill>
              </a:rPr>
              <a:t>m ipsum dolor sit a</a:t>
            </a:r>
          </a:p>
          <a:p>
            <a:pPr marL="114300" indent="-114300">
              <a:buSzPct val="100000"/>
              <a:buFont typeface="Arial" panose="020B0604020202020204" pitchFamily="34" charset="0"/>
              <a:buChar char="•"/>
            </a:pPr>
            <a:r>
              <a:rPr lang="pt-BR" sz="1000" dirty="0">
                <a:solidFill>
                  <a:schemeClr val="tx2"/>
                </a:solidFill>
              </a:rPr>
              <a:t>Lorem ipsum dolor sit </a:t>
            </a:r>
          </a:p>
          <a:p>
            <a:pPr marL="114300" indent="-114300">
              <a:buSzPct val="100000"/>
              <a:buFont typeface="Arial" panose="020B0604020202020204" pitchFamily="34" charset="0"/>
              <a:buChar char="•"/>
            </a:pPr>
            <a:r>
              <a:rPr lang="pt-BR" sz="1000" dirty="0">
                <a:solidFill>
                  <a:schemeClr val="tx2"/>
                </a:solidFill>
              </a:rPr>
              <a:t>Lorem ipsum dolor sit a</a:t>
            </a:r>
          </a:p>
          <a:p>
            <a:pPr marL="114300" indent="-114300">
              <a:buSzPct val="100000"/>
              <a:buFont typeface="Arial" panose="020B0604020202020204" pitchFamily="34" charset="0"/>
              <a:buChar char="•"/>
            </a:pPr>
            <a:r>
              <a:rPr lang="pt-BR" sz="1000" dirty="0">
                <a:solidFill>
                  <a:schemeClr val="tx2"/>
                </a:solidFill>
              </a:rPr>
              <a:t>Lorem ipsum dolor sit aa</a:t>
            </a:r>
            <a:endParaRPr lang="en-US" sz="1000" dirty="0">
              <a:solidFill>
                <a:schemeClr val="tx2"/>
              </a:solidFill>
            </a:endParaRPr>
          </a:p>
          <a:p>
            <a:pPr marL="114300" indent="-114300">
              <a:buSzPct val="100000"/>
              <a:buFont typeface="Arial" panose="020B0604020202020204" pitchFamily="34" charset="0"/>
              <a:buChar char="•"/>
            </a:pPr>
            <a:r>
              <a:rPr lang="pt-BR" sz="1000" dirty="0">
                <a:solidFill>
                  <a:schemeClr val="tx2"/>
                </a:solidFill>
              </a:rPr>
              <a:t>Lorem ipsum dolor sit a</a:t>
            </a:r>
          </a:p>
          <a:p>
            <a:pPr marL="114300" indent="-114300">
              <a:buSzPct val="100000"/>
              <a:buFont typeface="Arial" panose="020B0604020202020204" pitchFamily="34" charset="0"/>
              <a:buChar char="•"/>
            </a:pPr>
            <a:r>
              <a:rPr lang="pt-BR" sz="1000" dirty="0">
                <a:solidFill>
                  <a:schemeClr val="tx2"/>
                </a:solidFill>
              </a:rPr>
              <a:t>Lorem ipsum dolor sit </a:t>
            </a:r>
          </a:p>
          <a:p>
            <a:pPr marL="114300" indent="-114300">
              <a:buSzPct val="100000"/>
              <a:buFont typeface="Arial" panose="020B0604020202020204" pitchFamily="34" charset="0"/>
              <a:buChar char="•"/>
            </a:pPr>
            <a:r>
              <a:rPr lang="pt-BR" sz="1000" dirty="0">
                <a:solidFill>
                  <a:schemeClr val="tx2"/>
                </a:solidFill>
              </a:rPr>
              <a:t>Lorem ipsum dolor sit a</a:t>
            </a:r>
          </a:p>
          <a:p>
            <a:pPr marL="114300" indent="-114300">
              <a:buSzPct val="100000"/>
              <a:buFont typeface="Arial" panose="020B0604020202020204" pitchFamily="34" charset="0"/>
              <a:buChar char="•"/>
            </a:pPr>
            <a:r>
              <a:rPr lang="pt-BR" sz="1000" dirty="0">
                <a:solidFill>
                  <a:schemeClr val="tx2"/>
                </a:solidFill>
              </a:rPr>
              <a:t>Lorem ipsum dolor sit aa</a:t>
            </a:r>
            <a:endParaRPr lang="en-US" sz="1000" dirty="0">
              <a:solidFill>
                <a:schemeClr val="tx2"/>
              </a:solidFill>
            </a:endParaRPr>
          </a:p>
        </p:txBody>
      </p:sp>
      <p:sp>
        <p:nvSpPr>
          <p:cNvPr id="88" name="Rectangle 87">
            <a:extLst>
              <a:ext uri="{FF2B5EF4-FFF2-40B4-BE49-F238E27FC236}">
                <a16:creationId xmlns:a16="http://schemas.microsoft.com/office/drawing/2014/main" id="{F7BBA761-ACA6-CB4C-869A-264765CDE825}"/>
              </a:ext>
            </a:extLst>
          </p:cNvPr>
          <p:cNvSpPr/>
          <p:nvPr/>
        </p:nvSpPr>
        <p:spPr bwMode="gray">
          <a:xfrm>
            <a:off x="8683986" y="3094676"/>
            <a:ext cx="1133324" cy="153888"/>
          </a:xfrm>
          <a:prstGeom prst="rect">
            <a:avLst/>
          </a:prstGeom>
        </p:spPr>
        <p:txBody>
          <a:bodyPr wrap="none" lIns="0" tIns="0" rIns="0" bIns="0">
            <a:spAutoFit/>
          </a:bodyPr>
          <a:lstStyle/>
          <a:p>
            <a:r>
              <a:rPr lang="en-US" sz="1000" dirty="0">
                <a:solidFill>
                  <a:schemeClr val="tx2"/>
                </a:solidFill>
              </a:rPr>
              <a:t>Lorem ipsum dolor sit</a:t>
            </a:r>
          </a:p>
        </p:txBody>
      </p:sp>
      <p:sp>
        <p:nvSpPr>
          <p:cNvPr id="89" name="Rectangle 88">
            <a:extLst>
              <a:ext uri="{FF2B5EF4-FFF2-40B4-BE49-F238E27FC236}">
                <a16:creationId xmlns:a16="http://schemas.microsoft.com/office/drawing/2014/main" id="{82392BDF-234C-2246-9D88-1AB64E1E1407}"/>
              </a:ext>
            </a:extLst>
          </p:cNvPr>
          <p:cNvSpPr/>
          <p:nvPr/>
        </p:nvSpPr>
        <p:spPr bwMode="gray">
          <a:xfrm>
            <a:off x="8683986" y="3690415"/>
            <a:ext cx="1223092" cy="153888"/>
          </a:xfrm>
          <a:prstGeom prst="rect">
            <a:avLst/>
          </a:prstGeom>
        </p:spPr>
        <p:txBody>
          <a:bodyPr wrap="none" lIns="0" tIns="0" rIns="0" bIns="0">
            <a:spAutoFit/>
          </a:bodyPr>
          <a:lstStyle/>
          <a:p>
            <a:r>
              <a:rPr lang="pt-BR" sz="1000" dirty="0">
                <a:solidFill>
                  <a:schemeClr val="tx2"/>
                </a:solidFill>
              </a:rPr>
              <a:t>Lorem ipsum dolor sit a</a:t>
            </a:r>
            <a:endParaRPr lang="en-US" sz="1000" dirty="0">
              <a:solidFill>
                <a:schemeClr val="tx2"/>
              </a:solidFill>
            </a:endParaRPr>
          </a:p>
        </p:txBody>
      </p:sp>
      <p:sp>
        <p:nvSpPr>
          <p:cNvPr id="90" name="Rectangle 89">
            <a:extLst>
              <a:ext uri="{FF2B5EF4-FFF2-40B4-BE49-F238E27FC236}">
                <a16:creationId xmlns:a16="http://schemas.microsoft.com/office/drawing/2014/main" id="{353D258F-15D1-C644-BCE7-5D6201714B16}"/>
              </a:ext>
            </a:extLst>
          </p:cNvPr>
          <p:cNvSpPr/>
          <p:nvPr/>
        </p:nvSpPr>
        <p:spPr bwMode="gray">
          <a:xfrm>
            <a:off x="8683986" y="4199469"/>
            <a:ext cx="1223092" cy="153888"/>
          </a:xfrm>
          <a:prstGeom prst="rect">
            <a:avLst/>
          </a:prstGeom>
        </p:spPr>
        <p:txBody>
          <a:bodyPr wrap="none" lIns="0" tIns="0" rIns="0" bIns="0">
            <a:spAutoFit/>
          </a:bodyPr>
          <a:lstStyle/>
          <a:p>
            <a:r>
              <a:rPr lang="pt-BR" sz="1000" dirty="0">
                <a:solidFill>
                  <a:schemeClr val="tx2"/>
                </a:solidFill>
              </a:rPr>
              <a:t>Lorem ipsum dolor sit a</a:t>
            </a:r>
            <a:endParaRPr lang="en-US" sz="1000" dirty="0">
              <a:solidFill>
                <a:schemeClr val="tx2"/>
              </a:solidFill>
            </a:endParaRPr>
          </a:p>
        </p:txBody>
      </p:sp>
      <p:sp>
        <p:nvSpPr>
          <p:cNvPr id="91" name="Rectangle 90">
            <a:extLst>
              <a:ext uri="{FF2B5EF4-FFF2-40B4-BE49-F238E27FC236}">
                <a16:creationId xmlns:a16="http://schemas.microsoft.com/office/drawing/2014/main" id="{FD3631A9-82D8-D147-873B-BF0F0E76BF6A}"/>
              </a:ext>
            </a:extLst>
          </p:cNvPr>
          <p:cNvSpPr/>
          <p:nvPr/>
        </p:nvSpPr>
        <p:spPr bwMode="gray">
          <a:xfrm>
            <a:off x="8683986" y="4708522"/>
            <a:ext cx="1223092" cy="153888"/>
          </a:xfrm>
          <a:prstGeom prst="rect">
            <a:avLst/>
          </a:prstGeom>
        </p:spPr>
        <p:txBody>
          <a:bodyPr wrap="none" lIns="0" tIns="0" rIns="0" bIns="0">
            <a:spAutoFit/>
          </a:bodyPr>
          <a:lstStyle/>
          <a:p>
            <a:r>
              <a:rPr lang="pt-BR" sz="1000" dirty="0">
                <a:solidFill>
                  <a:schemeClr val="tx2"/>
                </a:solidFill>
              </a:rPr>
              <a:t>Lorem ipsum dolor sit a</a:t>
            </a:r>
            <a:endParaRPr lang="en-US" sz="1000" dirty="0">
              <a:solidFill>
                <a:schemeClr val="tx2"/>
              </a:solidFill>
            </a:endParaRPr>
          </a:p>
        </p:txBody>
      </p:sp>
      <p:grpSp>
        <p:nvGrpSpPr>
          <p:cNvPr id="92" name="Group 91">
            <a:extLst>
              <a:ext uri="{FF2B5EF4-FFF2-40B4-BE49-F238E27FC236}">
                <a16:creationId xmlns:a16="http://schemas.microsoft.com/office/drawing/2014/main" id="{D42A7F08-3AD8-4C49-8936-A7B84A20A2CE}"/>
              </a:ext>
            </a:extLst>
          </p:cNvPr>
          <p:cNvGrpSpPr/>
          <p:nvPr/>
        </p:nvGrpSpPr>
        <p:grpSpPr>
          <a:xfrm>
            <a:off x="8185402" y="3095054"/>
            <a:ext cx="325451" cy="326502"/>
            <a:chOff x="7715250" y="3644901"/>
            <a:chExt cx="982663" cy="985838"/>
          </a:xfrm>
          <a:solidFill>
            <a:schemeClr val="bg1"/>
          </a:solidFill>
        </p:grpSpPr>
        <p:sp>
          <p:nvSpPr>
            <p:cNvPr id="93" name="Freeform 102">
              <a:extLst>
                <a:ext uri="{FF2B5EF4-FFF2-40B4-BE49-F238E27FC236}">
                  <a16:creationId xmlns:a16="http://schemas.microsoft.com/office/drawing/2014/main" id="{06AB27C9-6C26-0A49-BAD6-68246427CD4D}"/>
                </a:ext>
              </a:extLst>
            </p:cNvPr>
            <p:cNvSpPr>
              <a:spLocks/>
            </p:cNvSpPr>
            <p:nvPr/>
          </p:nvSpPr>
          <p:spPr bwMode="auto">
            <a:xfrm>
              <a:off x="7715250" y="4176713"/>
              <a:ext cx="1588" cy="4763"/>
            </a:xfrm>
            <a:custGeom>
              <a:avLst/>
              <a:gdLst>
                <a:gd name="T0" fmla="*/ 1 w 1"/>
                <a:gd name="T1" fmla="*/ 2 h 2"/>
                <a:gd name="T2" fmla="*/ 0 w 1"/>
                <a:gd name="T3" fmla="*/ 0 h 2"/>
                <a:gd name="T4" fmla="*/ 0 w 1"/>
                <a:gd name="T5" fmla="*/ 2 h 2"/>
                <a:gd name="T6" fmla="*/ 1 w 1"/>
                <a:gd name="T7" fmla="*/ 2 h 2"/>
              </a:gdLst>
              <a:ahLst/>
              <a:cxnLst>
                <a:cxn ang="0">
                  <a:pos x="T0" y="T1"/>
                </a:cxn>
                <a:cxn ang="0">
                  <a:pos x="T2" y="T3"/>
                </a:cxn>
                <a:cxn ang="0">
                  <a:pos x="T4" y="T5"/>
                </a:cxn>
                <a:cxn ang="0">
                  <a:pos x="T6" y="T7"/>
                </a:cxn>
              </a:cxnLst>
              <a:rect l="0" t="0" r="r" b="b"/>
              <a:pathLst>
                <a:path w="1" h="2">
                  <a:moveTo>
                    <a:pt x="1" y="2"/>
                  </a:moveTo>
                  <a:cubicBezTo>
                    <a:pt x="0" y="0"/>
                    <a:pt x="0" y="0"/>
                    <a:pt x="0" y="0"/>
                  </a:cubicBezTo>
                  <a:cubicBezTo>
                    <a:pt x="0" y="1"/>
                    <a:pt x="0" y="1"/>
                    <a:pt x="0" y="2"/>
                  </a:cubicBezTo>
                  <a:lnTo>
                    <a:pt x="1" y="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3">
              <a:extLst>
                <a:ext uri="{FF2B5EF4-FFF2-40B4-BE49-F238E27FC236}">
                  <a16:creationId xmlns:a16="http://schemas.microsoft.com/office/drawing/2014/main" id="{6BDC7166-4521-2C4E-AF31-4FEC875127A3}"/>
                </a:ext>
              </a:extLst>
            </p:cNvPr>
            <p:cNvSpPr>
              <a:spLocks/>
            </p:cNvSpPr>
            <p:nvPr/>
          </p:nvSpPr>
          <p:spPr bwMode="auto">
            <a:xfrm>
              <a:off x="7715250" y="4103688"/>
              <a:ext cx="88900" cy="312738"/>
            </a:xfrm>
            <a:custGeom>
              <a:avLst/>
              <a:gdLst>
                <a:gd name="T0" fmla="*/ 35 w 35"/>
                <a:gd name="T1" fmla="*/ 121 h 121"/>
                <a:gd name="T2" fmla="*/ 23 w 35"/>
                <a:gd name="T3" fmla="*/ 96 h 121"/>
                <a:gd name="T4" fmla="*/ 24 w 35"/>
                <a:gd name="T5" fmla="*/ 96 h 121"/>
                <a:gd name="T6" fmla="*/ 28 w 35"/>
                <a:gd name="T7" fmla="*/ 99 h 121"/>
                <a:gd name="T8" fmla="*/ 25 w 35"/>
                <a:gd name="T9" fmla="*/ 90 h 121"/>
                <a:gd name="T10" fmla="*/ 17 w 35"/>
                <a:gd name="T11" fmla="*/ 67 h 121"/>
                <a:gd name="T12" fmla="*/ 18 w 35"/>
                <a:gd name="T13" fmla="*/ 66 h 121"/>
                <a:gd name="T14" fmla="*/ 16 w 35"/>
                <a:gd name="T15" fmla="*/ 57 h 121"/>
                <a:gd name="T16" fmla="*/ 16 w 35"/>
                <a:gd name="T17" fmla="*/ 56 h 121"/>
                <a:gd name="T18" fmla="*/ 8 w 35"/>
                <a:gd name="T19" fmla="*/ 44 h 121"/>
                <a:gd name="T20" fmla="*/ 8 w 35"/>
                <a:gd name="T21" fmla="*/ 34 h 121"/>
                <a:gd name="T22" fmla="*/ 7 w 35"/>
                <a:gd name="T23" fmla="*/ 22 h 121"/>
                <a:gd name="T24" fmla="*/ 5 w 35"/>
                <a:gd name="T25" fmla="*/ 27 h 121"/>
                <a:gd name="T26" fmla="*/ 2 w 35"/>
                <a:gd name="T27" fmla="*/ 14 h 121"/>
                <a:gd name="T28" fmla="*/ 2 w 35"/>
                <a:gd name="T29" fmla="*/ 0 h 121"/>
                <a:gd name="T30" fmla="*/ 0 w 35"/>
                <a:gd name="T31" fmla="*/ 11 h 121"/>
                <a:gd name="T32" fmla="*/ 0 w 35"/>
                <a:gd name="T33" fmla="*/ 9 h 121"/>
                <a:gd name="T34" fmla="*/ 0 w 35"/>
                <a:gd name="T35" fmla="*/ 10 h 121"/>
                <a:gd name="T36" fmla="*/ 0 w 35"/>
                <a:gd name="T37" fmla="*/ 28 h 121"/>
                <a:gd name="T38" fmla="*/ 1 w 35"/>
                <a:gd name="T39" fmla="*/ 30 h 121"/>
                <a:gd name="T40" fmla="*/ 2 w 35"/>
                <a:gd name="T41" fmla="*/ 32 h 121"/>
                <a:gd name="T42" fmla="*/ 1 w 35"/>
                <a:gd name="T43" fmla="*/ 30 h 121"/>
                <a:gd name="T44" fmla="*/ 9 w 35"/>
                <a:gd name="T45" fmla="*/ 61 h 121"/>
                <a:gd name="T46" fmla="*/ 20 w 35"/>
                <a:gd name="T47" fmla="*/ 99 h 121"/>
                <a:gd name="T48" fmla="*/ 20 w 35"/>
                <a:gd name="T49" fmla="*/ 100 h 121"/>
                <a:gd name="T50" fmla="*/ 20 w 35"/>
                <a:gd name="T51" fmla="*/ 101 h 121"/>
                <a:gd name="T52" fmla="*/ 27 w 35"/>
                <a:gd name="T53" fmla="*/ 113 h 121"/>
                <a:gd name="T54" fmla="*/ 29 w 35"/>
                <a:gd name="T55" fmla="*/ 115 h 121"/>
                <a:gd name="T56" fmla="*/ 29 w 35"/>
                <a:gd name="T57" fmla="*/ 115 h 121"/>
                <a:gd name="T58" fmla="*/ 28 w 35"/>
                <a:gd name="T59" fmla="*/ 113 h 121"/>
                <a:gd name="T60" fmla="*/ 29 w 35"/>
                <a:gd name="T61" fmla="*/ 113 h 121"/>
                <a:gd name="T62" fmla="*/ 35 w 35"/>
                <a:gd name="T63"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 h="121">
                  <a:moveTo>
                    <a:pt x="35" y="121"/>
                  </a:moveTo>
                  <a:cubicBezTo>
                    <a:pt x="32" y="112"/>
                    <a:pt x="21" y="107"/>
                    <a:pt x="23" y="96"/>
                  </a:cubicBezTo>
                  <a:cubicBezTo>
                    <a:pt x="24" y="96"/>
                    <a:pt x="24" y="96"/>
                    <a:pt x="24" y="96"/>
                  </a:cubicBezTo>
                  <a:cubicBezTo>
                    <a:pt x="25" y="96"/>
                    <a:pt x="25" y="96"/>
                    <a:pt x="28" y="99"/>
                  </a:cubicBezTo>
                  <a:cubicBezTo>
                    <a:pt x="27" y="96"/>
                    <a:pt x="26" y="93"/>
                    <a:pt x="25" y="90"/>
                  </a:cubicBezTo>
                  <a:cubicBezTo>
                    <a:pt x="20" y="89"/>
                    <a:pt x="13" y="70"/>
                    <a:pt x="17" y="67"/>
                  </a:cubicBezTo>
                  <a:cubicBezTo>
                    <a:pt x="18" y="66"/>
                    <a:pt x="18" y="66"/>
                    <a:pt x="18" y="66"/>
                  </a:cubicBezTo>
                  <a:cubicBezTo>
                    <a:pt x="18" y="65"/>
                    <a:pt x="18" y="65"/>
                    <a:pt x="16" y="57"/>
                  </a:cubicBezTo>
                  <a:cubicBezTo>
                    <a:pt x="16" y="56"/>
                    <a:pt x="16" y="56"/>
                    <a:pt x="16" y="56"/>
                  </a:cubicBezTo>
                  <a:cubicBezTo>
                    <a:pt x="12" y="61"/>
                    <a:pt x="9" y="47"/>
                    <a:pt x="8" y="44"/>
                  </a:cubicBezTo>
                  <a:cubicBezTo>
                    <a:pt x="8" y="40"/>
                    <a:pt x="8" y="37"/>
                    <a:pt x="8" y="34"/>
                  </a:cubicBezTo>
                  <a:cubicBezTo>
                    <a:pt x="9" y="30"/>
                    <a:pt x="9" y="30"/>
                    <a:pt x="7" y="22"/>
                  </a:cubicBezTo>
                  <a:cubicBezTo>
                    <a:pt x="6" y="27"/>
                    <a:pt x="6" y="27"/>
                    <a:pt x="5" y="27"/>
                  </a:cubicBezTo>
                  <a:cubicBezTo>
                    <a:pt x="2" y="25"/>
                    <a:pt x="2" y="15"/>
                    <a:pt x="2" y="14"/>
                  </a:cubicBezTo>
                  <a:cubicBezTo>
                    <a:pt x="2" y="1"/>
                    <a:pt x="2" y="1"/>
                    <a:pt x="2" y="0"/>
                  </a:cubicBezTo>
                  <a:cubicBezTo>
                    <a:pt x="1" y="4"/>
                    <a:pt x="1" y="7"/>
                    <a:pt x="0" y="11"/>
                  </a:cubicBezTo>
                  <a:cubicBezTo>
                    <a:pt x="0" y="10"/>
                    <a:pt x="0" y="10"/>
                    <a:pt x="0" y="9"/>
                  </a:cubicBezTo>
                  <a:cubicBezTo>
                    <a:pt x="0" y="9"/>
                    <a:pt x="0" y="10"/>
                    <a:pt x="0" y="10"/>
                  </a:cubicBezTo>
                  <a:cubicBezTo>
                    <a:pt x="0" y="19"/>
                    <a:pt x="0" y="24"/>
                    <a:pt x="0" y="28"/>
                  </a:cubicBezTo>
                  <a:cubicBezTo>
                    <a:pt x="0" y="29"/>
                    <a:pt x="1" y="29"/>
                    <a:pt x="1" y="30"/>
                  </a:cubicBezTo>
                  <a:cubicBezTo>
                    <a:pt x="2" y="32"/>
                    <a:pt x="2" y="32"/>
                    <a:pt x="2" y="32"/>
                  </a:cubicBezTo>
                  <a:cubicBezTo>
                    <a:pt x="1" y="30"/>
                    <a:pt x="1" y="30"/>
                    <a:pt x="1" y="30"/>
                  </a:cubicBezTo>
                  <a:cubicBezTo>
                    <a:pt x="2" y="37"/>
                    <a:pt x="6" y="51"/>
                    <a:pt x="9" y="61"/>
                  </a:cubicBezTo>
                  <a:cubicBezTo>
                    <a:pt x="15" y="85"/>
                    <a:pt x="18" y="95"/>
                    <a:pt x="20" y="99"/>
                  </a:cubicBezTo>
                  <a:cubicBezTo>
                    <a:pt x="20" y="100"/>
                    <a:pt x="20" y="100"/>
                    <a:pt x="20" y="100"/>
                  </a:cubicBezTo>
                  <a:cubicBezTo>
                    <a:pt x="20" y="101"/>
                    <a:pt x="20" y="101"/>
                    <a:pt x="20" y="101"/>
                  </a:cubicBezTo>
                  <a:cubicBezTo>
                    <a:pt x="22" y="105"/>
                    <a:pt x="24" y="108"/>
                    <a:pt x="27" y="113"/>
                  </a:cubicBezTo>
                  <a:cubicBezTo>
                    <a:pt x="28" y="114"/>
                    <a:pt x="28" y="115"/>
                    <a:pt x="29" y="115"/>
                  </a:cubicBezTo>
                  <a:cubicBezTo>
                    <a:pt x="29" y="115"/>
                    <a:pt x="29" y="115"/>
                    <a:pt x="29" y="115"/>
                  </a:cubicBezTo>
                  <a:cubicBezTo>
                    <a:pt x="29" y="114"/>
                    <a:pt x="28" y="114"/>
                    <a:pt x="28" y="113"/>
                  </a:cubicBezTo>
                  <a:cubicBezTo>
                    <a:pt x="29" y="113"/>
                    <a:pt x="29" y="113"/>
                    <a:pt x="29" y="113"/>
                  </a:cubicBezTo>
                  <a:cubicBezTo>
                    <a:pt x="30" y="114"/>
                    <a:pt x="33" y="118"/>
                    <a:pt x="35" y="1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04">
              <a:extLst>
                <a:ext uri="{FF2B5EF4-FFF2-40B4-BE49-F238E27FC236}">
                  <a16:creationId xmlns:a16="http://schemas.microsoft.com/office/drawing/2014/main" id="{72BFB873-B09D-1549-A4F2-E8D8679510CA}"/>
                </a:ext>
              </a:extLst>
            </p:cNvPr>
            <p:cNvSpPr>
              <a:spLocks/>
            </p:cNvSpPr>
            <p:nvPr/>
          </p:nvSpPr>
          <p:spPr bwMode="auto">
            <a:xfrm>
              <a:off x="7715250" y="4119563"/>
              <a:ext cx="0" cy="7938"/>
            </a:xfrm>
            <a:custGeom>
              <a:avLst/>
              <a:gdLst>
                <a:gd name="T0" fmla="*/ 3 h 3"/>
                <a:gd name="T1" fmla="*/ 0 h 3"/>
                <a:gd name="T2" fmla="*/ 3 h 3"/>
              </a:gdLst>
              <a:ahLst/>
              <a:cxnLst>
                <a:cxn ang="0">
                  <a:pos x="0" y="T0"/>
                </a:cxn>
                <a:cxn ang="0">
                  <a:pos x="0" y="T1"/>
                </a:cxn>
                <a:cxn ang="0">
                  <a:pos x="0" y="T2"/>
                </a:cxn>
              </a:cxnLst>
              <a:rect l="0" t="0" r="r" b="b"/>
              <a:pathLst>
                <a:path h="3">
                  <a:moveTo>
                    <a:pt x="0" y="3"/>
                  </a:moveTo>
                  <a:cubicBezTo>
                    <a:pt x="0" y="2"/>
                    <a:pt x="0" y="1"/>
                    <a:pt x="0" y="0"/>
                  </a:cubicBezTo>
                  <a:cubicBezTo>
                    <a:pt x="0" y="1"/>
                    <a:pt x="0" y="2"/>
                    <a:pt x="0" y="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05">
              <a:extLst>
                <a:ext uri="{FF2B5EF4-FFF2-40B4-BE49-F238E27FC236}">
                  <a16:creationId xmlns:a16="http://schemas.microsoft.com/office/drawing/2014/main" id="{431DF6D1-4AE2-6A4B-B06C-8160F0B00B82}"/>
                </a:ext>
              </a:extLst>
            </p:cNvPr>
            <p:cNvSpPr>
              <a:spLocks/>
            </p:cNvSpPr>
            <p:nvPr/>
          </p:nvSpPr>
          <p:spPr bwMode="auto">
            <a:xfrm>
              <a:off x="7715250" y="41767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06">
              <a:extLst>
                <a:ext uri="{FF2B5EF4-FFF2-40B4-BE49-F238E27FC236}">
                  <a16:creationId xmlns:a16="http://schemas.microsoft.com/office/drawing/2014/main" id="{431C04FF-BFCC-4D4D-A8B9-707FBC15DF01}"/>
                </a:ext>
              </a:extLst>
            </p:cNvPr>
            <p:cNvSpPr>
              <a:spLocks noEditPoints="1"/>
            </p:cNvSpPr>
            <p:nvPr/>
          </p:nvSpPr>
          <p:spPr bwMode="auto">
            <a:xfrm>
              <a:off x="7729538" y="3722688"/>
              <a:ext cx="325438" cy="438150"/>
            </a:xfrm>
            <a:custGeom>
              <a:avLst/>
              <a:gdLst>
                <a:gd name="T0" fmla="*/ 5 w 126"/>
                <a:gd name="T1" fmla="*/ 123 h 170"/>
                <a:gd name="T2" fmla="*/ 5 w 126"/>
                <a:gd name="T3" fmla="*/ 155 h 170"/>
                <a:gd name="T4" fmla="*/ 10 w 126"/>
                <a:gd name="T5" fmla="*/ 162 h 170"/>
                <a:gd name="T6" fmla="*/ 23 w 126"/>
                <a:gd name="T7" fmla="*/ 147 h 170"/>
                <a:gd name="T8" fmla="*/ 28 w 126"/>
                <a:gd name="T9" fmla="*/ 170 h 170"/>
                <a:gd name="T10" fmla="*/ 39 w 126"/>
                <a:gd name="T11" fmla="*/ 168 h 170"/>
                <a:gd name="T12" fmla="*/ 57 w 126"/>
                <a:gd name="T13" fmla="*/ 141 h 170"/>
                <a:gd name="T14" fmla="*/ 65 w 126"/>
                <a:gd name="T15" fmla="*/ 155 h 170"/>
                <a:gd name="T16" fmla="*/ 77 w 126"/>
                <a:gd name="T17" fmla="*/ 145 h 170"/>
                <a:gd name="T18" fmla="*/ 88 w 126"/>
                <a:gd name="T19" fmla="*/ 110 h 170"/>
                <a:gd name="T20" fmla="*/ 102 w 126"/>
                <a:gd name="T21" fmla="*/ 116 h 170"/>
                <a:gd name="T22" fmla="*/ 111 w 126"/>
                <a:gd name="T23" fmla="*/ 101 h 170"/>
                <a:gd name="T24" fmla="*/ 104 w 126"/>
                <a:gd name="T25" fmla="*/ 74 h 170"/>
                <a:gd name="T26" fmla="*/ 124 w 126"/>
                <a:gd name="T27" fmla="*/ 68 h 170"/>
                <a:gd name="T28" fmla="*/ 126 w 126"/>
                <a:gd name="T29" fmla="*/ 56 h 170"/>
                <a:gd name="T30" fmla="*/ 126 w 126"/>
                <a:gd name="T31" fmla="*/ 54 h 170"/>
                <a:gd name="T32" fmla="*/ 110 w 126"/>
                <a:gd name="T33" fmla="*/ 39 h 170"/>
                <a:gd name="T34" fmla="*/ 124 w 126"/>
                <a:gd name="T35" fmla="*/ 28 h 170"/>
                <a:gd name="T36" fmla="*/ 121 w 126"/>
                <a:gd name="T37" fmla="*/ 19 h 170"/>
                <a:gd name="T38" fmla="*/ 101 w 126"/>
                <a:gd name="T39" fmla="*/ 19 h 170"/>
                <a:gd name="T40" fmla="*/ 111 w 126"/>
                <a:gd name="T41" fmla="*/ 6 h 170"/>
                <a:gd name="T42" fmla="*/ 107 w 126"/>
                <a:gd name="T43" fmla="*/ 2 h 170"/>
                <a:gd name="T44" fmla="*/ 87 w 126"/>
                <a:gd name="T45" fmla="*/ 10 h 170"/>
                <a:gd name="T46" fmla="*/ 95 w 126"/>
                <a:gd name="T47" fmla="*/ 0 h 170"/>
                <a:gd name="T48" fmla="*/ 90 w 126"/>
                <a:gd name="T49" fmla="*/ 2 h 170"/>
                <a:gd name="T50" fmla="*/ 76 w 126"/>
                <a:gd name="T51" fmla="*/ 13 h 170"/>
                <a:gd name="T52" fmla="*/ 76 w 126"/>
                <a:gd name="T53" fmla="*/ 13 h 170"/>
                <a:gd name="T54" fmla="*/ 70 w 126"/>
                <a:gd name="T55" fmla="*/ 15 h 170"/>
                <a:gd name="T56" fmla="*/ 76 w 126"/>
                <a:gd name="T57" fmla="*/ 8 h 170"/>
                <a:gd name="T58" fmla="*/ 45 w 126"/>
                <a:gd name="T59" fmla="*/ 35 h 170"/>
                <a:gd name="T60" fmla="*/ 47 w 126"/>
                <a:gd name="T61" fmla="*/ 32 h 170"/>
                <a:gd name="T62" fmla="*/ 37 w 126"/>
                <a:gd name="T63" fmla="*/ 43 h 170"/>
                <a:gd name="T64" fmla="*/ 37 w 126"/>
                <a:gd name="T65" fmla="*/ 44 h 170"/>
                <a:gd name="T66" fmla="*/ 11 w 126"/>
                <a:gd name="T67" fmla="*/ 85 h 170"/>
                <a:gd name="T68" fmla="*/ 12 w 126"/>
                <a:gd name="T69" fmla="*/ 84 h 170"/>
                <a:gd name="T70" fmla="*/ 2 w 126"/>
                <a:gd name="T71" fmla="*/ 116 h 170"/>
                <a:gd name="T72" fmla="*/ 0 w 126"/>
                <a:gd name="T73" fmla="*/ 131 h 170"/>
                <a:gd name="T74" fmla="*/ 5 w 126"/>
                <a:gd name="T75" fmla="*/ 123 h 170"/>
                <a:gd name="T76" fmla="*/ 24 w 126"/>
                <a:gd name="T77" fmla="*/ 73 h 170"/>
                <a:gd name="T78" fmla="*/ 84 w 126"/>
                <a:gd name="T79" fmla="*/ 38 h 170"/>
                <a:gd name="T80" fmla="*/ 85 w 126"/>
                <a:gd name="T81" fmla="*/ 61 h 170"/>
                <a:gd name="T82" fmla="*/ 40 w 126"/>
                <a:gd name="T83" fmla="*/ 118 h 170"/>
                <a:gd name="T84" fmla="*/ 24 w 126"/>
                <a:gd name="T85" fmla="*/ 7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6" h="170">
                  <a:moveTo>
                    <a:pt x="5" y="123"/>
                  </a:moveTo>
                  <a:cubicBezTo>
                    <a:pt x="11" y="129"/>
                    <a:pt x="6" y="150"/>
                    <a:pt x="5" y="155"/>
                  </a:cubicBezTo>
                  <a:cubicBezTo>
                    <a:pt x="6" y="158"/>
                    <a:pt x="8" y="160"/>
                    <a:pt x="10" y="162"/>
                  </a:cubicBezTo>
                  <a:cubicBezTo>
                    <a:pt x="11" y="144"/>
                    <a:pt x="20" y="144"/>
                    <a:pt x="23" y="147"/>
                  </a:cubicBezTo>
                  <a:cubicBezTo>
                    <a:pt x="29" y="153"/>
                    <a:pt x="29" y="164"/>
                    <a:pt x="28" y="170"/>
                  </a:cubicBezTo>
                  <a:cubicBezTo>
                    <a:pt x="32" y="170"/>
                    <a:pt x="33" y="169"/>
                    <a:pt x="39" y="168"/>
                  </a:cubicBezTo>
                  <a:cubicBezTo>
                    <a:pt x="34" y="149"/>
                    <a:pt x="46" y="134"/>
                    <a:pt x="57" y="141"/>
                  </a:cubicBezTo>
                  <a:cubicBezTo>
                    <a:pt x="58" y="141"/>
                    <a:pt x="63" y="145"/>
                    <a:pt x="65" y="155"/>
                  </a:cubicBezTo>
                  <a:cubicBezTo>
                    <a:pt x="70" y="151"/>
                    <a:pt x="73" y="149"/>
                    <a:pt x="77" y="145"/>
                  </a:cubicBezTo>
                  <a:cubicBezTo>
                    <a:pt x="64" y="134"/>
                    <a:pt x="74" y="112"/>
                    <a:pt x="88" y="110"/>
                  </a:cubicBezTo>
                  <a:cubicBezTo>
                    <a:pt x="90" y="110"/>
                    <a:pt x="96" y="109"/>
                    <a:pt x="102" y="116"/>
                  </a:cubicBezTo>
                  <a:cubicBezTo>
                    <a:pt x="106" y="110"/>
                    <a:pt x="108" y="107"/>
                    <a:pt x="111" y="101"/>
                  </a:cubicBezTo>
                  <a:cubicBezTo>
                    <a:pt x="99" y="102"/>
                    <a:pt x="93" y="85"/>
                    <a:pt x="104" y="74"/>
                  </a:cubicBezTo>
                  <a:cubicBezTo>
                    <a:pt x="108" y="70"/>
                    <a:pt x="117" y="66"/>
                    <a:pt x="124" y="68"/>
                  </a:cubicBezTo>
                  <a:cubicBezTo>
                    <a:pt x="125" y="66"/>
                    <a:pt x="125" y="61"/>
                    <a:pt x="126" y="56"/>
                  </a:cubicBezTo>
                  <a:cubicBezTo>
                    <a:pt x="126" y="54"/>
                    <a:pt x="126" y="54"/>
                    <a:pt x="126" y="54"/>
                  </a:cubicBezTo>
                  <a:cubicBezTo>
                    <a:pt x="108" y="60"/>
                    <a:pt x="106" y="46"/>
                    <a:pt x="110" y="39"/>
                  </a:cubicBezTo>
                  <a:cubicBezTo>
                    <a:pt x="110" y="38"/>
                    <a:pt x="114" y="30"/>
                    <a:pt x="124" y="28"/>
                  </a:cubicBezTo>
                  <a:cubicBezTo>
                    <a:pt x="123" y="25"/>
                    <a:pt x="123" y="25"/>
                    <a:pt x="121" y="19"/>
                  </a:cubicBezTo>
                  <a:cubicBezTo>
                    <a:pt x="112" y="27"/>
                    <a:pt x="101" y="26"/>
                    <a:pt x="101" y="19"/>
                  </a:cubicBezTo>
                  <a:cubicBezTo>
                    <a:pt x="101" y="12"/>
                    <a:pt x="108" y="7"/>
                    <a:pt x="111" y="6"/>
                  </a:cubicBezTo>
                  <a:cubicBezTo>
                    <a:pt x="110" y="4"/>
                    <a:pt x="108" y="3"/>
                    <a:pt x="107" y="2"/>
                  </a:cubicBezTo>
                  <a:cubicBezTo>
                    <a:pt x="95" y="14"/>
                    <a:pt x="87" y="14"/>
                    <a:pt x="87" y="10"/>
                  </a:cubicBezTo>
                  <a:cubicBezTo>
                    <a:pt x="87" y="9"/>
                    <a:pt x="88" y="6"/>
                    <a:pt x="95" y="0"/>
                  </a:cubicBezTo>
                  <a:cubicBezTo>
                    <a:pt x="91" y="1"/>
                    <a:pt x="90" y="1"/>
                    <a:pt x="90" y="2"/>
                  </a:cubicBezTo>
                  <a:cubicBezTo>
                    <a:pt x="82" y="9"/>
                    <a:pt x="79" y="11"/>
                    <a:pt x="76" y="13"/>
                  </a:cubicBezTo>
                  <a:cubicBezTo>
                    <a:pt x="76" y="13"/>
                    <a:pt x="76" y="13"/>
                    <a:pt x="76" y="13"/>
                  </a:cubicBezTo>
                  <a:cubicBezTo>
                    <a:pt x="72" y="16"/>
                    <a:pt x="71" y="16"/>
                    <a:pt x="70" y="15"/>
                  </a:cubicBezTo>
                  <a:cubicBezTo>
                    <a:pt x="70" y="14"/>
                    <a:pt x="70" y="13"/>
                    <a:pt x="76" y="8"/>
                  </a:cubicBezTo>
                  <a:cubicBezTo>
                    <a:pt x="64" y="15"/>
                    <a:pt x="57" y="29"/>
                    <a:pt x="45" y="35"/>
                  </a:cubicBezTo>
                  <a:cubicBezTo>
                    <a:pt x="45" y="34"/>
                    <a:pt x="45" y="34"/>
                    <a:pt x="47" y="32"/>
                  </a:cubicBezTo>
                  <a:cubicBezTo>
                    <a:pt x="47" y="32"/>
                    <a:pt x="39" y="39"/>
                    <a:pt x="37" y="43"/>
                  </a:cubicBezTo>
                  <a:cubicBezTo>
                    <a:pt x="37" y="44"/>
                    <a:pt x="37" y="44"/>
                    <a:pt x="37" y="44"/>
                  </a:cubicBezTo>
                  <a:cubicBezTo>
                    <a:pt x="28" y="58"/>
                    <a:pt x="18" y="70"/>
                    <a:pt x="11" y="85"/>
                  </a:cubicBezTo>
                  <a:cubicBezTo>
                    <a:pt x="11" y="84"/>
                    <a:pt x="12" y="84"/>
                    <a:pt x="12" y="84"/>
                  </a:cubicBezTo>
                  <a:cubicBezTo>
                    <a:pt x="13" y="88"/>
                    <a:pt x="4" y="113"/>
                    <a:pt x="2" y="116"/>
                  </a:cubicBezTo>
                  <a:cubicBezTo>
                    <a:pt x="0" y="118"/>
                    <a:pt x="0" y="131"/>
                    <a:pt x="0" y="131"/>
                  </a:cubicBezTo>
                  <a:cubicBezTo>
                    <a:pt x="2" y="123"/>
                    <a:pt x="4" y="123"/>
                    <a:pt x="5" y="123"/>
                  </a:cubicBezTo>
                  <a:close/>
                  <a:moveTo>
                    <a:pt x="24" y="73"/>
                  </a:moveTo>
                  <a:cubicBezTo>
                    <a:pt x="39" y="41"/>
                    <a:pt x="76" y="11"/>
                    <a:pt x="84" y="38"/>
                  </a:cubicBezTo>
                  <a:cubicBezTo>
                    <a:pt x="86" y="44"/>
                    <a:pt x="88" y="49"/>
                    <a:pt x="85" y="61"/>
                  </a:cubicBezTo>
                  <a:cubicBezTo>
                    <a:pt x="80" y="84"/>
                    <a:pt x="59" y="111"/>
                    <a:pt x="40" y="118"/>
                  </a:cubicBezTo>
                  <a:cubicBezTo>
                    <a:pt x="20" y="126"/>
                    <a:pt x="8" y="106"/>
                    <a:pt x="24" y="7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07">
              <a:extLst>
                <a:ext uri="{FF2B5EF4-FFF2-40B4-BE49-F238E27FC236}">
                  <a16:creationId xmlns:a16="http://schemas.microsoft.com/office/drawing/2014/main" id="{616C02F0-984A-7A42-8D21-55EA8835E0A8}"/>
                </a:ext>
              </a:extLst>
            </p:cNvPr>
            <p:cNvSpPr>
              <a:spLocks noEditPoints="1"/>
            </p:cNvSpPr>
            <p:nvPr/>
          </p:nvSpPr>
          <p:spPr bwMode="auto">
            <a:xfrm>
              <a:off x="7789863" y="4279901"/>
              <a:ext cx="142875" cy="190500"/>
            </a:xfrm>
            <a:custGeom>
              <a:avLst/>
              <a:gdLst>
                <a:gd name="T0" fmla="*/ 20 w 56"/>
                <a:gd name="T1" fmla="*/ 55 h 74"/>
                <a:gd name="T2" fmla="*/ 20 w 56"/>
                <a:gd name="T3" fmla="*/ 58 h 74"/>
                <a:gd name="T4" fmla="*/ 24 w 56"/>
                <a:gd name="T5" fmla="*/ 62 h 74"/>
                <a:gd name="T6" fmla="*/ 26 w 56"/>
                <a:gd name="T7" fmla="*/ 60 h 74"/>
                <a:gd name="T8" fmla="*/ 34 w 56"/>
                <a:gd name="T9" fmla="*/ 69 h 74"/>
                <a:gd name="T10" fmla="*/ 39 w 56"/>
                <a:gd name="T11" fmla="*/ 72 h 74"/>
                <a:gd name="T12" fmla="*/ 39 w 56"/>
                <a:gd name="T13" fmla="*/ 66 h 74"/>
                <a:gd name="T14" fmla="*/ 47 w 56"/>
                <a:gd name="T15" fmla="*/ 74 h 74"/>
                <a:gd name="T16" fmla="*/ 50 w 56"/>
                <a:gd name="T17" fmla="*/ 73 h 74"/>
                <a:gd name="T18" fmla="*/ 46 w 56"/>
                <a:gd name="T19" fmla="*/ 65 h 74"/>
                <a:gd name="T20" fmla="*/ 52 w 56"/>
                <a:gd name="T21" fmla="*/ 67 h 74"/>
                <a:gd name="T22" fmla="*/ 55 w 56"/>
                <a:gd name="T23" fmla="*/ 69 h 74"/>
                <a:gd name="T24" fmla="*/ 56 w 56"/>
                <a:gd name="T25" fmla="*/ 66 h 74"/>
                <a:gd name="T26" fmla="*/ 50 w 56"/>
                <a:gd name="T27" fmla="*/ 55 h 74"/>
                <a:gd name="T28" fmla="*/ 56 w 56"/>
                <a:gd name="T29" fmla="*/ 57 h 74"/>
                <a:gd name="T30" fmla="*/ 55 w 56"/>
                <a:gd name="T31" fmla="*/ 51 h 74"/>
                <a:gd name="T32" fmla="*/ 47 w 56"/>
                <a:gd name="T33" fmla="*/ 39 h 74"/>
                <a:gd name="T34" fmla="*/ 50 w 56"/>
                <a:gd name="T35" fmla="*/ 38 h 74"/>
                <a:gd name="T36" fmla="*/ 48 w 56"/>
                <a:gd name="T37" fmla="*/ 33 h 74"/>
                <a:gd name="T38" fmla="*/ 47 w 56"/>
                <a:gd name="T39" fmla="*/ 33 h 74"/>
                <a:gd name="T40" fmla="*/ 37 w 56"/>
                <a:gd name="T41" fmla="*/ 22 h 74"/>
                <a:gd name="T42" fmla="*/ 39 w 56"/>
                <a:gd name="T43" fmla="*/ 19 h 74"/>
                <a:gd name="T44" fmla="*/ 35 w 56"/>
                <a:gd name="T45" fmla="*/ 14 h 74"/>
                <a:gd name="T46" fmla="*/ 26 w 56"/>
                <a:gd name="T47" fmla="*/ 14 h 74"/>
                <a:gd name="T48" fmla="*/ 24 w 56"/>
                <a:gd name="T49" fmla="*/ 5 h 74"/>
                <a:gd name="T50" fmla="*/ 20 w 56"/>
                <a:gd name="T51" fmla="*/ 2 h 74"/>
                <a:gd name="T52" fmla="*/ 15 w 56"/>
                <a:gd name="T53" fmla="*/ 8 h 74"/>
                <a:gd name="T54" fmla="*/ 10 w 56"/>
                <a:gd name="T55" fmla="*/ 0 h 74"/>
                <a:gd name="T56" fmla="*/ 7 w 56"/>
                <a:gd name="T57" fmla="*/ 1 h 74"/>
                <a:gd name="T58" fmla="*/ 7 w 56"/>
                <a:gd name="T59" fmla="*/ 1 h 74"/>
                <a:gd name="T60" fmla="*/ 8 w 56"/>
                <a:gd name="T61" fmla="*/ 9 h 74"/>
                <a:gd name="T62" fmla="*/ 8 w 56"/>
                <a:gd name="T63" fmla="*/ 9 h 74"/>
                <a:gd name="T64" fmla="*/ 1 w 56"/>
                <a:gd name="T65" fmla="*/ 6 h 74"/>
                <a:gd name="T66" fmla="*/ 1 w 56"/>
                <a:gd name="T67" fmla="*/ 6 h 74"/>
                <a:gd name="T68" fmla="*/ 0 w 56"/>
                <a:gd name="T69" fmla="*/ 10 h 74"/>
                <a:gd name="T70" fmla="*/ 3 w 56"/>
                <a:gd name="T71" fmla="*/ 23 h 74"/>
                <a:gd name="T72" fmla="*/ 0 w 56"/>
                <a:gd name="T73" fmla="*/ 21 h 74"/>
                <a:gd name="T74" fmla="*/ 1 w 56"/>
                <a:gd name="T75" fmla="*/ 26 h 74"/>
                <a:gd name="T76" fmla="*/ 3 w 56"/>
                <a:gd name="T77" fmla="*/ 27 h 74"/>
                <a:gd name="T78" fmla="*/ 3 w 56"/>
                <a:gd name="T79" fmla="*/ 28 h 74"/>
                <a:gd name="T80" fmla="*/ 8 w 56"/>
                <a:gd name="T81" fmla="*/ 40 h 74"/>
                <a:gd name="T82" fmla="*/ 7 w 56"/>
                <a:gd name="T83" fmla="*/ 40 h 74"/>
                <a:gd name="T84" fmla="*/ 10 w 56"/>
                <a:gd name="T85" fmla="*/ 46 h 74"/>
                <a:gd name="T86" fmla="*/ 20 w 56"/>
                <a:gd name="T87" fmla="*/ 55 h 74"/>
                <a:gd name="T88" fmla="*/ 11 w 56"/>
                <a:gd name="T89" fmla="*/ 23 h 74"/>
                <a:gd name="T90" fmla="*/ 36 w 56"/>
                <a:gd name="T91" fmla="*/ 36 h 74"/>
                <a:gd name="T92" fmla="*/ 38 w 56"/>
                <a:gd name="T93" fmla="*/ 58 h 74"/>
                <a:gd name="T94" fmla="*/ 11 w 56"/>
                <a:gd name="T95" fmla="*/ 2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4">
                  <a:moveTo>
                    <a:pt x="20" y="55"/>
                  </a:moveTo>
                  <a:cubicBezTo>
                    <a:pt x="20" y="57"/>
                    <a:pt x="20" y="57"/>
                    <a:pt x="20" y="58"/>
                  </a:cubicBezTo>
                  <a:cubicBezTo>
                    <a:pt x="21" y="60"/>
                    <a:pt x="23" y="61"/>
                    <a:pt x="24" y="62"/>
                  </a:cubicBezTo>
                  <a:cubicBezTo>
                    <a:pt x="23" y="60"/>
                    <a:pt x="24" y="59"/>
                    <a:pt x="26" y="60"/>
                  </a:cubicBezTo>
                  <a:cubicBezTo>
                    <a:pt x="31" y="62"/>
                    <a:pt x="34" y="68"/>
                    <a:pt x="34" y="69"/>
                  </a:cubicBezTo>
                  <a:cubicBezTo>
                    <a:pt x="35" y="70"/>
                    <a:pt x="35" y="70"/>
                    <a:pt x="39" y="72"/>
                  </a:cubicBezTo>
                  <a:cubicBezTo>
                    <a:pt x="35" y="67"/>
                    <a:pt x="38" y="66"/>
                    <a:pt x="39" y="66"/>
                  </a:cubicBezTo>
                  <a:cubicBezTo>
                    <a:pt x="39" y="66"/>
                    <a:pt x="44" y="68"/>
                    <a:pt x="47" y="74"/>
                  </a:cubicBezTo>
                  <a:cubicBezTo>
                    <a:pt x="48" y="74"/>
                    <a:pt x="49" y="74"/>
                    <a:pt x="50" y="73"/>
                  </a:cubicBezTo>
                  <a:cubicBezTo>
                    <a:pt x="50" y="70"/>
                    <a:pt x="45" y="69"/>
                    <a:pt x="46" y="65"/>
                  </a:cubicBezTo>
                  <a:cubicBezTo>
                    <a:pt x="46" y="65"/>
                    <a:pt x="47" y="63"/>
                    <a:pt x="52" y="67"/>
                  </a:cubicBezTo>
                  <a:cubicBezTo>
                    <a:pt x="53" y="68"/>
                    <a:pt x="54" y="68"/>
                    <a:pt x="55" y="69"/>
                  </a:cubicBezTo>
                  <a:cubicBezTo>
                    <a:pt x="55" y="68"/>
                    <a:pt x="55" y="67"/>
                    <a:pt x="56" y="66"/>
                  </a:cubicBezTo>
                  <a:cubicBezTo>
                    <a:pt x="49" y="62"/>
                    <a:pt x="47" y="55"/>
                    <a:pt x="50" y="55"/>
                  </a:cubicBezTo>
                  <a:cubicBezTo>
                    <a:pt x="51" y="55"/>
                    <a:pt x="52" y="54"/>
                    <a:pt x="56" y="57"/>
                  </a:cubicBezTo>
                  <a:cubicBezTo>
                    <a:pt x="55" y="55"/>
                    <a:pt x="55" y="53"/>
                    <a:pt x="55" y="51"/>
                  </a:cubicBezTo>
                  <a:cubicBezTo>
                    <a:pt x="50" y="51"/>
                    <a:pt x="44" y="43"/>
                    <a:pt x="47" y="39"/>
                  </a:cubicBezTo>
                  <a:cubicBezTo>
                    <a:pt x="48" y="38"/>
                    <a:pt x="49" y="38"/>
                    <a:pt x="50" y="38"/>
                  </a:cubicBezTo>
                  <a:cubicBezTo>
                    <a:pt x="50" y="37"/>
                    <a:pt x="50" y="37"/>
                    <a:pt x="48" y="33"/>
                  </a:cubicBezTo>
                  <a:cubicBezTo>
                    <a:pt x="47" y="33"/>
                    <a:pt x="47" y="33"/>
                    <a:pt x="47" y="33"/>
                  </a:cubicBezTo>
                  <a:cubicBezTo>
                    <a:pt x="42" y="36"/>
                    <a:pt x="36" y="26"/>
                    <a:pt x="37" y="22"/>
                  </a:cubicBezTo>
                  <a:cubicBezTo>
                    <a:pt x="38" y="20"/>
                    <a:pt x="39" y="20"/>
                    <a:pt x="39" y="19"/>
                  </a:cubicBezTo>
                  <a:cubicBezTo>
                    <a:pt x="38" y="18"/>
                    <a:pt x="36" y="16"/>
                    <a:pt x="35" y="14"/>
                  </a:cubicBezTo>
                  <a:cubicBezTo>
                    <a:pt x="34" y="19"/>
                    <a:pt x="29" y="18"/>
                    <a:pt x="26" y="14"/>
                  </a:cubicBezTo>
                  <a:cubicBezTo>
                    <a:pt x="23" y="9"/>
                    <a:pt x="24" y="6"/>
                    <a:pt x="24" y="5"/>
                  </a:cubicBezTo>
                  <a:cubicBezTo>
                    <a:pt x="22" y="3"/>
                    <a:pt x="21" y="3"/>
                    <a:pt x="20" y="2"/>
                  </a:cubicBezTo>
                  <a:cubicBezTo>
                    <a:pt x="21" y="12"/>
                    <a:pt x="15" y="8"/>
                    <a:pt x="15" y="8"/>
                  </a:cubicBezTo>
                  <a:cubicBezTo>
                    <a:pt x="11" y="6"/>
                    <a:pt x="10" y="2"/>
                    <a:pt x="10" y="0"/>
                  </a:cubicBezTo>
                  <a:cubicBezTo>
                    <a:pt x="9" y="0"/>
                    <a:pt x="8" y="0"/>
                    <a:pt x="7" y="1"/>
                  </a:cubicBezTo>
                  <a:cubicBezTo>
                    <a:pt x="7" y="1"/>
                    <a:pt x="7" y="1"/>
                    <a:pt x="7" y="1"/>
                  </a:cubicBezTo>
                  <a:cubicBezTo>
                    <a:pt x="8" y="3"/>
                    <a:pt x="9" y="6"/>
                    <a:pt x="8" y="9"/>
                  </a:cubicBezTo>
                  <a:cubicBezTo>
                    <a:pt x="8" y="9"/>
                    <a:pt x="8" y="9"/>
                    <a:pt x="8" y="9"/>
                  </a:cubicBezTo>
                  <a:cubicBezTo>
                    <a:pt x="7" y="13"/>
                    <a:pt x="4" y="11"/>
                    <a:pt x="1" y="6"/>
                  </a:cubicBezTo>
                  <a:cubicBezTo>
                    <a:pt x="1" y="6"/>
                    <a:pt x="1" y="6"/>
                    <a:pt x="1" y="6"/>
                  </a:cubicBezTo>
                  <a:cubicBezTo>
                    <a:pt x="0" y="7"/>
                    <a:pt x="0" y="8"/>
                    <a:pt x="0" y="10"/>
                  </a:cubicBezTo>
                  <a:cubicBezTo>
                    <a:pt x="5" y="15"/>
                    <a:pt x="5" y="23"/>
                    <a:pt x="3" y="23"/>
                  </a:cubicBezTo>
                  <a:cubicBezTo>
                    <a:pt x="2" y="23"/>
                    <a:pt x="2" y="23"/>
                    <a:pt x="0" y="21"/>
                  </a:cubicBezTo>
                  <a:cubicBezTo>
                    <a:pt x="0" y="23"/>
                    <a:pt x="0" y="24"/>
                    <a:pt x="1" y="26"/>
                  </a:cubicBezTo>
                  <a:cubicBezTo>
                    <a:pt x="2" y="27"/>
                    <a:pt x="2" y="27"/>
                    <a:pt x="3" y="27"/>
                  </a:cubicBezTo>
                  <a:cubicBezTo>
                    <a:pt x="3" y="28"/>
                    <a:pt x="3" y="28"/>
                    <a:pt x="3" y="28"/>
                  </a:cubicBezTo>
                  <a:cubicBezTo>
                    <a:pt x="7" y="31"/>
                    <a:pt x="10" y="40"/>
                    <a:pt x="8" y="40"/>
                  </a:cubicBezTo>
                  <a:cubicBezTo>
                    <a:pt x="7" y="40"/>
                    <a:pt x="7" y="40"/>
                    <a:pt x="7" y="40"/>
                  </a:cubicBezTo>
                  <a:cubicBezTo>
                    <a:pt x="8" y="43"/>
                    <a:pt x="9" y="44"/>
                    <a:pt x="10" y="46"/>
                  </a:cubicBezTo>
                  <a:cubicBezTo>
                    <a:pt x="11" y="44"/>
                    <a:pt x="18" y="50"/>
                    <a:pt x="20" y="55"/>
                  </a:cubicBezTo>
                  <a:close/>
                  <a:moveTo>
                    <a:pt x="11" y="23"/>
                  </a:moveTo>
                  <a:cubicBezTo>
                    <a:pt x="14" y="13"/>
                    <a:pt x="28" y="22"/>
                    <a:pt x="36" y="36"/>
                  </a:cubicBezTo>
                  <a:cubicBezTo>
                    <a:pt x="41" y="44"/>
                    <a:pt x="43" y="55"/>
                    <a:pt x="38" y="58"/>
                  </a:cubicBezTo>
                  <a:cubicBezTo>
                    <a:pt x="30" y="62"/>
                    <a:pt x="7" y="38"/>
                    <a:pt x="11" y="2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08">
              <a:extLst>
                <a:ext uri="{FF2B5EF4-FFF2-40B4-BE49-F238E27FC236}">
                  <a16:creationId xmlns:a16="http://schemas.microsoft.com/office/drawing/2014/main" id="{3E942395-30C6-4C43-A3D2-B911CF7062F7}"/>
                </a:ext>
              </a:extLst>
            </p:cNvPr>
            <p:cNvSpPr>
              <a:spLocks noEditPoints="1"/>
            </p:cNvSpPr>
            <p:nvPr/>
          </p:nvSpPr>
          <p:spPr bwMode="auto">
            <a:xfrm>
              <a:off x="8489950" y="3867151"/>
              <a:ext cx="136525" cy="177800"/>
            </a:xfrm>
            <a:custGeom>
              <a:avLst/>
              <a:gdLst>
                <a:gd name="T0" fmla="*/ 36 w 53"/>
                <a:gd name="T1" fmla="*/ 16 h 69"/>
                <a:gd name="T2" fmla="*/ 36 w 53"/>
                <a:gd name="T3" fmla="*/ 11 h 69"/>
                <a:gd name="T4" fmla="*/ 32 w 53"/>
                <a:gd name="T5" fmla="*/ 7 h 69"/>
                <a:gd name="T6" fmla="*/ 28 w 53"/>
                <a:gd name="T7" fmla="*/ 9 h 69"/>
                <a:gd name="T8" fmla="*/ 23 w 53"/>
                <a:gd name="T9" fmla="*/ 1 h 69"/>
                <a:gd name="T10" fmla="*/ 19 w 53"/>
                <a:gd name="T11" fmla="*/ 0 h 69"/>
                <a:gd name="T12" fmla="*/ 19 w 53"/>
                <a:gd name="T13" fmla="*/ 0 h 69"/>
                <a:gd name="T14" fmla="*/ 19 w 53"/>
                <a:gd name="T15" fmla="*/ 6 h 69"/>
                <a:gd name="T16" fmla="*/ 19 w 53"/>
                <a:gd name="T17" fmla="*/ 6 h 69"/>
                <a:gd name="T18" fmla="*/ 11 w 53"/>
                <a:gd name="T19" fmla="*/ 0 h 69"/>
                <a:gd name="T20" fmla="*/ 7 w 53"/>
                <a:gd name="T21" fmla="*/ 1 h 69"/>
                <a:gd name="T22" fmla="*/ 10 w 53"/>
                <a:gd name="T23" fmla="*/ 4 h 69"/>
                <a:gd name="T24" fmla="*/ 10 w 53"/>
                <a:gd name="T25" fmla="*/ 5 h 69"/>
                <a:gd name="T26" fmla="*/ 6 w 53"/>
                <a:gd name="T27" fmla="*/ 10 h 69"/>
                <a:gd name="T28" fmla="*/ 2 w 53"/>
                <a:gd name="T29" fmla="*/ 7 h 69"/>
                <a:gd name="T30" fmla="*/ 1 w 53"/>
                <a:gd name="T31" fmla="*/ 11 h 69"/>
                <a:gd name="T32" fmla="*/ 4 w 53"/>
                <a:gd name="T33" fmla="*/ 13 h 69"/>
                <a:gd name="T34" fmla="*/ 4 w 53"/>
                <a:gd name="T35" fmla="*/ 13 h 69"/>
                <a:gd name="T36" fmla="*/ 3 w 53"/>
                <a:gd name="T37" fmla="*/ 23 h 69"/>
                <a:gd name="T38" fmla="*/ 0 w 53"/>
                <a:gd name="T39" fmla="*/ 22 h 69"/>
                <a:gd name="T40" fmla="*/ 1 w 53"/>
                <a:gd name="T41" fmla="*/ 27 h 69"/>
                <a:gd name="T42" fmla="*/ 8 w 53"/>
                <a:gd name="T43" fmla="*/ 38 h 69"/>
                <a:gd name="T44" fmla="*/ 5 w 53"/>
                <a:gd name="T45" fmla="*/ 40 h 69"/>
                <a:gd name="T46" fmla="*/ 8 w 53"/>
                <a:gd name="T47" fmla="*/ 46 h 69"/>
                <a:gd name="T48" fmla="*/ 17 w 53"/>
                <a:gd name="T49" fmla="*/ 52 h 69"/>
                <a:gd name="T50" fmla="*/ 16 w 53"/>
                <a:gd name="T51" fmla="*/ 57 h 69"/>
                <a:gd name="T52" fmla="*/ 20 w 53"/>
                <a:gd name="T53" fmla="*/ 61 h 69"/>
                <a:gd name="T54" fmla="*/ 27 w 53"/>
                <a:gd name="T55" fmla="*/ 59 h 69"/>
                <a:gd name="T56" fmla="*/ 29 w 53"/>
                <a:gd name="T57" fmla="*/ 68 h 69"/>
                <a:gd name="T58" fmla="*/ 34 w 53"/>
                <a:gd name="T59" fmla="*/ 69 h 69"/>
                <a:gd name="T60" fmla="*/ 38 w 53"/>
                <a:gd name="T61" fmla="*/ 62 h 69"/>
                <a:gd name="T62" fmla="*/ 42 w 53"/>
                <a:gd name="T63" fmla="*/ 69 h 69"/>
                <a:gd name="T64" fmla="*/ 46 w 53"/>
                <a:gd name="T65" fmla="*/ 68 h 69"/>
                <a:gd name="T66" fmla="*/ 47 w 53"/>
                <a:gd name="T67" fmla="*/ 56 h 69"/>
                <a:gd name="T68" fmla="*/ 51 w 53"/>
                <a:gd name="T69" fmla="*/ 61 h 69"/>
                <a:gd name="T70" fmla="*/ 52 w 53"/>
                <a:gd name="T71" fmla="*/ 56 h 69"/>
                <a:gd name="T72" fmla="*/ 50 w 53"/>
                <a:gd name="T73" fmla="*/ 44 h 69"/>
                <a:gd name="T74" fmla="*/ 52 w 53"/>
                <a:gd name="T75" fmla="*/ 45 h 69"/>
                <a:gd name="T76" fmla="*/ 52 w 53"/>
                <a:gd name="T77" fmla="*/ 40 h 69"/>
                <a:gd name="T78" fmla="*/ 52 w 53"/>
                <a:gd name="T79" fmla="*/ 40 h 69"/>
                <a:gd name="T80" fmla="*/ 46 w 53"/>
                <a:gd name="T81" fmla="*/ 27 h 69"/>
                <a:gd name="T82" fmla="*/ 47 w 53"/>
                <a:gd name="T83" fmla="*/ 27 h 69"/>
                <a:gd name="T84" fmla="*/ 44 w 53"/>
                <a:gd name="T85" fmla="*/ 21 h 69"/>
                <a:gd name="T86" fmla="*/ 36 w 53"/>
                <a:gd name="T87" fmla="*/ 16 h 69"/>
                <a:gd name="T88" fmla="*/ 33 w 53"/>
                <a:gd name="T89" fmla="*/ 52 h 69"/>
                <a:gd name="T90" fmla="*/ 18 w 53"/>
                <a:gd name="T91" fmla="*/ 16 h 69"/>
                <a:gd name="T92" fmla="*/ 42 w 53"/>
                <a:gd name="T93" fmla="*/ 36 h 69"/>
                <a:gd name="T94" fmla="*/ 33 w 53"/>
                <a:gd name="T95" fmla="*/ 5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3" h="69">
                  <a:moveTo>
                    <a:pt x="36" y="16"/>
                  </a:moveTo>
                  <a:cubicBezTo>
                    <a:pt x="35" y="13"/>
                    <a:pt x="36" y="11"/>
                    <a:pt x="36" y="11"/>
                  </a:cubicBezTo>
                  <a:cubicBezTo>
                    <a:pt x="34" y="9"/>
                    <a:pt x="33" y="8"/>
                    <a:pt x="32" y="7"/>
                  </a:cubicBezTo>
                  <a:cubicBezTo>
                    <a:pt x="33" y="13"/>
                    <a:pt x="28" y="10"/>
                    <a:pt x="28" y="9"/>
                  </a:cubicBezTo>
                  <a:cubicBezTo>
                    <a:pt x="26" y="8"/>
                    <a:pt x="23" y="5"/>
                    <a:pt x="23" y="1"/>
                  </a:cubicBezTo>
                  <a:cubicBezTo>
                    <a:pt x="21" y="1"/>
                    <a:pt x="20" y="0"/>
                    <a:pt x="19" y="0"/>
                  </a:cubicBezTo>
                  <a:cubicBezTo>
                    <a:pt x="19" y="0"/>
                    <a:pt x="19" y="0"/>
                    <a:pt x="19" y="0"/>
                  </a:cubicBezTo>
                  <a:cubicBezTo>
                    <a:pt x="21" y="4"/>
                    <a:pt x="20" y="5"/>
                    <a:pt x="19" y="6"/>
                  </a:cubicBezTo>
                  <a:cubicBezTo>
                    <a:pt x="19" y="6"/>
                    <a:pt x="19" y="6"/>
                    <a:pt x="19" y="6"/>
                  </a:cubicBezTo>
                  <a:cubicBezTo>
                    <a:pt x="17" y="7"/>
                    <a:pt x="13" y="5"/>
                    <a:pt x="11" y="0"/>
                  </a:cubicBezTo>
                  <a:cubicBezTo>
                    <a:pt x="9" y="0"/>
                    <a:pt x="9" y="0"/>
                    <a:pt x="7" y="1"/>
                  </a:cubicBezTo>
                  <a:cubicBezTo>
                    <a:pt x="8" y="2"/>
                    <a:pt x="9" y="3"/>
                    <a:pt x="10" y="4"/>
                  </a:cubicBezTo>
                  <a:cubicBezTo>
                    <a:pt x="10" y="5"/>
                    <a:pt x="10" y="5"/>
                    <a:pt x="10" y="5"/>
                  </a:cubicBezTo>
                  <a:cubicBezTo>
                    <a:pt x="12" y="9"/>
                    <a:pt x="10" y="11"/>
                    <a:pt x="6" y="10"/>
                  </a:cubicBezTo>
                  <a:cubicBezTo>
                    <a:pt x="6" y="10"/>
                    <a:pt x="5" y="10"/>
                    <a:pt x="2" y="7"/>
                  </a:cubicBezTo>
                  <a:cubicBezTo>
                    <a:pt x="2" y="8"/>
                    <a:pt x="2" y="9"/>
                    <a:pt x="1" y="11"/>
                  </a:cubicBezTo>
                  <a:cubicBezTo>
                    <a:pt x="2" y="12"/>
                    <a:pt x="2" y="12"/>
                    <a:pt x="4" y="13"/>
                  </a:cubicBezTo>
                  <a:cubicBezTo>
                    <a:pt x="4" y="13"/>
                    <a:pt x="4" y="13"/>
                    <a:pt x="4" y="13"/>
                  </a:cubicBezTo>
                  <a:cubicBezTo>
                    <a:pt x="8" y="17"/>
                    <a:pt x="8" y="23"/>
                    <a:pt x="3" y="23"/>
                  </a:cubicBezTo>
                  <a:cubicBezTo>
                    <a:pt x="3" y="23"/>
                    <a:pt x="2" y="23"/>
                    <a:pt x="0" y="22"/>
                  </a:cubicBezTo>
                  <a:cubicBezTo>
                    <a:pt x="0" y="24"/>
                    <a:pt x="1" y="25"/>
                    <a:pt x="1" y="27"/>
                  </a:cubicBezTo>
                  <a:cubicBezTo>
                    <a:pt x="6" y="27"/>
                    <a:pt x="11" y="35"/>
                    <a:pt x="8" y="38"/>
                  </a:cubicBezTo>
                  <a:cubicBezTo>
                    <a:pt x="7" y="40"/>
                    <a:pt x="6" y="40"/>
                    <a:pt x="5" y="40"/>
                  </a:cubicBezTo>
                  <a:cubicBezTo>
                    <a:pt x="6" y="42"/>
                    <a:pt x="7" y="44"/>
                    <a:pt x="8" y="46"/>
                  </a:cubicBezTo>
                  <a:cubicBezTo>
                    <a:pt x="11" y="42"/>
                    <a:pt x="17" y="47"/>
                    <a:pt x="17" y="52"/>
                  </a:cubicBezTo>
                  <a:cubicBezTo>
                    <a:pt x="17" y="55"/>
                    <a:pt x="16" y="56"/>
                    <a:pt x="16" y="57"/>
                  </a:cubicBezTo>
                  <a:cubicBezTo>
                    <a:pt x="17" y="59"/>
                    <a:pt x="18" y="60"/>
                    <a:pt x="20" y="61"/>
                  </a:cubicBezTo>
                  <a:cubicBezTo>
                    <a:pt x="21" y="55"/>
                    <a:pt x="26" y="57"/>
                    <a:pt x="27" y="59"/>
                  </a:cubicBezTo>
                  <a:cubicBezTo>
                    <a:pt x="28" y="60"/>
                    <a:pt x="31" y="63"/>
                    <a:pt x="29" y="68"/>
                  </a:cubicBezTo>
                  <a:cubicBezTo>
                    <a:pt x="31" y="68"/>
                    <a:pt x="32" y="69"/>
                    <a:pt x="34" y="69"/>
                  </a:cubicBezTo>
                  <a:cubicBezTo>
                    <a:pt x="33" y="63"/>
                    <a:pt x="35" y="60"/>
                    <a:pt x="38" y="62"/>
                  </a:cubicBezTo>
                  <a:cubicBezTo>
                    <a:pt x="39" y="62"/>
                    <a:pt x="42" y="64"/>
                    <a:pt x="42" y="69"/>
                  </a:cubicBezTo>
                  <a:cubicBezTo>
                    <a:pt x="44" y="69"/>
                    <a:pt x="45" y="68"/>
                    <a:pt x="46" y="68"/>
                  </a:cubicBezTo>
                  <a:cubicBezTo>
                    <a:pt x="43" y="62"/>
                    <a:pt x="44" y="56"/>
                    <a:pt x="47" y="56"/>
                  </a:cubicBezTo>
                  <a:cubicBezTo>
                    <a:pt x="48" y="57"/>
                    <a:pt x="50" y="58"/>
                    <a:pt x="51" y="61"/>
                  </a:cubicBezTo>
                  <a:cubicBezTo>
                    <a:pt x="52" y="59"/>
                    <a:pt x="52" y="58"/>
                    <a:pt x="52" y="56"/>
                  </a:cubicBezTo>
                  <a:cubicBezTo>
                    <a:pt x="49" y="54"/>
                    <a:pt x="47" y="45"/>
                    <a:pt x="50" y="44"/>
                  </a:cubicBezTo>
                  <a:cubicBezTo>
                    <a:pt x="51" y="44"/>
                    <a:pt x="52" y="45"/>
                    <a:pt x="52" y="45"/>
                  </a:cubicBezTo>
                  <a:cubicBezTo>
                    <a:pt x="53" y="45"/>
                    <a:pt x="53" y="44"/>
                    <a:pt x="52" y="40"/>
                  </a:cubicBezTo>
                  <a:cubicBezTo>
                    <a:pt x="52" y="40"/>
                    <a:pt x="52" y="40"/>
                    <a:pt x="52" y="40"/>
                  </a:cubicBezTo>
                  <a:cubicBezTo>
                    <a:pt x="47" y="39"/>
                    <a:pt x="44" y="29"/>
                    <a:pt x="46" y="27"/>
                  </a:cubicBezTo>
                  <a:cubicBezTo>
                    <a:pt x="47" y="27"/>
                    <a:pt x="47" y="27"/>
                    <a:pt x="47" y="27"/>
                  </a:cubicBezTo>
                  <a:cubicBezTo>
                    <a:pt x="46" y="25"/>
                    <a:pt x="46" y="24"/>
                    <a:pt x="44" y="21"/>
                  </a:cubicBezTo>
                  <a:cubicBezTo>
                    <a:pt x="43" y="24"/>
                    <a:pt x="39" y="21"/>
                    <a:pt x="36" y="16"/>
                  </a:cubicBezTo>
                  <a:close/>
                  <a:moveTo>
                    <a:pt x="33" y="52"/>
                  </a:moveTo>
                  <a:cubicBezTo>
                    <a:pt x="19" y="50"/>
                    <a:pt x="8" y="23"/>
                    <a:pt x="18" y="16"/>
                  </a:cubicBezTo>
                  <a:cubicBezTo>
                    <a:pt x="26" y="10"/>
                    <a:pt x="39" y="23"/>
                    <a:pt x="42" y="36"/>
                  </a:cubicBezTo>
                  <a:cubicBezTo>
                    <a:pt x="44" y="46"/>
                    <a:pt x="40" y="53"/>
                    <a:pt x="33" y="5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09">
              <a:extLst>
                <a:ext uri="{FF2B5EF4-FFF2-40B4-BE49-F238E27FC236}">
                  <a16:creationId xmlns:a16="http://schemas.microsoft.com/office/drawing/2014/main" id="{F4507A7C-C55E-8D46-B867-F26B5973C37C}"/>
                </a:ext>
              </a:extLst>
            </p:cNvPr>
            <p:cNvSpPr>
              <a:spLocks/>
            </p:cNvSpPr>
            <p:nvPr/>
          </p:nvSpPr>
          <p:spPr bwMode="auto">
            <a:xfrm>
              <a:off x="7816850" y="4445001"/>
              <a:ext cx="366713" cy="185738"/>
            </a:xfrm>
            <a:custGeom>
              <a:avLst/>
              <a:gdLst>
                <a:gd name="T0" fmla="*/ 139 w 142"/>
                <a:gd name="T1" fmla="*/ 69 h 72"/>
                <a:gd name="T2" fmla="*/ 109 w 142"/>
                <a:gd name="T3" fmla="*/ 63 h 72"/>
                <a:gd name="T4" fmla="*/ 117 w 142"/>
                <a:gd name="T5" fmla="*/ 64 h 72"/>
                <a:gd name="T6" fmla="*/ 81 w 142"/>
                <a:gd name="T7" fmla="*/ 50 h 72"/>
                <a:gd name="T8" fmla="*/ 81 w 142"/>
                <a:gd name="T9" fmla="*/ 49 h 72"/>
                <a:gd name="T10" fmla="*/ 83 w 142"/>
                <a:gd name="T11" fmla="*/ 49 h 72"/>
                <a:gd name="T12" fmla="*/ 73 w 142"/>
                <a:gd name="T13" fmla="*/ 44 h 72"/>
                <a:gd name="T14" fmla="*/ 72 w 142"/>
                <a:gd name="T15" fmla="*/ 43 h 72"/>
                <a:gd name="T16" fmla="*/ 46 w 142"/>
                <a:gd name="T17" fmla="*/ 29 h 72"/>
                <a:gd name="T18" fmla="*/ 36 w 142"/>
                <a:gd name="T19" fmla="*/ 20 h 72"/>
                <a:gd name="T20" fmla="*/ 37 w 142"/>
                <a:gd name="T21" fmla="*/ 24 h 72"/>
                <a:gd name="T22" fmla="*/ 22 w 142"/>
                <a:gd name="T23" fmla="*/ 16 h 72"/>
                <a:gd name="T24" fmla="*/ 8 w 142"/>
                <a:gd name="T25" fmla="*/ 3 h 72"/>
                <a:gd name="T26" fmla="*/ 15 w 142"/>
                <a:gd name="T27" fmla="*/ 13 h 72"/>
                <a:gd name="T28" fmla="*/ 1 w 142"/>
                <a:gd name="T29" fmla="*/ 0 h 72"/>
                <a:gd name="T30" fmla="*/ 0 w 142"/>
                <a:gd name="T31" fmla="*/ 0 h 72"/>
                <a:gd name="T32" fmla="*/ 1 w 142"/>
                <a:gd name="T33" fmla="*/ 0 h 72"/>
                <a:gd name="T34" fmla="*/ 11 w 142"/>
                <a:gd name="T35" fmla="*/ 13 h 72"/>
                <a:gd name="T36" fmla="*/ 11 w 142"/>
                <a:gd name="T37" fmla="*/ 13 h 72"/>
                <a:gd name="T38" fmla="*/ 26 w 142"/>
                <a:gd name="T39" fmla="*/ 27 h 72"/>
                <a:gd name="T40" fmla="*/ 51 w 142"/>
                <a:gd name="T41" fmla="*/ 45 h 72"/>
                <a:gd name="T42" fmla="*/ 79 w 142"/>
                <a:gd name="T43" fmla="*/ 59 h 72"/>
                <a:gd name="T44" fmla="*/ 102 w 142"/>
                <a:gd name="T45" fmla="*/ 67 h 72"/>
                <a:gd name="T46" fmla="*/ 102 w 142"/>
                <a:gd name="T47" fmla="*/ 67 h 72"/>
                <a:gd name="T48" fmla="*/ 131 w 142"/>
                <a:gd name="T49" fmla="*/ 71 h 72"/>
                <a:gd name="T50" fmla="*/ 121 w 142"/>
                <a:gd name="T51" fmla="*/ 70 h 72"/>
                <a:gd name="T52" fmla="*/ 142 w 142"/>
                <a:gd name="T53" fmla="*/ 70 h 72"/>
                <a:gd name="T54" fmla="*/ 124 w 142"/>
                <a:gd name="T55" fmla="*/ 68 h 72"/>
                <a:gd name="T56" fmla="*/ 139 w 142"/>
                <a:gd name="T57" fmla="*/ 6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2" h="72">
                  <a:moveTo>
                    <a:pt x="139" y="69"/>
                  </a:moveTo>
                  <a:cubicBezTo>
                    <a:pt x="129" y="67"/>
                    <a:pt x="118" y="69"/>
                    <a:pt x="109" y="63"/>
                  </a:cubicBezTo>
                  <a:cubicBezTo>
                    <a:pt x="110" y="63"/>
                    <a:pt x="110" y="62"/>
                    <a:pt x="117" y="64"/>
                  </a:cubicBezTo>
                  <a:cubicBezTo>
                    <a:pt x="82" y="53"/>
                    <a:pt x="82" y="53"/>
                    <a:pt x="81" y="50"/>
                  </a:cubicBezTo>
                  <a:cubicBezTo>
                    <a:pt x="81" y="49"/>
                    <a:pt x="81" y="49"/>
                    <a:pt x="81" y="49"/>
                  </a:cubicBezTo>
                  <a:cubicBezTo>
                    <a:pt x="81" y="49"/>
                    <a:pt x="82" y="49"/>
                    <a:pt x="83" y="49"/>
                  </a:cubicBezTo>
                  <a:cubicBezTo>
                    <a:pt x="80" y="47"/>
                    <a:pt x="76" y="46"/>
                    <a:pt x="73" y="44"/>
                  </a:cubicBezTo>
                  <a:cubicBezTo>
                    <a:pt x="72" y="43"/>
                    <a:pt x="72" y="43"/>
                    <a:pt x="72" y="43"/>
                  </a:cubicBezTo>
                  <a:cubicBezTo>
                    <a:pt x="69" y="48"/>
                    <a:pt x="48" y="33"/>
                    <a:pt x="46" y="29"/>
                  </a:cubicBezTo>
                  <a:cubicBezTo>
                    <a:pt x="46" y="27"/>
                    <a:pt x="46" y="27"/>
                    <a:pt x="36" y="20"/>
                  </a:cubicBezTo>
                  <a:cubicBezTo>
                    <a:pt x="37" y="22"/>
                    <a:pt x="37" y="22"/>
                    <a:pt x="37" y="24"/>
                  </a:cubicBezTo>
                  <a:cubicBezTo>
                    <a:pt x="35" y="28"/>
                    <a:pt x="23" y="16"/>
                    <a:pt x="22" y="16"/>
                  </a:cubicBezTo>
                  <a:cubicBezTo>
                    <a:pt x="18" y="12"/>
                    <a:pt x="14" y="6"/>
                    <a:pt x="8" y="3"/>
                  </a:cubicBezTo>
                  <a:cubicBezTo>
                    <a:pt x="14" y="9"/>
                    <a:pt x="15" y="12"/>
                    <a:pt x="15" y="13"/>
                  </a:cubicBezTo>
                  <a:cubicBezTo>
                    <a:pt x="12" y="13"/>
                    <a:pt x="4" y="0"/>
                    <a:pt x="1" y="0"/>
                  </a:cubicBezTo>
                  <a:cubicBezTo>
                    <a:pt x="1" y="0"/>
                    <a:pt x="0" y="0"/>
                    <a:pt x="0" y="0"/>
                  </a:cubicBezTo>
                  <a:cubicBezTo>
                    <a:pt x="1" y="0"/>
                    <a:pt x="1" y="0"/>
                    <a:pt x="1" y="0"/>
                  </a:cubicBezTo>
                  <a:cubicBezTo>
                    <a:pt x="2" y="2"/>
                    <a:pt x="6" y="7"/>
                    <a:pt x="11" y="13"/>
                  </a:cubicBezTo>
                  <a:cubicBezTo>
                    <a:pt x="11" y="13"/>
                    <a:pt x="11" y="13"/>
                    <a:pt x="11" y="13"/>
                  </a:cubicBezTo>
                  <a:cubicBezTo>
                    <a:pt x="11" y="13"/>
                    <a:pt x="18" y="20"/>
                    <a:pt x="26" y="27"/>
                  </a:cubicBezTo>
                  <a:cubicBezTo>
                    <a:pt x="40" y="39"/>
                    <a:pt x="41" y="39"/>
                    <a:pt x="51" y="45"/>
                  </a:cubicBezTo>
                  <a:cubicBezTo>
                    <a:pt x="66" y="54"/>
                    <a:pt x="67" y="54"/>
                    <a:pt x="79" y="59"/>
                  </a:cubicBezTo>
                  <a:cubicBezTo>
                    <a:pt x="93" y="65"/>
                    <a:pt x="93" y="65"/>
                    <a:pt x="102" y="67"/>
                  </a:cubicBezTo>
                  <a:cubicBezTo>
                    <a:pt x="102" y="67"/>
                    <a:pt x="102" y="67"/>
                    <a:pt x="102" y="67"/>
                  </a:cubicBezTo>
                  <a:cubicBezTo>
                    <a:pt x="102" y="67"/>
                    <a:pt x="119" y="71"/>
                    <a:pt x="131" y="71"/>
                  </a:cubicBezTo>
                  <a:cubicBezTo>
                    <a:pt x="125" y="71"/>
                    <a:pt x="122" y="70"/>
                    <a:pt x="121" y="70"/>
                  </a:cubicBezTo>
                  <a:cubicBezTo>
                    <a:pt x="128" y="68"/>
                    <a:pt x="135" y="72"/>
                    <a:pt x="142" y="70"/>
                  </a:cubicBezTo>
                  <a:cubicBezTo>
                    <a:pt x="136" y="69"/>
                    <a:pt x="130" y="70"/>
                    <a:pt x="124" y="68"/>
                  </a:cubicBezTo>
                  <a:cubicBezTo>
                    <a:pt x="125" y="68"/>
                    <a:pt x="125" y="68"/>
                    <a:pt x="139" y="6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10">
              <a:extLst>
                <a:ext uri="{FF2B5EF4-FFF2-40B4-BE49-F238E27FC236}">
                  <a16:creationId xmlns:a16="http://schemas.microsoft.com/office/drawing/2014/main" id="{3E857DEF-7B63-A44A-B303-A06C5A3DA076}"/>
                </a:ext>
              </a:extLst>
            </p:cNvPr>
            <p:cNvSpPr>
              <a:spLocks noEditPoints="1"/>
            </p:cNvSpPr>
            <p:nvPr/>
          </p:nvSpPr>
          <p:spPr bwMode="auto">
            <a:xfrm>
              <a:off x="8077200" y="3644901"/>
              <a:ext cx="276225" cy="168275"/>
            </a:xfrm>
            <a:custGeom>
              <a:avLst/>
              <a:gdLst>
                <a:gd name="T0" fmla="*/ 0 w 107"/>
                <a:gd name="T1" fmla="*/ 36 h 65"/>
                <a:gd name="T2" fmla="*/ 2 w 107"/>
                <a:gd name="T3" fmla="*/ 43 h 65"/>
                <a:gd name="T4" fmla="*/ 21 w 107"/>
                <a:gd name="T5" fmla="*/ 47 h 65"/>
                <a:gd name="T6" fmla="*/ 16 w 107"/>
                <a:gd name="T7" fmla="*/ 55 h 65"/>
                <a:gd name="T8" fmla="*/ 25 w 107"/>
                <a:gd name="T9" fmla="*/ 59 h 65"/>
                <a:gd name="T10" fmla="*/ 49 w 107"/>
                <a:gd name="T11" fmla="*/ 57 h 65"/>
                <a:gd name="T12" fmla="*/ 48 w 107"/>
                <a:gd name="T13" fmla="*/ 65 h 65"/>
                <a:gd name="T14" fmla="*/ 60 w 107"/>
                <a:gd name="T15" fmla="*/ 65 h 65"/>
                <a:gd name="T16" fmla="*/ 76 w 107"/>
                <a:gd name="T17" fmla="*/ 53 h 65"/>
                <a:gd name="T18" fmla="*/ 84 w 107"/>
                <a:gd name="T19" fmla="*/ 61 h 65"/>
                <a:gd name="T20" fmla="*/ 93 w 107"/>
                <a:gd name="T21" fmla="*/ 57 h 65"/>
                <a:gd name="T22" fmla="*/ 91 w 107"/>
                <a:gd name="T23" fmla="*/ 41 h 65"/>
                <a:gd name="T24" fmla="*/ 105 w 107"/>
                <a:gd name="T25" fmla="*/ 45 h 65"/>
                <a:gd name="T26" fmla="*/ 107 w 107"/>
                <a:gd name="T27" fmla="*/ 39 h 65"/>
                <a:gd name="T28" fmla="*/ 94 w 107"/>
                <a:gd name="T29" fmla="*/ 25 h 65"/>
                <a:gd name="T30" fmla="*/ 103 w 107"/>
                <a:gd name="T31" fmla="*/ 25 h 65"/>
                <a:gd name="T32" fmla="*/ 98 w 107"/>
                <a:gd name="T33" fmla="*/ 20 h 65"/>
                <a:gd name="T34" fmla="*/ 98 w 107"/>
                <a:gd name="T35" fmla="*/ 20 h 65"/>
                <a:gd name="T36" fmla="*/ 79 w 107"/>
                <a:gd name="T37" fmla="*/ 10 h 65"/>
                <a:gd name="T38" fmla="*/ 81 w 107"/>
                <a:gd name="T39" fmla="*/ 10 h 65"/>
                <a:gd name="T40" fmla="*/ 73 w 107"/>
                <a:gd name="T41" fmla="*/ 7 h 65"/>
                <a:gd name="T42" fmla="*/ 72 w 107"/>
                <a:gd name="T43" fmla="*/ 7 h 65"/>
                <a:gd name="T44" fmla="*/ 48 w 107"/>
                <a:gd name="T45" fmla="*/ 3 h 65"/>
                <a:gd name="T46" fmla="*/ 50 w 107"/>
                <a:gd name="T47" fmla="*/ 3 h 65"/>
                <a:gd name="T48" fmla="*/ 49 w 107"/>
                <a:gd name="T49" fmla="*/ 4 h 65"/>
                <a:gd name="T50" fmla="*/ 34 w 107"/>
                <a:gd name="T51" fmla="*/ 3 h 65"/>
                <a:gd name="T52" fmla="*/ 35 w 107"/>
                <a:gd name="T53" fmla="*/ 4 h 65"/>
                <a:gd name="T54" fmla="*/ 35 w 107"/>
                <a:gd name="T55" fmla="*/ 4 h 65"/>
                <a:gd name="T56" fmla="*/ 24 w 107"/>
                <a:gd name="T57" fmla="*/ 4 h 65"/>
                <a:gd name="T58" fmla="*/ 25 w 107"/>
                <a:gd name="T59" fmla="*/ 5 h 65"/>
                <a:gd name="T60" fmla="*/ 26 w 107"/>
                <a:gd name="T61" fmla="*/ 5 h 65"/>
                <a:gd name="T62" fmla="*/ 16 w 107"/>
                <a:gd name="T63" fmla="*/ 7 h 65"/>
                <a:gd name="T64" fmla="*/ 12 w 107"/>
                <a:gd name="T65" fmla="*/ 10 h 65"/>
                <a:gd name="T66" fmla="*/ 14 w 107"/>
                <a:gd name="T67" fmla="*/ 10 h 65"/>
                <a:gd name="T68" fmla="*/ 14 w 107"/>
                <a:gd name="T69" fmla="*/ 10 h 65"/>
                <a:gd name="T70" fmla="*/ 7 w 107"/>
                <a:gd name="T71" fmla="*/ 18 h 65"/>
                <a:gd name="T72" fmla="*/ 1 w 107"/>
                <a:gd name="T73" fmla="*/ 23 h 65"/>
                <a:gd name="T74" fmla="*/ 10 w 107"/>
                <a:gd name="T75" fmla="*/ 30 h 65"/>
                <a:gd name="T76" fmla="*/ 0 w 107"/>
                <a:gd name="T77" fmla="*/ 36 h 65"/>
                <a:gd name="T78" fmla="*/ 26 w 107"/>
                <a:gd name="T79" fmla="*/ 13 h 65"/>
                <a:gd name="T80" fmla="*/ 76 w 107"/>
                <a:gd name="T81" fmla="*/ 19 h 65"/>
                <a:gd name="T82" fmla="*/ 58 w 107"/>
                <a:gd name="T83" fmla="*/ 40 h 65"/>
                <a:gd name="T84" fmla="*/ 26 w 107"/>
                <a:gd name="T85"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65">
                  <a:moveTo>
                    <a:pt x="0" y="36"/>
                  </a:moveTo>
                  <a:cubicBezTo>
                    <a:pt x="0" y="39"/>
                    <a:pt x="1" y="40"/>
                    <a:pt x="2" y="43"/>
                  </a:cubicBezTo>
                  <a:cubicBezTo>
                    <a:pt x="11" y="36"/>
                    <a:pt x="21" y="40"/>
                    <a:pt x="21" y="47"/>
                  </a:cubicBezTo>
                  <a:cubicBezTo>
                    <a:pt x="20" y="52"/>
                    <a:pt x="17" y="54"/>
                    <a:pt x="16" y="55"/>
                  </a:cubicBezTo>
                  <a:cubicBezTo>
                    <a:pt x="19" y="57"/>
                    <a:pt x="21" y="58"/>
                    <a:pt x="25" y="59"/>
                  </a:cubicBezTo>
                  <a:cubicBezTo>
                    <a:pt x="28" y="48"/>
                    <a:pt x="45" y="50"/>
                    <a:pt x="49" y="57"/>
                  </a:cubicBezTo>
                  <a:cubicBezTo>
                    <a:pt x="50" y="61"/>
                    <a:pt x="49" y="63"/>
                    <a:pt x="48" y="65"/>
                  </a:cubicBezTo>
                  <a:cubicBezTo>
                    <a:pt x="52" y="65"/>
                    <a:pt x="54" y="65"/>
                    <a:pt x="60" y="65"/>
                  </a:cubicBezTo>
                  <a:cubicBezTo>
                    <a:pt x="56" y="55"/>
                    <a:pt x="66" y="48"/>
                    <a:pt x="76" y="53"/>
                  </a:cubicBezTo>
                  <a:cubicBezTo>
                    <a:pt x="77" y="53"/>
                    <a:pt x="82" y="56"/>
                    <a:pt x="84" y="61"/>
                  </a:cubicBezTo>
                  <a:cubicBezTo>
                    <a:pt x="88" y="59"/>
                    <a:pt x="90" y="58"/>
                    <a:pt x="93" y="57"/>
                  </a:cubicBezTo>
                  <a:cubicBezTo>
                    <a:pt x="85" y="52"/>
                    <a:pt x="84" y="43"/>
                    <a:pt x="91" y="41"/>
                  </a:cubicBezTo>
                  <a:cubicBezTo>
                    <a:pt x="94" y="41"/>
                    <a:pt x="98" y="40"/>
                    <a:pt x="105" y="45"/>
                  </a:cubicBezTo>
                  <a:cubicBezTo>
                    <a:pt x="106" y="43"/>
                    <a:pt x="107" y="41"/>
                    <a:pt x="107" y="39"/>
                  </a:cubicBezTo>
                  <a:cubicBezTo>
                    <a:pt x="99" y="38"/>
                    <a:pt x="89" y="28"/>
                    <a:pt x="94" y="25"/>
                  </a:cubicBezTo>
                  <a:cubicBezTo>
                    <a:pt x="95" y="25"/>
                    <a:pt x="97" y="24"/>
                    <a:pt x="103" y="25"/>
                  </a:cubicBezTo>
                  <a:cubicBezTo>
                    <a:pt x="102" y="24"/>
                    <a:pt x="101" y="23"/>
                    <a:pt x="98" y="20"/>
                  </a:cubicBezTo>
                  <a:cubicBezTo>
                    <a:pt x="98" y="20"/>
                    <a:pt x="98" y="20"/>
                    <a:pt x="98" y="20"/>
                  </a:cubicBezTo>
                  <a:cubicBezTo>
                    <a:pt x="89" y="20"/>
                    <a:pt x="77" y="12"/>
                    <a:pt x="79" y="10"/>
                  </a:cubicBezTo>
                  <a:cubicBezTo>
                    <a:pt x="81" y="10"/>
                    <a:pt x="81" y="10"/>
                    <a:pt x="81" y="10"/>
                  </a:cubicBezTo>
                  <a:cubicBezTo>
                    <a:pt x="80" y="10"/>
                    <a:pt x="80" y="9"/>
                    <a:pt x="73" y="7"/>
                  </a:cubicBezTo>
                  <a:cubicBezTo>
                    <a:pt x="72" y="7"/>
                    <a:pt x="72" y="7"/>
                    <a:pt x="72" y="7"/>
                  </a:cubicBezTo>
                  <a:cubicBezTo>
                    <a:pt x="63" y="11"/>
                    <a:pt x="57" y="3"/>
                    <a:pt x="48" y="3"/>
                  </a:cubicBezTo>
                  <a:cubicBezTo>
                    <a:pt x="50" y="3"/>
                    <a:pt x="50" y="3"/>
                    <a:pt x="50" y="3"/>
                  </a:cubicBezTo>
                  <a:cubicBezTo>
                    <a:pt x="49" y="4"/>
                    <a:pt x="49" y="4"/>
                    <a:pt x="49" y="4"/>
                  </a:cubicBezTo>
                  <a:cubicBezTo>
                    <a:pt x="44" y="4"/>
                    <a:pt x="39" y="2"/>
                    <a:pt x="34" y="3"/>
                  </a:cubicBezTo>
                  <a:cubicBezTo>
                    <a:pt x="35" y="3"/>
                    <a:pt x="35" y="3"/>
                    <a:pt x="35" y="4"/>
                  </a:cubicBezTo>
                  <a:cubicBezTo>
                    <a:pt x="35" y="4"/>
                    <a:pt x="35" y="4"/>
                    <a:pt x="35" y="4"/>
                  </a:cubicBezTo>
                  <a:cubicBezTo>
                    <a:pt x="31" y="5"/>
                    <a:pt x="28" y="4"/>
                    <a:pt x="24" y="4"/>
                  </a:cubicBezTo>
                  <a:cubicBezTo>
                    <a:pt x="25" y="5"/>
                    <a:pt x="25" y="5"/>
                    <a:pt x="25" y="5"/>
                  </a:cubicBezTo>
                  <a:cubicBezTo>
                    <a:pt x="26" y="5"/>
                    <a:pt x="26" y="5"/>
                    <a:pt x="26" y="5"/>
                  </a:cubicBezTo>
                  <a:cubicBezTo>
                    <a:pt x="24" y="7"/>
                    <a:pt x="19" y="9"/>
                    <a:pt x="16" y="7"/>
                  </a:cubicBezTo>
                  <a:cubicBezTo>
                    <a:pt x="15" y="8"/>
                    <a:pt x="14" y="9"/>
                    <a:pt x="12" y="10"/>
                  </a:cubicBezTo>
                  <a:cubicBezTo>
                    <a:pt x="13" y="10"/>
                    <a:pt x="13" y="10"/>
                    <a:pt x="14" y="10"/>
                  </a:cubicBezTo>
                  <a:cubicBezTo>
                    <a:pt x="14" y="10"/>
                    <a:pt x="14" y="10"/>
                    <a:pt x="14" y="10"/>
                  </a:cubicBezTo>
                  <a:cubicBezTo>
                    <a:pt x="18" y="13"/>
                    <a:pt x="13" y="17"/>
                    <a:pt x="7" y="18"/>
                  </a:cubicBezTo>
                  <a:cubicBezTo>
                    <a:pt x="3" y="19"/>
                    <a:pt x="3" y="19"/>
                    <a:pt x="1" y="23"/>
                  </a:cubicBezTo>
                  <a:cubicBezTo>
                    <a:pt x="11" y="21"/>
                    <a:pt x="11" y="28"/>
                    <a:pt x="10" y="30"/>
                  </a:cubicBezTo>
                  <a:cubicBezTo>
                    <a:pt x="7" y="35"/>
                    <a:pt x="2" y="36"/>
                    <a:pt x="0" y="36"/>
                  </a:cubicBezTo>
                  <a:close/>
                  <a:moveTo>
                    <a:pt x="26" y="13"/>
                  </a:moveTo>
                  <a:cubicBezTo>
                    <a:pt x="37" y="0"/>
                    <a:pt x="68" y="9"/>
                    <a:pt x="76" y="19"/>
                  </a:cubicBezTo>
                  <a:cubicBezTo>
                    <a:pt x="83" y="28"/>
                    <a:pt x="75" y="38"/>
                    <a:pt x="58" y="40"/>
                  </a:cubicBezTo>
                  <a:cubicBezTo>
                    <a:pt x="34" y="42"/>
                    <a:pt x="14" y="26"/>
                    <a:pt x="26" y="1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111">
              <a:extLst>
                <a:ext uri="{FF2B5EF4-FFF2-40B4-BE49-F238E27FC236}">
                  <a16:creationId xmlns:a16="http://schemas.microsoft.com/office/drawing/2014/main" id="{1DAC35B7-7646-5244-9513-0EB538E7777B}"/>
                </a:ext>
              </a:extLst>
            </p:cNvPr>
            <p:cNvSpPr>
              <a:spLocks noEditPoints="1"/>
            </p:cNvSpPr>
            <p:nvPr/>
          </p:nvSpPr>
          <p:spPr bwMode="auto">
            <a:xfrm>
              <a:off x="8142288" y="3835401"/>
              <a:ext cx="303213" cy="293688"/>
            </a:xfrm>
            <a:custGeom>
              <a:avLst/>
              <a:gdLst>
                <a:gd name="T0" fmla="*/ 53 w 118"/>
                <a:gd name="T1" fmla="*/ 103 h 114"/>
                <a:gd name="T2" fmla="*/ 54 w 118"/>
                <a:gd name="T3" fmla="*/ 113 h 114"/>
                <a:gd name="T4" fmla="*/ 63 w 118"/>
                <a:gd name="T5" fmla="*/ 113 h 114"/>
                <a:gd name="T6" fmla="*/ 79 w 118"/>
                <a:gd name="T7" fmla="*/ 101 h 114"/>
                <a:gd name="T8" fmla="*/ 84 w 118"/>
                <a:gd name="T9" fmla="*/ 110 h 114"/>
                <a:gd name="T10" fmla="*/ 92 w 118"/>
                <a:gd name="T11" fmla="*/ 106 h 114"/>
                <a:gd name="T12" fmla="*/ 99 w 118"/>
                <a:gd name="T13" fmla="*/ 87 h 114"/>
                <a:gd name="T14" fmla="*/ 107 w 118"/>
                <a:gd name="T15" fmla="*/ 92 h 114"/>
                <a:gd name="T16" fmla="*/ 112 w 118"/>
                <a:gd name="T17" fmla="*/ 84 h 114"/>
                <a:gd name="T18" fmla="*/ 108 w 118"/>
                <a:gd name="T19" fmla="*/ 64 h 114"/>
                <a:gd name="T20" fmla="*/ 117 w 118"/>
                <a:gd name="T21" fmla="*/ 64 h 114"/>
                <a:gd name="T22" fmla="*/ 117 w 118"/>
                <a:gd name="T23" fmla="*/ 56 h 114"/>
                <a:gd name="T24" fmla="*/ 117 w 118"/>
                <a:gd name="T25" fmla="*/ 54 h 114"/>
                <a:gd name="T26" fmla="*/ 105 w 118"/>
                <a:gd name="T27" fmla="*/ 37 h 114"/>
                <a:gd name="T28" fmla="*/ 111 w 118"/>
                <a:gd name="T29" fmla="*/ 34 h 114"/>
                <a:gd name="T30" fmla="*/ 105 w 118"/>
                <a:gd name="T31" fmla="*/ 26 h 114"/>
                <a:gd name="T32" fmla="*/ 87 w 118"/>
                <a:gd name="T33" fmla="*/ 17 h 114"/>
                <a:gd name="T34" fmla="*/ 90 w 118"/>
                <a:gd name="T35" fmla="*/ 11 h 114"/>
                <a:gd name="T36" fmla="*/ 82 w 118"/>
                <a:gd name="T37" fmla="*/ 6 h 114"/>
                <a:gd name="T38" fmla="*/ 64 w 118"/>
                <a:gd name="T39" fmla="*/ 8 h 114"/>
                <a:gd name="T40" fmla="*/ 62 w 118"/>
                <a:gd name="T41" fmla="*/ 1 h 114"/>
                <a:gd name="T42" fmla="*/ 54 w 118"/>
                <a:gd name="T43" fmla="*/ 0 h 114"/>
                <a:gd name="T44" fmla="*/ 54 w 118"/>
                <a:gd name="T45" fmla="*/ 1 h 114"/>
                <a:gd name="T46" fmla="*/ 51 w 118"/>
                <a:gd name="T47" fmla="*/ 10 h 114"/>
                <a:gd name="T48" fmla="*/ 51 w 118"/>
                <a:gd name="T49" fmla="*/ 10 h 114"/>
                <a:gd name="T50" fmla="*/ 35 w 118"/>
                <a:gd name="T51" fmla="*/ 3 h 114"/>
                <a:gd name="T52" fmla="*/ 27 w 118"/>
                <a:gd name="T53" fmla="*/ 7 h 114"/>
                <a:gd name="T54" fmla="*/ 21 w 118"/>
                <a:gd name="T55" fmla="*/ 23 h 114"/>
                <a:gd name="T56" fmla="*/ 12 w 118"/>
                <a:gd name="T57" fmla="*/ 20 h 114"/>
                <a:gd name="T58" fmla="*/ 7 w 118"/>
                <a:gd name="T59" fmla="*/ 27 h 114"/>
                <a:gd name="T60" fmla="*/ 12 w 118"/>
                <a:gd name="T61" fmla="*/ 29 h 114"/>
                <a:gd name="T62" fmla="*/ 12 w 118"/>
                <a:gd name="T63" fmla="*/ 29 h 114"/>
                <a:gd name="T64" fmla="*/ 5 w 118"/>
                <a:gd name="T65" fmla="*/ 46 h 114"/>
                <a:gd name="T66" fmla="*/ 1 w 118"/>
                <a:gd name="T67" fmla="*/ 46 h 114"/>
                <a:gd name="T68" fmla="*/ 0 w 118"/>
                <a:gd name="T69" fmla="*/ 55 h 114"/>
                <a:gd name="T70" fmla="*/ 13 w 118"/>
                <a:gd name="T71" fmla="*/ 70 h 114"/>
                <a:gd name="T72" fmla="*/ 5 w 118"/>
                <a:gd name="T73" fmla="*/ 76 h 114"/>
                <a:gd name="T74" fmla="*/ 10 w 118"/>
                <a:gd name="T75" fmla="*/ 85 h 114"/>
                <a:gd name="T76" fmla="*/ 29 w 118"/>
                <a:gd name="T77" fmla="*/ 91 h 114"/>
                <a:gd name="T78" fmla="*/ 25 w 118"/>
                <a:gd name="T79" fmla="*/ 101 h 114"/>
                <a:gd name="T80" fmla="*/ 34 w 118"/>
                <a:gd name="T81" fmla="*/ 106 h 114"/>
                <a:gd name="T82" fmla="*/ 53 w 118"/>
                <a:gd name="T83" fmla="*/ 103 h 114"/>
                <a:gd name="T84" fmla="*/ 35 w 118"/>
                <a:gd name="T85" fmla="*/ 34 h 114"/>
                <a:gd name="T86" fmla="*/ 92 w 118"/>
                <a:gd name="T87" fmla="*/ 54 h 114"/>
                <a:gd name="T88" fmla="*/ 65 w 118"/>
                <a:gd name="T89" fmla="*/ 85 h 114"/>
                <a:gd name="T90" fmla="*/ 35 w 118"/>
                <a:gd name="T91" fmla="*/ 3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8" h="114">
                  <a:moveTo>
                    <a:pt x="53" y="103"/>
                  </a:moveTo>
                  <a:cubicBezTo>
                    <a:pt x="55" y="105"/>
                    <a:pt x="56" y="108"/>
                    <a:pt x="54" y="113"/>
                  </a:cubicBezTo>
                  <a:cubicBezTo>
                    <a:pt x="57" y="114"/>
                    <a:pt x="59" y="114"/>
                    <a:pt x="63" y="113"/>
                  </a:cubicBezTo>
                  <a:cubicBezTo>
                    <a:pt x="61" y="102"/>
                    <a:pt x="72" y="96"/>
                    <a:pt x="79" y="101"/>
                  </a:cubicBezTo>
                  <a:cubicBezTo>
                    <a:pt x="80" y="101"/>
                    <a:pt x="83" y="104"/>
                    <a:pt x="84" y="110"/>
                  </a:cubicBezTo>
                  <a:cubicBezTo>
                    <a:pt x="87" y="108"/>
                    <a:pt x="89" y="107"/>
                    <a:pt x="92" y="106"/>
                  </a:cubicBezTo>
                  <a:cubicBezTo>
                    <a:pt x="85" y="98"/>
                    <a:pt x="90" y="86"/>
                    <a:pt x="99" y="87"/>
                  </a:cubicBezTo>
                  <a:cubicBezTo>
                    <a:pt x="102" y="87"/>
                    <a:pt x="105" y="88"/>
                    <a:pt x="107" y="92"/>
                  </a:cubicBezTo>
                  <a:cubicBezTo>
                    <a:pt x="109" y="89"/>
                    <a:pt x="110" y="87"/>
                    <a:pt x="112" y="84"/>
                  </a:cubicBezTo>
                  <a:cubicBezTo>
                    <a:pt x="104" y="83"/>
                    <a:pt x="100" y="69"/>
                    <a:pt x="108" y="64"/>
                  </a:cubicBezTo>
                  <a:cubicBezTo>
                    <a:pt x="110" y="63"/>
                    <a:pt x="114" y="62"/>
                    <a:pt x="117" y="64"/>
                  </a:cubicBezTo>
                  <a:cubicBezTo>
                    <a:pt x="117" y="62"/>
                    <a:pt x="118" y="59"/>
                    <a:pt x="117" y="56"/>
                  </a:cubicBezTo>
                  <a:cubicBezTo>
                    <a:pt x="117" y="54"/>
                    <a:pt x="117" y="54"/>
                    <a:pt x="117" y="54"/>
                  </a:cubicBezTo>
                  <a:cubicBezTo>
                    <a:pt x="107" y="56"/>
                    <a:pt x="101" y="43"/>
                    <a:pt x="105" y="37"/>
                  </a:cubicBezTo>
                  <a:cubicBezTo>
                    <a:pt x="107" y="34"/>
                    <a:pt x="110" y="34"/>
                    <a:pt x="111" y="34"/>
                  </a:cubicBezTo>
                  <a:cubicBezTo>
                    <a:pt x="109" y="31"/>
                    <a:pt x="108" y="30"/>
                    <a:pt x="105" y="26"/>
                  </a:cubicBezTo>
                  <a:cubicBezTo>
                    <a:pt x="99" y="33"/>
                    <a:pt x="88" y="25"/>
                    <a:pt x="87" y="17"/>
                  </a:cubicBezTo>
                  <a:cubicBezTo>
                    <a:pt x="87" y="14"/>
                    <a:pt x="89" y="12"/>
                    <a:pt x="90" y="11"/>
                  </a:cubicBezTo>
                  <a:cubicBezTo>
                    <a:pt x="86" y="9"/>
                    <a:pt x="85" y="8"/>
                    <a:pt x="82" y="6"/>
                  </a:cubicBezTo>
                  <a:cubicBezTo>
                    <a:pt x="81" y="17"/>
                    <a:pt x="68" y="13"/>
                    <a:pt x="64" y="8"/>
                  </a:cubicBezTo>
                  <a:cubicBezTo>
                    <a:pt x="63" y="7"/>
                    <a:pt x="62" y="4"/>
                    <a:pt x="62" y="1"/>
                  </a:cubicBezTo>
                  <a:cubicBezTo>
                    <a:pt x="58" y="0"/>
                    <a:pt x="57" y="0"/>
                    <a:pt x="54" y="0"/>
                  </a:cubicBezTo>
                  <a:cubicBezTo>
                    <a:pt x="54" y="1"/>
                    <a:pt x="54" y="1"/>
                    <a:pt x="54" y="1"/>
                  </a:cubicBezTo>
                  <a:cubicBezTo>
                    <a:pt x="56" y="6"/>
                    <a:pt x="52" y="9"/>
                    <a:pt x="51" y="10"/>
                  </a:cubicBezTo>
                  <a:cubicBezTo>
                    <a:pt x="51" y="10"/>
                    <a:pt x="51" y="10"/>
                    <a:pt x="51" y="10"/>
                  </a:cubicBezTo>
                  <a:cubicBezTo>
                    <a:pt x="46" y="12"/>
                    <a:pt x="37" y="11"/>
                    <a:pt x="35" y="3"/>
                  </a:cubicBezTo>
                  <a:cubicBezTo>
                    <a:pt x="32" y="4"/>
                    <a:pt x="31" y="5"/>
                    <a:pt x="27" y="7"/>
                  </a:cubicBezTo>
                  <a:cubicBezTo>
                    <a:pt x="36" y="14"/>
                    <a:pt x="27" y="22"/>
                    <a:pt x="21" y="23"/>
                  </a:cubicBezTo>
                  <a:cubicBezTo>
                    <a:pt x="18" y="24"/>
                    <a:pt x="15" y="23"/>
                    <a:pt x="12" y="20"/>
                  </a:cubicBezTo>
                  <a:cubicBezTo>
                    <a:pt x="11" y="22"/>
                    <a:pt x="10" y="23"/>
                    <a:pt x="7" y="27"/>
                  </a:cubicBezTo>
                  <a:cubicBezTo>
                    <a:pt x="9" y="27"/>
                    <a:pt x="10" y="27"/>
                    <a:pt x="12" y="29"/>
                  </a:cubicBezTo>
                  <a:cubicBezTo>
                    <a:pt x="12" y="29"/>
                    <a:pt x="12" y="29"/>
                    <a:pt x="12" y="29"/>
                  </a:cubicBezTo>
                  <a:cubicBezTo>
                    <a:pt x="19" y="35"/>
                    <a:pt x="15" y="46"/>
                    <a:pt x="5" y="46"/>
                  </a:cubicBezTo>
                  <a:cubicBezTo>
                    <a:pt x="3" y="46"/>
                    <a:pt x="2" y="46"/>
                    <a:pt x="1" y="46"/>
                  </a:cubicBezTo>
                  <a:cubicBezTo>
                    <a:pt x="0" y="50"/>
                    <a:pt x="0" y="52"/>
                    <a:pt x="0" y="55"/>
                  </a:cubicBezTo>
                  <a:cubicBezTo>
                    <a:pt x="11" y="52"/>
                    <a:pt x="18" y="62"/>
                    <a:pt x="13" y="70"/>
                  </a:cubicBezTo>
                  <a:cubicBezTo>
                    <a:pt x="11" y="74"/>
                    <a:pt x="8" y="75"/>
                    <a:pt x="5" y="76"/>
                  </a:cubicBezTo>
                  <a:cubicBezTo>
                    <a:pt x="7" y="80"/>
                    <a:pt x="8" y="82"/>
                    <a:pt x="10" y="85"/>
                  </a:cubicBezTo>
                  <a:cubicBezTo>
                    <a:pt x="17" y="76"/>
                    <a:pt x="29" y="83"/>
                    <a:pt x="29" y="91"/>
                  </a:cubicBezTo>
                  <a:cubicBezTo>
                    <a:pt x="29" y="93"/>
                    <a:pt x="29" y="97"/>
                    <a:pt x="25" y="101"/>
                  </a:cubicBezTo>
                  <a:cubicBezTo>
                    <a:pt x="28" y="103"/>
                    <a:pt x="30" y="104"/>
                    <a:pt x="34" y="106"/>
                  </a:cubicBezTo>
                  <a:cubicBezTo>
                    <a:pt x="36" y="95"/>
                    <a:pt x="49" y="96"/>
                    <a:pt x="53" y="103"/>
                  </a:cubicBezTo>
                  <a:close/>
                  <a:moveTo>
                    <a:pt x="35" y="34"/>
                  </a:moveTo>
                  <a:cubicBezTo>
                    <a:pt x="52" y="13"/>
                    <a:pt x="89" y="26"/>
                    <a:pt x="92" y="54"/>
                  </a:cubicBezTo>
                  <a:cubicBezTo>
                    <a:pt x="93" y="67"/>
                    <a:pt x="83" y="83"/>
                    <a:pt x="65" y="85"/>
                  </a:cubicBezTo>
                  <a:cubicBezTo>
                    <a:pt x="39" y="87"/>
                    <a:pt x="16" y="56"/>
                    <a:pt x="35" y="3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112">
              <a:extLst>
                <a:ext uri="{FF2B5EF4-FFF2-40B4-BE49-F238E27FC236}">
                  <a16:creationId xmlns:a16="http://schemas.microsoft.com/office/drawing/2014/main" id="{23771FE6-AF99-E94E-9FD5-9021E9393DAD}"/>
                </a:ext>
              </a:extLst>
            </p:cNvPr>
            <p:cNvSpPr>
              <a:spLocks noEditPoints="1"/>
            </p:cNvSpPr>
            <p:nvPr/>
          </p:nvSpPr>
          <p:spPr bwMode="auto">
            <a:xfrm>
              <a:off x="7981950" y="4483101"/>
              <a:ext cx="255588" cy="123825"/>
            </a:xfrm>
            <a:custGeom>
              <a:avLst/>
              <a:gdLst>
                <a:gd name="T0" fmla="*/ 99 w 99"/>
                <a:gd name="T1" fmla="*/ 47 h 48"/>
                <a:gd name="T2" fmla="*/ 96 w 99"/>
                <a:gd name="T3" fmla="*/ 46 h 48"/>
                <a:gd name="T4" fmla="*/ 84 w 99"/>
                <a:gd name="T5" fmla="*/ 42 h 48"/>
                <a:gd name="T6" fmla="*/ 90 w 99"/>
                <a:gd name="T7" fmla="*/ 43 h 48"/>
                <a:gd name="T8" fmla="*/ 76 w 99"/>
                <a:gd name="T9" fmla="*/ 36 h 48"/>
                <a:gd name="T10" fmla="*/ 73 w 99"/>
                <a:gd name="T11" fmla="*/ 33 h 48"/>
                <a:gd name="T12" fmla="*/ 75 w 99"/>
                <a:gd name="T13" fmla="*/ 33 h 48"/>
                <a:gd name="T14" fmla="*/ 71 w 99"/>
                <a:gd name="T15" fmla="*/ 29 h 48"/>
                <a:gd name="T16" fmla="*/ 70 w 99"/>
                <a:gd name="T17" fmla="*/ 28 h 48"/>
                <a:gd name="T18" fmla="*/ 55 w 99"/>
                <a:gd name="T19" fmla="*/ 19 h 48"/>
                <a:gd name="T20" fmla="*/ 56 w 99"/>
                <a:gd name="T21" fmla="*/ 18 h 48"/>
                <a:gd name="T22" fmla="*/ 50 w 99"/>
                <a:gd name="T23" fmla="*/ 13 h 48"/>
                <a:gd name="T24" fmla="*/ 37 w 99"/>
                <a:gd name="T25" fmla="*/ 12 h 48"/>
                <a:gd name="T26" fmla="*/ 33 w 99"/>
                <a:gd name="T27" fmla="*/ 5 h 48"/>
                <a:gd name="T28" fmla="*/ 26 w 99"/>
                <a:gd name="T29" fmla="*/ 2 h 48"/>
                <a:gd name="T30" fmla="*/ 23 w 99"/>
                <a:gd name="T31" fmla="*/ 8 h 48"/>
                <a:gd name="T32" fmla="*/ 12 w 99"/>
                <a:gd name="T33" fmla="*/ 0 h 48"/>
                <a:gd name="T34" fmla="*/ 7 w 99"/>
                <a:gd name="T35" fmla="*/ 1 h 48"/>
                <a:gd name="T36" fmla="*/ 7 w 99"/>
                <a:gd name="T37" fmla="*/ 1 h 48"/>
                <a:gd name="T38" fmla="*/ 13 w 99"/>
                <a:gd name="T39" fmla="*/ 8 h 48"/>
                <a:gd name="T40" fmla="*/ 13 w 99"/>
                <a:gd name="T41" fmla="*/ 9 h 48"/>
                <a:gd name="T42" fmla="*/ 1 w 99"/>
                <a:gd name="T43" fmla="*/ 5 h 48"/>
                <a:gd name="T44" fmla="*/ 0 w 99"/>
                <a:gd name="T45" fmla="*/ 9 h 48"/>
                <a:gd name="T46" fmla="*/ 12 w 99"/>
                <a:gd name="T47" fmla="*/ 21 h 48"/>
                <a:gd name="T48" fmla="*/ 6 w 99"/>
                <a:gd name="T49" fmla="*/ 19 h 48"/>
                <a:gd name="T50" fmla="*/ 14 w 99"/>
                <a:gd name="T51" fmla="*/ 24 h 48"/>
                <a:gd name="T52" fmla="*/ 14 w 99"/>
                <a:gd name="T53" fmla="*/ 24 h 48"/>
                <a:gd name="T54" fmla="*/ 29 w 99"/>
                <a:gd name="T55" fmla="*/ 33 h 48"/>
                <a:gd name="T56" fmla="*/ 27 w 99"/>
                <a:gd name="T57" fmla="*/ 33 h 48"/>
                <a:gd name="T58" fmla="*/ 35 w 99"/>
                <a:gd name="T59" fmla="*/ 37 h 48"/>
                <a:gd name="T60" fmla="*/ 54 w 99"/>
                <a:gd name="T61" fmla="*/ 42 h 48"/>
                <a:gd name="T62" fmla="*/ 64 w 99"/>
                <a:gd name="T63" fmla="*/ 45 h 48"/>
                <a:gd name="T64" fmla="*/ 62 w 99"/>
                <a:gd name="T65" fmla="*/ 44 h 48"/>
                <a:gd name="T66" fmla="*/ 80 w 99"/>
                <a:gd name="T67" fmla="*/ 47 h 48"/>
                <a:gd name="T68" fmla="*/ 88 w 99"/>
                <a:gd name="T69" fmla="*/ 48 h 48"/>
                <a:gd name="T70" fmla="*/ 82 w 99"/>
                <a:gd name="T71" fmla="*/ 46 h 48"/>
                <a:gd name="T72" fmla="*/ 91 w 99"/>
                <a:gd name="T73" fmla="*/ 47 h 48"/>
                <a:gd name="T74" fmla="*/ 99 w 99"/>
                <a:gd name="T75" fmla="*/ 48 h 48"/>
                <a:gd name="T76" fmla="*/ 89 w 99"/>
                <a:gd name="T77" fmla="*/ 46 h 48"/>
                <a:gd name="T78" fmla="*/ 99 w 99"/>
                <a:gd name="T79" fmla="*/ 47 h 48"/>
                <a:gd name="T80" fmla="*/ 76 w 99"/>
                <a:gd name="T81" fmla="*/ 43 h 48"/>
                <a:gd name="T82" fmla="*/ 24 w 99"/>
                <a:gd name="T83" fmla="*/ 19 h 48"/>
                <a:gd name="T84" fmla="*/ 60 w 99"/>
                <a:gd name="T85" fmla="*/ 30 h 48"/>
                <a:gd name="T86" fmla="*/ 76 w 99"/>
                <a:gd name="T87" fmla="*/ 4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9" h="48">
                  <a:moveTo>
                    <a:pt x="99" y="47"/>
                  </a:moveTo>
                  <a:cubicBezTo>
                    <a:pt x="97" y="46"/>
                    <a:pt x="97" y="46"/>
                    <a:pt x="96" y="46"/>
                  </a:cubicBezTo>
                  <a:cubicBezTo>
                    <a:pt x="96" y="46"/>
                    <a:pt x="85" y="44"/>
                    <a:pt x="84" y="42"/>
                  </a:cubicBezTo>
                  <a:cubicBezTo>
                    <a:pt x="85" y="42"/>
                    <a:pt x="86" y="42"/>
                    <a:pt x="90" y="43"/>
                  </a:cubicBezTo>
                  <a:cubicBezTo>
                    <a:pt x="85" y="40"/>
                    <a:pt x="80" y="39"/>
                    <a:pt x="76" y="36"/>
                  </a:cubicBezTo>
                  <a:cubicBezTo>
                    <a:pt x="73" y="35"/>
                    <a:pt x="72" y="33"/>
                    <a:pt x="73" y="33"/>
                  </a:cubicBezTo>
                  <a:cubicBezTo>
                    <a:pt x="74" y="32"/>
                    <a:pt x="75" y="33"/>
                    <a:pt x="75" y="33"/>
                  </a:cubicBezTo>
                  <a:cubicBezTo>
                    <a:pt x="75" y="32"/>
                    <a:pt x="75" y="32"/>
                    <a:pt x="71" y="29"/>
                  </a:cubicBezTo>
                  <a:cubicBezTo>
                    <a:pt x="70" y="28"/>
                    <a:pt x="70" y="28"/>
                    <a:pt x="70" y="28"/>
                  </a:cubicBezTo>
                  <a:cubicBezTo>
                    <a:pt x="65" y="31"/>
                    <a:pt x="54" y="22"/>
                    <a:pt x="55" y="19"/>
                  </a:cubicBezTo>
                  <a:cubicBezTo>
                    <a:pt x="56" y="18"/>
                    <a:pt x="56" y="18"/>
                    <a:pt x="56" y="18"/>
                  </a:cubicBezTo>
                  <a:cubicBezTo>
                    <a:pt x="56" y="17"/>
                    <a:pt x="56" y="17"/>
                    <a:pt x="50" y="13"/>
                  </a:cubicBezTo>
                  <a:cubicBezTo>
                    <a:pt x="50" y="18"/>
                    <a:pt x="42" y="16"/>
                    <a:pt x="37" y="12"/>
                  </a:cubicBezTo>
                  <a:cubicBezTo>
                    <a:pt x="33" y="8"/>
                    <a:pt x="33" y="6"/>
                    <a:pt x="33" y="5"/>
                  </a:cubicBezTo>
                  <a:cubicBezTo>
                    <a:pt x="29" y="3"/>
                    <a:pt x="28" y="3"/>
                    <a:pt x="26" y="2"/>
                  </a:cubicBezTo>
                  <a:cubicBezTo>
                    <a:pt x="31" y="10"/>
                    <a:pt x="25" y="9"/>
                    <a:pt x="23" y="8"/>
                  </a:cubicBezTo>
                  <a:cubicBezTo>
                    <a:pt x="21" y="8"/>
                    <a:pt x="15" y="5"/>
                    <a:pt x="12" y="0"/>
                  </a:cubicBezTo>
                  <a:cubicBezTo>
                    <a:pt x="10" y="0"/>
                    <a:pt x="8" y="0"/>
                    <a:pt x="7" y="1"/>
                  </a:cubicBezTo>
                  <a:cubicBezTo>
                    <a:pt x="7" y="1"/>
                    <a:pt x="7" y="1"/>
                    <a:pt x="7" y="1"/>
                  </a:cubicBezTo>
                  <a:cubicBezTo>
                    <a:pt x="9" y="3"/>
                    <a:pt x="12" y="6"/>
                    <a:pt x="13" y="8"/>
                  </a:cubicBezTo>
                  <a:cubicBezTo>
                    <a:pt x="13" y="9"/>
                    <a:pt x="13" y="9"/>
                    <a:pt x="13" y="9"/>
                  </a:cubicBezTo>
                  <a:cubicBezTo>
                    <a:pt x="13" y="12"/>
                    <a:pt x="7" y="11"/>
                    <a:pt x="1" y="5"/>
                  </a:cubicBezTo>
                  <a:cubicBezTo>
                    <a:pt x="0" y="7"/>
                    <a:pt x="0" y="7"/>
                    <a:pt x="0" y="9"/>
                  </a:cubicBezTo>
                  <a:cubicBezTo>
                    <a:pt x="10" y="14"/>
                    <a:pt x="14" y="20"/>
                    <a:pt x="12" y="21"/>
                  </a:cubicBezTo>
                  <a:cubicBezTo>
                    <a:pt x="11" y="21"/>
                    <a:pt x="8" y="20"/>
                    <a:pt x="6" y="19"/>
                  </a:cubicBezTo>
                  <a:cubicBezTo>
                    <a:pt x="10" y="23"/>
                    <a:pt x="10" y="23"/>
                    <a:pt x="14" y="24"/>
                  </a:cubicBezTo>
                  <a:cubicBezTo>
                    <a:pt x="14" y="24"/>
                    <a:pt x="14" y="24"/>
                    <a:pt x="14" y="24"/>
                  </a:cubicBezTo>
                  <a:cubicBezTo>
                    <a:pt x="17" y="25"/>
                    <a:pt x="28" y="30"/>
                    <a:pt x="29" y="33"/>
                  </a:cubicBezTo>
                  <a:cubicBezTo>
                    <a:pt x="28" y="33"/>
                    <a:pt x="28" y="33"/>
                    <a:pt x="27" y="33"/>
                  </a:cubicBezTo>
                  <a:cubicBezTo>
                    <a:pt x="28" y="34"/>
                    <a:pt x="33" y="36"/>
                    <a:pt x="35" y="37"/>
                  </a:cubicBezTo>
                  <a:cubicBezTo>
                    <a:pt x="37" y="35"/>
                    <a:pt x="54" y="42"/>
                    <a:pt x="54" y="42"/>
                  </a:cubicBezTo>
                  <a:cubicBezTo>
                    <a:pt x="55" y="43"/>
                    <a:pt x="55" y="43"/>
                    <a:pt x="64" y="45"/>
                  </a:cubicBezTo>
                  <a:cubicBezTo>
                    <a:pt x="63" y="44"/>
                    <a:pt x="63" y="44"/>
                    <a:pt x="62" y="44"/>
                  </a:cubicBezTo>
                  <a:cubicBezTo>
                    <a:pt x="63" y="43"/>
                    <a:pt x="77" y="46"/>
                    <a:pt x="80" y="47"/>
                  </a:cubicBezTo>
                  <a:cubicBezTo>
                    <a:pt x="82" y="47"/>
                    <a:pt x="82" y="47"/>
                    <a:pt x="88" y="48"/>
                  </a:cubicBezTo>
                  <a:cubicBezTo>
                    <a:pt x="84" y="47"/>
                    <a:pt x="83" y="47"/>
                    <a:pt x="82" y="46"/>
                  </a:cubicBezTo>
                  <a:cubicBezTo>
                    <a:pt x="83" y="46"/>
                    <a:pt x="83" y="46"/>
                    <a:pt x="91" y="47"/>
                  </a:cubicBezTo>
                  <a:cubicBezTo>
                    <a:pt x="98" y="48"/>
                    <a:pt x="98" y="48"/>
                    <a:pt x="99" y="48"/>
                  </a:cubicBezTo>
                  <a:cubicBezTo>
                    <a:pt x="96" y="47"/>
                    <a:pt x="92" y="47"/>
                    <a:pt x="89" y="46"/>
                  </a:cubicBezTo>
                  <a:cubicBezTo>
                    <a:pt x="90" y="45"/>
                    <a:pt x="90" y="45"/>
                    <a:pt x="99" y="47"/>
                  </a:cubicBezTo>
                  <a:close/>
                  <a:moveTo>
                    <a:pt x="76" y="43"/>
                  </a:moveTo>
                  <a:cubicBezTo>
                    <a:pt x="65" y="46"/>
                    <a:pt x="18" y="29"/>
                    <a:pt x="24" y="19"/>
                  </a:cubicBezTo>
                  <a:cubicBezTo>
                    <a:pt x="25" y="15"/>
                    <a:pt x="37" y="15"/>
                    <a:pt x="60" y="30"/>
                  </a:cubicBezTo>
                  <a:cubicBezTo>
                    <a:pt x="78" y="41"/>
                    <a:pt x="77" y="42"/>
                    <a:pt x="76" y="4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113">
              <a:extLst>
                <a:ext uri="{FF2B5EF4-FFF2-40B4-BE49-F238E27FC236}">
                  <a16:creationId xmlns:a16="http://schemas.microsoft.com/office/drawing/2014/main" id="{6E9411F4-45DE-0D4E-BB21-EEDE891C0AA2}"/>
                </a:ext>
              </a:extLst>
            </p:cNvPr>
            <p:cNvSpPr>
              <a:spLocks noEditPoints="1"/>
            </p:cNvSpPr>
            <p:nvPr/>
          </p:nvSpPr>
          <p:spPr bwMode="auto">
            <a:xfrm>
              <a:off x="7881938" y="4054476"/>
              <a:ext cx="360363" cy="379413"/>
            </a:xfrm>
            <a:custGeom>
              <a:avLst/>
              <a:gdLst>
                <a:gd name="T0" fmla="*/ 125 w 140"/>
                <a:gd name="T1" fmla="*/ 56 h 147"/>
                <a:gd name="T2" fmla="*/ 134 w 140"/>
                <a:gd name="T3" fmla="*/ 49 h 147"/>
                <a:gd name="T4" fmla="*/ 129 w 140"/>
                <a:gd name="T5" fmla="*/ 37 h 147"/>
                <a:gd name="T6" fmla="*/ 105 w 140"/>
                <a:gd name="T7" fmla="*/ 27 h 147"/>
                <a:gd name="T8" fmla="*/ 111 w 140"/>
                <a:gd name="T9" fmla="*/ 16 h 147"/>
                <a:gd name="T10" fmla="*/ 101 w 140"/>
                <a:gd name="T11" fmla="*/ 9 h 147"/>
                <a:gd name="T12" fmla="*/ 74 w 140"/>
                <a:gd name="T13" fmla="*/ 13 h 147"/>
                <a:gd name="T14" fmla="*/ 74 w 140"/>
                <a:gd name="T15" fmla="*/ 1 h 147"/>
                <a:gd name="T16" fmla="*/ 62 w 140"/>
                <a:gd name="T17" fmla="*/ 1 h 147"/>
                <a:gd name="T18" fmla="*/ 62 w 140"/>
                <a:gd name="T19" fmla="*/ 1 h 147"/>
                <a:gd name="T20" fmla="*/ 56 w 140"/>
                <a:gd name="T21" fmla="*/ 17 h 147"/>
                <a:gd name="T22" fmla="*/ 35 w 140"/>
                <a:gd name="T23" fmla="*/ 8 h 147"/>
                <a:gd name="T24" fmla="*/ 25 w 140"/>
                <a:gd name="T25" fmla="*/ 15 h 147"/>
                <a:gd name="T26" fmla="*/ 16 w 140"/>
                <a:gd name="T27" fmla="*/ 41 h 147"/>
                <a:gd name="T28" fmla="*/ 7 w 140"/>
                <a:gd name="T29" fmla="*/ 36 h 147"/>
                <a:gd name="T30" fmla="*/ 3 w 140"/>
                <a:gd name="T31" fmla="*/ 47 h 147"/>
                <a:gd name="T32" fmla="*/ 8 w 140"/>
                <a:gd name="T33" fmla="*/ 50 h 147"/>
                <a:gd name="T34" fmla="*/ 8 w 140"/>
                <a:gd name="T35" fmla="*/ 50 h 147"/>
                <a:gd name="T36" fmla="*/ 4 w 140"/>
                <a:gd name="T37" fmla="*/ 75 h 147"/>
                <a:gd name="T38" fmla="*/ 0 w 140"/>
                <a:gd name="T39" fmla="*/ 75 h 147"/>
                <a:gd name="T40" fmla="*/ 3 w 140"/>
                <a:gd name="T41" fmla="*/ 87 h 147"/>
                <a:gd name="T42" fmla="*/ 20 w 140"/>
                <a:gd name="T43" fmla="*/ 106 h 147"/>
                <a:gd name="T44" fmla="*/ 16 w 140"/>
                <a:gd name="T45" fmla="*/ 111 h 147"/>
                <a:gd name="T46" fmla="*/ 23 w 140"/>
                <a:gd name="T47" fmla="*/ 121 h 147"/>
                <a:gd name="T48" fmla="*/ 43 w 140"/>
                <a:gd name="T49" fmla="*/ 126 h 147"/>
                <a:gd name="T50" fmla="*/ 44 w 140"/>
                <a:gd name="T51" fmla="*/ 136 h 147"/>
                <a:gd name="T52" fmla="*/ 54 w 140"/>
                <a:gd name="T53" fmla="*/ 141 h 147"/>
                <a:gd name="T54" fmla="*/ 68 w 140"/>
                <a:gd name="T55" fmla="*/ 134 h 147"/>
                <a:gd name="T56" fmla="*/ 76 w 140"/>
                <a:gd name="T57" fmla="*/ 147 h 147"/>
                <a:gd name="T58" fmla="*/ 86 w 140"/>
                <a:gd name="T59" fmla="*/ 147 h 147"/>
                <a:gd name="T60" fmla="*/ 93 w 140"/>
                <a:gd name="T61" fmla="*/ 131 h 147"/>
                <a:gd name="T62" fmla="*/ 104 w 140"/>
                <a:gd name="T63" fmla="*/ 141 h 147"/>
                <a:gd name="T64" fmla="*/ 112 w 140"/>
                <a:gd name="T65" fmla="*/ 137 h 147"/>
                <a:gd name="T66" fmla="*/ 115 w 140"/>
                <a:gd name="T67" fmla="*/ 116 h 147"/>
                <a:gd name="T68" fmla="*/ 126 w 140"/>
                <a:gd name="T69" fmla="*/ 121 h 147"/>
                <a:gd name="T70" fmla="*/ 131 w 140"/>
                <a:gd name="T71" fmla="*/ 112 h 147"/>
                <a:gd name="T72" fmla="*/ 126 w 140"/>
                <a:gd name="T73" fmla="*/ 89 h 147"/>
                <a:gd name="T74" fmla="*/ 139 w 140"/>
                <a:gd name="T75" fmla="*/ 88 h 147"/>
                <a:gd name="T76" fmla="*/ 140 w 140"/>
                <a:gd name="T77" fmla="*/ 77 h 147"/>
                <a:gd name="T78" fmla="*/ 140 w 140"/>
                <a:gd name="T79" fmla="*/ 76 h 147"/>
                <a:gd name="T80" fmla="*/ 125 w 140"/>
                <a:gd name="T81" fmla="*/ 56 h 147"/>
                <a:gd name="T82" fmla="*/ 80 w 140"/>
                <a:gd name="T83" fmla="*/ 116 h 147"/>
                <a:gd name="T84" fmla="*/ 35 w 140"/>
                <a:gd name="T85" fmla="*/ 55 h 147"/>
                <a:gd name="T86" fmla="*/ 105 w 140"/>
                <a:gd name="T87" fmla="*/ 69 h 147"/>
                <a:gd name="T88" fmla="*/ 106 w 140"/>
                <a:gd name="T89" fmla="*/ 77 h 147"/>
                <a:gd name="T90" fmla="*/ 80 w 140"/>
                <a:gd name="T91" fmla="*/ 11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0" h="147">
                  <a:moveTo>
                    <a:pt x="125" y="56"/>
                  </a:moveTo>
                  <a:cubicBezTo>
                    <a:pt x="126" y="54"/>
                    <a:pt x="129" y="50"/>
                    <a:pt x="134" y="49"/>
                  </a:cubicBezTo>
                  <a:cubicBezTo>
                    <a:pt x="135" y="47"/>
                    <a:pt x="135" y="47"/>
                    <a:pt x="129" y="37"/>
                  </a:cubicBezTo>
                  <a:cubicBezTo>
                    <a:pt x="121" y="47"/>
                    <a:pt x="106" y="41"/>
                    <a:pt x="105" y="27"/>
                  </a:cubicBezTo>
                  <a:cubicBezTo>
                    <a:pt x="105" y="21"/>
                    <a:pt x="109" y="18"/>
                    <a:pt x="111" y="16"/>
                  </a:cubicBezTo>
                  <a:cubicBezTo>
                    <a:pt x="106" y="12"/>
                    <a:pt x="104" y="11"/>
                    <a:pt x="101" y="9"/>
                  </a:cubicBezTo>
                  <a:cubicBezTo>
                    <a:pt x="95" y="28"/>
                    <a:pt x="78" y="20"/>
                    <a:pt x="74" y="13"/>
                  </a:cubicBezTo>
                  <a:cubicBezTo>
                    <a:pt x="72" y="9"/>
                    <a:pt x="72" y="5"/>
                    <a:pt x="74" y="1"/>
                  </a:cubicBezTo>
                  <a:cubicBezTo>
                    <a:pt x="68" y="0"/>
                    <a:pt x="66" y="0"/>
                    <a:pt x="62" y="1"/>
                  </a:cubicBezTo>
                  <a:cubicBezTo>
                    <a:pt x="62" y="1"/>
                    <a:pt x="62" y="1"/>
                    <a:pt x="62" y="1"/>
                  </a:cubicBezTo>
                  <a:cubicBezTo>
                    <a:pt x="63" y="10"/>
                    <a:pt x="58" y="17"/>
                    <a:pt x="56" y="17"/>
                  </a:cubicBezTo>
                  <a:cubicBezTo>
                    <a:pt x="50" y="21"/>
                    <a:pt x="37" y="22"/>
                    <a:pt x="35" y="8"/>
                  </a:cubicBezTo>
                  <a:cubicBezTo>
                    <a:pt x="32" y="10"/>
                    <a:pt x="29" y="11"/>
                    <a:pt x="25" y="15"/>
                  </a:cubicBezTo>
                  <a:cubicBezTo>
                    <a:pt x="36" y="27"/>
                    <a:pt x="23" y="41"/>
                    <a:pt x="16" y="41"/>
                  </a:cubicBezTo>
                  <a:cubicBezTo>
                    <a:pt x="14" y="41"/>
                    <a:pt x="11" y="41"/>
                    <a:pt x="7" y="36"/>
                  </a:cubicBezTo>
                  <a:cubicBezTo>
                    <a:pt x="5" y="40"/>
                    <a:pt x="5" y="42"/>
                    <a:pt x="3" y="47"/>
                  </a:cubicBezTo>
                  <a:cubicBezTo>
                    <a:pt x="5" y="48"/>
                    <a:pt x="6" y="48"/>
                    <a:pt x="8" y="50"/>
                  </a:cubicBezTo>
                  <a:cubicBezTo>
                    <a:pt x="8" y="50"/>
                    <a:pt x="8" y="50"/>
                    <a:pt x="8" y="50"/>
                  </a:cubicBezTo>
                  <a:cubicBezTo>
                    <a:pt x="17" y="58"/>
                    <a:pt x="15" y="75"/>
                    <a:pt x="4" y="75"/>
                  </a:cubicBezTo>
                  <a:cubicBezTo>
                    <a:pt x="2" y="75"/>
                    <a:pt x="1" y="75"/>
                    <a:pt x="0" y="75"/>
                  </a:cubicBezTo>
                  <a:cubicBezTo>
                    <a:pt x="1" y="80"/>
                    <a:pt x="2" y="83"/>
                    <a:pt x="3" y="87"/>
                  </a:cubicBezTo>
                  <a:cubicBezTo>
                    <a:pt x="12" y="82"/>
                    <a:pt x="23" y="95"/>
                    <a:pt x="20" y="106"/>
                  </a:cubicBezTo>
                  <a:cubicBezTo>
                    <a:pt x="20" y="109"/>
                    <a:pt x="17" y="110"/>
                    <a:pt x="16" y="111"/>
                  </a:cubicBezTo>
                  <a:cubicBezTo>
                    <a:pt x="16" y="112"/>
                    <a:pt x="16" y="113"/>
                    <a:pt x="23" y="121"/>
                  </a:cubicBezTo>
                  <a:cubicBezTo>
                    <a:pt x="27" y="111"/>
                    <a:pt x="40" y="117"/>
                    <a:pt x="43" y="126"/>
                  </a:cubicBezTo>
                  <a:cubicBezTo>
                    <a:pt x="46" y="131"/>
                    <a:pt x="45" y="135"/>
                    <a:pt x="44" y="136"/>
                  </a:cubicBezTo>
                  <a:cubicBezTo>
                    <a:pt x="46" y="137"/>
                    <a:pt x="46" y="138"/>
                    <a:pt x="54" y="141"/>
                  </a:cubicBezTo>
                  <a:cubicBezTo>
                    <a:pt x="52" y="130"/>
                    <a:pt x="63" y="131"/>
                    <a:pt x="68" y="134"/>
                  </a:cubicBezTo>
                  <a:cubicBezTo>
                    <a:pt x="70" y="135"/>
                    <a:pt x="76" y="139"/>
                    <a:pt x="76" y="147"/>
                  </a:cubicBezTo>
                  <a:cubicBezTo>
                    <a:pt x="80" y="147"/>
                    <a:pt x="81" y="147"/>
                    <a:pt x="86" y="147"/>
                  </a:cubicBezTo>
                  <a:cubicBezTo>
                    <a:pt x="80" y="137"/>
                    <a:pt x="86" y="130"/>
                    <a:pt x="93" y="131"/>
                  </a:cubicBezTo>
                  <a:cubicBezTo>
                    <a:pt x="95" y="132"/>
                    <a:pt x="101" y="133"/>
                    <a:pt x="104" y="141"/>
                  </a:cubicBezTo>
                  <a:cubicBezTo>
                    <a:pt x="107" y="140"/>
                    <a:pt x="109" y="138"/>
                    <a:pt x="112" y="137"/>
                  </a:cubicBezTo>
                  <a:cubicBezTo>
                    <a:pt x="103" y="129"/>
                    <a:pt x="106" y="117"/>
                    <a:pt x="115" y="116"/>
                  </a:cubicBezTo>
                  <a:cubicBezTo>
                    <a:pt x="119" y="115"/>
                    <a:pt x="123" y="117"/>
                    <a:pt x="126" y="121"/>
                  </a:cubicBezTo>
                  <a:cubicBezTo>
                    <a:pt x="128" y="118"/>
                    <a:pt x="129" y="115"/>
                    <a:pt x="131" y="112"/>
                  </a:cubicBezTo>
                  <a:cubicBezTo>
                    <a:pt x="122" y="111"/>
                    <a:pt x="117" y="96"/>
                    <a:pt x="126" y="89"/>
                  </a:cubicBezTo>
                  <a:cubicBezTo>
                    <a:pt x="126" y="89"/>
                    <a:pt x="132" y="85"/>
                    <a:pt x="139" y="88"/>
                  </a:cubicBezTo>
                  <a:cubicBezTo>
                    <a:pt x="139" y="86"/>
                    <a:pt x="139" y="82"/>
                    <a:pt x="140" y="77"/>
                  </a:cubicBezTo>
                  <a:cubicBezTo>
                    <a:pt x="140" y="76"/>
                    <a:pt x="140" y="76"/>
                    <a:pt x="140" y="76"/>
                  </a:cubicBezTo>
                  <a:cubicBezTo>
                    <a:pt x="126" y="79"/>
                    <a:pt x="120" y="64"/>
                    <a:pt x="125" y="56"/>
                  </a:cubicBezTo>
                  <a:close/>
                  <a:moveTo>
                    <a:pt x="80" y="116"/>
                  </a:moveTo>
                  <a:cubicBezTo>
                    <a:pt x="50" y="123"/>
                    <a:pt x="17" y="86"/>
                    <a:pt x="35" y="55"/>
                  </a:cubicBezTo>
                  <a:cubicBezTo>
                    <a:pt x="53" y="26"/>
                    <a:pt x="96" y="35"/>
                    <a:pt x="105" y="69"/>
                  </a:cubicBezTo>
                  <a:cubicBezTo>
                    <a:pt x="106" y="72"/>
                    <a:pt x="106" y="75"/>
                    <a:pt x="106" y="77"/>
                  </a:cubicBezTo>
                  <a:cubicBezTo>
                    <a:pt x="107" y="93"/>
                    <a:pt x="99" y="112"/>
                    <a:pt x="80" y="11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14">
              <a:extLst>
                <a:ext uri="{FF2B5EF4-FFF2-40B4-BE49-F238E27FC236}">
                  <a16:creationId xmlns:a16="http://schemas.microsoft.com/office/drawing/2014/main" id="{028950D5-2B4A-3841-955A-DCF8E4DD6BAF}"/>
                </a:ext>
              </a:extLst>
            </p:cNvPr>
            <p:cNvSpPr>
              <a:spLocks/>
            </p:cNvSpPr>
            <p:nvPr/>
          </p:nvSpPr>
          <p:spPr bwMode="auto">
            <a:xfrm>
              <a:off x="7974013" y="4181476"/>
              <a:ext cx="155575" cy="169863"/>
            </a:xfrm>
            <a:custGeom>
              <a:avLst/>
              <a:gdLst>
                <a:gd name="T0" fmla="*/ 25 w 60"/>
                <a:gd name="T1" fmla="*/ 3 h 66"/>
                <a:gd name="T2" fmla="*/ 18 w 60"/>
                <a:gd name="T3" fmla="*/ 49 h 66"/>
                <a:gd name="T4" fmla="*/ 58 w 60"/>
                <a:gd name="T5" fmla="*/ 29 h 66"/>
                <a:gd name="T6" fmla="*/ 25 w 60"/>
                <a:gd name="T7" fmla="*/ 3 h 66"/>
              </a:gdLst>
              <a:ahLst/>
              <a:cxnLst>
                <a:cxn ang="0">
                  <a:pos x="T0" y="T1"/>
                </a:cxn>
                <a:cxn ang="0">
                  <a:pos x="T2" y="T3"/>
                </a:cxn>
                <a:cxn ang="0">
                  <a:pos x="T4" y="T5"/>
                </a:cxn>
                <a:cxn ang="0">
                  <a:pos x="T6" y="T7"/>
                </a:cxn>
              </a:cxnLst>
              <a:rect l="0" t="0" r="r" b="b"/>
              <a:pathLst>
                <a:path w="60" h="66">
                  <a:moveTo>
                    <a:pt x="25" y="3"/>
                  </a:moveTo>
                  <a:cubicBezTo>
                    <a:pt x="4" y="8"/>
                    <a:pt x="0" y="35"/>
                    <a:pt x="18" y="49"/>
                  </a:cubicBezTo>
                  <a:cubicBezTo>
                    <a:pt x="39" y="66"/>
                    <a:pt x="60" y="48"/>
                    <a:pt x="58" y="29"/>
                  </a:cubicBezTo>
                  <a:cubicBezTo>
                    <a:pt x="56" y="14"/>
                    <a:pt x="44" y="0"/>
                    <a:pt x="25" y="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115">
              <a:extLst>
                <a:ext uri="{FF2B5EF4-FFF2-40B4-BE49-F238E27FC236}">
                  <a16:creationId xmlns:a16="http://schemas.microsoft.com/office/drawing/2014/main" id="{DD9B16C6-1EFC-0544-BDFA-9FA0F8EA4506}"/>
                </a:ext>
              </a:extLst>
            </p:cNvPr>
            <p:cNvSpPr>
              <a:spLocks noEditPoints="1"/>
            </p:cNvSpPr>
            <p:nvPr/>
          </p:nvSpPr>
          <p:spPr bwMode="auto">
            <a:xfrm>
              <a:off x="8253413" y="4078288"/>
              <a:ext cx="414338" cy="533400"/>
            </a:xfrm>
            <a:custGeom>
              <a:avLst/>
              <a:gdLst>
                <a:gd name="T0" fmla="*/ 157 w 161"/>
                <a:gd name="T1" fmla="*/ 31 h 207"/>
                <a:gd name="T2" fmla="*/ 136 w 161"/>
                <a:gd name="T3" fmla="*/ 38 h 207"/>
                <a:gd name="T4" fmla="*/ 133 w 161"/>
                <a:gd name="T5" fmla="*/ 5 h 207"/>
                <a:gd name="T6" fmla="*/ 118 w 161"/>
                <a:gd name="T7" fmla="*/ 0 h 207"/>
                <a:gd name="T8" fmla="*/ 118 w 161"/>
                <a:gd name="T9" fmla="*/ 2 h 207"/>
                <a:gd name="T10" fmla="*/ 109 w 161"/>
                <a:gd name="T11" fmla="*/ 26 h 207"/>
                <a:gd name="T12" fmla="*/ 108 w 161"/>
                <a:gd name="T13" fmla="*/ 26 h 207"/>
                <a:gd name="T14" fmla="*/ 80 w 161"/>
                <a:gd name="T15" fmla="*/ 3 h 207"/>
                <a:gd name="T16" fmla="*/ 61 w 161"/>
                <a:gd name="T17" fmla="*/ 11 h 207"/>
                <a:gd name="T18" fmla="*/ 42 w 161"/>
                <a:gd name="T19" fmla="*/ 53 h 207"/>
                <a:gd name="T20" fmla="*/ 26 w 161"/>
                <a:gd name="T21" fmla="*/ 42 h 207"/>
                <a:gd name="T22" fmla="*/ 14 w 161"/>
                <a:gd name="T23" fmla="*/ 60 h 207"/>
                <a:gd name="T24" fmla="*/ 24 w 161"/>
                <a:gd name="T25" fmla="*/ 65 h 207"/>
                <a:gd name="T26" fmla="*/ 24 w 161"/>
                <a:gd name="T27" fmla="*/ 66 h 207"/>
                <a:gd name="T28" fmla="*/ 6 w 161"/>
                <a:gd name="T29" fmla="*/ 105 h 207"/>
                <a:gd name="T30" fmla="*/ 0 w 161"/>
                <a:gd name="T31" fmla="*/ 104 h 207"/>
                <a:gd name="T32" fmla="*/ 0 w 161"/>
                <a:gd name="T33" fmla="*/ 123 h 207"/>
                <a:gd name="T34" fmla="*/ 17 w 161"/>
                <a:gd name="T35" fmla="*/ 152 h 207"/>
                <a:gd name="T36" fmla="*/ 6 w 161"/>
                <a:gd name="T37" fmla="*/ 159 h 207"/>
                <a:gd name="T38" fmla="*/ 6 w 161"/>
                <a:gd name="T39" fmla="*/ 159 h 207"/>
                <a:gd name="T40" fmla="*/ 6 w 161"/>
                <a:gd name="T41" fmla="*/ 159 h 207"/>
                <a:gd name="T42" fmla="*/ 6 w 161"/>
                <a:gd name="T43" fmla="*/ 159 h 207"/>
                <a:gd name="T44" fmla="*/ 6 w 161"/>
                <a:gd name="T45" fmla="*/ 159 h 207"/>
                <a:gd name="T46" fmla="*/ 6 w 161"/>
                <a:gd name="T47" fmla="*/ 159 h 207"/>
                <a:gd name="T48" fmla="*/ 6 w 161"/>
                <a:gd name="T49" fmla="*/ 159 h 207"/>
                <a:gd name="T50" fmla="*/ 6 w 161"/>
                <a:gd name="T51" fmla="*/ 159 h 207"/>
                <a:gd name="T52" fmla="*/ 6 w 161"/>
                <a:gd name="T53" fmla="*/ 159 h 207"/>
                <a:gd name="T54" fmla="*/ 10 w 161"/>
                <a:gd name="T55" fmla="*/ 172 h 207"/>
                <a:gd name="T56" fmla="*/ 25 w 161"/>
                <a:gd name="T57" fmla="*/ 175 h 207"/>
                <a:gd name="T58" fmla="*/ 17 w 161"/>
                <a:gd name="T59" fmla="*/ 193 h 207"/>
                <a:gd name="T60" fmla="*/ 17 w 161"/>
                <a:gd name="T61" fmla="*/ 199 h 207"/>
                <a:gd name="T62" fmla="*/ 28 w 161"/>
                <a:gd name="T63" fmla="*/ 193 h 207"/>
                <a:gd name="T64" fmla="*/ 11 w 161"/>
                <a:gd name="T65" fmla="*/ 207 h 207"/>
                <a:gd name="T66" fmla="*/ 33 w 161"/>
                <a:gd name="T67" fmla="*/ 197 h 207"/>
                <a:gd name="T68" fmla="*/ 16 w 161"/>
                <a:gd name="T69" fmla="*/ 206 h 207"/>
                <a:gd name="T70" fmla="*/ 41 w 161"/>
                <a:gd name="T71" fmla="*/ 196 h 207"/>
                <a:gd name="T72" fmla="*/ 60 w 161"/>
                <a:gd name="T73" fmla="*/ 188 h 207"/>
                <a:gd name="T74" fmla="*/ 51 w 161"/>
                <a:gd name="T75" fmla="*/ 194 h 207"/>
                <a:gd name="T76" fmla="*/ 68 w 161"/>
                <a:gd name="T77" fmla="*/ 186 h 207"/>
                <a:gd name="T78" fmla="*/ 106 w 161"/>
                <a:gd name="T79" fmla="*/ 160 h 207"/>
                <a:gd name="T80" fmla="*/ 106 w 161"/>
                <a:gd name="T81" fmla="*/ 161 h 207"/>
                <a:gd name="T82" fmla="*/ 105 w 161"/>
                <a:gd name="T83" fmla="*/ 164 h 207"/>
                <a:gd name="T84" fmla="*/ 119 w 161"/>
                <a:gd name="T85" fmla="*/ 151 h 207"/>
                <a:gd name="T86" fmla="*/ 120 w 161"/>
                <a:gd name="T87" fmla="*/ 150 h 207"/>
                <a:gd name="T88" fmla="*/ 120 w 161"/>
                <a:gd name="T89" fmla="*/ 149 h 207"/>
                <a:gd name="T90" fmla="*/ 148 w 161"/>
                <a:gd name="T91" fmla="*/ 110 h 207"/>
                <a:gd name="T92" fmla="*/ 148 w 161"/>
                <a:gd name="T93" fmla="*/ 110 h 207"/>
                <a:gd name="T94" fmla="*/ 148 w 161"/>
                <a:gd name="T95" fmla="*/ 110 h 207"/>
                <a:gd name="T96" fmla="*/ 148 w 161"/>
                <a:gd name="T97" fmla="*/ 110 h 207"/>
                <a:gd name="T98" fmla="*/ 148 w 161"/>
                <a:gd name="T99" fmla="*/ 110 h 207"/>
                <a:gd name="T100" fmla="*/ 156 w 161"/>
                <a:gd name="T101" fmla="*/ 90 h 207"/>
                <a:gd name="T102" fmla="*/ 152 w 161"/>
                <a:gd name="T103" fmla="*/ 94 h 207"/>
                <a:gd name="T104" fmla="*/ 161 w 161"/>
                <a:gd name="T105" fmla="*/ 48 h 207"/>
                <a:gd name="T106" fmla="*/ 157 w 161"/>
                <a:gd name="T107" fmla="*/ 31 h 207"/>
                <a:gd name="T108" fmla="*/ 131 w 161"/>
                <a:gd name="T109" fmla="*/ 97 h 207"/>
                <a:gd name="T110" fmla="*/ 112 w 161"/>
                <a:gd name="T111" fmla="*/ 139 h 207"/>
                <a:gd name="T112" fmla="*/ 51 w 161"/>
                <a:gd name="T113" fmla="*/ 180 h 207"/>
                <a:gd name="T114" fmla="*/ 75 w 161"/>
                <a:gd name="T115" fmla="*/ 73 h 207"/>
                <a:gd name="T116" fmla="*/ 131 w 161"/>
                <a:gd name="T117" fmla="*/ 9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1" h="207">
                  <a:moveTo>
                    <a:pt x="157" y="31"/>
                  </a:moveTo>
                  <a:cubicBezTo>
                    <a:pt x="149" y="58"/>
                    <a:pt x="136" y="38"/>
                    <a:pt x="136" y="38"/>
                  </a:cubicBezTo>
                  <a:cubicBezTo>
                    <a:pt x="128" y="24"/>
                    <a:pt x="132" y="9"/>
                    <a:pt x="133" y="5"/>
                  </a:cubicBezTo>
                  <a:cubicBezTo>
                    <a:pt x="127" y="2"/>
                    <a:pt x="124" y="1"/>
                    <a:pt x="118" y="0"/>
                  </a:cubicBezTo>
                  <a:cubicBezTo>
                    <a:pt x="118" y="2"/>
                    <a:pt x="118" y="2"/>
                    <a:pt x="118" y="2"/>
                  </a:cubicBezTo>
                  <a:cubicBezTo>
                    <a:pt x="119" y="8"/>
                    <a:pt x="118" y="19"/>
                    <a:pt x="109" y="26"/>
                  </a:cubicBezTo>
                  <a:cubicBezTo>
                    <a:pt x="108" y="26"/>
                    <a:pt x="108" y="26"/>
                    <a:pt x="108" y="26"/>
                  </a:cubicBezTo>
                  <a:cubicBezTo>
                    <a:pt x="100" y="31"/>
                    <a:pt x="82" y="27"/>
                    <a:pt x="80" y="3"/>
                  </a:cubicBezTo>
                  <a:cubicBezTo>
                    <a:pt x="73" y="5"/>
                    <a:pt x="70" y="6"/>
                    <a:pt x="61" y="11"/>
                  </a:cubicBezTo>
                  <a:cubicBezTo>
                    <a:pt x="79" y="34"/>
                    <a:pt x="56" y="54"/>
                    <a:pt x="42" y="53"/>
                  </a:cubicBezTo>
                  <a:cubicBezTo>
                    <a:pt x="39" y="53"/>
                    <a:pt x="34" y="52"/>
                    <a:pt x="26" y="42"/>
                  </a:cubicBezTo>
                  <a:cubicBezTo>
                    <a:pt x="22" y="48"/>
                    <a:pt x="20" y="51"/>
                    <a:pt x="14" y="60"/>
                  </a:cubicBezTo>
                  <a:cubicBezTo>
                    <a:pt x="18" y="61"/>
                    <a:pt x="20" y="62"/>
                    <a:pt x="24" y="65"/>
                  </a:cubicBezTo>
                  <a:cubicBezTo>
                    <a:pt x="24" y="66"/>
                    <a:pt x="24" y="66"/>
                    <a:pt x="24" y="66"/>
                  </a:cubicBezTo>
                  <a:cubicBezTo>
                    <a:pt x="36" y="80"/>
                    <a:pt x="27" y="108"/>
                    <a:pt x="6" y="105"/>
                  </a:cubicBezTo>
                  <a:cubicBezTo>
                    <a:pt x="3" y="105"/>
                    <a:pt x="2" y="104"/>
                    <a:pt x="0" y="104"/>
                  </a:cubicBezTo>
                  <a:cubicBezTo>
                    <a:pt x="0" y="113"/>
                    <a:pt x="0" y="116"/>
                    <a:pt x="0" y="123"/>
                  </a:cubicBezTo>
                  <a:cubicBezTo>
                    <a:pt x="17" y="118"/>
                    <a:pt x="25" y="137"/>
                    <a:pt x="17" y="152"/>
                  </a:cubicBezTo>
                  <a:cubicBezTo>
                    <a:pt x="13" y="158"/>
                    <a:pt x="9" y="159"/>
                    <a:pt x="6" y="159"/>
                  </a:cubicBezTo>
                  <a:cubicBezTo>
                    <a:pt x="6" y="159"/>
                    <a:pt x="6" y="159"/>
                    <a:pt x="6" y="159"/>
                  </a:cubicBezTo>
                  <a:cubicBezTo>
                    <a:pt x="6" y="159"/>
                    <a:pt x="6" y="159"/>
                    <a:pt x="6" y="159"/>
                  </a:cubicBezTo>
                  <a:cubicBezTo>
                    <a:pt x="6" y="159"/>
                    <a:pt x="6" y="159"/>
                    <a:pt x="6" y="159"/>
                  </a:cubicBezTo>
                  <a:cubicBezTo>
                    <a:pt x="6" y="159"/>
                    <a:pt x="6" y="159"/>
                    <a:pt x="6" y="159"/>
                  </a:cubicBezTo>
                  <a:cubicBezTo>
                    <a:pt x="6" y="159"/>
                    <a:pt x="6" y="159"/>
                    <a:pt x="6" y="159"/>
                  </a:cubicBezTo>
                  <a:cubicBezTo>
                    <a:pt x="6" y="159"/>
                    <a:pt x="6" y="159"/>
                    <a:pt x="6" y="159"/>
                  </a:cubicBezTo>
                  <a:cubicBezTo>
                    <a:pt x="6" y="159"/>
                    <a:pt x="6" y="159"/>
                    <a:pt x="6" y="159"/>
                  </a:cubicBezTo>
                  <a:cubicBezTo>
                    <a:pt x="6" y="159"/>
                    <a:pt x="6" y="159"/>
                    <a:pt x="6" y="159"/>
                  </a:cubicBezTo>
                  <a:cubicBezTo>
                    <a:pt x="8" y="164"/>
                    <a:pt x="9" y="168"/>
                    <a:pt x="10" y="172"/>
                  </a:cubicBezTo>
                  <a:cubicBezTo>
                    <a:pt x="18" y="164"/>
                    <a:pt x="25" y="169"/>
                    <a:pt x="25" y="175"/>
                  </a:cubicBezTo>
                  <a:cubicBezTo>
                    <a:pt x="26" y="182"/>
                    <a:pt x="20" y="190"/>
                    <a:pt x="17" y="193"/>
                  </a:cubicBezTo>
                  <a:cubicBezTo>
                    <a:pt x="17" y="196"/>
                    <a:pt x="17" y="197"/>
                    <a:pt x="17" y="199"/>
                  </a:cubicBezTo>
                  <a:cubicBezTo>
                    <a:pt x="20" y="195"/>
                    <a:pt x="25" y="190"/>
                    <a:pt x="28" y="193"/>
                  </a:cubicBezTo>
                  <a:cubicBezTo>
                    <a:pt x="27" y="195"/>
                    <a:pt x="27" y="195"/>
                    <a:pt x="11" y="207"/>
                  </a:cubicBezTo>
                  <a:cubicBezTo>
                    <a:pt x="19" y="204"/>
                    <a:pt x="25" y="199"/>
                    <a:pt x="33" y="197"/>
                  </a:cubicBezTo>
                  <a:cubicBezTo>
                    <a:pt x="32" y="200"/>
                    <a:pt x="23" y="203"/>
                    <a:pt x="16" y="206"/>
                  </a:cubicBezTo>
                  <a:cubicBezTo>
                    <a:pt x="24" y="204"/>
                    <a:pt x="26" y="203"/>
                    <a:pt x="41" y="196"/>
                  </a:cubicBezTo>
                  <a:cubicBezTo>
                    <a:pt x="54" y="189"/>
                    <a:pt x="58" y="187"/>
                    <a:pt x="60" y="188"/>
                  </a:cubicBezTo>
                  <a:cubicBezTo>
                    <a:pt x="60" y="189"/>
                    <a:pt x="59" y="190"/>
                    <a:pt x="51" y="194"/>
                  </a:cubicBezTo>
                  <a:cubicBezTo>
                    <a:pt x="66" y="188"/>
                    <a:pt x="68" y="187"/>
                    <a:pt x="68" y="186"/>
                  </a:cubicBezTo>
                  <a:cubicBezTo>
                    <a:pt x="68" y="186"/>
                    <a:pt x="99" y="160"/>
                    <a:pt x="106" y="160"/>
                  </a:cubicBezTo>
                  <a:cubicBezTo>
                    <a:pt x="106" y="161"/>
                    <a:pt x="106" y="161"/>
                    <a:pt x="106" y="161"/>
                  </a:cubicBezTo>
                  <a:cubicBezTo>
                    <a:pt x="106" y="162"/>
                    <a:pt x="105" y="163"/>
                    <a:pt x="105" y="164"/>
                  </a:cubicBezTo>
                  <a:cubicBezTo>
                    <a:pt x="108" y="161"/>
                    <a:pt x="113" y="157"/>
                    <a:pt x="119" y="151"/>
                  </a:cubicBezTo>
                  <a:cubicBezTo>
                    <a:pt x="119" y="151"/>
                    <a:pt x="120" y="150"/>
                    <a:pt x="120" y="150"/>
                  </a:cubicBezTo>
                  <a:cubicBezTo>
                    <a:pt x="120" y="149"/>
                    <a:pt x="120" y="149"/>
                    <a:pt x="120" y="149"/>
                  </a:cubicBezTo>
                  <a:cubicBezTo>
                    <a:pt x="120" y="143"/>
                    <a:pt x="142" y="111"/>
                    <a:pt x="148" y="110"/>
                  </a:cubicBezTo>
                  <a:cubicBezTo>
                    <a:pt x="148" y="110"/>
                    <a:pt x="148" y="110"/>
                    <a:pt x="148" y="110"/>
                  </a:cubicBezTo>
                  <a:cubicBezTo>
                    <a:pt x="148" y="110"/>
                    <a:pt x="148" y="110"/>
                    <a:pt x="148" y="110"/>
                  </a:cubicBezTo>
                  <a:cubicBezTo>
                    <a:pt x="148" y="110"/>
                    <a:pt x="148" y="110"/>
                    <a:pt x="148" y="110"/>
                  </a:cubicBezTo>
                  <a:cubicBezTo>
                    <a:pt x="148" y="110"/>
                    <a:pt x="148" y="110"/>
                    <a:pt x="148" y="110"/>
                  </a:cubicBezTo>
                  <a:cubicBezTo>
                    <a:pt x="152" y="103"/>
                    <a:pt x="153" y="98"/>
                    <a:pt x="156" y="90"/>
                  </a:cubicBezTo>
                  <a:cubicBezTo>
                    <a:pt x="154" y="93"/>
                    <a:pt x="154" y="93"/>
                    <a:pt x="152" y="94"/>
                  </a:cubicBezTo>
                  <a:cubicBezTo>
                    <a:pt x="146" y="90"/>
                    <a:pt x="151" y="59"/>
                    <a:pt x="161" y="48"/>
                  </a:cubicBezTo>
                  <a:cubicBezTo>
                    <a:pt x="160" y="41"/>
                    <a:pt x="159" y="37"/>
                    <a:pt x="157" y="31"/>
                  </a:cubicBezTo>
                  <a:close/>
                  <a:moveTo>
                    <a:pt x="131" y="97"/>
                  </a:moveTo>
                  <a:cubicBezTo>
                    <a:pt x="129" y="118"/>
                    <a:pt x="116" y="134"/>
                    <a:pt x="112" y="139"/>
                  </a:cubicBezTo>
                  <a:cubicBezTo>
                    <a:pt x="92" y="164"/>
                    <a:pt x="60" y="180"/>
                    <a:pt x="51" y="180"/>
                  </a:cubicBezTo>
                  <a:cubicBezTo>
                    <a:pt x="34" y="178"/>
                    <a:pt x="33" y="104"/>
                    <a:pt x="75" y="73"/>
                  </a:cubicBezTo>
                  <a:cubicBezTo>
                    <a:pt x="105" y="51"/>
                    <a:pt x="135" y="64"/>
                    <a:pt x="131" y="9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116">
              <a:extLst>
                <a:ext uri="{FF2B5EF4-FFF2-40B4-BE49-F238E27FC236}">
                  <a16:creationId xmlns:a16="http://schemas.microsoft.com/office/drawing/2014/main" id="{9CA91411-3433-C84F-A106-197DDE9E89A8}"/>
                </a:ext>
              </a:extLst>
            </p:cNvPr>
            <p:cNvSpPr>
              <a:spLocks/>
            </p:cNvSpPr>
            <p:nvPr/>
          </p:nvSpPr>
          <p:spPr bwMode="auto">
            <a:xfrm>
              <a:off x="8386763" y="4297363"/>
              <a:ext cx="182563" cy="257175"/>
            </a:xfrm>
            <a:custGeom>
              <a:avLst/>
              <a:gdLst>
                <a:gd name="T0" fmla="*/ 50 w 71"/>
                <a:gd name="T1" fmla="*/ 1 h 100"/>
                <a:gd name="T2" fmla="*/ 4 w 71"/>
                <a:gd name="T3" fmla="*/ 69 h 100"/>
                <a:gd name="T4" fmla="*/ 53 w 71"/>
                <a:gd name="T5" fmla="*/ 50 h 100"/>
                <a:gd name="T6" fmla="*/ 50 w 71"/>
                <a:gd name="T7" fmla="*/ 1 h 100"/>
              </a:gdLst>
              <a:ahLst/>
              <a:cxnLst>
                <a:cxn ang="0">
                  <a:pos x="T0" y="T1"/>
                </a:cxn>
                <a:cxn ang="0">
                  <a:pos x="T2" y="T3"/>
                </a:cxn>
                <a:cxn ang="0">
                  <a:pos x="T4" y="T5"/>
                </a:cxn>
                <a:cxn ang="0">
                  <a:pos x="T6" y="T7"/>
                </a:cxn>
              </a:cxnLst>
              <a:rect l="0" t="0" r="r" b="b"/>
              <a:pathLst>
                <a:path w="71" h="100">
                  <a:moveTo>
                    <a:pt x="50" y="1"/>
                  </a:moveTo>
                  <a:cubicBezTo>
                    <a:pt x="23" y="0"/>
                    <a:pt x="0" y="40"/>
                    <a:pt x="4" y="69"/>
                  </a:cubicBezTo>
                  <a:cubicBezTo>
                    <a:pt x="9" y="100"/>
                    <a:pt x="50" y="55"/>
                    <a:pt x="53" y="50"/>
                  </a:cubicBezTo>
                  <a:cubicBezTo>
                    <a:pt x="69" y="28"/>
                    <a:pt x="71" y="3"/>
                    <a:pt x="50" y="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17">
              <a:extLst>
                <a:ext uri="{FF2B5EF4-FFF2-40B4-BE49-F238E27FC236}">
                  <a16:creationId xmlns:a16="http://schemas.microsoft.com/office/drawing/2014/main" id="{AE887D13-7AF9-CE4F-A7D4-DE76CB75601F}"/>
                </a:ext>
              </a:extLst>
            </p:cNvPr>
            <p:cNvSpPr>
              <a:spLocks/>
            </p:cNvSpPr>
            <p:nvPr/>
          </p:nvSpPr>
          <p:spPr bwMode="auto">
            <a:xfrm>
              <a:off x="8610600" y="3871913"/>
              <a:ext cx="85725" cy="360363"/>
            </a:xfrm>
            <a:custGeom>
              <a:avLst/>
              <a:gdLst>
                <a:gd name="T0" fmla="*/ 15 w 33"/>
                <a:gd name="T1" fmla="*/ 24 h 140"/>
                <a:gd name="T2" fmla="*/ 13 w 33"/>
                <a:gd name="T3" fmla="*/ 18 h 140"/>
                <a:gd name="T4" fmla="*/ 4 w 33"/>
                <a:gd name="T5" fmla="*/ 2 h 140"/>
                <a:gd name="T6" fmla="*/ 4 w 33"/>
                <a:gd name="T7" fmla="*/ 2 h 140"/>
                <a:gd name="T8" fmla="*/ 7 w 33"/>
                <a:gd name="T9" fmla="*/ 9 h 140"/>
                <a:gd name="T10" fmla="*/ 0 w 33"/>
                <a:gd name="T11" fmla="*/ 0 h 140"/>
                <a:gd name="T12" fmla="*/ 6 w 33"/>
                <a:gd name="T13" fmla="*/ 11 h 140"/>
                <a:gd name="T14" fmla="*/ 6 w 33"/>
                <a:gd name="T15" fmla="*/ 12 h 140"/>
                <a:gd name="T16" fmla="*/ 13 w 33"/>
                <a:gd name="T17" fmla="*/ 31 h 140"/>
                <a:gd name="T18" fmla="*/ 8 w 33"/>
                <a:gd name="T19" fmla="*/ 28 h 140"/>
                <a:gd name="T20" fmla="*/ 11 w 33"/>
                <a:gd name="T21" fmla="*/ 40 h 140"/>
                <a:gd name="T22" fmla="*/ 20 w 33"/>
                <a:gd name="T23" fmla="*/ 68 h 140"/>
                <a:gd name="T24" fmla="*/ 18 w 33"/>
                <a:gd name="T25" fmla="*/ 69 h 140"/>
                <a:gd name="T26" fmla="*/ 18 w 33"/>
                <a:gd name="T27" fmla="*/ 69 h 140"/>
                <a:gd name="T28" fmla="*/ 18 w 33"/>
                <a:gd name="T29" fmla="*/ 69 h 140"/>
                <a:gd name="T30" fmla="*/ 18 w 33"/>
                <a:gd name="T31" fmla="*/ 69 h 140"/>
                <a:gd name="T32" fmla="*/ 18 w 33"/>
                <a:gd name="T33" fmla="*/ 69 h 140"/>
                <a:gd name="T34" fmla="*/ 18 w 33"/>
                <a:gd name="T35" fmla="*/ 69 h 140"/>
                <a:gd name="T36" fmla="*/ 18 w 33"/>
                <a:gd name="T37" fmla="*/ 69 h 140"/>
                <a:gd name="T38" fmla="*/ 20 w 33"/>
                <a:gd name="T39" fmla="*/ 82 h 140"/>
                <a:gd name="T40" fmla="*/ 27 w 33"/>
                <a:gd name="T41" fmla="*/ 86 h 140"/>
                <a:gd name="T42" fmla="*/ 28 w 33"/>
                <a:gd name="T43" fmla="*/ 118 h 140"/>
                <a:gd name="T44" fmla="*/ 30 w 33"/>
                <a:gd name="T45" fmla="*/ 111 h 140"/>
                <a:gd name="T46" fmla="*/ 32 w 33"/>
                <a:gd name="T47" fmla="*/ 125 h 140"/>
                <a:gd name="T48" fmla="*/ 30 w 33"/>
                <a:gd name="T49" fmla="*/ 140 h 140"/>
                <a:gd name="T50" fmla="*/ 32 w 33"/>
                <a:gd name="T51" fmla="*/ 127 h 140"/>
                <a:gd name="T52" fmla="*/ 33 w 33"/>
                <a:gd name="T53" fmla="*/ 123 h 140"/>
                <a:gd name="T54" fmla="*/ 33 w 33"/>
                <a:gd name="T55" fmla="*/ 101 h 140"/>
                <a:gd name="T56" fmla="*/ 17 w 33"/>
                <a:gd name="T57" fmla="*/ 28 h 140"/>
                <a:gd name="T58" fmla="*/ 15 w 33"/>
                <a:gd name="T59" fmla="*/ 2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140">
                  <a:moveTo>
                    <a:pt x="15" y="24"/>
                  </a:moveTo>
                  <a:cubicBezTo>
                    <a:pt x="13" y="18"/>
                    <a:pt x="13" y="18"/>
                    <a:pt x="13" y="18"/>
                  </a:cubicBezTo>
                  <a:cubicBezTo>
                    <a:pt x="8" y="10"/>
                    <a:pt x="6" y="5"/>
                    <a:pt x="4" y="2"/>
                  </a:cubicBezTo>
                  <a:cubicBezTo>
                    <a:pt x="4" y="2"/>
                    <a:pt x="4" y="2"/>
                    <a:pt x="4" y="2"/>
                  </a:cubicBezTo>
                  <a:cubicBezTo>
                    <a:pt x="6" y="5"/>
                    <a:pt x="7" y="7"/>
                    <a:pt x="7" y="9"/>
                  </a:cubicBezTo>
                  <a:cubicBezTo>
                    <a:pt x="6" y="8"/>
                    <a:pt x="5" y="7"/>
                    <a:pt x="0" y="0"/>
                  </a:cubicBezTo>
                  <a:cubicBezTo>
                    <a:pt x="2" y="7"/>
                    <a:pt x="2" y="7"/>
                    <a:pt x="6" y="11"/>
                  </a:cubicBezTo>
                  <a:cubicBezTo>
                    <a:pt x="6" y="12"/>
                    <a:pt x="6" y="12"/>
                    <a:pt x="6" y="12"/>
                  </a:cubicBezTo>
                  <a:cubicBezTo>
                    <a:pt x="10" y="17"/>
                    <a:pt x="15" y="29"/>
                    <a:pt x="13" y="31"/>
                  </a:cubicBezTo>
                  <a:cubicBezTo>
                    <a:pt x="12" y="32"/>
                    <a:pt x="11" y="32"/>
                    <a:pt x="8" y="28"/>
                  </a:cubicBezTo>
                  <a:cubicBezTo>
                    <a:pt x="9" y="32"/>
                    <a:pt x="9" y="34"/>
                    <a:pt x="11" y="40"/>
                  </a:cubicBezTo>
                  <a:cubicBezTo>
                    <a:pt x="18" y="41"/>
                    <a:pt x="24" y="64"/>
                    <a:pt x="20" y="68"/>
                  </a:cubicBezTo>
                  <a:cubicBezTo>
                    <a:pt x="19" y="69"/>
                    <a:pt x="18" y="69"/>
                    <a:pt x="18" y="69"/>
                  </a:cubicBezTo>
                  <a:cubicBezTo>
                    <a:pt x="18" y="69"/>
                    <a:pt x="18" y="69"/>
                    <a:pt x="18" y="69"/>
                  </a:cubicBezTo>
                  <a:cubicBezTo>
                    <a:pt x="18" y="69"/>
                    <a:pt x="18" y="69"/>
                    <a:pt x="18" y="69"/>
                  </a:cubicBezTo>
                  <a:cubicBezTo>
                    <a:pt x="18" y="69"/>
                    <a:pt x="18" y="69"/>
                    <a:pt x="18" y="69"/>
                  </a:cubicBezTo>
                  <a:cubicBezTo>
                    <a:pt x="18" y="69"/>
                    <a:pt x="18" y="69"/>
                    <a:pt x="18" y="69"/>
                  </a:cubicBezTo>
                  <a:cubicBezTo>
                    <a:pt x="18" y="69"/>
                    <a:pt x="18" y="69"/>
                    <a:pt x="18" y="69"/>
                  </a:cubicBezTo>
                  <a:cubicBezTo>
                    <a:pt x="18" y="69"/>
                    <a:pt x="18" y="69"/>
                    <a:pt x="18" y="69"/>
                  </a:cubicBezTo>
                  <a:cubicBezTo>
                    <a:pt x="18" y="73"/>
                    <a:pt x="19" y="77"/>
                    <a:pt x="20" y="82"/>
                  </a:cubicBezTo>
                  <a:cubicBezTo>
                    <a:pt x="23" y="76"/>
                    <a:pt x="26" y="82"/>
                    <a:pt x="27" y="86"/>
                  </a:cubicBezTo>
                  <a:cubicBezTo>
                    <a:pt x="30" y="97"/>
                    <a:pt x="26" y="108"/>
                    <a:pt x="28" y="118"/>
                  </a:cubicBezTo>
                  <a:cubicBezTo>
                    <a:pt x="29" y="113"/>
                    <a:pt x="29" y="112"/>
                    <a:pt x="30" y="111"/>
                  </a:cubicBezTo>
                  <a:cubicBezTo>
                    <a:pt x="32" y="112"/>
                    <a:pt x="32" y="117"/>
                    <a:pt x="32" y="125"/>
                  </a:cubicBezTo>
                  <a:cubicBezTo>
                    <a:pt x="31" y="130"/>
                    <a:pt x="30" y="135"/>
                    <a:pt x="30" y="140"/>
                  </a:cubicBezTo>
                  <a:cubicBezTo>
                    <a:pt x="32" y="131"/>
                    <a:pt x="32" y="128"/>
                    <a:pt x="32" y="127"/>
                  </a:cubicBezTo>
                  <a:cubicBezTo>
                    <a:pt x="33" y="123"/>
                    <a:pt x="33" y="123"/>
                    <a:pt x="33" y="123"/>
                  </a:cubicBezTo>
                  <a:cubicBezTo>
                    <a:pt x="33" y="113"/>
                    <a:pt x="33" y="107"/>
                    <a:pt x="33" y="101"/>
                  </a:cubicBezTo>
                  <a:cubicBezTo>
                    <a:pt x="32" y="85"/>
                    <a:pt x="23" y="45"/>
                    <a:pt x="17" y="28"/>
                  </a:cubicBezTo>
                  <a:cubicBezTo>
                    <a:pt x="17" y="26"/>
                    <a:pt x="16" y="25"/>
                    <a:pt x="15" y="2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118">
              <a:extLst>
                <a:ext uri="{FF2B5EF4-FFF2-40B4-BE49-F238E27FC236}">
                  <a16:creationId xmlns:a16="http://schemas.microsoft.com/office/drawing/2014/main" id="{2124194E-31C5-6648-8E41-A9DDA798570B}"/>
                </a:ext>
              </a:extLst>
            </p:cNvPr>
            <p:cNvSpPr>
              <a:spLocks/>
            </p:cNvSpPr>
            <p:nvPr/>
          </p:nvSpPr>
          <p:spPr bwMode="auto">
            <a:xfrm>
              <a:off x="8696325" y="4127501"/>
              <a:ext cx="1588" cy="9525"/>
            </a:xfrm>
            <a:custGeom>
              <a:avLst/>
              <a:gdLst>
                <a:gd name="T0" fmla="*/ 0 w 1"/>
                <a:gd name="T1" fmla="*/ 2 h 4"/>
                <a:gd name="T2" fmla="*/ 1 w 1"/>
                <a:gd name="T3" fmla="*/ 4 h 4"/>
                <a:gd name="T4" fmla="*/ 0 w 1"/>
                <a:gd name="T5" fmla="*/ 0 h 4"/>
                <a:gd name="T6" fmla="*/ 0 w 1"/>
                <a:gd name="T7" fmla="*/ 2 h 4"/>
              </a:gdLst>
              <a:ahLst/>
              <a:cxnLst>
                <a:cxn ang="0">
                  <a:pos x="T0" y="T1"/>
                </a:cxn>
                <a:cxn ang="0">
                  <a:pos x="T2" y="T3"/>
                </a:cxn>
                <a:cxn ang="0">
                  <a:pos x="T4" y="T5"/>
                </a:cxn>
                <a:cxn ang="0">
                  <a:pos x="T6" y="T7"/>
                </a:cxn>
              </a:cxnLst>
              <a:rect l="0" t="0" r="r" b="b"/>
              <a:pathLst>
                <a:path w="1" h="4">
                  <a:moveTo>
                    <a:pt x="0" y="2"/>
                  </a:moveTo>
                  <a:cubicBezTo>
                    <a:pt x="0" y="3"/>
                    <a:pt x="0" y="3"/>
                    <a:pt x="1" y="4"/>
                  </a:cubicBezTo>
                  <a:cubicBezTo>
                    <a:pt x="0" y="3"/>
                    <a:pt x="0" y="2"/>
                    <a:pt x="0" y="0"/>
                  </a:cubicBezTo>
                  <a:cubicBezTo>
                    <a:pt x="0" y="1"/>
                    <a:pt x="0" y="1"/>
                    <a:pt x="0" y="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19">
              <a:extLst>
                <a:ext uri="{FF2B5EF4-FFF2-40B4-BE49-F238E27FC236}">
                  <a16:creationId xmlns:a16="http://schemas.microsoft.com/office/drawing/2014/main" id="{7EE4852C-6C90-2E4F-9FEC-5AD3134C4959}"/>
                </a:ext>
              </a:extLst>
            </p:cNvPr>
            <p:cNvSpPr>
              <a:spLocks/>
            </p:cNvSpPr>
            <p:nvPr/>
          </p:nvSpPr>
          <p:spPr bwMode="auto">
            <a:xfrm>
              <a:off x="8697913" y="4137026"/>
              <a:ext cx="0" cy="317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1"/>
                  </a:cubicBezTo>
                  <a:cubicBezTo>
                    <a:pt x="0" y="1"/>
                    <a:pt x="0" y="0"/>
                    <a:pt x="0"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20">
              <a:extLst>
                <a:ext uri="{FF2B5EF4-FFF2-40B4-BE49-F238E27FC236}">
                  <a16:creationId xmlns:a16="http://schemas.microsoft.com/office/drawing/2014/main" id="{63F234F8-45F2-9E48-93FA-E4A80E709928}"/>
                </a:ext>
              </a:extLst>
            </p:cNvPr>
            <p:cNvSpPr>
              <a:spLocks/>
            </p:cNvSpPr>
            <p:nvPr/>
          </p:nvSpPr>
          <p:spPr bwMode="auto">
            <a:xfrm>
              <a:off x="8332788" y="3668713"/>
              <a:ext cx="3175"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21">
              <a:extLst>
                <a:ext uri="{FF2B5EF4-FFF2-40B4-BE49-F238E27FC236}">
                  <a16:creationId xmlns:a16="http://schemas.microsoft.com/office/drawing/2014/main" id="{438B8DE6-83B3-5548-A16A-0A186EF39472}"/>
                </a:ext>
              </a:extLst>
            </p:cNvPr>
            <p:cNvSpPr>
              <a:spLocks/>
            </p:cNvSpPr>
            <p:nvPr/>
          </p:nvSpPr>
          <p:spPr bwMode="auto">
            <a:xfrm>
              <a:off x="8335963" y="3668713"/>
              <a:ext cx="6350" cy="1588"/>
            </a:xfrm>
            <a:custGeom>
              <a:avLst/>
              <a:gdLst>
                <a:gd name="T0" fmla="*/ 0 w 3"/>
                <a:gd name="T1" fmla="*/ 0 h 1"/>
                <a:gd name="T2" fmla="*/ 0 w 3"/>
                <a:gd name="T3" fmla="*/ 0 h 1"/>
                <a:gd name="T4" fmla="*/ 1 w 3"/>
                <a:gd name="T5" fmla="*/ 0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0" y="0"/>
                    <a:pt x="0" y="0"/>
                    <a:pt x="1" y="0"/>
                  </a:cubicBezTo>
                  <a:cubicBezTo>
                    <a:pt x="1" y="1"/>
                    <a:pt x="2" y="1"/>
                    <a:pt x="3" y="1"/>
                  </a:cubicBezTo>
                  <a:cubicBezTo>
                    <a:pt x="2" y="1"/>
                    <a:pt x="1" y="0"/>
                    <a:pt x="0"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22">
              <a:extLst>
                <a:ext uri="{FF2B5EF4-FFF2-40B4-BE49-F238E27FC236}">
                  <a16:creationId xmlns:a16="http://schemas.microsoft.com/office/drawing/2014/main" id="{95227384-0B9B-984D-AAE4-C326CAE137DF}"/>
                </a:ext>
              </a:extLst>
            </p:cNvPr>
            <p:cNvSpPr>
              <a:spLocks/>
            </p:cNvSpPr>
            <p:nvPr/>
          </p:nvSpPr>
          <p:spPr bwMode="auto">
            <a:xfrm>
              <a:off x="8262938" y="3656013"/>
              <a:ext cx="3175"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cubicBezTo>
                    <a:pt x="1" y="0"/>
                    <a:pt x="0" y="0"/>
                    <a:pt x="0"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123">
              <a:extLst>
                <a:ext uri="{FF2B5EF4-FFF2-40B4-BE49-F238E27FC236}">
                  <a16:creationId xmlns:a16="http://schemas.microsoft.com/office/drawing/2014/main" id="{ECBE39C5-672B-3B40-8B02-BCFB7FC10606}"/>
                </a:ext>
              </a:extLst>
            </p:cNvPr>
            <p:cNvSpPr>
              <a:spLocks/>
            </p:cNvSpPr>
            <p:nvPr/>
          </p:nvSpPr>
          <p:spPr bwMode="auto">
            <a:xfrm>
              <a:off x="8266113" y="3656013"/>
              <a:ext cx="328613" cy="187325"/>
            </a:xfrm>
            <a:custGeom>
              <a:avLst/>
              <a:gdLst>
                <a:gd name="T0" fmla="*/ 10 w 128"/>
                <a:gd name="T1" fmla="*/ 1 h 73"/>
                <a:gd name="T2" fmla="*/ 26 w 128"/>
                <a:gd name="T3" fmla="*/ 6 h 73"/>
                <a:gd name="T4" fmla="*/ 25 w 128"/>
                <a:gd name="T5" fmla="*/ 7 h 73"/>
                <a:gd name="T6" fmla="*/ 20 w 128"/>
                <a:gd name="T7" fmla="*/ 6 h 73"/>
                <a:gd name="T8" fmla="*/ 43 w 128"/>
                <a:gd name="T9" fmla="*/ 16 h 73"/>
                <a:gd name="T10" fmla="*/ 50 w 128"/>
                <a:gd name="T11" fmla="*/ 23 h 73"/>
                <a:gd name="T12" fmla="*/ 47 w 128"/>
                <a:gd name="T13" fmla="*/ 23 h 73"/>
                <a:gd name="T14" fmla="*/ 47 w 128"/>
                <a:gd name="T15" fmla="*/ 23 h 73"/>
                <a:gd name="T16" fmla="*/ 47 w 128"/>
                <a:gd name="T17" fmla="*/ 23 h 73"/>
                <a:gd name="T18" fmla="*/ 47 w 128"/>
                <a:gd name="T19" fmla="*/ 23 h 73"/>
                <a:gd name="T20" fmla="*/ 47 w 128"/>
                <a:gd name="T21" fmla="*/ 23 h 73"/>
                <a:gd name="T22" fmla="*/ 47 w 128"/>
                <a:gd name="T23" fmla="*/ 23 h 73"/>
                <a:gd name="T24" fmla="*/ 47 w 128"/>
                <a:gd name="T25" fmla="*/ 23 h 73"/>
                <a:gd name="T26" fmla="*/ 47 w 128"/>
                <a:gd name="T27" fmla="*/ 23 h 73"/>
                <a:gd name="T28" fmla="*/ 47 w 128"/>
                <a:gd name="T29" fmla="*/ 23 h 73"/>
                <a:gd name="T30" fmla="*/ 57 w 128"/>
                <a:gd name="T31" fmla="*/ 31 h 73"/>
                <a:gd name="T32" fmla="*/ 81 w 128"/>
                <a:gd name="T33" fmla="*/ 44 h 73"/>
                <a:gd name="T34" fmla="*/ 82 w 128"/>
                <a:gd name="T35" fmla="*/ 47 h 73"/>
                <a:gd name="T36" fmla="*/ 92 w 128"/>
                <a:gd name="T37" fmla="*/ 54 h 73"/>
                <a:gd name="T38" fmla="*/ 96 w 128"/>
                <a:gd name="T39" fmla="*/ 49 h 73"/>
                <a:gd name="T40" fmla="*/ 110 w 128"/>
                <a:gd name="T41" fmla="*/ 61 h 73"/>
                <a:gd name="T42" fmla="*/ 121 w 128"/>
                <a:gd name="T43" fmla="*/ 71 h 73"/>
                <a:gd name="T44" fmla="*/ 114 w 128"/>
                <a:gd name="T45" fmla="*/ 59 h 73"/>
                <a:gd name="T46" fmla="*/ 128 w 128"/>
                <a:gd name="T47" fmla="*/ 73 h 73"/>
                <a:gd name="T48" fmla="*/ 128 w 128"/>
                <a:gd name="T49" fmla="*/ 72 h 73"/>
                <a:gd name="T50" fmla="*/ 127 w 128"/>
                <a:gd name="T51" fmla="*/ 71 h 73"/>
                <a:gd name="T52" fmla="*/ 126 w 128"/>
                <a:gd name="T53" fmla="*/ 70 h 73"/>
                <a:gd name="T54" fmla="*/ 111 w 128"/>
                <a:gd name="T55" fmla="*/ 53 h 73"/>
                <a:gd name="T56" fmla="*/ 100 w 128"/>
                <a:gd name="T57" fmla="*/ 44 h 73"/>
                <a:gd name="T58" fmla="*/ 100 w 128"/>
                <a:gd name="T59" fmla="*/ 44 h 73"/>
                <a:gd name="T60" fmla="*/ 100 w 128"/>
                <a:gd name="T61" fmla="*/ 44 h 73"/>
                <a:gd name="T62" fmla="*/ 99 w 128"/>
                <a:gd name="T63" fmla="*/ 44 h 73"/>
                <a:gd name="T64" fmla="*/ 99 w 128"/>
                <a:gd name="T65" fmla="*/ 44 h 73"/>
                <a:gd name="T66" fmla="*/ 99 w 128"/>
                <a:gd name="T67" fmla="*/ 44 h 73"/>
                <a:gd name="T68" fmla="*/ 99 w 128"/>
                <a:gd name="T69" fmla="*/ 44 h 73"/>
                <a:gd name="T70" fmla="*/ 28 w 128"/>
                <a:gd name="T71" fmla="*/ 5 h 73"/>
                <a:gd name="T72" fmla="*/ 27 w 128"/>
                <a:gd name="T73" fmla="*/ 5 h 73"/>
                <a:gd name="T74" fmla="*/ 27 w 128"/>
                <a:gd name="T75" fmla="*/ 6 h 73"/>
                <a:gd name="T76" fmla="*/ 27 w 128"/>
                <a:gd name="T77" fmla="*/ 5 h 73"/>
                <a:gd name="T78" fmla="*/ 17 w 128"/>
                <a:gd name="T79" fmla="*/ 2 h 73"/>
                <a:gd name="T80" fmla="*/ 8 w 128"/>
                <a:gd name="T81" fmla="*/ 1 h 73"/>
                <a:gd name="T82" fmla="*/ 8 w 128"/>
                <a:gd name="T83" fmla="*/ 1 h 73"/>
                <a:gd name="T84" fmla="*/ 0 w 128"/>
                <a:gd name="T85" fmla="*/ 0 h 73"/>
                <a:gd name="T86" fmla="*/ 9 w 128"/>
                <a:gd name="T87" fmla="*/ 1 h 73"/>
                <a:gd name="T88" fmla="*/ 10 w 128"/>
                <a:gd name="T89" fmla="*/ 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8" h="73">
                  <a:moveTo>
                    <a:pt x="10" y="1"/>
                  </a:moveTo>
                  <a:cubicBezTo>
                    <a:pt x="17" y="3"/>
                    <a:pt x="22" y="5"/>
                    <a:pt x="26" y="6"/>
                  </a:cubicBezTo>
                  <a:cubicBezTo>
                    <a:pt x="25" y="7"/>
                    <a:pt x="25" y="7"/>
                    <a:pt x="25" y="7"/>
                  </a:cubicBezTo>
                  <a:cubicBezTo>
                    <a:pt x="25" y="7"/>
                    <a:pt x="24" y="7"/>
                    <a:pt x="20" y="6"/>
                  </a:cubicBezTo>
                  <a:cubicBezTo>
                    <a:pt x="27" y="10"/>
                    <a:pt x="35" y="11"/>
                    <a:pt x="43" y="16"/>
                  </a:cubicBezTo>
                  <a:cubicBezTo>
                    <a:pt x="51" y="20"/>
                    <a:pt x="50" y="22"/>
                    <a:pt x="50" y="23"/>
                  </a:cubicBezTo>
                  <a:cubicBezTo>
                    <a:pt x="49" y="23"/>
                    <a:pt x="49" y="24"/>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50" y="26"/>
                    <a:pt x="54" y="28"/>
                    <a:pt x="57" y="31"/>
                  </a:cubicBezTo>
                  <a:cubicBezTo>
                    <a:pt x="59" y="25"/>
                    <a:pt x="78" y="36"/>
                    <a:pt x="81" y="44"/>
                  </a:cubicBezTo>
                  <a:cubicBezTo>
                    <a:pt x="82" y="45"/>
                    <a:pt x="82" y="46"/>
                    <a:pt x="82" y="47"/>
                  </a:cubicBezTo>
                  <a:cubicBezTo>
                    <a:pt x="83" y="48"/>
                    <a:pt x="83" y="48"/>
                    <a:pt x="92" y="54"/>
                  </a:cubicBezTo>
                  <a:cubicBezTo>
                    <a:pt x="89" y="47"/>
                    <a:pt x="94" y="49"/>
                    <a:pt x="96" y="49"/>
                  </a:cubicBezTo>
                  <a:cubicBezTo>
                    <a:pt x="99" y="50"/>
                    <a:pt x="106" y="55"/>
                    <a:pt x="110" y="61"/>
                  </a:cubicBezTo>
                  <a:cubicBezTo>
                    <a:pt x="116" y="68"/>
                    <a:pt x="116" y="68"/>
                    <a:pt x="121" y="71"/>
                  </a:cubicBezTo>
                  <a:cubicBezTo>
                    <a:pt x="116" y="64"/>
                    <a:pt x="114" y="60"/>
                    <a:pt x="114" y="59"/>
                  </a:cubicBezTo>
                  <a:cubicBezTo>
                    <a:pt x="117" y="59"/>
                    <a:pt x="128" y="73"/>
                    <a:pt x="128" y="73"/>
                  </a:cubicBezTo>
                  <a:cubicBezTo>
                    <a:pt x="128" y="72"/>
                    <a:pt x="128" y="72"/>
                    <a:pt x="128" y="72"/>
                  </a:cubicBezTo>
                  <a:cubicBezTo>
                    <a:pt x="127" y="71"/>
                    <a:pt x="127" y="71"/>
                    <a:pt x="127" y="71"/>
                  </a:cubicBezTo>
                  <a:cubicBezTo>
                    <a:pt x="126" y="70"/>
                    <a:pt x="126" y="70"/>
                    <a:pt x="126" y="70"/>
                  </a:cubicBezTo>
                  <a:cubicBezTo>
                    <a:pt x="122" y="65"/>
                    <a:pt x="122" y="65"/>
                    <a:pt x="111" y="53"/>
                  </a:cubicBezTo>
                  <a:cubicBezTo>
                    <a:pt x="106" y="49"/>
                    <a:pt x="103" y="46"/>
                    <a:pt x="100" y="44"/>
                  </a:cubicBezTo>
                  <a:cubicBezTo>
                    <a:pt x="100" y="44"/>
                    <a:pt x="100" y="44"/>
                    <a:pt x="100" y="44"/>
                  </a:cubicBezTo>
                  <a:cubicBezTo>
                    <a:pt x="100" y="44"/>
                    <a:pt x="100" y="44"/>
                    <a:pt x="100" y="44"/>
                  </a:cubicBezTo>
                  <a:cubicBezTo>
                    <a:pt x="100" y="44"/>
                    <a:pt x="100" y="44"/>
                    <a:pt x="99" y="44"/>
                  </a:cubicBezTo>
                  <a:cubicBezTo>
                    <a:pt x="99" y="44"/>
                    <a:pt x="99" y="44"/>
                    <a:pt x="99" y="44"/>
                  </a:cubicBezTo>
                  <a:cubicBezTo>
                    <a:pt x="99" y="44"/>
                    <a:pt x="99" y="44"/>
                    <a:pt x="99" y="44"/>
                  </a:cubicBezTo>
                  <a:cubicBezTo>
                    <a:pt x="99" y="44"/>
                    <a:pt x="99" y="44"/>
                    <a:pt x="99" y="44"/>
                  </a:cubicBezTo>
                  <a:cubicBezTo>
                    <a:pt x="74" y="32"/>
                    <a:pt x="54" y="13"/>
                    <a:pt x="28" y="5"/>
                  </a:cubicBezTo>
                  <a:cubicBezTo>
                    <a:pt x="27" y="5"/>
                    <a:pt x="27" y="5"/>
                    <a:pt x="27" y="5"/>
                  </a:cubicBezTo>
                  <a:cubicBezTo>
                    <a:pt x="27" y="6"/>
                    <a:pt x="27" y="6"/>
                    <a:pt x="27" y="6"/>
                  </a:cubicBezTo>
                  <a:cubicBezTo>
                    <a:pt x="27" y="5"/>
                    <a:pt x="27" y="5"/>
                    <a:pt x="27" y="5"/>
                  </a:cubicBezTo>
                  <a:cubicBezTo>
                    <a:pt x="24" y="4"/>
                    <a:pt x="20" y="3"/>
                    <a:pt x="17" y="2"/>
                  </a:cubicBezTo>
                  <a:cubicBezTo>
                    <a:pt x="14" y="2"/>
                    <a:pt x="10" y="1"/>
                    <a:pt x="8" y="1"/>
                  </a:cubicBezTo>
                  <a:cubicBezTo>
                    <a:pt x="8" y="1"/>
                    <a:pt x="8" y="1"/>
                    <a:pt x="8" y="1"/>
                  </a:cubicBezTo>
                  <a:cubicBezTo>
                    <a:pt x="4" y="0"/>
                    <a:pt x="2" y="0"/>
                    <a:pt x="0" y="0"/>
                  </a:cubicBezTo>
                  <a:cubicBezTo>
                    <a:pt x="1" y="0"/>
                    <a:pt x="2" y="0"/>
                    <a:pt x="9" y="1"/>
                  </a:cubicBezTo>
                  <a:lnTo>
                    <a:pt x="10" y="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124">
              <a:extLst>
                <a:ext uri="{FF2B5EF4-FFF2-40B4-BE49-F238E27FC236}">
                  <a16:creationId xmlns:a16="http://schemas.microsoft.com/office/drawing/2014/main" id="{12B6D7D0-EA66-6E40-88FF-6B0927E84BF1}"/>
                </a:ext>
              </a:extLst>
            </p:cNvPr>
            <p:cNvSpPr>
              <a:spLocks/>
            </p:cNvSpPr>
            <p:nvPr/>
          </p:nvSpPr>
          <p:spPr bwMode="auto">
            <a:xfrm>
              <a:off x="7720013" y="4210051"/>
              <a:ext cx="33338" cy="123825"/>
            </a:xfrm>
            <a:custGeom>
              <a:avLst/>
              <a:gdLst>
                <a:gd name="T0" fmla="*/ 0 w 13"/>
                <a:gd name="T1" fmla="*/ 0 h 48"/>
                <a:gd name="T2" fmla="*/ 0 w 13"/>
                <a:gd name="T3" fmla="*/ 1 h 48"/>
                <a:gd name="T4" fmla="*/ 0 w 13"/>
                <a:gd name="T5" fmla="*/ 0 h 48"/>
                <a:gd name="T6" fmla="*/ 0 w 13"/>
                <a:gd name="T7" fmla="*/ 0 h 48"/>
                <a:gd name="T8" fmla="*/ 0 w 13"/>
                <a:gd name="T9" fmla="*/ 1 h 48"/>
                <a:gd name="T10" fmla="*/ 11 w 13"/>
                <a:gd name="T11" fmla="*/ 44 h 48"/>
                <a:gd name="T12" fmla="*/ 13 w 13"/>
                <a:gd name="T13" fmla="*/ 48 h 48"/>
                <a:gd name="T14" fmla="*/ 5 w 13"/>
                <a:gd name="T15" fmla="*/ 22 h 48"/>
                <a:gd name="T16" fmla="*/ 0 w 13"/>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8">
                  <a:moveTo>
                    <a:pt x="0" y="0"/>
                  </a:moveTo>
                  <a:cubicBezTo>
                    <a:pt x="0" y="1"/>
                    <a:pt x="0" y="1"/>
                    <a:pt x="0" y="1"/>
                  </a:cubicBezTo>
                  <a:cubicBezTo>
                    <a:pt x="0" y="1"/>
                    <a:pt x="0" y="1"/>
                    <a:pt x="0" y="0"/>
                  </a:cubicBezTo>
                  <a:cubicBezTo>
                    <a:pt x="0" y="0"/>
                    <a:pt x="0" y="0"/>
                    <a:pt x="0" y="0"/>
                  </a:cubicBezTo>
                  <a:cubicBezTo>
                    <a:pt x="0" y="1"/>
                    <a:pt x="0" y="1"/>
                    <a:pt x="0" y="1"/>
                  </a:cubicBezTo>
                  <a:cubicBezTo>
                    <a:pt x="4" y="23"/>
                    <a:pt x="4" y="23"/>
                    <a:pt x="11" y="44"/>
                  </a:cubicBezTo>
                  <a:cubicBezTo>
                    <a:pt x="13" y="48"/>
                    <a:pt x="13" y="48"/>
                    <a:pt x="13" y="48"/>
                  </a:cubicBezTo>
                  <a:cubicBezTo>
                    <a:pt x="12" y="46"/>
                    <a:pt x="8" y="32"/>
                    <a:pt x="5" y="22"/>
                  </a:cubicBezTo>
                  <a:cubicBezTo>
                    <a:pt x="1" y="7"/>
                    <a:pt x="0" y="0"/>
                    <a:pt x="0"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125">
              <a:extLst>
                <a:ext uri="{FF2B5EF4-FFF2-40B4-BE49-F238E27FC236}">
                  <a16:creationId xmlns:a16="http://schemas.microsoft.com/office/drawing/2014/main" id="{0523523F-B88C-5641-BD46-AEB48F731DA2}"/>
                </a:ext>
              </a:extLst>
            </p:cNvPr>
            <p:cNvSpPr>
              <a:spLocks/>
            </p:cNvSpPr>
            <p:nvPr/>
          </p:nvSpPr>
          <p:spPr bwMode="auto">
            <a:xfrm>
              <a:off x="7720013" y="4210051"/>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0"/>
                    <a:pt x="0" y="0"/>
                    <a:pt x="0"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126">
              <a:extLst>
                <a:ext uri="{FF2B5EF4-FFF2-40B4-BE49-F238E27FC236}">
                  <a16:creationId xmlns:a16="http://schemas.microsoft.com/office/drawing/2014/main" id="{C5B7147A-383F-7C44-9CF8-10D9BBEBDD85}"/>
                </a:ext>
              </a:extLst>
            </p:cNvPr>
            <p:cNvSpPr>
              <a:spLocks/>
            </p:cNvSpPr>
            <p:nvPr/>
          </p:nvSpPr>
          <p:spPr bwMode="auto">
            <a:xfrm>
              <a:off x="7720013" y="4210051"/>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0"/>
                    <a:pt x="0" y="0"/>
                    <a:pt x="0"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27">
              <a:extLst>
                <a:ext uri="{FF2B5EF4-FFF2-40B4-BE49-F238E27FC236}">
                  <a16:creationId xmlns:a16="http://schemas.microsoft.com/office/drawing/2014/main" id="{A2EB0F4F-93DA-F44F-B3F5-3920559ECFBD}"/>
                </a:ext>
              </a:extLst>
            </p:cNvPr>
            <p:cNvSpPr>
              <a:spLocks/>
            </p:cNvSpPr>
            <p:nvPr/>
          </p:nvSpPr>
          <p:spPr bwMode="auto">
            <a:xfrm>
              <a:off x="8353425" y="3673476"/>
              <a:ext cx="152400" cy="79375"/>
            </a:xfrm>
            <a:custGeom>
              <a:avLst/>
              <a:gdLst>
                <a:gd name="T0" fmla="*/ 59 w 59"/>
                <a:gd name="T1" fmla="*/ 31 h 31"/>
                <a:gd name="T2" fmla="*/ 59 w 59"/>
                <a:gd name="T3" fmla="*/ 30 h 31"/>
                <a:gd name="T4" fmla="*/ 58 w 59"/>
                <a:gd name="T5" fmla="*/ 30 h 31"/>
                <a:gd name="T6" fmla="*/ 53 w 59"/>
                <a:gd name="T7" fmla="*/ 27 h 31"/>
                <a:gd name="T8" fmla="*/ 27 w 59"/>
                <a:gd name="T9" fmla="*/ 11 h 31"/>
                <a:gd name="T10" fmla="*/ 0 w 59"/>
                <a:gd name="T11" fmla="*/ 0 h 31"/>
                <a:gd name="T12" fmla="*/ 47 w 59"/>
                <a:gd name="T13" fmla="*/ 25 h 31"/>
                <a:gd name="T14" fmla="*/ 59 w 59"/>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1">
                  <a:moveTo>
                    <a:pt x="59" y="31"/>
                  </a:moveTo>
                  <a:cubicBezTo>
                    <a:pt x="59" y="30"/>
                    <a:pt x="59" y="30"/>
                    <a:pt x="59" y="30"/>
                  </a:cubicBezTo>
                  <a:cubicBezTo>
                    <a:pt x="58" y="30"/>
                    <a:pt x="58" y="30"/>
                    <a:pt x="58" y="30"/>
                  </a:cubicBezTo>
                  <a:cubicBezTo>
                    <a:pt x="53" y="27"/>
                    <a:pt x="53" y="27"/>
                    <a:pt x="53" y="27"/>
                  </a:cubicBezTo>
                  <a:cubicBezTo>
                    <a:pt x="44" y="20"/>
                    <a:pt x="42" y="19"/>
                    <a:pt x="27" y="11"/>
                  </a:cubicBezTo>
                  <a:cubicBezTo>
                    <a:pt x="16" y="6"/>
                    <a:pt x="14" y="5"/>
                    <a:pt x="0" y="0"/>
                  </a:cubicBezTo>
                  <a:cubicBezTo>
                    <a:pt x="10" y="3"/>
                    <a:pt x="19" y="9"/>
                    <a:pt x="47" y="25"/>
                  </a:cubicBezTo>
                  <a:cubicBezTo>
                    <a:pt x="55" y="29"/>
                    <a:pt x="59" y="31"/>
                    <a:pt x="59" y="3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0" name="Freeform 32">
            <a:extLst>
              <a:ext uri="{FF2B5EF4-FFF2-40B4-BE49-F238E27FC236}">
                <a16:creationId xmlns:a16="http://schemas.microsoft.com/office/drawing/2014/main" id="{BBBFCD15-8C42-3A4B-B37B-0B8C19430777}"/>
              </a:ext>
            </a:extLst>
          </p:cNvPr>
          <p:cNvSpPr>
            <a:spLocks noEditPoints="1"/>
          </p:cNvSpPr>
          <p:nvPr/>
        </p:nvSpPr>
        <p:spPr bwMode="auto">
          <a:xfrm>
            <a:off x="8189353" y="3648887"/>
            <a:ext cx="346241" cy="236947"/>
          </a:xfrm>
          <a:custGeom>
            <a:avLst/>
            <a:gdLst>
              <a:gd name="T0" fmla="*/ 219 w 533"/>
              <a:gd name="T1" fmla="*/ 248 h 364"/>
              <a:gd name="T2" fmla="*/ 0 w 533"/>
              <a:gd name="T3" fmla="*/ 364 h 364"/>
              <a:gd name="T4" fmla="*/ 151 w 533"/>
              <a:gd name="T5" fmla="*/ 334 h 364"/>
              <a:gd name="T6" fmla="*/ 142 w 533"/>
              <a:gd name="T7" fmla="*/ 271 h 364"/>
              <a:gd name="T8" fmla="*/ 189 w 533"/>
              <a:gd name="T9" fmla="*/ 261 h 364"/>
              <a:gd name="T10" fmla="*/ 176 w 533"/>
              <a:gd name="T11" fmla="*/ 296 h 364"/>
              <a:gd name="T12" fmla="*/ 237 w 533"/>
              <a:gd name="T13" fmla="*/ 108 h 364"/>
              <a:gd name="T14" fmla="*/ 242 w 533"/>
              <a:gd name="T15" fmla="*/ 150 h 364"/>
              <a:gd name="T16" fmla="*/ 185 w 533"/>
              <a:gd name="T17" fmla="*/ 250 h 364"/>
              <a:gd name="T18" fmla="*/ 103 w 533"/>
              <a:gd name="T19" fmla="*/ 187 h 364"/>
              <a:gd name="T20" fmla="*/ 94 w 533"/>
              <a:gd name="T21" fmla="*/ 113 h 364"/>
              <a:gd name="T22" fmla="*/ 237 w 533"/>
              <a:gd name="T23" fmla="*/ 108 h 364"/>
              <a:gd name="T24" fmla="*/ 126 w 533"/>
              <a:gd name="T25" fmla="*/ 98 h 364"/>
              <a:gd name="T26" fmla="*/ 194 w 533"/>
              <a:gd name="T27" fmla="*/ 102 h 364"/>
              <a:gd name="T28" fmla="*/ 214 w 533"/>
              <a:gd name="T29" fmla="*/ 124 h 364"/>
              <a:gd name="T30" fmla="*/ 225 w 533"/>
              <a:gd name="T31" fmla="*/ 120 h 364"/>
              <a:gd name="T32" fmla="*/ 220 w 533"/>
              <a:gd name="T33" fmla="*/ 177 h 364"/>
              <a:gd name="T34" fmla="*/ 181 w 533"/>
              <a:gd name="T35" fmla="*/ 239 h 364"/>
              <a:gd name="T36" fmla="*/ 113 w 533"/>
              <a:gd name="T37" fmla="*/ 179 h 364"/>
              <a:gd name="T38" fmla="*/ 99 w 533"/>
              <a:gd name="T39" fmla="*/ 148 h 364"/>
              <a:gd name="T40" fmla="*/ 112 w 533"/>
              <a:gd name="T41" fmla="*/ 127 h 364"/>
              <a:gd name="T42" fmla="*/ 351 w 533"/>
              <a:gd name="T43" fmla="*/ 55 h 364"/>
              <a:gd name="T44" fmla="*/ 294 w 533"/>
              <a:gd name="T45" fmla="*/ 137 h 364"/>
              <a:gd name="T46" fmla="*/ 283 w 533"/>
              <a:gd name="T47" fmla="*/ 270 h 364"/>
              <a:gd name="T48" fmla="*/ 320 w 533"/>
              <a:gd name="T49" fmla="*/ 249 h 364"/>
              <a:gd name="T50" fmla="*/ 337 w 533"/>
              <a:gd name="T51" fmla="*/ 246 h 364"/>
              <a:gd name="T52" fmla="*/ 356 w 533"/>
              <a:gd name="T53" fmla="*/ 261 h 364"/>
              <a:gd name="T54" fmla="*/ 407 w 533"/>
              <a:gd name="T55" fmla="*/ 246 h 364"/>
              <a:gd name="T56" fmla="*/ 413 w 533"/>
              <a:gd name="T57" fmla="*/ 261 h 364"/>
              <a:gd name="T58" fmla="*/ 429 w 533"/>
              <a:gd name="T59" fmla="*/ 251 h 364"/>
              <a:gd name="T60" fmla="*/ 451 w 533"/>
              <a:gd name="T61" fmla="*/ 137 h 364"/>
              <a:gd name="T62" fmla="*/ 429 w 533"/>
              <a:gd name="T63" fmla="*/ 76 h 364"/>
              <a:gd name="T64" fmla="*/ 351 w 533"/>
              <a:gd name="T65" fmla="*/ 55 h 364"/>
              <a:gd name="T66" fmla="*/ 338 w 533"/>
              <a:gd name="T67" fmla="*/ 144 h 364"/>
              <a:gd name="T68" fmla="*/ 329 w 533"/>
              <a:gd name="T69" fmla="*/ 216 h 364"/>
              <a:gd name="T70" fmla="*/ 383 w 533"/>
              <a:gd name="T71" fmla="*/ 250 h 364"/>
              <a:gd name="T72" fmla="*/ 420 w 533"/>
              <a:gd name="T73" fmla="*/ 145 h 364"/>
              <a:gd name="T74" fmla="*/ 394 w 533"/>
              <a:gd name="T75" fmla="*/ 119 h 364"/>
              <a:gd name="T76" fmla="*/ 533 w 533"/>
              <a:gd name="T77" fmla="*/ 364 h 364"/>
              <a:gd name="T78" fmla="*/ 290 w 533"/>
              <a:gd name="T79" fmla="*/ 275 h 364"/>
              <a:gd name="T80" fmla="*/ 426 w 533"/>
              <a:gd name="T81" fmla="*/ 259 h 364"/>
              <a:gd name="T82" fmla="*/ 533 w 533"/>
              <a:gd name="T83"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3" h="364">
                <a:moveTo>
                  <a:pt x="180" y="334"/>
                </a:moveTo>
                <a:cubicBezTo>
                  <a:pt x="200" y="305"/>
                  <a:pt x="208" y="280"/>
                  <a:pt x="219" y="248"/>
                </a:cubicBezTo>
                <a:cubicBezTo>
                  <a:pt x="287" y="269"/>
                  <a:pt x="318" y="309"/>
                  <a:pt x="331" y="364"/>
                </a:cubicBezTo>
                <a:cubicBezTo>
                  <a:pt x="0" y="364"/>
                  <a:pt x="0" y="364"/>
                  <a:pt x="0" y="364"/>
                </a:cubicBezTo>
                <a:cubicBezTo>
                  <a:pt x="13" y="309"/>
                  <a:pt x="44" y="269"/>
                  <a:pt x="111" y="248"/>
                </a:cubicBezTo>
                <a:cubicBezTo>
                  <a:pt x="123" y="280"/>
                  <a:pt x="131" y="305"/>
                  <a:pt x="151" y="334"/>
                </a:cubicBezTo>
                <a:cubicBezTo>
                  <a:pt x="154" y="296"/>
                  <a:pt x="154" y="296"/>
                  <a:pt x="154" y="296"/>
                </a:cubicBezTo>
                <a:cubicBezTo>
                  <a:pt x="142" y="271"/>
                  <a:pt x="142" y="271"/>
                  <a:pt x="142" y="271"/>
                </a:cubicBezTo>
                <a:cubicBezTo>
                  <a:pt x="141" y="268"/>
                  <a:pt x="141" y="264"/>
                  <a:pt x="142" y="261"/>
                </a:cubicBezTo>
                <a:cubicBezTo>
                  <a:pt x="154" y="266"/>
                  <a:pt x="177" y="266"/>
                  <a:pt x="189" y="261"/>
                </a:cubicBezTo>
                <a:cubicBezTo>
                  <a:pt x="190" y="264"/>
                  <a:pt x="190" y="268"/>
                  <a:pt x="188" y="270"/>
                </a:cubicBezTo>
                <a:cubicBezTo>
                  <a:pt x="176" y="296"/>
                  <a:pt x="176" y="296"/>
                  <a:pt x="176" y="296"/>
                </a:cubicBezTo>
                <a:cubicBezTo>
                  <a:pt x="180" y="334"/>
                  <a:pt x="180" y="334"/>
                  <a:pt x="180" y="334"/>
                </a:cubicBezTo>
                <a:close/>
                <a:moveTo>
                  <a:pt x="237" y="108"/>
                </a:moveTo>
                <a:cubicBezTo>
                  <a:pt x="237" y="110"/>
                  <a:pt x="237" y="112"/>
                  <a:pt x="237" y="113"/>
                </a:cubicBezTo>
                <a:cubicBezTo>
                  <a:pt x="243" y="123"/>
                  <a:pt x="243" y="140"/>
                  <a:pt x="242" y="150"/>
                </a:cubicBezTo>
                <a:cubicBezTo>
                  <a:pt x="241" y="161"/>
                  <a:pt x="237" y="181"/>
                  <a:pt x="227" y="187"/>
                </a:cubicBezTo>
                <a:cubicBezTo>
                  <a:pt x="221" y="215"/>
                  <a:pt x="208" y="239"/>
                  <a:pt x="185" y="250"/>
                </a:cubicBezTo>
                <a:cubicBezTo>
                  <a:pt x="172" y="256"/>
                  <a:pt x="158" y="256"/>
                  <a:pt x="146" y="250"/>
                </a:cubicBezTo>
                <a:cubicBezTo>
                  <a:pt x="122" y="239"/>
                  <a:pt x="109" y="215"/>
                  <a:pt x="103" y="187"/>
                </a:cubicBezTo>
                <a:cubicBezTo>
                  <a:pt x="93" y="181"/>
                  <a:pt x="89" y="161"/>
                  <a:pt x="88" y="150"/>
                </a:cubicBezTo>
                <a:cubicBezTo>
                  <a:pt x="87" y="140"/>
                  <a:pt x="88" y="123"/>
                  <a:pt x="94" y="113"/>
                </a:cubicBezTo>
                <a:cubicBezTo>
                  <a:pt x="94" y="112"/>
                  <a:pt x="94" y="110"/>
                  <a:pt x="94" y="108"/>
                </a:cubicBezTo>
                <a:cubicBezTo>
                  <a:pt x="94" y="0"/>
                  <a:pt x="237" y="0"/>
                  <a:pt x="237" y="108"/>
                </a:cubicBezTo>
                <a:close/>
                <a:moveTo>
                  <a:pt x="117" y="124"/>
                </a:moveTo>
                <a:cubicBezTo>
                  <a:pt x="117" y="113"/>
                  <a:pt x="120" y="100"/>
                  <a:pt x="126" y="98"/>
                </a:cubicBezTo>
                <a:cubicBezTo>
                  <a:pt x="129" y="97"/>
                  <a:pt x="133" y="99"/>
                  <a:pt x="136" y="102"/>
                </a:cubicBezTo>
                <a:cubicBezTo>
                  <a:pt x="152" y="120"/>
                  <a:pt x="179" y="120"/>
                  <a:pt x="194" y="102"/>
                </a:cubicBezTo>
                <a:cubicBezTo>
                  <a:pt x="198" y="99"/>
                  <a:pt x="201" y="97"/>
                  <a:pt x="205" y="98"/>
                </a:cubicBezTo>
                <a:cubicBezTo>
                  <a:pt x="210" y="100"/>
                  <a:pt x="213" y="113"/>
                  <a:pt x="214" y="124"/>
                </a:cubicBezTo>
                <a:cubicBezTo>
                  <a:pt x="215" y="130"/>
                  <a:pt x="218" y="130"/>
                  <a:pt x="219" y="127"/>
                </a:cubicBezTo>
                <a:cubicBezTo>
                  <a:pt x="221" y="123"/>
                  <a:pt x="223" y="120"/>
                  <a:pt x="225" y="120"/>
                </a:cubicBezTo>
                <a:cubicBezTo>
                  <a:pt x="230" y="120"/>
                  <a:pt x="233" y="132"/>
                  <a:pt x="231" y="148"/>
                </a:cubicBezTo>
                <a:cubicBezTo>
                  <a:pt x="230" y="164"/>
                  <a:pt x="225" y="177"/>
                  <a:pt x="220" y="177"/>
                </a:cubicBezTo>
                <a:cubicBezTo>
                  <a:pt x="219" y="177"/>
                  <a:pt x="218" y="178"/>
                  <a:pt x="218" y="179"/>
                </a:cubicBezTo>
                <a:cubicBezTo>
                  <a:pt x="212" y="208"/>
                  <a:pt x="200" y="229"/>
                  <a:pt x="181" y="239"/>
                </a:cubicBezTo>
                <a:cubicBezTo>
                  <a:pt x="171" y="243"/>
                  <a:pt x="160" y="243"/>
                  <a:pt x="150" y="239"/>
                </a:cubicBezTo>
                <a:cubicBezTo>
                  <a:pt x="131" y="229"/>
                  <a:pt x="118" y="208"/>
                  <a:pt x="113" y="179"/>
                </a:cubicBezTo>
                <a:cubicBezTo>
                  <a:pt x="112" y="178"/>
                  <a:pt x="112" y="177"/>
                  <a:pt x="110" y="177"/>
                </a:cubicBezTo>
                <a:cubicBezTo>
                  <a:pt x="106" y="177"/>
                  <a:pt x="101" y="164"/>
                  <a:pt x="99" y="148"/>
                </a:cubicBezTo>
                <a:cubicBezTo>
                  <a:pt x="98" y="132"/>
                  <a:pt x="100" y="120"/>
                  <a:pt x="105" y="120"/>
                </a:cubicBezTo>
                <a:cubicBezTo>
                  <a:pt x="107" y="120"/>
                  <a:pt x="110" y="123"/>
                  <a:pt x="112" y="127"/>
                </a:cubicBezTo>
                <a:cubicBezTo>
                  <a:pt x="113" y="130"/>
                  <a:pt x="116" y="130"/>
                  <a:pt x="117" y="124"/>
                </a:cubicBezTo>
                <a:close/>
                <a:moveTo>
                  <a:pt x="351" y="55"/>
                </a:moveTo>
                <a:cubicBezTo>
                  <a:pt x="328" y="62"/>
                  <a:pt x="308" y="79"/>
                  <a:pt x="299" y="107"/>
                </a:cubicBezTo>
                <a:cubicBezTo>
                  <a:pt x="295" y="117"/>
                  <a:pt x="294" y="127"/>
                  <a:pt x="294" y="137"/>
                </a:cubicBezTo>
                <a:cubicBezTo>
                  <a:pt x="291" y="183"/>
                  <a:pt x="296" y="222"/>
                  <a:pt x="277" y="265"/>
                </a:cubicBezTo>
                <a:cubicBezTo>
                  <a:pt x="279" y="267"/>
                  <a:pt x="281" y="268"/>
                  <a:pt x="283" y="270"/>
                </a:cubicBezTo>
                <a:cubicBezTo>
                  <a:pt x="294" y="263"/>
                  <a:pt x="305" y="257"/>
                  <a:pt x="316" y="251"/>
                </a:cubicBezTo>
                <a:cubicBezTo>
                  <a:pt x="320" y="249"/>
                  <a:pt x="320" y="249"/>
                  <a:pt x="320" y="249"/>
                </a:cubicBezTo>
                <a:cubicBezTo>
                  <a:pt x="323" y="253"/>
                  <a:pt x="327" y="259"/>
                  <a:pt x="331" y="261"/>
                </a:cubicBezTo>
                <a:cubicBezTo>
                  <a:pt x="333" y="262"/>
                  <a:pt x="336" y="252"/>
                  <a:pt x="337" y="246"/>
                </a:cubicBezTo>
                <a:cubicBezTo>
                  <a:pt x="337" y="246"/>
                  <a:pt x="337" y="246"/>
                  <a:pt x="337" y="246"/>
                </a:cubicBezTo>
                <a:cubicBezTo>
                  <a:pt x="343" y="252"/>
                  <a:pt x="349" y="257"/>
                  <a:pt x="356" y="261"/>
                </a:cubicBezTo>
                <a:cubicBezTo>
                  <a:pt x="367" y="269"/>
                  <a:pt x="378" y="269"/>
                  <a:pt x="389" y="261"/>
                </a:cubicBezTo>
                <a:cubicBezTo>
                  <a:pt x="395" y="257"/>
                  <a:pt x="401" y="252"/>
                  <a:pt x="407" y="246"/>
                </a:cubicBezTo>
                <a:cubicBezTo>
                  <a:pt x="407" y="246"/>
                  <a:pt x="408" y="246"/>
                  <a:pt x="408" y="246"/>
                </a:cubicBezTo>
                <a:cubicBezTo>
                  <a:pt x="408" y="252"/>
                  <a:pt x="412" y="262"/>
                  <a:pt x="413" y="261"/>
                </a:cubicBezTo>
                <a:cubicBezTo>
                  <a:pt x="417" y="259"/>
                  <a:pt x="422" y="253"/>
                  <a:pt x="425" y="249"/>
                </a:cubicBezTo>
                <a:cubicBezTo>
                  <a:pt x="429" y="251"/>
                  <a:pt x="429" y="251"/>
                  <a:pt x="429" y="251"/>
                </a:cubicBezTo>
                <a:cubicBezTo>
                  <a:pt x="445" y="259"/>
                  <a:pt x="460" y="269"/>
                  <a:pt x="475" y="280"/>
                </a:cubicBezTo>
                <a:cubicBezTo>
                  <a:pt x="445" y="226"/>
                  <a:pt x="454" y="188"/>
                  <a:pt x="451" y="137"/>
                </a:cubicBezTo>
                <a:cubicBezTo>
                  <a:pt x="450" y="127"/>
                  <a:pt x="449" y="117"/>
                  <a:pt x="446" y="107"/>
                </a:cubicBezTo>
                <a:cubicBezTo>
                  <a:pt x="442" y="95"/>
                  <a:pt x="437" y="84"/>
                  <a:pt x="429" y="76"/>
                </a:cubicBezTo>
                <a:cubicBezTo>
                  <a:pt x="421" y="68"/>
                  <a:pt x="404" y="56"/>
                  <a:pt x="391" y="62"/>
                </a:cubicBezTo>
                <a:cubicBezTo>
                  <a:pt x="378" y="55"/>
                  <a:pt x="368" y="50"/>
                  <a:pt x="351" y="55"/>
                </a:cubicBezTo>
                <a:close/>
                <a:moveTo>
                  <a:pt x="394" y="119"/>
                </a:moveTo>
                <a:cubicBezTo>
                  <a:pt x="386" y="131"/>
                  <a:pt x="364" y="142"/>
                  <a:pt x="338" y="144"/>
                </a:cubicBezTo>
                <a:cubicBezTo>
                  <a:pt x="334" y="145"/>
                  <a:pt x="329" y="145"/>
                  <a:pt x="325" y="145"/>
                </a:cubicBezTo>
                <a:cubicBezTo>
                  <a:pt x="318" y="166"/>
                  <a:pt x="322" y="199"/>
                  <a:pt x="329" y="216"/>
                </a:cubicBezTo>
                <a:cubicBezTo>
                  <a:pt x="336" y="230"/>
                  <a:pt x="346" y="241"/>
                  <a:pt x="362" y="250"/>
                </a:cubicBezTo>
                <a:cubicBezTo>
                  <a:pt x="369" y="255"/>
                  <a:pt x="376" y="255"/>
                  <a:pt x="383" y="250"/>
                </a:cubicBezTo>
                <a:cubicBezTo>
                  <a:pt x="398" y="241"/>
                  <a:pt x="409" y="230"/>
                  <a:pt x="415" y="216"/>
                </a:cubicBezTo>
                <a:cubicBezTo>
                  <a:pt x="423" y="199"/>
                  <a:pt x="426" y="167"/>
                  <a:pt x="420" y="145"/>
                </a:cubicBezTo>
                <a:cubicBezTo>
                  <a:pt x="415" y="143"/>
                  <a:pt x="410" y="140"/>
                  <a:pt x="405" y="135"/>
                </a:cubicBezTo>
                <a:cubicBezTo>
                  <a:pt x="400" y="130"/>
                  <a:pt x="397" y="125"/>
                  <a:pt x="394" y="119"/>
                </a:cubicBezTo>
                <a:close/>
                <a:moveTo>
                  <a:pt x="533" y="364"/>
                </a:moveTo>
                <a:cubicBezTo>
                  <a:pt x="533" y="364"/>
                  <a:pt x="533" y="364"/>
                  <a:pt x="533" y="364"/>
                </a:cubicBezTo>
                <a:cubicBezTo>
                  <a:pt x="339" y="364"/>
                  <a:pt x="339" y="364"/>
                  <a:pt x="339" y="364"/>
                </a:cubicBezTo>
                <a:cubicBezTo>
                  <a:pt x="330" y="325"/>
                  <a:pt x="314" y="296"/>
                  <a:pt x="290" y="275"/>
                </a:cubicBezTo>
                <a:cubicBezTo>
                  <a:pt x="299" y="269"/>
                  <a:pt x="308" y="264"/>
                  <a:pt x="318" y="259"/>
                </a:cubicBezTo>
                <a:cubicBezTo>
                  <a:pt x="352" y="301"/>
                  <a:pt x="397" y="294"/>
                  <a:pt x="426" y="259"/>
                </a:cubicBezTo>
                <a:cubicBezTo>
                  <a:pt x="446" y="269"/>
                  <a:pt x="465" y="281"/>
                  <a:pt x="482" y="296"/>
                </a:cubicBezTo>
                <a:cubicBezTo>
                  <a:pt x="503" y="316"/>
                  <a:pt x="520" y="339"/>
                  <a:pt x="533"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22" name="Group 121">
            <a:extLst>
              <a:ext uri="{FF2B5EF4-FFF2-40B4-BE49-F238E27FC236}">
                <a16:creationId xmlns:a16="http://schemas.microsoft.com/office/drawing/2014/main" id="{DB0C23DD-769B-ED43-A27D-43252BBB6D61}"/>
              </a:ext>
            </a:extLst>
          </p:cNvPr>
          <p:cNvGrpSpPr/>
          <p:nvPr/>
        </p:nvGrpSpPr>
        <p:grpSpPr>
          <a:xfrm>
            <a:off x="8238215" y="4135391"/>
            <a:ext cx="219822" cy="282047"/>
            <a:chOff x="2498725" y="3725863"/>
            <a:chExt cx="600075" cy="769937"/>
          </a:xfrm>
          <a:solidFill>
            <a:schemeClr val="bg1"/>
          </a:solidFill>
        </p:grpSpPr>
        <p:sp>
          <p:nvSpPr>
            <p:cNvPr id="123" name="Freeform 6">
              <a:extLst>
                <a:ext uri="{FF2B5EF4-FFF2-40B4-BE49-F238E27FC236}">
                  <a16:creationId xmlns:a16="http://schemas.microsoft.com/office/drawing/2014/main" id="{C0BC55D2-736E-F242-933F-6FF627B8E300}"/>
                </a:ext>
              </a:extLst>
            </p:cNvPr>
            <p:cNvSpPr>
              <a:spLocks noEditPoints="1"/>
            </p:cNvSpPr>
            <p:nvPr/>
          </p:nvSpPr>
          <p:spPr bwMode="auto">
            <a:xfrm>
              <a:off x="2806700" y="3725863"/>
              <a:ext cx="292100" cy="446087"/>
            </a:xfrm>
            <a:custGeom>
              <a:avLst/>
              <a:gdLst>
                <a:gd name="T0" fmla="*/ 0 w 472"/>
                <a:gd name="T1" fmla="*/ 142 h 721"/>
                <a:gd name="T2" fmla="*/ 0 w 472"/>
                <a:gd name="T3" fmla="*/ 609 h 721"/>
                <a:gd name="T4" fmla="*/ 87 w 472"/>
                <a:gd name="T5" fmla="*/ 718 h 721"/>
                <a:gd name="T6" fmla="*/ 177 w 472"/>
                <a:gd name="T7" fmla="*/ 706 h 721"/>
                <a:gd name="T8" fmla="*/ 256 w 472"/>
                <a:gd name="T9" fmla="*/ 716 h 721"/>
                <a:gd name="T10" fmla="*/ 403 w 472"/>
                <a:gd name="T11" fmla="*/ 628 h 721"/>
                <a:gd name="T12" fmla="*/ 470 w 472"/>
                <a:gd name="T13" fmla="*/ 444 h 721"/>
                <a:gd name="T14" fmla="*/ 449 w 472"/>
                <a:gd name="T15" fmla="*/ 359 h 721"/>
                <a:gd name="T16" fmla="*/ 458 w 472"/>
                <a:gd name="T17" fmla="*/ 252 h 721"/>
                <a:gd name="T18" fmla="*/ 390 w 472"/>
                <a:gd name="T19" fmla="*/ 172 h 721"/>
                <a:gd name="T20" fmla="*/ 339 w 472"/>
                <a:gd name="T21" fmla="*/ 83 h 721"/>
                <a:gd name="T22" fmla="*/ 238 w 472"/>
                <a:gd name="T23" fmla="*/ 53 h 721"/>
                <a:gd name="T24" fmla="*/ 121 w 472"/>
                <a:gd name="T25" fmla="*/ 0 h 721"/>
                <a:gd name="T26" fmla="*/ 1 w 472"/>
                <a:gd name="T27" fmla="*/ 99 h 721"/>
                <a:gd name="T28" fmla="*/ 63 w 472"/>
                <a:gd name="T29" fmla="*/ 564 h 721"/>
                <a:gd name="T30" fmla="*/ 113 w 472"/>
                <a:gd name="T31" fmla="*/ 585 h 721"/>
                <a:gd name="T32" fmla="*/ 138 w 472"/>
                <a:gd name="T33" fmla="*/ 534 h 721"/>
                <a:gd name="T34" fmla="*/ 63 w 472"/>
                <a:gd name="T35" fmla="*/ 224 h 721"/>
                <a:gd name="T36" fmla="*/ 165 w 472"/>
                <a:gd name="T37" fmla="*/ 201 h 721"/>
                <a:gd name="T38" fmla="*/ 73 w 472"/>
                <a:gd name="T39" fmla="*/ 158 h 721"/>
                <a:gd name="T40" fmla="*/ 63 w 472"/>
                <a:gd name="T41" fmla="*/ 112 h 721"/>
                <a:gd name="T42" fmla="*/ 133 w 472"/>
                <a:gd name="T43" fmla="*/ 63 h 721"/>
                <a:gd name="T44" fmla="*/ 163 w 472"/>
                <a:gd name="T45" fmla="*/ 99 h 721"/>
                <a:gd name="T46" fmla="*/ 207 w 472"/>
                <a:gd name="T47" fmla="*/ 128 h 721"/>
                <a:gd name="T48" fmla="*/ 208 w 472"/>
                <a:gd name="T49" fmla="*/ 127 h 721"/>
                <a:gd name="T50" fmla="*/ 252 w 472"/>
                <a:gd name="T51" fmla="*/ 115 h 721"/>
                <a:gd name="T52" fmla="*/ 321 w 472"/>
                <a:gd name="T53" fmla="*/ 157 h 721"/>
                <a:gd name="T54" fmla="*/ 216 w 472"/>
                <a:gd name="T55" fmla="*/ 262 h 721"/>
                <a:gd name="T56" fmla="*/ 247 w 472"/>
                <a:gd name="T57" fmla="*/ 294 h 721"/>
                <a:gd name="T58" fmla="*/ 300 w 472"/>
                <a:gd name="T59" fmla="*/ 226 h 721"/>
                <a:gd name="T60" fmla="*/ 398 w 472"/>
                <a:gd name="T61" fmla="*/ 273 h 721"/>
                <a:gd name="T62" fmla="*/ 354 w 472"/>
                <a:gd name="T63" fmla="*/ 304 h 721"/>
                <a:gd name="T64" fmla="*/ 354 w 472"/>
                <a:gd name="T65" fmla="*/ 367 h 721"/>
                <a:gd name="T66" fmla="*/ 408 w 472"/>
                <a:gd name="T67" fmla="*/ 440 h 721"/>
                <a:gd name="T68" fmla="*/ 327 w 472"/>
                <a:gd name="T69" fmla="*/ 422 h 721"/>
                <a:gd name="T70" fmla="*/ 122 w 472"/>
                <a:gd name="T71" fmla="*/ 304 h 721"/>
                <a:gd name="T72" fmla="*/ 122 w 472"/>
                <a:gd name="T73" fmla="*/ 367 h 721"/>
                <a:gd name="T74" fmla="*/ 131 w 472"/>
                <a:gd name="T75" fmla="*/ 435 h 721"/>
                <a:gd name="T76" fmla="*/ 167 w 472"/>
                <a:gd name="T77" fmla="*/ 486 h 721"/>
                <a:gd name="T78" fmla="*/ 357 w 472"/>
                <a:gd name="T79" fmla="*/ 553 h 721"/>
                <a:gd name="T80" fmla="*/ 286 w 472"/>
                <a:gd name="T81" fmla="*/ 648 h 721"/>
                <a:gd name="T82" fmla="*/ 230 w 472"/>
                <a:gd name="T83" fmla="*/ 650 h 721"/>
                <a:gd name="T84" fmla="*/ 211 w 472"/>
                <a:gd name="T85" fmla="*/ 556 h 721"/>
                <a:gd name="T86" fmla="*/ 144 w 472"/>
                <a:gd name="T87" fmla="*/ 652 h 721"/>
                <a:gd name="T88" fmla="*/ 63 w 472"/>
                <a:gd name="T89" fmla="*/ 60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721">
                  <a:moveTo>
                    <a:pt x="0" y="112"/>
                  </a:moveTo>
                  <a:cubicBezTo>
                    <a:pt x="0" y="142"/>
                    <a:pt x="0" y="142"/>
                    <a:pt x="0" y="142"/>
                  </a:cubicBezTo>
                  <a:cubicBezTo>
                    <a:pt x="0" y="607"/>
                    <a:pt x="0" y="607"/>
                    <a:pt x="0" y="607"/>
                  </a:cubicBezTo>
                  <a:cubicBezTo>
                    <a:pt x="0" y="609"/>
                    <a:pt x="0" y="609"/>
                    <a:pt x="0" y="609"/>
                  </a:cubicBezTo>
                  <a:cubicBezTo>
                    <a:pt x="1" y="612"/>
                    <a:pt x="1" y="612"/>
                    <a:pt x="1" y="612"/>
                  </a:cubicBezTo>
                  <a:cubicBezTo>
                    <a:pt x="4" y="658"/>
                    <a:pt x="34" y="705"/>
                    <a:pt x="87" y="718"/>
                  </a:cubicBezTo>
                  <a:cubicBezTo>
                    <a:pt x="96" y="720"/>
                    <a:pt x="106" y="721"/>
                    <a:pt x="117" y="721"/>
                  </a:cubicBezTo>
                  <a:cubicBezTo>
                    <a:pt x="140" y="721"/>
                    <a:pt x="160" y="715"/>
                    <a:pt x="177" y="706"/>
                  </a:cubicBezTo>
                  <a:cubicBezTo>
                    <a:pt x="180" y="704"/>
                    <a:pt x="182" y="703"/>
                    <a:pt x="185" y="701"/>
                  </a:cubicBezTo>
                  <a:cubicBezTo>
                    <a:pt x="205" y="709"/>
                    <a:pt x="229" y="716"/>
                    <a:pt x="256" y="716"/>
                  </a:cubicBezTo>
                  <a:cubicBezTo>
                    <a:pt x="272" y="716"/>
                    <a:pt x="289" y="713"/>
                    <a:pt x="305" y="708"/>
                  </a:cubicBezTo>
                  <a:cubicBezTo>
                    <a:pt x="350" y="694"/>
                    <a:pt x="384" y="666"/>
                    <a:pt x="403" y="628"/>
                  </a:cubicBezTo>
                  <a:cubicBezTo>
                    <a:pt x="414" y="606"/>
                    <a:pt x="420" y="580"/>
                    <a:pt x="421" y="552"/>
                  </a:cubicBezTo>
                  <a:cubicBezTo>
                    <a:pt x="445" y="529"/>
                    <a:pt x="467" y="494"/>
                    <a:pt x="470" y="444"/>
                  </a:cubicBezTo>
                  <a:cubicBezTo>
                    <a:pt x="472" y="417"/>
                    <a:pt x="466" y="394"/>
                    <a:pt x="457" y="374"/>
                  </a:cubicBezTo>
                  <a:cubicBezTo>
                    <a:pt x="455" y="369"/>
                    <a:pt x="452" y="364"/>
                    <a:pt x="449" y="359"/>
                  </a:cubicBezTo>
                  <a:cubicBezTo>
                    <a:pt x="449" y="358"/>
                    <a:pt x="450" y="357"/>
                    <a:pt x="450" y="356"/>
                  </a:cubicBezTo>
                  <a:cubicBezTo>
                    <a:pt x="464" y="327"/>
                    <a:pt x="471" y="291"/>
                    <a:pt x="458" y="252"/>
                  </a:cubicBezTo>
                  <a:cubicBezTo>
                    <a:pt x="448" y="224"/>
                    <a:pt x="432" y="204"/>
                    <a:pt x="415" y="190"/>
                  </a:cubicBezTo>
                  <a:cubicBezTo>
                    <a:pt x="407" y="183"/>
                    <a:pt x="399" y="177"/>
                    <a:pt x="390" y="172"/>
                  </a:cubicBezTo>
                  <a:cubicBezTo>
                    <a:pt x="390" y="172"/>
                    <a:pt x="390" y="172"/>
                    <a:pt x="390" y="172"/>
                  </a:cubicBezTo>
                  <a:cubicBezTo>
                    <a:pt x="386" y="141"/>
                    <a:pt x="372" y="108"/>
                    <a:pt x="339" y="83"/>
                  </a:cubicBezTo>
                  <a:cubicBezTo>
                    <a:pt x="313" y="63"/>
                    <a:pt x="283" y="52"/>
                    <a:pt x="252" y="52"/>
                  </a:cubicBezTo>
                  <a:cubicBezTo>
                    <a:pt x="247" y="52"/>
                    <a:pt x="242" y="53"/>
                    <a:pt x="238" y="53"/>
                  </a:cubicBezTo>
                  <a:cubicBezTo>
                    <a:pt x="217" y="27"/>
                    <a:pt x="185" y="4"/>
                    <a:pt x="138" y="1"/>
                  </a:cubicBezTo>
                  <a:cubicBezTo>
                    <a:pt x="132" y="0"/>
                    <a:pt x="127" y="0"/>
                    <a:pt x="121" y="0"/>
                  </a:cubicBezTo>
                  <a:cubicBezTo>
                    <a:pt x="64" y="0"/>
                    <a:pt x="34" y="26"/>
                    <a:pt x="19" y="48"/>
                  </a:cubicBezTo>
                  <a:cubicBezTo>
                    <a:pt x="9" y="62"/>
                    <a:pt x="3" y="80"/>
                    <a:pt x="1" y="99"/>
                  </a:cubicBezTo>
                  <a:cubicBezTo>
                    <a:pt x="1" y="103"/>
                    <a:pt x="0" y="108"/>
                    <a:pt x="0" y="112"/>
                  </a:cubicBezTo>
                  <a:close/>
                  <a:moveTo>
                    <a:pt x="63" y="564"/>
                  </a:moveTo>
                  <a:cubicBezTo>
                    <a:pt x="78" y="561"/>
                    <a:pt x="88" y="573"/>
                    <a:pt x="88" y="573"/>
                  </a:cubicBezTo>
                  <a:cubicBezTo>
                    <a:pt x="95" y="581"/>
                    <a:pt x="104" y="585"/>
                    <a:pt x="113" y="585"/>
                  </a:cubicBezTo>
                  <a:cubicBezTo>
                    <a:pt x="120" y="585"/>
                    <a:pt x="127" y="583"/>
                    <a:pt x="133" y="578"/>
                  </a:cubicBezTo>
                  <a:cubicBezTo>
                    <a:pt x="146" y="568"/>
                    <a:pt x="149" y="548"/>
                    <a:pt x="138" y="534"/>
                  </a:cubicBezTo>
                  <a:cubicBezTo>
                    <a:pt x="121" y="513"/>
                    <a:pt x="93" y="499"/>
                    <a:pt x="63" y="501"/>
                  </a:cubicBezTo>
                  <a:cubicBezTo>
                    <a:pt x="63" y="419"/>
                    <a:pt x="63" y="307"/>
                    <a:pt x="63" y="224"/>
                  </a:cubicBezTo>
                  <a:cubicBezTo>
                    <a:pt x="86" y="232"/>
                    <a:pt x="111" y="232"/>
                    <a:pt x="133" y="232"/>
                  </a:cubicBezTo>
                  <a:cubicBezTo>
                    <a:pt x="150" y="232"/>
                    <a:pt x="165" y="218"/>
                    <a:pt x="165" y="201"/>
                  </a:cubicBezTo>
                  <a:cubicBezTo>
                    <a:pt x="165" y="183"/>
                    <a:pt x="150" y="169"/>
                    <a:pt x="133" y="169"/>
                  </a:cubicBezTo>
                  <a:cubicBezTo>
                    <a:pt x="105" y="169"/>
                    <a:pt x="83" y="168"/>
                    <a:pt x="73" y="158"/>
                  </a:cubicBezTo>
                  <a:cubicBezTo>
                    <a:pt x="68" y="153"/>
                    <a:pt x="65" y="145"/>
                    <a:pt x="63" y="136"/>
                  </a:cubicBezTo>
                  <a:cubicBezTo>
                    <a:pt x="63" y="123"/>
                    <a:pt x="63" y="114"/>
                    <a:pt x="63" y="112"/>
                  </a:cubicBezTo>
                  <a:cubicBezTo>
                    <a:pt x="63" y="100"/>
                    <a:pt x="65" y="63"/>
                    <a:pt x="121" y="63"/>
                  </a:cubicBezTo>
                  <a:cubicBezTo>
                    <a:pt x="125" y="63"/>
                    <a:pt x="129" y="63"/>
                    <a:pt x="133" y="63"/>
                  </a:cubicBezTo>
                  <a:cubicBezTo>
                    <a:pt x="149" y="65"/>
                    <a:pt x="162" y="70"/>
                    <a:pt x="172" y="77"/>
                  </a:cubicBezTo>
                  <a:cubicBezTo>
                    <a:pt x="166" y="82"/>
                    <a:pt x="163" y="90"/>
                    <a:pt x="163" y="99"/>
                  </a:cubicBezTo>
                  <a:cubicBezTo>
                    <a:pt x="163" y="116"/>
                    <a:pt x="177" y="130"/>
                    <a:pt x="194" y="130"/>
                  </a:cubicBezTo>
                  <a:cubicBezTo>
                    <a:pt x="198" y="130"/>
                    <a:pt x="203" y="129"/>
                    <a:pt x="207" y="128"/>
                  </a:cubicBezTo>
                  <a:cubicBezTo>
                    <a:pt x="207" y="128"/>
                    <a:pt x="207" y="128"/>
                    <a:pt x="207" y="128"/>
                  </a:cubicBezTo>
                  <a:cubicBezTo>
                    <a:pt x="207" y="128"/>
                    <a:pt x="207" y="128"/>
                    <a:pt x="208" y="127"/>
                  </a:cubicBezTo>
                  <a:cubicBezTo>
                    <a:pt x="210" y="126"/>
                    <a:pt x="212" y="125"/>
                    <a:pt x="213" y="124"/>
                  </a:cubicBezTo>
                  <a:cubicBezTo>
                    <a:pt x="221" y="121"/>
                    <a:pt x="235" y="115"/>
                    <a:pt x="252" y="115"/>
                  </a:cubicBezTo>
                  <a:cubicBezTo>
                    <a:pt x="266" y="115"/>
                    <a:pt x="284" y="120"/>
                    <a:pt x="301" y="133"/>
                  </a:cubicBezTo>
                  <a:cubicBezTo>
                    <a:pt x="310" y="140"/>
                    <a:pt x="317" y="148"/>
                    <a:pt x="321" y="157"/>
                  </a:cubicBezTo>
                  <a:cubicBezTo>
                    <a:pt x="303" y="158"/>
                    <a:pt x="285" y="162"/>
                    <a:pt x="270" y="171"/>
                  </a:cubicBezTo>
                  <a:cubicBezTo>
                    <a:pt x="237" y="189"/>
                    <a:pt x="217" y="222"/>
                    <a:pt x="216" y="262"/>
                  </a:cubicBezTo>
                  <a:cubicBezTo>
                    <a:pt x="215" y="279"/>
                    <a:pt x="229" y="294"/>
                    <a:pt x="246" y="294"/>
                  </a:cubicBezTo>
                  <a:cubicBezTo>
                    <a:pt x="246" y="294"/>
                    <a:pt x="247" y="294"/>
                    <a:pt x="247" y="294"/>
                  </a:cubicBezTo>
                  <a:cubicBezTo>
                    <a:pt x="264" y="294"/>
                    <a:pt x="278" y="281"/>
                    <a:pt x="279" y="264"/>
                  </a:cubicBezTo>
                  <a:cubicBezTo>
                    <a:pt x="279" y="247"/>
                    <a:pt x="287" y="234"/>
                    <a:pt x="300" y="226"/>
                  </a:cubicBezTo>
                  <a:cubicBezTo>
                    <a:pt x="315" y="218"/>
                    <a:pt x="336" y="218"/>
                    <a:pt x="356" y="226"/>
                  </a:cubicBezTo>
                  <a:cubicBezTo>
                    <a:pt x="372" y="234"/>
                    <a:pt x="390" y="248"/>
                    <a:pt x="398" y="273"/>
                  </a:cubicBezTo>
                  <a:cubicBezTo>
                    <a:pt x="403" y="287"/>
                    <a:pt x="403" y="301"/>
                    <a:pt x="399" y="313"/>
                  </a:cubicBezTo>
                  <a:cubicBezTo>
                    <a:pt x="386" y="308"/>
                    <a:pt x="371" y="304"/>
                    <a:pt x="354" y="304"/>
                  </a:cubicBezTo>
                  <a:cubicBezTo>
                    <a:pt x="337" y="304"/>
                    <a:pt x="323" y="318"/>
                    <a:pt x="323" y="336"/>
                  </a:cubicBezTo>
                  <a:cubicBezTo>
                    <a:pt x="323" y="353"/>
                    <a:pt x="337" y="367"/>
                    <a:pt x="354" y="367"/>
                  </a:cubicBezTo>
                  <a:cubicBezTo>
                    <a:pt x="364" y="367"/>
                    <a:pt x="373" y="370"/>
                    <a:pt x="379" y="373"/>
                  </a:cubicBezTo>
                  <a:cubicBezTo>
                    <a:pt x="392" y="385"/>
                    <a:pt x="410" y="406"/>
                    <a:pt x="408" y="440"/>
                  </a:cubicBezTo>
                  <a:cubicBezTo>
                    <a:pt x="407" y="458"/>
                    <a:pt x="402" y="472"/>
                    <a:pt x="396" y="483"/>
                  </a:cubicBezTo>
                  <a:cubicBezTo>
                    <a:pt x="379" y="459"/>
                    <a:pt x="355" y="437"/>
                    <a:pt x="327" y="422"/>
                  </a:cubicBezTo>
                  <a:cubicBezTo>
                    <a:pt x="297" y="406"/>
                    <a:pt x="266" y="398"/>
                    <a:pt x="235" y="399"/>
                  </a:cubicBezTo>
                  <a:cubicBezTo>
                    <a:pt x="226" y="344"/>
                    <a:pt x="181" y="304"/>
                    <a:pt x="122" y="304"/>
                  </a:cubicBezTo>
                  <a:cubicBezTo>
                    <a:pt x="105" y="304"/>
                    <a:pt x="91" y="318"/>
                    <a:pt x="91" y="336"/>
                  </a:cubicBezTo>
                  <a:cubicBezTo>
                    <a:pt x="91" y="353"/>
                    <a:pt x="105" y="367"/>
                    <a:pt x="122" y="367"/>
                  </a:cubicBezTo>
                  <a:cubicBezTo>
                    <a:pt x="153" y="367"/>
                    <a:pt x="170" y="389"/>
                    <a:pt x="173" y="412"/>
                  </a:cubicBezTo>
                  <a:cubicBezTo>
                    <a:pt x="158" y="418"/>
                    <a:pt x="144" y="425"/>
                    <a:pt x="131" y="435"/>
                  </a:cubicBezTo>
                  <a:cubicBezTo>
                    <a:pt x="117" y="444"/>
                    <a:pt x="113" y="464"/>
                    <a:pt x="123" y="478"/>
                  </a:cubicBezTo>
                  <a:cubicBezTo>
                    <a:pt x="133" y="493"/>
                    <a:pt x="152" y="496"/>
                    <a:pt x="167" y="486"/>
                  </a:cubicBezTo>
                  <a:cubicBezTo>
                    <a:pt x="223" y="447"/>
                    <a:pt x="272" y="464"/>
                    <a:pt x="297" y="477"/>
                  </a:cubicBezTo>
                  <a:cubicBezTo>
                    <a:pt x="335" y="497"/>
                    <a:pt x="357" y="532"/>
                    <a:pt x="357" y="553"/>
                  </a:cubicBezTo>
                  <a:cubicBezTo>
                    <a:pt x="357" y="555"/>
                    <a:pt x="357" y="558"/>
                    <a:pt x="357" y="561"/>
                  </a:cubicBezTo>
                  <a:cubicBezTo>
                    <a:pt x="353" y="602"/>
                    <a:pt x="333" y="634"/>
                    <a:pt x="286" y="648"/>
                  </a:cubicBezTo>
                  <a:cubicBezTo>
                    <a:pt x="276" y="651"/>
                    <a:pt x="265" y="653"/>
                    <a:pt x="256" y="653"/>
                  </a:cubicBezTo>
                  <a:cubicBezTo>
                    <a:pt x="247" y="653"/>
                    <a:pt x="238" y="652"/>
                    <a:pt x="230" y="650"/>
                  </a:cubicBezTo>
                  <a:cubicBezTo>
                    <a:pt x="240" y="631"/>
                    <a:pt x="245" y="609"/>
                    <a:pt x="244" y="587"/>
                  </a:cubicBezTo>
                  <a:cubicBezTo>
                    <a:pt x="243" y="569"/>
                    <a:pt x="229" y="556"/>
                    <a:pt x="211" y="556"/>
                  </a:cubicBezTo>
                  <a:cubicBezTo>
                    <a:pt x="194" y="557"/>
                    <a:pt x="180" y="572"/>
                    <a:pt x="181" y="589"/>
                  </a:cubicBezTo>
                  <a:cubicBezTo>
                    <a:pt x="182" y="615"/>
                    <a:pt x="167" y="639"/>
                    <a:pt x="144" y="652"/>
                  </a:cubicBezTo>
                  <a:cubicBezTo>
                    <a:pt x="137" y="656"/>
                    <a:pt x="128" y="658"/>
                    <a:pt x="117" y="658"/>
                  </a:cubicBezTo>
                  <a:cubicBezTo>
                    <a:pt x="67" y="658"/>
                    <a:pt x="63" y="607"/>
                    <a:pt x="63" y="607"/>
                  </a:cubicBezTo>
                  <a:cubicBezTo>
                    <a:pt x="63" y="607"/>
                    <a:pt x="63" y="591"/>
                    <a:pt x="63" y="56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4" name="Freeform 7">
              <a:extLst>
                <a:ext uri="{FF2B5EF4-FFF2-40B4-BE49-F238E27FC236}">
                  <a16:creationId xmlns:a16="http://schemas.microsoft.com/office/drawing/2014/main" id="{929207F0-05E4-2944-A902-4B485A6D5DF4}"/>
                </a:ext>
              </a:extLst>
            </p:cNvPr>
            <p:cNvSpPr>
              <a:spLocks noEditPoints="1"/>
            </p:cNvSpPr>
            <p:nvPr/>
          </p:nvSpPr>
          <p:spPr bwMode="auto">
            <a:xfrm>
              <a:off x="2498725" y="3725863"/>
              <a:ext cx="292100" cy="446087"/>
            </a:xfrm>
            <a:custGeom>
              <a:avLst/>
              <a:gdLst>
                <a:gd name="T0" fmla="*/ 453 w 472"/>
                <a:gd name="T1" fmla="*/ 48 h 721"/>
                <a:gd name="T2" fmla="*/ 334 w 472"/>
                <a:gd name="T3" fmla="*/ 1 h 721"/>
                <a:gd name="T4" fmla="*/ 221 w 472"/>
                <a:gd name="T5" fmla="*/ 52 h 721"/>
                <a:gd name="T6" fmla="*/ 82 w 472"/>
                <a:gd name="T7" fmla="*/ 172 h 721"/>
                <a:gd name="T8" fmla="*/ 57 w 472"/>
                <a:gd name="T9" fmla="*/ 190 h 721"/>
                <a:gd name="T10" fmla="*/ 22 w 472"/>
                <a:gd name="T11" fmla="*/ 356 h 721"/>
                <a:gd name="T12" fmla="*/ 15 w 472"/>
                <a:gd name="T13" fmla="*/ 374 h 721"/>
                <a:gd name="T14" fmla="*/ 51 w 472"/>
                <a:gd name="T15" fmla="*/ 552 h 721"/>
                <a:gd name="T16" fmla="*/ 167 w 472"/>
                <a:gd name="T17" fmla="*/ 708 h 721"/>
                <a:gd name="T18" fmla="*/ 287 w 472"/>
                <a:gd name="T19" fmla="*/ 701 h 721"/>
                <a:gd name="T20" fmla="*/ 355 w 472"/>
                <a:gd name="T21" fmla="*/ 721 h 721"/>
                <a:gd name="T22" fmla="*/ 471 w 472"/>
                <a:gd name="T23" fmla="*/ 612 h 721"/>
                <a:gd name="T24" fmla="*/ 472 w 472"/>
                <a:gd name="T25" fmla="*/ 607 h 721"/>
                <a:gd name="T26" fmla="*/ 472 w 472"/>
                <a:gd name="T27" fmla="*/ 112 h 721"/>
                <a:gd name="T28" fmla="*/ 409 w 472"/>
                <a:gd name="T29" fmla="*/ 607 h 721"/>
                <a:gd name="T30" fmla="*/ 328 w 472"/>
                <a:gd name="T31" fmla="*/ 652 h 721"/>
                <a:gd name="T32" fmla="*/ 261 w 472"/>
                <a:gd name="T33" fmla="*/ 556 h 721"/>
                <a:gd name="T34" fmla="*/ 242 w 472"/>
                <a:gd name="T35" fmla="*/ 650 h 721"/>
                <a:gd name="T36" fmla="*/ 186 w 472"/>
                <a:gd name="T37" fmla="*/ 648 h 721"/>
                <a:gd name="T38" fmla="*/ 115 w 472"/>
                <a:gd name="T39" fmla="*/ 553 h 721"/>
                <a:gd name="T40" fmla="*/ 305 w 472"/>
                <a:gd name="T41" fmla="*/ 486 h 721"/>
                <a:gd name="T42" fmla="*/ 341 w 472"/>
                <a:gd name="T43" fmla="*/ 435 h 721"/>
                <a:gd name="T44" fmla="*/ 350 w 472"/>
                <a:gd name="T45" fmla="*/ 367 h 721"/>
                <a:gd name="T46" fmla="*/ 350 w 472"/>
                <a:gd name="T47" fmla="*/ 304 h 721"/>
                <a:gd name="T48" fmla="*/ 145 w 472"/>
                <a:gd name="T49" fmla="*/ 422 h 721"/>
                <a:gd name="T50" fmla="*/ 64 w 472"/>
                <a:gd name="T51" fmla="*/ 440 h 721"/>
                <a:gd name="T52" fmla="*/ 118 w 472"/>
                <a:gd name="T53" fmla="*/ 367 h 721"/>
                <a:gd name="T54" fmla="*/ 118 w 472"/>
                <a:gd name="T55" fmla="*/ 304 h 721"/>
                <a:gd name="T56" fmla="*/ 74 w 472"/>
                <a:gd name="T57" fmla="*/ 273 h 721"/>
                <a:gd name="T58" fmla="*/ 172 w 472"/>
                <a:gd name="T59" fmla="*/ 226 h 721"/>
                <a:gd name="T60" fmla="*/ 225 w 472"/>
                <a:gd name="T61" fmla="*/ 294 h 721"/>
                <a:gd name="T62" fmla="*/ 256 w 472"/>
                <a:gd name="T63" fmla="*/ 262 h 721"/>
                <a:gd name="T64" fmla="*/ 151 w 472"/>
                <a:gd name="T65" fmla="*/ 157 h 721"/>
                <a:gd name="T66" fmla="*/ 221 w 472"/>
                <a:gd name="T67" fmla="*/ 115 h 721"/>
                <a:gd name="T68" fmla="*/ 264 w 472"/>
                <a:gd name="T69" fmla="*/ 127 h 721"/>
                <a:gd name="T70" fmla="*/ 265 w 472"/>
                <a:gd name="T71" fmla="*/ 128 h 721"/>
                <a:gd name="T72" fmla="*/ 309 w 472"/>
                <a:gd name="T73" fmla="*/ 99 h 721"/>
                <a:gd name="T74" fmla="*/ 339 w 472"/>
                <a:gd name="T75" fmla="*/ 63 h 721"/>
                <a:gd name="T76" fmla="*/ 409 w 472"/>
                <a:gd name="T77" fmla="*/ 112 h 721"/>
                <a:gd name="T78" fmla="*/ 399 w 472"/>
                <a:gd name="T79" fmla="*/ 158 h 721"/>
                <a:gd name="T80" fmla="*/ 307 w 472"/>
                <a:gd name="T81" fmla="*/ 201 h 721"/>
                <a:gd name="T82" fmla="*/ 409 w 472"/>
                <a:gd name="T83" fmla="*/ 224 h 721"/>
                <a:gd name="T84" fmla="*/ 334 w 472"/>
                <a:gd name="T85" fmla="*/ 534 h 721"/>
                <a:gd name="T86" fmla="*/ 359 w 472"/>
                <a:gd name="T87" fmla="*/ 585 h 721"/>
                <a:gd name="T88" fmla="*/ 409 w 472"/>
                <a:gd name="T89" fmla="*/ 564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721">
                  <a:moveTo>
                    <a:pt x="471" y="99"/>
                  </a:moveTo>
                  <a:cubicBezTo>
                    <a:pt x="469" y="80"/>
                    <a:pt x="463" y="62"/>
                    <a:pt x="453" y="48"/>
                  </a:cubicBezTo>
                  <a:cubicBezTo>
                    <a:pt x="438" y="26"/>
                    <a:pt x="408" y="0"/>
                    <a:pt x="351" y="0"/>
                  </a:cubicBezTo>
                  <a:cubicBezTo>
                    <a:pt x="345" y="0"/>
                    <a:pt x="340" y="0"/>
                    <a:pt x="334" y="1"/>
                  </a:cubicBezTo>
                  <a:cubicBezTo>
                    <a:pt x="287" y="4"/>
                    <a:pt x="255" y="27"/>
                    <a:pt x="234" y="53"/>
                  </a:cubicBezTo>
                  <a:cubicBezTo>
                    <a:pt x="230" y="53"/>
                    <a:pt x="225" y="52"/>
                    <a:pt x="221" y="52"/>
                  </a:cubicBezTo>
                  <a:cubicBezTo>
                    <a:pt x="189" y="52"/>
                    <a:pt x="159" y="63"/>
                    <a:pt x="133" y="83"/>
                  </a:cubicBezTo>
                  <a:cubicBezTo>
                    <a:pt x="100" y="108"/>
                    <a:pt x="86" y="141"/>
                    <a:pt x="82" y="172"/>
                  </a:cubicBezTo>
                  <a:cubicBezTo>
                    <a:pt x="82" y="172"/>
                    <a:pt x="82" y="172"/>
                    <a:pt x="82" y="172"/>
                  </a:cubicBezTo>
                  <a:cubicBezTo>
                    <a:pt x="73" y="177"/>
                    <a:pt x="65" y="183"/>
                    <a:pt x="57" y="190"/>
                  </a:cubicBezTo>
                  <a:cubicBezTo>
                    <a:pt x="40" y="204"/>
                    <a:pt x="24" y="224"/>
                    <a:pt x="14" y="252"/>
                  </a:cubicBezTo>
                  <a:cubicBezTo>
                    <a:pt x="1" y="291"/>
                    <a:pt x="8" y="327"/>
                    <a:pt x="22" y="356"/>
                  </a:cubicBezTo>
                  <a:cubicBezTo>
                    <a:pt x="22" y="357"/>
                    <a:pt x="23" y="358"/>
                    <a:pt x="23" y="359"/>
                  </a:cubicBezTo>
                  <a:cubicBezTo>
                    <a:pt x="20" y="364"/>
                    <a:pt x="17" y="369"/>
                    <a:pt x="15" y="374"/>
                  </a:cubicBezTo>
                  <a:cubicBezTo>
                    <a:pt x="6" y="394"/>
                    <a:pt x="0" y="417"/>
                    <a:pt x="2" y="444"/>
                  </a:cubicBezTo>
                  <a:cubicBezTo>
                    <a:pt x="5" y="494"/>
                    <a:pt x="27" y="529"/>
                    <a:pt x="51" y="552"/>
                  </a:cubicBezTo>
                  <a:cubicBezTo>
                    <a:pt x="52" y="580"/>
                    <a:pt x="58" y="606"/>
                    <a:pt x="69" y="628"/>
                  </a:cubicBezTo>
                  <a:cubicBezTo>
                    <a:pt x="88" y="666"/>
                    <a:pt x="122" y="694"/>
                    <a:pt x="167" y="708"/>
                  </a:cubicBezTo>
                  <a:cubicBezTo>
                    <a:pt x="183" y="713"/>
                    <a:pt x="200" y="716"/>
                    <a:pt x="216" y="716"/>
                  </a:cubicBezTo>
                  <a:cubicBezTo>
                    <a:pt x="243" y="716"/>
                    <a:pt x="267" y="709"/>
                    <a:pt x="287" y="701"/>
                  </a:cubicBezTo>
                  <a:cubicBezTo>
                    <a:pt x="290" y="703"/>
                    <a:pt x="292" y="704"/>
                    <a:pt x="295" y="706"/>
                  </a:cubicBezTo>
                  <a:cubicBezTo>
                    <a:pt x="312" y="715"/>
                    <a:pt x="332" y="721"/>
                    <a:pt x="355" y="721"/>
                  </a:cubicBezTo>
                  <a:cubicBezTo>
                    <a:pt x="366" y="721"/>
                    <a:pt x="376" y="720"/>
                    <a:pt x="385" y="718"/>
                  </a:cubicBezTo>
                  <a:cubicBezTo>
                    <a:pt x="438" y="705"/>
                    <a:pt x="468" y="658"/>
                    <a:pt x="471" y="612"/>
                  </a:cubicBezTo>
                  <a:cubicBezTo>
                    <a:pt x="472" y="609"/>
                    <a:pt x="472" y="609"/>
                    <a:pt x="472" y="609"/>
                  </a:cubicBezTo>
                  <a:cubicBezTo>
                    <a:pt x="472" y="607"/>
                    <a:pt x="472" y="607"/>
                    <a:pt x="472" y="607"/>
                  </a:cubicBezTo>
                  <a:cubicBezTo>
                    <a:pt x="472" y="142"/>
                    <a:pt x="472" y="142"/>
                    <a:pt x="472" y="142"/>
                  </a:cubicBezTo>
                  <a:cubicBezTo>
                    <a:pt x="472" y="112"/>
                    <a:pt x="472" y="112"/>
                    <a:pt x="472" y="112"/>
                  </a:cubicBezTo>
                  <a:cubicBezTo>
                    <a:pt x="472" y="108"/>
                    <a:pt x="471" y="103"/>
                    <a:pt x="471" y="99"/>
                  </a:cubicBezTo>
                  <a:close/>
                  <a:moveTo>
                    <a:pt x="409" y="607"/>
                  </a:moveTo>
                  <a:cubicBezTo>
                    <a:pt x="409" y="607"/>
                    <a:pt x="405" y="658"/>
                    <a:pt x="355" y="658"/>
                  </a:cubicBezTo>
                  <a:cubicBezTo>
                    <a:pt x="344" y="658"/>
                    <a:pt x="335" y="656"/>
                    <a:pt x="328" y="652"/>
                  </a:cubicBezTo>
                  <a:cubicBezTo>
                    <a:pt x="305" y="639"/>
                    <a:pt x="290" y="615"/>
                    <a:pt x="291" y="589"/>
                  </a:cubicBezTo>
                  <a:cubicBezTo>
                    <a:pt x="292" y="572"/>
                    <a:pt x="278" y="557"/>
                    <a:pt x="261" y="556"/>
                  </a:cubicBezTo>
                  <a:cubicBezTo>
                    <a:pt x="243" y="556"/>
                    <a:pt x="229" y="569"/>
                    <a:pt x="228" y="587"/>
                  </a:cubicBezTo>
                  <a:cubicBezTo>
                    <a:pt x="227" y="609"/>
                    <a:pt x="232" y="631"/>
                    <a:pt x="242" y="650"/>
                  </a:cubicBezTo>
                  <a:cubicBezTo>
                    <a:pt x="234" y="652"/>
                    <a:pt x="225" y="653"/>
                    <a:pt x="216" y="653"/>
                  </a:cubicBezTo>
                  <a:cubicBezTo>
                    <a:pt x="207" y="653"/>
                    <a:pt x="196" y="651"/>
                    <a:pt x="186" y="648"/>
                  </a:cubicBezTo>
                  <a:cubicBezTo>
                    <a:pt x="139" y="634"/>
                    <a:pt x="119" y="602"/>
                    <a:pt x="115" y="561"/>
                  </a:cubicBezTo>
                  <a:cubicBezTo>
                    <a:pt x="115" y="558"/>
                    <a:pt x="115" y="555"/>
                    <a:pt x="115" y="553"/>
                  </a:cubicBezTo>
                  <a:cubicBezTo>
                    <a:pt x="115" y="532"/>
                    <a:pt x="137" y="497"/>
                    <a:pt x="175" y="477"/>
                  </a:cubicBezTo>
                  <a:cubicBezTo>
                    <a:pt x="200" y="464"/>
                    <a:pt x="249" y="447"/>
                    <a:pt x="305" y="486"/>
                  </a:cubicBezTo>
                  <a:cubicBezTo>
                    <a:pt x="320" y="496"/>
                    <a:pt x="339" y="493"/>
                    <a:pt x="349" y="478"/>
                  </a:cubicBezTo>
                  <a:cubicBezTo>
                    <a:pt x="359" y="464"/>
                    <a:pt x="355" y="444"/>
                    <a:pt x="341" y="435"/>
                  </a:cubicBezTo>
                  <a:cubicBezTo>
                    <a:pt x="328" y="425"/>
                    <a:pt x="314" y="418"/>
                    <a:pt x="299" y="412"/>
                  </a:cubicBezTo>
                  <a:cubicBezTo>
                    <a:pt x="302" y="389"/>
                    <a:pt x="319" y="367"/>
                    <a:pt x="350" y="367"/>
                  </a:cubicBezTo>
                  <a:cubicBezTo>
                    <a:pt x="367" y="367"/>
                    <a:pt x="381" y="353"/>
                    <a:pt x="381" y="336"/>
                  </a:cubicBezTo>
                  <a:cubicBezTo>
                    <a:pt x="381" y="318"/>
                    <a:pt x="367" y="304"/>
                    <a:pt x="350" y="304"/>
                  </a:cubicBezTo>
                  <a:cubicBezTo>
                    <a:pt x="291" y="304"/>
                    <a:pt x="246" y="344"/>
                    <a:pt x="237" y="399"/>
                  </a:cubicBezTo>
                  <a:cubicBezTo>
                    <a:pt x="206" y="398"/>
                    <a:pt x="175" y="406"/>
                    <a:pt x="145" y="422"/>
                  </a:cubicBezTo>
                  <a:cubicBezTo>
                    <a:pt x="117" y="437"/>
                    <a:pt x="93" y="459"/>
                    <a:pt x="76" y="483"/>
                  </a:cubicBezTo>
                  <a:cubicBezTo>
                    <a:pt x="70" y="472"/>
                    <a:pt x="65" y="458"/>
                    <a:pt x="64" y="440"/>
                  </a:cubicBezTo>
                  <a:cubicBezTo>
                    <a:pt x="62" y="406"/>
                    <a:pt x="80" y="385"/>
                    <a:pt x="93" y="373"/>
                  </a:cubicBezTo>
                  <a:cubicBezTo>
                    <a:pt x="99" y="370"/>
                    <a:pt x="108" y="367"/>
                    <a:pt x="118" y="367"/>
                  </a:cubicBezTo>
                  <a:cubicBezTo>
                    <a:pt x="135" y="367"/>
                    <a:pt x="149" y="353"/>
                    <a:pt x="149" y="336"/>
                  </a:cubicBezTo>
                  <a:cubicBezTo>
                    <a:pt x="149" y="318"/>
                    <a:pt x="135" y="304"/>
                    <a:pt x="118" y="304"/>
                  </a:cubicBezTo>
                  <a:cubicBezTo>
                    <a:pt x="101" y="304"/>
                    <a:pt x="86" y="308"/>
                    <a:pt x="73" y="313"/>
                  </a:cubicBezTo>
                  <a:cubicBezTo>
                    <a:pt x="69" y="301"/>
                    <a:pt x="69" y="287"/>
                    <a:pt x="74" y="273"/>
                  </a:cubicBezTo>
                  <a:cubicBezTo>
                    <a:pt x="82" y="248"/>
                    <a:pt x="100" y="234"/>
                    <a:pt x="116" y="226"/>
                  </a:cubicBezTo>
                  <a:cubicBezTo>
                    <a:pt x="136" y="218"/>
                    <a:pt x="157" y="218"/>
                    <a:pt x="172" y="226"/>
                  </a:cubicBezTo>
                  <a:cubicBezTo>
                    <a:pt x="185" y="234"/>
                    <a:pt x="193" y="247"/>
                    <a:pt x="193" y="264"/>
                  </a:cubicBezTo>
                  <a:cubicBezTo>
                    <a:pt x="194" y="281"/>
                    <a:pt x="208" y="294"/>
                    <a:pt x="225" y="294"/>
                  </a:cubicBezTo>
                  <a:cubicBezTo>
                    <a:pt x="225" y="294"/>
                    <a:pt x="226" y="294"/>
                    <a:pt x="226" y="294"/>
                  </a:cubicBezTo>
                  <a:cubicBezTo>
                    <a:pt x="243" y="294"/>
                    <a:pt x="257" y="279"/>
                    <a:pt x="256" y="262"/>
                  </a:cubicBezTo>
                  <a:cubicBezTo>
                    <a:pt x="255" y="222"/>
                    <a:pt x="235" y="189"/>
                    <a:pt x="202" y="171"/>
                  </a:cubicBezTo>
                  <a:cubicBezTo>
                    <a:pt x="187" y="162"/>
                    <a:pt x="169" y="158"/>
                    <a:pt x="151" y="157"/>
                  </a:cubicBezTo>
                  <a:cubicBezTo>
                    <a:pt x="155" y="148"/>
                    <a:pt x="162" y="140"/>
                    <a:pt x="171" y="133"/>
                  </a:cubicBezTo>
                  <a:cubicBezTo>
                    <a:pt x="188" y="120"/>
                    <a:pt x="206" y="115"/>
                    <a:pt x="221" y="115"/>
                  </a:cubicBezTo>
                  <a:cubicBezTo>
                    <a:pt x="237" y="115"/>
                    <a:pt x="251" y="121"/>
                    <a:pt x="259" y="124"/>
                  </a:cubicBezTo>
                  <a:cubicBezTo>
                    <a:pt x="260" y="125"/>
                    <a:pt x="262" y="126"/>
                    <a:pt x="264" y="127"/>
                  </a:cubicBezTo>
                  <a:cubicBezTo>
                    <a:pt x="265" y="128"/>
                    <a:pt x="265" y="128"/>
                    <a:pt x="265" y="128"/>
                  </a:cubicBezTo>
                  <a:cubicBezTo>
                    <a:pt x="265" y="128"/>
                    <a:pt x="265" y="128"/>
                    <a:pt x="265" y="128"/>
                  </a:cubicBezTo>
                  <a:cubicBezTo>
                    <a:pt x="269" y="129"/>
                    <a:pt x="274" y="130"/>
                    <a:pt x="278" y="130"/>
                  </a:cubicBezTo>
                  <a:cubicBezTo>
                    <a:pt x="295" y="130"/>
                    <a:pt x="309" y="116"/>
                    <a:pt x="309" y="99"/>
                  </a:cubicBezTo>
                  <a:cubicBezTo>
                    <a:pt x="309" y="90"/>
                    <a:pt x="306" y="82"/>
                    <a:pt x="300" y="77"/>
                  </a:cubicBezTo>
                  <a:cubicBezTo>
                    <a:pt x="310" y="70"/>
                    <a:pt x="323" y="65"/>
                    <a:pt x="339" y="63"/>
                  </a:cubicBezTo>
                  <a:cubicBezTo>
                    <a:pt x="343" y="63"/>
                    <a:pt x="347" y="63"/>
                    <a:pt x="351" y="63"/>
                  </a:cubicBezTo>
                  <a:cubicBezTo>
                    <a:pt x="407" y="63"/>
                    <a:pt x="409" y="100"/>
                    <a:pt x="409" y="112"/>
                  </a:cubicBezTo>
                  <a:cubicBezTo>
                    <a:pt x="409" y="114"/>
                    <a:pt x="409" y="123"/>
                    <a:pt x="409" y="136"/>
                  </a:cubicBezTo>
                  <a:cubicBezTo>
                    <a:pt x="407" y="145"/>
                    <a:pt x="404" y="153"/>
                    <a:pt x="399" y="158"/>
                  </a:cubicBezTo>
                  <a:cubicBezTo>
                    <a:pt x="389" y="168"/>
                    <a:pt x="367" y="169"/>
                    <a:pt x="339" y="169"/>
                  </a:cubicBezTo>
                  <a:cubicBezTo>
                    <a:pt x="322" y="169"/>
                    <a:pt x="307" y="183"/>
                    <a:pt x="307" y="201"/>
                  </a:cubicBezTo>
                  <a:cubicBezTo>
                    <a:pt x="307" y="218"/>
                    <a:pt x="322" y="232"/>
                    <a:pt x="339" y="232"/>
                  </a:cubicBezTo>
                  <a:cubicBezTo>
                    <a:pt x="361" y="232"/>
                    <a:pt x="386" y="232"/>
                    <a:pt x="409" y="224"/>
                  </a:cubicBezTo>
                  <a:cubicBezTo>
                    <a:pt x="409" y="307"/>
                    <a:pt x="409" y="419"/>
                    <a:pt x="409" y="501"/>
                  </a:cubicBezTo>
                  <a:cubicBezTo>
                    <a:pt x="379" y="499"/>
                    <a:pt x="351" y="513"/>
                    <a:pt x="334" y="534"/>
                  </a:cubicBezTo>
                  <a:cubicBezTo>
                    <a:pt x="323" y="548"/>
                    <a:pt x="326" y="568"/>
                    <a:pt x="339" y="578"/>
                  </a:cubicBezTo>
                  <a:cubicBezTo>
                    <a:pt x="345" y="583"/>
                    <a:pt x="352" y="585"/>
                    <a:pt x="359" y="585"/>
                  </a:cubicBezTo>
                  <a:cubicBezTo>
                    <a:pt x="368" y="585"/>
                    <a:pt x="377" y="581"/>
                    <a:pt x="384" y="573"/>
                  </a:cubicBezTo>
                  <a:cubicBezTo>
                    <a:pt x="384" y="573"/>
                    <a:pt x="394" y="561"/>
                    <a:pt x="409" y="564"/>
                  </a:cubicBezTo>
                  <a:cubicBezTo>
                    <a:pt x="409" y="591"/>
                    <a:pt x="409" y="607"/>
                    <a:pt x="409" y="6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5" name="Freeform 8">
              <a:extLst>
                <a:ext uri="{FF2B5EF4-FFF2-40B4-BE49-F238E27FC236}">
                  <a16:creationId xmlns:a16="http://schemas.microsoft.com/office/drawing/2014/main" id="{D7E4E51E-19CE-594F-BFA5-E067E1D821CE}"/>
                </a:ext>
              </a:extLst>
            </p:cNvPr>
            <p:cNvSpPr>
              <a:spLocks/>
            </p:cNvSpPr>
            <p:nvPr/>
          </p:nvSpPr>
          <p:spPr bwMode="auto">
            <a:xfrm>
              <a:off x="2700338" y="4381500"/>
              <a:ext cx="196850" cy="30162"/>
            </a:xfrm>
            <a:custGeom>
              <a:avLst/>
              <a:gdLst>
                <a:gd name="T0" fmla="*/ 293 w 318"/>
                <a:gd name="T1" fmla="*/ 50 h 50"/>
                <a:gd name="T2" fmla="*/ 25 w 318"/>
                <a:gd name="T3" fmla="*/ 50 h 50"/>
                <a:gd name="T4" fmla="*/ 0 w 318"/>
                <a:gd name="T5" fmla="*/ 25 h 50"/>
                <a:gd name="T6" fmla="*/ 25 w 318"/>
                <a:gd name="T7" fmla="*/ 0 h 50"/>
                <a:gd name="T8" fmla="*/ 293 w 318"/>
                <a:gd name="T9" fmla="*/ 0 h 50"/>
                <a:gd name="T10" fmla="*/ 318 w 318"/>
                <a:gd name="T11" fmla="*/ 25 h 50"/>
                <a:gd name="T12" fmla="*/ 293 w 31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18" h="50">
                  <a:moveTo>
                    <a:pt x="293" y="50"/>
                  </a:moveTo>
                  <a:cubicBezTo>
                    <a:pt x="25" y="50"/>
                    <a:pt x="25" y="50"/>
                    <a:pt x="25" y="50"/>
                  </a:cubicBezTo>
                  <a:cubicBezTo>
                    <a:pt x="11" y="50"/>
                    <a:pt x="0" y="39"/>
                    <a:pt x="0" y="25"/>
                  </a:cubicBezTo>
                  <a:cubicBezTo>
                    <a:pt x="0" y="11"/>
                    <a:pt x="11" y="0"/>
                    <a:pt x="25" y="0"/>
                  </a:cubicBezTo>
                  <a:cubicBezTo>
                    <a:pt x="293" y="0"/>
                    <a:pt x="293" y="0"/>
                    <a:pt x="293" y="0"/>
                  </a:cubicBezTo>
                  <a:cubicBezTo>
                    <a:pt x="307" y="0"/>
                    <a:pt x="318" y="11"/>
                    <a:pt x="318" y="25"/>
                  </a:cubicBezTo>
                  <a:cubicBezTo>
                    <a:pt x="318" y="39"/>
                    <a:pt x="307" y="50"/>
                    <a:pt x="293"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6" name="Freeform 9">
              <a:extLst>
                <a:ext uri="{FF2B5EF4-FFF2-40B4-BE49-F238E27FC236}">
                  <a16:creationId xmlns:a16="http://schemas.microsoft.com/office/drawing/2014/main" id="{CBB6D7B4-3C82-0B42-B5EA-C38C70A727DA}"/>
                </a:ext>
              </a:extLst>
            </p:cNvPr>
            <p:cNvSpPr>
              <a:spLocks/>
            </p:cNvSpPr>
            <p:nvPr/>
          </p:nvSpPr>
          <p:spPr bwMode="auto">
            <a:xfrm>
              <a:off x="2700338" y="4338638"/>
              <a:ext cx="196850" cy="31750"/>
            </a:xfrm>
            <a:custGeom>
              <a:avLst/>
              <a:gdLst>
                <a:gd name="T0" fmla="*/ 293 w 318"/>
                <a:gd name="T1" fmla="*/ 50 h 50"/>
                <a:gd name="T2" fmla="*/ 25 w 318"/>
                <a:gd name="T3" fmla="*/ 50 h 50"/>
                <a:gd name="T4" fmla="*/ 0 w 318"/>
                <a:gd name="T5" fmla="*/ 25 h 50"/>
                <a:gd name="T6" fmla="*/ 25 w 318"/>
                <a:gd name="T7" fmla="*/ 0 h 50"/>
                <a:gd name="T8" fmla="*/ 293 w 318"/>
                <a:gd name="T9" fmla="*/ 0 h 50"/>
                <a:gd name="T10" fmla="*/ 318 w 318"/>
                <a:gd name="T11" fmla="*/ 25 h 50"/>
                <a:gd name="T12" fmla="*/ 293 w 31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18" h="50">
                  <a:moveTo>
                    <a:pt x="293" y="50"/>
                  </a:moveTo>
                  <a:cubicBezTo>
                    <a:pt x="25" y="50"/>
                    <a:pt x="25" y="50"/>
                    <a:pt x="25" y="50"/>
                  </a:cubicBezTo>
                  <a:cubicBezTo>
                    <a:pt x="11" y="50"/>
                    <a:pt x="0" y="38"/>
                    <a:pt x="0" y="25"/>
                  </a:cubicBezTo>
                  <a:cubicBezTo>
                    <a:pt x="0" y="11"/>
                    <a:pt x="11" y="0"/>
                    <a:pt x="25" y="0"/>
                  </a:cubicBezTo>
                  <a:cubicBezTo>
                    <a:pt x="293" y="0"/>
                    <a:pt x="293" y="0"/>
                    <a:pt x="293" y="0"/>
                  </a:cubicBezTo>
                  <a:cubicBezTo>
                    <a:pt x="307" y="0"/>
                    <a:pt x="318" y="11"/>
                    <a:pt x="318" y="25"/>
                  </a:cubicBezTo>
                  <a:cubicBezTo>
                    <a:pt x="318" y="38"/>
                    <a:pt x="307" y="50"/>
                    <a:pt x="293"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7" name="Freeform 10">
              <a:extLst>
                <a:ext uri="{FF2B5EF4-FFF2-40B4-BE49-F238E27FC236}">
                  <a16:creationId xmlns:a16="http://schemas.microsoft.com/office/drawing/2014/main" id="{DFB9733F-BEFA-2142-BAE2-EB69EBCB5509}"/>
                </a:ext>
              </a:extLst>
            </p:cNvPr>
            <p:cNvSpPr>
              <a:spLocks/>
            </p:cNvSpPr>
            <p:nvPr/>
          </p:nvSpPr>
          <p:spPr bwMode="auto">
            <a:xfrm>
              <a:off x="2700338" y="4424363"/>
              <a:ext cx="196850" cy="30162"/>
            </a:xfrm>
            <a:custGeom>
              <a:avLst/>
              <a:gdLst>
                <a:gd name="T0" fmla="*/ 293 w 318"/>
                <a:gd name="T1" fmla="*/ 50 h 50"/>
                <a:gd name="T2" fmla="*/ 25 w 318"/>
                <a:gd name="T3" fmla="*/ 50 h 50"/>
                <a:gd name="T4" fmla="*/ 0 w 318"/>
                <a:gd name="T5" fmla="*/ 25 h 50"/>
                <a:gd name="T6" fmla="*/ 25 w 318"/>
                <a:gd name="T7" fmla="*/ 0 h 50"/>
                <a:gd name="T8" fmla="*/ 293 w 318"/>
                <a:gd name="T9" fmla="*/ 0 h 50"/>
                <a:gd name="T10" fmla="*/ 318 w 318"/>
                <a:gd name="T11" fmla="*/ 25 h 50"/>
                <a:gd name="T12" fmla="*/ 293 w 31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18" h="50">
                  <a:moveTo>
                    <a:pt x="293" y="50"/>
                  </a:moveTo>
                  <a:cubicBezTo>
                    <a:pt x="25" y="50"/>
                    <a:pt x="25" y="50"/>
                    <a:pt x="25" y="50"/>
                  </a:cubicBezTo>
                  <a:cubicBezTo>
                    <a:pt x="11" y="50"/>
                    <a:pt x="0" y="39"/>
                    <a:pt x="0" y="25"/>
                  </a:cubicBezTo>
                  <a:cubicBezTo>
                    <a:pt x="0" y="11"/>
                    <a:pt x="11" y="0"/>
                    <a:pt x="25" y="0"/>
                  </a:cubicBezTo>
                  <a:cubicBezTo>
                    <a:pt x="293" y="0"/>
                    <a:pt x="293" y="0"/>
                    <a:pt x="293" y="0"/>
                  </a:cubicBezTo>
                  <a:cubicBezTo>
                    <a:pt x="307" y="0"/>
                    <a:pt x="318" y="11"/>
                    <a:pt x="318" y="25"/>
                  </a:cubicBezTo>
                  <a:cubicBezTo>
                    <a:pt x="318" y="39"/>
                    <a:pt x="307" y="50"/>
                    <a:pt x="293"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8" name="Freeform 11">
              <a:extLst>
                <a:ext uri="{FF2B5EF4-FFF2-40B4-BE49-F238E27FC236}">
                  <a16:creationId xmlns:a16="http://schemas.microsoft.com/office/drawing/2014/main" id="{8A1E6ABC-27FB-C742-B954-DC40A6116C73}"/>
                </a:ext>
              </a:extLst>
            </p:cNvPr>
            <p:cNvSpPr>
              <a:spLocks/>
            </p:cNvSpPr>
            <p:nvPr/>
          </p:nvSpPr>
          <p:spPr bwMode="auto">
            <a:xfrm>
              <a:off x="2733675" y="4465638"/>
              <a:ext cx="130175" cy="30162"/>
            </a:xfrm>
            <a:custGeom>
              <a:avLst/>
              <a:gdLst>
                <a:gd name="T0" fmla="*/ 185 w 210"/>
                <a:gd name="T1" fmla="*/ 50 h 50"/>
                <a:gd name="T2" fmla="*/ 25 w 210"/>
                <a:gd name="T3" fmla="*/ 50 h 50"/>
                <a:gd name="T4" fmla="*/ 0 w 210"/>
                <a:gd name="T5" fmla="*/ 25 h 50"/>
                <a:gd name="T6" fmla="*/ 25 w 210"/>
                <a:gd name="T7" fmla="*/ 0 h 50"/>
                <a:gd name="T8" fmla="*/ 185 w 210"/>
                <a:gd name="T9" fmla="*/ 0 h 50"/>
                <a:gd name="T10" fmla="*/ 210 w 210"/>
                <a:gd name="T11" fmla="*/ 25 h 50"/>
                <a:gd name="T12" fmla="*/ 185 w 210"/>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210" h="50">
                  <a:moveTo>
                    <a:pt x="185" y="50"/>
                  </a:moveTo>
                  <a:cubicBezTo>
                    <a:pt x="25" y="50"/>
                    <a:pt x="25" y="50"/>
                    <a:pt x="25" y="50"/>
                  </a:cubicBezTo>
                  <a:cubicBezTo>
                    <a:pt x="11" y="50"/>
                    <a:pt x="0" y="39"/>
                    <a:pt x="0" y="25"/>
                  </a:cubicBezTo>
                  <a:cubicBezTo>
                    <a:pt x="0" y="11"/>
                    <a:pt x="11" y="0"/>
                    <a:pt x="25" y="0"/>
                  </a:cubicBezTo>
                  <a:cubicBezTo>
                    <a:pt x="185" y="0"/>
                    <a:pt x="185" y="0"/>
                    <a:pt x="185" y="0"/>
                  </a:cubicBezTo>
                  <a:cubicBezTo>
                    <a:pt x="199" y="0"/>
                    <a:pt x="210" y="11"/>
                    <a:pt x="210" y="25"/>
                  </a:cubicBezTo>
                  <a:cubicBezTo>
                    <a:pt x="210" y="39"/>
                    <a:pt x="199" y="50"/>
                    <a:pt x="185"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9" name="Freeform 12">
              <a:extLst>
                <a:ext uri="{FF2B5EF4-FFF2-40B4-BE49-F238E27FC236}">
                  <a16:creationId xmlns:a16="http://schemas.microsoft.com/office/drawing/2014/main" id="{FC40A69D-6333-4C47-9549-2EADAD457134}"/>
                </a:ext>
              </a:extLst>
            </p:cNvPr>
            <p:cNvSpPr>
              <a:spLocks/>
            </p:cNvSpPr>
            <p:nvPr/>
          </p:nvSpPr>
          <p:spPr bwMode="auto">
            <a:xfrm>
              <a:off x="2641600" y="4184650"/>
              <a:ext cx="92075" cy="142875"/>
            </a:xfrm>
            <a:custGeom>
              <a:avLst/>
              <a:gdLst>
                <a:gd name="T0" fmla="*/ 124 w 149"/>
                <a:gd name="T1" fmla="*/ 230 h 230"/>
                <a:gd name="T2" fmla="*/ 99 w 149"/>
                <a:gd name="T3" fmla="*/ 205 h 230"/>
                <a:gd name="T4" fmla="*/ 18 w 149"/>
                <a:gd name="T5" fmla="*/ 51 h 230"/>
                <a:gd name="T6" fmla="*/ 5 w 149"/>
                <a:gd name="T7" fmla="*/ 18 h 230"/>
                <a:gd name="T8" fmla="*/ 38 w 149"/>
                <a:gd name="T9" fmla="*/ 6 h 230"/>
                <a:gd name="T10" fmla="*/ 149 w 149"/>
                <a:gd name="T11" fmla="*/ 205 h 230"/>
                <a:gd name="T12" fmla="*/ 124 w 149"/>
                <a:gd name="T13" fmla="*/ 230 h 230"/>
              </a:gdLst>
              <a:ahLst/>
              <a:cxnLst>
                <a:cxn ang="0">
                  <a:pos x="T0" y="T1"/>
                </a:cxn>
                <a:cxn ang="0">
                  <a:pos x="T2" y="T3"/>
                </a:cxn>
                <a:cxn ang="0">
                  <a:pos x="T4" y="T5"/>
                </a:cxn>
                <a:cxn ang="0">
                  <a:pos x="T6" y="T7"/>
                </a:cxn>
                <a:cxn ang="0">
                  <a:pos x="T8" y="T9"/>
                </a:cxn>
                <a:cxn ang="0">
                  <a:pos x="T10" y="T11"/>
                </a:cxn>
                <a:cxn ang="0">
                  <a:pos x="T12" y="T13"/>
                </a:cxn>
              </a:cxnLst>
              <a:rect l="0" t="0" r="r" b="b"/>
              <a:pathLst>
                <a:path w="149" h="230">
                  <a:moveTo>
                    <a:pt x="124" y="230"/>
                  </a:moveTo>
                  <a:cubicBezTo>
                    <a:pt x="110" y="230"/>
                    <a:pt x="99" y="219"/>
                    <a:pt x="99" y="205"/>
                  </a:cubicBezTo>
                  <a:cubicBezTo>
                    <a:pt x="99" y="89"/>
                    <a:pt x="19" y="52"/>
                    <a:pt x="18" y="51"/>
                  </a:cubicBezTo>
                  <a:cubicBezTo>
                    <a:pt x="5" y="46"/>
                    <a:pt x="0" y="31"/>
                    <a:pt x="5" y="18"/>
                  </a:cubicBezTo>
                  <a:cubicBezTo>
                    <a:pt x="11" y="6"/>
                    <a:pt x="26" y="0"/>
                    <a:pt x="38" y="6"/>
                  </a:cubicBezTo>
                  <a:cubicBezTo>
                    <a:pt x="43" y="8"/>
                    <a:pt x="149" y="57"/>
                    <a:pt x="149" y="205"/>
                  </a:cubicBezTo>
                  <a:cubicBezTo>
                    <a:pt x="149" y="219"/>
                    <a:pt x="137" y="230"/>
                    <a:pt x="124" y="2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30" name="Freeform 13">
              <a:extLst>
                <a:ext uri="{FF2B5EF4-FFF2-40B4-BE49-F238E27FC236}">
                  <a16:creationId xmlns:a16="http://schemas.microsoft.com/office/drawing/2014/main" id="{5CC4F145-EC01-BA43-B790-F508E79BF1D0}"/>
                </a:ext>
              </a:extLst>
            </p:cNvPr>
            <p:cNvSpPr>
              <a:spLocks/>
            </p:cNvSpPr>
            <p:nvPr/>
          </p:nvSpPr>
          <p:spPr bwMode="auto">
            <a:xfrm>
              <a:off x="2863850" y="4184650"/>
              <a:ext cx="92075" cy="142875"/>
            </a:xfrm>
            <a:custGeom>
              <a:avLst/>
              <a:gdLst>
                <a:gd name="T0" fmla="*/ 25 w 149"/>
                <a:gd name="T1" fmla="*/ 230 h 230"/>
                <a:gd name="T2" fmla="*/ 0 w 149"/>
                <a:gd name="T3" fmla="*/ 205 h 230"/>
                <a:gd name="T4" fmla="*/ 111 w 149"/>
                <a:gd name="T5" fmla="*/ 6 h 230"/>
                <a:gd name="T6" fmla="*/ 144 w 149"/>
                <a:gd name="T7" fmla="*/ 18 h 230"/>
                <a:gd name="T8" fmla="*/ 131 w 149"/>
                <a:gd name="T9" fmla="*/ 51 h 230"/>
                <a:gd name="T10" fmla="*/ 50 w 149"/>
                <a:gd name="T11" fmla="*/ 205 h 230"/>
                <a:gd name="T12" fmla="*/ 25 w 149"/>
                <a:gd name="T13" fmla="*/ 230 h 230"/>
              </a:gdLst>
              <a:ahLst/>
              <a:cxnLst>
                <a:cxn ang="0">
                  <a:pos x="T0" y="T1"/>
                </a:cxn>
                <a:cxn ang="0">
                  <a:pos x="T2" y="T3"/>
                </a:cxn>
                <a:cxn ang="0">
                  <a:pos x="T4" y="T5"/>
                </a:cxn>
                <a:cxn ang="0">
                  <a:pos x="T6" y="T7"/>
                </a:cxn>
                <a:cxn ang="0">
                  <a:pos x="T8" y="T9"/>
                </a:cxn>
                <a:cxn ang="0">
                  <a:pos x="T10" y="T11"/>
                </a:cxn>
                <a:cxn ang="0">
                  <a:pos x="T12" y="T13"/>
                </a:cxn>
              </a:cxnLst>
              <a:rect l="0" t="0" r="r" b="b"/>
              <a:pathLst>
                <a:path w="149" h="230">
                  <a:moveTo>
                    <a:pt x="25" y="230"/>
                  </a:moveTo>
                  <a:cubicBezTo>
                    <a:pt x="12" y="230"/>
                    <a:pt x="0" y="219"/>
                    <a:pt x="0" y="205"/>
                  </a:cubicBezTo>
                  <a:cubicBezTo>
                    <a:pt x="0" y="57"/>
                    <a:pt x="106" y="8"/>
                    <a:pt x="111" y="6"/>
                  </a:cubicBezTo>
                  <a:cubicBezTo>
                    <a:pt x="123" y="0"/>
                    <a:pt x="138" y="6"/>
                    <a:pt x="144" y="18"/>
                  </a:cubicBezTo>
                  <a:cubicBezTo>
                    <a:pt x="149" y="31"/>
                    <a:pt x="144" y="45"/>
                    <a:pt x="131" y="51"/>
                  </a:cubicBezTo>
                  <a:cubicBezTo>
                    <a:pt x="128" y="53"/>
                    <a:pt x="50" y="90"/>
                    <a:pt x="50" y="205"/>
                  </a:cubicBezTo>
                  <a:cubicBezTo>
                    <a:pt x="50" y="219"/>
                    <a:pt x="39" y="230"/>
                    <a:pt x="25" y="2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31" name="Freeform 14">
              <a:extLst>
                <a:ext uri="{FF2B5EF4-FFF2-40B4-BE49-F238E27FC236}">
                  <a16:creationId xmlns:a16="http://schemas.microsoft.com/office/drawing/2014/main" id="{74A7F5FF-E30F-D243-9C8B-3C54A6F7CE03}"/>
                </a:ext>
              </a:extLst>
            </p:cNvPr>
            <p:cNvSpPr>
              <a:spLocks/>
            </p:cNvSpPr>
            <p:nvPr/>
          </p:nvSpPr>
          <p:spPr bwMode="auto">
            <a:xfrm>
              <a:off x="2751138" y="4192588"/>
              <a:ext cx="95250" cy="127000"/>
            </a:xfrm>
            <a:custGeom>
              <a:avLst/>
              <a:gdLst>
                <a:gd name="T0" fmla="*/ 151 w 154"/>
                <a:gd name="T1" fmla="*/ 7 h 206"/>
                <a:gd name="T2" fmla="*/ 142 w 154"/>
                <a:gd name="T3" fmla="*/ 0 h 206"/>
                <a:gd name="T4" fmla="*/ 116 w 154"/>
                <a:gd name="T5" fmla="*/ 29 h 206"/>
                <a:gd name="T6" fmla="*/ 77 w 154"/>
                <a:gd name="T7" fmla="*/ 34 h 206"/>
                <a:gd name="T8" fmla="*/ 40 w 154"/>
                <a:gd name="T9" fmla="*/ 29 h 206"/>
                <a:gd name="T10" fmla="*/ 12 w 154"/>
                <a:gd name="T11" fmla="*/ 0 h 206"/>
                <a:gd name="T12" fmla="*/ 3 w 154"/>
                <a:gd name="T13" fmla="*/ 8 h 206"/>
                <a:gd name="T14" fmla="*/ 11 w 154"/>
                <a:gd name="T15" fmla="*/ 32 h 206"/>
                <a:gd name="T16" fmla="*/ 24 w 154"/>
                <a:gd name="T17" fmla="*/ 42 h 206"/>
                <a:gd name="T18" fmla="*/ 37 w 154"/>
                <a:gd name="T19" fmla="*/ 198 h 206"/>
                <a:gd name="T20" fmla="*/ 46 w 154"/>
                <a:gd name="T21" fmla="*/ 206 h 206"/>
                <a:gd name="T22" fmla="*/ 56 w 154"/>
                <a:gd name="T23" fmla="*/ 198 h 206"/>
                <a:gd name="T24" fmla="*/ 48 w 154"/>
                <a:gd name="T25" fmla="*/ 65 h 206"/>
                <a:gd name="T26" fmla="*/ 45 w 154"/>
                <a:gd name="T27" fmla="*/ 48 h 206"/>
                <a:gd name="T28" fmla="*/ 77 w 154"/>
                <a:gd name="T29" fmla="*/ 51 h 206"/>
                <a:gd name="T30" fmla="*/ 111 w 154"/>
                <a:gd name="T31" fmla="*/ 48 h 206"/>
                <a:gd name="T32" fmla="*/ 98 w 154"/>
                <a:gd name="T33" fmla="*/ 198 h 206"/>
                <a:gd name="T34" fmla="*/ 108 w 154"/>
                <a:gd name="T35" fmla="*/ 206 h 206"/>
                <a:gd name="T36" fmla="*/ 117 w 154"/>
                <a:gd name="T37" fmla="*/ 198 h 206"/>
                <a:gd name="T38" fmla="*/ 131 w 154"/>
                <a:gd name="T39" fmla="*/ 41 h 206"/>
                <a:gd name="T40" fmla="*/ 144 w 154"/>
                <a:gd name="T41" fmla="*/ 31 h 206"/>
                <a:gd name="T42" fmla="*/ 151 w 154"/>
                <a:gd name="T43" fmla="*/ 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4" h="206">
                  <a:moveTo>
                    <a:pt x="151" y="7"/>
                  </a:moveTo>
                  <a:cubicBezTo>
                    <a:pt x="150" y="3"/>
                    <a:pt x="147" y="0"/>
                    <a:pt x="142" y="0"/>
                  </a:cubicBezTo>
                  <a:cubicBezTo>
                    <a:pt x="131" y="0"/>
                    <a:pt x="123" y="10"/>
                    <a:pt x="116" y="29"/>
                  </a:cubicBezTo>
                  <a:cubicBezTo>
                    <a:pt x="106" y="32"/>
                    <a:pt x="93" y="34"/>
                    <a:pt x="77" y="34"/>
                  </a:cubicBezTo>
                  <a:cubicBezTo>
                    <a:pt x="61" y="34"/>
                    <a:pt x="49" y="33"/>
                    <a:pt x="40" y="29"/>
                  </a:cubicBezTo>
                  <a:cubicBezTo>
                    <a:pt x="33" y="10"/>
                    <a:pt x="24" y="0"/>
                    <a:pt x="12" y="0"/>
                  </a:cubicBezTo>
                  <a:cubicBezTo>
                    <a:pt x="7" y="0"/>
                    <a:pt x="3" y="3"/>
                    <a:pt x="3" y="8"/>
                  </a:cubicBezTo>
                  <a:cubicBezTo>
                    <a:pt x="3" y="8"/>
                    <a:pt x="0" y="20"/>
                    <a:pt x="11" y="32"/>
                  </a:cubicBezTo>
                  <a:cubicBezTo>
                    <a:pt x="14" y="36"/>
                    <a:pt x="19" y="39"/>
                    <a:pt x="24" y="42"/>
                  </a:cubicBezTo>
                  <a:cubicBezTo>
                    <a:pt x="30" y="64"/>
                    <a:pt x="37" y="109"/>
                    <a:pt x="37" y="198"/>
                  </a:cubicBezTo>
                  <a:cubicBezTo>
                    <a:pt x="37" y="202"/>
                    <a:pt x="41" y="206"/>
                    <a:pt x="46" y="206"/>
                  </a:cubicBezTo>
                  <a:cubicBezTo>
                    <a:pt x="51" y="206"/>
                    <a:pt x="56" y="202"/>
                    <a:pt x="56" y="198"/>
                  </a:cubicBezTo>
                  <a:cubicBezTo>
                    <a:pt x="56" y="144"/>
                    <a:pt x="53" y="98"/>
                    <a:pt x="48" y="65"/>
                  </a:cubicBezTo>
                  <a:cubicBezTo>
                    <a:pt x="47" y="59"/>
                    <a:pt x="46" y="54"/>
                    <a:pt x="45" y="48"/>
                  </a:cubicBezTo>
                  <a:cubicBezTo>
                    <a:pt x="54" y="50"/>
                    <a:pt x="65" y="51"/>
                    <a:pt x="77" y="51"/>
                  </a:cubicBezTo>
                  <a:cubicBezTo>
                    <a:pt x="90" y="51"/>
                    <a:pt x="101" y="50"/>
                    <a:pt x="111" y="48"/>
                  </a:cubicBezTo>
                  <a:cubicBezTo>
                    <a:pt x="100" y="96"/>
                    <a:pt x="98" y="168"/>
                    <a:pt x="98" y="198"/>
                  </a:cubicBezTo>
                  <a:cubicBezTo>
                    <a:pt x="98" y="202"/>
                    <a:pt x="102" y="206"/>
                    <a:pt x="108" y="206"/>
                  </a:cubicBezTo>
                  <a:cubicBezTo>
                    <a:pt x="113" y="206"/>
                    <a:pt x="117" y="202"/>
                    <a:pt x="117" y="198"/>
                  </a:cubicBezTo>
                  <a:cubicBezTo>
                    <a:pt x="117" y="132"/>
                    <a:pt x="122" y="75"/>
                    <a:pt x="131" y="41"/>
                  </a:cubicBezTo>
                  <a:cubicBezTo>
                    <a:pt x="136" y="39"/>
                    <a:pt x="141" y="35"/>
                    <a:pt x="144" y="31"/>
                  </a:cubicBezTo>
                  <a:cubicBezTo>
                    <a:pt x="154" y="20"/>
                    <a:pt x="152" y="9"/>
                    <a:pt x="151"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cxnSp>
        <p:nvCxnSpPr>
          <p:cNvPr id="137" name="Straight Connector 136">
            <a:extLst>
              <a:ext uri="{FF2B5EF4-FFF2-40B4-BE49-F238E27FC236}">
                <a16:creationId xmlns:a16="http://schemas.microsoft.com/office/drawing/2014/main" id="{9CF3AC9D-2C20-0B43-81D1-0D948E5CE323}"/>
              </a:ext>
            </a:extLst>
          </p:cNvPr>
          <p:cNvCxnSpPr/>
          <p:nvPr/>
        </p:nvCxnSpPr>
        <p:spPr>
          <a:xfrm>
            <a:off x="8683986" y="3512832"/>
            <a:ext cx="1454226"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8DD18C59-8EA6-D641-A842-5D1185DC7FAD}"/>
              </a:ext>
            </a:extLst>
          </p:cNvPr>
          <p:cNvCxnSpPr/>
          <p:nvPr/>
        </p:nvCxnSpPr>
        <p:spPr>
          <a:xfrm>
            <a:off x="8683986" y="4021886"/>
            <a:ext cx="1454226"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F03298BF-7DA2-B541-BFDA-B2424DA7BD9E}"/>
              </a:ext>
            </a:extLst>
          </p:cNvPr>
          <p:cNvCxnSpPr/>
          <p:nvPr/>
        </p:nvCxnSpPr>
        <p:spPr>
          <a:xfrm>
            <a:off x="8683986" y="4530939"/>
            <a:ext cx="1454226"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24AD6959-8033-8E48-977F-1B1E5EBEB7A2}"/>
              </a:ext>
            </a:extLst>
          </p:cNvPr>
          <p:cNvSpPr/>
          <p:nvPr/>
        </p:nvSpPr>
        <p:spPr bwMode="gray">
          <a:xfrm>
            <a:off x="1889125" y="2598359"/>
            <a:ext cx="5991984" cy="2519507"/>
          </a:xfrm>
          <a:prstGeom prst="rect">
            <a:avLst/>
          </a:prstGeom>
          <a:noFill/>
          <a:ln w="9525" algn="ctr">
            <a:solidFill>
              <a:schemeClr val="bg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1" name="Rectangle 140">
            <a:extLst>
              <a:ext uri="{FF2B5EF4-FFF2-40B4-BE49-F238E27FC236}">
                <a16:creationId xmlns:a16="http://schemas.microsoft.com/office/drawing/2014/main" id="{7AC212BD-8C1A-B042-9504-D4594B9ABEB1}"/>
              </a:ext>
            </a:extLst>
          </p:cNvPr>
          <p:cNvSpPr/>
          <p:nvPr/>
        </p:nvSpPr>
        <p:spPr bwMode="gray">
          <a:xfrm>
            <a:off x="1889126" y="2598359"/>
            <a:ext cx="5991983" cy="332399"/>
          </a:xfrm>
          <a:prstGeom prst="rect">
            <a:avLst/>
          </a:prstGeom>
          <a:solidFill>
            <a:schemeClr val="accent6"/>
          </a:solidFill>
          <a:ln w="9525" algn="ctr">
            <a:solidFill>
              <a:schemeClr val="bg2">
                <a:lumMod val="60000"/>
                <a:lumOff val="40000"/>
              </a:scheme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algn="ctr"/>
            <a:r>
              <a:rPr lang="pt-BR" sz="1200" dirty="0">
                <a:solidFill>
                  <a:srgbClr val="FFFFFF"/>
                </a:solidFill>
              </a:rPr>
              <a:t>Lorem ipsum dolor sit a</a:t>
            </a:r>
            <a:endParaRPr lang="en-US" sz="1200" dirty="0">
              <a:solidFill>
                <a:srgbClr val="FFFFFF"/>
              </a:solidFill>
            </a:endParaRPr>
          </a:p>
        </p:txBody>
      </p:sp>
      <p:sp>
        <p:nvSpPr>
          <p:cNvPr id="142" name="Rectangle 141">
            <a:extLst>
              <a:ext uri="{FF2B5EF4-FFF2-40B4-BE49-F238E27FC236}">
                <a16:creationId xmlns:a16="http://schemas.microsoft.com/office/drawing/2014/main" id="{5B20D283-02F6-FD41-B737-17F71C4BB024}"/>
              </a:ext>
            </a:extLst>
          </p:cNvPr>
          <p:cNvSpPr/>
          <p:nvPr/>
        </p:nvSpPr>
        <p:spPr bwMode="gray">
          <a:xfrm>
            <a:off x="1970889" y="3280415"/>
            <a:ext cx="228600" cy="740664"/>
          </a:xfrm>
          <a:prstGeom prst="rect">
            <a:avLst/>
          </a:prstGeom>
          <a:solidFill>
            <a:schemeClr val="bg2"/>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800" b="1" dirty="0">
                <a:solidFill>
                  <a:schemeClr val="bg1"/>
                </a:solidFill>
              </a:rPr>
              <a:t>Lorem ipsum</a:t>
            </a:r>
          </a:p>
        </p:txBody>
      </p:sp>
      <p:sp>
        <p:nvSpPr>
          <p:cNvPr id="143" name="Rectangle 142">
            <a:extLst>
              <a:ext uri="{FF2B5EF4-FFF2-40B4-BE49-F238E27FC236}">
                <a16:creationId xmlns:a16="http://schemas.microsoft.com/office/drawing/2014/main" id="{1E90BC7F-9810-0B41-827D-40724D694C24}"/>
              </a:ext>
            </a:extLst>
          </p:cNvPr>
          <p:cNvSpPr/>
          <p:nvPr/>
        </p:nvSpPr>
        <p:spPr bwMode="gray">
          <a:xfrm>
            <a:off x="2219441" y="3280415"/>
            <a:ext cx="640080" cy="740664"/>
          </a:xfrm>
          <a:prstGeom prst="rect">
            <a:avLst/>
          </a:prstGeom>
          <a:solidFill>
            <a:srgbClr val="BCEBFF">
              <a:alpha val="50196"/>
            </a:srgbClr>
          </a:solidFill>
          <a:ln w="19050" algn="ctr">
            <a:noFill/>
            <a:miter lim="800000"/>
            <a:headEnd/>
            <a:tailEnd/>
          </a:ln>
        </p:spPr>
        <p:txBody>
          <a:bodyPr wrap="square" lIns="18288" tIns="88900" rIns="18288" bIns="88900" rtlCol="0" anchor="ctr"/>
          <a:lstStyle/>
          <a:p>
            <a:pPr algn="ctr">
              <a:buFont typeface="Wingdings 2" pitchFamily="18" charset="2"/>
              <a:buNone/>
            </a:pPr>
            <a:r>
              <a:rPr lang="pt-BR" sz="800" dirty="0">
                <a:solidFill>
                  <a:schemeClr val="tx2"/>
                </a:solidFill>
              </a:rPr>
              <a:t>Lorem ipsum dolor sit a</a:t>
            </a:r>
            <a:endParaRPr lang="it-IT" sz="800" dirty="0">
              <a:solidFill>
                <a:schemeClr val="tx2"/>
              </a:solidFill>
            </a:endParaRPr>
          </a:p>
        </p:txBody>
      </p:sp>
      <p:sp>
        <p:nvSpPr>
          <p:cNvPr id="144" name="TextBox 143">
            <a:extLst>
              <a:ext uri="{FF2B5EF4-FFF2-40B4-BE49-F238E27FC236}">
                <a16:creationId xmlns:a16="http://schemas.microsoft.com/office/drawing/2014/main" id="{B1D6D762-6ACC-E44A-A6C7-245C5A0FF8FB}"/>
              </a:ext>
            </a:extLst>
          </p:cNvPr>
          <p:cNvSpPr txBox="1"/>
          <p:nvPr/>
        </p:nvSpPr>
        <p:spPr>
          <a:xfrm>
            <a:off x="3011820" y="3280415"/>
            <a:ext cx="989948" cy="740664"/>
          </a:xfrm>
          <a:prstGeom prst="rect">
            <a:avLst/>
          </a:prstGeom>
          <a:noFill/>
        </p:spPr>
        <p:txBody>
          <a:bodyPr wrap="square" lIns="0" tIns="0" rIns="0" bIns="0" rtlCol="0" anchor="ctr">
            <a:noAutofit/>
          </a:bodyPr>
          <a:lstStyle/>
          <a:p>
            <a:pPr marL="114300" indent="-114300">
              <a:buSzPct val="100000"/>
              <a:buFont typeface="Arial" panose="020B0604020202020204" pitchFamily="34" charset="0"/>
              <a:buChar char="•"/>
            </a:pPr>
            <a:r>
              <a:rPr lang="pt-BR" sz="800" dirty="0">
                <a:solidFill>
                  <a:schemeClr val="tx2"/>
                </a:solidFill>
              </a:rPr>
              <a:t>Lorem ipsum dolor sit a</a:t>
            </a:r>
          </a:p>
          <a:p>
            <a:pPr marL="114300" indent="-114300">
              <a:buSzPct val="100000"/>
              <a:buFont typeface="Arial" panose="020B0604020202020204" pitchFamily="34" charset="0"/>
              <a:buChar char="•"/>
            </a:pPr>
            <a:r>
              <a:rPr lang="pt-BR" sz="800" dirty="0">
                <a:solidFill>
                  <a:schemeClr val="tx2"/>
                </a:solidFill>
              </a:rPr>
              <a:t>Lorem ipsum Lorem ipsum dolor sit a</a:t>
            </a:r>
          </a:p>
          <a:p>
            <a:pPr marL="114300" indent="-114300">
              <a:buSzPct val="100000"/>
              <a:buFont typeface="Arial" panose="020B0604020202020204" pitchFamily="34" charset="0"/>
              <a:buChar char="•"/>
            </a:pPr>
            <a:r>
              <a:rPr lang="pt-BR" sz="800" dirty="0">
                <a:solidFill>
                  <a:schemeClr val="tx2"/>
                </a:solidFill>
              </a:rPr>
              <a:t>Lorem ipsum dolor sit aa</a:t>
            </a:r>
            <a:endParaRPr lang="en-US" sz="800" dirty="0">
              <a:solidFill>
                <a:schemeClr val="tx2"/>
              </a:solidFill>
            </a:endParaRPr>
          </a:p>
        </p:txBody>
      </p:sp>
      <p:sp>
        <p:nvSpPr>
          <p:cNvPr id="145" name="Chevron 144">
            <a:extLst>
              <a:ext uri="{FF2B5EF4-FFF2-40B4-BE49-F238E27FC236}">
                <a16:creationId xmlns:a16="http://schemas.microsoft.com/office/drawing/2014/main" id="{0D072F92-AA64-1C4D-A6EB-4C426E587B80}"/>
              </a:ext>
            </a:extLst>
          </p:cNvPr>
          <p:cNvSpPr/>
          <p:nvPr/>
        </p:nvSpPr>
        <p:spPr bwMode="gray">
          <a:xfrm>
            <a:off x="2879474" y="3561957"/>
            <a:ext cx="112395" cy="177583"/>
          </a:xfrm>
          <a:prstGeom prst="chevron">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6" name="TextBox 145">
            <a:extLst>
              <a:ext uri="{FF2B5EF4-FFF2-40B4-BE49-F238E27FC236}">
                <a16:creationId xmlns:a16="http://schemas.microsoft.com/office/drawing/2014/main" id="{F3515747-EBD1-3644-A080-2B95C2D35BEB}"/>
              </a:ext>
            </a:extLst>
          </p:cNvPr>
          <p:cNvSpPr txBox="1"/>
          <p:nvPr/>
        </p:nvSpPr>
        <p:spPr>
          <a:xfrm>
            <a:off x="4814099" y="3280415"/>
            <a:ext cx="1051560" cy="740664"/>
          </a:xfrm>
          <a:prstGeom prst="rect">
            <a:avLst/>
          </a:prstGeom>
          <a:noFill/>
        </p:spPr>
        <p:txBody>
          <a:bodyPr wrap="square" lIns="0" tIns="0" rIns="0" bIns="0" rtlCol="0" anchor="ctr">
            <a:noAutofit/>
          </a:bodyPr>
          <a:lstStyle/>
          <a:p>
            <a:pPr marL="114300" indent="-114300">
              <a:buSzPct val="100000"/>
              <a:buFont typeface="Arial" panose="020B0604020202020204" pitchFamily="34" charset="0"/>
              <a:buChar char="•"/>
            </a:pPr>
            <a:r>
              <a:rPr lang="pt-BR" sz="800" dirty="0">
                <a:solidFill>
                  <a:schemeClr val="tx2"/>
                </a:solidFill>
              </a:rPr>
              <a:t>Lorem ipsum dolor sit Lorem ipsum dolor sit </a:t>
            </a:r>
          </a:p>
          <a:p>
            <a:pPr marL="114300" indent="-114300">
              <a:buSzPct val="100000"/>
              <a:buFont typeface="Arial" panose="020B0604020202020204" pitchFamily="34" charset="0"/>
              <a:buChar char="•"/>
            </a:pPr>
            <a:r>
              <a:rPr lang="pt-BR" sz="800" dirty="0">
                <a:solidFill>
                  <a:schemeClr val="tx2"/>
                </a:solidFill>
              </a:rPr>
              <a:t>Lorem ipsum dolor sit Lorem ipsum dolor sit aa</a:t>
            </a:r>
            <a:endParaRPr lang="en-US" sz="800" dirty="0">
              <a:solidFill>
                <a:schemeClr val="tx2"/>
              </a:solidFill>
            </a:endParaRPr>
          </a:p>
        </p:txBody>
      </p:sp>
      <p:sp>
        <p:nvSpPr>
          <p:cNvPr id="147" name="Rectangle 146">
            <a:extLst>
              <a:ext uri="{FF2B5EF4-FFF2-40B4-BE49-F238E27FC236}">
                <a16:creationId xmlns:a16="http://schemas.microsoft.com/office/drawing/2014/main" id="{667F6342-0A9F-F94E-A68D-3556DC15FFE8}"/>
              </a:ext>
            </a:extLst>
          </p:cNvPr>
          <p:cNvSpPr/>
          <p:nvPr/>
        </p:nvSpPr>
        <p:spPr bwMode="gray">
          <a:xfrm>
            <a:off x="4021720" y="3280415"/>
            <a:ext cx="640080" cy="740664"/>
          </a:xfrm>
          <a:prstGeom prst="rect">
            <a:avLst/>
          </a:prstGeom>
          <a:solidFill>
            <a:srgbClr val="BCEBFF">
              <a:alpha val="50196"/>
            </a:srgbClr>
          </a:solidFill>
          <a:ln w="19050" algn="ctr">
            <a:noFill/>
            <a:miter lim="800000"/>
            <a:headEnd/>
            <a:tailEnd/>
          </a:ln>
        </p:spPr>
        <p:txBody>
          <a:bodyPr rot="0" spcFirstLastPara="0" vertOverflow="overflow" horzOverflow="overflow" vert="horz" wrap="square" lIns="18288" tIns="88900" rIns="18288" bIns="88900" numCol="1" spcCol="0" rtlCol="0" fromWordArt="0" anchor="ctr" anchorCtr="0" forceAA="0" compatLnSpc="1">
            <a:prstTxWarp prst="textNoShape">
              <a:avLst/>
            </a:prstTxWarp>
            <a:noAutofit/>
          </a:bodyPr>
          <a:lstStyle/>
          <a:p>
            <a:pPr algn="ctr"/>
            <a:r>
              <a:rPr lang="en-US" sz="800" dirty="0">
                <a:solidFill>
                  <a:schemeClr val="tx2"/>
                </a:solidFill>
              </a:rPr>
              <a:t>Corporate, Commercial, Sales Operations</a:t>
            </a:r>
          </a:p>
        </p:txBody>
      </p:sp>
      <p:sp>
        <p:nvSpPr>
          <p:cNvPr id="148" name="Chevron 147">
            <a:extLst>
              <a:ext uri="{FF2B5EF4-FFF2-40B4-BE49-F238E27FC236}">
                <a16:creationId xmlns:a16="http://schemas.microsoft.com/office/drawing/2014/main" id="{965013F8-9C2E-CD4E-88A1-3CF27E9D9298}"/>
              </a:ext>
            </a:extLst>
          </p:cNvPr>
          <p:cNvSpPr/>
          <p:nvPr/>
        </p:nvSpPr>
        <p:spPr bwMode="gray">
          <a:xfrm>
            <a:off x="4681753" y="3561957"/>
            <a:ext cx="112395" cy="177583"/>
          </a:xfrm>
          <a:prstGeom prst="chevron">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9" name="TextBox 148">
            <a:extLst>
              <a:ext uri="{FF2B5EF4-FFF2-40B4-BE49-F238E27FC236}">
                <a16:creationId xmlns:a16="http://schemas.microsoft.com/office/drawing/2014/main" id="{B16F1BB0-49C3-8E48-B203-F9FCD9A7F860}"/>
              </a:ext>
            </a:extLst>
          </p:cNvPr>
          <p:cNvSpPr txBox="1"/>
          <p:nvPr/>
        </p:nvSpPr>
        <p:spPr>
          <a:xfrm>
            <a:off x="6677994" y="3280415"/>
            <a:ext cx="1143000" cy="740664"/>
          </a:xfrm>
          <a:prstGeom prst="rect">
            <a:avLst/>
          </a:prstGeom>
          <a:noFill/>
        </p:spPr>
        <p:txBody>
          <a:bodyPr wrap="square" lIns="0" tIns="0" rIns="0" bIns="0" rtlCol="0" anchor="ctr">
            <a:noAutofit/>
          </a:bodyPr>
          <a:lstStyle/>
          <a:p>
            <a:pPr marL="114300" indent="-114300">
              <a:buSzPct val="100000"/>
              <a:buFont typeface="Arial" panose="020B0604020202020204" pitchFamily="34" charset="0"/>
              <a:buChar char="•"/>
            </a:pPr>
            <a:r>
              <a:rPr lang="pt-BR" sz="800" dirty="0">
                <a:solidFill>
                  <a:schemeClr val="tx2"/>
                </a:solidFill>
              </a:rPr>
              <a:t>Lorem ipsum dolor sit a</a:t>
            </a:r>
          </a:p>
          <a:p>
            <a:pPr marL="114300" indent="-114300">
              <a:buSzPct val="100000"/>
              <a:buFont typeface="Arial" panose="020B0604020202020204" pitchFamily="34" charset="0"/>
              <a:buChar char="•"/>
            </a:pPr>
            <a:r>
              <a:rPr lang="pt-BR" sz="800" dirty="0">
                <a:solidFill>
                  <a:schemeClr val="tx2"/>
                </a:solidFill>
              </a:rPr>
              <a:t>Lorem ipsum dolor sit </a:t>
            </a:r>
          </a:p>
          <a:p>
            <a:pPr marL="114300" indent="-114300">
              <a:buSzPct val="100000"/>
              <a:buFont typeface="Arial" panose="020B0604020202020204" pitchFamily="34" charset="0"/>
              <a:buChar char="•"/>
            </a:pPr>
            <a:r>
              <a:rPr lang="pt-BR" sz="800" dirty="0">
                <a:solidFill>
                  <a:schemeClr val="tx2"/>
                </a:solidFill>
              </a:rPr>
              <a:t>Lorem ipsum dolor sit a</a:t>
            </a:r>
          </a:p>
          <a:p>
            <a:pPr marL="114300" indent="-114300">
              <a:buSzPct val="100000"/>
              <a:buFont typeface="Arial" panose="020B0604020202020204" pitchFamily="34" charset="0"/>
              <a:buChar char="•"/>
            </a:pPr>
            <a:r>
              <a:rPr lang="pt-BR" sz="800" dirty="0">
                <a:solidFill>
                  <a:schemeClr val="tx2"/>
                </a:solidFill>
              </a:rPr>
              <a:t>Lorem ipsum dolor sit aa</a:t>
            </a:r>
            <a:endParaRPr lang="en-US" sz="800" dirty="0">
              <a:solidFill>
                <a:schemeClr val="tx2"/>
              </a:solidFill>
            </a:endParaRPr>
          </a:p>
        </p:txBody>
      </p:sp>
      <p:sp>
        <p:nvSpPr>
          <p:cNvPr id="150" name="Rectangle 149">
            <a:extLst>
              <a:ext uri="{FF2B5EF4-FFF2-40B4-BE49-F238E27FC236}">
                <a16:creationId xmlns:a16="http://schemas.microsoft.com/office/drawing/2014/main" id="{37A8365E-62CB-F24C-8807-AAC654DEA2CD}"/>
              </a:ext>
            </a:extLst>
          </p:cNvPr>
          <p:cNvSpPr/>
          <p:nvPr/>
        </p:nvSpPr>
        <p:spPr bwMode="gray">
          <a:xfrm>
            <a:off x="5885611" y="3280415"/>
            <a:ext cx="640080" cy="740664"/>
          </a:xfrm>
          <a:prstGeom prst="rect">
            <a:avLst/>
          </a:prstGeom>
          <a:solidFill>
            <a:srgbClr val="BCEBFF">
              <a:alpha val="50196"/>
            </a:srgbClr>
          </a:solidFill>
          <a:ln w="19050" algn="ctr">
            <a:noFill/>
            <a:miter lim="800000"/>
            <a:headEnd/>
            <a:tailEnd/>
          </a:ln>
        </p:spPr>
        <p:txBody>
          <a:bodyPr rot="0" spcFirstLastPara="0" vertOverflow="overflow" horzOverflow="overflow" vert="horz" wrap="square" lIns="18288" tIns="88900" rIns="18288" bIns="88900" numCol="1" spcCol="0" rtlCol="0" fromWordArt="0" anchor="ctr" anchorCtr="0" forceAA="0" compatLnSpc="1">
            <a:prstTxWarp prst="textNoShape">
              <a:avLst/>
            </a:prstTxWarp>
            <a:noAutofit/>
          </a:bodyPr>
          <a:lstStyle/>
          <a:p>
            <a:pPr algn="ctr"/>
            <a:r>
              <a:rPr lang="en-US" sz="800" dirty="0">
                <a:solidFill>
                  <a:schemeClr val="tx2"/>
                </a:solidFill>
              </a:rPr>
              <a:t>Commercial Operations, Finance</a:t>
            </a:r>
          </a:p>
        </p:txBody>
      </p:sp>
      <p:sp>
        <p:nvSpPr>
          <p:cNvPr id="151" name="Chevron 150">
            <a:extLst>
              <a:ext uri="{FF2B5EF4-FFF2-40B4-BE49-F238E27FC236}">
                <a16:creationId xmlns:a16="http://schemas.microsoft.com/office/drawing/2014/main" id="{9734344F-4376-054C-923F-F5AA360B459C}"/>
              </a:ext>
            </a:extLst>
          </p:cNvPr>
          <p:cNvSpPr/>
          <p:nvPr/>
        </p:nvSpPr>
        <p:spPr bwMode="gray">
          <a:xfrm>
            <a:off x="6545644" y="3561957"/>
            <a:ext cx="112395" cy="177583"/>
          </a:xfrm>
          <a:prstGeom prst="chevron">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2" name="Rectangle 151">
            <a:extLst>
              <a:ext uri="{FF2B5EF4-FFF2-40B4-BE49-F238E27FC236}">
                <a16:creationId xmlns:a16="http://schemas.microsoft.com/office/drawing/2014/main" id="{34DBFAB5-5ADB-024C-AACF-83F78D7986DD}"/>
              </a:ext>
            </a:extLst>
          </p:cNvPr>
          <p:cNvSpPr/>
          <p:nvPr/>
        </p:nvSpPr>
        <p:spPr bwMode="gray">
          <a:xfrm>
            <a:off x="1970889" y="4328889"/>
            <a:ext cx="228600" cy="740664"/>
          </a:xfrm>
          <a:prstGeom prst="rect">
            <a:avLst/>
          </a:prstGeom>
          <a:solidFill>
            <a:schemeClr val="bg2"/>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800" b="1" dirty="0">
                <a:solidFill>
                  <a:schemeClr val="bg1"/>
                </a:solidFill>
              </a:rPr>
              <a:t>Lorem ipsum</a:t>
            </a:r>
          </a:p>
        </p:txBody>
      </p:sp>
      <p:sp>
        <p:nvSpPr>
          <p:cNvPr id="153" name="Right Brace 152">
            <a:extLst>
              <a:ext uri="{FF2B5EF4-FFF2-40B4-BE49-F238E27FC236}">
                <a16:creationId xmlns:a16="http://schemas.microsoft.com/office/drawing/2014/main" id="{441B8EC6-8FAB-E842-91B5-13A7A169CA81}"/>
              </a:ext>
            </a:extLst>
          </p:cNvPr>
          <p:cNvSpPr/>
          <p:nvPr/>
        </p:nvSpPr>
        <p:spPr>
          <a:xfrm rot="5400000">
            <a:off x="3048447" y="3557890"/>
            <a:ext cx="124317" cy="1234189"/>
          </a:xfrm>
          <a:prstGeom prst="rightBrace">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4" name="Right Brace 153">
            <a:extLst>
              <a:ext uri="{FF2B5EF4-FFF2-40B4-BE49-F238E27FC236}">
                <a16:creationId xmlns:a16="http://schemas.microsoft.com/office/drawing/2014/main" id="{51676149-1D0A-0440-BDAA-95DFF92EFFDB}"/>
              </a:ext>
            </a:extLst>
          </p:cNvPr>
          <p:cNvSpPr/>
          <p:nvPr/>
        </p:nvSpPr>
        <p:spPr>
          <a:xfrm rot="5400000">
            <a:off x="4881532" y="3557891"/>
            <a:ext cx="124317" cy="1234189"/>
          </a:xfrm>
          <a:prstGeom prst="rightBrace">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5" name="Right Brace 154">
            <a:extLst>
              <a:ext uri="{FF2B5EF4-FFF2-40B4-BE49-F238E27FC236}">
                <a16:creationId xmlns:a16="http://schemas.microsoft.com/office/drawing/2014/main" id="{C5249A11-A381-3D4E-A220-C38B011E843F}"/>
              </a:ext>
            </a:extLst>
          </p:cNvPr>
          <p:cNvSpPr/>
          <p:nvPr/>
        </p:nvSpPr>
        <p:spPr>
          <a:xfrm rot="5400000">
            <a:off x="6791145" y="3557890"/>
            <a:ext cx="124317" cy="1234189"/>
          </a:xfrm>
          <a:prstGeom prst="rightBrace">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7" name="TextBox 156">
            <a:extLst>
              <a:ext uri="{FF2B5EF4-FFF2-40B4-BE49-F238E27FC236}">
                <a16:creationId xmlns:a16="http://schemas.microsoft.com/office/drawing/2014/main" id="{C4D666FD-820F-D34C-92A6-FCA9B52AA5EF}"/>
              </a:ext>
            </a:extLst>
          </p:cNvPr>
          <p:cNvSpPr txBox="1"/>
          <p:nvPr/>
        </p:nvSpPr>
        <p:spPr>
          <a:xfrm>
            <a:off x="2532721" y="4936036"/>
            <a:ext cx="1016304" cy="123111"/>
          </a:xfrm>
          <a:prstGeom prst="rect">
            <a:avLst/>
          </a:prstGeom>
        </p:spPr>
        <p:txBody>
          <a:bodyPr wrap="none" lIns="0" tIns="0" rIns="0" bIns="0">
            <a:spAutoFit/>
          </a:bodyPr>
          <a:lstStyle>
            <a:defPPr>
              <a:defRPr lang="en-US"/>
            </a:defPPr>
            <a:lvl1pPr>
              <a:defRPr sz="800">
                <a:solidFill>
                  <a:schemeClr val="tx2"/>
                </a:solidFill>
              </a:defRPr>
            </a:lvl1pPr>
          </a:lstStyle>
          <a:p>
            <a:r>
              <a:rPr lang="pt-BR" dirty="0"/>
              <a:t>Lorem ipsum dolor sit a</a:t>
            </a:r>
            <a:endParaRPr lang="en-US" dirty="0"/>
          </a:p>
        </p:txBody>
      </p:sp>
      <p:sp>
        <p:nvSpPr>
          <p:cNvPr id="158" name="TextBox 157">
            <a:extLst>
              <a:ext uri="{FF2B5EF4-FFF2-40B4-BE49-F238E27FC236}">
                <a16:creationId xmlns:a16="http://schemas.microsoft.com/office/drawing/2014/main" id="{A975A5C8-2C32-574B-9339-C4CF716E9DB5}"/>
              </a:ext>
            </a:extLst>
          </p:cNvPr>
          <p:cNvSpPr txBox="1"/>
          <p:nvPr/>
        </p:nvSpPr>
        <p:spPr>
          <a:xfrm>
            <a:off x="4373821" y="4936036"/>
            <a:ext cx="981038" cy="123111"/>
          </a:xfrm>
          <a:prstGeom prst="rect">
            <a:avLst/>
          </a:prstGeom>
        </p:spPr>
        <p:txBody>
          <a:bodyPr wrap="none" lIns="0" tIns="0" rIns="0" bIns="0">
            <a:spAutoFit/>
          </a:bodyPr>
          <a:lstStyle>
            <a:defPPr>
              <a:defRPr lang="en-US"/>
            </a:defPPr>
            <a:lvl1pPr>
              <a:defRPr sz="800">
                <a:solidFill>
                  <a:schemeClr val="tx2"/>
                </a:solidFill>
              </a:defRPr>
            </a:lvl1pPr>
          </a:lstStyle>
          <a:p>
            <a:r>
              <a:rPr lang="pt-BR" dirty="0"/>
              <a:t>Lorem ipsum dolor sit a</a:t>
            </a:r>
            <a:endParaRPr lang="en-US" dirty="0"/>
          </a:p>
        </p:txBody>
      </p:sp>
      <p:sp>
        <p:nvSpPr>
          <p:cNvPr id="160" name="TextBox 159">
            <a:extLst>
              <a:ext uri="{FF2B5EF4-FFF2-40B4-BE49-F238E27FC236}">
                <a16:creationId xmlns:a16="http://schemas.microsoft.com/office/drawing/2014/main" id="{7221C43F-715A-E14B-89EE-B40C594A9DA3}"/>
              </a:ext>
            </a:extLst>
          </p:cNvPr>
          <p:cNvSpPr txBox="1"/>
          <p:nvPr/>
        </p:nvSpPr>
        <p:spPr>
          <a:xfrm>
            <a:off x="6454957" y="4936036"/>
            <a:ext cx="981038" cy="123111"/>
          </a:xfrm>
          <a:prstGeom prst="rect">
            <a:avLst/>
          </a:prstGeom>
        </p:spPr>
        <p:txBody>
          <a:bodyPr wrap="none" lIns="0" tIns="0" rIns="0" bIns="0">
            <a:spAutoFit/>
          </a:bodyPr>
          <a:lstStyle>
            <a:defPPr>
              <a:defRPr lang="en-US"/>
            </a:defPPr>
            <a:lvl1pPr>
              <a:defRPr sz="800">
                <a:solidFill>
                  <a:schemeClr val="tx2"/>
                </a:solidFill>
              </a:defRPr>
            </a:lvl1pPr>
          </a:lstStyle>
          <a:p>
            <a:r>
              <a:rPr lang="pt-BR" dirty="0"/>
              <a:t>Lorem ipsum dolor sit a</a:t>
            </a:r>
            <a:endParaRPr lang="en-US" dirty="0"/>
          </a:p>
        </p:txBody>
      </p:sp>
      <p:grpSp>
        <p:nvGrpSpPr>
          <p:cNvPr id="162" name="Group 161">
            <a:extLst>
              <a:ext uri="{FF2B5EF4-FFF2-40B4-BE49-F238E27FC236}">
                <a16:creationId xmlns:a16="http://schemas.microsoft.com/office/drawing/2014/main" id="{2C12DD21-262F-FD48-8F64-06934A51C7ED}"/>
              </a:ext>
            </a:extLst>
          </p:cNvPr>
          <p:cNvGrpSpPr/>
          <p:nvPr/>
        </p:nvGrpSpPr>
        <p:grpSpPr>
          <a:xfrm>
            <a:off x="2219441" y="2999483"/>
            <a:ext cx="1184782" cy="230848"/>
            <a:chOff x="-714622" y="2999483"/>
            <a:chExt cx="1184782" cy="230848"/>
          </a:xfrm>
        </p:grpSpPr>
        <p:sp>
          <p:nvSpPr>
            <p:cNvPr id="163" name="Chevron 162">
              <a:extLst>
                <a:ext uri="{FF2B5EF4-FFF2-40B4-BE49-F238E27FC236}">
                  <a16:creationId xmlns:a16="http://schemas.microsoft.com/office/drawing/2014/main" id="{A4D7F0D3-EC41-4846-A634-C0EA62F195C2}"/>
                </a:ext>
              </a:extLst>
            </p:cNvPr>
            <p:cNvSpPr/>
            <p:nvPr/>
          </p:nvSpPr>
          <p:spPr bwMode="gray">
            <a:xfrm>
              <a:off x="287569" y="3001731"/>
              <a:ext cx="112395" cy="228600"/>
            </a:xfrm>
            <a:prstGeom prst="chevron">
              <a:avLst>
                <a:gd name="adj" fmla="val 58474"/>
              </a:avLst>
            </a:prstGeom>
            <a:solidFill>
              <a:schemeClr val="bg2"/>
            </a:solidFill>
            <a:ln w="19050" algn="ctr">
              <a:noFill/>
              <a:miter lim="800000"/>
              <a:headEnd/>
              <a:tailEnd/>
            </a:ln>
          </p:spPr>
          <p:txBody>
            <a:bodyPr vert="horz"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sp>
          <p:nvSpPr>
            <p:cNvPr id="164" name="Pentagon 163">
              <a:extLst>
                <a:ext uri="{FF2B5EF4-FFF2-40B4-BE49-F238E27FC236}">
                  <a16:creationId xmlns:a16="http://schemas.microsoft.com/office/drawing/2014/main" id="{ADC10617-D834-BB4B-A6F0-B4D516159FA0}"/>
                </a:ext>
              </a:extLst>
            </p:cNvPr>
            <p:cNvSpPr/>
            <p:nvPr/>
          </p:nvSpPr>
          <p:spPr bwMode="gray">
            <a:xfrm>
              <a:off x="-714622" y="3001313"/>
              <a:ext cx="1044390" cy="228600"/>
            </a:xfrm>
            <a:prstGeom prst="homePlate">
              <a:avLst>
                <a:gd name="adj" fmla="val 26042"/>
              </a:avLst>
            </a:prstGeom>
            <a:solidFill>
              <a:schemeClr val="bg2"/>
            </a:solidFill>
            <a:ln w="19050" algn="ctr">
              <a:noFill/>
              <a:miter lim="800000"/>
              <a:headEnd/>
              <a:tailEnd/>
            </a:ln>
          </p:spPr>
          <p:txBody>
            <a:bodyPr vert="horz" wrap="square" lIns="88900" tIns="88900" rIns="88900" bIns="88900" rtlCol="0" anchor="ctr"/>
            <a:lstStyle/>
            <a:p>
              <a:pPr algn="ctr">
                <a:lnSpc>
                  <a:spcPct val="106000"/>
                </a:lnSpc>
                <a:buFont typeface="Wingdings 2" pitchFamily="18" charset="2"/>
                <a:buNone/>
              </a:pPr>
              <a:r>
                <a:rPr lang="it-IT" sz="800" b="1" dirty="0">
                  <a:solidFill>
                    <a:schemeClr val="bg1"/>
                  </a:solidFill>
                </a:rPr>
                <a:t>Lorem ipsum</a:t>
              </a:r>
            </a:p>
          </p:txBody>
        </p:sp>
        <p:sp>
          <p:nvSpPr>
            <p:cNvPr id="165" name="Chevron 164">
              <a:extLst>
                <a:ext uri="{FF2B5EF4-FFF2-40B4-BE49-F238E27FC236}">
                  <a16:creationId xmlns:a16="http://schemas.microsoft.com/office/drawing/2014/main" id="{6A79D2CD-D4B3-4644-AAAE-3752C90D5369}"/>
                </a:ext>
              </a:extLst>
            </p:cNvPr>
            <p:cNvSpPr/>
            <p:nvPr/>
          </p:nvSpPr>
          <p:spPr bwMode="gray">
            <a:xfrm>
              <a:off x="357765" y="2999483"/>
              <a:ext cx="112395" cy="228600"/>
            </a:xfrm>
            <a:prstGeom prst="chevron">
              <a:avLst>
                <a:gd name="adj" fmla="val 58474"/>
              </a:avLst>
            </a:prstGeom>
            <a:solidFill>
              <a:schemeClr val="bg2"/>
            </a:solidFill>
            <a:ln w="19050" algn="ctr">
              <a:noFill/>
              <a:miter lim="800000"/>
              <a:headEnd/>
              <a:tailEnd/>
            </a:ln>
          </p:spPr>
          <p:txBody>
            <a:bodyPr vert="horz"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grpSp>
      <p:sp>
        <p:nvSpPr>
          <p:cNvPr id="166" name="Freeform 375">
            <a:extLst>
              <a:ext uri="{FF2B5EF4-FFF2-40B4-BE49-F238E27FC236}">
                <a16:creationId xmlns:a16="http://schemas.microsoft.com/office/drawing/2014/main" id="{A9794934-6157-40DA-BE58-51BAEEA23B86}"/>
              </a:ext>
            </a:extLst>
          </p:cNvPr>
          <p:cNvSpPr>
            <a:spLocks noChangeAspect="1" noEditPoints="1"/>
          </p:cNvSpPr>
          <p:nvPr/>
        </p:nvSpPr>
        <p:spPr bwMode="auto">
          <a:xfrm>
            <a:off x="7284613" y="1195430"/>
            <a:ext cx="449649" cy="449649"/>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427" dirty="0"/>
          </a:p>
        </p:txBody>
      </p:sp>
      <p:grpSp>
        <p:nvGrpSpPr>
          <p:cNvPr id="167" name="Group 238">
            <a:extLst>
              <a:ext uri="{FF2B5EF4-FFF2-40B4-BE49-F238E27FC236}">
                <a16:creationId xmlns:a16="http://schemas.microsoft.com/office/drawing/2014/main" id="{92A392E3-A805-400A-8725-C3EF2F57F2FA}"/>
              </a:ext>
            </a:extLst>
          </p:cNvPr>
          <p:cNvGrpSpPr>
            <a:grpSpLocks noChangeAspect="1"/>
          </p:cNvGrpSpPr>
          <p:nvPr/>
        </p:nvGrpSpPr>
        <p:grpSpPr bwMode="auto">
          <a:xfrm>
            <a:off x="5377755" y="1246005"/>
            <a:ext cx="391724" cy="390576"/>
            <a:chOff x="3875" y="720"/>
            <a:chExt cx="341" cy="340"/>
          </a:xfrm>
          <a:solidFill>
            <a:srgbClr val="A7A8AA"/>
          </a:solidFill>
        </p:grpSpPr>
        <p:sp>
          <p:nvSpPr>
            <p:cNvPr id="168" name="Freeform 239">
              <a:extLst>
                <a:ext uri="{FF2B5EF4-FFF2-40B4-BE49-F238E27FC236}">
                  <a16:creationId xmlns:a16="http://schemas.microsoft.com/office/drawing/2014/main" id="{D97A1BE2-A4F2-4656-8311-AFCEEE21A5C6}"/>
                </a:ext>
              </a:extLst>
            </p:cNvPr>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69" name="Freeform 240">
              <a:extLst>
                <a:ext uri="{FF2B5EF4-FFF2-40B4-BE49-F238E27FC236}">
                  <a16:creationId xmlns:a16="http://schemas.microsoft.com/office/drawing/2014/main" id="{A9B4DED5-E321-4D70-8930-8E59AE97FA6E}"/>
                </a:ext>
              </a:extLst>
            </p:cNvPr>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solidFill>
              <a:schemeClr val="accent2"/>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170" name="Freeform 429">
            <a:extLst>
              <a:ext uri="{FF2B5EF4-FFF2-40B4-BE49-F238E27FC236}">
                <a16:creationId xmlns:a16="http://schemas.microsoft.com/office/drawing/2014/main" id="{1ADAC880-6BE5-4951-A865-D4446FF28E09}"/>
              </a:ext>
            </a:extLst>
          </p:cNvPr>
          <p:cNvSpPr>
            <a:spLocks noChangeAspect="1" noEditPoints="1"/>
          </p:cNvSpPr>
          <p:nvPr/>
        </p:nvSpPr>
        <p:spPr bwMode="auto">
          <a:xfrm>
            <a:off x="6286684" y="1562997"/>
            <a:ext cx="449649" cy="449649"/>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171" name="Freeform 395">
            <a:extLst>
              <a:ext uri="{FF2B5EF4-FFF2-40B4-BE49-F238E27FC236}">
                <a16:creationId xmlns:a16="http://schemas.microsoft.com/office/drawing/2014/main" id="{26CC2272-3401-4EA9-9BA6-0AFB048D1D23}"/>
              </a:ext>
            </a:extLst>
          </p:cNvPr>
          <p:cNvSpPr>
            <a:spLocks noChangeAspect="1" noEditPoints="1"/>
          </p:cNvSpPr>
          <p:nvPr/>
        </p:nvSpPr>
        <p:spPr bwMode="auto">
          <a:xfrm>
            <a:off x="4458982" y="1517141"/>
            <a:ext cx="447161" cy="447162"/>
          </a:xfrm>
          <a:custGeom>
            <a:avLst/>
            <a:gdLst>
              <a:gd name="T0" fmla="*/ 245 w 512"/>
              <a:gd name="T1" fmla="*/ 192 h 512"/>
              <a:gd name="T2" fmla="*/ 224 w 512"/>
              <a:gd name="T3" fmla="*/ 213 h 512"/>
              <a:gd name="T4" fmla="*/ 266 w 512"/>
              <a:gd name="T5" fmla="*/ 320 h 512"/>
              <a:gd name="T6" fmla="*/ 288 w 512"/>
              <a:gd name="T7" fmla="*/ 298 h 512"/>
              <a:gd name="T8" fmla="*/ 266 w 512"/>
              <a:gd name="T9" fmla="*/ 320 h 512"/>
              <a:gd name="T10" fmla="*/ 256 w 512"/>
              <a:gd name="T11" fmla="*/ 512 h 512"/>
              <a:gd name="T12" fmla="*/ 256 w 512"/>
              <a:gd name="T13" fmla="*/ 0 h 512"/>
              <a:gd name="T14" fmla="*/ 181 w 512"/>
              <a:gd name="T15" fmla="*/ 181 h 512"/>
              <a:gd name="T16" fmla="*/ 139 w 512"/>
              <a:gd name="T17" fmla="*/ 170 h 512"/>
              <a:gd name="T18" fmla="*/ 181 w 512"/>
              <a:gd name="T19" fmla="*/ 126 h 512"/>
              <a:gd name="T20" fmla="*/ 117 w 512"/>
              <a:gd name="T21" fmla="*/ 181 h 512"/>
              <a:gd name="T22" fmla="*/ 128 w 512"/>
              <a:gd name="T23" fmla="*/ 234 h 512"/>
              <a:gd name="T24" fmla="*/ 181 w 512"/>
              <a:gd name="T25" fmla="*/ 224 h 512"/>
              <a:gd name="T26" fmla="*/ 213 w 512"/>
              <a:gd name="T27" fmla="*/ 234 h 512"/>
              <a:gd name="T28" fmla="*/ 266 w 512"/>
              <a:gd name="T29" fmla="*/ 224 h 512"/>
              <a:gd name="T30" fmla="*/ 256 w 512"/>
              <a:gd name="T31" fmla="*/ 170 h 512"/>
              <a:gd name="T32" fmla="*/ 257 w 512"/>
              <a:gd name="T33" fmla="*/ 138 h 512"/>
              <a:gd name="T34" fmla="*/ 254 w 512"/>
              <a:gd name="T35" fmla="*/ 117 h 512"/>
              <a:gd name="T36" fmla="*/ 202 w 512"/>
              <a:gd name="T37" fmla="*/ 224 h 512"/>
              <a:gd name="T38" fmla="*/ 309 w 512"/>
              <a:gd name="T39" fmla="*/ 288 h 512"/>
              <a:gd name="T40" fmla="*/ 256 w 512"/>
              <a:gd name="T41" fmla="*/ 277 h 512"/>
              <a:gd name="T42" fmla="*/ 245 w 512"/>
              <a:gd name="T43" fmla="*/ 330 h 512"/>
              <a:gd name="T44" fmla="*/ 287 w 512"/>
              <a:gd name="T45" fmla="*/ 341 h 512"/>
              <a:gd name="T46" fmla="*/ 245 w 512"/>
              <a:gd name="T47" fmla="*/ 385 h 512"/>
              <a:gd name="T48" fmla="*/ 257 w 512"/>
              <a:gd name="T49" fmla="*/ 394 h 512"/>
              <a:gd name="T50" fmla="*/ 309 w 512"/>
              <a:gd name="T51" fmla="*/ 288 h 512"/>
              <a:gd name="T52" fmla="*/ 384 w 512"/>
              <a:gd name="T53" fmla="*/ 277 h 512"/>
              <a:gd name="T54" fmla="*/ 330 w 512"/>
              <a:gd name="T55" fmla="*/ 288 h 512"/>
              <a:gd name="T56" fmla="*/ 341 w 512"/>
              <a:gd name="T57" fmla="*/ 341 h 512"/>
              <a:gd name="T58" fmla="*/ 340 w 512"/>
              <a:gd name="T59" fmla="*/ 373 h 512"/>
              <a:gd name="T60" fmla="*/ 341 w 512"/>
              <a:gd name="T61" fmla="*/ 394 h 512"/>
              <a:gd name="T62" fmla="*/ 394 w 512"/>
              <a:gd name="T63" fmla="*/ 330 h 512"/>
              <a:gd name="T64" fmla="*/ 138 w 512"/>
              <a:gd name="T65" fmla="*/ 213 h 512"/>
              <a:gd name="T66" fmla="*/ 160 w 512"/>
              <a:gd name="T67" fmla="*/ 192 h 512"/>
              <a:gd name="T68" fmla="*/ 138 w 512"/>
              <a:gd name="T69" fmla="*/ 213 h 512"/>
              <a:gd name="T70" fmla="*/ 373 w 512"/>
              <a:gd name="T71" fmla="*/ 320 h 512"/>
              <a:gd name="T72" fmla="*/ 352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24" y="192"/>
                </a:moveTo>
                <a:cubicBezTo>
                  <a:pt x="245" y="192"/>
                  <a:pt x="245" y="192"/>
                  <a:pt x="245" y="192"/>
                </a:cubicBezTo>
                <a:cubicBezTo>
                  <a:pt x="245" y="213"/>
                  <a:pt x="245" y="213"/>
                  <a:pt x="245" y="213"/>
                </a:cubicBezTo>
                <a:cubicBezTo>
                  <a:pt x="224" y="213"/>
                  <a:pt x="224" y="213"/>
                  <a:pt x="224" y="213"/>
                </a:cubicBezTo>
                <a:lnTo>
                  <a:pt x="224" y="192"/>
                </a:lnTo>
                <a:close/>
                <a:moveTo>
                  <a:pt x="266" y="320"/>
                </a:moveTo>
                <a:cubicBezTo>
                  <a:pt x="288" y="320"/>
                  <a:pt x="288" y="320"/>
                  <a:pt x="288" y="320"/>
                </a:cubicBezTo>
                <a:cubicBezTo>
                  <a:pt x="288" y="298"/>
                  <a:pt x="288" y="298"/>
                  <a:pt x="288" y="298"/>
                </a:cubicBezTo>
                <a:cubicBezTo>
                  <a:pt x="266" y="298"/>
                  <a:pt x="266" y="298"/>
                  <a:pt x="266" y="298"/>
                </a:cubicBezTo>
                <a:lnTo>
                  <a:pt x="266"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1" y="181"/>
                </a:moveTo>
                <a:cubicBezTo>
                  <a:pt x="181" y="175"/>
                  <a:pt x="176" y="170"/>
                  <a:pt x="170" y="170"/>
                </a:cubicBezTo>
                <a:cubicBezTo>
                  <a:pt x="139" y="170"/>
                  <a:pt x="139" y="170"/>
                  <a:pt x="139" y="170"/>
                </a:cubicBezTo>
                <a:cubicBezTo>
                  <a:pt x="144" y="143"/>
                  <a:pt x="168" y="139"/>
                  <a:pt x="172" y="138"/>
                </a:cubicBezTo>
                <a:cubicBezTo>
                  <a:pt x="177" y="138"/>
                  <a:pt x="182" y="132"/>
                  <a:pt x="181" y="126"/>
                </a:cubicBezTo>
                <a:cubicBezTo>
                  <a:pt x="180" y="121"/>
                  <a:pt x="175" y="117"/>
                  <a:pt x="169" y="117"/>
                </a:cubicBezTo>
                <a:cubicBezTo>
                  <a:pt x="151" y="119"/>
                  <a:pt x="117" y="135"/>
                  <a:pt x="117" y="181"/>
                </a:cubicBezTo>
                <a:cubicBezTo>
                  <a:pt x="117" y="224"/>
                  <a:pt x="117" y="224"/>
                  <a:pt x="117" y="224"/>
                </a:cubicBezTo>
                <a:cubicBezTo>
                  <a:pt x="117" y="230"/>
                  <a:pt x="122" y="234"/>
                  <a:pt x="128" y="234"/>
                </a:cubicBezTo>
                <a:cubicBezTo>
                  <a:pt x="170" y="234"/>
                  <a:pt x="170" y="234"/>
                  <a:pt x="170" y="234"/>
                </a:cubicBezTo>
                <a:cubicBezTo>
                  <a:pt x="176" y="234"/>
                  <a:pt x="181" y="230"/>
                  <a:pt x="181" y="224"/>
                </a:cubicBezTo>
                <a:lnTo>
                  <a:pt x="181" y="181"/>
                </a:lnTo>
                <a:close/>
                <a:moveTo>
                  <a:pt x="213" y="234"/>
                </a:moveTo>
                <a:cubicBezTo>
                  <a:pt x="256" y="234"/>
                  <a:pt x="256" y="234"/>
                  <a:pt x="256" y="234"/>
                </a:cubicBezTo>
                <a:cubicBezTo>
                  <a:pt x="262" y="234"/>
                  <a:pt x="266" y="230"/>
                  <a:pt x="266" y="224"/>
                </a:cubicBezTo>
                <a:cubicBezTo>
                  <a:pt x="266" y="181"/>
                  <a:pt x="266" y="181"/>
                  <a:pt x="266" y="181"/>
                </a:cubicBezTo>
                <a:cubicBezTo>
                  <a:pt x="266" y="175"/>
                  <a:pt x="262" y="170"/>
                  <a:pt x="256" y="170"/>
                </a:cubicBezTo>
                <a:cubicBezTo>
                  <a:pt x="225" y="170"/>
                  <a:pt x="225" y="170"/>
                  <a:pt x="225" y="170"/>
                </a:cubicBezTo>
                <a:cubicBezTo>
                  <a:pt x="230" y="143"/>
                  <a:pt x="254" y="139"/>
                  <a:pt x="257" y="138"/>
                </a:cubicBezTo>
                <a:cubicBezTo>
                  <a:pt x="263" y="138"/>
                  <a:pt x="267" y="132"/>
                  <a:pt x="266" y="126"/>
                </a:cubicBezTo>
                <a:cubicBezTo>
                  <a:pt x="266" y="121"/>
                  <a:pt x="260" y="117"/>
                  <a:pt x="254" y="117"/>
                </a:cubicBezTo>
                <a:cubicBezTo>
                  <a:pt x="236" y="119"/>
                  <a:pt x="202" y="135"/>
                  <a:pt x="202" y="181"/>
                </a:cubicBezTo>
                <a:cubicBezTo>
                  <a:pt x="202" y="224"/>
                  <a:pt x="202" y="224"/>
                  <a:pt x="202" y="224"/>
                </a:cubicBezTo>
                <a:cubicBezTo>
                  <a:pt x="202" y="230"/>
                  <a:pt x="207" y="234"/>
                  <a:pt x="213" y="234"/>
                </a:cubicBezTo>
                <a:close/>
                <a:moveTo>
                  <a:pt x="309" y="288"/>
                </a:moveTo>
                <a:cubicBezTo>
                  <a:pt x="309" y="282"/>
                  <a:pt x="304" y="277"/>
                  <a:pt x="298" y="277"/>
                </a:cubicBezTo>
                <a:cubicBezTo>
                  <a:pt x="256" y="277"/>
                  <a:pt x="256" y="277"/>
                  <a:pt x="256" y="277"/>
                </a:cubicBezTo>
                <a:cubicBezTo>
                  <a:pt x="250" y="277"/>
                  <a:pt x="245" y="282"/>
                  <a:pt x="245" y="288"/>
                </a:cubicBezTo>
                <a:cubicBezTo>
                  <a:pt x="245" y="330"/>
                  <a:pt x="245" y="330"/>
                  <a:pt x="245" y="330"/>
                </a:cubicBezTo>
                <a:cubicBezTo>
                  <a:pt x="245" y="336"/>
                  <a:pt x="250" y="341"/>
                  <a:pt x="256" y="341"/>
                </a:cubicBezTo>
                <a:cubicBezTo>
                  <a:pt x="287" y="341"/>
                  <a:pt x="287" y="341"/>
                  <a:pt x="287" y="341"/>
                </a:cubicBezTo>
                <a:cubicBezTo>
                  <a:pt x="282" y="369"/>
                  <a:pt x="258" y="373"/>
                  <a:pt x="254" y="373"/>
                </a:cubicBezTo>
                <a:cubicBezTo>
                  <a:pt x="249" y="374"/>
                  <a:pt x="244" y="379"/>
                  <a:pt x="245" y="385"/>
                </a:cubicBezTo>
                <a:cubicBezTo>
                  <a:pt x="246" y="390"/>
                  <a:pt x="250" y="394"/>
                  <a:pt x="256" y="394"/>
                </a:cubicBezTo>
                <a:cubicBezTo>
                  <a:pt x="256" y="394"/>
                  <a:pt x="256" y="394"/>
                  <a:pt x="257" y="394"/>
                </a:cubicBezTo>
                <a:cubicBezTo>
                  <a:pt x="275" y="392"/>
                  <a:pt x="309" y="376"/>
                  <a:pt x="309" y="330"/>
                </a:cubicBezTo>
                <a:lnTo>
                  <a:pt x="309" y="288"/>
                </a:lnTo>
                <a:close/>
                <a:moveTo>
                  <a:pt x="394" y="288"/>
                </a:moveTo>
                <a:cubicBezTo>
                  <a:pt x="394" y="282"/>
                  <a:pt x="390" y="277"/>
                  <a:pt x="384" y="277"/>
                </a:cubicBezTo>
                <a:cubicBezTo>
                  <a:pt x="341" y="277"/>
                  <a:pt x="341" y="277"/>
                  <a:pt x="341" y="277"/>
                </a:cubicBezTo>
                <a:cubicBezTo>
                  <a:pt x="335" y="277"/>
                  <a:pt x="330" y="282"/>
                  <a:pt x="330" y="288"/>
                </a:cubicBezTo>
                <a:cubicBezTo>
                  <a:pt x="330" y="330"/>
                  <a:pt x="330" y="330"/>
                  <a:pt x="330" y="330"/>
                </a:cubicBezTo>
                <a:cubicBezTo>
                  <a:pt x="330" y="336"/>
                  <a:pt x="335" y="341"/>
                  <a:pt x="341" y="341"/>
                </a:cubicBezTo>
                <a:cubicBezTo>
                  <a:pt x="372" y="341"/>
                  <a:pt x="372" y="341"/>
                  <a:pt x="372" y="341"/>
                </a:cubicBezTo>
                <a:cubicBezTo>
                  <a:pt x="367" y="369"/>
                  <a:pt x="343" y="373"/>
                  <a:pt x="340" y="373"/>
                </a:cubicBezTo>
                <a:cubicBezTo>
                  <a:pt x="334" y="374"/>
                  <a:pt x="330" y="379"/>
                  <a:pt x="330" y="385"/>
                </a:cubicBezTo>
                <a:cubicBezTo>
                  <a:pt x="331" y="390"/>
                  <a:pt x="336" y="394"/>
                  <a:pt x="341" y="394"/>
                </a:cubicBezTo>
                <a:cubicBezTo>
                  <a:pt x="341" y="394"/>
                  <a:pt x="342" y="394"/>
                  <a:pt x="342" y="394"/>
                </a:cubicBezTo>
                <a:cubicBezTo>
                  <a:pt x="360" y="392"/>
                  <a:pt x="394" y="376"/>
                  <a:pt x="394" y="330"/>
                </a:cubicBezTo>
                <a:lnTo>
                  <a:pt x="394" y="288"/>
                </a:lnTo>
                <a:close/>
                <a:moveTo>
                  <a:pt x="138" y="213"/>
                </a:moveTo>
                <a:cubicBezTo>
                  <a:pt x="160" y="213"/>
                  <a:pt x="160" y="213"/>
                  <a:pt x="160" y="213"/>
                </a:cubicBezTo>
                <a:cubicBezTo>
                  <a:pt x="160" y="192"/>
                  <a:pt x="160" y="192"/>
                  <a:pt x="160" y="192"/>
                </a:cubicBezTo>
                <a:cubicBezTo>
                  <a:pt x="138" y="192"/>
                  <a:pt x="138" y="192"/>
                  <a:pt x="138" y="192"/>
                </a:cubicBezTo>
                <a:lnTo>
                  <a:pt x="138" y="213"/>
                </a:lnTo>
                <a:close/>
                <a:moveTo>
                  <a:pt x="352" y="320"/>
                </a:moveTo>
                <a:cubicBezTo>
                  <a:pt x="373" y="320"/>
                  <a:pt x="373" y="320"/>
                  <a:pt x="373" y="320"/>
                </a:cubicBezTo>
                <a:cubicBezTo>
                  <a:pt x="373" y="298"/>
                  <a:pt x="373" y="298"/>
                  <a:pt x="373" y="298"/>
                </a:cubicBezTo>
                <a:cubicBezTo>
                  <a:pt x="352" y="298"/>
                  <a:pt x="352" y="298"/>
                  <a:pt x="352" y="298"/>
                </a:cubicBezTo>
                <a:lnTo>
                  <a:pt x="352" y="320"/>
                </a:lnTo>
                <a:close/>
              </a:path>
            </a:pathLst>
          </a:custGeom>
          <a:solidFill>
            <a:schemeClr val="accent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172" name="Freeform 481">
            <a:extLst>
              <a:ext uri="{FF2B5EF4-FFF2-40B4-BE49-F238E27FC236}">
                <a16:creationId xmlns:a16="http://schemas.microsoft.com/office/drawing/2014/main" id="{D01F7F8E-0DD7-4916-83DB-BC46BE69A2ED}"/>
              </a:ext>
            </a:extLst>
          </p:cNvPr>
          <p:cNvSpPr>
            <a:spLocks noChangeAspect="1" noEditPoints="1"/>
          </p:cNvSpPr>
          <p:nvPr/>
        </p:nvSpPr>
        <p:spPr bwMode="auto">
          <a:xfrm>
            <a:off x="8148578" y="4612372"/>
            <a:ext cx="366478" cy="36647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20 h 512"/>
              <a:gd name="T12" fmla="*/ 128 w 512"/>
              <a:gd name="T13" fmla="*/ 320 h 512"/>
              <a:gd name="T14" fmla="*/ 117 w 512"/>
              <a:gd name="T15" fmla="*/ 309 h 512"/>
              <a:gd name="T16" fmla="*/ 128 w 512"/>
              <a:gd name="T17" fmla="*/ 298 h 512"/>
              <a:gd name="T18" fmla="*/ 384 w 512"/>
              <a:gd name="T19" fmla="*/ 298 h 512"/>
              <a:gd name="T20" fmla="*/ 394 w 512"/>
              <a:gd name="T21" fmla="*/ 309 h 512"/>
              <a:gd name="T22" fmla="*/ 384 w 512"/>
              <a:gd name="T23" fmla="*/ 320 h 512"/>
              <a:gd name="T24" fmla="*/ 384 w 512"/>
              <a:gd name="T25" fmla="*/ 213 h 512"/>
              <a:gd name="T26" fmla="*/ 128 w 512"/>
              <a:gd name="T27" fmla="*/ 213 h 512"/>
              <a:gd name="T28" fmla="*/ 117 w 512"/>
              <a:gd name="T29" fmla="*/ 202 h 512"/>
              <a:gd name="T30" fmla="*/ 128 w 512"/>
              <a:gd name="T31" fmla="*/ 192 h 512"/>
              <a:gd name="T32" fmla="*/ 384 w 512"/>
              <a:gd name="T33" fmla="*/ 192 h 512"/>
              <a:gd name="T34" fmla="*/ 394 w 512"/>
              <a:gd name="T35" fmla="*/ 202 h 512"/>
              <a:gd name="T36" fmla="*/ 384 w 512"/>
              <a:gd name="T3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20"/>
                </a:moveTo>
                <a:cubicBezTo>
                  <a:pt x="128" y="320"/>
                  <a:pt x="128" y="320"/>
                  <a:pt x="128" y="320"/>
                </a:cubicBezTo>
                <a:cubicBezTo>
                  <a:pt x="122" y="320"/>
                  <a:pt x="117" y="315"/>
                  <a:pt x="117" y="309"/>
                </a:cubicBezTo>
                <a:cubicBezTo>
                  <a:pt x="117" y="303"/>
                  <a:pt x="122" y="298"/>
                  <a:pt x="128" y="298"/>
                </a:cubicBezTo>
                <a:cubicBezTo>
                  <a:pt x="384" y="298"/>
                  <a:pt x="384" y="298"/>
                  <a:pt x="384" y="298"/>
                </a:cubicBezTo>
                <a:cubicBezTo>
                  <a:pt x="390" y="298"/>
                  <a:pt x="394" y="303"/>
                  <a:pt x="394" y="309"/>
                </a:cubicBezTo>
                <a:cubicBezTo>
                  <a:pt x="394" y="315"/>
                  <a:pt x="390" y="320"/>
                  <a:pt x="384" y="320"/>
                </a:cubicBezTo>
                <a:close/>
                <a:moveTo>
                  <a:pt x="384" y="213"/>
                </a:moveTo>
                <a:cubicBezTo>
                  <a:pt x="128" y="213"/>
                  <a:pt x="128" y="213"/>
                  <a:pt x="128" y="213"/>
                </a:cubicBezTo>
                <a:cubicBezTo>
                  <a:pt x="122" y="213"/>
                  <a:pt x="117" y="208"/>
                  <a:pt x="117" y="202"/>
                </a:cubicBezTo>
                <a:cubicBezTo>
                  <a:pt x="117" y="196"/>
                  <a:pt x="122" y="192"/>
                  <a:pt x="128" y="192"/>
                </a:cubicBezTo>
                <a:cubicBezTo>
                  <a:pt x="384" y="192"/>
                  <a:pt x="384" y="192"/>
                  <a:pt x="384" y="192"/>
                </a:cubicBezTo>
                <a:cubicBezTo>
                  <a:pt x="390" y="192"/>
                  <a:pt x="394" y="196"/>
                  <a:pt x="394" y="202"/>
                </a:cubicBezTo>
                <a:cubicBezTo>
                  <a:pt x="394" y="208"/>
                  <a:pt x="390" y="213"/>
                  <a:pt x="384" y="213"/>
                </a:cubicBezTo>
                <a:close/>
              </a:path>
            </a:pathLst>
          </a:custGeom>
          <a:solidFill>
            <a:srgbClr val="005587"/>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173" name="Freeform 490">
            <a:extLst>
              <a:ext uri="{FF2B5EF4-FFF2-40B4-BE49-F238E27FC236}">
                <a16:creationId xmlns:a16="http://schemas.microsoft.com/office/drawing/2014/main" id="{EC4D8D9E-9AEE-4735-AAF7-FAD9B8CBE89C}"/>
              </a:ext>
            </a:extLst>
          </p:cNvPr>
          <p:cNvSpPr>
            <a:spLocks noChangeAspect="1" noEditPoints="1"/>
          </p:cNvSpPr>
          <p:nvPr/>
        </p:nvSpPr>
        <p:spPr bwMode="auto">
          <a:xfrm>
            <a:off x="8148578" y="4136983"/>
            <a:ext cx="366478" cy="367556"/>
          </a:xfrm>
          <a:custGeom>
            <a:avLst/>
            <a:gdLst>
              <a:gd name="T0" fmla="*/ 314 w 512"/>
              <a:gd name="T1" fmla="*/ 158 h 512"/>
              <a:gd name="T2" fmla="*/ 358 w 512"/>
              <a:gd name="T3" fmla="*/ 202 h 512"/>
              <a:gd name="T4" fmla="*/ 277 w 512"/>
              <a:gd name="T5" fmla="*/ 283 h 512"/>
              <a:gd name="T6" fmla="*/ 233 w 512"/>
              <a:gd name="T7" fmla="*/ 239 h 512"/>
              <a:gd name="T8" fmla="*/ 314 w 512"/>
              <a:gd name="T9" fmla="*/ 158 h 512"/>
              <a:gd name="T10" fmla="*/ 153 w 512"/>
              <a:gd name="T11" fmla="*/ 319 h 512"/>
              <a:gd name="T12" fmla="*/ 185 w 512"/>
              <a:gd name="T13" fmla="*/ 352 h 512"/>
              <a:gd name="T14" fmla="*/ 209 w 512"/>
              <a:gd name="T15" fmla="*/ 352 h 512"/>
              <a:gd name="T16" fmla="*/ 262 w 512"/>
              <a:gd name="T17" fmla="*/ 298 h 512"/>
              <a:gd name="T18" fmla="*/ 218 w 512"/>
              <a:gd name="T19" fmla="*/ 254 h 512"/>
              <a:gd name="T20" fmla="*/ 153 w 512"/>
              <a:gd name="T21" fmla="*/ 31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02 h 512"/>
              <a:gd name="T34" fmla="*/ 381 w 512"/>
              <a:gd name="T35" fmla="*/ 195 h 512"/>
              <a:gd name="T36" fmla="*/ 321 w 512"/>
              <a:gd name="T37" fmla="*/ 136 h 512"/>
              <a:gd name="T38" fmla="*/ 306 w 512"/>
              <a:gd name="T39" fmla="*/ 136 h 512"/>
              <a:gd name="T40" fmla="*/ 131 w 512"/>
              <a:gd name="T41" fmla="*/ 311 h 512"/>
              <a:gd name="T42" fmla="*/ 131 w 512"/>
              <a:gd name="T43" fmla="*/ 326 h 512"/>
              <a:gd name="T44" fmla="*/ 173 w 512"/>
              <a:gd name="T45" fmla="*/ 370 h 512"/>
              <a:gd name="T46" fmla="*/ 173 w 512"/>
              <a:gd name="T47" fmla="*/ 370 h 512"/>
              <a:gd name="T48" fmla="*/ 177 w 512"/>
              <a:gd name="T49" fmla="*/ 372 h 512"/>
              <a:gd name="T50" fmla="*/ 181 w 512"/>
              <a:gd name="T51" fmla="*/ 373 h 512"/>
              <a:gd name="T52" fmla="*/ 213 w 512"/>
              <a:gd name="T53" fmla="*/ 373 h 512"/>
              <a:gd name="T54" fmla="*/ 352 w 512"/>
              <a:gd name="T55" fmla="*/ 373 h 512"/>
              <a:gd name="T56" fmla="*/ 362 w 512"/>
              <a:gd name="T57" fmla="*/ 362 h 512"/>
              <a:gd name="T58" fmla="*/ 352 w 512"/>
              <a:gd name="T59" fmla="*/ 352 h 512"/>
              <a:gd name="T60" fmla="*/ 239 w 512"/>
              <a:gd name="T61" fmla="*/ 352 h 512"/>
              <a:gd name="T62" fmla="*/ 381 w 512"/>
              <a:gd name="T63" fmla="*/ 210 h 512"/>
              <a:gd name="T64" fmla="*/ 384 w 512"/>
              <a:gd name="T6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14" y="158"/>
                </a:moveTo>
                <a:cubicBezTo>
                  <a:pt x="358" y="202"/>
                  <a:pt x="358" y="202"/>
                  <a:pt x="358" y="202"/>
                </a:cubicBezTo>
                <a:cubicBezTo>
                  <a:pt x="277" y="283"/>
                  <a:pt x="277" y="283"/>
                  <a:pt x="277" y="283"/>
                </a:cubicBezTo>
                <a:cubicBezTo>
                  <a:pt x="233" y="239"/>
                  <a:pt x="233" y="239"/>
                  <a:pt x="233" y="239"/>
                </a:cubicBezTo>
                <a:lnTo>
                  <a:pt x="314" y="158"/>
                </a:lnTo>
                <a:close/>
                <a:moveTo>
                  <a:pt x="153" y="319"/>
                </a:moveTo>
                <a:cubicBezTo>
                  <a:pt x="185" y="352"/>
                  <a:pt x="185" y="352"/>
                  <a:pt x="185" y="352"/>
                </a:cubicBezTo>
                <a:cubicBezTo>
                  <a:pt x="209" y="352"/>
                  <a:pt x="209" y="352"/>
                  <a:pt x="209" y="352"/>
                </a:cubicBezTo>
                <a:cubicBezTo>
                  <a:pt x="262" y="298"/>
                  <a:pt x="262" y="298"/>
                  <a:pt x="262" y="298"/>
                </a:cubicBezTo>
                <a:cubicBezTo>
                  <a:pt x="218" y="254"/>
                  <a:pt x="218" y="254"/>
                  <a:pt x="218" y="254"/>
                </a:cubicBezTo>
                <a:lnTo>
                  <a:pt x="153" y="31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9"/>
                  <a:pt x="383" y="197"/>
                  <a:pt x="381" y="195"/>
                </a:cubicBezTo>
                <a:cubicBezTo>
                  <a:pt x="321" y="136"/>
                  <a:pt x="321" y="136"/>
                  <a:pt x="321" y="136"/>
                </a:cubicBezTo>
                <a:cubicBezTo>
                  <a:pt x="317" y="132"/>
                  <a:pt x="311" y="132"/>
                  <a:pt x="306" y="136"/>
                </a:cubicBezTo>
                <a:cubicBezTo>
                  <a:pt x="131" y="311"/>
                  <a:pt x="131" y="311"/>
                  <a:pt x="131" y="311"/>
                </a:cubicBezTo>
                <a:cubicBezTo>
                  <a:pt x="127" y="316"/>
                  <a:pt x="127" y="322"/>
                  <a:pt x="131" y="326"/>
                </a:cubicBezTo>
                <a:cubicBezTo>
                  <a:pt x="173" y="370"/>
                  <a:pt x="173" y="370"/>
                  <a:pt x="173" y="370"/>
                </a:cubicBezTo>
                <a:cubicBezTo>
                  <a:pt x="173" y="370"/>
                  <a:pt x="173" y="370"/>
                  <a:pt x="173" y="370"/>
                </a:cubicBezTo>
                <a:cubicBezTo>
                  <a:pt x="174" y="371"/>
                  <a:pt x="176" y="372"/>
                  <a:pt x="177" y="372"/>
                </a:cubicBezTo>
                <a:cubicBezTo>
                  <a:pt x="178" y="373"/>
                  <a:pt x="180" y="373"/>
                  <a:pt x="181" y="373"/>
                </a:cubicBezTo>
                <a:cubicBezTo>
                  <a:pt x="213" y="373"/>
                  <a:pt x="213" y="373"/>
                  <a:pt x="213" y="373"/>
                </a:cubicBezTo>
                <a:cubicBezTo>
                  <a:pt x="352" y="373"/>
                  <a:pt x="352" y="373"/>
                  <a:pt x="352" y="373"/>
                </a:cubicBezTo>
                <a:cubicBezTo>
                  <a:pt x="358" y="373"/>
                  <a:pt x="362" y="368"/>
                  <a:pt x="362" y="362"/>
                </a:cubicBezTo>
                <a:cubicBezTo>
                  <a:pt x="362" y="356"/>
                  <a:pt x="358" y="352"/>
                  <a:pt x="352" y="352"/>
                </a:cubicBezTo>
                <a:cubicBezTo>
                  <a:pt x="239" y="352"/>
                  <a:pt x="239" y="352"/>
                  <a:pt x="239" y="352"/>
                </a:cubicBezTo>
                <a:cubicBezTo>
                  <a:pt x="381" y="210"/>
                  <a:pt x="381" y="210"/>
                  <a:pt x="381" y="210"/>
                </a:cubicBezTo>
                <a:cubicBezTo>
                  <a:pt x="383" y="208"/>
                  <a:pt x="384" y="205"/>
                  <a:pt x="384" y="202"/>
                </a:cubicBezTo>
                <a:close/>
              </a:path>
            </a:pathLst>
          </a:custGeom>
          <a:solidFill>
            <a:srgbClr val="005587"/>
          </a:solidFill>
          <a:ln>
            <a:noFill/>
          </a:ln>
        </p:spPr>
        <p:txBody>
          <a:bodyPr vert="horz" wrap="square" lIns="72477" tIns="36238" rIns="72477" bIns="36238" numCol="1" anchor="t" anchorCtr="0" compatLnSpc="1">
            <a:prstTxWarp prst="textNoShape">
              <a:avLst/>
            </a:prstTxWarp>
          </a:bodyPr>
          <a:lstStyle/>
          <a:p>
            <a:endParaRPr lang="en-GB" sz="1427" dirty="0"/>
          </a:p>
        </p:txBody>
      </p:sp>
      <p:grpSp>
        <p:nvGrpSpPr>
          <p:cNvPr id="174" name="Group 498">
            <a:extLst>
              <a:ext uri="{FF2B5EF4-FFF2-40B4-BE49-F238E27FC236}">
                <a16:creationId xmlns:a16="http://schemas.microsoft.com/office/drawing/2014/main" id="{1070BF53-BB81-4104-AA1F-0F16DDFDAA51}"/>
              </a:ext>
            </a:extLst>
          </p:cNvPr>
          <p:cNvGrpSpPr>
            <a:grpSpLocks noChangeAspect="1"/>
          </p:cNvGrpSpPr>
          <p:nvPr/>
        </p:nvGrpSpPr>
        <p:grpSpPr bwMode="auto">
          <a:xfrm>
            <a:off x="8148578" y="3586107"/>
            <a:ext cx="366478" cy="366478"/>
            <a:chOff x="1543" y="2005"/>
            <a:chExt cx="340" cy="340"/>
          </a:xfrm>
          <a:solidFill>
            <a:srgbClr val="005587"/>
          </a:solidFill>
        </p:grpSpPr>
        <p:sp>
          <p:nvSpPr>
            <p:cNvPr id="175" name="Freeform 499">
              <a:extLst>
                <a:ext uri="{FF2B5EF4-FFF2-40B4-BE49-F238E27FC236}">
                  <a16:creationId xmlns:a16="http://schemas.microsoft.com/office/drawing/2014/main" id="{4B2E7364-631C-4D51-945B-A944003F87E3}"/>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76" name="Freeform 500">
              <a:extLst>
                <a:ext uri="{FF2B5EF4-FFF2-40B4-BE49-F238E27FC236}">
                  <a16:creationId xmlns:a16="http://schemas.microsoft.com/office/drawing/2014/main" id="{B54464EB-68A7-4A1E-8DDE-0D08682C0BDD}"/>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177" name="Freeform 54">
            <a:extLst>
              <a:ext uri="{FF2B5EF4-FFF2-40B4-BE49-F238E27FC236}">
                <a16:creationId xmlns:a16="http://schemas.microsoft.com/office/drawing/2014/main" id="{462C6EE9-6465-4FCF-9DB2-92517BB1F267}"/>
              </a:ext>
            </a:extLst>
          </p:cNvPr>
          <p:cNvSpPr>
            <a:spLocks noChangeAspect="1" noEditPoints="1"/>
          </p:cNvSpPr>
          <p:nvPr/>
        </p:nvSpPr>
        <p:spPr bwMode="auto">
          <a:xfrm>
            <a:off x="8148578" y="3033714"/>
            <a:ext cx="366478" cy="366478"/>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rgbClr val="005587"/>
          </a:solidFill>
          <a:ln>
            <a:noFill/>
          </a:ln>
        </p:spPr>
        <p:txBody>
          <a:bodyPr vert="horz" wrap="square" lIns="72477" tIns="36238" rIns="72477" bIns="36238" numCol="1" anchor="t" anchorCtr="0" compatLnSpc="1">
            <a:prstTxWarp prst="textNoShape">
              <a:avLst/>
            </a:prstTxWarp>
          </a:bodyPr>
          <a:lstStyle/>
          <a:p>
            <a:endParaRPr lang="en-GB" sz="1427" dirty="0"/>
          </a:p>
        </p:txBody>
      </p:sp>
      <p:grpSp>
        <p:nvGrpSpPr>
          <p:cNvPr id="178" name="Group 99">
            <a:extLst>
              <a:ext uri="{FF2B5EF4-FFF2-40B4-BE49-F238E27FC236}">
                <a16:creationId xmlns:a16="http://schemas.microsoft.com/office/drawing/2014/main" id="{74476ABF-6B8E-4256-934F-3A6383145503}"/>
              </a:ext>
            </a:extLst>
          </p:cNvPr>
          <p:cNvGrpSpPr>
            <a:grpSpLocks noChangeAspect="1"/>
          </p:cNvGrpSpPr>
          <p:nvPr/>
        </p:nvGrpSpPr>
        <p:grpSpPr bwMode="auto">
          <a:xfrm>
            <a:off x="6601841" y="4332020"/>
            <a:ext cx="458845" cy="540983"/>
            <a:chOff x="468" y="431"/>
            <a:chExt cx="162" cy="191"/>
          </a:xfrm>
          <a:solidFill>
            <a:schemeClr val="accent6"/>
          </a:solidFill>
        </p:grpSpPr>
        <p:sp>
          <p:nvSpPr>
            <p:cNvPr id="180" name="Freeform 101">
              <a:extLst>
                <a:ext uri="{FF2B5EF4-FFF2-40B4-BE49-F238E27FC236}">
                  <a16:creationId xmlns:a16="http://schemas.microsoft.com/office/drawing/2014/main" id="{1D53E595-7623-4C9E-9444-6C56FA93274D}"/>
                </a:ext>
              </a:extLst>
            </p:cNvPr>
            <p:cNvSpPr>
              <a:spLocks/>
            </p:cNvSpPr>
            <p:nvPr/>
          </p:nvSpPr>
          <p:spPr bwMode="auto">
            <a:xfrm>
              <a:off x="468" y="433"/>
              <a:ext cx="160" cy="189"/>
            </a:xfrm>
            <a:custGeom>
              <a:avLst/>
              <a:gdLst>
                <a:gd name="T0" fmla="*/ 223 w 242"/>
                <a:gd name="T1" fmla="*/ 188 h 285"/>
                <a:gd name="T2" fmla="*/ 141 w 242"/>
                <a:gd name="T3" fmla="*/ 221 h 285"/>
                <a:gd name="T4" fmla="*/ 21 w 242"/>
                <a:gd name="T5" fmla="*/ 101 h 285"/>
                <a:gd name="T6" fmla="*/ 54 w 242"/>
                <a:gd name="T7" fmla="*/ 19 h 285"/>
                <a:gd name="T8" fmla="*/ 53 w 242"/>
                <a:gd name="T9" fmla="*/ 4 h 285"/>
                <a:gd name="T10" fmla="*/ 38 w 242"/>
                <a:gd name="T11" fmla="*/ 5 h 285"/>
                <a:gd name="T12" fmla="*/ 0 w 242"/>
                <a:gd name="T13" fmla="*/ 101 h 285"/>
                <a:gd name="T14" fmla="*/ 128 w 242"/>
                <a:gd name="T15" fmla="*/ 241 h 285"/>
                <a:gd name="T16" fmla="*/ 128 w 242"/>
                <a:gd name="T17" fmla="*/ 263 h 285"/>
                <a:gd name="T18" fmla="*/ 75 w 242"/>
                <a:gd name="T19" fmla="*/ 263 h 285"/>
                <a:gd name="T20" fmla="*/ 64 w 242"/>
                <a:gd name="T21" fmla="*/ 274 h 285"/>
                <a:gd name="T22" fmla="*/ 75 w 242"/>
                <a:gd name="T23" fmla="*/ 285 h 285"/>
                <a:gd name="T24" fmla="*/ 203 w 242"/>
                <a:gd name="T25" fmla="*/ 285 h 285"/>
                <a:gd name="T26" fmla="*/ 213 w 242"/>
                <a:gd name="T27" fmla="*/ 274 h 285"/>
                <a:gd name="T28" fmla="*/ 203 w 242"/>
                <a:gd name="T29" fmla="*/ 263 h 285"/>
                <a:gd name="T30" fmla="*/ 149 w 242"/>
                <a:gd name="T31" fmla="*/ 263 h 285"/>
                <a:gd name="T32" fmla="*/ 149 w 242"/>
                <a:gd name="T33" fmla="*/ 242 h 285"/>
                <a:gd name="T34" fmla="*/ 237 w 242"/>
                <a:gd name="T35" fmla="*/ 204 h 285"/>
                <a:gd name="T36" fmla="*/ 238 w 242"/>
                <a:gd name="T37" fmla="*/ 189 h 285"/>
                <a:gd name="T38" fmla="*/ 223 w 242"/>
                <a:gd name="T39" fmla="*/ 18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285">
                  <a:moveTo>
                    <a:pt x="223" y="188"/>
                  </a:moveTo>
                  <a:cubicBezTo>
                    <a:pt x="200" y="209"/>
                    <a:pt x="171" y="221"/>
                    <a:pt x="141" y="221"/>
                  </a:cubicBezTo>
                  <a:cubicBezTo>
                    <a:pt x="75" y="221"/>
                    <a:pt x="21" y="167"/>
                    <a:pt x="21" y="101"/>
                  </a:cubicBezTo>
                  <a:cubicBezTo>
                    <a:pt x="21" y="71"/>
                    <a:pt x="33" y="42"/>
                    <a:pt x="54" y="19"/>
                  </a:cubicBezTo>
                  <a:cubicBezTo>
                    <a:pt x="58" y="15"/>
                    <a:pt x="58" y="8"/>
                    <a:pt x="53" y="4"/>
                  </a:cubicBezTo>
                  <a:cubicBezTo>
                    <a:pt x="49" y="0"/>
                    <a:pt x="42" y="1"/>
                    <a:pt x="38" y="5"/>
                  </a:cubicBezTo>
                  <a:cubicBezTo>
                    <a:pt x="14" y="31"/>
                    <a:pt x="0" y="65"/>
                    <a:pt x="0" y="101"/>
                  </a:cubicBezTo>
                  <a:cubicBezTo>
                    <a:pt x="0" y="175"/>
                    <a:pt x="56" y="235"/>
                    <a:pt x="128" y="241"/>
                  </a:cubicBezTo>
                  <a:cubicBezTo>
                    <a:pt x="128" y="263"/>
                    <a:pt x="128" y="263"/>
                    <a:pt x="128" y="263"/>
                  </a:cubicBezTo>
                  <a:cubicBezTo>
                    <a:pt x="75" y="263"/>
                    <a:pt x="75" y="263"/>
                    <a:pt x="75" y="263"/>
                  </a:cubicBezTo>
                  <a:cubicBezTo>
                    <a:pt x="69" y="263"/>
                    <a:pt x="64" y="268"/>
                    <a:pt x="64" y="274"/>
                  </a:cubicBezTo>
                  <a:cubicBezTo>
                    <a:pt x="64" y="280"/>
                    <a:pt x="69" y="285"/>
                    <a:pt x="75" y="285"/>
                  </a:cubicBezTo>
                  <a:cubicBezTo>
                    <a:pt x="203" y="285"/>
                    <a:pt x="203" y="285"/>
                    <a:pt x="203" y="285"/>
                  </a:cubicBezTo>
                  <a:cubicBezTo>
                    <a:pt x="209" y="285"/>
                    <a:pt x="213" y="280"/>
                    <a:pt x="213" y="274"/>
                  </a:cubicBezTo>
                  <a:cubicBezTo>
                    <a:pt x="213" y="268"/>
                    <a:pt x="209" y="263"/>
                    <a:pt x="203" y="263"/>
                  </a:cubicBezTo>
                  <a:cubicBezTo>
                    <a:pt x="149" y="263"/>
                    <a:pt x="149" y="263"/>
                    <a:pt x="149" y="263"/>
                  </a:cubicBezTo>
                  <a:cubicBezTo>
                    <a:pt x="149" y="242"/>
                    <a:pt x="149" y="242"/>
                    <a:pt x="149" y="242"/>
                  </a:cubicBezTo>
                  <a:cubicBezTo>
                    <a:pt x="182" y="240"/>
                    <a:pt x="213" y="226"/>
                    <a:pt x="237" y="204"/>
                  </a:cubicBezTo>
                  <a:cubicBezTo>
                    <a:pt x="241" y="200"/>
                    <a:pt x="242" y="193"/>
                    <a:pt x="238" y="189"/>
                  </a:cubicBezTo>
                  <a:cubicBezTo>
                    <a:pt x="234" y="184"/>
                    <a:pt x="227" y="184"/>
                    <a:pt x="223" y="18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81" name="Freeform 102">
              <a:extLst>
                <a:ext uri="{FF2B5EF4-FFF2-40B4-BE49-F238E27FC236}">
                  <a16:creationId xmlns:a16="http://schemas.microsoft.com/office/drawing/2014/main" id="{6A6F3877-0B8A-4719-A512-966A77428088}"/>
                </a:ext>
              </a:extLst>
            </p:cNvPr>
            <p:cNvSpPr>
              <a:spLocks noEditPoints="1"/>
            </p:cNvSpPr>
            <p:nvPr/>
          </p:nvSpPr>
          <p:spPr bwMode="auto">
            <a:xfrm>
              <a:off x="492" y="431"/>
              <a:ext cx="138" cy="138"/>
            </a:xfrm>
            <a:custGeom>
              <a:avLst/>
              <a:gdLst>
                <a:gd name="T0" fmla="*/ 104 w 208"/>
                <a:gd name="T1" fmla="*/ 208 h 208"/>
                <a:gd name="T2" fmla="*/ 208 w 208"/>
                <a:gd name="T3" fmla="*/ 104 h 208"/>
                <a:gd name="T4" fmla="*/ 104 w 208"/>
                <a:gd name="T5" fmla="*/ 0 h 208"/>
                <a:gd name="T6" fmla="*/ 0 w 208"/>
                <a:gd name="T7" fmla="*/ 104 h 208"/>
                <a:gd name="T8" fmla="*/ 104 w 208"/>
                <a:gd name="T9" fmla="*/ 208 h 208"/>
                <a:gd name="T10" fmla="*/ 104 w 208"/>
                <a:gd name="T11" fmla="*/ 22 h 208"/>
                <a:gd name="T12" fmla="*/ 186 w 208"/>
                <a:gd name="T13" fmla="*/ 104 h 208"/>
                <a:gd name="T14" fmla="*/ 104 w 208"/>
                <a:gd name="T15" fmla="*/ 187 h 208"/>
                <a:gd name="T16" fmla="*/ 21 w 208"/>
                <a:gd name="T17" fmla="*/ 104 h 208"/>
                <a:gd name="T18" fmla="*/ 104 w 208"/>
                <a:gd name="T19" fmla="*/ 2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161" y="208"/>
                    <a:pt x="208" y="162"/>
                    <a:pt x="208" y="104"/>
                  </a:cubicBezTo>
                  <a:cubicBezTo>
                    <a:pt x="208" y="47"/>
                    <a:pt x="161" y="0"/>
                    <a:pt x="104" y="0"/>
                  </a:cubicBezTo>
                  <a:cubicBezTo>
                    <a:pt x="46" y="0"/>
                    <a:pt x="0" y="47"/>
                    <a:pt x="0" y="104"/>
                  </a:cubicBezTo>
                  <a:cubicBezTo>
                    <a:pt x="0" y="162"/>
                    <a:pt x="46" y="208"/>
                    <a:pt x="104" y="208"/>
                  </a:cubicBezTo>
                  <a:close/>
                  <a:moveTo>
                    <a:pt x="104" y="22"/>
                  </a:moveTo>
                  <a:cubicBezTo>
                    <a:pt x="149" y="22"/>
                    <a:pt x="186" y="59"/>
                    <a:pt x="186" y="104"/>
                  </a:cubicBezTo>
                  <a:cubicBezTo>
                    <a:pt x="186" y="150"/>
                    <a:pt x="149" y="187"/>
                    <a:pt x="104" y="187"/>
                  </a:cubicBezTo>
                  <a:cubicBezTo>
                    <a:pt x="58" y="187"/>
                    <a:pt x="21" y="150"/>
                    <a:pt x="21" y="104"/>
                  </a:cubicBezTo>
                  <a:cubicBezTo>
                    <a:pt x="21" y="59"/>
                    <a:pt x="58" y="22"/>
                    <a:pt x="104" y="2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184" name="Freeform 111">
            <a:extLst>
              <a:ext uri="{FF2B5EF4-FFF2-40B4-BE49-F238E27FC236}">
                <a16:creationId xmlns:a16="http://schemas.microsoft.com/office/drawing/2014/main" id="{45F88A90-C860-421C-B51F-33F298A692DE}"/>
              </a:ext>
            </a:extLst>
          </p:cNvPr>
          <p:cNvSpPr>
            <a:spLocks noEditPoints="1"/>
          </p:cNvSpPr>
          <p:nvPr/>
        </p:nvSpPr>
        <p:spPr bwMode="auto">
          <a:xfrm>
            <a:off x="4603761" y="4245367"/>
            <a:ext cx="521157" cy="603296"/>
          </a:xfrm>
          <a:custGeom>
            <a:avLst/>
            <a:gdLst>
              <a:gd name="T0" fmla="*/ 210 w 277"/>
              <a:gd name="T1" fmla="*/ 79 h 321"/>
              <a:gd name="T2" fmla="*/ 187 w 277"/>
              <a:gd name="T3" fmla="*/ 97 h 321"/>
              <a:gd name="T4" fmla="*/ 186 w 277"/>
              <a:gd name="T5" fmla="*/ 57 h 321"/>
              <a:gd name="T6" fmla="*/ 133 w 277"/>
              <a:gd name="T7" fmla="*/ 1 h 321"/>
              <a:gd name="T8" fmla="*/ 94 w 277"/>
              <a:gd name="T9" fmla="*/ 25 h 321"/>
              <a:gd name="T10" fmla="*/ 72 w 277"/>
              <a:gd name="T11" fmla="*/ 46 h 321"/>
              <a:gd name="T12" fmla="*/ 78 w 277"/>
              <a:gd name="T13" fmla="*/ 65 h 321"/>
              <a:gd name="T14" fmla="*/ 91 w 277"/>
              <a:gd name="T15" fmla="*/ 97 h 321"/>
              <a:gd name="T16" fmla="*/ 67 w 277"/>
              <a:gd name="T17" fmla="*/ 80 h 321"/>
              <a:gd name="T18" fmla="*/ 0 w 277"/>
              <a:gd name="T19" fmla="*/ 102 h 321"/>
              <a:gd name="T20" fmla="*/ 6 w 277"/>
              <a:gd name="T21" fmla="*/ 298 h 321"/>
              <a:gd name="T22" fmla="*/ 59 w 277"/>
              <a:gd name="T23" fmla="*/ 266 h 321"/>
              <a:gd name="T24" fmla="*/ 75 w 277"/>
              <a:gd name="T25" fmla="*/ 307 h 321"/>
              <a:gd name="T26" fmla="*/ 85 w 277"/>
              <a:gd name="T27" fmla="*/ 321 h 321"/>
              <a:gd name="T28" fmla="*/ 192 w 277"/>
              <a:gd name="T29" fmla="*/ 321 h 321"/>
              <a:gd name="T30" fmla="*/ 195 w 277"/>
              <a:gd name="T31" fmla="*/ 320 h 321"/>
              <a:gd name="T32" fmla="*/ 187 w 277"/>
              <a:gd name="T33" fmla="*/ 253 h 321"/>
              <a:gd name="T34" fmla="*/ 260 w 277"/>
              <a:gd name="T35" fmla="*/ 297 h 321"/>
              <a:gd name="T36" fmla="*/ 271 w 277"/>
              <a:gd name="T37" fmla="*/ 298 h 321"/>
              <a:gd name="T38" fmla="*/ 277 w 277"/>
              <a:gd name="T39" fmla="*/ 102 h 321"/>
              <a:gd name="T40" fmla="*/ 256 w 277"/>
              <a:gd name="T41" fmla="*/ 267 h 321"/>
              <a:gd name="T42" fmla="*/ 235 w 277"/>
              <a:gd name="T43" fmla="*/ 203 h 321"/>
              <a:gd name="T44" fmla="*/ 213 w 277"/>
              <a:gd name="T45" fmla="*/ 203 h 321"/>
              <a:gd name="T46" fmla="*/ 181 w 277"/>
              <a:gd name="T47" fmla="*/ 228 h 321"/>
              <a:gd name="T48" fmla="*/ 171 w 277"/>
              <a:gd name="T49" fmla="*/ 193 h 321"/>
              <a:gd name="T50" fmla="*/ 160 w 277"/>
              <a:gd name="T51" fmla="*/ 235 h 321"/>
              <a:gd name="T52" fmla="*/ 160 w 277"/>
              <a:gd name="T53" fmla="*/ 238 h 321"/>
              <a:gd name="T54" fmla="*/ 99 w 277"/>
              <a:gd name="T55" fmla="*/ 299 h 321"/>
              <a:gd name="T56" fmla="*/ 117 w 277"/>
              <a:gd name="T57" fmla="*/ 236 h 321"/>
              <a:gd name="T58" fmla="*/ 117 w 277"/>
              <a:gd name="T59" fmla="*/ 203 h 321"/>
              <a:gd name="T60" fmla="*/ 96 w 277"/>
              <a:gd name="T61" fmla="*/ 203 h 321"/>
              <a:gd name="T62" fmla="*/ 64 w 277"/>
              <a:gd name="T63" fmla="*/ 241 h 321"/>
              <a:gd name="T64" fmla="*/ 53 w 277"/>
              <a:gd name="T65" fmla="*/ 193 h 321"/>
              <a:gd name="T66" fmla="*/ 43 w 277"/>
              <a:gd name="T67" fmla="*/ 251 h 321"/>
              <a:gd name="T68" fmla="*/ 21 w 277"/>
              <a:gd name="T69" fmla="*/ 102 h 321"/>
              <a:gd name="T70" fmla="*/ 50 w 277"/>
              <a:gd name="T71" fmla="*/ 92 h 321"/>
              <a:gd name="T72" fmla="*/ 91 w 277"/>
              <a:gd name="T73" fmla="*/ 118 h 321"/>
              <a:gd name="T74" fmla="*/ 101 w 277"/>
              <a:gd name="T75" fmla="*/ 48 h 321"/>
              <a:gd name="T76" fmla="*/ 109 w 277"/>
              <a:gd name="T77" fmla="*/ 40 h 321"/>
              <a:gd name="T78" fmla="*/ 134 w 277"/>
              <a:gd name="T79" fmla="*/ 22 h 321"/>
              <a:gd name="T80" fmla="*/ 166 w 277"/>
              <a:gd name="T81" fmla="*/ 51 h 321"/>
              <a:gd name="T82" fmla="*/ 152 w 277"/>
              <a:gd name="T83" fmla="*/ 68 h 321"/>
              <a:gd name="T84" fmla="*/ 187 w 277"/>
              <a:gd name="T85" fmla="*/ 118 h 321"/>
              <a:gd name="T86" fmla="*/ 227 w 277"/>
              <a:gd name="T87" fmla="*/ 92 h 321"/>
              <a:gd name="T88" fmla="*/ 256 w 277"/>
              <a:gd name="T89" fmla="*/ 10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321">
                <a:moveTo>
                  <a:pt x="240" y="65"/>
                </a:moveTo>
                <a:cubicBezTo>
                  <a:pt x="228" y="65"/>
                  <a:pt x="217" y="70"/>
                  <a:pt x="210" y="79"/>
                </a:cubicBezTo>
                <a:cubicBezTo>
                  <a:pt x="210" y="79"/>
                  <a:pt x="205" y="85"/>
                  <a:pt x="202" y="90"/>
                </a:cubicBezTo>
                <a:cubicBezTo>
                  <a:pt x="199" y="94"/>
                  <a:pt x="194" y="97"/>
                  <a:pt x="187" y="97"/>
                </a:cubicBezTo>
                <a:cubicBezTo>
                  <a:pt x="181" y="97"/>
                  <a:pt x="173" y="91"/>
                  <a:pt x="171" y="80"/>
                </a:cubicBezTo>
                <a:cubicBezTo>
                  <a:pt x="176" y="75"/>
                  <a:pt x="184" y="67"/>
                  <a:pt x="186" y="57"/>
                </a:cubicBezTo>
                <a:cubicBezTo>
                  <a:pt x="189" y="46"/>
                  <a:pt x="188" y="31"/>
                  <a:pt x="178" y="19"/>
                </a:cubicBezTo>
                <a:cubicBezTo>
                  <a:pt x="172" y="10"/>
                  <a:pt x="158" y="0"/>
                  <a:pt x="133" y="1"/>
                </a:cubicBezTo>
                <a:cubicBezTo>
                  <a:pt x="115" y="1"/>
                  <a:pt x="106" y="12"/>
                  <a:pt x="99" y="19"/>
                </a:cubicBezTo>
                <a:cubicBezTo>
                  <a:pt x="97" y="21"/>
                  <a:pt x="96" y="23"/>
                  <a:pt x="94" y="25"/>
                </a:cubicBezTo>
                <a:cubicBezTo>
                  <a:pt x="91" y="28"/>
                  <a:pt x="90" y="29"/>
                  <a:pt x="88" y="30"/>
                </a:cubicBezTo>
                <a:cubicBezTo>
                  <a:pt x="72" y="46"/>
                  <a:pt x="72" y="46"/>
                  <a:pt x="72" y="46"/>
                </a:cubicBezTo>
                <a:cubicBezTo>
                  <a:pt x="70" y="49"/>
                  <a:pt x="69" y="53"/>
                  <a:pt x="70" y="57"/>
                </a:cubicBezTo>
                <a:cubicBezTo>
                  <a:pt x="71" y="61"/>
                  <a:pt x="74" y="64"/>
                  <a:pt x="78" y="65"/>
                </a:cubicBezTo>
                <a:cubicBezTo>
                  <a:pt x="91" y="67"/>
                  <a:pt x="105" y="72"/>
                  <a:pt x="107" y="75"/>
                </a:cubicBezTo>
                <a:cubicBezTo>
                  <a:pt x="107" y="97"/>
                  <a:pt x="97" y="97"/>
                  <a:pt x="91" y="97"/>
                </a:cubicBezTo>
                <a:cubicBezTo>
                  <a:pt x="85" y="97"/>
                  <a:pt x="81" y="96"/>
                  <a:pt x="75" y="90"/>
                </a:cubicBezTo>
                <a:cubicBezTo>
                  <a:pt x="71" y="86"/>
                  <a:pt x="67" y="80"/>
                  <a:pt x="67" y="80"/>
                </a:cubicBezTo>
                <a:cubicBezTo>
                  <a:pt x="60" y="70"/>
                  <a:pt x="49" y="65"/>
                  <a:pt x="37" y="65"/>
                </a:cubicBezTo>
                <a:cubicBezTo>
                  <a:pt x="17" y="65"/>
                  <a:pt x="0" y="81"/>
                  <a:pt x="0" y="102"/>
                </a:cubicBezTo>
                <a:cubicBezTo>
                  <a:pt x="0" y="289"/>
                  <a:pt x="0" y="289"/>
                  <a:pt x="0" y="289"/>
                </a:cubicBezTo>
                <a:cubicBezTo>
                  <a:pt x="0" y="293"/>
                  <a:pt x="2" y="296"/>
                  <a:pt x="6" y="298"/>
                </a:cubicBezTo>
                <a:cubicBezTo>
                  <a:pt x="10" y="300"/>
                  <a:pt x="14" y="300"/>
                  <a:pt x="17" y="297"/>
                </a:cubicBezTo>
                <a:cubicBezTo>
                  <a:pt x="59" y="266"/>
                  <a:pt x="59" y="266"/>
                  <a:pt x="59" y="266"/>
                </a:cubicBezTo>
                <a:cubicBezTo>
                  <a:pt x="90" y="253"/>
                  <a:pt x="90" y="253"/>
                  <a:pt x="90" y="253"/>
                </a:cubicBezTo>
                <a:cubicBezTo>
                  <a:pt x="75" y="307"/>
                  <a:pt x="75" y="307"/>
                  <a:pt x="75" y="307"/>
                </a:cubicBezTo>
                <a:cubicBezTo>
                  <a:pt x="73" y="313"/>
                  <a:pt x="77" y="319"/>
                  <a:pt x="82" y="320"/>
                </a:cubicBezTo>
                <a:cubicBezTo>
                  <a:pt x="83" y="321"/>
                  <a:pt x="84" y="321"/>
                  <a:pt x="85" y="321"/>
                </a:cubicBezTo>
                <a:cubicBezTo>
                  <a:pt x="85" y="321"/>
                  <a:pt x="85" y="321"/>
                  <a:pt x="85" y="321"/>
                </a:cubicBezTo>
                <a:cubicBezTo>
                  <a:pt x="192" y="321"/>
                  <a:pt x="192" y="321"/>
                  <a:pt x="192" y="321"/>
                </a:cubicBezTo>
                <a:cubicBezTo>
                  <a:pt x="192" y="321"/>
                  <a:pt x="192" y="321"/>
                  <a:pt x="192" y="321"/>
                </a:cubicBezTo>
                <a:cubicBezTo>
                  <a:pt x="193" y="321"/>
                  <a:pt x="194" y="321"/>
                  <a:pt x="195" y="320"/>
                </a:cubicBezTo>
                <a:cubicBezTo>
                  <a:pt x="201" y="319"/>
                  <a:pt x="204" y="313"/>
                  <a:pt x="202" y="307"/>
                </a:cubicBezTo>
                <a:cubicBezTo>
                  <a:pt x="187" y="253"/>
                  <a:pt x="187" y="253"/>
                  <a:pt x="187" y="253"/>
                </a:cubicBezTo>
                <a:cubicBezTo>
                  <a:pt x="219" y="266"/>
                  <a:pt x="219" y="266"/>
                  <a:pt x="219" y="266"/>
                </a:cubicBezTo>
                <a:cubicBezTo>
                  <a:pt x="260" y="297"/>
                  <a:pt x="260" y="297"/>
                  <a:pt x="260" y="297"/>
                </a:cubicBezTo>
                <a:cubicBezTo>
                  <a:pt x="262" y="299"/>
                  <a:pt x="264" y="299"/>
                  <a:pt x="267" y="299"/>
                </a:cubicBezTo>
                <a:cubicBezTo>
                  <a:pt x="268" y="299"/>
                  <a:pt x="270" y="299"/>
                  <a:pt x="271" y="298"/>
                </a:cubicBezTo>
                <a:cubicBezTo>
                  <a:pt x="275" y="296"/>
                  <a:pt x="277" y="293"/>
                  <a:pt x="277" y="289"/>
                </a:cubicBezTo>
                <a:cubicBezTo>
                  <a:pt x="277" y="102"/>
                  <a:pt x="277" y="102"/>
                  <a:pt x="277" y="102"/>
                </a:cubicBezTo>
                <a:cubicBezTo>
                  <a:pt x="277" y="81"/>
                  <a:pt x="261" y="65"/>
                  <a:pt x="240" y="65"/>
                </a:cubicBezTo>
                <a:close/>
                <a:moveTo>
                  <a:pt x="256" y="267"/>
                </a:moveTo>
                <a:cubicBezTo>
                  <a:pt x="235" y="251"/>
                  <a:pt x="235" y="251"/>
                  <a:pt x="235" y="251"/>
                </a:cubicBezTo>
                <a:cubicBezTo>
                  <a:pt x="235" y="203"/>
                  <a:pt x="235" y="203"/>
                  <a:pt x="235" y="203"/>
                </a:cubicBezTo>
                <a:cubicBezTo>
                  <a:pt x="235" y="197"/>
                  <a:pt x="230" y="193"/>
                  <a:pt x="224" y="193"/>
                </a:cubicBezTo>
                <a:cubicBezTo>
                  <a:pt x="218" y="193"/>
                  <a:pt x="213" y="197"/>
                  <a:pt x="213" y="203"/>
                </a:cubicBezTo>
                <a:cubicBezTo>
                  <a:pt x="213" y="241"/>
                  <a:pt x="213" y="241"/>
                  <a:pt x="213" y="241"/>
                </a:cubicBezTo>
                <a:cubicBezTo>
                  <a:pt x="181" y="228"/>
                  <a:pt x="181" y="228"/>
                  <a:pt x="181" y="228"/>
                </a:cubicBezTo>
                <a:cubicBezTo>
                  <a:pt x="181" y="203"/>
                  <a:pt x="181" y="203"/>
                  <a:pt x="181" y="203"/>
                </a:cubicBezTo>
                <a:cubicBezTo>
                  <a:pt x="181" y="197"/>
                  <a:pt x="177" y="193"/>
                  <a:pt x="171" y="193"/>
                </a:cubicBezTo>
                <a:cubicBezTo>
                  <a:pt x="165" y="193"/>
                  <a:pt x="160" y="197"/>
                  <a:pt x="160" y="203"/>
                </a:cubicBezTo>
                <a:cubicBezTo>
                  <a:pt x="160" y="235"/>
                  <a:pt x="160" y="235"/>
                  <a:pt x="160" y="235"/>
                </a:cubicBezTo>
                <a:cubicBezTo>
                  <a:pt x="160" y="236"/>
                  <a:pt x="160" y="236"/>
                  <a:pt x="160" y="236"/>
                </a:cubicBezTo>
                <a:cubicBezTo>
                  <a:pt x="160" y="237"/>
                  <a:pt x="160" y="237"/>
                  <a:pt x="160" y="238"/>
                </a:cubicBezTo>
                <a:cubicBezTo>
                  <a:pt x="178" y="299"/>
                  <a:pt x="178" y="299"/>
                  <a:pt x="178" y="299"/>
                </a:cubicBezTo>
                <a:cubicBezTo>
                  <a:pt x="99" y="299"/>
                  <a:pt x="99" y="299"/>
                  <a:pt x="99" y="299"/>
                </a:cubicBezTo>
                <a:cubicBezTo>
                  <a:pt x="117" y="238"/>
                  <a:pt x="117" y="238"/>
                  <a:pt x="117" y="238"/>
                </a:cubicBezTo>
                <a:cubicBezTo>
                  <a:pt x="117" y="237"/>
                  <a:pt x="117" y="237"/>
                  <a:pt x="117" y="236"/>
                </a:cubicBezTo>
                <a:cubicBezTo>
                  <a:pt x="117" y="236"/>
                  <a:pt x="117" y="236"/>
                  <a:pt x="117" y="235"/>
                </a:cubicBezTo>
                <a:cubicBezTo>
                  <a:pt x="117" y="203"/>
                  <a:pt x="117" y="203"/>
                  <a:pt x="117" y="203"/>
                </a:cubicBezTo>
                <a:cubicBezTo>
                  <a:pt x="117" y="197"/>
                  <a:pt x="113" y="193"/>
                  <a:pt x="107" y="193"/>
                </a:cubicBezTo>
                <a:cubicBezTo>
                  <a:pt x="101" y="193"/>
                  <a:pt x="96" y="197"/>
                  <a:pt x="96" y="203"/>
                </a:cubicBezTo>
                <a:cubicBezTo>
                  <a:pt x="96" y="228"/>
                  <a:pt x="96" y="228"/>
                  <a:pt x="96" y="228"/>
                </a:cubicBezTo>
                <a:cubicBezTo>
                  <a:pt x="64" y="241"/>
                  <a:pt x="64" y="241"/>
                  <a:pt x="64" y="241"/>
                </a:cubicBezTo>
                <a:cubicBezTo>
                  <a:pt x="64" y="203"/>
                  <a:pt x="64" y="203"/>
                  <a:pt x="64" y="203"/>
                </a:cubicBezTo>
                <a:cubicBezTo>
                  <a:pt x="64" y="197"/>
                  <a:pt x="59" y="193"/>
                  <a:pt x="53" y="193"/>
                </a:cubicBezTo>
                <a:cubicBezTo>
                  <a:pt x="47" y="193"/>
                  <a:pt x="43" y="197"/>
                  <a:pt x="43" y="203"/>
                </a:cubicBezTo>
                <a:cubicBezTo>
                  <a:pt x="43" y="251"/>
                  <a:pt x="43" y="251"/>
                  <a:pt x="43" y="251"/>
                </a:cubicBezTo>
                <a:cubicBezTo>
                  <a:pt x="21" y="267"/>
                  <a:pt x="21" y="267"/>
                  <a:pt x="21" y="267"/>
                </a:cubicBezTo>
                <a:cubicBezTo>
                  <a:pt x="21" y="102"/>
                  <a:pt x="21" y="102"/>
                  <a:pt x="21" y="102"/>
                </a:cubicBezTo>
                <a:cubicBezTo>
                  <a:pt x="21" y="93"/>
                  <a:pt x="29" y="86"/>
                  <a:pt x="37" y="86"/>
                </a:cubicBezTo>
                <a:cubicBezTo>
                  <a:pt x="42" y="86"/>
                  <a:pt x="47" y="88"/>
                  <a:pt x="50" y="92"/>
                </a:cubicBezTo>
                <a:cubicBezTo>
                  <a:pt x="50" y="92"/>
                  <a:pt x="55" y="99"/>
                  <a:pt x="59" y="104"/>
                </a:cubicBezTo>
                <a:cubicBezTo>
                  <a:pt x="70" y="116"/>
                  <a:pt x="81" y="118"/>
                  <a:pt x="91" y="118"/>
                </a:cubicBezTo>
                <a:cubicBezTo>
                  <a:pt x="115" y="118"/>
                  <a:pt x="128" y="103"/>
                  <a:pt x="128" y="75"/>
                </a:cubicBezTo>
                <a:cubicBezTo>
                  <a:pt x="128" y="61"/>
                  <a:pt x="114" y="53"/>
                  <a:pt x="101" y="48"/>
                </a:cubicBezTo>
                <a:cubicBezTo>
                  <a:pt x="104" y="45"/>
                  <a:pt x="104" y="45"/>
                  <a:pt x="104" y="45"/>
                </a:cubicBezTo>
                <a:cubicBezTo>
                  <a:pt x="105" y="44"/>
                  <a:pt x="106" y="43"/>
                  <a:pt x="109" y="40"/>
                </a:cubicBezTo>
                <a:cubicBezTo>
                  <a:pt x="111" y="38"/>
                  <a:pt x="113" y="36"/>
                  <a:pt x="115" y="33"/>
                </a:cubicBezTo>
                <a:cubicBezTo>
                  <a:pt x="122" y="26"/>
                  <a:pt x="125" y="22"/>
                  <a:pt x="134" y="22"/>
                </a:cubicBezTo>
                <a:cubicBezTo>
                  <a:pt x="147" y="22"/>
                  <a:pt x="156" y="25"/>
                  <a:pt x="162" y="32"/>
                </a:cubicBezTo>
                <a:cubicBezTo>
                  <a:pt x="167" y="38"/>
                  <a:pt x="167" y="46"/>
                  <a:pt x="166" y="51"/>
                </a:cubicBezTo>
                <a:cubicBezTo>
                  <a:pt x="164" y="57"/>
                  <a:pt x="157" y="63"/>
                  <a:pt x="154" y="66"/>
                </a:cubicBezTo>
                <a:cubicBezTo>
                  <a:pt x="154" y="67"/>
                  <a:pt x="153" y="67"/>
                  <a:pt x="152" y="68"/>
                </a:cubicBezTo>
                <a:cubicBezTo>
                  <a:pt x="150" y="70"/>
                  <a:pt x="149" y="72"/>
                  <a:pt x="149" y="75"/>
                </a:cubicBezTo>
                <a:cubicBezTo>
                  <a:pt x="149" y="102"/>
                  <a:pt x="169" y="118"/>
                  <a:pt x="187" y="118"/>
                </a:cubicBezTo>
                <a:cubicBezTo>
                  <a:pt x="205" y="118"/>
                  <a:pt x="215" y="109"/>
                  <a:pt x="219" y="103"/>
                </a:cubicBezTo>
                <a:cubicBezTo>
                  <a:pt x="222" y="98"/>
                  <a:pt x="227" y="93"/>
                  <a:pt x="227" y="92"/>
                </a:cubicBezTo>
                <a:cubicBezTo>
                  <a:pt x="230" y="88"/>
                  <a:pt x="235" y="86"/>
                  <a:pt x="240" y="86"/>
                </a:cubicBezTo>
                <a:cubicBezTo>
                  <a:pt x="249" y="86"/>
                  <a:pt x="256" y="93"/>
                  <a:pt x="256" y="102"/>
                </a:cubicBezTo>
                <a:lnTo>
                  <a:pt x="256" y="267"/>
                </a:lnTo>
                <a:close/>
              </a:path>
            </a:pathLst>
          </a:custGeom>
          <a:solidFill>
            <a:schemeClr val="accent6"/>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87" name="Freeform 194">
            <a:extLst>
              <a:ext uri="{FF2B5EF4-FFF2-40B4-BE49-F238E27FC236}">
                <a16:creationId xmlns:a16="http://schemas.microsoft.com/office/drawing/2014/main" id="{9EF1B5AA-D6EC-49DC-B3C6-6B6A74C53EEF}"/>
              </a:ext>
            </a:extLst>
          </p:cNvPr>
          <p:cNvSpPr>
            <a:spLocks noEditPoints="1"/>
          </p:cNvSpPr>
          <p:nvPr/>
        </p:nvSpPr>
        <p:spPr bwMode="auto">
          <a:xfrm>
            <a:off x="2793168" y="4417727"/>
            <a:ext cx="600463" cy="444683"/>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chemeClr val="accent6"/>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89" name="Freeform 54">
            <a:extLst>
              <a:ext uri="{FF2B5EF4-FFF2-40B4-BE49-F238E27FC236}">
                <a16:creationId xmlns:a16="http://schemas.microsoft.com/office/drawing/2014/main" id="{F5ECF08A-499F-4ACE-B81B-32C57A52DE54}"/>
              </a:ext>
            </a:extLst>
          </p:cNvPr>
          <p:cNvSpPr>
            <a:spLocks noEditPoints="1"/>
          </p:cNvSpPr>
          <p:nvPr/>
        </p:nvSpPr>
        <p:spPr bwMode="auto">
          <a:xfrm>
            <a:off x="9718917" y="5729644"/>
            <a:ext cx="393216" cy="39507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tx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Tree>
    <p:custDataLst>
      <p:tags r:id="rId1"/>
    </p:custDataLst>
    <p:extLst>
      <p:ext uri="{BB962C8B-B14F-4D97-AF65-F5344CB8AC3E}">
        <p14:creationId xmlns:p14="http://schemas.microsoft.com/office/powerpoint/2010/main" val="1010963659"/>
      </p:ext>
    </p:extLst>
  </p:cSld>
  <p:clrMapOvr>
    <a:masterClrMapping/>
  </p:clrMapOvr>
  <p:transition>
    <p:fade/>
  </p:transition>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8382DE7-98FC-CD4E-9FC2-000B98A557E2}"/>
              </a:ext>
            </a:extLst>
          </p:cNvPr>
          <p:cNvSpPr/>
          <p:nvPr/>
        </p:nvSpPr>
        <p:spPr bwMode="gray">
          <a:xfrm flipV="1">
            <a:off x="1898905" y="1911525"/>
            <a:ext cx="4836049" cy="2348252"/>
          </a:xfrm>
          <a:prstGeom prst="rect">
            <a:avLst/>
          </a:prstGeom>
          <a:noFill/>
          <a:ln w="19050" algn="ctr">
            <a:solidFill>
              <a:schemeClr val="bg1">
                <a:lumMod val="75000"/>
              </a:schemeClr>
            </a:solidFill>
            <a:prstDash val="dash"/>
            <a:miter lim="800000"/>
            <a:headEnd/>
            <a:tailEnd/>
          </a:ln>
        </p:spPr>
        <p:txBody>
          <a:bodyPr wrap="square" lIns="83809" tIns="83809" rIns="83809" bIns="83809" rtlCol="0" anchor="ctr"/>
          <a:lstStyle/>
          <a:p>
            <a:pPr algn="ctr">
              <a:buFont typeface="Wingdings 2" pitchFamily="18" charset="2"/>
              <a:buNone/>
            </a:pPr>
            <a:endParaRPr lang="en-GB" sz="800" b="1" dirty="0"/>
          </a:p>
        </p:txBody>
      </p:sp>
      <p:sp>
        <p:nvSpPr>
          <p:cNvPr id="24" name="Rectangle 23">
            <a:extLst>
              <a:ext uri="{FF2B5EF4-FFF2-40B4-BE49-F238E27FC236}">
                <a16:creationId xmlns:a16="http://schemas.microsoft.com/office/drawing/2014/main" id="{EFB8DCB4-E155-6A43-8689-0168D81E95A7}"/>
              </a:ext>
            </a:extLst>
          </p:cNvPr>
          <p:cNvSpPr/>
          <p:nvPr/>
        </p:nvSpPr>
        <p:spPr bwMode="gray">
          <a:xfrm>
            <a:off x="1898904" y="4375566"/>
            <a:ext cx="8394192" cy="200618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        </a:t>
            </a:r>
            <a:endParaRPr lang="en-US" sz="1600" b="1" dirty="0">
              <a:solidFill>
                <a:schemeClr val="bg1"/>
              </a:solidFill>
            </a:endParaRPr>
          </a:p>
        </p:txBody>
      </p:sp>
      <p:sp>
        <p:nvSpPr>
          <p:cNvPr id="25" name="Isosceles Triangle 119">
            <a:extLst>
              <a:ext uri="{FF2B5EF4-FFF2-40B4-BE49-F238E27FC236}">
                <a16:creationId xmlns:a16="http://schemas.microsoft.com/office/drawing/2014/main" id="{275D26D9-B48A-384A-B325-20E1567C5B75}"/>
              </a:ext>
            </a:extLst>
          </p:cNvPr>
          <p:cNvSpPr/>
          <p:nvPr/>
        </p:nvSpPr>
        <p:spPr bwMode="gray">
          <a:xfrm rot="5400000">
            <a:off x="8467621" y="2533656"/>
            <a:ext cx="2039112" cy="1005840"/>
          </a:xfrm>
          <a:prstGeom prst="triangle">
            <a:avLst/>
          </a:prstGeom>
          <a:gradFill flip="none" rotWithShape="1">
            <a:gsLst>
              <a:gs pos="0">
                <a:schemeClr val="accent6"/>
              </a:gs>
              <a:gs pos="100000">
                <a:schemeClr val="bg1"/>
              </a:gs>
            </a:gsLst>
            <a:lin ang="13500000" scaled="1"/>
            <a:tileRect/>
          </a:gradFill>
          <a:ln w="19050" algn="ctr">
            <a:noFill/>
            <a:miter lim="800000"/>
            <a:headEnd/>
            <a:tailEnd/>
          </a:ln>
        </p:spPr>
        <p:txBody>
          <a:bodyPr wrap="square" lIns="68580" tIns="68580" rIns="68580" bIns="68580" rtlCol="0" anchor="ctr"/>
          <a:lstStyle/>
          <a:p>
            <a:pPr algn="ctr">
              <a:lnSpc>
                <a:spcPct val="106000"/>
              </a:lnSpc>
            </a:pPr>
            <a:endParaRPr lang="en-US" sz="800" dirty="0"/>
          </a:p>
        </p:txBody>
      </p:sp>
      <p:sp>
        <p:nvSpPr>
          <p:cNvPr id="26" name="Rectangle: Top Corners One Rounded and One Snipped 14">
            <a:extLst>
              <a:ext uri="{FF2B5EF4-FFF2-40B4-BE49-F238E27FC236}">
                <a16:creationId xmlns:a16="http://schemas.microsoft.com/office/drawing/2014/main" id="{39640198-3B35-174B-8F55-DABCBA54E89E}"/>
              </a:ext>
            </a:extLst>
          </p:cNvPr>
          <p:cNvSpPr/>
          <p:nvPr/>
        </p:nvSpPr>
        <p:spPr bwMode="gray">
          <a:xfrm>
            <a:off x="2060575" y="4379475"/>
            <a:ext cx="2513515" cy="365760"/>
          </a:xfrm>
          <a:prstGeom prst="snipRoundRect">
            <a:avLst/>
          </a:prstGeom>
          <a:solidFill>
            <a:schemeClr val="accent6"/>
          </a:solidFill>
          <a:ln w="19050" algn="ctr">
            <a:noFill/>
            <a:miter lim="800000"/>
            <a:headEnd/>
            <a:tailEnd/>
          </a:ln>
        </p:spPr>
        <p:txBody>
          <a:bodyPr wrap="square" lIns="83809" tIns="83809" rIns="83809" bIns="83809" rtlCol="0" anchor="ctr"/>
          <a:lstStyle/>
          <a:p>
            <a:pPr algn="ctr">
              <a:buFont typeface="Wingdings 2" pitchFamily="18" charset="2"/>
              <a:buNone/>
            </a:pPr>
            <a:r>
              <a:rPr lang="en-GB" sz="800" b="1" dirty="0">
                <a:solidFill>
                  <a:schemeClr val="bg1"/>
                </a:solidFill>
              </a:rPr>
              <a:t>Benefits</a:t>
            </a:r>
          </a:p>
        </p:txBody>
      </p:sp>
      <p:sp>
        <p:nvSpPr>
          <p:cNvPr id="27" name="Rectangle 26">
            <a:extLst>
              <a:ext uri="{FF2B5EF4-FFF2-40B4-BE49-F238E27FC236}">
                <a16:creationId xmlns:a16="http://schemas.microsoft.com/office/drawing/2014/main" id="{633D2917-B2F0-2749-8377-0567AE2447BA}"/>
              </a:ext>
            </a:extLst>
          </p:cNvPr>
          <p:cNvSpPr/>
          <p:nvPr/>
        </p:nvSpPr>
        <p:spPr bwMode="gray">
          <a:xfrm>
            <a:off x="1922330" y="4846511"/>
            <a:ext cx="2651760" cy="1527048"/>
          </a:xfrm>
          <a:prstGeom prst="rect">
            <a:avLst/>
          </a:prstGeom>
          <a:noFill/>
          <a:ln w="19050" algn="ctr">
            <a:noFill/>
            <a:miter lim="800000"/>
            <a:headEnd/>
            <a:tailEnd/>
          </a:ln>
        </p:spPr>
        <p:txBody>
          <a:bodyPr wrap="square" lIns="45720" tIns="45720" rIns="45720" bIns="45720" rtlCol="0" anchor="t">
            <a:noAutofit/>
          </a:bodyPr>
          <a:lstStyle/>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GB" sz="800" dirty="0"/>
          </a:p>
        </p:txBody>
      </p:sp>
      <p:sp>
        <p:nvSpPr>
          <p:cNvPr id="28" name="Rectangle: Top Corners One Rounded and One Snipped 297">
            <a:extLst>
              <a:ext uri="{FF2B5EF4-FFF2-40B4-BE49-F238E27FC236}">
                <a16:creationId xmlns:a16="http://schemas.microsoft.com/office/drawing/2014/main" id="{4BFCCB02-B221-B24E-AA58-1B719C3E86A0}"/>
              </a:ext>
            </a:extLst>
          </p:cNvPr>
          <p:cNvSpPr/>
          <p:nvPr/>
        </p:nvSpPr>
        <p:spPr bwMode="gray">
          <a:xfrm>
            <a:off x="4926806" y="4379475"/>
            <a:ext cx="2506787" cy="365760"/>
          </a:xfrm>
          <a:prstGeom prst="snipRoundRect">
            <a:avLst/>
          </a:prstGeom>
          <a:solidFill>
            <a:schemeClr val="accent6"/>
          </a:solidFill>
          <a:ln w="19050" algn="ctr">
            <a:noFill/>
            <a:miter lim="800000"/>
            <a:headEnd/>
            <a:tailEnd/>
          </a:ln>
        </p:spPr>
        <p:txBody>
          <a:bodyPr wrap="square" lIns="83809" tIns="83809" rIns="83809" bIns="83809" rtlCol="0" anchor="ctr"/>
          <a:lstStyle/>
          <a:p>
            <a:pPr algn="ctr">
              <a:buFont typeface="Wingdings 2" pitchFamily="18" charset="2"/>
              <a:buNone/>
            </a:pPr>
            <a:r>
              <a:rPr lang="en-GB" sz="800" b="1" dirty="0">
                <a:solidFill>
                  <a:schemeClr val="bg1"/>
                </a:solidFill>
              </a:rPr>
              <a:t>Commercials</a:t>
            </a:r>
          </a:p>
        </p:txBody>
      </p:sp>
      <p:sp>
        <p:nvSpPr>
          <p:cNvPr id="29" name="Rectangle 28">
            <a:extLst>
              <a:ext uri="{FF2B5EF4-FFF2-40B4-BE49-F238E27FC236}">
                <a16:creationId xmlns:a16="http://schemas.microsoft.com/office/drawing/2014/main" id="{434135DB-009F-7046-A2A0-A3595A05311F}"/>
              </a:ext>
            </a:extLst>
          </p:cNvPr>
          <p:cNvSpPr/>
          <p:nvPr/>
        </p:nvSpPr>
        <p:spPr bwMode="gray">
          <a:xfrm>
            <a:off x="4781833" y="4846511"/>
            <a:ext cx="2651760" cy="1527048"/>
          </a:xfrm>
          <a:prstGeom prst="rect">
            <a:avLst/>
          </a:prstGeom>
          <a:noFill/>
          <a:ln w="19050" algn="ctr">
            <a:noFill/>
            <a:miter lim="800000"/>
            <a:headEnd/>
            <a:tailEnd/>
          </a:ln>
        </p:spPr>
        <p:txBody>
          <a:bodyPr wrap="square" lIns="45720" tIns="45720" rIns="45720" bIns="45720" rtlCol="0" anchor="t"/>
          <a:lstStyle/>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GB" sz="800" dirty="0"/>
          </a:p>
        </p:txBody>
      </p:sp>
      <p:sp>
        <p:nvSpPr>
          <p:cNvPr id="30" name="Rectangle: Top Corners One Rounded and One Snipped 299">
            <a:extLst>
              <a:ext uri="{FF2B5EF4-FFF2-40B4-BE49-F238E27FC236}">
                <a16:creationId xmlns:a16="http://schemas.microsoft.com/office/drawing/2014/main" id="{4DA698CD-0273-DF4E-A9A7-D3687E1348FD}"/>
              </a:ext>
            </a:extLst>
          </p:cNvPr>
          <p:cNvSpPr/>
          <p:nvPr/>
        </p:nvSpPr>
        <p:spPr bwMode="gray">
          <a:xfrm>
            <a:off x="7791450" y="4379475"/>
            <a:ext cx="2501646" cy="365760"/>
          </a:xfrm>
          <a:prstGeom prst="snipRoundRect">
            <a:avLst/>
          </a:prstGeom>
          <a:solidFill>
            <a:schemeClr val="accent6"/>
          </a:solidFill>
          <a:ln w="19050" algn="ctr">
            <a:noFill/>
            <a:miter lim="800000"/>
            <a:headEnd/>
            <a:tailEnd/>
          </a:ln>
        </p:spPr>
        <p:txBody>
          <a:bodyPr wrap="square" lIns="83809" tIns="83809" rIns="83809" bIns="83809" rtlCol="0" anchor="ctr"/>
          <a:lstStyle/>
          <a:p>
            <a:pPr algn="ctr">
              <a:buFont typeface="Wingdings 2" pitchFamily="18" charset="2"/>
              <a:buNone/>
            </a:pPr>
            <a:r>
              <a:rPr lang="en-GB" sz="800" b="1" dirty="0">
                <a:solidFill>
                  <a:schemeClr val="bg1"/>
                </a:solidFill>
              </a:rPr>
              <a:t>Your Technology Future State</a:t>
            </a:r>
          </a:p>
        </p:txBody>
      </p:sp>
      <p:sp>
        <p:nvSpPr>
          <p:cNvPr id="31" name="Rectangle 30">
            <a:extLst>
              <a:ext uri="{FF2B5EF4-FFF2-40B4-BE49-F238E27FC236}">
                <a16:creationId xmlns:a16="http://schemas.microsoft.com/office/drawing/2014/main" id="{522FD239-0406-3042-A6C9-80E07DCFBE8C}"/>
              </a:ext>
            </a:extLst>
          </p:cNvPr>
          <p:cNvSpPr/>
          <p:nvPr/>
        </p:nvSpPr>
        <p:spPr bwMode="gray">
          <a:xfrm>
            <a:off x="7641336" y="4846511"/>
            <a:ext cx="2651760" cy="1527048"/>
          </a:xfrm>
          <a:prstGeom prst="rect">
            <a:avLst/>
          </a:prstGeom>
          <a:noFill/>
          <a:ln w="19050" algn="ctr">
            <a:noFill/>
            <a:miter lim="800000"/>
            <a:headEnd/>
            <a:tailEnd/>
          </a:ln>
        </p:spPr>
        <p:txBody>
          <a:bodyPr wrap="square" lIns="45720" tIns="45720" rIns="45720" bIns="45720" rtlCol="0" anchor="t"/>
          <a:lstStyle/>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GB" sz="800" dirty="0"/>
          </a:p>
        </p:txBody>
      </p:sp>
      <p:cxnSp>
        <p:nvCxnSpPr>
          <p:cNvPr id="32" name="Elbow Connector 31">
            <a:extLst>
              <a:ext uri="{FF2B5EF4-FFF2-40B4-BE49-F238E27FC236}">
                <a16:creationId xmlns:a16="http://schemas.microsoft.com/office/drawing/2014/main" id="{742598FB-526E-D64E-B7BB-B34D31523673}"/>
              </a:ext>
            </a:extLst>
          </p:cNvPr>
          <p:cNvCxnSpPr>
            <a:cxnSpLocks/>
            <a:endCxn id="77" idx="3"/>
          </p:cNvCxnSpPr>
          <p:nvPr/>
        </p:nvCxnSpPr>
        <p:spPr>
          <a:xfrm flipV="1">
            <a:off x="6389591" y="2620010"/>
            <a:ext cx="1125426" cy="410121"/>
          </a:xfrm>
          <a:prstGeom prst="bentConnector3">
            <a:avLst>
              <a:gd name="adj1" fmla="val 66504"/>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a:extLst>
              <a:ext uri="{FF2B5EF4-FFF2-40B4-BE49-F238E27FC236}">
                <a16:creationId xmlns:a16="http://schemas.microsoft.com/office/drawing/2014/main" id="{987DE77F-0E9E-7143-B6DA-A5D6A3D7EEEC}"/>
              </a:ext>
            </a:extLst>
          </p:cNvPr>
          <p:cNvCxnSpPr>
            <a:cxnSpLocks/>
            <a:endCxn id="80" idx="3"/>
          </p:cNvCxnSpPr>
          <p:nvPr/>
        </p:nvCxnSpPr>
        <p:spPr>
          <a:xfrm flipV="1">
            <a:off x="6389591" y="2202262"/>
            <a:ext cx="1125426" cy="827869"/>
          </a:xfrm>
          <a:prstGeom prst="bentConnector3">
            <a:avLst>
              <a:gd name="adj1" fmla="val 66504"/>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202">
            <a:extLst>
              <a:ext uri="{FF2B5EF4-FFF2-40B4-BE49-F238E27FC236}">
                <a16:creationId xmlns:a16="http://schemas.microsoft.com/office/drawing/2014/main" id="{6CB88265-7923-6242-A69E-58FB0217F448}"/>
              </a:ext>
            </a:extLst>
          </p:cNvPr>
          <p:cNvCxnSpPr>
            <a:cxnSpLocks/>
            <a:endCxn id="78" idx="3"/>
          </p:cNvCxnSpPr>
          <p:nvPr/>
        </p:nvCxnSpPr>
        <p:spPr>
          <a:xfrm flipV="1">
            <a:off x="6389591" y="3030130"/>
            <a:ext cx="1125426" cy="1"/>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C5F7D5DF-0762-D749-99ED-E1F2BDB998F7}"/>
              </a:ext>
            </a:extLst>
          </p:cNvPr>
          <p:cNvCxnSpPr>
            <a:cxnSpLocks/>
            <a:endCxn id="81" idx="3"/>
          </p:cNvCxnSpPr>
          <p:nvPr/>
        </p:nvCxnSpPr>
        <p:spPr>
          <a:xfrm>
            <a:off x="6389591" y="3030131"/>
            <a:ext cx="1125426" cy="425375"/>
          </a:xfrm>
          <a:prstGeom prst="bentConnector3">
            <a:avLst>
              <a:gd name="adj1" fmla="val 66504"/>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8D150386-1847-0448-8EA0-603DFC002F72}"/>
              </a:ext>
            </a:extLst>
          </p:cNvPr>
          <p:cNvCxnSpPr>
            <a:cxnSpLocks/>
            <a:endCxn id="79" idx="3"/>
          </p:cNvCxnSpPr>
          <p:nvPr/>
        </p:nvCxnSpPr>
        <p:spPr>
          <a:xfrm>
            <a:off x="6389591" y="3030130"/>
            <a:ext cx="1125426" cy="843122"/>
          </a:xfrm>
          <a:prstGeom prst="bentConnector3">
            <a:avLst>
              <a:gd name="adj1" fmla="val 66504"/>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7" name="Right Arrow 36">
            <a:extLst>
              <a:ext uri="{FF2B5EF4-FFF2-40B4-BE49-F238E27FC236}">
                <a16:creationId xmlns:a16="http://schemas.microsoft.com/office/drawing/2014/main" id="{E41970A7-7DBC-C64E-B0ED-93F3AA4C3E05}"/>
              </a:ext>
            </a:extLst>
          </p:cNvPr>
          <p:cNvSpPr/>
          <p:nvPr/>
        </p:nvSpPr>
        <p:spPr bwMode="gray">
          <a:xfrm>
            <a:off x="4043149" y="2858392"/>
            <a:ext cx="806451" cy="356892"/>
          </a:xfrm>
          <a:prstGeom prst="rightArrow">
            <a:avLst/>
          </a:prstGeom>
          <a:gradFill flip="none" rotWithShape="1">
            <a:gsLst>
              <a:gs pos="0">
                <a:schemeClr val="bg1"/>
              </a:gs>
              <a:gs pos="100000">
                <a:schemeClr val="accent6"/>
              </a:gs>
            </a:gsLst>
            <a:lin ang="0" scaled="1"/>
            <a:tileRect/>
          </a:gradFill>
        </p:spPr>
        <p:txBody>
          <a:bodyPr vert="horz" lIns="54864" tIns="54864" rIns="54864" bIns="54864" rtlCol="0">
            <a:noAutofit/>
          </a:bodyPr>
          <a:lstStyle/>
          <a:p>
            <a:pPr>
              <a:spcAft>
                <a:spcPts val="1000"/>
              </a:spcAft>
              <a:buSzPct val="100000"/>
            </a:pPr>
            <a:endParaRPr lang="en-GB" sz="1000" dirty="0"/>
          </a:p>
        </p:txBody>
      </p:sp>
      <p:sp>
        <p:nvSpPr>
          <p:cNvPr id="38" name="TextBox 37">
            <a:extLst>
              <a:ext uri="{FF2B5EF4-FFF2-40B4-BE49-F238E27FC236}">
                <a16:creationId xmlns:a16="http://schemas.microsoft.com/office/drawing/2014/main" id="{FE4E8625-DD98-804A-A545-ED2927E32815}"/>
              </a:ext>
            </a:extLst>
          </p:cNvPr>
          <p:cNvSpPr txBox="1"/>
          <p:nvPr/>
        </p:nvSpPr>
        <p:spPr>
          <a:xfrm>
            <a:off x="1898904" y="4013557"/>
            <a:ext cx="4837176" cy="246221"/>
          </a:xfrm>
          <a:prstGeom prst="rect">
            <a:avLst/>
          </a:prstGeom>
          <a:gradFill flip="none" rotWithShape="1">
            <a:gsLst>
              <a:gs pos="0">
                <a:schemeClr val="bg1"/>
              </a:gs>
              <a:gs pos="100000">
                <a:schemeClr val="accent1"/>
              </a:gs>
            </a:gsLst>
            <a:lin ang="5400000" scaled="1"/>
            <a:tileRect/>
          </a:gradFill>
        </p:spPr>
        <p:txBody>
          <a:bodyPr wrap="square" lIns="45720" tIns="45720" rIns="45720" bIns="45720" rtlCol="0">
            <a:noAutofit/>
          </a:bodyPr>
          <a:lstStyle/>
          <a:p>
            <a:pPr algn="ctr">
              <a:buSzPct val="100000"/>
            </a:pPr>
            <a:r>
              <a:rPr lang="en-GB" sz="800" dirty="0"/>
              <a:t>Lorem ipsum </a:t>
            </a:r>
            <a:r>
              <a:rPr lang="en-GB" sz="800" dirty="0" err="1"/>
              <a:t>dolor</a:t>
            </a:r>
            <a:endParaRPr lang="en-GB" sz="800" dirty="0"/>
          </a:p>
        </p:txBody>
      </p:sp>
      <p:sp>
        <p:nvSpPr>
          <p:cNvPr id="40" name="Rectangle 39">
            <a:extLst>
              <a:ext uri="{FF2B5EF4-FFF2-40B4-BE49-F238E27FC236}">
                <a16:creationId xmlns:a16="http://schemas.microsoft.com/office/drawing/2014/main" id="{4EF297CA-E23B-8A41-921B-90B8201AD038}"/>
              </a:ext>
            </a:extLst>
          </p:cNvPr>
          <p:cNvSpPr/>
          <p:nvPr/>
        </p:nvSpPr>
        <p:spPr bwMode="gray">
          <a:xfrm>
            <a:off x="6934561" y="1911525"/>
            <a:ext cx="3358536" cy="2348252"/>
          </a:xfrm>
          <a:prstGeom prst="rect">
            <a:avLst/>
          </a:prstGeom>
          <a:noFill/>
          <a:ln w="19050" algn="ctr">
            <a:solidFill>
              <a:schemeClr val="bg1">
                <a:lumMod val="75000"/>
              </a:schemeClr>
            </a:solidFill>
            <a:prstDash val="dash"/>
            <a:miter lim="800000"/>
            <a:headEnd/>
            <a:tailEnd/>
          </a:ln>
        </p:spPr>
        <p:txBody>
          <a:bodyPr wrap="square" lIns="83809" tIns="83809" rIns="83809" bIns="83809" rtlCol="0" anchor="ctr"/>
          <a:lstStyle/>
          <a:p>
            <a:pPr algn="ctr">
              <a:buFont typeface="Wingdings 2" pitchFamily="18" charset="2"/>
              <a:buNone/>
            </a:pPr>
            <a:endParaRPr lang="en-GB" sz="800" b="1" dirty="0"/>
          </a:p>
        </p:txBody>
      </p:sp>
      <p:sp>
        <p:nvSpPr>
          <p:cNvPr id="41" name="Text Placeholder 1">
            <a:extLst>
              <a:ext uri="{FF2B5EF4-FFF2-40B4-BE49-F238E27FC236}">
                <a16:creationId xmlns:a16="http://schemas.microsoft.com/office/drawing/2014/main" id="{284EF902-C8B4-2245-9F64-97DBC2D3FB38}"/>
              </a:ext>
            </a:extLst>
          </p:cNvPr>
          <p:cNvSpPr txBox="1">
            <a:spLocks/>
          </p:cNvSpPr>
          <p:nvPr/>
        </p:nvSpPr>
        <p:spPr>
          <a:xfrm>
            <a:off x="1898904" y="1033460"/>
            <a:ext cx="8394192" cy="418576"/>
          </a:xfrm>
          <a:prstGeom prst="rect">
            <a:avLst/>
          </a:prstGeom>
          <a:solidFill>
            <a:schemeClr val="bg1">
              <a:lumMod val="95000"/>
            </a:schemeClr>
          </a:solidFill>
        </p:spPr>
        <p:txBody>
          <a:bodyPr vert="horz" lIns="54864" tIns="54864" rIns="54864" bIns="54864" rtlCol="0">
            <a:sp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000" dirty="0"/>
              <a:t>Lorem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r>
              <a:rPr lang="en-US" sz="1000" dirty="0" err="1"/>
              <a:t>eiusmod</a:t>
            </a:r>
            <a:r>
              <a:rPr lang="en-US" sz="1000" dirty="0"/>
              <a:t> </a:t>
            </a:r>
            <a:r>
              <a:rPr lang="en-US" sz="1000" dirty="0" err="1"/>
              <a:t>tempor</a:t>
            </a:r>
            <a:r>
              <a:rPr lang="en-US" sz="1000" dirty="0"/>
              <a:t> </a:t>
            </a:r>
            <a:r>
              <a:rPr lang="en-US" sz="1000" dirty="0" err="1"/>
              <a:t>incidLorem</a:t>
            </a:r>
            <a:r>
              <a:rPr lang="en-US" sz="1000" dirty="0"/>
              <a:t>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r>
              <a:rPr lang="en-US" sz="1000" dirty="0" err="1"/>
              <a:t>eiusmod</a:t>
            </a:r>
            <a:r>
              <a:rPr lang="en-US" sz="1000" dirty="0"/>
              <a:t> </a:t>
            </a:r>
            <a:r>
              <a:rPr lang="en-US" sz="1000" dirty="0" err="1"/>
              <a:t>tempor</a:t>
            </a:r>
            <a:r>
              <a:rPr lang="en-US" sz="1000" dirty="0"/>
              <a:t> </a:t>
            </a:r>
            <a:r>
              <a:rPr lang="en-US" sz="1000" dirty="0" err="1"/>
              <a:t>incid</a:t>
            </a:r>
            <a:endParaRPr lang="en-US" sz="1000" dirty="0">
              <a:solidFill>
                <a:srgbClr val="FF0000"/>
              </a:solidFill>
            </a:endParaRPr>
          </a:p>
        </p:txBody>
      </p:sp>
      <p:sp>
        <p:nvSpPr>
          <p:cNvPr id="45" name="Oval 44">
            <a:extLst>
              <a:ext uri="{FF2B5EF4-FFF2-40B4-BE49-F238E27FC236}">
                <a16:creationId xmlns:a16="http://schemas.microsoft.com/office/drawing/2014/main" id="{E48792A5-EA17-8B49-988F-F1408DBFE0AA}"/>
              </a:ext>
            </a:extLst>
          </p:cNvPr>
          <p:cNvSpPr/>
          <p:nvPr/>
        </p:nvSpPr>
        <p:spPr bwMode="gray">
          <a:xfrm>
            <a:off x="1859339" y="4338959"/>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Oval 45">
            <a:extLst>
              <a:ext uri="{FF2B5EF4-FFF2-40B4-BE49-F238E27FC236}">
                <a16:creationId xmlns:a16="http://schemas.microsoft.com/office/drawing/2014/main" id="{9539E66A-076E-7A48-8918-22094636BF34}"/>
              </a:ext>
            </a:extLst>
          </p:cNvPr>
          <p:cNvSpPr/>
          <p:nvPr/>
        </p:nvSpPr>
        <p:spPr bwMode="gray">
          <a:xfrm>
            <a:off x="4717653" y="4338959"/>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7" name="Oval 46">
            <a:extLst>
              <a:ext uri="{FF2B5EF4-FFF2-40B4-BE49-F238E27FC236}">
                <a16:creationId xmlns:a16="http://schemas.microsoft.com/office/drawing/2014/main" id="{248E4534-EE83-2743-AE6F-67BCEE5BEEA4}"/>
              </a:ext>
            </a:extLst>
          </p:cNvPr>
          <p:cNvSpPr/>
          <p:nvPr/>
        </p:nvSpPr>
        <p:spPr bwMode="gray">
          <a:xfrm>
            <a:off x="7575967" y="4338959"/>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Freeform 364">
            <a:extLst>
              <a:ext uri="{FF2B5EF4-FFF2-40B4-BE49-F238E27FC236}">
                <a16:creationId xmlns:a16="http://schemas.microsoft.com/office/drawing/2014/main" id="{19D95DBA-F94E-1944-BD09-F2A5AACBD207}"/>
              </a:ext>
            </a:extLst>
          </p:cNvPr>
          <p:cNvSpPr>
            <a:spLocks noChangeAspect="1" noEditPoints="1"/>
          </p:cNvSpPr>
          <p:nvPr/>
        </p:nvSpPr>
        <p:spPr bwMode="auto">
          <a:xfrm>
            <a:off x="1903407" y="4383568"/>
            <a:ext cx="369064" cy="367982"/>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 name="Group 294">
            <a:extLst>
              <a:ext uri="{FF2B5EF4-FFF2-40B4-BE49-F238E27FC236}">
                <a16:creationId xmlns:a16="http://schemas.microsoft.com/office/drawing/2014/main" id="{489305E9-E452-9A45-B2E5-C32B9F7DC50A}"/>
              </a:ext>
            </a:extLst>
          </p:cNvPr>
          <p:cNvGrpSpPr>
            <a:grpSpLocks noChangeAspect="1"/>
          </p:cNvGrpSpPr>
          <p:nvPr/>
        </p:nvGrpSpPr>
        <p:grpSpPr bwMode="auto">
          <a:xfrm>
            <a:off x="4762439" y="4383745"/>
            <a:ext cx="367631" cy="367631"/>
            <a:chOff x="799" y="1118"/>
            <a:chExt cx="340" cy="340"/>
          </a:xfrm>
          <a:solidFill>
            <a:srgbClr val="0076A8"/>
          </a:solidFill>
        </p:grpSpPr>
        <p:sp>
          <p:nvSpPr>
            <p:cNvPr id="50" name="Freeform 295">
              <a:extLst>
                <a:ext uri="{FF2B5EF4-FFF2-40B4-BE49-F238E27FC236}">
                  <a16:creationId xmlns:a16="http://schemas.microsoft.com/office/drawing/2014/main" id="{7D281CEE-6A24-E24A-A1F3-EA50C0750B6C}"/>
                </a:ext>
              </a:extLst>
            </p:cNvPr>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Rectangle 296">
              <a:extLst>
                <a:ext uri="{FF2B5EF4-FFF2-40B4-BE49-F238E27FC236}">
                  <a16:creationId xmlns:a16="http://schemas.microsoft.com/office/drawing/2014/main" id="{D7F64BCC-D193-BF49-BF69-2F83C0D36EC6}"/>
                </a:ext>
              </a:extLst>
            </p:cNvPr>
            <p:cNvSpPr>
              <a:spLocks noChangeArrowheads="1"/>
            </p:cNvSpPr>
            <p:nvPr/>
          </p:nvSpPr>
          <p:spPr bwMode="auto">
            <a:xfrm>
              <a:off x="877" y="1224"/>
              <a:ext cx="184" cy="11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2" name="Freeform 831">
            <a:extLst>
              <a:ext uri="{FF2B5EF4-FFF2-40B4-BE49-F238E27FC236}">
                <a16:creationId xmlns:a16="http://schemas.microsoft.com/office/drawing/2014/main" id="{81F75032-7B59-3F4F-B491-BE6734D49665}"/>
              </a:ext>
            </a:extLst>
          </p:cNvPr>
          <p:cNvSpPr>
            <a:spLocks noChangeAspect="1" noEditPoints="1"/>
          </p:cNvSpPr>
          <p:nvPr/>
        </p:nvSpPr>
        <p:spPr bwMode="auto">
          <a:xfrm>
            <a:off x="7621048" y="4384040"/>
            <a:ext cx="367041" cy="367041"/>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3" name="Arrow: Left-Right 95">
            <a:extLst>
              <a:ext uri="{FF2B5EF4-FFF2-40B4-BE49-F238E27FC236}">
                <a16:creationId xmlns:a16="http://schemas.microsoft.com/office/drawing/2014/main" id="{5BEE2C28-A3E5-5E44-86C0-B3F2AEF1287E}"/>
              </a:ext>
            </a:extLst>
          </p:cNvPr>
          <p:cNvSpPr/>
          <p:nvPr/>
        </p:nvSpPr>
        <p:spPr bwMode="gray">
          <a:xfrm>
            <a:off x="1900238" y="1526368"/>
            <a:ext cx="2703512" cy="330573"/>
          </a:xfrm>
          <a:prstGeom prst="leftRightArrow">
            <a:avLst/>
          </a:pr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r>
              <a:rPr lang="en-US" sz="800" b="1" dirty="0">
                <a:solidFill>
                  <a:schemeClr val="bg1"/>
                </a:solidFill>
              </a:rPr>
              <a:t>Lorem ipsum dolor</a:t>
            </a:r>
          </a:p>
        </p:txBody>
      </p:sp>
      <p:sp>
        <p:nvSpPr>
          <p:cNvPr id="54" name="Arrow: Left-Right 96">
            <a:extLst>
              <a:ext uri="{FF2B5EF4-FFF2-40B4-BE49-F238E27FC236}">
                <a16:creationId xmlns:a16="http://schemas.microsoft.com/office/drawing/2014/main" id="{76C9F892-F2F9-1541-9B24-48045F4D5DDC}"/>
              </a:ext>
            </a:extLst>
          </p:cNvPr>
          <p:cNvSpPr/>
          <p:nvPr/>
        </p:nvSpPr>
        <p:spPr bwMode="gray">
          <a:xfrm>
            <a:off x="4751388" y="1526368"/>
            <a:ext cx="5540375" cy="330573"/>
          </a:xfrm>
          <a:prstGeom prst="leftRightArrow">
            <a:avLst/>
          </a:prstGeom>
          <a:solidFill>
            <a:schemeClr val="accent6"/>
          </a:solidFill>
          <a:ln w="19050" algn="ctr">
            <a:noFill/>
            <a:miter lim="800000"/>
            <a:headEnd/>
            <a:tailEnd/>
          </a:ln>
        </p:spPr>
        <p:txBody>
          <a:bodyPr wrap="square" lIns="88900" tIns="88900" rIns="88900" bIns="88900" rtlCol="0" anchor="ctr"/>
          <a:lstStyle/>
          <a:p>
            <a:pPr algn="ctr">
              <a:buFont typeface="Wingdings 2" pitchFamily="18" charset="2"/>
              <a:buNone/>
            </a:pPr>
            <a:r>
              <a:rPr lang="en-US" sz="800" b="1" dirty="0">
                <a:solidFill>
                  <a:schemeClr val="bg1"/>
                </a:solidFill>
              </a:rPr>
              <a:t>Lorem ipsum dolor</a:t>
            </a:r>
          </a:p>
        </p:txBody>
      </p:sp>
      <p:sp>
        <p:nvSpPr>
          <p:cNvPr id="55" name="Rounded Rectangle 54">
            <a:extLst>
              <a:ext uri="{FF2B5EF4-FFF2-40B4-BE49-F238E27FC236}">
                <a16:creationId xmlns:a16="http://schemas.microsoft.com/office/drawing/2014/main" id="{67A4B20D-A5E3-3B41-9929-8DC5881879B7}"/>
              </a:ext>
            </a:extLst>
          </p:cNvPr>
          <p:cNvSpPr/>
          <p:nvPr/>
        </p:nvSpPr>
        <p:spPr bwMode="gray">
          <a:xfrm>
            <a:off x="6635246" y="2525824"/>
            <a:ext cx="396609" cy="1008613"/>
          </a:xfrm>
          <a:prstGeom prst="roundRect">
            <a:avLst/>
          </a:prstGeom>
          <a:solidFill>
            <a:schemeClr val="accent2"/>
          </a:solidFill>
          <a:ln w="19050" algn="ctr">
            <a:noFill/>
            <a:miter lim="800000"/>
            <a:headEnd/>
            <a:tailEnd/>
          </a:ln>
        </p:spPr>
        <p:txBody>
          <a:bodyPr wrap="square" lIns="83809" tIns="83809" rIns="83809" bIns="83809" rtlCol="0" anchor="ctr"/>
          <a:lstStyle/>
          <a:p>
            <a:pPr algn="ctr">
              <a:buFont typeface="Wingdings 2" pitchFamily="18" charset="2"/>
              <a:buNone/>
            </a:pPr>
            <a:endParaRPr lang="en-GB" sz="800" b="1" dirty="0"/>
          </a:p>
        </p:txBody>
      </p:sp>
      <p:grpSp>
        <p:nvGrpSpPr>
          <p:cNvPr id="56" name="Group 55">
            <a:extLst>
              <a:ext uri="{FF2B5EF4-FFF2-40B4-BE49-F238E27FC236}">
                <a16:creationId xmlns:a16="http://schemas.microsoft.com/office/drawing/2014/main" id="{72339FB2-B52A-CB43-B0DF-93B68A2D71DB}"/>
              </a:ext>
            </a:extLst>
          </p:cNvPr>
          <p:cNvGrpSpPr/>
          <p:nvPr/>
        </p:nvGrpSpPr>
        <p:grpSpPr>
          <a:xfrm>
            <a:off x="6736980" y="2770613"/>
            <a:ext cx="193138" cy="682138"/>
            <a:chOff x="5212980" y="2700429"/>
            <a:chExt cx="193138" cy="682138"/>
          </a:xfrm>
        </p:grpSpPr>
        <p:grpSp>
          <p:nvGrpSpPr>
            <p:cNvPr id="57" name="Group 681">
              <a:extLst>
                <a:ext uri="{FF2B5EF4-FFF2-40B4-BE49-F238E27FC236}">
                  <a16:creationId xmlns:a16="http://schemas.microsoft.com/office/drawing/2014/main" id="{8F83317D-8109-7D4E-8954-D0569AE8A67A}"/>
                </a:ext>
              </a:extLst>
            </p:cNvPr>
            <p:cNvGrpSpPr>
              <a:grpSpLocks noChangeAspect="1"/>
            </p:cNvGrpSpPr>
            <p:nvPr/>
          </p:nvGrpSpPr>
          <p:grpSpPr bwMode="auto">
            <a:xfrm>
              <a:off x="5215395" y="2700429"/>
              <a:ext cx="188308" cy="188308"/>
              <a:chOff x="3220" y="2949"/>
              <a:chExt cx="340" cy="340"/>
            </a:xfrm>
            <a:solidFill>
              <a:schemeClr val="bg1"/>
            </a:solidFill>
          </p:grpSpPr>
          <p:sp>
            <p:nvSpPr>
              <p:cNvPr id="64" name="Freeform 682">
                <a:extLst>
                  <a:ext uri="{FF2B5EF4-FFF2-40B4-BE49-F238E27FC236}">
                    <a16:creationId xmlns:a16="http://schemas.microsoft.com/office/drawing/2014/main" id="{8B1CA8AB-A26C-4040-9085-D2829223CABE}"/>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sp>
            <p:nvSpPr>
              <p:cNvPr id="65" name="Freeform 683">
                <a:extLst>
                  <a:ext uri="{FF2B5EF4-FFF2-40B4-BE49-F238E27FC236}">
                    <a16:creationId xmlns:a16="http://schemas.microsoft.com/office/drawing/2014/main" id="{194A8DAE-D607-5D48-A6B5-C46C85C6A3E0}"/>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grpSp>
        <p:grpSp>
          <p:nvGrpSpPr>
            <p:cNvPr id="58" name="Group 681">
              <a:extLst>
                <a:ext uri="{FF2B5EF4-FFF2-40B4-BE49-F238E27FC236}">
                  <a16:creationId xmlns:a16="http://schemas.microsoft.com/office/drawing/2014/main" id="{EBD050A5-AADB-394C-A7F6-FD0122E4B4B5}"/>
                </a:ext>
              </a:extLst>
            </p:cNvPr>
            <p:cNvGrpSpPr>
              <a:grpSpLocks noChangeAspect="1"/>
            </p:cNvGrpSpPr>
            <p:nvPr/>
          </p:nvGrpSpPr>
          <p:grpSpPr bwMode="auto">
            <a:xfrm>
              <a:off x="5212980" y="2939139"/>
              <a:ext cx="193138" cy="193138"/>
              <a:chOff x="3220" y="2949"/>
              <a:chExt cx="340" cy="340"/>
            </a:xfrm>
            <a:solidFill>
              <a:schemeClr val="bg1"/>
            </a:solidFill>
          </p:grpSpPr>
          <p:sp>
            <p:nvSpPr>
              <p:cNvPr id="62" name="Freeform 682">
                <a:extLst>
                  <a:ext uri="{FF2B5EF4-FFF2-40B4-BE49-F238E27FC236}">
                    <a16:creationId xmlns:a16="http://schemas.microsoft.com/office/drawing/2014/main" id="{70FF4518-9CF2-3048-ADC8-609E02B34877}"/>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sp>
            <p:nvSpPr>
              <p:cNvPr id="63" name="Freeform 683">
                <a:extLst>
                  <a:ext uri="{FF2B5EF4-FFF2-40B4-BE49-F238E27FC236}">
                    <a16:creationId xmlns:a16="http://schemas.microsoft.com/office/drawing/2014/main" id="{4576795F-2503-0D4C-95F4-3FA45FA89C48}"/>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grpSp>
        <p:grpSp>
          <p:nvGrpSpPr>
            <p:cNvPr id="59" name="Group 681">
              <a:extLst>
                <a:ext uri="{FF2B5EF4-FFF2-40B4-BE49-F238E27FC236}">
                  <a16:creationId xmlns:a16="http://schemas.microsoft.com/office/drawing/2014/main" id="{153D4839-6989-2547-8EF5-9D7A3A150767}"/>
                </a:ext>
              </a:extLst>
            </p:cNvPr>
            <p:cNvGrpSpPr>
              <a:grpSpLocks noChangeAspect="1"/>
            </p:cNvGrpSpPr>
            <p:nvPr/>
          </p:nvGrpSpPr>
          <p:grpSpPr bwMode="auto">
            <a:xfrm>
              <a:off x="5212980" y="3189429"/>
              <a:ext cx="193138" cy="193138"/>
              <a:chOff x="3220" y="2949"/>
              <a:chExt cx="340" cy="340"/>
            </a:xfrm>
            <a:solidFill>
              <a:schemeClr val="bg1"/>
            </a:solidFill>
          </p:grpSpPr>
          <p:sp>
            <p:nvSpPr>
              <p:cNvPr id="60" name="Freeform 682">
                <a:extLst>
                  <a:ext uri="{FF2B5EF4-FFF2-40B4-BE49-F238E27FC236}">
                    <a16:creationId xmlns:a16="http://schemas.microsoft.com/office/drawing/2014/main" id="{6AEF49BD-E8D6-964E-8BA4-153AC03EB16B}"/>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sp>
            <p:nvSpPr>
              <p:cNvPr id="61" name="Freeform 683">
                <a:extLst>
                  <a:ext uri="{FF2B5EF4-FFF2-40B4-BE49-F238E27FC236}">
                    <a16:creationId xmlns:a16="http://schemas.microsoft.com/office/drawing/2014/main" id="{86EE291D-B974-AE48-AB9C-0C208372217F}"/>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grpSp>
      </p:grpSp>
      <p:sp>
        <p:nvSpPr>
          <p:cNvPr id="66" name="Rectangle 65">
            <a:extLst>
              <a:ext uri="{FF2B5EF4-FFF2-40B4-BE49-F238E27FC236}">
                <a16:creationId xmlns:a16="http://schemas.microsoft.com/office/drawing/2014/main" id="{83158C40-C9E2-3040-9463-1D8D6AFFB574}"/>
              </a:ext>
            </a:extLst>
          </p:cNvPr>
          <p:cNvSpPr/>
          <p:nvPr/>
        </p:nvSpPr>
        <p:spPr>
          <a:xfrm>
            <a:off x="6669082" y="2527415"/>
            <a:ext cx="328936" cy="215444"/>
          </a:xfrm>
          <a:prstGeom prst="rect">
            <a:avLst/>
          </a:prstGeom>
        </p:spPr>
        <p:txBody>
          <a:bodyPr wrap="none">
            <a:spAutoFit/>
          </a:bodyPr>
          <a:lstStyle/>
          <a:p>
            <a:pPr algn="ctr">
              <a:buFont typeface="Wingdings 2" pitchFamily="18" charset="2"/>
              <a:buNone/>
            </a:pPr>
            <a:r>
              <a:rPr lang="en-GB" sz="800" b="1" dirty="0">
                <a:solidFill>
                  <a:schemeClr val="bg1"/>
                </a:solidFill>
              </a:rPr>
              <a:t>API</a:t>
            </a:r>
          </a:p>
        </p:txBody>
      </p:sp>
      <p:sp>
        <p:nvSpPr>
          <p:cNvPr id="77" name="Freeform 3">
            <a:extLst>
              <a:ext uri="{FF2B5EF4-FFF2-40B4-BE49-F238E27FC236}">
                <a16:creationId xmlns:a16="http://schemas.microsoft.com/office/drawing/2014/main" id="{DC1E1745-E58A-3E43-B2AE-49344457B222}"/>
              </a:ext>
            </a:extLst>
          </p:cNvPr>
          <p:cNvSpPr>
            <a:spLocks/>
          </p:cNvSpPr>
          <p:nvPr/>
        </p:nvSpPr>
        <p:spPr bwMode="gray">
          <a:xfrm flipH="1">
            <a:off x="7515018" y="2437129"/>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78" name="Freeform 7">
            <a:extLst>
              <a:ext uri="{FF2B5EF4-FFF2-40B4-BE49-F238E27FC236}">
                <a16:creationId xmlns:a16="http://schemas.microsoft.com/office/drawing/2014/main" id="{FF1A44B4-D4E1-AA46-8436-7F4F8735BFA3}"/>
              </a:ext>
            </a:extLst>
          </p:cNvPr>
          <p:cNvSpPr>
            <a:spLocks/>
          </p:cNvSpPr>
          <p:nvPr/>
        </p:nvSpPr>
        <p:spPr bwMode="gray">
          <a:xfrm flipH="1">
            <a:off x="7515018" y="2847249"/>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79" name="Freeform 11">
            <a:extLst>
              <a:ext uri="{FF2B5EF4-FFF2-40B4-BE49-F238E27FC236}">
                <a16:creationId xmlns:a16="http://schemas.microsoft.com/office/drawing/2014/main" id="{C514363E-C130-7046-ABC3-BADB8FFD4747}"/>
              </a:ext>
            </a:extLst>
          </p:cNvPr>
          <p:cNvSpPr>
            <a:spLocks/>
          </p:cNvSpPr>
          <p:nvPr/>
        </p:nvSpPr>
        <p:spPr bwMode="gray">
          <a:xfrm flipH="1">
            <a:off x="7515018" y="3690372"/>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80" name="Freeform 3">
            <a:extLst>
              <a:ext uri="{FF2B5EF4-FFF2-40B4-BE49-F238E27FC236}">
                <a16:creationId xmlns:a16="http://schemas.microsoft.com/office/drawing/2014/main" id="{B55E999B-3B94-9F46-9AA0-48E982C85308}"/>
              </a:ext>
            </a:extLst>
          </p:cNvPr>
          <p:cNvSpPr>
            <a:spLocks/>
          </p:cNvSpPr>
          <p:nvPr/>
        </p:nvSpPr>
        <p:spPr bwMode="gray">
          <a:xfrm flipH="1">
            <a:off x="7515018" y="2019381"/>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81" name="Freeform 11">
            <a:extLst>
              <a:ext uri="{FF2B5EF4-FFF2-40B4-BE49-F238E27FC236}">
                <a16:creationId xmlns:a16="http://schemas.microsoft.com/office/drawing/2014/main" id="{A5211749-59FB-1442-B052-0B130E2600D3}"/>
              </a:ext>
            </a:extLst>
          </p:cNvPr>
          <p:cNvSpPr>
            <a:spLocks/>
          </p:cNvSpPr>
          <p:nvPr/>
        </p:nvSpPr>
        <p:spPr bwMode="gray">
          <a:xfrm flipH="1">
            <a:off x="7515018" y="3272625"/>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82" name="Oval 81">
            <a:extLst>
              <a:ext uri="{FF2B5EF4-FFF2-40B4-BE49-F238E27FC236}">
                <a16:creationId xmlns:a16="http://schemas.microsoft.com/office/drawing/2014/main" id="{E9318CC8-EC78-C249-A5EF-D4D09D3248DA}"/>
              </a:ext>
            </a:extLst>
          </p:cNvPr>
          <p:cNvSpPr/>
          <p:nvPr/>
        </p:nvSpPr>
        <p:spPr bwMode="gray">
          <a:xfrm>
            <a:off x="8736420" y="2019381"/>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3" name="Oval 8" descr="bus_collage2">
            <a:extLst>
              <a:ext uri="{FF2B5EF4-FFF2-40B4-BE49-F238E27FC236}">
                <a16:creationId xmlns:a16="http://schemas.microsoft.com/office/drawing/2014/main" id="{61D110ED-AD39-C145-BCD4-A763D92746CC}"/>
              </a:ext>
            </a:extLst>
          </p:cNvPr>
          <p:cNvSpPr>
            <a:spLocks noChangeArrowheads="1"/>
          </p:cNvSpPr>
          <p:nvPr/>
        </p:nvSpPr>
        <p:spPr bwMode="gray">
          <a:xfrm flipH="1">
            <a:off x="9289724" y="2650048"/>
            <a:ext cx="790649" cy="790648"/>
          </a:xfrm>
          <a:prstGeom prst="ellipse">
            <a:avLst/>
          </a:prstGeom>
          <a:solidFill>
            <a:schemeClr val="tx1"/>
          </a:solidFill>
          <a:ln w="9525">
            <a:noFill/>
          </a:ln>
          <a:effectLst/>
        </p:spPr>
        <p:style>
          <a:lnRef idx="3">
            <a:schemeClr val="lt1"/>
          </a:lnRef>
          <a:fillRef idx="1">
            <a:schemeClr val="accent6"/>
          </a:fillRef>
          <a:effectRef idx="1">
            <a:schemeClr val="accent6"/>
          </a:effectRef>
          <a:fontRef idx="minor">
            <a:schemeClr val="lt1"/>
          </a:fontRef>
        </p:style>
        <p:txBody>
          <a:bodyPr wrap="none" lIns="0" tIns="68580" rIns="0" bIns="68580" rtlCol="0" anchor="ctr"/>
          <a:lstStyle/>
          <a:p>
            <a:pPr algn="ctr" defTabSz="813197"/>
            <a:r>
              <a:rPr lang="en-US" sz="800" b="1" dirty="0">
                <a:solidFill>
                  <a:schemeClr val="bg1"/>
                </a:solidFill>
                <a:cs typeface="Verdana" panose="020B0604030504040204" pitchFamily="34" charset="0"/>
              </a:rPr>
              <a:t>Lorem ipsum</a:t>
            </a:r>
          </a:p>
        </p:txBody>
      </p:sp>
      <p:sp>
        <p:nvSpPr>
          <p:cNvPr id="84" name="Oval 83">
            <a:extLst>
              <a:ext uri="{FF2B5EF4-FFF2-40B4-BE49-F238E27FC236}">
                <a16:creationId xmlns:a16="http://schemas.microsoft.com/office/drawing/2014/main" id="{D9D102CF-34A7-2E48-B664-473F9EE9A5C8}"/>
              </a:ext>
            </a:extLst>
          </p:cNvPr>
          <p:cNvSpPr/>
          <p:nvPr/>
        </p:nvSpPr>
        <p:spPr bwMode="gray">
          <a:xfrm>
            <a:off x="8736420" y="2437129"/>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5" name="Oval 84">
            <a:extLst>
              <a:ext uri="{FF2B5EF4-FFF2-40B4-BE49-F238E27FC236}">
                <a16:creationId xmlns:a16="http://schemas.microsoft.com/office/drawing/2014/main" id="{397DC2F4-14FB-7446-A29D-E5E2CF725DC9}"/>
              </a:ext>
            </a:extLst>
          </p:cNvPr>
          <p:cNvSpPr/>
          <p:nvPr/>
        </p:nvSpPr>
        <p:spPr bwMode="gray">
          <a:xfrm>
            <a:off x="8736420" y="2854877"/>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6" name="Oval 85">
            <a:extLst>
              <a:ext uri="{FF2B5EF4-FFF2-40B4-BE49-F238E27FC236}">
                <a16:creationId xmlns:a16="http://schemas.microsoft.com/office/drawing/2014/main" id="{7934294E-815C-0948-83BD-DF658B02D4FF}"/>
              </a:ext>
            </a:extLst>
          </p:cNvPr>
          <p:cNvSpPr/>
          <p:nvPr/>
        </p:nvSpPr>
        <p:spPr bwMode="gray">
          <a:xfrm>
            <a:off x="8736420" y="3272625"/>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7" name="Oval 86">
            <a:extLst>
              <a:ext uri="{FF2B5EF4-FFF2-40B4-BE49-F238E27FC236}">
                <a16:creationId xmlns:a16="http://schemas.microsoft.com/office/drawing/2014/main" id="{A939745D-BD03-2844-BAA4-4AA3511D45BD}"/>
              </a:ext>
            </a:extLst>
          </p:cNvPr>
          <p:cNvSpPr/>
          <p:nvPr/>
        </p:nvSpPr>
        <p:spPr bwMode="gray">
          <a:xfrm>
            <a:off x="8736420" y="3690372"/>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88" name="Group 904">
            <a:extLst>
              <a:ext uri="{FF2B5EF4-FFF2-40B4-BE49-F238E27FC236}">
                <a16:creationId xmlns:a16="http://schemas.microsoft.com/office/drawing/2014/main" id="{04BACECE-A11D-0940-80CB-1D1E31AE4FEF}"/>
              </a:ext>
            </a:extLst>
          </p:cNvPr>
          <p:cNvGrpSpPr>
            <a:grpSpLocks noChangeAspect="1"/>
          </p:cNvGrpSpPr>
          <p:nvPr/>
        </p:nvGrpSpPr>
        <p:grpSpPr bwMode="auto">
          <a:xfrm>
            <a:off x="8782140" y="3318749"/>
            <a:ext cx="274320" cy="273515"/>
            <a:chOff x="3518" y="3551"/>
            <a:chExt cx="341" cy="340"/>
          </a:xfrm>
          <a:solidFill>
            <a:srgbClr val="43B02A"/>
          </a:solidFill>
        </p:grpSpPr>
        <p:sp>
          <p:nvSpPr>
            <p:cNvPr id="89" name="Freeform 905">
              <a:extLst>
                <a:ext uri="{FF2B5EF4-FFF2-40B4-BE49-F238E27FC236}">
                  <a16:creationId xmlns:a16="http://schemas.microsoft.com/office/drawing/2014/main" id="{58D9984A-6A01-EB4E-9FC7-28DBA8B1FD8E}"/>
                </a:ext>
              </a:extLst>
            </p:cNvPr>
            <p:cNvSpPr>
              <a:spLocks noEditPoints="1"/>
            </p:cNvSpPr>
            <p:nvPr/>
          </p:nvSpPr>
          <p:spPr bwMode="auto">
            <a:xfrm>
              <a:off x="3518" y="3551"/>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90" name="Freeform 906">
              <a:extLst>
                <a:ext uri="{FF2B5EF4-FFF2-40B4-BE49-F238E27FC236}">
                  <a16:creationId xmlns:a16="http://schemas.microsoft.com/office/drawing/2014/main" id="{E653C444-46C3-7748-B939-D70ADA7CD4E6}"/>
                </a:ext>
              </a:extLst>
            </p:cNvPr>
            <p:cNvSpPr>
              <a:spLocks noEditPoints="1"/>
            </p:cNvSpPr>
            <p:nvPr/>
          </p:nvSpPr>
          <p:spPr bwMode="auto">
            <a:xfrm>
              <a:off x="3625" y="3615"/>
              <a:ext cx="127" cy="212"/>
            </a:xfrm>
            <a:custGeom>
              <a:avLst/>
              <a:gdLst>
                <a:gd name="T0" fmla="*/ 107 w 192"/>
                <a:gd name="T1" fmla="*/ 267 h 320"/>
                <a:gd name="T2" fmla="*/ 96 w 192"/>
                <a:gd name="T3" fmla="*/ 278 h 320"/>
                <a:gd name="T4" fmla="*/ 85 w 192"/>
                <a:gd name="T5" fmla="*/ 267 h 320"/>
                <a:gd name="T6" fmla="*/ 96 w 192"/>
                <a:gd name="T7" fmla="*/ 256 h 320"/>
                <a:gd name="T8" fmla="*/ 107 w 192"/>
                <a:gd name="T9" fmla="*/ 267 h 320"/>
                <a:gd name="T10" fmla="*/ 192 w 192"/>
                <a:gd name="T11" fmla="*/ 22 h 320"/>
                <a:gd name="T12" fmla="*/ 192 w 192"/>
                <a:gd name="T13" fmla="*/ 299 h 320"/>
                <a:gd name="T14" fmla="*/ 169 w 192"/>
                <a:gd name="T15" fmla="*/ 320 h 320"/>
                <a:gd name="T16" fmla="*/ 23 w 192"/>
                <a:gd name="T17" fmla="*/ 320 h 320"/>
                <a:gd name="T18" fmla="*/ 0 w 192"/>
                <a:gd name="T19" fmla="*/ 299 h 320"/>
                <a:gd name="T20" fmla="*/ 0 w 192"/>
                <a:gd name="T21" fmla="*/ 22 h 320"/>
                <a:gd name="T22" fmla="*/ 23 w 192"/>
                <a:gd name="T23" fmla="*/ 0 h 320"/>
                <a:gd name="T24" fmla="*/ 169 w 192"/>
                <a:gd name="T25" fmla="*/ 0 h 320"/>
                <a:gd name="T26" fmla="*/ 192 w 192"/>
                <a:gd name="T27" fmla="*/ 22 h 320"/>
                <a:gd name="T28" fmla="*/ 171 w 192"/>
                <a:gd name="T29" fmla="*/ 298 h 320"/>
                <a:gd name="T30" fmla="*/ 171 w 192"/>
                <a:gd name="T31" fmla="*/ 22 h 320"/>
                <a:gd name="T32" fmla="*/ 169 w 192"/>
                <a:gd name="T33" fmla="*/ 22 h 320"/>
                <a:gd name="T34" fmla="*/ 23 w 192"/>
                <a:gd name="T35" fmla="*/ 22 h 320"/>
                <a:gd name="T36" fmla="*/ 21 w 192"/>
                <a:gd name="T37" fmla="*/ 22 h 320"/>
                <a:gd name="T38" fmla="*/ 21 w 192"/>
                <a:gd name="T39" fmla="*/ 299 h 320"/>
                <a:gd name="T40" fmla="*/ 21 w 192"/>
                <a:gd name="T41" fmla="*/ 299 h 320"/>
                <a:gd name="T42" fmla="*/ 23 w 192"/>
                <a:gd name="T43" fmla="*/ 299 h 320"/>
                <a:gd name="T44" fmla="*/ 169 w 192"/>
                <a:gd name="T45" fmla="*/ 299 h 320"/>
                <a:gd name="T46" fmla="*/ 171 w 192"/>
                <a:gd name="T47" fmla="*/ 298 h 320"/>
                <a:gd name="T48" fmla="*/ 160 w 192"/>
                <a:gd name="T49" fmla="*/ 43 h 320"/>
                <a:gd name="T50" fmla="*/ 160 w 192"/>
                <a:gd name="T51" fmla="*/ 224 h 320"/>
                <a:gd name="T52" fmla="*/ 149 w 192"/>
                <a:gd name="T53" fmla="*/ 235 h 320"/>
                <a:gd name="T54" fmla="*/ 43 w 192"/>
                <a:gd name="T55" fmla="*/ 235 h 320"/>
                <a:gd name="T56" fmla="*/ 32 w 192"/>
                <a:gd name="T57" fmla="*/ 224 h 320"/>
                <a:gd name="T58" fmla="*/ 32 w 192"/>
                <a:gd name="T59" fmla="*/ 43 h 320"/>
                <a:gd name="T60" fmla="*/ 43 w 192"/>
                <a:gd name="T61" fmla="*/ 32 h 320"/>
                <a:gd name="T62" fmla="*/ 149 w 192"/>
                <a:gd name="T63" fmla="*/ 32 h 320"/>
                <a:gd name="T64" fmla="*/ 160 w 192"/>
                <a:gd name="T65" fmla="*/ 43 h 320"/>
                <a:gd name="T66" fmla="*/ 139 w 192"/>
                <a:gd name="T67" fmla="*/ 54 h 320"/>
                <a:gd name="T68" fmla="*/ 53 w 192"/>
                <a:gd name="T69" fmla="*/ 54 h 320"/>
                <a:gd name="T70" fmla="*/ 53 w 192"/>
                <a:gd name="T71" fmla="*/ 214 h 320"/>
                <a:gd name="T72" fmla="*/ 139 w 192"/>
                <a:gd name="T73" fmla="*/ 214 h 320"/>
                <a:gd name="T74" fmla="*/ 139 w 192"/>
                <a:gd name="T75"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320">
                  <a:moveTo>
                    <a:pt x="107" y="267"/>
                  </a:moveTo>
                  <a:cubicBezTo>
                    <a:pt x="107" y="273"/>
                    <a:pt x="102" y="278"/>
                    <a:pt x="96" y="278"/>
                  </a:cubicBezTo>
                  <a:cubicBezTo>
                    <a:pt x="90" y="278"/>
                    <a:pt x="85" y="273"/>
                    <a:pt x="85" y="267"/>
                  </a:cubicBezTo>
                  <a:cubicBezTo>
                    <a:pt x="85" y="261"/>
                    <a:pt x="90" y="256"/>
                    <a:pt x="96" y="256"/>
                  </a:cubicBezTo>
                  <a:cubicBezTo>
                    <a:pt x="102" y="256"/>
                    <a:pt x="107" y="261"/>
                    <a:pt x="107" y="267"/>
                  </a:cubicBezTo>
                  <a:close/>
                  <a:moveTo>
                    <a:pt x="192" y="22"/>
                  </a:moveTo>
                  <a:cubicBezTo>
                    <a:pt x="192" y="299"/>
                    <a:pt x="192" y="299"/>
                    <a:pt x="192" y="299"/>
                  </a:cubicBezTo>
                  <a:cubicBezTo>
                    <a:pt x="192" y="311"/>
                    <a:pt x="182" y="320"/>
                    <a:pt x="169" y="320"/>
                  </a:cubicBezTo>
                  <a:cubicBezTo>
                    <a:pt x="23" y="320"/>
                    <a:pt x="23" y="320"/>
                    <a:pt x="23" y="320"/>
                  </a:cubicBezTo>
                  <a:cubicBezTo>
                    <a:pt x="10" y="320"/>
                    <a:pt x="0" y="311"/>
                    <a:pt x="0" y="299"/>
                  </a:cubicBezTo>
                  <a:cubicBezTo>
                    <a:pt x="0" y="22"/>
                    <a:pt x="0" y="22"/>
                    <a:pt x="0" y="22"/>
                  </a:cubicBezTo>
                  <a:cubicBezTo>
                    <a:pt x="0" y="10"/>
                    <a:pt x="10" y="0"/>
                    <a:pt x="23" y="0"/>
                  </a:cubicBezTo>
                  <a:cubicBezTo>
                    <a:pt x="169" y="0"/>
                    <a:pt x="169" y="0"/>
                    <a:pt x="169" y="0"/>
                  </a:cubicBezTo>
                  <a:cubicBezTo>
                    <a:pt x="182" y="0"/>
                    <a:pt x="192" y="10"/>
                    <a:pt x="192" y="22"/>
                  </a:cubicBezTo>
                  <a:close/>
                  <a:moveTo>
                    <a:pt x="171" y="298"/>
                  </a:moveTo>
                  <a:cubicBezTo>
                    <a:pt x="171" y="22"/>
                    <a:pt x="171" y="22"/>
                    <a:pt x="171" y="22"/>
                  </a:cubicBezTo>
                  <a:cubicBezTo>
                    <a:pt x="171" y="22"/>
                    <a:pt x="170" y="22"/>
                    <a:pt x="169" y="22"/>
                  </a:cubicBezTo>
                  <a:cubicBezTo>
                    <a:pt x="23" y="22"/>
                    <a:pt x="23" y="22"/>
                    <a:pt x="23" y="22"/>
                  </a:cubicBezTo>
                  <a:cubicBezTo>
                    <a:pt x="22" y="22"/>
                    <a:pt x="21" y="22"/>
                    <a:pt x="21" y="22"/>
                  </a:cubicBezTo>
                  <a:cubicBezTo>
                    <a:pt x="21" y="299"/>
                    <a:pt x="21" y="299"/>
                    <a:pt x="21" y="299"/>
                  </a:cubicBezTo>
                  <a:cubicBezTo>
                    <a:pt x="21" y="299"/>
                    <a:pt x="21" y="299"/>
                    <a:pt x="21" y="299"/>
                  </a:cubicBezTo>
                  <a:cubicBezTo>
                    <a:pt x="22" y="299"/>
                    <a:pt x="22" y="299"/>
                    <a:pt x="23" y="299"/>
                  </a:cubicBezTo>
                  <a:cubicBezTo>
                    <a:pt x="169" y="299"/>
                    <a:pt x="169" y="299"/>
                    <a:pt x="169" y="299"/>
                  </a:cubicBezTo>
                  <a:cubicBezTo>
                    <a:pt x="170" y="299"/>
                    <a:pt x="171" y="299"/>
                    <a:pt x="171" y="298"/>
                  </a:cubicBezTo>
                  <a:close/>
                  <a:moveTo>
                    <a:pt x="160" y="43"/>
                  </a:moveTo>
                  <a:cubicBezTo>
                    <a:pt x="160" y="224"/>
                    <a:pt x="160" y="224"/>
                    <a:pt x="160" y="224"/>
                  </a:cubicBezTo>
                  <a:cubicBezTo>
                    <a:pt x="160" y="230"/>
                    <a:pt x="155" y="235"/>
                    <a:pt x="149" y="235"/>
                  </a:cubicBezTo>
                  <a:cubicBezTo>
                    <a:pt x="43" y="235"/>
                    <a:pt x="43" y="235"/>
                    <a:pt x="43" y="235"/>
                  </a:cubicBezTo>
                  <a:cubicBezTo>
                    <a:pt x="37" y="235"/>
                    <a:pt x="32" y="230"/>
                    <a:pt x="32" y="224"/>
                  </a:cubicBezTo>
                  <a:cubicBezTo>
                    <a:pt x="32" y="43"/>
                    <a:pt x="32" y="43"/>
                    <a:pt x="32" y="43"/>
                  </a:cubicBezTo>
                  <a:cubicBezTo>
                    <a:pt x="32" y="37"/>
                    <a:pt x="37" y="32"/>
                    <a:pt x="43" y="32"/>
                  </a:cubicBezTo>
                  <a:cubicBezTo>
                    <a:pt x="149" y="32"/>
                    <a:pt x="149" y="32"/>
                    <a:pt x="149" y="32"/>
                  </a:cubicBezTo>
                  <a:cubicBezTo>
                    <a:pt x="155" y="32"/>
                    <a:pt x="160" y="37"/>
                    <a:pt x="160" y="43"/>
                  </a:cubicBezTo>
                  <a:close/>
                  <a:moveTo>
                    <a:pt x="139" y="54"/>
                  </a:moveTo>
                  <a:cubicBezTo>
                    <a:pt x="53" y="54"/>
                    <a:pt x="53" y="54"/>
                    <a:pt x="53" y="54"/>
                  </a:cubicBezTo>
                  <a:cubicBezTo>
                    <a:pt x="53" y="214"/>
                    <a:pt x="53" y="214"/>
                    <a:pt x="53" y="214"/>
                  </a:cubicBezTo>
                  <a:cubicBezTo>
                    <a:pt x="139" y="214"/>
                    <a:pt x="139" y="214"/>
                    <a:pt x="139" y="214"/>
                  </a:cubicBezTo>
                  <a:lnTo>
                    <a:pt x="139" y="54"/>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grpSp>
      <p:grpSp>
        <p:nvGrpSpPr>
          <p:cNvPr id="91" name="Group 299">
            <a:extLst>
              <a:ext uri="{FF2B5EF4-FFF2-40B4-BE49-F238E27FC236}">
                <a16:creationId xmlns:a16="http://schemas.microsoft.com/office/drawing/2014/main" id="{713CAB1A-139F-B340-8739-E5B968BA1AE1}"/>
              </a:ext>
            </a:extLst>
          </p:cNvPr>
          <p:cNvGrpSpPr>
            <a:grpSpLocks noChangeAspect="1"/>
          </p:cNvGrpSpPr>
          <p:nvPr/>
        </p:nvGrpSpPr>
        <p:grpSpPr bwMode="auto">
          <a:xfrm>
            <a:off x="8782140" y="2901403"/>
            <a:ext cx="274320" cy="273514"/>
            <a:chOff x="1166" y="1121"/>
            <a:chExt cx="341" cy="340"/>
          </a:xfrm>
          <a:solidFill>
            <a:srgbClr val="43B02A"/>
          </a:solidFill>
        </p:grpSpPr>
        <p:sp>
          <p:nvSpPr>
            <p:cNvPr id="92" name="Freeform 300">
              <a:extLst>
                <a:ext uri="{FF2B5EF4-FFF2-40B4-BE49-F238E27FC236}">
                  <a16:creationId xmlns:a16="http://schemas.microsoft.com/office/drawing/2014/main" id="{61D92E82-808A-484F-992F-4BBA6FB9937E}"/>
                </a:ext>
              </a:extLst>
            </p:cNvPr>
            <p:cNvSpPr>
              <a:spLocks noEditPoints="1"/>
            </p:cNvSpPr>
            <p:nvPr/>
          </p:nvSpPr>
          <p:spPr bwMode="auto">
            <a:xfrm>
              <a:off x="1230" y="1213"/>
              <a:ext cx="213" cy="170"/>
            </a:xfrm>
            <a:custGeom>
              <a:avLst/>
              <a:gdLst>
                <a:gd name="T0" fmla="*/ 309 w 320"/>
                <a:gd name="T1" fmla="*/ 0 h 256"/>
                <a:gd name="T2" fmla="*/ 10 w 320"/>
                <a:gd name="T3" fmla="*/ 0 h 256"/>
                <a:gd name="T4" fmla="*/ 0 w 320"/>
                <a:gd name="T5" fmla="*/ 11 h 256"/>
                <a:gd name="T6" fmla="*/ 0 w 320"/>
                <a:gd name="T7" fmla="*/ 203 h 256"/>
                <a:gd name="T8" fmla="*/ 10 w 320"/>
                <a:gd name="T9" fmla="*/ 214 h 256"/>
                <a:gd name="T10" fmla="*/ 149 w 320"/>
                <a:gd name="T11" fmla="*/ 214 h 256"/>
                <a:gd name="T12" fmla="*/ 149 w 320"/>
                <a:gd name="T13" fmla="*/ 235 h 256"/>
                <a:gd name="T14" fmla="*/ 106 w 320"/>
                <a:gd name="T15" fmla="*/ 235 h 256"/>
                <a:gd name="T16" fmla="*/ 96 w 320"/>
                <a:gd name="T17" fmla="*/ 246 h 256"/>
                <a:gd name="T18" fmla="*/ 106 w 320"/>
                <a:gd name="T19" fmla="*/ 256 h 256"/>
                <a:gd name="T20" fmla="*/ 213 w 320"/>
                <a:gd name="T21" fmla="*/ 256 h 256"/>
                <a:gd name="T22" fmla="*/ 224 w 320"/>
                <a:gd name="T23" fmla="*/ 246 h 256"/>
                <a:gd name="T24" fmla="*/ 213 w 320"/>
                <a:gd name="T25" fmla="*/ 235 h 256"/>
                <a:gd name="T26" fmla="*/ 170 w 320"/>
                <a:gd name="T27" fmla="*/ 235 h 256"/>
                <a:gd name="T28" fmla="*/ 170 w 320"/>
                <a:gd name="T29" fmla="*/ 214 h 256"/>
                <a:gd name="T30" fmla="*/ 309 w 320"/>
                <a:gd name="T31" fmla="*/ 214 h 256"/>
                <a:gd name="T32" fmla="*/ 320 w 320"/>
                <a:gd name="T33" fmla="*/ 203 h 256"/>
                <a:gd name="T34" fmla="*/ 320 w 320"/>
                <a:gd name="T35" fmla="*/ 11 h 256"/>
                <a:gd name="T36" fmla="*/ 309 w 320"/>
                <a:gd name="T37" fmla="*/ 0 h 256"/>
                <a:gd name="T38" fmla="*/ 298 w 320"/>
                <a:gd name="T39" fmla="*/ 192 h 256"/>
                <a:gd name="T40" fmla="*/ 21 w 320"/>
                <a:gd name="T41" fmla="*/ 192 h 256"/>
                <a:gd name="T42" fmla="*/ 21 w 320"/>
                <a:gd name="T43" fmla="*/ 22 h 256"/>
                <a:gd name="T44" fmla="*/ 298 w 320"/>
                <a:gd name="T45" fmla="*/ 22 h 256"/>
                <a:gd name="T46" fmla="*/ 298 w 320"/>
                <a:gd name="T47"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56">
                  <a:moveTo>
                    <a:pt x="309" y="0"/>
                  </a:moveTo>
                  <a:cubicBezTo>
                    <a:pt x="10" y="0"/>
                    <a:pt x="10" y="0"/>
                    <a:pt x="10" y="0"/>
                  </a:cubicBezTo>
                  <a:cubicBezTo>
                    <a:pt x="4" y="0"/>
                    <a:pt x="0" y="5"/>
                    <a:pt x="0" y="11"/>
                  </a:cubicBezTo>
                  <a:cubicBezTo>
                    <a:pt x="0" y="203"/>
                    <a:pt x="0" y="203"/>
                    <a:pt x="0" y="203"/>
                  </a:cubicBezTo>
                  <a:cubicBezTo>
                    <a:pt x="0" y="209"/>
                    <a:pt x="4" y="214"/>
                    <a:pt x="10" y="214"/>
                  </a:cubicBezTo>
                  <a:cubicBezTo>
                    <a:pt x="149" y="214"/>
                    <a:pt x="149" y="214"/>
                    <a:pt x="149" y="214"/>
                  </a:cubicBezTo>
                  <a:cubicBezTo>
                    <a:pt x="149" y="235"/>
                    <a:pt x="149" y="235"/>
                    <a:pt x="149" y="235"/>
                  </a:cubicBezTo>
                  <a:cubicBezTo>
                    <a:pt x="106" y="235"/>
                    <a:pt x="106" y="235"/>
                    <a:pt x="106" y="235"/>
                  </a:cubicBezTo>
                  <a:cubicBezTo>
                    <a:pt x="100" y="235"/>
                    <a:pt x="96" y="240"/>
                    <a:pt x="96" y="246"/>
                  </a:cubicBezTo>
                  <a:cubicBezTo>
                    <a:pt x="96" y="252"/>
                    <a:pt x="100" y="256"/>
                    <a:pt x="106" y="256"/>
                  </a:cubicBezTo>
                  <a:cubicBezTo>
                    <a:pt x="213" y="256"/>
                    <a:pt x="213" y="256"/>
                    <a:pt x="213" y="256"/>
                  </a:cubicBezTo>
                  <a:cubicBezTo>
                    <a:pt x="219" y="256"/>
                    <a:pt x="224" y="252"/>
                    <a:pt x="224" y="246"/>
                  </a:cubicBezTo>
                  <a:cubicBezTo>
                    <a:pt x="224" y="240"/>
                    <a:pt x="219" y="235"/>
                    <a:pt x="213" y="235"/>
                  </a:cubicBezTo>
                  <a:cubicBezTo>
                    <a:pt x="170" y="235"/>
                    <a:pt x="170" y="235"/>
                    <a:pt x="170" y="235"/>
                  </a:cubicBezTo>
                  <a:cubicBezTo>
                    <a:pt x="170" y="214"/>
                    <a:pt x="170" y="214"/>
                    <a:pt x="170"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93" name="Freeform 301">
              <a:extLst>
                <a:ext uri="{FF2B5EF4-FFF2-40B4-BE49-F238E27FC236}">
                  <a16:creationId xmlns:a16="http://schemas.microsoft.com/office/drawing/2014/main" id="{3F398168-C4A4-1342-8AF1-7FC0AE976982}"/>
                </a:ext>
              </a:extLst>
            </p:cNvPr>
            <p:cNvSpPr>
              <a:spLocks noEditPoints="1"/>
            </p:cNvSpPr>
            <p:nvPr/>
          </p:nvSpPr>
          <p:spPr bwMode="auto">
            <a:xfrm>
              <a:off x="1166" y="11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grpSp>
      <p:grpSp>
        <p:nvGrpSpPr>
          <p:cNvPr id="94" name="Group 834">
            <a:extLst>
              <a:ext uri="{FF2B5EF4-FFF2-40B4-BE49-F238E27FC236}">
                <a16:creationId xmlns:a16="http://schemas.microsoft.com/office/drawing/2014/main" id="{4EBFD2BD-9316-7F46-B21B-BBB4A823C4D5}"/>
              </a:ext>
            </a:extLst>
          </p:cNvPr>
          <p:cNvGrpSpPr>
            <a:grpSpLocks noChangeAspect="1"/>
          </p:cNvGrpSpPr>
          <p:nvPr/>
        </p:nvGrpSpPr>
        <p:grpSpPr bwMode="auto">
          <a:xfrm>
            <a:off x="8782140" y="3736092"/>
            <a:ext cx="274320" cy="274320"/>
            <a:chOff x="5977" y="3324"/>
            <a:chExt cx="340" cy="340"/>
          </a:xfrm>
          <a:solidFill>
            <a:srgbClr val="43B02A"/>
          </a:solidFill>
        </p:grpSpPr>
        <p:sp>
          <p:nvSpPr>
            <p:cNvPr id="102" name="Freeform 835">
              <a:extLst>
                <a:ext uri="{FF2B5EF4-FFF2-40B4-BE49-F238E27FC236}">
                  <a16:creationId xmlns:a16="http://schemas.microsoft.com/office/drawing/2014/main" id="{409820C6-15A7-654D-8DBC-430F1529BEB0}"/>
                </a:ext>
              </a:extLst>
            </p:cNvPr>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03" name="Freeform 836">
              <a:extLst>
                <a:ext uri="{FF2B5EF4-FFF2-40B4-BE49-F238E27FC236}">
                  <a16:creationId xmlns:a16="http://schemas.microsoft.com/office/drawing/2014/main" id="{0CA8A032-4571-264B-AA86-7623BDD9F4F7}"/>
                </a:ext>
              </a:extLst>
            </p:cNvPr>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04" name="Freeform 837">
              <a:extLst>
                <a:ext uri="{FF2B5EF4-FFF2-40B4-BE49-F238E27FC236}">
                  <a16:creationId xmlns:a16="http://schemas.microsoft.com/office/drawing/2014/main" id="{F90B828F-1627-9E42-9771-7E44513FD8D7}"/>
                </a:ext>
              </a:extLst>
            </p:cNvPr>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grpSp>
      <p:grpSp>
        <p:nvGrpSpPr>
          <p:cNvPr id="105" name="Group 340">
            <a:extLst>
              <a:ext uri="{FF2B5EF4-FFF2-40B4-BE49-F238E27FC236}">
                <a16:creationId xmlns:a16="http://schemas.microsoft.com/office/drawing/2014/main" id="{D4C1E13D-3837-AF45-8C1C-9E719445DE08}"/>
              </a:ext>
            </a:extLst>
          </p:cNvPr>
          <p:cNvGrpSpPr>
            <a:grpSpLocks noChangeAspect="1"/>
          </p:cNvGrpSpPr>
          <p:nvPr/>
        </p:nvGrpSpPr>
        <p:grpSpPr bwMode="auto">
          <a:xfrm>
            <a:off x="8782140" y="2483252"/>
            <a:ext cx="274320" cy="274320"/>
            <a:chOff x="4436" y="1680"/>
            <a:chExt cx="340" cy="340"/>
          </a:xfrm>
          <a:solidFill>
            <a:srgbClr val="43B02A"/>
          </a:solidFill>
        </p:grpSpPr>
        <p:sp>
          <p:nvSpPr>
            <p:cNvPr id="106" name="Freeform 341">
              <a:extLst>
                <a:ext uri="{FF2B5EF4-FFF2-40B4-BE49-F238E27FC236}">
                  <a16:creationId xmlns:a16="http://schemas.microsoft.com/office/drawing/2014/main" id="{5D5E6A18-008C-A745-9518-1A67163C0C72}"/>
                </a:ext>
              </a:extLst>
            </p:cNvPr>
            <p:cNvSpPr>
              <a:spLocks noEditPoints="1"/>
            </p:cNvSpPr>
            <p:nvPr/>
          </p:nvSpPr>
          <p:spPr bwMode="auto">
            <a:xfrm>
              <a:off x="4499" y="1743"/>
              <a:ext cx="214" cy="199"/>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07" name="Freeform 342">
              <a:extLst>
                <a:ext uri="{FF2B5EF4-FFF2-40B4-BE49-F238E27FC236}">
                  <a16:creationId xmlns:a16="http://schemas.microsoft.com/office/drawing/2014/main" id="{4A7EC169-77AC-CC4E-BD02-77DB4FCEE604}"/>
                </a:ext>
              </a:extLst>
            </p:cNvPr>
            <p:cNvSpPr>
              <a:spLocks noEditPoints="1"/>
            </p:cNvSpPr>
            <p:nvPr/>
          </p:nvSpPr>
          <p:spPr bwMode="auto">
            <a:xfrm>
              <a:off x="4436" y="16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grpSp>
      <p:grpSp>
        <p:nvGrpSpPr>
          <p:cNvPr id="108" name="Group 336">
            <a:extLst>
              <a:ext uri="{FF2B5EF4-FFF2-40B4-BE49-F238E27FC236}">
                <a16:creationId xmlns:a16="http://schemas.microsoft.com/office/drawing/2014/main" id="{2703E7D4-2383-3345-B570-F0F8D662A117}"/>
              </a:ext>
            </a:extLst>
          </p:cNvPr>
          <p:cNvGrpSpPr>
            <a:grpSpLocks noChangeAspect="1"/>
          </p:cNvGrpSpPr>
          <p:nvPr/>
        </p:nvGrpSpPr>
        <p:grpSpPr bwMode="auto">
          <a:xfrm>
            <a:off x="8782140" y="2065101"/>
            <a:ext cx="274320" cy="274320"/>
            <a:chOff x="4220" y="1197"/>
            <a:chExt cx="340" cy="340"/>
          </a:xfrm>
          <a:solidFill>
            <a:srgbClr val="43B02A"/>
          </a:solidFill>
        </p:grpSpPr>
        <p:sp>
          <p:nvSpPr>
            <p:cNvPr id="109" name="Freeform 337">
              <a:extLst>
                <a:ext uri="{FF2B5EF4-FFF2-40B4-BE49-F238E27FC236}">
                  <a16:creationId xmlns:a16="http://schemas.microsoft.com/office/drawing/2014/main" id="{99C8E0F3-AFC9-4349-A56F-060FBC62E480}"/>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10" name="Freeform 338">
              <a:extLst>
                <a:ext uri="{FF2B5EF4-FFF2-40B4-BE49-F238E27FC236}">
                  <a16:creationId xmlns:a16="http://schemas.microsoft.com/office/drawing/2014/main" id="{EBEB9A3C-8F31-D643-84C8-6449265141E6}"/>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11" name="Freeform 339">
              <a:extLst>
                <a:ext uri="{FF2B5EF4-FFF2-40B4-BE49-F238E27FC236}">
                  <a16:creationId xmlns:a16="http://schemas.microsoft.com/office/drawing/2014/main" id="{A26C6F74-82CA-3147-BF08-087AF7505EE9}"/>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12" name="Freeform 340">
              <a:extLst>
                <a:ext uri="{FF2B5EF4-FFF2-40B4-BE49-F238E27FC236}">
                  <a16:creationId xmlns:a16="http://schemas.microsoft.com/office/drawing/2014/main" id="{B4527010-6B4E-CE40-960D-F617B5B1FEC2}"/>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13" name="Freeform 341">
              <a:extLst>
                <a:ext uri="{FF2B5EF4-FFF2-40B4-BE49-F238E27FC236}">
                  <a16:creationId xmlns:a16="http://schemas.microsoft.com/office/drawing/2014/main" id="{E9CB1654-049D-8E4D-B9C8-7AE455A73614}"/>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14" name="Freeform 342">
              <a:extLst>
                <a:ext uri="{FF2B5EF4-FFF2-40B4-BE49-F238E27FC236}">
                  <a16:creationId xmlns:a16="http://schemas.microsoft.com/office/drawing/2014/main" id="{3830CC36-1386-D541-BB43-E92298D0EC22}"/>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grpSp>
      <p:sp>
        <p:nvSpPr>
          <p:cNvPr id="115" name="Oval 114">
            <a:extLst>
              <a:ext uri="{FF2B5EF4-FFF2-40B4-BE49-F238E27FC236}">
                <a16:creationId xmlns:a16="http://schemas.microsoft.com/office/drawing/2014/main" id="{63877064-7F33-8041-8A21-144779AFCB4A}"/>
              </a:ext>
            </a:extLst>
          </p:cNvPr>
          <p:cNvSpPr/>
          <p:nvPr/>
        </p:nvSpPr>
        <p:spPr bwMode="gray">
          <a:xfrm>
            <a:off x="9456447" y="2366296"/>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6" name="Freeform 765">
            <a:extLst>
              <a:ext uri="{FF2B5EF4-FFF2-40B4-BE49-F238E27FC236}">
                <a16:creationId xmlns:a16="http://schemas.microsoft.com/office/drawing/2014/main" id="{BE605326-2AAE-5E4A-A342-2A34BCEBED16}"/>
              </a:ext>
            </a:extLst>
          </p:cNvPr>
          <p:cNvSpPr>
            <a:spLocks noChangeAspect="1" noEditPoints="1"/>
          </p:cNvSpPr>
          <p:nvPr/>
        </p:nvSpPr>
        <p:spPr bwMode="auto">
          <a:xfrm>
            <a:off x="9500209" y="2410058"/>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7" name="TextBox 116">
            <a:extLst>
              <a:ext uri="{FF2B5EF4-FFF2-40B4-BE49-F238E27FC236}">
                <a16:creationId xmlns:a16="http://schemas.microsoft.com/office/drawing/2014/main" id="{BB34677F-8A82-154E-91FA-8A7D6C530E2B}"/>
              </a:ext>
            </a:extLst>
          </p:cNvPr>
          <p:cNvSpPr txBox="1"/>
          <p:nvPr/>
        </p:nvSpPr>
        <p:spPr>
          <a:xfrm>
            <a:off x="6937249" y="4013557"/>
            <a:ext cx="3355848" cy="246221"/>
          </a:xfrm>
          <a:prstGeom prst="rect">
            <a:avLst/>
          </a:prstGeom>
          <a:gradFill flip="none" rotWithShape="1">
            <a:gsLst>
              <a:gs pos="0">
                <a:schemeClr val="bg1"/>
              </a:gs>
              <a:gs pos="100000">
                <a:srgbClr val="43B02A"/>
              </a:gs>
            </a:gsLst>
            <a:lin ang="5400000" scaled="1"/>
            <a:tileRect/>
          </a:gradFill>
        </p:spPr>
        <p:txBody>
          <a:bodyPr wrap="square" lIns="45720" tIns="45720" rIns="45720" bIns="45720" rtlCol="0">
            <a:noAutofit/>
          </a:bodyPr>
          <a:lstStyle/>
          <a:p>
            <a:pPr algn="ctr">
              <a:buSzPct val="100000"/>
            </a:pPr>
            <a:r>
              <a:rPr lang="en-US" sz="800" dirty="0"/>
              <a:t>Lorem ipsum dolor</a:t>
            </a:r>
          </a:p>
        </p:txBody>
      </p:sp>
      <p:grpSp>
        <p:nvGrpSpPr>
          <p:cNvPr id="118" name="Group 117">
            <a:extLst>
              <a:ext uri="{FF2B5EF4-FFF2-40B4-BE49-F238E27FC236}">
                <a16:creationId xmlns:a16="http://schemas.microsoft.com/office/drawing/2014/main" id="{674A2D49-791F-6745-AC3E-B1D9CBF24E8A}"/>
              </a:ext>
            </a:extLst>
          </p:cNvPr>
          <p:cNvGrpSpPr/>
          <p:nvPr/>
        </p:nvGrpSpPr>
        <p:grpSpPr>
          <a:xfrm>
            <a:off x="4677961" y="4735155"/>
            <a:ext cx="2859504" cy="1642946"/>
            <a:chOff x="3153961" y="4890699"/>
            <a:chExt cx="2859504" cy="1513145"/>
          </a:xfrm>
        </p:grpSpPr>
        <p:cxnSp>
          <p:nvCxnSpPr>
            <p:cNvPr id="119" name="Straight Connector 118">
              <a:extLst>
                <a:ext uri="{FF2B5EF4-FFF2-40B4-BE49-F238E27FC236}">
                  <a16:creationId xmlns:a16="http://schemas.microsoft.com/office/drawing/2014/main" id="{2C7569AD-04EC-3843-870B-091EA9DFFEEF}"/>
                </a:ext>
              </a:extLst>
            </p:cNvPr>
            <p:cNvCxnSpPr>
              <a:cxnSpLocks/>
            </p:cNvCxnSpPr>
            <p:nvPr/>
          </p:nvCxnSpPr>
          <p:spPr>
            <a:xfrm>
              <a:off x="3153961" y="4890699"/>
              <a:ext cx="0" cy="1513145"/>
            </a:xfrm>
            <a:prstGeom prst="line">
              <a:avLst/>
            </a:prstGeom>
            <a:ln w="12700">
              <a:gradFill>
                <a:gsLst>
                  <a:gs pos="0">
                    <a:schemeClr val="accent6"/>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61C8F35-C907-AB40-B689-86F5E06B7801}"/>
                </a:ext>
              </a:extLst>
            </p:cNvPr>
            <p:cNvCxnSpPr>
              <a:cxnSpLocks/>
            </p:cNvCxnSpPr>
            <p:nvPr/>
          </p:nvCxnSpPr>
          <p:spPr>
            <a:xfrm>
              <a:off x="6013465" y="4890699"/>
              <a:ext cx="0" cy="1513145"/>
            </a:xfrm>
            <a:prstGeom prst="line">
              <a:avLst/>
            </a:prstGeom>
            <a:ln w="12700">
              <a:gradFill>
                <a:gsLst>
                  <a:gs pos="0">
                    <a:schemeClr val="accent6"/>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36899F6E-AE9B-ED48-95DD-9BA39BC62A32}"/>
              </a:ext>
            </a:extLst>
          </p:cNvPr>
          <p:cNvGrpSpPr/>
          <p:nvPr/>
        </p:nvGrpSpPr>
        <p:grpSpPr>
          <a:xfrm>
            <a:off x="5315021" y="2541961"/>
            <a:ext cx="1220420" cy="976336"/>
            <a:chOff x="2794000" y="1422399"/>
            <a:chExt cx="3556000" cy="2844800"/>
          </a:xfrm>
        </p:grpSpPr>
        <p:sp>
          <p:nvSpPr>
            <p:cNvPr id="122" name="Oval 121">
              <a:extLst>
                <a:ext uri="{FF2B5EF4-FFF2-40B4-BE49-F238E27FC236}">
                  <a16:creationId xmlns:a16="http://schemas.microsoft.com/office/drawing/2014/main" id="{EA8CC27B-3031-F147-8053-719DDF690CFF}"/>
                </a:ext>
              </a:extLst>
            </p:cNvPr>
            <p:cNvSpPr/>
            <p:nvPr/>
          </p:nvSpPr>
          <p:spPr>
            <a:xfrm>
              <a:off x="2928620" y="1562099"/>
              <a:ext cx="3276600" cy="1137920"/>
            </a:xfrm>
            <a:prstGeom prst="ellipse">
              <a:avLst/>
            </a:prstGeom>
            <a:solidFill>
              <a:schemeClr val="accent3"/>
            </a:solidFill>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sp>
        <p:sp>
          <p:nvSpPr>
            <p:cNvPr id="123" name="Shape 122">
              <a:extLst>
                <a:ext uri="{FF2B5EF4-FFF2-40B4-BE49-F238E27FC236}">
                  <a16:creationId xmlns:a16="http://schemas.microsoft.com/office/drawing/2014/main" id="{94DE530B-E53E-BC4A-857B-19A3D35B5051}"/>
                </a:ext>
              </a:extLst>
            </p:cNvPr>
            <p:cNvSpPr/>
            <p:nvPr/>
          </p:nvSpPr>
          <p:spPr>
            <a:xfrm>
              <a:off x="2794000" y="1422399"/>
              <a:ext cx="3556000" cy="2844800"/>
            </a:xfrm>
            <a:prstGeom prst="funnel">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grpSp>
      <p:sp>
        <p:nvSpPr>
          <p:cNvPr id="124" name="Rectangle 123">
            <a:extLst>
              <a:ext uri="{FF2B5EF4-FFF2-40B4-BE49-F238E27FC236}">
                <a16:creationId xmlns:a16="http://schemas.microsoft.com/office/drawing/2014/main" id="{1C66FD14-CC07-2B44-A954-2313F539FD32}"/>
              </a:ext>
            </a:extLst>
          </p:cNvPr>
          <p:cNvSpPr/>
          <p:nvPr/>
        </p:nvSpPr>
        <p:spPr>
          <a:xfrm>
            <a:off x="5525283" y="2707137"/>
            <a:ext cx="799898" cy="123111"/>
          </a:xfrm>
          <a:prstGeom prst="rect">
            <a:avLst/>
          </a:prstGeom>
        </p:spPr>
        <p:txBody>
          <a:bodyPr wrap="none" lIns="0" tIns="0" rIns="0" bIns="0">
            <a:spAutoFit/>
          </a:bodyPr>
          <a:lstStyle/>
          <a:p>
            <a:pPr algn="ctr"/>
            <a:r>
              <a:rPr lang="en-US" sz="800" b="1" dirty="0">
                <a:solidFill>
                  <a:schemeClr val="bg1"/>
                </a:solidFill>
              </a:rPr>
              <a:t>Lorem ipsum dolor</a:t>
            </a:r>
          </a:p>
        </p:txBody>
      </p:sp>
      <p:sp>
        <p:nvSpPr>
          <p:cNvPr id="125" name="Freeform 384">
            <a:extLst>
              <a:ext uri="{FF2B5EF4-FFF2-40B4-BE49-F238E27FC236}">
                <a16:creationId xmlns:a16="http://schemas.microsoft.com/office/drawing/2014/main" id="{B01C4620-618A-4343-B821-B1DB22E8E9D6}"/>
              </a:ext>
            </a:extLst>
          </p:cNvPr>
          <p:cNvSpPr>
            <a:spLocks noChangeAspect="1" noEditPoints="1"/>
          </p:cNvSpPr>
          <p:nvPr/>
        </p:nvSpPr>
        <p:spPr bwMode="auto">
          <a:xfrm>
            <a:off x="5798638" y="3226270"/>
            <a:ext cx="274320"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6 w 512"/>
              <a:gd name="T11" fmla="*/ 152 h 512"/>
              <a:gd name="T12" fmla="*/ 220 w 512"/>
              <a:gd name="T13" fmla="*/ 145 h 512"/>
              <a:gd name="T14" fmla="*/ 340 w 512"/>
              <a:gd name="T15" fmla="*/ 189 h 512"/>
              <a:gd name="T16" fmla="*/ 347 w 512"/>
              <a:gd name="T17" fmla="*/ 202 h 512"/>
              <a:gd name="T18" fmla="*/ 337 w 512"/>
              <a:gd name="T19" fmla="*/ 209 h 512"/>
              <a:gd name="T20" fmla="*/ 333 w 512"/>
              <a:gd name="T21" fmla="*/ 209 h 512"/>
              <a:gd name="T22" fmla="*/ 213 w 512"/>
              <a:gd name="T23" fmla="*/ 166 h 512"/>
              <a:gd name="T24" fmla="*/ 206 w 512"/>
              <a:gd name="T25" fmla="*/ 152 h 512"/>
              <a:gd name="T26" fmla="*/ 190 w 512"/>
              <a:gd name="T27" fmla="*/ 209 h 512"/>
              <a:gd name="T28" fmla="*/ 202 w 512"/>
              <a:gd name="T29" fmla="*/ 201 h 512"/>
              <a:gd name="T30" fmla="*/ 328 w 512"/>
              <a:gd name="T31" fmla="*/ 226 h 512"/>
              <a:gd name="T32" fmla="*/ 336 w 512"/>
              <a:gd name="T33" fmla="*/ 239 h 512"/>
              <a:gd name="T34" fmla="*/ 325 w 512"/>
              <a:gd name="T35" fmla="*/ 247 h 512"/>
              <a:gd name="T36" fmla="*/ 323 w 512"/>
              <a:gd name="T37" fmla="*/ 247 h 512"/>
              <a:gd name="T38" fmla="*/ 198 w 512"/>
              <a:gd name="T39" fmla="*/ 221 h 512"/>
              <a:gd name="T40" fmla="*/ 190 w 512"/>
              <a:gd name="T41" fmla="*/ 209 h 512"/>
              <a:gd name="T42" fmla="*/ 193 w 512"/>
              <a:gd name="T43" fmla="*/ 254 h 512"/>
              <a:gd name="T44" fmla="*/ 321 w 512"/>
              <a:gd name="T45" fmla="*/ 266 h 512"/>
              <a:gd name="T46" fmla="*/ 330 w 512"/>
              <a:gd name="T47" fmla="*/ 278 h 512"/>
              <a:gd name="T48" fmla="*/ 320 w 512"/>
              <a:gd name="T49" fmla="*/ 288 h 512"/>
              <a:gd name="T50" fmla="*/ 319 w 512"/>
              <a:gd name="T51" fmla="*/ 288 h 512"/>
              <a:gd name="T52" fmla="*/ 191 w 512"/>
              <a:gd name="T53" fmla="*/ 275 h 512"/>
              <a:gd name="T54" fmla="*/ 182 w 512"/>
              <a:gd name="T55" fmla="*/ 263 h 512"/>
              <a:gd name="T56" fmla="*/ 193 w 512"/>
              <a:gd name="T57" fmla="*/ 254 h 512"/>
              <a:gd name="T58" fmla="*/ 192 w 512"/>
              <a:gd name="T59" fmla="*/ 309 h 512"/>
              <a:gd name="T60" fmla="*/ 320 w 512"/>
              <a:gd name="T61" fmla="*/ 309 h 512"/>
              <a:gd name="T62" fmla="*/ 330 w 512"/>
              <a:gd name="T63" fmla="*/ 320 h 512"/>
              <a:gd name="T64" fmla="*/ 320 w 512"/>
              <a:gd name="T65" fmla="*/ 330 h 512"/>
              <a:gd name="T66" fmla="*/ 192 w 512"/>
              <a:gd name="T67" fmla="*/ 330 h 512"/>
              <a:gd name="T68" fmla="*/ 181 w 512"/>
              <a:gd name="T69" fmla="*/ 320 h 512"/>
              <a:gd name="T70" fmla="*/ 192 w 512"/>
              <a:gd name="T71" fmla="*/ 309 h 512"/>
              <a:gd name="T72" fmla="*/ 373 w 512"/>
              <a:gd name="T73" fmla="*/ 362 h 512"/>
              <a:gd name="T74" fmla="*/ 362 w 512"/>
              <a:gd name="T75" fmla="*/ 373 h 512"/>
              <a:gd name="T76" fmla="*/ 149 w 512"/>
              <a:gd name="T77" fmla="*/ 373 h 512"/>
              <a:gd name="T78" fmla="*/ 138 w 512"/>
              <a:gd name="T79" fmla="*/ 362 h 512"/>
              <a:gd name="T80" fmla="*/ 138 w 512"/>
              <a:gd name="T81" fmla="*/ 298 h 512"/>
              <a:gd name="T82" fmla="*/ 149 w 512"/>
              <a:gd name="T83" fmla="*/ 288 h 512"/>
              <a:gd name="T84" fmla="*/ 160 w 512"/>
              <a:gd name="T85" fmla="*/ 298 h 512"/>
              <a:gd name="T86" fmla="*/ 160 w 512"/>
              <a:gd name="T87" fmla="*/ 352 h 512"/>
              <a:gd name="T88" fmla="*/ 352 w 512"/>
              <a:gd name="T89" fmla="*/ 352 h 512"/>
              <a:gd name="T90" fmla="*/ 352 w 512"/>
              <a:gd name="T91" fmla="*/ 298 h 512"/>
              <a:gd name="T92" fmla="*/ 362 w 512"/>
              <a:gd name="T93" fmla="*/ 288 h 512"/>
              <a:gd name="T94" fmla="*/ 373 w 512"/>
              <a:gd name="T95" fmla="*/ 298 h 512"/>
              <a:gd name="T96" fmla="*/ 373 w 512"/>
              <a:gd name="T9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6" y="152"/>
                </a:moveTo>
                <a:cubicBezTo>
                  <a:pt x="208" y="146"/>
                  <a:pt x="214" y="143"/>
                  <a:pt x="220" y="145"/>
                </a:cubicBezTo>
                <a:cubicBezTo>
                  <a:pt x="340" y="189"/>
                  <a:pt x="340" y="189"/>
                  <a:pt x="340" y="189"/>
                </a:cubicBezTo>
                <a:cubicBezTo>
                  <a:pt x="346" y="191"/>
                  <a:pt x="349" y="197"/>
                  <a:pt x="347" y="202"/>
                </a:cubicBezTo>
                <a:cubicBezTo>
                  <a:pt x="345" y="207"/>
                  <a:pt x="341" y="209"/>
                  <a:pt x="337" y="209"/>
                </a:cubicBezTo>
                <a:cubicBezTo>
                  <a:pt x="336" y="209"/>
                  <a:pt x="334" y="209"/>
                  <a:pt x="333" y="209"/>
                </a:cubicBezTo>
                <a:cubicBezTo>
                  <a:pt x="213" y="166"/>
                  <a:pt x="213" y="166"/>
                  <a:pt x="213" y="166"/>
                </a:cubicBezTo>
                <a:cubicBezTo>
                  <a:pt x="207" y="164"/>
                  <a:pt x="204" y="157"/>
                  <a:pt x="206" y="152"/>
                </a:cubicBezTo>
                <a:close/>
                <a:moveTo>
                  <a:pt x="190" y="209"/>
                </a:moveTo>
                <a:cubicBezTo>
                  <a:pt x="191" y="203"/>
                  <a:pt x="196" y="199"/>
                  <a:pt x="202" y="201"/>
                </a:cubicBezTo>
                <a:cubicBezTo>
                  <a:pt x="328" y="226"/>
                  <a:pt x="328" y="226"/>
                  <a:pt x="328" y="226"/>
                </a:cubicBezTo>
                <a:cubicBezTo>
                  <a:pt x="333" y="227"/>
                  <a:pt x="337" y="233"/>
                  <a:pt x="336" y="239"/>
                </a:cubicBezTo>
                <a:cubicBezTo>
                  <a:pt x="335" y="244"/>
                  <a:pt x="330" y="247"/>
                  <a:pt x="325" y="247"/>
                </a:cubicBezTo>
                <a:cubicBezTo>
                  <a:pt x="325" y="247"/>
                  <a:pt x="324" y="247"/>
                  <a:pt x="323" y="247"/>
                </a:cubicBezTo>
                <a:cubicBezTo>
                  <a:pt x="198" y="221"/>
                  <a:pt x="198" y="221"/>
                  <a:pt x="198" y="221"/>
                </a:cubicBezTo>
                <a:cubicBezTo>
                  <a:pt x="192" y="220"/>
                  <a:pt x="188" y="215"/>
                  <a:pt x="190" y="209"/>
                </a:cubicBezTo>
                <a:close/>
                <a:moveTo>
                  <a:pt x="193" y="254"/>
                </a:moveTo>
                <a:cubicBezTo>
                  <a:pt x="321" y="266"/>
                  <a:pt x="321" y="266"/>
                  <a:pt x="321" y="266"/>
                </a:cubicBezTo>
                <a:cubicBezTo>
                  <a:pt x="327" y="267"/>
                  <a:pt x="331" y="272"/>
                  <a:pt x="330" y="278"/>
                </a:cubicBezTo>
                <a:cubicBezTo>
                  <a:pt x="330" y="284"/>
                  <a:pt x="325" y="288"/>
                  <a:pt x="320" y="288"/>
                </a:cubicBezTo>
                <a:cubicBezTo>
                  <a:pt x="319" y="288"/>
                  <a:pt x="319" y="288"/>
                  <a:pt x="319" y="288"/>
                </a:cubicBezTo>
                <a:cubicBezTo>
                  <a:pt x="191" y="275"/>
                  <a:pt x="191" y="275"/>
                  <a:pt x="191" y="275"/>
                </a:cubicBezTo>
                <a:cubicBezTo>
                  <a:pt x="185" y="274"/>
                  <a:pt x="181" y="269"/>
                  <a:pt x="182" y="263"/>
                </a:cubicBezTo>
                <a:cubicBezTo>
                  <a:pt x="182" y="257"/>
                  <a:pt x="187" y="253"/>
                  <a:pt x="193" y="254"/>
                </a:cubicBezTo>
                <a:close/>
                <a:moveTo>
                  <a:pt x="192" y="309"/>
                </a:moveTo>
                <a:cubicBezTo>
                  <a:pt x="320" y="309"/>
                  <a:pt x="320" y="309"/>
                  <a:pt x="320" y="309"/>
                </a:cubicBezTo>
                <a:cubicBezTo>
                  <a:pt x="326" y="309"/>
                  <a:pt x="330" y="314"/>
                  <a:pt x="330" y="320"/>
                </a:cubicBezTo>
                <a:cubicBezTo>
                  <a:pt x="330" y="326"/>
                  <a:pt x="326" y="330"/>
                  <a:pt x="320" y="330"/>
                </a:cubicBezTo>
                <a:cubicBezTo>
                  <a:pt x="192" y="330"/>
                  <a:pt x="192" y="330"/>
                  <a:pt x="192" y="330"/>
                </a:cubicBezTo>
                <a:cubicBezTo>
                  <a:pt x="186" y="330"/>
                  <a:pt x="181" y="326"/>
                  <a:pt x="181" y="320"/>
                </a:cubicBezTo>
                <a:cubicBezTo>
                  <a:pt x="181" y="314"/>
                  <a:pt x="186" y="309"/>
                  <a:pt x="192" y="309"/>
                </a:cubicBezTo>
                <a:close/>
                <a:moveTo>
                  <a:pt x="373" y="362"/>
                </a:moveTo>
                <a:cubicBezTo>
                  <a:pt x="373" y="368"/>
                  <a:pt x="368" y="373"/>
                  <a:pt x="362"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52"/>
                  <a:pt x="160" y="352"/>
                  <a:pt x="160" y="352"/>
                </a:cubicBezTo>
                <a:cubicBezTo>
                  <a:pt x="352" y="352"/>
                  <a:pt x="352" y="352"/>
                  <a:pt x="352" y="352"/>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6" name="Freeform 914">
            <a:extLst>
              <a:ext uri="{FF2B5EF4-FFF2-40B4-BE49-F238E27FC236}">
                <a16:creationId xmlns:a16="http://schemas.microsoft.com/office/drawing/2014/main" id="{8BAAA741-4B33-CF40-92A1-CE3A29B6B294}"/>
              </a:ext>
            </a:extLst>
          </p:cNvPr>
          <p:cNvSpPr>
            <a:spLocks noChangeAspect="1" noEditPoints="1"/>
          </p:cNvSpPr>
          <p:nvPr/>
        </p:nvSpPr>
        <p:spPr bwMode="auto">
          <a:xfrm>
            <a:off x="5595671" y="3000306"/>
            <a:ext cx="275127" cy="274320"/>
          </a:xfrm>
          <a:custGeom>
            <a:avLst/>
            <a:gdLst>
              <a:gd name="T0" fmla="*/ 192 w 512"/>
              <a:gd name="T1" fmla="*/ 224 h 512"/>
              <a:gd name="T2" fmla="*/ 352 w 512"/>
              <a:gd name="T3" fmla="*/ 224 h 512"/>
              <a:gd name="T4" fmla="*/ 352 w 512"/>
              <a:gd name="T5" fmla="*/ 352 h 512"/>
              <a:gd name="T6" fmla="*/ 117 w 512"/>
              <a:gd name="T7" fmla="*/ 352 h 512"/>
              <a:gd name="T8" fmla="*/ 117 w 512"/>
              <a:gd name="T9" fmla="*/ 202 h 512"/>
              <a:gd name="T10" fmla="*/ 174 w 512"/>
              <a:gd name="T11" fmla="*/ 202 h 512"/>
              <a:gd name="T12" fmla="*/ 182 w 512"/>
              <a:gd name="T13" fmla="*/ 218 h 512"/>
              <a:gd name="T14" fmla="*/ 192 w 512"/>
              <a:gd name="T15" fmla="*/ 224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213 h 512"/>
              <a:gd name="T28" fmla="*/ 362 w 512"/>
              <a:gd name="T29" fmla="*/ 202 h 512"/>
              <a:gd name="T30" fmla="*/ 198 w 512"/>
              <a:gd name="T31" fmla="*/ 202 h 512"/>
              <a:gd name="T32" fmla="*/ 191 w 512"/>
              <a:gd name="T33" fmla="*/ 187 h 512"/>
              <a:gd name="T34" fmla="*/ 181 w 512"/>
              <a:gd name="T35" fmla="*/ 181 h 512"/>
              <a:gd name="T36" fmla="*/ 106 w 512"/>
              <a:gd name="T37" fmla="*/ 181 h 512"/>
              <a:gd name="T38" fmla="*/ 96 w 512"/>
              <a:gd name="T39" fmla="*/ 192 h 512"/>
              <a:gd name="T40" fmla="*/ 96 w 512"/>
              <a:gd name="T41" fmla="*/ 362 h 512"/>
              <a:gd name="T42" fmla="*/ 106 w 512"/>
              <a:gd name="T43" fmla="*/ 373 h 512"/>
              <a:gd name="T44" fmla="*/ 362 w 512"/>
              <a:gd name="T45" fmla="*/ 373 h 512"/>
              <a:gd name="T46" fmla="*/ 373 w 512"/>
              <a:gd name="T47" fmla="*/ 362 h 512"/>
              <a:gd name="T48" fmla="*/ 373 w 512"/>
              <a:gd name="T49" fmla="*/ 213 h 512"/>
              <a:gd name="T50" fmla="*/ 416 w 512"/>
              <a:gd name="T51" fmla="*/ 170 h 512"/>
              <a:gd name="T52" fmla="*/ 405 w 512"/>
              <a:gd name="T53" fmla="*/ 160 h 512"/>
              <a:gd name="T54" fmla="*/ 241 w 512"/>
              <a:gd name="T55" fmla="*/ 160 h 512"/>
              <a:gd name="T56" fmla="*/ 233 w 512"/>
              <a:gd name="T57" fmla="*/ 144 h 512"/>
              <a:gd name="T58" fmla="*/ 224 w 512"/>
              <a:gd name="T59" fmla="*/ 138 h 512"/>
              <a:gd name="T60" fmla="*/ 149 w 512"/>
              <a:gd name="T61" fmla="*/ 138 h 512"/>
              <a:gd name="T62" fmla="*/ 138 w 512"/>
              <a:gd name="T63" fmla="*/ 149 h 512"/>
              <a:gd name="T64" fmla="*/ 149 w 512"/>
              <a:gd name="T65" fmla="*/ 160 h 512"/>
              <a:gd name="T66" fmla="*/ 217 w 512"/>
              <a:gd name="T67" fmla="*/ 160 h 512"/>
              <a:gd name="T68" fmla="*/ 225 w 512"/>
              <a:gd name="T69" fmla="*/ 175 h 512"/>
              <a:gd name="T70" fmla="*/ 234 w 512"/>
              <a:gd name="T71" fmla="*/ 181 h 512"/>
              <a:gd name="T72" fmla="*/ 394 w 512"/>
              <a:gd name="T73" fmla="*/ 181 h 512"/>
              <a:gd name="T74" fmla="*/ 394 w 512"/>
              <a:gd name="T75" fmla="*/ 320 h 512"/>
              <a:gd name="T76" fmla="*/ 405 w 512"/>
              <a:gd name="T77" fmla="*/ 330 h 512"/>
              <a:gd name="T78" fmla="*/ 416 w 512"/>
              <a:gd name="T79" fmla="*/ 320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92" y="224"/>
                </a:moveTo>
                <a:cubicBezTo>
                  <a:pt x="352" y="224"/>
                  <a:pt x="352" y="224"/>
                  <a:pt x="352" y="224"/>
                </a:cubicBezTo>
                <a:cubicBezTo>
                  <a:pt x="352" y="352"/>
                  <a:pt x="352" y="352"/>
                  <a:pt x="352" y="352"/>
                </a:cubicBezTo>
                <a:cubicBezTo>
                  <a:pt x="117" y="352"/>
                  <a:pt x="117" y="352"/>
                  <a:pt x="117" y="352"/>
                </a:cubicBezTo>
                <a:cubicBezTo>
                  <a:pt x="117" y="202"/>
                  <a:pt x="117" y="202"/>
                  <a:pt x="117" y="202"/>
                </a:cubicBezTo>
                <a:cubicBezTo>
                  <a:pt x="174" y="202"/>
                  <a:pt x="174" y="202"/>
                  <a:pt x="174" y="202"/>
                </a:cubicBezTo>
                <a:cubicBezTo>
                  <a:pt x="182" y="218"/>
                  <a:pt x="182" y="218"/>
                  <a:pt x="182" y="218"/>
                </a:cubicBezTo>
                <a:cubicBezTo>
                  <a:pt x="184" y="221"/>
                  <a:pt x="188" y="224"/>
                  <a:pt x="192"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198" y="202"/>
                  <a:pt x="198" y="202"/>
                  <a:pt x="198" y="202"/>
                </a:cubicBezTo>
                <a:cubicBezTo>
                  <a:pt x="191" y="187"/>
                  <a:pt x="191" y="187"/>
                  <a:pt x="191" y="187"/>
                </a:cubicBezTo>
                <a:cubicBezTo>
                  <a:pt x="189" y="183"/>
                  <a:pt x="185" y="181"/>
                  <a:pt x="181"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362" y="373"/>
                  <a:pt x="362" y="373"/>
                  <a:pt x="362" y="373"/>
                </a:cubicBezTo>
                <a:cubicBezTo>
                  <a:pt x="368" y="373"/>
                  <a:pt x="373" y="368"/>
                  <a:pt x="373" y="362"/>
                </a:cubicBezTo>
                <a:lnTo>
                  <a:pt x="373" y="213"/>
                </a:lnTo>
                <a:close/>
                <a:moveTo>
                  <a:pt x="416" y="170"/>
                </a:moveTo>
                <a:cubicBezTo>
                  <a:pt x="416" y="164"/>
                  <a:pt x="411" y="160"/>
                  <a:pt x="405" y="160"/>
                </a:cubicBezTo>
                <a:cubicBezTo>
                  <a:pt x="241" y="160"/>
                  <a:pt x="241" y="160"/>
                  <a:pt x="241" y="160"/>
                </a:cubicBezTo>
                <a:cubicBezTo>
                  <a:pt x="233" y="144"/>
                  <a:pt x="233" y="144"/>
                  <a:pt x="233" y="144"/>
                </a:cubicBezTo>
                <a:cubicBezTo>
                  <a:pt x="231" y="141"/>
                  <a:pt x="228" y="138"/>
                  <a:pt x="224" y="138"/>
                </a:cubicBezTo>
                <a:cubicBezTo>
                  <a:pt x="149" y="138"/>
                  <a:pt x="149" y="138"/>
                  <a:pt x="149" y="138"/>
                </a:cubicBezTo>
                <a:cubicBezTo>
                  <a:pt x="143" y="138"/>
                  <a:pt x="138" y="143"/>
                  <a:pt x="138" y="149"/>
                </a:cubicBezTo>
                <a:cubicBezTo>
                  <a:pt x="138" y="155"/>
                  <a:pt x="143" y="160"/>
                  <a:pt x="149" y="160"/>
                </a:cubicBezTo>
                <a:cubicBezTo>
                  <a:pt x="217" y="160"/>
                  <a:pt x="217" y="160"/>
                  <a:pt x="217" y="160"/>
                </a:cubicBezTo>
                <a:cubicBezTo>
                  <a:pt x="225" y="175"/>
                  <a:pt x="225" y="175"/>
                  <a:pt x="225" y="175"/>
                </a:cubicBezTo>
                <a:cubicBezTo>
                  <a:pt x="227" y="179"/>
                  <a:pt x="230" y="181"/>
                  <a:pt x="234" y="181"/>
                </a:cubicBezTo>
                <a:cubicBezTo>
                  <a:pt x="394" y="181"/>
                  <a:pt x="394" y="181"/>
                  <a:pt x="394" y="181"/>
                </a:cubicBezTo>
                <a:cubicBezTo>
                  <a:pt x="394" y="320"/>
                  <a:pt x="394" y="320"/>
                  <a:pt x="394" y="320"/>
                </a:cubicBezTo>
                <a:cubicBezTo>
                  <a:pt x="394" y="326"/>
                  <a:pt x="399" y="330"/>
                  <a:pt x="405" y="330"/>
                </a:cubicBezTo>
                <a:cubicBezTo>
                  <a:pt x="411" y="330"/>
                  <a:pt x="416" y="326"/>
                  <a:pt x="416" y="320"/>
                </a:cubicBezTo>
                <a:lnTo>
                  <a:pt x="416" y="1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7" name="Group 91">
            <a:extLst>
              <a:ext uri="{FF2B5EF4-FFF2-40B4-BE49-F238E27FC236}">
                <a16:creationId xmlns:a16="http://schemas.microsoft.com/office/drawing/2014/main" id="{4E453AF6-F055-CD4E-BFB6-A4F3E4A4A544}"/>
              </a:ext>
            </a:extLst>
          </p:cNvPr>
          <p:cNvGrpSpPr>
            <a:grpSpLocks noChangeAspect="1"/>
          </p:cNvGrpSpPr>
          <p:nvPr/>
        </p:nvGrpSpPr>
        <p:grpSpPr bwMode="auto">
          <a:xfrm>
            <a:off x="6000712" y="2989114"/>
            <a:ext cx="274320" cy="274320"/>
            <a:chOff x="5088" y="2680"/>
            <a:chExt cx="340" cy="340"/>
          </a:xfrm>
          <a:solidFill>
            <a:srgbClr val="009A44"/>
          </a:solidFill>
        </p:grpSpPr>
        <p:sp>
          <p:nvSpPr>
            <p:cNvPr id="128" name="Freeform 634">
              <a:extLst>
                <a:ext uri="{FF2B5EF4-FFF2-40B4-BE49-F238E27FC236}">
                  <a16:creationId xmlns:a16="http://schemas.microsoft.com/office/drawing/2014/main" id="{49DD026A-F97E-3348-A09F-CCCDFDB76EAD}"/>
                </a:ext>
              </a:extLst>
            </p:cNvPr>
            <p:cNvSpPr>
              <a:spLocks/>
            </p:cNvSpPr>
            <p:nvPr/>
          </p:nvSpPr>
          <p:spPr bwMode="auto">
            <a:xfrm>
              <a:off x="5201" y="2807"/>
              <a:ext cx="85" cy="128"/>
            </a:xfrm>
            <a:custGeom>
              <a:avLst/>
              <a:gdLst>
                <a:gd name="T0" fmla="*/ 75 w 128"/>
                <a:gd name="T1" fmla="*/ 42 h 192"/>
                <a:gd name="T2" fmla="*/ 75 w 128"/>
                <a:gd name="T3" fmla="*/ 0 h 192"/>
                <a:gd name="T4" fmla="*/ 0 w 128"/>
                <a:gd name="T5" fmla="*/ 0 h 192"/>
                <a:gd name="T6" fmla="*/ 0 w 128"/>
                <a:gd name="T7" fmla="*/ 192 h 192"/>
                <a:gd name="T8" fmla="*/ 128 w 128"/>
                <a:gd name="T9" fmla="*/ 192 h 192"/>
                <a:gd name="T10" fmla="*/ 128 w 128"/>
                <a:gd name="T11" fmla="*/ 53 h 192"/>
                <a:gd name="T12" fmla="*/ 86 w 128"/>
                <a:gd name="T13" fmla="*/ 53 h 192"/>
                <a:gd name="T14" fmla="*/ 75 w 128"/>
                <a:gd name="T15" fmla="*/ 42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92">
                  <a:moveTo>
                    <a:pt x="75" y="42"/>
                  </a:moveTo>
                  <a:cubicBezTo>
                    <a:pt x="75" y="0"/>
                    <a:pt x="75" y="0"/>
                    <a:pt x="75" y="0"/>
                  </a:cubicBezTo>
                  <a:cubicBezTo>
                    <a:pt x="0" y="0"/>
                    <a:pt x="0" y="0"/>
                    <a:pt x="0" y="0"/>
                  </a:cubicBezTo>
                  <a:cubicBezTo>
                    <a:pt x="0" y="192"/>
                    <a:pt x="0" y="192"/>
                    <a:pt x="0" y="192"/>
                  </a:cubicBezTo>
                  <a:cubicBezTo>
                    <a:pt x="128" y="192"/>
                    <a:pt x="128" y="192"/>
                    <a:pt x="128" y="192"/>
                  </a:cubicBezTo>
                  <a:cubicBezTo>
                    <a:pt x="128" y="53"/>
                    <a:pt x="128" y="53"/>
                    <a:pt x="128" y="53"/>
                  </a:cubicBezTo>
                  <a:cubicBezTo>
                    <a:pt x="86" y="53"/>
                    <a:pt x="86" y="53"/>
                    <a:pt x="86" y="53"/>
                  </a:cubicBezTo>
                  <a:cubicBezTo>
                    <a:pt x="80" y="53"/>
                    <a:pt x="75" y="48"/>
                    <a:pt x="75" y="4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9" name="Freeform 635">
              <a:extLst>
                <a:ext uri="{FF2B5EF4-FFF2-40B4-BE49-F238E27FC236}">
                  <a16:creationId xmlns:a16="http://schemas.microsoft.com/office/drawing/2014/main" id="{682A59C6-3DAB-054C-A3BC-E03677008F1C}"/>
                </a:ext>
              </a:extLst>
            </p:cNvPr>
            <p:cNvSpPr>
              <a:spLocks/>
            </p:cNvSpPr>
            <p:nvPr/>
          </p:nvSpPr>
          <p:spPr bwMode="auto">
            <a:xfrm>
              <a:off x="5265" y="2817"/>
              <a:ext cx="12" cy="12"/>
            </a:xfrm>
            <a:custGeom>
              <a:avLst/>
              <a:gdLst>
                <a:gd name="T0" fmla="*/ 0 w 12"/>
                <a:gd name="T1" fmla="*/ 12 h 12"/>
                <a:gd name="T2" fmla="*/ 12 w 12"/>
                <a:gd name="T3" fmla="*/ 12 h 12"/>
                <a:gd name="T4" fmla="*/ 0 w 12"/>
                <a:gd name="T5" fmla="*/ 0 h 12"/>
                <a:gd name="T6" fmla="*/ 0 w 12"/>
                <a:gd name="T7" fmla="*/ 12 h 12"/>
              </a:gdLst>
              <a:ahLst/>
              <a:cxnLst>
                <a:cxn ang="0">
                  <a:pos x="T0" y="T1"/>
                </a:cxn>
                <a:cxn ang="0">
                  <a:pos x="T2" y="T3"/>
                </a:cxn>
                <a:cxn ang="0">
                  <a:pos x="T4" y="T5"/>
                </a:cxn>
                <a:cxn ang="0">
                  <a:pos x="T6" y="T7"/>
                </a:cxn>
              </a:cxnLst>
              <a:rect l="0" t="0" r="r" b="b"/>
              <a:pathLst>
                <a:path w="12" h="12">
                  <a:moveTo>
                    <a:pt x="0" y="12"/>
                  </a:moveTo>
                  <a:lnTo>
                    <a:pt x="12" y="12"/>
                  </a:lnTo>
                  <a:lnTo>
                    <a:pt x="0" y="0"/>
                  </a:lnTo>
                  <a:lnTo>
                    <a:pt x="0" y="1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0" name="Freeform 636">
              <a:extLst>
                <a:ext uri="{FF2B5EF4-FFF2-40B4-BE49-F238E27FC236}">
                  <a16:creationId xmlns:a16="http://schemas.microsoft.com/office/drawing/2014/main" id="{B14C541A-9DF2-A04D-9088-5D2B6195CEE1}"/>
                </a:ext>
              </a:extLst>
            </p:cNvPr>
            <p:cNvSpPr>
              <a:spLocks/>
            </p:cNvSpPr>
            <p:nvPr/>
          </p:nvSpPr>
          <p:spPr bwMode="auto">
            <a:xfrm>
              <a:off x="5314" y="2774"/>
              <a:ext cx="12" cy="12"/>
            </a:xfrm>
            <a:custGeom>
              <a:avLst/>
              <a:gdLst>
                <a:gd name="T0" fmla="*/ 0 w 12"/>
                <a:gd name="T1" fmla="*/ 0 h 12"/>
                <a:gd name="T2" fmla="*/ 0 w 12"/>
                <a:gd name="T3" fmla="*/ 12 h 12"/>
                <a:gd name="T4" fmla="*/ 12 w 12"/>
                <a:gd name="T5" fmla="*/ 12 h 12"/>
                <a:gd name="T6" fmla="*/ 0 w 12"/>
                <a:gd name="T7" fmla="*/ 0 h 12"/>
              </a:gdLst>
              <a:ahLst/>
              <a:cxnLst>
                <a:cxn ang="0">
                  <a:pos x="T0" y="T1"/>
                </a:cxn>
                <a:cxn ang="0">
                  <a:pos x="T2" y="T3"/>
                </a:cxn>
                <a:cxn ang="0">
                  <a:pos x="T4" y="T5"/>
                </a:cxn>
                <a:cxn ang="0">
                  <a:pos x="T6" y="T7"/>
                </a:cxn>
              </a:cxnLst>
              <a:rect l="0" t="0" r="r" b="b"/>
              <a:pathLst>
                <a:path w="12" h="12">
                  <a:moveTo>
                    <a:pt x="0" y="0"/>
                  </a:moveTo>
                  <a:lnTo>
                    <a:pt x="0" y="12"/>
                  </a:lnTo>
                  <a:lnTo>
                    <a:pt x="12" y="12"/>
                  </a:lnTo>
                  <a:lnTo>
                    <a:pt x="0" y="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1" name="Freeform 637">
              <a:extLst>
                <a:ext uri="{FF2B5EF4-FFF2-40B4-BE49-F238E27FC236}">
                  <a16:creationId xmlns:a16="http://schemas.microsoft.com/office/drawing/2014/main" id="{39CF54B6-7651-0E4F-B3E0-5ACB380EE255}"/>
                </a:ext>
              </a:extLst>
            </p:cNvPr>
            <p:cNvSpPr>
              <a:spLocks/>
            </p:cNvSpPr>
            <p:nvPr/>
          </p:nvSpPr>
          <p:spPr bwMode="auto">
            <a:xfrm>
              <a:off x="5251" y="2765"/>
              <a:ext cx="85" cy="127"/>
            </a:xfrm>
            <a:custGeom>
              <a:avLst/>
              <a:gdLst>
                <a:gd name="T0" fmla="*/ 75 w 128"/>
                <a:gd name="T1" fmla="*/ 42 h 192"/>
                <a:gd name="T2" fmla="*/ 75 w 128"/>
                <a:gd name="T3" fmla="*/ 0 h 192"/>
                <a:gd name="T4" fmla="*/ 0 w 128"/>
                <a:gd name="T5" fmla="*/ 0 h 192"/>
                <a:gd name="T6" fmla="*/ 0 w 128"/>
                <a:gd name="T7" fmla="*/ 42 h 192"/>
                <a:gd name="T8" fmla="*/ 12 w 128"/>
                <a:gd name="T9" fmla="*/ 42 h 192"/>
                <a:gd name="T10" fmla="*/ 19 w 128"/>
                <a:gd name="T11" fmla="*/ 45 h 192"/>
                <a:gd name="T12" fmla="*/ 71 w 128"/>
                <a:gd name="T13" fmla="*/ 98 h 192"/>
                <a:gd name="T14" fmla="*/ 73 w 128"/>
                <a:gd name="T15" fmla="*/ 101 h 192"/>
                <a:gd name="T16" fmla="*/ 75 w 128"/>
                <a:gd name="T17" fmla="*/ 106 h 192"/>
                <a:gd name="T18" fmla="*/ 75 w 128"/>
                <a:gd name="T19" fmla="*/ 192 h 192"/>
                <a:gd name="T20" fmla="*/ 128 w 128"/>
                <a:gd name="T21" fmla="*/ 192 h 192"/>
                <a:gd name="T22" fmla="*/ 128 w 128"/>
                <a:gd name="T23" fmla="*/ 53 h 192"/>
                <a:gd name="T24" fmla="*/ 85 w 128"/>
                <a:gd name="T25" fmla="*/ 53 h 192"/>
                <a:gd name="T26" fmla="*/ 75 w 128"/>
                <a:gd name="T27" fmla="*/ 4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92">
                  <a:moveTo>
                    <a:pt x="75" y="42"/>
                  </a:moveTo>
                  <a:cubicBezTo>
                    <a:pt x="75" y="0"/>
                    <a:pt x="75" y="0"/>
                    <a:pt x="75" y="0"/>
                  </a:cubicBezTo>
                  <a:cubicBezTo>
                    <a:pt x="0" y="0"/>
                    <a:pt x="0" y="0"/>
                    <a:pt x="0" y="0"/>
                  </a:cubicBezTo>
                  <a:cubicBezTo>
                    <a:pt x="0" y="42"/>
                    <a:pt x="0" y="42"/>
                    <a:pt x="0" y="42"/>
                  </a:cubicBezTo>
                  <a:cubicBezTo>
                    <a:pt x="12" y="42"/>
                    <a:pt x="12" y="42"/>
                    <a:pt x="12" y="42"/>
                  </a:cubicBezTo>
                  <a:cubicBezTo>
                    <a:pt x="15" y="42"/>
                    <a:pt x="17" y="43"/>
                    <a:pt x="19" y="45"/>
                  </a:cubicBezTo>
                  <a:cubicBezTo>
                    <a:pt x="71" y="98"/>
                    <a:pt x="71" y="98"/>
                    <a:pt x="71" y="98"/>
                  </a:cubicBezTo>
                  <a:cubicBezTo>
                    <a:pt x="72" y="99"/>
                    <a:pt x="73" y="100"/>
                    <a:pt x="73" y="101"/>
                  </a:cubicBezTo>
                  <a:cubicBezTo>
                    <a:pt x="74" y="103"/>
                    <a:pt x="75" y="104"/>
                    <a:pt x="75" y="106"/>
                  </a:cubicBezTo>
                  <a:cubicBezTo>
                    <a:pt x="75" y="192"/>
                    <a:pt x="75" y="192"/>
                    <a:pt x="75" y="192"/>
                  </a:cubicBezTo>
                  <a:cubicBezTo>
                    <a:pt x="128" y="192"/>
                    <a:pt x="128" y="192"/>
                    <a:pt x="128" y="192"/>
                  </a:cubicBezTo>
                  <a:cubicBezTo>
                    <a:pt x="128" y="53"/>
                    <a:pt x="128" y="53"/>
                    <a:pt x="128" y="53"/>
                  </a:cubicBezTo>
                  <a:cubicBezTo>
                    <a:pt x="85" y="53"/>
                    <a:pt x="85" y="53"/>
                    <a:pt x="85" y="53"/>
                  </a:cubicBezTo>
                  <a:cubicBezTo>
                    <a:pt x="79" y="53"/>
                    <a:pt x="75" y="48"/>
                    <a:pt x="75" y="4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638">
              <a:extLst>
                <a:ext uri="{FF2B5EF4-FFF2-40B4-BE49-F238E27FC236}">
                  <a16:creationId xmlns:a16="http://schemas.microsoft.com/office/drawing/2014/main" id="{4F9D31F9-C92B-C042-92DF-F2BA5F639B3E}"/>
                </a:ext>
              </a:extLst>
            </p:cNvPr>
            <p:cNvSpPr>
              <a:spLocks noEditPoints="1"/>
            </p:cNvSpPr>
            <p:nvPr/>
          </p:nvSpPr>
          <p:spPr bwMode="auto">
            <a:xfrm>
              <a:off x="5088" y="268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30 h 512"/>
                <a:gd name="T12" fmla="*/ 384 w 512"/>
                <a:gd name="T13" fmla="*/ 341 h 512"/>
                <a:gd name="T14" fmla="*/ 320 w 512"/>
                <a:gd name="T15" fmla="*/ 341 h 512"/>
                <a:gd name="T16" fmla="*/ 320 w 512"/>
                <a:gd name="T17" fmla="*/ 394 h 512"/>
                <a:gd name="T18" fmla="*/ 309 w 512"/>
                <a:gd name="T19" fmla="*/ 405 h 512"/>
                <a:gd name="T20" fmla="*/ 160 w 512"/>
                <a:gd name="T21" fmla="*/ 405 h 512"/>
                <a:gd name="T22" fmla="*/ 149 w 512"/>
                <a:gd name="T23" fmla="*/ 394 h 512"/>
                <a:gd name="T24" fmla="*/ 149 w 512"/>
                <a:gd name="T25" fmla="*/ 181 h 512"/>
                <a:gd name="T26" fmla="*/ 160 w 512"/>
                <a:gd name="T27" fmla="*/ 170 h 512"/>
                <a:gd name="T28" fmla="*/ 224 w 512"/>
                <a:gd name="T29" fmla="*/ 170 h 512"/>
                <a:gd name="T30" fmla="*/ 224 w 512"/>
                <a:gd name="T31" fmla="*/ 117 h 512"/>
                <a:gd name="T32" fmla="*/ 234 w 512"/>
                <a:gd name="T33" fmla="*/ 106 h 512"/>
                <a:gd name="T34" fmla="*/ 331 w 512"/>
                <a:gd name="T35" fmla="*/ 106 h 512"/>
                <a:gd name="T36" fmla="*/ 339 w 512"/>
                <a:gd name="T37" fmla="*/ 109 h 512"/>
                <a:gd name="T38" fmla="*/ 391 w 512"/>
                <a:gd name="T39" fmla="*/ 162 h 512"/>
                <a:gd name="T40" fmla="*/ 393 w 512"/>
                <a:gd name="T41" fmla="*/ 166 h 512"/>
                <a:gd name="T42" fmla="*/ 394 w 512"/>
                <a:gd name="T43" fmla="*/ 170 h 512"/>
                <a:gd name="T44" fmla="*/ 394 w 512"/>
                <a:gd name="T4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30"/>
                  </a:moveTo>
                  <a:cubicBezTo>
                    <a:pt x="394" y="336"/>
                    <a:pt x="390" y="341"/>
                    <a:pt x="384" y="341"/>
                  </a:cubicBezTo>
                  <a:cubicBezTo>
                    <a:pt x="320" y="341"/>
                    <a:pt x="320" y="341"/>
                    <a:pt x="320" y="341"/>
                  </a:cubicBezTo>
                  <a:cubicBezTo>
                    <a:pt x="320" y="394"/>
                    <a:pt x="320" y="394"/>
                    <a:pt x="320" y="394"/>
                  </a:cubicBezTo>
                  <a:cubicBezTo>
                    <a:pt x="320" y="400"/>
                    <a:pt x="315" y="405"/>
                    <a:pt x="309" y="405"/>
                  </a:cubicBezTo>
                  <a:cubicBezTo>
                    <a:pt x="160" y="405"/>
                    <a:pt x="160" y="405"/>
                    <a:pt x="160" y="405"/>
                  </a:cubicBezTo>
                  <a:cubicBezTo>
                    <a:pt x="154" y="405"/>
                    <a:pt x="149" y="400"/>
                    <a:pt x="149" y="394"/>
                  </a:cubicBezTo>
                  <a:cubicBezTo>
                    <a:pt x="149" y="181"/>
                    <a:pt x="149" y="181"/>
                    <a:pt x="149" y="181"/>
                  </a:cubicBezTo>
                  <a:cubicBezTo>
                    <a:pt x="149" y="175"/>
                    <a:pt x="154" y="170"/>
                    <a:pt x="160" y="170"/>
                  </a:cubicBezTo>
                  <a:cubicBezTo>
                    <a:pt x="224" y="170"/>
                    <a:pt x="224" y="170"/>
                    <a:pt x="224" y="170"/>
                  </a:cubicBezTo>
                  <a:cubicBezTo>
                    <a:pt x="224" y="117"/>
                    <a:pt x="224" y="117"/>
                    <a:pt x="224" y="117"/>
                  </a:cubicBezTo>
                  <a:cubicBezTo>
                    <a:pt x="224" y="111"/>
                    <a:pt x="228" y="106"/>
                    <a:pt x="234" y="106"/>
                  </a:cubicBezTo>
                  <a:cubicBezTo>
                    <a:pt x="331" y="106"/>
                    <a:pt x="331" y="106"/>
                    <a:pt x="331" y="106"/>
                  </a:cubicBezTo>
                  <a:cubicBezTo>
                    <a:pt x="334" y="106"/>
                    <a:pt x="337" y="107"/>
                    <a:pt x="339" y="109"/>
                  </a:cubicBezTo>
                  <a:cubicBezTo>
                    <a:pt x="391" y="162"/>
                    <a:pt x="391" y="162"/>
                    <a:pt x="391" y="162"/>
                  </a:cubicBezTo>
                  <a:cubicBezTo>
                    <a:pt x="392" y="163"/>
                    <a:pt x="393" y="164"/>
                    <a:pt x="393" y="166"/>
                  </a:cubicBezTo>
                  <a:cubicBezTo>
                    <a:pt x="394" y="167"/>
                    <a:pt x="394" y="169"/>
                    <a:pt x="394" y="170"/>
                  </a:cubicBezTo>
                  <a:lnTo>
                    <a:pt x="394" y="33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6" name="Freeform 3">
            <a:extLst>
              <a:ext uri="{FF2B5EF4-FFF2-40B4-BE49-F238E27FC236}">
                <a16:creationId xmlns:a16="http://schemas.microsoft.com/office/drawing/2014/main" id="{36F266D8-7708-8F4B-AF16-C6900AB461DC}"/>
              </a:ext>
            </a:extLst>
          </p:cNvPr>
          <p:cNvSpPr>
            <a:spLocks/>
          </p:cNvSpPr>
          <p:nvPr/>
        </p:nvSpPr>
        <p:spPr bwMode="gray">
          <a:xfrm flipH="1">
            <a:off x="2281186" y="2437129"/>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97" name="Freeform 7">
            <a:extLst>
              <a:ext uri="{FF2B5EF4-FFF2-40B4-BE49-F238E27FC236}">
                <a16:creationId xmlns:a16="http://schemas.microsoft.com/office/drawing/2014/main" id="{F0325515-454B-3845-B4F8-7DF44FACB34E}"/>
              </a:ext>
            </a:extLst>
          </p:cNvPr>
          <p:cNvSpPr>
            <a:spLocks/>
          </p:cNvSpPr>
          <p:nvPr/>
        </p:nvSpPr>
        <p:spPr bwMode="gray">
          <a:xfrm flipH="1">
            <a:off x="2281186" y="2847249"/>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98" name="Freeform 11">
            <a:extLst>
              <a:ext uri="{FF2B5EF4-FFF2-40B4-BE49-F238E27FC236}">
                <a16:creationId xmlns:a16="http://schemas.microsoft.com/office/drawing/2014/main" id="{AA104989-93D3-7145-83B2-C316A40F0683}"/>
              </a:ext>
            </a:extLst>
          </p:cNvPr>
          <p:cNvSpPr>
            <a:spLocks/>
          </p:cNvSpPr>
          <p:nvPr/>
        </p:nvSpPr>
        <p:spPr bwMode="gray">
          <a:xfrm flipH="1">
            <a:off x="2281186" y="3690372"/>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99" name="Freeform 3">
            <a:extLst>
              <a:ext uri="{FF2B5EF4-FFF2-40B4-BE49-F238E27FC236}">
                <a16:creationId xmlns:a16="http://schemas.microsoft.com/office/drawing/2014/main" id="{95E2E394-EF6D-994A-ADDF-F1CB9F6716D6}"/>
              </a:ext>
            </a:extLst>
          </p:cNvPr>
          <p:cNvSpPr>
            <a:spLocks/>
          </p:cNvSpPr>
          <p:nvPr/>
        </p:nvSpPr>
        <p:spPr bwMode="gray">
          <a:xfrm flipH="1">
            <a:off x="2281186" y="2019381"/>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100" name="Freeform 11">
            <a:extLst>
              <a:ext uri="{FF2B5EF4-FFF2-40B4-BE49-F238E27FC236}">
                <a16:creationId xmlns:a16="http://schemas.microsoft.com/office/drawing/2014/main" id="{33816057-F5EB-904F-B332-86FC7059EB86}"/>
              </a:ext>
            </a:extLst>
          </p:cNvPr>
          <p:cNvSpPr>
            <a:spLocks/>
          </p:cNvSpPr>
          <p:nvPr/>
        </p:nvSpPr>
        <p:spPr bwMode="gray">
          <a:xfrm flipH="1">
            <a:off x="2281186" y="3272625"/>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Tree>
    <p:custDataLst>
      <p:tags r:id="rId1"/>
    </p:custDataLst>
    <p:extLst>
      <p:ext uri="{BB962C8B-B14F-4D97-AF65-F5344CB8AC3E}">
        <p14:creationId xmlns:p14="http://schemas.microsoft.com/office/powerpoint/2010/main" val="618906710"/>
      </p:ext>
    </p:extLst>
  </p:cSld>
  <p:clrMapOvr>
    <a:masterClrMapping/>
  </p:clrMapOvr>
  <p:transition>
    <p:fade/>
  </p:transition>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a:extLst>
              <a:ext uri="{FF2B5EF4-FFF2-40B4-BE49-F238E27FC236}">
                <a16:creationId xmlns:a16="http://schemas.microsoft.com/office/drawing/2014/main" id="{E8DACF91-ACD5-5347-ABE5-F219113C425E}"/>
              </a:ext>
            </a:extLst>
          </p:cNvPr>
          <p:cNvGrpSpPr/>
          <p:nvPr/>
        </p:nvGrpSpPr>
        <p:grpSpPr>
          <a:xfrm>
            <a:off x="2144857" y="220520"/>
            <a:ext cx="7846586" cy="2843213"/>
            <a:chOff x="574675" y="1790700"/>
            <a:chExt cx="7846586" cy="2843213"/>
          </a:xfrm>
        </p:grpSpPr>
        <p:sp>
          <p:nvSpPr>
            <p:cNvPr id="96" name="Freeform 6">
              <a:extLst>
                <a:ext uri="{FF2B5EF4-FFF2-40B4-BE49-F238E27FC236}">
                  <a16:creationId xmlns:a16="http://schemas.microsoft.com/office/drawing/2014/main" id="{F9740949-8B78-4048-8E55-1EB10B3AA6EA}"/>
                </a:ext>
              </a:extLst>
            </p:cNvPr>
            <p:cNvSpPr>
              <a:spLocks noEditPoints="1"/>
            </p:cNvSpPr>
            <p:nvPr/>
          </p:nvSpPr>
          <p:spPr bwMode="auto">
            <a:xfrm>
              <a:off x="1317625" y="1871663"/>
              <a:ext cx="1393825" cy="1392238"/>
            </a:xfrm>
            <a:custGeom>
              <a:avLst/>
              <a:gdLst>
                <a:gd name="T0" fmla="*/ 378 w 878"/>
                <a:gd name="T1" fmla="*/ 128 h 877"/>
                <a:gd name="T2" fmla="*/ 297 w 878"/>
                <a:gd name="T3" fmla="*/ 183 h 877"/>
                <a:gd name="T4" fmla="*/ 215 w 878"/>
                <a:gd name="T5" fmla="*/ 131 h 877"/>
                <a:gd name="T6" fmla="*/ 133 w 878"/>
                <a:gd name="T7" fmla="*/ 213 h 877"/>
                <a:gd name="T8" fmla="*/ 168 w 878"/>
                <a:gd name="T9" fmla="*/ 324 h 877"/>
                <a:gd name="T10" fmla="*/ 64 w 878"/>
                <a:gd name="T11" fmla="*/ 379 h 877"/>
                <a:gd name="T12" fmla="*/ 58 w 878"/>
                <a:gd name="T13" fmla="*/ 452 h 877"/>
                <a:gd name="T14" fmla="*/ 142 w 878"/>
                <a:gd name="T15" fmla="*/ 500 h 877"/>
                <a:gd name="T16" fmla="*/ 188 w 878"/>
                <a:gd name="T17" fmla="*/ 591 h 877"/>
                <a:gd name="T18" fmla="*/ 134 w 878"/>
                <a:gd name="T19" fmla="*/ 666 h 877"/>
                <a:gd name="T20" fmla="*/ 212 w 878"/>
                <a:gd name="T21" fmla="*/ 740 h 877"/>
                <a:gd name="T22" fmla="*/ 288 w 878"/>
                <a:gd name="T23" fmla="*/ 688 h 877"/>
                <a:gd name="T24" fmla="*/ 377 w 878"/>
                <a:gd name="T25" fmla="*/ 733 h 877"/>
                <a:gd name="T26" fmla="*/ 409 w 878"/>
                <a:gd name="T27" fmla="*/ 816 h 877"/>
                <a:gd name="T28" fmla="*/ 500 w 878"/>
                <a:gd name="T29" fmla="*/ 733 h 877"/>
                <a:gd name="T30" fmla="*/ 593 w 878"/>
                <a:gd name="T31" fmla="*/ 687 h 877"/>
                <a:gd name="T32" fmla="*/ 665 w 878"/>
                <a:gd name="T33" fmla="*/ 742 h 877"/>
                <a:gd name="T34" fmla="*/ 744 w 878"/>
                <a:gd name="T35" fmla="*/ 664 h 877"/>
                <a:gd name="T36" fmla="*/ 700 w 878"/>
                <a:gd name="T37" fmla="*/ 614 h 877"/>
                <a:gd name="T38" fmla="*/ 720 w 878"/>
                <a:gd name="T39" fmla="*/ 516 h 877"/>
                <a:gd name="T40" fmla="*/ 816 w 878"/>
                <a:gd name="T41" fmla="*/ 481 h 877"/>
                <a:gd name="T42" fmla="*/ 747 w 878"/>
                <a:gd name="T43" fmla="*/ 379 h 877"/>
                <a:gd name="T44" fmla="*/ 695 w 878"/>
                <a:gd name="T45" fmla="*/ 295 h 877"/>
                <a:gd name="T46" fmla="*/ 741 w 878"/>
                <a:gd name="T47" fmla="*/ 210 h 877"/>
                <a:gd name="T48" fmla="*/ 666 w 878"/>
                <a:gd name="T49" fmla="*/ 135 h 877"/>
                <a:gd name="T50" fmla="*/ 615 w 878"/>
                <a:gd name="T51" fmla="*/ 176 h 877"/>
                <a:gd name="T52" fmla="*/ 519 w 878"/>
                <a:gd name="T53" fmla="*/ 158 h 877"/>
                <a:gd name="T54" fmla="*/ 484 w 878"/>
                <a:gd name="T55" fmla="*/ 61 h 877"/>
                <a:gd name="T56" fmla="*/ 503 w 878"/>
                <a:gd name="T57" fmla="*/ 4 h 877"/>
                <a:gd name="T58" fmla="*/ 555 w 878"/>
                <a:gd name="T59" fmla="*/ 106 h 877"/>
                <a:gd name="T60" fmla="*/ 656 w 878"/>
                <a:gd name="T61" fmla="*/ 64 h 877"/>
                <a:gd name="T62" fmla="*/ 697 w 878"/>
                <a:gd name="T63" fmla="*/ 83 h 877"/>
                <a:gd name="T64" fmla="*/ 706 w 878"/>
                <a:gd name="T65" fmla="*/ 90 h 877"/>
                <a:gd name="T66" fmla="*/ 788 w 878"/>
                <a:gd name="T67" fmla="*/ 173 h 877"/>
                <a:gd name="T68" fmla="*/ 793 w 878"/>
                <a:gd name="T69" fmla="*/ 179 h 877"/>
                <a:gd name="T70" fmla="*/ 811 w 878"/>
                <a:gd name="T71" fmla="*/ 227 h 877"/>
                <a:gd name="T72" fmla="*/ 837 w 878"/>
                <a:gd name="T73" fmla="*/ 321 h 877"/>
                <a:gd name="T74" fmla="*/ 878 w 878"/>
                <a:gd name="T75" fmla="*/ 402 h 877"/>
                <a:gd name="T76" fmla="*/ 868 w 878"/>
                <a:gd name="T77" fmla="*/ 533 h 877"/>
                <a:gd name="T78" fmla="*/ 763 w 878"/>
                <a:gd name="T79" fmla="*/ 571 h 877"/>
                <a:gd name="T80" fmla="*/ 807 w 878"/>
                <a:gd name="T81" fmla="*/ 672 h 877"/>
                <a:gd name="T82" fmla="*/ 700 w 878"/>
                <a:gd name="T83" fmla="*/ 788 h 877"/>
                <a:gd name="T84" fmla="*/ 639 w 878"/>
                <a:gd name="T85" fmla="*/ 800 h 877"/>
                <a:gd name="T86" fmla="*/ 552 w 878"/>
                <a:gd name="T87" fmla="*/ 849 h 877"/>
                <a:gd name="T88" fmla="*/ 473 w 878"/>
                <a:gd name="T89" fmla="*/ 877 h 877"/>
                <a:gd name="T90" fmla="*/ 461 w 878"/>
                <a:gd name="T91" fmla="*/ 877 h 877"/>
                <a:gd name="T92" fmla="*/ 333 w 878"/>
                <a:gd name="T93" fmla="*/ 861 h 877"/>
                <a:gd name="T94" fmla="*/ 240 w 878"/>
                <a:gd name="T95" fmla="*/ 800 h 877"/>
                <a:gd name="T96" fmla="*/ 186 w 878"/>
                <a:gd name="T97" fmla="*/ 795 h 877"/>
                <a:gd name="T98" fmla="*/ 172 w 878"/>
                <a:gd name="T99" fmla="*/ 784 h 877"/>
                <a:gd name="T100" fmla="*/ 90 w 878"/>
                <a:gd name="T101" fmla="*/ 702 h 877"/>
                <a:gd name="T102" fmla="*/ 86 w 878"/>
                <a:gd name="T103" fmla="*/ 696 h 877"/>
                <a:gd name="T104" fmla="*/ 69 w 878"/>
                <a:gd name="T105" fmla="*/ 672 h 877"/>
                <a:gd name="T106" fmla="*/ 114 w 878"/>
                <a:gd name="T107" fmla="*/ 571 h 877"/>
                <a:gd name="T108" fmla="*/ 9 w 878"/>
                <a:gd name="T109" fmla="*/ 533 h 877"/>
                <a:gd name="T110" fmla="*/ 15 w 878"/>
                <a:gd name="T111" fmla="*/ 332 h 877"/>
                <a:gd name="T112" fmla="*/ 121 w 878"/>
                <a:gd name="T113" fmla="*/ 286 h 877"/>
                <a:gd name="T114" fmla="*/ 78 w 878"/>
                <a:gd name="T115" fmla="*/ 189 h 877"/>
                <a:gd name="T116" fmla="*/ 188 w 878"/>
                <a:gd name="T117" fmla="*/ 77 h 877"/>
                <a:gd name="T118" fmla="*/ 288 w 878"/>
                <a:gd name="T119" fmla="*/ 123 h 877"/>
                <a:gd name="T120" fmla="*/ 343 w 878"/>
                <a:gd name="T121" fmla="*/ 10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78" h="877">
                  <a:moveTo>
                    <a:pt x="438" y="58"/>
                  </a:moveTo>
                  <a:lnTo>
                    <a:pt x="409" y="59"/>
                  </a:lnTo>
                  <a:lnTo>
                    <a:pt x="394" y="61"/>
                  </a:lnTo>
                  <a:lnTo>
                    <a:pt x="378" y="62"/>
                  </a:lnTo>
                  <a:lnTo>
                    <a:pt x="378" y="128"/>
                  </a:lnTo>
                  <a:lnTo>
                    <a:pt x="377" y="140"/>
                  </a:lnTo>
                  <a:lnTo>
                    <a:pt x="369" y="151"/>
                  </a:lnTo>
                  <a:lnTo>
                    <a:pt x="360" y="158"/>
                  </a:lnTo>
                  <a:lnTo>
                    <a:pt x="326" y="169"/>
                  </a:lnTo>
                  <a:lnTo>
                    <a:pt x="297" y="183"/>
                  </a:lnTo>
                  <a:lnTo>
                    <a:pt x="288" y="186"/>
                  </a:lnTo>
                  <a:lnTo>
                    <a:pt x="278" y="186"/>
                  </a:lnTo>
                  <a:lnTo>
                    <a:pt x="269" y="183"/>
                  </a:lnTo>
                  <a:lnTo>
                    <a:pt x="261" y="176"/>
                  </a:lnTo>
                  <a:lnTo>
                    <a:pt x="215" y="131"/>
                  </a:lnTo>
                  <a:lnTo>
                    <a:pt x="212" y="134"/>
                  </a:lnTo>
                  <a:lnTo>
                    <a:pt x="183" y="157"/>
                  </a:lnTo>
                  <a:lnTo>
                    <a:pt x="157" y="181"/>
                  </a:lnTo>
                  <a:lnTo>
                    <a:pt x="134" y="210"/>
                  </a:lnTo>
                  <a:lnTo>
                    <a:pt x="133" y="213"/>
                  </a:lnTo>
                  <a:lnTo>
                    <a:pt x="179" y="259"/>
                  </a:lnTo>
                  <a:lnTo>
                    <a:pt x="185" y="271"/>
                  </a:lnTo>
                  <a:lnTo>
                    <a:pt x="188" y="283"/>
                  </a:lnTo>
                  <a:lnTo>
                    <a:pt x="185" y="295"/>
                  </a:lnTo>
                  <a:lnTo>
                    <a:pt x="168" y="324"/>
                  </a:lnTo>
                  <a:lnTo>
                    <a:pt x="157" y="358"/>
                  </a:lnTo>
                  <a:lnTo>
                    <a:pt x="151" y="370"/>
                  </a:lnTo>
                  <a:lnTo>
                    <a:pt x="142" y="378"/>
                  </a:lnTo>
                  <a:lnTo>
                    <a:pt x="130" y="379"/>
                  </a:lnTo>
                  <a:lnTo>
                    <a:pt x="64" y="379"/>
                  </a:lnTo>
                  <a:lnTo>
                    <a:pt x="61" y="393"/>
                  </a:lnTo>
                  <a:lnTo>
                    <a:pt x="61" y="407"/>
                  </a:lnTo>
                  <a:lnTo>
                    <a:pt x="58" y="422"/>
                  </a:lnTo>
                  <a:lnTo>
                    <a:pt x="58" y="437"/>
                  </a:lnTo>
                  <a:lnTo>
                    <a:pt x="58" y="452"/>
                  </a:lnTo>
                  <a:lnTo>
                    <a:pt x="61" y="468"/>
                  </a:lnTo>
                  <a:lnTo>
                    <a:pt x="61" y="481"/>
                  </a:lnTo>
                  <a:lnTo>
                    <a:pt x="64" y="496"/>
                  </a:lnTo>
                  <a:lnTo>
                    <a:pt x="130" y="496"/>
                  </a:lnTo>
                  <a:lnTo>
                    <a:pt x="142" y="500"/>
                  </a:lnTo>
                  <a:lnTo>
                    <a:pt x="151" y="506"/>
                  </a:lnTo>
                  <a:lnTo>
                    <a:pt x="157" y="516"/>
                  </a:lnTo>
                  <a:lnTo>
                    <a:pt x="168" y="548"/>
                  </a:lnTo>
                  <a:lnTo>
                    <a:pt x="185" y="579"/>
                  </a:lnTo>
                  <a:lnTo>
                    <a:pt x="188" y="591"/>
                  </a:lnTo>
                  <a:lnTo>
                    <a:pt x="185" y="603"/>
                  </a:lnTo>
                  <a:lnTo>
                    <a:pt x="179" y="614"/>
                  </a:lnTo>
                  <a:lnTo>
                    <a:pt x="133" y="661"/>
                  </a:lnTo>
                  <a:lnTo>
                    <a:pt x="134" y="664"/>
                  </a:lnTo>
                  <a:lnTo>
                    <a:pt x="134" y="666"/>
                  </a:lnTo>
                  <a:lnTo>
                    <a:pt x="137" y="666"/>
                  </a:lnTo>
                  <a:lnTo>
                    <a:pt x="159" y="692"/>
                  </a:lnTo>
                  <a:lnTo>
                    <a:pt x="183" y="716"/>
                  </a:lnTo>
                  <a:lnTo>
                    <a:pt x="209" y="737"/>
                  </a:lnTo>
                  <a:lnTo>
                    <a:pt x="212" y="740"/>
                  </a:lnTo>
                  <a:lnTo>
                    <a:pt x="215" y="743"/>
                  </a:lnTo>
                  <a:lnTo>
                    <a:pt x="261" y="696"/>
                  </a:lnTo>
                  <a:lnTo>
                    <a:pt x="269" y="690"/>
                  </a:lnTo>
                  <a:lnTo>
                    <a:pt x="278" y="687"/>
                  </a:lnTo>
                  <a:lnTo>
                    <a:pt x="288" y="688"/>
                  </a:lnTo>
                  <a:lnTo>
                    <a:pt x="297" y="692"/>
                  </a:lnTo>
                  <a:lnTo>
                    <a:pt x="326" y="705"/>
                  </a:lnTo>
                  <a:lnTo>
                    <a:pt x="360" y="716"/>
                  </a:lnTo>
                  <a:lnTo>
                    <a:pt x="369" y="724"/>
                  </a:lnTo>
                  <a:lnTo>
                    <a:pt x="377" y="733"/>
                  </a:lnTo>
                  <a:lnTo>
                    <a:pt x="378" y="746"/>
                  </a:lnTo>
                  <a:lnTo>
                    <a:pt x="378" y="812"/>
                  </a:lnTo>
                  <a:lnTo>
                    <a:pt x="389" y="813"/>
                  </a:lnTo>
                  <a:lnTo>
                    <a:pt x="400" y="815"/>
                  </a:lnTo>
                  <a:lnTo>
                    <a:pt x="409" y="816"/>
                  </a:lnTo>
                  <a:lnTo>
                    <a:pt x="470" y="816"/>
                  </a:lnTo>
                  <a:lnTo>
                    <a:pt x="484" y="813"/>
                  </a:lnTo>
                  <a:lnTo>
                    <a:pt x="497" y="812"/>
                  </a:lnTo>
                  <a:lnTo>
                    <a:pt x="497" y="746"/>
                  </a:lnTo>
                  <a:lnTo>
                    <a:pt x="500" y="733"/>
                  </a:lnTo>
                  <a:lnTo>
                    <a:pt x="508" y="724"/>
                  </a:lnTo>
                  <a:lnTo>
                    <a:pt x="519" y="716"/>
                  </a:lnTo>
                  <a:lnTo>
                    <a:pt x="551" y="705"/>
                  </a:lnTo>
                  <a:lnTo>
                    <a:pt x="583" y="692"/>
                  </a:lnTo>
                  <a:lnTo>
                    <a:pt x="593" y="687"/>
                  </a:lnTo>
                  <a:lnTo>
                    <a:pt x="605" y="688"/>
                  </a:lnTo>
                  <a:lnTo>
                    <a:pt x="615" y="696"/>
                  </a:lnTo>
                  <a:lnTo>
                    <a:pt x="662" y="743"/>
                  </a:lnTo>
                  <a:lnTo>
                    <a:pt x="663" y="742"/>
                  </a:lnTo>
                  <a:lnTo>
                    <a:pt x="665" y="742"/>
                  </a:lnTo>
                  <a:lnTo>
                    <a:pt x="665" y="740"/>
                  </a:lnTo>
                  <a:lnTo>
                    <a:pt x="666" y="740"/>
                  </a:lnTo>
                  <a:lnTo>
                    <a:pt x="694" y="717"/>
                  </a:lnTo>
                  <a:lnTo>
                    <a:pt x="720" y="692"/>
                  </a:lnTo>
                  <a:lnTo>
                    <a:pt x="744" y="664"/>
                  </a:lnTo>
                  <a:lnTo>
                    <a:pt x="744" y="664"/>
                  </a:lnTo>
                  <a:lnTo>
                    <a:pt x="744" y="663"/>
                  </a:lnTo>
                  <a:lnTo>
                    <a:pt x="746" y="661"/>
                  </a:lnTo>
                  <a:lnTo>
                    <a:pt x="747" y="661"/>
                  </a:lnTo>
                  <a:lnTo>
                    <a:pt x="700" y="614"/>
                  </a:lnTo>
                  <a:lnTo>
                    <a:pt x="692" y="603"/>
                  </a:lnTo>
                  <a:lnTo>
                    <a:pt x="689" y="591"/>
                  </a:lnTo>
                  <a:lnTo>
                    <a:pt x="695" y="579"/>
                  </a:lnTo>
                  <a:lnTo>
                    <a:pt x="709" y="548"/>
                  </a:lnTo>
                  <a:lnTo>
                    <a:pt x="720" y="516"/>
                  </a:lnTo>
                  <a:lnTo>
                    <a:pt x="726" y="506"/>
                  </a:lnTo>
                  <a:lnTo>
                    <a:pt x="735" y="500"/>
                  </a:lnTo>
                  <a:lnTo>
                    <a:pt x="747" y="496"/>
                  </a:lnTo>
                  <a:lnTo>
                    <a:pt x="816" y="496"/>
                  </a:lnTo>
                  <a:lnTo>
                    <a:pt x="816" y="481"/>
                  </a:lnTo>
                  <a:lnTo>
                    <a:pt x="817" y="468"/>
                  </a:lnTo>
                  <a:lnTo>
                    <a:pt x="817" y="407"/>
                  </a:lnTo>
                  <a:lnTo>
                    <a:pt x="816" y="393"/>
                  </a:lnTo>
                  <a:lnTo>
                    <a:pt x="816" y="379"/>
                  </a:lnTo>
                  <a:lnTo>
                    <a:pt x="747" y="379"/>
                  </a:lnTo>
                  <a:lnTo>
                    <a:pt x="735" y="378"/>
                  </a:lnTo>
                  <a:lnTo>
                    <a:pt x="726" y="370"/>
                  </a:lnTo>
                  <a:lnTo>
                    <a:pt x="720" y="358"/>
                  </a:lnTo>
                  <a:lnTo>
                    <a:pt x="709" y="324"/>
                  </a:lnTo>
                  <a:lnTo>
                    <a:pt x="695" y="295"/>
                  </a:lnTo>
                  <a:lnTo>
                    <a:pt x="689" y="283"/>
                  </a:lnTo>
                  <a:lnTo>
                    <a:pt x="692" y="271"/>
                  </a:lnTo>
                  <a:lnTo>
                    <a:pt x="700" y="259"/>
                  </a:lnTo>
                  <a:lnTo>
                    <a:pt x="744" y="213"/>
                  </a:lnTo>
                  <a:lnTo>
                    <a:pt x="741" y="210"/>
                  </a:lnTo>
                  <a:lnTo>
                    <a:pt x="741" y="207"/>
                  </a:lnTo>
                  <a:lnTo>
                    <a:pt x="706" y="170"/>
                  </a:lnTo>
                  <a:lnTo>
                    <a:pt x="670" y="135"/>
                  </a:lnTo>
                  <a:lnTo>
                    <a:pt x="666" y="135"/>
                  </a:lnTo>
                  <a:lnTo>
                    <a:pt x="666" y="135"/>
                  </a:lnTo>
                  <a:lnTo>
                    <a:pt x="666" y="135"/>
                  </a:lnTo>
                  <a:lnTo>
                    <a:pt x="666" y="134"/>
                  </a:lnTo>
                  <a:lnTo>
                    <a:pt x="665" y="134"/>
                  </a:lnTo>
                  <a:lnTo>
                    <a:pt x="662" y="131"/>
                  </a:lnTo>
                  <a:lnTo>
                    <a:pt x="615" y="176"/>
                  </a:lnTo>
                  <a:lnTo>
                    <a:pt x="605" y="184"/>
                  </a:lnTo>
                  <a:lnTo>
                    <a:pt x="593" y="186"/>
                  </a:lnTo>
                  <a:lnTo>
                    <a:pt x="583" y="183"/>
                  </a:lnTo>
                  <a:lnTo>
                    <a:pt x="551" y="169"/>
                  </a:lnTo>
                  <a:lnTo>
                    <a:pt x="519" y="158"/>
                  </a:lnTo>
                  <a:lnTo>
                    <a:pt x="508" y="151"/>
                  </a:lnTo>
                  <a:lnTo>
                    <a:pt x="500" y="140"/>
                  </a:lnTo>
                  <a:lnTo>
                    <a:pt x="497" y="128"/>
                  </a:lnTo>
                  <a:lnTo>
                    <a:pt x="497" y="62"/>
                  </a:lnTo>
                  <a:lnTo>
                    <a:pt x="484" y="61"/>
                  </a:lnTo>
                  <a:lnTo>
                    <a:pt x="470" y="59"/>
                  </a:lnTo>
                  <a:lnTo>
                    <a:pt x="438" y="58"/>
                  </a:lnTo>
                  <a:close/>
                  <a:moveTo>
                    <a:pt x="438" y="0"/>
                  </a:moveTo>
                  <a:lnTo>
                    <a:pt x="473" y="3"/>
                  </a:lnTo>
                  <a:lnTo>
                    <a:pt x="503" y="4"/>
                  </a:lnTo>
                  <a:lnTo>
                    <a:pt x="532" y="10"/>
                  </a:lnTo>
                  <a:lnTo>
                    <a:pt x="544" y="15"/>
                  </a:lnTo>
                  <a:lnTo>
                    <a:pt x="552" y="26"/>
                  </a:lnTo>
                  <a:lnTo>
                    <a:pt x="555" y="38"/>
                  </a:lnTo>
                  <a:lnTo>
                    <a:pt x="555" y="106"/>
                  </a:lnTo>
                  <a:lnTo>
                    <a:pt x="573" y="114"/>
                  </a:lnTo>
                  <a:lnTo>
                    <a:pt x="590" y="123"/>
                  </a:lnTo>
                  <a:lnTo>
                    <a:pt x="639" y="73"/>
                  </a:lnTo>
                  <a:lnTo>
                    <a:pt x="647" y="67"/>
                  </a:lnTo>
                  <a:lnTo>
                    <a:pt x="656" y="64"/>
                  </a:lnTo>
                  <a:lnTo>
                    <a:pt x="666" y="65"/>
                  </a:lnTo>
                  <a:lnTo>
                    <a:pt x="676" y="68"/>
                  </a:lnTo>
                  <a:lnTo>
                    <a:pt x="683" y="73"/>
                  </a:lnTo>
                  <a:lnTo>
                    <a:pt x="689" y="79"/>
                  </a:lnTo>
                  <a:lnTo>
                    <a:pt x="697" y="83"/>
                  </a:lnTo>
                  <a:lnTo>
                    <a:pt x="700" y="87"/>
                  </a:lnTo>
                  <a:lnTo>
                    <a:pt x="702" y="88"/>
                  </a:lnTo>
                  <a:lnTo>
                    <a:pt x="705" y="88"/>
                  </a:lnTo>
                  <a:lnTo>
                    <a:pt x="705" y="90"/>
                  </a:lnTo>
                  <a:lnTo>
                    <a:pt x="706" y="90"/>
                  </a:lnTo>
                  <a:lnTo>
                    <a:pt x="749" y="129"/>
                  </a:lnTo>
                  <a:lnTo>
                    <a:pt x="788" y="172"/>
                  </a:lnTo>
                  <a:lnTo>
                    <a:pt x="788" y="172"/>
                  </a:lnTo>
                  <a:lnTo>
                    <a:pt x="788" y="173"/>
                  </a:lnTo>
                  <a:lnTo>
                    <a:pt x="788" y="173"/>
                  </a:lnTo>
                  <a:lnTo>
                    <a:pt x="792" y="175"/>
                  </a:lnTo>
                  <a:lnTo>
                    <a:pt x="792" y="176"/>
                  </a:lnTo>
                  <a:lnTo>
                    <a:pt x="792" y="176"/>
                  </a:lnTo>
                  <a:lnTo>
                    <a:pt x="792" y="178"/>
                  </a:lnTo>
                  <a:lnTo>
                    <a:pt x="793" y="179"/>
                  </a:lnTo>
                  <a:lnTo>
                    <a:pt x="799" y="186"/>
                  </a:lnTo>
                  <a:lnTo>
                    <a:pt x="804" y="193"/>
                  </a:lnTo>
                  <a:lnTo>
                    <a:pt x="807" y="202"/>
                  </a:lnTo>
                  <a:lnTo>
                    <a:pt x="811" y="215"/>
                  </a:lnTo>
                  <a:lnTo>
                    <a:pt x="811" y="227"/>
                  </a:lnTo>
                  <a:lnTo>
                    <a:pt x="804" y="237"/>
                  </a:lnTo>
                  <a:lnTo>
                    <a:pt x="755" y="286"/>
                  </a:lnTo>
                  <a:lnTo>
                    <a:pt x="763" y="303"/>
                  </a:lnTo>
                  <a:lnTo>
                    <a:pt x="769" y="321"/>
                  </a:lnTo>
                  <a:lnTo>
                    <a:pt x="837" y="321"/>
                  </a:lnTo>
                  <a:lnTo>
                    <a:pt x="851" y="324"/>
                  </a:lnTo>
                  <a:lnTo>
                    <a:pt x="862" y="332"/>
                  </a:lnTo>
                  <a:lnTo>
                    <a:pt x="868" y="344"/>
                  </a:lnTo>
                  <a:lnTo>
                    <a:pt x="872" y="373"/>
                  </a:lnTo>
                  <a:lnTo>
                    <a:pt x="878" y="402"/>
                  </a:lnTo>
                  <a:lnTo>
                    <a:pt x="878" y="437"/>
                  </a:lnTo>
                  <a:lnTo>
                    <a:pt x="877" y="455"/>
                  </a:lnTo>
                  <a:lnTo>
                    <a:pt x="875" y="472"/>
                  </a:lnTo>
                  <a:lnTo>
                    <a:pt x="872" y="503"/>
                  </a:lnTo>
                  <a:lnTo>
                    <a:pt x="868" y="533"/>
                  </a:lnTo>
                  <a:lnTo>
                    <a:pt x="862" y="544"/>
                  </a:lnTo>
                  <a:lnTo>
                    <a:pt x="851" y="551"/>
                  </a:lnTo>
                  <a:lnTo>
                    <a:pt x="837" y="554"/>
                  </a:lnTo>
                  <a:lnTo>
                    <a:pt x="769" y="554"/>
                  </a:lnTo>
                  <a:lnTo>
                    <a:pt x="763" y="571"/>
                  </a:lnTo>
                  <a:lnTo>
                    <a:pt x="755" y="588"/>
                  </a:lnTo>
                  <a:lnTo>
                    <a:pt x="804" y="637"/>
                  </a:lnTo>
                  <a:lnTo>
                    <a:pt x="811" y="647"/>
                  </a:lnTo>
                  <a:lnTo>
                    <a:pt x="811" y="660"/>
                  </a:lnTo>
                  <a:lnTo>
                    <a:pt x="807" y="672"/>
                  </a:lnTo>
                  <a:lnTo>
                    <a:pt x="799" y="685"/>
                  </a:lnTo>
                  <a:lnTo>
                    <a:pt x="792" y="699"/>
                  </a:lnTo>
                  <a:lnTo>
                    <a:pt x="764" y="731"/>
                  </a:lnTo>
                  <a:lnTo>
                    <a:pt x="734" y="760"/>
                  </a:lnTo>
                  <a:lnTo>
                    <a:pt x="700" y="788"/>
                  </a:lnTo>
                  <a:lnTo>
                    <a:pt x="676" y="806"/>
                  </a:lnTo>
                  <a:lnTo>
                    <a:pt x="666" y="809"/>
                  </a:lnTo>
                  <a:lnTo>
                    <a:pt x="656" y="809"/>
                  </a:lnTo>
                  <a:lnTo>
                    <a:pt x="647" y="807"/>
                  </a:lnTo>
                  <a:lnTo>
                    <a:pt x="639" y="800"/>
                  </a:lnTo>
                  <a:lnTo>
                    <a:pt x="590" y="751"/>
                  </a:lnTo>
                  <a:lnTo>
                    <a:pt x="573" y="760"/>
                  </a:lnTo>
                  <a:lnTo>
                    <a:pt x="555" y="768"/>
                  </a:lnTo>
                  <a:lnTo>
                    <a:pt x="555" y="836"/>
                  </a:lnTo>
                  <a:lnTo>
                    <a:pt x="552" y="849"/>
                  </a:lnTo>
                  <a:lnTo>
                    <a:pt x="544" y="859"/>
                  </a:lnTo>
                  <a:lnTo>
                    <a:pt x="532" y="865"/>
                  </a:lnTo>
                  <a:lnTo>
                    <a:pt x="476" y="874"/>
                  </a:lnTo>
                  <a:lnTo>
                    <a:pt x="476" y="877"/>
                  </a:lnTo>
                  <a:lnTo>
                    <a:pt x="473" y="877"/>
                  </a:lnTo>
                  <a:lnTo>
                    <a:pt x="470" y="877"/>
                  </a:lnTo>
                  <a:lnTo>
                    <a:pt x="468" y="876"/>
                  </a:lnTo>
                  <a:lnTo>
                    <a:pt x="465" y="876"/>
                  </a:lnTo>
                  <a:lnTo>
                    <a:pt x="464" y="876"/>
                  </a:lnTo>
                  <a:lnTo>
                    <a:pt x="461" y="877"/>
                  </a:lnTo>
                  <a:lnTo>
                    <a:pt x="404" y="877"/>
                  </a:lnTo>
                  <a:lnTo>
                    <a:pt x="383" y="874"/>
                  </a:lnTo>
                  <a:lnTo>
                    <a:pt x="363" y="870"/>
                  </a:lnTo>
                  <a:lnTo>
                    <a:pt x="343" y="865"/>
                  </a:lnTo>
                  <a:lnTo>
                    <a:pt x="333" y="861"/>
                  </a:lnTo>
                  <a:lnTo>
                    <a:pt x="325" y="850"/>
                  </a:lnTo>
                  <a:lnTo>
                    <a:pt x="322" y="836"/>
                  </a:lnTo>
                  <a:lnTo>
                    <a:pt x="322" y="768"/>
                  </a:lnTo>
                  <a:lnTo>
                    <a:pt x="288" y="751"/>
                  </a:lnTo>
                  <a:lnTo>
                    <a:pt x="240" y="800"/>
                  </a:lnTo>
                  <a:lnTo>
                    <a:pt x="227" y="807"/>
                  </a:lnTo>
                  <a:lnTo>
                    <a:pt x="215" y="809"/>
                  </a:lnTo>
                  <a:lnTo>
                    <a:pt x="200" y="806"/>
                  </a:lnTo>
                  <a:lnTo>
                    <a:pt x="194" y="800"/>
                  </a:lnTo>
                  <a:lnTo>
                    <a:pt x="186" y="795"/>
                  </a:lnTo>
                  <a:lnTo>
                    <a:pt x="179" y="789"/>
                  </a:lnTo>
                  <a:lnTo>
                    <a:pt x="175" y="788"/>
                  </a:lnTo>
                  <a:lnTo>
                    <a:pt x="175" y="786"/>
                  </a:lnTo>
                  <a:lnTo>
                    <a:pt x="174" y="786"/>
                  </a:lnTo>
                  <a:lnTo>
                    <a:pt x="172" y="784"/>
                  </a:lnTo>
                  <a:lnTo>
                    <a:pt x="171" y="784"/>
                  </a:lnTo>
                  <a:lnTo>
                    <a:pt x="142" y="759"/>
                  </a:lnTo>
                  <a:lnTo>
                    <a:pt x="114" y="731"/>
                  </a:lnTo>
                  <a:lnTo>
                    <a:pt x="92" y="702"/>
                  </a:lnTo>
                  <a:lnTo>
                    <a:pt x="90" y="702"/>
                  </a:lnTo>
                  <a:lnTo>
                    <a:pt x="89" y="701"/>
                  </a:lnTo>
                  <a:lnTo>
                    <a:pt x="89" y="699"/>
                  </a:lnTo>
                  <a:lnTo>
                    <a:pt x="89" y="699"/>
                  </a:lnTo>
                  <a:lnTo>
                    <a:pt x="87" y="698"/>
                  </a:lnTo>
                  <a:lnTo>
                    <a:pt x="86" y="696"/>
                  </a:lnTo>
                  <a:lnTo>
                    <a:pt x="86" y="696"/>
                  </a:lnTo>
                  <a:lnTo>
                    <a:pt x="86" y="695"/>
                  </a:lnTo>
                  <a:lnTo>
                    <a:pt x="79" y="688"/>
                  </a:lnTo>
                  <a:lnTo>
                    <a:pt x="75" y="681"/>
                  </a:lnTo>
                  <a:lnTo>
                    <a:pt x="69" y="672"/>
                  </a:lnTo>
                  <a:lnTo>
                    <a:pt x="64" y="661"/>
                  </a:lnTo>
                  <a:lnTo>
                    <a:pt x="66" y="647"/>
                  </a:lnTo>
                  <a:lnTo>
                    <a:pt x="72" y="637"/>
                  </a:lnTo>
                  <a:lnTo>
                    <a:pt x="121" y="588"/>
                  </a:lnTo>
                  <a:lnTo>
                    <a:pt x="114" y="571"/>
                  </a:lnTo>
                  <a:lnTo>
                    <a:pt x="107" y="554"/>
                  </a:lnTo>
                  <a:lnTo>
                    <a:pt x="38" y="554"/>
                  </a:lnTo>
                  <a:lnTo>
                    <a:pt x="26" y="551"/>
                  </a:lnTo>
                  <a:lnTo>
                    <a:pt x="15" y="544"/>
                  </a:lnTo>
                  <a:lnTo>
                    <a:pt x="9" y="533"/>
                  </a:lnTo>
                  <a:lnTo>
                    <a:pt x="5" y="503"/>
                  </a:lnTo>
                  <a:lnTo>
                    <a:pt x="0" y="472"/>
                  </a:lnTo>
                  <a:lnTo>
                    <a:pt x="0" y="402"/>
                  </a:lnTo>
                  <a:lnTo>
                    <a:pt x="9" y="344"/>
                  </a:lnTo>
                  <a:lnTo>
                    <a:pt x="15" y="332"/>
                  </a:lnTo>
                  <a:lnTo>
                    <a:pt x="26" y="324"/>
                  </a:lnTo>
                  <a:lnTo>
                    <a:pt x="38" y="321"/>
                  </a:lnTo>
                  <a:lnTo>
                    <a:pt x="107" y="321"/>
                  </a:lnTo>
                  <a:lnTo>
                    <a:pt x="114" y="303"/>
                  </a:lnTo>
                  <a:lnTo>
                    <a:pt x="121" y="286"/>
                  </a:lnTo>
                  <a:lnTo>
                    <a:pt x="72" y="237"/>
                  </a:lnTo>
                  <a:lnTo>
                    <a:pt x="66" y="227"/>
                  </a:lnTo>
                  <a:lnTo>
                    <a:pt x="64" y="215"/>
                  </a:lnTo>
                  <a:lnTo>
                    <a:pt x="69" y="202"/>
                  </a:lnTo>
                  <a:lnTo>
                    <a:pt x="78" y="189"/>
                  </a:lnTo>
                  <a:lnTo>
                    <a:pt x="89" y="175"/>
                  </a:lnTo>
                  <a:lnTo>
                    <a:pt x="114" y="143"/>
                  </a:lnTo>
                  <a:lnTo>
                    <a:pt x="143" y="114"/>
                  </a:lnTo>
                  <a:lnTo>
                    <a:pt x="175" y="87"/>
                  </a:lnTo>
                  <a:lnTo>
                    <a:pt x="188" y="77"/>
                  </a:lnTo>
                  <a:lnTo>
                    <a:pt x="200" y="68"/>
                  </a:lnTo>
                  <a:lnTo>
                    <a:pt x="215" y="64"/>
                  </a:lnTo>
                  <a:lnTo>
                    <a:pt x="227" y="65"/>
                  </a:lnTo>
                  <a:lnTo>
                    <a:pt x="240" y="73"/>
                  </a:lnTo>
                  <a:lnTo>
                    <a:pt x="288" y="123"/>
                  </a:lnTo>
                  <a:lnTo>
                    <a:pt x="322" y="106"/>
                  </a:lnTo>
                  <a:lnTo>
                    <a:pt x="322" y="38"/>
                  </a:lnTo>
                  <a:lnTo>
                    <a:pt x="325" y="26"/>
                  </a:lnTo>
                  <a:lnTo>
                    <a:pt x="333" y="15"/>
                  </a:lnTo>
                  <a:lnTo>
                    <a:pt x="343" y="10"/>
                  </a:lnTo>
                  <a:lnTo>
                    <a:pt x="374" y="4"/>
                  </a:lnTo>
                  <a:lnTo>
                    <a:pt x="404" y="3"/>
                  </a:lnTo>
                  <a:lnTo>
                    <a:pt x="43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7">
              <a:extLst>
                <a:ext uri="{FF2B5EF4-FFF2-40B4-BE49-F238E27FC236}">
                  <a16:creationId xmlns:a16="http://schemas.microsoft.com/office/drawing/2014/main" id="{CB220081-A1C0-F24F-A836-356C3302876F}"/>
                </a:ext>
              </a:extLst>
            </p:cNvPr>
            <p:cNvSpPr>
              <a:spLocks noEditPoints="1"/>
            </p:cNvSpPr>
            <p:nvPr/>
          </p:nvSpPr>
          <p:spPr bwMode="auto">
            <a:xfrm>
              <a:off x="574675" y="2906713"/>
              <a:ext cx="1069975" cy="1068388"/>
            </a:xfrm>
            <a:custGeom>
              <a:avLst/>
              <a:gdLst>
                <a:gd name="T0" fmla="*/ 291 w 674"/>
                <a:gd name="T1" fmla="*/ 97 h 673"/>
                <a:gd name="T2" fmla="*/ 252 w 674"/>
                <a:gd name="T3" fmla="*/ 129 h 673"/>
                <a:gd name="T4" fmla="*/ 162 w 674"/>
                <a:gd name="T5" fmla="*/ 102 h 673"/>
                <a:gd name="T6" fmla="*/ 143 w 674"/>
                <a:gd name="T7" fmla="*/ 216 h 673"/>
                <a:gd name="T8" fmla="*/ 110 w 674"/>
                <a:gd name="T9" fmla="*/ 288 h 673"/>
                <a:gd name="T10" fmla="*/ 47 w 674"/>
                <a:gd name="T11" fmla="*/ 312 h 673"/>
                <a:gd name="T12" fmla="*/ 47 w 674"/>
                <a:gd name="T13" fmla="*/ 358 h 673"/>
                <a:gd name="T14" fmla="*/ 110 w 674"/>
                <a:gd name="T15" fmla="*/ 384 h 673"/>
                <a:gd name="T16" fmla="*/ 143 w 674"/>
                <a:gd name="T17" fmla="*/ 453 h 673"/>
                <a:gd name="T18" fmla="*/ 105 w 674"/>
                <a:gd name="T19" fmla="*/ 510 h 673"/>
                <a:gd name="T20" fmla="*/ 200 w 674"/>
                <a:gd name="T21" fmla="*/ 535 h 673"/>
                <a:gd name="T22" fmla="*/ 281 w 674"/>
                <a:gd name="T23" fmla="*/ 552 h 673"/>
                <a:gd name="T24" fmla="*/ 297 w 674"/>
                <a:gd name="T25" fmla="*/ 623 h 673"/>
                <a:gd name="T26" fmla="*/ 375 w 674"/>
                <a:gd name="T27" fmla="*/ 623 h 673"/>
                <a:gd name="T28" fmla="*/ 392 w 674"/>
                <a:gd name="T29" fmla="*/ 552 h 673"/>
                <a:gd name="T30" fmla="*/ 471 w 674"/>
                <a:gd name="T31" fmla="*/ 535 h 673"/>
                <a:gd name="T32" fmla="*/ 572 w 674"/>
                <a:gd name="T33" fmla="*/ 509 h 673"/>
                <a:gd name="T34" fmla="*/ 529 w 674"/>
                <a:gd name="T35" fmla="*/ 453 h 673"/>
                <a:gd name="T36" fmla="*/ 563 w 674"/>
                <a:gd name="T37" fmla="*/ 384 h 673"/>
                <a:gd name="T38" fmla="*/ 628 w 674"/>
                <a:gd name="T39" fmla="*/ 358 h 673"/>
                <a:gd name="T40" fmla="*/ 569 w 674"/>
                <a:gd name="T41" fmla="*/ 291 h 673"/>
                <a:gd name="T42" fmla="*/ 544 w 674"/>
                <a:gd name="T43" fmla="*/ 248 h 673"/>
                <a:gd name="T44" fmla="*/ 569 w 674"/>
                <a:gd name="T45" fmla="*/ 161 h 673"/>
                <a:gd name="T46" fmla="*/ 511 w 674"/>
                <a:gd name="T47" fmla="*/ 102 h 673"/>
                <a:gd name="T48" fmla="*/ 447 w 674"/>
                <a:gd name="T49" fmla="*/ 140 h 673"/>
                <a:gd name="T50" fmla="*/ 383 w 674"/>
                <a:gd name="T51" fmla="*/ 104 h 673"/>
                <a:gd name="T52" fmla="*/ 337 w 674"/>
                <a:gd name="T53" fmla="*/ 44 h 673"/>
                <a:gd name="T54" fmla="*/ 419 w 674"/>
                <a:gd name="T55" fmla="*/ 12 h 673"/>
                <a:gd name="T56" fmla="*/ 453 w 674"/>
                <a:gd name="T57" fmla="*/ 93 h 673"/>
                <a:gd name="T58" fmla="*/ 529 w 674"/>
                <a:gd name="T59" fmla="*/ 59 h 673"/>
                <a:gd name="T60" fmla="*/ 575 w 674"/>
                <a:gd name="T61" fmla="*/ 99 h 673"/>
                <a:gd name="T62" fmla="*/ 607 w 674"/>
                <a:gd name="T63" fmla="*/ 136 h 673"/>
                <a:gd name="T64" fmla="*/ 622 w 674"/>
                <a:gd name="T65" fmla="*/ 174 h 673"/>
                <a:gd name="T66" fmla="*/ 648 w 674"/>
                <a:gd name="T67" fmla="*/ 247 h 673"/>
                <a:gd name="T68" fmla="*/ 669 w 674"/>
                <a:gd name="T69" fmla="*/ 285 h 673"/>
                <a:gd name="T70" fmla="*/ 666 w 674"/>
                <a:gd name="T71" fmla="*/ 408 h 673"/>
                <a:gd name="T72" fmla="*/ 642 w 674"/>
                <a:gd name="T73" fmla="*/ 425 h 673"/>
                <a:gd name="T74" fmla="*/ 624 w 674"/>
                <a:gd name="T75" fmla="*/ 506 h 673"/>
                <a:gd name="T76" fmla="*/ 563 w 674"/>
                <a:gd name="T77" fmla="*/ 584 h 673"/>
                <a:gd name="T78" fmla="*/ 499 w 674"/>
                <a:gd name="T79" fmla="*/ 620 h 673"/>
                <a:gd name="T80" fmla="*/ 422 w 674"/>
                <a:gd name="T81" fmla="*/ 652 h 673"/>
                <a:gd name="T82" fmla="*/ 363 w 674"/>
                <a:gd name="T83" fmla="*/ 673 h 673"/>
                <a:gd name="T84" fmla="*/ 293 w 674"/>
                <a:gd name="T85" fmla="*/ 670 h 673"/>
                <a:gd name="T86" fmla="*/ 247 w 674"/>
                <a:gd name="T87" fmla="*/ 648 h 673"/>
                <a:gd name="T88" fmla="*/ 165 w 674"/>
                <a:gd name="T89" fmla="*/ 622 h 673"/>
                <a:gd name="T90" fmla="*/ 134 w 674"/>
                <a:gd name="T91" fmla="*/ 603 h 673"/>
                <a:gd name="T92" fmla="*/ 67 w 674"/>
                <a:gd name="T93" fmla="*/ 536 h 673"/>
                <a:gd name="T94" fmla="*/ 56 w 674"/>
                <a:gd name="T95" fmla="*/ 521 h 673"/>
                <a:gd name="T96" fmla="*/ 87 w 674"/>
                <a:gd name="T97" fmla="*/ 437 h 673"/>
                <a:gd name="T98" fmla="*/ 9 w 674"/>
                <a:gd name="T99" fmla="*/ 414 h 673"/>
                <a:gd name="T100" fmla="*/ 9 w 674"/>
                <a:gd name="T101" fmla="*/ 257 h 673"/>
                <a:gd name="T102" fmla="*/ 87 w 674"/>
                <a:gd name="T103" fmla="*/ 232 h 673"/>
                <a:gd name="T104" fmla="*/ 56 w 674"/>
                <a:gd name="T105" fmla="*/ 148 h 673"/>
                <a:gd name="T106" fmla="*/ 148 w 674"/>
                <a:gd name="T107" fmla="*/ 56 h 673"/>
                <a:gd name="T108" fmla="*/ 247 w 674"/>
                <a:gd name="T109" fmla="*/ 81 h 673"/>
                <a:gd name="T110" fmla="*/ 264 w 674"/>
                <a:gd name="T111" fmla="*/ 8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74" h="673">
                  <a:moveTo>
                    <a:pt x="337" y="44"/>
                  </a:moveTo>
                  <a:lnTo>
                    <a:pt x="314" y="46"/>
                  </a:lnTo>
                  <a:lnTo>
                    <a:pt x="306" y="46"/>
                  </a:lnTo>
                  <a:lnTo>
                    <a:pt x="299" y="47"/>
                  </a:lnTo>
                  <a:lnTo>
                    <a:pt x="291" y="47"/>
                  </a:lnTo>
                  <a:lnTo>
                    <a:pt x="291" y="97"/>
                  </a:lnTo>
                  <a:lnTo>
                    <a:pt x="290" y="104"/>
                  </a:lnTo>
                  <a:lnTo>
                    <a:pt x="288" y="110"/>
                  </a:lnTo>
                  <a:lnTo>
                    <a:pt x="285" y="114"/>
                  </a:lnTo>
                  <a:lnTo>
                    <a:pt x="281" y="117"/>
                  </a:lnTo>
                  <a:lnTo>
                    <a:pt x="276" y="120"/>
                  </a:lnTo>
                  <a:lnTo>
                    <a:pt x="252" y="129"/>
                  </a:lnTo>
                  <a:lnTo>
                    <a:pt x="227" y="140"/>
                  </a:lnTo>
                  <a:lnTo>
                    <a:pt x="218" y="142"/>
                  </a:lnTo>
                  <a:lnTo>
                    <a:pt x="209" y="142"/>
                  </a:lnTo>
                  <a:lnTo>
                    <a:pt x="200" y="136"/>
                  </a:lnTo>
                  <a:lnTo>
                    <a:pt x="165" y="100"/>
                  </a:lnTo>
                  <a:lnTo>
                    <a:pt x="162" y="102"/>
                  </a:lnTo>
                  <a:lnTo>
                    <a:pt x="131" y="129"/>
                  </a:lnTo>
                  <a:lnTo>
                    <a:pt x="104" y="161"/>
                  </a:lnTo>
                  <a:lnTo>
                    <a:pt x="101" y="163"/>
                  </a:lnTo>
                  <a:lnTo>
                    <a:pt x="137" y="198"/>
                  </a:lnTo>
                  <a:lnTo>
                    <a:pt x="142" y="207"/>
                  </a:lnTo>
                  <a:lnTo>
                    <a:pt x="143" y="216"/>
                  </a:lnTo>
                  <a:lnTo>
                    <a:pt x="140" y="225"/>
                  </a:lnTo>
                  <a:lnTo>
                    <a:pt x="130" y="248"/>
                  </a:lnTo>
                  <a:lnTo>
                    <a:pt x="120" y="274"/>
                  </a:lnTo>
                  <a:lnTo>
                    <a:pt x="117" y="280"/>
                  </a:lnTo>
                  <a:lnTo>
                    <a:pt x="114" y="285"/>
                  </a:lnTo>
                  <a:lnTo>
                    <a:pt x="110" y="288"/>
                  </a:lnTo>
                  <a:lnTo>
                    <a:pt x="105" y="291"/>
                  </a:lnTo>
                  <a:lnTo>
                    <a:pt x="99" y="291"/>
                  </a:lnTo>
                  <a:lnTo>
                    <a:pt x="49" y="291"/>
                  </a:lnTo>
                  <a:lnTo>
                    <a:pt x="47" y="297"/>
                  </a:lnTo>
                  <a:lnTo>
                    <a:pt x="47" y="305"/>
                  </a:lnTo>
                  <a:lnTo>
                    <a:pt x="47" y="312"/>
                  </a:lnTo>
                  <a:lnTo>
                    <a:pt x="44" y="320"/>
                  </a:lnTo>
                  <a:lnTo>
                    <a:pt x="44" y="328"/>
                  </a:lnTo>
                  <a:lnTo>
                    <a:pt x="44" y="335"/>
                  </a:lnTo>
                  <a:lnTo>
                    <a:pt x="44" y="343"/>
                  </a:lnTo>
                  <a:lnTo>
                    <a:pt x="44" y="350"/>
                  </a:lnTo>
                  <a:lnTo>
                    <a:pt x="47" y="358"/>
                  </a:lnTo>
                  <a:lnTo>
                    <a:pt x="47" y="366"/>
                  </a:lnTo>
                  <a:lnTo>
                    <a:pt x="47" y="373"/>
                  </a:lnTo>
                  <a:lnTo>
                    <a:pt x="49" y="381"/>
                  </a:lnTo>
                  <a:lnTo>
                    <a:pt x="99" y="381"/>
                  </a:lnTo>
                  <a:lnTo>
                    <a:pt x="105" y="382"/>
                  </a:lnTo>
                  <a:lnTo>
                    <a:pt x="110" y="384"/>
                  </a:lnTo>
                  <a:lnTo>
                    <a:pt x="114" y="387"/>
                  </a:lnTo>
                  <a:lnTo>
                    <a:pt x="117" y="392"/>
                  </a:lnTo>
                  <a:lnTo>
                    <a:pt x="120" y="396"/>
                  </a:lnTo>
                  <a:lnTo>
                    <a:pt x="130" y="421"/>
                  </a:lnTo>
                  <a:lnTo>
                    <a:pt x="140" y="445"/>
                  </a:lnTo>
                  <a:lnTo>
                    <a:pt x="143" y="453"/>
                  </a:lnTo>
                  <a:lnTo>
                    <a:pt x="142" y="463"/>
                  </a:lnTo>
                  <a:lnTo>
                    <a:pt x="137" y="471"/>
                  </a:lnTo>
                  <a:lnTo>
                    <a:pt x="101" y="507"/>
                  </a:lnTo>
                  <a:lnTo>
                    <a:pt x="104" y="509"/>
                  </a:lnTo>
                  <a:lnTo>
                    <a:pt x="104" y="510"/>
                  </a:lnTo>
                  <a:lnTo>
                    <a:pt x="105" y="510"/>
                  </a:lnTo>
                  <a:lnTo>
                    <a:pt x="122" y="530"/>
                  </a:lnTo>
                  <a:lnTo>
                    <a:pt x="140" y="549"/>
                  </a:lnTo>
                  <a:lnTo>
                    <a:pt x="160" y="565"/>
                  </a:lnTo>
                  <a:lnTo>
                    <a:pt x="162" y="568"/>
                  </a:lnTo>
                  <a:lnTo>
                    <a:pt x="165" y="570"/>
                  </a:lnTo>
                  <a:lnTo>
                    <a:pt x="200" y="535"/>
                  </a:lnTo>
                  <a:lnTo>
                    <a:pt x="209" y="529"/>
                  </a:lnTo>
                  <a:lnTo>
                    <a:pt x="218" y="527"/>
                  </a:lnTo>
                  <a:lnTo>
                    <a:pt x="227" y="530"/>
                  </a:lnTo>
                  <a:lnTo>
                    <a:pt x="252" y="541"/>
                  </a:lnTo>
                  <a:lnTo>
                    <a:pt x="276" y="549"/>
                  </a:lnTo>
                  <a:lnTo>
                    <a:pt x="281" y="552"/>
                  </a:lnTo>
                  <a:lnTo>
                    <a:pt x="285" y="556"/>
                  </a:lnTo>
                  <a:lnTo>
                    <a:pt x="288" y="561"/>
                  </a:lnTo>
                  <a:lnTo>
                    <a:pt x="290" y="567"/>
                  </a:lnTo>
                  <a:lnTo>
                    <a:pt x="291" y="571"/>
                  </a:lnTo>
                  <a:lnTo>
                    <a:pt x="291" y="623"/>
                  </a:lnTo>
                  <a:lnTo>
                    <a:pt x="297" y="623"/>
                  </a:lnTo>
                  <a:lnTo>
                    <a:pt x="302" y="625"/>
                  </a:lnTo>
                  <a:lnTo>
                    <a:pt x="308" y="626"/>
                  </a:lnTo>
                  <a:lnTo>
                    <a:pt x="314" y="626"/>
                  </a:lnTo>
                  <a:lnTo>
                    <a:pt x="360" y="626"/>
                  </a:lnTo>
                  <a:lnTo>
                    <a:pt x="367" y="625"/>
                  </a:lnTo>
                  <a:lnTo>
                    <a:pt x="375" y="623"/>
                  </a:lnTo>
                  <a:lnTo>
                    <a:pt x="381" y="623"/>
                  </a:lnTo>
                  <a:lnTo>
                    <a:pt x="381" y="571"/>
                  </a:lnTo>
                  <a:lnTo>
                    <a:pt x="383" y="567"/>
                  </a:lnTo>
                  <a:lnTo>
                    <a:pt x="384" y="561"/>
                  </a:lnTo>
                  <a:lnTo>
                    <a:pt x="387" y="556"/>
                  </a:lnTo>
                  <a:lnTo>
                    <a:pt x="392" y="552"/>
                  </a:lnTo>
                  <a:lnTo>
                    <a:pt x="398" y="549"/>
                  </a:lnTo>
                  <a:lnTo>
                    <a:pt x="422" y="541"/>
                  </a:lnTo>
                  <a:lnTo>
                    <a:pt x="447" y="530"/>
                  </a:lnTo>
                  <a:lnTo>
                    <a:pt x="456" y="527"/>
                  </a:lnTo>
                  <a:lnTo>
                    <a:pt x="465" y="529"/>
                  </a:lnTo>
                  <a:lnTo>
                    <a:pt x="471" y="535"/>
                  </a:lnTo>
                  <a:lnTo>
                    <a:pt x="508" y="570"/>
                  </a:lnTo>
                  <a:lnTo>
                    <a:pt x="509" y="570"/>
                  </a:lnTo>
                  <a:lnTo>
                    <a:pt x="511" y="568"/>
                  </a:lnTo>
                  <a:lnTo>
                    <a:pt x="512" y="568"/>
                  </a:lnTo>
                  <a:lnTo>
                    <a:pt x="543" y="541"/>
                  </a:lnTo>
                  <a:lnTo>
                    <a:pt x="572" y="509"/>
                  </a:lnTo>
                  <a:lnTo>
                    <a:pt x="572" y="509"/>
                  </a:lnTo>
                  <a:lnTo>
                    <a:pt x="572" y="507"/>
                  </a:lnTo>
                  <a:lnTo>
                    <a:pt x="573" y="507"/>
                  </a:lnTo>
                  <a:lnTo>
                    <a:pt x="537" y="471"/>
                  </a:lnTo>
                  <a:lnTo>
                    <a:pt x="531" y="463"/>
                  </a:lnTo>
                  <a:lnTo>
                    <a:pt x="529" y="453"/>
                  </a:lnTo>
                  <a:lnTo>
                    <a:pt x="534" y="445"/>
                  </a:lnTo>
                  <a:lnTo>
                    <a:pt x="544" y="421"/>
                  </a:lnTo>
                  <a:lnTo>
                    <a:pt x="552" y="396"/>
                  </a:lnTo>
                  <a:lnTo>
                    <a:pt x="554" y="392"/>
                  </a:lnTo>
                  <a:lnTo>
                    <a:pt x="558" y="387"/>
                  </a:lnTo>
                  <a:lnTo>
                    <a:pt x="563" y="384"/>
                  </a:lnTo>
                  <a:lnTo>
                    <a:pt x="567" y="382"/>
                  </a:lnTo>
                  <a:lnTo>
                    <a:pt x="573" y="381"/>
                  </a:lnTo>
                  <a:lnTo>
                    <a:pt x="625" y="381"/>
                  </a:lnTo>
                  <a:lnTo>
                    <a:pt x="625" y="373"/>
                  </a:lnTo>
                  <a:lnTo>
                    <a:pt x="627" y="366"/>
                  </a:lnTo>
                  <a:lnTo>
                    <a:pt x="628" y="358"/>
                  </a:lnTo>
                  <a:lnTo>
                    <a:pt x="628" y="312"/>
                  </a:lnTo>
                  <a:lnTo>
                    <a:pt x="627" y="305"/>
                  </a:lnTo>
                  <a:lnTo>
                    <a:pt x="625" y="297"/>
                  </a:lnTo>
                  <a:lnTo>
                    <a:pt x="625" y="291"/>
                  </a:lnTo>
                  <a:lnTo>
                    <a:pt x="573" y="291"/>
                  </a:lnTo>
                  <a:lnTo>
                    <a:pt x="569" y="291"/>
                  </a:lnTo>
                  <a:lnTo>
                    <a:pt x="564" y="289"/>
                  </a:lnTo>
                  <a:lnTo>
                    <a:pt x="560" y="286"/>
                  </a:lnTo>
                  <a:lnTo>
                    <a:pt x="557" y="283"/>
                  </a:lnTo>
                  <a:lnTo>
                    <a:pt x="554" y="279"/>
                  </a:lnTo>
                  <a:lnTo>
                    <a:pt x="552" y="274"/>
                  </a:lnTo>
                  <a:lnTo>
                    <a:pt x="544" y="248"/>
                  </a:lnTo>
                  <a:lnTo>
                    <a:pt x="534" y="225"/>
                  </a:lnTo>
                  <a:lnTo>
                    <a:pt x="529" y="216"/>
                  </a:lnTo>
                  <a:lnTo>
                    <a:pt x="531" y="207"/>
                  </a:lnTo>
                  <a:lnTo>
                    <a:pt x="537" y="198"/>
                  </a:lnTo>
                  <a:lnTo>
                    <a:pt x="572" y="163"/>
                  </a:lnTo>
                  <a:lnTo>
                    <a:pt x="569" y="161"/>
                  </a:lnTo>
                  <a:lnTo>
                    <a:pt x="569" y="158"/>
                  </a:lnTo>
                  <a:lnTo>
                    <a:pt x="543" y="129"/>
                  </a:lnTo>
                  <a:lnTo>
                    <a:pt x="514" y="104"/>
                  </a:lnTo>
                  <a:lnTo>
                    <a:pt x="512" y="104"/>
                  </a:lnTo>
                  <a:lnTo>
                    <a:pt x="512" y="104"/>
                  </a:lnTo>
                  <a:lnTo>
                    <a:pt x="511" y="102"/>
                  </a:lnTo>
                  <a:lnTo>
                    <a:pt x="509" y="102"/>
                  </a:lnTo>
                  <a:lnTo>
                    <a:pt x="508" y="100"/>
                  </a:lnTo>
                  <a:lnTo>
                    <a:pt x="471" y="136"/>
                  </a:lnTo>
                  <a:lnTo>
                    <a:pt x="465" y="142"/>
                  </a:lnTo>
                  <a:lnTo>
                    <a:pt x="456" y="142"/>
                  </a:lnTo>
                  <a:lnTo>
                    <a:pt x="447" y="140"/>
                  </a:lnTo>
                  <a:lnTo>
                    <a:pt x="422" y="129"/>
                  </a:lnTo>
                  <a:lnTo>
                    <a:pt x="398" y="120"/>
                  </a:lnTo>
                  <a:lnTo>
                    <a:pt x="392" y="117"/>
                  </a:lnTo>
                  <a:lnTo>
                    <a:pt x="387" y="114"/>
                  </a:lnTo>
                  <a:lnTo>
                    <a:pt x="384" y="110"/>
                  </a:lnTo>
                  <a:lnTo>
                    <a:pt x="383" y="104"/>
                  </a:lnTo>
                  <a:lnTo>
                    <a:pt x="381" y="97"/>
                  </a:lnTo>
                  <a:lnTo>
                    <a:pt x="381" y="47"/>
                  </a:lnTo>
                  <a:lnTo>
                    <a:pt x="375" y="47"/>
                  </a:lnTo>
                  <a:lnTo>
                    <a:pt x="367" y="46"/>
                  </a:lnTo>
                  <a:lnTo>
                    <a:pt x="360" y="46"/>
                  </a:lnTo>
                  <a:lnTo>
                    <a:pt x="337" y="44"/>
                  </a:lnTo>
                  <a:close/>
                  <a:moveTo>
                    <a:pt x="335" y="0"/>
                  </a:moveTo>
                  <a:lnTo>
                    <a:pt x="363" y="1"/>
                  </a:lnTo>
                  <a:lnTo>
                    <a:pt x="386" y="3"/>
                  </a:lnTo>
                  <a:lnTo>
                    <a:pt x="409" y="8"/>
                  </a:lnTo>
                  <a:lnTo>
                    <a:pt x="415" y="9"/>
                  </a:lnTo>
                  <a:lnTo>
                    <a:pt x="419" y="12"/>
                  </a:lnTo>
                  <a:lnTo>
                    <a:pt x="422" y="17"/>
                  </a:lnTo>
                  <a:lnTo>
                    <a:pt x="425" y="23"/>
                  </a:lnTo>
                  <a:lnTo>
                    <a:pt x="425" y="29"/>
                  </a:lnTo>
                  <a:lnTo>
                    <a:pt x="425" y="81"/>
                  </a:lnTo>
                  <a:lnTo>
                    <a:pt x="441" y="87"/>
                  </a:lnTo>
                  <a:lnTo>
                    <a:pt x="453" y="93"/>
                  </a:lnTo>
                  <a:lnTo>
                    <a:pt x="491" y="56"/>
                  </a:lnTo>
                  <a:lnTo>
                    <a:pt x="499" y="50"/>
                  </a:lnTo>
                  <a:lnTo>
                    <a:pt x="509" y="49"/>
                  </a:lnTo>
                  <a:lnTo>
                    <a:pt x="518" y="52"/>
                  </a:lnTo>
                  <a:lnTo>
                    <a:pt x="525" y="56"/>
                  </a:lnTo>
                  <a:lnTo>
                    <a:pt x="529" y="59"/>
                  </a:lnTo>
                  <a:lnTo>
                    <a:pt x="535" y="64"/>
                  </a:lnTo>
                  <a:lnTo>
                    <a:pt x="537" y="67"/>
                  </a:lnTo>
                  <a:lnTo>
                    <a:pt x="540" y="67"/>
                  </a:lnTo>
                  <a:lnTo>
                    <a:pt x="541" y="68"/>
                  </a:lnTo>
                  <a:lnTo>
                    <a:pt x="541" y="68"/>
                  </a:lnTo>
                  <a:lnTo>
                    <a:pt x="575" y="99"/>
                  </a:lnTo>
                  <a:lnTo>
                    <a:pt x="605" y="131"/>
                  </a:lnTo>
                  <a:lnTo>
                    <a:pt x="605" y="132"/>
                  </a:lnTo>
                  <a:lnTo>
                    <a:pt x="605" y="132"/>
                  </a:lnTo>
                  <a:lnTo>
                    <a:pt x="607" y="134"/>
                  </a:lnTo>
                  <a:lnTo>
                    <a:pt x="607" y="136"/>
                  </a:lnTo>
                  <a:lnTo>
                    <a:pt x="607" y="136"/>
                  </a:lnTo>
                  <a:lnTo>
                    <a:pt x="608" y="137"/>
                  </a:lnTo>
                  <a:lnTo>
                    <a:pt x="613" y="143"/>
                  </a:lnTo>
                  <a:lnTo>
                    <a:pt x="616" y="148"/>
                  </a:lnTo>
                  <a:lnTo>
                    <a:pt x="619" y="154"/>
                  </a:lnTo>
                  <a:lnTo>
                    <a:pt x="624" y="164"/>
                  </a:lnTo>
                  <a:lnTo>
                    <a:pt x="622" y="174"/>
                  </a:lnTo>
                  <a:lnTo>
                    <a:pt x="618" y="181"/>
                  </a:lnTo>
                  <a:lnTo>
                    <a:pt x="579" y="219"/>
                  </a:lnTo>
                  <a:lnTo>
                    <a:pt x="586" y="232"/>
                  </a:lnTo>
                  <a:lnTo>
                    <a:pt x="590" y="247"/>
                  </a:lnTo>
                  <a:lnTo>
                    <a:pt x="642" y="247"/>
                  </a:lnTo>
                  <a:lnTo>
                    <a:pt x="648" y="247"/>
                  </a:lnTo>
                  <a:lnTo>
                    <a:pt x="653" y="248"/>
                  </a:lnTo>
                  <a:lnTo>
                    <a:pt x="657" y="251"/>
                  </a:lnTo>
                  <a:lnTo>
                    <a:pt x="662" y="254"/>
                  </a:lnTo>
                  <a:lnTo>
                    <a:pt x="663" y="259"/>
                  </a:lnTo>
                  <a:lnTo>
                    <a:pt x="666" y="264"/>
                  </a:lnTo>
                  <a:lnTo>
                    <a:pt x="669" y="285"/>
                  </a:lnTo>
                  <a:lnTo>
                    <a:pt x="674" y="308"/>
                  </a:lnTo>
                  <a:lnTo>
                    <a:pt x="674" y="335"/>
                  </a:lnTo>
                  <a:lnTo>
                    <a:pt x="672" y="349"/>
                  </a:lnTo>
                  <a:lnTo>
                    <a:pt x="672" y="363"/>
                  </a:lnTo>
                  <a:lnTo>
                    <a:pt x="669" y="385"/>
                  </a:lnTo>
                  <a:lnTo>
                    <a:pt x="666" y="408"/>
                  </a:lnTo>
                  <a:lnTo>
                    <a:pt x="663" y="413"/>
                  </a:lnTo>
                  <a:lnTo>
                    <a:pt x="662" y="417"/>
                  </a:lnTo>
                  <a:lnTo>
                    <a:pt x="657" y="421"/>
                  </a:lnTo>
                  <a:lnTo>
                    <a:pt x="653" y="424"/>
                  </a:lnTo>
                  <a:lnTo>
                    <a:pt x="648" y="425"/>
                  </a:lnTo>
                  <a:lnTo>
                    <a:pt x="642" y="425"/>
                  </a:lnTo>
                  <a:lnTo>
                    <a:pt x="590" y="425"/>
                  </a:lnTo>
                  <a:lnTo>
                    <a:pt x="586" y="437"/>
                  </a:lnTo>
                  <a:lnTo>
                    <a:pt x="579" y="451"/>
                  </a:lnTo>
                  <a:lnTo>
                    <a:pt x="618" y="488"/>
                  </a:lnTo>
                  <a:lnTo>
                    <a:pt x="622" y="497"/>
                  </a:lnTo>
                  <a:lnTo>
                    <a:pt x="624" y="506"/>
                  </a:lnTo>
                  <a:lnTo>
                    <a:pt x="619" y="515"/>
                  </a:lnTo>
                  <a:lnTo>
                    <a:pt x="615" y="523"/>
                  </a:lnTo>
                  <a:lnTo>
                    <a:pt x="611" y="530"/>
                  </a:lnTo>
                  <a:lnTo>
                    <a:pt x="607" y="536"/>
                  </a:lnTo>
                  <a:lnTo>
                    <a:pt x="587" y="561"/>
                  </a:lnTo>
                  <a:lnTo>
                    <a:pt x="563" y="584"/>
                  </a:lnTo>
                  <a:lnTo>
                    <a:pt x="537" y="603"/>
                  </a:lnTo>
                  <a:lnTo>
                    <a:pt x="531" y="608"/>
                  </a:lnTo>
                  <a:lnTo>
                    <a:pt x="525" y="614"/>
                  </a:lnTo>
                  <a:lnTo>
                    <a:pt x="518" y="619"/>
                  </a:lnTo>
                  <a:lnTo>
                    <a:pt x="509" y="622"/>
                  </a:lnTo>
                  <a:lnTo>
                    <a:pt x="499" y="620"/>
                  </a:lnTo>
                  <a:lnTo>
                    <a:pt x="491" y="614"/>
                  </a:lnTo>
                  <a:lnTo>
                    <a:pt x="453" y="576"/>
                  </a:lnTo>
                  <a:lnTo>
                    <a:pt x="425" y="588"/>
                  </a:lnTo>
                  <a:lnTo>
                    <a:pt x="425" y="641"/>
                  </a:lnTo>
                  <a:lnTo>
                    <a:pt x="425" y="648"/>
                  </a:lnTo>
                  <a:lnTo>
                    <a:pt x="422" y="652"/>
                  </a:lnTo>
                  <a:lnTo>
                    <a:pt x="419" y="658"/>
                  </a:lnTo>
                  <a:lnTo>
                    <a:pt x="415" y="661"/>
                  </a:lnTo>
                  <a:lnTo>
                    <a:pt x="409" y="664"/>
                  </a:lnTo>
                  <a:lnTo>
                    <a:pt x="364" y="670"/>
                  </a:lnTo>
                  <a:lnTo>
                    <a:pt x="364" y="673"/>
                  </a:lnTo>
                  <a:lnTo>
                    <a:pt x="363" y="673"/>
                  </a:lnTo>
                  <a:lnTo>
                    <a:pt x="360" y="672"/>
                  </a:lnTo>
                  <a:lnTo>
                    <a:pt x="358" y="672"/>
                  </a:lnTo>
                  <a:lnTo>
                    <a:pt x="355" y="672"/>
                  </a:lnTo>
                  <a:lnTo>
                    <a:pt x="354" y="673"/>
                  </a:lnTo>
                  <a:lnTo>
                    <a:pt x="310" y="673"/>
                  </a:lnTo>
                  <a:lnTo>
                    <a:pt x="293" y="670"/>
                  </a:lnTo>
                  <a:lnTo>
                    <a:pt x="278" y="667"/>
                  </a:lnTo>
                  <a:lnTo>
                    <a:pt x="264" y="664"/>
                  </a:lnTo>
                  <a:lnTo>
                    <a:pt x="258" y="663"/>
                  </a:lnTo>
                  <a:lnTo>
                    <a:pt x="253" y="658"/>
                  </a:lnTo>
                  <a:lnTo>
                    <a:pt x="250" y="654"/>
                  </a:lnTo>
                  <a:lnTo>
                    <a:pt x="247" y="648"/>
                  </a:lnTo>
                  <a:lnTo>
                    <a:pt x="247" y="641"/>
                  </a:lnTo>
                  <a:lnTo>
                    <a:pt x="247" y="588"/>
                  </a:lnTo>
                  <a:lnTo>
                    <a:pt x="221" y="576"/>
                  </a:lnTo>
                  <a:lnTo>
                    <a:pt x="183" y="614"/>
                  </a:lnTo>
                  <a:lnTo>
                    <a:pt x="174" y="620"/>
                  </a:lnTo>
                  <a:lnTo>
                    <a:pt x="165" y="622"/>
                  </a:lnTo>
                  <a:lnTo>
                    <a:pt x="154" y="619"/>
                  </a:lnTo>
                  <a:lnTo>
                    <a:pt x="149" y="614"/>
                  </a:lnTo>
                  <a:lnTo>
                    <a:pt x="143" y="609"/>
                  </a:lnTo>
                  <a:lnTo>
                    <a:pt x="137" y="605"/>
                  </a:lnTo>
                  <a:lnTo>
                    <a:pt x="134" y="603"/>
                  </a:lnTo>
                  <a:lnTo>
                    <a:pt x="134" y="603"/>
                  </a:lnTo>
                  <a:lnTo>
                    <a:pt x="133" y="602"/>
                  </a:lnTo>
                  <a:lnTo>
                    <a:pt x="131" y="602"/>
                  </a:lnTo>
                  <a:lnTo>
                    <a:pt x="98" y="571"/>
                  </a:lnTo>
                  <a:lnTo>
                    <a:pt x="70" y="538"/>
                  </a:lnTo>
                  <a:lnTo>
                    <a:pt x="69" y="538"/>
                  </a:lnTo>
                  <a:lnTo>
                    <a:pt x="67" y="536"/>
                  </a:lnTo>
                  <a:lnTo>
                    <a:pt x="67" y="536"/>
                  </a:lnTo>
                  <a:lnTo>
                    <a:pt x="66" y="535"/>
                  </a:lnTo>
                  <a:lnTo>
                    <a:pt x="66" y="533"/>
                  </a:lnTo>
                  <a:lnTo>
                    <a:pt x="66" y="532"/>
                  </a:lnTo>
                  <a:lnTo>
                    <a:pt x="61" y="527"/>
                  </a:lnTo>
                  <a:lnTo>
                    <a:pt x="56" y="521"/>
                  </a:lnTo>
                  <a:lnTo>
                    <a:pt x="53" y="515"/>
                  </a:lnTo>
                  <a:lnTo>
                    <a:pt x="49" y="506"/>
                  </a:lnTo>
                  <a:lnTo>
                    <a:pt x="50" y="497"/>
                  </a:lnTo>
                  <a:lnTo>
                    <a:pt x="55" y="488"/>
                  </a:lnTo>
                  <a:lnTo>
                    <a:pt x="93" y="451"/>
                  </a:lnTo>
                  <a:lnTo>
                    <a:pt x="87" y="437"/>
                  </a:lnTo>
                  <a:lnTo>
                    <a:pt x="82" y="425"/>
                  </a:lnTo>
                  <a:lnTo>
                    <a:pt x="29" y="425"/>
                  </a:lnTo>
                  <a:lnTo>
                    <a:pt x="23" y="425"/>
                  </a:lnTo>
                  <a:lnTo>
                    <a:pt x="17" y="422"/>
                  </a:lnTo>
                  <a:lnTo>
                    <a:pt x="12" y="419"/>
                  </a:lnTo>
                  <a:lnTo>
                    <a:pt x="9" y="414"/>
                  </a:lnTo>
                  <a:lnTo>
                    <a:pt x="6" y="408"/>
                  </a:lnTo>
                  <a:lnTo>
                    <a:pt x="3" y="385"/>
                  </a:lnTo>
                  <a:lnTo>
                    <a:pt x="0" y="363"/>
                  </a:lnTo>
                  <a:lnTo>
                    <a:pt x="0" y="308"/>
                  </a:lnTo>
                  <a:lnTo>
                    <a:pt x="6" y="264"/>
                  </a:lnTo>
                  <a:lnTo>
                    <a:pt x="9" y="257"/>
                  </a:lnTo>
                  <a:lnTo>
                    <a:pt x="12" y="253"/>
                  </a:lnTo>
                  <a:lnTo>
                    <a:pt x="17" y="250"/>
                  </a:lnTo>
                  <a:lnTo>
                    <a:pt x="23" y="247"/>
                  </a:lnTo>
                  <a:lnTo>
                    <a:pt x="29" y="247"/>
                  </a:lnTo>
                  <a:lnTo>
                    <a:pt x="82" y="247"/>
                  </a:lnTo>
                  <a:lnTo>
                    <a:pt x="87" y="232"/>
                  </a:lnTo>
                  <a:lnTo>
                    <a:pt x="93" y="219"/>
                  </a:lnTo>
                  <a:lnTo>
                    <a:pt x="55" y="181"/>
                  </a:lnTo>
                  <a:lnTo>
                    <a:pt x="50" y="174"/>
                  </a:lnTo>
                  <a:lnTo>
                    <a:pt x="49" y="164"/>
                  </a:lnTo>
                  <a:lnTo>
                    <a:pt x="53" y="154"/>
                  </a:lnTo>
                  <a:lnTo>
                    <a:pt x="56" y="148"/>
                  </a:lnTo>
                  <a:lnTo>
                    <a:pt x="61" y="140"/>
                  </a:lnTo>
                  <a:lnTo>
                    <a:pt x="67" y="134"/>
                  </a:lnTo>
                  <a:lnTo>
                    <a:pt x="99" y="97"/>
                  </a:lnTo>
                  <a:lnTo>
                    <a:pt x="134" y="67"/>
                  </a:lnTo>
                  <a:lnTo>
                    <a:pt x="140" y="61"/>
                  </a:lnTo>
                  <a:lnTo>
                    <a:pt x="148" y="56"/>
                  </a:lnTo>
                  <a:lnTo>
                    <a:pt x="154" y="52"/>
                  </a:lnTo>
                  <a:lnTo>
                    <a:pt x="165" y="49"/>
                  </a:lnTo>
                  <a:lnTo>
                    <a:pt x="174" y="50"/>
                  </a:lnTo>
                  <a:lnTo>
                    <a:pt x="183" y="56"/>
                  </a:lnTo>
                  <a:lnTo>
                    <a:pt x="221" y="93"/>
                  </a:lnTo>
                  <a:lnTo>
                    <a:pt x="247" y="81"/>
                  </a:lnTo>
                  <a:lnTo>
                    <a:pt x="247" y="29"/>
                  </a:lnTo>
                  <a:lnTo>
                    <a:pt x="247" y="23"/>
                  </a:lnTo>
                  <a:lnTo>
                    <a:pt x="250" y="17"/>
                  </a:lnTo>
                  <a:lnTo>
                    <a:pt x="253" y="12"/>
                  </a:lnTo>
                  <a:lnTo>
                    <a:pt x="258" y="9"/>
                  </a:lnTo>
                  <a:lnTo>
                    <a:pt x="264" y="8"/>
                  </a:lnTo>
                  <a:lnTo>
                    <a:pt x="287" y="3"/>
                  </a:lnTo>
                  <a:lnTo>
                    <a:pt x="310" y="1"/>
                  </a:lnTo>
                  <a:lnTo>
                    <a:pt x="33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8">
              <a:extLst>
                <a:ext uri="{FF2B5EF4-FFF2-40B4-BE49-F238E27FC236}">
                  <a16:creationId xmlns:a16="http://schemas.microsoft.com/office/drawing/2014/main" id="{B11AA4C1-78EF-E34C-B13B-628FBCABA860}"/>
                </a:ext>
              </a:extLst>
            </p:cNvPr>
            <p:cNvSpPr>
              <a:spLocks noEditPoints="1"/>
            </p:cNvSpPr>
            <p:nvPr/>
          </p:nvSpPr>
          <p:spPr bwMode="auto">
            <a:xfrm>
              <a:off x="1731963" y="3300413"/>
              <a:ext cx="806450" cy="806450"/>
            </a:xfrm>
            <a:custGeom>
              <a:avLst/>
              <a:gdLst>
                <a:gd name="T0" fmla="*/ 219 w 508"/>
                <a:gd name="T1" fmla="*/ 75 h 508"/>
                <a:gd name="T2" fmla="*/ 172 w 508"/>
                <a:gd name="T3" fmla="*/ 105 h 508"/>
                <a:gd name="T4" fmla="*/ 123 w 508"/>
                <a:gd name="T5" fmla="*/ 77 h 508"/>
                <a:gd name="T6" fmla="*/ 107 w 508"/>
                <a:gd name="T7" fmla="*/ 156 h 508"/>
                <a:gd name="T8" fmla="*/ 88 w 508"/>
                <a:gd name="T9" fmla="*/ 212 h 508"/>
                <a:gd name="T10" fmla="*/ 35 w 508"/>
                <a:gd name="T11" fmla="*/ 230 h 508"/>
                <a:gd name="T12" fmla="*/ 33 w 508"/>
                <a:gd name="T13" fmla="*/ 265 h 508"/>
                <a:gd name="T14" fmla="*/ 81 w 508"/>
                <a:gd name="T15" fmla="*/ 288 h 508"/>
                <a:gd name="T16" fmla="*/ 108 w 508"/>
                <a:gd name="T17" fmla="*/ 340 h 508"/>
                <a:gd name="T18" fmla="*/ 78 w 508"/>
                <a:gd name="T19" fmla="*/ 386 h 508"/>
                <a:gd name="T20" fmla="*/ 151 w 508"/>
                <a:gd name="T21" fmla="*/ 403 h 508"/>
                <a:gd name="T22" fmla="*/ 189 w 508"/>
                <a:gd name="T23" fmla="*/ 409 h 508"/>
                <a:gd name="T24" fmla="*/ 219 w 508"/>
                <a:gd name="T25" fmla="*/ 470 h 508"/>
                <a:gd name="T26" fmla="*/ 276 w 508"/>
                <a:gd name="T27" fmla="*/ 471 h 508"/>
                <a:gd name="T28" fmla="*/ 294 w 508"/>
                <a:gd name="T29" fmla="*/ 418 h 508"/>
                <a:gd name="T30" fmla="*/ 349 w 508"/>
                <a:gd name="T31" fmla="*/ 398 h 508"/>
                <a:gd name="T32" fmla="*/ 386 w 508"/>
                <a:gd name="T33" fmla="*/ 429 h 508"/>
                <a:gd name="T34" fmla="*/ 405 w 508"/>
                <a:gd name="T35" fmla="*/ 355 h 508"/>
                <a:gd name="T36" fmla="*/ 410 w 508"/>
                <a:gd name="T37" fmla="*/ 317 h 508"/>
                <a:gd name="T38" fmla="*/ 431 w 508"/>
                <a:gd name="T39" fmla="*/ 288 h 508"/>
                <a:gd name="T40" fmla="*/ 473 w 508"/>
                <a:gd name="T41" fmla="*/ 230 h 508"/>
                <a:gd name="T42" fmla="*/ 421 w 508"/>
                <a:gd name="T43" fmla="*/ 215 h 508"/>
                <a:gd name="T44" fmla="*/ 399 w 508"/>
                <a:gd name="T45" fmla="*/ 160 h 508"/>
                <a:gd name="T46" fmla="*/ 409 w 508"/>
                <a:gd name="T47" fmla="*/ 98 h 508"/>
                <a:gd name="T48" fmla="*/ 383 w 508"/>
                <a:gd name="T49" fmla="*/ 77 h 508"/>
                <a:gd name="T50" fmla="*/ 337 w 508"/>
                <a:gd name="T51" fmla="*/ 105 h 508"/>
                <a:gd name="T52" fmla="*/ 287 w 508"/>
                <a:gd name="T53" fmla="*/ 75 h 508"/>
                <a:gd name="T54" fmla="*/ 253 w 508"/>
                <a:gd name="T55" fmla="*/ 0 h 508"/>
                <a:gd name="T56" fmla="*/ 320 w 508"/>
                <a:gd name="T57" fmla="*/ 17 h 508"/>
                <a:gd name="T58" fmla="*/ 373 w 508"/>
                <a:gd name="T59" fmla="*/ 40 h 508"/>
                <a:gd name="T60" fmla="*/ 402 w 508"/>
                <a:gd name="T61" fmla="*/ 49 h 508"/>
                <a:gd name="T62" fmla="*/ 456 w 508"/>
                <a:gd name="T63" fmla="*/ 99 h 508"/>
                <a:gd name="T64" fmla="*/ 459 w 508"/>
                <a:gd name="T65" fmla="*/ 104 h 508"/>
                <a:gd name="T66" fmla="*/ 468 w 508"/>
                <a:gd name="T67" fmla="*/ 134 h 508"/>
                <a:gd name="T68" fmla="*/ 485 w 508"/>
                <a:gd name="T69" fmla="*/ 186 h 508"/>
                <a:gd name="T70" fmla="*/ 505 w 508"/>
                <a:gd name="T71" fmla="*/ 215 h 508"/>
                <a:gd name="T72" fmla="*/ 502 w 508"/>
                <a:gd name="T73" fmla="*/ 308 h 508"/>
                <a:gd name="T74" fmla="*/ 445 w 508"/>
                <a:gd name="T75" fmla="*/ 322 h 508"/>
                <a:gd name="T76" fmla="*/ 470 w 508"/>
                <a:gd name="T77" fmla="*/ 381 h 508"/>
                <a:gd name="T78" fmla="*/ 405 w 508"/>
                <a:gd name="T79" fmla="*/ 456 h 508"/>
                <a:gd name="T80" fmla="*/ 373 w 508"/>
                <a:gd name="T81" fmla="*/ 467 h 508"/>
                <a:gd name="T82" fmla="*/ 320 w 508"/>
                <a:gd name="T83" fmla="*/ 489 h 508"/>
                <a:gd name="T84" fmla="*/ 273 w 508"/>
                <a:gd name="T85" fmla="*/ 508 h 508"/>
                <a:gd name="T86" fmla="*/ 215 w 508"/>
                <a:gd name="T87" fmla="*/ 505 h 508"/>
                <a:gd name="T88" fmla="*/ 186 w 508"/>
                <a:gd name="T89" fmla="*/ 483 h 508"/>
                <a:gd name="T90" fmla="*/ 128 w 508"/>
                <a:gd name="T91" fmla="*/ 468 h 508"/>
                <a:gd name="T92" fmla="*/ 101 w 508"/>
                <a:gd name="T93" fmla="*/ 456 h 508"/>
                <a:gd name="T94" fmla="*/ 50 w 508"/>
                <a:gd name="T95" fmla="*/ 406 h 508"/>
                <a:gd name="T96" fmla="*/ 40 w 508"/>
                <a:gd name="T97" fmla="*/ 389 h 508"/>
                <a:gd name="T98" fmla="*/ 65 w 508"/>
                <a:gd name="T99" fmla="*/ 331 h 508"/>
                <a:gd name="T100" fmla="*/ 6 w 508"/>
                <a:gd name="T101" fmla="*/ 313 h 508"/>
                <a:gd name="T102" fmla="*/ 9 w 508"/>
                <a:gd name="T103" fmla="*/ 191 h 508"/>
                <a:gd name="T104" fmla="*/ 67 w 508"/>
                <a:gd name="T105" fmla="*/ 173 h 508"/>
                <a:gd name="T106" fmla="*/ 38 w 508"/>
                <a:gd name="T107" fmla="*/ 121 h 508"/>
                <a:gd name="T108" fmla="*/ 102 w 508"/>
                <a:gd name="T109" fmla="*/ 51 h 508"/>
                <a:gd name="T110" fmla="*/ 139 w 508"/>
                <a:gd name="T111" fmla="*/ 43 h 508"/>
                <a:gd name="T112" fmla="*/ 189 w 508"/>
                <a:gd name="T113" fmla="*/ 13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8" h="508">
                  <a:moveTo>
                    <a:pt x="253" y="34"/>
                  </a:moveTo>
                  <a:lnTo>
                    <a:pt x="236" y="35"/>
                  </a:lnTo>
                  <a:lnTo>
                    <a:pt x="230" y="35"/>
                  </a:lnTo>
                  <a:lnTo>
                    <a:pt x="226" y="35"/>
                  </a:lnTo>
                  <a:lnTo>
                    <a:pt x="219" y="37"/>
                  </a:lnTo>
                  <a:lnTo>
                    <a:pt x="219" y="75"/>
                  </a:lnTo>
                  <a:lnTo>
                    <a:pt x="218" y="80"/>
                  </a:lnTo>
                  <a:lnTo>
                    <a:pt x="216" y="84"/>
                  </a:lnTo>
                  <a:lnTo>
                    <a:pt x="212" y="89"/>
                  </a:lnTo>
                  <a:lnTo>
                    <a:pt x="207" y="92"/>
                  </a:lnTo>
                  <a:lnTo>
                    <a:pt x="189" y="98"/>
                  </a:lnTo>
                  <a:lnTo>
                    <a:pt x="172" y="105"/>
                  </a:lnTo>
                  <a:lnTo>
                    <a:pt x="168" y="107"/>
                  </a:lnTo>
                  <a:lnTo>
                    <a:pt x="163" y="109"/>
                  </a:lnTo>
                  <a:lnTo>
                    <a:pt x="158" y="107"/>
                  </a:lnTo>
                  <a:lnTo>
                    <a:pt x="154" y="105"/>
                  </a:lnTo>
                  <a:lnTo>
                    <a:pt x="151" y="102"/>
                  </a:lnTo>
                  <a:lnTo>
                    <a:pt x="123" y="77"/>
                  </a:lnTo>
                  <a:lnTo>
                    <a:pt x="122" y="78"/>
                  </a:lnTo>
                  <a:lnTo>
                    <a:pt x="97" y="98"/>
                  </a:lnTo>
                  <a:lnTo>
                    <a:pt x="78" y="122"/>
                  </a:lnTo>
                  <a:lnTo>
                    <a:pt x="76" y="124"/>
                  </a:lnTo>
                  <a:lnTo>
                    <a:pt x="104" y="150"/>
                  </a:lnTo>
                  <a:lnTo>
                    <a:pt x="107" y="156"/>
                  </a:lnTo>
                  <a:lnTo>
                    <a:pt x="108" y="160"/>
                  </a:lnTo>
                  <a:lnTo>
                    <a:pt x="108" y="166"/>
                  </a:lnTo>
                  <a:lnTo>
                    <a:pt x="107" y="171"/>
                  </a:lnTo>
                  <a:lnTo>
                    <a:pt x="97" y="188"/>
                  </a:lnTo>
                  <a:lnTo>
                    <a:pt x="90" y="208"/>
                  </a:lnTo>
                  <a:lnTo>
                    <a:pt x="88" y="212"/>
                  </a:lnTo>
                  <a:lnTo>
                    <a:pt x="85" y="217"/>
                  </a:lnTo>
                  <a:lnTo>
                    <a:pt x="81" y="220"/>
                  </a:lnTo>
                  <a:lnTo>
                    <a:pt x="75" y="220"/>
                  </a:lnTo>
                  <a:lnTo>
                    <a:pt x="36" y="220"/>
                  </a:lnTo>
                  <a:lnTo>
                    <a:pt x="35" y="226"/>
                  </a:lnTo>
                  <a:lnTo>
                    <a:pt x="35" y="230"/>
                  </a:lnTo>
                  <a:lnTo>
                    <a:pt x="35" y="235"/>
                  </a:lnTo>
                  <a:lnTo>
                    <a:pt x="33" y="241"/>
                  </a:lnTo>
                  <a:lnTo>
                    <a:pt x="33" y="247"/>
                  </a:lnTo>
                  <a:lnTo>
                    <a:pt x="33" y="253"/>
                  </a:lnTo>
                  <a:lnTo>
                    <a:pt x="33" y="259"/>
                  </a:lnTo>
                  <a:lnTo>
                    <a:pt x="33" y="265"/>
                  </a:lnTo>
                  <a:lnTo>
                    <a:pt x="35" y="270"/>
                  </a:lnTo>
                  <a:lnTo>
                    <a:pt x="35" y="276"/>
                  </a:lnTo>
                  <a:lnTo>
                    <a:pt x="35" y="282"/>
                  </a:lnTo>
                  <a:lnTo>
                    <a:pt x="36" y="288"/>
                  </a:lnTo>
                  <a:lnTo>
                    <a:pt x="75" y="288"/>
                  </a:lnTo>
                  <a:lnTo>
                    <a:pt x="81" y="288"/>
                  </a:lnTo>
                  <a:lnTo>
                    <a:pt x="85" y="291"/>
                  </a:lnTo>
                  <a:lnTo>
                    <a:pt x="88" y="294"/>
                  </a:lnTo>
                  <a:lnTo>
                    <a:pt x="90" y="299"/>
                  </a:lnTo>
                  <a:lnTo>
                    <a:pt x="97" y="317"/>
                  </a:lnTo>
                  <a:lnTo>
                    <a:pt x="107" y="336"/>
                  </a:lnTo>
                  <a:lnTo>
                    <a:pt x="108" y="340"/>
                  </a:lnTo>
                  <a:lnTo>
                    <a:pt x="108" y="346"/>
                  </a:lnTo>
                  <a:lnTo>
                    <a:pt x="107" y="351"/>
                  </a:lnTo>
                  <a:lnTo>
                    <a:pt x="104" y="355"/>
                  </a:lnTo>
                  <a:lnTo>
                    <a:pt x="76" y="383"/>
                  </a:lnTo>
                  <a:lnTo>
                    <a:pt x="78" y="384"/>
                  </a:lnTo>
                  <a:lnTo>
                    <a:pt x="78" y="386"/>
                  </a:lnTo>
                  <a:lnTo>
                    <a:pt x="79" y="386"/>
                  </a:lnTo>
                  <a:lnTo>
                    <a:pt x="97" y="407"/>
                  </a:lnTo>
                  <a:lnTo>
                    <a:pt x="120" y="427"/>
                  </a:lnTo>
                  <a:lnTo>
                    <a:pt x="122" y="429"/>
                  </a:lnTo>
                  <a:lnTo>
                    <a:pt x="123" y="430"/>
                  </a:lnTo>
                  <a:lnTo>
                    <a:pt x="151" y="403"/>
                  </a:lnTo>
                  <a:lnTo>
                    <a:pt x="154" y="400"/>
                  </a:lnTo>
                  <a:lnTo>
                    <a:pt x="158" y="398"/>
                  </a:lnTo>
                  <a:lnTo>
                    <a:pt x="163" y="398"/>
                  </a:lnTo>
                  <a:lnTo>
                    <a:pt x="168" y="398"/>
                  </a:lnTo>
                  <a:lnTo>
                    <a:pt x="172" y="400"/>
                  </a:lnTo>
                  <a:lnTo>
                    <a:pt x="189" y="409"/>
                  </a:lnTo>
                  <a:lnTo>
                    <a:pt x="207" y="415"/>
                  </a:lnTo>
                  <a:lnTo>
                    <a:pt x="212" y="418"/>
                  </a:lnTo>
                  <a:lnTo>
                    <a:pt x="216" y="421"/>
                  </a:lnTo>
                  <a:lnTo>
                    <a:pt x="218" y="427"/>
                  </a:lnTo>
                  <a:lnTo>
                    <a:pt x="219" y="432"/>
                  </a:lnTo>
                  <a:lnTo>
                    <a:pt x="219" y="470"/>
                  </a:lnTo>
                  <a:lnTo>
                    <a:pt x="224" y="471"/>
                  </a:lnTo>
                  <a:lnTo>
                    <a:pt x="227" y="471"/>
                  </a:lnTo>
                  <a:lnTo>
                    <a:pt x="232" y="473"/>
                  </a:lnTo>
                  <a:lnTo>
                    <a:pt x="236" y="473"/>
                  </a:lnTo>
                  <a:lnTo>
                    <a:pt x="271" y="473"/>
                  </a:lnTo>
                  <a:lnTo>
                    <a:pt x="276" y="471"/>
                  </a:lnTo>
                  <a:lnTo>
                    <a:pt x="282" y="470"/>
                  </a:lnTo>
                  <a:lnTo>
                    <a:pt x="287" y="470"/>
                  </a:lnTo>
                  <a:lnTo>
                    <a:pt x="287" y="432"/>
                  </a:lnTo>
                  <a:lnTo>
                    <a:pt x="288" y="427"/>
                  </a:lnTo>
                  <a:lnTo>
                    <a:pt x="291" y="421"/>
                  </a:lnTo>
                  <a:lnTo>
                    <a:pt x="294" y="418"/>
                  </a:lnTo>
                  <a:lnTo>
                    <a:pt x="300" y="415"/>
                  </a:lnTo>
                  <a:lnTo>
                    <a:pt x="319" y="409"/>
                  </a:lnTo>
                  <a:lnTo>
                    <a:pt x="337" y="400"/>
                  </a:lnTo>
                  <a:lnTo>
                    <a:pt x="340" y="398"/>
                  </a:lnTo>
                  <a:lnTo>
                    <a:pt x="344" y="398"/>
                  </a:lnTo>
                  <a:lnTo>
                    <a:pt x="349" y="398"/>
                  </a:lnTo>
                  <a:lnTo>
                    <a:pt x="352" y="400"/>
                  </a:lnTo>
                  <a:lnTo>
                    <a:pt x="355" y="403"/>
                  </a:lnTo>
                  <a:lnTo>
                    <a:pt x="383" y="430"/>
                  </a:lnTo>
                  <a:lnTo>
                    <a:pt x="384" y="430"/>
                  </a:lnTo>
                  <a:lnTo>
                    <a:pt x="384" y="429"/>
                  </a:lnTo>
                  <a:lnTo>
                    <a:pt x="386" y="429"/>
                  </a:lnTo>
                  <a:lnTo>
                    <a:pt x="409" y="409"/>
                  </a:lnTo>
                  <a:lnTo>
                    <a:pt x="430" y="384"/>
                  </a:lnTo>
                  <a:lnTo>
                    <a:pt x="430" y="384"/>
                  </a:lnTo>
                  <a:lnTo>
                    <a:pt x="431" y="383"/>
                  </a:lnTo>
                  <a:lnTo>
                    <a:pt x="431" y="383"/>
                  </a:lnTo>
                  <a:lnTo>
                    <a:pt x="405" y="355"/>
                  </a:lnTo>
                  <a:lnTo>
                    <a:pt x="401" y="352"/>
                  </a:lnTo>
                  <a:lnTo>
                    <a:pt x="399" y="348"/>
                  </a:lnTo>
                  <a:lnTo>
                    <a:pt x="399" y="343"/>
                  </a:lnTo>
                  <a:lnTo>
                    <a:pt x="399" y="339"/>
                  </a:lnTo>
                  <a:lnTo>
                    <a:pt x="402" y="336"/>
                  </a:lnTo>
                  <a:lnTo>
                    <a:pt x="410" y="317"/>
                  </a:lnTo>
                  <a:lnTo>
                    <a:pt x="416" y="299"/>
                  </a:lnTo>
                  <a:lnTo>
                    <a:pt x="418" y="296"/>
                  </a:lnTo>
                  <a:lnTo>
                    <a:pt x="421" y="293"/>
                  </a:lnTo>
                  <a:lnTo>
                    <a:pt x="424" y="290"/>
                  </a:lnTo>
                  <a:lnTo>
                    <a:pt x="428" y="288"/>
                  </a:lnTo>
                  <a:lnTo>
                    <a:pt x="431" y="288"/>
                  </a:lnTo>
                  <a:lnTo>
                    <a:pt x="471" y="288"/>
                  </a:lnTo>
                  <a:lnTo>
                    <a:pt x="471" y="282"/>
                  </a:lnTo>
                  <a:lnTo>
                    <a:pt x="473" y="276"/>
                  </a:lnTo>
                  <a:lnTo>
                    <a:pt x="473" y="270"/>
                  </a:lnTo>
                  <a:lnTo>
                    <a:pt x="473" y="235"/>
                  </a:lnTo>
                  <a:lnTo>
                    <a:pt x="473" y="230"/>
                  </a:lnTo>
                  <a:lnTo>
                    <a:pt x="471" y="226"/>
                  </a:lnTo>
                  <a:lnTo>
                    <a:pt x="471" y="220"/>
                  </a:lnTo>
                  <a:lnTo>
                    <a:pt x="431" y="220"/>
                  </a:lnTo>
                  <a:lnTo>
                    <a:pt x="428" y="220"/>
                  </a:lnTo>
                  <a:lnTo>
                    <a:pt x="424" y="218"/>
                  </a:lnTo>
                  <a:lnTo>
                    <a:pt x="421" y="215"/>
                  </a:lnTo>
                  <a:lnTo>
                    <a:pt x="418" y="212"/>
                  </a:lnTo>
                  <a:lnTo>
                    <a:pt x="416" y="208"/>
                  </a:lnTo>
                  <a:lnTo>
                    <a:pt x="410" y="188"/>
                  </a:lnTo>
                  <a:lnTo>
                    <a:pt x="402" y="171"/>
                  </a:lnTo>
                  <a:lnTo>
                    <a:pt x="399" y="166"/>
                  </a:lnTo>
                  <a:lnTo>
                    <a:pt x="399" y="160"/>
                  </a:lnTo>
                  <a:lnTo>
                    <a:pt x="401" y="156"/>
                  </a:lnTo>
                  <a:lnTo>
                    <a:pt x="405" y="150"/>
                  </a:lnTo>
                  <a:lnTo>
                    <a:pt x="430" y="124"/>
                  </a:lnTo>
                  <a:lnTo>
                    <a:pt x="428" y="122"/>
                  </a:lnTo>
                  <a:lnTo>
                    <a:pt x="428" y="121"/>
                  </a:lnTo>
                  <a:lnTo>
                    <a:pt x="409" y="98"/>
                  </a:lnTo>
                  <a:lnTo>
                    <a:pt x="387" y="80"/>
                  </a:lnTo>
                  <a:lnTo>
                    <a:pt x="386" y="80"/>
                  </a:lnTo>
                  <a:lnTo>
                    <a:pt x="386" y="78"/>
                  </a:lnTo>
                  <a:lnTo>
                    <a:pt x="386" y="78"/>
                  </a:lnTo>
                  <a:lnTo>
                    <a:pt x="384" y="78"/>
                  </a:lnTo>
                  <a:lnTo>
                    <a:pt x="383" y="77"/>
                  </a:lnTo>
                  <a:lnTo>
                    <a:pt x="355" y="102"/>
                  </a:lnTo>
                  <a:lnTo>
                    <a:pt x="352" y="105"/>
                  </a:lnTo>
                  <a:lnTo>
                    <a:pt x="349" y="107"/>
                  </a:lnTo>
                  <a:lnTo>
                    <a:pt x="344" y="109"/>
                  </a:lnTo>
                  <a:lnTo>
                    <a:pt x="340" y="107"/>
                  </a:lnTo>
                  <a:lnTo>
                    <a:pt x="337" y="105"/>
                  </a:lnTo>
                  <a:lnTo>
                    <a:pt x="319" y="98"/>
                  </a:lnTo>
                  <a:lnTo>
                    <a:pt x="300" y="92"/>
                  </a:lnTo>
                  <a:lnTo>
                    <a:pt x="294" y="89"/>
                  </a:lnTo>
                  <a:lnTo>
                    <a:pt x="291" y="84"/>
                  </a:lnTo>
                  <a:lnTo>
                    <a:pt x="288" y="80"/>
                  </a:lnTo>
                  <a:lnTo>
                    <a:pt x="287" y="75"/>
                  </a:lnTo>
                  <a:lnTo>
                    <a:pt x="287" y="37"/>
                  </a:lnTo>
                  <a:lnTo>
                    <a:pt x="282" y="35"/>
                  </a:lnTo>
                  <a:lnTo>
                    <a:pt x="276" y="35"/>
                  </a:lnTo>
                  <a:lnTo>
                    <a:pt x="271" y="35"/>
                  </a:lnTo>
                  <a:lnTo>
                    <a:pt x="253" y="34"/>
                  </a:lnTo>
                  <a:close/>
                  <a:moveTo>
                    <a:pt x="253" y="0"/>
                  </a:moveTo>
                  <a:lnTo>
                    <a:pt x="273" y="2"/>
                  </a:lnTo>
                  <a:lnTo>
                    <a:pt x="291" y="3"/>
                  </a:lnTo>
                  <a:lnTo>
                    <a:pt x="308" y="6"/>
                  </a:lnTo>
                  <a:lnTo>
                    <a:pt x="314" y="8"/>
                  </a:lnTo>
                  <a:lnTo>
                    <a:pt x="317" y="13"/>
                  </a:lnTo>
                  <a:lnTo>
                    <a:pt x="320" y="17"/>
                  </a:lnTo>
                  <a:lnTo>
                    <a:pt x="320" y="22"/>
                  </a:lnTo>
                  <a:lnTo>
                    <a:pt x="320" y="61"/>
                  </a:lnTo>
                  <a:lnTo>
                    <a:pt x="331" y="66"/>
                  </a:lnTo>
                  <a:lnTo>
                    <a:pt x="341" y="72"/>
                  </a:lnTo>
                  <a:lnTo>
                    <a:pt x="370" y="43"/>
                  </a:lnTo>
                  <a:lnTo>
                    <a:pt x="373" y="40"/>
                  </a:lnTo>
                  <a:lnTo>
                    <a:pt x="377" y="38"/>
                  </a:lnTo>
                  <a:lnTo>
                    <a:pt x="381" y="37"/>
                  </a:lnTo>
                  <a:lnTo>
                    <a:pt x="386" y="38"/>
                  </a:lnTo>
                  <a:lnTo>
                    <a:pt x="390" y="40"/>
                  </a:lnTo>
                  <a:lnTo>
                    <a:pt x="396" y="45"/>
                  </a:lnTo>
                  <a:lnTo>
                    <a:pt x="402" y="49"/>
                  </a:lnTo>
                  <a:lnTo>
                    <a:pt x="405" y="51"/>
                  </a:lnTo>
                  <a:lnTo>
                    <a:pt x="407" y="51"/>
                  </a:lnTo>
                  <a:lnTo>
                    <a:pt x="407" y="52"/>
                  </a:lnTo>
                  <a:lnTo>
                    <a:pt x="409" y="52"/>
                  </a:lnTo>
                  <a:lnTo>
                    <a:pt x="433" y="75"/>
                  </a:lnTo>
                  <a:lnTo>
                    <a:pt x="456" y="99"/>
                  </a:lnTo>
                  <a:lnTo>
                    <a:pt x="456" y="99"/>
                  </a:lnTo>
                  <a:lnTo>
                    <a:pt x="456" y="101"/>
                  </a:lnTo>
                  <a:lnTo>
                    <a:pt x="457" y="101"/>
                  </a:lnTo>
                  <a:lnTo>
                    <a:pt x="457" y="102"/>
                  </a:lnTo>
                  <a:lnTo>
                    <a:pt x="457" y="104"/>
                  </a:lnTo>
                  <a:lnTo>
                    <a:pt x="459" y="104"/>
                  </a:lnTo>
                  <a:lnTo>
                    <a:pt x="463" y="110"/>
                  </a:lnTo>
                  <a:lnTo>
                    <a:pt x="466" y="118"/>
                  </a:lnTo>
                  <a:lnTo>
                    <a:pt x="470" y="121"/>
                  </a:lnTo>
                  <a:lnTo>
                    <a:pt x="470" y="125"/>
                  </a:lnTo>
                  <a:lnTo>
                    <a:pt x="470" y="130"/>
                  </a:lnTo>
                  <a:lnTo>
                    <a:pt x="468" y="134"/>
                  </a:lnTo>
                  <a:lnTo>
                    <a:pt x="465" y="137"/>
                  </a:lnTo>
                  <a:lnTo>
                    <a:pt x="436" y="166"/>
                  </a:lnTo>
                  <a:lnTo>
                    <a:pt x="439" y="173"/>
                  </a:lnTo>
                  <a:lnTo>
                    <a:pt x="442" y="179"/>
                  </a:lnTo>
                  <a:lnTo>
                    <a:pt x="445" y="186"/>
                  </a:lnTo>
                  <a:lnTo>
                    <a:pt x="485" y="186"/>
                  </a:lnTo>
                  <a:lnTo>
                    <a:pt x="489" y="188"/>
                  </a:lnTo>
                  <a:lnTo>
                    <a:pt x="494" y="189"/>
                  </a:lnTo>
                  <a:lnTo>
                    <a:pt x="497" y="191"/>
                  </a:lnTo>
                  <a:lnTo>
                    <a:pt x="500" y="195"/>
                  </a:lnTo>
                  <a:lnTo>
                    <a:pt x="502" y="200"/>
                  </a:lnTo>
                  <a:lnTo>
                    <a:pt x="505" y="215"/>
                  </a:lnTo>
                  <a:lnTo>
                    <a:pt x="508" y="232"/>
                  </a:lnTo>
                  <a:lnTo>
                    <a:pt x="508" y="253"/>
                  </a:lnTo>
                  <a:lnTo>
                    <a:pt x="508" y="259"/>
                  </a:lnTo>
                  <a:lnTo>
                    <a:pt x="506" y="267"/>
                  </a:lnTo>
                  <a:lnTo>
                    <a:pt x="506" y="273"/>
                  </a:lnTo>
                  <a:lnTo>
                    <a:pt x="502" y="308"/>
                  </a:lnTo>
                  <a:lnTo>
                    <a:pt x="500" y="313"/>
                  </a:lnTo>
                  <a:lnTo>
                    <a:pt x="497" y="316"/>
                  </a:lnTo>
                  <a:lnTo>
                    <a:pt x="494" y="319"/>
                  </a:lnTo>
                  <a:lnTo>
                    <a:pt x="489" y="320"/>
                  </a:lnTo>
                  <a:lnTo>
                    <a:pt x="485" y="322"/>
                  </a:lnTo>
                  <a:lnTo>
                    <a:pt x="445" y="322"/>
                  </a:lnTo>
                  <a:lnTo>
                    <a:pt x="441" y="331"/>
                  </a:lnTo>
                  <a:lnTo>
                    <a:pt x="436" y="340"/>
                  </a:lnTo>
                  <a:lnTo>
                    <a:pt x="465" y="369"/>
                  </a:lnTo>
                  <a:lnTo>
                    <a:pt x="468" y="372"/>
                  </a:lnTo>
                  <a:lnTo>
                    <a:pt x="470" y="377"/>
                  </a:lnTo>
                  <a:lnTo>
                    <a:pt x="470" y="381"/>
                  </a:lnTo>
                  <a:lnTo>
                    <a:pt x="470" y="384"/>
                  </a:lnTo>
                  <a:lnTo>
                    <a:pt x="466" y="389"/>
                  </a:lnTo>
                  <a:lnTo>
                    <a:pt x="462" y="397"/>
                  </a:lnTo>
                  <a:lnTo>
                    <a:pt x="457" y="406"/>
                  </a:lnTo>
                  <a:lnTo>
                    <a:pt x="433" y="432"/>
                  </a:lnTo>
                  <a:lnTo>
                    <a:pt x="405" y="456"/>
                  </a:lnTo>
                  <a:lnTo>
                    <a:pt x="398" y="461"/>
                  </a:lnTo>
                  <a:lnTo>
                    <a:pt x="390" y="467"/>
                  </a:lnTo>
                  <a:lnTo>
                    <a:pt x="386" y="468"/>
                  </a:lnTo>
                  <a:lnTo>
                    <a:pt x="381" y="468"/>
                  </a:lnTo>
                  <a:lnTo>
                    <a:pt x="377" y="468"/>
                  </a:lnTo>
                  <a:lnTo>
                    <a:pt x="373" y="467"/>
                  </a:lnTo>
                  <a:lnTo>
                    <a:pt x="370" y="464"/>
                  </a:lnTo>
                  <a:lnTo>
                    <a:pt x="341" y="435"/>
                  </a:lnTo>
                  <a:lnTo>
                    <a:pt x="331" y="439"/>
                  </a:lnTo>
                  <a:lnTo>
                    <a:pt x="320" y="444"/>
                  </a:lnTo>
                  <a:lnTo>
                    <a:pt x="320" y="483"/>
                  </a:lnTo>
                  <a:lnTo>
                    <a:pt x="320" y="489"/>
                  </a:lnTo>
                  <a:lnTo>
                    <a:pt x="317" y="494"/>
                  </a:lnTo>
                  <a:lnTo>
                    <a:pt x="314" y="499"/>
                  </a:lnTo>
                  <a:lnTo>
                    <a:pt x="308" y="502"/>
                  </a:lnTo>
                  <a:lnTo>
                    <a:pt x="274" y="506"/>
                  </a:lnTo>
                  <a:lnTo>
                    <a:pt x="274" y="508"/>
                  </a:lnTo>
                  <a:lnTo>
                    <a:pt x="273" y="508"/>
                  </a:lnTo>
                  <a:lnTo>
                    <a:pt x="271" y="508"/>
                  </a:lnTo>
                  <a:lnTo>
                    <a:pt x="270" y="508"/>
                  </a:lnTo>
                  <a:lnTo>
                    <a:pt x="268" y="508"/>
                  </a:lnTo>
                  <a:lnTo>
                    <a:pt x="267" y="508"/>
                  </a:lnTo>
                  <a:lnTo>
                    <a:pt x="233" y="508"/>
                  </a:lnTo>
                  <a:lnTo>
                    <a:pt x="215" y="505"/>
                  </a:lnTo>
                  <a:lnTo>
                    <a:pt x="198" y="502"/>
                  </a:lnTo>
                  <a:lnTo>
                    <a:pt x="194" y="500"/>
                  </a:lnTo>
                  <a:lnTo>
                    <a:pt x="190" y="497"/>
                  </a:lnTo>
                  <a:lnTo>
                    <a:pt x="187" y="493"/>
                  </a:lnTo>
                  <a:lnTo>
                    <a:pt x="186" y="489"/>
                  </a:lnTo>
                  <a:lnTo>
                    <a:pt x="186" y="483"/>
                  </a:lnTo>
                  <a:lnTo>
                    <a:pt x="186" y="444"/>
                  </a:lnTo>
                  <a:lnTo>
                    <a:pt x="177" y="439"/>
                  </a:lnTo>
                  <a:lnTo>
                    <a:pt x="166" y="435"/>
                  </a:lnTo>
                  <a:lnTo>
                    <a:pt x="139" y="464"/>
                  </a:lnTo>
                  <a:lnTo>
                    <a:pt x="133" y="467"/>
                  </a:lnTo>
                  <a:lnTo>
                    <a:pt x="128" y="468"/>
                  </a:lnTo>
                  <a:lnTo>
                    <a:pt x="122" y="468"/>
                  </a:lnTo>
                  <a:lnTo>
                    <a:pt x="116" y="467"/>
                  </a:lnTo>
                  <a:lnTo>
                    <a:pt x="110" y="462"/>
                  </a:lnTo>
                  <a:lnTo>
                    <a:pt x="104" y="457"/>
                  </a:lnTo>
                  <a:lnTo>
                    <a:pt x="102" y="456"/>
                  </a:lnTo>
                  <a:lnTo>
                    <a:pt x="101" y="456"/>
                  </a:lnTo>
                  <a:lnTo>
                    <a:pt x="101" y="454"/>
                  </a:lnTo>
                  <a:lnTo>
                    <a:pt x="99" y="454"/>
                  </a:lnTo>
                  <a:lnTo>
                    <a:pt x="73" y="432"/>
                  </a:lnTo>
                  <a:lnTo>
                    <a:pt x="52" y="407"/>
                  </a:lnTo>
                  <a:lnTo>
                    <a:pt x="52" y="406"/>
                  </a:lnTo>
                  <a:lnTo>
                    <a:pt x="50" y="406"/>
                  </a:lnTo>
                  <a:lnTo>
                    <a:pt x="50" y="406"/>
                  </a:lnTo>
                  <a:lnTo>
                    <a:pt x="50" y="404"/>
                  </a:lnTo>
                  <a:lnTo>
                    <a:pt x="49" y="403"/>
                  </a:lnTo>
                  <a:lnTo>
                    <a:pt x="49" y="401"/>
                  </a:lnTo>
                  <a:lnTo>
                    <a:pt x="44" y="397"/>
                  </a:lnTo>
                  <a:lnTo>
                    <a:pt x="40" y="389"/>
                  </a:lnTo>
                  <a:lnTo>
                    <a:pt x="36" y="384"/>
                  </a:lnTo>
                  <a:lnTo>
                    <a:pt x="36" y="378"/>
                  </a:lnTo>
                  <a:lnTo>
                    <a:pt x="38" y="374"/>
                  </a:lnTo>
                  <a:lnTo>
                    <a:pt x="41" y="369"/>
                  </a:lnTo>
                  <a:lnTo>
                    <a:pt x="70" y="340"/>
                  </a:lnTo>
                  <a:lnTo>
                    <a:pt x="65" y="331"/>
                  </a:lnTo>
                  <a:lnTo>
                    <a:pt x="62" y="322"/>
                  </a:lnTo>
                  <a:lnTo>
                    <a:pt x="21" y="322"/>
                  </a:lnTo>
                  <a:lnTo>
                    <a:pt x="17" y="320"/>
                  </a:lnTo>
                  <a:lnTo>
                    <a:pt x="14" y="319"/>
                  </a:lnTo>
                  <a:lnTo>
                    <a:pt x="9" y="316"/>
                  </a:lnTo>
                  <a:lnTo>
                    <a:pt x="6" y="313"/>
                  </a:lnTo>
                  <a:lnTo>
                    <a:pt x="4" y="308"/>
                  </a:lnTo>
                  <a:lnTo>
                    <a:pt x="0" y="273"/>
                  </a:lnTo>
                  <a:lnTo>
                    <a:pt x="0" y="232"/>
                  </a:lnTo>
                  <a:lnTo>
                    <a:pt x="4" y="200"/>
                  </a:lnTo>
                  <a:lnTo>
                    <a:pt x="6" y="195"/>
                  </a:lnTo>
                  <a:lnTo>
                    <a:pt x="9" y="191"/>
                  </a:lnTo>
                  <a:lnTo>
                    <a:pt x="14" y="189"/>
                  </a:lnTo>
                  <a:lnTo>
                    <a:pt x="17" y="188"/>
                  </a:lnTo>
                  <a:lnTo>
                    <a:pt x="21" y="186"/>
                  </a:lnTo>
                  <a:lnTo>
                    <a:pt x="62" y="186"/>
                  </a:lnTo>
                  <a:lnTo>
                    <a:pt x="64" y="179"/>
                  </a:lnTo>
                  <a:lnTo>
                    <a:pt x="67" y="173"/>
                  </a:lnTo>
                  <a:lnTo>
                    <a:pt x="70" y="166"/>
                  </a:lnTo>
                  <a:lnTo>
                    <a:pt x="41" y="137"/>
                  </a:lnTo>
                  <a:lnTo>
                    <a:pt x="38" y="134"/>
                  </a:lnTo>
                  <a:lnTo>
                    <a:pt x="36" y="130"/>
                  </a:lnTo>
                  <a:lnTo>
                    <a:pt x="36" y="125"/>
                  </a:lnTo>
                  <a:lnTo>
                    <a:pt x="38" y="121"/>
                  </a:lnTo>
                  <a:lnTo>
                    <a:pt x="40" y="118"/>
                  </a:lnTo>
                  <a:lnTo>
                    <a:pt x="43" y="112"/>
                  </a:lnTo>
                  <a:lnTo>
                    <a:pt x="46" y="107"/>
                  </a:lnTo>
                  <a:lnTo>
                    <a:pt x="50" y="101"/>
                  </a:lnTo>
                  <a:lnTo>
                    <a:pt x="75" y="73"/>
                  </a:lnTo>
                  <a:lnTo>
                    <a:pt x="102" y="51"/>
                  </a:lnTo>
                  <a:lnTo>
                    <a:pt x="108" y="45"/>
                  </a:lnTo>
                  <a:lnTo>
                    <a:pt x="116" y="40"/>
                  </a:lnTo>
                  <a:lnTo>
                    <a:pt x="122" y="38"/>
                  </a:lnTo>
                  <a:lnTo>
                    <a:pt x="128" y="37"/>
                  </a:lnTo>
                  <a:lnTo>
                    <a:pt x="133" y="38"/>
                  </a:lnTo>
                  <a:lnTo>
                    <a:pt x="139" y="43"/>
                  </a:lnTo>
                  <a:lnTo>
                    <a:pt x="166" y="72"/>
                  </a:lnTo>
                  <a:lnTo>
                    <a:pt x="177" y="66"/>
                  </a:lnTo>
                  <a:lnTo>
                    <a:pt x="186" y="61"/>
                  </a:lnTo>
                  <a:lnTo>
                    <a:pt x="186" y="22"/>
                  </a:lnTo>
                  <a:lnTo>
                    <a:pt x="186" y="17"/>
                  </a:lnTo>
                  <a:lnTo>
                    <a:pt x="189" y="13"/>
                  </a:lnTo>
                  <a:lnTo>
                    <a:pt x="194" y="8"/>
                  </a:lnTo>
                  <a:lnTo>
                    <a:pt x="198" y="6"/>
                  </a:lnTo>
                  <a:lnTo>
                    <a:pt x="216" y="3"/>
                  </a:lnTo>
                  <a:lnTo>
                    <a:pt x="233" y="2"/>
                  </a:lnTo>
                  <a:lnTo>
                    <a:pt x="25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9">
              <a:extLst>
                <a:ext uri="{FF2B5EF4-FFF2-40B4-BE49-F238E27FC236}">
                  <a16:creationId xmlns:a16="http://schemas.microsoft.com/office/drawing/2014/main" id="{1431D853-C019-9644-A1FB-98A3A1AE8619}"/>
                </a:ext>
              </a:extLst>
            </p:cNvPr>
            <p:cNvSpPr>
              <a:spLocks noEditPoints="1"/>
            </p:cNvSpPr>
            <p:nvPr/>
          </p:nvSpPr>
          <p:spPr bwMode="auto">
            <a:xfrm>
              <a:off x="1327150" y="3863975"/>
              <a:ext cx="487363" cy="487363"/>
            </a:xfrm>
            <a:custGeom>
              <a:avLst/>
              <a:gdLst>
                <a:gd name="T0" fmla="*/ 133 w 307"/>
                <a:gd name="T1" fmla="*/ 45 h 307"/>
                <a:gd name="T2" fmla="*/ 104 w 307"/>
                <a:gd name="T3" fmla="*/ 64 h 307"/>
                <a:gd name="T4" fmla="*/ 75 w 307"/>
                <a:gd name="T5" fmla="*/ 46 h 307"/>
                <a:gd name="T6" fmla="*/ 63 w 307"/>
                <a:gd name="T7" fmla="*/ 90 h 307"/>
                <a:gd name="T8" fmla="*/ 55 w 307"/>
                <a:gd name="T9" fmla="*/ 125 h 307"/>
                <a:gd name="T10" fmla="*/ 23 w 307"/>
                <a:gd name="T11" fmla="*/ 133 h 307"/>
                <a:gd name="T12" fmla="*/ 22 w 307"/>
                <a:gd name="T13" fmla="*/ 159 h 307"/>
                <a:gd name="T14" fmla="*/ 51 w 307"/>
                <a:gd name="T15" fmla="*/ 174 h 307"/>
                <a:gd name="T16" fmla="*/ 66 w 307"/>
                <a:gd name="T17" fmla="*/ 206 h 307"/>
                <a:gd name="T18" fmla="*/ 47 w 307"/>
                <a:gd name="T19" fmla="*/ 234 h 307"/>
                <a:gd name="T20" fmla="*/ 75 w 307"/>
                <a:gd name="T21" fmla="*/ 259 h 307"/>
                <a:gd name="T22" fmla="*/ 104 w 307"/>
                <a:gd name="T23" fmla="*/ 241 h 307"/>
                <a:gd name="T24" fmla="*/ 133 w 307"/>
                <a:gd name="T25" fmla="*/ 261 h 307"/>
                <a:gd name="T26" fmla="*/ 165 w 307"/>
                <a:gd name="T27" fmla="*/ 285 h 307"/>
                <a:gd name="T28" fmla="*/ 177 w 307"/>
                <a:gd name="T29" fmla="*/ 253 h 307"/>
                <a:gd name="T30" fmla="*/ 206 w 307"/>
                <a:gd name="T31" fmla="*/ 241 h 307"/>
                <a:gd name="T32" fmla="*/ 232 w 307"/>
                <a:gd name="T33" fmla="*/ 259 h 307"/>
                <a:gd name="T34" fmla="*/ 261 w 307"/>
                <a:gd name="T35" fmla="*/ 231 h 307"/>
                <a:gd name="T36" fmla="*/ 243 w 307"/>
                <a:gd name="T37" fmla="*/ 203 h 307"/>
                <a:gd name="T38" fmla="*/ 258 w 307"/>
                <a:gd name="T39" fmla="*/ 174 h 307"/>
                <a:gd name="T40" fmla="*/ 285 w 307"/>
                <a:gd name="T41" fmla="*/ 142 h 307"/>
                <a:gd name="T42" fmla="*/ 255 w 307"/>
                <a:gd name="T43" fmla="*/ 131 h 307"/>
                <a:gd name="T44" fmla="*/ 241 w 307"/>
                <a:gd name="T45" fmla="*/ 99 h 307"/>
                <a:gd name="T46" fmla="*/ 259 w 307"/>
                <a:gd name="T47" fmla="*/ 74 h 307"/>
                <a:gd name="T48" fmla="*/ 232 w 307"/>
                <a:gd name="T49" fmla="*/ 48 h 307"/>
                <a:gd name="T50" fmla="*/ 206 w 307"/>
                <a:gd name="T51" fmla="*/ 66 h 307"/>
                <a:gd name="T52" fmla="*/ 177 w 307"/>
                <a:gd name="T53" fmla="*/ 54 h 307"/>
                <a:gd name="T54" fmla="*/ 165 w 307"/>
                <a:gd name="T55" fmla="*/ 22 h 307"/>
                <a:gd name="T56" fmla="*/ 186 w 307"/>
                <a:gd name="T57" fmla="*/ 5 h 307"/>
                <a:gd name="T58" fmla="*/ 194 w 307"/>
                <a:gd name="T59" fmla="*/ 37 h 307"/>
                <a:gd name="T60" fmla="*/ 229 w 307"/>
                <a:gd name="T61" fmla="*/ 23 h 307"/>
                <a:gd name="T62" fmla="*/ 244 w 307"/>
                <a:gd name="T63" fmla="*/ 31 h 307"/>
                <a:gd name="T64" fmla="*/ 275 w 307"/>
                <a:gd name="T65" fmla="*/ 61 h 307"/>
                <a:gd name="T66" fmla="*/ 282 w 307"/>
                <a:gd name="T67" fmla="*/ 70 h 307"/>
                <a:gd name="T68" fmla="*/ 264 w 307"/>
                <a:gd name="T69" fmla="*/ 101 h 307"/>
                <a:gd name="T70" fmla="*/ 299 w 307"/>
                <a:gd name="T71" fmla="*/ 115 h 307"/>
                <a:gd name="T72" fmla="*/ 307 w 307"/>
                <a:gd name="T73" fmla="*/ 141 h 307"/>
                <a:gd name="T74" fmla="*/ 302 w 307"/>
                <a:gd name="T75" fmla="*/ 189 h 307"/>
                <a:gd name="T76" fmla="*/ 267 w 307"/>
                <a:gd name="T77" fmla="*/ 200 h 307"/>
                <a:gd name="T78" fmla="*/ 284 w 307"/>
                <a:gd name="T79" fmla="*/ 232 h 307"/>
                <a:gd name="T80" fmla="*/ 244 w 307"/>
                <a:gd name="T81" fmla="*/ 275 h 307"/>
                <a:gd name="T82" fmla="*/ 226 w 307"/>
                <a:gd name="T83" fmla="*/ 282 h 307"/>
                <a:gd name="T84" fmla="*/ 194 w 307"/>
                <a:gd name="T85" fmla="*/ 291 h 307"/>
                <a:gd name="T86" fmla="*/ 166 w 307"/>
                <a:gd name="T87" fmla="*/ 307 h 307"/>
                <a:gd name="T88" fmla="*/ 141 w 307"/>
                <a:gd name="T89" fmla="*/ 307 h 307"/>
                <a:gd name="T90" fmla="*/ 115 w 307"/>
                <a:gd name="T91" fmla="*/ 299 h 307"/>
                <a:gd name="T92" fmla="*/ 84 w 307"/>
                <a:gd name="T93" fmla="*/ 279 h 307"/>
                <a:gd name="T94" fmla="*/ 67 w 307"/>
                <a:gd name="T95" fmla="*/ 279 h 307"/>
                <a:gd name="T96" fmla="*/ 44 w 307"/>
                <a:gd name="T97" fmla="*/ 261 h 307"/>
                <a:gd name="T98" fmla="*/ 31 w 307"/>
                <a:gd name="T99" fmla="*/ 243 h 307"/>
                <a:gd name="T100" fmla="*/ 26 w 307"/>
                <a:gd name="T101" fmla="*/ 223 h 307"/>
                <a:gd name="T102" fmla="*/ 11 w 307"/>
                <a:gd name="T103" fmla="*/ 194 h 307"/>
                <a:gd name="T104" fmla="*/ 0 w 307"/>
                <a:gd name="T105" fmla="*/ 165 h 307"/>
                <a:gd name="T106" fmla="*/ 11 w 307"/>
                <a:gd name="T107" fmla="*/ 113 h 307"/>
                <a:gd name="T108" fmla="*/ 26 w 307"/>
                <a:gd name="T109" fmla="*/ 83 h 307"/>
                <a:gd name="T110" fmla="*/ 26 w 307"/>
                <a:gd name="T111" fmla="*/ 67 h 307"/>
                <a:gd name="T112" fmla="*/ 66 w 307"/>
                <a:gd name="T113" fmla="*/ 28 h 307"/>
                <a:gd name="T114" fmla="*/ 101 w 307"/>
                <a:gd name="T115" fmla="*/ 43 h 307"/>
                <a:gd name="T116" fmla="*/ 118 w 307"/>
                <a:gd name="T117" fmla="*/ 5 h 307"/>
                <a:gd name="T118" fmla="*/ 153 w 307"/>
                <a:gd name="T119"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7" h="307">
                  <a:moveTo>
                    <a:pt x="153" y="20"/>
                  </a:moveTo>
                  <a:lnTo>
                    <a:pt x="144" y="22"/>
                  </a:lnTo>
                  <a:lnTo>
                    <a:pt x="137" y="22"/>
                  </a:lnTo>
                  <a:lnTo>
                    <a:pt x="133" y="22"/>
                  </a:lnTo>
                  <a:lnTo>
                    <a:pt x="133" y="45"/>
                  </a:lnTo>
                  <a:lnTo>
                    <a:pt x="131" y="49"/>
                  </a:lnTo>
                  <a:lnTo>
                    <a:pt x="130" y="54"/>
                  </a:lnTo>
                  <a:lnTo>
                    <a:pt x="125" y="55"/>
                  </a:lnTo>
                  <a:lnTo>
                    <a:pt x="115" y="60"/>
                  </a:lnTo>
                  <a:lnTo>
                    <a:pt x="104" y="64"/>
                  </a:lnTo>
                  <a:lnTo>
                    <a:pt x="101" y="66"/>
                  </a:lnTo>
                  <a:lnTo>
                    <a:pt x="98" y="66"/>
                  </a:lnTo>
                  <a:lnTo>
                    <a:pt x="95" y="64"/>
                  </a:lnTo>
                  <a:lnTo>
                    <a:pt x="92" y="63"/>
                  </a:lnTo>
                  <a:lnTo>
                    <a:pt x="75" y="46"/>
                  </a:lnTo>
                  <a:lnTo>
                    <a:pt x="75" y="48"/>
                  </a:lnTo>
                  <a:lnTo>
                    <a:pt x="60" y="60"/>
                  </a:lnTo>
                  <a:lnTo>
                    <a:pt x="47" y="74"/>
                  </a:lnTo>
                  <a:lnTo>
                    <a:pt x="46" y="75"/>
                  </a:lnTo>
                  <a:lnTo>
                    <a:pt x="63" y="90"/>
                  </a:lnTo>
                  <a:lnTo>
                    <a:pt x="64" y="95"/>
                  </a:lnTo>
                  <a:lnTo>
                    <a:pt x="66" y="99"/>
                  </a:lnTo>
                  <a:lnTo>
                    <a:pt x="64" y="104"/>
                  </a:lnTo>
                  <a:lnTo>
                    <a:pt x="60" y="115"/>
                  </a:lnTo>
                  <a:lnTo>
                    <a:pt x="55" y="125"/>
                  </a:lnTo>
                  <a:lnTo>
                    <a:pt x="54" y="128"/>
                  </a:lnTo>
                  <a:lnTo>
                    <a:pt x="52" y="131"/>
                  </a:lnTo>
                  <a:lnTo>
                    <a:pt x="49" y="133"/>
                  </a:lnTo>
                  <a:lnTo>
                    <a:pt x="46" y="133"/>
                  </a:lnTo>
                  <a:lnTo>
                    <a:pt x="23" y="133"/>
                  </a:lnTo>
                  <a:lnTo>
                    <a:pt x="22" y="138"/>
                  </a:lnTo>
                  <a:lnTo>
                    <a:pt x="22" y="142"/>
                  </a:lnTo>
                  <a:lnTo>
                    <a:pt x="22" y="148"/>
                  </a:lnTo>
                  <a:lnTo>
                    <a:pt x="20" y="153"/>
                  </a:lnTo>
                  <a:lnTo>
                    <a:pt x="22" y="159"/>
                  </a:lnTo>
                  <a:lnTo>
                    <a:pt x="22" y="163"/>
                  </a:lnTo>
                  <a:lnTo>
                    <a:pt x="22" y="168"/>
                  </a:lnTo>
                  <a:lnTo>
                    <a:pt x="23" y="174"/>
                  </a:lnTo>
                  <a:lnTo>
                    <a:pt x="46" y="174"/>
                  </a:lnTo>
                  <a:lnTo>
                    <a:pt x="51" y="174"/>
                  </a:lnTo>
                  <a:lnTo>
                    <a:pt x="54" y="177"/>
                  </a:lnTo>
                  <a:lnTo>
                    <a:pt x="55" y="180"/>
                  </a:lnTo>
                  <a:lnTo>
                    <a:pt x="60" y="192"/>
                  </a:lnTo>
                  <a:lnTo>
                    <a:pt x="64" y="203"/>
                  </a:lnTo>
                  <a:lnTo>
                    <a:pt x="66" y="206"/>
                  </a:lnTo>
                  <a:lnTo>
                    <a:pt x="64" y="211"/>
                  </a:lnTo>
                  <a:lnTo>
                    <a:pt x="63" y="215"/>
                  </a:lnTo>
                  <a:lnTo>
                    <a:pt x="46" y="231"/>
                  </a:lnTo>
                  <a:lnTo>
                    <a:pt x="47" y="232"/>
                  </a:lnTo>
                  <a:lnTo>
                    <a:pt x="47" y="234"/>
                  </a:lnTo>
                  <a:lnTo>
                    <a:pt x="49" y="234"/>
                  </a:lnTo>
                  <a:lnTo>
                    <a:pt x="60" y="246"/>
                  </a:lnTo>
                  <a:lnTo>
                    <a:pt x="73" y="258"/>
                  </a:lnTo>
                  <a:lnTo>
                    <a:pt x="75" y="259"/>
                  </a:lnTo>
                  <a:lnTo>
                    <a:pt x="75" y="259"/>
                  </a:lnTo>
                  <a:lnTo>
                    <a:pt x="92" y="243"/>
                  </a:lnTo>
                  <a:lnTo>
                    <a:pt x="95" y="241"/>
                  </a:lnTo>
                  <a:lnTo>
                    <a:pt x="98" y="241"/>
                  </a:lnTo>
                  <a:lnTo>
                    <a:pt x="101" y="241"/>
                  </a:lnTo>
                  <a:lnTo>
                    <a:pt x="104" y="241"/>
                  </a:lnTo>
                  <a:lnTo>
                    <a:pt x="115" y="247"/>
                  </a:lnTo>
                  <a:lnTo>
                    <a:pt x="125" y="250"/>
                  </a:lnTo>
                  <a:lnTo>
                    <a:pt x="130" y="253"/>
                  </a:lnTo>
                  <a:lnTo>
                    <a:pt x="131" y="256"/>
                  </a:lnTo>
                  <a:lnTo>
                    <a:pt x="133" y="261"/>
                  </a:lnTo>
                  <a:lnTo>
                    <a:pt x="133" y="284"/>
                  </a:lnTo>
                  <a:lnTo>
                    <a:pt x="136" y="284"/>
                  </a:lnTo>
                  <a:lnTo>
                    <a:pt x="139" y="285"/>
                  </a:lnTo>
                  <a:lnTo>
                    <a:pt x="144" y="285"/>
                  </a:lnTo>
                  <a:lnTo>
                    <a:pt x="165" y="285"/>
                  </a:lnTo>
                  <a:lnTo>
                    <a:pt x="169" y="284"/>
                  </a:lnTo>
                  <a:lnTo>
                    <a:pt x="174" y="284"/>
                  </a:lnTo>
                  <a:lnTo>
                    <a:pt x="174" y="261"/>
                  </a:lnTo>
                  <a:lnTo>
                    <a:pt x="174" y="256"/>
                  </a:lnTo>
                  <a:lnTo>
                    <a:pt x="177" y="253"/>
                  </a:lnTo>
                  <a:lnTo>
                    <a:pt x="182" y="250"/>
                  </a:lnTo>
                  <a:lnTo>
                    <a:pt x="189" y="247"/>
                  </a:lnTo>
                  <a:lnTo>
                    <a:pt x="195" y="246"/>
                  </a:lnTo>
                  <a:lnTo>
                    <a:pt x="203" y="241"/>
                  </a:lnTo>
                  <a:lnTo>
                    <a:pt x="206" y="241"/>
                  </a:lnTo>
                  <a:lnTo>
                    <a:pt x="209" y="241"/>
                  </a:lnTo>
                  <a:lnTo>
                    <a:pt x="212" y="241"/>
                  </a:lnTo>
                  <a:lnTo>
                    <a:pt x="215" y="243"/>
                  </a:lnTo>
                  <a:lnTo>
                    <a:pt x="232" y="259"/>
                  </a:lnTo>
                  <a:lnTo>
                    <a:pt x="232" y="259"/>
                  </a:lnTo>
                  <a:lnTo>
                    <a:pt x="234" y="259"/>
                  </a:lnTo>
                  <a:lnTo>
                    <a:pt x="247" y="247"/>
                  </a:lnTo>
                  <a:lnTo>
                    <a:pt x="259" y="232"/>
                  </a:lnTo>
                  <a:lnTo>
                    <a:pt x="259" y="232"/>
                  </a:lnTo>
                  <a:lnTo>
                    <a:pt x="261" y="231"/>
                  </a:lnTo>
                  <a:lnTo>
                    <a:pt x="244" y="215"/>
                  </a:lnTo>
                  <a:lnTo>
                    <a:pt x="243" y="212"/>
                  </a:lnTo>
                  <a:lnTo>
                    <a:pt x="241" y="209"/>
                  </a:lnTo>
                  <a:lnTo>
                    <a:pt x="241" y="206"/>
                  </a:lnTo>
                  <a:lnTo>
                    <a:pt x="243" y="203"/>
                  </a:lnTo>
                  <a:lnTo>
                    <a:pt x="247" y="192"/>
                  </a:lnTo>
                  <a:lnTo>
                    <a:pt x="252" y="180"/>
                  </a:lnTo>
                  <a:lnTo>
                    <a:pt x="253" y="177"/>
                  </a:lnTo>
                  <a:lnTo>
                    <a:pt x="255" y="176"/>
                  </a:lnTo>
                  <a:lnTo>
                    <a:pt x="258" y="174"/>
                  </a:lnTo>
                  <a:lnTo>
                    <a:pt x="261" y="174"/>
                  </a:lnTo>
                  <a:lnTo>
                    <a:pt x="285" y="174"/>
                  </a:lnTo>
                  <a:lnTo>
                    <a:pt x="285" y="168"/>
                  </a:lnTo>
                  <a:lnTo>
                    <a:pt x="285" y="163"/>
                  </a:lnTo>
                  <a:lnTo>
                    <a:pt x="285" y="142"/>
                  </a:lnTo>
                  <a:lnTo>
                    <a:pt x="285" y="138"/>
                  </a:lnTo>
                  <a:lnTo>
                    <a:pt x="285" y="133"/>
                  </a:lnTo>
                  <a:lnTo>
                    <a:pt x="261" y="133"/>
                  </a:lnTo>
                  <a:lnTo>
                    <a:pt x="258" y="133"/>
                  </a:lnTo>
                  <a:lnTo>
                    <a:pt x="255" y="131"/>
                  </a:lnTo>
                  <a:lnTo>
                    <a:pt x="253" y="128"/>
                  </a:lnTo>
                  <a:lnTo>
                    <a:pt x="252" y="125"/>
                  </a:lnTo>
                  <a:lnTo>
                    <a:pt x="247" y="115"/>
                  </a:lnTo>
                  <a:lnTo>
                    <a:pt x="243" y="104"/>
                  </a:lnTo>
                  <a:lnTo>
                    <a:pt x="241" y="99"/>
                  </a:lnTo>
                  <a:lnTo>
                    <a:pt x="241" y="95"/>
                  </a:lnTo>
                  <a:lnTo>
                    <a:pt x="244" y="90"/>
                  </a:lnTo>
                  <a:lnTo>
                    <a:pt x="259" y="75"/>
                  </a:lnTo>
                  <a:lnTo>
                    <a:pt x="259" y="74"/>
                  </a:lnTo>
                  <a:lnTo>
                    <a:pt x="259" y="74"/>
                  </a:lnTo>
                  <a:lnTo>
                    <a:pt x="247" y="60"/>
                  </a:lnTo>
                  <a:lnTo>
                    <a:pt x="234" y="48"/>
                  </a:lnTo>
                  <a:lnTo>
                    <a:pt x="234" y="48"/>
                  </a:lnTo>
                  <a:lnTo>
                    <a:pt x="234" y="48"/>
                  </a:lnTo>
                  <a:lnTo>
                    <a:pt x="232" y="48"/>
                  </a:lnTo>
                  <a:lnTo>
                    <a:pt x="232" y="46"/>
                  </a:lnTo>
                  <a:lnTo>
                    <a:pt x="215" y="63"/>
                  </a:lnTo>
                  <a:lnTo>
                    <a:pt x="212" y="64"/>
                  </a:lnTo>
                  <a:lnTo>
                    <a:pt x="209" y="66"/>
                  </a:lnTo>
                  <a:lnTo>
                    <a:pt x="206" y="66"/>
                  </a:lnTo>
                  <a:lnTo>
                    <a:pt x="203" y="64"/>
                  </a:lnTo>
                  <a:lnTo>
                    <a:pt x="195" y="61"/>
                  </a:lnTo>
                  <a:lnTo>
                    <a:pt x="189" y="58"/>
                  </a:lnTo>
                  <a:lnTo>
                    <a:pt x="182" y="55"/>
                  </a:lnTo>
                  <a:lnTo>
                    <a:pt x="177" y="54"/>
                  </a:lnTo>
                  <a:lnTo>
                    <a:pt x="174" y="49"/>
                  </a:lnTo>
                  <a:lnTo>
                    <a:pt x="174" y="45"/>
                  </a:lnTo>
                  <a:lnTo>
                    <a:pt x="174" y="22"/>
                  </a:lnTo>
                  <a:lnTo>
                    <a:pt x="169" y="22"/>
                  </a:lnTo>
                  <a:lnTo>
                    <a:pt x="165" y="22"/>
                  </a:lnTo>
                  <a:lnTo>
                    <a:pt x="153" y="20"/>
                  </a:lnTo>
                  <a:close/>
                  <a:moveTo>
                    <a:pt x="153" y="0"/>
                  </a:moveTo>
                  <a:lnTo>
                    <a:pt x="165" y="2"/>
                  </a:lnTo>
                  <a:lnTo>
                    <a:pt x="176" y="2"/>
                  </a:lnTo>
                  <a:lnTo>
                    <a:pt x="186" y="5"/>
                  </a:lnTo>
                  <a:lnTo>
                    <a:pt x="189" y="5"/>
                  </a:lnTo>
                  <a:lnTo>
                    <a:pt x="192" y="8"/>
                  </a:lnTo>
                  <a:lnTo>
                    <a:pt x="194" y="11"/>
                  </a:lnTo>
                  <a:lnTo>
                    <a:pt x="194" y="14"/>
                  </a:lnTo>
                  <a:lnTo>
                    <a:pt x="194" y="37"/>
                  </a:lnTo>
                  <a:lnTo>
                    <a:pt x="200" y="40"/>
                  </a:lnTo>
                  <a:lnTo>
                    <a:pt x="206" y="43"/>
                  </a:lnTo>
                  <a:lnTo>
                    <a:pt x="223" y="26"/>
                  </a:lnTo>
                  <a:lnTo>
                    <a:pt x="226" y="23"/>
                  </a:lnTo>
                  <a:lnTo>
                    <a:pt x="229" y="23"/>
                  </a:lnTo>
                  <a:lnTo>
                    <a:pt x="234" y="23"/>
                  </a:lnTo>
                  <a:lnTo>
                    <a:pt x="237" y="25"/>
                  </a:lnTo>
                  <a:lnTo>
                    <a:pt x="240" y="28"/>
                  </a:lnTo>
                  <a:lnTo>
                    <a:pt x="244" y="29"/>
                  </a:lnTo>
                  <a:lnTo>
                    <a:pt x="244" y="31"/>
                  </a:lnTo>
                  <a:lnTo>
                    <a:pt x="246" y="31"/>
                  </a:lnTo>
                  <a:lnTo>
                    <a:pt x="246" y="32"/>
                  </a:lnTo>
                  <a:lnTo>
                    <a:pt x="261" y="46"/>
                  </a:lnTo>
                  <a:lnTo>
                    <a:pt x="275" y="60"/>
                  </a:lnTo>
                  <a:lnTo>
                    <a:pt x="275" y="61"/>
                  </a:lnTo>
                  <a:lnTo>
                    <a:pt x="276" y="61"/>
                  </a:lnTo>
                  <a:lnTo>
                    <a:pt x="276" y="63"/>
                  </a:lnTo>
                  <a:lnTo>
                    <a:pt x="278" y="63"/>
                  </a:lnTo>
                  <a:lnTo>
                    <a:pt x="279" y="67"/>
                  </a:lnTo>
                  <a:lnTo>
                    <a:pt x="282" y="70"/>
                  </a:lnTo>
                  <a:lnTo>
                    <a:pt x="284" y="74"/>
                  </a:lnTo>
                  <a:lnTo>
                    <a:pt x="284" y="78"/>
                  </a:lnTo>
                  <a:lnTo>
                    <a:pt x="282" y="81"/>
                  </a:lnTo>
                  <a:lnTo>
                    <a:pt x="281" y="83"/>
                  </a:lnTo>
                  <a:lnTo>
                    <a:pt x="264" y="101"/>
                  </a:lnTo>
                  <a:lnTo>
                    <a:pt x="267" y="107"/>
                  </a:lnTo>
                  <a:lnTo>
                    <a:pt x="269" y="113"/>
                  </a:lnTo>
                  <a:lnTo>
                    <a:pt x="293" y="113"/>
                  </a:lnTo>
                  <a:lnTo>
                    <a:pt x="296" y="113"/>
                  </a:lnTo>
                  <a:lnTo>
                    <a:pt x="299" y="115"/>
                  </a:lnTo>
                  <a:lnTo>
                    <a:pt x="302" y="118"/>
                  </a:lnTo>
                  <a:lnTo>
                    <a:pt x="304" y="121"/>
                  </a:lnTo>
                  <a:lnTo>
                    <a:pt x="304" y="127"/>
                  </a:lnTo>
                  <a:lnTo>
                    <a:pt x="305" y="134"/>
                  </a:lnTo>
                  <a:lnTo>
                    <a:pt x="307" y="141"/>
                  </a:lnTo>
                  <a:lnTo>
                    <a:pt x="307" y="153"/>
                  </a:lnTo>
                  <a:lnTo>
                    <a:pt x="305" y="165"/>
                  </a:lnTo>
                  <a:lnTo>
                    <a:pt x="304" y="176"/>
                  </a:lnTo>
                  <a:lnTo>
                    <a:pt x="304" y="186"/>
                  </a:lnTo>
                  <a:lnTo>
                    <a:pt x="302" y="189"/>
                  </a:lnTo>
                  <a:lnTo>
                    <a:pt x="299" y="192"/>
                  </a:lnTo>
                  <a:lnTo>
                    <a:pt x="296" y="194"/>
                  </a:lnTo>
                  <a:lnTo>
                    <a:pt x="293" y="194"/>
                  </a:lnTo>
                  <a:lnTo>
                    <a:pt x="269" y="194"/>
                  </a:lnTo>
                  <a:lnTo>
                    <a:pt x="267" y="200"/>
                  </a:lnTo>
                  <a:lnTo>
                    <a:pt x="264" y="206"/>
                  </a:lnTo>
                  <a:lnTo>
                    <a:pt x="281" y="223"/>
                  </a:lnTo>
                  <a:lnTo>
                    <a:pt x="282" y="224"/>
                  </a:lnTo>
                  <a:lnTo>
                    <a:pt x="284" y="229"/>
                  </a:lnTo>
                  <a:lnTo>
                    <a:pt x="284" y="232"/>
                  </a:lnTo>
                  <a:lnTo>
                    <a:pt x="282" y="235"/>
                  </a:lnTo>
                  <a:lnTo>
                    <a:pt x="279" y="240"/>
                  </a:lnTo>
                  <a:lnTo>
                    <a:pt x="276" y="244"/>
                  </a:lnTo>
                  <a:lnTo>
                    <a:pt x="263" y="261"/>
                  </a:lnTo>
                  <a:lnTo>
                    <a:pt x="244" y="275"/>
                  </a:lnTo>
                  <a:lnTo>
                    <a:pt x="240" y="278"/>
                  </a:lnTo>
                  <a:lnTo>
                    <a:pt x="237" y="282"/>
                  </a:lnTo>
                  <a:lnTo>
                    <a:pt x="234" y="282"/>
                  </a:lnTo>
                  <a:lnTo>
                    <a:pt x="229" y="282"/>
                  </a:lnTo>
                  <a:lnTo>
                    <a:pt x="226" y="282"/>
                  </a:lnTo>
                  <a:lnTo>
                    <a:pt x="223" y="279"/>
                  </a:lnTo>
                  <a:lnTo>
                    <a:pt x="206" y="263"/>
                  </a:lnTo>
                  <a:lnTo>
                    <a:pt x="200" y="266"/>
                  </a:lnTo>
                  <a:lnTo>
                    <a:pt x="194" y="269"/>
                  </a:lnTo>
                  <a:lnTo>
                    <a:pt x="194" y="291"/>
                  </a:lnTo>
                  <a:lnTo>
                    <a:pt x="192" y="296"/>
                  </a:lnTo>
                  <a:lnTo>
                    <a:pt x="191" y="301"/>
                  </a:lnTo>
                  <a:lnTo>
                    <a:pt x="186" y="302"/>
                  </a:lnTo>
                  <a:lnTo>
                    <a:pt x="166" y="305"/>
                  </a:lnTo>
                  <a:lnTo>
                    <a:pt x="166" y="307"/>
                  </a:lnTo>
                  <a:lnTo>
                    <a:pt x="165" y="307"/>
                  </a:lnTo>
                  <a:lnTo>
                    <a:pt x="163" y="307"/>
                  </a:lnTo>
                  <a:lnTo>
                    <a:pt x="162" y="307"/>
                  </a:lnTo>
                  <a:lnTo>
                    <a:pt x="162" y="307"/>
                  </a:lnTo>
                  <a:lnTo>
                    <a:pt x="141" y="307"/>
                  </a:lnTo>
                  <a:lnTo>
                    <a:pt x="134" y="305"/>
                  </a:lnTo>
                  <a:lnTo>
                    <a:pt x="127" y="304"/>
                  </a:lnTo>
                  <a:lnTo>
                    <a:pt x="121" y="302"/>
                  </a:lnTo>
                  <a:lnTo>
                    <a:pt x="118" y="301"/>
                  </a:lnTo>
                  <a:lnTo>
                    <a:pt x="115" y="299"/>
                  </a:lnTo>
                  <a:lnTo>
                    <a:pt x="113" y="296"/>
                  </a:lnTo>
                  <a:lnTo>
                    <a:pt x="113" y="291"/>
                  </a:lnTo>
                  <a:lnTo>
                    <a:pt x="113" y="269"/>
                  </a:lnTo>
                  <a:lnTo>
                    <a:pt x="101" y="263"/>
                  </a:lnTo>
                  <a:lnTo>
                    <a:pt x="84" y="279"/>
                  </a:lnTo>
                  <a:lnTo>
                    <a:pt x="81" y="282"/>
                  </a:lnTo>
                  <a:lnTo>
                    <a:pt x="78" y="282"/>
                  </a:lnTo>
                  <a:lnTo>
                    <a:pt x="73" y="282"/>
                  </a:lnTo>
                  <a:lnTo>
                    <a:pt x="70" y="282"/>
                  </a:lnTo>
                  <a:lnTo>
                    <a:pt x="67" y="279"/>
                  </a:lnTo>
                  <a:lnTo>
                    <a:pt x="63" y="276"/>
                  </a:lnTo>
                  <a:lnTo>
                    <a:pt x="61" y="275"/>
                  </a:lnTo>
                  <a:lnTo>
                    <a:pt x="61" y="275"/>
                  </a:lnTo>
                  <a:lnTo>
                    <a:pt x="60" y="275"/>
                  </a:lnTo>
                  <a:lnTo>
                    <a:pt x="44" y="261"/>
                  </a:lnTo>
                  <a:lnTo>
                    <a:pt x="32" y="246"/>
                  </a:lnTo>
                  <a:lnTo>
                    <a:pt x="31" y="244"/>
                  </a:lnTo>
                  <a:lnTo>
                    <a:pt x="31" y="244"/>
                  </a:lnTo>
                  <a:lnTo>
                    <a:pt x="31" y="244"/>
                  </a:lnTo>
                  <a:lnTo>
                    <a:pt x="31" y="243"/>
                  </a:lnTo>
                  <a:lnTo>
                    <a:pt x="28" y="240"/>
                  </a:lnTo>
                  <a:lnTo>
                    <a:pt x="25" y="235"/>
                  </a:lnTo>
                  <a:lnTo>
                    <a:pt x="23" y="231"/>
                  </a:lnTo>
                  <a:lnTo>
                    <a:pt x="23" y="226"/>
                  </a:lnTo>
                  <a:lnTo>
                    <a:pt x="26" y="223"/>
                  </a:lnTo>
                  <a:lnTo>
                    <a:pt x="43" y="206"/>
                  </a:lnTo>
                  <a:lnTo>
                    <a:pt x="40" y="200"/>
                  </a:lnTo>
                  <a:lnTo>
                    <a:pt x="38" y="194"/>
                  </a:lnTo>
                  <a:lnTo>
                    <a:pt x="14" y="194"/>
                  </a:lnTo>
                  <a:lnTo>
                    <a:pt x="11" y="194"/>
                  </a:lnTo>
                  <a:lnTo>
                    <a:pt x="8" y="192"/>
                  </a:lnTo>
                  <a:lnTo>
                    <a:pt x="5" y="189"/>
                  </a:lnTo>
                  <a:lnTo>
                    <a:pt x="3" y="186"/>
                  </a:lnTo>
                  <a:lnTo>
                    <a:pt x="2" y="176"/>
                  </a:lnTo>
                  <a:lnTo>
                    <a:pt x="0" y="165"/>
                  </a:lnTo>
                  <a:lnTo>
                    <a:pt x="0" y="141"/>
                  </a:lnTo>
                  <a:lnTo>
                    <a:pt x="3" y="121"/>
                  </a:lnTo>
                  <a:lnTo>
                    <a:pt x="5" y="118"/>
                  </a:lnTo>
                  <a:lnTo>
                    <a:pt x="8" y="115"/>
                  </a:lnTo>
                  <a:lnTo>
                    <a:pt x="11" y="113"/>
                  </a:lnTo>
                  <a:lnTo>
                    <a:pt x="14" y="113"/>
                  </a:lnTo>
                  <a:lnTo>
                    <a:pt x="38" y="113"/>
                  </a:lnTo>
                  <a:lnTo>
                    <a:pt x="40" y="107"/>
                  </a:lnTo>
                  <a:lnTo>
                    <a:pt x="43" y="101"/>
                  </a:lnTo>
                  <a:lnTo>
                    <a:pt x="26" y="83"/>
                  </a:lnTo>
                  <a:lnTo>
                    <a:pt x="23" y="81"/>
                  </a:lnTo>
                  <a:lnTo>
                    <a:pt x="23" y="78"/>
                  </a:lnTo>
                  <a:lnTo>
                    <a:pt x="23" y="74"/>
                  </a:lnTo>
                  <a:lnTo>
                    <a:pt x="25" y="70"/>
                  </a:lnTo>
                  <a:lnTo>
                    <a:pt x="26" y="67"/>
                  </a:lnTo>
                  <a:lnTo>
                    <a:pt x="29" y="64"/>
                  </a:lnTo>
                  <a:lnTo>
                    <a:pt x="31" y="61"/>
                  </a:lnTo>
                  <a:lnTo>
                    <a:pt x="46" y="45"/>
                  </a:lnTo>
                  <a:lnTo>
                    <a:pt x="61" y="31"/>
                  </a:lnTo>
                  <a:lnTo>
                    <a:pt x="66" y="28"/>
                  </a:lnTo>
                  <a:lnTo>
                    <a:pt x="70" y="25"/>
                  </a:lnTo>
                  <a:lnTo>
                    <a:pt x="75" y="23"/>
                  </a:lnTo>
                  <a:lnTo>
                    <a:pt x="80" y="23"/>
                  </a:lnTo>
                  <a:lnTo>
                    <a:pt x="84" y="26"/>
                  </a:lnTo>
                  <a:lnTo>
                    <a:pt x="101" y="43"/>
                  </a:lnTo>
                  <a:lnTo>
                    <a:pt x="113" y="37"/>
                  </a:lnTo>
                  <a:lnTo>
                    <a:pt x="113" y="14"/>
                  </a:lnTo>
                  <a:lnTo>
                    <a:pt x="113" y="11"/>
                  </a:lnTo>
                  <a:lnTo>
                    <a:pt x="115" y="8"/>
                  </a:lnTo>
                  <a:lnTo>
                    <a:pt x="118" y="5"/>
                  </a:lnTo>
                  <a:lnTo>
                    <a:pt x="121" y="5"/>
                  </a:lnTo>
                  <a:lnTo>
                    <a:pt x="127" y="2"/>
                  </a:lnTo>
                  <a:lnTo>
                    <a:pt x="134" y="2"/>
                  </a:lnTo>
                  <a:lnTo>
                    <a:pt x="141" y="2"/>
                  </a:lnTo>
                  <a:lnTo>
                    <a:pt x="153"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10">
              <a:extLst>
                <a:ext uri="{FF2B5EF4-FFF2-40B4-BE49-F238E27FC236}">
                  <a16:creationId xmlns:a16="http://schemas.microsoft.com/office/drawing/2014/main" id="{D963AE92-10AA-D04C-9BE1-806EC51E4174}"/>
                </a:ext>
              </a:extLst>
            </p:cNvPr>
            <p:cNvSpPr>
              <a:spLocks noEditPoints="1"/>
            </p:cNvSpPr>
            <p:nvPr/>
          </p:nvSpPr>
          <p:spPr bwMode="auto">
            <a:xfrm>
              <a:off x="2535238" y="2751138"/>
              <a:ext cx="1106488" cy="1103313"/>
            </a:xfrm>
            <a:custGeom>
              <a:avLst/>
              <a:gdLst>
                <a:gd name="T0" fmla="*/ 301 w 697"/>
                <a:gd name="T1" fmla="*/ 49 h 695"/>
                <a:gd name="T2" fmla="*/ 285 w 697"/>
                <a:gd name="T3" fmla="*/ 124 h 695"/>
                <a:gd name="T4" fmla="*/ 171 w 697"/>
                <a:gd name="T5" fmla="*/ 102 h 695"/>
                <a:gd name="T6" fmla="*/ 147 w 697"/>
                <a:gd name="T7" fmla="*/ 214 h 695"/>
                <a:gd name="T8" fmla="*/ 119 w 697"/>
                <a:gd name="T9" fmla="*/ 295 h 695"/>
                <a:gd name="T10" fmla="*/ 49 w 697"/>
                <a:gd name="T11" fmla="*/ 314 h 695"/>
                <a:gd name="T12" fmla="*/ 46 w 697"/>
                <a:gd name="T13" fmla="*/ 354 h 695"/>
                <a:gd name="T14" fmla="*/ 102 w 697"/>
                <a:gd name="T15" fmla="*/ 394 h 695"/>
                <a:gd name="T16" fmla="*/ 134 w 697"/>
                <a:gd name="T17" fmla="*/ 435 h 695"/>
                <a:gd name="T18" fmla="*/ 107 w 697"/>
                <a:gd name="T19" fmla="*/ 526 h 695"/>
                <a:gd name="T20" fmla="*/ 168 w 697"/>
                <a:gd name="T21" fmla="*/ 587 h 695"/>
                <a:gd name="T22" fmla="*/ 259 w 697"/>
                <a:gd name="T23" fmla="*/ 558 h 695"/>
                <a:gd name="T24" fmla="*/ 301 w 697"/>
                <a:gd name="T25" fmla="*/ 590 h 695"/>
                <a:gd name="T26" fmla="*/ 372 w 697"/>
                <a:gd name="T27" fmla="*/ 647 h 695"/>
                <a:gd name="T28" fmla="*/ 398 w 697"/>
                <a:gd name="T29" fmla="*/ 579 h 695"/>
                <a:gd name="T30" fmla="*/ 471 w 697"/>
                <a:gd name="T31" fmla="*/ 544 h 695"/>
                <a:gd name="T32" fmla="*/ 529 w 697"/>
                <a:gd name="T33" fmla="*/ 587 h 695"/>
                <a:gd name="T34" fmla="*/ 555 w 697"/>
                <a:gd name="T35" fmla="*/ 487 h 695"/>
                <a:gd name="T36" fmla="*/ 573 w 697"/>
                <a:gd name="T37" fmla="*/ 404 h 695"/>
                <a:gd name="T38" fmla="*/ 647 w 697"/>
                <a:gd name="T39" fmla="*/ 386 h 695"/>
                <a:gd name="T40" fmla="*/ 647 w 697"/>
                <a:gd name="T41" fmla="*/ 301 h 695"/>
                <a:gd name="T42" fmla="*/ 572 w 697"/>
                <a:gd name="T43" fmla="*/ 288 h 695"/>
                <a:gd name="T44" fmla="*/ 555 w 697"/>
                <a:gd name="T45" fmla="*/ 205 h 695"/>
                <a:gd name="T46" fmla="*/ 529 w 697"/>
                <a:gd name="T47" fmla="*/ 107 h 695"/>
                <a:gd name="T48" fmla="*/ 480 w 697"/>
                <a:gd name="T49" fmla="*/ 145 h 695"/>
                <a:gd name="T50" fmla="*/ 401 w 697"/>
                <a:gd name="T51" fmla="*/ 118 h 695"/>
                <a:gd name="T52" fmla="*/ 383 w 697"/>
                <a:gd name="T53" fmla="*/ 48 h 695"/>
                <a:gd name="T54" fmla="*/ 400 w 697"/>
                <a:gd name="T55" fmla="*/ 3 h 695"/>
                <a:gd name="T56" fmla="*/ 441 w 697"/>
                <a:gd name="T57" fmla="*/ 29 h 695"/>
                <a:gd name="T58" fmla="*/ 526 w 697"/>
                <a:gd name="T59" fmla="*/ 51 h 695"/>
                <a:gd name="T60" fmla="*/ 558 w 697"/>
                <a:gd name="T61" fmla="*/ 69 h 695"/>
                <a:gd name="T62" fmla="*/ 625 w 697"/>
                <a:gd name="T63" fmla="*/ 138 h 695"/>
                <a:gd name="T64" fmla="*/ 638 w 697"/>
                <a:gd name="T65" fmla="*/ 153 h 695"/>
                <a:gd name="T66" fmla="*/ 605 w 697"/>
                <a:gd name="T67" fmla="*/ 240 h 695"/>
                <a:gd name="T68" fmla="*/ 683 w 697"/>
                <a:gd name="T69" fmla="*/ 262 h 695"/>
                <a:gd name="T70" fmla="*/ 695 w 697"/>
                <a:gd name="T71" fmla="*/ 360 h 695"/>
                <a:gd name="T72" fmla="*/ 679 w 697"/>
                <a:gd name="T73" fmla="*/ 435 h 695"/>
                <a:gd name="T74" fmla="*/ 599 w 697"/>
                <a:gd name="T75" fmla="*/ 465 h 695"/>
                <a:gd name="T76" fmla="*/ 631 w 697"/>
                <a:gd name="T77" fmla="*/ 547 h 695"/>
                <a:gd name="T78" fmla="*/ 543 w 697"/>
                <a:gd name="T79" fmla="*/ 633 h 695"/>
                <a:gd name="T80" fmla="*/ 441 w 697"/>
                <a:gd name="T81" fmla="*/ 608 h 695"/>
                <a:gd name="T82" fmla="*/ 423 w 697"/>
                <a:gd name="T83" fmla="*/ 686 h 695"/>
                <a:gd name="T84" fmla="*/ 368 w 697"/>
                <a:gd name="T85" fmla="*/ 694 h 695"/>
                <a:gd name="T86" fmla="*/ 267 w 697"/>
                <a:gd name="T87" fmla="*/ 685 h 695"/>
                <a:gd name="T88" fmla="*/ 255 w 697"/>
                <a:gd name="T89" fmla="*/ 608 h 695"/>
                <a:gd name="T90" fmla="*/ 154 w 697"/>
                <a:gd name="T91" fmla="*/ 634 h 695"/>
                <a:gd name="T92" fmla="*/ 136 w 697"/>
                <a:gd name="T93" fmla="*/ 621 h 695"/>
                <a:gd name="T94" fmla="*/ 70 w 697"/>
                <a:gd name="T95" fmla="*/ 554 h 695"/>
                <a:gd name="T96" fmla="*/ 55 w 697"/>
                <a:gd name="T97" fmla="*/ 532 h 695"/>
                <a:gd name="T98" fmla="*/ 86 w 697"/>
                <a:gd name="T99" fmla="*/ 439 h 695"/>
                <a:gd name="T100" fmla="*/ 8 w 697"/>
                <a:gd name="T101" fmla="*/ 421 h 695"/>
                <a:gd name="T102" fmla="*/ 14 w 697"/>
                <a:gd name="T103" fmla="*/ 261 h 695"/>
                <a:gd name="T104" fmla="*/ 96 w 697"/>
                <a:gd name="T105" fmla="*/ 227 h 695"/>
                <a:gd name="T106" fmla="*/ 63 w 697"/>
                <a:gd name="T107" fmla="*/ 148 h 695"/>
                <a:gd name="T108" fmla="*/ 153 w 697"/>
                <a:gd name="T109" fmla="*/ 58 h 695"/>
                <a:gd name="T110" fmla="*/ 255 w 697"/>
                <a:gd name="T111" fmla="*/ 84 h 695"/>
                <a:gd name="T112" fmla="*/ 273 w 697"/>
                <a:gd name="T113" fmla="*/ 8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7" h="695">
                  <a:moveTo>
                    <a:pt x="348" y="45"/>
                  </a:moveTo>
                  <a:lnTo>
                    <a:pt x="325" y="46"/>
                  </a:lnTo>
                  <a:lnTo>
                    <a:pt x="319" y="48"/>
                  </a:lnTo>
                  <a:lnTo>
                    <a:pt x="313" y="48"/>
                  </a:lnTo>
                  <a:lnTo>
                    <a:pt x="307" y="49"/>
                  </a:lnTo>
                  <a:lnTo>
                    <a:pt x="301" y="49"/>
                  </a:lnTo>
                  <a:lnTo>
                    <a:pt x="301" y="101"/>
                  </a:lnTo>
                  <a:lnTo>
                    <a:pt x="301" y="107"/>
                  </a:lnTo>
                  <a:lnTo>
                    <a:pt x="297" y="113"/>
                  </a:lnTo>
                  <a:lnTo>
                    <a:pt x="294" y="118"/>
                  </a:lnTo>
                  <a:lnTo>
                    <a:pt x="290" y="122"/>
                  </a:lnTo>
                  <a:lnTo>
                    <a:pt x="285" y="124"/>
                  </a:lnTo>
                  <a:lnTo>
                    <a:pt x="259" y="133"/>
                  </a:lnTo>
                  <a:lnTo>
                    <a:pt x="236" y="144"/>
                  </a:lnTo>
                  <a:lnTo>
                    <a:pt x="226" y="147"/>
                  </a:lnTo>
                  <a:lnTo>
                    <a:pt x="215" y="145"/>
                  </a:lnTo>
                  <a:lnTo>
                    <a:pt x="208" y="141"/>
                  </a:lnTo>
                  <a:lnTo>
                    <a:pt x="171" y="102"/>
                  </a:lnTo>
                  <a:lnTo>
                    <a:pt x="168" y="106"/>
                  </a:lnTo>
                  <a:lnTo>
                    <a:pt x="136" y="133"/>
                  </a:lnTo>
                  <a:lnTo>
                    <a:pt x="107" y="166"/>
                  </a:lnTo>
                  <a:lnTo>
                    <a:pt x="105" y="168"/>
                  </a:lnTo>
                  <a:lnTo>
                    <a:pt x="142" y="205"/>
                  </a:lnTo>
                  <a:lnTo>
                    <a:pt x="147" y="214"/>
                  </a:lnTo>
                  <a:lnTo>
                    <a:pt x="148" y="224"/>
                  </a:lnTo>
                  <a:lnTo>
                    <a:pt x="147" y="234"/>
                  </a:lnTo>
                  <a:lnTo>
                    <a:pt x="134" y="256"/>
                  </a:lnTo>
                  <a:lnTo>
                    <a:pt x="125" y="282"/>
                  </a:lnTo>
                  <a:lnTo>
                    <a:pt x="122" y="288"/>
                  </a:lnTo>
                  <a:lnTo>
                    <a:pt x="119" y="295"/>
                  </a:lnTo>
                  <a:lnTo>
                    <a:pt x="114" y="298"/>
                  </a:lnTo>
                  <a:lnTo>
                    <a:pt x="108" y="299"/>
                  </a:lnTo>
                  <a:lnTo>
                    <a:pt x="102" y="301"/>
                  </a:lnTo>
                  <a:lnTo>
                    <a:pt x="50" y="301"/>
                  </a:lnTo>
                  <a:lnTo>
                    <a:pt x="49" y="307"/>
                  </a:lnTo>
                  <a:lnTo>
                    <a:pt x="49" y="314"/>
                  </a:lnTo>
                  <a:lnTo>
                    <a:pt x="49" y="322"/>
                  </a:lnTo>
                  <a:lnTo>
                    <a:pt x="47" y="328"/>
                  </a:lnTo>
                  <a:lnTo>
                    <a:pt x="47" y="334"/>
                  </a:lnTo>
                  <a:lnTo>
                    <a:pt x="46" y="340"/>
                  </a:lnTo>
                  <a:lnTo>
                    <a:pt x="46" y="346"/>
                  </a:lnTo>
                  <a:lnTo>
                    <a:pt x="46" y="354"/>
                  </a:lnTo>
                  <a:lnTo>
                    <a:pt x="47" y="363"/>
                  </a:lnTo>
                  <a:lnTo>
                    <a:pt x="49" y="369"/>
                  </a:lnTo>
                  <a:lnTo>
                    <a:pt x="49" y="378"/>
                  </a:lnTo>
                  <a:lnTo>
                    <a:pt x="49" y="386"/>
                  </a:lnTo>
                  <a:lnTo>
                    <a:pt x="50" y="394"/>
                  </a:lnTo>
                  <a:lnTo>
                    <a:pt x="102" y="394"/>
                  </a:lnTo>
                  <a:lnTo>
                    <a:pt x="108" y="394"/>
                  </a:lnTo>
                  <a:lnTo>
                    <a:pt x="114" y="397"/>
                  </a:lnTo>
                  <a:lnTo>
                    <a:pt x="119" y="400"/>
                  </a:lnTo>
                  <a:lnTo>
                    <a:pt x="122" y="404"/>
                  </a:lnTo>
                  <a:lnTo>
                    <a:pt x="125" y="409"/>
                  </a:lnTo>
                  <a:lnTo>
                    <a:pt x="134" y="435"/>
                  </a:lnTo>
                  <a:lnTo>
                    <a:pt x="147" y="459"/>
                  </a:lnTo>
                  <a:lnTo>
                    <a:pt x="148" y="468"/>
                  </a:lnTo>
                  <a:lnTo>
                    <a:pt x="147" y="477"/>
                  </a:lnTo>
                  <a:lnTo>
                    <a:pt x="142" y="487"/>
                  </a:lnTo>
                  <a:lnTo>
                    <a:pt x="105" y="523"/>
                  </a:lnTo>
                  <a:lnTo>
                    <a:pt x="107" y="526"/>
                  </a:lnTo>
                  <a:lnTo>
                    <a:pt x="107" y="528"/>
                  </a:lnTo>
                  <a:lnTo>
                    <a:pt x="110" y="528"/>
                  </a:lnTo>
                  <a:lnTo>
                    <a:pt x="127" y="547"/>
                  </a:lnTo>
                  <a:lnTo>
                    <a:pt x="145" y="567"/>
                  </a:lnTo>
                  <a:lnTo>
                    <a:pt x="166" y="584"/>
                  </a:lnTo>
                  <a:lnTo>
                    <a:pt x="168" y="587"/>
                  </a:lnTo>
                  <a:lnTo>
                    <a:pt x="171" y="589"/>
                  </a:lnTo>
                  <a:lnTo>
                    <a:pt x="208" y="552"/>
                  </a:lnTo>
                  <a:lnTo>
                    <a:pt x="215" y="546"/>
                  </a:lnTo>
                  <a:lnTo>
                    <a:pt x="226" y="544"/>
                  </a:lnTo>
                  <a:lnTo>
                    <a:pt x="236" y="547"/>
                  </a:lnTo>
                  <a:lnTo>
                    <a:pt x="259" y="558"/>
                  </a:lnTo>
                  <a:lnTo>
                    <a:pt x="285" y="567"/>
                  </a:lnTo>
                  <a:lnTo>
                    <a:pt x="290" y="570"/>
                  </a:lnTo>
                  <a:lnTo>
                    <a:pt x="294" y="573"/>
                  </a:lnTo>
                  <a:lnTo>
                    <a:pt x="297" y="579"/>
                  </a:lnTo>
                  <a:lnTo>
                    <a:pt x="301" y="584"/>
                  </a:lnTo>
                  <a:lnTo>
                    <a:pt x="301" y="590"/>
                  </a:lnTo>
                  <a:lnTo>
                    <a:pt x="301" y="643"/>
                  </a:lnTo>
                  <a:lnTo>
                    <a:pt x="307" y="643"/>
                  </a:lnTo>
                  <a:lnTo>
                    <a:pt x="313" y="645"/>
                  </a:lnTo>
                  <a:lnTo>
                    <a:pt x="319" y="647"/>
                  </a:lnTo>
                  <a:lnTo>
                    <a:pt x="325" y="647"/>
                  </a:lnTo>
                  <a:lnTo>
                    <a:pt x="372" y="647"/>
                  </a:lnTo>
                  <a:lnTo>
                    <a:pt x="380" y="645"/>
                  </a:lnTo>
                  <a:lnTo>
                    <a:pt x="387" y="643"/>
                  </a:lnTo>
                  <a:lnTo>
                    <a:pt x="395" y="643"/>
                  </a:lnTo>
                  <a:lnTo>
                    <a:pt x="395" y="590"/>
                  </a:lnTo>
                  <a:lnTo>
                    <a:pt x="395" y="584"/>
                  </a:lnTo>
                  <a:lnTo>
                    <a:pt x="398" y="579"/>
                  </a:lnTo>
                  <a:lnTo>
                    <a:pt x="401" y="573"/>
                  </a:lnTo>
                  <a:lnTo>
                    <a:pt x="406" y="570"/>
                  </a:lnTo>
                  <a:lnTo>
                    <a:pt x="412" y="567"/>
                  </a:lnTo>
                  <a:lnTo>
                    <a:pt x="436" y="558"/>
                  </a:lnTo>
                  <a:lnTo>
                    <a:pt x="462" y="547"/>
                  </a:lnTo>
                  <a:lnTo>
                    <a:pt x="471" y="544"/>
                  </a:lnTo>
                  <a:lnTo>
                    <a:pt x="480" y="546"/>
                  </a:lnTo>
                  <a:lnTo>
                    <a:pt x="488" y="552"/>
                  </a:lnTo>
                  <a:lnTo>
                    <a:pt x="525" y="589"/>
                  </a:lnTo>
                  <a:lnTo>
                    <a:pt x="526" y="587"/>
                  </a:lnTo>
                  <a:lnTo>
                    <a:pt x="528" y="587"/>
                  </a:lnTo>
                  <a:lnTo>
                    <a:pt x="529" y="587"/>
                  </a:lnTo>
                  <a:lnTo>
                    <a:pt x="561" y="558"/>
                  </a:lnTo>
                  <a:lnTo>
                    <a:pt x="590" y="526"/>
                  </a:lnTo>
                  <a:lnTo>
                    <a:pt x="590" y="525"/>
                  </a:lnTo>
                  <a:lnTo>
                    <a:pt x="590" y="525"/>
                  </a:lnTo>
                  <a:lnTo>
                    <a:pt x="592" y="523"/>
                  </a:lnTo>
                  <a:lnTo>
                    <a:pt x="555" y="487"/>
                  </a:lnTo>
                  <a:lnTo>
                    <a:pt x="549" y="477"/>
                  </a:lnTo>
                  <a:lnTo>
                    <a:pt x="548" y="468"/>
                  </a:lnTo>
                  <a:lnTo>
                    <a:pt x="551" y="459"/>
                  </a:lnTo>
                  <a:lnTo>
                    <a:pt x="563" y="435"/>
                  </a:lnTo>
                  <a:lnTo>
                    <a:pt x="570" y="409"/>
                  </a:lnTo>
                  <a:lnTo>
                    <a:pt x="573" y="404"/>
                  </a:lnTo>
                  <a:lnTo>
                    <a:pt x="577" y="400"/>
                  </a:lnTo>
                  <a:lnTo>
                    <a:pt x="581" y="397"/>
                  </a:lnTo>
                  <a:lnTo>
                    <a:pt x="587" y="394"/>
                  </a:lnTo>
                  <a:lnTo>
                    <a:pt x="592" y="394"/>
                  </a:lnTo>
                  <a:lnTo>
                    <a:pt x="647" y="394"/>
                  </a:lnTo>
                  <a:lnTo>
                    <a:pt x="647" y="386"/>
                  </a:lnTo>
                  <a:lnTo>
                    <a:pt x="647" y="378"/>
                  </a:lnTo>
                  <a:lnTo>
                    <a:pt x="648" y="369"/>
                  </a:lnTo>
                  <a:lnTo>
                    <a:pt x="648" y="322"/>
                  </a:lnTo>
                  <a:lnTo>
                    <a:pt x="647" y="314"/>
                  </a:lnTo>
                  <a:lnTo>
                    <a:pt x="647" y="307"/>
                  </a:lnTo>
                  <a:lnTo>
                    <a:pt x="647" y="301"/>
                  </a:lnTo>
                  <a:lnTo>
                    <a:pt x="592" y="301"/>
                  </a:lnTo>
                  <a:lnTo>
                    <a:pt x="587" y="301"/>
                  </a:lnTo>
                  <a:lnTo>
                    <a:pt x="584" y="298"/>
                  </a:lnTo>
                  <a:lnTo>
                    <a:pt x="580" y="296"/>
                  </a:lnTo>
                  <a:lnTo>
                    <a:pt x="575" y="293"/>
                  </a:lnTo>
                  <a:lnTo>
                    <a:pt x="572" y="288"/>
                  </a:lnTo>
                  <a:lnTo>
                    <a:pt x="570" y="282"/>
                  </a:lnTo>
                  <a:lnTo>
                    <a:pt x="563" y="256"/>
                  </a:lnTo>
                  <a:lnTo>
                    <a:pt x="551" y="234"/>
                  </a:lnTo>
                  <a:lnTo>
                    <a:pt x="548" y="224"/>
                  </a:lnTo>
                  <a:lnTo>
                    <a:pt x="549" y="214"/>
                  </a:lnTo>
                  <a:lnTo>
                    <a:pt x="555" y="205"/>
                  </a:lnTo>
                  <a:lnTo>
                    <a:pt x="590" y="168"/>
                  </a:lnTo>
                  <a:lnTo>
                    <a:pt x="589" y="166"/>
                  </a:lnTo>
                  <a:lnTo>
                    <a:pt x="589" y="163"/>
                  </a:lnTo>
                  <a:lnTo>
                    <a:pt x="561" y="134"/>
                  </a:lnTo>
                  <a:lnTo>
                    <a:pt x="532" y="107"/>
                  </a:lnTo>
                  <a:lnTo>
                    <a:pt x="529" y="107"/>
                  </a:lnTo>
                  <a:lnTo>
                    <a:pt x="529" y="107"/>
                  </a:lnTo>
                  <a:lnTo>
                    <a:pt x="529" y="106"/>
                  </a:lnTo>
                  <a:lnTo>
                    <a:pt x="528" y="106"/>
                  </a:lnTo>
                  <a:lnTo>
                    <a:pt x="525" y="102"/>
                  </a:lnTo>
                  <a:lnTo>
                    <a:pt x="488" y="141"/>
                  </a:lnTo>
                  <a:lnTo>
                    <a:pt x="480" y="145"/>
                  </a:lnTo>
                  <a:lnTo>
                    <a:pt x="471" y="147"/>
                  </a:lnTo>
                  <a:lnTo>
                    <a:pt x="462" y="144"/>
                  </a:lnTo>
                  <a:lnTo>
                    <a:pt x="436" y="133"/>
                  </a:lnTo>
                  <a:lnTo>
                    <a:pt x="412" y="124"/>
                  </a:lnTo>
                  <a:lnTo>
                    <a:pt x="406" y="122"/>
                  </a:lnTo>
                  <a:lnTo>
                    <a:pt x="401" y="118"/>
                  </a:lnTo>
                  <a:lnTo>
                    <a:pt x="398" y="113"/>
                  </a:lnTo>
                  <a:lnTo>
                    <a:pt x="395" y="107"/>
                  </a:lnTo>
                  <a:lnTo>
                    <a:pt x="395" y="101"/>
                  </a:lnTo>
                  <a:lnTo>
                    <a:pt x="395" y="49"/>
                  </a:lnTo>
                  <a:lnTo>
                    <a:pt x="389" y="49"/>
                  </a:lnTo>
                  <a:lnTo>
                    <a:pt x="383" y="48"/>
                  </a:lnTo>
                  <a:lnTo>
                    <a:pt x="378" y="48"/>
                  </a:lnTo>
                  <a:lnTo>
                    <a:pt x="372" y="46"/>
                  </a:lnTo>
                  <a:lnTo>
                    <a:pt x="348" y="45"/>
                  </a:lnTo>
                  <a:close/>
                  <a:moveTo>
                    <a:pt x="348" y="0"/>
                  </a:moveTo>
                  <a:lnTo>
                    <a:pt x="375" y="2"/>
                  </a:lnTo>
                  <a:lnTo>
                    <a:pt x="400" y="3"/>
                  </a:lnTo>
                  <a:lnTo>
                    <a:pt x="423" y="8"/>
                  </a:lnTo>
                  <a:lnTo>
                    <a:pt x="429" y="10"/>
                  </a:lnTo>
                  <a:lnTo>
                    <a:pt x="433" y="13"/>
                  </a:lnTo>
                  <a:lnTo>
                    <a:pt x="438" y="17"/>
                  </a:lnTo>
                  <a:lnTo>
                    <a:pt x="439" y="23"/>
                  </a:lnTo>
                  <a:lnTo>
                    <a:pt x="441" y="29"/>
                  </a:lnTo>
                  <a:lnTo>
                    <a:pt x="441" y="84"/>
                  </a:lnTo>
                  <a:lnTo>
                    <a:pt x="455" y="90"/>
                  </a:lnTo>
                  <a:lnTo>
                    <a:pt x="468" y="96"/>
                  </a:lnTo>
                  <a:lnTo>
                    <a:pt x="508" y="57"/>
                  </a:lnTo>
                  <a:lnTo>
                    <a:pt x="516" y="52"/>
                  </a:lnTo>
                  <a:lnTo>
                    <a:pt x="526" y="51"/>
                  </a:lnTo>
                  <a:lnTo>
                    <a:pt x="535" y="54"/>
                  </a:lnTo>
                  <a:lnTo>
                    <a:pt x="541" y="57"/>
                  </a:lnTo>
                  <a:lnTo>
                    <a:pt x="548" y="61"/>
                  </a:lnTo>
                  <a:lnTo>
                    <a:pt x="554" y="66"/>
                  </a:lnTo>
                  <a:lnTo>
                    <a:pt x="555" y="69"/>
                  </a:lnTo>
                  <a:lnTo>
                    <a:pt x="558" y="69"/>
                  </a:lnTo>
                  <a:lnTo>
                    <a:pt x="560" y="70"/>
                  </a:lnTo>
                  <a:lnTo>
                    <a:pt x="560" y="70"/>
                  </a:lnTo>
                  <a:lnTo>
                    <a:pt x="593" y="101"/>
                  </a:lnTo>
                  <a:lnTo>
                    <a:pt x="625" y="136"/>
                  </a:lnTo>
                  <a:lnTo>
                    <a:pt x="625" y="136"/>
                  </a:lnTo>
                  <a:lnTo>
                    <a:pt x="625" y="138"/>
                  </a:lnTo>
                  <a:lnTo>
                    <a:pt x="627" y="138"/>
                  </a:lnTo>
                  <a:lnTo>
                    <a:pt x="627" y="139"/>
                  </a:lnTo>
                  <a:lnTo>
                    <a:pt x="628" y="141"/>
                  </a:lnTo>
                  <a:lnTo>
                    <a:pt x="630" y="142"/>
                  </a:lnTo>
                  <a:lnTo>
                    <a:pt x="633" y="147"/>
                  </a:lnTo>
                  <a:lnTo>
                    <a:pt x="638" y="153"/>
                  </a:lnTo>
                  <a:lnTo>
                    <a:pt x="641" y="159"/>
                  </a:lnTo>
                  <a:lnTo>
                    <a:pt x="644" y="170"/>
                  </a:lnTo>
                  <a:lnTo>
                    <a:pt x="644" y="179"/>
                  </a:lnTo>
                  <a:lnTo>
                    <a:pt x="638" y="188"/>
                  </a:lnTo>
                  <a:lnTo>
                    <a:pt x="599" y="227"/>
                  </a:lnTo>
                  <a:lnTo>
                    <a:pt x="605" y="240"/>
                  </a:lnTo>
                  <a:lnTo>
                    <a:pt x="610" y="255"/>
                  </a:lnTo>
                  <a:lnTo>
                    <a:pt x="663" y="255"/>
                  </a:lnTo>
                  <a:lnTo>
                    <a:pt x="670" y="255"/>
                  </a:lnTo>
                  <a:lnTo>
                    <a:pt x="674" y="256"/>
                  </a:lnTo>
                  <a:lnTo>
                    <a:pt x="679" y="259"/>
                  </a:lnTo>
                  <a:lnTo>
                    <a:pt x="683" y="262"/>
                  </a:lnTo>
                  <a:lnTo>
                    <a:pt x="686" y="267"/>
                  </a:lnTo>
                  <a:lnTo>
                    <a:pt x="688" y="272"/>
                  </a:lnTo>
                  <a:lnTo>
                    <a:pt x="692" y="295"/>
                  </a:lnTo>
                  <a:lnTo>
                    <a:pt x="697" y="317"/>
                  </a:lnTo>
                  <a:lnTo>
                    <a:pt x="697" y="346"/>
                  </a:lnTo>
                  <a:lnTo>
                    <a:pt x="695" y="360"/>
                  </a:lnTo>
                  <a:lnTo>
                    <a:pt x="694" y="374"/>
                  </a:lnTo>
                  <a:lnTo>
                    <a:pt x="691" y="398"/>
                  </a:lnTo>
                  <a:lnTo>
                    <a:pt x="688" y="421"/>
                  </a:lnTo>
                  <a:lnTo>
                    <a:pt x="686" y="427"/>
                  </a:lnTo>
                  <a:lnTo>
                    <a:pt x="683" y="432"/>
                  </a:lnTo>
                  <a:lnTo>
                    <a:pt x="679" y="435"/>
                  </a:lnTo>
                  <a:lnTo>
                    <a:pt x="674" y="436"/>
                  </a:lnTo>
                  <a:lnTo>
                    <a:pt x="670" y="438"/>
                  </a:lnTo>
                  <a:lnTo>
                    <a:pt x="663" y="439"/>
                  </a:lnTo>
                  <a:lnTo>
                    <a:pt x="610" y="439"/>
                  </a:lnTo>
                  <a:lnTo>
                    <a:pt x="605" y="451"/>
                  </a:lnTo>
                  <a:lnTo>
                    <a:pt x="599" y="465"/>
                  </a:lnTo>
                  <a:lnTo>
                    <a:pt x="638" y="503"/>
                  </a:lnTo>
                  <a:lnTo>
                    <a:pt x="644" y="512"/>
                  </a:lnTo>
                  <a:lnTo>
                    <a:pt x="644" y="523"/>
                  </a:lnTo>
                  <a:lnTo>
                    <a:pt x="641" y="532"/>
                  </a:lnTo>
                  <a:lnTo>
                    <a:pt x="636" y="540"/>
                  </a:lnTo>
                  <a:lnTo>
                    <a:pt x="631" y="547"/>
                  </a:lnTo>
                  <a:lnTo>
                    <a:pt x="627" y="554"/>
                  </a:lnTo>
                  <a:lnTo>
                    <a:pt x="605" y="579"/>
                  </a:lnTo>
                  <a:lnTo>
                    <a:pt x="583" y="602"/>
                  </a:lnTo>
                  <a:lnTo>
                    <a:pt x="555" y="624"/>
                  </a:lnTo>
                  <a:lnTo>
                    <a:pt x="549" y="628"/>
                  </a:lnTo>
                  <a:lnTo>
                    <a:pt x="543" y="633"/>
                  </a:lnTo>
                  <a:lnTo>
                    <a:pt x="535" y="639"/>
                  </a:lnTo>
                  <a:lnTo>
                    <a:pt x="526" y="640"/>
                  </a:lnTo>
                  <a:lnTo>
                    <a:pt x="516" y="640"/>
                  </a:lnTo>
                  <a:lnTo>
                    <a:pt x="508" y="634"/>
                  </a:lnTo>
                  <a:lnTo>
                    <a:pt x="468" y="595"/>
                  </a:lnTo>
                  <a:lnTo>
                    <a:pt x="441" y="608"/>
                  </a:lnTo>
                  <a:lnTo>
                    <a:pt x="441" y="662"/>
                  </a:lnTo>
                  <a:lnTo>
                    <a:pt x="439" y="668"/>
                  </a:lnTo>
                  <a:lnTo>
                    <a:pt x="438" y="674"/>
                  </a:lnTo>
                  <a:lnTo>
                    <a:pt x="433" y="679"/>
                  </a:lnTo>
                  <a:lnTo>
                    <a:pt x="429" y="683"/>
                  </a:lnTo>
                  <a:lnTo>
                    <a:pt x="423" y="686"/>
                  </a:lnTo>
                  <a:lnTo>
                    <a:pt x="377" y="692"/>
                  </a:lnTo>
                  <a:lnTo>
                    <a:pt x="377" y="695"/>
                  </a:lnTo>
                  <a:lnTo>
                    <a:pt x="375" y="695"/>
                  </a:lnTo>
                  <a:lnTo>
                    <a:pt x="372" y="694"/>
                  </a:lnTo>
                  <a:lnTo>
                    <a:pt x="371" y="694"/>
                  </a:lnTo>
                  <a:lnTo>
                    <a:pt x="368" y="694"/>
                  </a:lnTo>
                  <a:lnTo>
                    <a:pt x="366" y="695"/>
                  </a:lnTo>
                  <a:lnTo>
                    <a:pt x="320" y="695"/>
                  </a:lnTo>
                  <a:lnTo>
                    <a:pt x="304" y="692"/>
                  </a:lnTo>
                  <a:lnTo>
                    <a:pt x="288" y="689"/>
                  </a:lnTo>
                  <a:lnTo>
                    <a:pt x="273" y="686"/>
                  </a:lnTo>
                  <a:lnTo>
                    <a:pt x="267" y="685"/>
                  </a:lnTo>
                  <a:lnTo>
                    <a:pt x="264" y="682"/>
                  </a:lnTo>
                  <a:lnTo>
                    <a:pt x="259" y="677"/>
                  </a:lnTo>
                  <a:lnTo>
                    <a:pt x="258" y="672"/>
                  </a:lnTo>
                  <a:lnTo>
                    <a:pt x="256" y="668"/>
                  </a:lnTo>
                  <a:lnTo>
                    <a:pt x="255" y="662"/>
                  </a:lnTo>
                  <a:lnTo>
                    <a:pt x="255" y="608"/>
                  </a:lnTo>
                  <a:lnTo>
                    <a:pt x="229" y="595"/>
                  </a:lnTo>
                  <a:lnTo>
                    <a:pt x="191" y="634"/>
                  </a:lnTo>
                  <a:lnTo>
                    <a:pt x="180" y="640"/>
                  </a:lnTo>
                  <a:lnTo>
                    <a:pt x="171" y="640"/>
                  </a:lnTo>
                  <a:lnTo>
                    <a:pt x="159" y="639"/>
                  </a:lnTo>
                  <a:lnTo>
                    <a:pt x="154" y="634"/>
                  </a:lnTo>
                  <a:lnTo>
                    <a:pt x="148" y="630"/>
                  </a:lnTo>
                  <a:lnTo>
                    <a:pt x="142" y="625"/>
                  </a:lnTo>
                  <a:lnTo>
                    <a:pt x="140" y="624"/>
                  </a:lnTo>
                  <a:lnTo>
                    <a:pt x="139" y="622"/>
                  </a:lnTo>
                  <a:lnTo>
                    <a:pt x="137" y="622"/>
                  </a:lnTo>
                  <a:lnTo>
                    <a:pt x="136" y="621"/>
                  </a:lnTo>
                  <a:lnTo>
                    <a:pt x="102" y="590"/>
                  </a:lnTo>
                  <a:lnTo>
                    <a:pt x="73" y="557"/>
                  </a:lnTo>
                  <a:lnTo>
                    <a:pt x="72" y="555"/>
                  </a:lnTo>
                  <a:lnTo>
                    <a:pt x="70" y="555"/>
                  </a:lnTo>
                  <a:lnTo>
                    <a:pt x="70" y="554"/>
                  </a:lnTo>
                  <a:lnTo>
                    <a:pt x="70" y="554"/>
                  </a:lnTo>
                  <a:lnTo>
                    <a:pt x="69" y="552"/>
                  </a:lnTo>
                  <a:lnTo>
                    <a:pt x="69" y="551"/>
                  </a:lnTo>
                  <a:lnTo>
                    <a:pt x="69" y="549"/>
                  </a:lnTo>
                  <a:lnTo>
                    <a:pt x="64" y="544"/>
                  </a:lnTo>
                  <a:lnTo>
                    <a:pt x="60" y="538"/>
                  </a:lnTo>
                  <a:lnTo>
                    <a:pt x="55" y="532"/>
                  </a:lnTo>
                  <a:lnTo>
                    <a:pt x="52" y="523"/>
                  </a:lnTo>
                  <a:lnTo>
                    <a:pt x="52" y="514"/>
                  </a:lnTo>
                  <a:lnTo>
                    <a:pt x="57" y="503"/>
                  </a:lnTo>
                  <a:lnTo>
                    <a:pt x="96" y="465"/>
                  </a:lnTo>
                  <a:lnTo>
                    <a:pt x="92" y="451"/>
                  </a:lnTo>
                  <a:lnTo>
                    <a:pt x="86" y="439"/>
                  </a:lnTo>
                  <a:lnTo>
                    <a:pt x="31" y="439"/>
                  </a:lnTo>
                  <a:lnTo>
                    <a:pt x="25" y="438"/>
                  </a:lnTo>
                  <a:lnTo>
                    <a:pt x="18" y="436"/>
                  </a:lnTo>
                  <a:lnTo>
                    <a:pt x="14" y="433"/>
                  </a:lnTo>
                  <a:lnTo>
                    <a:pt x="9" y="427"/>
                  </a:lnTo>
                  <a:lnTo>
                    <a:pt x="8" y="421"/>
                  </a:lnTo>
                  <a:lnTo>
                    <a:pt x="5" y="398"/>
                  </a:lnTo>
                  <a:lnTo>
                    <a:pt x="0" y="374"/>
                  </a:lnTo>
                  <a:lnTo>
                    <a:pt x="0" y="317"/>
                  </a:lnTo>
                  <a:lnTo>
                    <a:pt x="8" y="272"/>
                  </a:lnTo>
                  <a:lnTo>
                    <a:pt x="9" y="266"/>
                  </a:lnTo>
                  <a:lnTo>
                    <a:pt x="14" y="261"/>
                  </a:lnTo>
                  <a:lnTo>
                    <a:pt x="18" y="258"/>
                  </a:lnTo>
                  <a:lnTo>
                    <a:pt x="25" y="255"/>
                  </a:lnTo>
                  <a:lnTo>
                    <a:pt x="31" y="255"/>
                  </a:lnTo>
                  <a:lnTo>
                    <a:pt x="86" y="255"/>
                  </a:lnTo>
                  <a:lnTo>
                    <a:pt x="92" y="240"/>
                  </a:lnTo>
                  <a:lnTo>
                    <a:pt x="96" y="227"/>
                  </a:lnTo>
                  <a:lnTo>
                    <a:pt x="57" y="188"/>
                  </a:lnTo>
                  <a:lnTo>
                    <a:pt x="52" y="179"/>
                  </a:lnTo>
                  <a:lnTo>
                    <a:pt x="52" y="170"/>
                  </a:lnTo>
                  <a:lnTo>
                    <a:pt x="55" y="159"/>
                  </a:lnTo>
                  <a:lnTo>
                    <a:pt x="58" y="154"/>
                  </a:lnTo>
                  <a:lnTo>
                    <a:pt x="63" y="148"/>
                  </a:lnTo>
                  <a:lnTo>
                    <a:pt x="66" y="144"/>
                  </a:lnTo>
                  <a:lnTo>
                    <a:pt x="70" y="138"/>
                  </a:lnTo>
                  <a:lnTo>
                    <a:pt x="102" y="101"/>
                  </a:lnTo>
                  <a:lnTo>
                    <a:pt x="140" y="69"/>
                  </a:lnTo>
                  <a:lnTo>
                    <a:pt x="147" y="63"/>
                  </a:lnTo>
                  <a:lnTo>
                    <a:pt x="153" y="58"/>
                  </a:lnTo>
                  <a:lnTo>
                    <a:pt x="159" y="54"/>
                  </a:lnTo>
                  <a:lnTo>
                    <a:pt x="171" y="51"/>
                  </a:lnTo>
                  <a:lnTo>
                    <a:pt x="180" y="52"/>
                  </a:lnTo>
                  <a:lnTo>
                    <a:pt x="191" y="57"/>
                  </a:lnTo>
                  <a:lnTo>
                    <a:pt x="229" y="96"/>
                  </a:lnTo>
                  <a:lnTo>
                    <a:pt x="255" y="84"/>
                  </a:lnTo>
                  <a:lnTo>
                    <a:pt x="255" y="29"/>
                  </a:lnTo>
                  <a:lnTo>
                    <a:pt x="256" y="23"/>
                  </a:lnTo>
                  <a:lnTo>
                    <a:pt x="258" y="17"/>
                  </a:lnTo>
                  <a:lnTo>
                    <a:pt x="262" y="13"/>
                  </a:lnTo>
                  <a:lnTo>
                    <a:pt x="267" y="10"/>
                  </a:lnTo>
                  <a:lnTo>
                    <a:pt x="273" y="8"/>
                  </a:lnTo>
                  <a:lnTo>
                    <a:pt x="296" y="3"/>
                  </a:lnTo>
                  <a:lnTo>
                    <a:pt x="320" y="2"/>
                  </a:lnTo>
                  <a:lnTo>
                    <a:pt x="348"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11">
              <a:extLst>
                <a:ext uri="{FF2B5EF4-FFF2-40B4-BE49-F238E27FC236}">
                  <a16:creationId xmlns:a16="http://schemas.microsoft.com/office/drawing/2014/main" id="{666B5E8B-4E6A-3542-BB4E-D98F80A6D6FE}"/>
                </a:ext>
              </a:extLst>
            </p:cNvPr>
            <p:cNvSpPr>
              <a:spLocks noEditPoints="1"/>
            </p:cNvSpPr>
            <p:nvPr/>
          </p:nvSpPr>
          <p:spPr bwMode="auto">
            <a:xfrm>
              <a:off x="3540125" y="1790700"/>
              <a:ext cx="776288" cy="777875"/>
            </a:xfrm>
            <a:custGeom>
              <a:avLst/>
              <a:gdLst>
                <a:gd name="T0" fmla="*/ 210 w 489"/>
                <a:gd name="T1" fmla="*/ 72 h 490"/>
                <a:gd name="T2" fmla="*/ 165 w 489"/>
                <a:gd name="T3" fmla="*/ 102 h 490"/>
                <a:gd name="T4" fmla="*/ 119 w 489"/>
                <a:gd name="T5" fmla="*/ 74 h 490"/>
                <a:gd name="T6" fmla="*/ 102 w 489"/>
                <a:gd name="T7" fmla="*/ 150 h 490"/>
                <a:gd name="T8" fmla="*/ 85 w 489"/>
                <a:gd name="T9" fmla="*/ 205 h 490"/>
                <a:gd name="T10" fmla="*/ 33 w 489"/>
                <a:gd name="T11" fmla="*/ 223 h 490"/>
                <a:gd name="T12" fmla="*/ 32 w 489"/>
                <a:gd name="T13" fmla="*/ 256 h 490"/>
                <a:gd name="T14" fmla="*/ 76 w 489"/>
                <a:gd name="T15" fmla="*/ 279 h 490"/>
                <a:gd name="T16" fmla="*/ 104 w 489"/>
                <a:gd name="T17" fmla="*/ 328 h 490"/>
                <a:gd name="T18" fmla="*/ 75 w 489"/>
                <a:gd name="T19" fmla="*/ 372 h 490"/>
                <a:gd name="T20" fmla="*/ 145 w 489"/>
                <a:gd name="T21" fmla="*/ 389 h 490"/>
                <a:gd name="T22" fmla="*/ 181 w 489"/>
                <a:gd name="T23" fmla="*/ 394 h 490"/>
                <a:gd name="T24" fmla="*/ 210 w 489"/>
                <a:gd name="T25" fmla="*/ 453 h 490"/>
                <a:gd name="T26" fmla="*/ 267 w 489"/>
                <a:gd name="T27" fmla="*/ 455 h 490"/>
                <a:gd name="T28" fmla="*/ 284 w 489"/>
                <a:gd name="T29" fmla="*/ 403 h 490"/>
                <a:gd name="T30" fmla="*/ 335 w 489"/>
                <a:gd name="T31" fmla="*/ 384 h 490"/>
                <a:gd name="T32" fmla="*/ 370 w 489"/>
                <a:gd name="T33" fmla="*/ 413 h 490"/>
                <a:gd name="T34" fmla="*/ 390 w 489"/>
                <a:gd name="T35" fmla="*/ 343 h 490"/>
                <a:gd name="T36" fmla="*/ 401 w 489"/>
                <a:gd name="T37" fmla="*/ 288 h 490"/>
                <a:gd name="T38" fmla="*/ 454 w 489"/>
                <a:gd name="T39" fmla="*/ 272 h 490"/>
                <a:gd name="T40" fmla="*/ 454 w 489"/>
                <a:gd name="T41" fmla="*/ 212 h 490"/>
                <a:gd name="T42" fmla="*/ 401 w 489"/>
                <a:gd name="T43" fmla="*/ 200 h 490"/>
                <a:gd name="T44" fmla="*/ 390 w 489"/>
                <a:gd name="T45" fmla="*/ 145 h 490"/>
                <a:gd name="T46" fmla="*/ 370 w 489"/>
                <a:gd name="T47" fmla="*/ 77 h 490"/>
                <a:gd name="T48" fmla="*/ 338 w 489"/>
                <a:gd name="T49" fmla="*/ 102 h 490"/>
                <a:gd name="T50" fmla="*/ 288 w 489"/>
                <a:gd name="T51" fmla="*/ 89 h 490"/>
                <a:gd name="T52" fmla="*/ 271 w 489"/>
                <a:gd name="T53" fmla="*/ 35 h 490"/>
                <a:gd name="T54" fmla="*/ 281 w 489"/>
                <a:gd name="T55" fmla="*/ 3 h 490"/>
                <a:gd name="T56" fmla="*/ 308 w 489"/>
                <a:gd name="T57" fmla="*/ 60 h 490"/>
                <a:gd name="T58" fmla="*/ 367 w 489"/>
                <a:gd name="T59" fmla="*/ 37 h 490"/>
                <a:gd name="T60" fmla="*/ 390 w 489"/>
                <a:gd name="T61" fmla="*/ 49 h 490"/>
                <a:gd name="T62" fmla="*/ 439 w 489"/>
                <a:gd name="T63" fmla="*/ 98 h 490"/>
                <a:gd name="T64" fmla="*/ 450 w 489"/>
                <a:gd name="T65" fmla="*/ 113 h 490"/>
                <a:gd name="T66" fmla="*/ 421 w 489"/>
                <a:gd name="T67" fmla="*/ 160 h 490"/>
                <a:gd name="T68" fmla="*/ 474 w 489"/>
                <a:gd name="T69" fmla="*/ 182 h 490"/>
                <a:gd name="T70" fmla="*/ 489 w 489"/>
                <a:gd name="T71" fmla="*/ 244 h 490"/>
                <a:gd name="T72" fmla="*/ 479 w 489"/>
                <a:gd name="T73" fmla="*/ 305 h 490"/>
                <a:gd name="T74" fmla="*/ 421 w 489"/>
                <a:gd name="T75" fmla="*/ 328 h 490"/>
                <a:gd name="T76" fmla="*/ 450 w 489"/>
                <a:gd name="T77" fmla="*/ 375 h 490"/>
                <a:gd name="T78" fmla="*/ 372 w 489"/>
                <a:gd name="T79" fmla="*/ 451 h 490"/>
                <a:gd name="T80" fmla="*/ 319 w 489"/>
                <a:gd name="T81" fmla="*/ 424 h 490"/>
                <a:gd name="T82" fmla="*/ 296 w 489"/>
                <a:gd name="T83" fmla="*/ 483 h 490"/>
                <a:gd name="T84" fmla="*/ 258 w 489"/>
                <a:gd name="T85" fmla="*/ 490 h 490"/>
                <a:gd name="T86" fmla="*/ 183 w 489"/>
                <a:gd name="T87" fmla="*/ 479 h 490"/>
                <a:gd name="T88" fmla="*/ 160 w 489"/>
                <a:gd name="T89" fmla="*/ 419 h 490"/>
                <a:gd name="T90" fmla="*/ 105 w 489"/>
                <a:gd name="T91" fmla="*/ 445 h 490"/>
                <a:gd name="T92" fmla="*/ 70 w 489"/>
                <a:gd name="T93" fmla="*/ 416 h 490"/>
                <a:gd name="T94" fmla="*/ 47 w 489"/>
                <a:gd name="T95" fmla="*/ 389 h 490"/>
                <a:gd name="T96" fmla="*/ 37 w 489"/>
                <a:gd name="T97" fmla="*/ 360 h 490"/>
                <a:gd name="T98" fmla="*/ 17 w 489"/>
                <a:gd name="T99" fmla="*/ 310 h 490"/>
                <a:gd name="T100" fmla="*/ 0 w 489"/>
                <a:gd name="T101" fmla="*/ 224 h 490"/>
                <a:gd name="T102" fmla="*/ 21 w 489"/>
                <a:gd name="T103" fmla="*/ 180 h 490"/>
                <a:gd name="T104" fmla="*/ 37 w 489"/>
                <a:gd name="T105" fmla="*/ 130 h 490"/>
                <a:gd name="T106" fmla="*/ 44 w 489"/>
                <a:gd name="T107" fmla="*/ 102 h 490"/>
                <a:gd name="T108" fmla="*/ 117 w 489"/>
                <a:gd name="T109" fmla="*/ 37 h 490"/>
                <a:gd name="T110" fmla="*/ 178 w 489"/>
                <a:gd name="T111" fmla="*/ 60 h 490"/>
                <a:gd name="T112" fmla="*/ 207 w 489"/>
                <a:gd name="T113" fmla="*/ 3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9" h="490">
                  <a:moveTo>
                    <a:pt x="244" y="32"/>
                  </a:moveTo>
                  <a:lnTo>
                    <a:pt x="227" y="34"/>
                  </a:lnTo>
                  <a:lnTo>
                    <a:pt x="221" y="34"/>
                  </a:lnTo>
                  <a:lnTo>
                    <a:pt x="216" y="35"/>
                  </a:lnTo>
                  <a:lnTo>
                    <a:pt x="210" y="35"/>
                  </a:lnTo>
                  <a:lnTo>
                    <a:pt x="210" y="72"/>
                  </a:lnTo>
                  <a:lnTo>
                    <a:pt x="210" y="78"/>
                  </a:lnTo>
                  <a:lnTo>
                    <a:pt x="207" y="83"/>
                  </a:lnTo>
                  <a:lnTo>
                    <a:pt x="204" y="86"/>
                  </a:lnTo>
                  <a:lnTo>
                    <a:pt x="200" y="89"/>
                  </a:lnTo>
                  <a:lnTo>
                    <a:pt x="181" y="95"/>
                  </a:lnTo>
                  <a:lnTo>
                    <a:pt x="165" y="102"/>
                  </a:lnTo>
                  <a:lnTo>
                    <a:pt x="162" y="104"/>
                  </a:lnTo>
                  <a:lnTo>
                    <a:pt x="157" y="104"/>
                  </a:lnTo>
                  <a:lnTo>
                    <a:pt x="152" y="104"/>
                  </a:lnTo>
                  <a:lnTo>
                    <a:pt x="148" y="102"/>
                  </a:lnTo>
                  <a:lnTo>
                    <a:pt x="145" y="99"/>
                  </a:lnTo>
                  <a:lnTo>
                    <a:pt x="119" y="74"/>
                  </a:lnTo>
                  <a:lnTo>
                    <a:pt x="117" y="75"/>
                  </a:lnTo>
                  <a:lnTo>
                    <a:pt x="94" y="95"/>
                  </a:lnTo>
                  <a:lnTo>
                    <a:pt x="75" y="118"/>
                  </a:lnTo>
                  <a:lnTo>
                    <a:pt x="73" y="119"/>
                  </a:lnTo>
                  <a:lnTo>
                    <a:pt x="99" y="145"/>
                  </a:lnTo>
                  <a:lnTo>
                    <a:pt x="102" y="150"/>
                  </a:lnTo>
                  <a:lnTo>
                    <a:pt x="104" y="156"/>
                  </a:lnTo>
                  <a:lnTo>
                    <a:pt x="104" y="160"/>
                  </a:lnTo>
                  <a:lnTo>
                    <a:pt x="102" y="165"/>
                  </a:lnTo>
                  <a:lnTo>
                    <a:pt x="93" y="182"/>
                  </a:lnTo>
                  <a:lnTo>
                    <a:pt x="87" y="200"/>
                  </a:lnTo>
                  <a:lnTo>
                    <a:pt x="85" y="205"/>
                  </a:lnTo>
                  <a:lnTo>
                    <a:pt x="81" y="209"/>
                  </a:lnTo>
                  <a:lnTo>
                    <a:pt x="76" y="212"/>
                  </a:lnTo>
                  <a:lnTo>
                    <a:pt x="72" y="212"/>
                  </a:lnTo>
                  <a:lnTo>
                    <a:pt x="35" y="212"/>
                  </a:lnTo>
                  <a:lnTo>
                    <a:pt x="33" y="217"/>
                  </a:lnTo>
                  <a:lnTo>
                    <a:pt x="33" y="223"/>
                  </a:lnTo>
                  <a:lnTo>
                    <a:pt x="33" y="227"/>
                  </a:lnTo>
                  <a:lnTo>
                    <a:pt x="32" y="234"/>
                  </a:lnTo>
                  <a:lnTo>
                    <a:pt x="32" y="238"/>
                  </a:lnTo>
                  <a:lnTo>
                    <a:pt x="32" y="244"/>
                  </a:lnTo>
                  <a:lnTo>
                    <a:pt x="32" y="250"/>
                  </a:lnTo>
                  <a:lnTo>
                    <a:pt x="32" y="256"/>
                  </a:lnTo>
                  <a:lnTo>
                    <a:pt x="33" y="261"/>
                  </a:lnTo>
                  <a:lnTo>
                    <a:pt x="33" y="267"/>
                  </a:lnTo>
                  <a:lnTo>
                    <a:pt x="33" y="272"/>
                  </a:lnTo>
                  <a:lnTo>
                    <a:pt x="35" y="278"/>
                  </a:lnTo>
                  <a:lnTo>
                    <a:pt x="72" y="278"/>
                  </a:lnTo>
                  <a:lnTo>
                    <a:pt x="76" y="279"/>
                  </a:lnTo>
                  <a:lnTo>
                    <a:pt x="81" y="281"/>
                  </a:lnTo>
                  <a:lnTo>
                    <a:pt x="85" y="284"/>
                  </a:lnTo>
                  <a:lnTo>
                    <a:pt x="87" y="288"/>
                  </a:lnTo>
                  <a:lnTo>
                    <a:pt x="93" y="307"/>
                  </a:lnTo>
                  <a:lnTo>
                    <a:pt x="102" y="323"/>
                  </a:lnTo>
                  <a:lnTo>
                    <a:pt x="104" y="328"/>
                  </a:lnTo>
                  <a:lnTo>
                    <a:pt x="104" y="334"/>
                  </a:lnTo>
                  <a:lnTo>
                    <a:pt x="102" y="339"/>
                  </a:lnTo>
                  <a:lnTo>
                    <a:pt x="99" y="343"/>
                  </a:lnTo>
                  <a:lnTo>
                    <a:pt x="73" y="369"/>
                  </a:lnTo>
                  <a:lnTo>
                    <a:pt x="75" y="371"/>
                  </a:lnTo>
                  <a:lnTo>
                    <a:pt x="75" y="372"/>
                  </a:lnTo>
                  <a:lnTo>
                    <a:pt x="76" y="372"/>
                  </a:lnTo>
                  <a:lnTo>
                    <a:pt x="94" y="394"/>
                  </a:lnTo>
                  <a:lnTo>
                    <a:pt x="116" y="412"/>
                  </a:lnTo>
                  <a:lnTo>
                    <a:pt x="117" y="413"/>
                  </a:lnTo>
                  <a:lnTo>
                    <a:pt x="119" y="415"/>
                  </a:lnTo>
                  <a:lnTo>
                    <a:pt x="145" y="389"/>
                  </a:lnTo>
                  <a:lnTo>
                    <a:pt x="148" y="386"/>
                  </a:lnTo>
                  <a:lnTo>
                    <a:pt x="152" y="384"/>
                  </a:lnTo>
                  <a:lnTo>
                    <a:pt x="157" y="384"/>
                  </a:lnTo>
                  <a:lnTo>
                    <a:pt x="162" y="384"/>
                  </a:lnTo>
                  <a:lnTo>
                    <a:pt x="165" y="386"/>
                  </a:lnTo>
                  <a:lnTo>
                    <a:pt x="181" y="394"/>
                  </a:lnTo>
                  <a:lnTo>
                    <a:pt x="200" y="400"/>
                  </a:lnTo>
                  <a:lnTo>
                    <a:pt x="204" y="403"/>
                  </a:lnTo>
                  <a:lnTo>
                    <a:pt x="207" y="406"/>
                  </a:lnTo>
                  <a:lnTo>
                    <a:pt x="210" y="410"/>
                  </a:lnTo>
                  <a:lnTo>
                    <a:pt x="210" y="416"/>
                  </a:lnTo>
                  <a:lnTo>
                    <a:pt x="210" y="453"/>
                  </a:lnTo>
                  <a:lnTo>
                    <a:pt x="215" y="453"/>
                  </a:lnTo>
                  <a:lnTo>
                    <a:pt x="220" y="455"/>
                  </a:lnTo>
                  <a:lnTo>
                    <a:pt x="223" y="456"/>
                  </a:lnTo>
                  <a:lnTo>
                    <a:pt x="227" y="456"/>
                  </a:lnTo>
                  <a:lnTo>
                    <a:pt x="261" y="456"/>
                  </a:lnTo>
                  <a:lnTo>
                    <a:pt x="267" y="455"/>
                  </a:lnTo>
                  <a:lnTo>
                    <a:pt x="271" y="453"/>
                  </a:lnTo>
                  <a:lnTo>
                    <a:pt x="276" y="453"/>
                  </a:lnTo>
                  <a:lnTo>
                    <a:pt x="276" y="416"/>
                  </a:lnTo>
                  <a:lnTo>
                    <a:pt x="277" y="410"/>
                  </a:lnTo>
                  <a:lnTo>
                    <a:pt x="279" y="406"/>
                  </a:lnTo>
                  <a:lnTo>
                    <a:pt x="284" y="403"/>
                  </a:lnTo>
                  <a:lnTo>
                    <a:pt x="288" y="400"/>
                  </a:lnTo>
                  <a:lnTo>
                    <a:pt x="306" y="394"/>
                  </a:lnTo>
                  <a:lnTo>
                    <a:pt x="323" y="386"/>
                  </a:lnTo>
                  <a:lnTo>
                    <a:pt x="328" y="384"/>
                  </a:lnTo>
                  <a:lnTo>
                    <a:pt x="331" y="384"/>
                  </a:lnTo>
                  <a:lnTo>
                    <a:pt x="335" y="384"/>
                  </a:lnTo>
                  <a:lnTo>
                    <a:pt x="338" y="386"/>
                  </a:lnTo>
                  <a:lnTo>
                    <a:pt x="342" y="389"/>
                  </a:lnTo>
                  <a:lnTo>
                    <a:pt x="369" y="415"/>
                  </a:lnTo>
                  <a:lnTo>
                    <a:pt x="369" y="415"/>
                  </a:lnTo>
                  <a:lnTo>
                    <a:pt x="370" y="413"/>
                  </a:lnTo>
                  <a:lnTo>
                    <a:pt x="370" y="413"/>
                  </a:lnTo>
                  <a:lnTo>
                    <a:pt x="393" y="394"/>
                  </a:lnTo>
                  <a:lnTo>
                    <a:pt x="415" y="371"/>
                  </a:lnTo>
                  <a:lnTo>
                    <a:pt x="415" y="371"/>
                  </a:lnTo>
                  <a:lnTo>
                    <a:pt x="415" y="369"/>
                  </a:lnTo>
                  <a:lnTo>
                    <a:pt x="416" y="369"/>
                  </a:lnTo>
                  <a:lnTo>
                    <a:pt x="390" y="343"/>
                  </a:lnTo>
                  <a:lnTo>
                    <a:pt x="386" y="339"/>
                  </a:lnTo>
                  <a:lnTo>
                    <a:pt x="384" y="334"/>
                  </a:lnTo>
                  <a:lnTo>
                    <a:pt x="384" y="328"/>
                  </a:lnTo>
                  <a:lnTo>
                    <a:pt x="387" y="323"/>
                  </a:lnTo>
                  <a:lnTo>
                    <a:pt x="395" y="307"/>
                  </a:lnTo>
                  <a:lnTo>
                    <a:pt x="401" y="288"/>
                  </a:lnTo>
                  <a:lnTo>
                    <a:pt x="402" y="284"/>
                  </a:lnTo>
                  <a:lnTo>
                    <a:pt x="406" y="281"/>
                  </a:lnTo>
                  <a:lnTo>
                    <a:pt x="410" y="279"/>
                  </a:lnTo>
                  <a:lnTo>
                    <a:pt x="416" y="278"/>
                  </a:lnTo>
                  <a:lnTo>
                    <a:pt x="454" y="278"/>
                  </a:lnTo>
                  <a:lnTo>
                    <a:pt x="454" y="272"/>
                  </a:lnTo>
                  <a:lnTo>
                    <a:pt x="454" y="267"/>
                  </a:lnTo>
                  <a:lnTo>
                    <a:pt x="456" y="261"/>
                  </a:lnTo>
                  <a:lnTo>
                    <a:pt x="456" y="227"/>
                  </a:lnTo>
                  <a:lnTo>
                    <a:pt x="454" y="223"/>
                  </a:lnTo>
                  <a:lnTo>
                    <a:pt x="454" y="217"/>
                  </a:lnTo>
                  <a:lnTo>
                    <a:pt x="454" y="212"/>
                  </a:lnTo>
                  <a:lnTo>
                    <a:pt x="416" y="212"/>
                  </a:lnTo>
                  <a:lnTo>
                    <a:pt x="412" y="212"/>
                  </a:lnTo>
                  <a:lnTo>
                    <a:pt x="409" y="211"/>
                  </a:lnTo>
                  <a:lnTo>
                    <a:pt x="404" y="208"/>
                  </a:lnTo>
                  <a:lnTo>
                    <a:pt x="402" y="205"/>
                  </a:lnTo>
                  <a:lnTo>
                    <a:pt x="401" y="200"/>
                  </a:lnTo>
                  <a:lnTo>
                    <a:pt x="395" y="182"/>
                  </a:lnTo>
                  <a:lnTo>
                    <a:pt x="387" y="165"/>
                  </a:lnTo>
                  <a:lnTo>
                    <a:pt x="384" y="160"/>
                  </a:lnTo>
                  <a:lnTo>
                    <a:pt x="384" y="156"/>
                  </a:lnTo>
                  <a:lnTo>
                    <a:pt x="386" y="150"/>
                  </a:lnTo>
                  <a:lnTo>
                    <a:pt x="390" y="145"/>
                  </a:lnTo>
                  <a:lnTo>
                    <a:pt x="415" y="119"/>
                  </a:lnTo>
                  <a:lnTo>
                    <a:pt x="413" y="118"/>
                  </a:lnTo>
                  <a:lnTo>
                    <a:pt x="413" y="116"/>
                  </a:lnTo>
                  <a:lnTo>
                    <a:pt x="393" y="95"/>
                  </a:lnTo>
                  <a:lnTo>
                    <a:pt x="374" y="77"/>
                  </a:lnTo>
                  <a:lnTo>
                    <a:pt x="370" y="77"/>
                  </a:lnTo>
                  <a:lnTo>
                    <a:pt x="370" y="77"/>
                  </a:lnTo>
                  <a:lnTo>
                    <a:pt x="370" y="75"/>
                  </a:lnTo>
                  <a:lnTo>
                    <a:pt x="369" y="75"/>
                  </a:lnTo>
                  <a:lnTo>
                    <a:pt x="369" y="74"/>
                  </a:lnTo>
                  <a:lnTo>
                    <a:pt x="342" y="99"/>
                  </a:lnTo>
                  <a:lnTo>
                    <a:pt x="338" y="102"/>
                  </a:lnTo>
                  <a:lnTo>
                    <a:pt x="335" y="104"/>
                  </a:lnTo>
                  <a:lnTo>
                    <a:pt x="331" y="104"/>
                  </a:lnTo>
                  <a:lnTo>
                    <a:pt x="328" y="104"/>
                  </a:lnTo>
                  <a:lnTo>
                    <a:pt x="323" y="102"/>
                  </a:lnTo>
                  <a:lnTo>
                    <a:pt x="306" y="95"/>
                  </a:lnTo>
                  <a:lnTo>
                    <a:pt x="288" y="89"/>
                  </a:lnTo>
                  <a:lnTo>
                    <a:pt x="284" y="86"/>
                  </a:lnTo>
                  <a:lnTo>
                    <a:pt x="279" y="83"/>
                  </a:lnTo>
                  <a:lnTo>
                    <a:pt x="277" y="78"/>
                  </a:lnTo>
                  <a:lnTo>
                    <a:pt x="276" y="72"/>
                  </a:lnTo>
                  <a:lnTo>
                    <a:pt x="276" y="35"/>
                  </a:lnTo>
                  <a:lnTo>
                    <a:pt x="271" y="35"/>
                  </a:lnTo>
                  <a:lnTo>
                    <a:pt x="267" y="34"/>
                  </a:lnTo>
                  <a:lnTo>
                    <a:pt x="261" y="34"/>
                  </a:lnTo>
                  <a:lnTo>
                    <a:pt x="244" y="32"/>
                  </a:lnTo>
                  <a:close/>
                  <a:moveTo>
                    <a:pt x="244" y="0"/>
                  </a:moveTo>
                  <a:lnTo>
                    <a:pt x="262" y="2"/>
                  </a:lnTo>
                  <a:lnTo>
                    <a:pt x="281" y="3"/>
                  </a:lnTo>
                  <a:lnTo>
                    <a:pt x="296" y="6"/>
                  </a:lnTo>
                  <a:lnTo>
                    <a:pt x="302" y="8"/>
                  </a:lnTo>
                  <a:lnTo>
                    <a:pt x="305" y="13"/>
                  </a:lnTo>
                  <a:lnTo>
                    <a:pt x="308" y="17"/>
                  </a:lnTo>
                  <a:lnTo>
                    <a:pt x="308" y="22"/>
                  </a:lnTo>
                  <a:lnTo>
                    <a:pt x="308" y="60"/>
                  </a:lnTo>
                  <a:lnTo>
                    <a:pt x="319" y="64"/>
                  </a:lnTo>
                  <a:lnTo>
                    <a:pt x="328" y="69"/>
                  </a:lnTo>
                  <a:lnTo>
                    <a:pt x="355" y="42"/>
                  </a:lnTo>
                  <a:lnTo>
                    <a:pt x="360" y="38"/>
                  </a:lnTo>
                  <a:lnTo>
                    <a:pt x="363" y="37"/>
                  </a:lnTo>
                  <a:lnTo>
                    <a:pt x="367" y="37"/>
                  </a:lnTo>
                  <a:lnTo>
                    <a:pt x="372" y="37"/>
                  </a:lnTo>
                  <a:lnTo>
                    <a:pt x="375" y="38"/>
                  </a:lnTo>
                  <a:lnTo>
                    <a:pt x="381" y="43"/>
                  </a:lnTo>
                  <a:lnTo>
                    <a:pt x="387" y="48"/>
                  </a:lnTo>
                  <a:lnTo>
                    <a:pt x="390" y="49"/>
                  </a:lnTo>
                  <a:lnTo>
                    <a:pt x="390" y="49"/>
                  </a:lnTo>
                  <a:lnTo>
                    <a:pt x="392" y="51"/>
                  </a:lnTo>
                  <a:lnTo>
                    <a:pt x="392" y="51"/>
                  </a:lnTo>
                  <a:lnTo>
                    <a:pt x="416" y="72"/>
                  </a:lnTo>
                  <a:lnTo>
                    <a:pt x="439" y="96"/>
                  </a:lnTo>
                  <a:lnTo>
                    <a:pt x="439" y="96"/>
                  </a:lnTo>
                  <a:lnTo>
                    <a:pt x="439" y="98"/>
                  </a:lnTo>
                  <a:lnTo>
                    <a:pt x="441" y="98"/>
                  </a:lnTo>
                  <a:lnTo>
                    <a:pt x="441" y="99"/>
                  </a:lnTo>
                  <a:lnTo>
                    <a:pt x="441" y="99"/>
                  </a:lnTo>
                  <a:lnTo>
                    <a:pt x="442" y="101"/>
                  </a:lnTo>
                  <a:lnTo>
                    <a:pt x="445" y="107"/>
                  </a:lnTo>
                  <a:lnTo>
                    <a:pt x="450" y="113"/>
                  </a:lnTo>
                  <a:lnTo>
                    <a:pt x="451" y="118"/>
                  </a:lnTo>
                  <a:lnTo>
                    <a:pt x="451" y="122"/>
                  </a:lnTo>
                  <a:lnTo>
                    <a:pt x="451" y="125"/>
                  </a:lnTo>
                  <a:lnTo>
                    <a:pt x="450" y="130"/>
                  </a:lnTo>
                  <a:lnTo>
                    <a:pt x="448" y="133"/>
                  </a:lnTo>
                  <a:lnTo>
                    <a:pt x="421" y="160"/>
                  </a:lnTo>
                  <a:lnTo>
                    <a:pt x="424" y="166"/>
                  </a:lnTo>
                  <a:lnTo>
                    <a:pt x="425" y="173"/>
                  </a:lnTo>
                  <a:lnTo>
                    <a:pt x="428" y="180"/>
                  </a:lnTo>
                  <a:lnTo>
                    <a:pt x="467" y="180"/>
                  </a:lnTo>
                  <a:lnTo>
                    <a:pt x="471" y="180"/>
                  </a:lnTo>
                  <a:lnTo>
                    <a:pt x="474" y="182"/>
                  </a:lnTo>
                  <a:lnTo>
                    <a:pt x="479" y="185"/>
                  </a:lnTo>
                  <a:lnTo>
                    <a:pt x="482" y="188"/>
                  </a:lnTo>
                  <a:lnTo>
                    <a:pt x="483" y="192"/>
                  </a:lnTo>
                  <a:lnTo>
                    <a:pt x="486" y="209"/>
                  </a:lnTo>
                  <a:lnTo>
                    <a:pt x="489" y="224"/>
                  </a:lnTo>
                  <a:lnTo>
                    <a:pt x="489" y="244"/>
                  </a:lnTo>
                  <a:lnTo>
                    <a:pt x="488" y="250"/>
                  </a:lnTo>
                  <a:lnTo>
                    <a:pt x="488" y="258"/>
                  </a:lnTo>
                  <a:lnTo>
                    <a:pt x="488" y="264"/>
                  </a:lnTo>
                  <a:lnTo>
                    <a:pt x="483" y="298"/>
                  </a:lnTo>
                  <a:lnTo>
                    <a:pt x="482" y="302"/>
                  </a:lnTo>
                  <a:lnTo>
                    <a:pt x="479" y="305"/>
                  </a:lnTo>
                  <a:lnTo>
                    <a:pt x="474" y="308"/>
                  </a:lnTo>
                  <a:lnTo>
                    <a:pt x="471" y="310"/>
                  </a:lnTo>
                  <a:lnTo>
                    <a:pt x="467" y="310"/>
                  </a:lnTo>
                  <a:lnTo>
                    <a:pt x="428" y="310"/>
                  </a:lnTo>
                  <a:lnTo>
                    <a:pt x="424" y="319"/>
                  </a:lnTo>
                  <a:lnTo>
                    <a:pt x="421" y="328"/>
                  </a:lnTo>
                  <a:lnTo>
                    <a:pt x="448" y="355"/>
                  </a:lnTo>
                  <a:lnTo>
                    <a:pt x="450" y="359"/>
                  </a:lnTo>
                  <a:lnTo>
                    <a:pt x="451" y="363"/>
                  </a:lnTo>
                  <a:lnTo>
                    <a:pt x="451" y="368"/>
                  </a:lnTo>
                  <a:lnTo>
                    <a:pt x="451" y="371"/>
                  </a:lnTo>
                  <a:lnTo>
                    <a:pt x="450" y="375"/>
                  </a:lnTo>
                  <a:lnTo>
                    <a:pt x="445" y="383"/>
                  </a:lnTo>
                  <a:lnTo>
                    <a:pt x="441" y="391"/>
                  </a:lnTo>
                  <a:lnTo>
                    <a:pt x="418" y="416"/>
                  </a:lnTo>
                  <a:lnTo>
                    <a:pt x="390" y="439"/>
                  </a:lnTo>
                  <a:lnTo>
                    <a:pt x="375" y="450"/>
                  </a:lnTo>
                  <a:lnTo>
                    <a:pt x="372" y="451"/>
                  </a:lnTo>
                  <a:lnTo>
                    <a:pt x="367" y="451"/>
                  </a:lnTo>
                  <a:lnTo>
                    <a:pt x="363" y="451"/>
                  </a:lnTo>
                  <a:lnTo>
                    <a:pt x="360" y="450"/>
                  </a:lnTo>
                  <a:lnTo>
                    <a:pt x="355" y="447"/>
                  </a:lnTo>
                  <a:lnTo>
                    <a:pt x="328" y="419"/>
                  </a:lnTo>
                  <a:lnTo>
                    <a:pt x="319" y="424"/>
                  </a:lnTo>
                  <a:lnTo>
                    <a:pt x="308" y="429"/>
                  </a:lnTo>
                  <a:lnTo>
                    <a:pt x="308" y="467"/>
                  </a:lnTo>
                  <a:lnTo>
                    <a:pt x="308" y="473"/>
                  </a:lnTo>
                  <a:lnTo>
                    <a:pt x="305" y="477"/>
                  </a:lnTo>
                  <a:lnTo>
                    <a:pt x="302" y="480"/>
                  </a:lnTo>
                  <a:lnTo>
                    <a:pt x="296" y="483"/>
                  </a:lnTo>
                  <a:lnTo>
                    <a:pt x="264" y="488"/>
                  </a:lnTo>
                  <a:lnTo>
                    <a:pt x="264" y="490"/>
                  </a:lnTo>
                  <a:lnTo>
                    <a:pt x="262" y="490"/>
                  </a:lnTo>
                  <a:lnTo>
                    <a:pt x="261" y="490"/>
                  </a:lnTo>
                  <a:lnTo>
                    <a:pt x="259" y="490"/>
                  </a:lnTo>
                  <a:lnTo>
                    <a:pt x="258" y="490"/>
                  </a:lnTo>
                  <a:lnTo>
                    <a:pt x="256" y="490"/>
                  </a:lnTo>
                  <a:lnTo>
                    <a:pt x="224" y="490"/>
                  </a:lnTo>
                  <a:lnTo>
                    <a:pt x="207" y="487"/>
                  </a:lnTo>
                  <a:lnTo>
                    <a:pt x="191" y="483"/>
                  </a:lnTo>
                  <a:lnTo>
                    <a:pt x="186" y="482"/>
                  </a:lnTo>
                  <a:lnTo>
                    <a:pt x="183" y="479"/>
                  </a:lnTo>
                  <a:lnTo>
                    <a:pt x="181" y="476"/>
                  </a:lnTo>
                  <a:lnTo>
                    <a:pt x="180" y="471"/>
                  </a:lnTo>
                  <a:lnTo>
                    <a:pt x="178" y="467"/>
                  </a:lnTo>
                  <a:lnTo>
                    <a:pt x="178" y="429"/>
                  </a:lnTo>
                  <a:lnTo>
                    <a:pt x="169" y="424"/>
                  </a:lnTo>
                  <a:lnTo>
                    <a:pt x="160" y="419"/>
                  </a:lnTo>
                  <a:lnTo>
                    <a:pt x="133" y="447"/>
                  </a:lnTo>
                  <a:lnTo>
                    <a:pt x="128" y="450"/>
                  </a:lnTo>
                  <a:lnTo>
                    <a:pt x="122" y="451"/>
                  </a:lnTo>
                  <a:lnTo>
                    <a:pt x="117" y="451"/>
                  </a:lnTo>
                  <a:lnTo>
                    <a:pt x="111" y="450"/>
                  </a:lnTo>
                  <a:lnTo>
                    <a:pt x="105" y="445"/>
                  </a:lnTo>
                  <a:lnTo>
                    <a:pt x="99" y="441"/>
                  </a:lnTo>
                  <a:lnTo>
                    <a:pt x="98" y="439"/>
                  </a:lnTo>
                  <a:lnTo>
                    <a:pt x="98" y="439"/>
                  </a:lnTo>
                  <a:lnTo>
                    <a:pt x="96" y="438"/>
                  </a:lnTo>
                  <a:lnTo>
                    <a:pt x="94" y="438"/>
                  </a:lnTo>
                  <a:lnTo>
                    <a:pt x="70" y="416"/>
                  </a:lnTo>
                  <a:lnTo>
                    <a:pt x="50" y="392"/>
                  </a:lnTo>
                  <a:lnTo>
                    <a:pt x="49" y="392"/>
                  </a:lnTo>
                  <a:lnTo>
                    <a:pt x="49" y="391"/>
                  </a:lnTo>
                  <a:lnTo>
                    <a:pt x="49" y="391"/>
                  </a:lnTo>
                  <a:lnTo>
                    <a:pt x="47" y="389"/>
                  </a:lnTo>
                  <a:lnTo>
                    <a:pt x="47" y="389"/>
                  </a:lnTo>
                  <a:lnTo>
                    <a:pt x="47" y="387"/>
                  </a:lnTo>
                  <a:lnTo>
                    <a:pt x="43" y="381"/>
                  </a:lnTo>
                  <a:lnTo>
                    <a:pt x="38" y="375"/>
                  </a:lnTo>
                  <a:lnTo>
                    <a:pt x="35" y="371"/>
                  </a:lnTo>
                  <a:lnTo>
                    <a:pt x="35" y="366"/>
                  </a:lnTo>
                  <a:lnTo>
                    <a:pt x="37" y="360"/>
                  </a:lnTo>
                  <a:lnTo>
                    <a:pt x="40" y="355"/>
                  </a:lnTo>
                  <a:lnTo>
                    <a:pt x="67" y="328"/>
                  </a:lnTo>
                  <a:lnTo>
                    <a:pt x="62" y="319"/>
                  </a:lnTo>
                  <a:lnTo>
                    <a:pt x="59" y="310"/>
                  </a:lnTo>
                  <a:lnTo>
                    <a:pt x="21" y="310"/>
                  </a:lnTo>
                  <a:lnTo>
                    <a:pt x="17" y="310"/>
                  </a:lnTo>
                  <a:lnTo>
                    <a:pt x="12" y="308"/>
                  </a:lnTo>
                  <a:lnTo>
                    <a:pt x="9" y="305"/>
                  </a:lnTo>
                  <a:lnTo>
                    <a:pt x="6" y="302"/>
                  </a:lnTo>
                  <a:lnTo>
                    <a:pt x="5" y="298"/>
                  </a:lnTo>
                  <a:lnTo>
                    <a:pt x="0" y="264"/>
                  </a:lnTo>
                  <a:lnTo>
                    <a:pt x="0" y="224"/>
                  </a:lnTo>
                  <a:lnTo>
                    <a:pt x="5" y="192"/>
                  </a:lnTo>
                  <a:lnTo>
                    <a:pt x="6" y="188"/>
                  </a:lnTo>
                  <a:lnTo>
                    <a:pt x="9" y="185"/>
                  </a:lnTo>
                  <a:lnTo>
                    <a:pt x="12" y="182"/>
                  </a:lnTo>
                  <a:lnTo>
                    <a:pt x="17" y="180"/>
                  </a:lnTo>
                  <a:lnTo>
                    <a:pt x="21" y="180"/>
                  </a:lnTo>
                  <a:lnTo>
                    <a:pt x="59" y="180"/>
                  </a:lnTo>
                  <a:lnTo>
                    <a:pt x="62" y="173"/>
                  </a:lnTo>
                  <a:lnTo>
                    <a:pt x="64" y="166"/>
                  </a:lnTo>
                  <a:lnTo>
                    <a:pt x="67" y="160"/>
                  </a:lnTo>
                  <a:lnTo>
                    <a:pt x="40" y="133"/>
                  </a:lnTo>
                  <a:lnTo>
                    <a:pt x="37" y="130"/>
                  </a:lnTo>
                  <a:lnTo>
                    <a:pt x="35" y="125"/>
                  </a:lnTo>
                  <a:lnTo>
                    <a:pt x="35" y="122"/>
                  </a:lnTo>
                  <a:lnTo>
                    <a:pt x="37" y="118"/>
                  </a:lnTo>
                  <a:lnTo>
                    <a:pt x="38" y="113"/>
                  </a:lnTo>
                  <a:lnTo>
                    <a:pt x="41" y="109"/>
                  </a:lnTo>
                  <a:lnTo>
                    <a:pt x="44" y="102"/>
                  </a:lnTo>
                  <a:lnTo>
                    <a:pt x="49" y="98"/>
                  </a:lnTo>
                  <a:lnTo>
                    <a:pt x="72" y="72"/>
                  </a:lnTo>
                  <a:lnTo>
                    <a:pt x="98" y="49"/>
                  </a:lnTo>
                  <a:lnTo>
                    <a:pt x="104" y="45"/>
                  </a:lnTo>
                  <a:lnTo>
                    <a:pt x="111" y="38"/>
                  </a:lnTo>
                  <a:lnTo>
                    <a:pt x="117" y="37"/>
                  </a:lnTo>
                  <a:lnTo>
                    <a:pt x="122" y="37"/>
                  </a:lnTo>
                  <a:lnTo>
                    <a:pt x="128" y="38"/>
                  </a:lnTo>
                  <a:lnTo>
                    <a:pt x="133" y="42"/>
                  </a:lnTo>
                  <a:lnTo>
                    <a:pt x="160" y="69"/>
                  </a:lnTo>
                  <a:lnTo>
                    <a:pt x="169" y="64"/>
                  </a:lnTo>
                  <a:lnTo>
                    <a:pt x="178" y="60"/>
                  </a:lnTo>
                  <a:lnTo>
                    <a:pt x="178" y="22"/>
                  </a:lnTo>
                  <a:lnTo>
                    <a:pt x="180" y="17"/>
                  </a:lnTo>
                  <a:lnTo>
                    <a:pt x="181" y="13"/>
                  </a:lnTo>
                  <a:lnTo>
                    <a:pt x="186" y="8"/>
                  </a:lnTo>
                  <a:lnTo>
                    <a:pt x="191" y="6"/>
                  </a:lnTo>
                  <a:lnTo>
                    <a:pt x="207" y="3"/>
                  </a:lnTo>
                  <a:lnTo>
                    <a:pt x="224" y="2"/>
                  </a:lnTo>
                  <a:lnTo>
                    <a:pt x="244"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12">
              <a:extLst>
                <a:ext uri="{FF2B5EF4-FFF2-40B4-BE49-F238E27FC236}">
                  <a16:creationId xmlns:a16="http://schemas.microsoft.com/office/drawing/2014/main" id="{5B9DF59E-A0A0-E74E-8A87-88E042554F0C}"/>
                </a:ext>
              </a:extLst>
            </p:cNvPr>
            <p:cNvSpPr>
              <a:spLocks noEditPoints="1"/>
            </p:cNvSpPr>
            <p:nvPr/>
          </p:nvSpPr>
          <p:spPr bwMode="auto">
            <a:xfrm>
              <a:off x="3678238" y="2565400"/>
              <a:ext cx="1350963" cy="1347788"/>
            </a:xfrm>
            <a:custGeom>
              <a:avLst/>
              <a:gdLst>
                <a:gd name="T0" fmla="*/ 367 w 851"/>
                <a:gd name="T1" fmla="*/ 123 h 849"/>
                <a:gd name="T2" fmla="*/ 288 w 851"/>
                <a:gd name="T3" fmla="*/ 177 h 849"/>
                <a:gd name="T4" fmla="*/ 206 w 851"/>
                <a:gd name="T5" fmla="*/ 130 h 849"/>
                <a:gd name="T6" fmla="*/ 180 w 851"/>
                <a:gd name="T7" fmla="*/ 262 h 849"/>
                <a:gd name="T8" fmla="*/ 146 w 851"/>
                <a:gd name="T9" fmla="*/ 358 h 849"/>
                <a:gd name="T10" fmla="*/ 59 w 851"/>
                <a:gd name="T11" fmla="*/ 393 h 849"/>
                <a:gd name="T12" fmla="*/ 59 w 851"/>
                <a:gd name="T13" fmla="*/ 466 h 849"/>
                <a:gd name="T14" fmla="*/ 152 w 851"/>
                <a:gd name="T15" fmla="*/ 500 h 849"/>
                <a:gd name="T16" fmla="*/ 174 w 851"/>
                <a:gd name="T17" fmla="*/ 596 h 849"/>
                <a:gd name="T18" fmla="*/ 154 w 851"/>
                <a:gd name="T19" fmla="*/ 671 h 849"/>
                <a:gd name="T20" fmla="*/ 253 w 851"/>
                <a:gd name="T21" fmla="*/ 675 h 849"/>
                <a:gd name="T22" fmla="*/ 349 w 851"/>
                <a:gd name="T23" fmla="*/ 693 h 849"/>
                <a:gd name="T24" fmla="*/ 383 w 851"/>
                <a:gd name="T25" fmla="*/ 789 h 849"/>
                <a:gd name="T26" fmla="*/ 482 w 851"/>
                <a:gd name="T27" fmla="*/ 722 h 849"/>
                <a:gd name="T28" fmla="*/ 564 w 851"/>
                <a:gd name="T29" fmla="*/ 669 h 849"/>
                <a:gd name="T30" fmla="*/ 643 w 851"/>
                <a:gd name="T31" fmla="*/ 719 h 849"/>
                <a:gd name="T32" fmla="*/ 698 w 851"/>
                <a:gd name="T33" fmla="*/ 671 h 849"/>
                <a:gd name="T34" fmla="*/ 723 w 851"/>
                <a:gd name="T35" fmla="*/ 640 h 849"/>
                <a:gd name="T36" fmla="*/ 688 w 851"/>
                <a:gd name="T37" fmla="*/ 532 h 849"/>
                <a:gd name="T38" fmla="*/ 790 w 851"/>
                <a:gd name="T39" fmla="*/ 482 h 849"/>
                <a:gd name="T40" fmla="*/ 790 w 851"/>
                <a:gd name="T41" fmla="*/ 367 h 849"/>
                <a:gd name="T42" fmla="*/ 688 w 851"/>
                <a:gd name="T43" fmla="*/ 315 h 849"/>
                <a:gd name="T44" fmla="*/ 721 w 851"/>
                <a:gd name="T45" fmla="*/ 206 h 849"/>
                <a:gd name="T46" fmla="*/ 646 w 851"/>
                <a:gd name="T47" fmla="*/ 133 h 849"/>
                <a:gd name="T48" fmla="*/ 642 w 851"/>
                <a:gd name="T49" fmla="*/ 127 h 849"/>
                <a:gd name="T50" fmla="*/ 534 w 851"/>
                <a:gd name="T51" fmla="*/ 163 h 849"/>
                <a:gd name="T52" fmla="*/ 482 w 851"/>
                <a:gd name="T53" fmla="*/ 61 h 849"/>
                <a:gd name="T54" fmla="*/ 457 w 851"/>
                <a:gd name="T55" fmla="*/ 3 h 849"/>
                <a:gd name="T56" fmla="*/ 538 w 851"/>
                <a:gd name="T57" fmla="*/ 37 h 849"/>
                <a:gd name="T58" fmla="*/ 627 w 851"/>
                <a:gd name="T59" fmla="*/ 66 h 849"/>
                <a:gd name="T60" fmla="*/ 668 w 851"/>
                <a:gd name="T61" fmla="*/ 76 h 849"/>
                <a:gd name="T62" fmla="*/ 683 w 851"/>
                <a:gd name="T63" fmla="*/ 87 h 849"/>
                <a:gd name="T64" fmla="*/ 764 w 851"/>
                <a:gd name="T65" fmla="*/ 168 h 849"/>
                <a:gd name="T66" fmla="*/ 767 w 851"/>
                <a:gd name="T67" fmla="*/ 172 h 849"/>
                <a:gd name="T68" fmla="*/ 787 w 851"/>
                <a:gd name="T69" fmla="*/ 207 h 849"/>
                <a:gd name="T70" fmla="*/ 746 w 851"/>
                <a:gd name="T71" fmla="*/ 312 h 849"/>
                <a:gd name="T72" fmla="*/ 846 w 851"/>
                <a:gd name="T73" fmla="*/ 361 h 849"/>
                <a:gd name="T74" fmla="*/ 840 w 851"/>
                <a:gd name="T75" fmla="*/ 517 h 849"/>
                <a:gd name="T76" fmla="*/ 739 w 851"/>
                <a:gd name="T77" fmla="*/ 553 h 849"/>
                <a:gd name="T78" fmla="*/ 782 w 851"/>
                <a:gd name="T79" fmla="*/ 651 h 849"/>
                <a:gd name="T80" fmla="*/ 678 w 851"/>
                <a:gd name="T81" fmla="*/ 762 h 849"/>
                <a:gd name="T82" fmla="*/ 636 w 851"/>
                <a:gd name="T83" fmla="*/ 785 h 849"/>
                <a:gd name="T84" fmla="*/ 538 w 851"/>
                <a:gd name="T85" fmla="*/ 744 h 849"/>
                <a:gd name="T86" fmla="*/ 460 w 851"/>
                <a:gd name="T87" fmla="*/ 847 h 849"/>
                <a:gd name="T88" fmla="*/ 450 w 851"/>
                <a:gd name="T89" fmla="*/ 849 h 849"/>
                <a:gd name="T90" fmla="*/ 332 w 851"/>
                <a:gd name="T91" fmla="*/ 838 h 849"/>
                <a:gd name="T92" fmla="*/ 280 w 851"/>
                <a:gd name="T93" fmla="*/ 727 h 849"/>
                <a:gd name="T94" fmla="*/ 189 w 851"/>
                <a:gd name="T95" fmla="*/ 776 h 849"/>
                <a:gd name="T96" fmla="*/ 169 w 851"/>
                <a:gd name="T97" fmla="*/ 760 h 849"/>
                <a:gd name="T98" fmla="*/ 88 w 851"/>
                <a:gd name="T99" fmla="*/ 680 h 849"/>
                <a:gd name="T100" fmla="*/ 84 w 851"/>
                <a:gd name="T101" fmla="*/ 675 h 849"/>
                <a:gd name="T102" fmla="*/ 73 w 851"/>
                <a:gd name="T103" fmla="*/ 658 h 849"/>
                <a:gd name="T104" fmla="*/ 117 w 851"/>
                <a:gd name="T105" fmla="*/ 568 h 849"/>
                <a:gd name="T106" fmla="*/ 15 w 851"/>
                <a:gd name="T107" fmla="*/ 527 h 849"/>
                <a:gd name="T108" fmla="*/ 9 w 851"/>
                <a:gd name="T109" fmla="*/ 334 h 849"/>
                <a:gd name="T110" fmla="*/ 111 w 851"/>
                <a:gd name="T111" fmla="*/ 294 h 849"/>
                <a:gd name="T112" fmla="*/ 67 w 851"/>
                <a:gd name="T113" fmla="*/ 195 h 849"/>
                <a:gd name="T114" fmla="*/ 171 w 851"/>
                <a:gd name="T115" fmla="*/ 84 h 849"/>
                <a:gd name="T116" fmla="*/ 221 w 851"/>
                <a:gd name="T117" fmla="*/ 64 h 849"/>
                <a:gd name="T118" fmla="*/ 314 w 851"/>
                <a:gd name="T119" fmla="*/ 24 h 849"/>
                <a:gd name="T120" fmla="*/ 424 w 851"/>
                <a:gd name="T121"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51" h="849">
                  <a:moveTo>
                    <a:pt x="425" y="56"/>
                  </a:moveTo>
                  <a:lnTo>
                    <a:pt x="396" y="58"/>
                  </a:lnTo>
                  <a:lnTo>
                    <a:pt x="383" y="59"/>
                  </a:lnTo>
                  <a:lnTo>
                    <a:pt x="367" y="61"/>
                  </a:lnTo>
                  <a:lnTo>
                    <a:pt x="367" y="123"/>
                  </a:lnTo>
                  <a:lnTo>
                    <a:pt x="364" y="136"/>
                  </a:lnTo>
                  <a:lnTo>
                    <a:pt x="358" y="146"/>
                  </a:lnTo>
                  <a:lnTo>
                    <a:pt x="349" y="152"/>
                  </a:lnTo>
                  <a:lnTo>
                    <a:pt x="317" y="163"/>
                  </a:lnTo>
                  <a:lnTo>
                    <a:pt x="288" y="177"/>
                  </a:lnTo>
                  <a:lnTo>
                    <a:pt x="276" y="180"/>
                  </a:lnTo>
                  <a:lnTo>
                    <a:pt x="264" y="178"/>
                  </a:lnTo>
                  <a:lnTo>
                    <a:pt x="253" y="172"/>
                  </a:lnTo>
                  <a:lnTo>
                    <a:pt x="207" y="127"/>
                  </a:lnTo>
                  <a:lnTo>
                    <a:pt x="206" y="130"/>
                  </a:lnTo>
                  <a:lnTo>
                    <a:pt x="165" y="163"/>
                  </a:lnTo>
                  <a:lnTo>
                    <a:pt x="131" y="204"/>
                  </a:lnTo>
                  <a:lnTo>
                    <a:pt x="128" y="206"/>
                  </a:lnTo>
                  <a:lnTo>
                    <a:pt x="174" y="251"/>
                  </a:lnTo>
                  <a:lnTo>
                    <a:pt x="180" y="262"/>
                  </a:lnTo>
                  <a:lnTo>
                    <a:pt x="181" y="274"/>
                  </a:lnTo>
                  <a:lnTo>
                    <a:pt x="178" y="285"/>
                  </a:lnTo>
                  <a:lnTo>
                    <a:pt x="163" y="315"/>
                  </a:lnTo>
                  <a:lnTo>
                    <a:pt x="152" y="346"/>
                  </a:lnTo>
                  <a:lnTo>
                    <a:pt x="146" y="358"/>
                  </a:lnTo>
                  <a:lnTo>
                    <a:pt x="137" y="366"/>
                  </a:lnTo>
                  <a:lnTo>
                    <a:pt x="125" y="367"/>
                  </a:lnTo>
                  <a:lnTo>
                    <a:pt x="61" y="367"/>
                  </a:lnTo>
                  <a:lnTo>
                    <a:pt x="59" y="381"/>
                  </a:lnTo>
                  <a:lnTo>
                    <a:pt x="59" y="393"/>
                  </a:lnTo>
                  <a:lnTo>
                    <a:pt x="56" y="408"/>
                  </a:lnTo>
                  <a:lnTo>
                    <a:pt x="56" y="424"/>
                  </a:lnTo>
                  <a:lnTo>
                    <a:pt x="56" y="439"/>
                  </a:lnTo>
                  <a:lnTo>
                    <a:pt x="59" y="453"/>
                  </a:lnTo>
                  <a:lnTo>
                    <a:pt x="59" y="466"/>
                  </a:lnTo>
                  <a:lnTo>
                    <a:pt x="61" y="482"/>
                  </a:lnTo>
                  <a:lnTo>
                    <a:pt x="125" y="482"/>
                  </a:lnTo>
                  <a:lnTo>
                    <a:pt x="137" y="483"/>
                  </a:lnTo>
                  <a:lnTo>
                    <a:pt x="146" y="491"/>
                  </a:lnTo>
                  <a:lnTo>
                    <a:pt x="152" y="500"/>
                  </a:lnTo>
                  <a:lnTo>
                    <a:pt x="163" y="532"/>
                  </a:lnTo>
                  <a:lnTo>
                    <a:pt x="178" y="561"/>
                  </a:lnTo>
                  <a:lnTo>
                    <a:pt x="181" y="572"/>
                  </a:lnTo>
                  <a:lnTo>
                    <a:pt x="180" y="584"/>
                  </a:lnTo>
                  <a:lnTo>
                    <a:pt x="174" y="596"/>
                  </a:lnTo>
                  <a:lnTo>
                    <a:pt x="128" y="640"/>
                  </a:lnTo>
                  <a:lnTo>
                    <a:pt x="131" y="643"/>
                  </a:lnTo>
                  <a:lnTo>
                    <a:pt x="131" y="646"/>
                  </a:lnTo>
                  <a:lnTo>
                    <a:pt x="134" y="646"/>
                  </a:lnTo>
                  <a:lnTo>
                    <a:pt x="154" y="671"/>
                  </a:lnTo>
                  <a:lnTo>
                    <a:pt x="177" y="693"/>
                  </a:lnTo>
                  <a:lnTo>
                    <a:pt x="203" y="715"/>
                  </a:lnTo>
                  <a:lnTo>
                    <a:pt x="206" y="718"/>
                  </a:lnTo>
                  <a:lnTo>
                    <a:pt x="207" y="719"/>
                  </a:lnTo>
                  <a:lnTo>
                    <a:pt x="253" y="675"/>
                  </a:lnTo>
                  <a:lnTo>
                    <a:pt x="264" y="668"/>
                  </a:lnTo>
                  <a:lnTo>
                    <a:pt x="276" y="666"/>
                  </a:lnTo>
                  <a:lnTo>
                    <a:pt x="288" y="669"/>
                  </a:lnTo>
                  <a:lnTo>
                    <a:pt x="317" y="683"/>
                  </a:lnTo>
                  <a:lnTo>
                    <a:pt x="349" y="693"/>
                  </a:lnTo>
                  <a:lnTo>
                    <a:pt x="358" y="700"/>
                  </a:lnTo>
                  <a:lnTo>
                    <a:pt x="364" y="710"/>
                  </a:lnTo>
                  <a:lnTo>
                    <a:pt x="367" y="722"/>
                  </a:lnTo>
                  <a:lnTo>
                    <a:pt x="367" y="786"/>
                  </a:lnTo>
                  <a:lnTo>
                    <a:pt x="383" y="789"/>
                  </a:lnTo>
                  <a:lnTo>
                    <a:pt x="396" y="791"/>
                  </a:lnTo>
                  <a:lnTo>
                    <a:pt x="454" y="791"/>
                  </a:lnTo>
                  <a:lnTo>
                    <a:pt x="468" y="788"/>
                  </a:lnTo>
                  <a:lnTo>
                    <a:pt x="482" y="786"/>
                  </a:lnTo>
                  <a:lnTo>
                    <a:pt x="482" y="722"/>
                  </a:lnTo>
                  <a:lnTo>
                    <a:pt x="485" y="710"/>
                  </a:lnTo>
                  <a:lnTo>
                    <a:pt x="491" y="700"/>
                  </a:lnTo>
                  <a:lnTo>
                    <a:pt x="503" y="693"/>
                  </a:lnTo>
                  <a:lnTo>
                    <a:pt x="534" y="683"/>
                  </a:lnTo>
                  <a:lnTo>
                    <a:pt x="564" y="669"/>
                  </a:lnTo>
                  <a:lnTo>
                    <a:pt x="575" y="666"/>
                  </a:lnTo>
                  <a:lnTo>
                    <a:pt x="587" y="668"/>
                  </a:lnTo>
                  <a:lnTo>
                    <a:pt x="596" y="675"/>
                  </a:lnTo>
                  <a:lnTo>
                    <a:pt x="642" y="719"/>
                  </a:lnTo>
                  <a:lnTo>
                    <a:pt x="643" y="719"/>
                  </a:lnTo>
                  <a:lnTo>
                    <a:pt x="643" y="718"/>
                  </a:lnTo>
                  <a:lnTo>
                    <a:pt x="645" y="718"/>
                  </a:lnTo>
                  <a:lnTo>
                    <a:pt x="646" y="718"/>
                  </a:lnTo>
                  <a:lnTo>
                    <a:pt x="672" y="695"/>
                  </a:lnTo>
                  <a:lnTo>
                    <a:pt x="698" y="671"/>
                  </a:lnTo>
                  <a:lnTo>
                    <a:pt x="721" y="643"/>
                  </a:lnTo>
                  <a:lnTo>
                    <a:pt x="721" y="643"/>
                  </a:lnTo>
                  <a:lnTo>
                    <a:pt x="721" y="642"/>
                  </a:lnTo>
                  <a:lnTo>
                    <a:pt x="723" y="640"/>
                  </a:lnTo>
                  <a:lnTo>
                    <a:pt x="723" y="640"/>
                  </a:lnTo>
                  <a:lnTo>
                    <a:pt x="678" y="596"/>
                  </a:lnTo>
                  <a:lnTo>
                    <a:pt x="671" y="584"/>
                  </a:lnTo>
                  <a:lnTo>
                    <a:pt x="668" y="572"/>
                  </a:lnTo>
                  <a:lnTo>
                    <a:pt x="674" y="561"/>
                  </a:lnTo>
                  <a:lnTo>
                    <a:pt x="688" y="532"/>
                  </a:lnTo>
                  <a:lnTo>
                    <a:pt x="697" y="500"/>
                  </a:lnTo>
                  <a:lnTo>
                    <a:pt x="703" y="491"/>
                  </a:lnTo>
                  <a:lnTo>
                    <a:pt x="712" y="483"/>
                  </a:lnTo>
                  <a:lnTo>
                    <a:pt x="723" y="482"/>
                  </a:lnTo>
                  <a:lnTo>
                    <a:pt x="790" y="482"/>
                  </a:lnTo>
                  <a:lnTo>
                    <a:pt x="790" y="466"/>
                  </a:lnTo>
                  <a:lnTo>
                    <a:pt x="793" y="453"/>
                  </a:lnTo>
                  <a:lnTo>
                    <a:pt x="793" y="393"/>
                  </a:lnTo>
                  <a:lnTo>
                    <a:pt x="790" y="381"/>
                  </a:lnTo>
                  <a:lnTo>
                    <a:pt x="790" y="367"/>
                  </a:lnTo>
                  <a:lnTo>
                    <a:pt x="723" y="367"/>
                  </a:lnTo>
                  <a:lnTo>
                    <a:pt x="712" y="366"/>
                  </a:lnTo>
                  <a:lnTo>
                    <a:pt x="703" y="358"/>
                  </a:lnTo>
                  <a:lnTo>
                    <a:pt x="697" y="346"/>
                  </a:lnTo>
                  <a:lnTo>
                    <a:pt x="688" y="315"/>
                  </a:lnTo>
                  <a:lnTo>
                    <a:pt x="674" y="285"/>
                  </a:lnTo>
                  <a:lnTo>
                    <a:pt x="668" y="274"/>
                  </a:lnTo>
                  <a:lnTo>
                    <a:pt x="671" y="262"/>
                  </a:lnTo>
                  <a:lnTo>
                    <a:pt x="678" y="251"/>
                  </a:lnTo>
                  <a:lnTo>
                    <a:pt x="721" y="206"/>
                  </a:lnTo>
                  <a:lnTo>
                    <a:pt x="718" y="204"/>
                  </a:lnTo>
                  <a:lnTo>
                    <a:pt x="718" y="201"/>
                  </a:lnTo>
                  <a:lnTo>
                    <a:pt x="685" y="165"/>
                  </a:lnTo>
                  <a:lnTo>
                    <a:pt x="649" y="133"/>
                  </a:lnTo>
                  <a:lnTo>
                    <a:pt x="646" y="133"/>
                  </a:lnTo>
                  <a:lnTo>
                    <a:pt x="646" y="131"/>
                  </a:lnTo>
                  <a:lnTo>
                    <a:pt x="646" y="131"/>
                  </a:lnTo>
                  <a:lnTo>
                    <a:pt x="645" y="130"/>
                  </a:lnTo>
                  <a:lnTo>
                    <a:pt x="643" y="130"/>
                  </a:lnTo>
                  <a:lnTo>
                    <a:pt x="642" y="127"/>
                  </a:lnTo>
                  <a:lnTo>
                    <a:pt x="596" y="172"/>
                  </a:lnTo>
                  <a:lnTo>
                    <a:pt x="587" y="178"/>
                  </a:lnTo>
                  <a:lnTo>
                    <a:pt x="575" y="180"/>
                  </a:lnTo>
                  <a:lnTo>
                    <a:pt x="564" y="177"/>
                  </a:lnTo>
                  <a:lnTo>
                    <a:pt x="534" y="163"/>
                  </a:lnTo>
                  <a:lnTo>
                    <a:pt x="503" y="152"/>
                  </a:lnTo>
                  <a:lnTo>
                    <a:pt x="491" y="146"/>
                  </a:lnTo>
                  <a:lnTo>
                    <a:pt x="485" y="136"/>
                  </a:lnTo>
                  <a:lnTo>
                    <a:pt x="482" y="123"/>
                  </a:lnTo>
                  <a:lnTo>
                    <a:pt x="482" y="61"/>
                  </a:lnTo>
                  <a:lnTo>
                    <a:pt x="468" y="59"/>
                  </a:lnTo>
                  <a:lnTo>
                    <a:pt x="454" y="58"/>
                  </a:lnTo>
                  <a:lnTo>
                    <a:pt x="425" y="56"/>
                  </a:lnTo>
                  <a:close/>
                  <a:moveTo>
                    <a:pt x="424" y="0"/>
                  </a:moveTo>
                  <a:lnTo>
                    <a:pt x="457" y="3"/>
                  </a:lnTo>
                  <a:lnTo>
                    <a:pt x="488" y="5"/>
                  </a:lnTo>
                  <a:lnTo>
                    <a:pt x="517" y="11"/>
                  </a:lnTo>
                  <a:lnTo>
                    <a:pt x="527" y="15"/>
                  </a:lnTo>
                  <a:lnTo>
                    <a:pt x="535" y="24"/>
                  </a:lnTo>
                  <a:lnTo>
                    <a:pt x="538" y="37"/>
                  </a:lnTo>
                  <a:lnTo>
                    <a:pt x="538" y="102"/>
                  </a:lnTo>
                  <a:lnTo>
                    <a:pt x="555" y="111"/>
                  </a:lnTo>
                  <a:lnTo>
                    <a:pt x="572" y="119"/>
                  </a:lnTo>
                  <a:lnTo>
                    <a:pt x="619" y="72"/>
                  </a:lnTo>
                  <a:lnTo>
                    <a:pt x="627" y="66"/>
                  </a:lnTo>
                  <a:lnTo>
                    <a:pt x="636" y="63"/>
                  </a:lnTo>
                  <a:lnTo>
                    <a:pt x="645" y="63"/>
                  </a:lnTo>
                  <a:lnTo>
                    <a:pt x="654" y="66"/>
                  </a:lnTo>
                  <a:lnTo>
                    <a:pt x="662" y="72"/>
                  </a:lnTo>
                  <a:lnTo>
                    <a:pt x="668" y="76"/>
                  </a:lnTo>
                  <a:lnTo>
                    <a:pt x="675" y="82"/>
                  </a:lnTo>
                  <a:lnTo>
                    <a:pt x="678" y="84"/>
                  </a:lnTo>
                  <a:lnTo>
                    <a:pt x="680" y="85"/>
                  </a:lnTo>
                  <a:lnTo>
                    <a:pt x="681" y="85"/>
                  </a:lnTo>
                  <a:lnTo>
                    <a:pt x="683" y="87"/>
                  </a:lnTo>
                  <a:lnTo>
                    <a:pt x="683" y="87"/>
                  </a:lnTo>
                  <a:lnTo>
                    <a:pt x="726" y="125"/>
                  </a:lnTo>
                  <a:lnTo>
                    <a:pt x="764" y="166"/>
                  </a:lnTo>
                  <a:lnTo>
                    <a:pt x="764" y="168"/>
                  </a:lnTo>
                  <a:lnTo>
                    <a:pt x="764" y="168"/>
                  </a:lnTo>
                  <a:lnTo>
                    <a:pt x="764" y="169"/>
                  </a:lnTo>
                  <a:lnTo>
                    <a:pt x="765" y="169"/>
                  </a:lnTo>
                  <a:lnTo>
                    <a:pt x="765" y="171"/>
                  </a:lnTo>
                  <a:lnTo>
                    <a:pt x="767" y="172"/>
                  </a:lnTo>
                  <a:lnTo>
                    <a:pt x="767" y="172"/>
                  </a:lnTo>
                  <a:lnTo>
                    <a:pt x="768" y="175"/>
                  </a:lnTo>
                  <a:lnTo>
                    <a:pt x="774" y="180"/>
                  </a:lnTo>
                  <a:lnTo>
                    <a:pt x="779" y="187"/>
                  </a:lnTo>
                  <a:lnTo>
                    <a:pt x="782" y="195"/>
                  </a:lnTo>
                  <a:lnTo>
                    <a:pt x="787" y="207"/>
                  </a:lnTo>
                  <a:lnTo>
                    <a:pt x="785" y="219"/>
                  </a:lnTo>
                  <a:lnTo>
                    <a:pt x="779" y="230"/>
                  </a:lnTo>
                  <a:lnTo>
                    <a:pt x="732" y="277"/>
                  </a:lnTo>
                  <a:lnTo>
                    <a:pt x="739" y="294"/>
                  </a:lnTo>
                  <a:lnTo>
                    <a:pt x="746" y="312"/>
                  </a:lnTo>
                  <a:lnTo>
                    <a:pt x="811" y="312"/>
                  </a:lnTo>
                  <a:lnTo>
                    <a:pt x="823" y="314"/>
                  </a:lnTo>
                  <a:lnTo>
                    <a:pt x="834" y="322"/>
                  </a:lnTo>
                  <a:lnTo>
                    <a:pt x="840" y="334"/>
                  </a:lnTo>
                  <a:lnTo>
                    <a:pt x="846" y="361"/>
                  </a:lnTo>
                  <a:lnTo>
                    <a:pt x="851" y="389"/>
                  </a:lnTo>
                  <a:lnTo>
                    <a:pt x="851" y="424"/>
                  </a:lnTo>
                  <a:lnTo>
                    <a:pt x="848" y="457"/>
                  </a:lnTo>
                  <a:lnTo>
                    <a:pt x="845" y="486"/>
                  </a:lnTo>
                  <a:lnTo>
                    <a:pt x="840" y="517"/>
                  </a:lnTo>
                  <a:lnTo>
                    <a:pt x="834" y="527"/>
                  </a:lnTo>
                  <a:lnTo>
                    <a:pt x="823" y="535"/>
                  </a:lnTo>
                  <a:lnTo>
                    <a:pt x="811" y="536"/>
                  </a:lnTo>
                  <a:lnTo>
                    <a:pt x="746" y="536"/>
                  </a:lnTo>
                  <a:lnTo>
                    <a:pt x="739" y="553"/>
                  </a:lnTo>
                  <a:lnTo>
                    <a:pt x="732" y="568"/>
                  </a:lnTo>
                  <a:lnTo>
                    <a:pt x="779" y="616"/>
                  </a:lnTo>
                  <a:lnTo>
                    <a:pt x="785" y="626"/>
                  </a:lnTo>
                  <a:lnTo>
                    <a:pt x="787" y="639"/>
                  </a:lnTo>
                  <a:lnTo>
                    <a:pt x="782" y="651"/>
                  </a:lnTo>
                  <a:lnTo>
                    <a:pt x="774" y="664"/>
                  </a:lnTo>
                  <a:lnTo>
                    <a:pt x="765" y="677"/>
                  </a:lnTo>
                  <a:lnTo>
                    <a:pt x="741" y="709"/>
                  </a:lnTo>
                  <a:lnTo>
                    <a:pt x="710" y="736"/>
                  </a:lnTo>
                  <a:lnTo>
                    <a:pt x="678" y="762"/>
                  </a:lnTo>
                  <a:lnTo>
                    <a:pt x="671" y="768"/>
                  </a:lnTo>
                  <a:lnTo>
                    <a:pt x="662" y="774"/>
                  </a:lnTo>
                  <a:lnTo>
                    <a:pt x="654" y="780"/>
                  </a:lnTo>
                  <a:lnTo>
                    <a:pt x="645" y="783"/>
                  </a:lnTo>
                  <a:lnTo>
                    <a:pt x="636" y="785"/>
                  </a:lnTo>
                  <a:lnTo>
                    <a:pt x="627" y="782"/>
                  </a:lnTo>
                  <a:lnTo>
                    <a:pt x="619" y="776"/>
                  </a:lnTo>
                  <a:lnTo>
                    <a:pt x="572" y="727"/>
                  </a:lnTo>
                  <a:lnTo>
                    <a:pt x="555" y="736"/>
                  </a:lnTo>
                  <a:lnTo>
                    <a:pt x="538" y="744"/>
                  </a:lnTo>
                  <a:lnTo>
                    <a:pt x="538" y="809"/>
                  </a:lnTo>
                  <a:lnTo>
                    <a:pt x="535" y="821"/>
                  </a:lnTo>
                  <a:lnTo>
                    <a:pt x="527" y="832"/>
                  </a:lnTo>
                  <a:lnTo>
                    <a:pt x="517" y="838"/>
                  </a:lnTo>
                  <a:lnTo>
                    <a:pt x="460" y="847"/>
                  </a:lnTo>
                  <a:lnTo>
                    <a:pt x="460" y="849"/>
                  </a:lnTo>
                  <a:lnTo>
                    <a:pt x="457" y="849"/>
                  </a:lnTo>
                  <a:lnTo>
                    <a:pt x="456" y="849"/>
                  </a:lnTo>
                  <a:lnTo>
                    <a:pt x="453" y="849"/>
                  </a:lnTo>
                  <a:lnTo>
                    <a:pt x="450" y="849"/>
                  </a:lnTo>
                  <a:lnTo>
                    <a:pt x="447" y="849"/>
                  </a:lnTo>
                  <a:lnTo>
                    <a:pt x="392" y="849"/>
                  </a:lnTo>
                  <a:lnTo>
                    <a:pt x="370" y="847"/>
                  </a:lnTo>
                  <a:lnTo>
                    <a:pt x="352" y="843"/>
                  </a:lnTo>
                  <a:lnTo>
                    <a:pt x="332" y="838"/>
                  </a:lnTo>
                  <a:lnTo>
                    <a:pt x="322" y="834"/>
                  </a:lnTo>
                  <a:lnTo>
                    <a:pt x="314" y="823"/>
                  </a:lnTo>
                  <a:lnTo>
                    <a:pt x="311" y="809"/>
                  </a:lnTo>
                  <a:lnTo>
                    <a:pt x="311" y="744"/>
                  </a:lnTo>
                  <a:lnTo>
                    <a:pt x="280" y="727"/>
                  </a:lnTo>
                  <a:lnTo>
                    <a:pt x="232" y="776"/>
                  </a:lnTo>
                  <a:lnTo>
                    <a:pt x="221" y="783"/>
                  </a:lnTo>
                  <a:lnTo>
                    <a:pt x="207" y="785"/>
                  </a:lnTo>
                  <a:lnTo>
                    <a:pt x="195" y="780"/>
                  </a:lnTo>
                  <a:lnTo>
                    <a:pt x="189" y="776"/>
                  </a:lnTo>
                  <a:lnTo>
                    <a:pt x="181" y="770"/>
                  </a:lnTo>
                  <a:lnTo>
                    <a:pt x="174" y="765"/>
                  </a:lnTo>
                  <a:lnTo>
                    <a:pt x="171" y="762"/>
                  </a:lnTo>
                  <a:lnTo>
                    <a:pt x="171" y="762"/>
                  </a:lnTo>
                  <a:lnTo>
                    <a:pt x="169" y="760"/>
                  </a:lnTo>
                  <a:lnTo>
                    <a:pt x="168" y="760"/>
                  </a:lnTo>
                  <a:lnTo>
                    <a:pt x="165" y="759"/>
                  </a:lnTo>
                  <a:lnTo>
                    <a:pt x="137" y="735"/>
                  </a:lnTo>
                  <a:lnTo>
                    <a:pt x="111" y="709"/>
                  </a:lnTo>
                  <a:lnTo>
                    <a:pt x="88" y="680"/>
                  </a:lnTo>
                  <a:lnTo>
                    <a:pt x="87" y="680"/>
                  </a:lnTo>
                  <a:lnTo>
                    <a:pt x="85" y="678"/>
                  </a:lnTo>
                  <a:lnTo>
                    <a:pt x="85" y="678"/>
                  </a:lnTo>
                  <a:lnTo>
                    <a:pt x="85" y="677"/>
                  </a:lnTo>
                  <a:lnTo>
                    <a:pt x="84" y="675"/>
                  </a:lnTo>
                  <a:lnTo>
                    <a:pt x="84" y="675"/>
                  </a:lnTo>
                  <a:lnTo>
                    <a:pt x="84" y="674"/>
                  </a:lnTo>
                  <a:lnTo>
                    <a:pt x="84" y="672"/>
                  </a:lnTo>
                  <a:lnTo>
                    <a:pt x="78" y="666"/>
                  </a:lnTo>
                  <a:lnTo>
                    <a:pt x="73" y="658"/>
                  </a:lnTo>
                  <a:lnTo>
                    <a:pt x="67" y="651"/>
                  </a:lnTo>
                  <a:lnTo>
                    <a:pt x="62" y="640"/>
                  </a:lnTo>
                  <a:lnTo>
                    <a:pt x="64" y="628"/>
                  </a:lnTo>
                  <a:lnTo>
                    <a:pt x="70" y="616"/>
                  </a:lnTo>
                  <a:lnTo>
                    <a:pt x="117" y="568"/>
                  </a:lnTo>
                  <a:lnTo>
                    <a:pt x="111" y="553"/>
                  </a:lnTo>
                  <a:lnTo>
                    <a:pt x="104" y="536"/>
                  </a:lnTo>
                  <a:lnTo>
                    <a:pt x="38" y="536"/>
                  </a:lnTo>
                  <a:lnTo>
                    <a:pt x="24" y="535"/>
                  </a:lnTo>
                  <a:lnTo>
                    <a:pt x="15" y="527"/>
                  </a:lnTo>
                  <a:lnTo>
                    <a:pt x="9" y="517"/>
                  </a:lnTo>
                  <a:lnTo>
                    <a:pt x="4" y="486"/>
                  </a:lnTo>
                  <a:lnTo>
                    <a:pt x="0" y="457"/>
                  </a:lnTo>
                  <a:lnTo>
                    <a:pt x="0" y="389"/>
                  </a:lnTo>
                  <a:lnTo>
                    <a:pt x="9" y="334"/>
                  </a:lnTo>
                  <a:lnTo>
                    <a:pt x="15" y="322"/>
                  </a:lnTo>
                  <a:lnTo>
                    <a:pt x="24" y="314"/>
                  </a:lnTo>
                  <a:lnTo>
                    <a:pt x="38" y="312"/>
                  </a:lnTo>
                  <a:lnTo>
                    <a:pt x="104" y="312"/>
                  </a:lnTo>
                  <a:lnTo>
                    <a:pt x="111" y="294"/>
                  </a:lnTo>
                  <a:lnTo>
                    <a:pt x="117" y="277"/>
                  </a:lnTo>
                  <a:lnTo>
                    <a:pt x="70" y="230"/>
                  </a:lnTo>
                  <a:lnTo>
                    <a:pt x="64" y="219"/>
                  </a:lnTo>
                  <a:lnTo>
                    <a:pt x="62" y="207"/>
                  </a:lnTo>
                  <a:lnTo>
                    <a:pt x="67" y="195"/>
                  </a:lnTo>
                  <a:lnTo>
                    <a:pt x="75" y="183"/>
                  </a:lnTo>
                  <a:lnTo>
                    <a:pt x="85" y="169"/>
                  </a:lnTo>
                  <a:lnTo>
                    <a:pt x="111" y="139"/>
                  </a:lnTo>
                  <a:lnTo>
                    <a:pt x="140" y="110"/>
                  </a:lnTo>
                  <a:lnTo>
                    <a:pt x="171" y="84"/>
                  </a:lnTo>
                  <a:lnTo>
                    <a:pt x="178" y="78"/>
                  </a:lnTo>
                  <a:lnTo>
                    <a:pt x="186" y="72"/>
                  </a:lnTo>
                  <a:lnTo>
                    <a:pt x="195" y="66"/>
                  </a:lnTo>
                  <a:lnTo>
                    <a:pt x="207" y="63"/>
                  </a:lnTo>
                  <a:lnTo>
                    <a:pt x="221" y="64"/>
                  </a:lnTo>
                  <a:lnTo>
                    <a:pt x="232" y="72"/>
                  </a:lnTo>
                  <a:lnTo>
                    <a:pt x="280" y="119"/>
                  </a:lnTo>
                  <a:lnTo>
                    <a:pt x="311" y="102"/>
                  </a:lnTo>
                  <a:lnTo>
                    <a:pt x="311" y="37"/>
                  </a:lnTo>
                  <a:lnTo>
                    <a:pt x="314" y="24"/>
                  </a:lnTo>
                  <a:lnTo>
                    <a:pt x="322" y="15"/>
                  </a:lnTo>
                  <a:lnTo>
                    <a:pt x="332" y="11"/>
                  </a:lnTo>
                  <a:lnTo>
                    <a:pt x="361" y="5"/>
                  </a:lnTo>
                  <a:lnTo>
                    <a:pt x="392" y="3"/>
                  </a:lnTo>
                  <a:lnTo>
                    <a:pt x="424"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13">
              <a:extLst>
                <a:ext uri="{FF2B5EF4-FFF2-40B4-BE49-F238E27FC236}">
                  <a16:creationId xmlns:a16="http://schemas.microsoft.com/office/drawing/2014/main" id="{8B5CEDC7-7209-484C-B412-65641351169A}"/>
                </a:ext>
              </a:extLst>
            </p:cNvPr>
            <p:cNvSpPr>
              <a:spLocks noEditPoints="1"/>
            </p:cNvSpPr>
            <p:nvPr/>
          </p:nvSpPr>
          <p:spPr bwMode="auto">
            <a:xfrm>
              <a:off x="3200400" y="3756025"/>
              <a:ext cx="879475" cy="877888"/>
            </a:xfrm>
            <a:custGeom>
              <a:avLst/>
              <a:gdLst>
                <a:gd name="T0" fmla="*/ 240 w 554"/>
                <a:gd name="T1" fmla="*/ 81 h 553"/>
                <a:gd name="T2" fmla="*/ 188 w 554"/>
                <a:gd name="T3" fmla="*/ 116 h 553"/>
                <a:gd name="T4" fmla="*/ 136 w 554"/>
                <a:gd name="T5" fmla="*/ 82 h 553"/>
                <a:gd name="T6" fmla="*/ 116 w 554"/>
                <a:gd name="T7" fmla="*/ 169 h 553"/>
                <a:gd name="T8" fmla="*/ 98 w 554"/>
                <a:gd name="T9" fmla="*/ 230 h 553"/>
                <a:gd name="T10" fmla="*/ 40 w 554"/>
                <a:gd name="T11" fmla="*/ 245 h 553"/>
                <a:gd name="T12" fmla="*/ 37 w 554"/>
                <a:gd name="T13" fmla="*/ 282 h 553"/>
                <a:gd name="T14" fmla="*/ 83 w 554"/>
                <a:gd name="T15" fmla="*/ 314 h 553"/>
                <a:gd name="T16" fmla="*/ 116 w 554"/>
                <a:gd name="T17" fmla="*/ 366 h 553"/>
                <a:gd name="T18" fmla="*/ 86 w 554"/>
                <a:gd name="T19" fmla="*/ 419 h 553"/>
                <a:gd name="T20" fmla="*/ 136 w 554"/>
                <a:gd name="T21" fmla="*/ 468 h 553"/>
                <a:gd name="T22" fmla="*/ 188 w 554"/>
                <a:gd name="T23" fmla="*/ 436 h 553"/>
                <a:gd name="T24" fmla="*/ 240 w 554"/>
                <a:gd name="T25" fmla="*/ 469 h 553"/>
                <a:gd name="T26" fmla="*/ 296 w 554"/>
                <a:gd name="T27" fmla="*/ 515 h 553"/>
                <a:gd name="T28" fmla="*/ 318 w 554"/>
                <a:gd name="T29" fmla="*/ 459 h 553"/>
                <a:gd name="T30" fmla="*/ 377 w 554"/>
                <a:gd name="T31" fmla="*/ 433 h 553"/>
                <a:gd name="T32" fmla="*/ 420 w 554"/>
                <a:gd name="T33" fmla="*/ 468 h 553"/>
                <a:gd name="T34" fmla="*/ 472 w 554"/>
                <a:gd name="T35" fmla="*/ 416 h 553"/>
                <a:gd name="T36" fmla="*/ 438 w 554"/>
                <a:gd name="T37" fmla="*/ 366 h 553"/>
                <a:gd name="T38" fmla="*/ 467 w 554"/>
                <a:gd name="T39" fmla="*/ 314 h 553"/>
                <a:gd name="T40" fmla="*/ 516 w 554"/>
                <a:gd name="T41" fmla="*/ 256 h 553"/>
                <a:gd name="T42" fmla="*/ 462 w 554"/>
                <a:gd name="T43" fmla="*/ 238 h 553"/>
                <a:gd name="T44" fmla="*/ 437 w 554"/>
                <a:gd name="T45" fmla="*/ 181 h 553"/>
                <a:gd name="T46" fmla="*/ 469 w 554"/>
                <a:gd name="T47" fmla="*/ 132 h 553"/>
                <a:gd name="T48" fmla="*/ 421 w 554"/>
                <a:gd name="T49" fmla="*/ 85 h 553"/>
                <a:gd name="T50" fmla="*/ 377 w 554"/>
                <a:gd name="T51" fmla="*/ 117 h 553"/>
                <a:gd name="T52" fmla="*/ 318 w 554"/>
                <a:gd name="T53" fmla="*/ 93 h 553"/>
                <a:gd name="T54" fmla="*/ 296 w 554"/>
                <a:gd name="T55" fmla="*/ 38 h 553"/>
                <a:gd name="T56" fmla="*/ 342 w 554"/>
                <a:gd name="T57" fmla="*/ 9 h 553"/>
                <a:gd name="T58" fmla="*/ 362 w 554"/>
                <a:gd name="T59" fmla="*/ 71 h 553"/>
                <a:gd name="T60" fmla="*/ 421 w 554"/>
                <a:gd name="T61" fmla="*/ 41 h 553"/>
                <a:gd name="T62" fmla="*/ 444 w 554"/>
                <a:gd name="T63" fmla="*/ 55 h 553"/>
                <a:gd name="T64" fmla="*/ 498 w 554"/>
                <a:gd name="T65" fmla="*/ 110 h 553"/>
                <a:gd name="T66" fmla="*/ 507 w 554"/>
                <a:gd name="T67" fmla="*/ 122 h 553"/>
                <a:gd name="T68" fmla="*/ 508 w 554"/>
                <a:gd name="T69" fmla="*/ 149 h 553"/>
                <a:gd name="T70" fmla="*/ 534 w 554"/>
                <a:gd name="T71" fmla="*/ 204 h 553"/>
                <a:gd name="T72" fmla="*/ 554 w 554"/>
                <a:gd name="T73" fmla="*/ 253 h 553"/>
                <a:gd name="T74" fmla="*/ 548 w 554"/>
                <a:gd name="T75" fmla="*/ 335 h 553"/>
                <a:gd name="T76" fmla="*/ 485 w 554"/>
                <a:gd name="T77" fmla="*/ 349 h 553"/>
                <a:gd name="T78" fmla="*/ 513 w 554"/>
                <a:gd name="T79" fmla="*/ 414 h 553"/>
                <a:gd name="T80" fmla="*/ 443 w 554"/>
                <a:gd name="T81" fmla="*/ 497 h 553"/>
                <a:gd name="T82" fmla="*/ 408 w 554"/>
                <a:gd name="T83" fmla="*/ 507 h 553"/>
                <a:gd name="T84" fmla="*/ 350 w 554"/>
                <a:gd name="T85" fmla="*/ 533 h 553"/>
                <a:gd name="T86" fmla="*/ 298 w 554"/>
                <a:gd name="T87" fmla="*/ 553 h 553"/>
                <a:gd name="T88" fmla="*/ 235 w 554"/>
                <a:gd name="T89" fmla="*/ 550 h 553"/>
                <a:gd name="T90" fmla="*/ 203 w 554"/>
                <a:gd name="T91" fmla="*/ 527 h 553"/>
                <a:gd name="T92" fmla="*/ 136 w 554"/>
                <a:gd name="T93" fmla="*/ 510 h 553"/>
                <a:gd name="T94" fmla="*/ 110 w 554"/>
                <a:gd name="T95" fmla="*/ 495 h 553"/>
                <a:gd name="T96" fmla="*/ 57 w 554"/>
                <a:gd name="T97" fmla="*/ 440 h 553"/>
                <a:gd name="T98" fmla="*/ 45 w 554"/>
                <a:gd name="T99" fmla="*/ 423 h 553"/>
                <a:gd name="T100" fmla="*/ 77 w 554"/>
                <a:gd name="T101" fmla="*/ 370 h 553"/>
                <a:gd name="T102" fmla="*/ 11 w 554"/>
                <a:gd name="T103" fmla="*/ 344 h 553"/>
                <a:gd name="T104" fmla="*/ 7 w 554"/>
                <a:gd name="T105" fmla="*/ 216 h 553"/>
                <a:gd name="T106" fmla="*/ 69 w 554"/>
                <a:gd name="T107" fmla="*/ 202 h 553"/>
                <a:gd name="T108" fmla="*/ 42 w 554"/>
                <a:gd name="T109" fmla="*/ 142 h 553"/>
                <a:gd name="T110" fmla="*/ 57 w 554"/>
                <a:gd name="T111" fmla="*/ 110 h 553"/>
                <a:gd name="T112" fmla="*/ 144 w 554"/>
                <a:gd name="T113" fmla="*/ 41 h 553"/>
                <a:gd name="T114" fmla="*/ 205 w 554"/>
                <a:gd name="T115" fmla="*/ 20 h 553"/>
                <a:gd name="T116" fmla="*/ 255 w 554"/>
                <a:gd name="T117" fmla="*/ 1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4" h="553">
                  <a:moveTo>
                    <a:pt x="276" y="36"/>
                  </a:moveTo>
                  <a:lnTo>
                    <a:pt x="258" y="38"/>
                  </a:lnTo>
                  <a:lnTo>
                    <a:pt x="252" y="38"/>
                  </a:lnTo>
                  <a:lnTo>
                    <a:pt x="246" y="39"/>
                  </a:lnTo>
                  <a:lnTo>
                    <a:pt x="240" y="39"/>
                  </a:lnTo>
                  <a:lnTo>
                    <a:pt x="240" y="81"/>
                  </a:lnTo>
                  <a:lnTo>
                    <a:pt x="238" y="87"/>
                  </a:lnTo>
                  <a:lnTo>
                    <a:pt x="237" y="93"/>
                  </a:lnTo>
                  <a:lnTo>
                    <a:pt x="232" y="96"/>
                  </a:lnTo>
                  <a:lnTo>
                    <a:pt x="228" y="99"/>
                  </a:lnTo>
                  <a:lnTo>
                    <a:pt x="206" y="106"/>
                  </a:lnTo>
                  <a:lnTo>
                    <a:pt x="188" y="116"/>
                  </a:lnTo>
                  <a:lnTo>
                    <a:pt x="183" y="117"/>
                  </a:lnTo>
                  <a:lnTo>
                    <a:pt x="179" y="117"/>
                  </a:lnTo>
                  <a:lnTo>
                    <a:pt x="174" y="117"/>
                  </a:lnTo>
                  <a:lnTo>
                    <a:pt x="170" y="116"/>
                  </a:lnTo>
                  <a:lnTo>
                    <a:pt x="165" y="111"/>
                  </a:lnTo>
                  <a:lnTo>
                    <a:pt x="136" y="82"/>
                  </a:lnTo>
                  <a:lnTo>
                    <a:pt x="135" y="84"/>
                  </a:lnTo>
                  <a:lnTo>
                    <a:pt x="109" y="106"/>
                  </a:lnTo>
                  <a:lnTo>
                    <a:pt x="86" y="132"/>
                  </a:lnTo>
                  <a:lnTo>
                    <a:pt x="84" y="134"/>
                  </a:lnTo>
                  <a:lnTo>
                    <a:pt x="113" y="163"/>
                  </a:lnTo>
                  <a:lnTo>
                    <a:pt x="116" y="169"/>
                  </a:lnTo>
                  <a:lnTo>
                    <a:pt x="118" y="175"/>
                  </a:lnTo>
                  <a:lnTo>
                    <a:pt x="119" y="181"/>
                  </a:lnTo>
                  <a:lnTo>
                    <a:pt x="116" y="186"/>
                  </a:lnTo>
                  <a:lnTo>
                    <a:pt x="107" y="206"/>
                  </a:lnTo>
                  <a:lnTo>
                    <a:pt x="100" y="225"/>
                  </a:lnTo>
                  <a:lnTo>
                    <a:pt x="98" y="230"/>
                  </a:lnTo>
                  <a:lnTo>
                    <a:pt x="95" y="234"/>
                  </a:lnTo>
                  <a:lnTo>
                    <a:pt x="92" y="238"/>
                  </a:lnTo>
                  <a:lnTo>
                    <a:pt x="87" y="239"/>
                  </a:lnTo>
                  <a:lnTo>
                    <a:pt x="83" y="239"/>
                  </a:lnTo>
                  <a:lnTo>
                    <a:pt x="42" y="239"/>
                  </a:lnTo>
                  <a:lnTo>
                    <a:pt x="40" y="245"/>
                  </a:lnTo>
                  <a:lnTo>
                    <a:pt x="40" y="251"/>
                  </a:lnTo>
                  <a:lnTo>
                    <a:pt x="40" y="256"/>
                  </a:lnTo>
                  <a:lnTo>
                    <a:pt x="39" y="263"/>
                  </a:lnTo>
                  <a:lnTo>
                    <a:pt x="37" y="270"/>
                  </a:lnTo>
                  <a:lnTo>
                    <a:pt x="37" y="276"/>
                  </a:lnTo>
                  <a:lnTo>
                    <a:pt x="37" y="282"/>
                  </a:lnTo>
                  <a:lnTo>
                    <a:pt x="39" y="288"/>
                  </a:lnTo>
                  <a:lnTo>
                    <a:pt x="40" y="294"/>
                  </a:lnTo>
                  <a:lnTo>
                    <a:pt x="40" y="300"/>
                  </a:lnTo>
                  <a:lnTo>
                    <a:pt x="40" y="306"/>
                  </a:lnTo>
                  <a:lnTo>
                    <a:pt x="42" y="314"/>
                  </a:lnTo>
                  <a:lnTo>
                    <a:pt x="83" y="314"/>
                  </a:lnTo>
                  <a:lnTo>
                    <a:pt x="89" y="314"/>
                  </a:lnTo>
                  <a:lnTo>
                    <a:pt x="93" y="317"/>
                  </a:lnTo>
                  <a:lnTo>
                    <a:pt x="98" y="320"/>
                  </a:lnTo>
                  <a:lnTo>
                    <a:pt x="100" y="326"/>
                  </a:lnTo>
                  <a:lnTo>
                    <a:pt x="107" y="346"/>
                  </a:lnTo>
                  <a:lnTo>
                    <a:pt x="116" y="366"/>
                  </a:lnTo>
                  <a:lnTo>
                    <a:pt x="119" y="370"/>
                  </a:lnTo>
                  <a:lnTo>
                    <a:pt x="118" y="376"/>
                  </a:lnTo>
                  <a:lnTo>
                    <a:pt x="116" y="382"/>
                  </a:lnTo>
                  <a:lnTo>
                    <a:pt x="113" y="387"/>
                  </a:lnTo>
                  <a:lnTo>
                    <a:pt x="84" y="416"/>
                  </a:lnTo>
                  <a:lnTo>
                    <a:pt x="86" y="419"/>
                  </a:lnTo>
                  <a:lnTo>
                    <a:pt x="86" y="420"/>
                  </a:lnTo>
                  <a:lnTo>
                    <a:pt x="87" y="420"/>
                  </a:lnTo>
                  <a:lnTo>
                    <a:pt x="109" y="443"/>
                  </a:lnTo>
                  <a:lnTo>
                    <a:pt x="133" y="465"/>
                  </a:lnTo>
                  <a:lnTo>
                    <a:pt x="135" y="466"/>
                  </a:lnTo>
                  <a:lnTo>
                    <a:pt x="136" y="468"/>
                  </a:lnTo>
                  <a:lnTo>
                    <a:pt x="165" y="439"/>
                  </a:lnTo>
                  <a:lnTo>
                    <a:pt x="170" y="436"/>
                  </a:lnTo>
                  <a:lnTo>
                    <a:pt x="174" y="434"/>
                  </a:lnTo>
                  <a:lnTo>
                    <a:pt x="179" y="433"/>
                  </a:lnTo>
                  <a:lnTo>
                    <a:pt x="183" y="434"/>
                  </a:lnTo>
                  <a:lnTo>
                    <a:pt x="188" y="436"/>
                  </a:lnTo>
                  <a:lnTo>
                    <a:pt x="206" y="445"/>
                  </a:lnTo>
                  <a:lnTo>
                    <a:pt x="228" y="451"/>
                  </a:lnTo>
                  <a:lnTo>
                    <a:pt x="232" y="454"/>
                  </a:lnTo>
                  <a:lnTo>
                    <a:pt x="237" y="459"/>
                  </a:lnTo>
                  <a:lnTo>
                    <a:pt x="238" y="463"/>
                  </a:lnTo>
                  <a:lnTo>
                    <a:pt x="240" y="469"/>
                  </a:lnTo>
                  <a:lnTo>
                    <a:pt x="240" y="512"/>
                  </a:lnTo>
                  <a:lnTo>
                    <a:pt x="244" y="512"/>
                  </a:lnTo>
                  <a:lnTo>
                    <a:pt x="249" y="513"/>
                  </a:lnTo>
                  <a:lnTo>
                    <a:pt x="254" y="515"/>
                  </a:lnTo>
                  <a:lnTo>
                    <a:pt x="258" y="515"/>
                  </a:lnTo>
                  <a:lnTo>
                    <a:pt x="296" y="515"/>
                  </a:lnTo>
                  <a:lnTo>
                    <a:pt x="302" y="513"/>
                  </a:lnTo>
                  <a:lnTo>
                    <a:pt x="308" y="512"/>
                  </a:lnTo>
                  <a:lnTo>
                    <a:pt x="315" y="512"/>
                  </a:lnTo>
                  <a:lnTo>
                    <a:pt x="315" y="469"/>
                  </a:lnTo>
                  <a:lnTo>
                    <a:pt x="315" y="463"/>
                  </a:lnTo>
                  <a:lnTo>
                    <a:pt x="318" y="459"/>
                  </a:lnTo>
                  <a:lnTo>
                    <a:pt x="322" y="454"/>
                  </a:lnTo>
                  <a:lnTo>
                    <a:pt x="328" y="451"/>
                  </a:lnTo>
                  <a:lnTo>
                    <a:pt x="348" y="445"/>
                  </a:lnTo>
                  <a:lnTo>
                    <a:pt x="368" y="436"/>
                  </a:lnTo>
                  <a:lnTo>
                    <a:pt x="373" y="434"/>
                  </a:lnTo>
                  <a:lnTo>
                    <a:pt x="377" y="433"/>
                  </a:lnTo>
                  <a:lnTo>
                    <a:pt x="380" y="434"/>
                  </a:lnTo>
                  <a:lnTo>
                    <a:pt x="385" y="436"/>
                  </a:lnTo>
                  <a:lnTo>
                    <a:pt x="388" y="439"/>
                  </a:lnTo>
                  <a:lnTo>
                    <a:pt x="418" y="468"/>
                  </a:lnTo>
                  <a:lnTo>
                    <a:pt x="420" y="468"/>
                  </a:lnTo>
                  <a:lnTo>
                    <a:pt x="420" y="468"/>
                  </a:lnTo>
                  <a:lnTo>
                    <a:pt x="421" y="466"/>
                  </a:lnTo>
                  <a:lnTo>
                    <a:pt x="447" y="445"/>
                  </a:lnTo>
                  <a:lnTo>
                    <a:pt x="470" y="419"/>
                  </a:lnTo>
                  <a:lnTo>
                    <a:pt x="470" y="417"/>
                  </a:lnTo>
                  <a:lnTo>
                    <a:pt x="470" y="417"/>
                  </a:lnTo>
                  <a:lnTo>
                    <a:pt x="472" y="416"/>
                  </a:lnTo>
                  <a:lnTo>
                    <a:pt x="443" y="387"/>
                  </a:lnTo>
                  <a:lnTo>
                    <a:pt x="438" y="382"/>
                  </a:lnTo>
                  <a:lnTo>
                    <a:pt x="437" y="378"/>
                  </a:lnTo>
                  <a:lnTo>
                    <a:pt x="435" y="373"/>
                  </a:lnTo>
                  <a:lnTo>
                    <a:pt x="437" y="369"/>
                  </a:lnTo>
                  <a:lnTo>
                    <a:pt x="438" y="366"/>
                  </a:lnTo>
                  <a:lnTo>
                    <a:pt x="447" y="346"/>
                  </a:lnTo>
                  <a:lnTo>
                    <a:pt x="455" y="326"/>
                  </a:lnTo>
                  <a:lnTo>
                    <a:pt x="456" y="321"/>
                  </a:lnTo>
                  <a:lnTo>
                    <a:pt x="459" y="318"/>
                  </a:lnTo>
                  <a:lnTo>
                    <a:pt x="462" y="315"/>
                  </a:lnTo>
                  <a:lnTo>
                    <a:pt x="467" y="314"/>
                  </a:lnTo>
                  <a:lnTo>
                    <a:pt x="472" y="314"/>
                  </a:lnTo>
                  <a:lnTo>
                    <a:pt x="514" y="314"/>
                  </a:lnTo>
                  <a:lnTo>
                    <a:pt x="514" y="306"/>
                  </a:lnTo>
                  <a:lnTo>
                    <a:pt x="516" y="300"/>
                  </a:lnTo>
                  <a:lnTo>
                    <a:pt x="516" y="294"/>
                  </a:lnTo>
                  <a:lnTo>
                    <a:pt x="516" y="256"/>
                  </a:lnTo>
                  <a:lnTo>
                    <a:pt x="516" y="251"/>
                  </a:lnTo>
                  <a:lnTo>
                    <a:pt x="514" y="245"/>
                  </a:lnTo>
                  <a:lnTo>
                    <a:pt x="514" y="239"/>
                  </a:lnTo>
                  <a:lnTo>
                    <a:pt x="472" y="239"/>
                  </a:lnTo>
                  <a:lnTo>
                    <a:pt x="467" y="239"/>
                  </a:lnTo>
                  <a:lnTo>
                    <a:pt x="462" y="238"/>
                  </a:lnTo>
                  <a:lnTo>
                    <a:pt x="459" y="234"/>
                  </a:lnTo>
                  <a:lnTo>
                    <a:pt x="456" y="230"/>
                  </a:lnTo>
                  <a:lnTo>
                    <a:pt x="455" y="225"/>
                  </a:lnTo>
                  <a:lnTo>
                    <a:pt x="447" y="206"/>
                  </a:lnTo>
                  <a:lnTo>
                    <a:pt x="438" y="186"/>
                  </a:lnTo>
                  <a:lnTo>
                    <a:pt x="437" y="181"/>
                  </a:lnTo>
                  <a:lnTo>
                    <a:pt x="435" y="177"/>
                  </a:lnTo>
                  <a:lnTo>
                    <a:pt x="437" y="172"/>
                  </a:lnTo>
                  <a:lnTo>
                    <a:pt x="438" y="167"/>
                  </a:lnTo>
                  <a:lnTo>
                    <a:pt x="443" y="163"/>
                  </a:lnTo>
                  <a:lnTo>
                    <a:pt x="470" y="134"/>
                  </a:lnTo>
                  <a:lnTo>
                    <a:pt x="469" y="132"/>
                  </a:lnTo>
                  <a:lnTo>
                    <a:pt x="469" y="131"/>
                  </a:lnTo>
                  <a:lnTo>
                    <a:pt x="446" y="106"/>
                  </a:lnTo>
                  <a:lnTo>
                    <a:pt x="423" y="85"/>
                  </a:lnTo>
                  <a:lnTo>
                    <a:pt x="421" y="85"/>
                  </a:lnTo>
                  <a:lnTo>
                    <a:pt x="421" y="85"/>
                  </a:lnTo>
                  <a:lnTo>
                    <a:pt x="421" y="85"/>
                  </a:lnTo>
                  <a:lnTo>
                    <a:pt x="420" y="84"/>
                  </a:lnTo>
                  <a:lnTo>
                    <a:pt x="418" y="82"/>
                  </a:lnTo>
                  <a:lnTo>
                    <a:pt x="388" y="111"/>
                  </a:lnTo>
                  <a:lnTo>
                    <a:pt x="385" y="116"/>
                  </a:lnTo>
                  <a:lnTo>
                    <a:pt x="380" y="117"/>
                  </a:lnTo>
                  <a:lnTo>
                    <a:pt x="377" y="117"/>
                  </a:lnTo>
                  <a:lnTo>
                    <a:pt x="373" y="117"/>
                  </a:lnTo>
                  <a:lnTo>
                    <a:pt x="368" y="116"/>
                  </a:lnTo>
                  <a:lnTo>
                    <a:pt x="348" y="106"/>
                  </a:lnTo>
                  <a:lnTo>
                    <a:pt x="328" y="99"/>
                  </a:lnTo>
                  <a:lnTo>
                    <a:pt x="322" y="96"/>
                  </a:lnTo>
                  <a:lnTo>
                    <a:pt x="318" y="93"/>
                  </a:lnTo>
                  <a:lnTo>
                    <a:pt x="315" y="87"/>
                  </a:lnTo>
                  <a:lnTo>
                    <a:pt x="315" y="81"/>
                  </a:lnTo>
                  <a:lnTo>
                    <a:pt x="315" y="39"/>
                  </a:lnTo>
                  <a:lnTo>
                    <a:pt x="308" y="39"/>
                  </a:lnTo>
                  <a:lnTo>
                    <a:pt x="302" y="38"/>
                  </a:lnTo>
                  <a:lnTo>
                    <a:pt x="296" y="38"/>
                  </a:lnTo>
                  <a:lnTo>
                    <a:pt x="276" y="36"/>
                  </a:lnTo>
                  <a:close/>
                  <a:moveTo>
                    <a:pt x="276" y="0"/>
                  </a:moveTo>
                  <a:lnTo>
                    <a:pt x="298" y="1"/>
                  </a:lnTo>
                  <a:lnTo>
                    <a:pt x="318" y="3"/>
                  </a:lnTo>
                  <a:lnTo>
                    <a:pt x="337" y="7"/>
                  </a:lnTo>
                  <a:lnTo>
                    <a:pt x="342" y="9"/>
                  </a:lnTo>
                  <a:lnTo>
                    <a:pt x="345" y="10"/>
                  </a:lnTo>
                  <a:lnTo>
                    <a:pt x="348" y="15"/>
                  </a:lnTo>
                  <a:lnTo>
                    <a:pt x="350" y="20"/>
                  </a:lnTo>
                  <a:lnTo>
                    <a:pt x="351" y="24"/>
                  </a:lnTo>
                  <a:lnTo>
                    <a:pt x="351" y="67"/>
                  </a:lnTo>
                  <a:lnTo>
                    <a:pt x="362" y="71"/>
                  </a:lnTo>
                  <a:lnTo>
                    <a:pt x="373" y="78"/>
                  </a:lnTo>
                  <a:lnTo>
                    <a:pt x="405" y="46"/>
                  </a:lnTo>
                  <a:lnTo>
                    <a:pt x="408" y="42"/>
                  </a:lnTo>
                  <a:lnTo>
                    <a:pt x="412" y="41"/>
                  </a:lnTo>
                  <a:lnTo>
                    <a:pt x="417" y="41"/>
                  </a:lnTo>
                  <a:lnTo>
                    <a:pt x="421" y="41"/>
                  </a:lnTo>
                  <a:lnTo>
                    <a:pt x="426" y="42"/>
                  </a:lnTo>
                  <a:lnTo>
                    <a:pt x="430" y="46"/>
                  </a:lnTo>
                  <a:lnTo>
                    <a:pt x="435" y="50"/>
                  </a:lnTo>
                  <a:lnTo>
                    <a:pt x="440" y="53"/>
                  </a:lnTo>
                  <a:lnTo>
                    <a:pt x="443" y="55"/>
                  </a:lnTo>
                  <a:lnTo>
                    <a:pt x="444" y="55"/>
                  </a:lnTo>
                  <a:lnTo>
                    <a:pt x="444" y="56"/>
                  </a:lnTo>
                  <a:lnTo>
                    <a:pt x="446" y="56"/>
                  </a:lnTo>
                  <a:lnTo>
                    <a:pt x="473" y="81"/>
                  </a:lnTo>
                  <a:lnTo>
                    <a:pt x="498" y="108"/>
                  </a:lnTo>
                  <a:lnTo>
                    <a:pt x="498" y="110"/>
                  </a:lnTo>
                  <a:lnTo>
                    <a:pt x="498" y="110"/>
                  </a:lnTo>
                  <a:lnTo>
                    <a:pt x="499" y="110"/>
                  </a:lnTo>
                  <a:lnTo>
                    <a:pt x="499" y="111"/>
                  </a:lnTo>
                  <a:lnTo>
                    <a:pt x="499" y="113"/>
                  </a:lnTo>
                  <a:lnTo>
                    <a:pt x="501" y="114"/>
                  </a:lnTo>
                  <a:lnTo>
                    <a:pt x="504" y="117"/>
                  </a:lnTo>
                  <a:lnTo>
                    <a:pt x="507" y="122"/>
                  </a:lnTo>
                  <a:lnTo>
                    <a:pt x="510" y="128"/>
                  </a:lnTo>
                  <a:lnTo>
                    <a:pt x="511" y="132"/>
                  </a:lnTo>
                  <a:lnTo>
                    <a:pt x="513" y="137"/>
                  </a:lnTo>
                  <a:lnTo>
                    <a:pt x="511" y="142"/>
                  </a:lnTo>
                  <a:lnTo>
                    <a:pt x="510" y="146"/>
                  </a:lnTo>
                  <a:lnTo>
                    <a:pt x="508" y="149"/>
                  </a:lnTo>
                  <a:lnTo>
                    <a:pt x="476" y="181"/>
                  </a:lnTo>
                  <a:lnTo>
                    <a:pt x="479" y="187"/>
                  </a:lnTo>
                  <a:lnTo>
                    <a:pt x="482" y="195"/>
                  </a:lnTo>
                  <a:lnTo>
                    <a:pt x="485" y="202"/>
                  </a:lnTo>
                  <a:lnTo>
                    <a:pt x="528" y="202"/>
                  </a:lnTo>
                  <a:lnTo>
                    <a:pt x="534" y="204"/>
                  </a:lnTo>
                  <a:lnTo>
                    <a:pt x="539" y="206"/>
                  </a:lnTo>
                  <a:lnTo>
                    <a:pt x="542" y="209"/>
                  </a:lnTo>
                  <a:lnTo>
                    <a:pt x="545" y="212"/>
                  </a:lnTo>
                  <a:lnTo>
                    <a:pt x="548" y="216"/>
                  </a:lnTo>
                  <a:lnTo>
                    <a:pt x="551" y="234"/>
                  </a:lnTo>
                  <a:lnTo>
                    <a:pt x="554" y="253"/>
                  </a:lnTo>
                  <a:lnTo>
                    <a:pt x="554" y="276"/>
                  </a:lnTo>
                  <a:lnTo>
                    <a:pt x="554" y="283"/>
                  </a:lnTo>
                  <a:lnTo>
                    <a:pt x="552" y="291"/>
                  </a:lnTo>
                  <a:lnTo>
                    <a:pt x="552" y="299"/>
                  </a:lnTo>
                  <a:lnTo>
                    <a:pt x="549" y="317"/>
                  </a:lnTo>
                  <a:lnTo>
                    <a:pt x="548" y="335"/>
                  </a:lnTo>
                  <a:lnTo>
                    <a:pt x="545" y="341"/>
                  </a:lnTo>
                  <a:lnTo>
                    <a:pt x="542" y="344"/>
                  </a:lnTo>
                  <a:lnTo>
                    <a:pt x="539" y="347"/>
                  </a:lnTo>
                  <a:lnTo>
                    <a:pt x="534" y="349"/>
                  </a:lnTo>
                  <a:lnTo>
                    <a:pt x="528" y="349"/>
                  </a:lnTo>
                  <a:lnTo>
                    <a:pt x="485" y="349"/>
                  </a:lnTo>
                  <a:lnTo>
                    <a:pt x="482" y="359"/>
                  </a:lnTo>
                  <a:lnTo>
                    <a:pt x="476" y="370"/>
                  </a:lnTo>
                  <a:lnTo>
                    <a:pt x="508" y="401"/>
                  </a:lnTo>
                  <a:lnTo>
                    <a:pt x="510" y="405"/>
                  </a:lnTo>
                  <a:lnTo>
                    <a:pt x="511" y="410"/>
                  </a:lnTo>
                  <a:lnTo>
                    <a:pt x="513" y="414"/>
                  </a:lnTo>
                  <a:lnTo>
                    <a:pt x="511" y="419"/>
                  </a:lnTo>
                  <a:lnTo>
                    <a:pt x="510" y="423"/>
                  </a:lnTo>
                  <a:lnTo>
                    <a:pt x="504" y="433"/>
                  </a:lnTo>
                  <a:lnTo>
                    <a:pt x="499" y="440"/>
                  </a:lnTo>
                  <a:lnTo>
                    <a:pt x="473" y="471"/>
                  </a:lnTo>
                  <a:lnTo>
                    <a:pt x="443" y="497"/>
                  </a:lnTo>
                  <a:lnTo>
                    <a:pt x="434" y="501"/>
                  </a:lnTo>
                  <a:lnTo>
                    <a:pt x="426" y="507"/>
                  </a:lnTo>
                  <a:lnTo>
                    <a:pt x="421" y="509"/>
                  </a:lnTo>
                  <a:lnTo>
                    <a:pt x="417" y="510"/>
                  </a:lnTo>
                  <a:lnTo>
                    <a:pt x="412" y="510"/>
                  </a:lnTo>
                  <a:lnTo>
                    <a:pt x="408" y="507"/>
                  </a:lnTo>
                  <a:lnTo>
                    <a:pt x="405" y="504"/>
                  </a:lnTo>
                  <a:lnTo>
                    <a:pt x="373" y="474"/>
                  </a:lnTo>
                  <a:lnTo>
                    <a:pt x="362" y="478"/>
                  </a:lnTo>
                  <a:lnTo>
                    <a:pt x="351" y="484"/>
                  </a:lnTo>
                  <a:lnTo>
                    <a:pt x="351" y="527"/>
                  </a:lnTo>
                  <a:lnTo>
                    <a:pt x="350" y="533"/>
                  </a:lnTo>
                  <a:lnTo>
                    <a:pt x="347" y="538"/>
                  </a:lnTo>
                  <a:lnTo>
                    <a:pt x="342" y="542"/>
                  </a:lnTo>
                  <a:lnTo>
                    <a:pt x="337" y="545"/>
                  </a:lnTo>
                  <a:lnTo>
                    <a:pt x="301" y="551"/>
                  </a:lnTo>
                  <a:lnTo>
                    <a:pt x="301" y="553"/>
                  </a:lnTo>
                  <a:lnTo>
                    <a:pt x="298" y="553"/>
                  </a:lnTo>
                  <a:lnTo>
                    <a:pt x="296" y="553"/>
                  </a:lnTo>
                  <a:lnTo>
                    <a:pt x="295" y="551"/>
                  </a:lnTo>
                  <a:lnTo>
                    <a:pt x="293" y="551"/>
                  </a:lnTo>
                  <a:lnTo>
                    <a:pt x="292" y="553"/>
                  </a:lnTo>
                  <a:lnTo>
                    <a:pt x="255" y="553"/>
                  </a:lnTo>
                  <a:lnTo>
                    <a:pt x="235" y="550"/>
                  </a:lnTo>
                  <a:lnTo>
                    <a:pt x="217" y="545"/>
                  </a:lnTo>
                  <a:lnTo>
                    <a:pt x="212" y="544"/>
                  </a:lnTo>
                  <a:lnTo>
                    <a:pt x="209" y="541"/>
                  </a:lnTo>
                  <a:lnTo>
                    <a:pt x="206" y="536"/>
                  </a:lnTo>
                  <a:lnTo>
                    <a:pt x="205" y="532"/>
                  </a:lnTo>
                  <a:lnTo>
                    <a:pt x="203" y="527"/>
                  </a:lnTo>
                  <a:lnTo>
                    <a:pt x="203" y="484"/>
                  </a:lnTo>
                  <a:lnTo>
                    <a:pt x="193" y="478"/>
                  </a:lnTo>
                  <a:lnTo>
                    <a:pt x="183" y="474"/>
                  </a:lnTo>
                  <a:lnTo>
                    <a:pt x="151" y="504"/>
                  </a:lnTo>
                  <a:lnTo>
                    <a:pt x="144" y="509"/>
                  </a:lnTo>
                  <a:lnTo>
                    <a:pt x="136" y="510"/>
                  </a:lnTo>
                  <a:lnTo>
                    <a:pt x="127" y="507"/>
                  </a:lnTo>
                  <a:lnTo>
                    <a:pt x="121" y="503"/>
                  </a:lnTo>
                  <a:lnTo>
                    <a:pt x="113" y="498"/>
                  </a:lnTo>
                  <a:lnTo>
                    <a:pt x="112" y="497"/>
                  </a:lnTo>
                  <a:lnTo>
                    <a:pt x="112" y="495"/>
                  </a:lnTo>
                  <a:lnTo>
                    <a:pt x="110" y="495"/>
                  </a:lnTo>
                  <a:lnTo>
                    <a:pt x="109" y="494"/>
                  </a:lnTo>
                  <a:lnTo>
                    <a:pt x="81" y="469"/>
                  </a:lnTo>
                  <a:lnTo>
                    <a:pt x="58" y="442"/>
                  </a:lnTo>
                  <a:lnTo>
                    <a:pt x="57" y="442"/>
                  </a:lnTo>
                  <a:lnTo>
                    <a:pt x="57" y="442"/>
                  </a:lnTo>
                  <a:lnTo>
                    <a:pt x="57" y="440"/>
                  </a:lnTo>
                  <a:lnTo>
                    <a:pt x="55" y="439"/>
                  </a:lnTo>
                  <a:lnTo>
                    <a:pt x="55" y="439"/>
                  </a:lnTo>
                  <a:lnTo>
                    <a:pt x="55" y="437"/>
                  </a:lnTo>
                  <a:lnTo>
                    <a:pt x="51" y="434"/>
                  </a:lnTo>
                  <a:lnTo>
                    <a:pt x="48" y="428"/>
                  </a:lnTo>
                  <a:lnTo>
                    <a:pt x="45" y="423"/>
                  </a:lnTo>
                  <a:lnTo>
                    <a:pt x="42" y="419"/>
                  </a:lnTo>
                  <a:lnTo>
                    <a:pt x="42" y="414"/>
                  </a:lnTo>
                  <a:lnTo>
                    <a:pt x="42" y="410"/>
                  </a:lnTo>
                  <a:lnTo>
                    <a:pt x="43" y="405"/>
                  </a:lnTo>
                  <a:lnTo>
                    <a:pt x="46" y="401"/>
                  </a:lnTo>
                  <a:lnTo>
                    <a:pt x="77" y="370"/>
                  </a:lnTo>
                  <a:lnTo>
                    <a:pt x="74" y="359"/>
                  </a:lnTo>
                  <a:lnTo>
                    <a:pt x="69" y="349"/>
                  </a:lnTo>
                  <a:lnTo>
                    <a:pt x="25" y="349"/>
                  </a:lnTo>
                  <a:lnTo>
                    <a:pt x="20" y="349"/>
                  </a:lnTo>
                  <a:lnTo>
                    <a:pt x="16" y="347"/>
                  </a:lnTo>
                  <a:lnTo>
                    <a:pt x="11" y="344"/>
                  </a:lnTo>
                  <a:lnTo>
                    <a:pt x="8" y="341"/>
                  </a:lnTo>
                  <a:lnTo>
                    <a:pt x="7" y="335"/>
                  </a:lnTo>
                  <a:lnTo>
                    <a:pt x="4" y="317"/>
                  </a:lnTo>
                  <a:lnTo>
                    <a:pt x="0" y="299"/>
                  </a:lnTo>
                  <a:lnTo>
                    <a:pt x="0" y="253"/>
                  </a:lnTo>
                  <a:lnTo>
                    <a:pt x="7" y="216"/>
                  </a:lnTo>
                  <a:lnTo>
                    <a:pt x="8" y="212"/>
                  </a:lnTo>
                  <a:lnTo>
                    <a:pt x="11" y="209"/>
                  </a:lnTo>
                  <a:lnTo>
                    <a:pt x="16" y="206"/>
                  </a:lnTo>
                  <a:lnTo>
                    <a:pt x="20" y="204"/>
                  </a:lnTo>
                  <a:lnTo>
                    <a:pt x="25" y="202"/>
                  </a:lnTo>
                  <a:lnTo>
                    <a:pt x="69" y="202"/>
                  </a:lnTo>
                  <a:lnTo>
                    <a:pt x="72" y="195"/>
                  </a:lnTo>
                  <a:lnTo>
                    <a:pt x="74" y="187"/>
                  </a:lnTo>
                  <a:lnTo>
                    <a:pt x="77" y="181"/>
                  </a:lnTo>
                  <a:lnTo>
                    <a:pt x="46" y="149"/>
                  </a:lnTo>
                  <a:lnTo>
                    <a:pt x="43" y="146"/>
                  </a:lnTo>
                  <a:lnTo>
                    <a:pt x="42" y="142"/>
                  </a:lnTo>
                  <a:lnTo>
                    <a:pt x="42" y="137"/>
                  </a:lnTo>
                  <a:lnTo>
                    <a:pt x="42" y="132"/>
                  </a:lnTo>
                  <a:lnTo>
                    <a:pt x="45" y="128"/>
                  </a:lnTo>
                  <a:lnTo>
                    <a:pt x="48" y="122"/>
                  </a:lnTo>
                  <a:lnTo>
                    <a:pt x="52" y="116"/>
                  </a:lnTo>
                  <a:lnTo>
                    <a:pt x="57" y="110"/>
                  </a:lnTo>
                  <a:lnTo>
                    <a:pt x="83" y="81"/>
                  </a:lnTo>
                  <a:lnTo>
                    <a:pt x="112" y="55"/>
                  </a:lnTo>
                  <a:lnTo>
                    <a:pt x="119" y="49"/>
                  </a:lnTo>
                  <a:lnTo>
                    <a:pt x="127" y="42"/>
                  </a:lnTo>
                  <a:lnTo>
                    <a:pt x="136" y="41"/>
                  </a:lnTo>
                  <a:lnTo>
                    <a:pt x="144" y="41"/>
                  </a:lnTo>
                  <a:lnTo>
                    <a:pt x="151" y="46"/>
                  </a:lnTo>
                  <a:lnTo>
                    <a:pt x="183" y="78"/>
                  </a:lnTo>
                  <a:lnTo>
                    <a:pt x="193" y="71"/>
                  </a:lnTo>
                  <a:lnTo>
                    <a:pt x="203" y="67"/>
                  </a:lnTo>
                  <a:lnTo>
                    <a:pt x="203" y="24"/>
                  </a:lnTo>
                  <a:lnTo>
                    <a:pt x="205" y="20"/>
                  </a:lnTo>
                  <a:lnTo>
                    <a:pt x="206" y="15"/>
                  </a:lnTo>
                  <a:lnTo>
                    <a:pt x="209" y="10"/>
                  </a:lnTo>
                  <a:lnTo>
                    <a:pt x="212" y="9"/>
                  </a:lnTo>
                  <a:lnTo>
                    <a:pt x="217" y="7"/>
                  </a:lnTo>
                  <a:lnTo>
                    <a:pt x="237" y="3"/>
                  </a:lnTo>
                  <a:lnTo>
                    <a:pt x="255" y="1"/>
                  </a:lnTo>
                  <a:lnTo>
                    <a:pt x="27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14">
              <a:extLst>
                <a:ext uri="{FF2B5EF4-FFF2-40B4-BE49-F238E27FC236}">
                  <a16:creationId xmlns:a16="http://schemas.microsoft.com/office/drawing/2014/main" id="{8E4CC3C4-7DA5-644F-8FE1-89F80396679E}"/>
                </a:ext>
              </a:extLst>
            </p:cNvPr>
            <p:cNvSpPr>
              <a:spLocks noEditPoints="1"/>
            </p:cNvSpPr>
            <p:nvPr/>
          </p:nvSpPr>
          <p:spPr bwMode="auto">
            <a:xfrm>
              <a:off x="6192121" y="3138488"/>
              <a:ext cx="1347788" cy="1350963"/>
            </a:xfrm>
            <a:custGeom>
              <a:avLst/>
              <a:gdLst>
                <a:gd name="T0" fmla="*/ 366 w 849"/>
                <a:gd name="T1" fmla="*/ 125 h 851"/>
                <a:gd name="T2" fmla="*/ 287 w 849"/>
                <a:gd name="T3" fmla="*/ 177 h 851"/>
                <a:gd name="T4" fmla="*/ 204 w 849"/>
                <a:gd name="T5" fmla="*/ 130 h 851"/>
                <a:gd name="T6" fmla="*/ 178 w 849"/>
                <a:gd name="T7" fmla="*/ 262 h 851"/>
                <a:gd name="T8" fmla="*/ 145 w 849"/>
                <a:gd name="T9" fmla="*/ 358 h 851"/>
                <a:gd name="T10" fmla="*/ 58 w 849"/>
                <a:gd name="T11" fmla="*/ 395 h 851"/>
                <a:gd name="T12" fmla="*/ 58 w 849"/>
                <a:gd name="T13" fmla="*/ 468 h 851"/>
                <a:gd name="T14" fmla="*/ 151 w 849"/>
                <a:gd name="T15" fmla="*/ 500 h 851"/>
                <a:gd name="T16" fmla="*/ 172 w 849"/>
                <a:gd name="T17" fmla="*/ 596 h 851"/>
                <a:gd name="T18" fmla="*/ 152 w 849"/>
                <a:gd name="T19" fmla="*/ 671 h 851"/>
                <a:gd name="T20" fmla="*/ 252 w 849"/>
                <a:gd name="T21" fmla="*/ 675 h 851"/>
                <a:gd name="T22" fmla="*/ 348 w 849"/>
                <a:gd name="T23" fmla="*/ 694 h 851"/>
                <a:gd name="T24" fmla="*/ 381 w 849"/>
                <a:gd name="T25" fmla="*/ 790 h 851"/>
                <a:gd name="T26" fmla="*/ 480 w 849"/>
                <a:gd name="T27" fmla="*/ 723 h 851"/>
                <a:gd name="T28" fmla="*/ 563 w 849"/>
                <a:gd name="T29" fmla="*/ 671 h 851"/>
                <a:gd name="T30" fmla="*/ 642 w 849"/>
                <a:gd name="T31" fmla="*/ 720 h 851"/>
                <a:gd name="T32" fmla="*/ 697 w 849"/>
                <a:gd name="T33" fmla="*/ 671 h 851"/>
                <a:gd name="T34" fmla="*/ 723 w 849"/>
                <a:gd name="T35" fmla="*/ 640 h 851"/>
                <a:gd name="T36" fmla="*/ 686 w 849"/>
                <a:gd name="T37" fmla="*/ 532 h 851"/>
                <a:gd name="T38" fmla="*/ 788 w 849"/>
                <a:gd name="T39" fmla="*/ 482 h 851"/>
                <a:gd name="T40" fmla="*/ 788 w 849"/>
                <a:gd name="T41" fmla="*/ 369 h 851"/>
                <a:gd name="T42" fmla="*/ 686 w 849"/>
                <a:gd name="T43" fmla="*/ 316 h 851"/>
                <a:gd name="T44" fmla="*/ 720 w 849"/>
                <a:gd name="T45" fmla="*/ 206 h 851"/>
                <a:gd name="T46" fmla="*/ 645 w 849"/>
                <a:gd name="T47" fmla="*/ 133 h 851"/>
                <a:gd name="T48" fmla="*/ 640 w 849"/>
                <a:gd name="T49" fmla="*/ 127 h 851"/>
                <a:gd name="T50" fmla="*/ 532 w 849"/>
                <a:gd name="T51" fmla="*/ 163 h 851"/>
                <a:gd name="T52" fmla="*/ 480 w 849"/>
                <a:gd name="T53" fmla="*/ 61 h 851"/>
                <a:gd name="T54" fmla="*/ 456 w 849"/>
                <a:gd name="T55" fmla="*/ 3 h 851"/>
                <a:gd name="T56" fmla="*/ 537 w 849"/>
                <a:gd name="T57" fmla="*/ 37 h 851"/>
                <a:gd name="T58" fmla="*/ 625 w 849"/>
                <a:gd name="T59" fmla="*/ 66 h 851"/>
                <a:gd name="T60" fmla="*/ 666 w 849"/>
                <a:gd name="T61" fmla="*/ 76 h 851"/>
                <a:gd name="T62" fmla="*/ 682 w 849"/>
                <a:gd name="T63" fmla="*/ 87 h 851"/>
                <a:gd name="T64" fmla="*/ 762 w 849"/>
                <a:gd name="T65" fmla="*/ 168 h 851"/>
                <a:gd name="T66" fmla="*/ 765 w 849"/>
                <a:gd name="T67" fmla="*/ 174 h 851"/>
                <a:gd name="T68" fmla="*/ 785 w 849"/>
                <a:gd name="T69" fmla="*/ 207 h 851"/>
                <a:gd name="T70" fmla="*/ 744 w 849"/>
                <a:gd name="T71" fmla="*/ 313 h 851"/>
                <a:gd name="T72" fmla="*/ 845 w 849"/>
                <a:gd name="T73" fmla="*/ 361 h 851"/>
                <a:gd name="T74" fmla="*/ 843 w 849"/>
                <a:gd name="T75" fmla="*/ 488 h 851"/>
                <a:gd name="T76" fmla="*/ 744 w 849"/>
                <a:gd name="T77" fmla="*/ 538 h 851"/>
                <a:gd name="T78" fmla="*/ 785 w 849"/>
                <a:gd name="T79" fmla="*/ 640 h 851"/>
                <a:gd name="T80" fmla="*/ 711 w 849"/>
                <a:gd name="T81" fmla="*/ 738 h 851"/>
                <a:gd name="T82" fmla="*/ 643 w 849"/>
                <a:gd name="T83" fmla="*/ 785 h 851"/>
                <a:gd name="T84" fmla="*/ 555 w 849"/>
                <a:gd name="T85" fmla="*/ 736 h 851"/>
                <a:gd name="T86" fmla="*/ 515 w 849"/>
                <a:gd name="T87" fmla="*/ 840 h 851"/>
                <a:gd name="T88" fmla="*/ 451 w 849"/>
                <a:gd name="T89" fmla="*/ 849 h 851"/>
                <a:gd name="T90" fmla="*/ 351 w 849"/>
                <a:gd name="T91" fmla="*/ 843 h 851"/>
                <a:gd name="T92" fmla="*/ 311 w 849"/>
                <a:gd name="T93" fmla="*/ 744 h 851"/>
                <a:gd name="T94" fmla="*/ 194 w 849"/>
                <a:gd name="T95" fmla="*/ 780 h 851"/>
                <a:gd name="T96" fmla="*/ 169 w 849"/>
                <a:gd name="T97" fmla="*/ 762 h 851"/>
                <a:gd name="T98" fmla="*/ 110 w 849"/>
                <a:gd name="T99" fmla="*/ 709 h 851"/>
                <a:gd name="T100" fmla="*/ 84 w 849"/>
                <a:gd name="T101" fmla="*/ 678 h 851"/>
                <a:gd name="T102" fmla="*/ 76 w 849"/>
                <a:gd name="T103" fmla="*/ 666 h 851"/>
                <a:gd name="T104" fmla="*/ 69 w 849"/>
                <a:gd name="T105" fmla="*/ 617 h 851"/>
                <a:gd name="T106" fmla="*/ 23 w 849"/>
                <a:gd name="T107" fmla="*/ 535 h 851"/>
                <a:gd name="T108" fmla="*/ 0 w 849"/>
                <a:gd name="T109" fmla="*/ 389 h 851"/>
                <a:gd name="T110" fmla="*/ 104 w 849"/>
                <a:gd name="T111" fmla="*/ 313 h 851"/>
                <a:gd name="T112" fmla="*/ 61 w 849"/>
                <a:gd name="T113" fmla="*/ 207 h 851"/>
                <a:gd name="T114" fmla="*/ 139 w 849"/>
                <a:gd name="T115" fmla="*/ 110 h 851"/>
                <a:gd name="T116" fmla="*/ 206 w 849"/>
                <a:gd name="T117" fmla="*/ 63 h 851"/>
                <a:gd name="T118" fmla="*/ 311 w 849"/>
                <a:gd name="T119" fmla="*/ 37 h 851"/>
                <a:gd name="T120" fmla="*/ 390 w 849"/>
                <a:gd name="T121" fmla="*/ 3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9" h="851">
                  <a:moveTo>
                    <a:pt x="424" y="57"/>
                  </a:moveTo>
                  <a:lnTo>
                    <a:pt x="395" y="58"/>
                  </a:lnTo>
                  <a:lnTo>
                    <a:pt x="381" y="60"/>
                  </a:lnTo>
                  <a:lnTo>
                    <a:pt x="366" y="61"/>
                  </a:lnTo>
                  <a:lnTo>
                    <a:pt x="366" y="125"/>
                  </a:lnTo>
                  <a:lnTo>
                    <a:pt x="363" y="137"/>
                  </a:lnTo>
                  <a:lnTo>
                    <a:pt x="357" y="147"/>
                  </a:lnTo>
                  <a:lnTo>
                    <a:pt x="348" y="154"/>
                  </a:lnTo>
                  <a:lnTo>
                    <a:pt x="316" y="163"/>
                  </a:lnTo>
                  <a:lnTo>
                    <a:pt x="287" y="177"/>
                  </a:lnTo>
                  <a:lnTo>
                    <a:pt x="274" y="180"/>
                  </a:lnTo>
                  <a:lnTo>
                    <a:pt x="262" y="180"/>
                  </a:lnTo>
                  <a:lnTo>
                    <a:pt x="252" y="172"/>
                  </a:lnTo>
                  <a:lnTo>
                    <a:pt x="207" y="127"/>
                  </a:lnTo>
                  <a:lnTo>
                    <a:pt x="204" y="130"/>
                  </a:lnTo>
                  <a:lnTo>
                    <a:pt x="163" y="165"/>
                  </a:lnTo>
                  <a:lnTo>
                    <a:pt x="130" y="204"/>
                  </a:lnTo>
                  <a:lnTo>
                    <a:pt x="127" y="206"/>
                  </a:lnTo>
                  <a:lnTo>
                    <a:pt x="172" y="252"/>
                  </a:lnTo>
                  <a:lnTo>
                    <a:pt x="178" y="262"/>
                  </a:lnTo>
                  <a:lnTo>
                    <a:pt x="180" y="275"/>
                  </a:lnTo>
                  <a:lnTo>
                    <a:pt x="177" y="287"/>
                  </a:lnTo>
                  <a:lnTo>
                    <a:pt x="162" y="316"/>
                  </a:lnTo>
                  <a:lnTo>
                    <a:pt x="151" y="346"/>
                  </a:lnTo>
                  <a:lnTo>
                    <a:pt x="145" y="358"/>
                  </a:lnTo>
                  <a:lnTo>
                    <a:pt x="136" y="366"/>
                  </a:lnTo>
                  <a:lnTo>
                    <a:pt x="124" y="369"/>
                  </a:lnTo>
                  <a:lnTo>
                    <a:pt x="61" y="369"/>
                  </a:lnTo>
                  <a:lnTo>
                    <a:pt x="58" y="381"/>
                  </a:lnTo>
                  <a:lnTo>
                    <a:pt x="58" y="395"/>
                  </a:lnTo>
                  <a:lnTo>
                    <a:pt x="55" y="409"/>
                  </a:lnTo>
                  <a:lnTo>
                    <a:pt x="55" y="424"/>
                  </a:lnTo>
                  <a:lnTo>
                    <a:pt x="55" y="439"/>
                  </a:lnTo>
                  <a:lnTo>
                    <a:pt x="58" y="453"/>
                  </a:lnTo>
                  <a:lnTo>
                    <a:pt x="58" y="468"/>
                  </a:lnTo>
                  <a:lnTo>
                    <a:pt x="61" y="482"/>
                  </a:lnTo>
                  <a:lnTo>
                    <a:pt x="124" y="482"/>
                  </a:lnTo>
                  <a:lnTo>
                    <a:pt x="136" y="485"/>
                  </a:lnTo>
                  <a:lnTo>
                    <a:pt x="145" y="491"/>
                  </a:lnTo>
                  <a:lnTo>
                    <a:pt x="151" y="500"/>
                  </a:lnTo>
                  <a:lnTo>
                    <a:pt x="162" y="532"/>
                  </a:lnTo>
                  <a:lnTo>
                    <a:pt x="177" y="561"/>
                  </a:lnTo>
                  <a:lnTo>
                    <a:pt x="180" y="573"/>
                  </a:lnTo>
                  <a:lnTo>
                    <a:pt x="178" y="585"/>
                  </a:lnTo>
                  <a:lnTo>
                    <a:pt x="172" y="596"/>
                  </a:lnTo>
                  <a:lnTo>
                    <a:pt x="127" y="640"/>
                  </a:lnTo>
                  <a:lnTo>
                    <a:pt x="130" y="643"/>
                  </a:lnTo>
                  <a:lnTo>
                    <a:pt x="130" y="646"/>
                  </a:lnTo>
                  <a:lnTo>
                    <a:pt x="133" y="646"/>
                  </a:lnTo>
                  <a:lnTo>
                    <a:pt x="152" y="671"/>
                  </a:lnTo>
                  <a:lnTo>
                    <a:pt x="175" y="694"/>
                  </a:lnTo>
                  <a:lnTo>
                    <a:pt x="201" y="715"/>
                  </a:lnTo>
                  <a:lnTo>
                    <a:pt x="204" y="718"/>
                  </a:lnTo>
                  <a:lnTo>
                    <a:pt x="207" y="720"/>
                  </a:lnTo>
                  <a:lnTo>
                    <a:pt x="252" y="675"/>
                  </a:lnTo>
                  <a:lnTo>
                    <a:pt x="262" y="668"/>
                  </a:lnTo>
                  <a:lnTo>
                    <a:pt x="274" y="666"/>
                  </a:lnTo>
                  <a:lnTo>
                    <a:pt x="287" y="671"/>
                  </a:lnTo>
                  <a:lnTo>
                    <a:pt x="316" y="684"/>
                  </a:lnTo>
                  <a:lnTo>
                    <a:pt x="348" y="694"/>
                  </a:lnTo>
                  <a:lnTo>
                    <a:pt x="357" y="701"/>
                  </a:lnTo>
                  <a:lnTo>
                    <a:pt x="363" y="710"/>
                  </a:lnTo>
                  <a:lnTo>
                    <a:pt x="366" y="723"/>
                  </a:lnTo>
                  <a:lnTo>
                    <a:pt x="366" y="787"/>
                  </a:lnTo>
                  <a:lnTo>
                    <a:pt x="381" y="790"/>
                  </a:lnTo>
                  <a:lnTo>
                    <a:pt x="395" y="793"/>
                  </a:lnTo>
                  <a:lnTo>
                    <a:pt x="453" y="793"/>
                  </a:lnTo>
                  <a:lnTo>
                    <a:pt x="467" y="788"/>
                  </a:lnTo>
                  <a:lnTo>
                    <a:pt x="480" y="787"/>
                  </a:lnTo>
                  <a:lnTo>
                    <a:pt x="480" y="723"/>
                  </a:lnTo>
                  <a:lnTo>
                    <a:pt x="483" y="710"/>
                  </a:lnTo>
                  <a:lnTo>
                    <a:pt x="489" y="701"/>
                  </a:lnTo>
                  <a:lnTo>
                    <a:pt x="502" y="694"/>
                  </a:lnTo>
                  <a:lnTo>
                    <a:pt x="532" y="684"/>
                  </a:lnTo>
                  <a:lnTo>
                    <a:pt x="563" y="671"/>
                  </a:lnTo>
                  <a:lnTo>
                    <a:pt x="573" y="666"/>
                  </a:lnTo>
                  <a:lnTo>
                    <a:pt x="586" y="668"/>
                  </a:lnTo>
                  <a:lnTo>
                    <a:pt x="595" y="675"/>
                  </a:lnTo>
                  <a:lnTo>
                    <a:pt x="640" y="720"/>
                  </a:lnTo>
                  <a:lnTo>
                    <a:pt x="642" y="720"/>
                  </a:lnTo>
                  <a:lnTo>
                    <a:pt x="642" y="720"/>
                  </a:lnTo>
                  <a:lnTo>
                    <a:pt x="643" y="718"/>
                  </a:lnTo>
                  <a:lnTo>
                    <a:pt x="645" y="718"/>
                  </a:lnTo>
                  <a:lnTo>
                    <a:pt x="671" y="695"/>
                  </a:lnTo>
                  <a:lnTo>
                    <a:pt x="697" y="671"/>
                  </a:lnTo>
                  <a:lnTo>
                    <a:pt x="720" y="643"/>
                  </a:lnTo>
                  <a:lnTo>
                    <a:pt x="720" y="643"/>
                  </a:lnTo>
                  <a:lnTo>
                    <a:pt x="720" y="642"/>
                  </a:lnTo>
                  <a:lnTo>
                    <a:pt x="721" y="642"/>
                  </a:lnTo>
                  <a:lnTo>
                    <a:pt x="723" y="640"/>
                  </a:lnTo>
                  <a:lnTo>
                    <a:pt x="677" y="596"/>
                  </a:lnTo>
                  <a:lnTo>
                    <a:pt x="669" y="585"/>
                  </a:lnTo>
                  <a:lnTo>
                    <a:pt x="668" y="573"/>
                  </a:lnTo>
                  <a:lnTo>
                    <a:pt x="672" y="561"/>
                  </a:lnTo>
                  <a:lnTo>
                    <a:pt x="686" y="532"/>
                  </a:lnTo>
                  <a:lnTo>
                    <a:pt x="695" y="500"/>
                  </a:lnTo>
                  <a:lnTo>
                    <a:pt x="701" y="491"/>
                  </a:lnTo>
                  <a:lnTo>
                    <a:pt x="711" y="485"/>
                  </a:lnTo>
                  <a:lnTo>
                    <a:pt x="723" y="482"/>
                  </a:lnTo>
                  <a:lnTo>
                    <a:pt x="788" y="482"/>
                  </a:lnTo>
                  <a:lnTo>
                    <a:pt x="788" y="468"/>
                  </a:lnTo>
                  <a:lnTo>
                    <a:pt x="791" y="453"/>
                  </a:lnTo>
                  <a:lnTo>
                    <a:pt x="791" y="395"/>
                  </a:lnTo>
                  <a:lnTo>
                    <a:pt x="788" y="381"/>
                  </a:lnTo>
                  <a:lnTo>
                    <a:pt x="788" y="369"/>
                  </a:lnTo>
                  <a:lnTo>
                    <a:pt x="723" y="369"/>
                  </a:lnTo>
                  <a:lnTo>
                    <a:pt x="711" y="366"/>
                  </a:lnTo>
                  <a:lnTo>
                    <a:pt x="701" y="358"/>
                  </a:lnTo>
                  <a:lnTo>
                    <a:pt x="695" y="346"/>
                  </a:lnTo>
                  <a:lnTo>
                    <a:pt x="686" y="316"/>
                  </a:lnTo>
                  <a:lnTo>
                    <a:pt x="672" y="287"/>
                  </a:lnTo>
                  <a:lnTo>
                    <a:pt x="668" y="275"/>
                  </a:lnTo>
                  <a:lnTo>
                    <a:pt x="669" y="262"/>
                  </a:lnTo>
                  <a:lnTo>
                    <a:pt x="677" y="252"/>
                  </a:lnTo>
                  <a:lnTo>
                    <a:pt x="720" y="206"/>
                  </a:lnTo>
                  <a:lnTo>
                    <a:pt x="717" y="204"/>
                  </a:lnTo>
                  <a:lnTo>
                    <a:pt x="717" y="201"/>
                  </a:lnTo>
                  <a:lnTo>
                    <a:pt x="683" y="165"/>
                  </a:lnTo>
                  <a:lnTo>
                    <a:pt x="648" y="133"/>
                  </a:lnTo>
                  <a:lnTo>
                    <a:pt x="645" y="133"/>
                  </a:lnTo>
                  <a:lnTo>
                    <a:pt x="645" y="133"/>
                  </a:lnTo>
                  <a:lnTo>
                    <a:pt x="645" y="131"/>
                  </a:lnTo>
                  <a:lnTo>
                    <a:pt x="643" y="130"/>
                  </a:lnTo>
                  <a:lnTo>
                    <a:pt x="642" y="130"/>
                  </a:lnTo>
                  <a:lnTo>
                    <a:pt x="640" y="127"/>
                  </a:lnTo>
                  <a:lnTo>
                    <a:pt x="595" y="172"/>
                  </a:lnTo>
                  <a:lnTo>
                    <a:pt x="586" y="180"/>
                  </a:lnTo>
                  <a:lnTo>
                    <a:pt x="573" y="180"/>
                  </a:lnTo>
                  <a:lnTo>
                    <a:pt x="563" y="177"/>
                  </a:lnTo>
                  <a:lnTo>
                    <a:pt x="532" y="163"/>
                  </a:lnTo>
                  <a:lnTo>
                    <a:pt x="502" y="154"/>
                  </a:lnTo>
                  <a:lnTo>
                    <a:pt x="489" y="147"/>
                  </a:lnTo>
                  <a:lnTo>
                    <a:pt x="483" y="137"/>
                  </a:lnTo>
                  <a:lnTo>
                    <a:pt x="480" y="125"/>
                  </a:lnTo>
                  <a:lnTo>
                    <a:pt x="480" y="61"/>
                  </a:lnTo>
                  <a:lnTo>
                    <a:pt x="467" y="60"/>
                  </a:lnTo>
                  <a:lnTo>
                    <a:pt x="453" y="58"/>
                  </a:lnTo>
                  <a:lnTo>
                    <a:pt x="424" y="57"/>
                  </a:lnTo>
                  <a:close/>
                  <a:moveTo>
                    <a:pt x="424" y="0"/>
                  </a:moveTo>
                  <a:lnTo>
                    <a:pt x="456" y="3"/>
                  </a:lnTo>
                  <a:lnTo>
                    <a:pt x="486" y="5"/>
                  </a:lnTo>
                  <a:lnTo>
                    <a:pt x="515" y="11"/>
                  </a:lnTo>
                  <a:lnTo>
                    <a:pt x="526" y="15"/>
                  </a:lnTo>
                  <a:lnTo>
                    <a:pt x="534" y="25"/>
                  </a:lnTo>
                  <a:lnTo>
                    <a:pt x="537" y="37"/>
                  </a:lnTo>
                  <a:lnTo>
                    <a:pt x="537" y="104"/>
                  </a:lnTo>
                  <a:lnTo>
                    <a:pt x="555" y="111"/>
                  </a:lnTo>
                  <a:lnTo>
                    <a:pt x="570" y="119"/>
                  </a:lnTo>
                  <a:lnTo>
                    <a:pt x="619" y="72"/>
                  </a:lnTo>
                  <a:lnTo>
                    <a:pt x="625" y="66"/>
                  </a:lnTo>
                  <a:lnTo>
                    <a:pt x="634" y="63"/>
                  </a:lnTo>
                  <a:lnTo>
                    <a:pt x="643" y="64"/>
                  </a:lnTo>
                  <a:lnTo>
                    <a:pt x="653" y="66"/>
                  </a:lnTo>
                  <a:lnTo>
                    <a:pt x="660" y="72"/>
                  </a:lnTo>
                  <a:lnTo>
                    <a:pt x="666" y="76"/>
                  </a:lnTo>
                  <a:lnTo>
                    <a:pt x="674" y="83"/>
                  </a:lnTo>
                  <a:lnTo>
                    <a:pt x="677" y="86"/>
                  </a:lnTo>
                  <a:lnTo>
                    <a:pt x="679" y="86"/>
                  </a:lnTo>
                  <a:lnTo>
                    <a:pt x="680" y="86"/>
                  </a:lnTo>
                  <a:lnTo>
                    <a:pt x="682" y="87"/>
                  </a:lnTo>
                  <a:lnTo>
                    <a:pt x="682" y="87"/>
                  </a:lnTo>
                  <a:lnTo>
                    <a:pt x="724" y="125"/>
                  </a:lnTo>
                  <a:lnTo>
                    <a:pt x="762" y="168"/>
                  </a:lnTo>
                  <a:lnTo>
                    <a:pt x="762" y="168"/>
                  </a:lnTo>
                  <a:lnTo>
                    <a:pt x="762" y="168"/>
                  </a:lnTo>
                  <a:lnTo>
                    <a:pt x="762" y="169"/>
                  </a:lnTo>
                  <a:lnTo>
                    <a:pt x="765" y="169"/>
                  </a:lnTo>
                  <a:lnTo>
                    <a:pt x="765" y="171"/>
                  </a:lnTo>
                  <a:lnTo>
                    <a:pt x="765" y="172"/>
                  </a:lnTo>
                  <a:lnTo>
                    <a:pt x="765" y="174"/>
                  </a:lnTo>
                  <a:lnTo>
                    <a:pt x="767" y="175"/>
                  </a:lnTo>
                  <a:lnTo>
                    <a:pt x="773" y="182"/>
                  </a:lnTo>
                  <a:lnTo>
                    <a:pt x="778" y="188"/>
                  </a:lnTo>
                  <a:lnTo>
                    <a:pt x="781" y="197"/>
                  </a:lnTo>
                  <a:lnTo>
                    <a:pt x="785" y="207"/>
                  </a:lnTo>
                  <a:lnTo>
                    <a:pt x="784" y="220"/>
                  </a:lnTo>
                  <a:lnTo>
                    <a:pt x="778" y="230"/>
                  </a:lnTo>
                  <a:lnTo>
                    <a:pt x="730" y="279"/>
                  </a:lnTo>
                  <a:lnTo>
                    <a:pt x="738" y="294"/>
                  </a:lnTo>
                  <a:lnTo>
                    <a:pt x="744" y="313"/>
                  </a:lnTo>
                  <a:lnTo>
                    <a:pt x="810" y="313"/>
                  </a:lnTo>
                  <a:lnTo>
                    <a:pt x="823" y="316"/>
                  </a:lnTo>
                  <a:lnTo>
                    <a:pt x="833" y="322"/>
                  </a:lnTo>
                  <a:lnTo>
                    <a:pt x="839" y="334"/>
                  </a:lnTo>
                  <a:lnTo>
                    <a:pt x="845" y="361"/>
                  </a:lnTo>
                  <a:lnTo>
                    <a:pt x="849" y="389"/>
                  </a:lnTo>
                  <a:lnTo>
                    <a:pt x="849" y="424"/>
                  </a:lnTo>
                  <a:lnTo>
                    <a:pt x="848" y="441"/>
                  </a:lnTo>
                  <a:lnTo>
                    <a:pt x="846" y="459"/>
                  </a:lnTo>
                  <a:lnTo>
                    <a:pt x="843" y="488"/>
                  </a:lnTo>
                  <a:lnTo>
                    <a:pt x="839" y="517"/>
                  </a:lnTo>
                  <a:lnTo>
                    <a:pt x="833" y="527"/>
                  </a:lnTo>
                  <a:lnTo>
                    <a:pt x="823" y="535"/>
                  </a:lnTo>
                  <a:lnTo>
                    <a:pt x="810" y="538"/>
                  </a:lnTo>
                  <a:lnTo>
                    <a:pt x="744" y="538"/>
                  </a:lnTo>
                  <a:lnTo>
                    <a:pt x="738" y="553"/>
                  </a:lnTo>
                  <a:lnTo>
                    <a:pt x="730" y="570"/>
                  </a:lnTo>
                  <a:lnTo>
                    <a:pt x="778" y="617"/>
                  </a:lnTo>
                  <a:lnTo>
                    <a:pt x="784" y="627"/>
                  </a:lnTo>
                  <a:lnTo>
                    <a:pt x="785" y="640"/>
                  </a:lnTo>
                  <a:lnTo>
                    <a:pt x="781" y="652"/>
                  </a:lnTo>
                  <a:lnTo>
                    <a:pt x="773" y="665"/>
                  </a:lnTo>
                  <a:lnTo>
                    <a:pt x="765" y="678"/>
                  </a:lnTo>
                  <a:lnTo>
                    <a:pt x="740" y="709"/>
                  </a:lnTo>
                  <a:lnTo>
                    <a:pt x="711" y="738"/>
                  </a:lnTo>
                  <a:lnTo>
                    <a:pt x="677" y="762"/>
                  </a:lnTo>
                  <a:lnTo>
                    <a:pt x="669" y="768"/>
                  </a:lnTo>
                  <a:lnTo>
                    <a:pt x="662" y="776"/>
                  </a:lnTo>
                  <a:lnTo>
                    <a:pt x="653" y="780"/>
                  </a:lnTo>
                  <a:lnTo>
                    <a:pt x="643" y="785"/>
                  </a:lnTo>
                  <a:lnTo>
                    <a:pt x="634" y="785"/>
                  </a:lnTo>
                  <a:lnTo>
                    <a:pt x="625" y="782"/>
                  </a:lnTo>
                  <a:lnTo>
                    <a:pt x="619" y="776"/>
                  </a:lnTo>
                  <a:lnTo>
                    <a:pt x="570" y="729"/>
                  </a:lnTo>
                  <a:lnTo>
                    <a:pt x="555" y="736"/>
                  </a:lnTo>
                  <a:lnTo>
                    <a:pt x="537" y="744"/>
                  </a:lnTo>
                  <a:lnTo>
                    <a:pt x="537" y="811"/>
                  </a:lnTo>
                  <a:lnTo>
                    <a:pt x="534" y="823"/>
                  </a:lnTo>
                  <a:lnTo>
                    <a:pt x="526" y="832"/>
                  </a:lnTo>
                  <a:lnTo>
                    <a:pt x="515" y="840"/>
                  </a:lnTo>
                  <a:lnTo>
                    <a:pt x="459" y="848"/>
                  </a:lnTo>
                  <a:lnTo>
                    <a:pt x="459" y="851"/>
                  </a:lnTo>
                  <a:lnTo>
                    <a:pt x="456" y="851"/>
                  </a:lnTo>
                  <a:lnTo>
                    <a:pt x="454" y="849"/>
                  </a:lnTo>
                  <a:lnTo>
                    <a:pt x="451" y="849"/>
                  </a:lnTo>
                  <a:lnTo>
                    <a:pt x="448" y="849"/>
                  </a:lnTo>
                  <a:lnTo>
                    <a:pt x="445" y="851"/>
                  </a:lnTo>
                  <a:lnTo>
                    <a:pt x="390" y="851"/>
                  </a:lnTo>
                  <a:lnTo>
                    <a:pt x="369" y="848"/>
                  </a:lnTo>
                  <a:lnTo>
                    <a:pt x="351" y="843"/>
                  </a:lnTo>
                  <a:lnTo>
                    <a:pt x="331" y="840"/>
                  </a:lnTo>
                  <a:lnTo>
                    <a:pt x="320" y="834"/>
                  </a:lnTo>
                  <a:lnTo>
                    <a:pt x="313" y="823"/>
                  </a:lnTo>
                  <a:lnTo>
                    <a:pt x="311" y="811"/>
                  </a:lnTo>
                  <a:lnTo>
                    <a:pt x="311" y="744"/>
                  </a:lnTo>
                  <a:lnTo>
                    <a:pt x="279" y="729"/>
                  </a:lnTo>
                  <a:lnTo>
                    <a:pt x="230" y="776"/>
                  </a:lnTo>
                  <a:lnTo>
                    <a:pt x="220" y="784"/>
                  </a:lnTo>
                  <a:lnTo>
                    <a:pt x="206" y="785"/>
                  </a:lnTo>
                  <a:lnTo>
                    <a:pt x="194" y="780"/>
                  </a:lnTo>
                  <a:lnTo>
                    <a:pt x="188" y="776"/>
                  </a:lnTo>
                  <a:lnTo>
                    <a:pt x="180" y="771"/>
                  </a:lnTo>
                  <a:lnTo>
                    <a:pt x="172" y="765"/>
                  </a:lnTo>
                  <a:lnTo>
                    <a:pt x="169" y="762"/>
                  </a:lnTo>
                  <a:lnTo>
                    <a:pt x="169" y="762"/>
                  </a:lnTo>
                  <a:lnTo>
                    <a:pt x="168" y="762"/>
                  </a:lnTo>
                  <a:lnTo>
                    <a:pt x="166" y="761"/>
                  </a:lnTo>
                  <a:lnTo>
                    <a:pt x="165" y="761"/>
                  </a:lnTo>
                  <a:lnTo>
                    <a:pt x="136" y="735"/>
                  </a:lnTo>
                  <a:lnTo>
                    <a:pt x="110" y="709"/>
                  </a:lnTo>
                  <a:lnTo>
                    <a:pt x="87" y="681"/>
                  </a:lnTo>
                  <a:lnTo>
                    <a:pt x="85" y="680"/>
                  </a:lnTo>
                  <a:lnTo>
                    <a:pt x="84" y="680"/>
                  </a:lnTo>
                  <a:lnTo>
                    <a:pt x="84" y="678"/>
                  </a:lnTo>
                  <a:lnTo>
                    <a:pt x="84" y="678"/>
                  </a:lnTo>
                  <a:lnTo>
                    <a:pt x="82" y="677"/>
                  </a:lnTo>
                  <a:lnTo>
                    <a:pt x="82" y="675"/>
                  </a:lnTo>
                  <a:lnTo>
                    <a:pt x="82" y="674"/>
                  </a:lnTo>
                  <a:lnTo>
                    <a:pt x="82" y="672"/>
                  </a:lnTo>
                  <a:lnTo>
                    <a:pt x="76" y="666"/>
                  </a:lnTo>
                  <a:lnTo>
                    <a:pt x="72" y="660"/>
                  </a:lnTo>
                  <a:lnTo>
                    <a:pt x="66" y="652"/>
                  </a:lnTo>
                  <a:lnTo>
                    <a:pt x="61" y="640"/>
                  </a:lnTo>
                  <a:lnTo>
                    <a:pt x="63" y="628"/>
                  </a:lnTo>
                  <a:lnTo>
                    <a:pt x="69" y="617"/>
                  </a:lnTo>
                  <a:lnTo>
                    <a:pt x="116" y="570"/>
                  </a:lnTo>
                  <a:lnTo>
                    <a:pt x="110" y="553"/>
                  </a:lnTo>
                  <a:lnTo>
                    <a:pt x="104" y="538"/>
                  </a:lnTo>
                  <a:lnTo>
                    <a:pt x="37" y="538"/>
                  </a:lnTo>
                  <a:lnTo>
                    <a:pt x="23" y="535"/>
                  </a:lnTo>
                  <a:lnTo>
                    <a:pt x="14" y="527"/>
                  </a:lnTo>
                  <a:lnTo>
                    <a:pt x="8" y="517"/>
                  </a:lnTo>
                  <a:lnTo>
                    <a:pt x="3" y="488"/>
                  </a:lnTo>
                  <a:lnTo>
                    <a:pt x="0" y="459"/>
                  </a:lnTo>
                  <a:lnTo>
                    <a:pt x="0" y="389"/>
                  </a:lnTo>
                  <a:lnTo>
                    <a:pt x="8" y="334"/>
                  </a:lnTo>
                  <a:lnTo>
                    <a:pt x="14" y="322"/>
                  </a:lnTo>
                  <a:lnTo>
                    <a:pt x="23" y="316"/>
                  </a:lnTo>
                  <a:lnTo>
                    <a:pt x="37" y="313"/>
                  </a:lnTo>
                  <a:lnTo>
                    <a:pt x="104" y="313"/>
                  </a:lnTo>
                  <a:lnTo>
                    <a:pt x="110" y="294"/>
                  </a:lnTo>
                  <a:lnTo>
                    <a:pt x="116" y="279"/>
                  </a:lnTo>
                  <a:lnTo>
                    <a:pt x="69" y="230"/>
                  </a:lnTo>
                  <a:lnTo>
                    <a:pt x="63" y="220"/>
                  </a:lnTo>
                  <a:lnTo>
                    <a:pt x="61" y="207"/>
                  </a:lnTo>
                  <a:lnTo>
                    <a:pt x="66" y="197"/>
                  </a:lnTo>
                  <a:lnTo>
                    <a:pt x="75" y="183"/>
                  </a:lnTo>
                  <a:lnTo>
                    <a:pt x="84" y="169"/>
                  </a:lnTo>
                  <a:lnTo>
                    <a:pt x="110" y="139"/>
                  </a:lnTo>
                  <a:lnTo>
                    <a:pt x="139" y="110"/>
                  </a:lnTo>
                  <a:lnTo>
                    <a:pt x="169" y="86"/>
                  </a:lnTo>
                  <a:lnTo>
                    <a:pt x="177" y="79"/>
                  </a:lnTo>
                  <a:lnTo>
                    <a:pt x="184" y="72"/>
                  </a:lnTo>
                  <a:lnTo>
                    <a:pt x="194" y="66"/>
                  </a:lnTo>
                  <a:lnTo>
                    <a:pt x="206" y="63"/>
                  </a:lnTo>
                  <a:lnTo>
                    <a:pt x="220" y="64"/>
                  </a:lnTo>
                  <a:lnTo>
                    <a:pt x="230" y="72"/>
                  </a:lnTo>
                  <a:lnTo>
                    <a:pt x="279" y="119"/>
                  </a:lnTo>
                  <a:lnTo>
                    <a:pt x="311" y="104"/>
                  </a:lnTo>
                  <a:lnTo>
                    <a:pt x="311" y="37"/>
                  </a:lnTo>
                  <a:lnTo>
                    <a:pt x="313" y="25"/>
                  </a:lnTo>
                  <a:lnTo>
                    <a:pt x="320" y="15"/>
                  </a:lnTo>
                  <a:lnTo>
                    <a:pt x="331" y="11"/>
                  </a:lnTo>
                  <a:lnTo>
                    <a:pt x="361" y="5"/>
                  </a:lnTo>
                  <a:lnTo>
                    <a:pt x="390" y="3"/>
                  </a:lnTo>
                  <a:lnTo>
                    <a:pt x="42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15">
              <a:extLst>
                <a:ext uri="{FF2B5EF4-FFF2-40B4-BE49-F238E27FC236}">
                  <a16:creationId xmlns:a16="http://schemas.microsoft.com/office/drawing/2014/main" id="{3ECCBB36-A0AF-7E44-BB32-93991D0FFE87}"/>
                </a:ext>
              </a:extLst>
            </p:cNvPr>
            <p:cNvSpPr>
              <a:spLocks noEditPoints="1"/>
            </p:cNvSpPr>
            <p:nvPr/>
          </p:nvSpPr>
          <p:spPr bwMode="auto">
            <a:xfrm>
              <a:off x="5024153" y="3068638"/>
              <a:ext cx="1125538" cy="1125538"/>
            </a:xfrm>
            <a:custGeom>
              <a:avLst/>
              <a:gdLst>
                <a:gd name="T0" fmla="*/ 303 w 709"/>
                <a:gd name="T1" fmla="*/ 116 h 709"/>
                <a:gd name="T2" fmla="*/ 230 w 709"/>
                <a:gd name="T3" fmla="*/ 151 h 709"/>
                <a:gd name="T4" fmla="*/ 108 w 709"/>
                <a:gd name="T5" fmla="*/ 169 h 709"/>
                <a:gd name="T6" fmla="*/ 135 w 709"/>
                <a:gd name="T7" fmla="*/ 262 h 709"/>
                <a:gd name="T8" fmla="*/ 103 w 709"/>
                <a:gd name="T9" fmla="*/ 306 h 709"/>
                <a:gd name="T10" fmla="*/ 47 w 709"/>
                <a:gd name="T11" fmla="*/ 341 h 709"/>
                <a:gd name="T12" fmla="*/ 48 w 709"/>
                <a:gd name="T13" fmla="*/ 386 h 709"/>
                <a:gd name="T14" fmla="*/ 120 w 709"/>
                <a:gd name="T15" fmla="*/ 408 h 709"/>
                <a:gd name="T16" fmla="*/ 149 w 709"/>
                <a:gd name="T17" fmla="*/ 488 h 709"/>
                <a:gd name="T18" fmla="*/ 128 w 709"/>
                <a:gd name="T19" fmla="*/ 559 h 709"/>
                <a:gd name="T20" fmla="*/ 219 w 709"/>
                <a:gd name="T21" fmla="*/ 556 h 709"/>
                <a:gd name="T22" fmla="*/ 300 w 709"/>
                <a:gd name="T23" fmla="*/ 585 h 709"/>
                <a:gd name="T24" fmla="*/ 379 w 709"/>
                <a:gd name="T25" fmla="*/ 660 h 709"/>
                <a:gd name="T26" fmla="*/ 404 w 709"/>
                <a:gd name="T27" fmla="*/ 591 h 709"/>
                <a:gd name="T28" fmla="*/ 480 w 709"/>
                <a:gd name="T29" fmla="*/ 556 h 709"/>
                <a:gd name="T30" fmla="*/ 539 w 709"/>
                <a:gd name="T31" fmla="*/ 599 h 709"/>
                <a:gd name="T32" fmla="*/ 603 w 709"/>
                <a:gd name="T33" fmla="*/ 533 h 709"/>
                <a:gd name="T34" fmla="*/ 581 w 709"/>
                <a:gd name="T35" fmla="*/ 418 h 709"/>
                <a:gd name="T36" fmla="*/ 658 w 709"/>
                <a:gd name="T37" fmla="*/ 401 h 709"/>
                <a:gd name="T38" fmla="*/ 658 w 709"/>
                <a:gd name="T39" fmla="*/ 314 h 709"/>
                <a:gd name="T40" fmla="*/ 585 w 709"/>
                <a:gd name="T41" fmla="*/ 299 h 709"/>
                <a:gd name="T42" fmla="*/ 559 w 709"/>
                <a:gd name="T43" fmla="*/ 219 h 709"/>
                <a:gd name="T44" fmla="*/ 541 w 709"/>
                <a:gd name="T45" fmla="*/ 110 h 709"/>
                <a:gd name="T46" fmla="*/ 497 w 709"/>
                <a:gd name="T47" fmla="*/ 143 h 709"/>
                <a:gd name="T48" fmla="*/ 413 w 709"/>
                <a:gd name="T49" fmla="*/ 125 h 709"/>
                <a:gd name="T50" fmla="*/ 396 w 709"/>
                <a:gd name="T51" fmla="*/ 50 h 709"/>
                <a:gd name="T52" fmla="*/ 381 w 709"/>
                <a:gd name="T53" fmla="*/ 2 h 709"/>
                <a:gd name="T54" fmla="*/ 446 w 709"/>
                <a:gd name="T55" fmla="*/ 24 h 709"/>
                <a:gd name="T56" fmla="*/ 524 w 709"/>
                <a:gd name="T57" fmla="*/ 53 h 709"/>
                <a:gd name="T58" fmla="*/ 565 w 709"/>
                <a:gd name="T59" fmla="*/ 70 h 709"/>
                <a:gd name="T60" fmla="*/ 637 w 709"/>
                <a:gd name="T61" fmla="*/ 139 h 709"/>
                <a:gd name="T62" fmla="*/ 645 w 709"/>
                <a:gd name="T63" fmla="*/ 151 h 709"/>
                <a:gd name="T64" fmla="*/ 610 w 709"/>
                <a:gd name="T65" fmla="*/ 232 h 709"/>
                <a:gd name="T66" fmla="*/ 692 w 709"/>
                <a:gd name="T67" fmla="*/ 265 h 709"/>
                <a:gd name="T68" fmla="*/ 709 w 709"/>
                <a:gd name="T69" fmla="*/ 354 h 709"/>
                <a:gd name="T70" fmla="*/ 692 w 709"/>
                <a:gd name="T71" fmla="*/ 443 h 709"/>
                <a:gd name="T72" fmla="*/ 610 w 709"/>
                <a:gd name="T73" fmla="*/ 474 h 709"/>
                <a:gd name="T74" fmla="*/ 643 w 709"/>
                <a:gd name="T75" fmla="*/ 558 h 709"/>
                <a:gd name="T76" fmla="*/ 552 w 709"/>
                <a:gd name="T77" fmla="*/ 646 h 709"/>
                <a:gd name="T78" fmla="*/ 448 w 709"/>
                <a:gd name="T79" fmla="*/ 620 h 709"/>
                <a:gd name="T80" fmla="*/ 430 w 709"/>
                <a:gd name="T81" fmla="*/ 700 h 709"/>
                <a:gd name="T82" fmla="*/ 375 w 709"/>
                <a:gd name="T83" fmla="*/ 707 h 709"/>
                <a:gd name="T84" fmla="*/ 273 w 709"/>
                <a:gd name="T85" fmla="*/ 698 h 709"/>
                <a:gd name="T86" fmla="*/ 259 w 709"/>
                <a:gd name="T87" fmla="*/ 620 h 709"/>
                <a:gd name="T88" fmla="*/ 157 w 709"/>
                <a:gd name="T89" fmla="*/ 646 h 709"/>
                <a:gd name="T90" fmla="*/ 137 w 709"/>
                <a:gd name="T91" fmla="*/ 634 h 709"/>
                <a:gd name="T92" fmla="*/ 71 w 709"/>
                <a:gd name="T93" fmla="*/ 565 h 709"/>
                <a:gd name="T94" fmla="*/ 56 w 709"/>
                <a:gd name="T95" fmla="*/ 543 h 709"/>
                <a:gd name="T96" fmla="*/ 87 w 709"/>
                <a:gd name="T97" fmla="*/ 448 h 709"/>
                <a:gd name="T98" fmla="*/ 9 w 709"/>
                <a:gd name="T99" fmla="*/ 436 h 709"/>
                <a:gd name="T100" fmla="*/ 9 w 709"/>
                <a:gd name="T101" fmla="*/ 273 h 709"/>
                <a:gd name="T102" fmla="*/ 87 w 709"/>
                <a:gd name="T103" fmla="*/ 261 h 709"/>
                <a:gd name="T104" fmla="*/ 56 w 709"/>
                <a:gd name="T105" fmla="*/ 163 h 709"/>
                <a:gd name="T106" fmla="*/ 141 w 709"/>
                <a:gd name="T107" fmla="*/ 70 h 709"/>
                <a:gd name="T108" fmla="*/ 193 w 709"/>
                <a:gd name="T109" fmla="*/ 59 h 709"/>
                <a:gd name="T110" fmla="*/ 266 w 709"/>
                <a:gd name="T111" fmla="*/ 1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9" h="709">
                  <a:moveTo>
                    <a:pt x="353" y="47"/>
                  </a:moveTo>
                  <a:lnTo>
                    <a:pt x="331" y="49"/>
                  </a:lnTo>
                  <a:lnTo>
                    <a:pt x="306" y="50"/>
                  </a:lnTo>
                  <a:lnTo>
                    <a:pt x="306" y="104"/>
                  </a:lnTo>
                  <a:lnTo>
                    <a:pt x="305" y="110"/>
                  </a:lnTo>
                  <a:lnTo>
                    <a:pt x="303" y="116"/>
                  </a:lnTo>
                  <a:lnTo>
                    <a:pt x="300" y="120"/>
                  </a:lnTo>
                  <a:lnTo>
                    <a:pt x="295" y="125"/>
                  </a:lnTo>
                  <a:lnTo>
                    <a:pt x="291" y="128"/>
                  </a:lnTo>
                  <a:lnTo>
                    <a:pt x="263" y="136"/>
                  </a:lnTo>
                  <a:lnTo>
                    <a:pt x="239" y="148"/>
                  </a:lnTo>
                  <a:lnTo>
                    <a:pt x="230" y="151"/>
                  </a:lnTo>
                  <a:lnTo>
                    <a:pt x="219" y="149"/>
                  </a:lnTo>
                  <a:lnTo>
                    <a:pt x="210" y="143"/>
                  </a:lnTo>
                  <a:lnTo>
                    <a:pt x="173" y="105"/>
                  </a:lnTo>
                  <a:lnTo>
                    <a:pt x="170" y="108"/>
                  </a:lnTo>
                  <a:lnTo>
                    <a:pt x="137" y="136"/>
                  </a:lnTo>
                  <a:lnTo>
                    <a:pt x="108" y="169"/>
                  </a:lnTo>
                  <a:lnTo>
                    <a:pt x="106" y="172"/>
                  </a:lnTo>
                  <a:lnTo>
                    <a:pt x="144" y="209"/>
                  </a:lnTo>
                  <a:lnTo>
                    <a:pt x="149" y="219"/>
                  </a:lnTo>
                  <a:lnTo>
                    <a:pt x="151" y="229"/>
                  </a:lnTo>
                  <a:lnTo>
                    <a:pt x="148" y="238"/>
                  </a:lnTo>
                  <a:lnTo>
                    <a:pt x="135" y="262"/>
                  </a:lnTo>
                  <a:lnTo>
                    <a:pt x="126" y="288"/>
                  </a:lnTo>
                  <a:lnTo>
                    <a:pt x="125" y="296"/>
                  </a:lnTo>
                  <a:lnTo>
                    <a:pt x="120" y="300"/>
                  </a:lnTo>
                  <a:lnTo>
                    <a:pt x="116" y="303"/>
                  </a:lnTo>
                  <a:lnTo>
                    <a:pt x="111" y="306"/>
                  </a:lnTo>
                  <a:lnTo>
                    <a:pt x="103" y="306"/>
                  </a:lnTo>
                  <a:lnTo>
                    <a:pt x="51" y="306"/>
                  </a:lnTo>
                  <a:lnTo>
                    <a:pt x="50" y="314"/>
                  </a:lnTo>
                  <a:lnTo>
                    <a:pt x="48" y="322"/>
                  </a:lnTo>
                  <a:lnTo>
                    <a:pt x="48" y="329"/>
                  </a:lnTo>
                  <a:lnTo>
                    <a:pt x="47" y="335"/>
                  </a:lnTo>
                  <a:lnTo>
                    <a:pt x="47" y="341"/>
                  </a:lnTo>
                  <a:lnTo>
                    <a:pt x="47" y="347"/>
                  </a:lnTo>
                  <a:lnTo>
                    <a:pt x="47" y="354"/>
                  </a:lnTo>
                  <a:lnTo>
                    <a:pt x="47" y="361"/>
                  </a:lnTo>
                  <a:lnTo>
                    <a:pt x="47" y="370"/>
                  </a:lnTo>
                  <a:lnTo>
                    <a:pt x="48" y="378"/>
                  </a:lnTo>
                  <a:lnTo>
                    <a:pt x="48" y="386"/>
                  </a:lnTo>
                  <a:lnTo>
                    <a:pt x="50" y="393"/>
                  </a:lnTo>
                  <a:lnTo>
                    <a:pt x="51" y="401"/>
                  </a:lnTo>
                  <a:lnTo>
                    <a:pt x="103" y="401"/>
                  </a:lnTo>
                  <a:lnTo>
                    <a:pt x="111" y="402"/>
                  </a:lnTo>
                  <a:lnTo>
                    <a:pt x="116" y="404"/>
                  </a:lnTo>
                  <a:lnTo>
                    <a:pt x="120" y="408"/>
                  </a:lnTo>
                  <a:lnTo>
                    <a:pt x="125" y="411"/>
                  </a:lnTo>
                  <a:lnTo>
                    <a:pt x="126" y="418"/>
                  </a:lnTo>
                  <a:lnTo>
                    <a:pt x="135" y="443"/>
                  </a:lnTo>
                  <a:lnTo>
                    <a:pt x="148" y="468"/>
                  </a:lnTo>
                  <a:lnTo>
                    <a:pt x="151" y="477"/>
                  </a:lnTo>
                  <a:lnTo>
                    <a:pt x="149" y="488"/>
                  </a:lnTo>
                  <a:lnTo>
                    <a:pt x="144" y="497"/>
                  </a:lnTo>
                  <a:lnTo>
                    <a:pt x="106" y="533"/>
                  </a:lnTo>
                  <a:lnTo>
                    <a:pt x="108" y="536"/>
                  </a:lnTo>
                  <a:lnTo>
                    <a:pt x="108" y="538"/>
                  </a:lnTo>
                  <a:lnTo>
                    <a:pt x="111" y="538"/>
                  </a:lnTo>
                  <a:lnTo>
                    <a:pt x="128" y="559"/>
                  </a:lnTo>
                  <a:lnTo>
                    <a:pt x="148" y="578"/>
                  </a:lnTo>
                  <a:lnTo>
                    <a:pt x="169" y="596"/>
                  </a:lnTo>
                  <a:lnTo>
                    <a:pt x="170" y="599"/>
                  </a:lnTo>
                  <a:lnTo>
                    <a:pt x="173" y="600"/>
                  </a:lnTo>
                  <a:lnTo>
                    <a:pt x="210" y="562"/>
                  </a:lnTo>
                  <a:lnTo>
                    <a:pt x="219" y="556"/>
                  </a:lnTo>
                  <a:lnTo>
                    <a:pt x="230" y="556"/>
                  </a:lnTo>
                  <a:lnTo>
                    <a:pt x="239" y="558"/>
                  </a:lnTo>
                  <a:lnTo>
                    <a:pt x="263" y="570"/>
                  </a:lnTo>
                  <a:lnTo>
                    <a:pt x="291" y="578"/>
                  </a:lnTo>
                  <a:lnTo>
                    <a:pt x="295" y="582"/>
                  </a:lnTo>
                  <a:lnTo>
                    <a:pt x="300" y="585"/>
                  </a:lnTo>
                  <a:lnTo>
                    <a:pt x="303" y="591"/>
                  </a:lnTo>
                  <a:lnTo>
                    <a:pt x="305" y="596"/>
                  </a:lnTo>
                  <a:lnTo>
                    <a:pt x="306" y="602"/>
                  </a:lnTo>
                  <a:lnTo>
                    <a:pt x="306" y="655"/>
                  </a:lnTo>
                  <a:lnTo>
                    <a:pt x="331" y="660"/>
                  </a:lnTo>
                  <a:lnTo>
                    <a:pt x="379" y="660"/>
                  </a:lnTo>
                  <a:lnTo>
                    <a:pt x="387" y="658"/>
                  </a:lnTo>
                  <a:lnTo>
                    <a:pt x="395" y="657"/>
                  </a:lnTo>
                  <a:lnTo>
                    <a:pt x="401" y="655"/>
                  </a:lnTo>
                  <a:lnTo>
                    <a:pt x="401" y="602"/>
                  </a:lnTo>
                  <a:lnTo>
                    <a:pt x="402" y="596"/>
                  </a:lnTo>
                  <a:lnTo>
                    <a:pt x="404" y="591"/>
                  </a:lnTo>
                  <a:lnTo>
                    <a:pt x="408" y="585"/>
                  </a:lnTo>
                  <a:lnTo>
                    <a:pt x="413" y="582"/>
                  </a:lnTo>
                  <a:lnTo>
                    <a:pt x="419" y="578"/>
                  </a:lnTo>
                  <a:lnTo>
                    <a:pt x="445" y="570"/>
                  </a:lnTo>
                  <a:lnTo>
                    <a:pt x="469" y="558"/>
                  </a:lnTo>
                  <a:lnTo>
                    <a:pt x="480" y="556"/>
                  </a:lnTo>
                  <a:lnTo>
                    <a:pt x="489" y="556"/>
                  </a:lnTo>
                  <a:lnTo>
                    <a:pt x="497" y="562"/>
                  </a:lnTo>
                  <a:lnTo>
                    <a:pt x="535" y="600"/>
                  </a:lnTo>
                  <a:lnTo>
                    <a:pt x="536" y="600"/>
                  </a:lnTo>
                  <a:lnTo>
                    <a:pt x="536" y="599"/>
                  </a:lnTo>
                  <a:lnTo>
                    <a:pt x="539" y="599"/>
                  </a:lnTo>
                  <a:lnTo>
                    <a:pt x="561" y="579"/>
                  </a:lnTo>
                  <a:lnTo>
                    <a:pt x="582" y="559"/>
                  </a:lnTo>
                  <a:lnTo>
                    <a:pt x="600" y="536"/>
                  </a:lnTo>
                  <a:lnTo>
                    <a:pt x="600" y="536"/>
                  </a:lnTo>
                  <a:lnTo>
                    <a:pt x="602" y="535"/>
                  </a:lnTo>
                  <a:lnTo>
                    <a:pt x="603" y="533"/>
                  </a:lnTo>
                  <a:lnTo>
                    <a:pt x="565" y="497"/>
                  </a:lnTo>
                  <a:lnTo>
                    <a:pt x="559" y="488"/>
                  </a:lnTo>
                  <a:lnTo>
                    <a:pt x="558" y="477"/>
                  </a:lnTo>
                  <a:lnTo>
                    <a:pt x="561" y="468"/>
                  </a:lnTo>
                  <a:lnTo>
                    <a:pt x="573" y="443"/>
                  </a:lnTo>
                  <a:lnTo>
                    <a:pt x="581" y="418"/>
                  </a:lnTo>
                  <a:lnTo>
                    <a:pt x="584" y="411"/>
                  </a:lnTo>
                  <a:lnTo>
                    <a:pt x="587" y="408"/>
                  </a:lnTo>
                  <a:lnTo>
                    <a:pt x="593" y="404"/>
                  </a:lnTo>
                  <a:lnTo>
                    <a:pt x="597" y="402"/>
                  </a:lnTo>
                  <a:lnTo>
                    <a:pt x="603" y="401"/>
                  </a:lnTo>
                  <a:lnTo>
                    <a:pt x="658" y="401"/>
                  </a:lnTo>
                  <a:lnTo>
                    <a:pt x="658" y="393"/>
                  </a:lnTo>
                  <a:lnTo>
                    <a:pt x="658" y="386"/>
                  </a:lnTo>
                  <a:lnTo>
                    <a:pt x="660" y="378"/>
                  </a:lnTo>
                  <a:lnTo>
                    <a:pt x="660" y="329"/>
                  </a:lnTo>
                  <a:lnTo>
                    <a:pt x="658" y="322"/>
                  </a:lnTo>
                  <a:lnTo>
                    <a:pt x="658" y="314"/>
                  </a:lnTo>
                  <a:lnTo>
                    <a:pt x="658" y="306"/>
                  </a:lnTo>
                  <a:lnTo>
                    <a:pt x="603" y="306"/>
                  </a:lnTo>
                  <a:lnTo>
                    <a:pt x="599" y="306"/>
                  </a:lnTo>
                  <a:lnTo>
                    <a:pt x="594" y="305"/>
                  </a:lnTo>
                  <a:lnTo>
                    <a:pt x="590" y="302"/>
                  </a:lnTo>
                  <a:lnTo>
                    <a:pt x="585" y="299"/>
                  </a:lnTo>
                  <a:lnTo>
                    <a:pt x="582" y="294"/>
                  </a:lnTo>
                  <a:lnTo>
                    <a:pt x="581" y="288"/>
                  </a:lnTo>
                  <a:lnTo>
                    <a:pt x="573" y="262"/>
                  </a:lnTo>
                  <a:lnTo>
                    <a:pt x="561" y="238"/>
                  </a:lnTo>
                  <a:lnTo>
                    <a:pt x="558" y="229"/>
                  </a:lnTo>
                  <a:lnTo>
                    <a:pt x="559" y="219"/>
                  </a:lnTo>
                  <a:lnTo>
                    <a:pt x="565" y="209"/>
                  </a:lnTo>
                  <a:lnTo>
                    <a:pt x="600" y="172"/>
                  </a:lnTo>
                  <a:lnTo>
                    <a:pt x="599" y="169"/>
                  </a:lnTo>
                  <a:lnTo>
                    <a:pt x="599" y="168"/>
                  </a:lnTo>
                  <a:lnTo>
                    <a:pt x="571" y="137"/>
                  </a:lnTo>
                  <a:lnTo>
                    <a:pt x="541" y="110"/>
                  </a:lnTo>
                  <a:lnTo>
                    <a:pt x="539" y="110"/>
                  </a:lnTo>
                  <a:lnTo>
                    <a:pt x="538" y="110"/>
                  </a:lnTo>
                  <a:lnTo>
                    <a:pt x="538" y="108"/>
                  </a:lnTo>
                  <a:lnTo>
                    <a:pt x="536" y="108"/>
                  </a:lnTo>
                  <a:lnTo>
                    <a:pt x="535" y="105"/>
                  </a:lnTo>
                  <a:lnTo>
                    <a:pt x="497" y="143"/>
                  </a:lnTo>
                  <a:lnTo>
                    <a:pt x="489" y="149"/>
                  </a:lnTo>
                  <a:lnTo>
                    <a:pt x="480" y="151"/>
                  </a:lnTo>
                  <a:lnTo>
                    <a:pt x="469" y="148"/>
                  </a:lnTo>
                  <a:lnTo>
                    <a:pt x="445" y="136"/>
                  </a:lnTo>
                  <a:lnTo>
                    <a:pt x="419" y="128"/>
                  </a:lnTo>
                  <a:lnTo>
                    <a:pt x="413" y="125"/>
                  </a:lnTo>
                  <a:lnTo>
                    <a:pt x="408" y="120"/>
                  </a:lnTo>
                  <a:lnTo>
                    <a:pt x="404" y="116"/>
                  </a:lnTo>
                  <a:lnTo>
                    <a:pt x="402" y="110"/>
                  </a:lnTo>
                  <a:lnTo>
                    <a:pt x="401" y="104"/>
                  </a:lnTo>
                  <a:lnTo>
                    <a:pt x="401" y="50"/>
                  </a:lnTo>
                  <a:lnTo>
                    <a:pt x="396" y="50"/>
                  </a:lnTo>
                  <a:lnTo>
                    <a:pt x="390" y="49"/>
                  </a:lnTo>
                  <a:lnTo>
                    <a:pt x="384" y="49"/>
                  </a:lnTo>
                  <a:lnTo>
                    <a:pt x="379" y="49"/>
                  </a:lnTo>
                  <a:lnTo>
                    <a:pt x="353" y="47"/>
                  </a:lnTo>
                  <a:close/>
                  <a:moveTo>
                    <a:pt x="353" y="0"/>
                  </a:moveTo>
                  <a:lnTo>
                    <a:pt x="381" y="2"/>
                  </a:lnTo>
                  <a:lnTo>
                    <a:pt x="407" y="3"/>
                  </a:lnTo>
                  <a:lnTo>
                    <a:pt x="430" y="9"/>
                  </a:lnTo>
                  <a:lnTo>
                    <a:pt x="436" y="11"/>
                  </a:lnTo>
                  <a:lnTo>
                    <a:pt x="442" y="14"/>
                  </a:lnTo>
                  <a:lnTo>
                    <a:pt x="445" y="18"/>
                  </a:lnTo>
                  <a:lnTo>
                    <a:pt x="446" y="24"/>
                  </a:lnTo>
                  <a:lnTo>
                    <a:pt x="448" y="30"/>
                  </a:lnTo>
                  <a:lnTo>
                    <a:pt x="448" y="85"/>
                  </a:lnTo>
                  <a:lnTo>
                    <a:pt x="463" y="93"/>
                  </a:lnTo>
                  <a:lnTo>
                    <a:pt x="477" y="99"/>
                  </a:lnTo>
                  <a:lnTo>
                    <a:pt x="517" y="59"/>
                  </a:lnTo>
                  <a:lnTo>
                    <a:pt x="524" y="53"/>
                  </a:lnTo>
                  <a:lnTo>
                    <a:pt x="535" y="52"/>
                  </a:lnTo>
                  <a:lnTo>
                    <a:pt x="546" y="55"/>
                  </a:lnTo>
                  <a:lnTo>
                    <a:pt x="552" y="59"/>
                  </a:lnTo>
                  <a:lnTo>
                    <a:pt x="556" y="64"/>
                  </a:lnTo>
                  <a:lnTo>
                    <a:pt x="562" y="69"/>
                  </a:lnTo>
                  <a:lnTo>
                    <a:pt x="565" y="70"/>
                  </a:lnTo>
                  <a:lnTo>
                    <a:pt x="567" y="70"/>
                  </a:lnTo>
                  <a:lnTo>
                    <a:pt x="568" y="72"/>
                  </a:lnTo>
                  <a:lnTo>
                    <a:pt x="570" y="72"/>
                  </a:lnTo>
                  <a:lnTo>
                    <a:pt x="605" y="104"/>
                  </a:lnTo>
                  <a:lnTo>
                    <a:pt x="635" y="139"/>
                  </a:lnTo>
                  <a:lnTo>
                    <a:pt x="637" y="139"/>
                  </a:lnTo>
                  <a:lnTo>
                    <a:pt x="637" y="140"/>
                  </a:lnTo>
                  <a:lnTo>
                    <a:pt x="639" y="140"/>
                  </a:lnTo>
                  <a:lnTo>
                    <a:pt x="639" y="143"/>
                  </a:lnTo>
                  <a:lnTo>
                    <a:pt x="639" y="143"/>
                  </a:lnTo>
                  <a:lnTo>
                    <a:pt x="640" y="145"/>
                  </a:lnTo>
                  <a:lnTo>
                    <a:pt x="645" y="151"/>
                  </a:lnTo>
                  <a:lnTo>
                    <a:pt x="649" y="157"/>
                  </a:lnTo>
                  <a:lnTo>
                    <a:pt x="652" y="163"/>
                  </a:lnTo>
                  <a:lnTo>
                    <a:pt x="655" y="172"/>
                  </a:lnTo>
                  <a:lnTo>
                    <a:pt x="655" y="183"/>
                  </a:lnTo>
                  <a:lnTo>
                    <a:pt x="649" y="192"/>
                  </a:lnTo>
                  <a:lnTo>
                    <a:pt x="610" y="232"/>
                  </a:lnTo>
                  <a:lnTo>
                    <a:pt x="616" y="245"/>
                  </a:lnTo>
                  <a:lnTo>
                    <a:pt x="620" y="261"/>
                  </a:lnTo>
                  <a:lnTo>
                    <a:pt x="677" y="261"/>
                  </a:lnTo>
                  <a:lnTo>
                    <a:pt x="681" y="261"/>
                  </a:lnTo>
                  <a:lnTo>
                    <a:pt x="687" y="262"/>
                  </a:lnTo>
                  <a:lnTo>
                    <a:pt x="692" y="265"/>
                  </a:lnTo>
                  <a:lnTo>
                    <a:pt x="695" y="268"/>
                  </a:lnTo>
                  <a:lnTo>
                    <a:pt x="698" y="273"/>
                  </a:lnTo>
                  <a:lnTo>
                    <a:pt x="701" y="277"/>
                  </a:lnTo>
                  <a:lnTo>
                    <a:pt x="706" y="302"/>
                  </a:lnTo>
                  <a:lnTo>
                    <a:pt x="709" y="325"/>
                  </a:lnTo>
                  <a:lnTo>
                    <a:pt x="709" y="354"/>
                  </a:lnTo>
                  <a:lnTo>
                    <a:pt x="707" y="383"/>
                  </a:lnTo>
                  <a:lnTo>
                    <a:pt x="704" y="405"/>
                  </a:lnTo>
                  <a:lnTo>
                    <a:pt x="701" y="430"/>
                  </a:lnTo>
                  <a:lnTo>
                    <a:pt x="698" y="436"/>
                  </a:lnTo>
                  <a:lnTo>
                    <a:pt x="695" y="440"/>
                  </a:lnTo>
                  <a:lnTo>
                    <a:pt x="692" y="443"/>
                  </a:lnTo>
                  <a:lnTo>
                    <a:pt x="687" y="447"/>
                  </a:lnTo>
                  <a:lnTo>
                    <a:pt x="681" y="448"/>
                  </a:lnTo>
                  <a:lnTo>
                    <a:pt x="677" y="448"/>
                  </a:lnTo>
                  <a:lnTo>
                    <a:pt x="620" y="448"/>
                  </a:lnTo>
                  <a:lnTo>
                    <a:pt x="616" y="462"/>
                  </a:lnTo>
                  <a:lnTo>
                    <a:pt x="610" y="474"/>
                  </a:lnTo>
                  <a:lnTo>
                    <a:pt x="649" y="514"/>
                  </a:lnTo>
                  <a:lnTo>
                    <a:pt x="655" y="523"/>
                  </a:lnTo>
                  <a:lnTo>
                    <a:pt x="655" y="533"/>
                  </a:lnTo>
                  <a:lnTo>
                    <a:pt x="652" y="543"/>
                  </a:lnTo>
                  <a:lnTo>
                    <a:pt x="648" y="550"/>
                  </a:lnTo>
                  <a:lnTo>
                    <a:pt x="643" y="558"/>
                  </a:lnTo>
                  <a:lnTo>
                    <a:pt x="639" y="565"/>
                  </a:lnTo>
                  <a:lnTo>
                    <a:pt x="617" y="591"/>
                  </a:lnTo>
                  <a:lnTo>
                    <a:pt x="593" y="614"/>
                  </a:lnTo>
                  <a:lnTo>
                    <a:pt x="565" y="635"/>
                  </a:lnTo>
                  <a:lnTo>
                    <a:pt x="559" y="640"/>
                  </a:lnTo>
                  <a:lnTo>
                    <a:pt x="552" y="646"/>
                  </a:lnTo>
                  <a:lnTo>
                    <a:pt x="546" y="651"/>
                  </a:lnTo>
                  <a:lnTo>
                    <a:pt x="535" y="654"/>
                  </a:lnTo>
                  <a:lnTo>
                    <a:pt x="524" y="652"/>
                  </a:lnTo>
                  <a:lnTo>
                    <a:pt x="517" y="646"/>
                  </a:lnTo>
                  <a:lnTo>
                    <a:pt x="477" y="607"/>
                  </a:lnTo>
                  <a:lnTo>
                    <a:pt x="448" y="620"/>
                  </a:lnTo>
                  <a:lnTo>
                    <a:pt x="448" y="675"/>
                  </a:lnTo>
                  <a:lnTo>
                    <a:pt x="446" y="681"/>
                  </a:lnTo>
                  <a:lnTo>
                    <a:pt x="445" y="687"/>
                  </a:lnTo>
                  <a:lnTo>
                    <a:pt x="442" y="692"/>
                  </a:lnTo>
                  <a:lnTo>
                    <a:pt x="436" y="696"/>
                  </a:lnTo>
                  <a:lnTo>
                    <a:pt x="430" y="700"/>
                  </a:lnTo>
                  <a:lnTo>
                    <a:pt x="384" y="706"/>
                  </a:lnTo>
                  <a:lnTo>
                    <a:pt x="384" y="709"/>
                  </a:lnTo>
                  <a:lnTo>
                    <a:pt x="381" y="709"/>
                  </a:lnTo>
                  <a:lnTo>
                    <a:pt x="379" y="709"/>
                  </a:lnTo>
                  <a:lnTo>
                    <a:pt x="376" y="707"/>
                  </a:lnTo>
                  <a:lnTo>
                    <a:pt x="375" y="707"/>
                  </a:lnTo>
                  <a:lnTo>
                    <a:pt x="372" y="709"/>
                  </a:lnTo>
                  <a:lnTo>
                    <a:pt x="326" y="709"/>
                  </a:lnTo>
                  <a:lnTo>
                    <a:pt x="309" y="707"/>
                  </a:lnTo>
                  <a:lnTo>
                    <a:pt x="292" y="703"/>
                  </a:lnTo>
                  <a:lnTo>
                    <a:pt x="277" y="700"/>
                  </a:lnTo>
                  <a:lnTo>
                    <a:pt x="273" y="698"/>
                  </a:lnTo>
                  <a:lnTo>
                    <a:pt x="268" y="695"/>
                  </a:lnTo>
                  <a:lnTo>
                    <a:pt x="265" y="690"/>
                  </a:lnTo>
                  <a:lnTo>
                    <a:pt x="262" y="686"/>
                  </a:lnTo>
                  <a:lnTo>
                    <a:pt x="260" y="681"/>
                  </a:lnTo>
                  <a:lnTo>
                    <a:pt x="259" y="675"/>
                  </a:lnTo>
                  <a:lnTo>
                    <a:pt x="259" y="620"/>
                  </a:lnTo>
                  <a:lnTo>
                    <a:pt x="233" y="607"/>
                  </a:lnTo>
                  <a:lnTo>
                    <a:pt x="193" y="646"/>
                  </a:lnTo>
                  <a:lnTo>
                    <a:pt x="183" y="652"/>
                  </a:lnTo>
                  <a:lnTo>
                    <a:pt x="173" y="654"/>
                  </a:lnTo>
                  <a:lnTo>
                    <a:pt x="161" y="651"/>
                  </a:lnTo>
                  <a:lnTo>
                    <a:pt x="157" y="646"/>
                  </a:lnTo>
                  <a:lnTo>
                    <a:pt x="151" y="643"/>
                  </a:lnTo>
                  <a:lnTo>
                    <a:pt x="144" y="639"/>
                  </a:lnTo>
                  <a:lnTo>
                    <a:pt x="141" y="635"/>
                  </a:lnTo>
                  <a:lnTo>
                    <a:pt x="141" y="635"/>
                  </a:lnTo>
                  <a:lnTo>
                    <a:pt x="140" y="634"/>
                  </a:lnTo>
                  <a:lnTo>
                    <a:pt x="137" y="634"/>
                  </a:lnTo>
                  <a:lnTo>
                    <a:pt x="103" y="602"/>
                  </a:lnTo>
                  <a:lnTo>
                    <a:pt x="73" y="567"/>
                  </a:lnTo>
                  <a:lnTo>
                    <a:pt x="71" y="567"/>
                  </a:lnTo>
                  <a:lnTo>
                    <a:pt x="71" y="567"/>
                  </a:lnTo>
                  <a:lnTo>
                    <a:pt x="71" y="565"/>
                  </a:lnTo>
                  <a:lnTo>
                    <a:pt x="71" y="565"/>
                  </a:lnTo>
                  <a:lnTo>
                    <a:pt x="70" y="564"/>
                  </a:lnTo>
                  <a:lnTo>
                    <a:pt x="68" y="562"/>
                  </a:lnTo>
                  <a:lnTo>
                    <a:pt x="68" y="561"/>
                  </a:lnTo>
                  <a:lnTo>
                    <a:pt x="64" y="556"/>
                  </a:lnTo>
                  <a:lnTo>
                    <a:pt x="59" y="550"/>
                  </a:lnTo>
                  <a:lnTo>
                    <a:pt x="56" y="543"/>
                  </a:lnTo>
                  <a:lnTo>
                    <a:pt x="51" y="533"/>
                  </a:lnTo>
                  <a:lnTo>
                    <a:pt x="53" y="524"/>
                  </a:lnTo>
                  <a:lnTo>
                    <a:pt x="58" y="514"/>
                  </a:lnTo>
                  <a:lnTo>
                    <a:pt x="97" y="474"/>
                  </a:lnTo>
                  <a:lnTo>
                    <a:pt x="93" y="462"/>
                  </a:lnTo>
                  <a:lnTo>
                    <a:pt x="87" y="448"/>
                  </a:lnTo>
                  <a:lnTo>
                    <a:pt x="30" y="448"/>
                  </a:lnTo>
                  <a:lnTo>
                    <a:pt x="26" y="448"/>
                  </a:lnTo>
                  <a:lnTo>
                    <a:pt x="19" y="447"/>
                  </a:lnTo>
                  <a:lnTo>
                    <a:pt x="15" y="443"/>
                  </a:lnTo>
                  <a:lnTo>
                    <a:pt x="12" y="440"/>
                  </a:lnTo>
                  <a:lnTo>
                    <a:pt x="9" y="436"/>
                  </a:lnTo>
                  <a:lnTo>
                    <a:pt x="7" y="430"/>
                  </a:lnTo>
                  <a:lnTo>
                    <a:pt x="3" y="405"/>
                  </a:lnTo>
                  <a:lnTo>
                    <a:pt x="0" y="383"/>
                  </a:lnTo>
                  <a:lnTo>
                    <a:pt x="0" y="325"/>
                  </a:lnTo>
                  <a:lnTo>
                    <a:pt x="7" y="277"/>
                  </a:lnTo>
                  <a:lnTo>
                    <a:pt x="9" y="273"/>
                  </a:lnTo>
                  <a:lnTo>
                    <a:pt x="12" y="268"/>
                  </a:lnTo>
                  <a:lnTo>
                    <a:pt x="15" y="265"/>
                  </a:lnTo>
                  <a:lnTo>
                    <a:pt x="19" y="262"/>
                  </a:lnTo>
                  <a:lnTo>
                    <a:pt x="26" y="261"/>
                  </a:lnTo>
                  <a:lnTo>
                    <a:pt x="30" y="261"/>
                  </a:lnTo>
                  <a:lnTo>
                    <a:pt x="87" y="261"/>
                  </a:lnTo>
                  <a:lnTo>
                    <a:pt x="93" y="245"/>
                  </a:lnTo>
                  <a:lnTo>
                    <a:pt x="97" y="232"/>
                  </a:lnTo>
                  <a:lnTo>
                    <a:pt x="58" y="192"/>
                  </a:lnTo>
                  <a:lnTo>
                    <a:pt x="53" y="183"/>
                  </a:lnTo>
                  <a:lnTo>
                    <a:pt x="51" y="172"/>
                  </a:lnTo>
                  <a:lnTo>
                    <a:pt x="56" y="163"/>
                  </a:lnTo>
                  <a:lnTo>
                    <a:pt x="59" y="159"/>
                  </a:lnTo>
                  <a:lnTo>
                    <a:pt x="62" y="152"/>
                  </a:lnTo>
                  <a:lnTo>
                    <a:pt x="67" y="146"/>
                  </a:lnTo>
                  <a:lnTo>
                    <a:pt x="71" y="140"/>
                  </a:lnTo>
                  <a:lnTo>
                    <a:pt x="103" y="104"/>
                  </a:lnTo>
                  <a:lnTo>
                    <a:pt x="141" y="70"/>
                  </a:lnTo>
                  <a:lnTo>
                    <a:pt x="148" y="66"/>
                  </a:lnTo>
                  <a:lnTo>
                    <a:pt x="155" y="59"/>
                  </a:lnTo>
                  <a:lnTo>
                    <a:pt x="161" y="55"/>
                  </a:lnTo>
                  <a:lnTo>
                    <a:pt x="173" y="52"/>
                  </a:lnTo>
                  <a:lnTo>
                    <a:pt x="183" y="53"/>
                  </a:lnTo>
                  <a:lnTo>
                    <a:pt x="193" y="59"/>
                  </a:lnTo>
                  <a:lnTo>
                    <a:pt x="233" y="99"/>
                  </a:lnTo>
                  <a:lnTo>
                    <a:pt x="259" y="85"/>
                  </a:lnTo>
                  <a:lnTo>
                    <a:pt x="259" y="30"/>
                  </a:lnTo>
                  <a:lnTo>
                    <a:pt x="260" y="24"/>
                  </a:lnTo>
                  <a:lnTo>
                    <a:pt x="262" y="18"/>
                  </a:lnTo>
                  <a:lnTo>
                    <a:pt x="266" y="14"/>
                  </a:lnTo>
                  <a:lnTo>
                    <a:pt x="271" y="11"/>
                  </a:lnTo>
                  <a:lnTo>
                    <a:pt x="277" y="9"/>
                  </a:lnTo>
                  <a:lnTo>
                    <a:pt x="302" y="3"/>
                  </a:lnTo>
                  <a:lnTo>
                    <a:pt x="326" y="2"/>
                  </a:lnTo>
                  <a:lnTo>
                    <a:pt x="35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16">
              <a:extLst>
                <a:ext uri="{FF2B5EF4-FFF2-40B4-BE49-F238E27FC236}">
                  <a16:creationId xmlns:a16="http://schemas.microsoft.com/office/drawing/2014/main" id="{1CD1A2B0-72FE-B541-843F-6EF60B9A46DE}"/>
                </a:ext>
              </a:extLst>
            </p:cNvPr>
            <p:cNvSpPr>
              <a:spLocks noEditPoints="1"/>
            </p:cNvSpPr>
            <p:nvPr/>
          </p:nvSpPr>
          <p:spPr bwMode="auto">
            <a:xfrm>
              <a:off x="4863242" y="2030413"/>
              <a:ext cx="969963" cy="968375"/>
            </a:xfrm>
            <a:custGeom>
              <a:avLst/>
              <a:gdLst>
                <a:gd name="T0" fmla="*/ 264 w 611"/>
                <a:gd name="T1" fmla="*/ 89 h 610"/>
                <a:gd name="T2" fmla="*/ 207 w 611"/>
                <a:gd name="T3" fmla="*/ 127 h 610"/>
                <a:gd name="T4" fmla="*/ 119 w 611"/>
                <a:gd name="T5" fmla="*/ 118 h 610"/>
                <a:gd name="T6" fmla="*/ 117 w 611"/>
                <a:gd name="T7" fmla="*/ 226 h 610"/>
                <a:gd name="T8" fmla="*/ 90 w 611"/>
                <a:gd name="T9" fmla="*/ 264 h 610"/>
                <a:gd name="T10" fmla="*/ 41 w 611"/>
                <a:gd name="T11" fmla="*/ 297 h 610"/>
                <a:gd name="T12" fmla="*/ 43 w 611"/>
                <a:gd name="T13" fmla="*/ 339 h 610"/>
                <a:gd name="T14" fmla="*/ 110 w 611"/>
                <a:gd name="T15" fmla="*/ 360 h 610"/>
                <a:gd name="T16" fmla="*/ 91 w 611"/>
                <a:gd name="T17" fmla="*/ 460 h 610"/>
                <a:gd name="T18" fmla="*/ 148 w 611"/>
                <a:gd name="T19" fmla="*/ 515 h 610"/>
                <a:gd name="T20" fmla="*/ 227 w 611"/>
                <a:gd name="T21" fmla="*/ 491 h 610"/>
                <a:gd name="T22" fmla="*/ 264 w 611"/>
                <a:gd name="T23" fmla="*/ 566 h 610"/>
                <a:gd name="T24" fmla="*/ 334 w 611"/>
                <a:gd name="T25" fmla="*/ 567 h 610"/>
                <a:gd name="T26" fmla="*/ 355 w 611"/>
                <a:gd name="T27" fmla="*/ 502 h 610"/>
                <a:gd name="T28" fmla="*/ 419 w 611"/>
                <a:gd name="T29" fmla="*/ 479 h 610"/>
                <a:gd name="T30" fmla="*/ 465 w 611"/>
                <a:gd name="T31" fmla="*/ 515 h 610"/>
                <a:gd name="T32" fmla="*/ 488 w 611"/>
                <a:gd name="T33" fmla="*/ 427 h 610"/>
                <a:gd name="T34" fmla="*/ 503 w 611"/>
                <a:gd name="T35" fmla="*/ 355 h 610"/>
                <a:gd name="T36" fmla="*/ 569 w 611"/>
                <a:gd name="T37" fmla="*/ 339 h 610"/>
                <a:gd name="T38" fmla="*/ 569 w 611"/>
                <a:gd name="T39" fmla="*/ 264 h 610"/>
                <a:gd name="T40" fmla="*/ 502 w 611"/>
                <a:gd name="T41" fmla="*/ 249 h 610"/>
                <a:gd name="T42" fmla="*/ 518 w 611"/>
                <a:gd name="T43" fmla="*/ 148 h 610"/>
                <a:gd name="T44" fmla="*/ 465 w 611"/>
                <a:gd name="T45" fmla="*/ 93 h 610"/>
                <a:gd name="T46" fmla="*/ 419 w 611"/>
                <a:gd name="T47" fmla="*/ 128 h 610"/>
                <a:gd name="T48" fmla="*/ 355 w 611"/>
                <a:gd name="T49" fmla="*/ 105 h 610"/>
                <a:gd name="T50" fmla="*/ 334 w 611"/>
                <a:gd name="T51" fmla="*/ 41 h 610"/>
                <a:gd name="T52" fmla="*/ 370 w 611"/>
                <a:gd name="T53" fmla="*/ 6 h 610"/>
                <a:gd name="T54" fmla="*/ 386 w 611"/>
                <a:gd name="T55" fmla="*/ 73 h 610"/>
                <a:gd name="T56" fmla="*/ 476 w 611"/>
                <a:gd name="T57" fmla="*/ 51 h 610"/>
                <a:gd name="T58" fmla="*/ 491 w 611"/>
                <a:gd name="T59" fmla="*/ 63 h 610"/>
                <a:gd name="T60" fmla="*/ 550 w 611"/>
                <a:gd name="T61" fmla="*/ 122 h 610"/>
                <a:gd name="T62" fmla="*/ 566 w 611"/>
                <a:gd name="T63" fmla="*/ 148 h 610"/>
                <a:gd name="T64" fmla="*/ 582 w 611"/>
                <a:gd name="T65" fmla="*/ 224 h 610"/>
                <a:gd name="T66" fmla="*/ 608 w 611"/>
                <a:gd name="T67" fmla="*/ 259 h 610"/>
                <a:gd name="T68" fmla="*/ 602 w 611"/>
                <a:gd name="T69" fmla="*/ 375 h 610"/>
                <a:gd name="T70" fmla="*/ 532 w 611"/>
                <a:gd name="T71" fmla="*/ 396 h 610"/>
                <a:gd name="T72" fmla="*/ 556 w 611"/>
                <a:gd name="T73" fmla="*/ 477 h 610"/>
                <a:gd name="T74" fmla="*/ 471 w 611"/>
                <a:gd name="T75" fmla="*/ 561 h 610"/>
                <a:gd name="T76" fmla="*/ 386 w 611"/>
                <a:gd name="T77" fmla="*/ 582 h 610"/>
                <a:gd name="T78" fmla="*/ 331 w 611"/>
                <a:gd name="T79" fmla="*/ 610 h 610"/>
                <a:gd name="T80" fmla="*/ 280 w 611"/>
                <a:gd name="T81" fmla="*/ 610 h 610"/>
                <a:gd name="T82" fmla="*/ 224 w 611"/>
                <a:gd name="T83" fmla="*/ 587 h 610"/>
                <a:gd name="T84" fmla="*/ 158 w 611"/>
                <a:gd name="T85" fmla="*/ 563 h 610"/>
                <a:gd name="T86" fmla="*/ 122 w 611"/>
                <a:gd name="T87" fmla="*/ 547 h 610"/>
                <a:gd name="T88" fmla="*/ 61 w 611"/>
                <a:gd name="T89" fmla="*/ 488 h 610"/>
                <a:gd name="T90" fmla="*/ 52 w 611"/>
                <a:gd name="T91" fmla="*/ 474 h 610"/>
                <a:gd name="T92" fmla="*/ 79 w 611"/>
                <a:gd name="T93" fmla="*/ 396 h 610"/>
                <a:gd name="T94" fmla="*/ 8 w 611"/>
                <a:gd name="T95" fmla="*/ 375 h 610"/>
                <a:gd name="T96" fmla="*/ 8 w 611"/>
                <a:gd name="T97" fmla="*/ 233 h 610"/>
                <a:gd name="T98" fmla="*/ 79 w 611"/>
                <a:gd name="T99" fmla="*/ 211 h 610"/>
                <a:gd name="T100" fmla="*/ 52 w 611"/>
                <a:gd name="T101" fmla="*/ 134 h 610"/>
                <a:gd name="T102" fmla="*/ 134 w 611"/>
                <a:gd name="T103" fmla="*/ 51 h 610"/>
                <a:gd name="T104" fmla="*/ 212 w 611"/>
                <a:gd name="T105" fmla="*/ 79 h 610"/>
                <a:gd name="T106" fmla="*/ 233 w 611"/>
                <a:gd name="T107" fmla="*/ 9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1" h="610">
                  <a:moveTo>
                    <a:pt x="305" y="40"/>
                  </a:moveTo>
                  <a:lnTo>
                    <a:pt x="285" y="41"/>
                  </a:lnTo>
                  <a:lnTo>
                    <a:pt x="277" y="41"/>
                  </a:lnTo>
                  <a:lnTo>
                    <a:pt x="271" y="43"/>
                  </a:lnTo>
                  <a:lnTo>
                    <a:pt x="264" y="43"/>
                  </a:lnTo>
                  <a:lnTo>
                    <a:pt x="264" y="89"/>
                  </a:lnTo>
                  <a:lnTo>
                    <a:pt x="262" y="95"/>
                  </a:lnTo>
                  <a:lnTo>
                    <a:pt x="261" y="101"/>
                  </a:lnTo>
                  <a:lnTo>
                    <a:pt x="256" y="105"/>
                  </a:lnTo>
                  <a:lnTo>
                    <a:pt x="250" y="110"/>
                  </a:lnTo>
                  <a:lnTo>
                    <a:pt x="227" y="118"/>
                  </a:lnTo>
                  <a:lnTo>
                    <a:pt x="207" y="127"/>
                  </a:lnTo>
                  <a:lnTo>
                    <a:pt x="198" y="130"/>
                  </a:lnTo>
                  <a:lnTo>
                    <a:pt x="189" y="128"/>
                  </a:lnTo>
                  <a:lnTo>
                    <a:pt x="181" y="124"/>
                  </a:lnTo>
                  <a:lnTo>
                    <a:pt x="149" y="90"/>
                  </a:lnTo>
                  <a:lnTo>
                    <a:pt x="148" y="93"/>
                  </a:lnTo>
                  <a:lnTo>
                    <a:pt x="119" y="118"/>
                  </a:lnTo>
                  <a:lnTo>
                    <a:pt x="93" y="147"/>
                  </a:lnTo>
                  <a:lnTo>
                    <a:pt x="91" y="148"/>
                  </a:lnTo>
                  <a:lnTo>
                    <a:pt x="125" y="180"/>
                  </a:lnTo>
                  <a:lnTo>
                    <a:pt x="130" y="192"/>
                  </a:lnTo>
                  <a:lnTo>
                    <a:pt x="128" y="204"/>
                  </a:lnTo>
                  <a:lnTo>
                    <a:pt x="117" y="226"/>
                  </a:lnTo>
                  <a:lnTo>
                    <a:pt x="110" y="249"/>
                  </a:lnTo>
                  <a:lnTo>
                    <a:pt x="107" y="253"/>
                  </a:lnTo>
                  <a:lnTo>
                    <a:pt x="104" y="258"/>
                  </a:lnTo>
                  <a:lnTo>
                    <a:pt x="101" y="261"/>
                  </a:lnTo>
                  <a:lnTo>
                    <a:pt x="96" y="264"/>
                  </a:lnTo>
                  <a:lnTo>
                    <a:pt x="90" y="264"/>
                  </a:lnTo>
                  <a:lnTo>
                    <a:pt x="44" y="264"/>
                  </a:lnTo>
                  <a:lnTo>
                    <a:pt x="43" y="270"/>
                  </a:lnTo>
                  <a:lnTo>
                    <a:pt x="43" y="276"/>
                  </a:lnTo>
                  <a:lnTo>
                    <a:pt x="43" y="282"/>
                  </a:lnTo>
                  <a:lnTo>
                    <a:pt x="41" y="290"/>
                  </a:lnTo>
                  <a:lnTo>
                    <a:pt x="41" y="297"/>
                  </a:lnTo>
                  <a:lnTo>
                    <a:pt x="41" y="304"/>
                  </a:lnTo>
                  <a:lnTo>
                    <a:pt x="41" y="311"/>
                  </a:lnTo>
                  <a:lnTo>
                    <a:pt x="41" y="319"/>
                  </a:lnTo>
                  <a:lnTo>
                    <a:pt x="43" y="325"/>
                  </a:lnTo>
                  <a:lnTo>
                    <a:pt x="43" y="332"/>
                  </a:lnTo>
                  <a:lnTo>
                    <a:pt x="43" y="339"/>
                  </a:lnTo>
                  <a:lnTo>
                    <a:pt x="44" y="346"/>
                  </a:lnTo>
                  <a:lnTo>
                    <a:pt x="90" y="346"/>
                  </a:lnTo>
                  <a:lnTo>
                    <a:pt x="96" y="346"/>
                  </a:lnTo>
                  <a:lnTo>
                    <a:pt x="102" y="349"/>
                  </a:lnTo>
                  <a:lnTo>
                    <a:pt x="107" y="354"/>
                  </a:lnTo>
                  <a:lnTo>
                    <a:pt x="110" y="360"/>
                  </a:lnTo>
                  <a:lnTo>
                    <a:pt x="117" y="381"/>
                  </a:lnTo>
                  <a:lnTo>
                    <a:pt x="128" y="403"/>
                  </a:lnTo>
                  <a:lnTo>
                    <a:pt x="130" y="412"/>
                  </a:lnTo>
                  <a:lnTo>
                    <a:pt x="130" y="419"/>
                  </a:lnTo>
                  <a:lnTo>
                    <a:pt x="125" y="427"/>
                  </a:lnTo>
                  <a:lnTo>
                    <a:pt x="91" y="460"/>
                  </a:lnTo>
                  <a:lnTo>
                    <a:pt x="93" y="462"/>
                  </a:lnTo>
                  <a:lnTo>
                    <a:pt x="93" y="464"/>
                  </a:lnTo>
                  <a:lnTo>
                    <a:pt x="96" y="464"/>
                  </a:lnTo>
                  <a:lnTo>
                    <a:pt x="119" y="489"/>
                  </a:lnTo>
                  <a:lnTo>
                    <a:pt x="145" y="514"/>
                  </a:lnTo>
                  <a:lnTo>
                    <a:pt x="148" y="515"/>
                  </a:lnTo>
                  <a:lnTo>
                    <a:pt x="149" y="517"/>
                  </a:lnTo>
                  <a:lnTo>
                    <a:pt x="181" y="485"/>
                  </a:lnTo>
                  <a:lnTo>
                    <a:pt x="189" y="480"/>
                  </a:lnTo>
                  <a:lnTo>
                    <a:pt x="198" y="479"/>
                  </a:lnTo>
                  <a:lnTo>
                    <a:pt x="207" y="480"/>
                  </a:lnTo>
                  <a:lnTo>
                    <a:pt x="227" y="491"/>
                  </a:lnTo>
                  <a:lnTo>
                    <a:pt x="250" y="499"/>
                  </a:lnTo>
                  <a:lnTo>
                    <a:pt x="256" y="502"/>
                  </a:lnTo>
                  <a:lnTo>
                    <a:pt x="261" y="506"/>
                  </a:lnTo>
                  <a:lnTo>
                    <a:pt x="262" y="512"/>
                  </a:lnTo>
                  <a:lnTo>
                    <a:pt x="264" y="518"/>
                  </a:lnTo>
                  <a:lnTo>
                    <a:pt x="264" y="566"/>
                  </a:lnTo>
                  <a:lnTo>
                    <a:pt x="270" y="566"/>
                  </a:lnTo>
                  <a:lnTo>
                    <a:pt x="274" y="567"/>
                  </a:lnTo>
                  <a:lnTo>
                    <a:pt x="279" y="569"/>
                  </a:lnTo>
                  <a:lnTo>
                    <a:pt x="285" y="569"/>
                  </a:lnTo>
                  <a:lnTo>
                    <a:pt x="326" y="569"/>
                  </a:lnTo>
                  <a:lnTo>
                    <a:pt x="334" y="567"/>
                  </a:lnTo>
                  <a:lnTo>
                    <a:pt x="340" y="566"/>
                  </a:lnTo>
                  <a:lnTo>
                    <a:pt x="346" y="566"/>
                  </a:lnTo>
                  <a:lnTo>
                    <a:pt x="346" y="518"/>
                  </a:lnTo>
                  <a:lnTo>
                    <a:pt x="348" y="512"/>
                  </a:lnTo>
                  <a:lnTo>
                    <a:pt x="351" y="506"/>
                  </a:lnTo>
                  <a:lnTo>
                    <a:pt x="355" y="502"/>
                  </a:lnTo>
                  <a:lnTo>
                    <a:pt x="361" y="499"/>
                  </a:lnTo>
                  <a:lnTo>
                    <a:pt x="384" y="491"/>
                  </a:lnTo>
                  <a:lnTo>
                    <a:pt x="406" y="480"/>
                  </a:lnTo>
                  <a:lnTo>
                    <a:pt x="410" y="479"/>
                  </a:lnTo>
                  <a:lnTo>
                    <a:pt x="415" y="479"/>
                  </a:lnTo>
                  <a:lnTo>
                    <a:pt x="419" y="479"/>
                  </a:lnTo>
                  <a:lnTo>
                    <a:pt x="424" y="482"/>
                  </a:lnTo>
                  <a:lnTo>
                    <a:pt x="428" y="485"/>
                  </a:lnTo>
                  <a:lnTo>
                    <a:pt x="460" y="517"/>
                  </a:lnTo>
                  <a:lnTo>
                    <a:pt x="462" y="517"/>
                  </a:lnTo>
                  <a:lnTo>
                    <a:pt x="463" y="515"/>
                  </a:lnTo>
                  <a:lnTo>
                    <a:pt x="465" y="515"/>
                  </a:lnTo>
                  <a:lnTo>
                    <a:pt x="492" y="491"/>
                  </a:lnTo>
                  <a:lnTo>
                    <a:pt x="518" y="462"/>
                  </a:lnTo>
                  <a:lnTo>
                    <a:pt x="518" y="462"/>
                  </a:lnTo>
                  <a:lnTo>
                    <a:pt x="518" y="460"/>
                  </a:lnTo>
                  <a:lnTo>
                    <a:pt x="520" y="460"/>
                  </a:lnTo>
                  <a:lnTo>
                    <a:pt x="488" y="427"/>
                  </a:lnTo>
                  <a:lnTo>
                    <a:pt x="482" y="419"/>
                  </a:lnTo>
                  <a:lnTo>
                    <a:pt x="480" y="412"/>
                  </a:lnTo>
                  <a:lnTo>
                    <a:pt x="483" y="403"/>
                  </a:lnTo>
                  <a:lnTo>
                    <a:pt x="494" y="381"/>
                  </a:lnTo>
                  <a:lnTo>
                    <a:pt x="502" y="360"/>
                  </a:lnTo>
                  <a:lnTo>
                    <a:pt x="503" y="355"/>
                  </a:lnTo>
                  <a:lnTo>
                    <a:pt x="506" y="351"/>
                  </a:lnTo>
                  <a:lnTo>
                    <a:pt x="511" y="348"/>
                  </a:lnTo>
                  <a:lnTo>
                    <a:pt x="515" y="346"/>
                  </a:lnTo>
                  <a:lnTo>
                    <a:pt x="520" y="346"/>
                  </a:lnTo>
                  <a:lnTo>
                    <a:pt x="569" y="346"/>
                  </a:lnTo>
                  <a:lnTo>
                    <a:pt x="569" y="339"/>
                  </a:lnTo>
                  <a:lnTo>
                    <a:pt x="569" y="332"/>
                  </a:lnTo>
                  <a:lnTo>
                    <a:pt x="570" y="325"/>
                  </a:lnTo>
                  <a:lnTo>
                    <a:pt x="570" y="282"/>
                  </a:lnTo>
                  <a:lnTo>
                    <a:pt x="569" y="276"/>
                  </a:lnTo>
                  <a:lnTo>
                    <a:pt x="569" y="270"/>
                  </a:lnTo>
                  <a:lnTo>
                    <a:pt x="569" y="264"/>
                  </a:lnTo>
                  <a:lnTo>
                    <a:pt x="520" y="264"/>
                  </a:lnTo>
                  <a:lnTo>
                    <a:pt x="515" y="264"/>
                  </a:lnTo>
                  <a:lnTo>
                    <a:pt x="511" y="261"/>
                  </a:lnTo>
                  <a:lnTo>
                    <a:pt x="506" y="258"/>
                  </a:lnTo>
                  <a:lnTo>
                    <a:pt x="503" y="253"/>
                  </a:lnTo>
                  <a:lnTo>
                    <a:pt x="502" y="249"/>
                  </a:lnTo>
                  <a:lnTo>
                    <a:pt x="494" y="226"/>
                  </a:lnTo>
                  <a:lnTo>
                    <a:pt x="483" y="204"/>
                  </a:lnTo>
                  <a:lnTo>
                    <a:pt x="480" y="197"/>
                  </a:lnTo>
                  <a:lnTo>
                    <a:pt x="482" y="188"/>
                  </a:lnTo>
                  <a:lnTo>
                    <a:pt x="488" y="180"/>
                  </a:lnTo>
                  <a:lnTo>
                    <a:pt x="518" y="148"/>
                  </a:lnTo>
                  <a:lnTo>
                    <a:pt x="517" y="147"/>
                  </a:lnTo>
                  <a:lnTo>
                    <a:pt x="517" y="144"/>
                  </a:lnTo>
                  <a:lnTo>
                    <a:pt x="492" y="118"/>
                  </a:lnTo>
                  <a:lnTo>
                    <a:pt x="467" y="95"/>
                  </a:lnTo>
                  <a:lnTo>
                    <a:pt x="465" y="95"/>
                  </a:lnTo>
                  <a:lnTo>
                    <a:pt x="465" y="93"/>
                  </a:lnTo>
                  <a:lnTo>
                    <a:pt x="463" y="93"/>
                  </a:lnTo>
                  <a:lnTo>
                    <a:pt x="462" y="93"/>
                  </a:lnTo>
                  <a:lnTo>
                    <a:pt x="460" y="90"/>
                  </a:lnTo>
                  <a:lnTo>
                    <a:pt x="428" y="124"/>
                  </a:lnTo>
                  <a:lnTo>
                    <a:pt x="424" y="127"/>
                  </a:lnTo>
                  <a:lnTo>
                    <a:pt x="419" y="128"/>
                  </a:lnTo>
                  <a:lnTo>
                    <a:pt x="415" y="130"/>
                  </a:lnTo>
                  <a:lnTo>
                    <a:pt x="410" y="128"/>
                  </a:lnTo>
                  <a:lnTo>
                    <a:pt x="406" y="127"/>
                  </a:lnTo>
                  <a:lnTo>
                    <a:pt x="384" y="118"/>
                  </a:lnTo>
                  <a:lnTo>
                    <a:pt x="361" y="110"/>
                  </a:lnTo>
                  <a:lnTo>
                    <a:pt x="355" y="105"/>
                  </a:lnTo>
                  <a:lnTo>
                    <a:pt x="351" y="101"/>
                  </a:lnTo>
                  <a:lnTo>
                    <a:pt x="348" y="95"/>
                  </a:lnTo>
                  <a:lnTo>
                    <a:pt x="346" y="89"/>
                  </a:lnTo>
                  <a:lnTo>
                    <a:pt x="346" y="43"/>
                  </a:lnTo>
                  <a:lnTo>
                    <a:pt x="340" y="43"/>
                  </a:lnTo>
                  <a:lnTo>
                    <a:pt x="334" y="41"/>
                  </a:lnTo>
                  <a:lnTo>
                    <a:pt x="326" y="41"/>
                  </a:lnTo>
                  <a:lnTo>
                    <a:pt x="305" y="40"/>
                  </a:lnTo>
                  <a:close/>
                  <a:moveTo>
                    <a:pt x="305" y="0"/>
                  </a:moveTo>
                  <a:lnTo>
                    <a:pt x="329" y="2"/>
                  </a:lnTo>
                  <a:lnTo>
                    <a:pt x="351" y="3"/>
                  </a:lnTo>
                  <a:lnTo>
                    <a:pt x="370" y="6"/>
                  </a:lnTo>
                  <a:lnTo>
                    <a:pt x="377" y="9"/>
                  </a:lnTo>
                  <a:lnTo>
                    <a:pt x="381" y="11"/>
                  </a:lnTo>
                  <a:lnTo>
                    <a:pt x="384" y="15"/>
                  </a:lnTo>
                  <a:lnTo>
                    <a:pt x="386" y="20"/>
                  </a:lnTo>
                  <a:lnTo>
                    <a:pt x="386" y="26"/>
                  </a:lnTo>
                  <a:lnTo>
                    <a:pt x="386" y="73"/>
                  </a:lnTo>
                  <a:lnTo>
                    <a:pt x="412" y="86"/>
                  </a:lnTo>
                  <a:lnTo>
                    <a:pt x="445" y="51"/>
                  </a:lnTo>
                  <a:lnTo>
                    <a:pt x="453" y="46"/>
                  </a:lnTo>
                  <a:lnTo>
                    <a:pt x="462" y="44"/>
                  </a:lnTo>
                  <a:lnTo>
                    <a:pt x="471" y="47"/>
                  </a:lnTo>
                  <a:lnTo>
                    <a:pt x="476" y="51"/>
                  </a:lnTo>
                  <a:lnTo>
                    <a:pt x="480" y="55"/>
                  </a:lnTo>
                  <a:lnTo>
                    <a:pt x="486" y="58"/>
                  </a:lnTo>
                  <a:lnTo>
                    <a:pt x="488" y="60"/>
                  </a:lnTo>
                  <a:lnTo>
                    <a:pt x="489" y="61"/>
                  </a:lnTo>
                  <a:lnTo>
                    <a:pt x="491" y="61"/>
                  </a:lnTo>
                  <a:lnTo>
                    <a:pt x="491" y="63"/>
                  </a:lnTo>
                  <a:lnTo>
                    <a:pt x="521" y="89"/>
                  </a:lnTo>
                  <a:lnTo>
                    <a:pt x="549" y="119"/>
                  </a:lnTo>
                  <a:lnTo>
                    <a:pt x="549" y="119"/>
                  </a:lnTo>
                  <a:lnTo>
                    <a:pt x="549" y="121"/>
                  </a:lnTo>
                  <a:lnTo>
                    <a:pt x="550" y="121"/>
                  </a:lnTo>
                  <a:lnTo>
                    <a:pt x="550" y="122"/>
                  </a:lnTo>
                  <a:lnTo>
                    <a:pt x="552" y="124"/>
                  </a:lnTo>
                  <a:lnTo>
                    <a:pt x="552" y="125"/>
                  </a:lnTo>
                  <a:lnTo>
                    <a:pt x="556" y="130"/>
                  </a:lnTo>
                  <a:lnTo>
                    <a:pt x="560" y="134"/>
                  </a:lnTo>
                  <a:lnTo>
                    <a:pt x="563" y="140"/>
                  </a:lnTo>
                  <a:lnTo>
                    <a:pt x="566" y="148"/>
                  </a:lnTo>
                  <a:lnTo>
                    <a:pt x="564" y="157"/>
                  </a:lnTo>
                  <a:lnTo>
                    <a:pt x="560" y="165"/>
                  </a:lnTo>
                  <a:lnTo>
                    <a:pt x="526" y="200"/>
                  </a:lnTo>
                  <a:lnTo>
                    <a:pt x="532" y="211"/>
                  </a:lnTo>
                  <a:lnTo>
                    <a:pt x="535" y="224"/>
                  </a:lnTo>
                  <a:lnTo>
                    <a:pt x="582" y="224"/>
                  </a:lnTo>
                  <a:lnTo>
                    <a:pt x="588" y="224"/>
                  </a:lnTo>
                  <a:lnTo>
                    <a:pt x="595" y="226"/>
                  </a:lnTo>
                  <a:lnTo>
                    <a:pt x="599" y="230"/>
                  </a:lnTo>
                  <a:lnTo>
                    <a:pt x="602" y="233"/>
                  </a:lnTo>
                  <a:lnTo>
                    <a:pt x="604" y="240"/>
                  </a:lnTo>
                  <a:lnTo>
                    <a:pt x="608" y="259"/>
                  </a:lnTo>
                  <a:lnTo>
                    <a:pt x="611" y="279"/>
                  </a:lnTo>
                  <a:lnTo>
                    <a:pt x="611" y="304"/>
                  </a:lnTo>
                  <a:lnTo>
                    <a:pt x="610" y="329"/>
                  </a:lnTo>
                  <a:lnTo>
                    <a:pt x="607" y="349"/>
                  </a:lnTo>
                  <a:lnTo>
                    <a:pt x="604" y="371"/>
                  </a:lnTo>
                  <a:lnTo>
                    <a:pt x="602" y="375"/>
                  </a:lnTo>
                  <a:lnTo>
                    <a:pt x="599" y="380"/>
                  </a:lnTo>
                  <a:lnTo>
                    <a:pt x="595" y="383"/>
                  </a:lnTo>
                  <a:lnTo>
                    <a:pt x="588" y="386"/>
                  </a:lnTo>
                  <a:lnTo>
                    <a:pt x="582" y="386"/>
                  </a:lnTo>
                  <a:lnTo>
                    <a:pt x="535" y="386"/>
                  </a:lnTo>
                  <a:lnTo>
                    <a:pt x="532" y="396"/>
                  </a:lnTo>
                  <a:lnTo>
                    <a:pt x="526" y="409"/>
                  </a:lnTo>
                  <a:lnTo>
                    <a:pt x="560" y="442"/>
                  </a:lnTo>
                  <a:lnTo>
                    <a:pt x="564" y="450"/>
                  </a:lnTo>
                  <a:lnTo>
                    <a:pt x="566" y="459"/>
                  </a:lnTo>
                  <a:lnTo>
                    <a:pt x="563" y="468"/>
                  </a:lnTo>
                  <a:lnTo>
                    <a:pt x="556" y="477"/>
                  </a:lnTo>
                  <a:lnTo>
                    <a:pt x="550" y="486"/>
                  </a:lnTo>
                  <a:lnTo>
                    <a:pt x="521" y="520"/>
                  </a:lnTo>
                  <a:lnTo>
                    <a:pt x="488" y="547"/>
                  </a:lnTo>
                  <a:lnTo>
                    <a:pt x="482" y="552"/>
                  </a:lnTo>
                  <a:lnTo>
                    <a:pt x="476" y="556"/>
                  </a:lnTo>
                  <a:lnTo>
                    <a:pt x="471" y="561"/>
                  </a:lnTo>
                  <a:lnTo>
                    <a:pt x="462" y="564"/>
                  </a:lnTo>
                  <a:lnTo>
                    <a:pt x="453" y="563"/>
                  </a:lnTo>
                  <a:lnTo>
                    <a:pt x="445" y="556"/>
                  </a:lnTo>
                  <a:lnTo>
                    <a:pt x="412" y="523"/>
                  </a:lnTo>
                  <a:lnTo>
                    <a:pt x="386" y="534"/>
                  </a:lnTo>
                  <a:lnTo>
                    <a:pt x="386" y="582"/>
                  </a:lnTo>
                  <a:lnTo>
                    <a:pt x="386" y="588"/>
                  </a:lnTo>
                  <a:lnTo>
                    <a:pt x="383" y="595"/>
                  </a:lnTo>
                  <a:lnTo>
                    <a:pt x="378" y="599"/>
                  </a:lnTo>
                  <a:lnTo>
                    <a:pt x="370" y="602"/>
                  </a:lnTo>
                  <a:lnTo>
                    <a:pt x="331" y="608"/>
                  </a:lnTo>
                  <a:lnTo>
                    <a:pt x="331" y="610"/>
                  </a:lnTo>
                  <a:lnTo>
                    <a:pt x="329" y="610"/>
                  </a:lnTo>
                  <a:lnTo>
                    <a:pt x="328" y="610"/>
                  </a:lnTo>
                  <a:lnTo>
                    <a:pt x="325" y="610"/>
                  </a:lnTo>
                  <a:lnTo>
                    <a:pt x="323" y="610"/>
                  </a:lnTo>
                  <a:lnTo>
                    <a:pt x="322" y="610"/>
                  </a:lnTo>
                  <a:lnTo>
                    <a:pt x="280" y="610"/>
                  </a:lnTo>
                  <a:lnTo>
                    <a:pt x="259" y="607"/>
                  </a:lnTo>
                  <a:lnTo>
                    <a:pt x="239" y="602"/>
                  </a:lnTo>
                  <a:lnTo>
                    <a:pt x="233" y="601"/>
                  </a:lnTo>
                  <a:lnTo>
                    <a:pt x="230" y="598"/>
                  </a:lnTo>
                  <a:lnTo>
                    <a:pt x="227" y="593"/>
                  </a:lnTo>
                  <a:lnTo>
                    <a:pt x="224" y="587"/>
                  </a:lnTo>
                  <a:lnTo>
                    <a:pt x="224" y="582"/>
                  </a:lnTo>
                  <a:lnTo>
                    <a:pt x="224" y="534"/>
                  </a:lnTo>
                  <a:lnTo>
                    <a:pt x="212" y="529"/>
                  </a:lnTo>
                  <a:lnTo>
                    <a:pt x="201" y="523"/>
                  </a:lnTo>
                  <a:lnTo>
                    <a:pt x="166" y="556"/>
                  </a:lnTo>
                  <a:lnTo>
                    <a:pt x="158" y="563"/>
                  </a:lnTo>
                  <a:lnTo>
                    <a:pt x="149" y="564"/>
                  </a:lnTo>
                  <a:lnTo>
                    <a:pt x="140" y="561"/>
                  </a:lnTo>
                  <a:lnTo>
                    <a:pt x="133" y="555"/>
                  </a:lnTo>
                  <a:lnTo>
                    <a:pt x="125" y="549"/>
                  </a:lnTo>
                  <a:lnTo>
                    <a:pt x="122" y="547"/>
                  </a:lnTo>
                  <a:lnTo>
                    <a:pt x="122" y="547"/>
                  </a:lnTo>
                  <a:lnTo>
                    <a:pt x="120" y="546"/>
                  </a:lnTo>
                  <a:lnTo>
                    <a:pt x="119" y="546"/>
                  </a:lnTo>
                  <a:lnTo>
                    <a:pt x="88" y="518"/>
                  </a:lnTo>
                  <a:lnTo>
                    <a:pt x="64" y="489"/>
                  </a:lnTo>
                  <a:lnTo>
                    <a:pt x="62" y="488"/>
                  </a:lnTo>
                  <a:lnTo>
                    <a:pt x="61" y="488"/>
                  </a:lnTo>
                  <a:lnTo>
                    <a:pt x="61" y="486"/>
                  </a:lnTo>
                  <a:lnTo>
                    <a:pt x="59" y="485"/>
                  </a:lnTo>
                  <a:lnTo>
                    <a:pt x="59" y="485"/>
                  </a:lnTo>
                  <a:lnTo>
                    <a:pt x="59" y="483"/>
                  </a:lnTo>
                  <a:lnTo>
                    <a:pt x="56" y="479"/>
                  </a:lnTo>
                  <a:lnTo>
                    <a:pt x="52" y="474"/>
                  </a:lnTo>
                  <a:lnTo>
                    <a:pt x="49" y="468"/>
                  </a:lnTo>
                  <a:lnTo>
                    <a:pt x="44" y="459"/>
                  </a:lnTo>
                  <a:lnTo>
                    <a:pt x="46" y="451"/>
                  </a:lnTo>
                  <a:lnTo>
                    <a:pt x="50" y="442"/>
                  </a:lnTo>
                  <a:lnTo>
                    <a:pt x="84" y="409"/>
                  </a:lnTo>
                  <a:lnTo>
                    <a:pt x="79" y="396"/>
                  </a:lnTo>
                  <a:lnTo>
                    <a:pt x="75" y="386"/>
                  </a:lnTo>
                  <a:lnTo>
                    <a:pt x="27" y="386"/>
                  </a:lnTo>
                  <a:lnTo>
                    <a:pt x="21" y="386"/>
                  </a:lnTo>
                  <a:lnTo>
                    <a:pt x="17" y="383"/>
                  </a:lnTo>
                  <a:lnTo>
                    <a:pt x="12" y="380"/>
                  </a:lnTo>
                  <a:lnTo>
                    <a:pt x="8" y="375"/>
                  </a:lnTo>
                  <a:lnTo>
                    <a:pt x="6" y="371"/>
                  </a:lnTo>
                  <a:lnTo>
                    <a:pt x="3" y="349"/>
                  </a:lnTo>
                  <a:lnTo>
                    <a:pt x="0" y="329"/>
                  </a:lnTo>
                  <a:lnTo>
                    <a:pt x="0" y="279"/>
                  </a:lnTo>
                  <a:lnTo>
                    <a:pt x="6" y="240"/>
                  </a:lnTo>
                  <a:lnTo>
                    <a:pt x="8" y="233"/>
                  </a:lnTo>
                  <a:lnTo>
                    <a:pt x="12" y="230"/>
                  </a:lnTo>
                  <a:lnTo>
                    <a:pt x="17" y="226"/>
                  </a:lnTo>
                  <a:lnTo>
                    <a:pt x="21" y="224"/>
                  </a:lnTo>
                  <a:lnTo>
                    <a:pt x="27" y="224"/>
                  </a:lnTo>
                  <a:lnTo>
                    <a:pt x="75" y="224"/>
                  </a:lnTo>
                  <a:lnTo>
                    <a:pt x="79" y="211"/>
                  </a:lnTo>
                  <a:lnTo>
                    <a:pt x="84" y="200"/>
                  </a:lnTo>
                  <a:lnTo>
                    <a:pt x="50" y="165"/>
                  </a:lnTo>
                  <a:lnTo>
                    <a:pt x="46" y="157"/>
                  </a:lnTo>
                  <a:lnTo>
                    <a:pt x="44" y="148"/>
                  </a:lnTo>
                  <a:lnTo>
                    <a:pt x="49" y="140"/>
                  </a:lnTo>
                  <a:lnTo>
                    <a:pt x="52" y="134"/>
                  </a:lnTo>
                  <a:lnTo>
                    <a:pt x="56" y="127"/>
                  </a:lnTo>
                  <a:lnTo>
                    <a:pt x="61" y="121"/>
                  </a:lnTo>
                  <a:lnTo>
                    <a:pt x="90" y="89"/>
                  </a:lnTo>
                  <a:lnTo>
                    <a:pt x="122" y="60"/>
                  </a:lnTo>
                  <a:lnTo>
                    <a:pt x="128" y="55"/>
                  </a:lnTo>
                  <a:lnTo>
                    <a:pt x="134" y="51"/>
                  </a:lnTo>
                  <a:lnTo>
                    <a:pt x="140" y="47"/>
                  </a:lnTo>
                  <a:lnTo>
                    <a:pt x="149" y="44"/>
                  </a:lnTo>
                  <a:lnTo>
                    <a:pt x="158" y="46"/>
                  </a:lnTo>
                  <a:lnTo>
                    <a:pt x="166" y="51"/>
                  </a:lnTo>
                  <a:lnTo>
                    <a:pt x="201" y="86"/>
                  </a:lnTo>
                  <a:lnTo>
                    <a:pt x="212" y="79"/>
                  </a:lnTo>
                  <a:lnTo>
                    <a:pt x="224" y="73"/>
                  </a:lnTo>
                  <a:lnTo>
                    <a:pt x="224" y="26"/>
                  </a:lnTo>
                  <a:lnTo>
                    <a:pt x="224" y="20"/>
                  </a:lnTo>
                  <a:lnTo>
                    <a:pt x="227" y="15"/>
                  </a:lnTo>
                  <a:lnTo>
                    <a:pt x="230" y="11"/>
                  </a:lnTo>
                  <a:lnTo>
                    <a:pt x="233" y="9"/>
                  </a:lnTo>
                  <a:lnTo>
                    <a:pt x="239" y="6"/>
                  </a:lnTo>
                  <a:lnTo>
                    <a:pt x="261" y="3"/>
                  </a:lnTo>
                  <a:lnTo>
                    <a:pt x="280" y="2"/>
                  </a:lnTo>
                  <a:lnTo>
                    <a:pt x="305"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17">
              <a:extLst>
                <a:ext uri="{FF2B5EF4-FFF2-40B4-BE49-F238E27FC236}">
                  <a16:creationId xmlns:a16="http://schemas.microsoft.com/office/drawing/2014/main" id="{58C65E89-E5B0-9647-9BF4-8F51D1982EF9}"/>
                </a:ext>
              </a:extLst>
            </p:cNvPr>
            <p:cNvSpPr>
              <a:spLocks noEditPoints="1"/>
            </p:cNvSpPr>
            <p:nvPr/>
          </p:nvSpPr>
          <p:spPr bwMode="auto">
            <a:xfrm>
              <a:off x="5916332" y="2575790"/>
              <a:ext cx="644525" cy="641350"/>
            </a:xfrm>
            <a:custGeom>
              <a:avLst/>
              <a:gdLst>
                <a:gd name="T0" fmla="*/ 176 w 406"/>
                <a:gd name="T1" fmla="*/ 58 h 404"/>
                <a:gd name="T2" fmla="*/ 138 w 406"/>
                <a:gd name="T3" fmla="*/ 84 h 404"/>
                <a:gd name="T4" fmla="*/ 99 w 406"/>
                <a:gd name="T5" fmla="*/ 60 h 404"/>
                <a:gd name="T6" fmla="*/ 86 w 406"/>
                <a:gd name="T7" fmla="*/ 124 h 404"/>
                <a:gd name="T8" fmla="*/ 71 w 406"/>
                <a:gd name="T9" fmla="*/ 170 h 404"/>
                <a:gd name="T10" fmla="*/ 29 w 406"/>
                <a:gd name="T11" fmla="*/ 183 h 404"/>
                <a:gd name="T12" fmla="*/ 28 w 406"/>
                <a:gd name="T13" fmla="*/ 211 h 404"/>
                <a:gd name="T14" fmla="*/ 64 w 406"/>
                <a:gd name="T15" fmla="*/ 229 h 404"/>
                <a:gd name="T16" fmla="*/ 87 w 406"/>
                <a:gd name="T17" fmla="*/ 272 h 404"/>
                <a:gd name="T18" fmla="*/ 63 w 406"/>
                <a:gd name="T19" fmla="*/ 307 h 404"/>
                <a:gd name="T20" fmla="*/ 121 w 406"/>
                <a:gd name="T21" fmla="*/ 320 h 404"/>
                <a:gd name="T22" fmla="*/ 151 w 406"/>
                <a:gd name="T23" fmla="*/ 325 h 404"/>
                <a:gd name="T24" fmla="*/ 176 w 406"/>
                <a:gd name="T25" fmla="*/ 374 h 404"/>
                <a:gd name="T26" fmla="*/ 226 w 406"/>
                <a:gd name="T27" fmla="*/ 374 h 404"/>
                <a:gd name="T28" fmla="*/ 240 w 406"/>
                <a:gd name="T29" fmla="*/ 330 h 404"/>
                <a:gd name="T30" fmla="*/ 284 w 406"/>
                <a:gd name="T31" fmla="*/ 320 h 404"/>
                <a:gd name="T32" fmla="*/ 343 w 406"/>
                <a:gd name="T33" fmla="*/ 307 h 404"/>
                <a:gd name="T34" fmla="*/ 319 w 406"/>
                <a:gd name="T35" fmla="*/ 275 h 404"/>
                <a:gd name="T36" fmla="*/ 337 w 406"/>
                <a:gd name="T37" fmla="*/ 232 h 404"/>
                <a:gd name="T38" fmla="*/ 377 w 406"/>
                <a:gd name="T39" fmla="*/ 215 h 404"/>
                <a:gd name="T40" fmla="*/ 340 w 406"/>
                <a:gd name="T41" fmla="*/ 174 h 404"/>
                <a:gd name="T42" fmla="*/ 319 w 406"/>
                <a:gd name="T43" fmla="*/ 131 h 404"/>
                <a:gd name="T44" fmla="*/ 342 w 406"/>
                <a:gd name="T45" fmla="*/ 95 h 404"/>
                <a:gd name="T46" fmla="*/ 307 w 406"/>
                <a:gd name="T47" fmla="*/ 61 h 404"/>
                <a:gd name="T48" fmla="*/ 269 w 406"/>
                <a:gd name="T49" fmla="*/ 84 h 404"/>
                <a:gd name="T50" fmla="*/ 229 w 406"/>
                <a:gd name="T51" fmla="*/ 58 h 404"/>
                <a:gd name="T52" fmla="*/ 203 w 406"/>
                <a:gd name="T53" fmla="*/ 0 h 404"/>
                <a:gd name="T54" fmla="*/ 255 w 406"/>
                <a:gd name="T55" fmla="*/ 13 h 404"/>
                <a:gd name="T56" fmla="*/ 298 w 406"/>
                <a:gd name="T57" fmla="*/ 31 h 404"/>
                <a:gd name="T58" fmla="*/ 322 w 406"/>
                <a:gd name="T59" fmla="*/ 39 h 404"/>
                <a:gd name="T60" fmla="*/ 363 w 406"/>
                <a:gd name="T61" fmla="*/ 80 h 404"/>
                <a:gd name="T62" fmla="*/ 366 w 406"/>
                <a:gd name="T63" fmla="*/ 83 h 404"/>
                <a:gd name="T64" fmla="*/ 371 w 406"/>
                <a:gd name="T65" fmla="*/ 110 h 404"/>
                <a:gd name="T66" fmla="*/ 391 w 406"/>
                <a:gd name="T67" fmla="*/ 150 h 404"/>
                <a:gd name="T68" fmla="*/ 406 w 406"/>
                <a:gd name="T69" fmla="*/ 202 h 404"/>
                <a:gd name="T70" fmla="*/ 395 w 406"/>
                <a:gd name="T71" fmla="*/ 253 h 404"/>
                <a:gd name="T72" fmla="*/ 371 w 406"/>
                <a:gd name="T73" fmla="*/ 293 h 404"/>
                <a:gd name="T74" fmla="*/ 365 w 406"/>
                <a:gd name="T75" fmla="*/ 322 h 404"/>
                <a:gd name="T76" fmla="*/ 305 w 406"/>
                <a:gd name="T77" fmla="*/ 374 h 404"/>
                <a:gd name="T78" fmla="*/ 257 w 406"/>
                <a:gd name="T79" fmla="*/ 354 h 404"/>
                <a:gd name="T80" fmla="*/ 220 w 406"/>
                <a:gd name="T81" fmla="*/ 403 h 404"/>
                <a:gd name="T82" fmla="*/ 186 w 406"/>
                <a:gd name="T83" fmla="*/ 404 h 404"/>
                <a:gd name="T84" fmla="*/ 148 w 406"/>
                <a:gd name="T85" fmla="*/ 386 h 404"/>
                <a:gd name="T86" fmla="*/ 98 w 406"/>
                <a:gd name="T87" fmla="*/ 372 h 404"/>
                <a:gd name="T88" fmla="*/ 81 w 406"/>
                <a:gd name="T89" fmla="*/ 362 h 404"/>
                <a:gd name="T90" fmla="*/ 42 w 406"/>
                <a:gd name="T91" fmla="*/ 322 h 404"/>
                <a:gd name="T92" fmla="*/ 31 w 406"/>
                <a:gd name="T93" fmla="*/ 305 h 404"/>
                <a:gd name="T94" fmla="*/ 51 w 406"/>
                <a:gd name="T95" fmla="*/ 255 h 404"/>
                <a:gd name="T96" fmla="*/ 0 w 406"/>
                <a:gd name="T97" fmla="*/ 218 h 404"/>
                <a:gd name="T98" fmla="*/ 19 w 406"/>
                <a:gd name="T99" fmla="*/ 148 h 404"/>
                <a:gd name="T100" fmla="*/ 31 w 406"/>
                <a:gd name="T101" fmla="*/ 106 h 404"/>
                <a:gd name="T102" fmla="*/ 42 w 406"/>
                <a:gd name="T103" fmla="*/ 81 h 404"/>
                <a:gd name="T104" fmla="*/ 103 w 406"/>
                <a:gd name="T105" fmla="*/ 29 h 404"/>
                <a:gd name="T106" fmla="*/ 150 w 406"/>
                <a:gd name="T107" fmla="*/ 13 h 404"/>
                <a:gd name="T108" fmla="*/ 203 w 406"/>
                <a:gd name="T109"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404">
                  <a:moveTo>
                    <a:pt x="203" y="26"/>
                  </a:moveTo>
                  <a:lnTo>
                    <a:pt x="189" y="28"/>
                  </a:lnTo>
                  <a:lnTo>
                    <a:pt x="185" y="28"/>
                  </a:lnTo>
                  <a:lnTo>
                    <a:pt x="180" y="28"/>
                  </a:lnTo>
                  <a:lnTo>
                    <a:pt x="176" y="29"/>
                  </a:lnTo>
                  <a:lnTo>
                    <a:pt x="176" y="58"/>
                  </a:lnTo>
                  <a:lnTo>
                    <a:pt x="174" y="63"/>
                  </a:lnTo>
                  <a:lnTo>
                    <a:pt x="173" y="67"/>
                  </a:lnTo>
                  <a:lnTo>
                    <a:pt x="170" y="71"/>
                  </a:lnTo>
                  <a:lnTo>
                    <a:pt x="167" y="74"/>
                  </a:lnTo>
                  <a:lnTo>
                    <a:pt x="151" y="78"/>
                  </a:lnTo>
                  <a:lnTo>
                    <a:pt x="138" y="84"/>
                  </a:lnTo>
                  <a:lnTo>
                    <a:pt x="135" y="86"/>
                  </a:lnTo>
                  <a:lnTo>
                    <a:pt x="130" y="86"/>
                  </a:lnTo>
                  <a:lnTo>
                    <a:pt x="127" y="86"/>
                  </a:lnTo>
                  <a:lnTo>
                    <a:pt x="124" y="84"/>
                  </a:lnTo>
                  <a:lnTo>
                    <a:pt x="121" y="81"/>
                  </a:lnTo>
                  <a:lnTo>
                    <a:pt x="99" y="60"/>
                  </a:lnTo>
                  <a:lnTo>
                    <a:pt x="98" y="61"/>
                  </a:lnTo>
                  <a:lnTo>
                    <a:pt x="80" y="78"/>
                  </a:lnTo>
                  <a:lnTo>
                    <a:pt x="63" y="96"/>
                  </a:lnTo>
                  <a:lnTo>
                    <a:pt x="61" y="98"/>
                  </a:lnTo>
                  <a:lnTo>
                    <a:pt x="83" y="119"/>
                  </a:lnTo>
                  <a:lnTo>
                    <a:pt x="86" y="124"/>
                  </a:lnTo>
                  <a:lnTo>
                    <a:pt x="87" y="128"/>
                  </a:lnTo>
                  <a:lnTo>
                    <a:pt x="87" y="131"/>
                  </a:lnTo>
                  <a:lnTo>
                    <a:pt x="86" y="136"/>
                  </a:lnTo>
                  <a:lnTo>
                    <a:pt x="78" y="150"/>
                  </a:lnTo>
                  <a:lnTo>
                    <a:pt x="74" y="165"/>
                  </a:lnTo>
                  <a:lnTo>
                    <a:pt x="71" y="170"/>
                  </a:lnTo>
                  <a:lnTo>
                    <a:pt x="69" y="173"/>
                  </a:lnTo>
                  <a:lnTo>
                    <a:pt x="64" y="174"/>
                  </a:lnTo>
                  <a:lnTo>
                    <a:pt x="60" y="176"/>
                  </a:lnTo>
                  <a:lnTo>
                    <a:pt x="29" y="176"/>
                  </a:lnTo>
                  <a:lnTo>
                    <a:pt x="29" y="179"/>
                  </a:lnTo>
                  <a:lnTo>
                    <a:pt x="29" y="183"/>
                  </a:lnTo>
                  <a:lnTo>
                    <a:pt x="29" y="188"/>
                  </a:lnTo>
                  <a:lnTo>
                    <a:pt x="28" y="192"/>
                  </a:lnTo>
                  <a:lnTo>
                    <a:pt x="28" y="197"/>
                  </a:lnTo>
                  <a:lnTo>
                    <a:pt x="28" y="202"/>
                  </a:lnTo>
                  <a:lnTo>
                    <a:pt x="28" y="206"/>
                  </a:lnTo>
                  <a:lnTo>
                    <a:pt x="28" y="211"/>
                  </a:lnTo>
                  <a:lnTo>
                    <a:pt x="29" y="215"/>
                  </a:lnTo>
                  <a:lnTo>
                    <a:pt x="29" y="220"/>
                  </a:lnTo>
                  <a:lnTo>
                    <a:pt x="29" y="224"/>
                  </a:lnTo>
                  <a:lnTo>
                    <a:pt x="29" y="229"/>
                  </a:lnTo>
                  <a:lnTo>
                    <a:pt x="60" y="229"/>
                  </a:lnTo>
                  <a:lnTo>
                    <a:pt x="64" y="229"/>
                  </a:lnTo>
                  <a:lnTo>
                    <a:pt x="69" y="232"/>
                  </a:lnTo>
                  <a:lnTo>
                    <a:pt x="71" y="235"/>
                  </a:lnTo>
                  <a:lnTo>
                    <a:pt x="74" y="238"/>
                  </a:lnTo>
                  <a:lnTo>
                    <a:pt x="78" y="253"/>
                  </a:lnTo>
                  <a:lnTo>
                    <a:pt x="86" y="267"/>
                  </a:lnTo>
                  <a:lnTo>
                    <a:pt x="87" y="272"/>
                  </a:lnTo>
                  <a:lnTo>
                    <a:pt x="87" y="275"/>
                  </a:lnTo>
                  <a:lnTo>
                    <a:pt x="86" y="279"/>
                  </a:lnTo>
                  <a:lnTo>
                    <a:pt x="83" y="284"/>
                  </a:lnTo>
                  <a:lnTo>
                    <a:pt x="61" y="305"/>
                  </a:lnTo>
                  <a:lnTo>
                    <a:pt x="63" y="307"/>
                  </a:lnTo>
                  <a:lnTo>
                    <a:pt x="63" y="307"/>
                  </a:lnTo>
                  <a:lnTo>
                    <a:pt x="64" y="307"/>
                  </a:lnTo>
                  <a:lnTo>
                    <a:pt x="80" y="325"/>
                  </a:lnTo>
                  <a:lnTo>
                    <a:pt x="96" y="340"/>
                  </a:lnTo>
                  <a:lnTo>
                    <a:pt x="98" y="342"/>
                  </a:lnTo>
                  <a:lnTo>
                    <a:pt x="99" y="342"/>
                  </a:lnTo>
                  <a:lnTo>
                    <a:pt x="121" y="320"/>
                  </a:lnTo>
                  <a:lnTo>
                    <a:pt x="124" y="319"/>
                  </a:lnTo>
                  <a:lnTo>
                    <a:pt x="127" y="317"/>
                  </a:lnTo>
                  <a:lnTo>
                    <a:pt x="130" y="317"/>
                  </a:lnTo>
                  <a:lnTo>
                    <a:pt x="135" y="317"/>
                  </a:lnTo>
                  <a:lnTo>
                    <a:pt x="138" y="319"/>
                  </a:lnTo>
                  <a:lnTo>
                    <a:pt x="151" y="325"/>
                  </a:lnTo>
                  <a:lnTo>
                    <a:pt x="167" y="330"/>
                  </a:lnTo>
                  <a:lnTo>
                    <a:pt x="170" y="333"/>
                  </a:lnTo>
                  <a:lnTo>
                    <a:pt x="173" y="336"/>
                  </a:lnTo>
                  <a:lnTo>
                    <a:pt x="174" y="339"/>
                  </a:lnTo>
                  <a:lnTo>
                    <a:pt x="176" y="343"/>
                  </a:lnTo>
                  <a:lnTo>
                    <a:pt x="176" y="374"/>
                  </a:lnTo>
                  <a:lnTo>
                    <a:pt x="180" y="375"/>
                  </a:lnTo>
                  <a:lnTo>
                    <a:pt x="185" y="375"/>
                  </a:lnTo>
                  <a:lnTo>
                    <a:pt x="189" y="377"/>
                  </a:lnTo>
                  <a:lnTo>
                    <a:pt x="217" y="377"/>
                  </a:lnTo>
                  <a:lnTo>
                    <a:pt x="221" y="375"/>
                  </a:lnTo>
                  <a:lnTo>
                    <a:pt x="226" y="374"/>
                  </a:lnTo>
                  <a:lnTo>
                    <a:pt x="229" y="374"/>
                  </a:lnTo>
                  <a:lnTo>
                    <a:pt x="229" y="343"/>
                  </a:lnTo>
                  <a:lnTo>
                    <a:pt x="231" y="339"/>
                  </a:lnTo>
                  <a:lnTo>
                    <a:pt x="232" y="336"/>
                  </a:lnTo>
                  <a:lnTo>
                    <a:pt x="235" y="333"/>
                  </a:lnTo>
                  <a:lnTo>
                    <a:pt x="240" y="330"/>
                  </a:lnTo>
                  <a:lnTo>
                    <a:pt x="255" y="325"/>
                  </a:lnTo>
                  <a:lnTo>
                    <a:pt x="269" y="319"/>
                  </a:lnTo>
                  <a:lnTo>
                    <a:pt x="273" y="317"/>
                  </a:lnTo>
                  <a:lnTo>
                    <a:pt x="276" y="317"/>
                  </a:lnTo>
                  <a:lnTo>
                    <a:pt x="281" y="319"/>
                  </a:lnTo>
                  <a:lnTo>
                    <a:pt x="284" y="320"/>
                  </a:lnTo>
                  <a:lnTo>
                    <a:pt x="305" y="342"/>
                  </a:lnTo>
                  <a:lnTo>
                    <a:pt x="307" y="342"/>
                  </a:lnTo>
                  <a:lnTo>
                    <a:pt x="307" y="342"/>
                  </a:lnTo>
                  <a:lnTo>
                    <a:pt x="308" y="342"/>
                  </a:lnTo>
                  <a:lnTo>
                    <a:pt x="327" y="325"/>
                  </a:lnTo>
                  <a:lnTo>
                    <a:pt x="343" y="307"/>
                  </a:lnTo>
                  <a:lnTo>
                    <a:pt x="343" y="305"/>
                  </a:lnTo>
                  <a:lnTo>
                    <a:pt x="343" y="305"/>
                  </a:lnTo>
                  <a:lnTo>
                    <a:pt x="345" y="305"/>
                  </a:lnTo>
                  <a:lnTo>
                    <a:pt x="324" y="284"/>
                  </a:lnTo>
                  <a:lnTo>
                    <a:pt x="321" y="279"/>
                  </a:lnTo>
                  <a:lnTo>
                    <a:pt x="319" y="275"/>
                  </a:lnTo>
                  <a:lnTo>
                    <a:pt x="319" y="272"/>
                  </a:lnTo>
                  <a:lnTo>
                    <a:pt x="321" y="267"/>
                  </a:lnTo>
                  <a:lnTo>
                    <a:pt x="327" y="253"/>
                  </a:lnTo>
                  <a:lnTo>
                    <a:pt x="333" y="238"/>
                  </a:lnTo>
                  <a:lnTo>
                    <a:pt x="334" y="235"/>
                  </a:lnTo>
                  <a:lnTo>
                    <a:pt x="337" y="232"/>
                  </a:lnTo>
                  <a:lnTo>
                    <a:pt x="340" y="229"/>
                  </a:lnTo>
                  <a:lnTo>
                    <a:pt x="345" y="229"/>
                  </a:lnTo>
                  <a:lnTo>
                    <a:pt x="377" y="229"/>
                  </a:lnTo>
                  <a:lnTo>
                    <a:pt x="377" y="224"/>
                  </a:lnTo>
                  <a:lnTo>
                    <a:pt x="377" y="220"/>
                  </a:lnTo>
                  <a:lnTo>
                    <a:pt x="377" y="215"/>
                  </a:lnTo>
                  <a:lnTo>
                    <a:pt x="377" y="188"/>
                  </a:lnTo>
                  <a:lnTo>
                    <a:pt x="377" y="183"/>
                  </a:lnTo>
                  <a:lnTo>
                    <a:pt x="377" y="179"/>
                  </a:lnTo>
                  <a:lnTo>
                    <a:pt x="377" y="176"/>
                  </a:lnTo>
                  <a:lnTo>
                    <a:pt x="345" y="176"/>
                  </a:lnTo>
                  <a:lnTo>
                    <a:pt x="340" y="174"/>
                  </a:lnTo>
                  <a:lnTo>
                    <a:pt x="337" y="173"/>
                  </a:lnTo>
                  <a:lnTo>
                    <a:pt x="334" y="170"/>
                  </a:lnTo>
                  <a:lnTo>
                    <a:pt x="333" y="165"/>
                  </a:lnTo>
                  <a:lnTo>
                    <a:pt x="327" y="150"/>
                  </a:lnTo>
                  <a:lnTo>
                    <a:pt x="321" y="136"/>
                  </a:lnTo>
                  <a:lnTo>
                    <a:pt x="319" y="131"/>
                  </a:lnTo>
                  <a:lnTo>
                    <a:pt x="319" y="128"/>
                  </a:lnTo>
                  <a:lnTo>
                    <a:pt x="321" y="124"/>
                  </a:lnTo>
                  <a:lnTo>
                    <a:pt x="324" y="119"/>
                  </a:lnTo>
                  <a:lnTo>
                    <a:pt x="343" y="98"/>
                  </a:lnTo>
                  <a:lnTo>
                    <a:pt x="342" y="96"/>
                  </a:lnTo>
                  <a:lnTo>
                    <a:pt x="342" y="95"/>
                  </a:lnTo>
                  <a:lnTo>
                    <a:pt x="327" y="78"/>
                  </a:lnTo>
                  <a:lnTo>
                    <a:pt x="310" y="63"/>
                  </a:lnTo>
                  <a:lnTo>
                    <a:pt x="308" y="63"/>
                  </a:lnTo>
                  <a:lnTo>
                    <a:pt x="308" y="63"/>
                  </a:lnTo>
                  <a:lnTo>
                    <a:pt x="308" y="61"/>
                  </a:lnTo>
                  <a:lnTo>
                    <a:pt x="307" y="61"/>
                  </a:lnTo>
                  <a:lnTo>
                    <a:pt x="305" y="60"/>
                  </a:lnTo>
                  <a:lnTo>
                    <a:pt x="284" y="81"/>
                  </a:lnTo>
                  <a:lnTo>
                    <a:pt x="281" y="84"/>
                  </a:lnTo>
                  <a:lnTo>
                    <a:pt x="276" y="86"/>
                  </a:lnTo>
                  <a:lnTo>
                    <a:pt x="273" y="86"/>
                  </a:lnTo>
                  <a:lnTo>
                    <a:pt x="269" y="84"/>
                  </a:lnTo>
                  <a:lnTo>
                    <a:pt x="255" y="78"/>
                  </a:lnTo>
                  <a:lnTo>
                    <a:pt x="240" y="74"/>
                  </a:lnTo>
                  <a:lnTo>
                    <a:pt x="235" y="71"/>
                  </a:lnTo>
                  <a:lnTo>
                    <a:pt x="232" y="67"/>
                  </a:lnTo>
                  <a:lnTo>
                    <a:pt x="231" y="63"/>
                  </a:lnTo>
                  <a:lnTo>
                    <a:pt x="229" y="58"/>
                  </a:lnTo>
                  <a:lnTo>
                    <a:pt x="229" y="29"/>
                  </a:lnTo>
                  <a:lnTo>
                    <a:pt x="226" y="28"/>
                  </a:lnTo>
                  <a:lnTo>
                    <a:pt x="221" y="28"/>
                  </a:lnTo>
                  <a:lnTo>
                    <a:pt x="217" y="28"/>
                  </a:lnTo>
                  <a:lnTo>
                    <a:pt x="203" y="26"/>
                  </a:lnTo>
                  <a:close/>
                  <a:moveTo>
                    <a:pt x="203" y="0"/>
                  </a:moveTo>
                  <a:lnTo>
                    <a:pt x="218" y="2"/>
                  </a:lnTo>
                  <a:lnTo>
                    <a:pt x="232" y="2"/>
                  </a:lnTo>
                  <a:lnTo>
                    <a:pt x="246" y="5"/>
                  </a:lnTo>
                  <a:lnTo>
                    <a:pt x="250" y="7"/>
                  </a:lnTo>
                  <a:lnTo>
                    <a:pt x="253" y="10"/>
                  </a:lnTo>
                  <a:lnTo>
                    <a:pt x="255" y="13"/>
                  </a:lnTo>
                  <a:lnTo>
                    <a:pt x="257" y="17"/>
                  </a:lnTo>
                  <a:lnTo>
                    <a:pt x="257" y="49"/>
                  </a:lnTo>
                  <a:lnTo>
                    <a:pt x="266" y="52"/>
                  </a:lnTo>
                  <a:lnTo>
                    <a:pt x="273" y="57"/>
                  </a:lnTo>
                  <a:lnTo>
                    <a:pt x="295" y="34"/>
                  </a:lnTo>
                  <a:lnTo>
                    <a:pt x="298" y="31"/>
                  </a:lnTo>
                  <a:lnTo>
                    <a:pt x="301" y="29"/>
                  </a:lnTo>
                  <a:lnTo>
                    <a:pt x="305" y="29"/>
                  </a:lnTo>
                  <a:lnTo>
                    <a:pt x="308" y="31"/>
                  </a:lnTo>
                  <a:lnTo>
                    <a:pt x="311" y="31"/>
                  </a:lnTo>
                  <a:lnTo>
                    <a:pt x="318" y="35"/>
                  </a:lnTo>
                  <a:lnTo>
                    <a:pt x="322" y="39"/>
                  </a:lnTo>
                  <a:lnTo>
                    <a:pt x="324" y="40"/>
                  </a:lnTo>
                  <a:lnTo>
                    <a:pt x="325" y="40"/>
                  </a:lnTo>
                  <a:lnTo>
                    <a:pt x="325" y="42"/>
                  </a:lnTo>
                  <a:lnTo>
                    <a:pt x="325" y="42"/>
                  </a:lnTo>
                  <a:lnTo>
                    <a:pt x="345" y="60"/>
                  </a:lnTo>
                  <a:lnTo>
                    <a:pt x="363" y="80"/>
                  </a:lnTo>
                  <a:lnTo>
                    <a:pt x="363" y="80"/>
                  </a:lnTo>
                  <a:lnTo>
                    <a:pt x="365" y="80"/>
                  </a:lnTo>
                  <a:lnTo>
                    <a:pt x="365" y="81"/>
                  </a:lnTo>
                  <a:lnTo>
                    <a:pt x="365" y="81"/>
                  </a:lnTo>
                  <a:lnTo>
                    <a:pt x="365" y="83"/>
                  </a:lnTo>
                  <a:lnTo>
                    <a:pt x="366" y="83"/>
                  </a:lnTo>
                  <a:lnTo>
                    <a:pt x="369" y="87"/>
                  </a:lnTo>
                  <a:lnTo>
                    <a:pt x="372" y="93"/>
                  </a:lnTo>
                  <a:lnTo>
                    <a:pt x="374" y="98"/>
                  </a:lnTo>
                  <a:lnTo>
                    <a:pt x="375" y="101"/>
                  </a:lnTo>
                  <a:lnTo>
                    <a:pt x="374" y="106"/>
                  </a:lnTo>
                  <a:lnTo>
                    <a:pt x="371" y="110"/>
                  </a:lnTo>
                  <a:lnTo>
                    <a:pt x="348" y="131"/>
                  </a:lnTo>
                  <a:lnTo>
                    <a:pt x="351" y="138"/>
                  </a:lnTo>
                  <a:lnTo>
                    <a:pt x="353" y="142"/>
                  </a:lnTo>
                  <a:lnTo>
                    <a:pt x="356" y="148"/>
                  </a:lnTo>
                  <a:lnTo>
                    <a:pt x="386" y="148"/>
                  </a:lnTo>
                  <a:lnTo>
                    <a:pt x="391" y="150"/>
                  </a:lnTo>
                  <a:lnTo>
                    <a:pt x="395" y="151"/>
                  </a:lnTo>
                  <a:lnTo>
                    <a:pt x="398" y="154"/>
                  </a:lnTo>
                  <a:lnTo>
                    <a:pt x="400" y="159"/>
                  </a:lnTo>
                  <a:lnTo>
                    <a:pt x="403" y="171"/>
                  </a:lnTo>
                  <a:lnTo>
                    <a:pt x="406" y="185"/>
                  </a:lnTo>
                  <a:lnTo>
                    <a:pt x="406" y="202"/>
                  </a:lnTo>
                  <a:lnTo>
                    <a:pt x="404" y="206"/>
                  </a:lnTo>
                  <a:lnTo>
                    <a:pt x="404" y="212"/>
                  </a:lnTo>
                  <a:lnTo>
                    <a:pt x="404" y="218"/>
                  </a:lnTo>
                  <a:lnTo>
                    <a:pt x="400" y="246"/>
                  </a:lnTo>
                  <a:lnTo>
                    <a:pt x="398" y="250"/>
                  </a:lnTo>
                  <a:lnTo>
                    <a:pt x="395" y="253"/>
                  </a:lnTo>
                  <a:lnTo>
                    <a:pt x="391" y="255"/>
                  </a:lnTo>
                  <a:lnTo>
                    <a:pt x="386" y="255"/>
                  </a:lnTo>
                  <a:lnTo>
                    <a:pt x="356" y="255"/>
                  </a:lnTo>
                  <a:lnTo>
                    <a:pt x="353" y="263"/>
                  </a:lnTo>
                  <a:lnTo>
                    <a:pt x="348" y="270"/>
                  </a:lnTo>
                  <a:lnTo>
                    <a:pt x="371" y="293"/>
                  </a:lnTo>
                  <a:lnTo>
                    <a:pt x="374" y="296"/>
                  </a:lnTo>
                  <a:lnTo>
                    <a:pt x="375" y="301"/>
                  </a:lnTo>
                  <a:lnTo>
                    <a:pt x="374" y="305"/>
                  </a:lnTo>
                  <a:lnTo>
                    <a:pt x="372" y="310"/>
                  </a:lnTo>
                  <a:lnTo>
                    <a:pt x="369" y="316"/>
                  </a:lnTo>
                  <a:lnTo>
                    <a:pt x="365" y="322"/>
                  </a:lnTo>
                  <a:lnTo>
                    <a:pt x="347" y="343"/>
                  </a:lnTo>
                  <a:lnTo>
                    <a:pt x="324" y="363"/>
                  </a:lnTo>
                  <a:lnTo>
                    <a:pt x="318" y="368"/>
                  </a:lnTo>
                  <a:lnTo>
                    <a:pt x="311" y="371"/>
                  </a:lnTo>
                  <a:lnTo>
                    <a:pt x="308" y="372"/>
                  </a:lnTo>
                  <a:lnTo>
                    <a:pt x="305" y="374"/>
                  </a:lnTo>
                  <a:lnTo>
                    <a:pt x="301" y="372"/>
                  </a:lnTo>
                  <a:lnTo>
                    <a:pt x="298" y="371"/>
                  </a:lnTo>
                  <a:lnTo>
                    <a:pt x="295" y="369"/>
                  </a:lnTo>
                  <a:lnTo>
                    <a:pt x="273" y="346"/>
                  </a:lnTo>
                  <a:lnTo>
                    <a:pt x="266" y="349"/>
                  </a:lnTo>
                  <a:lnTo>
                    <a:pt x="257" y="354"/>
                  </a:lnTo>
                  <a:lnTo>
                    <a:pt x="257" y="386"/>
                  </a:lnTo>
                  <a:lnTo>
                    <a:pt x="255" y="391"/>
                  </a:lnTo>
                  <a:lnTo>
                    <a:pt x="253" y="394"/>
                  </a:lnTo>
                  <a:lnTo>
                    <a:pt x="250" y="397"/>
                  </a:lnTo>
                  <a:lnTo>
                    <a:pt x="246" y="400"/>
                  </a:lnTo>
                  <a:lnTo>
                    <a:pt x="220" y="403"/>
                  </a:lnTo>
                  <a:lnTo>
                    <a:pt x="220" y="404"/>
                  </a:lnTo>
                  <a:lnTo>
                    <a:pt x="218" y="404"/>
                  </a:lnTo>
                  <a:lnTo>
                    <a:pt x="217" y="404"/>
                  </a:lnTo>
                  <a:lnTo>
                    <a:pt x="215" y="404"/>
                  </a:lnTo>
                  <a:lnTo>
                    <a:pt x="214" y="404"/>
                  </a:lnTo>
                  <a:lnTo>
                    <a:pt x="186" y="404"/>
                  </a:lnTo>
                  <a:lnTo>
                    <a:pt x="173" y="403"/>
                  </a:lnTo>
                  <a:lnTo>
                    <a:pt x="159" y="400"/>
                  </a:lnTo>
                  <a:lnTo>
                    <a:pt x="154" y="397"/>
                  </a:lnTo>
                  <a:lnTo>
                    <a:pt x="151" y="394"/>
                  </a:lnTo>
                  <a:lnTo>
                    <a:pt x="150" y="391"/>
                  </a:lnTo>
                  <a:lnTo>
                    <a:pt x="148" y="386"/>
                  </a:lnTo>
                  <a:lnTo>
                    <a:pt x="148" y="354"/>
                  </a:lnTo>
                  <a:lnTo>
                    <a:pt x="133" y="346"/>
                  </a:lnTo>
                  <a:lnTo>
                    <a:pt x="110" y="369"/>
                  </a:lnTo>
                  <a:lnTo>
                    <a:pt x="107" y="372"/>
                  </a:lnTo>
                  <a:lnTo>
                    <a:pt x="103" y="374"/>
                  </a:lnTo>
                  <a:lnTo>
                    <a:pt x="98" y="372"/>
                  </a:lnTo>
                  <a:lnTo>
                    <a:pt x="93" y="371"/>
                  </a:lnTo>
                  <a:lnTo>
                    <a:pt x="89" y="368"/>
                  </a:lnTo>
                  <a:lnTo>
                    <a:pt x="83" y="363"/>
                  </a:lnTo>
                  <a:lnTo>
                    <a:pt x="81" y="363"/>
                  </a:lnTo>
                  <a:lnTo>
                    <a:pt x="81" y="363"/>
                  </a:lnTo>
                  <a:lnTo>
                    <a:pt x="81" y="362"/>
                  </a:lnTo>
                  <a:lnTo>
                    <a:pt x="80" y="362"/>
                  </a:lnTo>
                  <a:lnTo>
                    <a:pt x="60" y="343"/>
                  </a:lnTo>
                  <a:lnTo>
                    <a:pt x="43" y="323"/>
                  </a:lnTo>
                  <a:lnTo>
                    <a:pt x="42" y="323"/>
                  </a:lnTo>
                  <a:lnTo>
                    <a:pt x="42" y="322"/>
                  </a:lnTo>
                  <a:lnTo>
                    <a:pt x="42" y="322"/>
                  </a:lnTo>
                  <a:lnTo>
                    <a:pt x="40" y="322"/>
                  </a:lnTo>
                  <a:lnTo>
                    <a:pt x="40" y="320"/>
                  </a:lnTo>
                  <a:lnTo>
                    <a:pt x="40" y="320"/>
                  </a:lnTo>
                  <a:lnTo>
                    <a:pt x="37" y="316"/>
                  </a:lnTo>
                  <a:lnTo>
                    <a:pt x="32" y="310"/>
                  </a:lnTo>
                  <a:lnTo>
                    <a:pt x="31" y="305"/>
                  </a:lnTo>
                  <a:lnTo>
                    <a:pt x="31" y="302"/>
                  </a:lnTo>
                  <a:lnTo>
                    <a:pt x="31" y="298"/>
                  </a:lnTo>
                  <a:lnTo>
                    <a:pt x="34" y="293"/>
                  </a:lnTo>
                  <a:lnTo>
                    <a:pt x="57" y="270"/>
                  </a:lnTo>
                  <a:lnTo>
                    <a:pt x="54" y="263"/>
                  </a:lnTo>
                  <a:lnTo>
                    <a:pt x="51" y="255"/>
                  </a:lnTo>
                  <a:lnTo>
                    <a:pt x="19" y="255"/>
                  </a:lnTo>
                  <a:lnTo>
                    <a:pt x="14" y="255"/>
                  </a:lnTo>
                  <a:lnTo>
                    <a:pt x="10" y="253"/>
                  </a:lnTo>
                  <a:lnTo>
                    <a:pt x="6" y="250"/>
                  </a:lnTo>
                  <a:lnTo>
                    <a:pt x="5" y="246"/>
                  </a:lnTo>
                  <a:lnTo>
                    <a:pt x="0" y="218"/>
                  </a:lnTo>
                  <a:lnTo>
                    <a:pt x="0" y="185"/>
                  </a:lnTo>
                  <a:lnTo>
                    <a:pt x="5" y="159"/>
                  </a:lnTo>
                  <a:lnTo>
                    <a:pt x="6" y="154"/>
                  </a:lnTo>
                  <a:lnTo>
                    <a:pt x="10" y="151"/>
                  </a:lnTo>
                  <a:lnTo>
                    <a:pt x="14" y="150"/>
                  </a:lnTo>
                  <a:lnTo>
                    <a:pt x="19" y="148"/>
                  </a:lnTo>
                  <a:lnTo>
                    <a:pt x="51" y="148"/>
                  </a:lnTo>
                  <a:lnTo>
                    <a:pt x="52" y="142"/>
                  </a:lnTo>
                  <a:lnTo>
                    <a:pt x="54" y="138"/>
                  </a:lnTo>
                  <a:lnTo>
                    <a:pt x="57" y="131"/>
                  </a:lnTo>
                  <a:lnTo>
                    <a:pt x="34" y="110"/>
                  </a:lnTo>
                  <a:lnTo>
                    <a:pt x="31" y="106"/>
                  </a:lnTo>
                  <a:lnTo>
                    <a:pt x="31" y="101"/>
                  </a:lnTo>
                  <a:lnTo>
                    <a:pt x="31" y="98"/>
                  </a:lnTo>
                  <a:lnTo>
                    <a:pt x="32" y="93"/>
                  </a:lnTo>
                  <a:lnTo>
                    <a:pt x="35" y="89"/>
                  </a:lnTo>
                  <a:lnTo>
                    <a:pt x="38" y="84"/>
                  </a:lnTo>
                  <a:lnTo>
                    <a:pt x="42" y="81"/>
                  </a:lnTo>
                  <a:lnTo>
                    <a:pt x="60" y="58"/>
                  </a:lnTo>
                  <a:lnTo>
                    <a:pt x="81" y="40"/>
                  </a:lnTo>
                  <a:lnTo>
                    <a:pt x="87" y="35"/>
                  </a:lnTo>
                  <a:lnTo>
                    <a:pt x="93" y="31"/>
                  </a:lnTo>
                  <a:lnTo>
                    <a:pt x="98" y="29"/>
                  </a:lnTo>
                  <a:lnTo>
                    <a:pt x="103" y="29"/>
                  </a:lnTo>
                  <a:lnTo>
                    <a:pt x="107" y="31"/>
                  </a:lnTo>
                  <a:lnTo>
                    <a:pt x="110" y="34"/>
                  </a:lnTo>
                  <a:lnTo>
                    <a:pt x="133" y="57"/>
                  </a:lnTo>
                  <a:lnTo>
                    <a:pt x="148" y="49"/>
                  </a:lnTo>
                  <a:lnTo>
                    <a:pt x="148" y="17"/>
                  </a:lnTo>
                  <a:lnTo>
                    <a:pt x="150" y="13"/>
                  </a:lnTo>
                  <a:lnTo>
                    <a:pt x="151" y="10"/>
                  </a:lnTo>
                  <a:lnTo>
                    <a:pt x="154" y="7"/>
                  </a:lnTo>
                  <a:lnTo>
                    <a:pt x="159" y="5"/>
                  </a:lnTo>
                  <a:lnTo>
                    <a:pt x="173" y="2"/>
                  </a:lnTo>
                  <a:lnTo>
                    <a:pt x="186" y="2"/>
                  </a:lnTo>
                  <a:lnTo>
                    <a:pt x="203"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18">
              <a:extLst>
                <a:ext uri="{FF2B5EF4-FFF2-40B4-BE49-F238E27FC236}">
                  <a16:creationId xmlns:a16="http://schemas.microsoft.com/office/drawing/2014/main" id="{DC802FB7-0676-C548-AE0C-3ADE5D9866D7}"/>
                </a:ext>
              </a:extLst>
            </p:cNvPr>
            <p:cNvSpPr>
              <a:spLocks noEditPoints="1"/>
            </p:cNvSpPr>
            <p:nvPr/>
          </p:nvSpPr>
          <p:spPr bwMode="auto">
            <a:xfrm>
              <a:off x="6481337" y="2012083"/>
              <a:ext cx="839788" cy="838200"/>
            </a:xfrm>
            <a:custGeom>
              <a:avLst/>
              <a:gdLst>
                <a:gd name="T0" fmla="*/ 228 w 529"/>
                <a:gd name="T1" fmla="*/ 76 h 528"/>
                <a:gd name="T2" fmla="*/ 178 w 529"/>
                <a:gd name="T3" fmla="*/ 110 h 528"/>
                <a:gd name="T4" fmla="*/ 129 w 529"/>
                <a:gd name="T5" fmla="*/ 78 h 528"/>
                <a:gd name="T6" fmla="*/ 111 w 529"/>
                <a:gd name="T7" fmla="*/ 160 h 528"/>
                <a:gd name="T8" fmla="*/ 93 w 529"/>
                <a:gd name="T9" fmla="*/ 220 h 528"/>
                <a:gd name="T10" fmla="*/ 36 w 529"/>
                <a:gd name="T11" fmla="*/ 233 h 528"/>
                <a:gd name="T12" fmla="*/ 35 w 529"/>
                <a:gd name="T13" fmla="*/ 269 h 528"/>
                <a:gd name="T14" fmla="*/ 77 w 529"/>
                <a:gd name="T15" fmla="*/ 299 h 528"/>
                <a:gd name="T16" fmla="*/ 111 w 529"/>
                <a:gd name="T17" fmla="*/ 348 h 528"/>
                <a:gd name="T18" fmla="*/ 80 w 529"/>
                <a:gd name="T19" fmla="*/ 400 h 528"/>
                <a:gd name="T20" fmla="*/ 129 w 529"/>
                <a:gd name="T21" fmla="*/ 447 h 528"/>
                <a:gd name="T22" fmla="*/ 178 w 529"/>
                <a:gd name="T23" fmla="*/ 416 h 528"/>
                <a:gd name="T24" fmla="*/ 228 w 529"/>
                <a:gd name="T25" fmla="*/ 448 h 528"/>
                <a:gd name="T26" fmla="*/ 288 w 529"/>
                <a:gd name="T27" fmla="*/ 489 h 528"/>
                <a:gd name="T28" fmla="*/ 306 w 529"/>
                <a:gd name="T29" fmla="*/ 433 h 528"/>
                <a:gd name="T30" fmla="*/ 363 w 529"/>
                <a:gd name="T31" fmla="*/ 415 h 528"/>
                <a:gd name="T32" fmla="*/ 401 w 529"/>
                <a:gd name="T33" fmla="*/ 445 h 528"/>
                <a:gd name="T34" fmla="*/ 420 w 529"/>
                <a:gd name="T35" fmla="*/ 369 h 528"/>
                <a:gd name="T36" fmla="*/ 427 w 529"/>
                <a:gd name="T37" fmla="*/ 329 h 528"/>
                <a:gd name="T38" fmla="*/ 449 w 529"/>
                <a:gd name="T39" fmla="*/ 299 h 528"/>
                <a:gd name="T40" fmla="*/ 491 w 529"/>
                <a:gd name="T41" fmla="*/ 240 h 528"/>
                <a:gd name="T42" fmla="*/ 437 w 529"/>
                <a:gd name="T43" fmla="*/ 223 h 528"/>
                <a:gd name="T44" fmla="*/ 414 w 529"/>
                <a:gd name="T45" fmla="*/ 166 h 528"/>
                <a:gd name="T46" fmla="*/ 425 w 529"/>
                <a:gd name="T47" fmla="*/ 102 h 528"/>
                <a:gd name="T48" fmla="*/ 398 w 529"/>
                <a:gd name="T49" fmla="*/ 78 h 528"/>
                <a:gd name="T50" fmla="*/ 350 w 529"/>
                <a:gd name="T51" fmla="*/ 110 h 528"/>
                <a:gd name="T52" fmla="*/ 299 w 529"/>
                <a:gd name="T53" fmla="*/ 76 h 528"/>
                <a:gd name="T54" fmla="*/ 263 w 529"/>
                <a:gd name="T55" fmla="*/ 0 h 528"/>
                <a:gd name="T56" fmla="*/ 331 w 529"/>
                <a:gd name="T57" fmla="*/ 14 h 528"/>
                <a:gd name="T58" fmla="*/ 384 w 529"/>
                <a:gd name="T59" fmla="*/ 44 h 528"/>
                <a:gd name="T60" fmla="*/ 411 w 529"/>
                <a:gd name="T61" fmla="*/ 44 h 528"/>
                <a:gd name="T62" fmla="*/ 424 w 529"/>
                <a:gd name="T63" fmla="*/ 54 h 528"/>
                <a:gd name="T64" fmla="*/ 475 w 529"/>
                <a:gd name="T65" fmla="*/ 105 h 528"/>
                <a:gd name="T66" fmla="*/ 489 w 529"/>
                <a:gd name="T67" fmla="*/ 130 h 528"/>
                <a:gd name="T68" fmla="*/ 460 w 529"/>
                <a:gd name="T69" fmla="*/ 186 h 528"/>
                <a:gd name="T70" fmla="*/ 520 w 529"/>
                <a:gd name="T71" fmla="*/ 201 h 528"/>
                <a:gd name="T72" fmla="*/ 527 w 529"/>
                <a:gd name="T73" fmla="*/ 278 h 528"/>
                <a:gd name="T74" fmla="*/ 514 w 529"/>
                <a:gd name="T75" fmla="*/ 331 h 528"/>
                <a:gd name="T76" fmla="*/ 483 w 529"/>
                <a:gd name="T77" fmla="*/ 383 h 528"/>
                <a:gd name="T78" fmla="*/ 480 w 529"/>
                <a:gd name="T79" fmla="*/ 412 h 528"/>
                <a:gd name="T80" fmla="*/ 402 w 529"/>
                <a:gd name="T81" fmla="*/ 486 h 528"/>
                <a:gd name="T82" fmla="*/ 344 w 529"/>
                <a:gd name="T83" fmla="*/ 457 h 528"/>
                <a:gd name="T84" fmla="*/ 320 w 529"/>
                <a:gd name="T85" fmla="*/ 521 h 528"/>
                <a:gd name="T86" fmla="*/ 279 w 529"/>
                <a:gd name="T87" fmla="*/ 528 h 528"/>
                <a:gd name="T88" fmla="*/ 198 w 529"/>
                <a:gd name="T89" fmla="*/ 517 h 528"/>
                <a:gd name="T90" fmla="*/ 173 w 529"/>
                <a:gd name="T91" fmla="*/ 451 h 528"/>
                <a:gd name="T92" fmla="*/ 120 w 529"/>
                <a:gd name="T93" fmla="*/ 485 h 528"/>
                <a:gd name="T94" fmla="*/ 102 w 529"/>
                <a:gd name="T95" fmla="*/ 471 h 528"/>
                <a:gd name="T96" fmla="*/ 51 w 529"/>
                <a:gd name="T97" fmla="*/ 419 h 528"/>
                <a:gd name="T98" fmla="*/ 39 w 529"/>
                <a:gd name="T99" fmla="*/ 400 h 528"/>
                <a:gd name="T100" fmla="*/ 64 w 529"/>
                <a:gd name="T101" fmla="*/ 334 h 528"/>
                <a:gd name="T102" fmla="*/ 4 w 529"/>
                <a:gd name="T103" fmla="*/ 320 h 528"/>
                <a:gd name="T104" fmla="*/ 10 w 529"/>
                <a:gd name="T105" fmla="*/ 198 h 528"/>
                <a:gd name="T106" fmla="*/ 70 w 529"/>
                <a:gd name="T107" fmla="*/ 179 h 528"/>
                <a:gd name="T108" fmla="*/ 39 w 529"/>
                <a:gd name="T109" fmla="*/ 125 h 528"/>
                <a:gd name="T110" fmla="*/ 105 w 529"/>
                <a:gd name="T111" fmla="*/ 52 h 528"/>
                <a:gd name="T112" fmla="*/ 143 w 529"/>
                <a:gd name="T113" fmla="*/ 44 h 528"/>
                <a:gd name="T114" fmla="*/ 195 w 529"/>
                <a:gd name="T115" fmla="*/ 14 h 528"/>
                <a:gd name="T116" fmla="*/ 263 w 529"/>
                <a:gd name="T117"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9" h="528">
                  <a:moveTo>
                    <a:pt x="263" y="34"/>
                  </a:moveTo>
                  <a:lnTo>
                    <a:pt x="247" y="35"/>
                  </a:lnTo>
                  <a:lnTo>
                    <a:pt x="239" y="35"/>
                  </a:lnTo>
                  <a:lnTo>
                    <a:pt x="234" y="37"/>
                  </a:lnTo>
                  <a:lnTo>
                    <a:pt x="228" y="37"/>
                  </a:lnTo>
                  <a:lnTo>
                    <a:pt x="228" y="76"/>
                  </a:lnTo>
                  <a:lnTo>
                    <a:pt x="227" y="83"/>
                  </a:lnTo>
                  <a:lnTo>
                    <a:pt x="224" y="87"/>
                  </a:lnTo>
                  <a:lnTo>
                    <a:pt x="221" y="92"/>
                  </a:lnTo>
                  <a:lnTo>
                    <a:pt x="216" y="95"/>
                  </a:lnTo>
                  <a:lnTo>
                    <a:pt x="196" y="101"/>
                  </a:lnTo>
                  <a:lnTo>
                    <a:pt x="178" y="110"/>
                  </a:lnTo>
                  <a:lnTo>
                    <a:pt x="173" y="112"/>
                  </a:lnTo>
                  <a:lnTo>
                    <a:pt x="169" y="112"/>
                  </a:lnTo>
                  <a:lnTo>
                    <a:pt x="164" y="112"/>
                  </a:lnTo>
                  <a:lnTo>
                    <a:pt x="160" y="110"/>
                  </a:lnTo>
                  <a:lnTo>
                    <a:pt x="157" y="107"/>
                  </a:lnTo>
                  <a:lnTo>
                    <a:pt x="129" y="78"/>
                  </a:lnTo>
                  <a:lnTo>
                    <a:pt x="128" y="80"/>
                  </a:lnTo>
                  <a:lnTo>
                    <a:pt x="102" y="101"/>
                  </a:lnTo>
                  <a:lnTo>
                    <a:pt x="80" y="127"/>
                  </a:lnTo>
                  <a:lnTo>
                    <a:pt x="79" y="128"/>
                  </a:lnTo>
                  <a:lnTo>
                    <a:pt x="108" y="156"/>
                  </a:lnTo>
                  <a:lnTo>
                    <a:pt x="111" y="160"/>
                  </a:lnTo>
                  <a:lnTo>
                    <a:pt x="112" y="166"/>
                  </a:lnTo>
                  <a:lnTo>
                    <a:pt x="112" y="173"/>
                  </a:lnTo>
                  <a:lnTo>
                    <a:pt x="111" y="177"/>
                  </a:lnTo>
                  <a:lnTo>
                    <a:pt x="100" y="195"/>
                  </a:lnTo>
                  <a:lnTo>
                    <a:pt x="94" y="215"/>
                  </a:lnTo>
                  <a:lnTo>
                    <a:pt x="93" y="220"/>
                  </a:lnTo>
                  <a:lnTo>
                    <a:pt x="90" y="223"/>
                  </a:lnTo>
                  <a:lnTo>
                    <a:pt x="87" y="226"/>
                  </a:lnTo>
                  <a:lnTo>
                    <a:pt x="82" y="227"/>
                  </a:lnTo>
                  <a:lnTo>
                    <a:pt x="77" y="229"/>
                  </a:lnTo>
                  <a:lnTo>
                    <a:pt x="38" y="229"/>
                  </a:lnTo>
                  <a:lnTo>
                    <a:pt x="36" y="233"/>
                  </a:lnTo>
                  <a:lnTo>
                    <a:pt x="36" y="240"/>
                  </a:lnTo>
                  <a:lnTo>
                    <a:pt x="36" y="244"/>
                  </a:lnTo>
                  <a:lnTo>
                    <a:pt x="35" y="250"/>
                  </a:lnTo>
                  <a:lnTo>
                    <a:pt x="35" y="256"/>
                  </a:lnTo>
                  <a:lnTo>
                    <a:pt x="35" y="262"/>
                  </a:lnTo>
                  <a:lnTo>
                    <a:pt x="35" y="269"/>
                  </a:lnTo>
                  <a:lnTo>
                    <a:pt x="35" y="275"/>
                  </a:lnTo>
                  <a:lnTo>
                    <a:pt x="36" y="281"/>
                  </a:lnTo>
                  <a:lnTo>
                    <a:pt x="36" y="287"/>
                  </a:lnTo>
                  <a:lnTo>
                    <a:pt x="36" y="293"/>
                  </a:lnTo>
                  <a:lnTo>
                    <a:pt x="38" y="299"/>
                  </a:lnTo>
                  <a:lnTo>
                    <a:pt x="77" y="299"/>
                  </a:lnTo>
                  <a:lnTo>
                    <a:pt x="84" y="299"/>
                  </a:lnTo>
                  <a:lnTo>
                    <a:pt x="88" y="302"/>
                  </a:lnTo>
                  <a:lnTo>
                    <a:pt x="91" y="305"/>
                  </a:lnTo>
                  <a:lnTo>
                    <a:pt x="94" y="311"/>
                  </a:lnTo>
                  <a:lnTo>
                    <a:pt x="100" y="329"/>
                  </a:lnTo>
                  <a:lnTo>
                    <a:pt x="111" y="348"/>
                  </a:lnTo>
                  <a:lnTo>
                    <a:pt x="112" y="354"/>
                  </a:lnTo>
                  <a:lnTo>
                    <a:pt x="112" y="358"/>
                  </a:lnTo>
                  <a:lnTo>
                    <a:pt x="111" y="365"/>
                  </a:lnTo>
                  <a:lnTo>
                    <a:pt x="108" y="369"/>
                  </a:lnTo>
                  <a:lnTo>
                    <a:pt x="79" y="398"/>
                  </a:lnTo>
                  <a:lnTo>
                    <a:pt x="80" y="400"/>
                  </a:lnTo>
                  <a:lnTo>
                    <a:pt x="80" y="401"/>
                  </a:lnTo>
                  <a:lnTo>
                    <a:pt x="82" y="401"/>
                  </a:lnTo>
                  <a:lnTo>
                    <a:pt x="102" y="424"/>
                  </a:lnTo>
                  <a:lnTo>
                    <a:pt x="125" y="444"/>
                  </a:lnTo>
                  <a:lnTo>
                    <a:pt x="128" y="445"/>
                  </a:lnTo>
                  <a:lnTo>
                    <a:pt x="129" y="447"/>
                  </a:lnTo>
                  <a:lnTo>
                    <a:pt x="157" y="419"/>
                  </a:lnTo>
                  <a:lnTo>
                    <a:pt x="160" y="416"/>
                  </a:lnTo>
                  <a:lnTo>
                    <a:pt x="164" y="415"/>
                  </a:lnTo>
                  <a:lnTo>
                    <a:pt x="169" y="413"/>
                  </a:lnTo>
                  <a:lnTo>
                    <a:pt x="173" y="415"/>
                  </a:lnTo>
                  <a:lnTo>
                    <a:pt x="178" y="416"/>
                  </a:lnTo>
                  <a:lnTo>
                    <a:pt x="196" y="424"/>
                  </a:lnTo>
                  <a:lnTo>
                    <a:pt x="216" y="430"/>
                  </a:lnTo>
                  <a:lnTo>
                    <a:pt x="221" y="433"/>
                  </a:lnTo>
                  <a:lnTo>
                    <a:pt x="224" y="438"/>
                  </a:lnTo>
                  <a:lnTo>
                    <a:pt x="227" y="442"/>
                  </a:lnTo>
                  <a:lnTo>
                    <a:pt x="228" y="448"/>
                  </a:lnTo>
                  <a:lnTo>
                    <a:pt x="228" y="488"/>
                  </a:lnTo>
                  <a:lnTo>
                    <a:pt x="233" y="489"/>
                  </a:lnTo>
                  <a:lnTo>
                    <a:pt x="241" y="491"/>
                  </a:lnTo>
                  <a:lnTo>
                    <a:pt x="247" y="491"/>
                  </a:lnTo>
                  <a:lnTo>
                    <a:pt x="282" y="491"/>
                  </a:lnTo>
                  <a:lnTo>
                    <a:pt x="288" y="489"/>
                  </a:lnTo>
                  <a:lnTo>
                    <a:pt x="294" y="489"/>
                  </a:lnTo>
                  <a:lnTo>
                    <a:pt x="299" y="488"/>
                  </a:lnTo>
                  <a:lnTo>
                    <a:pt x="299" y="448"/>
                  </a:lnTo>
                  <a:lnTo>
                    <a:pt x="300" y="442"/>
                  </a:lnTo>
                  <a:lnTo>
                    <a:pt x="302" y="438"/>
                  </a:lnTo>
                  <a:lnTo>
                    <a:pt x="306" y="433"/>
                  </a:lnTo>
                  <a:lnTo>
                    <a:pt x="312" y="430"/>
                  </a:lnTo>
                  <a:lnTo>
                    <a:pt x="331" y="424"/>
                  </a:lnTo>
                  <a:lnTo>
                    <a:pt x="350" y="416"/>
                  </a:lnTo>
                  <a:lnTo>
                    <a:pt x="353" y="415"/>
                  </a:lnTo>
                  <a:lnTo>
                    <a:pt x="358" y="413"/>
                  </a:lnTo>
                  <a:lnTo>
                    <a:pt x="363" y="415"/>
                  </a:lnTo>
                  <a:lnTo>
                    <a:pt x="366" y="416"/>
                  </a:lnTo>
                  <a:lnTo>
                    <a:pt x="370" y="419"/>
                  </a:lnTo>
                  <a:lnTo>
                    <a:pt x="398" y="447"/>
                  </a:lnTo>
                  <a:lnTo>
                    <a:pt x="399" y="447"/>
                  </a:lnTo>
                  <a:lnTo>
                    <a:pt x="399" y="445"/>
                  </a:lnTo>
                  <a:lnTo>
                    <a:pt x="401" y="445"/>
                  </a:lnTo>
                  <a:lnTo>
                    <a:pt x="425" y="424"/>
                  </a:lnTo>
                  <a:lnTo>
                    <a:pt x="448" y="400"/>
                  </a:lnTo>
                  <a:lnTo>
                    <a:pt x="448" y="400"/>
                  </a:lnTo>
                  <a:lnTo>
                    <a:pt x="448" y="398"/>
                  </a:lnTo>
                  <a:lnTo>
                    <a:pt x="449" y="398"/>
                  </a:lnTo>
                  <a:lnTo>
                    <a:pt x="420" y="369"/>
                  </a:lnTo>
                  <a:lnTo>
                    <a:pt x="417" y="366"/>
                  </a:lnTo>
                  <a:lnTo>
                    <a:pt x="416" y="361"/>
                  </a:lnTo>
                  <a:lnTo>
                    <a:pt x="414" y="357"/>
                  </a:lnTo>
                  <a:lnTo>
                    <a:pt x="416" y="352"/>
                  </a:lnTo>
                  <a:lnTo>
                    <a:pt x="417" y="348"/>
                  </a:lnTo>
                  <a:lnTo>
                    <a:pt x="427" y="329"/>
                  </a:lnTo>
                  <a:lnTo>
                    <a:pt x="433" y="311"/>
                  </a:lnTo>
                  <a:lnTo>
                    <a:pt x="434" y="307"/>
                  </a:lnTo>
                  <a:lnTo>
                    <a:pt x="437" y="304"/>
                  </a:lnTo>
                  <a:lnTo>
                    <a:pt x="440" y="301"/>
                  </a:lnTo>
                  <a:lnTo>
                    <a:pt x="445" y="299"/>
                  </a:lnTo>
                  <a:lnTo>
                    <a:pt x="449" y="299"/>
                  </a:lnTo>
                  <a:lnTo>
                    <a:pt x="491" y="299"/>
                  </a:lnTo>
                  <a:lnTo>
                    <a:pt x="491" y="293"/>
                  </a:lnTo>
                  <a:lnTo>
                    <a:pt x="491" y="287"/>
                  </a:lnTo>
                  <a:lnTo>
                    <a:pt x="492" y="281"/>
                  </a:lnTo>
                  <a:lnTo>
                    <a:pt x="492" y="244"/>
                  </a:lnTo>
                  <a:lnTo>
                    <a:pt x="491" y="240"/>
                  </a:lnTo>
                  <a:lnTo>
                    <a:pt x="491" y="233"/>
                  </a:lnTo>
                  <a:lnTo>
                    <a:pt x="491" y="229"/>
                  </a:lnTo>
                  <a:lnTo>
                    <a:pt x="449" y="229"/>
                  </a:lnTo>
                  <a:lnTo>
                    <a:pt x="445" y="227"/>
                  </a:lnTo>
                  <a:lnTo>
                    <a:pt x="440" y="226"/>
                  </a:lnTo>
                  <a:lnTo>
                    <a:pt x="437" y="223"/>
                  </a:lnTo>
                  <a:lnTo>
                    <a:pt x="434" y="220"/>
                  </a:lnTo>
                  <a:lnTo>
                    <a:pt x="433" y="215"/>
                  </a:lnTo>
                  <a:lnTo>
                    <a:pt x="427" y="195"/>
                  </a:lnTo>
                  <a:lnTo>
                    <a:pt x="417" y="177"/>
                  </a:lnTo>
                  <a:lnTo>
                    <a:pt x="416" y="173"/>
                  </a:lnTo>
                  <a:lnTo>
                    <a:pt x="414" y="166"/>
                  </a:lnTo>
                  <a:lnTo>
                    <a:pt x="417" y="160"/>
                  </a:lnTo>
                  <a:lnTo>
                    <a:pt x="420" y="156"/>
                  </a:lnTo>
                  <a:lnTo>
                    <a:pt x="448" y="128"/>
                  </a:lnTo>
                  <a:lnTo>
                    <a:pt x="446" y="127"/>
                  </a:lnTo>
                  <a:lnTo>
                    <a:pt x="446" y="124"/>
                  </a:lnTo>
                  <a:lnTo>
                    <a:pt x="425" y="102"/>
                  </a:lnTo>
                  <a:lnTo>
                    <a:pt x="402" y="81"/>
                  </a:lnTo>
                  <a:lnTo>
                    <a:pt x="401" y="81"/>
                  </a:lnTo>
                  <a:lnTo>
                    <a:pt x="401" y="81"/>
                  </a:lnTo>
                  <a:lnTo>
                    <a:pt x="401" y="81"/>
                  </a:lnTo>
                  <a:lnTo>
                    <a:pt x="399" y="80"/>
                  </a:lnTo>
                  <a:lnTo>
                    <a:pt x="398" y="78"/>
                  </a:lnTo>
                  <a:lnTo>
                    <a:pt x="370" y="107"/>
                  </a:lnTo>
                  <a:lnTo>
                    <a:pt x="366" y="110"/>
                  </a:lnTo>
                  <a:lnTo>
                    <a:pt x="363" y="112"/>
                  </a:lnTo>
                  <a:lnTo>
                    <a:pt x="358" y="112"/>
                  </a:lnTo>
                  <a:lnTo>
                    <a:pt x="353" y="112"/>
                  </a:lnTo>
                  <a:lnTo>
                    <a:pt x="350" y="110"/>
                  </a:lnTo>
                  <a:lnTo>
                    <a:pt x="331" y="101"/>
                  </a:lnTo>
                  <a:lnTo>
                    <a:pt x="312" y="95"/>
                  </a:lnTo>
                  <a:lnTo>
                    <a:pt x="306" y="92"/>
                  </a:lnTo>
                  <a:lnTo>
                    <a:pt x="302" y="87"/>
                  </a:lnTo>
                  <a:lnTo>
                    <a:pt x="300" y="83"/>
                  </a:lnTo>
                  <a:lnTo>
                    <a:pt x="299" y="76"/>
                  </a:lnTo>
                  <a:lnTo>
                    <a:pt x="299" y="37"/>
                  </a:lnTo>
                  <a:lnTo>
                    <a:pt x="294" y="37"/>
                  </a:lnTo>
                  <a:lnTo>
                    <a:pt x="288" y="35"/>
                  </a:lnTo>
                  <a:lnTo>
                    <a:pt x="282" y="35"/>
                  </a:lnTo>
                  <a:lnTo>
                    <a:pt x="263" y="34"/>
                  </a:lnTo>
                  <a:close/>
                  <a:moveTo>
                    <a:pt x="263" y="0"/>
                  </a:moveTo>
                  <a:lnTo>
                    <a:pt x="283" y="2"/>
                  </a:lnTo>
                  <a:lnTo>
                    <a:pt x="303" y="2"/>
                  </a:lnTo>
                  <a:lnTo>
                    <a:pt x="320" y="6"/>
                  </a:lnTo>
                  <a:lnTo>
                    <a:pt x="324" y="8"/>
                  </a:lnTo>
                  <a:lnTo>
                    <a:pt x="329" y="9"/>
                  </a:lnTo>
                  <a:lnTo>
                    <a:pt x="331" y="14"/>
                  </a:lnTo>
                  <a:lnTo>
                    <a:pt x="334" y="17"/>
                  </a:lnTo>
                  <a:lnTo>
                    <a:pt x="334" y="23"/>
                  </a:lnTo>
                  <a:lnTo>
                    <a:pt x="334" y="64"/>
                  </a:lnTo>
                  <a:lnTo>
                    <a:pt x="344" y="69"/>
                  </a:lnTo>
                  <a:lnTo>
                    <a:pt x="355" y="73"/>
                  </a:lnTo>
                  <a:lnTo>
                    <a:pt x="384" y="44"/>
                  </a:lnTo>
                  <a:lnTo>
                    <a:pt x="388" y="40"/>
                  </a:lnTo>
                  <a:lnTo>
                    <a:pt x="393" y="38"/>
                  </a:lnTo>
                  <a:lnTo>
                    <a:pt x="398" y="38"/>
                  </a:lnTo>
                  <a:lnTo>
                    <a:pt x="402" y="38"/>
                  </a:lnTo>
                  <a:lnTo>
                    <a:pt x="407" y="40"/>
                  </a:lnTo>
                  <a:lnTo>
                    <a:pt x="411" y="44"/>
                  </a:lnTo>
                  <a:lnTo>
                    <a:pt x="414" y="48"/>
                  </a:lnTo>
                  <a:lnTo>
                    <a:pt x="419" y="51"/>
                  </a:lnTo>
                  <a:lnTo>
                    <a:pt x="420" y="52"/>
                  </a:lnTo>
                  <a:lnTo>
                    <a:pt x="422" y="52"/>
                  </a:lnTo>
                  <a:lnTo>
                    <a:pt x="424" y="54"/>
                  </a:lnTo>
                  <a:lnTo>
                    <a:pt x="424" y="54"/>
                  </a:lnTo>
                  <a:lnTo>
                    <a:pt x="451" y="76"/>
                  </a:lnTo>
                  <a:lnTo>
                    <a:pt x="474" y="104"/>
                  </a:lnTo>
                  <a:lnTo>
                    <a:pt x="474" y="104"/>
                  </a:lnTo>
                  <a:lnTo>
                    <a:pt x="474" y="104"/>
                  </a:lnTo>
                  <a:lnTo>
                    <a:pt x="475" y="104"/>
                  </a:lnTo>
                  <a:lnTo>
                    <a:pt x="475" y="105"/>
                  </a:lnTo>
                  <a:lnTo>
                    <a:pt x="475" y="107"/>
                  </a:lnTo>
                  <a:lnTo>
                    <a:pt x="477" y="108"/>
                  </a:lnTo>
                  <a:lnTo>
                    <a:pt x="481" y="115"/>
                  </a:lnTo>
                  <a:lnTo>
                    <a:pt x="486" y="121"/>
                  </a:lnTo>
                  <a:lnTo>
                    <a:pt x="488" y="125"/>
                  </a:lnTo>
                  <a:lnTo>
                    <a:pt x="489" y="130"/>
                  </a:lnTo>
                  <a:lnTo>
                    <a:pt x="488" y="134"/>
                  </a:lnTo>
                  <a:lnTo>
                    <a:pt x="486" y="139"/>
                  </a:lnTo>
                  <a:lnTo>
                    <a:pt x="483" y="142"/>
                  </a:lnTo>
                  <a:lnTo>
                    <a:pt x="454" y="173"/>
                  </a:lnTo>
                  <a:lnTo>
                    <a:pt x="457" y="179"/>
                  </a:lnTo>
                  <a:lnTo>
                    <a:pt x="460" y="186"/>
                  </a:lnTo>
                  <a:lnTo>
                    <a:pt x="463" y="194"/>
                  </a:lnTo>
                  <a:lnTo>
                    <a:pt x="503" y="194"/>
                  </a:lnTo>
                  <a:lnTo>
                    <a:pt x="509" y="194"/>
                  </a:lnTo>
                  <a:lnTo>
                    <a:pt x="514" y="195"/>
                  </a:lnTo>
                  <a:lnTo>
                    <a:pt x="517" y="198"/>
                  </a:lnTo>
                  <a:lnTo>
                    <a:pt x="520" y="201"/>
                  </a:lnTo>
                  <a:lnTo>
                    <a:pt x="521" y="206"/>
                  </a:lnTo>
                  <a:lnTo>
                    <a:pt x="526" y="224"/>
                  </a:lnTo>
                  <a:lnTo>
                    <a:pt x="529" y="241"/>
                  </a:lnTo>
                  <a:lnTo>
                    <a:pt x="529" y="262"/>
                  </a:lnTo>
                  <a:lnTo>
                    <a:pt x="527" y="270"/>
                  </a:lnTo>
                  <a:lnTo>
                    <a:pt x="527" y="278"/>
                  </a:lnTo>
                  <a:lnTo>
                    <a:pt x="527" y="284"/>
                  </a:lnTo>
                  <a:lnTo>
                    <a:pt x="524" y="302"/>
                  </a:lnTo>
                  <a:lnTo>
                    <a:pt x="521" y="320"/>
                  </a:lnTo>
                  <a:lnTo>
                    <a:pt x="520" y="325"/>
                  </a:lnTo>
                  <a:lnTo>
                    <a:pt x="517" y="328"/>
                  </a:lnTo>
                  <a:lnTo>
                    <a:pt x="514" y="331"/>
                  </a:lnTo>
                  <a:lnTo>
                    <a:pt x="509" y="333"/>
                  </a:lnTo>
                  <a:lnTo>
                    <a:pt x="503" y="334"/>
                  </a:lnTo>
                  <a:lnTo>
                    <a:pt x="463" y="334"/>
                  </a:lnTo>
                  <a:lnTo>
                    <a:pt x="459" y="343"/>
                  </a:lnTo>
                  <a:lnTo>
                    <a:pt x="454" y="354"/>
                  </a:lnTo>
                  <a:lnTo>
                    <a:pt x="483" y="383"/>
                  </a:lnTo>
                  <a:lnTo>
                    <a:pt x="486" y="386"/>
                  </a:lnTo>
                  <a:lnTo>
                    <a:pt x="488" y="390"/>
                  </a:lnTo>
                  <a:lnTo>
                    <a:pt x="489" y="395"/>
                  </a:lnTo>
                  <a:lnTo>
                    <a:pt x="488" y="400"/>
                  </a:lnTo>
                  <a:lnTo>
                    <a:pt x="486" y="404"/>
                  </a:lnTo>
                  <a:lnTo>
                    <a:pt x="480" y="412"/>
                  </a:lnTo>
                  <a:lnTo>
                    <a:pt x="475" y="421"/>
                  </a:lnTo>
                  <a:lnTo>
                    <a:pt x="451" y="448"/>
                  </a:lnTo>
                  <a:lnTo>
                    <a:pt x="420" y="473"/>
                  </a:lnTo>
                  <a:lnTo>
                    <a:pt x="413" y="479"/>
                  </a:lnTo>
                  <a:lnTo>
                    <a:pt x="407" y="485"/>
                  </a:lnTo>
                  <a:lnTo>
                    <a:pt x="402" y="486"/>
                  </a:lnTo>
                  <a:lnTo>
                    <a:pt x="398" y="486"/>
                  </a:lnTo>
                  <a:lnTo>
                    <a:pt x="393" y="486"/>
                  </a:lnTo>
                  <a:lnTo>
                    <a:pt x="388" y="485"/>
                  </a:lnTo>
                  <a:lnTo>
                    <a:pt x="384" y="482"/>
                  </a:lnTo>
                  <a:lnTo>
                    <a:pt x="355" y="451"/>
                  </a:lnTo>
                  <a:lnTo>
                    <a:pt x="344" y="457"/>
                  </a:lnTo>
                  <a:lnTo>
                    <a:pt x="334" y="462"/>
                  </a:lnTo>
                  <a:lnTo>
                    <a:pt x="334" y="503"/>
                  </a:lnTo>
                  <a:lnTo>
                    <a:pt x="332" y="509"/>
                  </a:lnTo>
                  <a:lnTo>
                    <a:pt x="331" y="514"/>
                  </a:lnTo>
                  <a:lnTo>
                    <a:pt x="326" y="518"/>
                  </a:lnTo>
                  <a:lnTo>
                    <a:pt x="320" y="521"/>
                  </a:lnTo>
                  <a:lnTo>
                    <a:pt x="286" y="526"/>
                  </a:lnTo>
                  <a:lnTo>
                    <a:pt x="286" y="528"/>
                  </a:lnTo>
                  <a:lnTo>
                    <a:pt x="283" y="528"/>
                  </a:lnTo>
                  <a:lnTo>
                    <a:pt x="282" y="528"/>
                  </a:lnTo>
                  <a:lnTo>
                    <a:pt x="280" y="528"/>
                  </a:lnTo>
                  <a:lnTo>
                    <a:pt x="279" y="528"/>
                  </a:lnTo>
                  <a:lnTo>
                    <a:pt x="277" y="528"/>
                  </a:lnTo>
                  <a:lnTo>
                    <a:pt x="242" y="528"/>
                  </a:lnTo>
                  <a:lnTo>
                    <a:pt x="224" y="525"/>
                  </a:lnTo>
                  <a:lnTo>
                    <a:pt x="207" y="521"/>
                  </a:lnTo>
                  <a:lnTo>
                    <a:pt x="202" y="520"/>
                  </a:lnTo>
                  <a:lnTo>
                    <a:pt x="198" y="517"/>
                  </a:lnTo>
                  <a:lnTo>
                    <a:pt x="195" y="512"/>
                  </a:lnTo>
                  <a:lnTo>
                    <a:pt x="193" y="508"/>
                  </a:lnTo>
                  <a:lnTo>
                    <a:pt x="193" y="503"/>
                  </a:lnTo>
                  <a:lnTo>
                    <a:pt x="193" y="462"/>
                  </a:lnTo>
                  <a:lnTo>
                    <a:pt x="183" y="457"/>
                  </a:lnTo>
                  <a:lnTo>
                    <a:pt x="173" y="451"/>
                  </a:lnTo>
                  <a:lnTo>
                    <a:pt x="143" y="482"/>
                  </a:lnTo>
                  <a:lnTo>
                    <a:pt x="140" y="485"/>
                  </a:lnTo>
                  <a:lnTo>
                    <a:pt x="135" y="486"/>
                  </a:lnTo>
                  <a:lnTo>
                    <a:pt x="131" y="486"/>
                  </a:lnTo>
                  <a:lnTo>
                    <a:pt x="125" y="486"/>
                  </a:lnTo>
                  <a:lnTo>
                    <a:pt x="120" y="485"/>
                  </a:lnTo>
                  <a:lnTo>
                    <a:pt x="114" y="480"/>
                  </a:lnTo>
                  <a:lnTo>
                    <a:pt x="108" y="474"/>
                  </a:lnTo>
                  <a:lnTo>
                    <a:pt x="105" y="473"/>
                  </a:lnTo>
                  <a:lnTo>
                    <a:pt x="105" y="473"/>
                  </a:lnTo>
                  <a:lnTo>
                    <a:pt x="103" y="473"/>
                  </a:lnTo>
                  <a:lnTo>
                    <a:pt x="102" y="471"/>
                  </a:lnTo>
                  <a:lnTo>
                    <a:pt x="76" y="448"/>
                  </a:lnTo>
                  <a:lnTo>
                    <a:pt x="55" y="422"/>
                  </a:lnTo>
                  <a:lnTo>
                    <a:pt x="53" y="422"/>
                  </a:lnTo>
                  <a:lnTo>
                    <a:pt x="53" y="421"/>
                  </a:lnTo>
                  <a:lnTo>
                    <a:pt x="53" y="421"/>
                  </a:lnTo>
                  <a:lnTo>
                    <a:pt x="51" y="419"/>
                  </a:lnTo>
                  <a:lnTo>
                    <a:pt x="51" y="418"/>
                  </a:lnTo>
                  <a:lnTo>
                    <a:pt x="51" y="418"/>
                  </a:lnTo>
                  <a:lnTo>
                    <a:pt x="48" y="413"/>
                  </a:lnTo>
                  <a:lnTo>
                    <a:pt x="44" y="409"/>
                  </a:lnTo>
                  <a:lnTo>
                    <a:pt x="41" y="404"/>
                  </a:lnTo>
                  <a:lnTo>
                    <a:pt x="39" y="400"/>
                  </a:lnTo>
                  <a:lnTo>
                    <a:pt x="38" y="393"/>
                  </a:lnTo>
                  <a:lnTo>
                    <a:pt x="39" y="387"/>
                  </a:lnTo>
                  <a:lnTo>
                    <a:pt x="42" y="383"/>
                  </a:lnTo>
                  <a:lnTo>
                    <a:pt x="73" y="354"/>
                  </a:lnTo>
                  <a:lnTo>
                    <a:pt x="68" y="343"/>
                  </a:lnTo>
                  <a:lnTo>
                    <a:pt x="64" y="334"/>
                  </a:lnTo>
                  <a:lnTo>
                    <a:pt x="23" y="334"/>
                  </a:lnTo>
                  <a:lnTo>
                    <a:pt x="18" y="333"/>
                  </a:lnTo>
                  <a:lnTo>
                    <a:pt x="13" y="331"/>
                  </a:lnTo>
                  <a:lnTo>
                    <a:pt x="10" y="328"/>
                  </a:lnTo>
                  <a:lnTo>
                    <a:pt x="7" y="325"/>
                  </a:lnTo>
                  <a:lnTo>
                    <a:pt x="4" y="320"/>
                  </a:lnTo>
                  <a:lnTo>
                    <a:pt x="3" y="302"/>
                  </a:lnTo>
                  <a:lnTo>
                    <a:pt x="0" y="284"/>
                  </a:lnTo>
                  <a:lnTo>
                    <a:pt x="0" y="241"/>
                  </a:lnTo>
                  <a:lnTo>
                    <a:pt x="4" y="206"/>
                  </a:lnTo>
                  <a:lnTo>
                    <a:pt x="7" y="201"/>
                  </a:lnTo>
                  <a:lnTo>
                    <a:pt x="10" y="198"/>
                  </a:lnTo>
                  <a:lnTo>
                    <a:pt x="13" y="195"/>
                  </a:lnTo>
                  <a:lnTo>
                    <a:pt x="18" y="194"/>
                  </a:lnTo>
                  <a:lnTo>
                    <a:pt x="23" y="194"/>
                  </a:lnTo>
                  <a:lnTo>
                    <a:pt x="64" y="194"/>
                  </a:lnTo>
                  <a:lnTo>
                    <a:pt x="67" y="186"/>
                  </a:lnTo>
                  <a:lnTo>
                    <a:pt x="70" y="179"/>
                  </a:lnTo>
                  <a:lnTo>
                    <a:pt x="73" y="173"/>
                  </a:lnTo>
                  <a:lnTo>
                    <a:pt x="42" y="142"/>
                  </a:lnTo>
                  <a:lnTo>
                    <a:pt x="41" y="139"/>
                  </a:lnTo>
                  <a:lnTo>
                    <a:pt x="39" y="134"/>
                  </a:lnTo>
                  <a:lnTo>
                    <a:pt x="38" y="130"/>
                  </a:lnTo>
                  <a:lnTo>
                    <a:pt x="39" y="125"/>
                  </a:lnTo>
                  <a:lnTo>
                    <a:pt x="41" y="121"/>
                  </a:lnTo>
                  <a:lnTo>
                    <a:pt x="44" y="116"/>
                  </a:lnTo>
                  <a:lnTo>
                    <a:pt x="48" y="110"/>
                  </a:lnTo>
                  <a:lnTo>
                    <a:pt x="53" y="104"/>
                  </a:lnTo>
                  <a:lnTo>
                    <a:pt x="77" y="76"/>
                  </a:lnTo>
                  <a:lnTo>
                    <a:pt x="105" y="52"/>
                  </a:lnTo>
                  <a:lnTo>
                    <a:pt x="112" y="46"/>
                  </a:lnTo>
                  <a:lnTo>
                    <a:pt x="120" y="40"/>
                  </a:lnTo>
                  <a:lnTo>
                    <a:pt x="126" y="38"/>
                  </a:lnTo>
                  <a:lnTo>
                    <a:pt x="132" y="38"/>
                  </a:lnTo>
                  <a:lnTo>
                    <a:pt x="138" y="40"/>
                  </a:lnTo>
                  <a:lnTo>
                    <a:pt x="143" y="44"/>
                  </a:lnTo>
                  <a:lnTo>
                    <a:pt x="173" y="73"/>
                  </a:lnTo>
                  <a:lnTo>
                    <a:pt x="183" y="69"/>
                  </a:lnTo>
                  <a:lnTo>
                    <a:pt x="193" y="64"/>
                  </a:lnTo>
                  <a:lnTo>
                    <a:pt x="193" y="23"/>
                  </a:lnTo>
                  <a:lnTo>
                    <a:pt x="193" y="17"/>
                  </a:lnTo>
                  <a:lnTo>
                    <a:pt x="195" y="14"/>
                  </a:lnTo>
                  <a:lnTo>
                    <a:pt x="198" y="9"/>
                  </a:lnTo>
                  <a:lnTo>
                    <a:pt x="202" y="8"/>
                  </a:lnTo>
                  <a:lnTo>
                    <a:pt x="207" y="6"/>
                  </a:lnTo>
                  <a:lnTo>
                    <a:pt x="224" y="2"/>
                  </a:lnTo>
                  <a:lnTo>
                    <a:pt x="242" y="2"/>
                  </a:lnTo>
                  <a:lnTo>
                    <a:pt x="26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19">
              <a:extLst>
                <a:ext uri="{FF2B5EF4-FFF2-40B4-BE49-F238E27FC236}">
                  <a16:creationId xmlns:a16="http://schemas.microsoft.com/office/drawing/2014/main" id="{999F2421-D9C3-9849-B6C7-E62F10183462}"/>
                </a:ext>
              </a:extLst>
            </p:cNvPr>
            <p:cNvSpPr>
              <a:spLocks noEditPoints="1"/>
            </p:cNvSpPr>
            <p:nvPr/>
          </p:nvSpPr>
          <p:spPr bwMode="auto">
            <a:xfrm>
              <a:off x="7294278" y="2584600"/>
              <a:ext cx="654050" cy="654050"/>
            </a:xfrm>
            <a:custGeom>
              <a:avLst/>
              <a:gdLst>
                <a:gd name="T0" fmla="*/ 178 w 412"/>
                <a:gd name="T1" fmla="*/ 60 h 412"/>
                <a:gd name="T2" fmla="*/ 139 w 412"/>
                <a:gd name="T3" fmla="*/ 86 h 412"/>
                <a:gd name="T4" fmla="*/ 101 w 412"/>
                <a:gd name="T5" fmla="*/ 61 h 412"/>
                <a:gd name="T6" fmla="*/ 87 w 412"/>
                <a:gd name="T7" fmla="*/ 125 h 412"/>
                <a:gd name="T8" fmla="*/ 72 w 412"/>
                <a:gd name="T9" fmla="*/ 172 h 412"/>
                <a:gd name="T10" fmla="*/ 29 w 412"/>
                <a:gd name="T11" fmla="*/ 188 h 412"/>
                <a:gd name="T12" fmla="*/ 27 w 412"/>
                <a:gd name="T13" fmla="*/ 215 h 412"/>
                <a:gd name="T14" fmla="*/ 65 w 412"/>
                <a:gd name="T15" fmla="*/ 233 h 412"/>
                <a:gd name="T16" fmla="*/ 87 w 412"/>
                <a:gd name="T17" fmla="*/ 276 h 412"/>
                <a:gd name="T18" fmla="*/ 62 w 412"/>
                <a:gd name="T19" fmla="*/ 313 h 412"/>
                <a:gd name="T20" fmla="*/ 122 w 412"/>
                <a:gd name="T21" fmla="*/ 328 h 412"/>
                <a:gd name="T22" fmla="*/ 154 w 412"/>
                <a:gd name="T23" fmla="*/ 331 h 412"/>
                <a:gd name="T24" fmla="*/ 178 w 412"/>
                <a:gd name="T25" fmla="*/ 381 h 412"/>
                <a:gd name="T26" fmla="*/ 229 w 412"/>
                <a:gd name="T27" fmla="*/ 381 h 412"/>
                <a:gd name="T28" fmla="*/ 244 w 412"/>
                <a:gd name="T29" fmla="*/ 336 h 412"/>
                <a:gd name="T30" fmla="*/ 288 w 412"/>
                <a:gd name="T31" fmla="*/ 328 h 412"/>
                <a:gd name="T32" fmla="*/ 349 w 412"/>
                <a:gd name="T33" fmla="*/ 313 h 412"/>
                <a:gd name="T34" fmla="*/ 323 w 412"/>
                <a:gd name="T35" fmla="*/ 281 h 412"/>
                <a:gd name="T36" fmla="*/ 343 w 412"/>
                <a:gd name="T37" fmla="*/ 236 h 412"/>
                <a:gd name="T38" fmla="*/ 384 w 412"/>
                <a:gd name="T39" fmla="*/ 220 h 412"/>
                <a:gd name="T40" fmla="*/ 348 w 412"/>
                <a:gd name="T41" fmla="*/ 179 h 412"/>
                <a:gd name="T42" fmla="*/ 326 w 412"/>
                <a:gd name="T43" fmla="*/ 139 h 412"/>
                <a:gd name="T44" fmla="*/ 348 w 412"/>
                <a:gd name="T45" fmla="*/ 99 h 412"/>
                <a:gd name="T46" fmla="*/ 313 w 412"/>
                <a:gd name="T47" fmla="*/ 63 h 412"/>
                <a:gd name="T48" fmla="*/ 277 w 412"/>
                <a:gd name="T49" fmla="*/ 87 h 412"/>
                <a:gd name="T50" fmla="*/ 233 w 412"/>
                <a:gd name="T51" fmla="*/ 64 h 412"/>
                <a:gd name="T52" fmla="*/ 206 w 412"/>
                <a:gd name="T53" fmla="*/ 28 h 412"/>
                <a:gd name="T54" fmla="*/ 258 w 412"/>
                <a:gd name="T55" fmla="*/ 9 h 412"/>
                <a:gd name="T56" fmla="*/ 300 w 412"/>
                <a:gd name="T57" fmla="*/ 34 h 412"/>
                <a:gd name="T58" fmla="*/ 322 w 412"/>
                <a:gd name="T59" fmla="*/ 35 h 412"/>
                <a:gd name="T60" fmla="*/ 352 w 412"/>
                <a:gd name="T61" fmla="*/ 61 h 412"/>
                <a:gd name="T62" fmla="*/ 372 w 412"/>
                <a:gd name="T63" fmla="*/ 84 h 412"/>
                <a:gd name="T64" fmla="*/ 380 w 412"/>
                <a:gd name="T65" fmla="*/ 108 h 412"/>
                <a:gd name="T66" fmla="*/ 393 w 412"/>
                <a:gd name="T67" fmla="*/ 151 h 412"/>
                <a:gd name="T68" fmla="*/ 412 w 412"/>
                <a:gd name="T69" fmla="*/ 189 h 412"/>
                <a:gd name="T70" fmla="*/ 406 w 412"/>
                <a:gd name="T71" fmla="*/ 255 h 412"/>
                <a:gd name="T72" fmla="*/ 354 w 412"/>
                <a:gd name="T73" fmla="*/ 276 h 412"/>
                <a:gd name="T74" fmla="*/ 375 w 412"/>
                <a:gd name="T75" fmla="*/ 322 h 412"/>
                <a:gd name="T76" fmla="*/ 309 w 412"/>
                <a:gd name="T77" fmla="*/ 380 h 412"/>
                <a:gd name="T78" fmla="*/ 261 w 412"/>
                <a:gd name="T79" fmla="*/ 360 h 412"/>
                <a:gd name="T80" fmla="*/ 223 w 412"/>
                <a:gd name="T81" fmla="*/ 410 h 412"/>
                <a:gd name="T82" fmla="*/ 189 w 412"/>
                <a:gd name="T83" fmla="*/ 412 h 412"/>
                <a:gd name="T84" fmla="*/ 151 w 412"/>
                <a:gd name="T85" fmla="*/ 392 h 412"/>
                <a:gd name="T86" fmla="*/ 99 w 412"/>
                <a:gd name="T87" fmla="*/ 380 h 412"/>
                <a:gd name="T88" fmla="*/ 81 w 412"/>
                <a:gd name="T89" fmla="*/ 369 h 412"/>
                <a:gd name="T90" fmla="*/ 41 w 412"/>
                <a:gd name="T91" fmla="*/ 328 h 412"/>
                <a:gd name="T92" fmla="*/ 30 w 412"/>
                <a:gd name="T93" fmla="*/ 311 h 412"/>
                <a:gd name="T94" fmla="*/ 50 w 412"/>
                <a:gd name="T95" fmla="*/ 261 h 412"/>
                <a:gd name="T96" fmla="*/ 0 w 412"/>
                <a:gd name="T97" fmla="*/ 223 h 412"/>
                <a:gd name="T98" fmla="*/ 18 w 412"/>
                <a:gd name="T99" fmla="*/ 151 h 412"/>
                <a:gd name="T100" fmla="*/ 30 w 412"/>
                <a:gd name="T101" fmla="*/ 108 h 412"/>
                <a:gd name="T102" fmla="*/ 41 w 412"/>
                <a:gd name="T103" fmla="*/ 83 h 412"/>
                <a:gd name="T104" fmla="*/ 104 w 412"/>
                <a:gd name="T105" fmla="*/ 31 h 412"/>
                <a:gd name="T106" fmla="*/ 151 w 412"/>
                <a:gd name="T107" fmla="*/ 14 h 412"/>
                <a:gd name="T108" fmla="*/ 206 w 412"/>
                <a:gd name="T109"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2" h="412">
                  <a:moveTo>
                    <a:pt x="206" y="28"/>
                  </a:moveTo>
                  <a:lnTo>
                    <a:pt x="192" y="28"/>
                  </a:lnTo>
                  <a:lnTo>
                    <a:pt x="187" y="28"/>
                  </a:lnTo>
                  <a:lnTo>
                    <a:pt x="183" y="29"/>
                  </a:lnTo>
                  <a:lnTo>
                    <a:pt x="178" y="29"/>
                  </a:lnTo>
                  <a:lnTo>
                    <a:pt x="178" y="60"/>
                  </a:lnTo>
                  <a:lnTo>
                    <a:pt x="177" y="64"/>
                  </a:lnTo>
                  <a:lnTo>
                    <a:pt x="175" y="69"/>
                  </a:lnTo>
                  <a:lnTo>
                    <a:pt x="172" y="72"/>
                  </a:lnTo>
                  <a:lnTo>
                    <a:pt x="169" y="75"/>
                  </a:lnTo>
                  <a:lnTo>
                    <a:pt x="154" y="80"/>
                  </a:lnTo>
                  <a:lnTo>
                    <a:pt x="139" y="86"/>
                  </a:lnTo>
                  <a:lnTo>
                    <a:pt x="136" y="87"/>
                  </a:lnTo>
                  <a:lnTo>
                    <a:pt x="133" y="87"/>
                  </a:lnTo>
                  <a:lnTo>
                    <a:pt x="128" y="87"/>
                  </a:lnTo>
                  <a:lnTo>
                    <a:pt x="125" y="86"/>
                  </a:lnTo>
                  <a:lnTo>
                    <a:pt x="122" y="84"/>
                  </a:lnTo>
                  <a:lnTo>
                    <a:pt x="101" y="61"/>
                  </a:lnTo>
                  <a:lnTo>
                    <a:pt x="99" y="63"/>
                  </a:lnTo>
                  <a:lnTo>
                    <a:pt x="79" y="80"/>
                  </a:lnTo>
                  <a:lnTo>
                    <a:pt x="62" y="99"/>
                  </a:lnTo>
                  <a:lnTo>
                    <a:pt x="62" y="99"/>
                  </a:lnTo>
                  <a:lnTo>
                    <a:pt x="84" y="122"/>
                  </a:lnTo>
                  <a:lnTo>
                    <a:pt x="87" y="125"/>
                  </a:lnTo>
                  <a:lnTo>
                    <a:pt x="87" y="130"/>
                  </a:lnTo>
                  <a:lnTo>
                    <a:pt x="87" y="134"/>
                  </a:lnTo>
                  <a:lnTo>
                    <a:pt x="87" y="139"/>
                  </a:lnTo>
                  <a:lnTo>
                    <a:pt x="79" y="153"/>
                  </a:lnTo>
                  <a:lnTo>
                    <a:pt x="73" y="168"/>
                  </a:lnTo>
                  <a:lnTo>
                    <a:pt x="72" y="172"/>
                  </a:lnTo>
                  <a:lnTo>
                    <a:pt x="69" y="176"/>
                  </a:lnTo>
                  <a:lnTo>
                    <a:pt x="65" y="177"/>
                  </a:lnTo>
                  <a:lnTo>
                    <a:pt x="61" y="179"/>
                  </a:lnTo>
                  <a:lnTo>
                    <a:pt x="29" y="179"/>
                  </a:lnTo>
                  <a:lnTo>
                    <a:pt x="29" y="183"/>
                  </a:lnTo>
                  <a:lnTo>
                    <a:pt x="29" y="188"/>
                  </a:lnTo>
                  <a:lnTo>
                    <a:pt x="29" y="191"/>
                  </a:lnTo>
                  <a:lnTo>
                    <a:pt x="27" y="195"/>
                  </a:lnTo>
                  <a:lnTo>
                    <a:pt x="27" y="200"/>
                  </a:lnTo>
                  <a:lnTo>
                    <a:pt x="27" y="206"/>
                  </a:lnTo>
                  <a:lnTo>
                    <a:pt x="27" y="211"/>
                  </a:lnTo>
                  <a:lnTo>
                    <a:pt x="27" y="215"/>
                  </a:lnTo>
                  <a:lnTo>
                    <a:pt x="29" y="220"/>
                  </a:lnTo>
                  <a:lnTo>
                    <a:pt x="29" y="224"/>
                  </a:lnTo>
                  <a:lnTo>
                    <a:pt x="29" y="229"/>
                  </a:lnTo>
                  <a:lnTo>
                    <a:pt x="29" y="233"/>
                  </a:lnTo>
                  <a:lnTo>
                    <a:pt x="61" y="233"/>
                  </a:lnTo>
                  <a:lnTo>
                    <a:pt x="65" y="233"/>
                  </a:lnTo>
                  <a:lnTo>
                    <a:pt x="69" y="236"/>
                  </a:lnTo>
                  <a:lnTo>
                    <a:pt x="72" y="240"/>
                  </a:lnTo>
                  <a:lnTo>
                    <a:pt x="73" y="243"/>
                  </a:lnTo>
                  <a:lnTo>
                    <a:pt x="79" y="258"/>
                  </a:lnTo>
                  <a:lnTo>
                    <a:pt x="87" y="272"/>
                  </a:lnTo>
                  <a:lnTo>
                    <a:pt x="87" y="276"/>
                  </a:lnTo>
                  <a:lnTo>
                    <a:pt x="87" y="281"/>
                  </a:lnTo>
                  <a:lnTo>
                    <a:pt x="87" y="285"/>
                  </a:lnTo>
                  <a:lnTo>
                    <a:pt x="84" y="288"/>
                  </a:lnTo>
                  <a:lnTo>
                    <a:pt x="62" y="311"/>
                  </a:lnTo>
                  <a:lnTo>
                    <a:pt x="62" y="313"/>
                  </a:lnTo>
                  <a:lnTo>
                    <a:pt x="62" y="313"/>
                  </a:lnTo>
                  <a:lnTo>
                    <a:pt x="64" y="313"/>
                  </a:lnTo>
                  <a:lnTo>
                    <a:pt x="79" y="331"/>
                  </a:lnTo>
                  <a:lnTo>
                    <a:pt x="98" y="346"/>
                  </a:lnTo>
                  <a:lnTo>
                    <a:pt x="99" y="348"/>
                  </a:lnTo>
                  <a:lnTo>
                    <a:pt x="101" y="349"/>
                  </a:lnTo>
                  <a:lnTo>
                    <a:pt x="122" y="328"/>
                  </a:lnTo>
                  <a:lnTo>
                    <a:pt x="125" y="325"/>
                  </a:lnTo>
                  <a:lnTo>
                    <a:pt x="128" y="323"/>
                  </a:lnTo>
                  <a:lnTo>
                    <a:pt x="133" y="323"/>
                  </a:lnTo>
                  <a:lnTo>
                    <a:pt x="136" y="323"/>
                  </a:lnTo>
                  <a:lnTo>
                    <a:pt x="139" y="325"/>
                  </a:lnTo>
                  <a:lnTo>
                    <a:pt x="154" y="331"/>
                  </a:lnTo>
                  <a:lnTo>
                    <a:pt x="169" y="336"/>
                  </a:lnTo>
                  <a:lnTo>
                    <a:pt x="172" y="339"/>
                  </a:lnTo>
                  <a:lnTo>
                    <a:pt x="175" y="342"/>
                  </a:lnTo>
                  <a:lnTo>
                    <a:pt x="177" y="346"/>
                  </a:lnTo>
                  <a:lnTo>
                    <a:pt x="178" y="351"/>
                  </a:lnTo>
                  <a:lnTo>
                    <a:pt x="178" y="381"/>
                  </a:lnTo>
                  <a:lnTo>
                    <a:pt x="183" y="381"/>
                  </a:lnTo>
                  <a:lnTo>
                    <a:pt x="187" y="383"/>
                  </a:lnTo>
                  <a:lnTo>
                    <a:pt x="192" y="384"/>
                  </a:lnTo>
                  <a:lnTo>
                    <a:pt x="221" y="384"/>
                  </a:lnTo>
                  <a:lnTo>
                    <a:pt x="224" y="383"/>
                  </a:lnTo>
                  <a:lnTo>
                    <a:pt x="229" y="381"/>
                  </a:lnTo>
                  <a:lnTo>
                    <a:pt x="233" y="381"/>
                  </a:lnTo>
                  <a:lnTo>
                    <a:pt x="233" y="351"/>
                  </a:lnTo>
                  <a:lnTo>
                    <a:pt x="233" y="346"/>
                  </a:lnTo>
                  <a:lnTo>
                    <a:pt x="236" y="342"/>
                  </a:lnTo>
                  <a:lnTo>
                    <a:pt x="239" y="339"/>
                  </a:lnTo>
                  <a:lnTo>
                    <a:pt x="244" y="336"/>
                  </a:lnTo>
                  <a:lnTo>
                    <a:pt x="258" y="331"/>
                  </a:lnTo>
                  <a:lnTo>
                    <a:pt x="273" y="325"/>
                  </a:lnTo>
                  <a:lnTo>
                    <a:pt x="277" y="323"/>
                  </a:lnTo>
                  <a:lnTo>
                    <a:pt x="282" y="323"/>
                  </a:lnTo>
                  <a:lnTo>
                    <a:pt x="285" y="325"/>
                  </a:lnTo>
                  <a:lnTo>
                    <a:pt x="288" y="328"/>
                  </a:lnTo>
                  <a:lnTo>
                    <a:pt x="311" y="349"/>
                  </a:lnTo>
                  <a:lnTo>
                    <a:pt x="311" y="349"/>
                  </a:lnTo>
                  <a:lnTo>
                    <a:pt x="313" y="348"/>
                  </a:lnTo>
                  <a:lnTo>
                    <a:pt x="313" y="348"/>
                  </a:lnTo>
                  <a:lnTo>
                    <a:pt x="332" y="331"/>
                  </a:lnTo>
                  <a:lnTo>
                    <a:pt x="349" y="313"/>
                  </a:lnTo>
                  <a:lnTo>
                    <a:pt x="349" y="311"/>
                  </a:lnTo>
                  <a:lnTo>
                    <a:pt x="349" y="311"/>
                  </a:lnTo>
                  <a:lnTo>
                    <a:pt x="351" y="311"/>
                  </a:lnTo>
                  <a:lnTo>
                    <a:pt x="329" y="288"/>
                  </a:lnTo>
                  <a:lnTo>
                    <a:pt x="325" y="285"/>
                  </a:lnTo>
                  <a:lnTo>
                    <a:pt x="323" y="281"/>
                  </a:lnTo>
                  <a:lnTo>
                    <a:pt x="325" y="276"/>
                  </a:lnTo>
                  <a:lnTo>
                    <a:pt x="326" y="272"/>
                  </a:lnTo>
                  <a:lnTo>
                    <a:pt x="332" y="258"/>
                  </a:lnTo>
                  <a:lnTo>
                    <a:pt x="338" y="243"/>
                  </a:lnTo>
                  <a:lnTo>
                    <a:pt x="340" y="240"/>
                  </a:lnTo>
                  <a:lnTo>
                    <a:pt x="343" y="236"/>
                  </a:lnTo>
                  <a:lnTo>
                    <a:pt x="346" y="233"/>
                  </a:lnTo>
                  <a:lnTo>
                    <a:pt x="351" y="233"/>
                  </a:lnTo>
                  <a:lnTo>
                    <a:pt x="383" y="233"/>
                  </a:lnTo>
                  <a:lnTo>
                    <a:pt x="383" y="229"/>
                  </a:lnTo>
                  <a:lnTo>
                    <a:pt x="383" y="224"/>
                  </a:lnTo>
                  <a:lnTo>
                    <a:pt x="384" y="220"/>
                  </a:lnTo>
                  <a:lnTo>
                    <a:pt x="384" y="191"/>
                  </a:lnTo>
                  <a:lnTo>
                    <a:pt x="383" y="188"/>
                  </a:lnTo>
                  <a:lnTo>
                    <a:pt x="383" y="183"/>
                  </a:lnTo>
                  <a:lnTo>
                    <a:pt x="383" y="179"/>
                  </a:lnTo>
                  <a:lnTo>
                    <a:pt x="351" y="179"/>
                  </a:lnTo>
                  <a:lnTo>
                    <a:pt x="348" y="179"/>
                  </a:lnTo>
                  <a:lnTo>
                    <a:pt x="345" y="177"/>
                  </a:lnTo>
                  <a:lnTo>
                    <a:pt x="341" y="174"/>
                  </a:lnTo>
                  <a:lnTo>
                    <a:pt x="338" y="171"/>
                  </a:lnTo>
                  <a:lnTo>
                    <a:pt x="338" y="168"/>
                  </a:lnTo>
                  <a:lnTo>
                    <a:pt x="332" y="153"/>
                  </a:lnTo>
                  <a:lnTo>
                    <a:pt x="326" y="139"/>
                  </a:lnTo>
                  <a:lnTo>
                    <a:pt x="325" y="134"/>
                  </a:lnTo>
                  <a:lnTo>
                    <a:pt x="323" y="130"/>
                  </a:lnTo>
                  <a:lnTo>
                    <a:pt x="325" y="125"/>
                  </a:lnTo>
                  <a:lnTo>
                    <a:pt x="329" y="122"/>
                  </a:lnTo>
                  <a:lnTo>
                    <a:pt x="349" y="99"/>
                  </a:lnTo>
                  <a:lnTo>
                    <a:pt x="348" y="99"/>
                  </a:lnTo>
                  <a:lnTo>
                    <a:pt x="348" y="98"/>
                  </a:lnTo>
                  <a:lnTo>
                    <a:pt x="332" y="80"/>
                  </a:lnTo>
                  <a:lnTo>
                    <a:pt x="314" y="64"/>
                  </a:lnTo>
                  <a:lnTo>
                    <a:pt x="313" y="64"/>
                  </a:lnTo>
                  <a:lnTo>
                    <a:pt x="313" y="64"/>
                  </a:lnTo>
                  <a:lnTo>
                    <a:pt x="313" y="63"/>
                  </a:lnTo>
                  <a:lnTo>
                    <a:pt x="311" y="63"/>
                  </a:lnTo>
                  <a:lnTo>
                    <a:pt x="311" y="61"/>
                  </a:lnTo>
                  <a:lnTo>
                    <a:pt x="288" y="84"/>
                  </a:lnTo>
                  <a:lnTo>
                    <a:pt x="285" y="86"/>
                  </a:lnTo>
                  <a:lnTo>
                    <a:pt x="282" y="87"/>
                  </a:lnTo>
                  <a:lnTo>
                    <a:pt x="277" y="87"/>
                  </a:lnTo>
                  <a:lnTo>
                    <a:pt x="273" y="86"/>
                  </a:lnTo>
                  <a:lnTo>
                    <a:pt x="258" y="80"/>
                  </a:lnTo>
                  <a:lnTo>
                    <a:pt x="244" y="75"/>
                  </a:lnTo>
                  <a:lnTo>
                    <a:pt x="239" y="72"/>
                  </a:lnTo>
                  <a:lnTo>
                    <a:pt x="236" y="69"/>
                  </a:lnTo>
                  <a:lnTo>
                    <a:pt x="233" y="64"/>
                  </a:lnTo>
                  <a:lnTo>
                    <a:pt x="233" y="60"/>
                  </a:lnTo>
                  <a:lnTo>
                    <a:pt x="233" y="29"/>
                  </a:lnTo>
                  <a:lnTo>
                    <a:pt x="229" y="29"/>
                  </a:lnTo>
                  <a:lnTo>
                    <a:pt x="224" y="28"/>
                  </a:lnTo>
                  <a:lnTo>
                    <a:pt x="221" y="28"/>
                  </a:lnTo>
                  <a:lnTo>
                    <a:pt x="206" y="28"/>
                  </a:lnTo>
                  <a:close/>
                  <a:moveTo>
                    <a:pt x="206" y="0"/>
                  </a:moveTo>
                  <a:lnTo>
                    <a:pt x="221" y="2"/>
                  </a:lnTo>
                  <a:lnTo>
                    <a:pt x="236" y="2"/>
                  </a:lnTo>
                  <a:lnTo>
                    <a:pt x="250" y="5"/>
                  </a:lnTo>
                  <a:lnTo>
                    <a:pt x="255" y="6"/>
                  </a:lnTo>
                  <a:lnTo>
                    <a:pt x="258" y="9"/>
                  </a:lnTo>
                  <a:lnTo>
                    <a:pt x="259" y="14"/>
                  </a:lnTo>
                  <a:lnTo>
                    <a:pt x="261" y="19"/>
                  </a:lnTo>
                  <a:lnTo>
                    <a:pt x="261" y="51"/>
                  </a:lnTo>
                  <a:lnTo>
                    <a:pt x="270" y="54"/>
                  </a:lnTo>
                  <a:lnTo>
                    <a:pt x="277" y="58"/>
                  </a:lnTo>
                  <a:lnTo>
                    <a:pt x="300" y="34"/>
                  </a:lnTo>
                  <a:lnTo>
                    <a:pt x="303" y="32"/>
                  </a:lnTo>
                  <a:lnTo>
                    <a:pt x="306" y="31"/>
                  </a:lnTo>
                  <a:lnTo>
                    <a:pt x="309" y="31"/>
                  </a:lnTo>
                  <a:lnTo>
                    <a:pt x="314" y="31"/>
                  </a:lnTo>
                  <a:lnTo>
                    <a:pt x="317" y="32"/>
                  </a:lnTo>
                  <a:lnTo>
                    <a:pt x="322" y="35"/>
                  </a:lnTo>
                  <a:lnTo>
                    <a:pt x="328" y="40"/>
                  </a:lnTo>
                  <a:lnTo>
                    <a:pt x="329" y="41"/>
                  </a:lnTo>
                  <a:lnTo>
                    <a:pt x="329" y="41"/>
                  </a:lnTo>
                  <a:lnTo>
                    <a:pt x="331" y="41"/>
                  </a:lnTo>
                  <a:lnTo>
                    <a:pt x="331" y="41"/>
                  </a:lnTo>
                  <a:lnTo>
                    <a:pt x="352" y="61"/>
                  </a:lnTo>
                  <a:lnTo>
                    <a:pt x="370" y="81"/>
                  </a:lnTo>
                  <a:lnTo>
                    <a:pt x="370" y="81"/>
                  </a:lnTo>
                  <a:lnTo>
                    <a:pt x="370" y="81"/>
                  </a:lnTo>
                  <a:lnTo>
                    <a:pt x="370" y="83"/>
                  </a:lnTo>
                  <a:lnTo>
                    <a:pt x="370" y="83"/>
                  </a:lnTo>
                  <a:lnTo>
                    <a:pt x="372" y="84"/>
                  </a:lnTo>
                  <a:lnTo>
                    <a:pt x="372" y="84"/>
                  </a:lnTo>
                  <a:lnTo>
                    <a:pt x="377" y="89"/>
                  </a:lnTo>
                  <a:lnTo>
                    <a:pt x="380" y="95"/>
                  </a:lnTo>
                  <a:lnTo>
                    <a:pt x="381" y="99"/>
                  </a:lnTo>
                  <a:lnTo>
                    <a:pt x="381" y="104"/>
                  </a:lnTo>
                  <a:lnTo>
                    <a:pt x="380" y="108"/>
                  </a:lnTo>
                  <a:lnTo>
                    <a:pt x="378" y="112"/>
                  </a:lnTo>
                  <a:lnTo>
                    <a:pt x="354" y="134"/>
                  </a:lnTo>
                  <a:lnTo>
                    <a:pt x="357" y="140"/>
                  </a:lnTo>
                  <a:lnTo>
                    <a:pt x="360" y="145"/>
                  </a:lnTo>
                  <a:lnTo>
                    <a:pt x="361" y="151"/>
                  </a:lnTo>
                  <a:lnTo>
                    <a:pt x="393" y="151"/>
                  </a:lnTo>
                  <a:lnTo>
                    <a:pt x="398" y="153"/>
                  </a:lnTo>
                  <a:lnTo>
                    <a:pt x="402" y="154"/>
                  </a:lnTo>
                  <a:lnTo>
                    <a:pt x="406" y="157"/>
                  </a:lnTo>
                  <a:lnTo>
                    <a:pt x="407" y="162"/>
                  </a:lnTo>
                  <a:lnTo>
                    <a:pt x="410" y="176"/>
                  </a:lnTo>
                  <a:lnTo>
                    <a:pt x="412" y="189"/>
                  </a:lnTo>
                  <a:lnTo>
                    <a:pt x="412" y="206"/>
                  </a:lnTo>
                  <a:lnTo>
                    <a:pt x="412" y="211"/>
                  </a:lnTo>
                  <a:lnTo>
                    <a:pt x="412" y="217"/>
                  </a:lnTo>
                  <a:lnTo>
                    <a:pt x="412" y="223"/>
                  </a:lnTo>
                  <a:lnTo>
                    <a:pt x="407" y="250"/>
                  </a:lnTo>
                  <a:lnTo>
                    <a:pt x="406" y="255"/>
                  </a:lnTo>
                  <a:lnTo>
                    <a:pt x="402" y="258"/>
                  </a:lnTo>
                  <a:lnTo>
                    <a:pt x="398" y="259"/>
                  </a:lnTo>
                  <a:lnTo>
                    <a:pt x="393" y="261"/>
                  </a:lnTo>
                  <a:lnTo>
                    <a:pt x="361" y="261"/>
                  </a:lnTo>
                  <a:lnTo>
                    <a:pt x="358" y="268"/>
                  </a:lnTo>
                  <a:lnTo>
                    <a:pt x="354" y="276"/>
                  </a:lnTo>
                  <a:lnTo>
                    <a:pt x="378" y="299"/>
                  </a:lnTo>
                  <a:lnTo>
                    <a:pt x="380" y="302"/>
                  </a:lnTo>
                  <a:lnTo>
                    <a:pt x="381" y="307"/>
                  </a:lnTo>
                  <a:lnTo>
                    <a:pt x="381" y="311"/>
                  </a:lnTo>
                  <a:lnTo>
                    <a:pt x="380" y="316"/>
                  </a:lnTo>
                  <a:lnTo>
                    <a:pt x="375" y="322"/>
                  </a:lnTo>
                  <a:lnTo>
                    <a:pt x="370" y="328"/>
                  </a:lnTo>
                  <a:lnTo>
                    <a:pt x="352" y="351"/>
                  </a:lnTo>
                  <a:lnTo>
                    <a:pt x="329" y="369"/>
                  </a:lnTo>
                  <a:lnTo>
                    <a:pt x="317" y="378"/>
                  </a:lnTo>
                  <a:lnTo>
                    <a:pt x="314" y="380"/>
                  </a:lnTo>
                  <a:lnTo>
                    <a:pt x="309" y="380"/>
                  </a:lnTo>
                  <a:lnTo>
                    <a:pt x="306" y="380"/>
                  </a:lnTo>
                  <a:lnTo>
                    <a:pt x="303" y="378"/>
                  </a:lnTo>
                  <a:lnTo>
                    <a:pt x="300" y="377"/>
                  </a:lnTo>
                  <a:lnTo>
                    <a:pt x="277" y="352"/>
                  </a:lnTo>
                  <a:lnTo>
                    <a:pt x="270" y="357"/>
                  </a:lnTo>
                  <a:lnTo>
                    <a:pt x="261" y="360"/>
                  </a:lnTo>
                  <a:lnTo>
                    <a:pt x="261" y="392"/>
                  </a:lnTo>
                  <a:lnTo>
                    <a:pt x="259" y="398"/>
                  </a:lnTo>
                  <a:lnTo>
                    <a:pt x="258" y="401"/>
                  </a:lnTo>
                  <a:lnTo>
                    <a:pt x="255" y="404"/>
                  </a:lnTo>
                  <a:lnTo>
                    <a:pt x="250" y="407"/>
                  </a:lnTo>
                  <a:lnTo>
                    <a:pt x="223" y="410"/>
                  </a:lnTo>
                  <a:lnTo>
                    <a:pt x="223" y="412"/>
                  </a:lnTo>
                  <a:lnTo>
                    <a:pt x="221" y="412"/>
                  </a:lnTo>
                  <a:lnTo>
                    <a:pt x="220" y="412"/>
                  </a:lnTo>
                  <a:lnTo>
                    <a:pt x="218" y="412"/>
                  </a:lnTo>
                  <a:lnTo>
                    <a:pt x="216" y="412"/>
                  </a:lnTo>
                  <a:lnTo>
                    <a:pt x="189" y="412"/>
                  </a:lnTo>
                  <a:lnTo>
                    <a:pt x="175" y="410"/>
                  </a:lnTo>
                  <a:lnTo>
                    <a:pt x="162" y="407"/>
                  </a:lnTo>
                  <a:lnTo>
                    <a:pt x="157" y="406"/>
                  </a:lnTo>
                  <a:lnTo>
                    <a:pt x="154" y="401"/>
                  </a:lnTo>
                  <a:lnTo>
                    <a:pt x="151" y="398"/>
                  </a:lnTo>
                  <a:lnTo>
                    <a:pt x="151" y="392"/>
                  </a:lnTo>
                  <a:lnTo>
                    <a:pt x="151" y="360"/>
                  </a:lnTo>
                  <a:lnTo>
                    <a:pt x="136" y="352"/>
                  </a:lnTo>
                  <a:lnTo>
                    <a:pt x="113" y="377"/>
                  </a:lnTo>
                  <a:lnTo>
                    <a:pt x="108" y="380"/>
                  </a:lnTo>
                  <a:lnTo>
                    <a:pt x="104" y="380"/>
                  </a:lnTo>
                  <a:lnTo>
                    <a:pt x="99" y="380"/>
                  </a:lnTo>
                  <a:lnTo>
                    <a:pt x="94" y="378"/>
                  </a:lnTo>
                  <a:lnTo>
                    <a:pt x="90" y="375"/>
                  </a:lnTo>
                  <a:lnTo>
                    <a:pt x="84" y="371"/>
                  </a:lnTo>
                  <a:lnTo>
                    <a:pt x="82" y="369"/>
                  </a:lnTo>
                  <a:lnTo>
                    <a:pt x="82" y="369"/>
                  </a:lnTo>
                  <a:lnTo>
                    <a:pt x="81" y="369"/>
                  </a:lnTo>
                  <a:lnTo>
                    <a:pt x="79" y="369"/>
                  </a:lnTo>
                  <a:lnTo>
                    <a:pt x="59" y="351"/>
                  </a:lnTo>
                  <a:lnTo>
                    <a:pt x="43" y="329"/>
                  </a:lnTo>
                  <a:lnTo>
                    <a:pt x="41" y="329"/>
                  </a:lnTo>
                  <a:lnTo>
                    <a:pt x="41" y="329"/>
                  </a:lnTo>
                  <a:lnTo>
                    <a:pt x="41" y="328"/>
                  </a:lnTo>
                  <a:lnTo>
                    <a:pt x="41" y="328"/>
                  </a:lnTo>
                  <a:lnTo>
                    <a:pt x="40" y="326"/>
                  </a:lnTo>
                  <a:lnTo>
                    <a:pt x="40" y="326"/>
                  </a:lnTo>
                  <a:lnTo>
                    <a:pt x="37" y="322"/>
                  </a:lnTo>
                  <a:lnTo>
                    <a:pt x="32" y="316"/>
                  </a:lnTo>
                  <a:lnTo>
                    <a:pt x="30" y="311"/>
                  </a:lnTo>
                  <a:lnTo>
                    <a:pt x="30" y="308"/>
                  </a:lnTo>
                  <a:lnTo>
                    <a:pt x="30" y="304"/>
                  </a:lnTo>
                  <a:lnTo>
                    <a:pt x="33" y="299"/>
                  </a:lnTo>
                  <a:lnTo>
                    <a:pt x="56" y="276"/>
                  </a:lnTo>
                  <a:lnTo>
                    <a:pt x="53" y="268"/>
                  </a:lnTo>
                  <a:lnTo>
                    <a:pt x="50" y="261"/>
                  </a:lnTo>
                  <a:lnTo>
                    <a:pt x="18" y="261"/>
                  </a:lnTo>
                  <a:lnTo>
                    <a:pt x="14" y="259"/>
                  </a:lnTo>
                  <a:lnTo>
                    <a:pt x="9" y="258"/>
                  </a:lnTo>
                  <a:lnTo>
                    <a:pt x="6" y="255"/>
                  </a:lnTo>
                  <a:lnTo>
                    <a:pt x="4" y="250"/>
                  </a:lnTo>
                  <a:lnTo>
                    <a:pt x="0" y="223"/>
                  </a:lnTo>
                  <a:lnTo>
                    <a:pt x="0" y="189"/>
                  </a:lnTo>
                  <a:lnTo>
                    <a:pt x="4" y="162"/>
                  </a:lnTo>
                  <a:lnTo>
                    <a:pt x="6" y="157"/>
                  </a:lnTo>
                  <a:lnTo>
                    <a:pt x="9" y="154"/>
                  </a:lnTo>
                  <a:lnTo>
                    <a:pt x="14" y="153"/>
                  </a:lnTo>
                  <a:lnTo>
                    <a:pt x="18" y="151"/>
                  </a:lnTo>
                  <a:lnTo>
                    <a:pt x="50" y="151"/>
                  </a:lnTo>
                  <a:lnTo>
                    <a:pt x="52" y="145"/>
                  </a:lnTo>
                  <a:lnTo>
                    <a:pt x="55" y="140"/>
                  </a:lnTo>
                  <a:lnTo>
                    <a:pt x="56" y="134"/>
                  </a:lnTo>
                  <a:lnTo>
                    <a:pt x="33" y="112"/>
                  </a:lnTo>
                  <a:lnTo>
                    <a:pt x="30" y="108"/>
                  </a:lnTo>
                  <a:lnTo>
                    <a:pt x="30" y="104"/>
                  </a:lnTo>
                  <a:lnTo>
                    <a:pt x="30" y="99"/>
                  </a:lnTo>
                  <a:lnTo>
                    <a:pt x="32" y="95"/>
                  </a:lnTo>
                  <a:lnTo>
                    <a:pt x="35" y="90"/>
                  </a:lnTo>
                  <a:lnTo>
                    <a:pt x="38" y="86"/>
                  </a:lnTo>
                  <a:lnTo>
                    <a:pt x="41" y="83"/>
                  </a:lnTo>
                  <a:lnTo>
                    <a:pt x="61" y="60"/>
                  </a:lnTo>
                  <a:lnTo>
                    <a:pt x="82" y="41"/>
                  </a:lnTo>
                  <a:lnTo>
                    <a:pt x="88" y="37"/>
                  </a:lnTo>
                  <a:lnTo>
                    <a:pt x="94" y="32"/>
                  </a:lnTo>
                  <a:lnTo>
                    <a:pt x="99" y="31"/>
                  </a:lnTo>
                  <a:lnTo>
                    <a:pt x="104" y="31"/>
                  </a:lnTo>
                  <a:lnTo>
                    <a:pt x="108" y="32"/>
                  </a:lnTo>
                  <a:lnTo>
                    <a:pt x="113" y="34"/>
                  </a:lnTo>
                  <a:lnTo>
                    <a:pt x="136" y="58"/>
                  </a:lnTo>
                  <a:lnTo>
                    <a:pt x="151" y="51"/>
                  </a:lnTo>
                  <a:lnTo>
                    <a:pt x="151" y="19"/>
                  </a:lnTo>
                  <a:lnTo>
                    <a:pt x="151" y="14"/>
                  </a:lnTo>
                  <a:lnTo>
                    <a:pt x="154" y="9"/>
                  </a:lnTo>
                  <a:lnTo>
                    <a:pt x="157" y="6"/>
                  </a:lnTo>
                  <a:lnTo>
                    <a:pt x="162" y="5"/>
                  </a:lnTo>
                  <a:lnTo>
                    <a:pt x="175" y="2"/>
                  </a:lnTo>
                  <a:lnTo>
                    <a:pt x="189" y="2"/>
                  </a:lnTo>
                  <a:lnTo>
                    <a:pt x="206"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0">
              <a:extLst>
                <a:ext uri="{FF2B5EF4-FFF2-40B4-BE49-F238E27FC236}">
                  <a16:creationId xmlns:a16="http://schemas.microsoft.com/office/drawing/2014/main" id="{04AC3474-4633-C94C-9F55-3EE9A5B5F81C}"/>
                </a:ext>
              </a:extLst>
            </p:cNvPr>
            <p:cNvSpPr>
              <a:spLocks noEditPoints="1"/>
            </p:cNvSpPr>
            <p:nvPr/>
          </p:nvSpPr>
          <p:spPr bwMode="auto">
            <a:xfrm>
              <a:off x="7606873" y="3257986"/>
              <a:ext cx="814388" cy="817563"/>
            </a:xfrm>
            <a:custGeom>
              <a:avLst/>
              <a:gdLst>
                <a:gd name="T0" fmla="*/ 221 w 513"/>
                <a:gd name="T1" fmla="*/ 75 h 515"/>
                <a:gd name="T2" fmla="*/ 173 w 513"/>
                <a:gd name="T3" fmla="*/ 107 h 515"/>
                <a:gd name="T4" fmla="*/ 125 w 513"/>
                <a:gd name="T5" fmla="*/ 76 h 515"/>
                <a:gd name="T6" fmla="*/ 106 w 513"/>
                <a:gd name="T7" fmla="*/ 157 h 515"/>
                <a:gd name="T8" fmla="*/ 90 w 513"/>
                <a:gd name="T9" fmla="*/ 215 h 515"/>
                <a:gd name="T10" fmla="*/ 35 w 513"/>
                <a:gd name="T11" fmla="*/ 229 h 515"/>
                <a:gd name="T12" fmla="*/ 33 w 513"/>
                <a:gd name="T13" fmla="*/ 262 h 515"/>
                <a:gd name="T14" fmla="*/ 74 w 513"/>
                <a:gd name="T15" fmla="*/ 291 h 515"/>
                <a:gd name="T16" fmla="*/ 106 w 513"/>
                <a:gd name="T17" fmla="*/ 340 h 515"/>
                <a:gd name="T18" fmla="*/ 77 w 513"/>
                <a:gd name="T19" fmla="*/ 390 h 515"/>
                <a:gd name="T20" fmla="*/ 125 w 513"/>
                <a:gd name="T21" fmla="*/ 436 h 515"/>
                <a:gd name="T22" fmla="*/ 173 w 513"/>
                <a:gd name="T23" fmla="*/ 405 h 515"/>
                <a:gd name="T24" fmla="*/ 221 w 513"/>
                <a:gd name="T25" fmla="*/ 437 h 515"/>
                <a:gd name="T26" fmla="*/ 274 w 513"/>
                <a:gd name="T27" fmla="*/ 480 h 515"/>
                <a:gd name="T28" fmla="*/ 294 w 513"/>
                <a:gd name="T29" fmla="*/ 427 h 515"/>
                <a:gd name="T30" fmla="*/ 349 w 513"/>
                <a:gd name="T31" fmla="*/ 404 h 515"/>
                <a:gd name="T32" fmla="*/ 388 w 513"/>
                <a:gd name="T33" fmla="*/ 434 h 515"/>
                <a:gd name="T34" fmla="*/ 437 w 513"/>
                <a:gd name="T35" fmla="*/ 389 h 515"/>
                <a:gd name="T36" fmla="*/ 407 w 513"/>
                <a:gd name="T37" fmla="*/ 340 h 515"/>
                <a:gd name="T38" fmla="*/ 433 w 513"/>
                <a:gd name="T39" fmla="*/ 293 h 515"/>
                <a:gd name="T40" fmla="*/ 478 w 513"/>
                <a:gd name="T41" fmla="*/ 239 h 515"/>
                <a:gd name="T42" fmla="*/ 430 w 513"/>
                <a:gd name="T43" fmla="*/ 221 h 515"/>
                <a:gd name="T44" fmla="*/ 404 w 513"/>
                <a:gd name="T45" fmla="*/ 168 h 515"/>
                <a:gd name="T46" fmla="*/ 434 w 513"/>
                <a:gd name="T47" fmla="*/ 122 h 515"/>
                <a:gd name="T48" fmla="*/ 388 w 513"/>
                <a:gd name="T49" fmla="*/ 79 h 515"/>
                <a:gd name="T50" fmla="*/ 344 w 513"/>
                <a:gd name="T51" fmla="*/ 108 h 515"/>
                <a:gd name="T52" fmla="*/ 291 w 513"/>
                <a:gd name="T53" fmla="*/ 81 h 515"/>
                <a:gd name="T54" fmla="*/ 256 w 513"/>
                <a:gd name="T55" fmla="*/ 34 h 515"/>
                <a:gd name="T56" fmla="*/ 320 w 513"/>
                <a:gd name="T57" fmla="*/ 11 h 515"/>
                <a:gd name="T58" fmla="*/ 346 w 513"/>
                <a:gd name="T59" fmla="*/ 72 h 515"/>
                <a:gd name="T60" fmla="*/ 395 w 513"/>
                <a:gd name="T61" fmla="*/ 40 h 515"/>
                <a:gd name="T62" fmla="*/ 413 w 513"/>
                <a:gd name="T63" fmla="*/ 53 h 515"/>
                <a:gd name="T64" fmla="*/ 463 w 513"/>
                <a:gd name="T65" fmla="*/ 104 h 515"/>
                <a:gd name="T66" fmla="*/ 475 w 513"/>
                <a:gd name="T67" fmla="*/ 127 h 515"/>
                <a:gd name="T68" fmla="*/ 448 w 513"/>
                <a:gd name="T69" fmla="*/ 181 h 515"/>
                <a:gd name="T70" fmla="*/ 506 w 513"/>
                <a:gd name="T71" fmla="*/ 198 h 515"/>
                <a:gd name="T72" fmla="*/ 513 w 513"/>
                <a:gd name="T73" fmla="*/ 270 h 515"/>
                <a:gd name="T74" fmla="*/ 495 w 513"/>
                <a:gd name="T75" fmla="*/ 325 h 515"/>
                <a:gd name="T76" fmla="*/ 474 w 513"/>
                <a:gd name="T77" fmla="*/ 376 h 515"/>
                <a:gd name="T78" fmla="*/ 463 w 513"/>
                <a:gd name="T79" fmla="*/ 410 h 515"/>
                <a:gd name="T80" fmla="*/ 382 w 513"/>
                <a:gd name="T81" fmla="*/ 474 h 515"/>
                <a:gd name="T82" fmla="*/ 324 w 513"/>
                <a:gd name="T83" fmla="*/ 491 h 515"/>
                <a:gd name="T84" fmla="*/ 277 w 513"/>
                <a:gd name="T85" fmla="*/ 515 h 515"/>
                <a:gd name="T86" fmla="*/ 236 w 513"/>
                <a:gd name="T87" fmla="*/ 515 h 515"/>
                <a:gd name="T88" fmla="*/ 189 w 513"/>
                <a:gd name="T89" fmla="*/ 495 h 515"/>
                <a:gd name="T90" fmla="*/ 134 w 513"/>
                <a:gd name="T91" fmla="*/ 474 h 515"/>
                <a:gd name="T92" fmla="*/ 102 w 513"/>
                <a:gd name="T93" fmla="*/ 462 h 515"/>
                <a:gd name="T94" fmla="*/ 51 w 513"/>
                <a:gd name="T95" fmla="*/ 411 h 515"/>
                <a:gd name="T96" fmla="*/ 44 w 513"/>
                <a:gd name="T97" fmla="*/ 401 h 515"/>
                <a:gd name="T98" fmla="*/ 70 w 513"/>
                <a:gd name="T99" fmla="*/ 344 h 515"/>
                <a:gd name="T100" fmla="*/ 9 w 513"/>
                <a:gd name="T101" fmla="*/ 320 h 515"/>
                <a:gd name="T102" fmla="*/ 6 w 513"/>
                <a:gd name="T103" fmla="*/ 198 h 515"/>
                <a:gd name="T104" fmla="*/ 65 w 513"/>
                <a:gd name="T105" fmla="*/ 181 h 515"/>
                <a:gd name="T106" fmla="*/ 36 w 513"/>
                <a:gd name="T107" fmla="*/ 127 h 515"/>
                <a:gd name="T108" fmla="*/ 74 w 513"/>
                <a:gd name="T109" fmla="*/ 75 h 515"/>
                <a:gd name="T110" fmla="*/ 134 w 513"/>
                <a:gd name="T111" fmla="*/ 40 h 515"/>
                <a:gd name="T112" fmla="*/ 189 w 513"/>
                <a:gd name="T113" fmla="*/ 18 h 515"/>
                <a:gd name="T114" fmla="*/ 236 w 513"/>
                <a:gd name="T115" fmla="*/ 2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3" h="515">
                  <a:moveTo>
                    <a:pt x="256" y="34"/>
                  </a:moveTo>
                  <a:lnTo>
                    <a:pt x="239" y="35"/>
                  </a:lnTo>
                  <a:lnTo>
                    <a:pt x="233" y="35"/>
                  </a:lnTo>
                  <a:lnTo>
                    <a:pt x="227" y="37"/>
                  </a:lnTo>
                  <a:lnTo>
                    <a:pt x="221" y="37"/>
                  </a:lnTo>
                  <a:lnTo>
                    <a:pt x="221" y="75"/>
                  </a:lnTo>
                  <a:lnTo>
                    <a:pt x="221" y="81"/>
                  </a:lnTo>
                  <a:lnTo>
                    <a:pt x="218" y="85"/>
                  </a:lnTo>
                  <a:lnTo>
                    <a:pt x="215" y="90"/>
                  </a:lnTo>
                  <a:lnTo>
                    <a:pt x="210" y="93"/>
                  </a:lnTo>
                  <a:lnTo>
                    <a:pt x="190" y="99"/>
                  </a:lnTo>
                  <a:lnTo>
                    <a:pt x="173" y="107"/>
                  </a:lnTo>
                  <a:lnTo>
                    <a:pt x="169" y="108"/>
                  </a:lnTo>
                  <a:lnTo>
                    <a:pt x="164" y="110"/>
                  </a:lnTo>
                  <a:lnTo>
                    <a:pt x="160" y="108"/>
                  </a:lnTo>
                  <a:lnTo>
                    <a:pt x="155" y="107"/>
                  </a:lnTo>
                  <a:lnTo>
                    <a:pt x="152" y="104"/>
                  </a:lnTo>
                  <a:lnTo>
                    <a:pt x="125" y="76"/>
                  </a:lnTo>
                  <a:lnTo>
                    <a:pt x="123" y="79"/>
                  </a:lnTo>
                  <a:lnTo>
                    <a:pt x="99" y="99"/>
                  </a:lnTo>
                  <a:lnTo>
                    <a:pt x="77" y="123"/>
                  </a:lnTo>
                  <a:lnTo>
                    <a:pt x="76" y="125"/>
                  </a:lnTo>
                  <a:lnTo>
                    <a:pt x="103" y="152"/>
                  </a:lnTo>
                  <a:lnTo>
                    <a:pt x="106" y="157"/>
                  </a:lnTo>
                  <a:lnTo>
                    <a:pt x="108" y="163"/>
                  </a:lnTo>
                  <a:lnTo>
                    <a:pt x="108" y="168"/>
                  </a:lnTo>
                  <a:lnTo>
                    <a:pt x="106" y="174"/>
                  </a:lnTo>
                  <a:lnTo>
                    <a:pt x="97" y="191"/>
                  </a:lnTo>
                  <a:lnTo>
                    <a:pt x="91" y="210"/>
                  </a:lnTo>
                  <a:lnTo>
                    <a:pt x="90" y="215"/>
                  </a:lnTo>
                  <a:lnTo>
                    <a:pt x="87" y="218"/>
                  </a:lnTo>
                  <a:lnTo>
                    <a:pt x="83" y="221"/>
                  </a:lnTo>
                  <a:lnTo>
                    <a:pt x="79" y="223"/>
                  </a:lnTo>
                  <a:lnTo>
                    <a:pt x="74" y="223"/>
                  </a:lnTo>
                  <a:lnTo>
                    <a:pt x="36" y="223"/>
                  </a:lnTo>
                  <a:lnTo>
                    <a:pt x="35" y="229"/>
                  </a:lnTo>
                  <a:lnTo>
                    <a:pt x="35" y="233"/>
                  </a:lnTo>
                  <a:lnTo>
                    <a:pt x="35" y="239"/>
                  </a:lnTo>
                  <a:lnTo>
                    <a:pt x="33" y="245"/>
                  </a:lnTo>
                  <a:lnTo>
                    <a:pt x="33" y="250"/>
                  </a:lnTo>
                  <a:lnTo>
                    <a:pt x="33" y="256"/>
                  </a:lnTo>
                  <a:lnTo>
                    <a:pt x="33" y="262"/>
                  </a:lnTo>
                  <a:lnTo>
                    <a:pt x="33" y="268"/>
                  </a:lnTo>
                  <a:lnTo>
                    <a:pt x="35" y="274"/>
                  </a:lnTo>
                  <a:lnTo>
                    <a:pt x="35" y="280"/>
                  </a:lnTo>
                  <a:lnTo>
                    <a:pt x="35" y="285"/>
                  </a:lnTo>
                  <a:lnTo>
                    <a:pt x="36" y="291"/>
                  </a:lnTo>
                  <a:lnTo>
                    <a:pt x="74" y="291"/>
                  </a:lnTo>
                  <a:lnTo>
                    <a:pt x="80" y="293"/>
                  </a:lnTo>
                  <a:lnTo>
                    <a:pt x="85" y="294"/>
                  </a:lnTo>
                  <a:lnTo>
                    <a:pt x="88" y="299"/>
                  </a:lnTo>
                  <a:lnTo>
                    <a:pt x="91" y="303"/>
                  </a:lnTo>
                  <a:lnTo>
                    <a:pt x="97" y="322"/>
                  </a:lnTo>
                  <a:lnTo>
                    <a:pt x="106" y="340"/>
                  </a:lnTo>
                  <a:lnTo>
                    <a:pt x="108" y="344"/>
                  </a:lnTo>
                  <a:lnTo>
                    <a:pt x="108" y="351"/>
                  </a:lnTo>
                  <a:lnTo>
                    <a:pt x="106" y="355"/>
                  </a:lnTo>
                  <a:lnTo>
                    <a:pt x="103" y="361"/>
                  </a:lnTo>
                  <a:lnTo>
                    <a:pt x="76" y="389"/>
                  </a:lnTo>
                  <a:lnTo>
                    <a:pt x="77" y="390"/>
                  </a:lnTo>
                  <a:lnTo>
                    <a:pt x="77" y="392"/>
                  </a:lnTo>
                  <a:lnTo>
                    <a:pt x="79" y="392"/>
                  </a:lnTo>
                  <a:lnTo>
                    <a:pt x="99" y="413"/>
                  </a:lnTo>
                  <a:lnTo>
                    <a:pt x="122" y="433"/>
                  </a:lnTo>
                  <a:lnTo>
                    <a:pt x="123" y="434"/>
                  </a:lnTo>
                  <a:lnTo>
                    <a:pt x="125" y="436"/>
                  </a:lnTo>
                  <a:lnTo>
                    <a:pt x="152" y="408"/>
                  </a:lnTo>
                  <a:lnTo>
                    <a:pt x="155" y="405"/>
                  </a:lnTo>
                  <a:lnTo>
                    <a:pt x="160" y="404"/>
                  </a:lnTo>
                  <a:lnTo>
                    <a:pt x="164" y="404"/>
                  </a:lnTo>
                  <a:lnTo>
                    <a:pt x="169" y="404"/>
                  </a:lnTo>
                  <a:lnTo>
                    <a:pt x="173" y="405"/>
                  </a:lnTo>
                  <a:lnTo>
                    <a:pt x="190" y="415"/>
                  </a:lnTo>
                  <a:lnTo>
                    <a:pt x="210" y="421"/>
                  </a:lnTo>
                  <a:lnTo>
                    <a:pt x="215" y="424"/>
                  </a:lnTo>
                  <a:lnTo>
                    <a:pt x="218" y="427"/>
                  </a:lnTo>
                  <a:lnTo>
                    <a:pt x="221" y="431"/>
                  </a:lnTo>
                  <a:lnTo>
                    <a:pt x="221" y="437"/>
                  </a:lnTo>
                  <a:lnTo>
                    <a:pt x="221" y="477"/>
                  </a:lnTo>
                  <a:lnTo>
                    <a:pt x="225" y="477"/>
                  </a:lnTo>
                  <a:lnTo>
                    <a:pt x="230" y="479"/>
                  </a:lnTo>
                  <a:lnTo>
                    <a:pt x="234" y="479"/>
                  </a:lnTo>
                  <a:lnTo>
                    <a:pt x="239" y="480"/>
                  </a:lnTo>
                  <a:lnTo>
                    <a:pt x="274" y="480"/>
                  </a:lnTo>
                  <a:lnTo>
                    <a:pt x="280" y="479"/>
                  </a:lnTo>
                  <a:lnTo>
                    <a:pt x="285" y="477"/>
                  </a:lnTo>
                  <a:lnTo>
                    <a:pt x="291" y="477"/>
                  </a:lnTo>
                  <a:lnTo>
                    <a:pt x="291" y="437"/>
                  </a:lnTo>
                  <a:lnTo>
                    <a:pt x="291" y="431"/>
                  </a:lnTo>
                  <a:lnTo>
                    <a:pt x="294" y="427"/>
                  </a:lnTo>
                  <a:lnTo>
                    <a:pt x="298" y="424"/>
                  </a:lnTo>
                  <a:lnTo>
                    <a:pt x="303" y="421"/>
                  </a:lnTo>
                  <a:lnTo>
                    <a:pt x="321" y="415"/>
                  </a:lnTo>
                  <a:lnTo>
                    <a:pt x="340" y="405"/>
                  </a:lnTo>
                  <a:lnTo>
                    <a:pt x="344" y="404"/>
                  </a:lnTo>
                  <a:lnTo>
                    <a:pt x="349" y="404"/>
                  </a:lnTo>
                  <a:lnTo>
                    <a:pt x="352" y="404"/>
                  </a:lnTo>
                  <a:lnTo>
                    <a:pt x="356" y="405"/>
                  </a:lnTo>
                  <a:lnTo>
                    <a:pt x="359" y="408"/>
                  </a:lnTo>
                  <a:lnTo>
                    <a:pt x="387" y="436"/>
                  </a:lnTo>
                  <a:lnTo>
                    <a:pt x="388" y="436"/>
                  </a:lnTo>
                  <a:lnTo>
                    <a:pt x="388" y="434"/>
                  </a:lnTo>
                  <a:lnTo>
                    <a:pt x="390" y="434"/>
                  </a:lnTo>
                  <a:lnTo>
                    <a:pt x="414" y="415"/>
                  </a:lnTo>
                  <a:lnTo>
                    <a:pt x="436" y="390"/>
                  </a:lnTo>
                  <a:lnTo>
                    <a:pt x="436" y="389"/>
                  </a:lnTo>
                  <a:lnTo>
                    <a:pt x="436" y="389"/>
                  </a:lnTo>
                  <a:lnTo>
                    <a:pt x="437" y="389"/>
                  </a:lnTo>
                  <a:lnTo>
                    <a:pt x="410" y="361"/>
                  </a:lnTo>
                  <a:lnTo>
                    <a:pt x="407" y="357"/>
                  </a:lnTo>
                  <a:lnTo>
                    <a:pt x="404" y="352"/>
                  </a:lnTo>
                  <a:lnTo>
                    <a:pt x="404" y="347"/>
                  </a:lnTo>
                  <a:lnTo>
                    <a:pt x="404" y="344"/>
                  </a:lnTo>
                  <a:lnTo>
                    <a:pt x="407" y="340"/>
                  </a:lnTo>
                  <a:lnTo>
                    <a:pt x="414" y="322"/>
                  </a:lnTo>
                  <a:lnTo>
                    <a:pt x="420" y="303"/>
                  </a:lnTo>
                  <a:lnTo>
                    <a:pt x="422" y="299"/>
                  </a:lnTo>
                  <a:lnTo>
                    <a:pt x="425" y="296"/>
                  </a:lnTo>
                  <a:lnTo>
                    <a:pt x="430" y="294"/>
                  </a:lnTo>
                  <a:lnTo>
                    <a:pt x="433" y="293"/>
                  </a:lnTo>
                  <a:lnTo>
                    <a:pt x="437" y="291"/>
                  </a:lnTo>
                  <a:lnTo>
                    <a:pt x="477" y="291"/>
                  </a:lnTo>
                  <a:lnTo>
                    <a:pt x="477" y="285"/>
                  </a:lnTo>
                  <a:lnTo>
                    <a:pt x="477" y="280"/>
                  </a:lnTo>
                  <a:lnTo>
                    <a:pt x="478" y="274"/>
                  </a:lnTo>
                  <a:lnTo>
                    <a:pt x="478" y="239"/>
                  </a:lnTo>
                  <a:lnTo>
                    <a:pt x="477" y="233"/>
                  </a:lnTo>
                  <a:lnTo>
                    <a:pt x="477" y="229"/>
                  </a:lnTo>
                  <a:lnTo>
                    <a:pt x="477" y="223"/>
                  </a:lnTo>
                  <a:lnTo>
                    <a:pt x="437" y="223"/>
                  </a:lnTo>
                  <a:lnTo>
                    <a:pt x="433" y="223"/>
                  </a:lnTo>
                  <a:lnTo>
                    <a:pt x="430" y="221"/>
                  </a:lnTo>
                  <a:lnTo>
                    <a:pt x="425" y="218"/>
                  </a:lnTo>
                  <a:lnTo>
                    <a:pt x="422" y="215"/>
                  </a:lnTo>
                  <a:lnTo>
                    <a:pt x="420" y="210"/>
                  </a:lnTo>
                  <a:lnTo>
                    <a:pt x="414" y="191"/>
                  </a:lnTo>
                  <a:lnTo>
                    <a:pt x="407" y="174"/>
                  </a:lnTo>
                  <a:lnTo>
                    <a:pt x="404" y="168"/>
                  </a:lnTo>
                  <a:lnTo>
                    <a:pt x="404" y="163"/>
                  </a:lnTo>
                  <a:lnTo>
                    <a:pt x="405" y="157"/>
                  </a:lnTo>
                  <a:lnTo>
                    <a:pt x="410" y="152"/>
                  </a:lnTo>
                  <a:lnTo>
                    <a:pt x="436" y="125"/>
                  </a:lnTo>
                  <a:lnTo>
                    <a:pt x="434" y="123"/>
                  </a:lnTo>
                  <a:lnTo>
                    <a:pt x="434" y="122"/>
                  </a:lnTo>
                  <a:lnTo>
                    <a:pt x="413" y="99"/>
                  </a:lnTo>
                  <a:lnTo>
                    <a:pt x="391" y="79"/>
                  </a:lnTo>
                  <a:lnTo>
                    <a:pt x="390" y="79"/>
                  </a:lnTo>
                  <a:lnTo>
                    <a:pt x="390" y="79"/>
                  </a:lnTo>
                  <a:lnTo>
                    <a:pt x="390" y="79"/>
                  </a:lnTo>
                  <a:lnTo>
                    <a:pt x="388" y="79"/>
                  </a:lnTo>
                  <a:lnTo>
                    <a:pt x="387" y="76"/>
                  </a:lnTo>
                  <a:lnTo>
                    <a:pt x="359" y="104"/>
                  </a:lnTo>
                  <a:lnTo>
                    <a:pt x="356" y="107"/>
                  </a:lnTo>
                  <a:lnTo>
                    <a:pt x="352" y="108"/>
                  </a:lnTo>
                  <a:lnTo>
                    <a:pt x="349" y="110"/>
                  </a:lnTo>
                  <a:lnTo>
                    <a:pt x="344" y="108"/>
                  </a:lnTo>
                  <a:lnTo>
                    <a:pt x="340" y="107"/>
                  </a:lnTo>
                  <a:lnTo>
                    <a:pt x="321" y="99"/>
                  </a:lnTo>
                  <a:lnTo>
                    <a:pt x="303" y="93"/>
                  </a:lnTo>
                  <a:lnTo>
                    <a:pt x="298" y="90"/>
                  </a:lnTo>
                  <a:lnTo>
                    <a:pt x="294" y="85"/>
                  </a:lnTo>
                  <a:lnTo>
                    <a:pt x="291" y="81"/>
                  </a:lnTo>
                  <a:lnTo>
                    <a:pt x="291" y="75"/>
                  </a:lnTo>
                  <a:lnTo>
                    <a:pt x="291" y="37"/>
                  </a:lnTo>
                  <a:lnTo>
                    <a:pt x="285" y="37"/>
                  </a:lnTo>
                  <a:lnTo>
                    <a:pt x="280" y="35"/>
                  </a:lnTo>
                  <a:lnTo>
                    <a:pt x="274" y="35"/>
                  </a:lnTo>
                  <a:lnTo>
                    <a:pt x="256" y="34"/>
                  </a:lnTo>
                  <a:close/>
                  <a:moveTo>
                    <a:pt x="256" y="0"/>
                  </a:moveTo>
                  <a:lnTo>
                    <a:pt x="276" y="2"/>
                  </a:lnTo>
                  <a:lnTo>
                    <a:pt x="294" y="3"/>
                  </a:lnTo>
                  <a:lnTo>
                    <a:pt x="312" y="6"/>
                  </a:lnTo>
                  <a:lnTo>
                    <a:pt x="315" y="8"/>
                  </a:lnTo>
                  <a:lnTo>
                    <a:pt x="320" y="11"/>
                  </a:lnTo>
                  <a:lnTo>
                    <a:pt x="321" y="14"/>
                  </a:lnTo>
                  <a:lnTo>
                    <a:pt x="324" y="18"/>
                  </a:lnTo>
                  <a:lnTo>
                    <a:pt x="324" y="23"/>
                  </a:lnTo>
                  <a:lnTo>
                    <a:pt x="324" y="63"/>
                  </a:lnTo>
                  <a:lnTo>
                    <a:pt x="335" y="67"/>
                  </a:lnTo>
                  <a:lnTo>
                    <a:pt x="346" y="72"/>
                  </a:lnTo>
                  <a:lnTo>
                    <a:pt x="375" y="43"/>
                  </a:lnTo>
                  <a:lnTo>
                    <a:pt x="378" y="40"/>
                  </a:lnTo>
                  <a:lnTo>
                    <a:pt x="382" y="38"/>
                  </a:lnTo>
                  <a:lnTo>
                    <a:pt x="387" y="38"/>
                  </a:lnTo>
                  <a:lnTo>
                    <a:pt x="391" y="38"/>
                  </a:lnTo>
                  <a:lnTo>
                    <a:pt x="395" y="40"/>
                  </a:lnTo>
                  <a:lnTo>
                    <a:pt x="402" y="44"/>
                  </a:lnTo>
                  <a:lnTo>
                    <a:pt x="408" y="50"/>
                  </a:lnTo>
                  <a:lnTo>
                    <a:pt x="410" y="52"/>
                  </a:lnTo>
                  <a:lnTo>
                    <a:pt x="411" y="52"/>
                  </a:lnTo>
                  <a:lnTo>
                    <a:pt x="413" y="52"/>
                  </a:lnTo>
                  <a:lnTo>
                    <a:pt x="413" y="53"/>
                  </a:lnTo>
                  <a:lnTo>
                    <a:pt x="439" y="76"/>
                  </a:lnTo>
                  <a:lnTo>
                    <a:pt x="462" y="101"/>
                  </a:lnTo>
                  <a:lnTo>
                    <a:pt x="462" y="102"/>
                  </a:lnTo>
                  <a:lnTo>
                    <a:pt x="462" y="102"/>
                  </a:lnTo>
                  <a:lnTo>
                    <a:pt x="463" y="102"/>
                  </a:lnTo>
                  <a:lnTo>
                    <a:pt x="463" y="104"/>
                  </a:lnTo>
                  <a:lnTo>
                    <a:pt x="463" y="105"/>
                  </a:lnTo>
                  <a:lnTo>
                    <a:pt x="465" y="105"/>
                  </a:lnTo>
                  <a:lnTo>
                    <a:pt x="469" y="111"/>
                  </a:lnTo>
                  <a:lnTo>
                    <a:pt x="472" y="119"/>
                  </a:lnTo>
                  <a:lnTo>
                    <a:pt x="474" y="123"/>
                  </a:lnTo>
                  <a:lnTo>
                    <a:pt x="475" y="127"/>
                  </a:lnTo>
                  <a:lnTo>
                    <a:pt x="475" y="131"/>
                  </a:lnTo>
                  <a:lnTo>
                    <a:pt x="474" y="136"/>
                  </a:lnTo>
                  <a:lnTo>
                    <a:pt x="471" y="139"/>
                  </a:lnTo>
                  <a:lnTo>
                    <a:pt x="442" y="168"/>
                  </a:lnTo>
                  <a:lnTo>
                    <a:pt x="445" y="175"/>
                  </a:lnTo>
                  <a:lnTo>
                    <a:pt x="448" y="181"/>
                  </a:lnTo>
                  <a:lnTo>
                    <a:pt x="449" y="189"/>
                  </a:lnTo>
                  <a:lnTo>
                    <a:pt x="491" y="189"/>
                  </a:lnTo>
                  <a:lnTo>
                    <a:pt x="495" y="189"/>
                  </a:lnTo>
                  <a:lnTo>
                    <a:pt x="500" y="192"/>
                  </a:lnTo>
                  <a:lnTo>
                    <a:pt x="503" y="194"/>
                  </a:lnTo>
                  <a:lnTo>
                    <a:pt x="506" y="198"/>
                  </a:lnTo>
                  <a:lnTo>
                    <a:pt x="507" y="201"/>
                  </a:lnTo>
                  <a:lnTo>
                    <a:pt x="510" y="219"/>
                  </a:lnTo>
                  <a:lnTo>
                    <a:pt x="513" y="236"/>
                  </a:lnTo>
                  <a:lnTo>
                    <a:pt x="513" y="256"/>
                  </a:lnTo>
                  <a:lnTo>
                    <a:pt x="513" y="264"/>
                  </a:lnTo>
                  <a:lnTo>
                    <a:pt x="513" y="270"/>
                  </a:lnTo>
                  <a:lnTo>
                    <a:pt x="512" y="277"/>
                  </a:lnTo>
                  <a:lnTo>
                    <a:pt x="507" y="312"/>
                  </a:lnTo>
                  <a:lnTo>
                    <a:pt x="506" y="317"/>
                  </a:lnTo>
                  <a:lnTo>
                    <a:pt x="503" y="320"/>
                  </a:lnTo>
                  <a:lnTo>
                    <a:pt x="500" y="323"/>
                  </a:lnTo>
                  <a:lnTo>
                    <a:pt x="495" y="325"/>
                  </a:lnTo>
                  <a:lnTo>
                    <a:pt x="491" y="326"/>
                  </a:lnTo>
                  <a:lnTo>
                    <a:pt x="449" y="326"/>
                  </a:lnTo>
                  <a:lnTo>
                    <a:pt x="446" y="335"/>
                  </a:lnTo>
                  <a:lnTo>
                    <a:pt x="442" y="344"/>
                  </a:lnTo>
                  <a:lnTo>
                    <a:pt x="471" y="373"/>
                  </a:lnTo>
                  <a:lnTo>
                    <a:pt x="474" y="376"/>
                  </a:lnTo>
                  <a:lnTo>
                    <a:pt x="475" y="381"/>
                  </a:lnTo>
                  <a:lnTo>
                    <a:pt x="475" y="386"/>
                  </a:lnTo>
                  <a:lnTo>
                    <a:pt x="474" y="390"/>
                  </a:lnTo>
                  <a:lnTo>
                    <a:pt x="472" y="395"/>
                  </a:lnTo>
                  <a:lnTo>
                    <a:pt x="468" y="402"/>
                  </a:lnTo>
                  <a:lnTo>
                    <a:pt x="463" y="410"/>
                  </a:lnTo>
                  <a:lnTo>
                    <a:pt x="439" y="437"/>
                  </a:lnTo>
                  <a:lnTo>
                    <a:pt x="410" y="462"/>
                  </a:lnTo>
                  <a:lnTo>
                    <a:pt x="395" y="472"/>
                  </a:lnTo>
                  <a:lnTo>
                    <a:pt x="391" y="474"/>
                  </a:lnTo>
                  <a:lnTo>
                    <a:pt x="387" y="475"/>
                  </a:lnTo>
                  <a:lnTo>
                    <a:pt x="382" y="474"/>
                  </a:lnTo>
                  <a:lnTo>
                    <a:pt x="378" y="472"/>
                  </a:lnTo>
                  <a:lnTo>
                    <a:pt x="375" y="469"/>
                  </a:lnTo>
                  <a:lnTo>
                    <a:pt x="346" y="440"/>
                  </a:lnTo>
                  <a:lnTo>
                    <a:pt x="335" y="445"/>
                  </a:lnTo>
                  <a:lnTo>
                    <a:pt x="324" y="451"/>
                  </a:lnTo>
                  <a:lnTo>
                    <a:pt x="324" y="491"/>
                  </a:lnTo>
                  <a:lnTo>
                    <a:pt x="323" y="497"/>
                  </a:lnTo>
                  <a:lnTo>
                    <a:pt x="321" y="501"/>
                  </a:lnTo>
                  <a:lnTo>
                    <a:pt x="317" y="504"/>
                  </a:lnTo>
                  <a:lnTo>
                    <a:pt x="312" y="507"/>
                  </a:lnTo>
                  <a:lnTo>
                    <a:pt x="277" y="514"/>
                  </a:lnTo>
                  <a:lnTo>
                    <a:pt x="277" y="515"/>
                  </a:lnTo>
                  <a:lnTo>
                    <a:pt x="276" y="515"/>
                  </a:lnTo>
                  <a:lnTo>
                    <a:pt x="274" y="514"/>
                  </a:lnTo>
                  <a:lnTo>
                    <a:pt x="273" y="514"/>
                  </a:lnTo>
                  <a:lnTo>
                    <a:pt x="271" y="514"/>
                  </a:lnTo>
                  <a:lnTo>
                    <a:pt x="269" y="515"/>
                  </a:lnTo>
                  <a:lnTo>
                    <a:pt x="236" y="515"/>
                  </a:lnTo>
                  <a:lnTo>
                    <a:pt x="218" y="512"/>
                  </a:lnTo>
                  <a:lnTo>
                    <a:pt x="201" y="507"/>
                  </a:lnTo>
                  <a:lnTo>
                    <a:pt x="196" y="506"/>
                  </a:lnTo>
                  <a:lnTo>
                    <a:pt x="192" y="503"/>
                  </a:lnTo>
                  <a:lnTo>
                    <a:pt x="190" y="500"/>
                  </a:lnTo>
                  <a:lnTo>
                    <a:pt x="189" y="495"/>
                  </a:lnTo>
                  <a:lnTo>
                    <a:pt x="187" y="491"/>
                  </a:lnTo>
                  <a:lnTo>
                    <a:pt x="187" y="451"/>
                  </a:lnTo>
                  <a:lnTo>
                    <a:pt x="178" y="445"/>
                  </a:lnTo>
                  <a:lnTo>
                    <a:pt x="169" y="440"/>
                  </a:lnTo>
                  <a:lnTo>
                    <a:pt x="140" y="469"/>
                  </a:lnTo>
                  <a:lnTo>
                    <a:pt x="134" y="474"/>
                  </a:lnTo>
                  <a:lnTo>
                    <a:pt x="129" y="475"/>
                  </a:lnTo>
                  <a:lnTo>
                    <a:pt x="123" y="474"/>
                  </a:lnTo>
                  <a:lnTo>
                    <a:pt x="117" y="472"/>
                  </a:lnTo>
                  <a:lnTo>
                    <a:pt x="111" y="468"/>
                  </a:lnTo>
                  <a:lnTo>
                    <a:pt x="103" y="463"/>
                  </a:lnTo>
                  <a:lnTo>
                    <a:pt x="102" y="462"/>
                  </a:lnTo>
                  <a:lnTo>
                    <a:pt x="102" y="462"/>
                  </a:lnTo>
                  <a:lnTo>
                    <a:pt x="100" y="460"/>
                  </a:lnTo>
                  <a:lnTo>
                    <a:pt x="99" y="460"/>
                  </a:lnTo>
                  <a:lnTo>
                    <a:pt x="74" y="437"/>
                  </a:lnTo>
                  <a:lnTo>
                    <a:pt x="53" y="411"/>
                  </a:lnTo>
                  <a:lnTo>
                    <a:pt x="51" y="411"/>
                  </a:lnTo>
                  <a:lnTo>
                    <a:pt x="50" y="411"/>
                  </a:lnTo>
                  <a:lnTo>
                    <a:pt x="50" y="410"/>
                  </a:lnTo>
                  <a:lnTo>
                    <a:pt x="50" y="408"/>
                  </a:lnTo>
                  <a:lnTo>
                    <a:pt x="50" y="408"/>
                  </a:lnTo>
                  <a:lnTo>
                    <a:pt x="48" y="407"/>
                  </a:lnTo>
                  <a:lnTo>
                    <a:pt x="44" y="401"/>
                  </a:lnTo>
                  <a:lnTo>
                    <a:pt x="39" y="395"/>
                  </a:lnTo>
                  <a:lnTo>
                    <a:pt x="38" y="389"/>
                  </a:lnTo>
                  <a:lnTo>
                    <a:pt x="36" y="384"/>
                  </a:lnTo>
                  <a:lnTo>
                    <a:pt x="38" y="378"/>
                  </a:lnTo>
                  <a:lnTo>
                    <a:pt x="41" y="373"/>
                  </a:lnTo>
                  <a:lnTo>
                    <a:pt x="70" y="344"/>
                  </a:lnTo>
                  <a:lnTo>
                    <a:pt x="65" y="335"/>
                  </a:lnTo>
                  <a:lnTo>
                    <a:pt x="62" y="326"/>
                  </a:lnTo>
                  <a:lnTo>
                    <a:pt x="21" y="326"/>
                  </a:lnTo>
                  <a:lnTo>
                    <a:pt x="16" y="325"/>
                  </a:lnTo>
                  <a:lnTo>
                    <a:pt x="12" y="323"/>
                  </a:lnTo>
                  <a:lnTo>
                    <a:pt x="9" y="320"/>
                  </a:lnTo>
                  <a:lnTo>
                    <a:pt x="6" y="317"/>
                  </a:lnTo>
                  <a:lnTo>
                    <a:pt x="4" y="312"/>
                  </a:lnTo>
                  <a:lnTo>
                    <a:pt x="0" y="277"/>
                  </a:lnTo>
                  <a:lnTo>
                    <a:pt x="0" y="236"/>
                  </a:lnTo>
                  <a:lnTo>
                    <a:pt x="4" y="201"/>
                  </a:lnTo>
                  <a:lnTo>
                    <a:pt x="6" y="198"/>
                  </a:lnTo>
                  <a:lnTo>
                    <a:pt x="9" y="194"/>
                  </a:lnTo>
                  <a:lnTo>
                    <a:pt x="12" y="192"/>
                  </a:lnTo>
                  <a:lnTo>
                    <a:pt x="16" y="189"/>
                  </a:lnTo>
                  <a:lnTo>
                    <a:pt x="21" y="189"/>
                  </a:lnTo>
                  <a:lnTo>
                    <a:pt x="62" y="189"/>
                  </a:lnTo>
                  <a:lnTo>
                    <a:pt x="65" y="181"/>
                  </a:lnTo>
                  <a:lnTo>
                    <a:pt x="67" y="175"/>
                  </a:lnTo>
                  <a:lnTo>
                    <a:pt x="70" y="168"/>
                  </a:lnTo>
                  <a:lnTo>
                    <a:pt x="41" y="139"/>
                  </a:lnTo>
                  <a:lnTo>
                    <a:pt x="38" y="136"/>
                  </a:lnTo>
                  <a:lnTo>
                    <a:pt x="36" y="131"/>
                  </a:lnTo>
                  <a:lnTo>
                    <a:pt x="36" y="127"/>
                  </a:lnTo>
                  <a:lnTo>
                    <a:pt x="38" y="123"/>
                  </a:lnTo>
                  <a:lnTo>
                    <a:pt x="39" y="119"/>
                  </a:lnTo>
                  <a:lnTo>
                    <a:pt x="42" y="113"/>
                  </a:lnTo>
                  <a:lnTo>
                    <a:pt x="47" y="108"/>
                  </a:lnTo>
                  <a:lnTo>
                    <a:pt x="50" y="102"/>
                  </a:lnTo>
                  <a:lnTo>
                    <a:pt x="74" y="75"/>
                  </a:lnTo>
                  <a:lnTo>
                    <a:pt x="102" y="52"/>
                  </a:lnTo>
                  <a:lnTo>
                    <a:pt x="109" y="46"/>
                  </a:lnTo>
                  <a:lnTo>
                    <a:pt x="117" y="40"/>
                  </a:lnTo>
                  <a:lnTo>
                    <a:pt x="123" y="38"/>
                  </a:lnTo>
                  <a:lnTo>
                    <a:pt x="129" y="38"/>
                  </a:lnTo>
                  <a:lnTo>
                    <a:pt x="134" y="40"/>
                  </a:lnTo>
                  <a:lnTo>
                    <a:pt x="140" y="43"/>
                  </a:lnTo>
                  <a:lnTo>
                    <a:pt x="169" y="72"/>
                  </a:lnTo>
                  <a:lnTo>
                    <a:pt x="178" y="67"/>
                  </a:lnTo>
                  <a:lnTo>
                    <a:pt x="187" y="63"/>
                  </a:lnTo>
                  <a:lnTo>
                    <a:pt x="187" y="23"/>
                  </a:lnTo>
                  <a:lnTo>
                    <a:pt x="189" y="18"/>
                  </a:lnTo>
                  <a:lnTo>
                    <a:pt x="190" y="14"/>
                  </a:lnTo>
                  <a:lnTo>
                    <a:pt x="192" y="11"/>
                  </a:lnTo>
                  <a:lnTo>
                    <a:pt x="196" y="8"/>
                  </a:lnTo>
                  <a:lnTo>
                    <a:pt x="201" y="6"/>
                  </a:lnTo>
                  <a:lnTo>
                    <a:pt x="218" y="3"/>
                  </a:lnTo>
                  <a:lnTo>
                    <a:pt x="236" y="2"/>
                  </a:lnTo>
                  <a:lnTo>
                    <a:pt x="25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1">
              <a:extLst>
                <a:ext uri="{FF2B5EF4-FFF2-40B4-BE49-F238E27FC236}">
                  <a16:creationId xmlns:a16="http://schemas.microsoft.com/office/drawing/2014/main" id="{EE9B476E-8FD7-4C4A-BD08-81148B4D5969}"/>
                </a:ext>
              </a:extLst>
            </p:cNvPr>
            <p:cNvSpPr>
              <a:spLocks noEditPoints="1"/>
            </p:cNvSpPr>
            <p:nvPr/>
          </p:nvSpPr>
          <p:spPr bwMode="auto">
            <a:xfrm>
              <a:off x="7360087" y="1955800"/>
              <a:ext cx="555625" cy="554038"/>
            </a:xfrm>
            <a:custGeom>
              <a:avLst/>
              <a:gdLst>
                <a:gd name="T0" fmla="*/ 151 w 350"/>
                <a:gd name="T1" fmla="*/ 50 h 349"/>
                <a:gd name="T2" fmla="*/ 118 w 350"/>
                <a:gd name="T3" fmla="*/ 73 h 349"/>
                <a:gd name="T4" fmla="*/ 84 w 350"/>
                <a:gd name="T5" fmla="*/ 53 h 349"/>
                <a:gd name="T6" fmla="*/ 74 w 350"/>
                <a:gd name="T7" fmla="*/ 113 h 349"/>
                <a:gd name="T8" fmla="*/ 55 w 350"/>
                <a:gd name="T9" fmla="*/ 151 h 349"/>
                <a:gd name="T10" fmla="*/ 23 w 350"/>
                <a:gd name="T11" fmla="*/ 171 h 349"/>
                <a:gd name="T12" fmla="*/ 25 w 350"/>
                <a:gd name="T13" fmla="*/ 198 h 349"/>
                <a:gd name="T14" fmla="*/ 74 w 350"/>
                <a:gd name="T15" fmla="*/ 230 h 349"/>
                <a:gd name="T16" fmla="*/ 54 w 350"/>
                <a:gd name="T17" fmla="*/ 265 h 349"/>
                <a:gd name="T18" fmla="*/ 86 w 350"/>
                <a:gd name="T19" fmla="*/ 296 h 349"/>
                <a:gd name="T20" fmla="*/ 130 w 350"/>
                <a:gd name="T21" fmla="*/ 282 h 349"/>
                <a:gd name="T22" fmla="*/ 154 w 350"/>
                <a:gd name="T23" fmla="*/ 325 h 349"/>
                <a:gd name="T24" fmla="*/ 197 w 350"/>
                <a:gd name="T25" fmla="*/ 323 h 349"/>
                <a:gd name="T26" fmla="*/ 232 w 350"/>
                <a:gd name="T27" fmla="*/ 276 h 349"/>
                <a:gd name="T28" fmla="*/ 264 w 350"/>
                <a:gd name="T29" fmla="*/ 296 h 349"/>
                <a:gd name="T30" fmla="*/ 296 w 350"/>
                <a:gd name="T31" fmla="*/ 264 h 349"/>
                <a:gd name="T32" fmla="*/ 276 w 350"/>
                <a:gd name="T33" fmla="*/ 230 h 349"/>
                <a:gd name="T34" fmla="*/ 325 w 350"/>
                <a:gd name="T35" fmla="*/ 198 h 349"/>
                <a:gd name="T36" fmla="*/ 325 w 350"/>
                <a:gd name="T37" fmla="*/ 151 h 349"/>
                <a:gd name="T38" fmla="*/ 283 w 350"/>
                <a:gd name="T39" fmla="*/ 130 h 349"/>
                <a:gd name="T40" fmla="*/ 296 w 350"/>
                <a:gd name="T41" fmla="*/ 84 h 349"/>
                <a:gd name="T42" fmla="*/ 266 w 350"/>
                <a:gd name="T43" fmla="*/ 53 h 349"/>
                <a:gd name="T44" fmla="*/ 238 w 350"/>
                <a:gd name="T45" fmla="*/ 73 h 349"/>
                <a:gd name="T46" fmla="*/ 200 w 350"/>
                <a:gd name="T47" fmla="*/ 58 h 349"/>
                <a:gd name="T48" fmla="*/ 186 w 350"/>
                <a:gd name="T49" fmla="*/ 23 h 349"/>
                <a:gd name="T50" fmla="*/ 215 w 350"/>
                <a:gd name="T51" fmla="*/ 5 h 349"/>
                <a:gd name="T52" fmla="*/ 235 w 350"/>
                <a:gd name="T53" fmla="*/ 49 h 349"/>
                <a:gd name="T54" fmla="*/ 273 w 350"/>
                <a:gd name="T55" fmla="*/ 30 h 349"/>
                <a:gd name="T56" fmla="*/ 315 w 350"/>
                <a:gd name="T57" fmla="*/ 69 h 349"/>
                <a:gd name="T58" fmla="*/ 316 w 350"/>
                <a:gd name="T59" fmla="*/ 72 h 349"/>
                <a:gd name="T60" fmla="*/ 321 w 350"/>
                <a:gd name="T61" fmla="*/ 94 h 349"/>
                <a:gd name="T62" fmla="*/ 342 w 350"/>
                <a:gd name="T63" fmla="*/ 131 h 349"/>
                <a:gd name="T64" fmla="*/ 350 w 350"/>
                <a:gd name="T65" fmla="*/ 174 h 349"/>
                <a:gd name="T66" fmla="*/ 343 w 350"/>
                <a:gd name="T67" fmla="*/ 216 h 349"/>
                <a:gd name="T68" fmla="*/ 301 w 350"/>
                <a:gd name="T69" fmla="*/ 235 h 349"/>
                <a:gd name="T70" fmla="*/ 318 w 350"/>
                <a:gd name="T71" fmla="*/ 273 h 349"/>
                <a:gd name="T72" fmla="*/ 266 w 350"/>
                <a:gd name="T73" fmla="*/ 323 h 349"/>
                <a:gd name="T74" fmla="*/ 222 w 350"/>
                <a:gd name="T75" fmla="*/ 306 h 349"/>
                <a:gd name="T76" fmla="*/ 189 w 350"/>
                <a:gd name="T77" fmla="*/ 349 h 349"/>
                <a:gd name="T78" fmla="*/ 161 w 350"/>
                <a:gd name="T79" fmla="*/ 349 h 349"/>
                <a:gd name="T80" fmla="*/ 128 w 350"/>
                <a:gd name="T81" fmla="*/ 337 h 349"/>
                <a:gd name="T82" fmla="*/ 87 w 350"/>
                <a:gd name="T83" fmla="*/ 323 h 349"/>
                <a:gd name="T84" fmla="*/ 69 w 350"/>
                <a:gd name="T85" fmla="*/ 314 h 349"/>
                <a:gd name="T86" fmla="*/ 35 w 350"/>
                <a:gd name="T87" fmla="*/ 279 h 349"/>
                <a:gd name="T88" fmla="*/ 28 w 350"/>
                <a:gd name="T89" fmla="*/ 268 h 349"/>
                <a:gd name="T90" fmla="*/ 45 w 350"/>
                <a:gd name="T91" fmla="*/ 227 h 349"/>
                <a:gd name="T92" fmla="*/ 3 w 350"/>
                <a:gd name="T93" fmla="*/ 212 h 349"/>
                <a:gd name="T94" fmla="*/ 8 w 350"/>
                <a:gd name="T95" fmla="*/ 131 h 349"/>
                <a:gd name="T96" fmla="*/ 28 w 350"/>
                <a:gd name="T97" fmla="*/ 94 h 349"/>
                <a:gd name="T98" fmla="*/ 32 w 350"/>
                <a:gd name="T99" fmla="*/ 73 h 349"/>
                <a:gd name="T100" fmla="*/ 84 w 350"/>
                <a:gd name="T101" fmla="*/ 26 h 349"/>
                <a:gd name="T102" fmla="*/ 128 w 350"/>
                <a:gd name="T103" fmla="*/ 15 h 349"/>
                <a:gd name="T104" fmla="*/ 153 w 350"/>
                <a:gd name="T105" fmla="*/ 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0" h="349">
                  <a:moveTo>
                    <a:pt x="174" y="23"/>
                  </a:moveTo>
                  <a:lnTo>
                    <a:pt x="164" y="23"/>
                  </a:lnTo>
                  <a:lnTo>
                    <a:pt x="159" y="24"/>
                  </a:lnTo>
                  <a:lnTo>
                    <a:pt x="154" y="24"/>
                  </a:lnTo>
                  <a:lnTo>
                    <a:pt x="151" y="24"/>
                  </a:lnTo>
                  <a:lnTo>
                    <a:pt x="151" y="50"/>
                  </a:lnTo>
                  <a:lnTo>
                    <a:pt x="150" y="55"/>
                  </a:lnTo>
                  <a:lnTo>
                    <a:pt x="148" y="58"/>
                  </a:lnTo>
                  <a:lnTo>
                    <a:pt x="147" y="61"/>
                  </a:lnTo>
                  <a:lnTo>
                    <a:pt x="144" y="62"/>
                  </a:lnTo>
                  <a:lnTo>
                    <a:pt x="130" y="67"/>
                  </a:lnTo>
                  <a:lnTo>
                    <a:pt x="118" y="73"/>
                  </a:lnTo>
                  <a:lnTo>
                    <a:pt x="115" y="73"/>
                  </a:lnTo>
                  <a:lnTo>
                    <a:pt x="110" y="73"/>
                  </a:lnTo>
                  <a:lnTo>
                    <a:pt x="107" y="73"/>
                  </a:lnTo>
                  <a:lnTo>
                    <a:pt x="104" y="70"/>
                  </a:lnTo>
                  <a:lnTo>
                    <a:pt x="86" y="52"/>
                  </a:lnTo>
                  <a:lnTo>
                    <a:pt x="84" y="53"/>
                  </a:lnTo>
                  <a:lnTo>
                    <a:pt x="68" y="67"/>
                  </a:lnTo>
                  <a:lnTo>
                    <a:pt x="54" y="84"/>
                  </a:lnTo>
                  <a:lnTo>
                    <a:pt x="52" y="84"/>
                  </a:lnTo>
                  <a:lnTo>
                    <a:pt x="71" y="104"/>
                  </a:lnTo>
                  <a:lnTo>
                    <a:pt x="74" y="108"/>
                  </a:lnTo>
                  <a:lnTo>
                    <a:pt x="74" y="113"/>
                  </a:lnTo>
                  <a:lnTo>
                    <a:pt x="74" y="117"/>
                  </a:lnTo>
                  <a:lnTo>
                    <a:pt x="68" y="130"/>
                  </a:lnTo>
                  <a:lnTo>
                    <a:pt x="61" y="142"/>
                  </a:lnTo>
                  <a:lnTo>
                    <a:pt x="61" y="146"/>
                  </a:lnTo>
                  <a:lnTo>
                    <a:pt x="58" y="149"/>
                  </a:lnTo>
                  <a:lnTo>
                    <a:pt x="55" y="151"/>
                  </a:lnTo>
                  <a:lnTo>
                    <a:pt x="51" y="151"/>
                  </a:lnTo>
                  <a:lnTo>
                    <a:pt x="25" y="151"/>
                  </a:lnTo>
                  <a:lnTo>
                    <a:pt x="23" y="157"/>
                  </a:lnTo>
                  <a:lnTo>
                    <a:pt x="23" y="162"/>
                  </a:lnTo>
                  <a:lnTo>
                    <a:pt x="23" y="166"/>
                  </a:lnTo>
                  <a:lnTo>
                    <a:pt x="23" y="171"/>
                  </a:lnTo>
                  <a:lnTo>
                    <a:pt x="23" y="174"/>
                  </a:lnTo>
                  <a:lnTo>
                    <a:pt x="23" y="178"/>
                  </a:lnTo>
                  <a:lnTo>
                    <a:pt x="23" y="183"/>
                  </a:lnTo>
                  <a:lnTo>
                    <a:pt x="23" y="186"/>
                  </a:lnTo>
                  <a:lnTo>
                    <a:pt x="23" y="192"/>
                  </a:lnTo>
                  <a:lnTo>
                    <a:pt x="25" y="198"/>
                  </a:lnTo>
                  <a:lnTo>
                    <a:pt x="51" y="198"/>
                  </a:lnTo>
                  <a:lnTo>
                    <a:pt x="57" y="200"/>
                  </a:lnTo>
                  <a:lnTo>
                    <a:pt x="60" y="201"/>
                  </a:lnTo>
                  <a:lnTo>
                    <a:pt x="61" y="206"/>
                  </a:lnTo>
                  <a:lnTo>
                    <a:pt x="68" y="218"/>
                  </a:lnTo>
                  <a:lnTo>
                    <a:pt x="74" y="230"/>
                  </a:lnTo>
                  <a:lnTo>
                    <a:pt x="74" y="235"/>
                  </a:lnTo>
                  <a:lnTo>
                    <a:pt x="74" y="238"/>
                  </a:lnTo>
                  <a:lnTo>
                    <a:pt x="74" y="241"/>
                  </a:lnTo>
                  <a:lnTo>
                    <a:pt x="71" y="245"/>
                  </a:lnTo>
                  <a:lnTo>
                    <a:pt x="52" y="264"/>
                  </a:lnTo>
                  <a:lnTo>
                    <a:pt x="54" y="265"/>
                  </a:lnTo>
                  <a:lnTo>
                    <a:pt x="54" y="265"/>
                  </a:lnTo>
                  <a:lnTo>
                    <a:pt x="54" y="265"/>
                  </a:lnTo>
                  <a:lnTo>
                    <a:pt x="68" y="280"/>
                  </a:lnTo>
                  <a:lnTo>
                    <a:pt x="83" y="294"/>
                  </a:lnTo>
                  <a:lnTo>
                    <a:pt x="84" y="296"/>
                  </a:lnTo>
                  <a:lnTo>
                    <a:pt x="86" y="296"/>
                  </a:lnTo>
                  <a:lnTo>
                    <a:pt x="104" y="277"/>
                  </a:lnTo>
                  <a:lnTo>
                    <a:pt x="107" y="276"/>
                  </a:lnTo>
                  <a:lnTo>
                    <a:pt x="110" y="274"/>
                  </a:lnTo>
                  <a:lnTo>
                    <a:pt x="115" y="274"/>
                  </a:lnTo>
                  <a:lnTo>
                    <a:pt x="118" y="276"/>
                  </a:lnTo>
                  <a:lnTo>
                    <a:pt x="130" y="282"/>
                  </a:lnTo>
                  <a:lnTo>
                    <a:pt x="144" y="285"/>
                  </a:lnTo>
                  <a:lnTo>
                    <a:pt x="147" y="288"/>
                  </a:lnTo>
                  <a:lnTo>
                    <a:pt x="150" y="293"/>
                  </a:lnTo>
                  <a:lnTo>
                    <a:pt x="151" y="297"/>
                  </a:lnTo>
                  <a:lnTo>
                    <a:pt x="151" y="323"/>
                  </a:lnTo>
                  <a:lnTo>
                    <a:pt x="154" y="325"/>
                  </a:lnTo>
                  <a:lnTo>
                    <a:pt x="159" y="325"/>
                  </a:lnTo>
                  <a:lnTo>
                    <a:pt x="164" y="326"/>
                  </a:lnTo>
                  <a:lnTo>
                    <a:pt x="186" y="326"/>
                  </a:lnTo>
                  <a:lnTo>
                    <a:pt x="191" y="325"/>
                  </a:lnTo>
                  <a:lnTo>
                    <a:pt x="194" y="325"/>
                  </a:lnTo>
                  <a:lnTo>
                    <a:pt x="197" y="323"/>
                  </a:lnTo>
                  <a:lnTo>
                    <a:pt x="197" y="297"/>
                  </a:lnTo>
                  <a:lnTo>
                    <a:pt x="199" y="293"/>
                  </a:lnTo>
                  <a:lnTo>
                    <a:pt x="202" y="288"/>
                  </a:lnTo>
                  <a:lnTo>
                    <a:pt x="206" y="285"/>
                  </a:lnTo>
                  <a:lnTo>
                    <a:pt x="218" y="282"/>
                  </a:lnTo>
                  <a:lnTo>
                    <a:pt x="232" y="276"/>
                  </a:lnTo>
                  <a:lnTo>
                    <a:pt x="235" y="274"/>
                  </a:lnTo>
                  <a:lnTo>
                    <a:pt x="238" y="274"/>
                  </a:lnTo>
                  <a:lnTo>
                    <a:pt x="241" y="276"/>
                  </a:lnTo>
                  <a:lnTo>
                    <a:pt x="244" y="277"/>
                  </a:lnTo>
                  <a:lnTo>
                    <a:pt x="264" y="296"/>
                  </a:lnTo>
                  <a:lnTo>
                    <a:pt x="264" y="296"/>
                  </a:lnTo>
                  <a:lnTo>
                    <a:pt x="264" y="296"/>
                  </a:lnTo>
                  <a:lnTo>
                    <a:pt x="266" y="296"/>
                  </a:lnTo>
                  <a:lnTo>
                    <a:pt x="283" y="280"/>
                  </a:lnTo>
                  <a:lnTo>
                    <a:pt x="296" y="265"/>
                  </a:lnTo>
                  <a:lnTo>
                    <a:pt x="296" y="264"/>
                  </a:lnTo>
                  <a:lnTo>
                    <a:pt x="296" y="264"/>
                  </a:lnTo>
                  <a:lnTo>
                    <a:pt x="298" y="264"/>
                  </a:lnTo>
                  <a:lnTo>
                    <a:pt x="279" y="245"/>
                  </a:lnTo>
                  <a:lnTo>
                    <a:pt x="276" y="241"/>
                  </a:lnTo>
                  <a:lnTo>
                    <a:pt x="275" y="238"/>
                  </a:lnTo>
                  <a:lnTo>
                    <a:pt x="275" y="235"/>
                  </a:lnTo>
                  <a:lnTo>
                    <a:pt x="276" y="230"/>
                  </a:lnTo>
                  <a:lnTo>
                    <a:pt x="287" y="206"/>
                  </a:lnTo>
                  <a:lnTo>
                    <a:pt x="289" y="203"/>
                  </a:lnTo>
                  <a:lnTo>
                    <a:pt x="290" y="200"/>
                  </a:lnTo>
                  <a:lnTo>
                    <a:pt x="295" y="198"/>
                  </a:lnTo>
                  <a:lnTo>
                    <a:pt x="298" y="198"/>
                  </a:lnTo>
                  <a:lnTo>
                    <a:pt x="325" y="198"/>
                  </a:lnTo>
                  <a:lnTo>
                    <a:pt x="325" y="194"/>
                  </a:lnTo>
                  <a:lnTo>
                    <a:pt x="325" y="190"/>
                  </a:lnTo>
                  <a:lnTo>
                    <a:pt x="325" y="186"/>
                  </a:lnTo>
                  <a:lnTo>
                    <a:pt x="325" y="162"/>
                  </a:lnTo>
                  <a:lnTo>
                    <a:pt x="325" y="157"/>
                  </a:lnTo>
                  <a:lnTo>
                    <a:pt x="325" y="151"/>
                  </a:lnTo>
                  <a:lnTo>
                    <a:pt x="298" y="151"/>
                  </a:lnTo>
                  <a:lnTo>
                    <a:pt x="295" y="151"/>
                  </a:lnTo>
                  <a:lnTo>
                    <a:pt x="290" y="149"/>
                  </a:lnTo>
                  <a:lnTo>
                    <a:pt x="289" y="146"/>
                  </a:lnTo>
                  <a:lnTo>
                    <a:pt x="287" y="142"/>
                  </a:lnTo>
                  <a:lnTo>
                    <a:pt x="283" y="130"/>
                  </a:lnTo>
                  <a:lnTo>
                    <a:pt x="276" y="117"/>
                  </a:lnTo>
                  <a:lnTo>
                    <a:pt x="275" y="114"/>
                  </a:lnTo>
                  <a:lnTo>
                    <a:pt x="275" y="110"/>
                  </a:lnTo>
                  <a:lnTo>
                    <a:pt x="276" y="107"/>
                  </a:lnTo>
                  <a:lnTo>
                    <a:pt x="279" y="104"/>
                  </a:lnTo>
                  <a:lnTo>
                    <a:pt x="296" y="84"/>
                  </a:lnTo>
                  <a:lnTo>
                    <a:pt x="295" y="84"/>
                  </a:lnTo>
                  <a:lnTo>
                    <a:pt x="295" y="82"/>
                  </a:lnTo>
                  <a:lnTo>
                    <a:pt x="281" y="67"/>
                  </a:lnTo>
                  <a:lnTo>
                    <a:pt x="267" y="53"/>
                  </a:lnTo>
                  <a:lnTo>
                    <a:pt x="266" y="53"/>
                  </a:lnTo>
                  <a:lnTo>
                    <a:pt x="266" y="53"/>
                  </a:lnTo>
                  <a:lnTo>
                    <a:pt x="266" y="53"/>
                  </a:lnTo>
                  <a:lnTo>
                    <a:pt x="264" y="53"/>
                  </a:lnTo>
                  <a:lnTo>
                    <a:pt x="264" y="52"/>
                  </a:lnTo>
                  <a:lnTo>
                    <a:pt x="244" y="70"/>
                  </a:lnTo>
                  <a:lnTo>
                    <a:pt x="241" y="73"/>
                  </a:lnTo>
                  <a:lnTo>
                    <a:pt x="238" y="73"/>
                  </a:lnTo>
                  <a:lnTo>
                    <a:pt x="235" y="73"/>
                  </a:lnTo>
                  <a:lnTo>
                    <a:pt x="232" y="73"/>
                  </a:lnTo>
                  <a:lnTo>
                    <a:pt x="218" y="67"/>
                  </a:lnTo>
                  <a:lnTo>
                    <a:pt x="206" y="62"/>
                  </a:lnTo>
                  <a:lnTo>
                    <a:pt x="203" y="61"/>
                  </a:lnTo>
                  <a:lnTo>
                    <a:pt x="200" y="58"/>
                  </a:lnTo>
                  <a:lnTo>
                    <a:pt x="199" y="55"/>
                  </a:lnTo>
                  <a:lnTo>
                    <a:pt x="197" y="50"/>
                  </a:lnTo>
                  <a:lnTo>
                    <a:pt x="197" y="24"/>
                  </a:lnTo>
                  <a:lnTo>
                    <a:pt x="194" y="24"/>
                  </a:lnTo>
                  <a:lnTo>
                    <a:pt x="191" y="24"/>
                  </a:lnTo>
                  <a:lnTo>
                    <a:pt x="186" y="23"/>
                  </a:lnTo>
                  <a:lnTo>
                    <a:pt x="174" y="23"/>
                  </a:lnTo>
                  <a:close/>
                  <a:moveTo>
                    <a:pt x="174" y="0"/>
                  </a:moveTo>
                  <a:lnTo>
                    <a:pt x="188" y="0"/>
                  </a:lnTo>
                  <a:lnTo>
                    <a:pt x="200" y="2"/>
                  </a:lnTo>
                  <a:lnTo>
                    <a:pt x="212" y="5"/>
                  </a:lnTo>
                  <a:lnTo>
                    <a:pt x="215" y="5"/>
                  </a:lnTo>
                  <a:lnTo>
                    <a:pt x="218" y="8"/>
                  </a:lnTo>
                  <a:lnTo>
                    <a:pt x="220" y="11"/>
                  </a:lnTo>
                  <a:lnTo>
                    <a:pt x="222" y="15"/>
                  </a:lnTo>
                  <a:lnTo>
                    <a:pt x="222" y="43"/>
                  </a:lnTo>
                  <a:lnTo>
                    <a:pt x="228" y="46"/>
                  </a:lnTo>
                  <a:lnTo>
                    <a:pt x="235" y="49"/>
                  </a:lnTo>
                  <a:lnTo>
                    <a:pt x="255" y="29"/>
                  </a:lnTo>
                  <a:lnTo>
                    <a:pt x="258" y="26"/>
                  </a:lnTo>
                  <a:lnTo>
                    <a:pt x="261" y="26"/>
                  </a:lnTo>
                  <a:lnTo>
                    <a:pt x="266" y="26"/>
                  </a:lnTo>
                  <a:lnTo>
                    <a:pt x="269" y="27"/>
                  </a:lnTo>
                  <a:lnTo>
                    <a:pt x="273" y="30"/>
                  </a:lnTo>
                  <a:lnTo>
                    <a:pt x="278" y="34"/>
                  </a:lnTo>
                  <a:lnTo>
                    <a:pt x="279" y="35"/>
                  </a:lnTo>
                  <a:lnTo>
                    <a:pt x="281" y="35"/>
                  </a:lnTo>
                  <a:lnTo>
                    <a:pt x="281" y="35"/>
                  </a:lnTo>
                  <a:lnTo>
                    <a:pt x="298" y="52"/>
                  </a:lnTo>
                  <a:lnTo>
                    <a:pt x="315" y="69"/>
                  </a:lnTo>
                  <a:lnTo>
                    <a:pt x="315" y="69"/>
                  </a:lnTo>
                  <a:lnTo>
                    <a:pt x="315" y="69"/>
                  </a:lnTo>
                  <a:lnTo>
                    <a:pt x="315" y="69"/>
                  </a:lnTo>
                  <a:lnTo>
                    <a:pt x="315" y="70"/>
                  </a:lnTo>
                  <a:lnTo>
                    <a:pt x="316" y="70"/>
                  </a:lnTo>
                  <a:lnTo>
                    <a:pt x="316" y="72"/>
                  </a:lnTo>
                  <a:lnTo>
                    <a:pt x="319" y="76"/>
                  </a:lnTo>
                  <a:lnTo>
                    <a:pt x="322" y="81"/>
                  </a:lnTo>
                  <a:lnTo>
                    <a:pt x="324" y="84"/>
                  </a:lnTo>
                  <a:lnTo>
                    <a:pt x="324" y="88"/>
                  </a:lnTo>
                  <a:lnTo>
                    <a:pt x="322" y="91"/>
                  </a:lnTo>
                  <a:lnTo>
                    <a:pt x="321" y="94"/>
                  </a:lnTo>
                  <a:lnTo>
                    <a:pt x="301" y="114"/>
                  </a:lnTo>
                  <a:lnTo>
                    <a:pt x="304" y="120"/>
                  </a:lnTo>
                  <a:lnTo>
                    <a:pt x="307" y="128"/>
                  </a:lnTo>
                  <a:lnTo>
                    <a:pt x="333" y="128"/>
                  </a:lnTo>
                  <a:lnTo>
                    <a:pt x="337" y="130"/>
                  </a:lnTo>
                  <a:lnTo>
                    <a:pt x="342" y="131"/>
                  </a:lnTo>
                  <a:lnTo>
                    <a:pt x="343" y="133"/>
                  </a:lnTo>
                  <a:lnTo>
                    <a:pt x="345" y="137"/>
                  </a:lnTo>
                  <a:lnTo>
                    <a:pt x="347" y="145"/>
                  </a:lnTo>
                  <a:lnTo>
                    <a:pt x="348" y="152"/>
                  </a:lnTo>
                  <a:lnTo>
                    <a:pt x="350" y="160"/>
                  </a:lnTo>
                  <a:lnTo>
                    <a:pt x="350" y="174"/>
                  </a:lnTo>
                  <a:lnTo>
                    <a:pt x="350" y="178"/>
                  </a:lnTo>
                  <a:lnTo>
                    <a:pt x="350" y="183"/>
                  </a:lnTo>
                  <a:lnTo>
                    <a:pt x="350" y="189"/>
                  </a:lnTo>
                  <a:lnTo>
                    <a:pt x="347" y="200"/>
                  </a:lnTo>
                  <a:lnTo>
                    <a:pt x="345" y="212"/>
                  </a:lnTo>
                  <a:lnTo>
                    <a:pt x="343" y="216"/>
                  </a:lnTo>
                  <a:lnTo>
                    <a:pt x="342" y="218"/>
                  </a:lnTo>
                  <a:lnTo>
                    <a:pt x="337" y="221"/>
                  </a:lnTo>
                  <a:lnTo>
                    <a:pt x="333" y="221"/>
                  </a:lnTo>
                  <a:lnTo>
                    <a:pt x="307" y="221"/>
                  </a:lnTo>
                  <a:lnTo>
                    <a:pt x="304" y="227"/>
                  </a:lnTo>
                  <a:lnTo>
                    <a:pt x="301" y="235"/>
                  </a:lnTo>
                  <a:lnTo>
                    <a:pt x="321" y="253"/>
                  </a:lnTo>
                  <a:lnTo>
                    <a:pt x="322" y="256"/>
                  </a:lnTo>
                  <a:lnTo>
                    <a:pt x="324" y="261"/>
                  </a:lnTo>
                  <a:lnTo>
                    <a:pt x="324" y="264"/>
                  </a:lnTo>
                  <a:lnTo>
                    <a:pt x="322" y="268"/>
                  </a:lnTo>
                  <a:lnTo>
                    <a:pt x="318" y="273"/>
                  </a:lnTo>
                  <a:lnTo>
                    <a:pt x="315" y="279"/>
                  </a:lnTo>
                  <a:lnTo>
                    <a:pt x="299" y="297"/>
                  </a:lnTo>
                  <a:lnTo>
                    <a:pt x="279" y="314"/>
                  </a:lnTo>
                  <a:lnTo>
                    <a:pt x="273" y="317"/>
                  </a:lnTo>
                  <a:lnTo>
                    <a:pt x="269" y="322"/>
                  </a:lnTo>
                  <a:lnTo>
                    <a:pt x="266" y="323"/>
                  </a:lnTo>
                  <a:lnTo>
                    <a:pt x="261" y="323"/>
                  </a:lnTo>
                  <a:lnTo>
                    <a:pt x="258" y="322"/>
                  </a:lnTo>
                  <a:lnTo>
                    <a:pt x="255" y="319"/>
                  </a:lnTo>
                  <a:lnTo>
                    <a:pt x="235" y="299"/>
                  </a:lnTo>
                  <a:lnTo>
                    <a:pt x="228" y="303"/>
                  </a:lnTo>
                  <a:lnTo>
                    <a:pt x="222" y="306"/>
                  </a:lnTo>
                  <a:lnTo>
                    <a:pt x="222" y="334"/>
                  </a:lnTo>
                  <a:lnTo>
                    <a:pt x="220" y="337"/>
                  </a:lnTo>
                  <a:lnTo>
                    <a:pt x="218" y="340"/>
                  </a:lnTo>
                  <a:lnTo>
                    <a:pt x="215" y="343"/>
                  </a:lnTo>
                  <a:lnTo>
                    <a:pt x="212" y="346"/>
                  </a:lnTo>
                  <a:lnTo>
                    <a:pt x="189" y="349"/>
                  </a:lnTo>
                  <a:lnTo>
                    <a:pt x="189" y="349"/>
                  </a:lnTo>
                  <a:lnTo>
                    <a:pt x="188" y="349"/>
                  </a:lnTo>
                  <a:lnTo>
                    <a:pt x="186" y="349"/>
                  </a:lnTo>
                  <a:lnTo>
                    <a:pt x="185" y="349"/>
                  </a:lnTo>
                  <a:lnTo>
                    <a:pt x="183" y="349"/>
                  </a:lnTo>
                  <a:lnTo>
                    <a:pt x="161" y="349"/>
                  </a:lnTo>
                  <a:lnTo>
                    <a:pt x="153" y="349"/>
                  </a:lnTo>
                  <a:lnTo>
                    <a:pt x="144" y="347"/>
                  </a:lnTo>
                  <a:lnTo>
                    <a:pt x="136" y="346"/>
                  </a:lnTo>
                  <a:lnTo>
                    <a:pt x="133" y="344"/>
                  </a:lnTo>
                  <a:lnTo>
                    <a:pt x="130" y="341"/>
                  </a:lnTo>
                  <a:lnTo>
                    <a:pt x="128" y="337"/>
                  </a:lnTo>
                  <a:lnTo>
                    <a:pt x="128" y="334"/>
                  </a:lnTo>
                  <a:lnTo>
                    <a:pt x="128" y="306"/>
                  </a:lnTo>
                  <a:lnTo>
                    <a:pt x="115" y="299"/>
                  </a:lnTo>
                  <a:lnTo>
                    <a:pt x="95" y="319"/>
                  </a:lnTo>
                  <a:lnTo>
                    <a:pt x="92" y="322"/>
                  </a:lnTo>
                  <a:lnTo>
                    <a:pt x="87" y="323"/>
                  </a:lnTo>
                  <a:lnTo>
                    <a:pt x="84" y="323"/>
                  </a:lnTo>
                  <a:lnTo>
                    <a:pt x="80" y="322"/>
                  </a:lnTo>
                  <a:lnTo>
                    <a:pt x="75" y="319"/>
                  </a:lnTo>
                  <a:lnTo>
                    <a:pt x="71" y="314"/>
                  </a:lnTo>
                  <a:lnTo>
                    <a:pt x="69" y="314"/>
                  </a:lnTo>
                  <a:lnTo>
                    <a:pt x="69" y="314"/>
                  </a:lnTo>
                  <a:lnTo>
                    <a:pt x="69" y="312"/>
                  </a:lnTo>
                  <a:lnTo>
                    <a:pt x="68" y="312"/>
                  </a:lnTo>
                  <a:lnTo>
                    <a:pt x="51" y="297"/>
                  </a:lnTo>
                  <a:lnTo>
                    <a:pt x="35" y="280"/>
                  </a:lnTo>
                  <a:lnTo>
                    <a:pt x="35" y="279"/>
                  </a:lnTo>
                  <a:lnTo>
                    <a:pt x="35" y="279"/>
                  </a:lnTo>
                  <a:lnTo>
                    <a:pt x="34" y="279"/>
                  </a:lnTo>
                  <a:lnTo>
                    <a:pt x="34" y="277"/>
                  </a:lnTo>
                  <a:lnTo>
                    <a:pt x="34" y="277"/>
                  </a:lnTo>
                  <a:lnTo>
                    <a:pt x="34" y="277"/>
                  </a:lnTo>
                  <a:lnTo>
                    <a:pt x="31" y="273"/>
                  </a:lnTo>
                  <a:lnTo>
                    <a:pt x="28" y="268"/>
                  </a:lnTo>
                  <a:lnTo>
                    <a:pt x="25" y="265"/>
                  </a:lnTo>
                  <a:lnTo>
                    <a:pt x="25" y="261"/>
                  </a:lnTo>
                  <a:lnTo>
                    <a:pt x="26" y="258"/>
                  </a:lnTo>
                  <a:lnTo>
                    <a:pt x="28" y="253"/>
                  </a:lnTo>
                  <a:lnTo>
                    <a:pt x="48" y="235"/>
                  </a:lnTo>
                  <a:lnTo>
                    <a:pt x="45" y="227"/>
                  </a:lnTo>
                  <a:lnTo>
                    <a:pt x="43" y="221"/>
                  </a:lnTo>
                  <a:lnTo>
                    <a:pt x="16" y="221"/>
                  </a:lnTo>
                  <a:lnTo>
                    <a:pt x="11" y="221"/>
                  </a:lnTo>
                  <a:lnTo>
                    <a:pt x="8" y="218"/>
                  </a:lnTo>
                  <a:lnTo>
                    <a:pt x="5" y="216"/>
                  </a:lnTo>
                  <a:lnTo>
                    <a:pt x="3" y="212"/>
                  </a:lnTo>
                  <a:lnTo>
                    <a:pt x="2" y="200"/>
                  </a:lnTo>
                  <a:lnTo>
                    <a:pt x="0" y="189"/>
                  </a:lnTo>
                  <a:lnTo>
                    <a:pt x="0" y="160"/>
                  </a:lnTo>
                  <a:lnTo>
                    <a:pt x="3" y="137"/>
                  </a:lnTo>
                  <a:lnTo>
                    <a:pt x="5" y="133"/>
                  </a:lnTo>
                  <a:lnTo>
                    <a:pt x="8" y="131"/>
                  </a:lnTo>
                  <a:lnTo>
                    <a:pt x="11" y="130"/>
                  </a:lnTo>
                  <a:lnTo>
                    <a:pt x="16" y="128"/>
                  </a:lnTo>
                  <a:lnTo>
                    <a:pt x="43" y="128"/>
                  </a:lnTo>
                  <a:lnTo>
                    <a:pt x="45" y="120"/>
                  </a:lnTo>
                  <a:lnTo>
                    <a:pt x="48" y="114"/>
                  </a:lnTo>
                  <a:lnTo>
                    <a:pt x="28" y="94"/>
                  </a:lnTo>
                  <a:lnTo>
                    <a:pt x="26" y="91"/>
                  </a:lnTo>
                  <a:lnTo>
                    <a:pt x="25" y="88"/>
                  </a:lnTo>
                  <a:lnTo>
                    <a:pt x="25" y="84"/>
                  </a:lnTo>
                  <a:lnTo>
                    <a:pt x="28" y="81"/>
                  </a:lnTo>
                  <a:lnTo>
                    <a:pt x="29" y="76"/>
                  </a:lnTo>
                  <a:lnTo>
                    <a:pt x="32" y="73"/>
                  </a:lnTo>
                  <a:lnTo>
                    <a:pt x="34" y="69"/>
                  </a:lnTo>
                  <a:lnTo>
                    <a:pt x="51" y="50"/>
                  </a:lnTo>
                  <a:lnTo>
                    <a:pt x="69" y="35"/>
                  </a:lnTo>
                  <a:lnTo>
                    <a:pt x="75" y="30"/>
                  </a:lnTo>
                  <a:lnTo>
                    <a:pt x="80" y="27"/>
                  </a:lnTo>
                  <a:lnTo>
                    <a:pt x="84" y="26"/>
                  </a:lnTo>
                  <a:lnTo>
                    <a:pt x="87" y="26"/>
                  </a:lnTo>
                  <a:lnTo>
                    <a:pt x="92" y="26"/>
                  </a:lnTo>
                  <a:lnTo>
                    <a:pt x="95" y="29"/>
                  </a:lnTo>
                  <a:lnTo>
                    <a:pt x="115" y="49"/>
                  </a:lnTo>
                  <a:lnTo>
                    <a:pt x="128" y="43"/>
                  </a:lnTo>
                  <a:lnTo>
                    <a:pt x="128" y="15"/>
                  </a:lnTo>
                  <a:lnTo>
                    <a:pt x="128" y="11"/>
                  </a:lnTo>
                  <a:lnTo>
                    <a:pt x="130" y="8"/>
                  </a:lnTo>
                  <a:lnTo>
                    <a:pt x="133" y="5"/>
                  </a:lnTo>
                  <a:lnTo>
                    <a:pt x="136" y="5"/>
                  </a:lnTo>
                  <a:lnTo>
                    <a:pt x="144" y="2"/>
                  </a:lnTo>
                  <a:lnTo>
                    <a:pt x="153" y="2"/>
                  </a:lnTo>
                  <a:lnTo>
                    <a:pt x="161" y="0"/>
                  </a:lnTo>
                  <a:lnTo>
                    <a:pt x="174"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2">
              <a:extLst>
                <a:ext uri="{FF2B5EF4-FFF2-40B4-BE49-F238E27FC236}">
                  <a16:creationId xmlns:a16="http://schemas.microsoft.com/office/drawing/2014/main" id="{49D19A8C-8BAE-2442-9D1D-E7F2F0DF148C}"/>
                </a:ext>
              </a:extLst>
            </p:cNvPr>
            <p:cNvSpPr>
              <a:spLocks noEditPoints="1"/>
            </p:cNvSpPr>
            <p:nvPr/>
          </p:nvSpPr>
          <p:spPr bwMode="auto">
            <a:xfrm>
              <a:off x="806450" y="3138488"/>
              <a:ext cx="603250" cy="603250"/>
            </a:xfrm>
            <a:custGeom>
              <a:avLst/>
              <a:gdLst>
                <a:gd name="T0" fmla="*/ 173 w 380"/>
                <a:gd name="T1" fmla="*/ 171 h 380"/>
                <a:gd name="T2" fmla="*/ 160 w 380"/>
                <a:gd name="T3" fmla="*/ 188 h 380"/>
                <a:gd name="T4" fmla="*/ 170 w 380"/>
                <a:gd name="T5" fmla="*/ 203 h 380"/>
                <a:gd name="T6" fmla="*/ 194 w 380"/>
                <a:gd name="T7" fmla="*/ 214 h 380"/>
                <a:gd name="T8" fmla="*/ 200 w 380"/>
                <a:gd name="T9" fmla="*/ 220 h 380"/>
                <a:gd name="T10" fmla="*/ 194 w 380"/>
                <a:gd name="T11" fmla="*/ 229 h 380"/>
                <a:gd name="T12" fmla="*/ 185 w 380"/>
                <a:gd name="T13" fmla="*/ 229 h 380"/>
                <a:gd name="T14" fmla="*/ 160 w 380"/>
                <a:gd name="T15" fmla="*/ 223 h 380"/>
                <a:gd name="T16" fmla="*/ 185 w 380"/>
                <a:gd name="T17" fmla="*/ 253 h 380"/>
                <a:gd name="T18" fmla="*/ 206 w 380"/>
                <a:gd name="T19" fmla="*/ 238 h 380"/>
                <a:gd name="T20" fmla="*/ 218 w 380"/>
                <a:gd name="T21" fmla="*/ 221 h 380"/>
                <a:gd name="T22" fmla="*/ 214 w 380"/>
                <a:gd name="T23" fmla="*/ 209 h 380"/>
                <a:gd name="T24" fmla="*/ 194 w 380"/>
                <a:gd name="T25" fmla="*/ 198 h 380"/>
                <a:gd name="T26" fmla="*/ 180 w 380"/>
                <a:gd name="T27" fmla="*/ 191 h 380"/>
                <a:gd name="T28" fmla="*/ 180 w 380"/>
                <a:gd name="T29" fmla="*/ 183 h 380"/>
                <a:gd name="T30" fmla="*/ 188 w 380"/>
                <a:gd name="T31" fmla="*/ 182 h 380"/>
                <a:gd name="T32" fmla="*/ 211 w 380"/>
                <a:gd name="T33" fmla="*/ 185 h 380"/>
                <a:gd name="T34" fmla="*/ 194 w 380"/>
                <a:gd name="T35" fmla="*/ 166 h 380"/>
                <a:gd name="T36" fmla="*/ 205 w 380"/>
                <a:gd name="T37" fmla="*/ 119 h 380"/>
                <a:gd name="T38" fmla="*/ 252 w 380"/>
                <a:gd name="T39" fmla="*/ 206 h 380"/>
                <a:gd name="T40" fmla="*/ 246 w 380"/>
                <a:gd name="T41" fmla="*/ 235 h 380"/>
                <a:gd name="T42" fmla="*/ 257 w 380"/>
                <a:gd name="T43" fmla="*/ 278 h 380"/>
                <a:gd name="T44" fmla="*/ 135 w 380"/>
                <a:gd name="T45" fmla="*/ 238 h 380"/>
                <a:gd name="T46" fmla="*/ 128 w 380"/>
                <a:gd name="T47" fmla="*/ 220 h 380"/>
                <a:gd name="T48" fmla="*/ 151 w 380"/>
                <a:gd name="T49" fmla="*/ 143 h 380"/>
                <a:gd name="T50" fmla="*/ 205 w 380"/>
                <a:gd name="T51" fmla="*/ 102 h 380"/>
                <a:gd name="T52" fmla="*/ 164 w 380"/>
                <a:gd name="T53" fmla="*/ 79 h 380"/>
                <a:gd name="T54" fmla="*/ 193 w 380"/>
                <a:gd name="T55" fmla="*/ 86 h 380"/>
                <a:gd name="T56" fmla="*/ 208 w 380"/>
                <a:gd name="T57" fmla="*/ 64 h 380"/>
                <a:gd name="T58" fmla="*/ 145 w 380"/>
                <a:gd name="T59" fmla="*/ 66 h 380"/>
                <a:gd name="T60" fmla="*/ 135 w 380"/>
                <a:gd name="T61" fmla="*/ 76 h 380"/>
                <a:gd name="T62" fmla="*/ 136 w 380"/>
                <a:gd name="T63" fmla="*/ 86 h 380"/>
                <a:gd name="T64" fmla="*/ 115 w 380"/>
                <a:gd name="T65" fmla="*/ 182 h 380"/>
                <a:gd name="T66" fmla="*/ 119 w 380"/>
                <a:gd name="T67" fmla="*/ 239 h 380"/>
                <a:gd name="T68" fmla="*/ 103 w 380"/>
                <a:gd name="T69" fmla="*/ 284 h 380"/>
                <a:gd name="T70" fmla="*/ 107 w 380"/>
                <a:gd name="T71" fmla="*/ 293 h 380"/>
                <a:gd name="T72" fmla="*/ 273 w 380"/>
                <a:gd name="T73" fmla="*/ 291 h 380"/>
                <a:gd name="T74" fmla="*/ 276 w 380"/>
                <a:gd name="T75" fmla="*/ 282 h 380"/>
                <a:gd name="T76" fmla="*/ 261 w 380"/>
                <a:gd name="T77" fmla="*/ 239 h 380"/>
                <a:gd name="T78" fmla="*/ 264 w 380"/>
                <a:gd name="T79" fmla="*/ 182 h 380"/>
                <a:gd name="T80" fmla="*/ 243 w 380"/>
                <a:gd name="T81" fmla="*/ 86 h 380"/>
                <a:gd name="T82" fmla="*/ 244 w 380"/>
                <a:gd name="T83" fmla="*/ 76 h 380"/>
                <a:gd name="T84" fmla="*/ 235 w 380"/>
                <a:gd name="T85" fmla="*/ 66 h 380"/>
                <a:gd name="T86" fmla="*/ 228 w 380"/>
                <a:gd name="T87" fmla="*/ 5 h 380"/>
                <a:gd name="T88" fmla="*/ 348 w 380"/>
                <a:gd name="T89" fmla="*/ 84 h 380"/>
                <a:gd name="T90" fmla="*/ 380 w 380"/>
                <a:gd name="T91" fmla="*/ 191 h 380"/>
                <a:gd name="T92" fmla="*/ 324 w 380"/>
                <a:gd name="T93" fmla="*/ 325 h 380"/>
                <a:gd name="T94" fmla="*/ 189 w 380"/>
                <a:gd name="T95" fmla="*/ 380 h 380"/>
                <a:gd name="T96" fmla="*/ 55 w 380"/>
                <a:gd name="T97" fmla="*/ 325 h 380"/>
                <a:gd name="T98" fmla="*/ 0 w 380"/>
                <a:gd name="T99" fmla="*/ 191 h 380"/>
                <a:gd name="T100" fmla="*/ 55 w 380"/>
                <a:gd name="T101" fmla="*/ 55 h 380"/>
                <a:gd name="T102" fmla="*/ 189 w 380"/>
                <a:gd name="T10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0" h="380">
                  <a:moveTo>
                    <a:pt x="185" y="159"/>
                  </a:moveTo>
                  <a:lnTo>
                    <a:pt x="185" y="168"/>
                  </a:lnTo>
                  <a:lnTo>
                    <a:pt x="179" y="168"/>
                  </a:lnTo>
                  <a:lnTo>
                    <a:pt x="173" y="171"/>
                  </a:lnTo>
                  <a:lnTo>
                    <a:pt x="168" y="172"/>
                  </a:lnTo>
                  <a:lnTo>
                    <a:pt x="164" y="177"/>
                  </a:lnTo>
                  <a:lnTo>
                    <a:pt x="162" y="182"/>
                  </a:lnTo>
                  <a:lnTo>
                    <a:pt x="160" y="188"/>
                  </a:lnTo>
                  <a:lnTo>
                    <a:pt x="162" y="192"/>
                  </a:lnTo>
                  <a:lnTo>
                    <a:pt x="164" y="197"/>
                  </a:lnTo>
                  <a:lnTo>
                    <a:pt x="165" y="200"/>
                  </a:lnTo>
                  <a:lnTo>
                    <a:pt x="170" y="203"/>
                  </a:lnTo>
                  <a:lnTo>
                    <a:pt x="176" y="206"/>
                  </a:lnTo>
                  <a:lnTo>
                    <a:pt x="182" y="209"/>
                  </a:lnTo>
                  <a:lnTo>
                    <a:pt x="185" y="211"/>
                  </a:lnTo>
                  <a:lnTo>
                    <a:pt x="194" y="214"/>
                  </a:lnTo>
                  <a:lnTo>
                    <a:pt x="196" y="215"/>
                  </a:lnTo>
                  <a:lnTo>
                    <a:pt x="197" y="217"/>
                  </a:lnTo>
                  <a:lnTo>
                    <a:pt x="199" y="218"/>
                  </a:lnTo>
                  <a:lnTo>
                    <a:pt x="200" y="220"/>
                  </a:lnTo>
                  <a:lnTo>
                    <a:pt x="202" y="221"/>
                  </a:lnTo>
                  <a:lnTo>
                    <a:pt x="200" y="224"/>
                  </a:lnTo>
                  <a:lnTo>
                    <a:pt x="199" y="227"/>
                  </a:lnTo>
                  <a:lnTo>
                    <a:pt x="194" y="229"/>
                  </a:lnTo>
                  <a:lnTo>
                    <a:pt x="193" y="229"/>
                  </a:lnTo>
                  <a:lnTo>
                    <a:pt x="191" y="229"/>
                  </a:lnTo>
                  <a:lnTo>
                    <a:pt x="189" y="229"/>
                  </a:lnTo>
                  <a:lnTo>
                    <a:pt x="185" y="229"/>
                  </a:lnTo>
                  <a:lnTo>
                    <a:pt x="180" y="227"/>
                  </a:lnTo>
                  <a:lnTo>
                    <a:pt x="173" y="227"/>
                  </a:lnTo>
                  <a:lnTo>
                    <a:pt x="167" y="224"/>
                  </a:lnTo>
                  <a:lnTo>
                    <a:pt x="160" y="223"/>
                  </a:lnTo>
                  <a:lnTo>
                    <a:pt x="160" y="236"/>
                  </a:lnTo>
                  <a:lnTo>
                    <a:pt x="173" y="241"/>
                  </a:lnTo>
                  <a:lnTo>
                    <a:pt x="185" y="243"/>
                  </a:lnTo>
                  <a:lnTo>
                    <a:pt x="185" y="253"/>
                  </a:lnTo>
                  <a:lnTo>
                    <a:pt x="194" y="253"/>
                  </a:lnTo>
                  <a:lnTo>
                    <a:pt x="194" y="241"/>
                  </a:lnTo>
                  <a:lnTo>
                    <a:pt x="200" y="239"/>
                  </a:lnTo>
                  <a:lnTo>
                    <a:pt x="206" y="238"/>
                  </a:lnTo>
                  <a:lnTo>
                    <a:pt x="211" y="235"/>
                  </a:lnTo>
                  <a:lnTo>
                    <a:pt x="215" y="232"/>
                  </a:lnTo>
                  <a:lnTo>
                    <a:pt x="217" y="226"/>
                  </a:lnTo>
                  <a:lnTo>
                    <a:pt x="218" y="221"/>
                  </a:lnTo>
                  <a:lnTo>
                    <a:pt x="218" y="217"/>
                  </a:lnTo>
                  <a:lnTo>
                    <a:pt x="217" y="215"/>
                  </a:lnTo>
                  <a:lnTo>
                    <a:pt x="215" y="212"/>
                  </a:lnTo>
                  <a:lnTo>
                    <a:pt x="214" y="209"/>
                  </a:lnTo>
                  <a:lnTo>
                    <a:pt x="209" y="204"/>
                  </a:lnTo>
                  <a:lnTo>
                    <a:pt x="206" y="203"/>
                  </a:lnTo>
                  <a:lnTo>
                    <a:pt x="200" y="200"/>
                  </a:lnTo>
                  <a:lnTo>
                    <a:pt x="194" y="198"/>
                  </a:lnTo>
                  <a:lnTo>
                    <a:pt x="185" y="195"/>
                  </a:lnTo>
                  <a:lnTo>
                    <a:pt x="183" y="194"/>
                  </a:lnTo>
                  <a:lnTo>
                    <a:pt x="182" y="192"/>
                  </a:lnTo>
                  <a:lnTo>
                    <a:pt x="180" y="191"/>
                  </a:lnTo>
                  <a:lnTo>
                    <a:pt x="179" y="189"/>
                  </a:lnTo>
                  <a:lnTo>
                    <a:pt x="179" y="188"/>
                  </a:lnTo>
                  <a:lnTo>
                    <a:pt x="179" y="185"/>
                  </a:lnTo>
                  <a:lnTo>
                    <a:pt x="180" y="183"/>
                  </a:lnTo>
                  <a:lnTo>
                    <a:pt x="182" y="182"/>
                  </a:lnTo>
                  <a:lnTo>
                    <a:pt x="185" y="182"/>
                  </a:lnTo>
                  <a:lnTo>
                    <a:pt x="186" y="182"/>
                  </a:lnTo>
                  <a:lnTo>
                    <a:pt x="188" y="182"/>
                  </a:lnTo>
                  <a:lnTo>
                    <a:pt x="189" y="180"/>
                  </a:lnTo>
                  <a:lnTo>
                    <a:pt x="194" y="180"/>
                  </a:lnTo>
                  <a:lnTo>
                    <a:pt x="203" y="182"/>
                  </a:lnTo>
                  <a:lnTo>
                    <a:pt x="211" y="185"/>
                  </a:lnTo>
                  <a:lnTo>
                    <a:pt x="217" y="172"/>
                  </a:lnTo>
                  <a:lnTo>
                    <a:pt x="209" y="169"/>
                  </a:lnTo>
                  <a:lnTo>
                    <a:pt x="202" y="168"/>
                  </a:lnTo>
                  <a:lnTo>
                    <a:pt x="194" y="166"/>
                  </a:lnTo>
                  <a:lnTo>
                    <a:pt x="194" y="159"/>
                  </a:lnTo>
                  <a:lnTo>
                    <a:pt x="185" y="159"/>
                  </a:lnTo>
                  <a:close/>
                  <a:moveTo>
                    <a:pt x="176" y="119"/>
                  </a:moveTo>
                  <a:lnTo>
                    <a:pt x="205" y="119"/>
                  </a:lnTo>
                  <a:lnTo>
                    <a:pt x="228" y="143"/>
                  </a:lnTo>
                  <a:lnTo>
                    <a:pt x="243" y="166"/>
                  </a:lnTo>
                  <a:lnTo>
                    <a:pt x="250" y="188"/>
                  </a:lnTo>
                  <a:lnTo>
                    <a:pt x="252" y="206"/>
                  </a:lnTo>
                  <a:lnTo>
                    <a:pt x="250" y="220"/>
                  </a:lnTo>
                  <a:lnTo>
                    <a:pt x="247" y="230"/>
                  </a:lnTo>
                  <a:lnTo>
                    <a:pt x="246" y="233"/>
                  </a:lnTo>
                  <a:lnTo>
                    <a:pt x="246" y="235"/>
                  </a:lnTo>
                  <a:lnTo>
                    <a:pt x="244" y="238"/>
                  </a:lnTo>
                  <a:lnTo>
                    <a:pt x="247" y="250"/>
                  </a:lnTo>
                  <a:lnTo>
                    <a:pt x="252" y="264"/>
                  </a:lnTo>
                  <a:lnTo>
                    <a:pt x="257" y="278"/>
                  </a:lnTo>
                  <a:lnTo>
                    <a:pt x="122" y="278"/>
                  </a:lnTo>
                  <a:lnTo>
                    <a:pt x="128" y="264"/>
                  </a:lnTo>
                  <a:lnTo>
                    <a:pt x="133" y="250"/>
                  </a:lnTo>
                  <a:lnTo>
                    <a:pt x="135" y="238"/>
                  </a:lnTo>
                  <a:lnTo>
                    <a:pt x="135" y="235"/>
                  </a:lnTo>
                  <a:lnTo>
                    <a:pt x="133" y="233"/>
                  </a:lnTo>
                  <a:lnTo>
                    <a:pt x="132" y="230"/>
                  </a:lnTo>
                  <a:lnTo>
                    <a:pt x="128" y="220"/>
                  </a:lnTo>
                  <a:lnTo>
                    <a:pt x="127" y="206"/>
                  </a:lnTo>
                  <a:lnTo>
                    <a:pt x="130" y="188"/>
                  </a:lnTo>
                  <a:lnTo>
                    <a:pt x="136" y="166"/>
                  </a:lnTo>
                  <a:lnTo>
                    <a:pt x="151" y="143"/>
                  </a:lnTo>
                  <a:lnTo>
                    <a:pt x="176" y="119"/>
                  </a:lnTo>
                  <a:close/>
                  <a:moveTo>
                    <a:pt x="220" y="78"/>
                  </a:moveTo>
                  <a:lnTo>
                    <a:pt x="226" y="79"/>
                  </a:lnTo>
                  <a:lnTo>
                    <a:pt x="205" y="102"/>
                  </a:lnTo>
                  <a:lnTo>
                    <a:pt x="176" y="102"/>
                  </a:lnTo>
                  <a:lnTo>
                    <a:pt x="153" y="79"/>
                  </a:lnTo>
                  <a:lnTo>
                    <a:pt x="157" y="79"/>
                  </a:lnTo>
                  <a:lnTo>
                    <a:pt x="164" y="79"/>
                  </a:lnTo>
                  <a:lnTo>
                    <a:pt x="174" y="81"/>
                  </a:lnTo>
                  <a:lnTo>
                    <a:pt x="186" y="86"/>
                  </a:lnTo>
                  <a:lnTo>
                    <a:pt x="189" y="87"/>
                  </a:lnTo>
                  <a:lnTo>
                    <a:pt x="193" y="86"/>
                  </a:lnTo>
                  <a:lnTo>
                    <a:pt x="209" y="81"/>
                  </a:lnTo>
                  <a:lnTo>
                    <a:pt x="220" y="78"/>
                  </a:lnTo>
                  <a:close/>
                  <a:moveTo>
                    <a:pt x="223" y="63"/>
                  </a:moveTo>
                  <a:lnTo>
                    <a:pt x="208" y="64"/>
                  </a:lnTo>
                  <a:lnTo>
                    <a:pt x="189" y="70"/>
                  </a:lnTo>
                  <a:lnTo>
                    <a:pt x="171" y="64"/>
                  </a:lnTo>
                  <a:lnTo>
                    <a:pt x="156" y="63"/>
                  </a:lnTo>
                  <a:lnTo>
                    <a:pt x="145" y="66"/>
                  </a:lnTo>
                  <a:lnTo>
                    <a:pt x="141" y="69"/>
                  </a:lnTo>
                  <a:lnTo>
                    <a:pt x="138" y="70"/>
                  </a:lnTo>
                  <a:lnTo>
                    <a:pt x="136" y="73"/>
                  </a:lnTo>
                  <a:lnTo>
                    <a:pt x="135" y="76"/>
                  </a:lnTo>
                  <a:lnTo>
                    <a:pt x="135" y="78"/>
                  </a:lnTo>
                  <a:lnTo>
                    <a:pt x="135" y="79"/>
                  </a:lnTo>
                  <a:lnTo>
                    <a:pt x="135" y="83"/>
                  </a:lnTo>
                  <a:lnTo>
                    <a:pt x="136" y="86"/>
                  </a:lnTo>
                  <a:lnTo>
                    <a:pt x="160" y="110"/>
                  </a:lnTo>
                  <a:lnTo>
                    <a:pt x="138" y="134"/>
                  </a:lnTo>
                  <a:lnTo>
                    <a:pt x="122" y="159"/>
                  </a:lnTo>
                  <a:lnTo>
                    <a:pt x="115" y="182"/>
                  </a:lnTo>
                  <a:lnTo>
                    <a:pt x="112" y="201"/>
                  </a:lnTo>
                  <a:lnTo>
                    <a:pt x="113" y="218"/>
                  </a:lnTo>
                  <a:lnTo>
                    <a:pt x="116" y="232"/>
                  </a:lnTo>
                  <a:lnTo>
                    <a:pt x="119" y="239"/>
                  </a:lnTo>
                  <a:lnTo>
                    <a:pt x="115" y="252"/>
                  </a:lnTo>
                  <a:lnTo>
                    <a:pt x="110" y="267"/>
                  </a:lnTo>
                  <a:lnTo>
                    <a:pt x="103" y="282"/>
                  </a:lnTo>
                  <a:lnTo>
                    <a:pt x="103" y="284"/>
                  </a:lnTo>
                  <a:lnTo>
                    <a:pt x="103" y="287"/>
                  </a:lnTo>
                  <a:lnTo>
                    <a:pt x="104" y="288"/>
                  </a:lnTo>
                  <a:lnTo>
                    <a:pt x="106" y="291"/>
                  </a:lnTo>
                  <a:lnTo>
                    <a:pt x="107" y="293"/>
                  </a:lnTo>
                  <a:lnTo>
                    <a:pt x="110" y="293"/>
                  </a:lnTo>
                  <a:lnTo>
                    <a:pt x="269" y="293"/>
                  </a:lnTo>
                  <a:lnTo>
                    <a:pt x="272" y="293"/>
                  </a:lnTo>
                  <a:lnTo>
                    <a:pt x="273" y="291"/>
                  </a:lnTo>
                  <a:lnTo>
                    <a:pt x="275" y="288"/>
                  </a:lnTo>
                  <a:lnTo>
                    <a:pt x="276" y="287"/>
                  </a:lnTo>
                  <a:lnTo>
                    <a:pt x="276" y="284"/>
                  </a:lnTo>
                  <a:lnTo>
                    <a:pt x="276" y="282"/>
                  </a:lnTo>
                  <a:lnTo>
                    <a:pt x="272" y="271"/>
                  </a:lnTo>
                  <a:lnTo>
                    <a:pt x="267" y="259"/>
                  </a:lnTo>
                  <a:lnTo>
                    <a:pt x="263" y="249"/>
                  </a:lnTo>
                  <a:lnTo>
                    <a:pt x="261" y="239"/>
                  </a:lnTo>
                  <a:lnTo>
                    <a:pt x="264" y="232"/>
                  </a:lnTo>
                  <a:lnTo>
                    <a:pt x="266" y="218"/>
                  </a:lnTo>
                  <a:lnTo>
                    <a:pt x="267" y="201"/>
                  </a:lnTo>
                  <a:lnTo>
                    <a:pt x="264" y="182"/>
                  </a:lnTo>
                  <a:lnTo>
                    <a:pt x="257" y="159"/>
                  </a:lnTo>
                  <a:lnTo>
                    <a:pt x="243" y="134"/>
                  </a:lnTo>
                  <a:lnTo>
                    <a:pt x="218" y="110"/>
                  </a:lnTo>
                  <a:lnTo>
                    <a:pt x="243" y="86"/>
                  </a:lnTo>
                  <a:lnTo>
                    <a:pt x="244" y="83"/>
                  </a:lnTo>
                  <a:lnTo>
                    <a:pt x="246" y="79"/>
                  </a:lnTo>
                  <a:lnTo>
                    <a:pt x="244" y="78"/>
                  </a:lnTo>
                  <a:lnTo>
                    <a:pt x="244" y="76"/>
                  </a:lnTo>
                  <a:lnTo>
                    <a:pt x="244" y="73"/>
                  </a:lnTo>
                  <a:lnTo>
                    <a:pt x="241" y="70"/>
                  </a:lnTo>
                  <a:lnTo>
                    <a:pt x="238" y="69"/>
                  </a:lnTo>
                  <a:lnTo>
                    <a:pt x="235" y="66"/>
                  </a:lnTo>
                  <a:lnTo>
                    <a:pt x="223" y="63"/>
                  </a:lnTo>
                  <a:close/>
                  <a:moveTo>
                    <a:pt x="189" y="0"/>
                  </a:moveTo>
                  <a:lnTo>
                    <a:pt x="189" y="0"/>
                  </a:lnTo>
                  <a:lnTo>
                    <a:pt x="228" y="5"/>
                  </a:lnTo>
                  <a:lnTo>
                    <a:pt x="264" y="15"/>
                  </a:lnTo>
                  <a:lnTo>
                    <a:pt x="296" y="32"/>
                  </a:lnTo>
                  <a:lnTo>
                    <a:pt x="324" y="55"/>
                  </a:lnTo>
                  <a:lnTo>
                    <a:pt x="348" y="84"/>
                  </a:lnTo>
                  <a:lnTo>
                    <a:pt x="365" y="116"/>
                  </a:lnTo>
                  <a:lnTo>
                    <a:pt x="375" y="151"/>
                  </a:lnTo>
                  <a:lnTo>
                    <a:pt x="380" y="191"/>
                  </a:lnTo>
                  <a:lnTo>
                    <a:pt x="380" y="191"/>
                  </a:lnTo>
                  <a:lnTo>
                    <a:pt x="375" y="229"/>
                  </a:lnTo>
                  <a:lnTo>
                    <a:pt x="365" y="264"/>
                  </a:lnTo>
                  <a:lnTo>
                    <a:pt x="348" y="296"/>
                  </a:lnTo>
                  <a:lnTo>
                    <a:pt x="324" y="325"/>
                  </a:lnTo>
                  <a:lnTo>
                    <a:pt x="296" y="348"/>
                  </a:lnTo>
                  <a:lnTo>
                    <a:pt x="264" y="366"/>
                  </a:lnTo>
                  <a:lnTo>
                    <a:pt x="228" y="377"/>
                  </a:lnTo>
                  <a:lnTo>
                    <a:pt x="189" y="380"/>
                  </a:lnTo>
                  <a:lnTo>
                    <a:pt x="151" y="377"/>
                  </a:lnTo>
                  <a:lnTo>
                    <a:pt x="116" y="366"/>
                  </a:lnTo>
                  <a:lnTo>
                    <a:pt x="84" y="348"/>
                  </a:lnTo>
                  <a:lnTo>
                    <a:pt x="55" y="325"/>
                  </a:lnTo>
                  <a:lnTo>
                    <a:pt x="32" y="296"/>
                  </a:lnTo>
                  <a:lnTo>
                    <a:pt x="14" y="264"/>
                  </a:lnTo>
                  <a:lnTo>
                    <a:pt x="3" y="229"/>
                  </a:lnTo>
                  <a:lnTo>
                    <a:pt x="0" y="191"/>
                  </a:lnTo>
                  <a:lnTo>
                    <a:pt x="3" y="151"/>
                  </a:lnTo>
                  <a:lnTo>
                    <a:pt x="14" y="116"/>
                  </a:lnTo>
                  <a:lnTo>
                    <a:pt x="32" y="84"/>
                  </a:lnTo>
                  <a:lnTo>
                    <a:pt x="55" y="55"/>
                  </a:lnTo>
                  <a:lnTo>
                    <a:pt x="84" y="32"/>
                  </a:lnTo>
                  <a:lnTo>
                    <a:pt x="116" y="15"/>
                  </a:lnTo>
                  <a:lnTo>
                    <a:pt x="151" y="5"/>
                  </a:lnTo>
                  <a:lnTo>
                    <a:pt x="18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3">
              <a:extLst>
                <a:ext uri="{FF2B5EF4-FFF2-40B4-BE49-F238E27FC236}">
                  <a16:creationId xmlns:a16="http://schemas.microsoft.com/office/drawing/2014/main" id="{B2C52022-59B5-4442-8395-89A9AD4DE1DF}"/>
                </a:ext>
              </a:extLst>
            </p:cNvPr>
            <p:cNvSpPr>
              <a:spLocks noEditPoints="1"/>
            </p:cNvSpPr>
            <p:nvPr/>
          </p:nvSpPr>
          <p:spPr bwMode="auto">
            <a:xfrm>
              <a:off x="4016375" y="2903538"/>
              <a:ext cx="682625" cy="677863"/>
            </a:xfrm>
            <a:custGeom>
              <a:avLst/>
              <a:gdLst>
                <a:gd name="T0" fmla="*/ 307 w 430"/>
                <a:gd name="T1" fmla="*/ 311 h 427"/>
                <a:gd name="T2" fmla="*/ 125 w 430"/>
                <a:gd name="T3" fmla="*/ 275 h 427"/>
                <a:gd name="T4" fmla="*/ 118 w 430"/>
                <a:gd name="T5" fmla="*/ 281 h 427"/>
                <a:gd name="T6" fmla="*/ 99 w 430"/>
                <a:gd name="T7" fmla="*/ 322 h 427"/>
                <a:gd name="T8" fmla="*/ 106 w 430"/>
                <a:gd name="T9" fmla="*/ 328 h 427"/>
                <a:gd name="T10" fmla="*/ 325 w 430"/>
                <a:gd name="T11" fmla="*/ 328 h 427"/>
                <a:gd name="T12" fmla="*/ 331 w 430"/>
                <a:gd name="T13" fmla="*/ 322 h 427"/>
                <a:gd name="T14" fmla="*/ 313 w 430"/>
                <a:gd name="T15" fmla="*/ 281 h 427"/>
                <a:gd name="T16" fmla="*/ 304 w 430"/>
                <a:gd name="T17" fmla="*/ 275 h 427"/>
                <a:gd name="T18" fmla="*/ 292 w 430"/>
                <a:gd name="T19" fmla="*/ 170 h 427"/>
                <a:gd name="T20" fmla="*/ 287 w 430"/>
                <a:gd name="T21" fmla="*/ 177 h 427"/>
                <a:gd name="T22" fmla="*/ 289 w 430"/>
                <a:gd name="T23" fmla="*/ 255 h 427"/>
                <a:gd name="T24" fmla="*/ 299 w 430"/>
                <a:gd name="T25" fmla="*/ 256 h 427"/>
                <a:gd name="T26" fmla="*/ 304 w 430"/>
                <a:gd name="T27" fmla="*/ 249 h 427"/>
                <a:gd name="T28" fmla="*/ 302 w 430"/>
                <a:gd name="T29" fmla="*/ 171 h 427"/>
                <a:gd name="T30" fmla="*/ 243 w 430"/>
                <a:gd name="T31" fmla="*/ 168 h 427"/>
                <a:gd name="T32" fmla="*/ 234 w 430"/>
                <a:gd name="T33" fmla="*/ 174 h 427"/>
                <a:gd name="T34" fmla="*/ 234 w 430"/>
                <a:gd name="T35" fmla="*/ 252 h 427"/>
                <a:gd name="T36" fmla="*/ 243 w 430"/>
                <a:gd name="T37" fmla="*/ 258 h 427"/>
                <a:gd name="T38" fmla="*/ 250 w 430"/>
                <a:gd name="T39" fmla="*/ 252 h 427"/>
                <a:gd name="T40" fmla="*/ 250 w 430"/>
                <a:gd name="T41" fmla="*/ 174 h 427"/>
                <a:gd name="T42" fmla="*/ 243 w 430"/>
                <a:gd name="T43" fmla="*/ 168 h 427"/>
                <a:gd name="T44" fmla="*/ 182 w 430"/>
                <a:gd name="T45" fmla="*/ 171 h 427"/>
                <a:gd name="T46" fmla="*/ 179 w 430"/>
                <a:gd name="T47" fmla="*/ 249 h 427"/>
                <a:gd name="T48" fmla="*/ 185 w 430"/>
                <a:gd name="T49" fmla="*/ 256 h 427"/>
                <a:gd name="T50" fmla="*/ 194 w 430"/>
                <a:gd name="T51" fmla="*/ 255 h 427"/>
                <a:gd name="T52" fmla="*/ 197 w 430"/>
                <a:gd name="T53" fmla="*/ 177 h 427"/>
                <a:gd name="T54" fmla="*/ 192 w 430"/>
                <a:gd name="T55" fmla="*/ 170 h 427"/>
                <a:gd name="T56" fmla="*/ 131 w 430"/>
                <a:gd name="T57" fmla="*/ 170 h 427"/>
                <a:gd name="T58" fmla="*/ 125 w 430"/>
                <a:gd name="T59" fmla="*/ 177 h 427"/>
                <a:gd name="T60" fmla="*/ 128 w 430"/>
                <a:gd name="T61" fmla="*/ 255 h 427"/>
                <a:gd name="T62" fmla="*/ 139 w 430"/>
                <a:gd name="T63" fmla="*/ 256 h 427"/>
                <a:gd name="T64" fmla="*/ 144 w 430"/>
                <a:gd name="T65" fmla="*/ 249 h 427"/>
                <a:gd name="T66" fmla="*/ 141 w 430"/>
                <a:gd name="T67" fmla="*/ 171 h 427"/>
                <a:gd name="T68" fmla="*/ 215 w 430"/>
                <a:gd name="T69" fmla="*/ 98 h 427"/>
                <a:gd name="T70" fmla="*/ 215 w 430"/>
                <a:gd name="T71" fmla="*/ 98 h 427"/>
                <a:gd name="T72" fmla="*/ 112 w 430"/>
                <a:gd name="T73" fmla="*/ 134 h 427"/>
                <a:gd name="T74" fmla="*/ 109 w 430"/>
                <a:gd name="T75" fmla="*/ 144 h 427"/>
                <a:gd name="T76" fmla="*/ 116 w 430"/>
                <a:gd name="T77" fmla="*/ 151 h 427"/>
                <a:gd name="T78" fmla="*/ 321 w 430"/>
                <a:gd name="T79" fmla="*/ 148 h 427"/>
                <a:gd name="T80" fmla="*/ 321 w 430"/>
                <a:gd name="T81" fmla="*/ 136 h 427"/>
                <a:gd name="T82" fmla="*/ 217 w 430"/>
                <a:gd name="T83" fmla="*/ 80 h 427"/>
                <a:gd name="T84" fmla="*/ 215 w 430"/>
                <a:gd name="T85" fmla="*/ 0 h 427"/>
                <a:gd name="T86" fmla="*/ 334 w 430"/>
                <a:gd name="T87" fmla="*/ 37 h 427"/>
                <a:gd name="T88" fmla="*/ 412 w 430"/>
                <a:gd name="T89" fmla="*/ 130 h 427"/>
                <a:gd name="T90" fmla="*/ 426 w 430"/>
                <a:gd name="T91" fmla="*/ 256 h 427"/>
                <a:gd name="T92" fmla="*/ 366 w 430"/>
                <a:gd name="T93" fmla="*/ 365 h 427"/>
                <a:gd name="T94" fmla="*/ 258 w 430"/>
                <a:gd name="T95" fmla="*/ 423 h 427"/>
                <a:gd name="T96" fmla="*/ 131 w 430"/>
                <a:gd name="T97" fmla="*/ 410 h 427"/>
                <a:gd name="T98" fmla="*/ 37 w 430"/>
                <a:gd name="T99" fmla="*/ 333 h 427"/>
                <a:gd name="T100" fmla="*/ 0 w 430"/>
                <a:gd name="T101" fmla="*/ 214 h 427"/>
                <a:gd name="T102" fmla="*/ 17 w 430"/>
                <a:gd name="T103" fmla="*/ 130 h 427"/>
                <a:gd name="T104" fmla="*/ 95 w 430"/>
                <a:gd name="T105" fmla="*/ 37 h 427"/>
                <a:gd name="T106" fmla="*/ 215 w 430"/>
                <a:gd name="T107"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0" h="427">
                  <a:moveTo>
                    <a:pt x="131" y="293"/>
                  </a:moveTo>
                  <a:lnTo>
                    <a:pt x="299" y="293"/>
                  </a:lnTo>
                  <a:lnTo>
                    <a:pt x="307" y="311"/>
                  </a:lnTo>
                  <a:lnTo>
                    <a:pt x="122" y="311"/>
                  </a:lnTo>
                  <a:lnTo>
                    <a:pt x="131" y="293"/>
                  </a:lnTo>
                  <a:close/>
                  <a:moveTo>
                    <a:pt x="125" y="275"/>
                  </a:moveTo>
                  <a:lnTo>
                    <a:pt x="122" y="276"/>
                  </a:lnTo>
                  <a:lnTo>
                    <a:pt x="119" y="278"/>
                  </a:lnTo>
                  <a:lnTo>
                    <a:pt x="118" y="281"/>
                  </a:lnTo>
                  <a:lnTo>
                    <a:pt x="99" y="316"/>
                  </a:lnTo>
                  <a:lnTo>
                    <a:pt x="99" y="319"/>
                  </a:lnTo>
                  <a:lnTo>
                    <a:pt x="99" y="322"/>
                  </a:lnTo>
                  <a:lnTo>
                    <a:pt x="101" y="323"/>
                  </a:lnTo>
                  <a:lnTo>
                    <a:pt x="102" y="327"/>
                  </a:lnTo>
                  <a:lnTo>
                    <a:pt x="106" y="328"/>
                  </a:lnTo>
                  <a:lnTo>
                    <a:pt x="109" y="328"/>
                  </a:lnTo>
                  <a:lnTo>
                    <a:pt x="322" y="328"/>
                  </a:lnTo>
                  <a:lnTo>
                    <a:pt x="325" y="328"/>
                  </a:lnTo>
                  <a:lnTo>
                    <a:pt x="328" y="327"/>
                  </a:lnTo>
                  <a:lnTo>
                    <a:pt x="330" y="323"/>
                  </a:lnTo>
                  <a:lnTo>
                    <a:pt x="331" y="322"/>
                  </a:lnTo>
                  <a:lnTo>
                    <a:pt x="331" y="319"/>
                  </a:lnTo>
                  <a:lnTo>
                    <a:pt x="330" y="316"/>
                  </a:lnTo>
                  <a:lnTo>
                    <a:pt x="313" y="281"/>
                  </a:lnTo>
                  <a:lnTo>
                    <a:pt x="310" y="278"/>
                  </a:lnTo>
                  <a:lnTo>
                    <a:pt x="307" y="276"/>
                  </a:lnTo>
                  <a:lnTo>
                    <a:pt x="304" y="275"/>
                  </a:lnTo>
                  <a:lnTo>
                    <a:pt x="125" y="275"/>
                  </a:lnTo>
                  <a:close/>
                  <a:moveTo>
                    <a:pt x="296" y="168"/>
                  </a:moveTo>
                  <a:lnTo>
                    <a:pt x="292" y="170"/>
                  </a:lnTo>
                  <a:lnTo>
                    <a:pt x="289" y="171"/>
                  </a:lnTo>
                  <a:lnTo>
                    <a:pt x="287" y="174"/>
                  </a:lnTo>
                  <a:lnTo>
                    <a:pt x="287" y="177"/>
                  </a:lnTo>
                  <a:lnTo>
                    <a:pt x="287" y="249"/>
                  </a:lnTo>
                  <a:lnTo>
                    <a:pt x="287" y="252"/>
                  </a:lnTo>
                  <a:lnTo>
                    <a:pt x="289" y="255"/>
                  </a:lnTo>
                  <a:lnTo>
                    <a:pt x="292" y="256"/>
                  </a:lnTo>
                  <a:lnTo>
                    <a:pt x="296" y="258"/>
                  </a:lnTo>
                  <a:lnTo>
                    <a:pt x="299" y="256"/>
                  </a:lnTo>
                  <a:lnTo>
                    <a:pt x="302" y="255"/>
                  </a:lnTo>
                  <a:lnTo>
                    <a:pt x="304" y="252"/>
                  </a:lnTo>
                  <a:lnTo>
                    <a:pt x="304" y="249"/>
                  </a:lnTo>
                  <a:lnTo>
                    <a:pt x="304" y="177"/>
                  </a:lnTo>
                  <a:lnTo>
                    <a:pt x="304" y="174"/>
                  </a:lnTo>
                  <a:lnTo>
                    <a:pt x="302" y="171"/>
                  </a:lnTo>
                  <a:lnTo>
                    <a:pt x="299" y="170"/>
                  </a:lnTo>
                  <a:lnTo>
                    <a:pt x="296" y="168"/>
                  </a:lnTo>
                  <a:close/>
                  <a:moveTo>
                    <a:pt x="243" y="168"/>
                  </a:moveTo>
                  <a:lnTo>
                    <a:pt x="238" y="170"/>
                  </a:lnTo>
                  <a:lnTo>
                    <a:pt x="235" y="171"/>
                  </a:lnTo>
                  <a:lnTo>
                    <a:pt x="234" y="174"/>
                  </a:lnTo>
                  <a:lnTo>
                    <a:pt x="234" y="177"/>
                  </a:lnTo>
                  <a:lnTo>
                    <a:pt x="234" y="249"/>
                  </a:lnTo>
                  <a:lnTo>
                    <a:pt x="234" y="252"/>
                  </a:lnTo>
                  <a:lnTo>
                    <a:pt x="235" y="255"/>
                  </a:lnTo>
                  <a:lnTo>
                    <a:pt x="238" y="256"/>
                  </a:lnTo>
                  <a:lnTo>
                    <a:pt x="243" y="258"/>
                  </a:lnTo>
                  <a:lnTo>
                    <a:pt x="246" y="256"/>
                  </a:lnTo>
                  <a:lnTo>
                    <a:pt x="249" y="255"/>
                  </a:lnTo>
                  <a:lnTo>
                    <a:pt x="250" y="252"/>
                  </a:lnTo>
                  <a:lnTo>
                    <a:pt x="250" y="249"/>
                  </a:lnTo>
                  <a:lnTo>
                    <a:pt x="250" y="177"/>
                  </a:lnTo>
                  <a:lnTo>
                    <a:pt x="250" y="174"/>
                  </a:lnTo>
                  <a:lnTo>
                    <a:pt x="249" y="171"/>
                  </a:lnTo>
                  <a:lnTo>
                    <a:pt x="246" y="170"/>
                  </a:lnTo>
                  <a:lnTo>
                    <a:pt x="243" y="168"/>
                  </a:lnTo>
                  <a:close/>
                  <a:moveTo>
                    <a:pt x="188" y="168"/>
                  </a:moveTo>
                  <a:lnTo>
                    <a:pt x="185" y="170"/>
                  </a:lnTo>
                  <a:lnTo>
                    <a:pt x="182" y="171"/>
                  </a:lnTo>
                  <a:lnTo>
                    <a:pt x="180" y="174"/>
                  </a:lnTo>
                  <a:lnTo>
                    <a:pt x="179" y="177"/>
                  </a:lnTo>
                  <a:lnTo>
                    <a:pt x="179" y="249"/>
                  </a:lnTo>
                  <a:lnTo>
                    <a:pt x="180" y="252"/>
                  </a:lnTo>
                  <a:lnTo>
                    <a:pt x="182" y="255"/>
                  </a:lnTo>
                  <a:lnTo>
                    <a:pt x="185" y="256"/>
                  </a:lnTo>
                  <a:lnTo>
                    <a:pt x="188" y="258"/>
                  </a:lnTo>
                  <a:lnTo>
                    <a:pt x="192" y="256"/>
                  </a:lnTo>
                  <a:lnTo>
                    <a:pt x="194" y="255"/>
                  </a:lnTo>
                  <a:lnTo>
                    <a:pt x="197" y="252"/>
                  </a:lnTo>
                  <a:lnTo>
                    <a:pt x="197" y="249"/>
                  </a:lnTo>
                  <a:lnTo>
                    <a:pt x="197" y="177"/>
                  </a:lnTo>
                  <a:lnTo>
                    <a:pt x="197" y="174"/>
                  </a:lnTo>
                  <a:lnTo>
                    <a:pt x="194" y="171"/>
                  </a:lnTo>
                  <a:lnTo>
                    <a:pt x="192" y="170"/>
                  </a:lnTo>
                  <a:lnTo>
                    <a:pt x="188" y="168"/>
                  </a:lnTo>
                  <a:close/>
                  <a:moveTo>
                    <a:pt x="135" y="168"/>
                  </a:moveTo>
                  <a:lnTo>
                    <a:pt x="131" y="170"/>
                  </a:lnTo>
                  <a:lnTo>
                    <a:pt x="128" y="171"/>
                  </a:lnTo>
                  <a:lnTo>
                    <a:pt x="127" y="174"/>
                  </a:lnTo>
                  <a:lnTo>
                    <a:pt x="125" y="177"/>
                  </a:lnTo>
                  <a:lnTo>
                    <a:pt x="125" y="249"/>
                  </a:lnTo>
                  <a:lnTo>
                    <a:pt x="127" y="252"/>
                  </a:lnTo>
                  <a:lnTo>
                    <a:pt x="128" y="255"/>
                  </a:lnTo>
                  <a:lnTo>
                    <a:pt x="131" y="256"/>
                  </a:lnTo>
                  <a:lnTo>
                    <a:pt x="135" y="258"/>
                  </a:lnTo>
                  <a:lnTo>
                    <a:pt x="139" y="256"/>
                  </a:lnTo>
                  <a:lnTo>
                    <a:pt x="141" y="255"/>
                  </a:lnTo>
                  <a:lnTo>
                    <a:pt x="142" y="252"/>
                  </a:lnTo>
                  <a:lnTo>
                    <a:pt x="144" y="249"/>
                  </a:lnTo>
                  <a:lnTo>
                    <a:pt x="144" y="177"/>
                  </a:lnTo>
                  <a:lnTo>
                    <a:pt x="142" y="174"/>
                  </a:lnTo>
                  <a:lnTo>
                    <a:pt x="141" y="171"/>
                  </a:lnTo>
                  <a:lnTo>
                    <a:pt x="139" y="170"/>
                  </a:lnTo>
                  <a:lnTo>
                    <a:pt x="135" y="168"/>
                  </a:lnTo>
                  <a:close/>
                  <a:moveTo>
                    <a:pt x="215" y="98"/>
                  </a:moveTo>
                  <a:lnTo>
                    <a:pt x="278" y="133"/>
                  </a:lnTo>
                  <a:lnTo>
                    <a:pt x="151" y="133"/>
                  </a:lnTo>
                  <a:lnTo>
                    <a:pt x="215" y="98"/>
                  </a:lnTo>
                  <a:close/>
                  <a:moveTo>
                    <a:pt x="214" y="80"/>
                  </a:moveTo>
                  <a:lnTo>
                    <a:pt x="211" y="81"/>
                  </a:lnTo>
                  <a:lnTo>
                    <a:pt x="112" y="134"/>
                  </a:lnTo>
                  <a:lnTo>
                    <a:pt x="110" y="136"/>
                  </a:lnTo>
                  <a:lnTo>
                    <a:pt x="109" y="141"/>
                  </a:lnTo>
                  <a:lnTo>
                    <a:pt x="109" y="144"/>
                  </a:lnTo>
                  <a:lnTo>
                    <a:pt x="110" y="148"/>
                  </a:lnTo>
                  <a:lnTo>
                    <a:pt x="113" y="150"/>
                  </a:lnTo>
                  <a:lnTo>
                    <a:pt x="116" y="151"/>
                  </a:lnTo>
                  <a:lnTo>
                    <a:pt x="313" y="151"/>
                  </a:lnTo>
                  <a:lnTo>
                    <a:pt x="318" y="150"/>
                  </a:lnTo>
                  <a:lnTo>
                    <a:pt x="321" y="148"/>
                  </a:lnTo>
                  <a:lnTo>
                    <a:pt x="322" y="144"/>
                  </a:lnTo>
                  <a:lnTo>
                    <a:pt x="322" y="141"/>
                  </a:lnTo>
                  <a:lnTo>
                    <a:pt x="321" y="136"/>
                  </a:lnTo>
                  <a:lnTo>
                    <a:pt x="318" y="134"/>
                  </a:lnTo>
                  <a:lnTo>
                    <a:pt x="220" y="81"/>
                  </a:lnTo>
                  <a:lnTo>
                    <a:pt x="217" y="80"/>
                  </a:lnTo>
                  <a:lnTo>
                    <a:pt x="214" y="80"/>
                  </a:lnTo>
                  <a:close/>
                  <a:moveTo>
                    <a:pt x="215" y="0"/>
                  </a:moveTo>
                  <a:lnTo>
                    <a:pt x="215" y="0"/>
                  </a:lnTo>
                  <a:lnTo>
                    <a:pt x="258" y="5"/>
                  </a:lnTo>
                  <a:lnTo>
                    <a:pt x="299" y="17"/>
                  </a:lnTo>
                  <a:lnTo>
                    <a:pt x="334" y="37"/>
                  </a:lnTo>
                  <a:lnTo>
                    <a:pt x="366" y="63"/>
                  </a:lnTo>
                  <a:lnTo>
                    <a:pt x="392" y="93"/>
                  </a:lnTo>
                  <a:lnTo>
                    <a:pt x="412" y="130"/>
                  </a:lnTo>
                  <a:lnTo>
                    <a:pt x="426" y="170"/>
                  </a:lnTo>
                  <a:lnTo>
                    <a:pt x="430" y="214"/>
                  </a:lnTo>
                  <a:lnTo>
                    <a:pt x="426" y="256"/>
                  </a:lnTo>
                  <a:lnTo>
                    <a:pt x="412" y="296"/>
                  </a:lnTo>
                  <a:lnTo>
                    <a:pt x="392" y="333"/>
                  </a:lnTo>
                  <a:lnTo>
                    <a:pt x="366" y="365"/>
                  </a:lnTo>
                  <a:lnTo>
                    <a:pt x="334" y="391"/>
                  </a:lnTo>
                  <a:lnTo>
                    <a:pt x="299" y="410"/>
                  </a:lnTo>
                  <a:lnTo>
                    <a:pt x="258" y="423"/>
                  </a:lnTo>
                  <a:lnTo>
                    <a:pt x="215" y="427"/>
                  </a:lnTo>
                  <a:lnTo>
                    <a:pt x="173" y="423"/>
                  </a:lnTo>
                  <a:lnTo>
                    <a:pt x="131" y="410"/>
                  </a:lnTo>
                  <a:lnTo>
                    <a:pt x="95" y="391"/>
                  </a:lnTo>
                  <a:lnTo>
                    <a:pt x="63" y="365"/>
                  </a:lnTo>
                  <a:lnTo>
                    <a:pt x="37" y="333"/>
                  </a:lnTo>
                  <a:lnTo>
                    <a:pt x="17" y="296"/>
                  </a:lnTo>
                  <a:lnTo>
                    <a:pt x="5" y="256"/>
                  </a:lnTo>
                  <a:lnTo>
                    <a:pt x="0" y="214"/>
                  </a:lnTo>
                  <a:lnTo>
                    <a:pt x="0" y="214"/>
                  </a:lnTo>
                  <a:lnTo>
                    <a:pt x="5" y="170"/>
                  </a:lnTo>
                  <a:lnTo>
                    <a:pt x="17" y="130"/>
                  </a:lnTo>
                  <a:lnTo>
                    <a:pt x="37" y="93"/>
                  </a:lnTo>
                  <a:lnTo>
                    <a:pt x="63" y="63"/>
                  </a:lnTo>
                  <a:lnTo>
                    <a:pt x="95" y="37"/>
                  </a:lnTo>
                  <a:lnTo>
                    <a:pt x="131" y="17"/>
                  </a:lnTo>
                  <a:lnTo>
                    <a:pt x="173" y="5"/>
                  </a:lnTo>
                  <a:lnTo>
                    <a:pt x="215"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4">
              <a:extLst>
                <a:ext uri="{FF2B5EF4-FFF2-40B4-BE49-F238E27FC236}">
                  <a16:creationId xmlns:a16="http://schemas.microsoft.com/office/drawing/2014/main" id="{9676FF4D-5063-1848-86A0-4C76ADD7B6F9}"/>
                </a:ext>
              </a:extLst>
            </p:cNvPr>
            <p:cNvSpPr>
              <a:spLocks noEditPoints="1"/>
            </p:cNvSpPr>
            <p:nvPr/>
          </p:nvSpPr>
          <p:spPr bwMode="auto">
            <a:xfrm>
              <a:off x="4016375" y="2903538"/>
              <a:ext cx="682625" cy="677863"/>
            </a:xfrm>
            <a:custGeom>
              <a:avLst/>
              <a:gdLst>
                <a:gd name="T0" fmla="*/ 307 w 430"/>
                <a:gd name="T1" fmla="*/ 311 h 427"/>
                <a:gd name="T2" fmla="*/ 125 w 430"/>
                <a:gd name="T3" fmla="*/ 275 h 427"/>
                <a:gd name="T4" fmla="*/ 118 w 430"/>
                <a:gd name="T5" fmla="*/ 281 h 427"/>
                <a:gd name="T6" fmla="*/ 99 w 430"/>
                <a:gd name="T7" fmla="*/ 322 h 427"/>
                <a:gd name="T8" fmla="*/ 106 w 430"/>
                <a:gd name="T9" fmla="*/ 328 h 427"/>
                <a:gd name="T10" fmla="*/ 325 w 430"/>
                <a:gd name="T11" fmla="*/ 328 h 427"/>
                <a:gd name="T12" fmla="*/ 331 w 430"/>
                <a:gd name="T13" fmla="*/ 322 h 427"/>
                <a:gd name="T14" fmla="*/ 313 w 430"/>
                <a:gd name="T15" fmla="*/ 281 h 427"/>
                <a:gd name="T16" fmla="*/ 304 w 430"/>
                <a:gd name="T17" fmla="*/ 275 h 427"/>
                <a:gd name="T18" fmla="*/ 292 w 430"/>
                <a:gd name="T19" fmla="*/ 170 h 427"/>
                <a:gd name="T20" fmla="*/ 287 w 430"/>
                <a:gd name="T21" fmla="*/ 177 h 427"/>
                <a:gd name="T22" fmla="*/ 289 w 430"/>
                <a:gd name="T23" fmla="*/ 255 h 427"/>
                <a:gd name="T24" fmla="*/ 299 w 430"/>
                <a:gd name="T25" fmla="*/ 256 h 427"/>
                <a:gd name="T26" fmla="*/ 304 w 430"/>
                <a:gd name="T27" fmla="*/ 249 h 427"/>
                <a:gd name="T28" fmla="*/ 302 w 430"/>
                <a:gd name="T29" fmla="*/ 171 h 427"/>
                <a:gd name="T30" fmla="*/ 243 w 430"/>
                <a:gd name="T31" fmla="*/ 168 h 427"/>
                <a:gd name="T32" fmla="*/ 234 w 430"/>
                <a:gd name="T33" fmla="*/ 174 h 427"/>
                <a:gd name="T34" fmla="*/ 234 w 430"/>
                <a:gd name="T35" fmla="*/ 252 h 427"/>
                <a:gd name="T36" fmla="*/ 243 w 430"/>
                <a:gd name="T37" fmla="*/ 258 h 427"/>
                <a:gd name="T38" fmla="*/ 250 w 430"/>
                <a:gd name="T39" fmla="*/ 252 h 427"/>
                <a:gd name="T40" fmla="*/ 250 w 430"/>
                <a:gd name="T41" fmla="*/ 174 h 427"/>
                <a:gd name="T42" fmla="*/ 243 w 430"/>
                <a:gd name="T43" fmla="*/ 168 h 427"/>
                <a:gd name="T44" fmla="*/ 182 w 430"/>
                <a:gd name="T45" fmla="*/ 171 h 427"/>
                <a:gd name="T46" fmla="*/ 179 w 430"/>
                <a:gd name="T47" fmla="*/ 249 h 427"/>
                <a:gd name="T48" fmla="*/ 185 w 430"/>
                <a:gd name="T49" fmla="*/ 256 h 427"/>
                <a:gd name="T50" fmla="*/ 194 w 430"/>
                <a:gd name="T51" fmla="*/ 255 h 427"/>
                <a:gd name="T52" fmla="*/ 197 w 430"/>
                <a:gd name="T53" fmla="*/ 177 h 427"/>
                <a:gd name="T54" fmla="*/ 192 w 430"/>
                <a:gd name="T55" fmla="*/ 170 h 427"/>
                <a:gd name="T56" fmla="*/ 131 w 430"/>
                <a:gd name="T57" fmla="*/ 170 h 427"/>
                <a:gd name="T58" fmla="*/ 125 w 430"/>
                <a:gd name="T59" fmla="*/ 177 h 427"/>
                <a:gd name="T60" fmla="*/ 128 w 430"/>
                <a:gd name="T61" fmla="*/ 255 h 427"/>
                <a:gd name="T62" fmla="*/ 139 w 430"/>
                <a:gd name="T63" fmla="*/ 256 h 427"/>
                <a:gd name="T64" fmla="*/ 144 w 430"/>
                <a:gd name="T65" fmla="*/ 249 h 427"/>
                <a:gd name="T66" fmla="*/ 141 w 430"/>
                <a:gd name="T67" fmla="*/ 171 h 427"/>
                <a:gd name="T68" fmla="*/ 215 w 430"/>
                <a:gd name="T69" fmla="*/ 98 h 427"/>
                <a:gd name="T70" fmla="*/ 215 w 430"/>
                <a:gd name="T71" fmla="*/ 98 h 427"/>
                <a:gd name="T72" fmla="*/ 112 w 430"/>
                <a:gd name="T73" fmla="*/ 134 h 427"/>
                <a:gd name="T74" fmla="*/ 109 w 430"/>
                <a:gd name="T75" fmla="*/ 144 h 427"/>
                <a:gd name="T76" fmla="*/ 116 w 430"/>
                <a:gd name="T77" fmla="*/ 151 h 427"/>
                <a:gd name="T78" fmla="*/ 321 w 430"/>
                <a:gd name="T79" fmla="*/ 148 h 427"/>
                <a:gd name="T80" fmla="*/ 321 w 430"/>
                <a:gd name="T81" fmla="*/ 136 h 427"/>
                <a:gd name="T82" fmla="*/ 217 w 430"/>
                <a:gd name="T83" fmla="*/ 80 h 427"/>
                <a:gd name="T84" fmla="*/ 215 w 430"/>
                <a:gd name="T85" fmla="*/ 0 h 427"/>
                <a:gd name="T86" fmla="*/ 334 w 430"/>
                <a:gd name="T87" fmla="*/ 37 h 427"/>
                <a:gd name="T88" fmla="*/ 412 w 430"/>
                <a:gd name="T89" fmla="*/ 130 h 427"/>
                <a:gd name="T90" fmla="*/ 426 w 430"/>
                <a:gd name="T91" fmla="*/ 256 h 427"/>
                <a:gd name="T92" fmla="*/ 366 w 430"/>
                <a:gd name="T93" fmla="*/ 365 h 427"/>
                <a:gd name="T94" fmla="*/ 258 w 430"/>
                <a:gd name="T95" fmla="*/ 423 h 427"/>
                <a:gd name="T96" fmla="*/ 131 w 430"/>
                <a:gd name="T97" fmla="*/ 410 h 427"/>
                <a:gd name="T98" fmla="*/ 37 w 430"/>
                <a:gd name="T99" fmla="*/ 333 h 427"/>
                <a:gd name="T100" fmla="*/ 0 w 430"/>
                <a:gd name="T101" fmla="*/ 214 h 427"/>
                <a:gd name="T102" fmla="*/ 17 w 430"/>
                <a:gd name="T103" fmla="*/ 130 h 427"/>
                <a:gd name="T104" fmla="*/ 95 w 430"/>
                <a:gd name="T105" fmla="*/ 37 h 427"/>
                <a:gd name="T106" fmla="*/ 215 w 430"/>
                <a:gd name="T107"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0" h="427">
                  <a:moveTo>
                    <a:pt x="131" y="293"/>
                  </a:moveTo>
                  <a:lnTo>
                    <a:pt x="299" y="293"/>
                  </a:lnTo>
                  <a:lnTo>
                    <a:pt x="307" y="311"/>
                  </a:lnTo>
                  <a:lnTo>
                    <a:pt x="122" y="311"/>
                  </a:lnTo>
                  <a:lnTo>
                    <a:pt x="131" y="293"/>
                  </a:lnTo>
                  <a:close/>
                  <a:moveTo>
                    <a:pt x="125" y="275"/>
                  </a:moveTo>
                  <a:lnTo>
                    <a:pt x="122" y="276"/>
                  </a:lnTo>
                  <a:lnTo>
                    <a:pt x="119" y="278"/>
                  </a:lnTo>
                  <a:lnTo>
                    <a:pt x="118" y="281"/>
                  </a:lnTo>
                  <a:lnTo>
                    <a:pt x="99" y="316"/>
                  </a:lnTo>
                  <a:lnTo>
                    <a:pt x="99" y="319"/>
                  </a:lnTo>
                  <a:lnTo>
                    <a:pt x="99" y="322"/>
                  </a:lnTo>
                  <a:lnTo>
                    <a:pt x="101" y="323"/>
                  </a:lnTo>
                  <a:lnTo>
                    <a:pt x="102" y="327"/>
                  </a:lnTo>
                  <a:lnTo>
                    <a:pt x="106" y="328"/>
                  </a:lnTo>
                  <a:lnTo>
                    <a:pt x="109" y="328"/>
                  </a:lnTo>
                  <a:lnTo>
                    <a:pt x="322" y="328"/>
                  </a:lnTo>
                  <a:lnTo>
                    <a:pt x="325" y="328"/>
                  </a:lnTo>
                  <a:lnTo>
                    <a:pt x="328" y="327"/>
                  </a:lnTo>
                  <a:lnTo>
                    <a:pt x="330" y="323"/>
                  </a:lnTo>
                  <a:lnTo>
                    <a:pt x="331" y="322"/>
                  </a:lnTo>
                  <a:lnTo>
                    <a:pt x="331" y="319"/>
                  </a:lnTo>
                  <a:lnTo>
                    <a:pt x="330" y="316"/>
                  </a:lnTo>
                  <a:lnTo>
                    <a:pt x="313" y="281"/>
                  </a:lnTo>
                  <a:lnTo>
                    <a:pt x="310" y="278"/>
                  </a:lnTo>
                  <a:lnTo>
                    <a:pt x="307" y="276"/>
                  </a:lnTo>
                  <a:lnTo>
                    <a:pt x="304" y="275"/>
                  </a:lnTo>
                  <a:lnTo>
                    <a:pt x="125" y="275"/>
                  </a:lnTo>
                  <a:close/>
                  <a:moveTo>
                    <a:pt x="296" y="168"/>
                  </a:moveTo>
                  <a:lnTo>
                    <a:pt x="292" y="170"/>
                  </a:lnTo>
                  <a:lnTo>
                    <a:pt x="289" y="171"/>
                  </a:lnTo>
                  <a:lnTo>
                    <a:pt x="287" y="174"/>
                  </a:lnTo>
                  <a:lnTo>
                    <a:pt x="287" y="177"/>
                  </a:lnTo>
                  <a:lnTo>
                    <a:pt x="287" y="249"/>
                  </a:lnTo>
                  <a:lnTo>
                    <a:pt x="287" y="252"/>
                  </a:lnTo>
                  <a:lnTo>
                    <a:pt x="289" y="255"/>
                  </a:lnTo>
                  <a:lnTo>
                    <a:pt x="292" y="256"/>
                  </a:lnTo>
                  <a:lnTo>
                    <a:pt x="296" y="258"/>
                  </a:lnTo>
                  <a:lnTo>
                    <a:pt x="299" y="256"/>
                  </a:lnTo>
                  <a:lnTo>
                    <a:pt x="302" y="255"/>
                  </a:lnTo>
                  <a:lnTo>
                    <a:pt x="304" y="252"/>
                  </a:lnTo>
                  <a:lnTo>
                    <a:pt x="304" y="249"/>
                  </a:lnTo>
                  <a:lnTo>
                    <a:pt x="304" y="177"/>
                  </a:lnTo>
                  <a:lnTo>
                    <a:pt x="304" y="174"/>
                  </a:lnTo>
                  <a:lnTo>
                    <a:pt x="302" y="171"/>
                  </a:lnTo>
                  <a:lnTo>
                    <a:pt x="299" y="170"/>
                  </a:lnTo>
                  <a:lnTo>
                    <a:pt x="296" y="168"/>
                  </a:lnTo>
                  <a:close/>
                  <a:moveTo>
                    <a:pt x="243" y="168"/>
                  </a:moveTo>
                  <a:lnTo>
                    <a:pt x="238" y="170"/>
                  </a:lnTo>
                  <a:lnTo>
                    <a:pt x="235" y="171"/>
                  </a:lnTo>
                  <a:lnTo>
                    <a:pt x="234" y="174"/>
                  </a:lnTo>
                  <a:lnTo>
                    <a:pt x="234" y="177"/>
                  </a:lnTo>
                  <a:lnTo>
                    <a:pt x="234" y="249"/>
                  </a:lnTo>
                  <a:lnTo>
                    <a:pt x="234" y="252"/>
                  </a:lnTo>
                  <a:lnTo>
                    <a:pt x="235" y="255"/>
                  </a:lnTo>
                  <a:lnTo>
                    <a:pt x="238" y="256"/>
                  </a:lnTo>
                  <a:lnTo>
                    <a:pt x="243" y="258"/>
                  </a:lnTo>
                  <a:lnTo>
                    <a:pt x="246" y="256"/>
                  </a:lnTo>
                  <a:lnTo>
                    <a:pt x="249" y="255"/>
                  </a:lnTo>
                  <a:lnTo>
                    <a:pt x="250" y="252"/>
                  </a:lnTo>
                  <a:lnTo>
                    <a:pt x="250" y="249"/>
                  </a:lnTo>
                  <a:lnTo>
                    <a:pt x="250" y="177"/>
                  </a:lnTo>
                  <a:lnTo>
                    <a:pt x="250" y="174"/>
                  </a:lnTo>
                  <a:lnTo>
                    <a:pt x="249" y="171"/>
                  </a:lnTo>
                  <a:lnTo>
                    <a:pt x="246" y="170"/>
                  </a:lnTo>
                  <a:lnTo>
                    <a:pt x="243" y="168"/>
                  </a:lnTo>
                  <a:close/>
                  <a:moveTo>
                    <a:pt x="188" y="168"/>
                  </a:moveTo>
                  <a:lnTo>
                    <a:pt x="185" y="170"/>
                  </a:lnTo>
                  <a:lnTo>
                    <a:pt x="182" y="171"/>
                  </a:lnTo>
                  <a:lnTo>
                    <a:pt x="180" y="174"/>
                  </a:lnTo>
                  <a:lnTo>
                    <a:pt x="179" y="177"/>
                  </a:lnTo>
                  <a:lnTo>
                    <a:pt x="179" y="249"/>
                  </a:lnTo>
                  <a:lnTo>
                    <a:pt x="180" y="252"/>
                  </a:lnTo>
                  <a:lnTo>
                    <a:pt x="182" y="255"/>
                  </a:lnTo>
                  <a:lnTo>
                    <a:pt x="185" y="256"/>
                  </a:lnTo>
                  <a:lnTo>
                    <a:pt x="188" y="258"/>
                  </a:lnTo>
                  <a:lnTo>
                    <a:pt x="192" y="256"/>
                  </a:lnTo>
                  <a:lnTo>
                    <a:pt x="194" y="255"/>
                  </a:lnTo>
                  <a:lnTo>
                    <a:pt x="197" y="252"/>
                  </a:lnTo>
                  <a:lnTo>
                    <a:pt x="197" y="249"/>
                  </a:lnTo>
                  <a:lnTo>
                    <a:pt x="197" y="177"/>
                  </a:lnTo>
                  <a:lnTo>
                    <a:pt x="197" y="174"/>
                  </a:lnTo>
                  <a:lnTo>
                    <a:pt x="194" y="171"/>
                  </a:lnTo>
                  <a:lnTo>
                    <a:pt x="192" y="170"/>
                  </a:lnTo>
                  <a:lnTo>
                    <a:pt x="188" y="168"/>
                  </a:lnTo>
                  <a:close/>
                  <a:moveTo>
                    <a:pt x="135" y="168"/>
                  </a:moveTo>
                  <a:lnTo>
                    <a:pt x="131" y="170"/>
                  </a:lnTo>
                  <a:lnTo>
                    <a:pt x="128" y="171"/>
                  </a:lnTo>
                  <a:lnTo>
                    <a:pt x="127" y="174"/>
                  </a:lnTo>
                  <a:lnTo>
                    <a:pt x="125" y="177"/>
                  </a:lnTo>
                  <a:lnTo>
                    <a:pt x="125" y="249"/>
                  </a:lnTo>
                  <a:lnTo>
                    <a:pt x="127" y="252"/>
                  </a:lnTo>
                  <a:lnTo>
                    <a:pt x="128" y="255"/>
                  </a:lnTo>
                  <a:lnTo>
                    <a:pt x="131" y="256"/>
                  </a:lnTo>
                  <a:lnTo>
                    <a:pt x="135" y="258"/>
                  </a:lnTo>
                  <a:lnTo>
                    <a:pt x="139" y="256"/>
                  </a:lnTo>
                  <a:lnTo>
                    <a:pt x="141" y="255"/>
                  </a:lnTo>
                  <a:lnTo>
                    <a:pt x="142" y="252"/>
                  </a:lnTo>
                  <a:lnTo>
                    <a:pt x="144" y="249"/>
                  </a:lnTo>
                  <a:lnTo>
                    <a:pt x="144" y="177"/>
                  </a:lnTo>
                  <a:lnTo>
                    <a:pt x="142" y="174"/>
                  </a:lnTo>
                  <a:lnTo>
                    <a:pt x="141" y="171"/>
                  </a:lnTo>
                  <a:lnTo>
                    <a:pt x="139" y="170"/>
                  </a:lnTo>
                  <a:lnTo>
                    <a:pt x="135" y="168"/>
                  </a:lnTo>
                  <a:close/>
                  <a:moveTo>
                    <a:pt x="215" y="98"/>
                  </a:moveTo>
                  <a:lnTo>
                    <a:pt x="278" y="133"/>
                  </a:lnTo>
                  <a:lnTo>
                    <a:pt x="151" y="133"/>
                  </a:lnTo>
                  <a:lnTo>
                    <a:pt x="215" y="98"/>
                  </a:lnTo>
                  <a:close/>
                  <a:moveTo>
                    <a:pt x="214" y="80"/>
                  </a:moveTo>
                  <a:lnTo>
                    <a:pt x="211" y="81"/>
                  </a:lnTo>
                  <a:lnTo>
                    <a:pt x="112" y="134"/>
                  </a:lnTo>
                  <a:lnTo>
                    <a:pt x="110" y="136"/>
                  </a:lnTo>
                  <a:lnTo>
                    <a:pt x="109" y="141"/>
                  </a:lnTo>
                  <a:lnTo>
                    <a:pt x="109" y="144"/>
                  </a:lnTo>
                  <a:lnTo>
                    <a:pt x="110" y="148"/>
                  </a:lnTo>
                  <a:lnTo>
                    <a:pt x="113" y="150"/>
                  </a:lnTo>
                  <a:lnTo>
                    <a:pt x="116" y="151"/>
                  </a:lnTo>
                  <a:lnTo>
                    <a:pt x="313" y="151"/>
                  </a:lnTo>
                  <a:lnTo>
                    <a:pt x="318" y="150"/>
                  </a:lnTo>
                  <a:lnTo>
                    <a:pt x="321" y="148"/>
                  </a:lnTo>
                  <a:lnTo>
                    <a:pt x="322" y="144"/>
                  </a:lnTo>
                  <a:lnTo>
                    <a:pt x="322" y="141"/>
                  </a:lnTo>
                  <a:lnTo>
                    <a:pt x="321" y="136"/>
                  </a:lnTo>
                  <a:lnTo>
                    <a:pt x="318" y="134"/>
                  </a:lnTo>
                  <a:lnTo>
                    <a:pt x="220" y="81"/>
                  </a:lnTo>
                  <a:lnTo>
                    <a:pt x="217" y="80"/>
                  </a:lnTo>
                  <a:lnTo>
                    <a:pt x="214" y="80"/>
                  </a:lnTo>
                  <a:close/>
                  <a:moveTo>
                    <a:pt x="215" y="0"/>
                  </a:moveTo>
                  <a:lnTo>
                    <a:pt x="215" y="0"/>
                  </a:lnTo>
                  <a:lnTo>
                    <a:pt x="258" y="5"/>
                  </a:lnTo>
                  <a:lnTo>
                    <a:pt x="299" y="17"/>
                  </a:lnTo>
                  <a:lnTo>
                    <a:pt x="334" y="37"/>
                  </a:lnTo>
                  <a:lnTo>
                    <a:pt x="366" y="63"/>
                  </a:lnTo>
                  <a:lnTo>
                    <a:pt x="392" y="93"/>
                  </a:lnTo>
                  <a:lnTo>
                    <a:pt x="412" y="130"/>
                  </a:lnTo>
                  <a:lnTo>
                    <a:pt x="426" y="170"/>
                  </a:lnTo>
                  <a:lnTo>
                    <a:pt x="430" y="214"/>
                  </a:lnTo>
                  <a:lnTo>
                    <a:pt x="426" y="256"/>
                  </a:lnTo>
                  <a:lnTo>
                    <a:pt x="412" y="296"/>
                  </a:lnTo>
                  <a:lnTo>
                    <a:pt x="392" y="333"/>
                  </a:lnTo>
                  <a:lnTo>
                    <a:pt x="366" y="365"/>
                  </a:lnTo>
                  <a:lnTo>
                    <a:pt x="334" y="391"/>
                  </a:lnTo>
                  <a:lnTo>
                    <a:pt x="299" y="410"/>
                  </a:lnTo>
                  <a:lnTo>
                    <a:pt x="258" y="423"/>
                  </a:lnTo>
                  <a:lnTo>
                    <a:pt x="215" y="427"/>
                  </a:lnTo>
                  <a:lnTo>
                    <a:pt x="173" y="423"/>
                  </a:lnTo>
                  <a:lnTo>
                    <a:pt x="131" y="410"/>
                  </a:lnTo>
                  <a:lnTo>
                    <a:pt x="95" y="391"/>
                  </a:lnTo>
                  <a:lnTo>
                    <a:pt x="63" y="365"/>
                  </a:lnTo>
                  <a:lnTo>
                    <a:pt x="37" y="333"/>
                  </a:lnTo>
                  <a:lnTo>
                    <a:pt x="17" y="296"/>
                  </a:lnTo>
                  <a:lnTo>
                    <a:pt x="5" y="256"/>
                  </a:lnTo>
                  <a:lnTo>
                    <a:pt x="0" y="214"/>
                  </a:lnTo>
                  <a:lnTo>
                    <a:pt x="0" y="214"/>
                  </a:lnTo>
                  <a:lnTo>
                    <a:pt x="5" y="170"/>
                  </a:lnTo>
                  <a:lnTo>
                    <a:pt x="17" y="130"/>
                  </a:lnTo>
                  <a:lnTo>
                    <a:pt x="37" y="93"/>
                  </a:lnTo>
                  <a:lnTo>
                    <a:pt x="63" y="63"/>
                  </a:lnTo>
                  <a:lnTo>
                    <a:pt x="95" y="37"/>
                  </a:lnTo>
                  <a:lnTo>
                    <a:pt x="131" y="17"/>
                  </a:lnTo>
                  <a:lnTo>
                    <a:pt x="173" y="5"/>
                  </a:lnTo>
                  <a:lnTo>
                    <a:pt x="215"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5">
              <a:extLst>
                <a:ext uri="{FF2B5EF4-FFF2-40B4-BE49-F238E27FC236}">
                  <a16:creationId xmlns:a16="http://schemas.microsoft.com/office/drawing/2014/main" id="{796C8E1A-8F00-3E4D-9770-5FBEF870F288}"/>
                </a:ext>
              </a:extLst>
            </p:cNvPr>
            <p:cNvSpPr>
              <a:spLocks noEditPoints="1"/>
            </p:cNvSpPr>
            <p:nvPr/>
          </p:nvSpPr>
          <p:spPr bwMode="auto">
            <a:xfrm>
              <a:off x="6541371" y="3489325"/>
              <a:ext cx="650875" cy="650875"/>
            </a:xfrm>
            <a:custGeom>
              <a:avLst/>
              <a:gdLst>
                <a:gd name="T0" fmla="*/ 131 w 410"/>
                <a:gd name="T1" fmla="*/ 154 h 410"/>
                <a:gd name="T2" fmla="*/ 128 w 410"/>
                <a:gd name="T3" fmla="*/ 165 h 410"/>
                <a:gd name="T4" fmla="*/ 134 w 410"/>
                <a:gd name="T5" fmla="*/ 169 h 410"/>
                <a:gd name="T6" fmla="*/ 141 w 410"/>
                <a:gd name="T7" fmla="*/ 168 h 410"/>
                <a:gd name="T8" fmla="*/ 184 w 410"/>
                <a:gd name="T9" fmla="*/ 146 h 410"/>
                <a:gd name="T10" fmla="*/ 187 w 410"/>
                <a:gd name="T11" fmla="*/ 137 h 410"/>
                <a:gd name="T12" fmla="*/ 180 w 410"/>
                <a:gd name="T13" fmla="*/ 131 h 410"/>
                <a:gd name="T14" fmla="*/ 265 w 410"/>
                <a:gd name="T15" fmla="*/ 125 h 410"/>
                <a:gd name="T16" fmla="*/ 268 w 410"/>
                <a:gd name="T17" fmla="*/ 134 h 410"/>
                <a:gd name="T18" fmla="*/ 294 w 410"/>
                <a:gd name="T19" fmla="*/ 163 h 410"/>
                <a:gd name="T20" fmla="*/ 301 w 410"/>
                <a:gd name="T21" fmla="*/ 177 h 410"/>
                <a:gd name="T22" fmla="*/ 315 w 410"/>
                <a:gd name="T23" fmla="*/ 178 h 410"/>
                <a:gd name="T24" fmla="*/ 286 w 410"/>
                <a:gd name="T25" fmla="*/ 214 h 410"/>
                <a:gd name="T26" fmla="*/ 280 w 410"/>
                <a:gd name="T27" fmla="*/ 221 h 410"/>
                <a:gd name="T28" fmla="*/ 250 w 410"/>
                <a:gd name="T29" fmla="*/ 284 h 410"/>
                <a:gd name="T30" fmla="*/ 247 w 410"/>
                <a:gd name="T31" fmla="*/ 299 h 410"/>
                <a:gd name="T32" fmla="*/ 221 w 410"/>
                <a:gd name="T33" fmla="*/ 287 h 410"/>
                <a:gd name="T34" fmla="*/ 213 w 410"/>
                <a:gd name="T35" fmla="*/ 281 h 410"/>
                <a:gd name="T36" fmla="*/ 172 w 410"/>
                <a:gd name="T37" fmla="*/ 284 h 410"/>
                <a:gd name="T38" fmla="*/ 170 w 410"/>
                <a:gd name="T39" fmla="*/ 299 h 410"/>
                <a:gd name="T40" fmla="*/ 132 w 410"/>
                <a:gd name="T41" fmla="*/ 271 h 410"/>
                <a:gd name="T42" fmla="*/ 103 w 410"/>
                <a:gd name="T43" fmla="*/ 256 h 410"/>
                <a:gd name="T44" fmla="*/ 97 w 410"/>
                <a:gd name="T45" fmla="*/ 188 h 410"/>
                <a:gd name="T46" fmla="*/ 140 w 410"/>
                <a:gd name="T47" fmla="*/ 131 h 410"/>
                <a:gd name="T48" fmla="*/ 213 w 410"/>
                <a:gd name="T49" fmla="*/ 121 h 410"/>
                <a:gd name="T50" fmla="*/ 242 w 410"/>
                <a:gd name="T51" fmla="*/ 127 h 410"/>
                <a:gd name="T52" fmla="*/ 250 w 410"/>
                <a:gd name="T53" fmla="*/ 118 h 410"/>
                <a:gd name="T54" fmla="*/ 265 w 410"/>
                <a:gd name="T55" fmla="*/ 107 h 410"/>
                <a:gd name="T56" fmla="*/ 277 w 410"/>
                <a:gd name="T57" fmla="*/ 84 h 410"/>
                <a:gd name="T58" fmla="*/ 245 w 410"/>
                <a:gd name="T59" fmla="*/ 98 h 410"/>
                <a:gd name="T60" fmla="*/ 187 w 410"/>
                <a:gd name="T61" fmla="*/ 102 h 410"/>
                <a:gd name="T62" fmla="*/ 109 w 410"/>
                <a:gd name="T63" fmla="*/ 134 h 410"/>
                <a:gd name="T64" fmla="*/ 76 w 410"/>
                <a:gd name="T65" fmla="*/ 212 h 410"/>
                <a:gd name="T66" fmla="*/ 93 w 410"/>
                <a:gd name="T67" fmla="*/ 271 h 410"/>
                <a:gd name="T68" fmla="*/ 100 w 410"/>
                <a:gd name="T69" fmla="*/ 273 h 410"/>
                <a:gd name="T70" fmla="*/ 120 w 410"/>
                <a:gd name="T71" fmla="*/ 284 h 410"/>
                <a:gd name="T72" fmla="*/ 128 w 410"/>
                <a:gd name="T73" fmla="*/ 311 h 410"/>
                <a:gd name="T74" fmla="*/ 135 w 410"/>
                <a:gd name="T75" fmla="*/ 316 h 410"/>
                <a:gd name="T76" fmla="*/ 184 w 410"/>
                <a:gd name="T77" fmla="*/ 313 h 410"/>
                <a:gd name="T78" fmla="*/ 187 w 410"/>
                <a:gd name="T79" fmla="*/ 299 h 410"/>
                <a:gd name="T80" fmla="*/ 205 w 410"/>
                <a:gd name="T81" fmla="*/ 311 h 410"/>
                <a:gd name="T82" fmla="*/ 213 w 410"/>
                <a:gd name="T83" fmla="*/ 316 h 410"/>
                <a:gd name="T84" fmla="*/ 262 w 410"/>
                <a:gd name="T85" fmla="*/ 313 h 410"/>
                <a:gd name="T86" fmla="*/ 263 w 410"/>
                <a:gd name="T87" fmla="*/ 291 h 410"/>
                <a:gd name="T88" fmla="*/ 297 w 410"/>
                <a:gd name="T89" fmla="*/ 230 h 410"/>
                <a:gd name="T90" fmla="*/ 330 w 410"/>
                <a:gd name="T91" fmla="*/ 227 h 410"/>
                <a:gd name="T92" fmla="*/ 332 w 410"/>
                <a:gd name="T93" fmla="*/ 169 h 410"/>
                <a:gd name="T94" fmla="*/ 327 w 410"/>
                <a:gd name="T95" fmla="*/ 162 h 410"/>
                <a:gd name="T96" fmla="*/ 305 w 410"/>
                <a:gd name="T97" fmla="*/ 150 h 410"/>
                <a:gd name="T98" fmla="*/ 289 w 410"/>
                <a:gd name="T99" fmla="*/ 96 h 410"/>
                <a:gd name="T100" fmla="*/ 288 w 410"/>
                <a:gd name="T101" fmla="*/ 87 h 410"/>
                <a:gd name="T102" fmla="*/ 280 w 410"/>
                <a:gd name="T103" fmla="*/ 84 h 410"/>
                <a:gd name="T104" fmla="*/ 285 w 410"/>
                <a:gd name="T105" fmla="*/ 15 h 410"/>
                <a:gd name="T106" fmla="*/ 375 w 410"/>
                <a:gd name="T107" fmla="*/ 90 h 410"/>
                <a:gd name="T108" fmla="*/ 410 w 410"/>
                <a:gd name="T109" fmla="*/ 204 h 410"/>
                <a:gd name="T110" fmla="*/ 375 w 410"/>
                <a:gd name="T111" fmla="*/ 319 h 410"/>
                <a:gd name="T112" fmla="*/ 285 w 410"/>
                <a:gd name="T113" fmla="*/ 393 h 410"/>
                <a:gd name="T114" fmla="*/ 163 w 410"/>
                <a:gd name="T115" fmla="*/ 406 h 410"/>
                <a:gd name="T116" fmla="*/ 59 w 410"/>
                <a:gd name="T117" fmla="*/ 349 h 410"/>
                <a:gd name="T118" fmla="*/ 4 w 410"/>
                <a:gd name="T119" fmla="*/ 246 h 410"/>
                <a:gd name="T120" fmla="*/ 15 w 410"/>
                <a:gd name="T121" fmla="*/ 125 h 410"/>
                <a:gd name="T122" fmla="*/ 90 w 410"/>
                <a:gd name="T123" fmla="*/ 34 h 410"/>
                <a:gd name="T124" fmla="*/ 204 w 410"/>
                <a:gd name="T125" fmla="*/ 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0" h="410">
                  <a:moveTo>
                    <a:pt x="176" y="131"/>
                  </a:moveTo>
                  <a:lnTo>
                    <a:pt x="152" y="140"/>
                  </a:lnTo>
                  <a:lnTo>
                    <a:pt x="131" y="154"/>
                  </a:lnTo>
                  <a:lnTo>
                    <a:pt x="129" y="157"/>
                  </a:lnTo>
                  <a:lnTo>
                    <a:pt x="128" y="160"/>
                  </a:lnTo>
                  <a:lnTo>
                    <a:pt x="128" y="165"/>
                  </a:lnTo>
                  <a:lnTo>
                    <a:pt x="131" y="166"/>
                  </a:lnTo>
                  <a:lnTo>
                    <a:pt x="132" y="169"/>
                  </a:lnTo>
                  <a:lnTo>
                    <a:pt x="134" y="169"/>
                  </a:lnTo>
                  <a:lnTo>
                    <a:pt x="137" y="169"/>
                  </a:lnTo>
                  <a:lnTo>
                    <a:pt x="140" y="169"/>
                  </a:lnTo>
                  <a:lnTo>
                    <a:pt x="141" y="168"/>
                  </a:lnTo>
                  <a:lnTo>
                    <a:pt x="160" y="156"/>
                  </a:lnTo>
                  <a:lnTo>
                    <a:pt x="181" y="148"/>
                  </a:lnTo>
                  <a:lnTo>
                    <a:pt x="184" y="146"/>
                  </a:lnTo>
                  <a:lnTo>
                    <a:pt x="186" y="143"/>
                  </a:lnTo>
                  <a:lnTo>
                    <a:pt x="187" y="140"/>
                  </a:lnTo>
                  <a:lnTo>
                    <a:pt x="187" y="137"/>
                  </a:lnTo>
                  <a:lnTo>
                    <a:pt x="186" y="134"/>
                  </a:lnTo>
                  <a:lnTo>
                    <a:pt x="183" y="131"/>
                  </a:lnTo>
                  <a:lnTo>
                    <a:pt x="180" y="131"/>
                  </a:lnTo>
                  <a:lnTo>
                    <a:pt x="176" y="131"/>
                  </a:lnTo>
                  <a:close/>
                  <a:moveTo>
                    <a:pt x="269" y="104"/>
                  </a:moveTo>
                  <a:lnTo>
                    <a:pt x="265" y="125"/>
                  </a:lnTo>
                  <a:lnTo>
                    <a:pt x="265" y="128"/>
                  </a:lnTo>
                  <a:lnTo>
                    <a:pt x="266" y="133"/>
                  </a:lnTo>
                  <a:lnTo>
                    <a:pt x="268" y="134"/>
                  </a:lnTo>
                  <a:lnTo>
                    <a:pt x="279" y="143"/>
                  </a:lnTo>
                  <a:lnTo>
                    <a:pt x="286" y="153"/>
                  </a:lnTo>
                  <a:lnTo>
                    <a:pt x="294" y="163"/>
                  </a:lnTo>
                  <a:lnTo>
                    <a:pt x="297" y="171"/>
                  </a:lnTo>
                  <a:lnTo>
                    <a:pt x="298" y="174"/>
                  </a:lnTo>
                  <a:lnTo>
                    <a:pt x="301" y="177"/>
                  </a:lnTo>
                  <a:lnTo>
                    <a:pt x="305" y="178"/>
                  </a:lnTo>
                  <a:lnTo>
                    <a:pt x="308" y="178"/>
                  </a:lnTo>
                  <a:lnTo>
                    <a:pt x="315" y="178"/>
                  </a:lnTo>
                  <a:lnTo>
                    <a:pt x="315" y="212"/>
                  </a:lnTo>
                  <a:lnTo>
                    <a:pt x="289" y="212"/>
                  </a:lnTo>
                  <a:lnTo>
                    <a:pt x="286" y="214"/>
                  </a:lnTo>
                  <a:lnTo>
                    <a:pt x="283" y="215"/>
                  </a:lnTo>
                  <a:lnTo>
                    <a:pt x="282" y="218"/>
                  </a:lnTo>
                  <a:lnTo>
                    <a:pt x="280" y="221"/>
                  </a:lnTo>
                  <a:lnTo>
                    <a:pt x="276" y="242"/>
                  </a:lnTo>
                  <a:lnTo>
                    <a:pt x="265" y="264"/>
                  </a:lnTo>
                  <a:lnTo>
                    <a:pt x="250" y="284"/>
                  </a:lnTo>
                  <a:lnTo>
                    <a:pt x="248" y="285"/>
                  </a:lnTo>
                  <a:lnTo>
                    <a:pt x="247" y="288"/>
                  </a:lnTo>
                  <a:lnTo>
                    <a:pt x="247" y="299"/>
                  </a:lnTo>
                  <a:lnTo>
                    <a:pt x="221" y="299"/>
                  </a:lnTo>
                  <a:lnTo>
                    <a:pt x="221" y="290"/>
                  </a:lnTo>
                  <a:lnTo>
                    <a:pt x="221" y="287"/>
                  </a:lnTo>
                  <a:lnTo>
                    <a:pt x="219" y="284"/>
                  </a:lnTo>
                  <a:lnTo>
                    <a:pt x="216" y="282"/>
                  </a:lnTo>
                  <a:lnTo>
                    <a:pt x="213" y="281"/>
                  </a:lnTo>
                  <a:lnTo>
                    <a:pt x="180" y="281"/>
                  </a:lnTo>
                  <a:lnTo>
                    <a:pt x="175" y="282"/>
                  </a:lnTo>
                  <a:lnTo>
                    <a:pt x="172" y="284"/>
                  </a:lnTo>
                  <a:lnTo>
                    <a:pt x="170" y="287"/>
                  </a:lnTo>
                  <a:lnTo>
                    <a:pt x="170" y="290"/>
                  </a:lnTo>
                  <a:lnTo>
                    <a:pt x="170" y="299"/>
                  </a:lnTo>
                  <a:lnTo>
                    <a:pt x="143" y="299"/>
                  </a:lnTo>
                  <a:lnTo>
                    <a:pt x="140" y="284"/>
                  </a:lnTo>
                  <a:lnTo>
                    <a:pt x="132" y="271"/>
                  </a:lnTo>
                  <a:lnTo>
                    <a:pt x="123" y="264"/>
                  </a:lnTo>
                  <a:lnTo>
                    <a:pt x="112" y="258"/>
                  </a:lnTo>
                  <a:lnTo>
                    <a:pt x="103" y="256"/>
                  </a:lnTo>
                  <a:lnTo>
                    <a:pt x="96" y="235"/>
                  </a:lnTo>
                  <a:lnTo>
                    <a:pt x="93" y="212"/>
                  </a:lnTo>
                  <a:lnTo>
                    <a:pt x="97" y="188"/>
                  </a:lnTo>
                  <a:lnTo>
                    <a:pt x="106" y="165"/>
                  </a:lnTo>
                  <a:lnTo>
                    <a:pt x="120" y="146"/>
                  </a:lnTo>
                  <a:lnTo>
                    <a:pt x="140" y="131"/>
                  </a:lnTo>
                  <a:lnTo>
                    <a:pt x="163" y="122"/>
                  </a:lnTo>
                  <a:lnTo>
                    <a:pt x="187" y="119"/>
                  </a:lnTo>
                  <a:lnTo>
                    <a:pt x="213" y="121"/>
                  </a:lnTo>
                  <a:lnTo>
                    <a:pt x="236" y="127"/>
                  </a:lnTo>
                  <a:lnTo>
                    <a:pt x="239" y="127"/>
                  </a:lnTo>
                  <a:lnTo>
                    <a:pt x="242" y="127"/>
                  </a:lnTo>
                  <a:lnTo>
                    <a:pt x="245" y="125"/>
                  </a:lnTo>
                  <a:lnTo>
                    <a:pt x="247" y="122"/>
                  </a:lnTo>
                  <a:lnTo>
                    <a:pt x="250" y="118"/>
                  </a:lnTo>
                  <a:lnTo>
                    <a:pt x="254" y="113"/>
                  </a:lnTo>
                  <a:lnTo>
                    <a:pt x="259" y="108"/>
                  </a:lnTo>
                  <a:lnTo>
                    <a:pt x="265" y="107"/>
                  </a:lnTo>
                  <a:lnTo>
                    <a:pt x="269" y="104"/>
                  </a:lnTo>
                  <a:close/>
                  <a:moveTo>
                    <a:pt x="280" y="84"/>
                  </a:moveTo>
                  <a:lnTo>
                    <a:pt x="277" y="84"/>
                  </a:lnTo>
                  <a:lnTo>
                    <a:pt x="268" y="87"/>
                  </a:lnTo>
                  <a:lnTo>
                    <a:pt x="257" y="90"/>
                  </a:lnTo>
                  <a:lnTo>
                    <a:pt x="245" y="98"/>
                  </a:lnTo>
                  <a:lnTo>
                    <a:pt x="234" y="108"/>
                  </a:lnTo>
                  <a:lnTo>
                    <a:pt x="212" y="104"/>
                  </a:lnTo>
                  <a:lnTo>
                    <a:pt x="187" y="102"/>
                  </a:lnTo>
                  <a:lnTo>
                    <a:pt x="158" y="105"/>
                  </a:lnTo>
                  <a:lnTo>
                    <a:pt x="131" y="118"/>
                  </a:lnTo>
                  <a:lnTo>
                    <a:pt x="109" y="134"/>
                  </a:lnTo>
                  <a:lnTo>
                    <a:pt x="91" y="157"/>
                  </a:lnTo>
                  <a:lnTo>
                    <a:pt x="80" y="183"/>
                  </a:lnTo>
                  <a:lnTo>
                    <a:pt x="76" y="212"/>
                  </a:lnTo>
                  <a:lnTo>
                    <a:pt x="80" y="242"/>
                  </a:lnTo>
                  <a:lnTo>
                    <a:pt x="91" y="268"/>
                  </a:lnTo>
                  <a:lnTo>
                    <a:pt x="93" y="271"/>
                  </a:lnTo>
                  <a:lnTo>
                    <a:pt x="96" y="271"/>
                  </a:lnTo>
                  <a:lnTo>
                    <a:pt x="99" y="273"/>
                  </a:lnTo>
                  <a:lnTo>
                    <a:pt x="100" y="273"/>
                  </a:lnTo>
                  <a:lnTo>
                    <a:pt x="106" y="274"/>
                  </a:lnTo>
                  <a:lnTo>
                    <a:pt x="114" y="278"/>
                  </a:lnTo>
                  <a:lnTo>
                    <a:pt x="120" y="284"/>
                  </a:lnTo>
                  <a:lnTo>
                    <a:pt x="126" y="293"/>
                  </a:lnTo>
                  <a:lnTo>
                    <a:pt x="128" y="306"/>
                  </a:lnTo>
                  <a:lnTo>
                    <a:pt x="128" y="311"/>
                  </a:lnTo>
                  <a:lnTo>
                    <a:pt x="129" y="313"/>
                  </a:lnTo>
                  <a:lnTo>
                    <a:pt x="132" y="314"/>
                  </a:lnTo>
                  <a:lnTo>
                    <a:pt x="135" y="316"/>
                  </a:lnTo>
                  <a:lnTo>
                    <a:pt x="180" y="316"/>
                  </a:lnTo>
                  <a:lnTo>
                    <a:pt x="183" y="314"/>
                  </a:lnTo>
                  <a:lnTo>
                    <a:pt x="184" y="313"/>
                  </a:lnTo>
                  <a:lnTo>
                    <a:pt x="186" y="311"/>
                  </a:lnTo>
                  <a:lnTo>
                    <a:pt x="187" y="306"/>
                  </a:lnTo>
                  <a:lnTo>
                    <a:pt x="187" y="299"/>
                  </a:lnTo>
                  <a:lnTo>
                    <a:pt x="204" y="299"/>
                  </a:lnTo>
                  <a:lnTo>
                    <a:pt x="204" y="306"/>
                  </a:lnTo>
                  <a:lnTo>
                    <a:pt x="205" y="311"/>
                  </a:lnTo>
                  <a:lnTo>
                    <a:pt x="207" y="313"/>
                  </a:lnTo>
                  <a:lnTo>
                    <a:pt x="210" y="314"/>
                  </a:lnTo>
                  <a:lnTo>
                    <a:pt x="213" y="316"/>
                  </a:lnTo>
                  <a:lnTo>
                    <a:pt x="256" y="316"/>
                  </a:lnTo>
                  <a:lnTo>
                    <a:pt x="259" y="314"/>
                  </a:lnTo>
                  <a:lnTo>
                    <a:pt x="262" y="313"/>
                  </a:lnTo>
                  <a:lnTo>
                    <a:pt x="263" y="311"/>
                  </a:lnTo>
                  <a:lnTo>
                    <a:pt x="263" y="306"/>
                  </a:lnTo>
                  <a:lnTo>
                    <a:pt x="263" y="291"/>
                  </a:lnTo>
                  <a:lnTo>
                    <a:pt x="277" y="276"/>
                  </a:lnTo>
                  <a:lnTo>
                    <a:pt x="289" y="256"/>
                  </a:lnTo>
                  <a:lnTo>
                    <a:pt x="297" y="230"/>
                  </a:lnTo>
                  <a:lnTo>
                    <a:pt x="324" y="230"/>
                  </a:lnTo>
                  <a:lnTo>
                    <a:pt x="327" y="229"/>
                  </a:lnTo>
                  <a:lnTo>
                    <a:pt x="330" y="227"/>
                  </a:lnTo>
                  <a:lnTo>
                    <a:pt x="332" y="224"/>
                  </a:lnTo>
                  <a:lnTo>
                    <a:pt x="332" y="221"/>
                  </a:lnTo>
                  <a:lnTo>
                    <a:pt x="332" y="169"/>
                  </a:lnTo>
                  <a:lnTo>
                    <a:pt x="332" y="166"/>
                  </a:lnTo>
                  <a:lnTo>
                    <a:pt x="330" y="163"/>
                  </a:lnTo>
                  <a:lnTo>
                    <a:pt x="327" y="162"/>
                  </a:lnTo>
                  <a:lnTo>
                    <a:pt x="324" y="162"/>
                  </a:lnTo>
                  <a:lnTo>
                    <a:pt x="312" y="162"/>
                  </a:lnTo>
                  <a:lnTo>
                    <a:pt x="305" y="150"/>
                  </a:lnTo>
                  <a:lnTo>
                    <a:pt x="295" y="136"/>
                  </a:lnTo>
                  <a:lnTo>
                    <a:pt x="282" y="124"/>
                  </a:lnTo>
                  <a:lnTo>
                    <a:pt x="289" y="96"/>
                  </a:lnTo>
                  <a:lnTo>
                    <a:pt x="289" y="93"/>
                  </a:lnTo>
                  <a:lnTo>
                    <a:pt x="289" y="90"/>
                  </a:lnTo>
                  <a:lnTo>
                    <a:pt x="288" y="87"/>
                  </a:lnTo>
                  <a:lnTo>
                    <a:pt x="286" y="86"/>
                  </a:lnTo>
                  <a:lnTo>
                    <a:pt x="283" y="86"/>
                  </a:lnTo>
                  <a:lnTo>
                    <a:pt x="280" y="84"/>
                  </a:lnTo>
                  <a:close/>
                  <a:moveTo>
                    <a:pt x="204" y="0"/>
                  </a:moveTo>
                  <a:lnTo>
                    <a:pt x="245" y="3"/>
                  </a:lnTo>
                  <a:lnTo>
                    <a:pt x="285" y="15"/>
                  </a:lnTo>
                  <a:lnTo>
                    <a:pt x="320" y="34"/>
                  </a:lnTo>
                  <a:lnTo>
                    <a:pt x="349" y="60"/>
                  </a:lnTo>
                  <a:lnTo>
                    <a:pt x="375" y="90"/>
                  </a:lnTo>
                  <a:lnTo>
                    <a:pt x="393" y="125"/>
                  </a:lnTo>
                  <a:lnTo>
                    <a:pt x="405" y="163"/>
                  </a:lnTo>
                  <a:lnTo>
                    <a:pt x="410" y="204"/>
                  </a:lnTo>
                  <a:lnTo>
                    <a:pt x="405" y="246"/>
                  </a:lnTo>
                  <a:lnTo>
                    <a:pt x="393" y="284"/>
                  </a:lnTo>
                  <a:lnTo>
                    <a:pt x="375" y="319"/>
                  </a:lnTo>
                  <a:lnTo>
                    <a:pt x="349" y="349"/>
                  </a:lnTo>
                  <a:lnTo>
                    <a:pt x="320" y="375"/>
                  </a:lnTo>
                  <a:lnTo>
                    <a:pt x="285" y="393"/>
                  </a:lnTo>
                  <a:lnTo>
                    <a:pt x="245" y="406"/>
                  </a:lnTo>
                  <a:lnTo>
                    <a:pt x="204" y="410"/>
                  </a:lnTo>
                  <a:lnTo>
                    <a:pt x="163" y="406"/>
                  </a:lnTo>
                  <a:lnTo>
                    <a:pt x="125" y="393"/>
                  </a:lnTo>
                  <a:lnTo>
                    <a:pt x="90" y="375"/>
                  </a:lnTo>
                  <a:lnTo>
                    <a:pt x="59" y="349"/>
                  </a:lnTo>
                  <a:lnTo>
                    <a:pt x="35" y="319"/>
                  </a:lnTo>
                  <a:lnTo>
                    <a:pt x="15" y="284"/>
                  </a:lnTo>
                  <a:lnTo>
                    <a:pt x="4" y="246"/>
                  </a:lnTo>
                  <a:lnTo>
                    <a:pt x="0" y="204"/>
                  </a:lnTo>
                  <a:lnTo>
                    <a:pt x="4" y="163"/>
                  </a:lnTo>
                  <a:lnTo>
                    <a:pt x="15" y="125"/>
                  </a:lnTo>
                  <a:lnTo>
                    <a:pt x="35" y="90"/>
                  </a:lnTo>
                  <a:lnTo>
                    <a:pt x="59" y="60"/>
                  </a:lnTo>
                  <a:lnTo>
                    <a:pt x="90" y="34"/>
                  </a:lnTo>
                  <a:lnTo>
                    <a:pt x="125" y="15"/>
                  </a:lnTo>
                  <a:lnTo>
                    <a:pt x="163" y="3"/>
                  </a:lnTo>
                  <a:lnTo>
                    <a:pt x="20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6">
              <a:extLst>
                <a:ext uri="{FF2B5EF4-FFF2-40B4-BE49-F238E27FC236}">
                  <a16:creationId xmlns:a16="http://schemas.microsoft.com/office/drawing/2014/main" id="{F06B907D-0DB6-6349-8152-1479D7281E7F}"/>
                </a:ext>
              </a:extLst>
            </p:cNvPr>
            <p:cNvSpPr>
              <a:spLocks noEditPoints="1"/>
            </p:cNvSpPr>
            <p:nvPr/>
          </p:nvSpPr>
          <p:spPr bwMode="auto">
            <a:xfrm>
              <a:off x="7501374" y="2095500"/>
              <a:ext cx="271463" cy="271463"/>
            </a:xfrm>
            <a:custGeom>
              <a:avLst/>
              <a:gdLst>
                <a:gd name="T0" fmla="*/ 73 w 171"/>
                <a:gd name="T1" fmla="*/ 35 h 171"/>
                <a:gd name="T2" fmla="*/ 49 w 171"/>
                <a:gd name="T3" fmla="*/ 58 h 171"/>
                <a:gd name="T4" fmla="*/ 35 w 171"/>
                <a:gd name="T5" fmla="*/ 75 h 171"/>
                <a:gd name="T6" fmla="*/ 32 w 171"/>
                <a:gd name="T7" fmla="*/ 80 h 171"/>
                <a:gd name="T8" fmla="*/ 33 w 171"/>
                <a:gd name="T9" fmla="*/ 83 h 171"/>
                <a:gd name="T10" fmla="*/ 43 w 171"/>
                <a:gd name="T11" fmla="*/ 83 h 171"/>
                <a:gd name="T12" fmla="*/ 35 w 171"/>
                <a:gd name="T13" fmla="*/ 89 h 171"/>
                <a:gd name="T14" fmla="*/ 32 w 171"/>
                <a:gd name="T15" fmla="*/ 92 h 171"/>
                <a:gd name="T16" fmla="*/ 32 w 171"/>
                <a:gd name="T17" fmla="*/ 95 h 171"/>
                <a:gd name="T18" fmla="*/ 35 w 171"/>
                <a:gd name="T19" fmla="*/ 96 h 171"/>
                <a:gd name="T20" fmla="*/ 49 w 171"/>
                <a:gd name="T21" fmla="*/ 113 h 171"/>
                <a:gd name="T22" fmla="*/ 73 w 171"/>
                <a:gd name="T23" fmla="*/ 136 h 171"/>
                <a:gd name="T24" fmla="*/ 97 w 171"/>
                <a:gd name="T25" fmla="*/ 139 h 171"/>
                <a:gd name="T26" fmla="*/ 113 w 171"/>
                <a:gd name="T27" fmla="*/ 133 h 171"/>
                <a:gd name="T28" fmla="*/ 114 w 171"/>
                <a:gd name="T29" fmla="*/ 128 h 171"/>
                <a:gd name="T30" fmla="*/ 111 w 171"/>
                <a:gd name="T31" fmla="*/ 125 h 171"/>
                <a:gd name="T32" fmla="*/ 108 w 171"/>
                <a:gd name="T33" fmla="*/ 127 h 171"/>
                <a:gd name="T34" fmla="*/ 96 w 171"/>
                <a:gd name="T35" fmla="*/ 131 h 171"/>
                <a:gd name="T36" fmla="*/ 72 w 171"/>
                <a:gd name="T37" fmla="*/ 127 h 171"/>
                <a:gd name="T38" fmla="*/ 50 w 171"/>
                <a:gd name="T39" fmla="*/ 96 h 171"/>
                <a:gd name="T40" fmla="*/ 97 w 171"/>
                <a:gd name="T41" fmla="*/ 96 h 171"/>
                <a:gd name="T42" fmla="*/ 99 w 171"/>
                <a:gd name="T43" fmla="*/ 93 h 171"/>
                <a:gd name="T44" fmla="*/ 97 w 171"/>
                <a:gd name="T45" fmla="*/ 90 h 171"/>
                <a:gd name="T46" fmla="*/ 50 w 171"/>
                <a:gd name="T47" fmla="*/ 89 h 171"/>
                <a:gd name="T48" fmla="*/ 96 w 171"/>
                <a:gd name="T49" fmla="*/ 83 h 171"/>
                <a:gd name="T50" fmla="*/ 99 w 171"/>
                <a:gd name="T51" fmla="*/ 81 h 171"/>
                <a:gd name="T52" fmla="*/ 99 w 171"/>
                <a:gd name="T53" fmla="*/ 77 h 171"/>
                <a:gd name="T54" fmla="*/ 50 w 171"/>
                <a:gd name="T55" fmla="*/ 75 h 171"/>
                <a:gd name="T56" fmla="*/ 64 w 171"/>
                <a:gd name="T57" fmla="*/ 51 h 171"/>
                <a:gd name="T58" fmla="*/ 88 w 171"/>
                <a:gd name="T59" fmla="*/ 40 h 171"/>
                <a:gd name="T60" fmla="*/ 102 w 171"/>
                <a:gd name="T61" fmla="*/ 43 h 171"/>
                <a:gd name="T62" fmla="*/ 110 w 171"/>
                <a:gd name="T63" fmla="*/ 46 h 171"/>
                <a:gd name="T64" fmla="*/ 113 w 171"/>
                <a:gd name="T65" fmla="*/ 45 h 171"/>
                <a:gd name="T66" fmla="*/ 113 w 171"/>
                <a:gd name="T67" fmla="*/ 42 h 171"/>
                <a:gd name="T68" fmla="*/ 105 w 171"/>
                <a:gd name="T69" fmla="*/ 35 h 171"/>
                <a:gd name="T70" fmla="*/ 88 w 171"/>
                <a:gd name="T71" fmla="*/ 32 h 171"/>
                <a:gd name="T72" fmla="*/ 113 w 171"/>
                <a:gd name="T73" fmla="*/ 5 h 171"/>
                <a:gd name="T74" fmla="*/ 154 w 171"/>
                <a:gd name="T75" fmla="*/ 35 h 171"/>
                <a:gd name="T76" fmla="*/ 171 w 171"/>
                <a:gd name="T77" fmla="*/ 86 h 171"/>
                <a:gd name="T78" fmla="*/ 154 w 171"/>
                <a:gd name="T79" fmla="*/ 136 h 171"/>
                <a:gd name="T80" fmla="*/ 113 w 171"/>
                <a:gd name="T81" fmla="*/ 168 h 171"/>
                <a:gd name="T82" fmla="*/ 58 w 171"/>
                <a:gd name="T83" fmla="*/ 168 h 171"/>
                <a:gd name="T84" fmla="*/ 17 w 171"/>
                <a:gd name="T85" fmla="*/ 136 h 171"/>
                <a:gd name="T86" fmla="*/ 0 w 171"/>
                <a:gd name="T87" fmla="*/ 86 h 171"/>
                <a:gd name="T88" fmla="*/ 17 w 171"/>
                <a:gd name="T89" fmla="*/ 35 h 171"/>
                <a:gd name="T90" fmla="*/ 58 w 171"/>
                <a:gd name="T91" fmla="*/ 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1" h="171">
                  <a:moveTo>
                    <a:pt x="88" y="32"/>
                  </a:moveTo>
                  <a:lnTo>
                    <a:pt x="73" y="35"/>
                  </a:lnTo>
                  <a:lnTo>
                    <a:pt x="59" y="45"/>
                  </a:lnTo>
                  <a:lnTo>
                    <a:pt x="49" y="58"/>
                  </a:lnTo>
                  <a:lnTo>
                    <a:pt x="43" y="75"/>
                  </a:lnTo>
                  <a:lnTo>
                    <a:pt x="35" y="75"/>
                  </a:lnTo>
                  <a:lnTo>
                    <a:pt x="33" y="77"/>
                  </a:lnTo>
                  <a:lnTo>
                    <a:pt x="32" y="80"/>
                  </a:lnTo>
                  <a:lnTo>
                    <a:pt x="32" y="81"/>
                  </a:lnTo>
                  <a:lnTo>
                    <a:pt x="33" y="83"/>
                  </a:lnTo>
                  <a:lnTo>
                    <a:pt x="35" y="83"/>
                  </a:lnTo>
                  <a:lnTo>
                    <a:pt x="43" y="83"/>
                  </a:lnTo>
                  <a:lnTo>
                    <a:pt x="43" y="89"/>
                  </a:lnTo>
                  <a:lnTo>
                    <a:pt x="35" y="89"/>
                  </a:lnTo>
                  <a:lnTo>
                    <a:pt x="33" y="90"/>
                  </a:lnTo>
                  <a:lnTo>
                    <a:pt x="32" y="92"/>
                  </a:lnTo>
                  <a:lnTo>
                    <a:pt x="32" y="93"/>
                  </a:lnTo>
                  <a:lnTo>
                    <a:pt x="32" y="95"/>
                  </a:lnTo>
                  <a:lnTo>
                    <a:pt x="33" y="96"/>
                  </a:lnTo>
                  <a:lnTo>
                    <a:pt x="35" y="96"/>
                  </a:lnTo>
                  <a:lnTo>
                    <a:pt x="43" y="96"/>
                  </a:lnTo>
                  <a:lnTo>
                    <a:pt x="49" y="113"/>
                  </a:lnTo>
                  <a:lnTo>
                    <a:pt x="59" y="127"/>
                  </a:lnTo>
                  <a:lnTo>
                    <a:pt x="73" y="136"/>
                  </a:lnTo>
                  <a:lnTo>
                    <a:pt x="88" y="139"/>
                  </a:lnTo>
                  <a:lnTo>
                    <a:pt x="97" y="139"/>
                  </a:lnTo>
                  <a:lnTo>
                    <a:pt x="105" y="136"/>
                  </a:lnTo>
                  <a:lnTo>
                    <a:pt x="113" y="133"/>
                  </a:lnTo>
                  <a:lnTo>
                    <a:pt x="113" y="131"/>
                  </a:lnTo>
                  <a:lnTo>
                    <a:pt x="114" y="128"/>
                  </a:lnTo>
                  <a:lnTo>
                    <a:pt x="113" y="127"/>
                  </a:lnTo>
                  <a:lnTo>
                    <a:pt x="111" y="125"/>
                  </a:lnTo>
                  <a:lnTo>
                    <a:pt x="110" y="125"/>
                  </a:lnTo>
                  <a:lnTo>
                    <a:pt x="108" y="127"/>
                  </a:lnTo>
                  <a:lnTo>
                    <a:pt x="102" y="130"/>
                  </a:lnTo>
                  <a:lnTo>
                    <a:pt x="96" y="131"/>
                  </a:lnTo>
                  <a:lnTo>
                    <a:pt x="88" y="133"/>
                  </a:lnTo>
                  <a:lnTo>
                    <a:pt x="72" y="127"/>
                  </a:lnTo>
                  <a:lnTo>
                    <a:pt x="58" y="115"/>
                  </a:lnTo>
                  <a:lnTo>
                    <a:pt x="50" y="96"/>
                  </a:lnTo>
                  <a:lnTo>
                    <a:pt x="96" y="96"/>
                  </a:lnTo>
                  <a:lnTo>
                    <a:pt x="97" y="96"/>
                  </a:lnTo>
                  <a:lnTo>
                    <a:pt x="99" y="95"/>
                  </a:lnTo>
                  <a:lnTo>
                    <a:pt x="99" y="93"/>
                  </a:lnTo>
                  <a:lnTo>
                    <a:pt x="99" y="92"/>
                  </a:lnTo>
                  <a:lnTo>
                    <a:pt x="97" y="90"/>
                  </a:lnTo>
                  <a:lnTo>
                    <a:pt x="96" y="89"/>
                  </a:lnTo>
                  <a:lnTo>
                    <a:pt x="50" y="89"/>
                  </a:lnTo>
                  <a:lnTo>
                    <a:pt x="50" y="83"/>
                  </a:lnTo>
                  <a:lnTo>
                    <a:pt x="96" y="83"/>
                  </a:lnTo>
                  <a:lnTo>
                    <a:pt x="97" y="83"/>
                  </a:lnTo>
                  <a:lnTo>
                    <a:pt x="99" y="81"/>
                  </a:lnTo>
                  <a:lnTo>
                    <a:pt x="99" y="80"/>
                  </a:lnTo>
                  <a:lnTo>
                    <a:pt x="99" y="77"/>
                  </a:lnTo>
                  <a:lnTo>
                    <a:pt x="96" y="75"/>
                  </a:lnTo>
                  <a:lnTo>
                    <a:pt x="50" y="75"/>
                  </a:lnTo>
                  <a:lnTo>
                    <a:pt x="56" y="61"/>
                  </a:lnTo>
                  <a:lnTo>
                    <a:pt x="64" y="51"/>
                  </a:lnTo>
                  <a:lnTo>
                    <a:pt x="76" y="43"/>
                  </a:lnTo>
                  <a:lnTo>
                    <a:pt x="88" y="40"/>
                  </a:lnTo>
                  <a:lnTo>
                    <a:pt x="96" y="40"/>
                  </a:lnTo>
                  <a:lnTo>
                    <a:pt x="102" y="43"/>
                  </a:lnTo>
                  <a:lnTo>
                    <a:pt x="108" y="46"/>
                  </a:lnTo>
                  <a:lnTo>
                    <a:pt x="110" y="46"/>
                  </a:lnTo>
                  <a:lnTo>
                    <a:pt x="111" y="46"/>
                  </a:lnTo>
                  <a:lnTo>
                    <a:pt x="113" y="45"/>
                  </a:lnTo>
                  <a:lnTo>
                    <a:pt x="114" y="43"/>
                  </a:lnTo>
                  <a:lnTo>
                    <a:pt x="113" y="42"/>
                  </a:lnTo>
                  <a:lnTo>
                    <a:pt x="113" y="40"/>
                  </a:lnTo>
                  <a:lnTo>
                    <a:pt x="105" y="35"/>
                  </a:lnTo>
                  <a:lnTo>
                    <a:pt x="97" y="34"/>
                  </a:lnTo>
                  <a:lnTo>
                    <a:pt x="88" y="32"/>
                  </a:lnTo>
                  <a:close/>
                  <a:moveTo>
                    <a:pt x="85" y="0"/>
                  </a:moveTo>
                  <a:lnTo>
                    <a:pt x="113" y="5"/>
                  </a:lnTo>
                  <a:lnTo>
                    <a:pt x="136" y="17"/>
                  </a:lnTo>
                  <a:lnTo>
                    <a:pt x="154" y="35"/>
                  </a:lnTo>
                  <a:lnTo>
                    <a:pt x="166" y="60"/>
                  </a:lnTo>
                  <a:lnTo>
                    <a:pt x="171" y="86"/>
                  </a:lnTo>
                  <a:lnTo>
                    <a:pt x="166" y="113"/>
                  </a:lnTo>
                  <a:lnTo>
                    <a:pt x="154" y="136"/>
                  </a:lnTo>
                  <a:lnTo>
                    <a:pt x="136" y="156"/>
                  </a:lnTo>
                  <a:lnTo>
                    <a:pt x="113" y="168"/>
                  </a:lnTo>
                  <a:lnTo>
                    <a:pt x="85" y="171"/>
                  </a:lnTo>
                  <a:lnTo>
                    <a:pt x="58" y="168"/>
                  </a:lnTo>
                  <a:lnTo>
                    <a:pt x="35" y="156"/>
                  </a:lnTo>
                  <a:lnTo>
                    <a:pt x="17" y="136"/>
                  </a:lnTo>
                  <a:lnTo>
                    <a:pt x="4" y="113"/>
                  </a:lnTo>
                  <a:lnTo>
                    <a:pt x="0" y="86"/>
                  </a:lnTo>
                  <a:lnTo>
                    <a:pt x="4" y="60"/>
                  </a:lnTo>
                  <a:lnTo>
                    <a:pt x="17" y="35"/>
                  </a:lnTo>
                  <a:lnTo>
                    <a:pt x="35" y="17"/>
                  </a:lnTo>
                  <a:lnTo>
                    <a:pt x="58" y="5"/>
                  </a:lnTo>
                  <a:lnTo>
                    <a:pt x="85"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7">
              <a:extLst>
                <a:ext uri="{FF2B5EF4-FFF2-40B4-BE49-F238E27FC236}">
                  <a16:creationId xmlns:a16="http://schemas.microsoft.com/office/drawing/2014/main" id="{8A82D138-6078-6348-ADDF-4C55C4BD2BD8}"/>
                </a:ext>
              </a:extLst>
            </p:cNvPr>
            <p:cNvSpPr>
              <a:spLocks noEditPoints="1"/>
            </p:cNvSpPr>
            <p:nvPr/>
          </p:nvSpPr>
          <p:spPr bwMode="auto">
            <a:xfrm>
              <a:off x="2794000" y="3009900"/>
              <a:ext cx="585788" cy="584200"/>
            </a:xfrm>
            <a:custGeom>
              <a:avLst/>
              <a:gdLst>
                <a:gd name="T0" fmla="*/ 224 w 369"/>
                <a:gd name="T1" fmla="*/ 180 h 368"/>
                <a:gd name="T2" fmla="*/ 227 w 369"/>
                <a:gd name="T3" fmla="*/ 191 h 368"/>
                <a:gd name="T4" fmla="*/ 238 w 369"/>
                <a:gd name="T5" fmla="*/ 188 h 368"/>
                <a:gd name="T6" fmla="*/ 237 w 369"/>
                <a:gd name="T7" fmla="*/ 179 h 368"/>
                <a:gd name="T8" fmla="*/ 231 w 369"/>
                <a:gd name="T9" fmla="*/ 177 h 368"/>
                <a:gd name="T10" fmla="*/ 243 w 369"/>
                <a:gd name="T11" fmla="*/ 164 h 368"/>
                <a:gd name="T12" fmla="*/ 253 w 369"/>
                <a:gd name="T13" fmla="*/ 177 h 368"/>
                <a:gd name="T14" fmla="*/ 250 w 369"/>
                <a:gd name="T15" fmla="*/ 196 h 368"/>
                <a:gd name="T16" fmla="*/ 237 w 369"/>
                <a:gd name="T17" fmla="*/ 206 h 368"/>
                <a:gd name="T18" fmla="*/ 220 w 369"/>
                <a:gd name="T19" fmla="*/ 205 h 368"/>
                <a:gd name="T20" fmla="*/ 209 w 369"/>
                <a:gd name="T21" fmla="*/ 191 h 368"/>
                <a:gd name="T22" fmla="*/ 211 w 369"/>
                <a:gd name="T23" fmla="*/ 173 h 368"/>
                <a:gd name="T24" fmla="*/ 224 w 369"/>
                <a:gd name="T25" fmla="*/ 162 h 368"/>
                <a:gd name="T26" fmla="*/ 215 w 369"/>
                <a:gd name="T27" fmla="*/ 150 h 368"/>
                <a:gd name="T28" fmla="*/ 192 w 369"/>
                <a:gd name="T29" fmla="*/ 185 h 368"/>
                <a:gd name="T30" fmla="*/ 215 w 369"/>
                <a:gd name="T31" fmla="*/ 220 h 368"/>
                <a:gd name="T32" fmla="*/ 258 w 369"/>
                <a:gd name="T33" fmla="*/ 211 h 368"/>
                <a:gd name="T34" fmla="*/ 267 w 369"/>
                <a:gd name="T35" fmla="*/ 170 h 368"/>
                <a:gd name="T36" fmla="*/ 231 w 369"/>
                <a:gd name="T37" fmla="*/ 147 h 368"/>
                <a:gd name="T38" fmla="*/ 284 w 369"/>
                <a:gd name="T39" fmla="*/ 253 h 368"/>
                <a:gd name="T40" fmla="*/ 127 w 369"/>
                <a:gd name="T41" fmla="*/ 237 h 368"/>
                <a:gd name="T42" fmla="*/ 130 w 369"/>
                <a:gd name="T43" fmla="*/ 226 h 368"/>
                <a:gd name="T44" fmla="*/ 124 w 369"/>
                <a:gd name="T45" fmla="*/ 147 h 368"/>
                <a:gd name="T46" fmla="*/ 131 w 369"/>
                <a:gd name="T47" fmla="*/ 138 h 368"/>
                <a:gd name="T48" fmla="*/ 124 w 369"/>
                <a:gd name="T49" fmla="*/ 130 h 368"/>
                <a:gd name="T50" fmla="*/ 109 w 369"/>
                <a:gd name="T51" fmla="*/ 116 h 368"/>
                <a:gd name="T52" fmla="*/ 101 w 369"/>
                <a:gd name="T53" fmla="*/ 135 h 368"/>
                <a:gd name="T54" fmla="*/ 104 w 369"/>
                <a:gd name="T55" fmla="*/ 145 h 368"/>
                <a:gd name="T56" fmla="*/ 104 w 369"/>
                <a:gd name="T57" fmla="*/ 223 h 368"/>
                <a:gd name="T58" fmla="*/ 101 w 369"/>
                <a:gd name="T59" fmla="*/ 234 h 368"/>
                <a:gd name="T60" fmla="*/ 109 w 369"/>
                <a:gd name="T61" fmla="*/ 253 h 368"/>
                <a:gd name="T62" fmla="*/ 78 w 369"/>
                <a:gd name="T63" fmla="*/ 99 h 368"/>
                <a:gd name="T64" fmla="*/ 70 w 369"/>
                <a:gd name="T65" fmla="*/ 104 h 368"/>
                <a:gd name="T66" fmla="*/ 70 w 369"/>
                <a:gd name="T67" fmla="*/ 266 h 368"/>
                <a:gd name="T68" fmla="*/ 109 w 369"/>
                <a:gd name="T69" fmla="*/ 269 h 368"/>
                <a:gd name="T70" fmla="*/ 101 w 369"/>
                <a:gd name="T71" fmla="*/ 276 h 368"/>
                <a:gd name="T72" fmla="*/ 106 w 369"/>
                <a:gd name="T73" fmla="*/ 284 h 368"/>
                <a:gd name="T74" fmla="*/ 142 w 369"/>
                <a:gd name="T75" fmla="*/ 284 h 368"/>
                <a:gd name="T76" fmla="*/ 147 w 369"/>
                <a:gd name="T77" fmla="*/ 276 h 368"/>
                <a:gd name="T78" fmla="*/ 139 w 369"/>
                <a:gd name="T79" fmla="*/ 269 h 368"/>
                <a:gd name="T80" fmla="*/ 226 w 369"/>
                <a:gd name="T81" fmla="*/ 272 h 368"/>
                <a:gd name="T82" fmla="*/ 224 w 369"/>
                <a:gd name="T83" fmla="*/ 281 h 368"/>
                <a:gd name="T84" fmla="*/ 261 w 369"/>
                <a:gd name="T85" fmla="*/ 284 h 368"/>
                <a:gd name="T86" fmla="*/ 269 w 369"/>
                <a:gd name="T87" fmla="*/ 279 h 368"/>
                <a:gd name="T88" fmla="*/ 266 w 369"/>
                <a:gd name="T89" fmla="*/ 270 h 368"/>
                <a:gd name="T90" fmla="*/ 296 w 369"/>
                <a:gd name="T91" fmla="*/ 269 h 368"/>
                <a:gd name="T92" fmla="*/ 299 w 369"/>
                <a:gd name="T93" fmla="*/ 261 h 368"/>
                <a:gd name="T94" fmla="*/ 296 w 369"/>
                <a:gd name="T95" fmla="*/ 101 h 368"/>
                <a:gd name="T96" fmla="*/ 185 w 369"/>
                <a:gd name="T97" fmla="*/ 0 h 368"/>
                <a:gd name="T98" fmla="*/ 256 w 369"/>
                <a:gd name="T99" fmla="*/ 14 h 368"/>
                <a:gd name="T100" fmla="*/ 337 w 369"/>
                <a:gd name="T101" fmla="*/ 81 h 368"/>
                <a:gd name="T102" fmla="*/ 369 w 369"/>
                <a:gd name="T103" fmla="*/ 185 h 368"/>
                <a:gd name="T104" fmla="*/ 337 w 369"/>
                <a:gd name="T105" fmla="*/ 287 h 368"/>
                <a:gd name="T106" fmla="*/ 256 w 369"/>
                <a:gd name="T107" fmla="*/ 354 h 368"/>
                <a:gd name="T108" fmla="*/ 148 w 369"/>
                <a:gd name="T109" fmla="*/ 365 h 368"/>
                <a:gd name="T110" fmla="*/ 55 w 369"/>
                <a:gd name="T111" fmla="*/ 314 h 368"/>
                <a:gd name="T112" fmla="*/ 5 w 369"/>
                <a:gd name="T113" fmla="*/ 221 h 368"/>
                <a:gd name="T114" fmla="*/ 5 w 369"/>
                <a:gd name="T115" fmla="*/ 147 h 368"/>
                <a:gd name="T116" fmla="*/ 55 w 369"/>
                <a:gd name="T117" fmla="*/ 54 h 368"/>
                <a:gd name="T118" fmla="*/ 148 w 369"/>
                <a:gd name="T119" fmla="*/ 3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9" h="368">
                  <a:moveTo>
                    <a:pt x="231" y="177"/>
                  </a:moveTo>
                  <a:lnTo>
                    <a:pt x="227" y="179"/>
                  </a:lnTo>
                  <a:lnTo>
                    <a:pt x="224" y="180"/>
                  </a:lnTo>
                  <a:lnTo>
                    <a:pt x="223" y="185"/>
                  </a:lnTo>
                  <a:lnTo>
                    <a:pt x="224" y="188"/>
                  </a:lnTo>
                  <a:lnTo>
                    <a:pt x="227" y="191"/>
                  </a:lnTo>
                  <a:lnTo>
                    <a:pt x="232" y="192"/>
                  </a:lnTo>
                  <a:lnTo>
                    <a:pt x="235" y="191"/>
                  </a:lnTo>
                  <a:lnTo>
                    <a:pt x="238" y="188"/>
                  </a:lnTo>
                  <a:lnTo>
                    <a:pt x="238" y="185"/>
                  </a:lnTo>
                  <a:lnTo>
                    <a:pt x="238" y="182"/>
                  </a:lnTo>
                  <a:lnTo>
                    <a:pt x="237" y="179"/>
                  </a:lnTo>
                  <a:lnTo>
                    <a:pt x="234" y="177"/>
                  </a:lnTo>
                  <a:lnTo>
                    <a:pt x="232" y="177"/>
                  </a:lnTo>
                  <a:lnTo>
                    <a:pt x="231" y="177"/>
                  </a:lnTo>
                  <a:close/>
                  <a:moveTo>
                    <a:pt x="231" y="160"/>
                  </a:moveTo>
                  <a:lnTo>
                    <a:pt x="237" y="162"/>
                  </a:lnTo>
                  <a:lnTo>
                    <a:pt x="243" y="164"/>
                  </a:lnTo>
                  <a:lnTo>
                    <a:pt x="247" y="168"/>
                  </a:lnTo>
                  <a:lnTo>
                    <a:pt x="250" y="173"/>
                  </a:lnTo>
                  <a:lnTo>
                    <a:pt x="253" y="177"/>
                  </a:lnTo>
                  <a:lnTo>
                    <a:pt x="253" y="185"/>
                  </a:lnTo>
                  <a:lnTo>
                    <a:pt x="253" y="191"/>
                  </a:lnTo>
                  <a:lnTo>
                    <a:pt x="250" y="196"/>
                  </a:lnTo>
                  <a:lnTo>
                    <a:pt x="247" y="200"/>
                  </a:lnTo>
                  <a:lnTo>
                    <a:pt x="243" y="205"/>
                  </a:lnTo>
                  <a:lnTo>
                    <a:pt x="237" y="206"/>
                  </a:lnTo>
                  <a:lnTo>
                    <a:pt x="231" y="208"/>
                  </a:lnTo>
                  <a:lnTo>
                    <a:pt x="224" y="206"/>
                  </a:lnTo>
                  <a:lnTo>
                    <a:pt x="220" y="205"/>
                  </a:lnTo>
                  <a:lnTo>
                    <a:pt x="215" y="200"/>
                  </a:lnTo>
                  <a:lnTo>
                    <a:pt x="211" y="196"/>
                  </a:lnTo>
                  <a:lnTo>
                    <a:pt x="209" y="191"/>
                  </a:lnTo>
                  <a:lnTo>
                    <a:pt x="208" y="185"/>
                  </a:lnTo>
                  <a:lnTo>
                    <a:pt x="209" y="177"/>
                  </a:lnTo>
                  <a:lnTo>
                    <a:pt x="211" y="173"/>
                  </a:lnTo>
                  <a:lnTo>
                    <a:pt x="215" y="168"/>
                  </a:lnTo>
                  <a:lnTo>
                    <a:pt x="220" y="164"/>
                  </a:lnTo>
                  <a:lnTo>
                    <a:pt x="224" y="162"/>
                  </a:lnTo>
                  <a:lnTo>
                    <a:pt x="231" y="160"/>
                  </a:lnTo>
                  <a:close/>
                  <a:moveTo>
                    <a:pt x="231" y="147"/>
                  </a:moveTo>
                  <a:lnTo>
                    <a:pt x="215" y="150"/>
                  </a:lnTo>
                  <a:lnTo>
                    <a:pt x="203" y="157"/>
                  </a:lnTo>
                  <a:lnTo>
                    <a:pt x="195" y="170"/>
                  </a:lnTo>
                  <a:lnTo>
                    <a:pt x="192" y="185"/>
                  </a:lnTo>
                  <a:lnTo>
                    <a:pt x="195" y="199"/>
                  </a:lnTo>
                  <a:lnTo>
                    <a:pt x="203" y="211"/>
                  </a:lnTo>
                  <a:lnTo>
                    <a:pt x="215" y="220"/>
                  </a:lnTo>
                  <a:lnTo>
                    <a:pt x="231" y="223"/>
                  </a:lnTo>
                  <a:lnTo>
                    <a:pt x="246" y="220"/>
                  </a:lnTo>
                  <a:lnTo>
                    <a:pt x="258" y="211"/>
                  </a:lnTo>
                  <a:lnTo>
                    <a:pt x="267" y="199"/>
                  </a:lnTo>
                  <a:lnTo>
                    <a:pt x="270" y="185"/>
                  </a:lnTo>
                  <a:lnTo>
                    <a:pt x="267" y="170"/>
                  </a:lnTo>
                  <a:lnTo>
                    <a:pt x="258" y="157"/>
                  </a:lnTo>
                  <a:lnTo>
                    <a:pt x="246" y="150"/>
                  </a:lnTo>
                  <a:lnTo>
                    <a:pt x="231" y="147"/>
                  </a:lnTo>
                  <a:close/>
                  <a:moveTo>
                    <a:pt x="124" y="116"/>
                  </a:moveTo>
                  <a:lnTo>
                    <a:pt x="284" y="116"/>
                  </a:lnTo>
                  <a:lnTo>
                    <a:pt x="284" y="253"/>
                  </a:lnTo>
                  <a:lnTo>
                    <a:pt x="124" y="253"/>
                  </a:lnTo>
                  <a:lnTo>
                    <a:pt x="124" y="238"/>
                  </a:lnTo>
                  <a:lnTo>
                    <a:pt x="127" y="237"/>
                  </a:lnTo>
                  <a:lnTo>
                    <a:pt x="130" y="234"/>
                  </a:lnTo>
                  <a:lnTo>
                    <a:pt x="131" y="231"/>
                  </a:lnTo>
                  <a:lnTo>
                    <a:pt x="130" y="226"/>
                  </a:lnTo>
                  <a:lnTo>
                    <a:pt x="127" y="223"/>
                  </a:lnTo>
                  <a:lnTo>
                    <a:pt x="124" y="223"/>
                  </a:lnTo>
                  <a:lnTo>
                    <a:pt x="124" y="147"/>
                  </a:lnTo>
                  <a:lnTo>
                    <a:pt x="127" y="145"/>
                  </a:lnTo>
                  <a:lnTo>
                    <a:pt x="130" y="142"/>
                  </a:lnTo>
                  <a:lnTo>
                    <a:pt x="131" y="138"/>
                  </a:lnTo>
                  <a:lnTo>
                    <a:pt x="130" y="135"/>
                  </a:lnTo>
                  <a:lnTo>
                    <a:pt x="127" y="132"/>
                  </a:lnTo>
                  <a:lnTo>
                    <a:pt x="124" y="130"/>
                  </a:lnTo>
                  <a:lnTo>
                    <a:pt x="124" y="116"/>
                  </a:lnTo>
                  <a:close/>
                  <a:moveTo>
                    <a:pt x="86" y="116"/>
                  </a:moveTo>
                  <a:lnTo>
                    <a:pt x="109" y="116"/>
                  </a:lnTo>
                  <a:lnTo>
                    <a:pt x="109" y="130"/>
                  </a:lnTo>
                  <a:lnTo>
                    <a:pt x="104" y="132"/>
                  </a:lnTo>
                  <a:lnTo>
                    <a:pt x="101" y="135"/>
                  </a:lnTo>
                  <a:lnTo>
                    <a:pt x="101" y="138"/>
                  </a:lnTo>
                  <a:lnTo>
                    <a:pt x="101" y="142"/>
                  </a:lnTo>
                  <a:lnTo>
                    <a:pt x="104" y="145"/>
                  </a:lnTo>
                  <a:lnTo>
                    <a:pt x="109" y="147"/>
                  </a:lnTo>
                  <a:lnTo>
                    <a:pt x="109" y="223"/>
                  </a:lnTo>
                  <a:lnTo>
                    <a:pt x="104" y="223"/>
                  </a:lnTo>
                  <a:lnTo>
                    <a:pt x="101" y="226"/>
                  </a:lnTo>
                  <a:lnTo>
                    <a:pt x="101" y="231"/>
                  </a:lnTo>
                  <a:lnTo>
                    <a:pt x="101" y="234"/>
                  </a:lnTo>
                  <a:lnTo>
                    <a:pt x="104" y="237"/>
                  </a:lnTo>
                  <a:lnTo>
                    <a:pt x="109" y="238"/>
                  </a:lnTo>
                  <a:lnTo>
                    <a:pt x="109" y="253"/>
                  </a:lnTo>
                  <a:lnTo>
                    <a:pt x="86" y="253"/>
                  </a:lnTo>
                  <a:lnTo>
                    <a:pt x="86" y="116"/>
                  </a:lnTo>
                  <a:close/>
                  <a:moveTo>
                    <a:pt x="78" y="99"/>
                  </a:moveTo>
                  <a:lnTo>
                    <a:pt x="75" y="101"/>
                  </a:lnTo>
                  <a:lnTo>
                    <a:pt x="72" y="103"/>
                  </a:lnTo>
                  <a:lnTo>
                    <a:pt x="70" y="104"/>
                  </a:lnTo>
                  <a:lnTo>
                    <a:pt x="69" y="107"/>
                  </a:lnTo>
                  <a:lnTo>
                    <a:pt x="69" y="261"/>
                  </a:lnTo>
                  <a:lnTo>
                    <a:pt x="70" y="266"/>
                  </a:lnTo>
                  <a:lnTo>
                    <a:pt x="73" y="267"/>
                  </a:lnTo>
                  <a:lnTo>
                    <a:pt x="78" y="269"/>
                  </a:lnTo>
                  <a:lnTo>
                    <a:pt x="109" y="269"/>
                  </a:lnTo>
                  <a:lnTo>
                    <a:pt x="104" y="270"/>
                  </a:lnTo>
                  <a:lnTo>
                    <a:pt x="101" y="273"/>
                  </a:lnTo>
                  <a:lnTo>
                    <a:pt x="101" y="276"/>
                  </a:lnTo>
                  <a:lnTo>
                    <a:pt x="101" y="279"/>
                  </a:lnTo>
                  <a:lnTo>
                    <a:pt x="102" y="282"/>
                  </a:lnTo>
                  <a:lnTo>
                    <a:pt x="106" y="284"/>
                  </a:lnTo>
                  <a:lnTo>
                    <a:pt x="109" y="284"/>
                  </a:lnTo>
                  <a:lnTo>
                    <a:pt x="139" y="284"/>
                  </a:lnTo>
                  <a:lnTo>
                    <a:pt x="142" y="284"/>
                  </a:lnTo>
                  <a:lnTo>
                    <a:pt x="144" y="282"/>
                  </a:lnTo>
                  <a:lnTo>
                    <a:pt x="145" y="279"/>
                  </a:lnTo>
                  <a:lnTo>
                    <a:pt x="147" y="276"/>
                  </a:lnTo>
                  <a:lnTo>
                    <a:pt x="145" y="273"/>
                  </a:lnTo>
                  <a:lnTo>
                    <a:pt x="142" y="270"/>
                  </a:lnTo>
                  <a:lnTo>
                    <a:pt x="139" y="269"/>
                  </a:lnTo>
                  <a:lnTo>
                    <a:pt x="231" y="269"/>
                  </a:lnTo>
                  <a:lnTo>
                    <a:pt x="227" y="270"/>
                  </a:lnTo>
                  <a:lnTo>
                    <a:pt x="226" y="272"/>
                  </a:lnTo>
                  <a:lnTo>
                    <a:pt x="224" y="273"/>
                  </a:lnTo>
                  <a:lnTo>
                    <a:pt x="223" y="276"/>
                  </a:lnTo>
                  <a:lnTo>
                    <a:pt x="224" y="281"/>
                  </a:lnTo>
                  <a:lnTo>
                    <a:pt x="227" y="282"/>
                  </a:lnTo>
                  <a:lnTo>
                    <a:pt x="231" y="284"/>
                  </a:lnTo>
                  <a:lnTo>
                    <a:pt x="261" y="284"/>
                  </a:lnTo>
                  <a:lnTo>
                    <a:pt x="264" y="284"/>
                  </a:lnTo>
                  <a:lnTo>
                    <a:pt x="267" y="282"/>
                  </a:lnTo>
                  <a:lnTo>
                    <a:pt x="269" y="279"/>
                  </a:lnTo>
                  <a:lnTo>
                    <a:pt x="270" y="276"/>
                  </a:lnTo>
                  <a:lnTo>
                    <a:pt x="269" y="273"/>
                  </a:lnTo>
                  <a:lnTo>
                    <a:pt x="266" y="270"/>
                  </a:lnTo>
                  <a:lnTo>
                    <a:pt x="261" y="269"/>
                  </a:lnTo>
                  <a:lnTo>
                    <a:pt x="293" y="269"/>
                  </a:lnTo>
                  <a:lnTo>
                    <a:pt x="296" y="269"/>
                  </a:lnTo>
                  <a:lnTo>
                    <a:pt x="298" y="267"/>
                  </a:lnTo>
                  <a:lnTo>
                    <a:pt x="299" y="264"/>
                  </a:lnTo>
                  <a:lnTo>
                    <a:pt x="299" y="261"/>
                  </a:lnTo>
                  <a:lnTo>
                    <a:pt x="299" y="107"/>
                  </a:lnTo>
                  <a:lnTo>
                    <a:pt x="299" y="104"/>
                  </a:lnTo>
                  <a:lnTo>
                    <a:pt x="296" y="101"/>
                  </a:lnTo>
                  <a:lnTo>
                    <a:pt x="293" y="99"/>
                  </a:lnTo>
                  <a:lnTo>
                    <a:pt x="78" y="99"/>
                  </a:lnTo>
                  <a:close/>
                  <a:moveTo>
                    <a:pt x="185" y="0"/>
                  </a:moveTo>
                  <a:lnTo>
                    <a:pt x="185" y="0"/>
                  </a:lnTo>
                  <a:lnTo>
                    <a:pt x="221" y="3"/>
                  </a:lnTo>
                  <a:lnTo>
                    <a:pt x="256" y="14"/>
                  </a:lnTo>
                  <a:lnTo>
                    <a:pt x="287" y="31"/>
                  </a:lnTo>
                  <a:lnTo>
                    <a:pt x="314" y="54"/>
                  </a:lnTo>
                  <a:lnTo>
                    <a:pt x="337" y="81"/>
                  </a:lnTo>
                  <a:lnTo>
                    <a:pt x="354" y="113"/>
                  </a:lnTo>
                  <a:lnTo>
                    <a:pt x="365" y="147"/>
                  </a:lnTo>
                  <a:lnTo>
                    <a:pt x="369" y="185"/>
                  </a:lnTo>
                  <a:lnTo>
                    <a:pt x="365" y="221"/>
                  </a:lnTo>
                  <a:lnTo>
                    <a:pt x="354" y="255"/>
                  </a:lnTo>
                  <a:lnTo>
                    <a:pt x="337" y="287"/>
                  </a:lnTo>
                  <a:lnTo>
                    <a:pt x="314" y="314"/>
                  </a:lnTo>
                  <a:lnTo>
                    <a:pt x="287" y="337"/>
                  </a:lnTo>
                  <a:lnTo>
                    <a:pt x="256" y="354"/>
                  </a:lnTo>
                  <a:lnTo>
                    <a:pt x="221" y="365"/>
                  </a:lnTo>
                  <a:lnTo>
                    <a:pt x="185" y="368"/>
                  </a:lnTo>
                  <a:lnTo>
                    <a:pt x="148" y="365"/>
                  </a:lnTo>
                  <a:lnTo>
                    <a:pt x="113" y="354"/>
                  </a:lnTo>
                  <a:lnTo>
                    <a:pt x="81" y="337"/>
                  </a:lnTo>
                  <a:lnTo>
                    <a:pt x="55" y="314"/>
                  </a:lnTo>
                  <a:lnTo>
                    <a:pt x="32" y="287"/>
                  </a:lnTo>
                  <a:lnTo>
                    <a:pt x="16" y="255"/>
                  </a:lnTo>
                  <a:lnTo>
                    <a:pt x="5" y="221"/>
                  </a:lnTo>
                  <a:lnTo>
                    <a:pt x="0" y="185"/>
                  </a:lnTo>
                  <a:lnTo>
                    <a:pt x="0" y="185"/>
                  </a:lnTo>
                  <a:lnTo>
                    <a:pt x="5" y="147"/>
                  </a:lnTo>
                  <a:lnTo>
                    <a:pt x="16" y="113"/>
                  </a:lnTo>
                  <a:lnTo>
                    <a:pt x="32" y="81"/>
                  </a:lnTo>
                  <a:lnTo>
                    <a:pt x="55" y="54"/>
                  </a:lnTo>
                  <a:lnTo>
                    <a:pt x="81" y="31"/>
                  </a:lnTo>
                  <a:lnTo>
                    <a:pt x="113" y="14"/>
                  </a:lnTo>
                  <a:lnTo>
                    <a:pt x="148" y="3"/>
                  </a:lnTo>
                  <a:lnTo>
                    <a:pt x="185"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
              <a:extLst>
                <a:ext uri="{FF2B5EF4-FFF2-40B4-BE49-F238E27FC236}">
                  <a16:creationId xmlns:a16="http://schemas.microsoft.com/office/drawing/2014/main" id="{D522C7BF-47EB-CD49-B6F8-1E8BC862E092}"/>
                </a:ext>
              </a:extLst>
            </p:cNvPr>
            <p:cNvSpPr>
              <a:spLocks/>
            </p:cNvSpPr>
            <p:nvPr/>
          </p:nvSpPr>
          <p:spPr bwMode="auto">
            <a:xfrm>
              <a:off x="6205257" y="2825028"/>
              <a:ext cx="26988" cy="66675"/>
            </a:xfrm>
            <a:custGeom>
              <a:avLst/>
              <a:gdLst>
                <a:gd name="T0" fmla="*/ 17 w 17"/>
                <a:gd name="T1" fmla="*/ 0 h 42"/>
                <a:gd name="T2" fmla="*/ 17 w 17"/>
                <a:gd name="T3" fmla="*/ 42 h 42"/>
                <a:gd name="T4" fmla="*/ 12 w 17"/>
                <a:gd name="T5" fmla="*/ 38 h 42"/>
                <a:gd name="T6" fmla="*/ 7 w 17"/>
                <a:gd name="T7" fmla="*/ 35 h 42"/>
                <a:gd name="T8" fmla="*/ 3 w 17"/>
                <a:gd name="T9" fmla="*/ 31 h 42"/>
                <a:gd name="T10" fmla="*/ 1 w 17"/>
                <a:gd name="T11" fmla="*/ 26 h 42"/>
                <a:gd name="T12" fmla="*/ 0 w 17"/>
                <a:gd name="T13" fmla="*/ 20 h 42"/>
                <a:gd name="T14" fmla="*/ 1 w 17"/>
                <a:gd name="T15" fmla="*/ 16 h 42"/>
                <a:gd name="T16" fmla="*/ 3 w 17"/>
                <a:gd name="T17" fmla="*/ 10 h 42"/>
                <a:gd name="T18" fmla="*/ 7 w 17"/>
                <a:gd name="T19" fmla="*/ 5 h 42"/>
                <a:gd name="T20" fmla="*/ 12 w 17"/>
                <a:gd name="T21" fmla="*/ 2 h 42"/>
                <a:gd name="T22" fmla="*/ 17 w 1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42">
                  <a:moveTo>
                    <a:pt x="17" y="0"/>
                  </a:moveTo>
                  <a:lnTo>
                    <a:pt x="17" y="42"/>
                  </a:lnTo>
                  <a:lnTo>
                    <a:pt x="12" y="38"/>
                  </a:lnTo>
                  <a:lnTo>
                    <a:pt x="7" y="35"/>
                  </a:lnTo>
                  <a:lnTo>
                    <a:pt x="3" y="31"/>
                  </a:lnTo>
                  <a:lnTo>
                    <a:pt x="1" y="26"/>
                  </a:lnTo>
                  <a:lnTo>
                    <a:pt x="0" y="20"/>
                  </a:lnTo>
                  <a:lnTo>
                    <a:pt x="1" y="16"/>
                  </a:lnTo>
                  <a:lnTo>
                    <a:pt x="3" y="10"/>
                  </a:lnTo>
                  <a:lnTo>
                    <a:pt x="7" y="5"/>
                  </a:lnTo>
                  <a:lnTo>
                    <a:pt x="12" y="2"/>
                  </a:lnTo>
                  <a:lnTo>
                    <a:pt x="1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9">
              <a:extLst>
                <a:ext uri="{FF2B5EF4-FFF2-40B4-BE49-F238E27FC236}">
                  <a16:creationId xmlns:a16="http://schemas.microsoft.com/office/drawing/2014/main" id="{2A55CEB5-33AE-DD46-893F-D0693DF0CF59}"/>
                </a:ext>
              </a:extLst>
            </p:cNvPr>
            <p:cNvSpPr>
              <a:spLocks/>
            </p:cNvSpPr>
            <p:nvPr/>
          </p:nvSpPr>
          <p:spPr bwMode="auto">
            <a:xfrm>
              <a:off x="6243357" y="2902815"/>
              <a:ext cx="26988" cy="63500"/>
            </a:xfrm>
            <a:custGeom>
              <a:avLst/>
              <a:gdLst>
                <a:gd name="T0" fmla="*/ 0 w 17"/>
                <a:gd name="T1" fmla="*/ 0 h 40"/>
                <a:gd name="T2" fmla="*/ 5 w 17"/>
                <a:gd name="T3" fmla="*/ 2 h 40"/>
                <a:gd name="T4" fmla="*/ 9 w 17"/>
                <a:gd name="T5" fmla="*/ 5 h 40"/>
                <a:gd name="T6" fmla="*/ 14 w 17"/>
                <a:gd name="T7" fmla="*/ 9 h 40"/>
                <a:gd name="T8" fmla="*/ 15 w 17"/>
                <a:gd name="T9" fmla="*/ 14 h 40"/>
                <a:gd name="T10" fmla="*/ 17 w 17"/>
                <a:gd name="T11" fmla="*/ 20 h 40"/>
                <a:gd name="T12" fmla="*/ 15 w 17"/>
                <a:gd name="T13" fmla="*/ 26 h 40"/>
                <a:gd name="T14" fmla="*/ 14 w 17"/>
                <a:gd name="T15" fmla="*/ 31 h 40"/>
                <a:gd name="T16" fmla="*/ 9 w 17"/>
                <a:gd name="T17" fmla="*/ 35 h 40"/>
                <a:gd name="T18" fmla="*/ 5 w 17"/>
                <a:gd name="T19" fmla="*/ 38 h 40"/>
                <a:gd name="T20" fmla="*/ 0 w 17"/>
                <a:gd name="T21" fmla="*/ 40 h 40"/>
                <a:gd name="T22" fmla="*/ 0 w 17"/>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40">
                  <a:moveTo>
                    <a:pt x="0" y="0"/>
                  </a:moveTo>
                  <a:lnTo>
                    <a:pt x="5" y="2"/>
                  </a:lnTo>
                  <a:lnTo>
                    <a:pt x="9" y="5"/>
                  </a:lnTo>
                  <a:lnTo>
                    <a:pt x="14" y="9"/>
                  </a:lnTo>
                  <a:lnTo>
                    <a:pt x="15" y="14"/>
                  </a:lnTo>
                  <a:lnTo>
                    <a:pt x="17" y="20"/>
                  </a:lnTo>
                  <a:lnTo>
                    <a:pt x="15" y="26"/>
                  </a:lnTo>
                  <a:lnTo>
                    <a:pt x="14" y="31"/>
                  </a:lnTo>
                  <a:lnTo>
                    <a:pt x="9" y="35"/>
                  </a:lnTo>
                  <a:lnTo>
                    <a:pt x="5" y="38"/>
                  </a:lnTo>
                  <a:lnTo>
                    <a:pt x="0" y="40"/>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30">
              <a:extLst>
                <a:ext uri="{FF2B5EF4-FFF2-40B4-BE49-F238E27FC236}">
                  <a16:creationId xmlns:a16="http://schemas.microsoft.com/office/drawing/2014/main" id="{69ED807D-67CF-5445-AD86-76EE0465BC67}"/>
                </a:ext>
              </a:extLst>
            </p:cNvPr>
            <p:cNvSpPr>
              <a:spLocks noEditPoints="1"/>
            </p:cNvSpPr>
            <p:nvPr/>
          </p:nvSpPr>
          <p:spPr bwMode="auto">
            <a:xfrm>
              <a:off x="6084607" y="2744065"/>
              <a:ext cx="306388" cy="306388"/>
            </a:xfrm>
            <a:custGeom>
              <a:avLst/>
              <a:gdLst>
                <a:gd name="T0" fmla="*/ 94 w 193"/>
                <a:gd name="T1" fmla="*/ 36 h 193"/>
                <a:gd name="T2" fmla="*/ 93 w 193"/>
                <a:gd name="T3" fmla="*/ 39 h 193"/>
                <a:gd name="T4" fmla="*/ 80 w 193"/>
                <a:gd name="T5" fmla="*/ 48 h 193"/>
                <a:gd name="T6" fmla="*/ 68 w 193"/>
                <a:gd name="T7" fmla="*/ 71 h 193"/>
                <a:gd name="T8" fmla="*/ 80 w 193"/>
                <a:gd name="T9" fmla="*/ 94 h 193"/>
                <a:gd name="T10" fmla="*/ 93 w 193"/>
                <a:gd name="T11" fmla="*/ 140 h 193"/>
                <a:gd name="T12" fmla="*/ 83 w 193"/>
                <a:gd name="T13" fmla="*/ 135 h 193"/>
                <a:gd name="T14" fmla="*/ 77 w 193"/>
                <a:gd name="T15" fmla="*/ 128 h 193"/>
                <a:gd name="T16" fmla="*/ 74 w 193"/>
                <a:gd name="T17" fmla="*/ 125 h 193"/>
                <a:gd name="T18" fmla="*/ 70 w 193"/>
                <a:gd name="T19" fmla="*/ 126 h 193"/>
                <a:gd name="T20" fmla="*/ 70 w 193"/>
                <a:gd name="T21" fmla="*/ 131 h 193"/>
                <a:gd name="T22" fmla="*/ 79 w 193"/>
                <a:gd name="T23" fmla="*/ 143 h 193"/>
                <a:gd name="T24" fmla="*/ 93 w 193"/>
                <a:gd name="T25" fmla="*/ 149 h 193"/>
                <a:gd name="T26" fmla="*/ 93 w 193"/>
                <a:gd name="T27" fmla="*/ 160 h 193"/>
                <a:gd name="T28" fmla="*/ 97 w 193"/>
                <a:gd name="T29" fmla="*/ 161 h 193"/>
                <a:gd name="T30" fmla="*/ 100 w 193"/>
                <a:gd name="T31" fmla="*/ 160 h 193"/>
                <a:gd name="T32" fmla="*/ 100 w 193"/>
                <a:gd name="T33" fmla="*/ 149 h 193"/>
                <a:gd name="T34" fmla="*/ 122 w 193"/>
                <a:gd name="T35" fmla="*/ 134 h 193"/>
                <a:gd name="T36" fmla="*/ 122 w 193"/>
                <a:gd name="T37" fmla="*/ 108 h 193"/>
                <a:gd name="T38" fmla="*/ 100 w 193"/>
                <a:gd name="T39" fmla="*/ 93 h 193"/>
                <a:gd name="T40" fmla="*/ 106 w 193"/>
                <a:gd name="T41" fmla="*/ 54 h 193"/>
                <a:gd name="T42" fmla="*/ 114 w 193"/>
                <a:gd name="T43" fmla="*/ 62 h 193"/>
                <a:gd name="T44" fmla="*/ 117 w 193"/>
                <a:gd name="T45" fmla="*/ 64 h 193"/>
                <a:gd name="T46" fmla="*/ 122 w 193"/>
                <a:gd name="T47" fmla="*/ 62 h 193"/>
                <a:gd name="T48" fmla="*/ 122 w 193"/>
                <a:gd name="T49" fmla="*/ 57 h 193"/>
                <a:gd name="T50" fmla="*/ 112 w 193"/>
                <a:gd name="T51" fmla="*/ 48 h 193"/>
                <a:gd name="T52" fmla="*/ 100 w 193"/>
                <a:gd name="T53" fmla="*/ 44 h 193"/>
                <a:gd name="T54" fmla="*/ 100 w 193"/>
                <a:gd name="T55" fmla="*/ 38 h 193"/>
                <a:gd name="T56" fmla="*/ 97 w 193"/>
                <a:gd name="T57" fmla="*/ 35 h 193"/>
                <a:gd name="T58" fmla="*/ 122 w 193"/>
                <a:gd name="T59" fmla="*/ 3 h 193"/>
                <a:gd name="T60" fmla="*/ 166 w 193"/>
                <a:gd name="T61" fmla="*/ 27 h 193"/>
                <a:gd name="T62" fmla="*/ 190 w 193"/>
                <a:gd name="T63" fmla="*/ 70 h 193"/>
                <a:gd name="T64" fmla="*/ 190 w 193"/>
                <a:gd name="T65" fmla="*/ 121 h 193"/>
                <a:gd name="T66" fmla="*/ 166 w 193"/>
                <a:gd name="T67" fmla="*/ 166 h 193"/>
                <a:gd name="T68" fmla="*/ 122 w 193"/>
                <a:gd name="T69" fmla="*/ 190 h 193"/>
                <a:gd name="T70" fmla="*/ 97 w 193"/>
                <a:gd name="T71" fmla="*/ 193 h 193"/>
                <a:gd name="T72" fmla="*/ 47 w 193"/>
                <a:gd name="T73" fmla="*/ 181 h 193"/>
                <a:gd name="T74" fmla="*/ 12 w 193"/>
                <a:gd name="T75" fmla="*/ 146 h 193"/>
                <a:gd name="T76" fmla="*/ 0 w 193"/>
                <a:gd name="T77" fmla="*/ 96 h 193"/>
                <a:gd name="T78" fmla="*/ 12 w 193"/>
                <a:gd name="T79" fmla="*/ 47 h 193"/>
                <a:gd name="T80" fmla="*/ 47 w 193"/>
                <a:gd name="T81" fmla="*/ 12 h 193"/>
                <a:gd name="T82" fmla="*/ 97 w 193"/>
                <a:gd name="T83"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3" h="193">
                  <a:moveTo>
                    <a:pt x="97" y="35"/>
                  </a:moveTo>
                  <a:lnTo>
                    <a:pt x="94" y="36"/>
                  </a:lnTo>
                  <a:lnTo>
                    <a:pt x="93" y="38"/>
                  </a:lnTo>
                  <a:lnTo>
                    <a:pt x="93" y="39"/>
                  </a:lnTo>
                  <a:lnTo>
                    <a:pt x="93" y="44"/>
                  </a:lnTo>
                  <a:lnTo>
                    <a:pt x="80" y="48"/>
                  </a:lnTo>
                  <a:lnTo>
                    <a:pt x="71" y="59"/>
                  </a:lnTo>
                  <a:lnTo>
                    <a:pt x="68" y="71"/>
                  </a:lnTo>
                  <a:lnTo>
                    <a:pt x="71" y="85"/>
                  </a:lnTo>
                  <a:lnTo>
                    <a:pt x="80" y="94"/>
                  </a:lnTo>
                  <a:lnTo>
                    <a:pt x="93" y="100"/>
                  </a:lnTo>
                  <a:lnTo>
                    <a:pt x="93" y="140"/>
                  </a:lnTo>
                  <a:lnTo>
                    <a:pt x="88" y="138"/>
                  </a:lnTo>
                  <a:lnTo>
                    <a:pt x="83" y="135"/>
                  </a:lnTo>
                  <a:lnTo>
                    <a:pt x="79" y="132"/>
                  </a:lnTo>
                  <a:lnTo>
                    <a:pt x="77" y="128"/>
                  </a:lnTo>
                  <a:lnTo>
                    <a:pt x="76" y="126"/>
                  </a:lnTo>
                  <a:lnTo>
                    <a:pt x="74" y="125"/>
                  </a:lnTo>
                  <a:lnTo>
                    <a:pt x="73" y="125"/>
                  </a:lnTo>
                  <a:lnTo>
                    <a:pt x="70" y="126"/>
                  </a:lnTo>
                  <a:lnTo>
                    <a:pt x="70" y="128"/>
                  </a:lnTo>
                  <a:lnTo>
                    <a:pt x="70" y="131"/>
                  </a:lnTo>
                  <a:lnTo>
                    <a:pt x="73" y="137"/>
                  </a:lnTo>
                  <a:lnTo>
                    <a:pt x="79" y="143"/>
                  </a:lnTo>
                  <a:lnTo>
                    <a:pt x="85" y="146"/>
                  </a:lnTo>
                  <a:lnTo>
                    <a:pt x="93" y="149"/>
                  </a:lnTo>
                  <a:lnTo>
                    <a:pt x="93" y="157"/>
                  </a:lnTo>
                  <a:lnTo>
                    <a:pt x="93" y="160"/>
                  </a:lnTo>
                  <a:lnTo>
                    <a:pt x="94" y="161"/>
                  </a:lnTo>
                  <a:lnTo>
                    <a:pt x="97" y="161"/>
                  </a:lnTo>
                  <a:lnTo>
                    <a:pt x="99" y="161"/>
                  </a:lnTo>
                  <a:lnTo>
                    <a:pt x="100" y="160"/>
                  </a:lnTo>
                  <a:lnTo>
                    <a:pt x="100" y="157"/>
                  </a:lnTo>
                  <a:lnTo>
                    <a:pt x="100" y="149"/>
                  </a:lnTo>
                  <a:lnTo>
                    <a:pt x="112" y="143"/>
                  </a:lnTo>
                  <a:lnTo>
                    <a:pt x="122" y="134"/>
                  </a:lnTo>
                  <a:lnTo>
                    <a:pt x="125" y="120"/>
                  </a:lnTo>
                  <a:lnTo>
                    <a:pt x="122" y="108"/>
                  </a:lnTo>
                  <a:lnTo>
                    <a:pt x="112" y="97"/>
                  </a:lnTo>
                  <a:lnTo>
                    <a:pt x="100" y="93"/>
                  </a:lnTo>
                  <a:lnTo>
                    <a:pt x="100" y="51"/>
                  </a:lnTo>
                  <a:lnTo>
                    <a:pt x="106" y="54"/>
                  </a:lnTo>
                  <a:lnTo>
                    <a:pt x="111" y="57"/>
                  </a:lnTo>
                  <a:lnTo>
                    <a:pt x="114" y="62"/>
                  </a:lnTo>
                  <a:lnTo>
                    <a:pt x="115" y="64"/>
                  </a:lnTo>
                  <a:lnTo>
                    <a:pt x="117" y="64"/>
                  </a:lnTo>
                  <a:lnTo>
                    <a:pt x="120" y="64"/>
                  </a:lnTo>
                  <a:lnTo>
                    <a:pt x="122" y="62"/>
                  </a:lnTo>
                  <a:lnTo>
                    <a:pt x="122" y="59"/>
                  </a:lnTo>
                  <a:lnTo>
                    <a:pt x="122" y="57"/>
                  </a:lnTo>
                  <a:lnTo>
                    <a:pt x="117" y="53"/>
                  </a:lnTo>
                  <a:lnTo>
                    <a:pt x="112" y="48"/>
                  </a:lnTo>
                  <a:lnTo>
                    <a:pt x="106" y="45"/>
                  </a:lnTo>
                  <a:lnTo>
                    <a:pt x="100" y="44"/>
                  </a:lnTo>
                  <a:lnTo>
                    <a:pt x="100" y="39"/>
                  </a:lnTo>
                  <a:lnTo>
                    <a:pt x="100" y="38"/>
                  </a:lnTo>
                  <a:lnTo>
                    <a:pt x="99" y="36"/>
                  </a:lnTo>
                  <a:lnTo>
                    <a:pt x="97" y="35"/>
                  </a:lnTo>
                  <a:close/>
                  <a:moveTo>
                    <a:pt x="97" y="0"/>
                  </a:moveTo>
                  <a:lnTo>
                    <a:pt x="122" y="3"/>
                  </a:lnTo>
                  <a:lnTo>
                    <a:pt x="146" y="12"/>
                  </a:lnTo>
                  <a:lnTo>
                    <a:pt x="166" y="27"/>
                  </a:lnTo>
                  <a:lnTo>
                    <a:pt x="181" y="47"/>
                  </a:lnTo>
                  <a:lnTo>
                    <a:pt x="190" y="70"/>
                  </a:lnTo>
                  <a:lnTo>
                    <a:pt x="193" y="96"/>
                  </a:lnTo>
                  <a:lnTo>
                    <a:pt x="190" y="121"/>
                  </a:lnTo>
                  <a:lnTo>
                    <a:pt x="181" y="146"/>
                  </a:lnTo>
                  <a:lnTo>
                    <a:pt x="166" y="166"/>
                  </a:lnTo>
                  <a:lnTo>
                    <a:pt x="146" y="181"/>
                  </a:lnTo>
                  <a:lnTo>
                    <a:pt x="122" y="190"/>
                  </a:lnTo>
                  <a:lnTo>
                    <a:pt x="97" y="193"/>
                  </a:lnTo>
                  <a:lnTo>
                    <a:pt x="97" y="193"/>
                  </a:lnTo>
                  <a:lnTo>
                    <a:pt x="71" y="190"/>
                  </a:lnTo>
                  <a:lnTo>
                    <a:pt x="47" y="181"/>
                  </a:lnTo>
                  <a:lnTo>
                    <a:pt x="27" y="166"/>
                  </a:lnTo>
                  <a:lnTo>
                    <a:pt x="12" y="146"/>
                  </a:lnTo>
                  <a:lnTo>
                    <a:pt x="3" y="121"/>
                  </a:lnTo>
                  <a:lnTo>
                    <a:pt x="0" y="96"/>
                  </a:lnTo>
                  <a:lnTo>
                    <a:pt x="3" y="70"/>
                  </a:lnTo>
                  <a:lnTo>
                    <a:pt x="12" y="47"/>
                  </a:lnTo>
                  <a:lnTo>
                    <a:pt x="27" y="27"/>
                  </a:lnTo>
                  <a:lnTo>
                    <a:pt x="47" y="12"/>
                  </a:lnTo>
                  <a:lnTo>
                    <a:pt x="71" y="3"/>
                  </a:lnTo>
                  <a:lnTo>
                    <a:pt x="97"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31">
              <a:extLst>
                <a:ext uri="{FF2B5EF4-FFF2-40B4-BE49-F238E27FC236}">
                  <a16:creationId xmlns:a16="http://schemas.microsoft.com/office/drawing/2014/main" id="{A80AEA00-9A0D-3A47-B6CF-F405FDB7D167}"/>
                </a:ext>
              </a:extLst>
            </p:cNvPr>
            <p:cNvSpPr>
              <a:spLocks noEditPoints="1"/>
            </p:cNvSpPr>
            <p:nvPr/>
          </p:nvSpPr>
          <p:spPr bwMode="auto">
            <a:xfrm>
              <a:off x="3444875" y="3978275"/>
              <a:ext cx="433388" cy="433388"/>
            </a:xfrm>
            <a:custGeom>
              <a:avLst/>
              <a:gdLst>
                <a:gd name="T0" fmla="*/ 211 w 273"/>
                <a:gd name="T1" fmla="*/ 142 h 273"/>
                <a:gd name="T2" fmla="*/ 193 w 273"/>
                <a:gd name="T3" fmla="*/ 184 h 273"/>
                <a:gd name="T4" fmla="*/ 142 w 273"/>
                <a:gd name="T5" fmla="*/ 62 h 273"/>
                <a:gd name="T6" fmla="*/ 180 w 273"/>
                <a:gd name="T7" fmla="*/ 78 h 273"/>
                <a:gd name="T8" fmla="*/ 205 w 273"/>
                <a:gd name="T9" fmla="*/ 110 h 273"/>
                <a:gd name="T10" fmla="*/ 142 w 273"/>
                <a:gd name="T11" fmla="*/ 131 h 273"/>
                <a:gd name="T12" fmla="*/ 132 w 273"/>
                <a:gd name="T13" fmla="*/ 62 h 273"/>
                <a:gd name="T14" fmla="*/ 132 w 273"/>
                <a:gd name="T15" fmla="*/ 139 h 273"/>
                <a:gd name="T16" fmla="*/ 185 w 273"/>
                <a:gd name="T17" fmla="*/ 192 h 273"/>
                <a:gd name="T18" fmla="*/ 154 w 273"/>
                <a:gd name="T19" fmla="*/ 207 h 273"/>
                <a:gd name="T20" fmla="*/ 113 w 273"/>
                <a:gd name="T21" fmla="*/ 206 h 273"/>
                <a:gd name="T22" fmla="*/ 77 w 273"/>
                <a:gd name="T23" fmla="*/ 180 h 273"/>
                <a:gd name="T24" fmla="*/ 63 w 273"/>
                <a:gd name="T25" fmla="*/ 137 h 273"/>
                <a:gd name="T26" fmla="*/ 75 w 273"/>
                <a:gd name="T27" fmla="*/ 94 h 273"/>
                <a:gd name="T28" fmla="*/ 109 w 273"/>
                <a:gd name="T29" fmla="*/ 69 h 273"/>
                <a:gd name="T30" fmla="*/ 136 w 273"/>
                <a:gd name="T31" fmla="*/ 52 h 273"/>
                <a:gd name="T32" fmla="*/ 86 w 273"/>
                <a:gd name="T33" fmla="*/ 67 h 273"/>
                <a:gd name="T34" fmla="*/ 55 w 273"/>
                <a:gd name="T35" fmla="*/ 110 h 273"/>
                <a:gd name="T36" fmla="*/ 55 w 273"/>
                <a:gd name="T37" fmla="*/ 163 h 273"/>
                <a:gd name="T38" fmla="*/ 86 w 273"/>
                <a:gd name="T39" fmla="*/ 206 h 273"/>
                <a:gd name="T40" fmla="*/ 136 w 273"/>
                <a:gd name="T41" fmla="*/ 221 h 273"/>
                <a:gd name="T42" fmla="*/ 187 w 273"/>
                <a:gd name="T43" fmla="*/ 206 h 273"/>
                <a:gd name="T44" fmla="*/ 217 w 273"/>
                <a:gd name="T45" fmla="*/ 163 h 273"/>
                <a:gd name="T46" fmla="*/ 217 w 273"/>
                <a:gd name="T47" fmla="*/ 110 h 273"/>
                <a:gd name="T48" fmla="*/ 187 w 273"/>
                <a:gd name="T49" fmla="*/ 67 h 273"/>
                <a:gd name="T50" fmla="*/ 136 w 273"/>
                <a:gd name="T51" fmla="*/ 52 h 273"/>
                <a:gd name="T52" fmla="*/ 168 w 273"/>
                <a:gd name="T53" fmla="*/ 5 h 273"/>
                <a:gd name="T54" fmla="*/ 222 w 273"/>
                <a:gd name="T55" fmla="*/ 30 h 273"/>
                <a:gd name="T56" fmla="*/ 260 w 273"/>
                <a:gd name="T57" fmla="*/ 76 h 273"/>
                <a:gd name="T58" fmla="*/ 273 w 273"/>
                <a:gd name="T59" fmla="*/ 137 h 273"/>
                <a:gd name="T60" fmla="*/ 260 w 273"/>
                <a:gd name="T61" fmla="*/ 197 h 273"/>
                <a:gd name="T62" fmla="*/ 222 w 273"/>
                <a:gd name="T63" fmla="*/ 242 h 273"/>
                <a:gd name="T64" fmla="*/ 168 w 273"/>
                <a:gd name="T65" fmla="*/ 270 h 273"/>
                <a:gd name="T66" fmla="*/ 106 w 273"/>
                <a:gd name="T67" fmla="*/ 270 h 273"/>
                <a:gd name="T68" fmla="*/ 51 w 273"/>
                <a:gd name="T69" fmla="*/ 242 h 273"/>
                <a:gd name="T70" fmla="*/ 14 w 273"/>
                <a:gd name="T71" fmla="*/ 197 h 273"/>
                <a:gd name="T72" fmla="*/ 0 w 273"/>
                <a:gd name="T73" fmla="*/ 137 h 273"/>
                <a:gd name="T74" fmla="*/ 4 w 273"/>
                <a:gd name="T75" fmla="*/ 105 h 273"/>
                <a:gd name="T76" fmla="*/ 31 w 273"/>
                <a:gd name="T77" fmla="*/ 52 h 273"/>
                <a:gd name="T78" fmla="*/ 77 w 273"/>
                <a:gd name="T79" fmla="*/ 14 h 273"/>
                <a:gd name="T80" fmla="*/ 136 w 273"/>
                <a:gd name="T81"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3" h="273">
                  <a:moveTo>
                    <a:pt x="150" y="142"/>
                  </a:moveTo>
                  <a:lnTo>
                    <a:pt x="211" y="142"/>
                  </a:lnTo>
                  <a:lnTo>
                    <a:pt x="205" y="165"/>
                  </a:lnTo>
                  <a:lnTo>
                    <a:pt x="193" y="184"/>
                  </a:lnTo>
                  <a:lnTo>
                    <a:pt x="150" y="142"/>
                  </a:lnTo>
                  <a:close/>
                  <a:moveTo>
                    <a:pt x="142" y="62"/>
                  </a:moveTo>
                  <a:lnTo>
                    <a:pt x="162" y="67"/>
                  </a:lnTo>
                  <a:lnTo>
                    <a:pt x="180" y="78"/>
                  </a:lnTo>
                  <a:lnTo>
                    <a:pt x="196" y="91"/>
                  </a:lnTo>
                  <a:lnTo>
                    <a:pt x="205" y="110"/>
                  </a:lnTo>
                  <a:lnTo>
                    <a:pt x="211" y="131"/>
                  </a:lnTo>
                  <a:lnTo>
                    <a:pt x="142" y="131"/>
                  </a:lnTo>
                  <a:lnTo>
                    <a:pt x="142" y="62"/>
                  </a:lnTo>
                  <a:close/>
                  <a:moveTo>
                    <a:pt x="132" y="62"/>
                  </a:moveTo>
                  <a:lnTo>
                    <a:pt x="132" y="137"/>
                  </a:lnTo>
                  <a:lnTo>
                    <a:pt x="132" y="139"/>
                  </a:lnTo>
                  <a:lnTo>
                    <a:pt x="133" y="140"/>
                  </a:lnTo>
                  <a:lnTo>
                    <a:pt x="185" y="192"/>
                  </a:lnTo>
                  <a:lnTo>
                    <a:pt x="171" y="201"/>
                  </a:lnTo>
                  <a:lnTo>
                    <a:pt x="154" y="207"/>
                  </a:lnTo>
                  <a:lnTo>
                    <a:pt x="136" y="210"/>
                  </a:lnTo>
                  <a:lnTo>
                    <a:pt x="113" y="206"/>
                  </a:lnTo>
                  <a:lnTo>
                    <a:pt x="93" y="195"/>
                  </a:lnTo>
                  <a:lnTo>
                    <a:pt x="77" y="180"/>
                  </a:lnTo>
                  <a:lnTo>
                    <a:pt x="66" y="160"/>
                  </a:lnTo>
                  <a:lnTo>
                    <a:pt x="63" y="137"/>
                  </a:lnTo>
                  <a:lnTo>
                    <a:pt x="66" y="114"/>
                  </a:lnTo>
                  <a:lnTo>
                    <a:pt x="75" y="94"/>
                  </a:lnTo>
                  <a:lnTo>
                    <a:pt x="90" y="79"/>
                  </a:lnTo>
                  <a:lnTo>
                    <a:pt x="109" y="69"/>
                  </a:lnTo>
                  <a:lnTo>
                    <a:pt x="132" y="62"/>
                  </a:lnTo>
                  <a:close/>
                  <a:moveTo>
                    <a:pt x="136" y="52"/>
                  </a:moveTo>
                  <a:lnTo>
                    <a:pt x="110" y="55"/>
                  </a:lnTo>
                  <a:lnTo>
                    <a:pt x="86" y="67"/>
                  </a:lnTo>
                  <a:lnTo>
                    <a:pt x="68" y="85"/>
                  </a:lnTo>
                  <a:lnTo>
                    <a:pt x="55" y="110"/>
                  </a:lnTo>
                  <a:lnTo>
                    <a:pt x="51" y="137"/>
                  </a:lnTo>
                  <a:lnTo>
                    <a:pt x="55" y="163"/>
                  </a:lnTo>
                  <a:lnTo>
                    <a:pt x="68" y="186"/>
                  </a:lnTo>
                  <a:lnTo>
                    <a:pt x="86" y="206"/>
                  </a:lnTo>
                  <a:lnTo>
                    <a:pt x="110" y="216"/>
                  </a:lnTo>
                  <a:lnTo>
                    <a:pt x="136" y="221"/>
                  </a:lnTo>
                  <a:lnTo>
                    <a:pt x="164" y="216"/>
                  </a:lnTo>
                  <a:lnTo>
                    <a:pt x="187" y="206"/>
                  </a:lnTo>
                  <a:lnTo>
                    <a:pt x="205" y="186"/>
                  </a:lnTo>
                  <a:lnTo>
                    <a:pt x="217" y="163"/>
                  </a:lnTo>
                  <a:lnTo>
                    <a:pt x="222" y="137"/>
                  </a:lnTo>
                  <a:lnTo>
                    <a:pt x="217" y="110"/>
                  </a:lnTo>
                  <a:lnTo>
                    <a:pt x="205" y="85"/>
                  </a:lnTo>
                  <a:lnTo>
                    <a:pt x="187" y="67"/>
                  </a:lnTo>
                  <a:lnTo>
                    <a:pt x="164" y="55"/>
                  </a:lnTo>
                  <a:lnTo>
                    <a:pt x="136" y="52"/>
                  </a:lnTo>
                  <a:close/>
                  <a:moveTo>
                    <a:pt x="136" y="0"/>
                  </a:moveTo>
                  <a:lnTo>
                    <a:pt x="168" y="5"/>
                  </a:lnTo>
                  <a:lnTo>
                    <a:pt x="197" y="14"/>
                  </a:lnTo>
                  <a:lnTo>
                    <a:pt x="222" y="30"/>
                  </a:lnTo>
                  <a:lnTo>
                    <a:pt x="243" y="52"/>
                  </a:lnTo>
                  <a:lnTo>
                    <a:pt x="260" y="76"/>
                  </a:lnTo>
                  <a:lnTo>
                    <a:pt x="269" y="105"/>
                  </a:lnTo>
                  <a:lnTo>
                    <a:pt x="273" y="137"/>
                  </a:lnTo>
                  <a:lnTo>
                    <a:pt x="269" y="168"/>
                  </a:lnTo>
                  <a:lnTo>
                    <a:pt x="260" y="197"/>
                  </a:lnTo>
                  <a:lnTo>
                    <a:pt x="243" y="221"/>
                  </a:lnTo>
                  <a:lnTo>
                    <a:pt x="222" y="242"/>
                  </a:lnTo>
                  <a:lnTo>
                    <a:pt x="197" y="259"/>
                  </a:lnTo>
                  <a:lnTo>
                    <a:pt x="168" y="270"/>
                  </a:lnTo>
                  <a:lnTo>
                    <a:pt x="136" y="273"/>
                  </a:lnTo>
                  <a:lnTo>
                    <a:pt x="106" y="270"/>
                  </a:lnTo>
                  <a:lnTo>
                    <a:pt x="77" y="259"/>
                  </a:lnTo>
                  <a:lnTo>
                    <a:pt x="51" y="242"/>
                  </a:lnTo>
                  <a:lnTo>
                    <a:pt x="31" y="221"/>
                  </a:lnTo>
                  <a:lnTo>
                    <a:pt x="14" y="197"/>
                  </a:lnTo>
                  <a:lnTo>
                    <a:pt x="4" y="168"/>
                  </a:lnTo>
                  <a:lnTo>
                    <a:pt x="0" y="137"/>
                  </a:lnTo>
                  <a:lnTo>
                    <a:pt x="0" y="137"/>
                  </a:lnTo>
                  <a:lnTo>
                    <a:pt x="4" y="105"/>
                  </a:lnTo>
                  <a:lnTo>
                    <a:pt x="14" y="76"/>
                  </a:lnTo>
                  <a:lnTo>
                    <a:pt x="31" y="52"/>
                  </a:lnTo>
                  <a:lnTo>
                    <a:pt x="51" y="30"/>
                  </a:lnTo>
                  <a:lnTo>
                    <a:pt x="77" y="14"/>
                  </a:lnTo>
                  <a:lnTo>
                    <a:pt x="106" y="5"/>
                  </a:lnTo>
                  <a:lnTo>
                    <a:pt x="13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32">
              <a:extLst>
                <a:ext uri="{FF2B5EF4-FFF2-40B4-BE49-F238E27FC236}">
                  <a16:creationId xmlns:a16="http://schemas.microsoft.com/office/drawing/2014/main" id="{CF38B1F6-D38A-EA44-8BB3-33CA6E1C4FBF}"/>
                </a:ext>
              </a:extLst>
            </p:cNvPr>
            <p:cNvSpPr>
              <a:spLocks noEditPoints="1"/>
            </p:cNvSpPr>
            <p:nvPr/>
          </p:nvSpPr>
          <p:spPr bwMode="auto">
            <a:xfrm>
              <a:off x="7460965" y="2751287"/>
              <a:ext cx="319088" cy="317500"/>
            </a:xfrm>
            <a:custGeom>
              <a:avLst/>
              <a:gdLst>
                <a:gd name="T0" fmla="*/ 38 w 201"/>
                <a:gd name="T1" fmla="*/ 131 h 200"/>
                <a:gd name="T2" fmla="*/ 38 w 201"/>
                <a:gd name="T3" fmla="*/ 144 h 200"/>
                <a:gd name="T4" fmla="*/ 44 w 201"/>
                <a:gd name="T5" fmla="*/ 145 h 200"/>
                <a:gd name="T6" fmla="*/ 46 w 201"/>
                <a:gd name="T7" fmla="*/ 133 h 200"/>
                <a:gd name="T8" fmla="*/ 41 w 201"/>
                <a:gd name="T9" fmla="*/ 130 h 200"/>
                <a:gd name="T10" fmla="*/ 55 w 201"/>
                <a:gd name="T11" fmla="*/ 124 h 200"/>
                <a:gd name="T12" fmla="*/ 55 w 201"/>
                <a:gd name="T13" fmla="*/ 144 h 200"/>
                <a:gd name="T14" fmla="*/ 61 w 201"/>
                <a:gd name="T15" fmla="*/ 145 h 200"/>
                <a:gd name="T16" fmla="*/ 63 w 201"/>
                <a:gd name="T17" fmla="*/ 125 h 200"/>
                <a:gd name="T18" fmla="*/ 58 w 201"/>
                <a:gd name="T19" fmla="*/ 121 h 200"/>
                <a:gd name="T20" fmla="*/ 72 w 201"/>
                <a:gd name="T21" fmla="*/ 110 h 200"/>
                <a:gd name="T22" fmla="*/ 72 w 201"/>
                <a:gd name="T23" fmla="*/ 144 h 200"/>
                <a:gd name="T24" fmla="*/ 78 w 201"/>
                <a:gd name="T25" fmla="*/ 145 h 200"/>
                <a:gd name="T26" fmla="*/ 79 w 201"/>
                <a:gd name="T27" fmla="*/ 113 h 200"/>
                <a:gd name="T28" fmla="*/ 75 w 201"/>
                <a:gd name="T29" fmla="*/ 109 h 200"/>
                <a:gd name="T30" fmla="*/ 105 w 201"/>
                <a:gd name="T31" fmla="*/ 107 h 200"/>
                <a:gd name="T32" fmla="*/ 105 w 201"/>
                <a:gd name="T33" fmla="*/ 144 h 200"/>
                <a:gd name="T34" fmla="*/ 111 w 201"/>
                <a:gd name="T35" fmla="*/ 145 h 200"/>
                <a:gd name="T36" fmla="*/ 113 w 201"/>
                <a:gd name="T37" fmla="*/ 109 h 200"/>
                <a:gd name="T38" fmla="*/ 108 w 201"/>
                <a:gd name="T39" fmla="*/ 104 h 200"/>
                <a:gd name="T40" fmla="*/ 89 w 201"/>
                <a:gd name="T41" fmla="*/ 107 h 200"/>
                <a:gd name="T42" fmla="*/ 89 w 201"/>
                <a:gd name="T43" fmla="*/ 144 h 200"/>
                <a:gd name="T44" fmla="*/ 95 w 201"/>
                <a:gd name="T45" fmla="*/ 145 h 200"/>
                <a:gd name="T46" fmla="*/ 96 w 201"/>
                <a:gd name="T47" fmla="*/ 109 h 200"/>
                <a:gd name="T48" fmla="*/ 92 w 201"/>
                <a:gd name="T49" fmla="*/ 104 h 200"/>
                <a:gd name="T50" fmla="*/ 122 w 201"/>
                <a:gd name="T51" fmla="*/ 93 h 200"/>
                <a:gd name="T52" fmla="*/ 122 w 201"/>
                <a:gd name="T53" fmla="*/ 144 h 200"/>
                <a:gd name="T54" fmla="*/ 128 w 201"/>
                <a:gd name="T55" fmla="*/ 145 h 200"/>
                <a:gd name="T56" fmla="*/ 130 w 201"/>
                <a:gd name="T57" fmla="*/ 96 h 200"/>
                <a:gd name="T58" fmla="*/ 125 w 201"/>
                <a:gd name="T59" fmla="*/ 92 h 200"/>
                <a:gd name="T60" fmla="*/ 139 w 201"/>
                <a:gd name="T61" fmla="*/ 81 h 200"/>
                <a:gd name="T62" fmla="*/ 139 w 201"/>
                <a:gd name="T63" fmla="*/ 144 h 200"/>
                <a:gd name="T64" fmla="*/ 145 w 201"/>
                <a:gd name="T65" fmla="*/ 145 h 200"/>
                <a:gd name="T66" fmla="*/ 147 w 201"/>
                <a:gd name="T67" fmla="*/ 84 h 200"/>
                <a:gd name="T68" fmla="*/ 142 w 201"/>
                <a:gd name="T69" fmla="*/ 80 h 200"/>
                <a:gd name="T70" fmla="*/ 130 w 201"/>
                <a:gd name="T71" fmla="*/ 48 h 200"/>
                <a:gd name="T72" fmla="*/ 131 w 201"/>
                <a:gd name="T73" fmla="*/ 54 h 200"/>
                <a:gd name="T74" fmla="*/ 107 w 201"/>
                <a:gd name="T75" fmla="*/ 87 h 200"/>
                <a:gd name="T76" fmla="*/ 72 w 201"/>
                <a:gd name="T77" fmla="*/ 89 h 200"/>
                <a:gd name="T78" fmla="*/ 37 w 201"/>
                <a:gd name="T79" fmla="*/ 118 h 200"/>
                <a:gd name="T80" fmla="*/ 41 w 201"/>
                <a:gd name="T81" fmla="*/ 121 h 200"/>
                <a:gd name="T82" fmla="*/ 76 w 201"/>
                <a:gd name="T83" fmla="*/ 96 h 200"/>
                <a:gd name="T84" fmla="*/ 111 w 201"/>
                <a:gd name="T85" fmla="*/ 95 h 200"/>
                <a:gd name="T86" fmla="*/ 147 w 201"/>
                <a:gd name="T87" fmla="*/ 69 h 200"/>
                <a:gd name="T88" fmla="*/ 153 w 201"/>
                <a:gd name="T89" fmla="*/ 71 h 200"/>
                <a:gd name="T90" fmla="*/ 154 w 201"/>
                <a:gd name="T91" fmla="*/ 49 h 200"/>
                <a:gd name="T92" fmla="*/ 151 w 201"/>
                <a:gd name="T93" fmla="*/ 46 h 200"/>
                <a:gd name="T94" fmla="*/ 127 w 201"/>
                <a:gd name="T95" fmla="*/ 3 h 200"/>
                <a:gd name="T96" fmla="*/ 188 w 201"/>
                <a:gd name="T97" fmla="*/ 49 h 200"/>
                <a:gd name="T98" fmla="*/ 197 w 201"/>
                <a:gd name="T99" fmla="*/ 127 h 200"/>
                <a:gd name="T100" fmla="*/ 151 w 201"/>
                <a:gd name="T101" fmla="*/ 186 h 200"/>
                <a:gd name="T102" fmla="*/ 101 w 201"/>
                <a:gd name="T103" fmla="*/ 200 h 200"/>
                <a:gd name="T104" fmla="*/ 29 w 201"/>
                <a:gd name="T105" fmla="*/ 171 h 200"/>
                <a:gd name="T106" fmla="*/ 0 w 201"/>
                <a:gd name="T107" fmla="*/ 101 h 200"/>
                <a:gd name="T108" fmla="*/ 29 w 201"/>
                <a:gd name="T109" fmla="*/ 29 h 200"/>
                <a:gd name="T110" fmla="*/ 101 w 201"/>
                <a:gd name="T11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1" h="200">
                  <a:moveTo>
                    <a:pt x="41" y="130"/>
                  </a:moveTo>
                  <a:lnTo>
                    <a:pt x="40" y="130"/>
                  </a:lnTo>
                  <a:lnTo>
                    <a:pt x="38" y="131"/>
                  </a:lnTo>
                  <a:lnTo>
                    <a:pt x="38" y="133"/>
                  </a:lnTo>
                  <a:lnTo>
                    <a:pt x="38" y="142"/>
                  </a:lnTo>
                  <a:lnTo>
                    <a:pt x="38" y="144"/>
                  </a:lnTo>
                  <a:lnTo>
                    <a:pt x="40" y="145"/>
                  </a:lnTo>
                  <a:lnTo>
                    <a:pt x="41" y="147"/>
                  </a:lnTo>
                  <a:lnTo>
                    <a:pt x="44" y="145"/>
                  </a:lnTo>
                  <a:lnTo>
                    <a:pt x="46" y="144"/>
                  </a:lnTo>
                  <a:lnTo>
                    <a:pt x="46" y="142"/>
                  </a:lnTo>
                  <a:lnTo>
                    <a:pt x="46" y="133"/>
                  </a:lnTo>
                  <a:lnTo>
                    <a:pt x="46" y="131"/>
                  </a:lnTo>
                  <a:lnTo>
                    <a:pt x="44" y="130"/>
                  </a:lnTo>
                  <a:lnTo>
                    <a:pt x="41" y="130"/>
                  </a:lnTo>
                  <a:close/>
                  <a:moveTo>
                    <a:pt x="58" y="121"/>
                  </a:moveTo>
                  <a:lnTo>
                    <a:pt x="57" y="122"/>
                  </a:lnTo>
                  <a:lnTo>
                    <a:pt x="55" y="124"/>
                  </a:lnTo>
                  <a:lnTo>
                    <a:pt x="54" y="125"/>
                  </a:lnTo>
                  <a:lnTo>
                    <a:pt x="54" y="142"/>
                  </a:lnTo>
                  <a:lnTo>
                    <a:pt x="55" y="144"/>
                  </a:lnTo>
                  <a:lnTo>
                    <a:pt x="57" y="145"/>
                  </a:lnTo>
                  <a:lnTo>
                    <a:pt x="58" y="147"/>
                  </a:lnTo>
                  <a:lnTo>
                    <a:pt x="61" y="145"/>
                  </a:lnTo>
                  <a:lnTo>
                    <a:pt x="63" y="144"/>
                  </a:lnTo>
                  <a:lnTo>
                    <a:pt x="63" y="142"/>
                  </a:lnTo>
                  <a:lnTo>
                    <a:pt x="63" y="125"/>
                  </a:lnTo>
                  <a:lnTo>
                    <a:pt x="63" y="124"/>
                  </a:lnTo>
                  <a:lnTo>
                    <a:pt x="61" y="122"/>
                  </a:lnTo>
                  <a:lnTo>
                    <a:pt x="58" y="121"/>
                  </a:lnTo>
                  <a:close/>
                  <a:moveTo>
                    <a:pt x="75" y="109"/>
                  </a:moveTo>
                  <a:lnTo>
                    <a:pt x="73" y="109"/>
                  </a:lnTo>
                  <a:lnTo>
                    <a:pt x="72" y="110"/>
                  </a:lnTo>
                  <a:lnTo>
                    <a:pt x="70" y="113"/>
                  </a:lnTo>
                  <a:lnTo>
                    <a:pt x="70" y="142"/>
                  </a:lnTo>
                  <a:lnTo>
                    <a:pt x="72" y="144"/>
                  </a:lnTo>
                  <a:lnTo>
                    <a:pt x="73" y="145"/>
                  </a:lnTo>
                  <a:lnTo>
                    <a:pt x="75" y="147"/>
                  </a:lnTo>
                  <a:lnTo>
                    <a:pt x="78" y="145"/>
                  </a:lnTo>
                  <a:lnTo>
                    <a:pt x="79" y="144"/>
                  </a:lnTo>
                  <a:lnTo>
                    <a:pt x="79" y="142"/>
                  </a:lnTo>
                  <a:lnTo>
                    <a:pt x="79" y="113"/>
                  </a:lnTo>
                  <a:lnTo>
                    <a:pt x="79" y="110"/>
                  </a:lnTo>
                  <a:lnTo>
                    <a:pt x="78" y="109"/>
                  </a:lnTo>
                  <a:lnTo>
                    <a:pt x="75" y="109"/>
                  </a:lnTo>
                  <a:close/>
                  <a:moveTo>
                    <a:pt x="108" y="104"/>
                  </a:moveTo>
                  <a:lnTo>
                    <a:pt x="107" y="106"/>
                  </a:lnTo>
                  <a:lnTo>
                    <a:pt x="105" y="107"/>
                  </a:lnTo>
                  <a:lnTo>
                    <a:pt x="104" y="109"/>
                  </a:lnTo>
                  <a:lnTo>
                    <a:pt x="104" y="142"/>
                  </a:lnTo>
                  <a:lnTo>
                    <a:pt x="105" y="144"/>
                  </a:lnTo>
                  <a:lnTo>
                    <a:pt x="107" y="145"/>
                  </a:lnTo>
                  <a:lnTo>
                    <a:pt x="108" y="147"/>
                  </a:lnTo>
                  <a:lnTo>
                    <a:pt x="111" y="145"/>
                  </a:lnTo>
                  <a:lnTo>
                    <a:pt x="113" y="144"/>
                  </a:lnTo>
                  <a:lnTo>
                    <a:pt x="113" y="142"/>
                  </a:lnTo>
                  <a:lnTo>
                    <a:pt x="113" y="109"/>
                  </a:lnTo>
                  <a:lnTo>
                    <a:pt x="113" y="107"/>
                  </a:lnTo>
                  <a:lnTo>
                    <a:pt x="111" y="106"/>
                  </a:lnTo>
                  <a:lnTo>
                    <a:pt x="108" y="104"/>
                  </a:lnTo>
                  <a:close/>
                  <a:moveTo>
                    <a:pt x="92" y="104"/>
                  </a:moveTo>
                  <a:lnTo>
                    <a:pt x="90" y="106"/>
                  </a:lnTo>
                  <a:lnTo>
                    <a:pt x="89" y="107"/>
                  </a:lnTo>
                  <a:lnTo>
                    <a:pt x="89" y="109"/>
                  </a:lnTo>
                  <a:lnTo>
                    <a:pt x="89" y="142"/>
                  </a:lnTo>
                  <a:lnTo>
                    <a:pt x="89" y="144"/>
                  </a:lnTo>
                  <a:lnTo>
                    <a:pt x="90" y="145"/>
                  </a:lnTo>
                  <a:lnTo>
                    <a:pt x="92" y="147"/>
                  </a:lnTo>
                  <a:lnTo>
                    <a:pt x="95" y="145"/>
                  </a:lnTo>
                  <a:lnTo>
                    <a:pt x="96" y="144"/>
                  </a:lnTo>
                  <a:lnTo>
                    <a:pt x="96" y="142"/>
                  </a:lnTo>
                  <a:lnTo>
                    <a:pt x="96" y="109"/>
                  </a:lnTo>
                  <a:lnTo>
                    <a:pt x="96" y="107"/>
                  </a:lnTo>
                  <a:lnTo>
                    <a:pt x="95" y="106"/>
                  </a:lnTo>
                  <a:lnTo>
                    <a:pt x="92" y="104"/>
                  </a:lnTo>
                  <a:close/>
                  <a:moveTo>
                    <a:pt x="125" y="92"/>
                  </a:moveTo>
                  <a:lnTo>
                    <a:pt x="124" y="92"/>
                  </a:lnTo>
                  <a:lnTo>
                    <a:pt x="122" y="93"/>
                  </a:lnTo>
                  <a:lnTo>
                    <a:pt x="121" y="96"/>
                  </a:lnTo>
                  <a:lnTo>
                    <a:pt x="121" y="142"/>
                  </a:lnTo>
                  <a:lnTo>
                    <a:pt x="122" y="144"/>
                  </a:lnTo>
                  <a:lnTo>
                    <a:pt x="124" y="145"/>
                  </a:lnTo>
                  <a:lnTo>
                    <a:pt x="125" y="147"/>
                  </a:lnTo>
                  <a:lnTo>
                    <a:pt x="128" y="145"/>
                  </a:lnTo>
                  <a:lnTo>
                    <a:pt x="130" y="144"/>
                  </a:lnTo>
                  <a:lnTo>
                    <a:pt x="130" y="142"/>
                  </a:lnTo>
                  <a:lnTo>
                    <a:pt x="130" y="96"/>
                  </a:lnTo>
                  <a:lnTo>
                    <a:pt x="130" y="93"/>
                  </a:lnTo>
                  <a:lnTo>
                    <a:pt x="128" y="92"/>
                  </a:lnTo>
                  <a:lnTo>
                    <a:pt x="125" y="92"/>
                  </a:lnTo>
                  <a:close/>
                  <a:moveTo>
                    <a:pt x="142" y="80"/>
                  </a:moveTo>
                  <a:lnTo>
                    <a:pt x="140" y="80"/>
                  </a:lnTo>
                  <a:lnTo>
                    <a:pt x="139" y="81"/>
                  </a:lnTo>
                  <a:lnTo>
                    <a:pt x="139" y="84"/>
                  </a:lnTo>
                  <a:lnTo>
                    <a:pt x="139" y="142"/>
                  </a:lnTo>
                  <a:lnTo>
                    <a:pt x="139" y="144"/>
                  </a:lnTo>
                  <a:lnTo>
                    <a:pt x="140" y="145"/>
                  </a:lnTo>
                  <a:lnTo>
                    <a:pt x="142" y="147"/>
                  </a:lnTo>
                  <a:lnTo>
                    <a:pt x="145" y="145"/>
                  </a:lnTo>
                  <a:lnTo>
                    <a:pt x="147" y="144"/>
                  </a:lnTo>
                  <a:lnTo>
                    <a:pt x="147" y="142"/>
                  </a:lnTo>
                  <a:lnTo>
                    <a:pt x="147" y="84"/>
                  </a:lnTo>
                  <a:lnTo>
                    <a:pt x="147" y="81"/>
                  </a:lnTo>
                  <a:lnTo>
                    <a:pt x="145" y="80"/>
                  </a:lnTo>
                  <a:lnTo>
                    <a:pt x="142" y="80"/>
                  </a:lnTo>
                  <a:close/>
                  <a:moveTo>
                    <a:pt x="134" y="46"/>
                  </a:moveTo>
                  <a:lnTo>
                    <a:pt x="131" y="46"/>
                  </a:lnTo>
                  <a:lnTo>
                    <a:pt x="130" y="48"/>
                  </a:lnTo>
                  <a:lnTo>
                    <a:pt x="130" y="51"/>
                  </a:lnTo>
                  <a:lnTo>
                    <a:pt x="130" y="52"/>
                  </a:lnTo>
                  <a:lnTo>
                    <a:pt x="131" y="54"/>
                  </a:lnTo>
                  <a:lnTo>
                    <a:pt x="134" y="54"/>
                  </a:lnTo>
                  <a:lnTo>
                    <a:pt x="140" y="54"/>
                  </a:lnTo>
                  <a:lnTo>
                    <a:pt x="107" y="87"/>
                  </a:lnTo>
                  <a:lnTo>
                    <a:pt x="75" y="87"/>
                  </a:lnTo>
                  <a:lnTo>
                    <a:pt x="73" y="89"/>
                  </a:lnTo>
                  <a:lnTo>
                    <a:pt x="72" y="89"/>
                  </a:lnTo>
                  <a:lnTo>
                    <a:pt x="40" y="113"/>
                  </a:lnTo>
                  <a:lnTo>
                    <a:pt x="38" y="115"/>
                  </a:lnTo>
                  <a:lnTo>
                    <a:pt x="37" y="118"/>
                  </a:lnTo>
                  <a:lnTo>
                    <a:pt x="38" y="119"/>
                  </a:lnTo>
                  <a:lnTo>
                    <a:pt x="40" y="121"/>
                  </a:lnTo>
                  <a:lnTo>
                    <a:pt x="41" y="121"/>
                  </a:lnTo>
                  <a:lnTo>
                    <a:pt x="43" y="121"/>
                  </a:lnTo>
                  <a:lnTo>
                    <a:pt x="44" y="121"/>
                  </a:lnTo>
                  <a:lnTo>
                    <a:pt x="76" y="96"/>
                  </a:lnTo>
                  <a:lnTo>
                    <a:pt x="108" y="96"/>
                  </a:lnTo>
                  <a:lnTo>
                    <a:pt x="110" y="96"/>
                  </a:lnTo>
                  <a:lnTo>
                    <a:pt x="111" y="95"/>
                  </a:lnTo>
                  <a:lnTo>
                    <a:pt x="147" y="60"/>
                  </a:lnTo>
                  <a:lnTo>
                    <a:pt x="147" y="67"/>
                  </a:lnTo>
                  <a:lnTo>
                    <a:pt x="147" y="69"/>
                  </a:lnTo>
                  <a:lnTo>
                    <a:pt x="148" y="71"/>
                  </a:lnTo>
                  <a:lnTo>
                    <a:pt x="151" y="71"/>
                  </a:lnTo>
                  <a:lnTo>
                    <a:pt x="153" y="71"/>
                  </a:lnTo>
                  <a:lnTo>
                    <a:pt x="154" y="69"/>
                  </a:lnTo>
                  <a:lnTo>
                    <a:pt x="154" y="67"/>
                  </a:lnTo>
                  <a:lnTo>
                    <a:pt x="154" y="49"/>
                  </a:lnTo>
                  <a:lnTo>
                    <a:pt x="153" y="46"/>
                  </a:lnTo>
                  <a:lnTo>
                    <a:pt x="151" y="46"/>
                  </a:lnTo>
                  <a:lnTo>
                    <a:pt x="151" y="46"/>
                  </a:lnTo>
                  <a:lnTo>
                    <a:pt x="134" y="46"/>
                  </a:lnTo>
                  <a:close/>
                  <a:moveTo>
                    <a:pt x="101" y="0"/>
                  </a:moveTo>
                  <a:lnTo>
                    <a:pt x="127" y="3"/>
                  </a:lnTo>
                  <a:lnTo>
                    <a:pt x="151" y="14"/>
                  </a:lnTo>
                  <a:lnTo>
                    <a:pt x="171" y="29"/>
                  </a:lnTo>
                  <a:lnTo>
                    <a:pt x="188" y="49"/>
                  </a:lnTo>
                  <a:lnTo>
                    <a:pt x="197" y="74"/>
                  </a:lnTo>
                  <a:lnTo>
                    <a:pt x="201" y="101"/>
                  </a:lnTo>
                  <a:lnTo>
                    <a:pt x="197" y="127"/>
                  </a:lnTo>
                  <a:lnTo>
                    <a:pt x="188" y="151"/>
                  </a:lnTo>
                  <a:lnTo>
                    <a:pt x="171" y="171"/>
                  </a:lnTo>
                  <a:lnTo>
                    <a:pt x="151" y="186"/>
                  </a:lnTo>
                  <a:lnTo>
                    <a:pt x="127" y="197"/>
                  </a:lnTo>
                  <a:lnTo>
                    <a:pt x="101" y="200"/>
                  </a:lnTo>
                  <a:lnTo>
                    <a:pt x="101" y="200"/>
                  </a:lnTo>
                  <a:lnTo>
                    <a:pt x="73" y="197"/>
                  </a:lnTo>
                  <a:lnTo>
                    <a:pt x="49" y="186"/>
                  </a:lnTo>
                  <a:lnTo>
                    <a:pt x="29" y="171"/>
                  </a:lnTo>
                  <a:lnTo>
                    <a:pt x="14" y="151"/>
                  </a:lnTo>
                  <a:lnTo>
                    <a:pt x="3" y="127"/>
                  </a:lnTo>
                  <a:lnTo>
                    <a:pt x="0" y="101"/>
                  </a:lnTo>
                  <a:lnTo>
                    <a:pt x="3" y="74"/>
                  </a:lnTo>
                  <a:lnTo>
                    <a:pt x="14" y="49"/>
                  </a:lnTo>
                  <a:lnTo>
                    <a:pt x="29" y="29"/>
                  </a:lnTo>
                  <a:lnTo>
                    <a:pt x="49" y="14"/>
                  </a:lnTo>
                  <a:lnTo>
                    <a:pt x="73" y="3"/>
                  </a:lnTo>
                  <a:lnTo>
                    <a:pt x="10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33">
              <a:extLst>
                <a:ext uri="{FF2B5EF4-FFF2-40B4-BE49-F238E27FC236}">
                  <a16:creationId xmlns:a16="http://schemas.microsoft.com/office/drawing/2014/main" id="{2AC857C3-E04B-5D41-A863-F0B92F29208F}"/>
                </a:ext>
              </a:extLst>
            </p:cNvPr>
            <p:cNvSpPr>
              <a:spLocks noEditPoints="1"/>
            </p:cNvSpPr>
            <p:nvPr/>
          </p:nvSpPr>
          <p:spPr bwMode="auto">
            <a:xfrm>
              <a:off x="5328953" y="3395663"/>
              <a:ext cx="512763" cy="512763"/>
            </a:xfrm>
            <a:custGeom>
              <a:avLst/>
              <a:gdLst>
                <a:gd name="T0" fmla="*/ 106 w 323"/>
                <a:gd name="T1" fmla="*/ 134 h 323"/>
                <a:gd name="T2" fmla="*/ 102 w 323"/>
                <a:gd name="T3" fmla="*/ 154 h 323"/>
                <a:gd name="T4" fmla="*/ 117 w 323"/>
                <a:gd name="T5" fmla="*/ 167 h 323"/>
                <a:gd name="T6" fmla="*/ 221 w 323"/>
                <a:gd name="T7" fmla="*/ 204 h 323"/>
                <a:gd name="T8" fmla="*/ 215 w 323"/>
                <a:gd name="T9" fmla="*/ 212 h 323"/>
                <a:gd name="T10" fmla="*/ 207 w 323"/>
                <a:gd name="T11" fmla="*/ 209 h 323"/>
                <a:gd name="T12" fmla="*/ 178 w 323"/>
                <a:gd name="T13" fmla="*/ 169 h 323"/>
                <a:gd name="T14" fmla="*/ 174 w 323"/>
                <a:gd name="T15" fmla="*/ 178 h 323"/>
                <a:gd name="T16" fmla="*/ 196 w 323"/>
                <a:gd name="T17" fmla="*/ 224 h 323"/>
                <a:gd name="T18" fmla="*/ 183 w 323"/>
                <a:gd name="T19" fmla="*/ 222 h 323"/>
                <a:gd name="T20" fmla="*/ 154 w 323"/>
                <a:gd name="T21" fmla="*/ 186 h 323"/>
                <a:gd name="T22" fmla="*/ 151 w 323"/>
                <a:gd name="T23" fmla="*/ 196 h 323"/>
                <a:gd name="T24" fmla="*/ 164 w 323"/>
                <a:gd name="T25" fmla="*/ 225 h 323"/>
                <a:gd name="T26" fmla="*/ 151 w 323"/>
                <a:gd name="T27" fmla="*/ 225 h 323"/>
                <a:gd name="T28" fmla="*/ 134 w 323"/>
                <a:gd name="T29" fmla="*/ 202 h 323"/>
                <a:gd name="T30" fmla="*/ 126 w 323"/>
                <a:gd name="T31" fmla="*/ 209 h 323"/>
                <a:gd name="T32" fmla="*/ 134 w 323"/>
                <a:gd name="T33" fmla="*/ 222 h 323"/>
                <a:gd name="T34" fmla="*/ 128 w 323"/>
                <a:gd name="T35" fmla="*/ 230 h 323"/>
                <a:gd name="T36" fmla="*/ 100 w 323"/>
                <a:gd name="T37" fmla="*/ 192 h 323"/>
                <a:gd name="T38" fmla="*/ 81 w 323"/>
                <a:gd name="T39" fmla="*/ 128 h 323"/>
                <a:gd name="T40" fmla="*/ 242 w 323"/>
                <a:gd name="T41" fmla="*/ 187 h 323"/>
                <a:gd name="T42" fmla="*/ 203 w 323"/>
                <a:gd name="T43" fmla="*/ 145 h 323"/>
                <a:gd name="T44" fmla="*/ 120 w 323"/>
                <a:gd name="T45" fmla="*/ 154 h 323"/>
                <a:gd name="T46" fmla="*/ 114 w 323"/>
                <a:gd name="T47" fmla="*/ 148 h 323"/>
                <a:gd name="T48" fmla="*/ 169 w 323"/>
                <a:gd name="T49" fmla="*/ 114 h 323"/>
                <a:gd name="T50" fmla="*/ 61 w 323"/>
                <a:gd name="T51" fmla="*/ 100 h 323"/>
                <a:gd name="T52" fmla="*/ 67 w 323"/>
                <a:gd name="T53" fmla="*/ 201 h 323"/>
                <a:gd name="T54" fmla="*/ 61 w 323"/>
                <a:gd name="T55" fmla="*/ 212 h 323"/>
                <a:gd name="T56" fmla="*/ 78 w 323"/>
                <a:gd name="T57" fmla="*/ 213 h 323"/>
                <a:gd name="T58" fmla="*/ 90 w 323"/>
                <a:gd name="T59" fmla="*/ 201 h 323"/>
                <a:gd name="T60" fmla="*/ 122 w 323"/>
                <a:gd name="T61" fmla="*/ 242 h 323"/>
                <a:gd name="T62" fmla="*/ 140 w 323"/>
                <a:gd name="T63" fmla="*/ 237 h 323"/>
                <a:gd name="T64" fmla="*/ 158 w 323"/>
                <a:gd name="T65" fmla="*/ 242 h 323"/>
                <a:gd name="T66" fmla="*/ 175 w 323"/>
                <a:gd name="T67" fmla="*/ 233 h 323"/>
                <a:gd name="T68" fmla="*/ 193 w 323"/>
                <a:gd name="T69" fmla="*/ 239 h 323"/>
                <a:gd name="T70" fmla="*/ 207 w 323"/>
                <a:gd name="T71" fmla="*/ 230 h 323"/>
                <a:gd name="T72" fmla="*/ 219 w 323"/>
                <a:gd name="T73" fmla="*/ 225 h 323"/>
                <a:gd name="T74" fmla="*/ 235 w 323"/>
                <a:gd name="T75" fmla="*/ 210 h 323"/>
                <a:gd name="T76" fmla="*/ 242 w 323"/>
                <a:gd name="T77" fmla="*/ 207 h 323"/>
                <a:gd name="T78" fmla="*/ 256 w 323"/>
                <a:gd name="T79" fmla="*/ 215 h 323"/>
                <a:gd name="T80" fmla="*/ 262 w 323"/>
                <a:gd name="T81" fmla="*/ 204 h 323"/>
                <a:gd name="T82" fmla="*/ 259 w 323"/>
                <a:gd name="T83" fmla="*/ 106 h 323"/>
                <a:gd name="T84" fmla="*/ 259 w 323"/>
                <a:gd name="T85" fmla="*/ 94 h 323"/>
                <a:gd name="T86" fmla="*/ 242 w 323"/>
                <a:gd name="T87" fmla="*/ 97 h 323"/>
                <a:gd name="T88" fmla="*/ 169 w 323"/>
                <a:gd name="T89" fmla="*/ 100 h 323"/>
                <a:gd name="T90" fmla="*/ 81 w 323"/>
                <a:gd name="T91" fmla="*/ 114 h 323"/>
                <a:gd name="T92" fmla="*/ 74 w 323"/>
                <a:gd name="T93" fmla="*/ 94 h 323"/>
                <a:gd name="T94" fmla="*/ 232 w 323"/>
                <a:gd name="T95" fmla="*/ 17 h 323"/>
                <a:gd name="T96" fmla="*/ 318 w 323"/>
                <a:gd name="T97" fmla="*/ 125 h 323"/>
                <a:gd name="T98" fmla="*/ 288 w 323"/>
                <a:gd name="T99" fmla="*/ 262 h 323"/>
                <a:gd name="T100" fmla="*/ 161 w 323"/>
                <a:gd name="T101" fmla="*/ 323 h 323"/>
                <a:gd name="T102" fmla="*/ 35 w 323"/>
                <a:gd name="T103" fmla="*/ 262 h 323"/>
                <a:gd name="T104" fmla="*/ 4 w 323"/>
                <a:gd name="T105" fmla="*/ 125 h 323"/>
                <a:gd name="T106" fmla="*/ 90 w 323"/>
                <a:gd name="T107" fmla="*/ 17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3" h="323">
                  <a:moveTo>
                    <a:pt x="81" y="128"/>
                  </a:moveTo>
                  <a:lnTo>
                    <a:pt x="116" y="128"/>
                  </a:lnTo>
                  <a:lnTo>
                    <a:pt x="111" y="131"/>
                  </a:lnTo>
                  <a:lnTo>
                    <a:pt x="106" y="134"/>
                  </a:lnTo>
                  <a:lnTo>
                    <a:pt x="103" y="137"/>
                  </a:lnTo>
                  <a:lnTo>
                    <a:pt x="102" y="143"/>
                  </a:lnTo>
                  <a:lnTo>
                    <a:pt x="100" y="148"/>
                  </a:lnTo>
                  <a:lnTo>
                    <a:pt x="102" y="154"/>
                  </a:lnTo>
                  <a:lnTo>
                    <a:pt x="103" y="160"/>
                  </a:lnTo>
                  <a:lnTo>
                    <a:pt x="108" y="164"/>
                  </a:lnTo>
                  <a:lnTo>
                    <a:pt x="113" y="166"/>
                  </a:lnTo>
                  <a:lnTo>
                    <a:pt x="117" y="167"/>
                  </a:lnTo>
                  <a:lnTo>
                    <a:pt x="122" y="167"/>
                  </a:lnTo>
                  <a:lnTo>
                    <a:pt x="193" y="155"/>
                  </a:lnTo>
                  <a:lnTo>
                    <a:pt x="219" y="201"/>
                  </a:lnTo>
                  <a:lnTo>
                    <a:pt x="221" y="204"/>
                  </a:lnTo>
                  <a:lnTo>
                    <a:pt x="221" y="207"/>
                  </a:lnTo>
                  <a:lnTo>
                    <a:pt x="219" y="210"/>
                  </a:lnTo>
                  <a:lnTo>
                    <a:pt x="216" y="212"/>
                  </a:lnTo>
                  <a:lnTo>
                    <a:pt x="215" y="212"/>
                  </a:lnTo>
                  <a:lnTo>
                    <a:pt x="212" y="212"/>
                  </a:lnTo>
                  <a:lnTo>
                    <a:pt x="209" y="212"/>
                  </a:lnTo>
                  <a:lnTo>
                    <a:pt x="207" y="209"/>
                  </a:lnTo>
                  <a:lnTo>
                    <a:pt x="207" y="209"/>
                  </a:lnTo>
                  <a:lnTo>
                    <a:pt x="186" y="172"/>
                  </a:lnTo>
                  <a:lnTo>
                    <a:pt x="184" y="170"/>
                  </a:lnTo>
                  <a:lnTo>
                    <a:pt x="181" y="169"/>
                  </a:lnTo>
                  <a:lnTo>
                    <a:pt x="178" y="169"/>
                  </a:lnTo>
                  <a:lnTo>
                    <a:pt x="177" y="170"/>
                  </a:lnTo>
                  <a:lnTo>
                    <a:pt x="174" y="172"/>
                  </a:lnTo>
                  <a:lnTo>
                    <a:pt x="172" y="175"/>
                  </a:lnTo>
                  <a:lnTo>
                    <a:pt x="174" y="178"/>
                  </a:lnTo>
                  <a:lnTo>
                    <a:pt x="195" y="216"/>
                  </a:lnTo>
                  <a:lnTo>
                    <a:pt x="196" y="219"/>
                  </a:lnTo>
                  <a:lnTo>
                    <a:pt x="196" y="221"/>
                  </a:lnTo>
                  <a:lnTo>
                    <a:pt x="196" y="224"/>
                  </a:lnTo>
                  <a:lnTo>
                    <a:pt x="193" y="225"/>
                  </a:lnTo>
                  <a:lnTo>
                    <a:pt x="190" y="227"/>
                  </a:lnTo>
                  <a:lnTo>
                    <a:pt x="186" y="225"/>
                  </a:lnTo>
                  <a:lnTo>
                    <a:pt x="183" y="222"/>
                  </a:lnTo>
                  <a:lnTo>
                    <a:pt x="163" y="189"/>
                  </a:lnTo>
                  <a:lnTo>
                    <a:pt x="160" y="186"/>
                  </a:lnTo>
                  <a:lnTo>
                    <a:pt x="157" y="186"/>
                  </a:lnTo>
                  <a:lnTo>
                    <a:pt x="154" y="186"/>
                  </a:lnTo>
                  <a:lnTo>
                    <a:pt x="151" y="189"/>
                  </a:lnTo>
                  <a:lnTo>
                    <a:pt x="151" y="190"/>
                  </a:lnTo>
                  <a:lnTo>
                    <a:pt x="151" y="193"/>
                  </a:lnTo>
                  <a:lnTo>
                    <a:pt x="151" y="196"/>
                  </a:lnTo>
                  <a:lnTo>
                    <a:pt x="164" y="218"/>
                  </a:lnTo>
                  <a:lnTo>
                    <a:pt x="164" y="219"/>
                  </a:lnTo>
                  <a:lnTo>
                    <a:pt x="164" y="222"/>
                  </a:lnTo>
                  <a:lnTo>
                    <a:pt x="164" y="225"/>
                  </a:lnTo>
                  <a:lnTo>
                    <a:pt x="161" y="227"/>
                  </a:lnTo>
                  <a:lnTo>
                    <a:pt x="158" y="228"/>
                  </a:lnTo>
                  <a:lnTo>
                    <a:pt x="154" y="227"/>
                  </a:lnTo>
                  <a:lnTo>
                    <a:pt x="151" y="225"/>
                  </a:lnTo>
                  <a:lnTo>
                    <a:pt x="145" y="212"/>
                  </a:lnTo>
                  <a:lnTo>
                    <a:pt x="139" y="204"/>
                  </a:lnTo>
                  <a:lnTo>
                    <a:pt x="137" y="202"/>
                  </a:lnTo>
                  <a:lnTo>
                    <a:pt x="134" y="202"/>
                  </a:lnTo>
                  <a:lnTo>
                    <a:pt x="132" y="202"/>
                  </a:lnTo>
                  <a:lnTo>
                    <a:pt x="129" y="202"/>
                  </a:lnTo>
                  <a:lnTo>
                    <a:pt x="128" y="205"/>
                  </a:lnTo>
                  <a:lnTo>
                    <a:pt x="126" y="209"/>
                  </a:lnTo>
                  <a:lnTo>
                    <a:pt x="128" y="212"/>
                  </a:lnTo>
                  <a:lnTo>
                    <a:pt x="132" y="219"/>
                  </a:lnTo>
                  <a:lnTo>
                    <a:pt x="132" y="221"/>
                  </a:lnTo>
                  <a:lnTo>
                    <a:pt x="134" y="222"/>
                  </a:lnTo>
                  <a:lnTo>
                    <a:pt x="134" y="224"/>
                  </a:lnTo>
                  <a:lnTo>
                    <a:pt x="132" y="227"/>
                  </a:lnTo>
                  <a:lnTo>
                    <a:pt x="131" y="228"/>
                  </a:lnTo>
                  <a:lnTo>
                    <a:pt x="128" y="230"/>
                  </a:lnTo>
                  <a:lnTo>
                    <a:pt x="125" y="228"/>
                  </a:lnTo>
                  <a:lnTo>
                    <a:pt x="122" y="227"/>
                  </a:lnTo>
                  <a:lnTo>
                    <a:pt x="120" y="225"/>
                  </a:lnTo>
                  <a:lnTo>
                    <a:pt x="100" y="192"/>
                  </a:lnTo>
                  <a:lnTo>
                    <a:pt x="97" y="189"/>
                  </a:lnTo>
                  <a:lnTo>
                    <a:pt x="94" y="187"/>
                  </a:lnTo>
                  <a:lnTo>
                    <a:pt x="81" y="187"/>
                  </a:lnTo>
                  <a:lnTo>
                    <a:pt x="81" y="128"/>
                  </a:lnTo>
                  <a:close/>
                  <a:moveTo>
                    <a:pt x="169" y="114"/>
                  </a:moveTo>
                  <a:lnTo>
                    <a:pt x="213" y="128"/>
                  </a:lnTo>
                  <a:lnTo>
                    <a:pt x="242" y="128"/>
                  </a:lnTo>
                  <a:lnTo>
                    <a:pt x="242" y="187"/>
                  </a:lnTo>
                  <a:lnTo>
                    <a:pt x="228" y="187"/>
                  </a:lnTo>
                  <a:lnTo>
                    <a:pt x="228" y="187"/>
                  </a:lnTo>
                  <a:lnTo>
                    <a:pt x="227" y="189"/>
                  </a:lnTo>
                  <a:lnTo>
                    <a:pt x="203" y="145"/>
                  </a:lnTo>
                  <a:lnTo>
                    <a:pt x="201" y="143"/>
                  </a:lnTo>
                  <a:lnTo>
                    <a:pt x="200" y="141"/>
                  </a:lnTo>
                  <a:lnTo>
                    <a:pt x="196" y="141"/>
                  </a:lnTo>
                  <a:lnTo>
                    <a:pt x="120" y="154"/>
                  </a:lnTo>
                  <a:lnTo>
                    <a:pt x="117" y="154"/>
                  </a:lnTo>
                  <a:lnTo>
                    <a:pt x="116" y="154"/>
                  </a:lnTo>
                  <a:lnTo>
                    <a:pt x="114" y="151"/>
                  </a:lnTo>
                  <a:lnTo>
                    <a:pt x="114" y="148"/>
                  </a:lnTo>
                  <a:lnTo>
                    <a:pt x="114" y="145"/>
                  </a:lnTo>
                  <a:lnTo>
                    <a:pt x="116" y="143"/>
                  </a:lnTo>
                  <a:lnTo>
                    <a:pt x="117" y="143"/>
                  </a:lnTo>
                  <a:lnTo>
                    <a:pt x="169" y="114"/>
                  </a:lnTo>
                  <a:close/>
                  <a:moveTo>
                    <a:pt x="67" y="94"/>
                  </a:moveTo>
                  <a:lnTo>
                    <a:pt x="64" y="94"/>
                  </a:lnTo>
                  <a:lnTo>
                    <a:pt x="61" y="97"/>
                  </a:lnTo>
                  <a:lnTo>
                    <a:pt x="61" y="100"/>
                  </a:lnTo>
                  <a:lnTo>
                    <a:pt x="61" y="103"/>
                  </a:lnTo>
                  <a:lnTo>
                    <a:pt x="64" y="106"/>
                  </a:lnTo>
                  <a:lnTo>
                    <a:pt x="67" y="106"/>
                  </a:lnTo>
                  <a:lnTo>
                    <a:pt x="67" y="201"/>
                  </a:lnTo>
                  <a:lnTo>
                    <a:pt x="64" y="202"/>
                  </a:lnTo>
                  <a:lnTo>
                    <a:pt x="61" y="204"/>
                  </a:lnTo>
                  <a:lnTo>
                    <a:pt x="61" y="207"/>
                  </a:lnTo>
                  <a:lnTo>
                    <a:pt x="61" y="212"/>
                  </a:lnTo>
                  <a:lnTo>
                    <a:pt x="64" y="213"/>
                  </a:lnTo>
                  <a:lnTo>
                    <a:pt x="67" y="215"/>
                  </a:lnTo>
                  <a:lnTo>
                    <a:pt x="74" y="215"/>
                  </a:lnTo>
                  <a:lnTo>
                    <a:pt x="78" y="213"/>
                  </a:lnTo>
                  <a:lnTo>
                    <a:pt x="81" y="212"/>
                  </a:lnTo>
                  <a:lnTo>
                    <a:pt x="81" y="207"/>
                  </a:lnTo>
                  <a:lnTo>
                    <a:pt x="81" y="201"/>
                  </a:lnTo>
                  <a:lnTo>
                    <a:pt x="90" y="201"/>
                  </a:lnTo>
                  <a:lnTo>
                    <a:pt x="108" y="231"/>
                  </a:lnTo>
                  <a:lnTo>
                    <a:pt x="113" y="236"/>
                  </a:lnTo>
                  <a:lnTo>
                    <a:pt x="117" y="239"/>
                  </a:lnTo>
                  <a:lnTo>
                    <a:pt x="122" y="242"/>
                  </a:lnTo>
                  <a:lnTo>
                    <a:pt x="128" y="242"/>
                  </a:lnTo>
                  <a:lnTo>
                    <a:pt x="132" y="242"/>
                  </a:lnTo>
                  <a:lnTo>
                    <a:pt x="137" y="241"/>
                  </a:lnTo>
                  <a:lnTo>
                    <a:pt x="140" y="237"/>
                  </a:lnTo>
                  <a:lnTo>
                    <a:pt x="143" y="236"/>
                  </a:lnTo>
                  <a:lnTo>
                    <a:pt x="148" y="239"/>
                  </a:lnTo>
                  <a:lnTo>
                    <a:pt x="152" y="241"/>
                  </a:lnTo>
                  <a:lnTo>
                    <a:pt x="158" y="242"/>
                  </a:lnTo>
                  <a:lnTo>
                    <a:pt x="163" y="241"/>
                  </a:lnTo>
                  <a:lnTo>
                    <a:pt x="169" y="239"/>
                  </a:lnTo>
                  <a:lnTo>
                    <a:pt x="172" y="236"/>
                  </a:lnTo>
                  <a:lnTo>
                    <a:pt x="175" y="233"/>
                  </a:lnTo>
                  <a:lnTo>
                    <a:pt x="180" y="236"/>
                  </a:lnTo>
                  <a:lnTo>
                    <a:pt x="184" y="239"/>
                  </a:lnTo>
                  <a:lnTo>
                    <a:pt x="190" y="241"/>
                  </a:lnTo>
                  <a:lnTo>
                    <a:pt x="193" y="239"/>
                  </a:lnTo>
                  <a:lnTo>
                    <a:pt x="196" y="239"/>
                  </a:lnTo>
                  <a:lnTo>
                    <a:pt x="201" y="236"/>
                  </a:lnTo>
                  <a:lnTo>
                    <a:pt x="204" y="233"/>
                  </a:lnTo>
                  <a:lnTo>
                    <a:pt x="207" y="230"/>
                  </a:lnTo>
                  <a:lnTo>
                    <a:pt x="209" y="225"/>
                  </a:lnTo>
                  <a:lnTo>
                    <a:pt x="212" y="225"/>
                  </a:lnTo>
                  <a:lnTo>
                    <a:pt x="213" y="225"/>
                  </a:lnTo>
                  <a:lnTo>
                    <a:pt x="219" y="225"/>
                  </a:lnTo>
                  <a:lnTo>
                    <a:pt x="224" y="222"/>
                  </a:lnTo>
                  <a:lnTo>
                    <a:pt x="228" y="219"/>
                  </a:lnTo>
                  <a:lnTo>
                    <a:pt x="232" y="215"/>
                  </a:lnTo>
                  <a:lnTo>
                    <a:pt x="235" y="210"/>
                  </a:lnTo>
                  <a:lnTo>
                    <a:pt x="235" y="205"/>
                  </a:lnTo>
                  <a:lnTo>
                    <a:pt x="235" y="201"/>
                  </a:lnTo>
                  <a:lnTo>
                    <a:pt x="242" y="201"/>
                  </a:lnTo>
                  <a:lnTo>
                    <a:pt x="242" y="207"/>
                  </a:lnTo>
                  <a:lnTo>
                    <a:pt x="242" y="212"/>
                  </a:lnTo>
                  <a:lnTo>
                    <a:pt x="245" y="213"/>
                  </a:lnTo>
                  <a:lnTo>
                    <a:pt x="248" y="215"/>
                  </a:lnTo>
                  <a:lnTo>
                    <a:pt x="256" y="215"/>
                  </a:lnTo>
                  <a:lnTo>
                    <a:pt x="259" y="213"/>
                  </a:lnTo>
                  <a:lnTo>
                    <a:pt x="262" y="212"/>
                  </a:lnTo>
                  <a:lnTo>
                    <a:pt x="262" y="207"/>
                  </a:lnTo>
                  <a:lnTo>
                    <a:pt x="262" y="204"/>
                  </a:lnTo>
                  <a:lnTo>
                    <a:pt x="259" y="202"/>
                  </a:lnTo>
                  <a:lnTo>
                    <a:pt x="256" y="201"/>
                  </a:lnTo>
                  <a:lnTo>
                    <a:pt x="256" y="106"/>
                  </a:lnTo>
                  <a:lnTo>
                    <a:pt x="259" y="106"/>
                  </a:lnTo>
                  <a:lnTo>
                    <a:pt x="262" y="103"/>
                  </a:lnTo>
                  <a:lnTo>
                    <a:pt x="262" y="100"/>
                  </a:lnTo>
                  <a:lnTo>
                    <a:pt x="262" y="97"/>
                  </a:lnTo>
                  <a:lnTo>
                    <a:pt x="259" y="94"/>
                  </a:lnTo>
                  <a:lnTo>
                    <a:pt x="256" y="94"/>
                  </a:lnTo>
                  <a:lnTo>
                    <a:pt x="248" y="94"/>
                  </a:lnTo>
                  <a:lnTo>
                    <a:pt x="245" y="94"/>
                  </a:lnTo>
                  <a:lnTo>
                    <a:pt x="242" y="97"/>
                  </a:lnTo>
                  <a:lnTo>
                    <a:pt x="242" y="100"/>
                  </a:lnTo>
                  <a:lnTo>
                    <a:pt x="242" y="114"/>
                  </a:lnTo>
                  <a:lnTo>
                    <a:pt x="216" y="114"/>
                  </a:lnTo>
                  <a:lnTo>
                    <a:pt x="169" y="100"/>
                  </a:lnTo>
                  <a:lnTo>
                    <a:pt x="167" y="100"/>
                  </a:lnTo>
                  <a:lnTo>
                    <a:pt x="164" y="102"/>
                  </a:lnTo>
                  <a:lnTo>
                    <a:pt x="142" y="114"/>
                  </a:lnTo>
                  <a:lnTo>
                    <a:pt x="81" y="114"/>
                  </a:lnTo>
                  <a:lnTo>
                    <a:pt x="81" y="100"/>
                  </a:lnTo>
                  <a:lnTo>
                    <a:pt x="81" y="97"/>
                  </a:lnTo>
                  <a:lnTo>
                    <a:pt x="78" y="94"/>
                  </a:lnTo>
                  <a:lnTo>
                    <a:pt x="74" y="94"/>
                  </a:lnTo>
                  <a:lnTo>
                    <a:pt x="67" y="94"/>
                  </a:lnTo>
                  <a:close/>
                  <a:moveTo>
                    <a:pt x="161" y="0"/>
                  </a:moveTo>
                  <a:lnTo>
                    <a:pt x="198" y="4"/>
                  </a:lnTo>
                  <a:lnTo>
                    <a:pt x="232" y="17"/>
                  </a:lnTo>
                  <a:lnTo>
                    <a:pt x="262" y="35"/>
                  </a:lnTo>
                  <a:lnTo>
                    <a:pt x="288" y="61"/>
                  </a:lnTo>
                  <a:lnTo>
                    <a:pt x="306" y="90"/>
                  </a:lnTo>
                  <a:lnTo>
                    <a:pt x="318" y="125"/>
                  </a:lnTo>
                  <a:lnTo>
                    <a:pt x="323" y="161"/>
                  </a:lnTo>
                  <a:lnTo>
                    <a:pt x="318" y="198"/>
                  </a:lnTo>
                  <a:lnTo>
                    <a:pt x="306" y="231"/>
                  </a:lnTo>
                  <a:lnTo>
                    <a:pt x="288" y="262"/>
                  </a:lnTo>
                  <a:lnTo>
                    <a:pt x="262" y="286"/>
                  </a:lnTo>
                  <a:lnTo>
                    <a:pt x="232" y="306"/>
                  </a:lnTo>
                  <a:lnTo>
                    <a:pt x="198" y="318"/>
                  </a:lnTo>
                  <a:lnTo>
                    <a:pt x="161" y="323"/>
                  </a:lnTo>
                  <a:lnTo>
                    <a:pt x="125" y="318"/>
                  </a:lnTo>
                  <a:lnTo>
                    <a:pt x="90" y="306"/>
                  </a:lnTo>
                  <a:lnTo>
                    <a:pt x="61" y="286"/>
                  </a:lnTo>
                  <a:lnTo>
                    <a:pt x="35" y="262"/>
                  </a:lnTo>
                  <a:lnTo>
                    <a:pt x="17" y="231"/>
                  </a:lnTo>
                  <a:lnTo>
                    <a:pt x="4" y="198"/>
                  </a:lnTo>
                  <a:lnTo>
                    <a:pt x="0" y="161"/>
                  </a:lnTo>
                  <a:lnTo>
                    <a:pt x="4" y="125"/>
                  </a:lnTo>
                  <a:lnTo>
                    <a:pt x="17" y="90"/>
                  </a:lnTo>
                  <a:lnTo>
                    <a:pt x="35" y="61"/>
                  </a:lnTo>
                  <a:lnTo>
                    <a:pt x="61" y="35"/>
                  </a:lnTo>
                  <a:lnTo>
                    <a:pt x="90" y="17"/>
                  </a:lnTo>
                  <a:lnTo>
                    <a:pt x="125" y="4"/>
                  </a:lnTo>
                  <a:lnTo>
                    <a:pt x="16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34">
              <a:extLst>
                <a:ext uri="{FF2B5EF4-FFF2-40B4-BE49-F238E27FC236}">
                  <a16:creationId xmlns:a16="http://schemas.microsoft.com/office/drawing/2014/main" id="{B09D8592-30DF-C740-8DDF-02C4C609E8B6}"/>
                </a:ext>
              </a:extLst>
            </p:cNvPr>
            <p:cNvSpPr>
              <a:spLocks noEditPoints="1"/>
            </p:cNvSpPr>
            <p:nvPr/>
          </p:nvSpPr>
          <p:spPr bwMode="auto">
            <a:xfrm>
              <a:off x="6709937" y="2234333"/>
              <a:ext cx="400050" cy="401638"/>
            </a:xfrm>
            <a:custGeom>
              <a:avLst/>
              <a:gdLst>
                <a:gd name="T0" fmla="*/ 180 w 252"/>
                <a:gd name="T1" fmla="*/ 122 h 253"/>
                <a:gd name="T2" fmla="*/ 179 w 252"/>
                <a:gd name="T3" fmla="*/ 127 h 253"/>
                <a:gd name="T4" fmla="*/ 164 w 252"/>
                <a:gd name="T5" fmla="*/ 165 h 253"/>
                <a:gd name="T6" fmla="*/ 126 w 252"/>
                <a:gd name="T7" fmla="*/ 180 h 253"/>
                <a:gd name="T8" fmla="*/ 95 w 252"/>
                <a:gd name="T9" fmla="*/ 170 h 253"/>
                <a:gd name="T10" fmla="*/ 113 w 252"/>
                <a:gd name="T11" fmla="*/ 170 h 253"/>
                <a:gd name="T12" fmla="*/ 116 w 252"/>
                <a:gd name="T13" fmla="*/ 164 h 253"/>
                <a:gd name="T14" fmla="*/ 113 w 252"/>
                <a:gd name="T15" fmla="*/ 159 h 253"/>
                <a:gd name="T16" fmla="*/ 84 w 252"/>
                <a:gd name="T17" fmla="*/ 159 h 253"/>
                <a:gd name="T18" fmla="*/ 80 w 252"/>
                <a:gd name="T19" fmla="*/ 162 h 253"/>
                <a:gd name="T20" fmla="*/ 78 w 252"/>
                <a:gd name="T21" fmla="*/ 191 h 253"/>
                <a:gd name="T22" fmla="*/ 81 w 252"/>
                <a:gd name="T23" fmla="*/ 196 h 253"/>
                <a:gd name="T24" fmla="*/ 87 w 252"/>
                <a:gd name="T25" fmla="*/ 196 h 253"/>
                <a:gd name="T26" fmla="*/ 89 w 252"/>
                <a:gd name="T27" fmla="*/ 191 h 253"/>
                <a:gd name="T28" fmla="*/ 107 w 252"/>
                <a:gd name="T29" fmla="*/ 188 h 253"/>
                <a:gd name="T30" fmla="*/ 145 w 252"/>
                <a:gd name="T31" fmla="*/ 188 h 253"/>
                <a:gd name="T32" fmla="*/ 177 w 252"/>
                <a:gd name="T33" fmla="*/ 165 h 253"/>
                <a:gd name="T34" fmla="*/ 190 w 252"/>
                <a:gd name="T35" fmla="*/ 127 h 253"/>
                <a:gd name="T36" fmla="*/ 187 w 252"/>
                <a:gd name="T37" fmla="*/ 122 h 253"/>
                <a:gd name="T38" fmla="*/ 168 w 252"/>
                <a:gd name="T39" fmla="*/ 58 h 253"/>
                <a:gd name="T40" fmla="*/ 164 w 252"/>
                <a:gd name="T41" fmla="*/ 61 h 253"/>
                <a:gd name="T42" fmla="*/ 162 w 252"/>
                <a:gd name="T43" fmla="*/ 77 h 253"/>
                <a:gd name="T44" fmla="*/ 126 w 252"/>
                <a:gd name="T45" fmla="*/ 65 h 253"/>
                <a:gd name="T46" fmla="*/ 89 w 252"/>
                <a:gd name="T47" fmla="*/ 77 h 253"/>
                <a:gd name="T48" fmla="*/ 66 w 252"/>
                <a:gd name="T49" fmla="*/ 107 h 253"/>
                <a:gd name="T50" fmla="*/ 63 w 252"/>
                <a:gd name="T51" fmla="*/ 130 h 253"/>
                <a:gd name="T52" fmla="*/ 68 w 252"/>
                <a:gd name="T53" fmla="*/ 133 h 253"/>
                <a:gd name="T54" fmla="*/ 72 w 252"/>
                <a:gd name="T55" fmla="*/ 130 h 253"/>
                <a:gd name="T56" fmla="*/ 77 w 252"/>
                <a:gd name="T57" fmla="*/ 107 h 253"/>
                <a:gd name="T58" fmla="*/ 106 w 252"/>
                <a:gd name="T59" fmla="*/ 78 h 253"/>
                <a:gd name="T60" fmla="*/ 142 w 252"/>
                <a:gd name="T61" fmla="*/ 77 h 253"/>
                <a:gd name="T62" fmla="*/ 142 w 252"/>
                <a:gd name="T63" fmla="*/ 86 h 253"/>
                <a:gd name="T64" fmla="*/ 138 w 252"/>
                <a:gd name="T65" fmla="*/ 87 h 253"/>
                <a:gd name="T66" fmla="*/ 138 w 252"/>
                <a:gd name="T67" fmla="*/ 93 h 253"/>
                <a:gd name="T68" fmla="*/ 142 w 252"/>
                <a:gd name="T69" fmla="*/ 95 h 253"/>
                <a:gd name="T70" fmla="*/ 170 w 252"/>
                <a:gd name="T71" fmla="*/ 95 h 253"/>
                <a:gd name="T72" fmla="*/ 173 w 252"/>
                <a:gd name="T73" fmla="*/ 90 h 253"/>
                <a:gd name="T74" fmla="*/ 173 w 252"/>
                <a:gd name="T75" fmla="*/ 61 h 253"/>
                <a:gd name="T76" fmla="*/ 168 w 252"/>
                <a:gd name="T77" fmla="*/ 58 h 253"/>
                <a:gd name="T78" fmla="*/ 126 w 252"/>
                <a:gd name="T79" fmla="*/ 0 h 253"/>
                <a:gd name="T80" fmla="*/ 190 w 252"/>
                <a:gd name="T81" fmla="*/ 19 h 253"/>
                <a:gd name="T82" fmla="*/ 235 w 252"/>
                <a:gd name="T83" fmla="*/ 63 h 253"/>
                <a:gd name="T84" fmla="*/ 252 w 252"/>
                <a:gd name="T85" fmla="*/ 127 h 253"/>
                <a:gd name="T86" fmla="*/ 235 w 252"/>
                <a:gd name="T87" fmla="*/ 191 h 253"/>
                <a:gd name="T88" fmla="*/ 190 w 252"/>
                <a:gd name="T89" fmla="*/ 237 h 253"/>
                <a:gd name="T90" fmla="*/ 126 w 252"/>
                <a:gd name="T91" fmla="*/ 253 h 253"/>
                <a:gd name="T92" fmla="*/ 92 w 252"/>
                <a:gd name="T93" fmla="*/ 249 h 253"/>
                <a:gd name="T94" fmla="*/ 37 w 252"/>
                <a:gd name="T95" fmla="*/ 217 h 253"/>
                <a:gd name="T96" fmla="*/ 5 w 252"/>
                <a:gd name="T97" fmla="*/ 161 h 253"/>
                <a:gd name="T98" fmla="*/ 5 w 252"/>
                <a:gd name="T99" fmla="*/ 93 h 253"/>
                <a:gd name="T100" fmla="*/ 37 w 252"/>
                <a:gd name="T101" fmla="*/ 39 h 253"/>
                <a:gd name="T102" fmla="*/ 92 w 252"/>
                <a:gd name="T103" fmla="*/ 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2" h="253">
                  <a:moveTo>
                    <a:pt x="183" y="122"/>
                  </a:moveTo>
                  <a:lnTo>
                    <a:pt x="180" y="122"/>
                  </a:lnTo>
                  <a:lnTo>
                    <a:pt x="179" y="124"/>
                  </a:lnTo>
                  <a:lnTo>
                    <a:pt x="179" y="127"/>
                  </a:lnTo>
                  <a:lnTo>
                    <a:pt x="174" y="148"/>
                  </a:lnTo>
                  <a:lnTo>
                    <a:pt x="164" y="165"/>
                  </a:lnTo>
                  <a:lnTo>
                    <a:pt x="147" y="176"/>
                  </a:lnTo>
                  <a:lnTo>
                    <a:pt x="126" y="180"/>
                  </a:lnTo>
                  <a:lnTo>
                    <a:pt x="109" y="177"/>
                  </a:lnTo>
                  <a:lnTo>
                    <a:pt x="95" y="170"/>
                  </a:lnTo>
                  <a:lnTo>
                    <a:pt x="110" y="170"/>
                  </a:lnTo>
                  <a:lnTo>
                    <a:pt x="113" y="170"/>
                  </a:lnTo>
                  <a:lnTo>
                    <a:pt x="115" y="167"/>
                  </a:lnTo>
                  <a:lnTo>
                    <a:pt x="116" y="164"/>
                  </a:lnTo>
                  <a:lnTo>
                    <a:pt x="115" y="162"/>
                  </a:lnTo>
                  <a:lnTo>
                    <a:pt x="113" y="159"/>
                  </a:lnTo>
                  <a:lnTo>
                    <a:pt x="110" y="159"/>
                  </a:lnTo>
                  <a:lnTo>
                    <a:pt x="84" y="159"/>
                  </a:lnTo>
                  <a:lnTo>
                    <a:pt x="81" y="159"/>
                  </a:lnTo>
                  <a:lnTo>
                    <a:pt x="80" y="162"/>
                  </a:lnTo>
                  <a:lnTo>
                    <a:pt x="78" y="164"/>
                  </a:lnTo>
                  <a:lnTo>
                    <a:pt x="78" y="191"/>
                  </a:lnTo>
                  <a:lnTo>
                    <a:pt x="80" y="193"/>
                  </a:lnTo>
                  <a:lnTo>
                    <a:pt x="81" y="196"/>
                  </a:lnTo>
                  <a:lnTo>
                    <a:pt x="84" y="196"/>
                  </a:lnTo>
                  <a:lnTo>
                    <a:pt x="87" y="196"/>
                  </a:lnTo>
                  <a:lnTo>
                    <a:pt x="89" y="193"/>
                  </a:lnTo>
                  <a:lnTo>
                    <a:pt x="89" y="191"/>
                  </a:lnTo>
                  <a:lnTo>
                    <a:pt x="89" y="179"/>
                  </a:lnTo>
                  <a:lnTo>
                    <a:pt x="107" y="188"/>
                  </a:lnTo>
                  <a:lnTo>
                    <a:pt x="126" y="191"/>
                  </a:lnTo>
                  <a:lnTo>
                    <a:pt x="145" y="188"/>
                  </a:lnTo>
                  <a:lnTo>
                    <a:pt x="164" y="179"/>
                  </a:lnTo>
                  <a:lnTo>
                    <a:pt x="177" y="165"/>
                  </a:lnTo>
                  <a:lnTo>
                    <a:pt x="187" y="147"/>
                  </a:lnTo>
                  <a:lnTo>
                    <a:pt x="190" y="127"/>
                  </a:lnTo>
                  <a:lnTo>
                    <a:pt x="188" y="124"/>
                  </a:lnTo>
                  <a:lnTo>
                    <a:pt x="187" y="122"/>
                  </a:lnTo>
                  <a:lnTo>
                    <a:pt x="183" y="122"/>
                  </a:lnTo>
                  <a:close/>
                  <a:moveTo>
                    <a:pt x="168" y="58"/>
                  </a:moveTo>
                  <a:lnTo>
                    <a:pt x="165" y="60"/>
                  </a:lnTo>
                  <a:lnTo>
                    <a:pt x="164" y="61"/>
                  </a:lnTo>
                  <a:lnTo>
                    <a:pt x="162" y="65"/>
                  </a:lnTo>
                  <a:lnTo>
                    <a:pt x="162" y="77"/>
                  </a:lnTo>
                  <a:lnTo>
                    <a:pt x="145" y="68"/>
                  </a:lnTo>
                  <a:lnTo>
                    <a:pt x="126" y="65"/>
                  </a:lnTo>
                  <a:lnTo>
                    <a:pt x="106" y="68"/>
                  </a:lnTo>
                  <a:lnTo>
                    <a:pt x="89" y="77"/>
                  </a:lnTo>
                  <a:lnTo>
                    <a:pt x="75" y="90"/>
                  </a:lnTo>
                  <a:lnTo>
                    <a:pt x="66" y="107"/>
                  </a:lnTo>
                  <a:lnTo>
                    <a:pt x="63" y="127"/>
                  </a:lnTo>
                  <a:lnTo>
                    <a:pt x="63" y="130"/>
                  </a:lnTo>
                  <a:lnTo>
                    <a:pt x="66" y="132"/>
                  </a:lnTo>
                  <a:lnTo>
                    <a:pt x="68" y="133"/>
                  </a:lnTo>
                  <a:lnTo>
                    <a:pt x="71" y="132"/>
                  </a:lnTo>
                  <a:lnTo>
                    <a:pt x="72" y="130"/>
                  </a:lnTo>
                  <a:lnTo>
                    <a:pt x="74" y="127"/>
                  </a:lnTo>
                  <a:lnTo>
                    <a:pt x="77" y="107"/>
                  </a:lnTo>
                  <a:lnTo>
                    <a:pt x="89" y="90"/>
                  </a:lnTo>
                  <a:lnTo>
                    <a:pt x="106" y="78"/>
                  </a:lnTo>
                  <a:lnTo>
                    <a:pt x="126" y="75"/>
                  </a:lnTo>
                  <a:lnTo>
                    <a:pt x="142" y="77"/>
                  </a:lnTo>
                  <a:lnTo>
                    <a:pt x="158" y="86"/>
                  </a:lnTo>
                  <a:lnTo>
                    <a:pt x="142" y="86"/>
                  </a:lnTo>
                  <a:lnTo>
                    <a:pt x="139" y="86"/>
                  </a:lnTo>
                  <a:lnTo>
                    <a:pt x="138" y="87"/>
                  </a:lnTo>
                  <a:lnTo>
                    <a:pt x="136" y="90"/>
                  </a:lnTo>
                  <a:lnTo>
                    <a:pt x="138" y="93"/>
                  </a:lnTo>
                  <a:lnTo>
                    <a:pt x="139" y="95"/>
                  </a:lnTo>
                  <a:lnTo>
                    <a:pt x="142" y="95"/>
                  </a:lnTo>
                  <a:lnTo>
                    <a:pt x="168" y="95"/>
                  </a:lnTo>
                  <a:lnTo>
                    <a:pt x="170" y="95"/>
                  </a:lnTo>
                  <a:lnTo>
                    <a:pt x="173" y="93"/>
                  </a:lnTo>
                  <a:lnTo>
                    <a:pt x="173" y="90"/>
                  </a:lnTo>
                  <a:lnTo>
                    <a:pt x="173" y="65"/>
                  </a:lnTo>
                  <a:lnTo>
                    <a:pt x="173" y="61"/>
                  </a:lnTo>
                  <a:lnTo>
                    <a:pt x="170" y="60"/>
                  </a:lnTo>
                  <a:lnTo>
                    <a:pt x="168" y="58"/>
                  </a:lnTo>
                  <a:close/>
                  <a:moveTo>
                    <a:pt x="126" y="0"/>
                  </a:moveTo>
                  <a:lnTo>
                    <a:pt x="126" y="0"/>
                  </a:lnTo>
                  <a:lnTo>
                    <a:pt x="159" y="5"/>
                  </a:lnTo>
                  <a:lnTo>
                    <a:pt x="190" y="19"/>
                  </a:lnTo>
                  <a:lnTo>
                    <a:pt x="215" y="39"/>
                  </a:lnTo>
                  <a:lnTo>
                    <a:pt x="235" y="63"/>
                  </a:lnTo>
                  <a:lnTo>
                    <a:pt x="248" y="93"/>
                  </a:lnTo>
                  <a:lnTo>
                    <a:pt x="252" y="127"/>
                  </a:lnTo>
                  <a:lnTo>
                    <a:pt x="248" y="161"/>
                  </a:lnTo>
                  <a:lnTo>
                    <a:pt x="235" y="191"/>
                  </a:lnTo>
                  <a:lnTo>
                    <a:pt x="215" y="217"/>
                  </a:lnTo>
                  <a:lnTo>
                    <a:pt x="190" y="237"/>
                  </a:lnTo>
                  <a:lnTo>
                    <a:pt x="159" y="249"/>
                  </a:lnTo>
                  <a:lnTo>
                    <a:pt x="126" y="253"/>
                  </a:lnTo>
                  <a:lnTo>
                    <a:pt x="126" y="253"/>
                  </a:lnTo>
                  <a:lnTo>
                    <a:pt x="92" y="249"/>
                  </a:lnTo>
                  <a:lnTo>
                    <a:pt x="63" y="237"/>
                  </a:lnTo>
                  <a:lnTo>
                    <a:pt x="37" y="217"/>
                  </a:lnTo>
                  <a:lnTo>
                    <a:pt x="17" y="191"/>
                  </a:lnTo>
                  <a:lnTo>
                    <a:pt x="5" y="161"/>
                  </a:lnTo>
                  <a:lnTo>
                    <a:pt x="0" y="127"/>
                  </a:lnTo>
                  <a:lnTo>
                    <a:pt x="5" y="93"/>
                  </a:lnTo>
                  <a:lnTo>
                    <a:pt x="17" y="63"/>
                  </a:lnTo>
                  <a:lnTo>
                    <a:pt x="37" y="39"/>
                  </a:lnTo>
                  <a:lnTo>
                    <a:pt x="63" y="19"/>
                  </a:lnTo>
                  <a:lnTo>
                    <a:pt x="92" y="5"/>
                  </a:lnTo>
                  <a:lnTo>
                    <a:pt x="12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35">
              <a:extLst>
                <a:ext uri="{FF2B5EF4-FFF2-40B4-BE49-F238E27FC236}">
                  <a16:creationId xmlns:a16="http://schemas.microsoft.com/office/drawing/2014/main" id="{3F4213ED-21B9-B141-8CE2-8BA0CD257B05}"/>
                </a:ext>
              </a:extLst>
            </p:cNvPr>
            <p:cNvSpPr>
              <a:spLocks noEditPoints="1"/>
            </p:cNvSpPr>
            <p:nvPr/>
          </p:nvSpPr>
          <p:spPr bwMode="auto">
            <a:xfrm>
              <a:off x="7810073" y="3453248"/>
              <a:ext cx="425450" cy="423863"/>
            </a:xfrm>
            <a:custGeom>
              <a:avLst/>
              <a:gdLst>
                <a:gd name="T0" fmla="*/ 140 w 268"/>
                <a:gd name="T1" fmla="*/ 192 h 267"/>
                <a:gd name="T2" fmla="*/ 151 w 268"/>
                <a:gd name="T3" fmla="*/ 189 h 267"/>
                <a:gd name="T4" fmla="*/ 120 w 268"/>
                <a:gd name="T5" fmla="*/ 185 h 267"/>
                <a:gd name="T6" fmla="*/ 123 w 268"/>
                <a:gd name="T7" fmla="*/ 196 h 267"/>
                <a:gd name="T8" fmla="*/ 125 w 268"/>
                <a:gd name="T9" fmla="*/ 185 h 267"/>
                <a:gd name="T10" fmla="*/ 94 w 268"/>
                <a:gd name="T11" fmla="*/ 189 h 267"/>
                <a:gd name="T12" fmla="*/ 105 w 268"/>
                <a:gd name="T13" fmla="*/ 192 h 267"/>
                <a:gd name="T14" fmla="*/ 167 w 268"/>
                <a:gd name="T15" fmla="*/ 162 h 267"/>
                <a:gd name="T16" fmla="*/ 163 w 268"/>
                <a:gd name="T17" fmla="*/ 192 h 267"/>
                <a:gd name="T18" fmla="*/ 172 w 268"/>
                <a:gd name="T19" fmla="*/ 189 h 267"/>
                <a:gd name="T20" fmla="*/ 145 w 268"/>
                <a:gd name="T21" fmla="*/ 162 h 267"/>
                <a:gd name="T22" fmla="*/ 141 w 268"/>
                <a:gd name="T23" fmla="*/ 171 h 267"/>
                <a:gd name="T24" fmla="*/ 151 w 268"/>
                <a:gd name="T25" fmla="*/ 164 h 267"/>
                <a:gd name="T26" fmla="*/ 119 w 268"/>
                <a:gd name="T27" fmla="*/ 164 h 267"/>
                <a:gd name="T28" fmla="*/ 125 w 268"/>
                <a:gd name="T29" fmla="*/ 171 h 267"/>
                <a:gd name="T30" fmla="*/ 123 w 268"/>
                <a:gd name="T31" fmla="*/ 162 h 267"/>
                <a:gd name="T32" fmla="*/ 96 w 268"/>
                <a:gd name="T33" fmla="*/ 170 h 267"/>
                <a:gd name="T34" fmla="*/ 106 w 268"/>
                <a:gd name="T35" fmla="*/ 167 h 267"/>
                <a:gd name="T36" fmla="*/ 164 w 268"/>
                <a:gd name="T37" fmla="*/ 139 h 267"/>
                <a:gd name="T38" fmla="*/ 167 w 268"/>
                <a:gd name="T39" fmla="*/ 150 h 267"/>
                <a:gd name="T40" fmla="*/ 170 w 268"/>
                <a:gd name="T41" fmla="*/ 139 h 267"/>
                <a:gd name="T42" fmla="*/ 140 w 268"/>
                <a:gd name="T43" fmla="*/ 145 h 267"/>
                <a:gd name="T44" fmla="*/ 151 w 268"/>
                <a:gd name="T45" fmla="*/ 148 h 267"/>
                <a:gd name="T46" fmla="*/ 123 w 268"/>
                <a:gd name="T47" fmla="*/ 139 h 267"/>
                <a:gd name="T48" fmla="*/ 120 w 268"/>
                <a:gd name="T49" fmla="*/ 150 h 267"/>
                <a:gd name="T50" fmla="*/ 128 w 268"/>
                <a:gd name="T51" fmla="*/ 142 h 267"/>
                <a:gd name="T52" fmla="*/ 96 w 268"/>
                <a:gd name="T53" fmla="*/ 142 h 267"/>
                <a:gd name="T54" fmla="*/ 103 w 268"/>
                <a:gd name="T55" fmla="*/ 150 h 267"/>
                <a:gd name="T56" fmla="*/ 100 w 268"/>
                <a:gd name="T57" fmla="*/ 139 h 267"/>
                <a:gd name="T58" fmla="*/ 163 w 268"/>
                <a:gd name="T59" fmla="*/ 125 h 267"/>
                <a:gd name="T60" fmla="*/ 172 w 268"/>
                <a:gd name="T61" fmla="*/ 122 h 267"/>
                <a:gd name="T62" fmla="*/ 141 w 268"/>
                <a:gd name="T63" fmla="*/ 118 h 267"/>
                <a:gd name="T64" fmla="*/ 145 w 268"/>
                <a:gd name="T65" fmla="*/ 128 h 267"/>
                <a:gd name="T66" fmla="*/ 148 w 268"/>
                <a:gd name="T67" fmla="*/ 118 h 267"/>
                <a:gd name="T68" fmla="*/ 117 w 268"/>
                <a:gd name="T69" fmla="*/ 122 h 267"/>
                <a:gd name="T70" fmla="*/ 128 w 268"/>
                <a:gd name="T71" fmla="*/ 125 h 267"/>
                <a:gd name="T72" fmla="*/ 100 w 268"/>
                <a:gd name="T73" fmla="*/ 116 h 267"/>
                <a:gd name="T74" fmla="*/ 97 w 268"/>
                <a:gd name="T75" fmla="*/ 127 h 267"/>
                <a:gd name="T76" fmla="*/ 105 w 268"/>
                <a:gd name="T77" fmla="*/ 119 h 267"/>
                <a:gd name="T78" fmla="*/ 161 w 268"/>
                <a:gd name="T79" fmla="*/ 95 h 267"/>
                <a:gd name="T80" fmla="*/ 96 w 268"/>
                <a:gd name="T81" fmla="*/ 75 h 267"/>
                <a:gd name="T82" fmla="*/ 100 w 268"/>
                <a:gd name="T83" fmla="*/ 106 h 267"/>
                <a:gd name="T84" fmla="*/ 172 w 268"/>
                <a:gd name="T85" fmla="*/ 78 h 267"/>
                <a:gd name="T86" fmla="*/ 84 w 268"/>
                <a:gd name="T87" fmla="*/ 61 h 267"/>
                <a:gd name="T88" fmla="*/ 77 w 268"/>
                <a:gd name="T89" fmla="*/ 51 h 267"/>
                <a:gd name="T90" fmla="*/ 73 w 268"/>
                <a:gd name="T91" fmla="*/ 214 h 267"/>
                <a:gd name="T92" fmla="*/ 195 w 268"/>
                <a:gd name="T93" fmla="*/ 214 h 267"/>
                <a:gd name="T94" fmla="*/ 189 w 268"/>
                <a:gd name="T95" fmla="*/ 51 h 267"/>
                <a:gd name="T96" fmla="*/ 218 w 268"/>
                <a:gd name="T97" fmla="*/ 29 h 267"/>
                <a:gd name="T98" fmla="*/ 265 w 268"/>
                <a:gd name="T99" fmla="*/ 165 h 267"/>
                <a:gd name="T100" fmla="*/ 164 w 268"/>
                <a:gd name="T101" fmla="*/ 264 h 267"/>
                <a:gd name="T102" fmla="*/ 30 w 268"/>
                <a:gd name="T103" fmla="*/ 217 h 267"/>
                <a:gd name="T104" fmla="*/ 13 w 268"/>
                <a:gd name="T105" fmla="*/ 75 h 267"/>
                <a:gd name="T106" fmla="*/ 134 w 268"/>
                <a:gd name="T10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8" h="267">
                  <a:moveTo>
                    <a:pt x="145" y="183"/>
                  </a:moveTo>
                  <a:lnTo>
                    <a:pt x="141" y="185"/>
                  </a:lnTo>
                  <a:lnTo>
                    <a:pt x="140" y="186"/>
                  </a:lnTo>
                  <a:lnTo>
                    <a:pt x="140" y="189"/>
                  </a:lnTo>
                  <a:lnTo>
                    <a:pt x="140" y="192"/>
                  </a:lnTo>
                  <a:lnTo>
                    <a:pt x="141" y="194"/>
                  </a:lnTo>
                  <a:lnTo>
                    <a:pt x="145" y="196"/>
                  </a:lnTo>
                  <a:lnTo>
                    <a:pt x="148" y="194"/>
                  </a:lnTo>
                  <a:lnTo>
                    <a:pt x="151" y="192"/>
                  </a:lnTo>
                  <a:lnTo>
                    <a:pt x="151" y="189"/>
                  </a:lnTo>
                  <a:lnTo>
                    <a:pt x="151" y="186"/>
                  </a:lnTo>
                  <a:lnTo>
                    <a:pt x="148" y="185"/>
                  </a:lnTo>
                  <a:lnTo>
                    <a:pt x="145" y="183"/>
                  </a:lnTo>
                  <a:close/>
                  <a:moveTo>
                    <a:pt x="123" y="183"/>
                  </a:moveTo>
                  <a:lnTo>
                    <a:pt x="120" y="185"/>
                  </a:lnTo>
                  <a:lnTo>
                    <a:pt x="119" y="186"/>
                  </a:lnTo>
                  <a:lnTo>
                    <a:pt x="117" y="189"/>
                  </a:lnTo>
                  <a:lnTo>
                    <a:pt x="119" y="192"/>
                  </a:lnTo>
                  <a:lnTo>
                    <a:pt x="120" y="194"/>
                  </a:lnTo>
                  <a:lnTo>
                    <a:pt x="123" y="196"/>
                  </a:lnTo>
                  <a:lnTo>
                    <a:pt x="125" y="194"/>
                  </a:lnTo>
                  <a:lnTo>
                    <a:pt x="128" y="192"/>
                  </a:lnTo>
                  <a:lnTo>
                    <a:pt x="128" y="189"/>
                  </a:lnTo>
                  <a:lnTo>
                    <a:pt x="128" y="186"/>
                  </a:lnTo>
                  <a:lnTo>
                    <a:pt x="125" y="185"/>
                  </a:lnTo>
                  <a:lnTo>
                    <a:pt x="123" y="183"/>
                  </a:lnTo>
                  <a:close/>
                  <a:moveTo>
                    <a:pt x="100" y="183"/>
                  </a:moveTo>
                  <a:lnTo>
                    <a:pt x="97" y="185"/>
                  </a:lnTo>
                  <a:lnTo>
                    <a:pt x="96" y="186"/>
                  </a:lnTo>
                  <a:lnTo>
                    <a:pt x="94" y="189"/>
                  </a:lnTo>
                  <a:lnTo>
                    <a:pt x="96" y="192"/>
                  </a:lnTo>
                  <a:lnTo>
                    <a:pt x="97" y="194"/>
                  </a:lnTo>
                  <a:lnTo>
                    <a:pt x="100" y="196"/>
                  </a:lnTo>
                  <a:lnTo>
                    <a:pt x="103" y="194"/>
                  </a:lnTo>
                  <a:lnTo>
                    <a:pt x="105" y="192"/>
                  </a:lnTo>
                  <a:lnTo>
                    <a:pt x="106" y="189"/>
                  </a:lnTo>
                  <a:lnTo>
                    <a:pt x="105" y="186"/>
                  </a:lnTo>
                  <a:lnTo>
                    <a:pt x="103" y="185"/>
                  </a:lnTo>
                  <a:lnTo>
                    <a:pt x="100" y="183"/>
                  </a:lnTo>
                  <a:close/>
                  <a:moveTo>
                    <a:pt x="167" y="162"/>
                  </a:moveTo>
                  <a:lnTo>
                    <a:pt x="164" y="162"/>
                  </a:lnTo>
                  <a:lnTo>
                    <a:pt x="163" y="164"/>
                  </a:lnTo>
                  <a:lnTo>
                    <a:pt x="161" y="167"/>
                  </a:lnTo>
                  <a:lnTo>
                    <a:pt x="161" y="189"/>
                  </a:lnTo>
                  <a:lnTo>
                    <a:pt x="163" y="192"/>
                  </a:lnTo>
                  <a:lnTo>
                    <a:pt x="164" y="194"/>
                  </a:lnTo>
                  <a:lnTo>
                    <a:pt x="167" y="196"/>
                  </a:lnTo>
                  <a:lnTo>
                    <a:pt x="170" y="194"/>
                  </a:lnTo>
                  <a:lnTo>
                    <a:pt x="172" y="192"/>
                  </a:lnTo>
                  <a:lnTo>
                    <a:pt x="172" y="189"/>
                  </a:lnTo>
                  <a:lnTo>
                    <a:pt x="172" y="167"/>
                  </a:lnTo>
                  <a:lnTo>
                    <a:pt x="172" y="164"/>
                  </a:lnTo>
                  <a:lnTo>
                    <a:pt x="170" y="162"/>
                  </a:lnTo>
                  <a:lnTo>
                    <a:pt x="167" y="162"/>
                  </a:lnTo>
                  <a:close/>
                  <a:moveTo>
                    <a:pt x="145" y="162"/>
                  </a:moveTo>
                  <a:lnTo>
                    <a:pt x="141" y="162"/>
                  </a:lnTo>
                  <a:lnTo>
                    <a:pt x="140" y="164"/>
                  </a:lnTo>
                  <a:lnTo>
                    <a:pt x="140" y="167"/>
                  </a:lnTo>
                  <a:lnTo>
                    <a:pt x="140" y="170"/>
                  </a:lnTo>
                  <a:lnTo>
                    <a:pt x="141" y="171"/>
                  </a:lnTo>
                  <a:lnTo>
                    <a:pt x="145" y="173"/>
                  </a:lnTo>
                  <a:lnTo>
                    <a:pt x="148" y="171"/>
                  </a:lnTo>
                  <a:lnTo>
                    <a:pt x="151" y="170"/>
                  </a:lnTo>
                  <a:lnTo>
                    <a:pt x="151" y="167"/>
                  </a:lnTo>
                  <a:lnTo>
                    <a:pt x="151" y="164"/>
                  </a:lnTo>
                  <a:lnTo>
                    <a:pt x="148" y="162"/>
                  </a:lnTo>
                  <a:lnTo>
                    <a:pt x="145" y="162"/>
                  </a:lnTo>
                  <a:close/>
                  <a:moveTo>
                    <a:pt x="123" y="162"/>
                  </a:moveTo>
                  <a:lnTo>
                    <a:pt x="120" y="162"/>
                  </a:lnTo>
                  <a:lnTo>
                    <a:pt x="119" y="164"/>
                  </a:lnTo>
                  <a:lnTo>
                    <a:pt x="117" y="167"/>
                  </a:lnTo>
                  <a:lnTo>
                    <a:pt x="119" y="170"/>
                  </a:lnTo>
                  <a:lnTo>
                    <a:pt x="120" y="171"/>
                  </a:lnTo>
                  <a:lnTo>
                    <a:pt x="123" y="173"/>
                  </a:lnTo>
                  <a:lnTo>
                    <a:pt x="125" y="171"/>
                  </a:lnTo>
                  <a:lnTo>
                    <a:pt x="128" y="170"/>
                  </a:lnTo>
                  <a:lnTo>
                    <a:pt x="128" y="167"/>
                  </a:lnTo>
                  <a:lnTo>
                    <a:pt x="128" y="164"/>
                  </a:lnTo>
                  <a:lnTo>
                    <a:pt x="125" y="162"/>
                  </a:lnTo>
                  <a:lnTo>
                    <a:pt x="123" y="162"/>
                  </a:lnTo>
                  <a:close/>
                  <a:moveTo>
                    <a:pt x="100" y="162"/>
                  </a:moveTo>
                  <a:lnTo>
                    <a:pt x="97" y="162"/>
                  </a:lnTo>
                  <a:lnTo>
                    <a:pt x="96" y="164"/>
                  </a:lnTo>
                  <a:lnTo>
                    <a:pt x="94" y="167"/>
                  </a:lnTo>
                  <a:lnTo>
                    <a:pt x="96" y="170"/>
                  </a:lnTo>
                  <a:lnTo>
                    <a:pt x="97" y="171"/>
                  </a:lnTo>
                  <a:lnTo>
                    <a:pt x="100" y="173"/>
                  </a:lnTo>
                  <a:lnTo>
                    <a:pt x="103" y="171"/>
                  </a:lnTo>
                  <a:lnTo>
                    <a:pt x="105" y="170"/>
                  </a:lnTo>
                  <a:lnTo>
                    <a:pt x="106" y="167"/>
                  </a:lnTo>
                  <a:lnTo>
                    <a:pt x="105" y="164"/>
                  </a:lnTo>
                  <a:lnTo>
                    <a:pt x="103" y="162"/>
                  </a:lnTo>
                  <a:lnTo>
                    <a:pt x="100" y="162"/>
                  </a:lnTo>
                  <a:close/>
                  <a:moveTo>
                    <a:pt x="167" y="139"/>
                  </a:moveTo>
                  <a:lnTo>
                    <a:pt x="164" y="139"/>
                  </a:lnTo>
                  <a:lnTo>
                    <a:pt x="163" y="142"/>
                  </a:lnTo>
                  <a:lnTo>
                    <a:pt x="161" y="145"/>
                  </a:lnTo>
                  <a:lnTo>
                    <a:pt x="163" y="148"/>
                  </a:lnTo>
                  <a:lnTo>
                    <a:pt x="164" y="150"/>
                  </a:lnTo>
                  <a:lnTo>
                    <a:pt x="167" y="150"/>
                  </a:lnTo>
                  <a:lnTo>
                    <a:pt x="170" y="150"/>
                  </a:lnTo>
                  <a:lnTo>
                    <a:pt x="172" y="148"/>
                  </a:lnTo>
                  <a:lnTo>
                    <a:pt x="172" y="145"/>
                  </a:lnTo>
                  <a:lnTo>
                    <a:pt x="172" y="142"/>
                  </a:lnTo>
                  <a:lnTo>
                    <a:pt x="170" y="139"/>
                  </a:lnTo>
                  <a:lnTo>
                    <a:pt x="167" y="139"/>
                  </a:lnTo>
                  <a:close/>
                  <a:moveTo>
                    <a:pt x="145" y="139"/>
                  </a:moveTo>
                  <a:lnTo>
                    <a:pt x="141" y="139"/>
                  </a:lnTo>
                  <a:lnTo>
                    <a:pt x="140" y="142"/>
                  </a:lnTo>
                  <a:lnTo>
                    <a:pt x="140" y="145"/>
                  </a:lnTo>
                  <a:lnTo>
                    <a:pt x="140" y="148"/>
                  </a:lnTo>
                  <a:lnTo>
                    <a:pt x="141" y="150"/>
                  </a:lnTo>
                  <a:lnTo>
                    <a:pt x="145" y="150"/>
                  </a:lnTo>
                  <a:lnTo>
                    <a:pt x="148" y="150"/>
                  </a:lnTo>
                  <a:lnTo>
                    <a:pt x="151" y="148"/>
                  </a:lnTo>
                  <a:lnTo>
                    <a:pt x="151" y="145"/>
                  </a:lnTo>
                  <a:lnTo>
                    <a:pt x="151" y="142"/>
                  </a:lnTo>
                  <a:lnTo>
                    <a:pt x="148" y="139"/>
                  </a:lnTo>
                  <a:lnTo>
                    <a:pt x="145" y="139"/>
                  </a:lnTo>
                  <a:close/>
                  <a:moveTo>
                    <a:pt x="123" y="139"/>
                  </a:moveTo>
                  <a:lnTo>
                    <a:pt x="120" y="139"/>
                  </a:lnTo>
                  <a:lnTo>
                    <a:pt x="119" y="142"/>
                  </a:lnTo>
                  <a:lnTo>
                    <a:pt x="117" y="145"/>
                  </a:lnTo>
                  <a:lnTo>
                    <a:pt x="119" y="148"/>
                  </a:lnTo>
                  <a:lnTo>
                    <a:pt x="120" y="150"/>
                  </a:lnTo>
                  <a:lnTo>
                    <a:pt x="123" y="150"/>
                  </a:lnTo>
                  <a:lnTo>
                    <a:pt x="125" y="150"/>
                  </a:lnTo>
                  <a:lnTo>
                    <a:pt x="128" y="148"/>
                  </a:lnTo>
                  <a:lnTo>
                    <a:pt x="128" y="145"/>
                  </a:lnTo>
                  <a:lnTo>
                    <a:pt x="128" y="142"/>
                  </a:lnTo>
                  <a:lnTo>
                    <a:pt x="125" y="139"/>
                  </a:lnTo>
                  <a:lnTo>
                    <a:pt x="123" y="139"/>
                  </a:lnTo>
                  <a:close/>
                  <a:moveTo>
                    <a:pt x="100" y="139"/>
                  </a:moveTo>
                  <a:lnTo>
                    <a:pt x="97" y="139"/>
                  </a:lnTo>
                  <a:lnTo>
                    <a:pt x="96" y="142"/>
                  </a:lnTo>
                  <a:lnTo>
                    <a:pt x="94" y="145"/>
                  </a:lnTo>
                  <a:lnTo>
                    <a:pt x="96" y="148"/>
                  </a:lnTo>
                  <a:lnTo>
                    <a:pt x="97" y="150"/>
                  </a:lnTo>
                  <a:lnTo>
                    <a:pt x="100" y="150"/>
                  </a:lnTo>
                  <a:lnTo>
                    <a:pt x="103" y="150"/>
                  </a:lnTo>
                  <a:lnTo>
                    <a:pt x="105" y="148"/>
                  </a:lnTo>
                  <a:lnTo>
                    <a:pt x="106" y="145"/>
                  </a:lnTo>
                  <a:lnTo>
                    <a:pt x="105" y="142"/>
                  </a:lnTo>
                  <a:lnTo>
                    <a:pt x="103" y="139"/>
                  </a:lnTo>
                  <a:lnTo>
                    <a:pt x="100" y="139"/>
                  </a:lnTo>
                  <a:close/>
                  <a:moveTo>
                    <a:pt x="167" y="116"/>
                  </a:moveTo>
                  <a:lnTo>
                    <a:pt x="164" y="118"/>
                  </a:lnTo>
                  <a:lnTo>
                    <a:pt x="163" y="119"/>
                  </a:lnTo>
                  <a:lnTo>
                    <a:pt x="161" y="122"/>
                  </a:lnTo>
                  <a:lnTo>
                    <a:pt x="163" y="125"/>
                  </a:lnTo>
                  <a:lnTo>
                    <a:pt x="164" y="127"/>
                  </a:lnTo>
                  <a:lnTo>
                    <a:pt x="167" y="128"/>
                  </a:lnTo>
                  <a:lnTo>
                    <a:pt x="170" y="127"/>
                  </a:lnTo>
                  <a:lnTo>
                    <a:pt x="172" y="125"/>
                  </a:lnTo>
                  <a:lnTo>
                    <a:pt x="172" y="122"/>
                  </a:lnTo>
                  <a:lnTo>
                    <a:pt x="172" y="119"/>
                  </a:lnTo>
                  <a:lnTo>
                    <a:pt x="170" y="118"/>
                  </a:lnTo>
                  <a:lnTo>
                    <a:pt x="167" y="116"/>
                  </a:lnTo>
                  <a:close/>
                  <a:moveTo>
                    <a:pt x="145" y="116"/>
                  </a:moveTo>
                  <a:lnTo>
                    <a:pt x="141" y="118"/>
                  </a:lnTo>
                  <a:lnTo>
                    <a:pt x="140" y="119"/>
                  </a:lnTo>
                  <a:lnTo>
                    <a:pt x="140" y="122"/>
                  </a:lnTo>
                  <a:lnTo>
                    <a:pt x="140" y="125"/>
                  </a:lnTo>
                  <a:lnTo>
                    <a:pt x="141" y="127"/>
                  </a:lnTo>
                  <a:lnTo>
                    <a:pt x="145" y="128"/>
                  </a:lnTo>
                  <a:lnTo>
                    <a:pt x="148" y="127"/>
                  </a:lnTo>
                  <a:lnTo>
                    <a:pt x="151" y="125"/>
                  </a:lnTo>
                  <a:lnTo>
                    <a:pt x="151" y="122"/>
                  </a:lnTo>
                  <a:lnTo>
                    <a:pt x="151" y="119"/>
                  </a:lnTo>
                  <a:lnTo>
                    <a:pt x="148" y="118"/>
                  </a:lnTo>
                  <a:lnTo>
                    <a:pt x="145" y="116"/>
                  </a:lnTo>
                  <a:close/>
                  <a:moveTo>
                    <a:pt x="123" y="116"/>
                  </a:moveTo>
                  <a:lnTo>
                    <a:pt x="120" y="118"/>
                  </a:lnTo>
                  <a:lnTo>
                    <a:pt x="119" y="119"/>
                  </a:lnTo>
                  <a:lnTo>
                    <a:pt x="117" y="122"/>
                  </a:lnTo>
                  <a:lnTo>
                    <a:pt x="119" y="125"/>
                  </a:lnTo>
                  <a:lnTo>
                    <a:pt x="120" y="127"/>
                  </a:lnTo>
                  <a:lnTo>
                    <a:pt x="123" y="128"/>
                  </a:lnTo>
                  <a:lnTo>
                    <a:pt x="125" y="127"/>
                  </a:lnTo>
                  <a:lnTo>
                    <a:pt x="128" y="125"/>
                  </a:lnTo>
                  <a:lnTo>
                    <a:pt x="128" y="122"/>
                  </a:lnTo>
                  <a:lnTo>
                    <a:pt x="128" y="119"/>
                  </a:lnTo>
                  <a:lnTo>
                    <a:pt x="125" y="118"/>
                  </a:lnTo>
                  <a:lnTo>
                    <a:pt x="123" y="116"/>
                  </a:lnTo>
                  <a:close/>
                  <a:moveTo>
                    <a:pt x="100" y="116"/>
                  </a:moveTo>
                  <a:lnTo>
                    <a:pt x="97" y="118"/>
                  </a:lnTo>
                  <a:lnTo>
                    <a:pt x="96" y="119"/>
                  </a:lnTo>
                  <a:lnTo>
                    <a:pt x="94" y="122"/>
                  </a:lnTo>
                  <a:lnTo>
                    <a:pt x="96" y="125"/>
                  </a:lnTo>
                  <a:lnTo>
                    <a:pt x="97" y="127"/>
                  </a:lnTo>
                  <a:lnTo>
                    <a:pt x="100" y="128"/>
                  </a:lnTo>
                  <a:lnTo>
                    <a:pt x="103" y="127"/>
                  </a:lnTo>
                  <a:lnTo>
                    <a:pt x="105" y="125"/>
                  </a:lnTo>
                  <a:lnTo>
                    <a:pt x="106" y="122"/>
                  </a:lnTo>
                  <a:lnTo>
                    <a:pt x="105" y="119"/>
                  </a:lnTo>
                  <a:lnTo>
                    <a:pt x="103" y="118"/>
                  </a:lnTo>
                  <a:lnTo>
                    <a:pt x="100" y="116"/>
                  </a:lnTo>
                  <a:close/>
                  <a:moveTo>
                    <a:pt x="106" y="84"/>
                  </a:moveTo>
                  <a:lnTo>
                    <a:pt x="161" y="84"/>
                  </a:lnTo>
                  <a:lnTo>
                    <a:pt x="161" y="95"/>
                  </a:lnTo>
                  <a:lnTo>
                    <a:pt x="106" y="95"/>
                  </a:lnTo>
                  <a:lnTo>
                    <a:pt x="106" y="84"/>
                  </a:lnTo>
                  <a:close/>
                  <a:moveTo>
                    <a:pt x="100" y="72"/>
                  </a:moveTo>
                  <a:lnTo>
                    <a:pt x="97" y="74"/>
                  </a:lnTo>
                  <a:lnTo>
                    <a:pt x="96" y="75"/>
                  </a:lnTo>
                  <a:lnTo>
                    <a:pt x="94" y="78"/>
                  </a:lnTo>
                  <a:lnTo>
                    <a:pt x="94" y="100"/>
                  </a:lnTo>
                  <a:lnTo>
                    <a:pt x="96" y="103"/>
                  </a:lnTo>
                  <a:lnTo>
                    <a:pt x="97" y="104"/>
                  </a:lnTo>
                  <a:lnTo>
                    <a:pt x="100" y="106"/>
                  </a:lnTo>
                  <a:lnTo>
                    <a:pt x="167" y="106"/>
                  </a:lnTo>
                  <a:lnTo>
                    <a:pt x="170" y="104"/>
                  </a:lnTo>
                  <a:lnTo>
                    <a:pt x="172" y="103"/>
                  </a:lnTo>
                  <a:lnTo>
                    <a:pt x="172" y="100"/>
                  </a:lnTo>
                  <a:lnTo>
                    <a:pt x="172" y="78"/>
                  </a:lnTo>
                  <a:lnTo>
                    <a:pt x="172" y="75"/>
                  </a:lnTo>
                  <a:lnTo>
                    <a:pt x="170" y="74"/>
                  </a:lnTo>
                  <a:lnTo>
                    <a:pt x="167" y="72"/>
                  </a:lnTo>
                  <a:lnTo>
                    <a:pt x="100" y="72"/>
                  </a:lnTo>
                  <a:close/>
                  <a:moveTo>
                    <a:pt x="84" y="61"/>
                  </a:moveTo>
                  <a:lnTo>
                    <a:pt x="184" y="61"/>
                  </a:lnTo>
                  <a:lnTo>
                    <a:pt x="184" y="206"/>
                  </a:lnTo>
                  <a:lnTo>
                    <a:pt x="84" y="206"/>
                  </a:lnTo>
                  <a:lnTo>
                    <a:pt x="84" y="61"/>
                  </a:lnTo>
                  <a:close/>
                  <a:moveTo>
                    <a:pt x="77" y="51"/>
                  </a:moveTo>
                  <a:lnTo>
                    <a:pt x="76" y="51"/>
                  </a:lnTo>
                  <a:lnTo>
                    <a:pt x="73" y="52"/>
                  </a:lnTo>
                  <a:lnTo>
                    <a:pt x="73" y="55"/>
                  </a:lnTo>
                  <a:lnTo>
                    <a:pt x="73" y="212"/>
                  </a:lnTo>
                  <a:lnTo>
                    <a:pt x="73" y="214"/>
                  </a:lnTo>
                  <a:lnTo>
                    <a:pt x="76" y="217"/>
                  </a:lnTo>
                  <a:lnTo>
                    <a:pt x="77" y="217"/>
                  </a:lnTo>
                  <a:lnTo>
                    <a:pt x="189" y="217"/>
                  </a:lnTo>
                  <a:lnTo>
                    <a:pt x="192" y="217"/>
                  </a:lnTo>
                  <a:lnTo>
                    <a:pt x="195" y="214"/>
                  </a:lnTo>
                  <a:lnTo>
                    <a:pt x="195" y="212"/>
                  </a:lnTo>
                  <a:lnTo>
                    <a:pt x="195" y="55"/>
                  </a:lnTo>
                  <a:lnTo>
                    <a:pt x="195" y="52"/>
                  </a:lnTo>
                  <a:lnTo>
                    <a:pt x="192" y="51"/>
                  </a:lnTo>
                  <a:lnTo>
                    <a:pt x="189" y="51"/>
                  </a:lnTo>
                  <a:lnTo>
                    <a:pt x="77" y="51"/>
                  </a:lnTo>
                  <a:close/>
                  <a:moveTo>
                    <a:pt x="134" y="0"/>
                  </a:moveTo>
                  <a:lnTo>
                    <a:pt x="164" y="4"/>
                  </a:lnTo>
                  <a:lnTo>
                    <a:pt x="193" y="14"/>
                  </a:lnTo>
                  <a:lnTo>
                    <a:pt x="218" y="29"/>
                  </a:lnTo>
                  <a:lnTo>
                    <a:pt x="239" y="49"/>
                  </a:lnTo>
                  <a:lnTo>
                    <a:pt x="254" y="75"/>
                  </a:lnTo>
                  <a:lnTo>
                    <a:pt x="265" y="103"/>
                  </a:lnTo>
                  <a:lnTo>
                    <a:pt x="268" y="133"/>
                  </a:lnTo>
                  <a:lnTo>
                    <a:pt x="265" y="165"/>
                  </a:lnTo>
                  <a:lnTo>
                    <a:pt x="254" y="192"/>
                  </a:lnTo>
                  <a:lnTo>
                    <a:pt x="239" y="217"/>
                  </a:lnTo>
                  <a:lnTo>
                    <a:pt x="218" y="238"/>
                  </a:lnTo>
                  <a:lnTo>
                    <a:pt x="193" y="253"/>
                  </a:lnTo>
                  <a:lnTo>
                    <a:pt x="164" y="264"/>
                  </a:lnTo>
                  <a:lnTo>
                    <a:pt x="134" y="267"/>
                  </a:lnTo>
                  <a:lnTo>
                    <a:pt x="103" y="264"/>
                  </a:lnTo>
                  <a:lnTo>
                    <a:pt x="74" y="253"/>
                  </a:lnTo>
                  <a:lnTo>
                    <a:pt x="50" y="238"/>
                  </a:lnTo>
                  <a:lnTo>
                    <a:pt x="30" y="217"/>
                  </a:lnTo>
                  <a:lnTo>
                    <a:pt x="13" y="192"/>
                  </a:lnTo>
                  <a:lnTo>
                    <a:pt x="4" y="165"/>
                  </a:lnTo>
                  <a:lnTo>
                    <a:pt x="0" y="133"/>
                  </a:lnTo>
                  <a:lnTo>
                    <a:pt x="4" y="103"/>
                  </a:lnTo>
                  <a:lnTo>
                    <a:pt x="13" y="75"/>
                  </a:lnTo>
                  <a:lnTo>
                    <a:pt x="30" y="49"/>
                  </a:lnTo>
                  <a:lnTo>
                    <a:pt x="50" y="29"/>
                  </a:lnTo>
                  <a:lnTo>
                    <a:pt x="74" y="14"/>
                  </a:lnTo>
                  <a:lnTo>
                    <a:pt x="103" y="4"/>
                  </a:lnTo>
                  <a:lnTo>
                    <a:pt x="134"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36">
              <a:extLst>
                <a:ext uri="{FF2B5EF4-FFF2-40B4-BE49-F238E27FC236}">
                  <a16:creationId xmlns:a16="http://schemas.microsoft.com/office/drawing/2014/main" id="{60039156-69FA-B348-BCCB-061C3C2A4DF5}"/>
                </a:ext>
              </a:extLst>
            </p:cNvPr>
            <p:cNvSpPr>
              <a:spLocks noEditPoints="1"/>
            </p:cNvSpPr>
            <p:nvPr/>
          </p:nvSpPr>
          <p:spPr bwMode="auto">
            <a:xfrm>
              <a:off x="5098192" y="2263775"/>
              <a:ext cx="503238" cy="500063"/>
            </a:xfrm>
            <a:custGeom>
              <a:avLst/>
              <a:gdLst>
                <a:gd name="T0" fmla="*/ 242 w 317"/>
                <a:gd name="T1" fmla="*/ 190 h 315"/>
                <a:gd name="T2" fmla="*/ 222 w 317"/>
                <a:gd name="T3" fmla="*/ 115 h 315"/>
                <a:gd name="T4" fmla="*/ 117 w 317"/>
                <a:gd name="T5" fmla="*/ 190 h 315"/>
                <a:gd name="T6" fmla="*/ 97 w 317"/>
                <a:gd name="T7" fmla="*/ 115 h 315"/>
                <a:gd name="T8" fmla="*/ 155 w 317"/>
                <a:gd name="T9" fmla="*/ 59 h 315"/>
                <a:gd name="T10" fmla="*/ 151 w 317"/>
                <a:gd name="T11" fmla="*/ 65 h 315"/>
                <a:gd name="T12" fmla="*/ 97 w 317"/>
                <a:gd name="T13" fmla="*/ 85 h 315"/>
                <a:gd name="T14" fmla="*/ 96 w 317"/>
                <a:gd name="T15" fmla="*/ 85 h 315"/>
                <a:gd name="T16" fmla="*/ 96 w 317"/>
                <a:gd name="T17" fmla="*/ 85 h 315"/>
                <a:gd name="T18" fmla="*/ 94 w 317"/>
                <a:gd name="T19" fmla="*/ 86 h 315"/>
                <a:gd name="T20" fmla="*/ 94 w 317"/>
                <a:gd name="T21" fmla="*/ 86 h 315"/>
                <a:gd name="T22" fmla="*/ 93 w 317"/>
                <a:gd name="T23" fmla="*/ 88 h 315"/>
                <a:gd name="T24" fmla="*/ 93 w 317"/>
                <a:gd name="T25" fmla="*/ 89 h 315"/>
                <a:gd name="T26" fmla="*/ 59 w 317"/>
                <a:gd name="T27" fmla="*/ 195 h 315"/>
                <a:gd name="T28" fmla="*/ 61 w 317"/>
                <a:gd name="T29" fmla="*/ 201 h 315"/>
                <a:gd name="T30" fmla="*/ 65 w 317"/>
                <a:gd name="T31" fmla="*/ 204 h 315"/>
                <a:gd name="T32" fmla="*/ 128 w 317"/>
                <a:gd name="T33" fmla="*/ 202 h 315"/>
                <a:gd name="T34" fmla="*/ 131 w 317"/>
                <a:gd name="T35" fmla="*/ 199 h 315"/>
                <a:gd name="T36" fmla="*/ 131 w 317"/>
                <a:gd name="T37" fmla="*/ 195 h 315"/>
                <a:gd name="T38" fmla="*/ 151 w 317"/>
                <a:gd name="T39" fmla="*/ 97 h 315"/>
                <a:gd name="T40" fmla="*/ 119 w 317"/>
                <a:gd name="T41" fmla="*/ 242 h 315"/>
                <a:gd name="T42" fmla="*/ 113 w 317"/>
                <a:gd name="T43" fmla="*/ 246 h 315"/>
                <a:gd name="T44" fmla="*/ 113 w 317"/>
                <a:gd name="T45" fmla="*/ 253 h 315"/>
                <a:gd name="T46" fmla="*/ 119 w 317"/>
                <a:gd name="T47" fmla="*/ 256 h 315"/>
                <a:gd name="T48" fmla="*/ 201 w 317"/>
                <a:gd name="T49" fmla="*/ 256 h 315"/>
                <a:gd name="T50" fmla="*/ 204 w 317"/>
                <a:gd name="T51" fmla="*/ 249 h 315"/>
                <a:gd name="T52" fmla="*/ 201 w 317"/>
                <a:gd name="T53" fmla="*/ 243 h 315"/>
                <a:gd name="T54" fmla="*/ 165 w 317"/>
                <a:gd name="T55" fmla="*/ 242 h 315"/>
                <a:gd name="T56" fmla="*/ 215 w 317"/>
                <a:gd name="T57" fmla="*/ 97 h 315"/>
                <a:gd name="T58" fmla="*/ 184 w 317"/>
                <a:gd name="T59" fmla="*/ 198 h 315"/>
                <a:gd name="T60" fmla="*/ 187 w 317"/>
                <a:gd name="T61" fmla="*/ 202 h 315"/>
                <a:gd name="T62" fmla="*/ 190 w 317"/>
                <a:gd name="T63" fmla="*/ 204 h 315"/>
                <a:gd name="T64" fmla="*/ 253 w 317"/>
                <a:gd name="T65" fmla="*/ 202 h 315"/>
                <a:gd name="T66" fmla="*/ 256 w 317"/>
                <a:gd name="T67" fmla="*/ 199 h 315"/>
                <a:gd name="T68" fmla="*/ 256 w 317"/>
                <a:gd name="T69" fmla="*/ 195 h 315"/>
                <a:gd name="T70" fmla="*/ 230 w 317"/>
                <a:gd name="T71" fmla="*/ 89 h 315"/>
                <a:gd name="T72" fmla="*/ 229 w 317"/>
                <a:gd name="T73" fmla="*/ 88 h 315"/>
                <a:gd name="T74" fmla="*/ 229 w 317"/>
                <a:gd name="T75" fmla="*/ 86 h 315"/>
                <a:gd name="T76" fmla="*/ 227 w 317"/>
                <a:gd name="T77" fmla="*/ 86 h 315"/>
                <a:gd name="T78" fmla="*/ 227 w 317"/>
                <a:gd name="T79" fmla="*/ 85 h 315"/>
                <a:gd name="T80" fmla="*/ 225 w 317"/>
                <a:gd name="T81" fmla="*/ 85 h 315"/>
                <a:gd name="T82" fmla="*/ 165 w 317"/>
                <a:gd name="T83" fmla="*/ 85 h 315"/>
                <a:gd name="T84" fmla="*/ 163 w 317"/>
                <a:gd name="T85" fmla="*/ 61 h 315"/>
                <a:gd name="T86" fmla="*/ 158 w 317"/>
                <a:gd name="T87" fmla="*/ 59 h 315"/>
                <a:gd name="T88" fmla="*/ 195 w 317"/>
                <a:gd name="T89" fmla="*/ 3 h 315"/>
                <a:gd name="T90" fmla="*/ 258 w 317"/>
                <a:gd name="T91" fmla="*/ 33 h 315"/>
                <a:gd name="T92" fmla="*/ 300 w 317"/>
                <a:gd name="T93" fmla="*/ 88 h 315"/>
                <a:gd name="T94" fmla="*/ 317 w 317"/>
                <a:gd name="T95" fmla="*/ 157 h 315"/>
                <a:gd name="T96" fmla="*/ 300 w 317"/>
                <a:gd name="T97" fmla="*/ 227 h 315"/>
                <a:gd name="T98" fmla="*/ 258 w 317"/>
                <a:gd name="T99" fmla="*/ 280 h 315"/>
                <a:gd name="T100" fmla="*/ 195 w 317"/>
                <a:gd name="T101" fmla="*/ 312 h 315"/>
                <a:gd name="T102" fmla="*/ 158 w 317"/>
                <a:gd name="T103" fmla="*/ 315 h 315"/>
                <a:gd name="T104" fmla="*/ 88 w 317"/>
                <a:gd name="T105" fmla="*/ 300 h 315"/>
                <a:gd name="T106" fmla="*/ 35 w 317"/>
                <a:gd name="T107" fmla="*/ 256 h 315"/>
                <a:gd name="T108" fmla="*/ 4 w 317"/>
                <a:gd name="T109" fmla="*/ 193 h 315"/>
                <a:gd name="T110" fmla="*/ 4 w 317"/>
                <a:gd name="T111" fmla="*/ 121 h 315"/>
                <a:gd name="T112" fmla="*/ 35 w 317"/>
                <a:gd name="T113" fmla="*/ 57 h 315"/>
                <a:gd name="T114" fmla="*/ 88 w 317"/>
                <a:gd name="T115" fmla="*/ 15 h 315"/>
                <a:gd name="T116" fmla="*/ 158 w 317"/>
                <a:gd name="T117"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7" h="315">
                  <a:moveTo>
                    <a:pt x="222" y="115"/>
                  </a:moveTo>
                  <a:lnTo>
                    <a:pt x="242" y="190"/>
                  </a:lnTo>
                  <a:lnTo>
                    <a:pt x="200" y="190"/>
                  </a:lnTo>
                  <a:lnTo>
                    <a:pt x="222" y="115"/>
                  </a:lnTo>
                  <a:close/>
                  <a:moveTo>
                    <a:pt x="97" y="115"/>
                  </a:moveTo>
                  <a:lnTo>
                    <a:pt x="117" y="190"/>
                  </a:lnTo>
                  <a:lnTo>
                    <a:pt x="75" y="190"/>
                  </a:lnTo>
                  <a:lnTo>
                    <a:pt x="97" y="115"/>
                  </a:lnTo>
                  <a:close/>
                  <a:moveTo>
                    <a:pt x="158" y="59"/>
                  </a:moveTo>
                  <a:lnTo>
                    <a:pt x="155" y="59"/>
                  </a:lnTo>
                  <a:lnTo>
                    <a:pt x="152" y="61"/>
                  </a:lnTo>
                  <a:lnTo>
                    <a:pt x="151" y="65"/>
                  </a:lnTo>
                  <a:lnTo>
                    <a:pt x="151" y="85"/>
                  </a:lnTo>
                  <a:lnTo>
                    <a:pt x="97" y="85"/>
                  </a:lnTo>
                  <a:lnTo>
                    <a:pt x="97" y="85"/>
                  </a:lnTo>
                  <a:lnTo>
                    <a:pt x="96" y="85"/>
                  </a:lnTo>
                  <a:lnTo>
                    <a:pt x="96" y="85"/>
                  </a:lnTo>
                  <a:lnTo>
                    <a:pt x="96" y="85"/>
                  </a:lnTo>
                  <a:lnTo>
                    <a:pt x="94" y="86"/>
                  </a:lnTo>
                  <a:lnTo>
                    <a:pt x="94" y="86"/>
                  </a:lnTo>
                  <a:lnTo>
                    <a:pt x="94" y="86"/>
                  </a:lnTo>
                  <a:lnTo>
                    <a:pt x="94" y="86"/>
                  </a:lnTo>
                  <a:lnTo>
                    <a:pt x="93" y="88"/>
                  </a:lnTo>
                  <a:lnTo>
                    <a:pt x="93" y="88"/>
                  </a:lnTo>
                  <a:lnTo>
                    <a:pt x="93" y="88"/>
                  </a:lnTo>
                  <a:lnTo>
                    <a:pt x="93" y="89"/>
                  </a:lnTo>
                  <a:lnTo>
                    <a:pt x="91" y="89"/>
                  </a:lnTo>
                  <a:lnTo>
                    <a:pt x="59" y="195"/>
                  </a:lnTo>
                  <a:lnTo>
                    <a:pt x="59" y="198"/>
                  </a:lnTo>
                  <a:lnTo>
                    <a:pt x="61" y="201"/>
                  </a:lnTo>
                  <a:lnTo>
                    <a:pt x="62" y="202"/>
                  </a:lnTo>
                  <a:lnTo>
                    <a:pt x="65" y="204"/>
                  </a:lnTo>
                  <a:lnTo>
                    <a:pt x="125" y="204"/>
                  </a:lnTo>
                  <a:lnTo>
                    <a:pt x="128" y="202"/>
                  </a:lnTo>
                  <a:lnTo>
                    <a:pt x="129" y="201"/>
                  </a:lnTo>
                  <a:lnTo>
                    <a:pt x="131" y="199"/>
                  </a:lnTo>
                  <a:lnTo>
                    <a:pt x="131" y="198"/>
                  </a:lnTo>
                  <a:lnTo>
                    <a:pt x="131" y="195"/>
                  </a:lnTo>
                  <a:lnTo>
                    <a:pt x="107" y="97"/>
                  </a:lnTo>
                  <a:lnTo>
                    <a:pt x="151" y="97"/>
                  </a:lnTo>
                  <a:lnTo>
                    <a:pt x="151" y="242"/>
                  </a:lnTo>
                  <a:lnTo>
                    <a:pt x="119" y="242"/>
                  </a:lnTo>
                  <a:lnTo>
                    <a:pt x="116" y="243"/>
                  </a:lnTo>
                  <a:lnTo>
                    <a:pt x="113" y="246"/>
                  </a:lnTo>
                  <a:lnTo>
                    <a:pt x="111" y="249"/>
                  </a:lnTo>
                  <a:lnTo>
                    <a:pt x="113" y="253"/>
                  </a:lnTo>
                  <a:lnTo>
                    <a:pt x="116" y="256"/>
                  </a:lnTo>
                  <a:lnTo>
                    <a:pt x="119" y="256"/>
                  </a:lnTo>
                  <a:lnTo>
                    <a:pt x="198" y="256"/>
                  </a:lnTo>
                  <a:lnTo>
                    <a:pt x="201" y="256"/>
                  </a:lnTo>
                  <a:lnTo>
                    <a:pt x="203" y="253"/>
                  </a:lnTo>
                  <a:lnTo>
                    <a:pt x="204" y="249"/>
                  </a:lnTo>
                  <a:lnTo>
                    <a:pt x="203" y="246"/>
                  </a:lnTo>
                  <a:lnTo>
                    <a:pt x="201" y="243"/>
                  </a:lnTo>
                  <a:lnTo>
                    <a:pt x="198" y="242"/>
                  </a:lnTo>
                  <a:lnTo>
                    <a:pt x="165" y="242"/>
                  </a:lnTo>
                  <a:lnTo>
                    <a:pt x="165" y="97"/>
                  </a:lnTo>
                  <a:lnTo>
                    <a:pt x="215" y="97"/>
                  </a:lnTo>
                  <a:lnTo>
                    <a:pt x="184" y="195"/>
                  </a:lnTo>
                  <a:lnTo>
                    <a:pt x="184" y="198"/>
                  </a:lnTo>
                  <a:lnTo>
                    <a:pt x="186" y="201"/>
                  </a:lnTo>
                  <a:lnTo>
                    <a:pt x="187" y="202"/>
                  </a:lnTo>
                  <a:lnTo>
                    <a:pt x="189" y="202"/>
                  </a:lnTo>
                  <a:lnTo>
                    <a:pt x="190" y="204"/>
                  </a:lnTo>
                  <a:lnTo>
                    <a:pt x="250" y="204"/>
                  </a:lnTo>
                  <a:lnTo>
                    <a:pt x="253" y="202"/>
                  </a:lnTo>
                  <a:lnTo>
                    <a:pt x="254" y="201"/>
                  </a:lnTo>
                  <a:lnTo>
                    <a:pt x="256" y="199"/>
                  </a:lnTo>
                  <a:lnTo>
                    <a:pt x="256" y="198"/>
                  </a:lnTo>
                  <a:lnTo>
                    <a:pt x="256" y="195"/>
                  </a:lnTo>
                  <a:lnTo>
                    <a:pt x="230" y="89"/>
                  </a:lnTo>
                  <a:lnTo>
                    <a:pt x="230" y="89"/>
                  </a:lnTo>
                  <a:lnTo>
                    <a:pt x="230" y="88"/>
                  </a:lnTo>
                  <a:lnTo>
                    <a:pt x="229" y="88"/>
                  </a:lnTo>
                  <a:lnTo>
                    <a:pt x="229" y="86"/>
                  </a:lnTo>
                  <a:lnTo>
                    <a:pt x="229" y="86"/>
                  </a:lnTo>
                  <a:lnTo>
                    <a:pt x="229" y="86"/>
                  </a:lnTo>
                  <a:lnTo>
                    <a:pt x="227" y="86"/>
                  </a:lnTo>
                  <a:lnTo>
                    <a:pt x="227" y="85"/>
                  </a:lnTo>
                  <a:lnTo>
                    <a:pt x="227" y="85"/>
                  </a:lnTo>
                  <a:lnTo>
                    <a:pt x="225" y="85"/>
                  </a:lnTo>
                  <a:lnTo>
                    <a:pt x="225" y="85"/>
                  </a:lnTo>
                  <a:lnTo>
                    <a:pt x="224" y="85"/>
                  </a:lnTo>
                  <a:lnTo>
                    <a:pt x="165" y="85"/>
                  </a:lnTo>
                  <a:lnTo>
                    <a:pt x="165" y="65"/>
                  </a:lnTo>
                  <a:lnTo>
                    <a:pt x="163" y="61"/>
                  </a:lnTo>
                  <a:lnTo>
                    <a:pt x="161" y="59"/>
                  </a:lnTo>
                  <a:lnTo>
                    <a:pt x="158" y="59"/>
                  </a:lnTo>
                  <a:close/>
                  <a:moveTo>
                    <a:pt x="158" y="0"/>
                  </a:moveTo>
                  <a:lnTo>
                    <a:pt x="195" y="3"/>
                  </a:lnTo>
                  <a:lnTo>
                    <a:pt x="227" y="15"/>
                  </a:lnTo>
                  <a:lnTo>
                    <a:pt x="258" y="33"/>
                  </a:lnTo>
                  <a:lnTo>
                    <a:pt x="282" y="57"/>
                  </a:lnTo>
                  <a:lnTo>
                    <a:pt x="300" y="88"/>
                  </a:lnTo>
                  <a:lnTo>
                    <a:pt x="312" y="121"/>
                  </a:lnTo>
                  <a:lnTo>
                    <a:pt x="317" y="157"/>
                  </a:lnTo>
                  <a:lnTo>
                    <a:pt x="312" y="193"/>
                  </a:lnTo>
                  <a:lnTo>
                    <a:pt x="300" y="227"/>
                  </a:lnTo>
                  <a:lnTo>
                    <a:pt x="282" y="256"/>
                  </a:lnTo>
                  <a:lnTo>
                    <a:pt x="258" y="280"/>
                  </a:lnTo>
                  <a:lnTo>
                    <a:pt x="227" y="300"/>
                  </a:lnTo>
                  <a:lnTo>
                    <a:pt x="195" y="312"/>
                  </a:lnTo>
                  <a:lnTo>
                    <a:pt x="158" y="315"/>
                  </a:lnTo>
                  <a:lnTo>
                    <a:pt x="158" y="315"/>
                  </a:lnTo>
                  <a:lnTo>
                    <a:pt x="122" y="312"/>
                  </a:lnTo>
                  <a:lnTo>
                    <a:pt x="88" y="300"/>
                  </a:lnTo>
                  <a:lnTo>
                    <a:pt x="59" y="280"/>
                  </a:lnTo>
                  <a:lnTo>
                    <a:pt x="35" y="256"/>
                  </a:lnTo>
                  <a:lnTo>
                    <a:pt x="15" y="227"/>
                  </a:lnTo>
                  <a:lnTo>
                    <a:pt x="4" y="193"/>
                  </a:lnTo>
                  <a:lnTo>
                    <a:pt x="0" y="157"/>
                  </a:lnTo>
                  <a:lnTo>
                    <a:pt x="4" y="121"/>
                  </a:lnTo>
                  <a:lnTo>
                    <a:pt x="15" y="88"/>
                  </a:lnTo>
                  <a:lnTo>
                    <a:pt x="35" y="57"/>
                  </a:lnTo>
                  <a:lnTo>
                    <a:pt x="59" y="33"/>
                  </a:lnTo>
                  <a:lnTo>
                    <a:pt x="88" y="15"/>
                  </a:lnTo>
                  <a:lnTo>
                    <a:pt x="122" y="3"/>
                  </a:lnTo>
                  <a:lnTo>
                    <a:pt x="15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37">
              <a:extLst>
                <a:ext uri="{FF2B5EF4-FFF2-40B4-BE49-F238E27FC236}">
                  <a16:creationId xmlns:a16="http://schemas.microsoft.com/office/drawing/2014/main" id="{CBC7E98F-2BF8-7840-9BEF-56FC1698A3B8}"/>
                </a:ext>
              </a:extLst>
            </p:cNvPr>
            <p:cNvSpPr>
              <a:spLocks noEditPoints="1"/>
            </p:cNvSpPr>
            <p:nvPr/>
          </p:nvSpPr>
          <p:spPr bwMode="auto">
            <a:xfrm>
              <a:off x="1649413" y="2201863"/>
              <a:ext cx="731838" cy="731838"/>
            </a:xfrm>
            <a:custGeom>
              <a:avLst/>
              <a:gdLst>
                <a:gd name="T0" fmla="*/ 130 w 461"/>
                <a:gd name="T1" fmla="*/ 279 h 461"/>
                <a:gd name="T2" fmla="*/ 125 w 461"/>
                <a:gd name="T3" fmla="*/ 284 h 461"/>
                <a:gd name="T4" fmla="*/ 125 w 461"/>
                <a:gd name="T5" fmla="*/ 292 h 461"/>
                <a:gd name="T6" fmla="*/ 130 w 461"/>
                <a:gd name="T7" fmla="*/ 296 h 461"/>
                <a:gd name="T8" fmla="*/ 230 w 461"/>
                <a:gd name="T9" fmla="*/ 298 h 461"/>
                <a:gd name="T10" fmla="*/ 236 w 461"/>
                <a:gd name="T11" fmla="*/ 295 h 461"/>
                <a:gd name="T12" fmla="*/ 239 w 461"/>
                <a:gd name="T13" fmla="*/ 288 h 461"/>
                <a:gd name="T14" fmla="*/ 236 w 461"/>
                <a:gd name="T15" fmla="*/ 281 h 461"/>
                <a:gd name="T16" fmla="*/ 230 w 461"/>
                <a:gd name="T17" fmla="*/ 278 h 461"/>
                <a:gd name="T18" fmla="*/ 105 w 461"/>
                <a:gd name="T19" fmla="*/ 202 h 461"/>
                <a:gd name="T20" fmla="*/ 354 w 461"/>
                <a:gd name="T21" fmla="*/ 317 h 461"/>
                <a:gd name="T22" fmla="*/ 105 w 461"/>
                <a:gd name="T23" fmla="*/ 202 h 461"/>
                <a:gd name="T24" fmla="*/ 354 w 461"/>
                <a:gd name="T25" fmla="*/ 144 h 461"/>
                <a:gd name="T26" fmla="*/ 105 w 461"/>
                <a:gd name="T27" fmla="*/ 164 h 461"/>
                <a:gd name="T28" fmla="*/ 96 w 461"/>
                <a:gd name="T29" fmla="*/ 124 h 461"/>
                <a:gd name="T30" fmla="*/ 88 w 461"/>
                <a:gd name="T31" fmla="*/ 127 h 461"/>
                <a:gd name="T32" fmla="*/ 87 w 461"/>
                <a:gd name="T33" fmla="*/ 135 h 461"/>
                <a:gd name="T34" fmla="*/ 87 w 461"/>
                <a:gd name="T35" fmla="*/ 330 h 461"/>
                <a:gd name="T36" fmla="*/ 92 w 461"/>
                <a:gd name="T37" fmla="*/ 336 h 461"/>
                <a:gd name="T38" fmla="*/ 364 w 461"/>
                <a:gd name="T39" fmla="*/ 336 h 461"/>
                <a:gd name="T40" fmla="*/ 372 w 461"/>
                <a:gd name="T41" fmla="*/ 333 h 461"/>
                <a:gd name="T42" fmla="*/ 374 w 461"/>
                <a:gd name="T43" fmla="*/ 327 h 461"/>
                <a:gd name="T44" fmla="*/ 374 w 461"/>
                <a:gd name="T45" fmla="*/ 130 h 461"/>
                <a:gd name="T46" fmla="*/ 368 w 461"/>
                <a:gd name="T47" fmla="*/ 125 h 461"/>
                <a:gd name="T48" fmla="*/ 96 w 461"/>
                <a:gd name="T49" fmla="*/ 124 h 461"/>
                <a:gd name="T50" fmla="*/ 230 w 461"/>
                <a:gd name="T51" fmla="*/ 0 h 461"/>
                <a:gd name="T52" fmla="*/ 320 w 461"/>
                <a:gd name="T53" fmla="*/ 19 h 461"/>
                <a:gd name="T54" fmla="*/ 393 w 461"/>
                <a:gd name="T55" fmla="*/ 68 h 461"/>
                <a:gd name="T56" fmla="*/ 442 w 461"/>
                <a:gd name="T57" fmla="*/ 141 h 461"/>
                <a:gd name="T58" fmla="*/ 461 w 461"/>
                <a:gd name="T59" fmla="*/ 231 h 461"/>
                <a:gd name="T60" fmla="*/ 442 w 461"/>
                <a:gd name="T61" fmla="*/ 320 h 461"/>
                <a:gd name="T62" fmla="*/ 393 w 461"/>
                <a:gd name="T63" fmla="*/ 394 h 461"/>
                <a:gd name="T64" fmla="*/ 320 w 461"/>
                <a:gd name="T65" fmla="*/ 442 h 461"/>
                <a:gd name="T66" fmla="*/ 230 w 461"/>
                <a:gd name="T67" fmla="*/ 461 h 461"/>
                <a:gd name="T68" fmla="*/ 140 w 461"/>
                <a:gd name="T69" fmla="*/ 442 h 461"/>
                <a:gd name="T70" fmla="*/ 67 w 461"/>
                <a:gd name="T71" fmla="*/ 394 h 461"/>
                <a:gd name="T72" fmla="*/ 18 w 461"/>
                <a:gd name="T73" fmla="*/ 320 h 461"/>
                <a:gd name="T74" fmla="*/ 0 w 461"/>
                <a:gd name="T75" fmla="*/ 231 h 461"/>
                <a:gd name="T76" fmla="*/ 18 w 461"/>
                <a:gd name="T77" fmla="*/ 141 h 461"/>
                <a:gd name="T78" fmla="*/ 67 w 461"/>
                <a:gd name="T79" fmla="*/ 68 h 461"/>
                <a:gd name="T80" fmla="*/ 140 w 461"/>
                <a:gd name="T81" fmla="*/ 19 h 461"/>
                <a:gd name="T82" fmla="*/ 230 w 461"/>
                <a:gd name="T83"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1" h="461">
                  <a:moveTo>
                    <a:pt x="134" y="278"/>
                  </a:moveTo>
                  <a:lnTo>
                    <a:pt x="130" y="279"/>
                  </a:lnTo>
                  <a:lnTo>
                    <a:pt x="127" y="281"/>
                  </a:lnTo>
                  <a:lnTo>
                    <a:pt x="125" y="284"/>
                  </a:lnTo>
                  <a:lnTo>
                    <a:pt x="125" y="288"/>
                  </a:lnTo>
                  <a:lnTo>
                    <a:pt x="125" y="292"/>
                  </a:lnTo>
                  <a:lnTo>
                    <a:pt x="127" y="295"/>
                  </a:lnTo>
                  <a:lnTo>
                    <a:pt x="130" y="296"/>
                  </a:lnTo>
                  <a:lnTo>
                    <a:pt x="134" y="298"/>
                  </a:lnTo>
                  <a:lnTo>
                    <a:pt x="230" y="298"/>
                  </a:lnTo>
                  <a:lnTo>
                    <a:pt x="235" y="296"/>
                  </a:lnTo>
                  <a:lnTo>
                    <a:pt x="236" y="295"/>
                  </a:lnTo>
                  <a:lnTo>
                    <a:pt x="239" y="292"/>
                  </a:lnTo>
                  <a:lnTo>
                    <a:pt x="239" y="288"/>
                  </a:lnTo>
                  <a:lnTo>
                    <a:pt x="239" y="284"/>
                  </a:lnTo>
                  <a:lnTo>
                    <a:pt x="236" y="281"/>
                  </a:lnTo>
                  <a:lnTo>
                    <a:pt x="235" y="279"/>
                  </a:lnTo>
                  <a:lnTo>
                    <a:pt x="230" y="278"/>
                  </a:lnTo>
                  <a:lnTo>
                    <a:pt x="134" y="278"/>
                  </a:lnTo>
                  <a:close/>
                  <a:moveTo>
                    <a:pt x="105" y="202"/>
                  </a:moveTo>
                  <a:lnTo>
                    <a:pt x="354" y="202"/>
                  </a:lnTo>
                  <a:lnTo>
                    <a:pt x="354" y="317"/>
                  </a:lnTo>
                  <a:lnTo>
                    <a:pt x="105" y="317"/>
                  </a:lnTo>
                  <a:lnTo>
                    <a:pt x="105" y="202"/>
                  </a:lnTo>
                  <a:close/>
                  <a:moveTo>
                    <a:pt x="105" y="144"/>
                  </a:moveTo>
                  <a:lnTo>
                    <a:pt x="354" y="144"/>
                  </a:lnTo>
                  <a:lnTo>
                    <a:pt x="354" y="164"/>
                  </a:lnTo>
                  <a:lnTo>
                    <a:pt x="105" y="164"/>
                  </a:lnTo>
                  <a:lnTo>
                    <a:pt x="105" y="144"/>
                  </a:lnTo>
                  <a:close/>
                  <a:moveTo>
                    <a:pt x="96" y="124"/>
                  </a:moveTo>
                  <a:lnTo>
                    <a:pt x="92" y="125"/>
                  </a:lnTo>
                  <a:lnTo>
                    <a:pt x="88" y="127"/>
                  </a:lnTo>
                  <a:lnTo>
                    <a:pt x="87" y="130"/>
                  </a:lnTo>
                  <a:lnTo>
                    <a:pt x="87" y="135"/>
                  </a:lnTo>
                  <a:lnTo>
                    <a:pt x="87" y="327"/>
                  </a:lnTo>
                  <a:lnTo>
                    <a:pt x="87" y="330"/>
                  </a:lnTo>
                  <a:lnTo>
                    <a:pt x="88" y="333"/>
                  </a:lnTo>
                  <a:lnTo>
                    <a:pt x="92" y="336"/>
                  </a:lnTo>
                  <a:lnTo>
                    <a:pt x="96" y="336"/>
                  </a:lnTo>
                  <a:lnTo>
                    <a:pt x="364" y="336"/>
                  </a:lnTo>
                  <a:lnTo>
                    <a:pt x="368" y="336"/>
                  </a:lnTo>
                  <a:lnTo>
                    <a:pt x="372" y="333"/>
                  </a:lnTo>
                  <a:lnTo>
                    <a:pt x="374" y="330"/>
                  </a:lnTo>
                  <a:lnTo>
                    <a:pt x="374" y="327"/>
                  </a:lnTo>
                  <a:lnTo>
                    <a:pt x="374" y="135"/>
                  </a:lnTo>
                  <a:lnTo>
                    <a:pt x="374" y="130"/>
                  </a:lnTo>
                  <a:lnTo>
                    <a:pt x="372" y="127"/>
                  </a:lnTo>
                  <a:lnTo>
                    <a:pt x="368" y="125"/>
                  </a:lnTo>
                  <a:lnTo>
                    <a:pt x="364" y="124"/>
                  </a:lnTo>
                  <a:lnTo>
                    <a:pt x="96" y="124"/>
                  </a:lnTo>
                  <a:close/>
                  <a:moveTo>
                    <a:pt x="230" y="0"/>
                  </a:moveTo>
                  <a:lnTo>
                    <a:pt x="230" y="0"/>
                  </a:lnTo>
                  <a:lnTo>
                    <a:pt x="276" y="5"/>
                  </a:lnTo>
                  <a:lnTo>
                    <a:pt x="320" y="19"/>
                  </a:lnTo>
                  <a:lnTo>
                    <a:pt x="358" y="40"/>
                  </a:lnTo>
                  <a:lnTo>
                    <a:pt x="393" y="68"/>
                  </a:lnTo>
                  <a:lnTo>
                    <a:pt x="421" y="101"/>
                  </a:lnTo>
                  <a:lnTo>
                    <a:pt x="442" y="141"/>
                  </a:lnTo>
                  <a:lnTo>
                    <a:pt x="456" y="183"/>
                  </a:lnTo>
                  <a:lnTo>
                    <a:pt x="461" y="231"/>
                  </a:lnTo>
                  <a:lnTo>
                    <a:pt x="456" y="276"/>
                  </a:lnTo>
                  <a:lnTo>
                    <a:pt x="442" y="320"/>
                  </a:lnTo>
                  <a:lnTo>
                    <a:pt x="421" y="359"/>
                  </a:lnTo>
                  <a:lnTo>
                    <a:pt x="393" y="394"/>
                  </a:lnTo>
                  <a:lnTo>
                    <a:pt x="358" y="421"/>
                  </a:lnTo>
                  <a:lnTo>
                    <a:pt x="320" y="442"/>
                  </a:lnTo>
                  <a:lnTo>
                    <a:pt x="276" y="456"/>
                  </a:lnTo>
                  <a:lnTo>
                    <a:pt x="230" y="461"/>
                  </a:lnTo>
                  <a:lnTo>
                    <a:pt x="185" y="456"/>
                  </a:lnTo>
                  <a:lnTo>
                    <a:pt x="140" y="442"/>
                  </a:lnTo>
                  <a:lnTo>
                    <a:pt x="102" y="421"/>
                  </a:lnTo>
                  <a:lnTo>
                    <a:pt x="67" y="394"/>
                  </a:lnTo>
                  <a:lnTo>
                    <a:pt x="40" y="359"/>
                  </a:lnTo>
                  <a:lnTo>
                    <a:pt x="18" y="320"/>
                  </a:lnTo>
                  <a:lnTo>
                    <a:pt x="5" y="276"/>
                  </a:lnTo>
                  <a:lnTo>
                    <a:pt x="0" y="231"/>
                  </a:lnTo>
                  <a:lnTo>
                    <a:pt x="5" y="183"/>
                  </a:lnTo>
                  <a:lnTo>
                    <a:pt x="18" y="141"/>
                  </a:lnTo>
                  <a:lnTo>
                    <a:pt x="40" y="101"/>
                  </a:lnTo>
                  <a:lnTo>
                    <a:pt x="67" y="68"/>
                  </a:lnTo>
                  <a:lnTo>
                    <a:pt x="102" y="40"/>
                  </a:lnTo>
                  <a:lnTo>
                    <a:pt x="140" y="19"/>
                  </a:lnTo>
                  <a:lnTo>
                    <a:pt x="185" y="5"/>
                  </a:lnTo>
                  <a:lnTo>
                    <a:pt x="23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38">
              <a:extLst>
                <a:ext uri="{FF2B5EF4-FFF2-40B4-BE49-F238E27FC236}">
                  <a16:creationId xmlns:a16="http://schemas.microsoft.com/office/drawing/2014/main" id="{81E55E20-788E-F848-AC86-2A45D360E8E0}"/>
                </a:ext>
              </a:extLst>
            </p:cNvPr>
            <p:cNvSpPr>
              <a:spLocks noEditPoints="1"/>
            </p:cNvSpPr>
            <p:nvPr/>
          </p:nvSpPr>
          <p:spPr bwMode="auto">
            <a:xfrm>
              <a:off x="1920875" y="3489325"/>
              <a:ext cx="425450" cy="428625"/>
            </a:xfrm>
            <a:custGeom>
              <a:avLst/>
              <a:gdLst>
                <a:gd name="T0" fmla="*/ 169 w 268"/>
                <a:gd name="T1" fmla="*/ 163 h 270"/>
                <a:gd name="T2" fmla="*/ 163 w 268"/>
                <a:gd name="T3" fmla="*/ 169 h 270"/>
                <a:gd name="T4" fmla="*/ 163 w 268"/>
                <a:gd name="T5" fmla="*/ 178 h 270"/>
                <a:gd name="T6" fmla="*/ 169 w 268"/>
                <a:gd name="T7" fmla="*/ 185 h 270"/>
                <a:gd name="T8" fmla="*/ 177 w 268"/>
                <a:gd name="T9" fmla="*/ 185 h 270"/>
                <a:gd name="T10" fmla="*/ 183 w 268"/>
                <a:gd name="T11" fmla="*/ 178 h 270"/>
                <a:gd name="T12" fmla="*/ 183 w 268"/>
                <a:gd name="T13" fmla="*/ 169 h 270"/>
                <a:gd name="T14" fmla="*/ 177 w 268"/>
                <a:gd name="T15" fmla="*/ 163 h 270"/>
                <a:gd name="T16" fmla="*/ 94 w 268"/>
                <a:gd name="T17" fmla="*/ 86 h 270"/>
                <a:gd name="T18" fmla="*/ 87 w 268"/>
                <a:gd name="T19" fmla="*/ 89 h 270"/>
                <a:gd name="T20" fmla="*/ 84 w 268"/>
                <a:gd name="T21" fmla="*/ 96 h 270"/>
                <a:gd name="T22" fmla="*/ 87 w 268"/>
                <a:gd name="T23" fmla="*/ 104 h 270"/>
                <a:gd name="T24" fmla="*/ 94 w 268"/>
                <a:gd name="T25" fmla="*/ 107 h 270"/>
                <a:gd name="T26" fmla="*/ 104 w 268"/>
                <a:gd name="T27" fmla="*/ 104 h 270"/>
                <a:gd name="T28" fmla="*/ 107 w 268"/>
                <a:gd name="T29" fmla="*/ 96 h 270"/>
                <a:gd name="T30" fmla="*/ 104 w 268"/>
                <a:gd name="T31" fmla="*/ 89 h 270"/>
                <a:gd name="T32" fmla="*/ 94 w 268"/>
                <a:gd name="T33" fmla="*/ 86 h 270"/>
                <a:gd name="T34" fmla="*/ 186 w 268"/>
                <a:gd name="T35" fmla="*/ 75 h 270"/>
                <a:gd name="T36" fmla="*/ 73 w 268"/>
                <a:gd name="T37" fmla="*/ 189 h 270"/>
                <a:gd name="T38" fmla="*/ 75 w 268"/>
                <a:gd name="T39" fmla="*/ 195 h 270"/>
                <a:gd name="T40" fmla="*/ 78 w 268"/>
                <a:gd name="T41" fmla="*/ 197 h 270"/>
                <a:gd name="T42" fmla="*/ 82 w 268"/>
                <a:gd name="T43" fmla="*/ 195 h 270"/>
                <a:gd name="T44" fmla="*/ 195 w 268"/>
                <a:gd name="T45" fmla="*/ 81 h 270"/>
                <a:gd name="T46" fmla="*/ 193 w 268"/>
                <a:gd name="T47" fmla="*/ 75 h 270"/>
                <a:gd name="T48" fmla="*/ 189 w 268"/>
                <a:gd name="T49" fmla="*/ 73 h 270"/>
                <a:gd name="T50" fmla="*/ 134 w 268"/>
                <a:gd name="T51" fmla="*/ 0 h 270"/>
                <a:gd name="T52" fmla="*/ 193 w 268"/>
                <a:gd name="T53" fmla="*/ 14 h 270"/>
                <a:gd name="T54" fmla="*/ 238 w 268"/>
                <a:gd name="T55" fmla="*/ 50 h 270"/>
                <a:gd name="T56" fmla="*/ 264 w 268"/>
                <a:gd name="T57" fmla="*/ 104 h 270"/>
                <a:gd name="T58" fmla="*/ 264 w 268"/>
                <a:gd name="T59" fmla="*/ 166 h 270"/>
                <a:gd name="T60" fmla="*/ 238 w 268"/>
                <a:gd name="T61" fmla="*/ 220 h 270"/>
                <a:gd name="T62" fmla="*/ 193 w 268"/>
                <a:gd name="T63" fmla="*/ 256 h 270"/>
                <a:gd name="T64" fmla="*/ 134 w 268"/>
                <a:gd name="T65" fmla="*/ 270 h 270"/>
                <a:gd name="T66" fmla="*/ 75 w 268"/>
                <a:gd name="T67" fmla="*/ 256 h 270"/>
                <a:gd name="T68" fmla="*/ 30 w 268"/>
                <a:gd name="T69" fmla="*/ 220 h 270"/>
                <a:gd name="T70" fmla="*/ 4 w 268"/>
                <a:gd name="T71" fmla="*/ 166 h 270"/>
                <a:gd name="T72" fmla="*/ 4 w 268"/>
                <a:gd name="T73" fmla="*/ 104 h 270"/>
                <a:gd name="T74" fmla="*/ 30 w 268"/>
                <a:gd name="T75" fmla="*/ 50 h 270"/>
                <a:gd name="T76" fmla="*/ 75 w 268"/>
                <a:gd name="T77" fmla="*/ 14 h 270"/>
                <a:gd name="T78" fmla="*/ 134 w 268"/>
                <a:gd name="T79"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8" h="270">
                  <a:moveTo>
                    <a:pt x="172" y="163"/>
                  </a:moveTo>
                  <a:lnTo>
                    <a:pt x="169" y="163"/>
                  </a:lnTo>
                  <a:lnTo>
                    <a:pt x="164" y="166"/>
                  </a:lnTo>
                  <a:lnTo>
                    <a:pt x="163" y="169"/>
                  </a:lnTo>
                  <a:lnTo>
                    <a:pt x="161" y="174"/>
                  </a:lnTo>
                  <a:lnTo>
                    <a:pt x="163" y="178"/>
                  </a:lnTo>
                  <a:lnTo>
                    <a:pt x="164" y="182"/>
                  </a:lnTo>
                  <a:lnTo>
                    <a:pt x="169" y="185"/>
                  </a:lnTo>
                  <a:lnTo>
                    <a:pt x="172" y="186"/>
                  </a:lnTo>
                  <a:lnTo>
                    <a:pt x="177" y="185"/>
                  </a:lnTo>
                  <a:lnTo>
                    <a:pt x="181" y="182"/>
                  </a:lnTo>
                  <a:lnTo>
                    <a:pt x="183" y="178"/>
                  </a:lnTo>
                  <a:lnTo>
                    <a:pt x="184" y="174"/>
                  </a:lnTo>
                  <a:lnTo>
                    <a:pt x="183" y="169"/>
                  </a:lnTo>
                  <a:lnTo>
                    <a:pt x="181" y="166"/>
                  </a:lnTo>
                  <a:lnTo>
                    <a:pt x="177" y="163"/>
                  </a:lnTo>
                  <a:lnTo>
                    <a:pt x="172" y="163"/>
                  </a:lnTo>
                  <a:close/>
                  <a:moveTo>
                    <a:pt x="94" y="86"/>
                  </a:moveTo>
                  <a:lnTo>
                    <a:pt x="91" y="86"/>
                  </a:lnTo>
                  <a:lnTo>
                    <a:pt x="87" y="89"/>
                  </a:lnTo>
                  <a:lnTo>
                    <a:pt x="85" y="92"/>
                  </a:lnTo>
                  <a:lnTo>
                    <a:pt x="84" y="96"/>
                  </a:lnTo>
                  <a:lnTo>
                    <a:pt x="85" y="101"/>
                  </a:lnTo>
                  <a:lnTo>
                    <a:pt x="87" y="104"/>
                  </a:lnTo>
                  <a:lnTo>
                    <a:pt x="91" y="105"/>
                  </a:lnTo>
                  <a:lnTo>
                    <a:pt x="94" y="107"/>
                  </a:lnTo>
                  <a:lnTo>
                    <a:pt x="99" y="105"/>
                  </a:lnTo>
                  <a:lnTo>
                    <a:pt x="104" y="104"/>
                  </a:lnTo>
                  <a:lnTo>
                    <a:pt x="105" y="101"/>
                  </a:lnTo>
                  <a:lnTo>
                    <a:pt x="107" y="96"/>
                  </a:lnTo>
                  <a:lnTo>
                    <a:pt x="105" y="92"/>
                  </a:lnTo>
                  <a:lnTo>
                    <a:pt x="104" y="89"/>
                  </a:lnTo>
                  <a:lnTo>
                    <a:pt x="99" y="86"/>
                  </a:lnTo>
                  <a:lnTo>
                    <a:pt x="94" y="86"/>
                  </a:lnTo>
                  <a:close/>
                  <a:moveTo>
                    <a:pt x="189" y="73"/>
                  </a:moveTo>
                  <a:lnTo>
                    <a:pt x="186" y="75"/>
                  </a:lnTo>
                  <a:lnTo>
                    <a:pt x="75" y="188"/>
                  </a:lnTo>
                  <a:lnTo>
                    <a:pt x="73" y="189"/>
                  </a:lnTo>
                  <a:lnTo>
                    <a:pt x="73" y="192"/>
                  </a:lnTo>
                  <a:lnTo>
                    <a:pt x="75" y="195"/>
                  </a:lnTo>
                  <a:lnTo>
                    <a:pt x="76" y="197"/>
                  </a:lnTo>
                  <a:lnTo>
                    <a:pt x="78" y="197"/>
                  </a:lnTo>
                  <a:lnTo>
                    <a:pt x="81" y="197"/>
                  </a:lnTo>
                  <a:lnTo>
                    <a:pt x="82" y="195"/>
                  </a:lnTo>
                  <a:lnTo>
                    <a:pt x="193" y="82"/>
                  </a:lnTo>
                  <a:lnTo>
                    <a:pt x="195" y="81"/>
                  </a:lnTo>
                  <a:lnTo>
                    <a:pt x="195" y="78"/>
                  </a:lnTo>
                  <a:lnTo>
                    <a:pt x="193" y="75"/>
                  </a:lnTo>
                  <a:lnTo>
                    <a:pt x="190" y="73"/>
                  </a:lnTo>
                  <a:lnTo>
                    <a:pt x="189" y="73"/>
                  </a:lnTo>
                  <a:close/>
                  <a:moveTo>
                    <a:pt x="134" y="0"/>
                  </a:moveTo>
                  <a:lnTo>
                    <a:pt x="134" y="0"/>
                  </a:lnTo>
                  <a:lnTo>
                    <a:pt x="164" y="5"/>
                  </a:lnTo>
                  <a:lnTo>
                    <a:pt x="193" y="14"/>
                  </a:lnTo>
                  <a:lnTo>
                    <a:pt x="218" y="31"/>
                  </a:lnTo>
                  <a:lnTo>
                    <a:pt x="238" y="50"/>
                  </a:lnTo>
                  <a:lnTo>
                    <a:pt x="254" y="76"/>
                  </a:lnTo>
                  <a:lnTo>
                    <a:pt x="264" y="104"/>
                  </a:lnTo>
                  <a:lnTo>
                    <a:pt x="268" y="136"/>
                  </a:lnTo>
                  <a:lnTo>
                    <a:pt x="264" y="166"/>
                  </a:lnTo>
                  <a:lnTo>
                    <a:pt x="254" y="194"/>
                  </a:lnTo>
                  <a:lnTo>
                    <a:pt x="238" y="220"/>
                  </a:lnTo>
                  <a:lnTo>
                    <a:pt x="218" y="239"/>
                  </a:lnTo>
                  <a:lnTo>
                    <a:pt x="193" y="256"/>
                  </a:lnTo>
                  <a:lnTo>
                    <a:pt x="164" y="265"/>
                  </a:lnTo>
                  <a:lnTo>
                    <a:pt x="134" y="270"/>
                  </a:lnTo>
                  <a:lnTo>
                    <a:pt x="104" y="265"/>
                  </a:lnTo>
                  <a:lnTo>
                    <a:pt x="75" y="256"/>
                  </a:lnTo>
                  <a:lnTo>
                    <a:pt x="50" y="239"/>
                  </a:lnTo>
                  <a:lnTo>
                    <a:pt x="30" y="220"/>
                  </a:lnTo>
                  <a:lnTo>
                    <a:pt x="14" y="194"/>
                  </a:lnTo>
                  <a:lnTo>
                    <a:pt x="4" y="166"/>
                  </a:lnTo>
                  <a:lnTo>
                    <a:pt x="0" y="136"/>
                  </a:lnTo>
                  <a:lnTo>
                    <a:pt x="4" y="104"/>
                  </a:lnTo>
                  <a:lnTo>
                    <a:pt x="14" y="76"/>
                  </a:lnTo>
                  <a:lnTo>
                    <a:pt x="30" y="50"/>
                  </a:lnTo>
                  <a:lnTo>
                    <a:pt x="50" y="31"/>
                  </a:lnTo>
                  <a:lnTo>
                    <a:pt x="75" y="14"/>
                  </a:lnTo>
                  <a:lnTo>
                    <a:pt x="104" y="5"/>
                  </a:lnTo>
                  <a:lnTo>
                    <a:pt x="134"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39">
              <a:extLst>
                <a:ext uri="{FF2B5EF4-FFF2-40B4-BE49-F238E27FC236}">
                  <a16:creationId xmlns:a16="http://schemas.microsoft.com/office/drawing/2014/main" id="{C0F53F72-1037-5A4F-B2D9-260F91329919}"/>
                </a:ext>
              </a:extLst>
            </p:cNvPr>
            <p:cNvSpPr>
              <a:spLocks noEditPoints="1"/>
            </p:cNvSpPr>
            <p:nvPr/>
          </p:nvSpPr>
          <p:spPr bwMode="auto">
            <a:xfrm>
              <a:off x="1447800" y="3986213"/>
              <a:ext cx="244475" cy="244475"/>
            </a:xfrm>
            <a:custGeom>
              <a:avLst/>
              <a:gdLst>
                <a:gd name="T0" fmla="*/ 72 w 154"/>
                <a:gd name="T1" fmla="*/ 73 h 154"/>
                <a:gd name="T2" fmla="*/ 68 w 154"/>
                <a:gd name="T3" fmla="*/ 74 h 154"/>
                <a:gd name="T4" fmla="*/ 66 w 154"/>
                <a:gd name="T5" fmla="*/ 77 h 154"/>
                <a:gd name="T6" fmla="*/ 68 w 154"/>
                <a:gd name="T7" fmla="*/ 82 h 154"/>
                <a:gd name="T8" fmla="*/ 72 w 154"/>
                <a:gd name="T9" fmla="*/ 83 h 154"/>
                <a:gd name="T10" fmla="*/ 75 w 154"/>
                <a:gd name="T11" fmla="*/ 85 h 154"/>
                <a:gd name="T12" fmla="*/ 77 w 154"/>
                <a:gd name="T13" fmla="*/ 86 h 154"/>
                <a:gd name="T14" fmla="*/ 77 w 154"/>
                <a:gd name="T15" fmla="*/ 86 h 154"/>
                <a:gd name="T16" fmla="*/ 75 w 154"/>
                <a:gd name="T17" fmla="*/ 89 h 154"/>
                <a:gd name="T18" fmla="*/ 71 w 154"/>
                <a:gd name="T19" fmla="*/ 89 h 154"/>
                <a:gd name="T20" fmla="*/ 66 w 154"/>
                <a:gd name="T21" fmla="*/ 88 h 154"/>
                <a:gd name="T22" fmla="*/ 69 w 154"/>
                <a:gd name="T23" fmla="*/ 93 h 154"/>
                <a:gd name="T24" fmla="*/ 72 w 154"/>
                <a:gd name="T25" fmla="*/ 96 h 154"/>
                <a:gd name="T26" fmla="*/ 75 w 154"/>
                <a:gd name="T27" fmla="*/ 93 h 154"/>
                <a:gd name="T28" fmla="*/ 80 w 154"/>
                <a:gd name="T29" fmla="*/ 91 h 154"/>
                <a:gd name="T30" fmla="*/ 81 w 154"/>
                <a:gd name="T31" fmla="*/ 86 h 154"/>
                <a:gd name="T32" fmla="*/ 81 w 154"/>
                <a:gd name="T33" fmla="*/ 85 h 154"/>
                <a:gd name="T34" fmla="*/ 78 w 154"/>
                <a:gd name="T35" fmla="*/ 82 h 154"/>
                <a:gd name="T36" fmla="*/ 72 w 154"/>
                <a:gd name="T37" fmla="*/ 80 h 154"/>
                <a:gd name="T38" fmla="*/ 71 w 154"/>
                <a:gd name="T39" fmla="*/ 77 h 154"/>
                <a:gd name="T40" fmla="*/ 72 w 154"/>
                <a:gd name="T41" fmla="*/ 76 h 154"/>
                <a:gd name="T42" fmla="*/ 74 w 154"/>
                <a:gd name="T43" fmla="*/ 76 h 154"/>
                <a:gd name="T44" fmla="*/ 75 w 154"/>
                <a:gd name="T45" fmla="*/ 76 h 154"/>
                <a:gd name="T46" fmla="*/ 80 w 154"/>
                <a:gd name="T47" fmla="*/ 77 h 154"/>
                <a:gd name="T48" fmla="*/ 78 w 154"/>
                <a:gd name="T49" fmla="*/ 73 h 154"/>
                <a:gd name="T50" fmla="*/ 75 w 154"/>
                <a:gd name="T51" fmla="*/ 70 h 154"/>
                <a:gd name="T52" fmla="*/ 42 w 154"/>
                <a:gd name="T53" fmla="*/ 67 h 154"/>
                <a:gd name="T54" fmla="*/ 103 w 154"/>
                <a:gd name="T55" fmla="*/ 99 h 154"/>
                <a:gd name="T56" fmla="*/ 42 w 154"/>
                <a:gd name="T57" fmla="*/ 67 h 154"/>
                <a:gd name="T58" fmla="*/ 116 w 154"/>
                <a:gd name="T59" fmla="*/ 54 h 154"/>
                <a:gd name="T60" fmla="*/ 110 w 154"/>
                <a:gd name="T61" fmla="*/ 86 h 154"/>
                <a:gd name="T62" fmla="*/ 109 w 154"/>
                <a:gd name="T63" fmla="*/ 62 h 154"/>
                <a:gd name="T64" fmla="*/ 107 w 154"/>
                <a:gd name="T65" fmla="*/ 61 h 154"/>
                <a:gd name="T66" fmla="*/ 55 w 154"/>
                <a:gd name="T67" fmla="*/ 54 h 154"/>
                <a:gd name="T68" fmla="*/ 49 w 154"/>
                <a:gd name="T69" fmla="*/ 48 h 154"/>
                <a:gd name="T70" fmla="*/ 49 w 154"/>
                <a:gd name="T71" fmla="*/ 61 h 154"/>
                <a:gd name="T72" fmla="*/ 37 w 154"/>
                <a:gd name="T73" fmla="*/ 61 h 154"/>
                <a:gd name="T74" fmla="*/ 36 w 154"/>
                <a:gd name="T75" fmla="*/ 102 h 154"/>
                <a:gd name="T76" fmla="*/ 39 w 154"/>
                <a:gd name="T77" fmla="*/ 105 h 154"/>
                <a:gd name="T78" fmla="*/ 109 w 154"/>
                <a:gd name="T79" fmla="*/ 105 h 154"/>
                <a:gd name="T80" fmla="*/ 110 w 154"/>
                <a:gd name="T81" fmla="*/ 102 h 154"/>
                <a:gd name="T82" fmla="*/ 119 w 154"/>
                <a:gd name="T83" fmla="*/ 93 h 154"/>
                <a:gd name="T84" fmla="*/ 122 w 154"/>
                <a:gd name="T85" fmla="*/ 89 h 154"/>
                <a:gd name="T86" fmla="*/ 122 w 154"/>
                <a:gd name="T87" fmla="*/ 48 h 154"/>
                <a:gd name="T88" fmla="*/ 119 w 154"/>
                <a:gd name="T89" fmla="*/ 48 h 154"/>
                <a:gd name="T90" fmla="*/ 78 w 154"/>
                <a:gd name="T91" fmla="*/ 0 h 154"/>
                <a:gd name="T92" fmla="*/ 124 w 154"/>
                <a:gd name="T93" fmla="*/ 15 h 154"/>
                <a:gd name="T94" fmla="*/ 151 w 154"/>
                <a:gd name="T95" fmla="*/ 51 h 154"/>
                <a:gd name="T96" fmla="*/ 151 w 154"/>
                <a:gd name="T97" fmla="*/ 100 h 154"/>
                <a:gd name="T98" fmla="*/ 124 w 154"/>
                <a:gd name="T99" fmla="*/ 138 h 154"/>
                <a:gd name="T100" fmla="*/ 78 w 154"/>
                <a:gd name="T101" fmla="*/ 154 h 154"/>
                <a:gd name="T102" fmla="*/ 32 w 154"/>
                <a:gd name="T103" fmla="*/ 138 h 154"/>
                <a:gd name="T104" fmla="*/ 5 w 154"/>
                <a:gd name="T105" fmla="*/ 100 h 154"/>
                <a:gd name="T106" fmla="*/ 0 w 154"/>
                <a:gd name="T107" fmla="*/ 76 h 154"/>
                <a:gd name="T108" fmla="*/ 16 w 154"/>
                <a:gd name="T109" fmla="*/ 32 h 154"/>
                <a:gd name="T110" fmla="*/ 54 w 154"/>
                <a:gd name="T111" fmla="*/ 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4" h="154">
                  <a:moveTo>
                    <a:pt x="72" y="70"/>
                  </a:moveTo>
                  <a:lnTo>
                    <a:pt x="72" y="73"/>
                  </a:lnTo>
                  <a:lnTo>
                    <a:pt x="71" y="73"/>
                  </a:lnTo>
                  <a:lnTo>
                    <a:pt x="68" y="74"/>
                  </a:lnTo>
                  <a:lnTo>
                    <a:pt x="66" y="76"/>
                  </a:lnTo>
                  <a:lnTo>
                    <a:pt x="66" y="77"/>
                  </a:lnTo>
                  <a:lnTo>
                    <a:pt x="66" y="80"/>
                  </a:lnTo>
                  <a:lnTo>
                    <a:pt x="68" y="82"/>
                  </a:lnTo>
                  <a:lnTo>
                    <a:pt x="69" y="83"/>
                  </a:lnTo>
                  <a:lnTo>
                    <a:pt x="72" y="83"/>
                  </a:lnTo>
                  <a:lnTo>
                    <a:pt x="72" y="85"/>
                  </a:lnTo>
                  <a:lnTo>
                    <a:pt x="75" y="85"/>
                  </a:lnTo>
                  <a:lnTo>
                    <a:pt x="77" y="85"/>
                  </a:lnTo>
                  <a:lnTo>
                    <a:pt x="77" y="86"/>
                  </a:lnTo>
                  <a:lnTo>
                    <a:pt x="77" y="86"/>
                  </a:lnTo>
                  <a:lnTo>
                    <a:pt x="77" y="86"/>
                  </a:lnTo>
                  <a:lnTo>
                    <a:pt x="77" y="88"/>
                  </a:lnTo>
                  <a:lnTo>
                    <a:pt x="75" y="89"/>
                  </a:lnTo>
                  <a:lnTo>
                    <a:pt x="72" y="89"/>
                  </a:lnTo>
                  <a:lnTo>
                    <a:pt x="71" y="89"/>
                  </a:lnTo>
                  <a:lnTo>
                    <a:pt x="69" y="88"/>
                  </a:lnTo>
                  <a:lnTo>
                    <a:pt x="66" y="88"/>
                  </a:lnTo>
                  <a:lnTo>
                    <a:pt x="66" y="91"/>
                  </a:lnTo>
                  <a:lnTo>
                    <a:pt x="69" y="93"/>
                  </a:lnTo>
                  <a:lnTo>
                    <a:pt x="72" y="93"/>
                  </a:lnTo>
                  <a:lnTo>
                    <a:pt x="72" y="96"/>
                  </a:lnTo>
                  <a:lnTo>
                    <a:pt x="75" y="96"/>
                  </a:lnTo>
                  <a:lnTo>
                    <a:pt x="75" y="93"/>
                  </a:lnTo>
                  <a:lnTo>
                    <a:pt x="78" y="93"/>
                  </a:lnTo>
                  <a:lnTo>
                    <a:pt x="80" y="91"/>
                  </a:lnTo>
                  <a:lnTo>
                    <a:pt x="81" y="89"/>
                  </a:lnTo>
                  <a:lnTo>
                    <a:pt x="81" y="86"/>
                  </a:lnTo>
                  <a:lnTo>
                    <a:pt x="81" y="85"/>
                  </a:lnTo>
                  <a:lnTo>
                    <a:pt x="81" y="85"/>
                  </a:lnTo>
                  <a:lnTo>
                    <a:pt x="80" y="82"/>
                  </a:lnTo>
                  <a:lnTo>
                    <a:pt x="78" y="82"/>
                  </a:lnTo>
                  <a:lnTo>
                    <a:pt x="75" y="80"/>
                  </a:lnTo>
                  <a:lnTo>
                    <a:pt x="72" y="80"/>
                  </a:lnTo>
                  <a:lnTo>
                    <a:pt x="71" y="79"/>
                  </a:lnTo>
                  <a:lnTo>
                    <a:pt x="71" y="77"/>
                  </a:lnTo>
                  <a:lnTo>
                    <a:pt x="72" y="77"/>
                  </a:lnTo>
                  <a:lnTo>
                    <a:pt x="72" y="76"/>
                  </a:lnTo>
                  <a:lnTo>
                    <a:pt x="74" y="76"/>
                  </a:lnTo>
                  <a:lnTo>
                    <a:pt x="74" y="76"/>
                  </a:lnTo>
                  <a:lnTo>
                    <a:pt x="75" y="76"/>
                  </a:lnTo>
                  <a:lnTo>
                    <a:pt x="75" y="76"/>
                  </a:lnTo>
                  <a:lnTo>
                    <a:pt x="78" y="76"/>
                  </a:lnTo>
                  <a:lnTo>
                    <a:pt x="80" y="77"/>
                  </a:lnTo>
                  <a:lnTo>
                    <a:pt x="81" y="74"/>
                  </a:lnTo>
                  <a:lnTo>
                    <a:pt x="78" y="73"/>
                  </a:lnTo>
                  <a:lnTo>
                    <a:pt x="75" y="73"/>
                  </a:lnTo>
                  <a:lnTo>
                    <a:pt x="75" y="70"/>
                  </a:lnTo>
                  <a:lnTo>
                    <a:pt x="72" y="70"/>
                  </a:lnTo>
                  <a:close/>
                  <a:moveTo>
                    <a:pt x="42" y="67"/>
                  </a:moveTo>
                  <a:lnTo>
                    <a:pt x="103" y="67"/>
                  </a:lnTo>
                  <a:lnTo>
                    <a:pt x="103" y="99"/>
                  </a:lnTo>
                  <a:lnTo>
                    <a:pt x="42" y="99"/>
                  </a:lnTo>
                  <a:lnTo>
                    <a:pt x="42" y="67"/>
                  </a:lnTo>
                  <a:close/>
                  <a:moveTo>
                    <a:pt x="55" y="54"/>
                  </a:moveTo>
                  <a:lnTo>
                    <a:pt x="116" y="54"/>
                  </a:lnTo>
                  <a:lnTo>
                    <a:pt x="116" y="86"/>
                  </a:lnTo>
                  <a:lnTo>
                    <a:pt x="110" y="86"/>
                  </a:lnTo>
                  <a:lnTo>
                    <a:pt x="110" y="64"/>
                  </a:lnTo>
                  <a:lnTo>
                    <a:pt x="109" y="62"/>
                  </a:lnTo>
                  <a:lnTo>
                    <a:pt x="109" y="61"/>
                  </a:lnTo>
                  <a:lnTo>
                    <a:pt x="107" y="61"/>
                  </a:lnTo>
                  <a:lnTo>
                    <a:pt x="55" y="61"/>
                  </a:lnTo>
                  <a:lnTo>
                    <a:pt x="55" y="54"/>
                  </a:lnTo>
                  <a:close/>
                  <a:moveTo>
                    <a:pt x="52" y="48"/>
                  </a:moveTo>
                  <a:lnTo>
                    <a:pt x="49" y="48"/>
                  </a:lnTo>
                  <a:lnTo>
                    <a:pt x="49" y="50"/>
                  </a:lnTo>
                  <a:lnTo>
                    <a:pt x="49" y="61"/>
                  </a:lnTo>
                  <a:lnTo>
                    <a:pt x="39" y="61"/>
                  </a:lnTo>
                  <a:lnTo>
                    <a:pt x="37" y="61"/>
                  </a:lnTo>
                  <a:lnTo>
                    <a:pt x="36" y="64"/>
                  </a:lnTo>
                  <a:lnTo>
                    <a:pt x="36" y="102"/>
                  </a:lnTo>
                  <a:lnTo>
                    <a:pt x="37" y="105"/>
                  </a:lnTo>
                  <a:lnTo>
                    <a:pt x="39" y="105"/>
                  </a:lnTo>
                  <a:lnTo>
                    <a:pt x="107" y="105"/>
                  </a:lnTo>
                  <a:lnTo>
                    <a:pt x="109" y="105"/>
                  </a:lnTo>
                  <a:lnTo>
                    <a:pt x="109" y="103"/>
                  </a:lnTo>
                  <a:lnTo>
                    <a:pt x="110" y="102"/>
                  </a:lnTo>
                  <a:lnTo>
                    <a:pt x="110" y="93"/>
                  </a:lnTo>
                  <a:lnTo>
                    <a:pt x="119" y="93"/>
                  </a:lnTo>
                  <a:lnTo>
                    <a:pt x="121" y="91"/>
                  </a:lnTo>
                  <a:lnTo>
                    <a:pt x="122" y="89"/>
                  </a:lnTo>
                  <a:lnTo>
                    <a:pt x="122" y="50"/>
                  </a:lnTo>
                  <a:lnTo>
                    <a:pt x="122" y="48"/>
                  </a:lnTo>
                  <a:lnTo>
                    <a:pt x="121" y="48"/>
                  </a:lnTo>
                  <a:lnTo>
                    <a:pt x="119" y="48"/>
                  </a:lnTo>
                  <a:lnTo>
                    <a:pt x="52" y="48"/>
                  </a:lnTo>
                  <a:close/>
                  <a:moveTo>
                    <a:pt x="78" y="0"/>
                  </a:moveTo>
                  <a:lnTo>
                    <a:pt x="103" y="3"/>
                  </a:lnTo>
                  <a:lnTo>
                    <a:pt x="124" y="15"/>
                  </a:lnTo>
                  <a:lnTo>
                    <a:pt x="141" y="32"/>
                  </a:lnTo>
                  <a:lnTo>
                    <a:pt x="151" y="51"/>
                  </a:lnTo>
                  <a:lnTo>
                    <a:pt x="154" y="76"/>
                  </a:lnTo>
                  <a:lnTo>
                    <a:pt x="151" y="100"/>
                  </a:lnTo>
                  <a:lnTo>
                    <a:pt x="141" y="122"/>
                  </a:lnTo>
                  <a:lnTo>
                    <a:pt x="124" y="138"/>
                  </a:lnTo>
                  <a:lnTo>
                    <a:pt x="103" y="150"/>
                  </a:lnTo>
                  <a:lnTo>
                    <a:pt x="78" y="154"/>
                  </a:lnTo>
                  <a:lnTo>
                    <a:pt x="54" y="150"/>
                  </a:lnTo>
                  <a:lnTo>
                    <a:pt x="32" y="138"/>
                  </a:lnTo>
                  <a:lnTo>
                    <a:pt x="16" y="122"/>
                  </a:lnTo>
                  <a:lnTo>
                    <a:pt x="5" y="100"/>
                  </a:lnTo>
                  <a:lnTo>
                    <a:pt x="0" y="76"/>
                  </a:lnTo>
                  <a:lnTo>
                    <a:pt x="0" y="76"/>
                  </a:lnTo>
                  <a:lnTo>
                    <a:pt x="5" y="51"/>
                  </a:lnTo>
                  <a:lnTo>
                    <a:pt x="16" y="32"/>
                  </a:lnTo>
                  <a:lnTo>
                    <a:pt x="32" y="15"/>
                  </a:lnTo>
                  <a:lnTo>
                    <a:pt x="54" y="3"/>
                  </a:lnTo>
                  <a:lnTo>
                    <a:pt x="7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40">
              <a:extLst>
                <a:ext uri="{FF2B5EF4-FFF2-40B4-BE49-F238E27FC236}">
                  <a16:creationId xmlns:a16="http://schemas.microsoft.com/office/drawing/2014/main" id="{E88EE0F6-4443-9844-B512-CF47856C55DC}"/>
                </a:ext>
              </a:extLst>
            </p:cNvPr>
            <p:cNvSpPr>
              <a:spLocks noEditPoints="1"/>
            </p:cNvSpPr>
            <p:nvPr/>
          </p:nvSpPr>
          <p:spPr bwMode="auto">
            <a:xfrm>
              <a:off x="3738563" y="1992313"/>
              <a:ext cx="377825" cy="374650"/>
            </a:xfrm>
            <a:custGeom>
              <a:avLst/>
              <a:gdLst>
                <a:gd name="T0" fmla="*/ 81 w 238"/>
                <a:gd name="T1" fmla="*/ 149 h 236"/>
                <a:gd name="T2" fmla="*/ 85 w 238"/>
                <a:gd name="T3" fmla="*/ 161 h 236"/>
                <a:gd name="T4" fmla="*/ 98 w 238"/>
                <a:gd name="T5" fmla="*/ 158 h 236"/>
                <a:gd name="T6" fmla="*/ 119 w 238"/>
                <a:gd name="T7" fmla="*/ 163 h 236"/>
                <a:gd name="T8" fmla="*/ 140 w 238"/>
                <a:gd name="T9" fmla="*/ 158 h 236"/>
                <a:gd name="T10" fmla="*/ 152 w 238"/>
                <a:gd name="T11" fmla="*/ 161 h 236"/>
                <a:gd name="T12" fmla="*/ 159 w 238"/>
                <a:gd name="T13" fmla="*/ 149 h 236"/>
                <a:gd name="T14" fmla="*/ 145 w 238"/>
                <a:gd name="T15" fmla="*/ 143 h 236"/>
                <a:gd name="T16" fmla="*/ 125 w 238"/>
                <a:gd name="T17" fmla="*/ 145 h 236"/>
                <a:gd name="T18" fmla="*/ 113 w 238"/>
                <a:gd name="T19" fmla="*/ 145 h 236"/>
                <a:gd name="T20" fmla="*/ 93 w 238"/>
                <a:gd name="T21" fmla="*/ 143 h 236"/>
                <a:gd name="T22" fmla="*/ 82 w 238"/>
                <a:gd name="T23" fmla="*/ 111 h 236"/>
                <a:gd name="T24" fmla="*/ 82 w 238"/>
                <a:gd name="T25" fmla="*/ 125 h 236"/>
                <a:gd name="T26" fmla="*/ 96 w 238"/>
                <a:gd name="T27" fmla="*/ 126 h 236"/>
                <a:gd name="T28" fmla="*/ 125 w 238"/>
                <a:gd name="T29" fmla="*/ 128 h 236"/>
                <a:gd name="T30" fmla="*/ 137 w 238"/>
                <a:gd name="T31" fmla="*/ 123 h 236"/>
                <a:gd name="T32" fmla="*/ 149 w 238"/>
                <a:gd name="T33" fmla="*/ 128 h 236"/>
                <a:gd name="T34" fmla="*/ 159 w 238"/>
                <a:gd name="T35" fmla="*/ 119 h 236"/>
                <a:gd name="T36" fmla="*/ 149 w 238"/>
                <a:gd name="T37" fmla="*/ 108 h 236"/>
                <a:gd name="T38" fmla="*/ 137 w 238"/>
                <a:gd name="T39" fmla="*/ 113 h 236"/>
                <a:gd name="T40" fmla="*/ 125 w 238"/>
                <a:gd name="T41" fmla="*/ 108 h 236"/>
                <a:gd name="T42" fmla="*/ 96 w 238"/>
                <a:gd name="T43" fmla="*/ 111 h 236"/>
                <a:gd name="T44" fmla="*/ 85 w 238"/>
                <a:gd name="T45" fmla="*/ 75 h 236"/>
                <a:gd name="T46" fmla="*/ 81 w 238"/>
                <a:gd name="T47" fmla="*/ 87 h 236"/>
                <a:gd name="T48" fmla="*/ 93 w 238"/>
                <a:gd name="T49" fmla="*/ 93 h 236"/>
                <a:gd name="T50" fmla="*/ 102 w 238"/>
                <a:gd name="T51" fmla="*/ 91 h 236"/>
                <a:gd name="T52" fmla="*/ 116 w 238"/>
                <a:gd name="T53" fmla="*/ 91 h 236"/>
                <a:gd name="T54" fmla="*/ 145 w 238"/>
                <a:gd name="T55" fmla="*/ 93 h 236"/>
                <a:gd name="T56" fmla="*/ 159 w 238"/>
                <a:gd name="T57" fmla="*/ 87 h 236"/>
                <a:gd name="T58" fmla="*/ 152 w 238"/>
                <a:gd name="T59" fmla="*/ 75 h 236"/>
                <a:gd name="T60" fmla="*/ 140 w 238"/>
                <a:gd name="T61" fmla="*/ 79 h 236"/>
                <a:gd name="T62" fmla="*/ 110 w 238"/>
                <a:gd name="T63" fmla="*/ 75 h 236"/>
                <a:gd name="T64" fmla="*/ 98 w 238"/>
                <a:gd name="T65" fmla="*/ 79 h 236"/>
                <a:gd name="T66" fmla="*/ 64 w 238"/>
                <a:gd name="T67" fmla="*/ 53 h 236"/>
                <a:gd name="T68" fmla="*/ 59 w 238"/>
                <a:gd name="T69" fmla="*/ 172 h 236"/>
                <a:gd name="T70" fmla="*/ 55 w 238"/>
                <a:gd name="T71" fmla="*/ 180 h 236"/>
                <a:gd name="T72" fmla="*/ 181 w 238"/>
                <a:gd name="T73" fmla="*/ 181 h 236"/>
                <a:gd name="T74" fmla="*/ 181 w 238"/>
                <a:gd name="T75" fmla="*/ 174 h 236"/>
                <a:gd name="T76" fmla="*/ 177 w 238"/>
                <a:gd name="T77" fmla="*/ 55 h 236"/>
                <a:gd name="T78" fmla="*/ 169 w 238"/>
                <a:gd name="T79" fmla="*/ 59 h 236"/>
                <a:gd name="T80" fmla="*/ 69 w 238"/>
                <a:gd name="T81" fmla="*/ 56 h 236"/>
                <a:gd name="T82" fmla="*/ 119 w 238"/>
                <a:gd name="T83" fmla="*/ 0 h 236"/>
                <a:gd name="T84" fmla="*/ 223 w 238"/>
                <a:gd name="T85" fmla="*/ 58 h 236"/>
                <a:gd name="T86" fmla="*/ 223 w 238"/>
                <a:gd name="T87" fmla="*/ 178 h 236"/>
                <a:gd name="T88" fmla="*/ 119 w 238"/>
                <a:gd name="T89" fmla="*/ 236 h 236"/>
                <a:gd name="T90" fmla="*/ 35 w 238"/>
                <a:gd name="T91" fmla="*/ 203 h 236"/>
                <a:gd name="T92" fmla="*/ 0 w 238"/>
                <a:gd name="T93" fmla="*/ 119 h 236"/>
                <a:gd name="T94" fmla="*/ 59 w 238"/>
                <a:gd name="T95" fmla="*/ 1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8" h="236">
                  <a:moveTo>
                    <a:pt x="90" y="143"/>
                  </a:moveTo>
                  <a:lnTo>
                    <a:pt x="85" y="143"/>
                  </a:lnTo>
                  <a:lnTo>
                    <a:pt x="82" y="146"/>
                  </a:lnTo>
                  <a:lnTo>
                    <a:pt x="81" y="149"/>
                  </a:lnTo>
                  <a:lnTo>
                    <a:pt x="79" y="152"/>
                  </a:lnTo>
                  <a:lnTo>
                    <a:pt x="81" y="157"/>
                  </a:lnTo>
                  <a:lnTo>
                    <a:pt x="82" y="160"/>
                  </a:lnTo>
                  <a:lnTo>
                    <a:pt x="85" y="161"/>
                  </a:lnTo>
                  <a:lnTo>
                    <a:pt x="90" y="163"/>
                  </a:lnTo>
                  <a:lnTo>
                    <a:pt x="93" y="161"/>
                  </a:lnTo>
                  <a:lnTo>
                    <a:pt x="96" y="160"/>
                  </a:lnTo>
                  <a:lnTo>
                    <a:pt x="98" y="158"/>
                  </a:lnTo>
                  <a:lnTo>
                    <a:pt x="110" y="158"/>
                  </a:lnTo>
                  <a:lnTo>
                    <a:pt x="113" y="160"/>
                  </a:lnTo>
                  <a:lnTo>
                    <a:pt x="116" y="161"/>
                  </a:lnTo>
                  <a:lnTo>
                    <a:pt x="119" y="163"/>
                  </a:lnTo>
                  <a:lnTo>
                    <a:pt x="122" y="161"/>
                  </a:lnTo>
                  <a:lnTo>
                    <a:pt x="125" y="160"/>
                  </a:lnTo>
                  <a:lnTo>
                    <a:pt x="128" y="158"/>
                  </a:lnTo>
                  <a:lnTo>
                    <a:pt x="140" y="158"/>
                  </a:lnTo>
                  <a:lnTo>
                    <a:pt x="142" y="160"/>
                  </a:lnTo>
                  <a:lnTo>
                    <a:pt x="145" y="161"/>
                  </a:lnTo>
                  <a:lnTo>
                    <a:pt x="149" y="163"/>
                  </a:lnTo>
                  <a:lnTo>
                    <a:pt x="152" y="161"/>
                  </a:lnTo>
                  <a:lnTo>
                    <a:pt x="156" y="160"/>
                  </a:lnTo>
                  <a:lnTo>
                    <a:pt x="159" y="157"/>
                  </a:lnTo>
                  <a:lnTo>
                    <a:pt x="159" y="152"/>
                  </a:lnTo>
                  <a:lnTo>
                    <a:pt x="159" y="149"/>
                  </a:lnTo>
                  <a:lnTo>
                    <a:pt x="156" y="146"/>
                  </a:lnTo>
                  <a:lnTo>
                    <a:pt x="152" y="143"/>
                  </a:lnTo>
                  <a:lnTo>
                    <a:pt x="149" y="143"/>
                  </a:lnTo>
                  <a:lnTo>
                    <a:pt x="145" y="143"/>
                  </a:lnTo>
                  <a:lnTo>
                    <a:pt x="142" y="145"/>
                  </a:lnTo>
                  <a:lnTo>
                    <a:pt x="140" y="148"/>
                  </a:lnTo>
                  <a:lnTo>
                    <a:pt x="128" y="148"/>
                  </a:lnTo>
                  <a:lnTo>
                    <a:pt x="125" y="145"/>
                  </a:lnTo>
                  <a:lnTo>
                    <a:pt x="122" y="143"/>
                  </a:lnTo>
                  <a:lnTo>
                    <a:pt x="119" y="143"/>
                  </a:lnTo>
                  <a:lnTo>
                    <a:pt x="116" y="143"/>
                  </a:lnTo>
                  <a:lnTo>
                    <a:pt x="113" y="145"/>
                  </a:lnTo>
                  <a:lnTo>
                    <a:pt x="110" y="148"/>
                  </a:lnTo>
                  <a:lnTo>
                    <a:pt x="98" y="148"/>
                  </a:lnTo>
                  <a:lnTo>
                    <a:pt x="96" y="145"/>
                  </a:lnTo>
                  <a:lnTo>
                    <a:pt x="93" y="143"/>
                  </a:lnTo>
                  <a:lnTo>
                    <a:pt x="90" y="143"/>
                  </a:lnTo>
                  <a:close/>
                  <a:moveTo>
                    <a:pt x="90" y="108"/>
                  </a:moveTo>
                  <a:lnTo>
                    <a:pt x="85" y="110"/>
                  </a:lnTo>
                  <a:lnTo>
                    <a:pt x="82" y="111"/>
                  </a:lnTo>
                  <a:lnTo>
                    <a:pt x="81" y="114"/>
                  </a:lnTo>
                  <a:lnTo>
                    <a:pt x="79" y="119"/>
                  </a:lnTo>
                  <a:lnTo>
                    <a:pt x="81" y="122"/>
                  </a:lnTo>
                  <a:lnTo>
                    <a:pt x="82" y="125"/>
                  </a:lnTo>
                  <a:lnTo>
                    <a:pt x="85" y="128"/>
                  </a:lnTo>
                  <a:lnTo>
                    <a:pt x="90" y="128"/>
                  </a:lnTo>
                  <a:lnTo>
                    <a:pt x="93" y="128"/>
                  </a:lnTo>
                  <a:lnTo>
                    <a:pt x="96" y="126"/>
                  </a:lnTo>
                  <a:lnTo>
                    <a:pt x="98" y="123"/>
                  </a:lnTo>
                  <a:lnTo>
                    <a:pt x="120" y="123"/>
                  </a:lnTo>
                  <a:lnTo>
                    <a:pt x="122" y="126"/>
                  </a:lnTo>
                  <a:lnTo>
                    <a:pt x="125" y="128"/>
                  </a:lnTo>
                  <a:lnTo>
                    <a:pt x="130" y="128"/>
                  </a:lnTo>
                  <a:lnTo>
                    <a:pt x="133" y="128"/>
                  </a:lnTo>
                  <a:lnTo>
                    <a:pt x="136" y="126"/>
                  </a:lnTo>
                  <a:lnTo>
                    <a:pt x="137" y="123"/>
                  </a:lnTo>
                  <a:lnTo>
                    <a:pt x="140" y="123"/>
                  </a:lnTo>
                  <a:lnTo>
                    <a:pt x="142" y="126"/>
                  </a:lnTo>
                  <a:lnTo>
                    <a:pt x="145" y="128"/>
                  </a:lnTo>
                  <a:lnTo>
                    <a:pt x="149" y="128"/>
                  </a:lnTo>
                  <a:lnTo>
                    <a:pt x="152" y="128"/>
                  </a:lnTo>
                  <a:lnTo>
                    <a:pt x="156" y="125"/>
                  </a:lnTo>
                  <a:lnTo>
                    <a:pt x="159" y="122"/>
                  </a:lnTo>
                  <a:lnTo>
                    <a:pt x="159" y="119"/>
                  </a:lnTo>
                  <a:lnTo>
                    <a:pt x="159" y="114"/>
                  </a:lnTo>
                  <a:lnTo>
                    <a:pt x="156" y="111"/>
                  </a:lnTo>
                  <a:lnTo>
                    <a:pt x="152" y="110"/>
                  </a:lnTo>
                  <a:lnTo>
                    <a:pt x="149" y="108"/>
                  </a:lnTo>
                  <a:lnTo>
                    <a:pt x="145" y="108"/>
                  </a:lnTo>
                  <a:lnTo>
                    <a:pt x="142" y="111"/>
                  </a:lnTo>
                  <a:lnTo>
                    <a:pt x="140" y="113"/>
                  </a:lnTo>
                  <a:lnTo>
                    <a:pt x="137" y="113"/>
                  </a:lnTo>
                  <a:lnTo>
                    <a:pt x="136" y="111"/>
                  </a:lnTo>
                  <a:lnTo>
                    <a:pt x="133" y="108"/>
                  </a:lnTo>
                  <a:lnTo>
                    <a:pt x="130" y="108"/>
                  </a:lnTo>
                  <a:lnTo>
                    <a:pt x="125" y="108"/>
                  </a:lnTo>
                  <a:lnTo>
                    <a:pt x="122" y="111"/>
                  </a:lnTo>
                  <a:lnTo>
                    <a:pt x="120" y="113"/>
                  </a:lnTo>
                  <a:lnTo>
                    <a:pt x="98" y="113"/>
                  </a:lnTo>
                  <a:lnTo>
                    <a:pt x="96" y="111"/>
                  </a:lnTo>
                  <a:lnTo>
                    <a:pt x="93" y="108"/>
                  </a:lnTo>
                  <a:lnTo>
                    <a:pt x="90" y="108"/>
                  </a:lnTo>
                  <a:close/>
                  <a:moveTo>
                    <a:pt x="90" y="75"/>
                  </a:moveTo>
                  <a:lnTo>
                    <a:pt x="85" y="75"/>
                  </a:lnTo>
                  <a:lnTo>
                    <a:pt x="82" y="76"/>
                  </a:lnTo>
                  <a:lnTo>
                    <a:pt x="81" y="79"/>
                  </a:lnTo>
                  <a:lnTo>
                    <a:pt x="79" y="84"/>
                  </a:lnTo>
                  <a:lnTo>
                    <a:pt x="81" y="87"/>
                  </a:lnTo>
                  <a:lnTo>
                    <a:pt x="82" y="90"/>
                  </a:lnTo>
                  <a:lnTo>
                    <a:pt x="85" y="93"/>
                  </a:lnTo>
                  <a:lnTo>
                    <a:pt x="90" y="93"/>
                  </a:lnTo>
                  <a:lnTo>
                    <a:pt x="93" y="93"/>
                  </a:lnTo>
                  <a:lnTo>
                    <a:pt x="96" y="91"/>
                  </a:lnTo>
                  <a:lnTo>
                    <a:pt x="98" y="88"/>
                  </a:lnTo>
                  <a:lnTo>
                    <a:pt x="101" y="88"/>
                  </a:lnTo>
                  <a:lnTo>
                    <a:pt x="102" y="91"/>
                  </a:lnTo>
                  <a:lnTo>
                    <a:pt x="105" y="93"/>
                  </a:lnTo>
                  <a:lnTo>
                    <a:pt x="110" y="93"/>
                  </a:lnTo>
                  <a:lnTo>
                    <a:pt x="113" y="93"/>
                  </a:lnTo>
                  <a:lnTo>
                    <a:pt x="116" y="91"/>
                  </a:lnTo>
                  <a:lnTo>
                    <a:pt x="117" y="88"/>
                  </a:lnTo>
                  <a:lnTo>
                    <a:pt x="140" y="88"/>
                  </a:lnTo>
                  <a:lnTo>
                    <a:pt x="142" y="91"/>
                  </a:lnTo>
                  <a:lnTo>
                    <a:pt x="145" y="93"/>
                  </a:lnTo>
                  <a:lnTo>
                    <a:pt x="149" y="93"/>
                  </a:lnTo>
                  <a:lnTo>
                    <a:pt x="152" y="93"/>
                  </a:lnTo>
                  <a:lnTo>
                    <a:pt x="156" y="90"/>
                  </a:lnTo>
                  <a:lnTo>
                    <a:pt x="159" y="87"/>
                  </a:lnTo>
                  <a:lnTo>
                    <a:pt x="159" y="84"/>
                  </a:lnTo>
                  <a:lnTo>
                    <a:pt x="159" y="79"/>
                  </a:lnTo>
                  <a:lnTo>
                    <a:pt x="156" y="76"/>
                  </a:lnTo>
                  <a:lnTo>
                    <a:pt x="152" y="75"/>
                  </a:lnTo>
                  <a:lnTo>
                    <a:pt x="149" y="75"/>
                  </a:lnTo>
                  <a:lnTo>
                    <a:pt x="145" y="75"/>
                  </a:lnTo>
                  <a:lnTo>
                    <a:pt x="142" y="76"/>
                  </a:lnTo>
                  <a:lnTo>
                    <a:pt x="140" y="79"/>
                  </a:lnTo>
                  <a:lnTo>
                    <a:pt x="117" y="79"/>
                  </a:lnTo>
                  <a:lnTo>
                    <a:pt x="116" y="76"/>
                  </a:lnTo>
                  <a:lnTo>
                    <a:pt x="113" y="75"/>
                  </a:lnTo>
                  <a:lnTo>
                    <a:pt x="110" y="75"/>
                  </a:lnTo>
                  <a:lnTo>
                    <a:pt x="105" y="75"/>
                  </a:lnTo>
                  <a:lnTo>
                    <a:pt x="102" y="76"/>
                  </a:lnTo>
                  <a:lnTo>
                    <a:pt x="101" y="79"/>
                  </a:lnTo>
                  <a:lnTo>
                    <a:pt x="98" y="79"/>
                  </a:lnTo>
                  <a:lnTo>
                    <a:pt x="96" y="76"/>
                  </a:lnTo>
                  <a:lnTo>
                    <a:pt x="93" y="75"/>
                  </a:lnTo>
                  <a:lnTo>
                    <a:pt x="90" y="75"/>
                  </a:lnTo>
                  <a:close/>
                  <a:moveTo>
                    <a:pt x="64" y="53"/>
                  </a:moveTo>
                  <a:lnTo>
                    <a:pt x="62" y="55"/>
                  </a:lnTo>
                  <a:lnTo>
                    <a:pt x="61" y="56"/>
                  </a:lnTo>
                  <a:lnTo>
                    <a:pt x="59" y="59"/>
                  </a:lnTo>
                  <a:lnTo>
                    <a:pt x="59" y="172"/>
                  </a:lnTo>
                  <a:lnTo>
                    <a:pt x="58" y="174"/>
                  </a:lnTo>
                  <a:lnTo>
                    <a:pt x="55" y="175"/>
                  </a:lnTo>
                  <a:lnTo>
                    <a:pt x="55" y="178"/>
                  </a:lnTo>
                  <a:lnTo>
                    <a:pt x="55" y="180"/>
                  </a:lnTo>
                  <a:lnTo>
                    <a:pt x="58" y="181"/>
                  </a:lnTo>
                  <a:lnTo>
                    <a:pt x="59" y="183"/>
                  </a:lnTo>
                  <a:lnTo>
                    <a:pt x="178" y="183"/>
                  </a:lnTo>
                  <a:lnTo>
                    <a:pt x="181" y="181"/>
                  </a:lnTo>
                  <a:lnTo>
                    <a:pt x="183" y="180"/>
                  </a:lnTo>
                  <a:lnTo>
                    <a:pt x="183" y="178"/>
                  </a:lnTo>
                  <a:lnTo>
                    <a:pt x="183" y="175"/>
                  </a:lnTo>
                  <a:lnTo>
                    <a:pt x="181" y="174"/>
                  </a:lnTo>
                  <a:lnTo>
                    <a:pt x="178" y="172"/>
                  </a:lnTo>
                  <a:lnTo>
                    <a:pt x="178" y="59"/>
                  </a:lnTo>
                  <a:lnTo>
                    <a:pt x="178" y="56"/>
                  </a:lnTo>
                  <a:lnTo>
                    <a:pt x="177" y="55"/>
                  </a:lnTo>
                  <a:lnTo>
                    <a:pt x="174" y="53"/>
                  </a:lnTo>
                  <a:lnTo>
                    <a:pt x="171" y="55"/>
                  </a:lnTo>
                  <a:lnTo>
                    <a:pt x="169" y="56"/>
                  </a:lnTo>
                  <a:lnTo>
                    <a:pt x="169" y="59"/>
                  </a:lnTo>
                  <a:lnTo>
                    <a:pt x="169" y="172"/>
                  </a:lnTo>
                  <a:lnTo>
                    <a:pt x="70" y="172"/>
                  </a:lnTo>
                  <a:lnTo>
                    <a:pt x="70" y="59"/>
                  </a:lnTo>
                  <a:lnTo>
                    <a:pt x="69" y="56"/>
                  </a:lnTo>
                  <a:lnTo>
                    <a:pt x="67" y="55"/>
                  </a:lnTo>
                  <a:lnTo>
                    <a:pt x="64" y="53"/>
                  </a:lnTo>
                  <a:close/>
                  <a:moveTo>
                    <a:pt x="119" y="0"/>
                  </a:moveTo>
                  <a:lnTo>
                    <a:pt x="119" y="0"/>
                  </a:lnTo>
                  <a:lnTo>
                    <a:pt x="151" y="4"/>
                  </a:lnTo>
                  <a:lnTo>
                    <a:pt x="180" y="17"/>
                  </a:lnTo>
                  <a:lnTo>
                    <a:pt x="203" y="35"/>
                  </a:lnTo>
                  <a:lnTo>
                    <a:pt x="223" y="58"/>
                  </a:lnTo>
                  <a:lnTo>
                    <a:pt x="235" y="87"/>
                  </a:lnTo>
                  <a:lnTo>
                    <a:pt x="238" y="119"/>
                  </a:lnTo>
                  <a:lnTo>
                    <a:pt x="235" y="149"/>
                  </a:lnTo>
                  <a:lnTo>
                    <a:pt x="223" y="178"/>
                  </a:lnTo>
                  <a:lnTo>
                    <a:pt x="203" y="203"/>
                  </a:lnTo>
                  <a:lnTo>
                    <a:pt x="180" y="221"/>
                  </a:lnTo>
                  <a:lnTo>
                    <a:pt x="151" y="233"/>
                  </a:lnTo>
                  <a:lnTo>
                    <a:pt x="119" y="236"/>
                  </a:lnTo>
                  <a:lnTo>
                    <a:pt x="119" y="236"/>
                  </a:lnTo>
                  <a:lnTo>
                    <a:pt x="87" y="233"/>
                  </a:lnTo>
                  <a:lnTo>
                    <a:pt x="59" y="221"/>
                  </a:lnTo>
                  <a:lnTo>
                    <a:pt x="35" y="203"/>
                  </a:lnTo>
                  <a:lnTo>
                    <a:pt x="17" y="178"/>
                  </a:lnTo>
                  <a:lnTo>
                    <a:pt x="5" y="149"/>
                  </a:lnTo>
                  <a:lnTo>
                    <a:pt x="0" y="119"/>
                  </a:lnTo>
                  <a:lnTo>
                    <a:pt x="0" y="119"/>
                  </a:lnTo>
                  <a:lnTo>
                    <a:pt x="5" y="87"/>
                  </a:lnTo>
                  <a:lnTo>
                    <a:pt x="17" y="58"/>
                  </a:lnTo>
                  <a:lnTo>
                    <a:pt x="35" y="35"/>
                  </a:lnTo>
                  <a:lnTo>
                    <a:pt x="59" y="17"/>
                  </a:lnTo>
                  <a:lnTo>
                    <a:pt x="87" y="4"/>
                  </a:lnTo>
                  <a:lnTo>
                    <a:pt x="119"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1" name="Group 130">
            <a:extLst>
              <a:ext uri="{FF2B5EF4-FFF2-40B4-BE49-F238E27FC236}">
                <a16:creationId xmlns:a16="http://schemas.microsoft.com/office/drawing/2014/main" id="{CD297C76-2AB9-CA47-930D-10AEE7422443}"/>
              </a:ext>
            </a:extLst>
          </p:cNvPr>
          <p:cNvGrpSpPr/>
          <p:nvPr/>
        </p:nvGrpSpPr>
        <p:grpSpPr>
          <a:xfrm>
            <a:off x="3913189" y="3207476"/>
            <a:ext cx="4765675" cy="2803525"/>
            <a:chOff x="2185988" y="2030413"/>
            <a:chExt cx="4765675" cy="2803525"/>
          </a:xfrm>
        </p:grpSpPr>
        <p:sp>
          <p:nvSpPr>
            <p:cNvPr id="132" name="Freeform 6">
              <a:extLst>
                <a:ext uri="{FF2B5EF4-FFF2-40B4-BE49-F238E27FC236}">
                  <a16:creationId xmlns:a16="http://schemas.microsoft.com/office/drawing/2014/main" id="{DAE77C6B-8017-F149-B017-CD88C6BDD785}"/>
                </a:ext>
              </a:extLst>
            </p:cNvPr>
            <p:cNvSpPr>
              <a:spLocks/>
            </p:cNvSpPr>
            <p:nvPr/>
          </p:nvSpPr>
          <p:spPr bwMode="auto">
            <a:xfrm>
              <a:off x="5605463" y="4567238"/>
              <a:ext cx="922338" cy="266700"/>
            </a:xfrm>
            <a:custGeom>
              <a:avLst/>
              <a:gdLst>
                <a:gd name="T0" fmla="*/ 0 w 1162"/>
                <a:gd name="T1" fmla="*/ 0 h 336"/>
                <a:gd name="T2" fmla="*/ 207 w 1162"/>
                <a:gd name="T3" fmla="*/ 0 h 336"/>
                <a:gd name="T4" fmla="*/ 683 w 1162"/>
                <a:gd name="T5" fmla="*/ 192 h 336"/>
                <a:gd name="T6" fmla="*/ 1125 w 1162"/>
                <a:gd name="T7" fmla="*/ 49 h 336"/>
                <a:gd name="T8" fmla="*/ 1147 w 1162"/>
                <a:gd name="T9" fmla="*/ 73 h 336"/>
                <a:gd name="T10" fmla="*/ 1158 w 1162"/>
                <a:gd name="T11" fmla="*/ 95 h 336"/>
                <a:gd name="T12" fmla="*/ 1162 w 1162"/>
                <a:gd name="T13" fmla="*/ 115 h 336"/>
                <a:gd name="T14" fmla="*/ 1158 w 1162"/>
                <a:gd name="T15" fmla="*/ 132 h 336"/>
                <a:gd name="T16" fmla="*/ 1153 w 1162"/>
                <a:gd name="T17" fmla="*/ 146 h 336"/>
                <a:gd name="T18" fmla="*/ 1144 w 1162"/>
                <a:gd name="T19" fmla="*/ 157 h 336"/>
                <a:gd name="T20" fmla="*/ 1135 w 1162"/>
                <a:gd name="T21" fmla="*/ 164 h 336"/>
                <a:gd name="T22" fmla="*/ 1129 w 1162"/>
                <a:gd name="T23" fmla="*/ 170 h 336"/>
                <a:gd name="T24" fmla="*/ 1125 w 1162"/>
                <a:gd name="T25" fmla="*/ 172 h 336"/>
                <a:gd name="T26" fmla="*/ 599 w 1162"/>
                <a:gd name="T27" fmla="*/ 336 h 336"/>
                <a:gd name="T28" fmla="*/ 78 w 1162"/>
                <a:gd name="T29" fmla="*/ 49 h 336"/>
                <a:gd name="T30" fmla="*/ 0 w 1162"/>
                <a:gd name="T3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62" h="336">
                  <a:moveTo>
                    <a:pt x="0" y="0"/>
                  </a:moveTo>
                  <a:lnTo>
                    <a:pt x="207" y="0"/>
                  </a:lnTo>
                  <a:lnTo>
                    <a:pt x="683" y="192"/>
                  </a:lnTo>
                  <a:lnTo>
                    <a:pt x="1125" y="49"/>
                  </a:lnTo>
                  <a:lnTo>
                    <a:pt x="1147" y="73"/>
                  </a:lnTo>
                  <a:lnTo>
                    <a:pt x="1158" y="95"/>
                  </a:lnTo>
                  <a:lnTo>
                    <a:pt x="1162" y="115"/>
                  </a:lnTo>
                  <a:lnTo>
                    <a:pt x="1158" y="132"/>
                  </a:lnTo>
                  <a:lnTo>
                    <a:pt x="1153" y="146"/>
                  </a:lnTo>
                  <a:lnTo>
                    <a:pt x="1144" y="157"/>
                  </a:lnTo>
                  <a:lnTo>
                    <a:pt x="1135" y="164"/>
                  </a:lnTo>
                  <a:lnTo>
                    <a:pt x="1129" y="170"/>
                  </a:lnTo>
                  <a:lnTo>
                    <a:pt x="1125" y="172"/>
                  </a:lnTo>
                  <a:lnTo>
                    <a:pt x="599" y="336"/>
                  </a:lnTo>
                  <a:lnTo>
                    <a:pt x="78" y="49"/>
                  </a:lnTo>
                  <a:lnTo>
                    <a:pt x="0" y="0"/>
                  </a:lnTo>
                  <a:close/>
                </a:path>
              </a:pathLst>
            </a:custGeom>
            <a:solidFill>
              <a:srgbClr val="FFEAC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Rectangle 7">
              <a:extLst>
                <a:ext uri="{FF2B5EF4-FFF2-40B4-BE49-F238E27FC236}">
                  <a16:creationId xmlns:a16="http://schemas.microsoft.com/office/drawing/2014/main" id="{D49DDFC8-E04F-E14F-9C27-C1EE0C851811}"/>
                </a:ext>
              </a:extLst>
            </p:cNvPr>
            <p:cNvSpPr>
              <a:spLocks noChangeArrowheads="1"/>
            </p:cNvSpPr>
            <p:nvPr/>
          </p:nvSpPr>
          <p:spPr bwMode="auto">
            <a:xfrm>
              <a:off x="4106863" y="2030413"/>
              <a:ext cx="1209675" cy="908050"/>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8">
              <a:extLst>
                <a:ext uri="{FF2B5EF4-FFF2-40B4-BE49-F238E27FC236}">
                  <a16:creationId xmlns:a16="http://schemas.microsoft.com/office/drawing/2014/main" id="{69D45F4A-5008-8940-9F96-4A9581C98C61}"/>
                </a:ext>
              </a:extLst>
            </p:cNvPr>
            <p:cNvSpPr>
              <a:spLocks/>
            </p:cNvSpPr>
            <p:nvPr/>
          </p:nvSpPr>
          <p:spPr bwMode="auto">
            <a:xfrm>
              <a:off x="2306638" y="2030413"/>
              <a:ext cx="1814513" cy="908050"/>
            </a:xfrm>
            <a:custGeom>
              <a:avLst/>
              <a:gdLst>
                <a:gd name="T0" fmla="*/ 2287 w 2287"/>
                <a:gd name="T1" fmla="*/ 0 h 1145"/>
                <a:gd name="T2" fmla="*/ 2287 w 2287"/>
                <a:gd name="T3" fmla="*/ 1145 h 1145"/>
                <a:gd name="T4" fmla="*/ 988 w 2287"/>
                <a:gd name="T5" fmla="*/ 1145 h 1145"/>
                <a:gd name="T6" fmla="*/ 0 w 2287"/>
                <a:gd name="T7" fmla="*/ 333 h 1145"/>
                <a:gd name="T8" fmla="*/ 2 w 2287"/>
                <a:gd name="T9" fmla="*/ 329 h 1145"/>
                <a:gd name="T10" fmla="*/ 9 w 2287"/>
                <a:gd name="T11" fmla="*/ 318 h 1145"/>
                <a:gd name="T12" fmla="*/ 22 w 2287"/>
                <a:gd name="T13" fmla="*/ 302 h 1145"/>
                <a:gd name="T14" fmla="*/ 40 w 2287"/>
                <a:gd name="T15" fmla="*/ 280 h 1145"/>
                <a:gd name="T16" fmla="*/ 62 w 2287"/>
                <a:gd name="T17" fmla="*/ 254 h 1145"/>
                <a:gd name="T18" fmla="*/ 91 w 2287"/>
                <a:gd name="T19" fmla="*/ 225 h 1145"/>
                <a:gd name="T20" fmla="*/ 124 w 2287"/>
                <a:gd name="T21" fmla="*/ 196 h 1145"/>
                <a:gd name="T22" fmla="*/ 164 w 2287"/>
                <a:gd name="T23" fmla="*/ 165 h 1145"/>
                <a:gd name="T24" fmla="*/ 210 w 2287"/>
                <a:gd name="T25" fmla="*/ 134 h 1145"/>
                <a:gd name="T26" fmla="*/ 259 w 2287"/>
                <a:gd name="T27" fmla="*/ 103 h 1145"/>
                <a:gd name="T28" fmla="*/ 317 w 2287"/>
                <a:gd name="T29" fmla="*/ 75 h 1145"/>
                <a:gd name="T30" fmla="*/ 379 w 2287"/>
                <a:gd name="T31" fmla="*/ 50 h 1145"/>
                <a:gd name="T32" fmla="*/ 448 w 2287"/>
                <a:gd name="T33" fmla="*/ 30 h 1145"/>
                <a:gd name="T34" fmla="*/ 523 w 2287"/>
                <a:gd name="T35" fmla="*/ 13 h 1145"/>
                <a:gd name="T36" fmla="*/ 603 w 2287"/>
                <a:gd name="T37" fmla="*/ 2 h 1145"/>
                <a:gd name="T38" fmla="*/ 691 w 2287"/>
                <a:gd name="T39" fmla="*/ 0 h 1145"/>
                <a:gd name="T40" fmla="*/ 2287 w 2287"/>
                <a:gd name="T41" fmla="*/ 0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87" h="1145">
                  <a:moveTo>
                    <a:pt x="2287" y="0"/>
                  </a:moveTo>
                  <a:lnTo>
                    <a:pt x="2287" y="1145"/>
                  </a:lnTo>
                  <a:lnTo>
                    <a:pt x="988" y="1145"/>
                  </a:lnTo>
                  <a:lnTo>
                    <a:pt x="0" y="333"/>
                  </a:lnTo>
                  <a:lnTo>
                    <a:pt x="2" y="329"/>
                  </a:lnTo>
                  <a:lnTo>
                    <a:pt x="9" y="318"/>
                  </a:lnTo>
                  <a:lnTo>
                    <a:pt x="22" y="302"/>
                  </a:lnTo>
                  <a:lnTo>
                    <a:pt x="40" y="280"/>
                  </a:lnTo>
                  <a:lnTo>
                    <a:pt x="62" y="254"/>
                  </a:lnTo>
                  <a:lnTo>
                    <a:pt x="91" y="225"/>
                  </a:lnTo>
                  <a:lnTo>
                    <a:pt x="124" y="196"/>
                  </a:lnTo>
                  <a:lnTo>
                    <a:pt x="164" y="165"/>
                  </a:lnTo>
                  <a:lnTo>
                    <a:pt x="210" y="134"/>
                  </a:lnTo>
                  <a:lnTo>
                    <a:pt x="259" y="103"/>
                  </a:lnTo>
                  <a:lnTo>
                    <a:pt x="317" y="75"/>
                  </a:lnTo>
                  <a:lnTo>
                    <a:pt x="379" y="50"/>
                  </a:lnTo>
                  <a:lnTo>
                    <a:pt x="448" y="30"/>
                  </a:lnTo>
                  <a:lnTo>
                    <a:pt x="523" y="13"/>
                  </a:lnTo>
                  <a:lnTo>
                    <a:pt x="603" y="2"/>
                  </a:lnTo>
                  <a:lnTo>
                    <a:pt x="691" y="0"/>
                  </a:lnTo>
                  <a:lnTo>
                    <a:pt x="2287"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Rectangle 9">
              <a:extLst>
                <a:ext uri="{FF2B5EF4-FFF2-40B4-BE49-F238E27FC236}">
                  <a16:creationId xmlns:a16="http://schemas.microsoft.com/office/drawing/2014/main" id="{C7B77251-5355-2D42-BB74-173AE09D6111}"/>
                </a:ext>
              </a:extLst>
            </p:cNvPr>
            <p:cNvSpPr>
              <a:spLocks noChangeArrowheads="1"/>
            </p:cNvSpPr>
            <p:nvPr/>
          </p:nvSpPr>
          <p:spPr bwMode="auto">
            <a:xfrm>
              <a:off x="4106863" y="3810001"/>
              <a:ext cx="1209675" cy="909638"/>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10">
              <a:extLst>
                <a:ext uri="{FF2B5EF4-FFF2-40B4-BE49-F238E27FC236}">
                  <a16:creationId xmlns:a16="http://schemas.microsoft.com/office/drawing/2014/main" id="{605257EF-B438-5244-B053-1906D8D79E85}"/>
                </a:ext>
              </a:extLst>
            </p:cNvPr>
            <p:cNvSpPr>
              <a:spLocks/>
            </p:cNvSpPr>
            <p:nvPr/>
          </p:nvSpPr>
          <p:spPr bwMode="auto">
            <a:xfrm>
              <a:off x="2378869" y="3810001"/>
              <a:ext cx="1727994" cy="909638"/>
            </a:xfrm>
            <a:custGeom>
              <a:avLst/>
              <a:gdLst>
                <a:gd name="T0" fmla="*/ 888 w 2168"/>
                <a:gd name="T1" fmla="*/ 0 h 1147"/>
                <a:gd name="T2" fmla="*/ 2168 w 2168"/>
                <a:gd name="T3" fmla="*/ 0 h 1147"/>
                <a:gd name="T4" fmla="*/ 2168 w 2168"/>
                <a:gd name="T5" fmla="*/ 1147 h 1147"/>
                <a:gd name="T6" fmla="*/ 427 w 2168"/>
                <a:gd name="T7" fmla="*/ 1147 h 1147"/>
                <a:gd name="T8" fmla="*/ 423 w 2168"/>
                <a:gd name="T9" fmla="*/ 1145 h 1147"/>
                <a:gd name="T10" fmla="*/ 408 w 2168"/>
                <a:gd name="T11" fmla="*/ 1141 h 1147"/>
                <a:gd name="T12" fmla="*/ 387 w 2168"/>
                <a:gd name="T13" fmla="*/ 1134 h 1147"/>
                <a:gd name="T14" fmla="*/ 359 w 2168"/>
                <a:gd name="T15" fmla="*/ 1125 h 1147"/>
                <a:gd name="T16" fmla="*/ 325 w 2168"/>
                <a:gd name="T17" fmla="*/ 1114 h 1147"/>
                <a:gd name="T18" fmla="*/ 288 w 2168"/>
                <a:gd name="T19" fmla="*/ 1099 h 1147"/>
                <a:gd name="T20" fmla="*/ 246 w 2168"/>
                <a:gd name="T21" fmla="*/ 1083 h 1147"/>
                <a:gd name="T22" fmla="*/ 203 w 2168"/>
                <a:gd name="T23" fmla="*/ 1063 h 1147"/>
                <a:gd name="T24" fmla="*/ 159 w 2168"/>
                <a:gd name="T25" fmla="*/ 1041 h 1147"/>
                <a:gd name="T26" fmla="*/ 117 w 2168"/>
                <a:gd name="T27" fmla="*/ 1015 h 1147"/>
                <a:gd name="T28" fmla="*/ 75 w 2168"/>
                <a:gd name="T29" fmla="*/ 986 h 1147"/>
                <a:gd name="T30" fmla="*/ 35 w 2168"/>
                <a:gd name="T31" fmla="*/ 955 h 1147"/>
                <a:gd name="T32" fmla="*/ 0 w 2168"/>
                <a:gd name="T33" fmla="*/ 922 h 1147"/>
                <a:gd name="T34" fmla="*/ 888 w 2168"/>
                <a:gd name="T35" fmla="*/ 0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8" h="1147">
                  <a:moveTo>
                    <a:pt x="888" y="0"/>
                  </a:moveTo>
                  <a:lnTo>
                    <a:pt x="2168" y="0"/>
                  </a:lnTo>
                  <a:lnTo>
                    <a:pt x="2168" y="1147"/>
                  </a:lnTo>
                  <a:lnTo>
                    <a:pt x="427" y="1147"/>
                  </a:lnTo>
                  <a:lnTo>
                    <a:pt x="423" y="1145"/>
                  </a:lnTo>
                  <a:lnTo>
                    <a:pt x="408" y="1141"/>
                  </a:lnTo>
                  <a:lnTo>
                    <a:pt x="387" y="1134"/>
                  </a:lnTo>
                  <a:lnTo>
                    <a:pt x="359" y="1125"/>
                  </a:lnTo>
                  <a:lnTo>
                    <a:pt x="325" y="1114"/>
                  </a:lnTo>
                  <a:lnTo>
                    <a:pt x="288" y="1099"/>
                  </a:lnTo>
                  <a:lnTo>
                    <a:pt x="246" y="1083"/>
                  </a:lnTo>
                  <a:lnTo>
                    <a:pt x="203" y="1063"/>
                  </a:lnTo>
                  <a:lnTo>
                    <a:pt x="159" y="1041"/>
                  </a:lnTo>
                  <a:lnTo>
                    <a:pt x="117" y="1015"/>
                  </a:lnTo>
                  <a:lnTo>
                    <a:pt x="75" y="986"/>
                  </a:lnTo>
                  <a:lnTo>
                    <a:pt x="35" y="955"/>
                  </a:lnTo>
                  <a:lnTo>
                    <a:pt x="0" y="922"/>
                  </a:lnTo>
                  <a:lnTo>
                    <a:pt x="888"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11">
              <a:extLst>
                <a:ext uri="{FF2B5EF4-FFF2-40B4-BE49-F238E27FC236}">
                  <a16:creationId xmlns:a16="http://schemas.microsoft.com/office/drawing/2014/main" id="{E643EF2B-95C8-4E41-9482-22A83E4F8D47}"/>
                </a:ext>
              </a:extLst>
            </p:cNvPr>
            <p:cNvSpPr>
              <a:spLocks/>
            </p:cNvSpPr>
            <p:nvPr/>
          </p:nvSpPr>
          <p:spPr bwMode="auto">
            <a:xfrm>
              <a:off x="2185988" y="2293938"/>
              <a:ext cx="903288" cy="2247900"/>
            </a:xfrm>
            <a:custGeom>
              <a:avLst/>
              <a:gdLst>
                <a:gd name="T0" fmla="*/ 151 w 1139"/>
                <a:gd name="T1" fmla="*/ 0 h 2831"/>
                <a:gd name="T2" fmla="*/ 1139 w 1139"/>
                <a:gd name="T3" fmla="*/ 812 h 2831"/>
                <a:gd name="T4" fmla="*/ 1139 w 1139"/>
                <a:gd name="T5" fmla="*/ 1909 h 2831"/>
                <a:gd name="T6" fmla="*/ 251 w 1139"/>
                <a:gd name="T7" fmla="*/ 2831 h 2831"/>
                <a:gd name="T8" fmla="*/ 246 w 1139"/>
                <a:gd name="T9" fmla="*/ 2828 h 2831"/>
                <a:gd name="T10" fmla="*/ 237 w 1139"/>
                <a:gd name="T11" fmla="*/ 2818 h 2831"/>
                <a:gd name="T12" fmla="*/ 220 w 1139"/>
                <a:gd name="T13" fmla="*/ 2802 h 2831"/>
                <a:gd name="T14" fmla="*/ 200 w 1139"/>
                <a:gd name="T15" fmla="*/ 2780 h 2831"/>
                <a:gd name="T16" fmla="*/ 177 w 1139"/>
                <a:gd name="T17" fmla="*/ 2753 h 2831"/>
                <a:gd name="T18" fmla="*/ 151 w 1139"/>
                <a:gd name="T19" fmla="*/ 2720 h 2831"/>
                <a:gd name="T20" fmla="*/ 126 w 1139"/>
                <a:gd name="T21" fmla="*/ 2683 h 2831"/>
                <a:gd name="T22" fmla="*/ 98 w 1139"/>
                <a:gd name="T23" fmla="*/ 2641 h 2831"/>
                <a:gd name="T24" fmla="*/ 73 w 1139"/>
                <a:gd name="T25" fmla="*/ 2596 h 2831"/>
                <a:gd name="T26" fmla="*/ 49 w 1139"/>
                <a:gd name="T27" fmla="*/ 2546 h 2831"/>
                <a:gd name="T28" fmla="*/ 29 w 1139"/>
                <a:gd name="T29" fmla="*/ 2495 h 2831"/>
                <a:gd name="T30" fmla="*/ 15 w 1139"/>
                <a:gd name="T31" fmla="*/ 2441 h 2831"/>
                <a:gd name="T32" fmla="*/ 4 w 1139"/>
                <a:gd name="T33" fmla="*/ 2382 h 2831"/>
                <a:gd name="T34" fmla="*/ 0 w 1139"/>
                <a:gd name="T35" fmla="*/ 2322 h 2831"/>
                <a:gd name="T36" fmla="*/ 0 w 1139"/>
                <a:gd name="T37" fmla="*/ 363 h 2831"/>
                <a:gd name="T38" fmla="*/ 0 w 1139"/>
                <a:gd name="T39" fmla="*/ 357 h 2831"/>
                <a:gd name="T40" fmla="*/ 4 w 1139"/>
                <a:gd name="T41" fmla="*/ 341 h 2831"/>
                <a:gd name="T42" fmla="*/ 7 w 1139"/>
                <a:gd name="T43" fmla="*/ 317 h 2831"/>
                <a:gd name="T44" fmla="*/ 15 w 1139"/>
                <a:gd name="T45" fmla="*/ 286 h 2831"/>
                <a:gd name="T46" fmla="*/ 24 w 1139"/>
                <a:gd name="T47" fmla="*/ 250 h 2831"/>
                <a:gd name="T48" fmla="*/ 36 w 1139"/>
                <a:gd name="T49" fmla="*/ 210 h 2831"/>
                <a:gd name="T50" fmla="*/ 51 w 1139"/>
                <a:gd name="T51" fmla="*/ 168 h 2831"/>
                <a:gd name="T52" fmla="*/ 71 w 1139"/>
                <a:gd name="T53" fmla="*/ 124 h 2831"/>
                <a:gd name="T54" fmla="*/ 93 w 1139"/>
                <a:gd name="T55" fmla="*/ 80 h 2831"/>
                <a:gd name="T56" fmla="*/ 120 w 1139"/>
                <a:gd name="T57" fmla="*/ 38 h 2831"/>
                <a:gd name="T58" fmla="*/ 151 w 1139"/>
                <a:gd name="T59"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9" h="2831">
                  <a:moveTo>
                    <a:pt x="151" y="0"/>
                  </a:moveTo>
                  <a:lnTo>
                    <a:pt x="1139" y="812"/>
                  </a:lnTo>
                  <a:lnTo>
                    <a:pt x="1139" y="1909"/>
                  </a:lnTo>
                  <a:lnTo>
                    <a:pt x="251" y="2831"/>
                  </a:lnTo>
                  <a:lnTo>
                    <a:pt x="246" y="2828"/>
                  </a:lnTo>
                  <a:lnTo>
                    <a:pt x="237" y="2818"/>
                  </a:lnTo>
                  <a:lnTo>
                    <a:pt x="220" y="2802"/>
                  </a:lnTo>
                  <a:lnTo>
                    <a:pt x="200" y="2780"/>
                  </a:lnTo>
                  <a:lnTo>
                    <a:pt x="177" y="2753"/>
                  </a:lnTo>
                  <a:lnTo>
                    <a:pt x="151" y="2720"/>
                  </a:lnTo>
                  <a:lnTo>
                    <a:pt x="126" y="2683"/>
                  </a:lnTo>
                  <a:lnTo>
                    <a:pt x="98" y="2641"/>
                  </a:lnTo>
                  <a:lnTo>
                    <a:pt x="73" y="2596"/>
                  </a:lnTo>
                  <a:lnTo>
                    <a:pt x="49" y="2546"/>
                  </a:lnTo>
                  <a:lnTo>
                    <a:pt x="29" y="2495"/>
                  </a:lnTo>
                  <a:lnTo>
                    <a:pt x="15" y="2441"/>
                  </a:lnTo>
                  <a:lnTo>
                    <a:pt x="4" y="2382"/>
                  </a:lnTo>
                  <a:lnTo>
                    <a:pt x="0" y="2322"/>
                  </a:lnTo>
                  <a:lnTo>
                    <a:pt x="0" y="363"/>
                  </a:lnTo>
                  <a:lnTo>
                    <a:pt x="0" y="357"/>
                  </a:lnTo>
                  <a:lnTo>
                    <a:pt x="4" y="341"/>
                  </a:lnTo>
                  <a:lnTo>
                    <a:pt x="7" y="317"/>
                  </a:lnTo>
                  <a:lnTo>
                    <a:pt x="15" y="286"/>
                  </a:lnTo>
                  <a:lnTo>
                    <a:pt x="24" y="250"/>
                  </a:lnTo>
                  <a:lnTo>
                    <a:pt x="36" y="210"/>
                  </a:lnTo>
                  <a:lnTo>
                    <a:pt x="51" y="168"/>
                  </a:lnTo>
                  <a:lnTo>
                    <a:pt x="71" y="124"/>
                  </a:lnTo>
                  <a:lnTo>
                    <a:pt x="93" y="80"/>
                  </a:lnTo>
                  <a:lnTo>
                    <a:pt x="120" y="38"/>
                  </a:lnTo>
                  <a:lnTo>
                    <a:pt x="15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12">
              <a:extLst>
                <a:ext uri="{FF2B5EF4-FFF2-40B4-BE49-F238E27FC236}">
                  <a16:creationId xmlns:a16="http://schemas.microsoft.com/office/drawing/2014/main" id="{3A47712C-1A49-F245-A68F-D87154503E7B}"/>
                </a:ext>
              </a:extLst>
            </p:cNvPr>
            <p:cNvSpPr>
              <a:spLocks/>
            </p:cNvSpPr>
            <p:nvPr/>
          </p:nvSpPr>
          <p:spPr bwMode="auto">
            <a:xfrm>
              <a:off x="5316538" y="4261645"/>
              <a:ext cx="1635125" cy="493713"/>
            </a:xfrm>
            <a:custGeom>
              <a:avLst/>
              <a:gdLst>
                <a:gd name="T0" fmla="*/ 0 w 2061"/>
                <a:gd name="T1" fmla="*/ 0 h 620"/>
                <a:gd name="T2" fmla="*/ 736 w 2061"/>
                <a:gd name="T3" fmla="*/ 25 h 620"/>
                <a:gd name="T4" fmla="*/ 1099 w 2061"/>
                <a:gd name="T5" fmla="*/ 251 h 620"/>
                <a:gd name="T6" fmla="*/ 1831 w 2061"/>
                <a:gd name="T7" fmla="*/ 27 h 620"/>
                <a:gd name="T8" fmla="*/ 1833 w 2061"/>
                <a:gd name="T9" fmla="*/ 27 h 620"/>
                <a:gd name="T10" fmla="*/ 1840 w 2061"/>
                <a:gd name="T11" fmla="*/ 27 h 620"/>
                <a:gd name="T12" fmla="*/ 1851 w 2061"/>
                <a:gd name="T13" fmla="*/ 25 h 620"/>
                <a:gd name="T14" fmla="*/ 1866 w 2061"/>
                <a:gd name="T15" fmla="*/ 25 h 620"/>
                <a:gd name="T16" fmla="*/ 1882 w 2061"/>
                <a:gd name="T17" fmla="*/ 23 h 620"/>
                <a:gd name="T18" fmla="*/ 1902 w 2061"/>
                <a:gd name="T19" fmla="*/ 25 h 620"/>
                <a:gd name="T20" fmla="*/ 1922 w 2061"/>
                <a:gd name="T21" fmla="*/ 25 h 620"/>
                <a:gd name="T22" fmla="*/ 1942 w 2061"/>
                <a:gd name="T23" fmla="*/ 29 h 620"/>
                <a:gd name="T24" fmla="*/ 1964 w 2061"/>
                <a:gd name="T25" fmla="*/ 34 h 620"/>
                <a:gd name="T26" fmla="*/ 1984 w 2061"/>
                <a:gd name="T27" fmla="*/ 41 h 620"/>
                <a:gd name="T28" fmla="*/ 2004 w 2061"/>
                <a:gd name="T29" fmla="*/ 51 h 620"/>
                <a:gd name="T30" fmla="*/ 2022 w 2061"/>
                <a:gd name="T31" fmla="*/ 62 h 620"/>
                <a:gd name="T32" fmla="*/ 2037 w 2061"/>
                <a:gd name="T33" fmla="*/ 78 h 620"/>
                <a:gd name="T34" fmla="*/ 2048 w 2061"/>
                <a:gd name="T35" fmla="*/ 96 h 620"/>
                <a:gd name="T36" fmla="*/ 2057 w 2061"/>
                <a:gd name="T37" fmla="*/ 118 h 620"/>
                <a:gd name="T38" fmla="*/ 2061 w 2061"/>
                <a:gd name="T39" fmla="*/ 146 h 620"/>
                <a:gd name="T40" fmla="*/ 2059 w 2061"/>
                <a:gd name="T41" fmla="*/ 177 h 620"/>
                <a:gd name="T42" fmla="*/ 2052 w 2061"/>
                <a:gd name="T43" fmla="*/ 213 h 620"/>
                <a:gd name="T44" fmla="*/ 2039 w 2061"/>
                <a:gd name="T45" fmla="*/ 253 h 620"/>
                <a:gd name="T46" fmla="*/ 2019 w 2061"/>
                <a:gd name="T47" fmla="*/ 301 h 620"/>
                <a:gd name="T48" fmla="*/ 1039 w 2061"/>
                <a:gd name="T49" fmla="*/ 620 h 620"/>
                <a:gd name="T50" fmla="*/ 572 w 2061"/>
                <a:gd name="T51" fmla="*/ 429 h 620"/>
                <a:gd name="T52" fmla="*/ 0 w 2061"/>
                <a:gd name="T53" fmla="*/ 436 h 620"/>
                <a:gd name="T54" fmla="*/ 0 w 2061"/>
                <a:gd name="T55" fmla="*/ 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61" h="620">
                  <a:moveTo>
                    <a:pt x="0" y="0"/>
                  </a:moveTo>
                  <a:lnTo>
                    <a:pt x="736" y="25"/>
                  </a:lnTo>
                  <a:lnTo>
                    <a:pt x="1099" y="251"/>
                  </a:lnTo>
                  <a:lnTo>
                    <a:pt x="1831" y="27"/>
                  </a:lnTo>
                  <a:lnTo>
                    <a:pt x="1833" y="27"/>
                  </a:lnTo>
                  <a:lnTo>
                    <a:pt x="1840" y="27"/>
                  </a:lnTo>
                  <a:lnTo>
                    <a:pt x="1851" y="25"/>
                  </a:lnTo>
                  <a:lnTo>
                    <a:pt x="1866" y="25"/>
                  </a:lnTo>
                  <a:lnTo>
                    <a:pt x="1882" y="23"/>
                  </a:lnTo>
                  <a:lnTo>
                    <a:pt x="1902" y="25"/>
                  </a:lnTo>
                  <a:lnTo>
                    <a:pt x="1922" y="25"/>
                  </a:lnTo>
                  <a:lnTo>
                    <a:pt x="1942" y="29"/>
                  </a:lnTo>
                  <a:lnTo>
                    <a:pt x="1964" y="34"/>
                  </a:lnTo>
                  <a:lnTo>
                    <a:pt x="1984" y="41"/>
                  </a:lnTo>
                  <a:lnTo>
                    <a:pt x="2004" y="51"/>
                  </a:lnTo>
                  <a:lnTo>
                    <a:pt x="2022" y="62"/>
                  </a:lnTo>
                  <a:lnTo>
                    <a:pt x="2037" y="78"/>
                  </a:lnTo>
                  <a:lnTo>
                    <a:pt x="2048" y="96"/>
                  </a:lnTo>
                  <a:lnTo>
                    <a:pt x="2057" y="118"/>
                  </a:lnTo>
                  <a:lnTo>
                    <a:pt x="2061" y="146"/>
                  </a:lnTo>
                  <a:lnTo>
                    <a:pt x="2059" y="177"/>
                  </a:lnTo>
                  <a:lnTo>
                    <a:pt x="2052" y="213"/>
                  </a:lnTo>
                  <a:lnTo>
                    <a:pt x="2039" y="253"/>
                  </a:lnTo>
                  <a:lnTo>
                    <a:pt x="2019" y="301"/>
                  </a:lnTo>
                  <a:lnTo>
                    <a:pt x="1039" y="620"/>
                  </a:lnTo>
                  <a:lnTo>
                    <a:pt x="572" y="429"/>
                  </a:lnTo>
                  <a:lnTo>
                    <a:pt x="0" y="436"/>
                  </a:lnTo>
                  <a:lnTo>
                    <a:pt x="0" y="0"/>
                  </a:lnTo>
                  <a:close/>
                </a:path>
              </a:pathLst>
            </a:custGeom>
            <a:solidFill>
              <a:srgbClr val="FFEAC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14">
              <a:extLst>
                <a:ext uri="{FF2B5EF4-FFF2-40B4-BE49-F238E27FC236}">
                  <a16:creationId xmlns:a16="http://schemas.microsoft.com/office/drawing/2014/main" id="{91B0C45F-7D5D-1242-B5A3-527A0166AE6D}"/>
                </a:ext>
              </a:extLst>
            </p:cNvPr>
            <p:cNvSpPr>
              <a:spLocks noEditPoints="1"/>
            </p:cNvSpPr>
            <p:nvPr/>
          </p:nvSpPr>
          <p:spPr bwMode="auto">
            <a:xfrm>
              <a:off x="6134101" y="3506788"/>
              <a:ext cx="604838" cy="606425"/>
            </a:xfrm>
            <a:custGeom>
              <a:avLst/>
              <a:gdLst>
                <a:gd name="T0" fmla="*/ 349 w 763"/>
                <a:gd name="T1" fmla="*/ 363 h 765"/>
                <a:gd name="T2" fmla="*/ 329 w 763"/>
                <a:gd name="T3" fmla="*/ 374 h 765"/>
                <a:gd name="T4" fmla="*/ 326 w 763"/>
                <a:gd name="T5" fmla="*/ 394 h 765"/>
                <a:gd name="T6" fmla="*/ 337 w 763"/>
                <a:gd name="T7" fmla="*/ 410 h 765"/>
                <a:gd name="T8" fmla="*/ 358 w 763"/>
                <a:gd name="T9" fmla="*/ 421 h 765"/>
                <a:gd name="T10" fmla="*/ 375 w 763"/>
                <a:gd name="T11" fmla="*/ 427 h 765"/>
                <a:gd name="T12" fmla="*/ 379 w 763"/>
                <a:gd name="T13" fmla="*/ 432 h 765"/>
                <a:gd name="T14" fmla="*/ 377 w 763"/>
                <a:gd name="T15" fmla="*/ 440 h 765"/>
                <a:gd name="T16" fmla="*/ 358 w 763"/>
                <a:gd name="T17" fmla="*/ 443 h 765"/>
                <a:gd name="T18" fmla="*/ 342 w 763"/>
                <a:gd name="T19" fmla="*/ 440 h 765"/>
                <a:gd name="T20" fmla="*/ 326 w 763"/>
                <a:gd name="T21" fmla="*/ 454 h 765"/>
                <a:gd name="T22" fmla="*/ 358 w 763"/>
                <a:gd name="T23" fmla="*/ 478 h 765"/>
                <a:gd name="T24" fmla="*/ 377 w 763"/>
                <a:gd name="T25" fmla="*/ 460 h 765"/>
                <a:gd name="T26" fmla="*/ 393 w 763"/>
                <a:gd name="T27" fmla="*/ 452 h 765"/>
                <a:gd name="T28" fmla="*/ 400 w 763"/>
                <a:gd name="T29" fmla="*/ 438 h 765"/>
                <a:gd name="T30" fmla="*/ 400 w 763"/>
                <a:gd name="T31" fmla="*/ 425 h 765"/>
                <a:gd name="T32" fmla="*/ 389 w 763"/>
                <a:gd name="T33" fmla="*/ 412 h 765"/>
                <a:gd name="T34" fmla="*/ 368 w 763"/>
                <a:gd name="T35" fmla="*/ 403 h 765"/>
                <a:gd name="T36" fmla="*/ 351 w 763"/>
                <a:gd name="T37" fmla="*/ 394 h 765"/>
                <a:gd name="T38" fmla="*/ 349 w 763"/>
                <a:gd name="T39" fmla="*/ 385 h 765"/>
                <a:gd name="T40" fmla="*/ 358 w 763"/>
                <a:gd name="T41" fmla="*/ 379 h 765"/>
                <a:gd name="T42" fmla="*/ 364 w 763"/>
                <a:gd name="T43" fmla="*/ 379 h 765"/>
                <a:gd name="T44" fmla="*/ 368 w 763"/>
                <a:gd name="T45" fmla="*/ 379 h 765"/>
                <a:gd name="T46" fmla="*/ 393 w 763"/>
                <a:gd name="T47" fmla="*/ 387 h 765"/>
                <a:gd name="T48" fmla="*/ 368 w 763"/>
                <a:gd name="T49" fmla="*/ 361 h 765"/>
                <a:gd name="T50" fmla="*/ 205 w 763"/>
                <a:gd name="T51" fmla="*/ 334 h 765"/>
                <a:gd name="T52" fmla="*/ 205 w 763"/>
                <a:gd name="T53" fmla="*/ 493 h 765"/>
                <a:gd name="T54" fmla="*/ 573 w 763"/>
                <a:gd name="T55" fmla="*/ 270 h 765"/>
                <a:gd name="T56" fmla="*/ 541 w 763"/>
                <a:gd name="T57" fmla="*/ 317 h 765"/>
                <a:gd name="T58" fmla="*/ 533 w 763"/>
                <a:gd name="T59" fmla="*/ 305 h 765"/>
                <a:gd name="T60" fmla="*/ 269 w 763"/>
                <a:gd name="T61" fmla="*/ 301 h 765"/>
                <a:gd name="T62" fmla="*/ 247 w 763"/>
                <a:gd name="T63" fmla="*/ 239 h 765"/>
                <a:gd name="T64" fmla="*/ 238 w 763"/>
                <a:gd name="T65" fmla="*/ 253 h 765"/>
                <a:gd name="T66" fmla="*/ 185 w 763"/>
                <a:gd name="T67" fmla="*/ 303 h 765"/>
                <a:gd name="T68" fmla="*/ 174 w 763"/>
                <a:gd name="T69" fmla="*/ 317 h 765"/>
                <a:gd name="T70" fmla="*/ 180 w 763"/>
                <a:gd name="T71" fmla="*/ 520 h 765"/>
                <a:gd name="T72" fmla="*/ 524 w 763"/>
                <a:gd name="T73" fmla="*/ 525 h 765"/>
                <a:gd name="T74" fmla="*/ 537 w 763"/>
                <a:gd name="T75" fmla="*/ 518 h 765"/>
                <a:gd name="T76" fmla="*/ 541 w 763"/>
                <a:gd name="T77" fmla="*/ 462 h 765"/>
                <a:gd name="T78" fmla="*/ 599 w 763"/>
                <a:gd name="T79" fmla="*/ 456 h 765"/>
                <a:gd name="T80" fmla="*/ 604 w 763"/>
                <a:gd name="T81" fmla="*/ 253 h 765"/>
                <a:gd name="T82" fmla="*/ 597 w 763"/>
                <a:gd name="T83" fmla="*/ 241 h 765"/>
                <a:gd name="T84" fmla="*/ 253 w 763"/>
                <a:gd name="T85" fmla="*/ 239 h 765"/>
                <a:gd name="T86" fmla="*/ 502 w 763"/>
                <a:gd name="T87" fmla="*/ 18 h 765"/>
                <a:gd name="T88" fmla="*/ 652 w 763"/>
                <a:gd name="T89" fmla="*/ 111 h 765"/>
                <a:gd name="T90" fmla="*/ 745 w 763"/>
                <a:gd name="T91" fmla="*/ 261 h 765"/>
                <a:gd name="T92" fmla="*/ 759 w 763"/>
                <a:gd name="T93" fmla="*/ 443 h 765"/>
                <a:gd name="T94" fmla="*/ 690 w 763"/>
                <a:gd name="T95" fmla="*/ 608 h 765"/>
                <a:gd name="T96" fmla="*/ 557 w 763"/>
                <a:gd name="T97" fmla="*/ 721 h 765"/>
                <a:gd name="T98" fmla="*/ 382 w 763"/>
                <a:gd name="T99" fmla="*/ 765 h 765"/>
                <a:gd name="T100" fmla="*/ 205 w 763"/>
                <a:gd name="T101" fmla="*/ 721 h 765"/>
                <a:gd name="T102" fmla="*/ 74 w 763"/>
                <a:gd name="T103" fmla="*/ 608 h 765"/>
                <a:gd name="T104" fmla="*/ 5 w 763"/>
                <a:gd name="T105" fmla="*/ 443 h 765"/>
                <a:gd name="T106" fmla="*/ 20 w 763"/>
                <a:gd name="T107" fmla="*/ 261 h 765"/>
                <a:gd name="T108" fmla="*/ 113 w 763"/>
                <a:gd name="T109" fmla="*/ 111 h 765"/>
                <a:gd name="T110" fmla="*/ 260 w 763"/>
                <a:gd name="T111" fmla="*/ 18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63" h="765">
                  <a:moveTo>
                    <a:pt x="358" y="348"/>
                  </a:moveTo>
                  <a:lnTo>
                    <a:pt x="358" y="361"/>
                  </a:lnTo>
                  <a:lnTo>
                    <a:pt x="349" y="363"/>
                  </a:lnTo>
                  <a:lnTo>
                    <a:pt x="340" y="367"/>
                  </a:lnTo>
                  <a:lnTo>
                    <a:pt x="335" y="370"/>
                  </a:lnTo>
                  <a:lnTo>
                    <a:pt x="329" y="374"/>
                  </a:lnTo>
                  <a:lnTo>
                    <a:pt x="326" y="381"/>
                  </a:lnTo>
                  <a:lnTo>
                    <a:pt x="326" y="389"/>
                  </a:lnTo>
                  <a:lnTo>
                    <a:pt x="326" y="394"/>
                  </a:lnTo>
                  <a:lnTo>
                    <a:pt x="327" y="401"/>
                  </a:lnTo>
                  <a:lnTo>
                    <a:pt x="331" y="405"/>
                  </a:lnTo>
                  <a:lnTo>
                    <a:pt x="337" y="410"/>
                  </a:lnTo>
                  <a:lnTo>
                    <a:pt x="344" y="414"/>
                  </a:lnTo>
                  <a:lnTo>
                    <a:pt x="353" y="418"/>
                  </a:lnTo>
                  <a:lnTo>
                    <a:pt x="358" y="421"/>
                  </a:lnTo>
                  <a:lnTo>
                    <a:pt x="368" y="423"/>
                  </a:lnTo>
                  <a:lnTo>
                    <a:pt x="371" y="425"/>
                  </a:lnTo>
                  <a:lnTo>
                    <a:pt x="375" y="427"/>
                  </a:lnTo>
                  <a:lnTo>
                    <a:pt x="377" y="429"/>
                  </a:lnTo>
                  <a:lnTo>
                    <a:pt x="379" y="431"/>
                  </a:lnTo>
                  <a:lnTo>
                    <a:pt x="379" y="432"/>
                  </a:lnTo>
                  <a:lnTo>
                    <a:pt x="379" y="434"/>
                  </a:lnTo>
                  <a:lnTo>
                    <a:pt x="379" y="438"/>
                  </a:lnTo>
                  <a:lnTo>
                    <a:pt x="377" y="440"/>
                  </a:lnTo>
                  <a:lnTo>
                    <a:pt x="373" y="441"/>
                  </a:lnTo>
                  <a:lnTo>
                    <a:pt x="368" y="443"/>
                  </a:lnTo>
                  <a:lnTo>
                    <a:pt x="358" y="443"/>
                  </a:lnTo>
                  <a:lnTo>
                    <a:pt x="353" y="443"/>
                  </a:lnTo>
                  <a:lnTo>
                    <a:pt x="348" y="441"/>
                  </a:lnTo>
                  <a:lnTo>
                    <a:pt x="342" y="440"/>
                  </a:lnTo>
                  <a:lnTo>
                    <a:pt x="333" y="438"/>
                  </a:lnTo>
                  <a:lnTo>
                    <a:pt x="326" y="436"/>
                  </a:lnTo>
                  <a:lnTo>
                    <a:pt x="326" y="454"/>
                  </a:lnTo>
                  <a:lnTo>
                    <a:pt x="340" y="460"/>
                  </a:lnTo>
                  <a:lnTo>
                    <a:pt x="358" y="462"/>
                  </a:lnTo>
                  <a:lnTo>
                    <a:pt x="358" y="478"/>
                  </a:lnTo>
                  <a:lnTo>
                    <a:pt x="368" y="478"/>
                  </a:lnTo>
                  <a:lnTo>
                    <a:pt x="368" y="462"/>
                  </a:lnTo>
                  <a:lnTo>
                    <a:pt x="377" y="460"/>
                  </a:lnTo>
                  <a:lnTo>
                    <a:pt x="382" y="458"/>
                  </a:lnTo>
                  <a:lnTo>
                    <a:pt x="389" y="456"/>
                  </a:lnTo>
                  <a:lnTo>
                    <a:pt x="393" y="452"/>
                  </a:lnTo>
                  <a:lnTo>
                    <a:pt x="397" y="449"/>
                  </a:lnTo>
                  <a:lnTo>
                    <a:pt x="400" y="443"/>
                  </a:lnTo>
                  <a:lnTo>
                    <a:pt x="400" y="438"/>
                  </a:lnTo>
                  <a:lnTo>
                    <a:pt x="400" y="432"/>
                  </a:lnTo>
                  <a:lnTo>
                    <a:pt x="400" y="429"/>
                  </a:lnTo>
                  <a:lnTo>
                    <a:pt x="400" y="425"/>
                  </a:lnTo>
                  <a:lnTo>
                    <a:pt x="400" y="421"/>
                  </a:lnTo>
                  <a:lnTo>
                    <a:pt x="395" y="416"/>
                  </a:lnTo>
                  <a:lnTo>
                    <a:pt x="389" y="412"/>
                  </a:lnTo>
                  <a:lnTo>
                    <a:pt x="386" y="409"/>
                  </a:lnTo>
                  <a:lnTo>
                    <a:pt x="379" y="405"/>
                  </a:lnTo>
                  <a:lnTo>
                    <a:pt x="368" y="403"/>
                  </a:lnTo>
                  <a:lnTo>
                    <a:pt x="358" y="398"/>
                  </a:lnTo>
                  <a:lnTo>
                    <a:pt x="353" y="396"/>
                  </a:lnTo>
                  <a:lnTo>
                    <a:pt x="351" y="394"/>
                  </a:lnTo>
                  <a:lnTo>
                    <a:pt x="349" y="392"/>
                  </a:lnTo>
                  <a:lnTo>
                    <a:pt x="349" y="389"/>
                  </a:lnTo>
                  <a:lnTo>
                    <a:pt x="349" y="385"/>
                  </a:lnTo>
                  <a:lnTo>
                    <a:pt x="351" y="383"/>
                  </a:lnTo>
                  <a:lnTo>
                    <a:pt x="355" y="381"/>
                  </a:lnTo>
                  <a:lnTo>
                    <a:pt x="358" y="379"/>
                  </a:lnTo>
                  <a:lnTo>
                    <a:pt x="358" y="379"/>
                  </a:lnTo>
                  <a:lnTo>
                    <a:pt x="360" y="379"/>
                  </a:lnTo>
                  <a:lnTo>
                    <a:pt x="364" y="379"/>
                  </a:lnTo>
                  <a:lnTo>
                    <a:pt x="366" y="379"/>
                  </a:lnTo>
                  <a:lnTo>
                    <a:pt x="368" y="379"/>
                  </a:lnTo>
                  <a:lnTo>
                    <a:pt x="368" y="379"/>
                  </a:lnTo>
                  <a:lnTo>
                    <a:pt x="377" y="381"/>
                  </a:lnTo>
                  <a:lnTo>
                    <a:pt x="386" y="383"/>
                  </a:lnTo>
                  <a:lnTo>
                    <a:pt x="393" y="387"/>
                  </a:lnTo>
                  <a:lnTo>
                    <a:pt x="400" y="368"/>
                  </a:lnTo>
                  <a:lnTo>
                    <a:pt x="386" y="363"/>
                  </a:lnTo>
                  <a:lnTo>
                    <a:pt x="368" y="361"/>
                  </a:lnTo>
                  <a:lnTo>
                    <a:pt x="368" y="348"/>
                  </a:lnTo>
                  <a:lnTo>
                    <a:pt x="358" y="348"/>
                  </a:lnTo>
                  <a:close/>
                  <a:moveTo>
                    <a:pt x="205" y="334"/>
                  </a:moveTo>
                  <a:lnTo>
                    <a:pt x="508" y="334"/>
                  </a:lnTo>
                  <a:lnTo>
                    <a:pt x="508" y="493"/>
                  </a:lnTo>
                  <a:lnTo>
                    <a:pt x="205" y="493"/>
                  </a:lnTo>
                  <a:lnTo>
                    <a:pt x="205" y="334"/>
                  </a:lnTo>
                  <a:close/>
                  <a:moveTo>
                    <a:pt x="269" y="270"/>
                  </a:moveTo>
                  <a:lnTo>
                    <a:pt x="573" y="270"/>
                  </a:lnTo>
                  <a:lnTo>
                    <a:pt x="573" y="429"/>
                  </a:lnTo>
                  <a:lnTo>
                    <a:pt x="541" y="429"/>
                  </a:lnTo>
                  <a:lnTo>
                    <a:pt x="541" y="317"/>
                  </a:lnTo>
                  <a:lnTo>
                    <a:pt x="539" y="312"/>
                  </a:lnTo>
                  <a:lnTo>
                    <a:pt x="537" y="308"/>
                  </a:lnTo>
                  <a:lnTo>
                    <a:pt x="533" y="305"/>
                  </a:lnTo>
                  <a:lnTo>
                    <a:pt x="530" y="303"/>
                  </a:lnTo>
                  <a:lnTo>
                    <a:pt x="524" y="301"/>
                  </a:lnTo>
                  <a:lnTo>
                    <a:pt x="269" y="301"/>
                  </a:lnTo>
                  <a:lnTo>
                    <a:pt x="269" y="270"/>
                  </a:lnTo>
                  <a:close/>
                  <a:moveTo>
                    <a:pt x="253" y="239"/>
                  </a:moveTo>
                  <a:lnTo>
                    <a:pt x="247" y="239"/>
                  </a:lnTo>
                  <a:lnTo>
                    <a:pt x="244" y="242"/>
                  </a:lnTo>
                  <a:lnTo>
                    <a:pt x="240" y="248"/>
                  </a:lnTo>
                  <a:lnTo>
                    <a:pt x="238" y="253"/>
                  </a:lnTo>
                  <a:lnTo>
                    <a:pt x="238" y="301"/>
                  </a:lnTo>
                  <a:lnTo>
                    <a:pt x="191" y="301"/>
                  </a:lnTo>
                  <a:lnTo>
                    <a:pt x="185" y="303"/>
                  </a:lnTo>
                  <a:lnTo>
                    <a:pt x="180" y="306"/>
                  </a:lnTo>
                  <a:lnTo>
                    <a:pt x="176" y="312"/>
                  </a:lnTo>
                  <a:lnTo>
                    <a:pt x="174" y="317"/>
                  </a:lnTo>
                  <a:lnTo>
                    <a:pt x="174" y="509"/>
                  </a:lnTo>
                  <a:lnTo>
                    <a:pt x="176" y="515"/>
                  </a:lnTo>
                  <a:lnTo>
                    <a:pt x="180" y="520"/>
                  </a:lnTo>
                  <a:lnTo>
                    <a:pt x="185" y="524"/>
                  </a:lnTo>
                  <a:lnTo>
                    <a:pt x="191" y="525"/>
                  </a:lnTo>
                  <a:lnTo>
                    <a:pt x="524" y="525"/>
                  </a:lnTo>
                  <a:lnTo>
                    <a:pt x="530" y="524"/>
                  </a:lnTo>
                  <a:lnTo>
                    <a:pt x="533" y="522"/>
                  </a:lnTo>
                  <a:lnTo>
                    <a:pt x="537" y="518"/>
                  </a:lnTo>
                  <a:lnTo>
                    <a:pt x="539" y="515"/>
                  </a:lnTo>
                  <a:lnTo>
                    <a:pt x="541" y="509"/>
                  </a:lnTo>
                  <a:lnTo>
                    <a:pt x="541" y="462"/>
                  </a:lnTo>
                  <a:lnTo>
                    <a:pt x="588" y="462"/>
                  </a:lnTo>
                  <a:lnTo>
                    <a:pt x="593" y="460"/>
                  </a:lnTo>
                  <a:lnTo>
                    <a:pt x="599" y="456"/>
                  </a:lnTo>
                  <a:lnTo>
                    <a:pt x="603" y="451"/>
                  </a:lnTo>
                  <a:lnTo>
                    <a:pt x="604" y="445"/>
                  </a:lnTo>
                  <a:lnTo>
                    <a:pt x="604" y="253"/>
                  </a:lnTo>
                  <a:lnTo>
                    <a:pt x="603" y="248"/>
                  </a:lnTo>
                  <a:lnTo>
                    <a:pt x="601" y="244"/>
                  </a:lnTo>
                  <a:lnTo>
                    <a:pt x="597" y="241"/>
                  </a:lnTo>
                  <a:lnTo>
                    <a:pt x="593" y="239"/>
                  </a:lnTo>
                  <a:lnTo>
                    <a:pt x="588" y="239"/>
                  </a:lnTo>
                  <a:lnTo>
                    <a:pt x="253" y="239"/>
                  </a:lnTo>
                  <a:close/>
                  <a:moveTo>
                    <a:pt x="382" y="0"/>
                  </a:moveTo>
                  <a:lnTo>
                    <a:pt x="444" y="5"/>
                  </a:lnTo>
                  <a:lnTo>
                    <a:pt x="502" y="18"/>
                  </a:lnTo>
                  <a:lnTo>
                    <a:pt x="557" y="42"/>
                  </a:lnTo>
                  <a:lnTo>
                    <a:pt x="606" y="73"/>
                  </a:lnTo>
                  <a:lnTo>
                    <a:pt x="652" y="111"/>
                  </a:lnTo>
                  <a:lnTo>
                    <a:pt x="690" y="155"/>
                  </a:lnTo>
                  <a:lnTo>
                    <a:pt x="721" y="206"/>
                  </a:lnTo>
                  <a:lnTo>
                    <a:pt x="745" y="261"/>
                  </a:lnTo>
                  <a:lnTo>
                    <a:pt x="759" y="319"/>
                  </a:lnTo>
                  <a:lnTo>
                    <a:pt x="763" y="381"/>
                  </a:lnTo>
                  <a:lnTo>
                    <a:pt x="759" y="443"/>
                  </a:lnTo>
                  <a:lnTo>
                    <a:pt x="745" y="502"/>
                  </a:lnTo>
                  <a:lnTo>
                    <a:pt x="721" y="557"/>
                  </a:lnTo>
                  <a:lnTo>
                    <a:pt x="690" y="608"/>
                  </a:lnTo>
                  <a:lnTo>
                    <a:pt x="652" y="651"/>
                  </a:lnTo>
                  <a:lnTo>
                    <a:pt x="606" y="690"/>
                  </a:lnTo>
                  <a:lnTo>
                    <a:pt x="557" y="721"/>
                  </a:lnTo>
                  <a:lnTo>
                    <a:pt x="502" y="745"/>
                  </a:lnTo>
                  <a:lnTo>
                    <a:pt x="444" y="759"/>
                  </a:lnTo>
                  <a:lnTo>
                    <a:pt x="382" y="765"/>
                  </a:lnTo>
                  <a:lnTo>
                    <a:pt x="320" y="759"/>
                  </a:lnTo>
                  <a:lnTo>
                    <a:pt x="260" y="745"/>
                  </a:lnTo>
                  <a:lnTo>
                    <a:pt x="205" y="721"/>
                  </a:lnTo>
                  <a:lnTo>
                    <a:pt x="156" y="690"/>
                  </a:lnTo>
                  <a:lnTo>
                    <a:pt x="113" y="651"/>
                  </a:lnTo>
                  <a:lnTo>
                    <a:pt x="74" y="608"/>
                  </a:lnTo>
                  <a:lnTo>
                    <a:pt x="43" y="557"/>
                  </a:lnTo>
                  <a:lnTo>
                    <a:pt x="20" y="502"/>
                  </a:lnTo>
                  <a:lnTo>
                    <a:pt x="5" y="443"/>
                  </a:lnTo>
                  <a:lnTo>
                    <a:pt x="0" y="381"/>
                  </a:lnTo>
                  <a:lnTo>
                    <a:pt x="5" y="319"/>
                  </a:lnTo>
                  <a:lnTo>
                    <a:pt x="20" y="261"/>
                  </a:lnTo>
                  <a:lnTo>
                    <a:pt x="43" y="206"/>
                  </a:lnTo>
                  <a:lnTo>
                    <a:pt x="74" y="155"/>
                  </a:lnTo>
                  <a:lnTo>
                    <a:pt x="113" y="111"/>
                  </a:lnTo>
                  <a:lnTo>
                    <a:pt x="156" y="73"/>
                  </a:lnTo>
                  <a:lnTo>
                    <a:pt x="205" y="42"/>
                  </a:lnTo>
                  <a:lnTo>
                    <a:pt x="260" y="18"/>
                  </a:lnTo>
                  <a:lnTo>
                    <a:pt x="320" y="5"/>
                  </a:lnTo>
                  <a:lnTo>
                    <a:pt x="3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5">
              <a:extLst>
                <a:ext uri="{FF2B5EF4-FFF2-40B4-BE49-F238E27FC236}">
                  <a16:creationId xmlns:a16="http://schemas.microsoft.com/office/drawing/2014/main" id="{C435F32A-AC7C-E342-9CDF-D38AB4DD6841}"/>
                </a:ext>
              </a:extLst>
            </p:cNvPr>
            <p:cNvSpPr>
              <a:spLocks/>
            </p:cNvSpPr>
            <p:nvPr/>
          </p:nvSpPr>
          <p:spPr bwMode="auto">
            <a:xfrm>
              <a:off x="5316538" y="3997326"/>
              <a:ext cx="1241425" cy="288925"/>
            </a:xfrm>
            <a:custGeom>
              <a:avLst/>
              <a:gdLst>
                <a:gd name="T0" fmla="*/ 0 w 1563"/>
                <a:gd name="T1" fmla="*/ 0 h 363"/>
                <a:gd name="T2" fmla="*/ 1416 w 1563"/>
                <a:gd name="T3" fmla="*/ 0 h 363"/>
                <a:gd name="T4" fmla="*/ 1418 w 1563"/>
                <a:gd name="T5" fmla="*/ 1 h 363"/>
                <a:gd name="T6" fmla="*/ 1427 w 1563"/>
                <a:gd name="T7" fmla="*/ 5 h 363"/>
                <a:gd name="T8" fmla="*/ 1441 w 1563"/>
                <a:gd name="T9" fmla="*/ 14 h 363"/>
                <a:gd name="T10" fmla="*/ 1458 w 1563"/>
                <a:gd name="T11" fmla="*/ 25 h 363"/>
                <a:gd name="T12" fmla="*/ 1476 w 1563"/>
                <a:gd name="T13" fmla="*/ 40 h 363"/>
                <a:gd name="T14" fmla="*/ 1496 w 1563"/>
                <a:gd name="T15" fmla="*/ 56 h 363"/>
                <a:gd name="T16" fmla="*/ 1516 w 1563"/>
                <a:gd name="T17" fmla="*/ 74 h 363"/>
                <a:gd name="T18" fmla="*/ 1532 w 1563"/>
                <a:gd name="T19" fmla="*/ 96 h 363"/>
                <a:gd name="T20" fmla="*/ 1549 w 1563"/>
                <a:gd name="T21" fmla="*/ 120 h 363"/>
                <a:gd name="T22" fmla="*/ 1558 w 1563"/>
                <a:gd name="T23" fmla="*/ 146 h 363"/>
                <a:gd name="T24" fmla="*/ 1563 w 1563"/>
                <a:gd name="T25" fmla="*/ 173 h 363"/>
                <a:gd name="T26" fmla="*/ 1563 w 1563"/>
                <a:gd name="T27" fmla="*/ 200 h 363"/>
                <a:gd name="T28" fmla="*/ 1554 w 1563"/>
                <a:gd name="T29" fmla="*/ 231 h 363"/>
                <a:gd name="T30" fmla="*/ 1536 w 1563"/>
                <a:gd name="T31" fmla="*/ 262 h 363"/>
                <a:gd name="T32" fmla="*/ 1507 w 1563"/>
                <a:gd name="T33" fmla="*/ 295 h 363"/>
                <a:gd name="T34" fmla="*/ 1467 w 1563"/>
                <a:gd name="T35" fmla="*/ 330 h 363"/>
                <a:gd name="T36" fmla="*/ 1416 w 1563"/>
                <a:gd name="T37" fmla="*/ 363 h 363"/>
                <a:gd name="T38" fmla="*/ 824 w 1563"/>
                <a:gd name="T39" fmla="*/ 363 h 363"/>
                <a:gd name="T40" fmla="*/ 0 w 1563"/>
                <a:gd name="T41" fmla="*/ 336 h 363"/>
                <a:gd name="T42" fmla="*/ 0 w 1563"/>
                <a:gd name="T43"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63" h="363">
                  <a:moveTo>
                    <a:pt x="0" y="0"/>
                  </a:moveTo>
                  <a:lnTo>
                    <a:pt x="1416" y="0"/>
                  </a:lnTo>
                  <a:lnTo>
                    <a:pt x="1418" y="1"/>
                  </a:lnTo>
                  <a:lnTo>
                    <a:pt x="1427" y="5"/>
                  </a:lnTo>
                  <a:lnTo>
                    <a:pt x="1441" y="14"/>
                  </a:lnTo>
                  <a:lnTo>
                    <a:pt x="1458" y="25"/>
                  </a:lnTo>
                  <a:lnTo>
                    <a:pt x="1476" y="40"/>
                  </a:lnTo>
                  <a:lnTo>
                    <a:pt x="1496" y="56"/>
                  </a:lnTo>
                  <a:lnTo>
                    <a:pt x="1516" y="74"/>
                  </a:lnTo>
                  <a:lnTo>
                    <a:pt x="1532" y="96"/>
                  </a:lnTo>
                  <a:lnTo>
                    <a:pt x="1549" y="120"/>
                  </a:lnTo>
                  <a:lnTo>
                    <a:pt x="1558" y="146"/>
                  </a:lnTo>
                  <a:lnTo>
                    <a:pt x="1563" y="173"/>
                  </a:lnTo>
                  <a:lnTo>
                    <a:pt x="1563" y="200"/>
                  </a:lnTo>
                  <a:lnTo>
                    <a:pt x="1554" y="231"/>
                  </a:lnTo>
                  <a:lnTo>
                    <a:pt x="1536" y="262"/>
                  </a:lnTo>
                  <a:lnTo>
                    <a:pt x="1507" y="295"/>
                  </a:lnTo>
                  <a:lnTo>
                    <a:pt x="1467" y="330"/>
                  </a:lnTo>
                  <a:lnTo>
                    <a:pt x="1416" y="363"/>
                  </a:lnTo>
                  <a:lnTo>
                    <a:pt x="824" y="363"/>
                  </a:lnTo>
                  <a:lnTo>
                    <a:pt x="0" y="336"/>
                  </a:lnTo>
                  <a:lnTo>
                    <a:pt x="0" y="0"/>
                  </a:lnTo>
                  <a:close/>
                </a:path>
              </a:pathLst>
            </a:custGeom>
            <a:solidFill>
              <a:srgbClr val="FFEAC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42" name="Group 345">
              <a:extLst>
                <a:ext uri="{FF2B5EF4-FFF2-40B4-BE49-F238E27FC236}">
                  <a16:creationId xmlns:a16="http://schemas.microsoft.com/office/drawing/2014/main" id="{D6278E81-61D4-D147-9146-6026837F4A45}"/>
                </a:ext>
              </a:extLst>
            </p:cNvPr>
            <p:cNvGrpSpPr>
              <a:grpSpLocks noChangeAspect="1"/>
            </p:cNvGrpSpPr>
            <p:nvPr/>
          </p:nvGrpSpPr>
          <p:grpSpPr bwMode="auto">
            <a:xfrm>
              <a:off x="3149225" y="2223510"/>
              <a:ext cx="502920" cy="502920"/>
              <a:chOff x="3451" y="1171"/>
              <a:chExt cx="340" cy="340"/>
            </a:xfrm>
            <a:solidFill>
              <a:schemeClr val="bg1"/>
            </a:solidFill>
          </p:grpSpPr>
          <p:sp>
            <p:nvSpPr>
              <p:cNvPr id="157" name="Freeform 346">
                <a:extLst>
                  <a:ext uri="{FF2B5EF4-FFF2-40B4-BE49-F238E27FC236}">
                    <a16:creationId xmlns:a16="http://schemas.microsoft.com/office/drawing/2014/main" id="{83456341-5F20-6E4B-A79B-524126C74A1E}"/>
                  </a:ext>
                </a:extLst>
              </p:cNvPr>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347">
                <a:extLst>
                  <a:ext uri="{FF2B5EF4-FFF2-40B4-BE49-F238E27FC236}">
                    <a16:creationId xmlns:a16="http://schemas.microsoft.com/office/drawing/2014/main" id="{048EA8DA-0ECA-9144-A79B-776D4BBD31BE}"/>
                  </a:ext>
                </a:extLst>
              </p:cNvPr>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3" name="Group 763">
              <a:extLst>
                <a:ext uri="{FF2B5EF4-FFF2-40B4-BE49-F238E27FC236}">
                  <a16:creationId xmlns:a16="http://schemas.microsoft.com/office/drawing/2014/main" id="{920A4539-736E-7E40-B015-47D5FC831C74}"/>
                </a:ext>
              </a:extLst>
            </p:cNvPr>
            <p:cNvGrpSpPr>
              <a:grpSpLocks noChangeAspect="1"/>
            </p:cNvGrpSpPr>
            <p:nvPr/>
          </p:nvGrpSpPr>
          <p:grpSpPr bwMode="auto">
            <a:xfrm>
              <a:off x="4465009" y="2224681"/>
              <a:ext cx="502920" cy="501445"/>
              <a:chOff x="3203" y="3365"/>
              <a:chExt cx="341" cy="340"/>
            </a:xfrm>
            <a:solidFill>
              <a:schemeClr val="bg1"/>
            </a:solidFill>
          </p:grpSpPr>
          <p:sp>
            <p:nvSpPr>
              <p:cNvPr id="155" name="Freeform 764">
                <a:extLst>
                  <a:ext uri="{FF2B5EF4-FFF2-40B4-BE49-F238E27FC236}">
                    <a16:creationId xmlns:a16="http://schemas.microsoft.com/office/drawing/2014/main" id="{88B8D6B0-1F75-1645-969B-75DA8BA488AC}"/>
                  </a:ext>
                </a:extLst>
              </p:cNvPr>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 name="Freeform 765">
                <a:extLst>
                  <a:ext uri="{FF2B5EF4-FFF2-40B4-BE49-F238E27FC236}">
                    <a16:creationId xmlns:a16="http://schemas.microsoft.com/office/drawing/2014/main" id="{CA46754E-B5DC-514A-A894-B5EC475EFDAF}"/>
                  </a:ext>
                </a:extLst>
              </p:cNvPr>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4" name="Group 913">
              <a:extLst>
                <a:ext uri="{FF2B5EF4-FFF2-40B4-BE49-F238E27FC236}">
                  <a16:creationId xmlns:a16="http://schemas.microsoft.com/office/drawing/2014/main" id="{4DBA4B2C-7FA9-3B42-939C-A76909286A71}"/>
                </a:ext>
              </a:extLst>
            </p:cNvPr>
            <p:cNvGrpSpPr>
              <a:grpSpLocks noChangeAspect="1"/>
            </p:cNvGrpSpPr>
            <p:nvPr/>
          </p:nvGrpSpPr>
          <p:grpSpPr bwMode="auto">
            <a:xfrm>
              <a:off x="2364718" y="3176966"/>
              <a:ext cx="502920" cy="502920"/>
              <a:chOff x="4563" y="3912"/>
              <a:chExt cx="340" cy="340"/>
            </a:xfrm>
            <a:solidFill>
              <a:schemeClr val="bg1"/>
            </a:solidFill>
          </p:grpSpPr>
          <p:sp>
            <p:nvSpPr>
              <p:cNvPr id="153" name="Freeform 914">
                <a:extLst>
                  <a:ext uri="{FF2B5EF4-FFF2-40B4-BE49-F238E27FC236}">
                    <a16:creationId xmlns:a16="http://schemas.microsoft.com/office/drawing/2014/main" id="{A27D6788-5129-544C-835A-F794290CF3C7}"/>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915">
                <a:extLst>
                  <a:ext uri="{FF2B5EF4-FFF2-40B4-BE49-F238E27FC236}">
                    <a16:creationId xmlns:a16="http://schemas.microsoft.com/office/drawing/2014/main" id="{0C31E5C3-C7B8-8540-92A8-76493D69CAD9}"/>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5" name="Group 144">
              <a:extLst>
                <a:ext uri="{FF2B5EF4-FFF2-40B4-BE49-F238E27FC236}">
                  <a16:creationId xmlns:a16="http://schemas.microsoft.com/office/drawing/2014/main" id="{135BA219-DDF6-2B48-A035-BD670F386263}"/>
                </a:ext>
              </a:extLst>
            </p:cNvPr>
            <p:cNvGrpSpPr/>
            <p:nvPr/>
          </p:nvGrpSpPr>
          <p:grpSpPr>
            <a:xfrm>
              <a:off x="3223636" y="3989243"/>
              <a:ext cx="504825" cy="503238"/>
              <a:chOff x="2087563" y="5559425"/>
              <a:chExt cx="504825" cy="503238"/>
            </a:xfrm>
            <a:solidFill>
              <a:schemeClr val="bg1"/>
            </a:solidFill>
          </p:grpSpPr>
          <p:sp>
            <p:nvSpPr>
              <p:cNvPr id="151" name="Freeform 39">
                <a:extLst>
                  <a:ext uri="{FF2B5EF4-FFF2-40B4-BE49-F238E27FC236}">
                    <a16:creationId xmlns:a16="http://schemas.microsoft.com/office/drawing/2014/main" id="{7098270A-E3B1-FF40-ACB0-47FDA1B2B53A}"/>
                  </a:ext>
                </a:extLst>
              </p:cNvPr>
              <p:cNvSpPr>
                <a:spLocks noEditPoints="1"/>
              </p:cNvSpPr>
              <p:nvPr/>
            </p:nvSpPr>
            <p:spPr bwMode="auto">
              <a:xfrm>
                <a:off x="2182813" y="5694363"/>
                <a:ext cx="311150" cy="231775"/>
              </a:xfrm>
              <a:custGeom>
                <a:avLst/>
                <a:gdLst>
                  <a:gd name="T0" fmla="*/ 32 w 196"/>
                  <a:gd name="T1" fmla="*/ 107 h 146"/>
                  <a:gd name="T2" fmla="*/ 99 w 196"/>
                  <a:gd name="T3" fmla="*/ 107 h 146"/>
                  <a:gd name="T4" fmla="*/ 101 w 196"/>
                  <a:gd name="T5" fmla="*/ 107 h 146"/>
                  <a:gd name="T6" fmla="*/ 102 w 196"/>
                  <a:gd name="T7" fmla="*/ 109 h 146"/>
                  <a:gd name="T8" fmla="*/ 105 w 196"/>
                  <a:gd name="T9" fmla="*/ 110 h 146"/>
                  <a:gd name="T10" fmla="*/ 105 w 196"/>
                  <a:gd name="T11" fmla="*/ 114 h 146"/>
                  <a:gd name="T12" fmla="*/ 105 w 196"/>
                  <a:gd name="T13" fmla="*/ 116 h 146"/>
                  <a:gd name="T14" fmla="*/ 102 w 196"/>
                  <a:gd name="T15" fmla="*/ 117 h 146"/>
                  <a:gd name="T16" fmla="*/ 101 w 196"/>
                  <a:gd name="T17" fmla="*/ 119 h 146"/>
                  <a:gd name="T18" fmla="*/ 99 w 196"/>
                  <a:gd name="T19" fmla="*/ 120 h 146"/>
                  <a:gd name="T20" fmla="*/ 32 w 196"/>
                  <a:gd name="T21" fmla="*/ 120 h 146"/>
                  <a:gd name="T22" fmla="*/ 30 w 196"/>
                  <a:gd name="T23" fmla="*/ 119 h 146"/>
                  <a:gd name="T24" fmla="*/ 27 w 196"/>
                  <a:gd name="T25" fmla="*/ 117 h 146"/>
                  <a:gd name="T26" fmla="*/ 26 w 196"/>
                  <a:gd name="T27" fmla="*/ 116 h 146"/>
                  <a:gd name="T28" fmla="*/ 26 w 196"/>
                  <a:gd name="T29" fmla="*/ 114 h 146"/>
                  <a:gd name="T30" fmla="*/ 26 w 196"/>
                  <a:gd name="T31" fmla="*/ 110 h 146"/>
                  <a:gd name="T32" fmla="*/ 27 w 196"/>
                  <a:gd name="T33" fmla="*/ 109 h 146"/>
                  <a:gd name="T34" fmla="*/ 30 w 196"/>
                  <a:gd name="T35" fmla="*/ 107 h 146"/>
                  <a:gd name="T36" fmla="*/ 32 w 196"/>
                  <a:gd name="T37" fmla="*/ 107 h 146"/>
                  <a:gd name="T38" fmla="*/ 13 w 196"/>
                  <a:gd name="T39" fmla="*/ 53 h 146"/>
                  <a:gd name="T40" fmla="*/ 13 w 196"/>
                  <a:gd name="T41" fmla="*/ 133 h 146"/>
                  <a:gd name="T42" fmla="*/ 183 w 196"/>
                  <a:gd name="T43" fmla="*/ 133 h 146"/>
                  <a:gd name="T44" fmla="*/ 183 w 196"/>
                  <a:gd name="T45" fmla="*/ 53 h 146"/>
                  <a:gd name="T46" fmla="*/ 13 w 196"/>
                  <a:gd name="T47" fmla="*/ 53 h 146"/>
                  <a:gd name="T48" fmla="*/ 13 w 196"/>
                  <a:gd name="T49" fmla="*/ 14 h 146"/>
                  <a:gd name="T50" fmla="*/ 13 w 196"/>
                  <a:gd name="T51" fmla="*/ 27 h 146"/>
                  <a:gd name="T52" fmla="*/ 183 w 196"/>
                  <a:gd name="T53" fmla="*/ 27 h 146"/>
                  <a:gd name="T54" fmla="*/ 183 w 196"/>
                  <a:gd name="T55" fmla="*/ 14 h 146"/>
                  <a:gd name="T56" fmla="*/ 13 w 196"/>
                  <a:gd name="T57" fmla="*/ 14 h 146"/>
                  <a:gd name="T58" fmla="*/ 6 w 196"/>
                  <a:gd name="T59" fmla="*/ 0 h 146"/>
                  <a:gd name="T60" fmla="*/ 190 w 196"/>
                  <a:gd name="T61" fmla="*/ 0 h 146"/>
                  <a:gd name="T62" fmla="*/ 193 w 196"/>
                  <a:gd name="T63" fmla="*/ 0 h 146"/>
                  <a:gd name="T64" fmla="*/ 195 w 196"/>
                  <a:gd name="T65" fmla="*/ 3 h 146"/>
                  <a:gd name="T66" fmla="*/ 196 w 196"/>
                  <a:gd name="T67" fmla="*/ 4 h 146"/>
                  <a:gd name="T68" fmla="*/ 196 w 196"/>
                  <a:gd name="T69" fmla="*/ 8 h 146"/>
                  <a:gd name="T70" fmla="*/ 196 w 196"/>
                  <a:gd name="T71" fmla="*/ 139 h 146"/>
                  <a:gd name="T72" fmla="*/ 196 w 196"/>
                  <a:gd name="T73" fmla="*/ 142 h 146"/>
                  <a:gd name="T74" fmla="*/ 195 w 196"/>
                  <a:gd name="T75" fmla="*/ 144 h 146"/>
                  <a:gd name="T76" fmla="*/ 193 w 196"/>
                  <a:gd name="T77" fmla="*/ 145 h 146"/>
                  <a:gd name="T78" fmla="*/ 190 w 196"/>
                  <a:gd name="T79" fmla="*/ 146 h 146"/>
                  <a:gd name="T80" fmla="*/ 6 w 196"/>
                  <a:gd name="T81" fmla="*/ 146 h 146"/>
                  <a:gd name="T82" fmla="*/ 3 w 196"/>
                  <a:gd name="T83" fmla="*/ 145 h 146"/>
                  <a:gd name="T84" fmla="*/ 1 w 196"/>
                  <a:gd name="T85" fmla="*/ 144 h 146"/>
                  <a:gd name="T86" fmla="*/ 0 w 196"/>
                  <a:gd name="T87" fmla="*/ 142 h 146"/>
                  <a:gd name="T88" fmla="*/ 0 w 196"/>
                  <a:gd name="T89" fmla="*/ 139 h 146"/>
                  <a:gd name="T90" fmla="*/ 0 w 196"/>
                  <a:gd name="T91" fmla="*/ 8 h 146"/>
                  <a:gd name="T92" fmla="*/ 0 w 196"/>
                  <a:gd name="T93" fmla="*/ 4 h 146"/>
                  <a:gd name="T94" fmla="*/ 1 w 196"/>
                  <a:gd name="T95" fmla="*/ 3 h 146"/>
                  <a:gd name="T96" fmla="*/ 3 w 196"/>
                  <a:gd name="T97" fmla="*/ 0 h 146"/>
                  <a:gd name="T98" fmla="*/ 6 w 196"/>
                  <a:gd name="T9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6" h="146">
                    <a:moveTo>
                      <a:pt x="32" y="107"/>
                    </a:moveTo>
                    <a:lnTo>
                      <a:pt x="99" y="107"/>
                    </a:lnTo>
                    <a:lnTo>
                      <a:pt x="101" y="107"/>
                    </a:lnTo>
                    <a:lnTo>
                      <a:pt x="102" y="109"/>
                    </a:lnTo>
                    <a:lnTo>
                      <a:pt x="105" y="110"/>
                    </a:lnTo>
                    <a:lnTo>
                      <a:pt x="105" y="114"/>
                    </a:lnTo>
                    <a:lnTo>
                      <a:pt x="105" y="116"/>
                    </a:lnTo>
                    <a:lnTo>
                      <a:pt x="102" y="117"/>
                    </a:lnTo>
                    <a:lnTo>
                      <a:pt x="101" y="119"/>
                    </a:lnTo>
                    <a:lnTo>
                      <a:pt x="99" y="120"/>
                    </a:lnTo>
                    <a:lnTo>
                      <a:pt x="32" y="120"/>
                    </a:lnTo>
                    <a:lnTo>
                      <a:pt x="30" y="119"/>
                    </a:lnTo>
                    <a:lnTo>
                      <a:pt x="27" y="117"/>
                    </a:lnTo>
                    <a:lnTo>
                      <a:pt x="26" y="116"/>
                    </a:lnTo>
                    <a:lnTo>
                      <a:pt x="26" y="114"/>
                    </a:lnTo>
                    <a:lnTo>
                      <a:pt x="26" y="110"/>
                    </a:lnTo>
                    <a:lnTo>
                      <a:pt x="27" y="109"/>
                    </a:lnTo>
                    <a:lnTo>
                      <a:pt x="30" y="107"/>
                    </a:lnTo>
                    <a:lnTo>
                      <a:pt x="32" y="107"/>
                    </a:lnTo>
                    <a:close/>
                    <a:moveTo>
                      <a:pt x="13" y="53"/>
                    </a:moveTo>
                    <a:lnTo>
                      <a:pt x="13" y="133"/>
                    </a:lnTo>
                    <a:lnTo>
                      <a:pt x="183" y="133"/>
                    </a:lnTo>
                    <a:lnTo>
                      <a:pt x="183" y="53"/>
                    </a:lnTo>
                    <a:lnTo>
                      <a:pt x="13" y="53"/>
                    </a:lnTo>
                    <a:close/>
                    <a:moveTo>
                      <a:pt x="13" y="14"/>
                    </a:moveTo>
                    <a:lnTo>
                      <a:pt x="13" y="27"/>
                    </a:lnTo>
                    <a:lnTo>
                      <a:pt x="183" y="27"/>
                    </a:lnTo>
                    <a:lnTo>
                      <a:pt x="183" y="14"/>
                    </a:lnTo>
                    <a:lnTo>
                      <a:pt x="13" y="14"/>
                    </a:lnTo>
                    <a:close/>
                    <a:moveTo>
                      <a:pt x="6" y="0"/>
                    </a:moveTo>
                    <a:lnTo>
                      <a:pt x="190" y="0"/>
                    </a:lnTo>
                    <a:lnTo>
                      <a:pt x="193" y="0"/>
                    </a:lnTo>
                    <a:lnTo>
                      <a:pt x="195" y="3"/>
                    </a:lnTo>
                    <a:lnTo>
                      <a:pt x="196" y="4"/>
                    </a:lnTo>
                    <a:lnTo>
                      <a:pt x="196" y="8"/>
                    </a:lnTo>
                    <a:lnTo>
                      <a:pt x="196" y="139"/>
                    </a:lnTo>
                    <a:lnTo>
                      <a:pt x="196" y="142"/>
                    </a:lnTo>
                    <a:lnTo>
                      <a:pt x="195" y="144"/>
                    </a:lnTo>
                    <a:lnTo>
                      <a:pt x="193" y="145"/>
                    </a:lnTo>
                    <a:lnTo>
                      <a:pt x="190" y="146"/>
                    </a:lnTo>
                    <a:lnTo>
                      <a:pt x="6" y="146"/>
                    </a:lnTo>
                    <a:lnTo>
                      <a:pt x="3" y="145"/>
                    </a:lnTo>
                    <a:lnTo>
                      <a:pt x="1" y="144"/>
                    </a:lnTo>
                    <a:lnTo>
                      <a:pt x="0" y="142"/>
                    </a:lnTo>
                    <a:lnTo>
                      <a:pt x="0" y="139"/>
                    </a:lnTo>
                    <a:lnTo>
                      <a:pt x="0" y="8"/>
                    </a:lnTo>
                    <a:lnTo>
                      <a:pt x="0" y="4"/>
                    </a:lnTo>
                    <a:lnTo>
                      <a:pt x="1" y="3"/>
                    </a:lnTo>
                    <a:lnTo>
                      <a:pt x="3" y="0"/>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40">
                <a:extLst>
                  <a:ext uri="{FF2B5EF4-FFF2-40B4-BE49-F238E27FC236}">
                    <a16:creationId xmlns:a16="http://schemas.microsoft.com/office/drawing/2014/main" id="{D4CD7303-0781-4645-89CF-376A396E2F8D}"/>
                  </a:ext>
                </a:extLst>
              </p:cNvPr>
              <p:cNvSpPr>
                <a:spLocks noEditPoints="1"/>
              </p:cNvSpPr>
              <p:nvPr/>
            </p:nvSpPr>
            <p:spPr bwMode="auto">
              <a:xfrm>
                <a:off x="2087563" y="5559425"/>
                <a:ext cx="504825" cy="503238"/>
              </a:xfrm>
              <a:custGeom>
                <a:avLst/>
                <a:gdLst>
                  <a:gd name="T0" fmla="*/ 130 w 318"/>
                  <a:gd name="T1" fmla="*/ 15 h 317"/>
                  <a:gd name="T2" fmla="*/ 78 w 318"/>
                  <a:gd name="T3" fmla="*/ 38 h 317"/>
                  <a:gd name="T4" fmla="*/ 38 w 318"/>
                  <a:gd name="T5" fmla="*/ 77 h 317"/>
                  <a:gd name="T6" fmla="*/ 16 w 318"/>
                  <a:gd name="T7" fmla="*/ 129 h 317"/>
                  <a:gd name="T8" fmla="*/ 16 w 318"/>
                  <a:gd name="T9" fmla="*/ 188 h 317"/>
                  <a:gd name="T10" fmla="*/ 38 w 318"/>
                  <a:gd name="T11" fmla="*/ 240 h 317"/>
                  <a:gd name="T12" fmla="*/ 78 w 318"/>
                  <a:gd name="T13" fmla="*/ 279 h 317"/>
                  <a:gd name="T14" fmla="*/ 130 w 318"/>
                  <a:gd name="T15" fmla="*/ 300 h 317"/>
                  <a:gd name="T16" fmla="*/ 188 w 318"/>
                  <a:gd name="T17" fmla="*/ 300 h 317"/>
                  <a:gd name="T18" fmla="*/ 239 w 318"/>
                  <a:gd name="T19" fmla="*/ 279 h 317"/>
                  <a:gd name="T20" fmla="*/ 279 w 318"/>
                  <a:gd name="T21" fmla="*/ 240 h 317"/>
                  <a:gd name="T22" fmla="*/ 301 w 318"/>
                  <a:gd name="T23" fmla="*/ 188 h 317"/>
                  <a:gd name="T24" fmla="*/ 301 w 318"/>
                  <a:gd name="T25" fmla="*/ 129 h 317"/>
                  <a:gd name="T26" fmla="*/ 279 w 318"/>
                  <a:gd name="T27" fmla="*/ 77 h 317"/>
                  <a:gd name="T28" fmla="*/ 239 w 318"/>
                  <a:gd name="T29" fmla="*/ 38 h 317"/>
                  <a:gd name="T30" fmla="*/ 188 w 318"/>
                  <a:gd name="T31" fmla="*/ 15 h 317"/>
                  <a:gd name="T32" fmla="*/ 159 w 318"/>
                  <a:gd name="T33" fmla="*/ 0 h 317"/>
                  <a:gd name="T34" fmla="*/ 220 w 318"/>
                  <a:gd name="T35" fmla="*/ 12 h 317"/>
                  <a:gd name="T36" fmla="*/ 271 w 318"/>
                  <a:gd name="T37" fmla="*/ 47 h 317"/>
                  <a:gd name="T38" fmla="*/ 305 w 318"/>
                  <a:gd name="T39" fmla="*/ 96 h 317"/>
                  <a:gd name="T40" fmla="*/ 318 w 318"/>
                  <a:gd name="T41" fmla="*/ 158 h 317"/>
                  <a:gd name="T42" fmla="*/ 314 w 318"/>
                  <a:gd name="T43" fmla="*/ 190 h 317"/>
                  <a:gd name="T44" fmla="*/ 290 w 318"/>
                  <a:gd name="T45" fmla="*/ 247 h 317"/>
                  <a:gd name="T46" fmla="*/ 248 w 318"/>
                  <a:gd name="T47" fmla="*/ 289 h 317"/>
                  <a:gd name="T48" fmla="*/ 191 w 318"/>
                  <a:gd name="T49" fmla="*/ 314 h 317"/>
                  <a:gd name="T50" fmla="*/ 127 w 318"/>
                  <a:gd name="T51" fmla="*/ 314 h 317"/>
                  <a:gd name="T52" fmla="*/ 70 w 318"/>
                  <a:gd name="T53" fmla="*/ 289 h 317"/>
                  <a:gd name="T54" fmla="*/ 27 w 318"/>
                  <a:gd name="T55" fmla="*/ 247 h 317"/>
                  <a:gd name="T56" fmla="*/ 4 w 318"/>
                  <a:gd name="T57" fmla="*/ 190 h 317"/>
                  <a:gd name="T58" fmla="*/ 0 w 318"/>
                  <a:gd name="T59" fmla="*/ 158 h 317"/>
                  <a:gd name="T60" fmla="*/ 12 w 318"/>
                  <a:gd name="T61" fmla="*/ 96 h 317"/>
                  <a:gd name="T62" fmla="*/ 46 w 318"/>
                  <a:gd name="T63" fmla="*/ 47 h 317"/>
                  <a:gd name="T64" fmla="*/ 97 w 318"/>
                  <a:gd name="T65" fmla="*/ 12 h 317"/>
                  <a:gd name="T66" fmla="*/ 159 w 318"/>
                  <a:gd name="T6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7">
                    <a:moveTo>
                      <a:pt x="159" y="13"/>
                    </a:moveTo>
                    <a:lnTo>
                      <a:pt x="130" y="15"/>
                    </a:lnTo>
                    <a:lnTo>
                      <a:pt x="102" y="24"/>
                    </a:lnTo>
                    <a:lnTo>
                      <a:pt x="78" y="38"/>
                    </a:lnTo>
                    <a:lnTo>
                      <a:pt x="56" y="55"/>
                    </a:lnTo>
                    <a:lnTo>
                      <a:pt x="38" y="77"/>
                    </a:lnTo>
                    <a:lnTo>
                      <a:pt x="25" y="102"/>
                    </a:lnTo>
                    <a:lnTo>
                      <a:pt x="16" y="129"/>
                    </a:lnTo>
                    <a:lnTo>
                      <a:pt x="14" y="158"/>
                    </a:lnTo>
                    <a:lnTo>
                      <a:pt x="16" y="188"/>
                    </a:lnTo>
                    <a:lnTo>
                      <a:pt x="25" y="215"/>
                    </a:lnTo>
                    <a:lnTo>
                      <a:pt x="38" y="240"/>
                    </a:lnTo>
                    <a:lnTo>
                      <a:pt x="56" y="260"/>
                    </a:lnTo>
                    <a:lnTo>
                      <a:pt x="78" y="279"/>
                    </a:lnTo>
                    <a:lnTo>
                      <a:pt x="102" y="292"/>
                    </a:lnTo>
                    <a:lnTo>
                      <a:pt x="130" y="300"/>
                    </a:lnTo>
                    <a:lnTo>
                      <a:pt x="159" y="303"/>
                    </a:lnTo>
                    <a:lnTo>
                      <a:pt x="188" y="300"/>
                    </a:lnTo>
                    <a:lnTo>
                      <a:pt x="215" y="292"/>
                    </a:lnTo>
                    <a:lnTo>
                      <a:pt x="239" y="279"/>
                    </a:lnTo>
                    <a:lnTo>
                      <a:pt x="261" y="260"/>
                    </a:lnTo>
                    <a:lnTo>
                      <a:pt x="279" y="240"/>
                    </a:lnTo>
                    <a:lnTo>
                      <a:pt x="293" y="215"/>
                    </a:lnTo>
                    <a:lnTo>
                      <a:pt x="301" y="188"/>
                    </a:lnTo>
                    <a:lnTo>
                      <a:pt x="303" y="158"/>
                    </a:lnTo>
                    <a:lnTo>
                      <a:pt x="301" y="129"/>
                    </a:lnTo>
                    <a:lnTo>
                      <a:pt x="293" y="102"/>
                    </a:lnTo>
                    <a:lnTo>
                      <a:pt x="279" y="77"/>
                    </a:lnTo>
                    <a:lnTo>
                      <a:pt x="261" y="55"/>
                    </a:lnTo>
                    <a:lnTo>
                      <a:pt x="239" y="38"/>
                    </a:lnTo>
                    <a:lnTo>
                      <a:pt x="215" y="24"/>
                    </a:lnTo>
                    <a:lnTo>
                      <a:pt x="188" y="15"/>
                    </a:lnTo>
                    <a:lnTo>
                      <a:pt x="159" y="13"/>
                    </a:lnTo>
                    <a:close/>
                    <a:moveTo>
                      <a:pt x="159" y="0"/>
                    </a:moveTo>
                    <a:lnTo>
                      <a:pt x="191" y="3"/>
                    </a:lnTo>
                    <a:lnTo>
                      <a:pt x="220" y="12"/>
                    </a:lnTo>
                    <a:lnTo>
                      <a:pt x="248" y="27"/>
                    </a:lnTo>
                    <a:lnTo>
                      <a:pt x="271" y="47"/>
                    </a:lnTo>
                    <a:lnTo>
                      <a:pt x="290" y="70"/>
                    </a:lnTo>
                    <a:lnTo>
                      <a:pt x="305" y="96"/>
                    </a:lnTo>
                    <a:lnTo>
                      <a:pt x="314" y="126"/>
                    </a:lnTo>
                    <a:lnTo>
                      <a:pt x="318" y="158"/>
                    </a:lnTo>
                    <a:lnTo>
                      <a:pt x="318" y="159"/>
                    </a:lnTo>
                    <a:lnTo>
                      <a:pt x="314" y="190"/>
                    </a:lnTo>
                    <a:lnTo>
                      <a:pt x="305" y="219"/>
                    </a:lnTo>
                    <a:lnTo>
                      <a:pt x="290" y="247"/>
                    </a:lnTo>
                    <a:lnTo>
                      <a:pt x="271" y="270"/>
                    </a:lnTo>
                    <a:lnTo>
                      <a:pt x="248" y="289"/>
                    </a:lnTo>
                    <a:lnTo>
                      <a:pt x="220" y="304"/>
                    </a:lnTo>
                    <a:lnTo>
                      <a:pt x="191" y="314"/>
                    </a:lnTo>
                    <a:lnTo>
                      <a:pt x="159" y="317"/>
                    </a:lnTo>
                    <a:lnTo>
                      <a:pt x="127" y="314"/>
                    </a:lnTo>
                    <a:lnTo>
                      <a:pt x="97" y="304"/>
                    </a:lnTo>
                    <a:lnTo>
                      <a:pt x="70" y="289"/>
                    </a:lnTo>
                    <a:lnTo>
                      <a:pt x="46" y="270"/>
                    </a:lnTo>
                    <a:lnTo>
                      <a:pt x="27" y="247"/>
                    </a:lnTo>
                    <a:lnTo>
                      <a:pt x="12" y="219"/>
                    </a:lnTo>
                    <a:lnTo>
                      <a:pt x="4" y="190"/>
                    </a:lnTo>
                    <a:lnTo>
                      <a:pt x="0" y="158"/>
                    </a:lnTo>
                    <a:lnTo>
                      <a:pt x="0" y="158"/>
                    </a:lnTo>
                    <a:lnTo>
                      <a:pt x="4" y="126"/>
                    </a:lnTo>
                    <a:lnTo>
                      <a:pt x="12" y="96"/>
                    </a:lnTo>
                    <a:lnTo>
                      <a:pt x="27" y="70"/>
                    </a:lnTo>
                    <a:lnTo>
                      <a:pt x="46" y="47"/>
                    </a:lnTo>
                    <a:lnTo>
                      <a:pt x="70" y="27"/>
                    </a:lnTo>
                    <a:lnTo>
                      <a:pt x="97" y="12"/>
                    </a:lnTo>
                    <a:lnTo>
                      <a:pt x="127" y="3"/>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6" name="Group 795">
              <a:extLst>
                <a:ext uri="{FF2B5EF4-FFF2-40B4-BE49-F238E27FC236}">
                  <a16:creationId xmlns:a16="http://schemas.microsoft.com/office/drawing/2014/main" id="{E772B75C-6103-A949-8B8B-3A3B241126F9}"/>
                </a:ext>
              </a:extLst>
            </p:cNvPr>
            <p:cNvGrpSpPr>
              <a:grpSpLocks noChangeAspect="1"/>
            </p:cNvGrpSpPr>
            <p:nvPr/>
          </p:nvGrpSpPr>
          <p:grpSpPr bwMode="auto">
            <a:xfrm>
              <a:off x="4494623" y="3989561"/>
              <a:ext cx="502920" cy="502920"/>
              <a:chOff x="4288" y="3084"/>
              <a:chExt cx="340" cy="340"/>
            </a:xfrm>
            <a:solidFill>
              <a:schemeClr val="bg1"/>
            </a:solidFill>
          </p:grpSpPr>
          <p:sp>
            <p:nvSpPr>
              <p:cNvPr id="147" name="Freeform 796">
                <a:extLst>
                  <a:ext uri="{FF2B5EF4-FFF2-40B4-BE49-F238E27FC236}">
                    <a16:creationId xmlns:a16="http://schemas.microsoft.com/office/drawing/2014/main" id="{5C492AAA-3BC7-B349-9996-71712C7D5DD1}"/>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797">
                <a:extLst>
                  <a:ext uri="{FF2B5EF4-FFF2-40B4-BE49-F238E27FC236}">
                    <a16:creationId xmlns:a16="http://schemas.microsoft.com/office/drawing/2014/main" id="{BA0B7BEF-779C-E749-8C2D-1852639DA8B1}"/>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 name="Freeform 798">
                <a:extLst>
                  <a:ext uri="{FF2B5EF4-FFF2-40B4-BE49-F238E27FC236}">
                    <a16:creationId xmlns:a16="http://schemas.microsoft.com/office/drawing/2014/main" id="{071479A2-3516-2640-82A3-92AB969F7E50}"/>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 name="Freeform 799">
                <a:extLst>
                  <a:ext uri="{FF2B5EF4-FFF2-40B4-BE49-F238E27FC236}">
                    <a16:creationId xmlns:a16="http://schemas.microsoft.com/office/drawing/2014/main" id="{3D4DCE9B-D7D6-2140-8661-0BCE8FEF520B}"/>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custDataLst>
      <p:tags r:id="rId1"/>
    </p:custDataLst>
    <p:extLst>
      <p:ext uri="{BB962C8B-B14F-4D97-AF65-F5344CB8AC3E}">
        <p14:creationId xmlns:p14="http://schemas.microsoft.com/office/powerpoint/2010/main" val="767147457"/>
      </p:ext>
    </p:extLst>
  </p:cSld>
  <p:clrMapOvr>
    <a:masterClrMapping/>
  </p:clrMapOvr>
  <p:transition>
    <p:fade/>
  </p:transition>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33D5F1A5-0C81-BA4A-9710-5074CD04FEFE}"/>
              </a:ext>
            </a:extLst>
          </p:cNvPr>
          <p:cNvSpPr/>
          <p:nvPr/>
        </p:nvSpPr>
        <p:spPr bwMode="gray">
          <a:xfrm>
            <a:off x="1900239" y="1827732"/>
            <a:ext cx="8391525" cy="4067001"/>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5" name="Rectangle 44">
            <a:extLst>
              <a:ext uri="{FF2B5EF4-FFF2-40B4-BE49-F238E27FC236}">
                <a16:creationId xmlns:a16="http://schemas.microsoft.com/office/drawing/2014/main" id="{8E809FD8-93CE-D44C-862C-B0BE9587E140}"/>
              </a:ext>
            </a:extLst>
          </p:cNvPr>
          <p:cNvSpPr/>
          <p:nvPr/>
        </p:nvSpPr>
        <p:spPr bwMode="gray">
          <a:xfrm>
            <a:off x="1900239" y="1521181"/>
            <a:ext cx="8391525" cy="327004"/>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Freeform 45">
            <a:extLst>
              <a:ext uri="{FF2B5EF4-FFF2-40B4-BE49-F238E27FC236}">
                <a16:creationId xmlns:a16="http://schemas.microsoft.com/office/drawing/2014/main" id="{C0A07EC7-246A-744F-A196-F06D91850B23}"/>
              </a:ext>
            </a:extLst>
          </p:cNvPr>
          <p:cNvSpPr>
            <a:spLocks noEditPoints="1"/>
          </p:cNvSpPr>
          <p:nvPr/>
        </p:nvSpPr>
        <p:spPr bwMode="auto">
          <a:xfrm>
            <a:off x="5312192" y="273915"/>
            <a:ext cx="1567619" cy="1252461"/>
          </a:xfrm>
          <a:custGeom>
            <a:avLst/>
            <a:gdLst>
              <a:gd name="T0" fmla="*/ 412 w 432"/>
              <a:gd name="T1" fmla="*/ 317 h 345"/>
              <a:gd name="T2" fmla="*/ 395 w 432"/>
              <a:gd name="T3" fmla="*/ 303 h 345"/>
              <a:gd name="T4" fmla="*/ 412 w 432"/>
              <a:gd name="T5" fmla="*/ 283 h 345"/>
              <a:gd name="T6" fmla="*/ 387 w 432"/>
              <a:gd name="T7" fmla="*/ 182 h 345"/>
              <a:gd name="T8" fmla="*/ 321 w 432"/>
              <a:gd name="T9" fmla="*/ 35 h 345"/>
              <a:gd name="T10" fmla="*/ 230 w 432"/>
              <a:gd name="T11" fmla="*/ 26 h 345"/>
              <a:gd name="T12" fmla="*/ 78 w 432"/>
              <a:gd name="T13" fmla="*/ 230 h 345"/>
              <a:gd name="T14" fmla="*/ 42 w 432"/>
              <a:gd name="T15" fmla="*/ 259 h 345"/>
              <a:gd name="T16" fmla="*/ 48 w 432"/>
              <a:gd name="T17" fmla="*/ 303 h 345"/>
              <a:gd name="T18" fmla="*/ 39 w 432"/>
              <a:gd name="T19" fmla="*/ 314 h 345"/>
              <a:gd name="T20" fmla="*/ 21 w 432"/>
              <a:gd name="T21" fmla="*/ 325 h 345"/>
              <a:gd name="T22" fmla="*/ 0 w 432"/>
              <a:gd name="T23" fmla="*/ 345 h 345"/>
              <a:gd name="T24" fmla="*/ 432 w 432"/>
              <a:gd name="T25" fmla="*/ 325 h 345"/>
              <a:gd name="T26" fmla="*/ 198 w 432"/>
              <a:gd name="T27" fmla="*/ 178 h 345"/>
              <a:gd name="T28" fmla="*/ 224 w 432"/>
              <a:gd name="T29" fmla="*/ 206 h 345"/>
              <a:gd name="T30" fmla="*/ 198 w 432"/>
              <a:gd name="T31" fmla="*/ 178 h 345"/>
              <a:gd name="T32" fmla="*/ 230 w 432"/>
              <a:gd name="T33" fmla="*/ 227 h 345"/>
              <a:gd name="T34" fmla="*/ 187 w 432"/>
              <a:gd name="T35" fmla="*/ 257 h 345"/>
              <a:gd name="T36" fmla="*/ 71 w 432"/>
              <a:gd name="T37" fmla="*/ 249 h 345"/>
              <a:gd name="T38" fmla="*/ 71 w 432"/>
              <a:gd name="T39" fmla="*/ 268 h 345"/>
              <a:gd name="T40" fmla="*/ 71 w 432"/>
              <a:gd name="T41" fmla="*/ 249 h 345"/>
              <a:gd name="T42" fmla="*/ 60 w 432"/>
              <a:gd name="T43" fmla="*/ 303 h 345"/>
              <a:gd name="T44" fmla="*/ 71 w 432"/>
              <a:gd name="T45" fmla="*/ 288 h 345"/>
              <a:gd name="T46" fmla="*/ 83 w 432"/>
              <a:gd name="T47" fmla="*/ 303 h 345"/>
              <a:gd name="T48" fmla="*/ 101 w 432"/>
              <a:gd name="T49" fmla="*/ 325 h 345"/>
              <a:gd name="T50" fmla="*/ 94 w 432"/>
              <a:gd name="T51" fmla="*/ 303 h 345"/>
              <a:gd name="T52" fmla="*/ 101 w 432"/>
              <a:gd name="T53" fmla="*/ 259 h 345"/>
              <a:gd name="T54" fmla="*/ 163 w 432"/>
              <a:gd name="T55" fmla="*/ 206 h 345"/>
              <a:gd name="T56" fmla="*/ 178 w 432"/>
              <a:gd name="T57" fmla="*/ 325 h 345"/>
              <a:gd name="T58" fmla="*/ 237 w 432"/>
              <a:gd name="T59" fmla="*/ 325 h 345"/>
              <a:gd name="T60" fmla="*/ 189 w 432"/>
              <a:gd name="T61" fmla="*/ 277 h 345"/>
              <a:gd name="T62" fmla="*/ 259 w 432"/>
              <a:gd name="T63" fmla="*/ 319 h 345"/>
              <a:gd name="T64" fmla="*/ 376 w 432"/>
              <a:gd name="T65" fmla="*/ 283 h 345"/>
              <a:gd name="T66" fmla="*/ 351 w 432"/>
              <a:gd name="T67" fmla="*/ 303 h 345"/>
              <a:gd name="T68" fmla="*/ 368 w 432"/>
              <a:gd name="T69" fmla="*/ 317 h 345"/>
              <a:gd name="T70" fmla="*/ 351 w 432"/>
              <a:gd name="T71" fmla="*/ 325 h 345"/>
              <a:gd name="T72" fmla="*/ 237 w 432"/>
              <a:gd name="T73" fmla="*/ 146 h 345"/>
              <a:gd name="T74" fmla="*/ 376 w 432"/>
              <a:gd name="T75" fmla="*/ 19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2" h="345">
                <a:moveTo>
                  <a:pt x="412" y="325"/>
                </a:moveTo>
                <a:cubicBezTo>
                  <a:pt x="412" y="317"/>
                  <a:pt x="412" y="317"/>
                  <a:pt x="412" y="317"/>
                </a:cubicBezTo>
                <a:cubicBezTo>
                  <a:pt x="395" y="317"/>
                  <a:pt x="395" y="317"/>
                  <a:pt x="395" y="317"/>
                </a:cubicBezTo>
                <a:cubicBezTo>
                  <a:pt x="395" y="303"/>
                  <a:pt x="395" y="303"/>
                  <a:pt x="395" y="303"/>
                </a:cubicBezTo>
                <a:cubicBezTo>
                  <a:pt x="412" y="303"/>
                  <a:pt x="412" y="303"/>
                  <a:pt x="412" y="303"/>
                </a:cubicBezTo>
                <a:cubicBezTo>
                  <a:pt x="412" y="283"/>
                  <a:pt x="412" y="283"/>
                  <a:pt x="412" y="283"/>
                </a:cubicBezTo>
                <a:cubicBezTo>
                  <a:pt x="387" y="283"/>
                  <a:pt x="387" y="283"/>
                  <a:pt x="387" y="283"/>
                </a:cubicBezTo>
                <a:cubicBezTo>
                  <a:pt x="387" y="182"/>
                  <a:pt x="387" y="182"/>
                  <a:pt x="387" y="182"/>
                </a:cubicBezTo>
                <a:cubicBezTo>
                  <a:pt x="397" y="174"/>
                  <a:pt x="397" y="174"/>
                  <a:pt x="397" y="174"/>
                </a:cubicBezTo>
                <a:cubicBezTo>
                  <a:pt x="321" y="35"/>
                  <a:pt x="321" y="35"/>
                  <a:pt x="321" y="35"/>
                </a:cubicBezTo>
                <a:cubicBezTo>
                  <a:pt x="263" y="0"/>
                  <a:pt x="263" y="0"/>
                  <a:pt x="263" y="0"/>
                </a:cubicBezTo>
                <a:cubicBezTo>
                  <a:pt x="230" y="26"/>
                  <a:pt x="230" y="26"/>
                  <a:pt x="230" y="26"/>
                </a:cubicBezTo>
                <a:cubicBezTo>
                  <a:pt x="256" y="85"/>
                  <a:pt x="256" y="85"/>
                  <a:pt x="256" y="85"/>
                </a:cubicBezTo>
                <a:cubicBezTo>
                  <a:pt x="78" y="230"/>
                  <a:pt x="78" y="230"/>
                  <a:pt x="78" y="230"/>
                </a:cubicBezTo>
                <a:cubicBezTo>
                  <a:pt x="76" y="230"/>
                  <a:pt x="73" y="229"/>
                  <a:pt x="71" y="229"/>
                </a:cubicBezTo>
                <a:cubicBezTo>
                  <a:pt x="55" y="229"/>
                  <a:pt x="42" y="242"/>
                  <a:pt x="42" y="259"/>
                </a:cubicBezTo>
                <a:cubicBezTo>
                  <a:pt x="42" y="265"/>
                  <a:pt x="44" y="272"/>
                  <a:pt x="48" y="277"/>
                </a:cubicBezTo>
                <a:cubicBezTo>
                  <a:pt x="48" y="303"/>
                  <a:pt x="48" y="303"/>
                  <a:pt x="48" y="303"/>
                </a:cubicBezTo>
                <a:cubicBezTo>
                  <a:pt x="39" y="303"/>
                  <a:pt x="39" y="303"/>
                  <a:pt x="39" y="303"/>
                </a:cubicBezTo>
                <a:cubicBezTo>
                  <a:pt x="39" y="314"/>
                  <a:pt x="39" y="314"/>
                  <a:pt x="39" y="314"/>
                </a:cubicBezTo>
                <a:cubicBezTo>
                  <a:pt x="21" y="314"/>
                  <a:pt x="21" y="314"/>
                  <a:pt x="21" y="314"/>
                </a:cubicBezTo>
                <a:cubicBezTo>
                  <a:pt x="21" y="325"/>
                  <a:pt x="21" y="325"/>
                  <a:pt x="21" y="325"/>
                </a:cubicBezTo>
                <a:cubicBezTo>
                  <a:pt x="0" y="325"/>
                  <a:pt x="0" y="325"/>
                  <a:pt x="0" y="325"/>
                </a:cubicBezTo>
                <a:cubicBezTo>
                  <a:pt x="0" y="345"/>
                  <a:pt x="0" y="345"/>
                  <a:pt x="0" y="345"/>
                </a:cubicBezTo>
                <a:cubicBezTo>
                  <a:pt x="432" y="345"/>
                  <a:pt x="432" y="345"/>
                  <a:pt x="432" y="345"/>
                </a:cubicBezTo>
                <a:cubicBezTo>
                  <a:pt x="432" y="325"/>
                  <a:pt x="432" y="325"/>
                  <a:pt x="432" y="325"/>
                </a:cubicBezTo>
                <a:lnTo>
                  <a:pt x="412" y="325"/>
                </a:lnTo>
                <a:close/>
                <a:moveTo>
                  <a:pt x="198" y="178"/>
                </a:moveTo>
                <a:cubicBezTo>
                  <a:pt x="211" y="167"/>
                  <a:pt x="211" y="167"/>
                  <a:pt x="211" y="167"/>
                </a:cubicBezTo>
                <a:cubicBezTo>
                  <a:pt x="224" y="206"/>
                  <a:pt x="224" y="206"/>
                  <a:pt x="224" y="206"/>
                </a:cubicBezTo>
                <a:cubicBezTo>
                  <a:pt x="195" y="195"/>
                  <a:pt x="195" y="195"/>
                  <a:pt x="195" y="195"/>
                </a:cubicBezTo>
                <a:lnTo>
                  <a:pt x="198" y="178"/>
                </a:lnTo>
                <a:close/>
                <a:moveTo>
                  <a:pt x="193" y="213"/>
                </a:moveTo>
                <a:cubicBezTo>
                  <a:pt x="230" y="227"/>
                  <a:pt x="230" y="227"/>
                  <a:pt x="230" y="227"/>
                </a:cubicBezTo>
                <a:cubicBezTo>
                  <a:pt x="231" y="228"/>
                  <a:pt x="231" y="228"/>
                  <a:pt x="231" y="228"/>
                </a:cubicBezTo>
                <a:cubicBezTo>
                  <a:pt x="187" y="257"/>
                  <a:pt x="187" y="257"/>
                  <a:pt x="187" y="257"/>
                </a:cubicBezTo>
                <a:lnTo>
                  <a:pt x="193" y="213"/>
                </a:lnTo>
                <a:close/>
                <a:moveTo>
                  <a:pt x="71" y="249"/>
                </a:moveTo>
                <a:cubicBezTo>
                  <a:pt x="76" y="249"/>
                  <a:pt x="80" y="254"/>
                  <a:pt x="80" y="259"/>
                </a:cubicBezTo>
                <a:cubicBezTo>
                  <a:pt x="80" y="264"/>
                  <a:pt x="76" y="268"/>
                  <a:pt x="71" y="268"/>
                </a:cubicBezTo>
                <a:cubicBezTo>
                  <a:pt x="66" y="268"/>
                  <a:pt x="62" y="264"/>
                  <a:pt x="62" y="259"/>
                </a:cubicBezTo>
                <a:cubicBezTo>
                  <a:pt x="62" y="254"/>
                  <a:pt x="66" y="249"/>
                  <a:pt x="71" y="249"/>
                </a:cubicBezTo>
                <a:close/>
                <a:moveTo>
                  <a:pt x="83" y="303"/>
                </a:moveTo>
                <a:cubicBezTo>
                  <a:pt x="60" y="303"/>
                  <a:pt x="60" y="303"/>
                  <a:pt x="60" y="303"/>
                </a:cubicBezTo>
                <a:cubicBezTo>
                  <a:pt x="60" y="286"/>
                  <a:pt x="60" y="286"/>
                  <a:pt x="60" y="286"/>
                </a:cubicBezTo>
                <a:cubicBezTo>
                  <a:pt x="63" y="287"/>
                  <a:pt x="67" y="288"/>
                  <a:pt x="71" y="288"/>
                </a:cubicBezTo>
                <a:cubicBezTo>
                  <a:pt x="75" y="288"/>
                  <a:pt x="79" y="287"/>
                  <a:pt x="83" y="286"/>
                </a:cubicBezTo>
                <a:lnTo>
                  <a:pt x="83" y="303"/>
                </a:lnTo>
                <a:close/>
                <a:moveTo>
                  <a:pt x="147" y="325"/>
                </a:moveTo>
                <a:cubicBezTo>
                  <a:pt x="101" y="325"/>
                  <a:pt x="101" y="325"/>
                  <a:pt x="101" y="325"/>
                </a:cubicBezTo>
                <a:cubicBezTo>
                  <a:pt x="101" y="303"/>
                  <a:pt x="101" y="303"/>
                  <a:pt x="101" y="303"/>
                </a:cubicBezTo>
                <a:cubicBezTo>
                  <a:pt x="94" y="303"/>
                  <a:pt x="94" y="303"/>
                  <a:pt x="94" y="303"/>
                </a:cubicBezTo>
                <a:cubicBezTo>
                  <a:pt x="94" y="277"/>
                  <a:pt x="94" y="277"/>
                  <a:pt x="94" y="277"/>
                </a:cubicBezTo>
                <a:cubicBezTo>
                  <a:pt x="98" y="272"/>
                  <a:pt x="101" y="265"/>
                  <a:pt x="101" y="259"/>
                </a:cubicBezTo>
                <a:cubicBezTo>
                  <a:pt x="101" y="258"/>
                  <a:pt x="100" y="257"/>
                  <a:pt x="100" y="256"/>
                </a:cubicBezTo>
                <a:cubicBezTo>
                  <a:pt x="163" y="206"/>
                  <a:pt x="163" y="206"/>
                  <a:pt x="163" y="206"/>
                </a:cubicBezTo>
                <a:lnTo>
                  <a:pt x="147" y="325"/>
                </a:lnTo>
                <a:close/>
                <a:moveTo>
                  <a:pt x="178" y="325"/>
                </a:moveTo>
                <a:cubicBezTo>
                  <a:pt x="183" y="293"/>
                  <a:pt x="183" y="293"/>
                  <a:pt x="183" y="293"/>
                </a:cubicBezTo>
                <a:cubicBezTo>
                  <a:pt x="237" y="325"/>
                  <a:pt x="237" y="325"/>
                  <a:pt x="237" y="325"/>
                </a:cubicBezTo>
                <a:lnTo>
                  <a:pt x="178" y="325"/>
                </a:lnTo>
                <a:close/>
                <a:moveTo>
                  <a:pt x="189" y="277"/>
                </a:moveTo>
                <a:cubicBezTo>
                  <a:pt x="236" y="245"/>
                  <a:pt x="236" y="245"/>
                  <a:pt x="236" y="245"/>
                </a:cubicBezTo>
                <a:cubicBezTo>
                  <a:pt x="259" y="319"/>
                  <a:pt x="259" y="319"/>
                  <a:pt x="259" y="319"/>
                </a:cubicBezTo>
                <a:lnTo>
                  <a:pt x="189" y="277"/>
                </a:lnTo>
                <a:close/>
                <a:moveTo>
                  <a:pt x="376" y="283"/>
                </a:moveTo>
                <a:cubicBezTo>
                  <a:pt x="351" y="283"/>
                  <a:pt x="351" y="283"/>
                  <a:pt x="351" y="283"/>
                </a:cubicBezTo>
                <a:cubicBezTo>
                  <a:pt x="351" y="303"/>
                  <a:pt x="351" y="303"/>
                  <a:pt x="351" y="303"/>
                </a:cubicBezTo>
                <a:cubicBezTo>
                  <a:pt x="368" y="303"/>
                  <a:pt x="368" y="303"/>
                  <a:pt x="368" y="303"/>
                </a:cubicBezTo>
                <a:cubicBezTo>
                  <a:pt x="368" y="317"/>
                  <a:pt x="368" y="317"/>
                  <a:pt x="368" y="317"/>
                </a:cubicBezTo>
                <a:cubicBezTo>
                  <a:pt x="351" y="317"/>
                  <a:pt x="351" y="317"/>
                  <a:pt x="351" y="317"/>
                </a:cubicBezTo>
                <a:cubicBezTo>
                  <a:pt x="351" y="325"/>
                  <a:pt x="351" y="325"/>
                  <a:pt x="351" y="325"/>
                </a:cubicBezTo>
                <a:cubicBezTo>
                  <a:pt x="294" y="325"/>
                  <a:pt x="294" y="325"/>
                  <a:pt x="294" y="325"/>
                </a:cubicBezTo>
                <a:cubicBezTo>
                  <a:pt x="237" y="146"/>
                  <a:pt x="237" y="146"/>
                  <a:pt x="237" y="146"/>
                </a:cubicBezTo>
                <a:cubicBezTo>
                  <a:pt x="283" y="109"/>
                  <a:pt x="283" y="109"/>
                  <a:pt x="283" y="109"/>
                </a:cubicBezTo>
                <a:cubicBezTo>
                  <a:pt x="376" y="190"/>
                  <a:pt x="376" y="190"/>
                  <a:pt x="376" y="190"/>
                </a:cubicBezTo>
                <a:lnTo>
                  <a:pt x="376" y="2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Rectangle 46">
            <a:extLst>
              <a:ext uri="{FF2B5EF4-FFF2-40B4-BE49-F238E27FC236}">
                <a16:creationId xmlns:a16="http://schemas.microsoft.com/office/drawing/2014/main" id="{2C9F690D-FF77-344F-A078-8A19CE8A9488}"/>
              </a:ext>
            </a:extLst>
          </p:cNvPr>
          <p:cNvSpPr/>
          <p:nvPr/>
        </p:nvSpPr>
        <p:spPr>
          <a:xfrm>
            <a:off x="2255090" y="5045257"/>
            <a:ext cx="1069908" cy="184666"/>
          </a:xfrm>
          <a:prstGeom prst="rect">
            <a:avLst/>
          </a:prstGeom>
        </p:spPr>
        <p:txBody>
          <a:bodyPr wrap="none" lIns="0" tIns="0" rIns="0" bIns="0">
            <a:spAutoFit/>
          </a:bodyPr>
          <a:lstStyle/>
          <a:p>
            <a:r>
              <a:rPr lang="en-US" sz="1200" b="1" dirty="0">
                <a:solidFill>
                  <a:schemeClr val="accent6"/>
                </a:solidFill>
              </a:rPr>
              <a:t>Lorem ipsum </a:t>
            </a:r>
            <a:r>
              <a:rPr lang="en-US" sz="1200" b="1" dirty="0" err="1">
                <a:solidFill>
                  <a:schemeClr val="accent6"/>
                </a:solidFill>
              </a:rPr>
              <a:t>dol</a:t>
            </a:r>
            <a:endParaRPr lang="en-US" sz="1200" b="1" dirty="0">
              <a:solidFill>
                <a:schemeClr val="accent6"/>
              </a:solidFill>
            </a:endParaRPr>
          </a:p>
        </p:txBody>
      </p:sp>
      <p:cxnSp>
        <p:nvCxnSpPr>
          <p:cNvPr id="48" name="Straight Connector 47">
            <a:extLst>
              <a:ext uri="{FF2B5EF4-FFF2-40B4-BE49-F238E27FC236}">
                <a16:creationId xmlns:a16="http://schemas.microsoft.com/office/drawing/2014/main" id="{59C4C35C-157C-E946-88E6-7F3B1BF01DA4}"/>
              </a:ext>
            </a:extLst>
          </p:cNvPr>
          <p:cNvCxnSpPr>
            <a:endCxn id="101" idx="0"/>
          </p:cNvCxnSpPr>
          <p:nvPr/>
        </p:nvCxnSpPr>
        <p:spPr>
          <a:xfrm flipH="1" flipV="1">
            <a:off x="6359357" y="2108436"/>
            <a:ext cx="2083030" cy="72859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1A55F4EA-B8F0-2443-8FD0-D1B8141636B3}"/>
              </a:ext>
            </a:extLst>
          </p:cNvPr>
          <p:cNvSpPr/>
          <p:nvPr/>
        </p:nvSpPr>
        <p:spPr>
          <a:xfrm>
            <a:off x="2247880" y="3101161"/>
            <a:ext cx="1069908" cy="184666"/>
          </a:xfrm>
          <a:prstGeom prst="rect">
            <a:avLst/>
          </a:prstGeom>
        </p:spPr>
        <p:txBody>
          <a:bodyPr wrap="none" lIns="0" tIns="0" rIns="0" bIns="0">
            <a:spAutoFit/>
          </a:bodyPr>
          <a:lstStyle/>
          <a:p>
            <a:r>
              <a:rPr lang="en-US" sz="1200" b="1" dirty="0">
                <a:solidFill>
                  <a:schemeClr val="accent1"/>
                </a:solidFill>
              </a:rPr>
              <a:t>Lorem ipsum </a:t>
            </a:r>
            <a:r>
              <a:rPr lang="en-US" sz="1200" b="1" dirty="0" err="1">
                <a:solidFill>
                  <a:schemeClr val="accent1"/>
                </a:solidFill>
              </a:rPr>
              <a:t>dol</a:t>
            </a:r>
            <a:endParaRPr lang="en-US" sz="1200" b="1" dirty="0">
              <a:solidFill>
                <a:schemeClr val="accent1"/>
              </a:solidFill>
            </a:endParaRPr>
          </a:p>
        </p:txBody>
      </p:sp>
      <p:grpSp>
        <p:nvGrpSpPr>
          <p:cNvPr id="51" name="Group 50">
            <a:extLst>
              <a:ext uri="{FF2B5EF4-FFF2-40B4-BE49-F238E27FC236}">
                <a16:creationId xmlns:a16="http://schemas.microsoft.com/office/drawing/2014/main" id="{08CE6288-D206-5D46-A717-2B0DD9E428E7}"/>
              </a:ext>
            </a:extLst>
          </p:cNvPr>
          <p:cNvGrpSpPr/>
          <p:nvPr/>
        </p:nvGrpSpPr>
        <p:grpSpPr>
          <a:xfrm>
            <a:off x="2247880" y="3400454"/>
            <a:ext cx="2132441" cy="1299773"/>
            <a:chOff x="654868" y="4186518"/>
            <a:chExt cx="2132441" cy="1299773"/>
          </a:xfrm>
        </p:grpSpPr>
        <p:sp>
          <p:nvSpPr>
            <p:cNvPr id="52" name="Rectangle 51">
              <a:extLst>
                <a:ext uri="{FF2B5EF4-FFF2-40B4-BE49-F238E27FC236}">
                  <a16:creationId xmlns:a16="http://schemas.microsoft.com/office/drawing/2014/main" id="{1C99B2BB-B0EC-2544-AD70-414CC166C59D}"/>
                </a:ext>
              </a:extLst>
            </p:cNvPr>
            <p:cNvSpPr/>
            <p:nvPr/>
          </p:nvSpPr>
          <p:spPr>
            <a:xfrm>
              <a:off x="1060607" y="4186518"/>
              <a:ext cx="1238656" cy="156197"/>
            </a:xfrm>
            <a:prstGeom prst="rect">
              <a:avLst/>
            </a:prstGeom>
          </p:spPr>
          <p:txBody>
            <a:bodyPr wrap="square" lIns="0" tIns="0" rIns="0" bIns="0">
              <a:spAutoFit/>
            </a:bodyPr>
            <a:lstStyle/>
            <a:p>
              <a:pPr>
                <a:lnSpc>
                  <a:spcPct val="106000"/>
                </a:lnSpc>
              </a:pPr>
              <a:r>
                <a:rPr lang="en-IN" sz="1000" dirty="0">
                  <a:solidFill>
                    <a:schemeClr val="bg1"/>
                  </a:solidFill>
                  <a:ea typeface="Verdana" panose="020B0604030504040204" pitchFamily="34" charset="0"/>
                  <a:cs typeface="Verdana" panose="020B0604030504040204" pitchFamily="34" charset="0"/>
                </a:rPr>
                <a:t>Lorem ipsum </a:t>
              </a:r>
              <a:r>
                <a:rPr lang="en-IN" sz="1000" dirty="0" err="1">
                  <a:solidFill>
                    <a:schemeClr val="bg1"/>
                  </a:solidFill>
                  <a:ea typeface="Verdana" panose="020B0604030504040204" pitchFamily="34" charset="0"/>
                  <a:cs typeface="Verdana" panose="020B0604030504040204" pitchFamily="34" charset="0"/>
                </a:rPr>
                <a:t>dol</a:t>
              </a:r>
              <a:endParaRPr lang="en-IN" sz="1000" dirty="0">
                <a:solidFill>
                  <a:schemeClr val="bg1"/>
                </a:solidFill>
                <a:ea typeface="Verdana" panose="020B0604030504040204" pitchFamily="34" charset="0"/>
                <a:cs typeface="Verdana" panose="020B0604030504040204" pitchFamily="34" charset="0"/>
              </a:endParaRPr>
            </a:p>
          </p:txBody>
        </p:sp>
        <p:sp>
          <p:nvSpPr>
            <p:cNvPr id="53" name="Rectangle 52">
              <a:extLst>
                <a:ext uri="{FF2B5EF4-FFF2-40B4-BE49-F238E27FC236}">
                  <a16:creationId xmlns:a16="http://schemas.microsoft.com/office/drawing/2014/main" id="{559F7A89-E928-A849-84E9-3294986FF9D8}"/>
                </a:ext>
              </a:extLst>
            </p:cNvPr>
            <p:cNvSpPr/>
            <p:nvPr/>
          </p:nvSpPr>
          <p:spPr>
            <a:xfrm>
              <a:off x="1060607" y="5167967"/>
              <a:ext cx="1340612" cy="156197"/>
            </a:xfrm>
            <a:prstGeom prst="rect">
              <a:avLst/>
            </a:prstGeom>
          </p:spPr>
          <p:txBody>
            <a:bodyPr wrap="square" lIns="0" tIns="0" rIns="0" bIns="0">
              <a:spAutoFit/>
            </a:bodyPr>
            <a:lstStyle/>
            <a:p>
              <a:pPr>
                <a:lnSpc>
                  <a:spcPct val="106000"/>
                </a:lnSpc>
              </a:pPr>
              <a:r>
                <a:rPr lang="en-IN" sz="1000" dirty="0">
                  <a:solidFill>
                    <a:schemeClr val="bg1"/>
                  </a:solidFill>
                  <a:ea typeface="Verdana" panose="020B0604030504040204" pitchFamily="34" charset="0"/>
                  <a:cs typeface="Verdana" panose="020B0604030504040204" pitchFamily="34" charset="0"/>
                </a:rPr>
                <a:t>Lorem ipsum </a:t>
              </a:r>
              <a:r>
                <a:rPr lang="en-IN" sz="1000" dirty="0" err="1">
                  <a:solidFill>
                    <a:schemeClr val="bg1"/>
                  </a:solidFill>
                  <a:ea typeface="Verdana" panose="020B0604030504040204" pitchFamily="34" charset="0"/>
                  <a:cs typeface="Verdana" panose="020B0604030504040204" pitchFamily="34" charset="0"/>
                </a:rPr>
                <a:t>dol</a:t>
              </a:r>
              <a:endParaRPr lang="en-IN" sz="1000" dirty="0">
                <a:solidFill>
                  <a:schemeClr val="bg1"/>
                </a:solidFill>
                <a:ea typeface="Verdana" panose="020B0604030504040204" pitchFamily="34" charset="0"/>
                <a:cs typeface="Verdana" panose="020B0604030504040204" pitchFamily="34" charset="0"/>
              </a:endParaRPr>
            </a:p>
          </p:txBody>
        </p:sp>
        <p:sp>
          <p:nvSpPr>
            <p:cNvPr id="54" name="Rectangle 53">
              <a:extLst>
                <a:ext uri="{FF2B5EF4-FFF2-40B4-BE49-F238E27FC236}">
                  <a16:creationId xmlns:a16="http://schemas.microsoft.com/office/drawing/2014/main" id="{94AA1D28-BF9F-0541-ACD1-3A77B85B3BF3}"/>
                </a:ext>
              </a:extLst>
            </p:cNvPr>
            <p:cNvSpPr/>
            <p:nvPr/>
          </p:nvSpPr>
          <p:spPr>
            <a:xfrm>
              <a:off x="1060607" y="4677242"/>
              <a:ext cx="1234775" cy="156197"/>
            </a:xfrm>
            <a:prstGeom prst="rect">
              <a:avLst/>
            </a:prstGeom>
          </p:spPr>
          <p:txBody>
            <a:bodyPr wrap="square" lIns="0" tIns="0" rIns="0" bIns="0">
              <a:spAutoFit/>
            </a:bodyPr>
            <a:lstStyle/>
            <a:p>
              <a:pPr>
                <a:lnSpc>
                  <a:spcPct val="106000"/>
                </a:lnSpc>
              </a:pPr>
              <a:r>
                <a:rPr lang="en-IN" sz="1000" dirty="0">
                  <a:solidFill>
                    <a:schemeClr val="bg1"/>
                  </a:solidFill>
                  <a:ea typeface="Verdana" panose="020B0604030504040204" pitchFamily="34" charset="0"/>
                  <a:cs typeface="Verdana" panose="020B0604030504040204" pitchFamily="34" charset="0"/>
                </a:rPr>
                <a:t>Lorem ipsum </a:t>
              </a:r>
              <a:r>
                <a:rPr lang="en-IN" sz="1000" dirty="0" err="1">
                  <a:solidFill>
                    <a:schemeClr val="bg1"/>
                  </a:solidFill>
                  <a:ea typeface="Verdana" panose="020B0604030504040204" pitchFamily="34" charset="0"/>
                  <a:cs typeface="Verdana" panose="020B0604030504040204" pitchFamily="34" charset="0"/>
                </a:rPr>
                <a:t>dol</a:t>
              </a:r>
              <a:endParaRPr lang="en-IN" sz="1000" dirty="0">
                <a:solidFill>
                  <a:schemeClr val="bg1"/>
                </a:solidFill>
                <a:ea typeface="Verdana" panose="020B0604030504040204" pitchFamily="34" charset="0"/>
                <a:cs typeface="Verdana" panose="020B0604030504040204" pitchFamily="34" charset="0"/>
              </a:endParaRPr>
            </a:p>
          </p:txBody>
        </p:sp>
        <p:sp>
          <p:nvSpPr>
            <p:cNvPr id="55" name="Rectangle 54">
              <a:extLst>
                <a:ext uri="{FF2B5EF4-FFF2-40B4-BE49-F238E27FC236}">
                  <a16:creationId xmlns:a16="http://schemas.microsoft.com/office/drawing/2014/main" id="{C63F2A96-89C2-CB44-9150-6DA3A961B723}"/>
                </a:ext>
              </a:extLst>
            </p:cNvPr>
            <p:cNvSpPr/>
            <p:nvPr/>
          </p:nvSpPr>
          <p:spPr>
            <a:xfrm>
              <a:off x="2257712" y="4202835"/>
              <a:ext cx="509918" cy="293607"/>
            </a:xfrm>
            <a:prstGeom prst="rect">
              <a:avLst/>
            </a:prstGeom>
          </p:spPr>
          <p:txBody>
            <a:bodyPr wrap="square" lIns="0" tIns="0" rIns="0" bIns="0">
              <a:spAutoFit/>
            </a:bodyPr>
            <a:lstStyle/>
            <a:p>
              <a:pPr>
                <a:lnSpc>
                  <a:spcPct val="106000"/>
                </a:lnSpc>
              </a:pPr>
              <a:r>
                <a:rPr lang="en-IN" b="1" dirty="0">
                  <a:solidFill>
                    <a:schemeClr val="bg1"/>
                  </a:solidFill>
                  <a:ea typeface="Verdana" panose="020B0604030504040204" pitchFamily="34" charset="0"/>
                  <a:cs typeface="Verdana" panose="020B0604030504040204" pitchFamily="34" charset="0"/>
                </a:rPr>
                <a:t>435</a:t>
              </a:r>
            </a:p>
          </p:txBody>
        </p:sp>
        <p:sp>
          <p:nvSpPr>
            <p:cNvPr id="56" name="Rectangle 55">
              <a:extLst>
                <a:ext uri="{FF2B5EF4-FFF2-40B4-BE49-F238E27FC236}">
                  <a16:creationId xmlns:a16="http://schemas.microsoft.com/office/drawing/2014/main" id="{BCADEC12-D67F-8849-8C47-D5A38A311E05}"/>
                </a:ext>
              </a:extLst>
            </p:cNvPr>
            <p:cNvSpPr/>
            <p:nvPr/>
          </p:nvSpPr>
          <p:spPr>
            <a:xfrm>
              <a:off x="2257712" y="5192684"/>
              <a:ext cx="529597" cy="293607"/>
            </a:xfrm>
            <a:prstGeom prst="rect">
              <a:avLst/>
            </a:prstGeom>
          </p:spPr>
          <p:txBody>
            <a:bodyPr wrap="square" lIns="0" tIns="0" rIns="0" bIns="0">
              <a:spAutoFit/>
            </a:bodyPr>
            <a:lstStyle/>
            <a:p>
              <a:pPr>
                <a:lnSpc>
                  <a:spcPct val="106000"/>
                </a:lnSpc>
              </a:pPr>
              <a:r>
                <a:rPr lang="en-IN" b="1" dirty="0">
                  <a:solidFill>
                    <a:schemeClr val="bg1"/>
                  </a:solidFill>
                  <a:ea typeface="Verdana" panose="020B0604030504040204" pitchFamily="34" charset="0"/>
                  <a:cs typeface="Verdana" panose="020B0604030504040204" pitchFamily="34" charset="0"/>
                </a:rPr>
                <a:t>460</a:t>
              </a:r>
            </a:p>
          </p:txBody>
        </p:sp>
        <p:sp>
          <p:nvSpPr>
            <p:cNvPr id="57" name="Rectangle 56">
              <a:extLst>
                <a:ext uri="{FF2B5EF4-FFF2-40B4-BE49-F238E27FC236}">
                  <a16:creationId xmlns:a16="http://schemas.microsoft.com/office/drawing/2014/main" id="{8AF4CB08-3531-8F41-83B8-B096C7AA2615}"/>
                </a:ext>
              </a:extLst>
            </p:cNvPr>
            <p:cNvSpPr/>
            <p:nvPr/>
          </p:nvSpPr>
          <p:spPr>
            <a:xfrm>
              <a:off x="2257712" y="4703964"/>
              <a:ext cx="329739" cy="293607"/>
            </a:xfrm>
            <a:prstGeom prst="rect">
              <a:avLst/>
            </a:prstGeom>
          </p:spPr>
          <p:txBody>
            <a:bodyPr wrap="square" lIns="0" tIns="0" rIns="0" bIns="0">
              <a:spAutoFit/>
            </a:bodyPr>
            <a:lstStyle/>
            <a:p>
              <a:pPr>
                <a:lnSpc>
                  <a:spcPct val="106000"/>
                </a:lnSpc>
              </a:pPr>
              <a:r>
                <a:rPr lang="en-IN" b="1" dirty="0">
                  <a:solidFill>
                    <a:schemeClr val="bg1"/>
                  </a:solidFill>
                  <a:ea typeface="Verdana" panose="020B0604030504040204" pitchFamily="34" charset="0"/>
                  <a:cs typeface="Verdana" panose="020B0604030504040204" pitchFamily="34" charset="0"/>
                </a:rPr>
                <a:t>49</a:t>
              </a:r>
            </a:p>
          </p:txBody>
        </p:sp>
        <p:cxnSp>
          <p:nvCxnSpPr>
            <p:cNvPr id="58" name="Straight Connector 57">
              <a:extLst>
                <a:ext uri="{FF2B5EF4-FFF2-40B4-BE49-F238E27FC236}">
                  <a16:creationId xmlns:a16="http://schemas.microsoft.com/office/drawing/2014/main" id="{38E53232-2E61-5B4E-8D6E-32B706D1DC13}"/>
                </a:ext>
              </a:extLst>
            </p:cNvPr>
            <p:cNvCxnSpPr/>
            <p:nvPr/>
          </p:nvCxnSpPr>
          <p:spPr>
            <a:xfrm>
              <a:off x="654868" y="4581039"/>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55FB127-CFF1-0941-9A92-BE1220010204}"/>
                </a:ext>
              </a:extLst>
            </p:cNvPr>
            <p:cNvCxnSpPr/>
            <p:nvPr/>
          </p:nvCxnSpPr>
          <p:spPr>
            <a:xfrm>
              <a:off x="654868" y="5082200"/>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60" name="Freeform 375">
              <a:extLst>
                <a:ext uri="{FF2B5EF4-FFF2-40B4-BE49-F238E27FC236}">
                  <a16:creationId xmlns:a16="http://schemas.microsoft.com/office/drawing/2014/main" id="{CBA588A9-B8B9-C64F-861D-9CC5815436BF}"/>
                </a:ext>
              </a:extLst>
            </p:cNvPr>
            <p:cNvSpPr>
              <a:spLocks noChangeAspect="1" noEditPoints="1"/>
            </p:cNvSpPr>
            <p:nvPr/>
          </p:nvSpPr>
          <p:spPr bwMode="auto">
            <a:xfrm>
              <a:off x="671452" y="4187499"/>
              <a:ext cx="285920" cy="285920"/>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1" name="Freeform 774">
              <a:extLst>
                <a:ext uri="{FF2B5EF4-FFF2-40B4-BE49-F238E27FC236}">
                  <a16:creationId xmlns:a16="http://schemas.microsoft.com/office/drawing/2014/main" id="{FDA25DBF-FBF8-8C4E-A156-1B4E68C36C8B}"/>
                </a:ext>
              </a:extLst>
            </p:cNvPr>
            <p:cNvSpPr>
              <a:spLocks noChangeAspect="1" noEditPoints="1"/>
            </p:cNvSpPr>
            <p:nvPr/>
          </p:nvSpPr>
          <p:spPr bwMode="auto">
            <a:xfrm>
              <a:off x="669773" y="4703964"/>
              <a:ext cx="285920" cy="285920"/>
            </a:xfrm>
            <a:custGeom>
              <a:avLst/>
              <a:gdLst>
                <a:gd name="T0" fmla="*/ 216 w 512"/>
                <a:gd name="T1" fmla="*/ 171 h 512"/>
                <a:gd name="T2" fmla="*/ 320 w 512"/>
                <a:gd name="T3" fmla="*/ 275 h 512"/>
                <a:gd name="T4" fmla="*/ 223 w 512"/>
                <a:gd name="T5" fmla="*/ 268 h 512"/>
                <a:gd name="T6" fmla="*/ 216 w 512"/>
                <a:gd name="T7" fmla="*/ 171 h 512"/>
                <a:gd name="T8" fmla="*/ 197 w 512"/>
                <a:gd name="T9" fmla="*/ 395 h 512"/>
                <a:gd name="T10" fmla="*/ 251 w 512"/>
                <a:gd name="T11" fmla="*/ 395 h 512"/>
                <a:gd name="T12" fmla="*/ 224 w 512"/>
                <a:gd name="T13" fmla="*/ 320 h 512"/>
                <a:gd name="T14" fmla="*/ 197 w 512"/>
                <a:gd name="T15" fmla="*/ 395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47 w 512"/>
                <a:gd name="T27" fmla="*/ 276 h 512"/>
                <a:gd name="T28" fmla="*/ 343 w 512"/>
                <a:gd name="T29" fmla="*/ 268 h 512"/>
                <a:gd name="T30" fmla="*/ 291 w 512"/>
                <a:gd name="T31" fmla="*/ 215 h 512"/>
                <a:gd name="T32" fmla="*/ 296 w 512"/>
                <a:gd name="T33" fmla="*/ 211 h 512"/>
                <a:gd name="T34" fmla="*/ 296 w 512"/>
                <a:gd name="T35" fmla="*/ 195 h 512"/>
                <a:gd name="T36" fmla="*/ 280 w 512"/>
                <a:gd name="T37" fmla="*/ 195 h 512"/>
                <a:gd name="T38" fmla="*/ 276 w 512"/>
                <a:gd name="T39" fmla="*/ 200 h 512"/>
                <a:gd name="T40" fmla="*/ 223 w 512"/>
                <a:gd name="T41" fmla="*/ 148 h 512"/>
                <a:gd name="T42" fmla="*/ 208 w 512"/>
                <a:gd name="T43" fmla="*/ 148 h 512"/>
                <a:gd name="T44" fmla="*/ 208 w 512"/>
                <a:gd name="T45" fmla="*/ 283 h 512"/>
                <a:gd name="T46" fmla="*/ 213 w 512"/>
                <a:gd name="T47" fmla="*/ 288 h 512"/>
                <a:gd name="T48" fmla="*/ 174 w 512"/>
                <a:gd name="T49" fmla="*/ 395 h 512"/>
                <a:gd name="T50" fmla="*/ 160 w 512"/>
                <a:gd name="T51" fmla="*/ 395 h 512"/>
                <a:gd name="T52" fmla="*/ 149 w 512"/>
                <a:gd name="T53" fmla="*/ 406 h 512"/>
                <a:gd name="T54" fmla="*/ 160 w 512"/>
                <a:gd name="T55" fmla="*/ 416 h 512"/>
                <a:gd name="T56" fmla="*/ 288 w 512"/>
                <a:gd name="T57" fmla="*/ 416 h 512"/>
                <a:gd name="T58" fmla="*/ 299 w 512"/>
                <a:gd name="T59" fmla="*/ 406 h 512"/>
                <a:gd name="T60" fmla="*/ 288 w 512"/>
                <a:gd name="T61" fmla="*/ 395 h 512"/>
                <a:gd name="T62" fmla="*/ 274 w 512"/>
                <a:gd name="T63" fmla="*/ 395 h 512"/>
                <a:gd name="T64" fmla="*/ 241 w 512"/>
                <a:gd name="T65" fmla="*/ 305 h 512"/>
                <a:gd name="T66" fmla="*/ 276 w 512"/>
                <a:gd name="T67" fmla="*/ 311 h 512"/>
                <a:gd name="T68" fmla="*/ 343 w 512"/>
                <a:gd name="T69" fmla="*/ 283 h 512"/>
                <a:gd name="T70" fmla="*/ 347 w 512"/>
                <a:gd name="T71" fmla="*/ 276 h 512"/>
                <a:gd name="T72" fmla="*/ 288 w 512"/>
                <a:gd name="T73" fmla="*/ 182 h 512"/>
                <a:gd name="T74" fmla="*/ 309 w 512"/>
                <a:gd name="T75" fmla="*/ 203 h 512"/>
                <a:gd name="T76" fmla="*/ 320 w 512"/>
                <a:gd name="T77" fmla="*/ 214 h 512"/>
                <a:gd name="T78" fmla="*/ 331 w 512"/>
                <a:gd name="T79" fmla="*/ 203 h 512"/>
                <a:gd name="T80" fmla="*/ 288 w 512"/>
                <a:gd name="T81" fmla="*/ 160 h 512"/>
                <a:gd name="T82" fmla="*/ 277 w 512"/>
                <a:gd name="T83" fmla="*/ 171 h 512"/>
                <a:gd name="T84" fmla="*/ 288 w 512"/>
                <a:gd name="T85" fmla="*/ 182 h 512"/>
                <a:gd name="T86" fmla="*/ 373 w 512"/>
                <a:gd name="T87" fmla="*/ 203 h 512"/>
                <a:gd name="T88" fmla="*/ 288 w 512"/>
                <a:gd name="T89" fmla="*/ 118 h 512"/>
                <a:gd name="T90" fmla="*/ 277 w 512"/>
                <a:gd name="T91" fmla="*/ 128 h 512"/>
                <a:gd name="T92" fmla="*/ 288 w 512"/>
                <a:gd name="T93" fmla="*/ 139 h 512"/>
                <a:gd name="T94" fmla="*/ 352 w 512"/>
                <a:gd name="T95" fmla="*/ 203 h 512"/>
                <a:gd name="T96" fmla="*/ 363 w 512"/>
                <a:gd name="T97" fmla="*/ 214 h 512"/>
                <a:gd name="T98" fmla="*/ 373 w 512"/>
                <a:gd name="T99" fmla="*/ 2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16" y="171"/>
                  </a:moveTo>
                  <a:cubicBezTo>
                    <a:pt x="320" y="275"/>
                    <a:pt x="320" y="275"/>
                    <a:pt x="320" y="275"/>
                  </a:cubicBezTo>
                  <a:cubicBezTo>
                    <a:pt x="291" y="297"/>
                    <a:pt x="249" y="295"/>
                    <a:pt x="223" y="268"/>
                  </a:cubicBezTo>
                  <a:cubicBezTo>
                    <a:pt x="196" y="242"/>
                    <a:pt x="194" y="200"/>
                    <a:pt x="216" y="171"/>
                  </a:cubicBezTo>
                  <a:close/>
                  <a:moveTo>
                    <a:pt x="197" y="395"/>
                  </a:moveTo>
                  <a:cubicBezTo>
                    <a:pt x="251" y="395"/>
                    <a:pt x="251" y="395"/>
                    <a:pt x="251" y="395"/>
                  </a:cubicBezTo>
                  <a:cubicBezTo>
                    <a:pt x="224" y="320"/>
                    <a:pt x="224" y="320"/>
                    <a:pt x="224" y="320"/>
                  </a:cubicBezTo>
                  <a:lnTo>
                    <a:pt x="197" y="395"/>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47" y="276"/>
                  </a:moveTo>
                  <a:cubicBezTo>
                    <a:pt x="347" y="273"/>
                    <a:pt x="345" y="270"/>
                    <a:pt x="343" y="268"/>
                  </a:cubicBezTo>
                  <a:cubicBezTo>
                    <a:pt x="291" y="215"/>
                    <a:pt x="291" y="215"/>
                    <a:pt x="291" y="215"/>
                  </a:cubicBezTo>
                  <a:cubicBezTo>
                    <a:pt x="296" y="211"/>
                    <a:pt x="296" y="211"/>
                    <a:pt x="296" y="211"/>
                  </a:cubicBezTo>
                  <a:cubicBezTo>
                    <a:pt x="300" y="206"/>
                    <a:pt x="300" y="200"/>
                    <a:pt x="296" y="195"/>
                  </a:cubicBezTo>
                  <a:cubicBezTo>
                    <a:pt x="291" y="191"/>
                    <a:pt x="285" y="191"/>
                    <a:pt x="280" y="195"/>
                  </a:cubicBezTo>
                  <a:cubicBezTo>
                    <a:pt x="276" y="200"/>
                    <a:pt x="276" y="200"/>
                    <a:pt x="276" y="200"/>
                  </a:cubicBezTo>
                  <a:cubicBezTo>
                    <a:pt x="223" y="148"/>
                    <a:pt x="223" y="148"/>
                    <a:pt x="223" y="148"/>
                  </a:cubicBezTo>
                  <a:cubicBezTo>
                    <a:pt x="219" y="143"/>
                    <a:pt x="212" y="143"/>
                    <a:pt x="208" y="148"/>
                  </a:cubicBezTo>
                  <a:cubicBezTo>
                    <a:pt x="170" y="185"/>
                    <a:pt x="170" y="246"/>
                    <a:pt x="208" y="283"/>
                  </a:cubicBezTo>
                  <a:cubicBezTo>
                    <a:pt x="209" y="285"/>
                    <a:pt x="211" y="287"/>
                    <a:pt x="213" y="288"/>
                  </a:cubicBezTo>
                  <a:cubicBezTo>
                    <a:pt x="174" y="395"/>
                    <a:pt x="174" y="395"/>
                    <a:pt x="174" y="395"/>
                  </a:cubicBezTo>
                  <a:cubicBezTo>
                    <a:pt x="160" y="395"/>
                    <a:pt x="160" y="395"/>
                    <a:pt x="160" y="395"/>
                  </a:cubicBezTo>
                  <a:cubicBezTo>
                    <a:pt x="154" y="395"/>
                    <a:pt x="149" y="400"/>
                    <a:pt x="149" y="406"/>
                  </a:cubicBezTo>
                  <a:cubicBezTo>
                    <a:pt x="149" y="412"/>
                    <a:pt x="154" y="416"/>
                    <a:pt x="160" y="416"/>
                  </a:cubicBezTo>
                  <a:cubicBezTo>
                    <a:pt x="288" y="416"/>
                    <a:pt x="288" y="416"/>
                    <a:pt x="288" y="416"/>
                  </a:cubicBezTo>
                  <a:cubicBezTo>
                    <a:pt x="294" y="416"/>
                    <a:pt x="299" y="412"/>
                    <a:pt x="299" y="406"/>
                  </a:cubicBezTo>
                  <a:cubicBezTo>
                    <a:pt x="299" y="400"/>
                    <a:pt x="294" y="395"/>
                    <a:pt x="288" y="395"/>
                  </a:cubicBezTo>
                  <a:cubicBezTo>
                    <a:pt x="274" y="395"/>
                    <a:pt x="274" y="395"/>
                    <a:pt x="274" y="395"/>
                  </a:cubicBezTo>
                  <a:cubicBezTo>
                    <a:pt x="241" y="305"/>
                    <a:pt x="241" y="305"/>
                    <a:pt x="241" y="305"/>
                  </a:cubicBezTo>
                  <a:cubicBezTo>
                    <a:pt x="252" y="309"/>
                    <a:pt x="264" y="311"/>
                    <a:pt x="276" y="311"/>
                  </a:cubicBezTo>
                  <a:cubicBezTo>
                    <a:pt x="300" y="311"/>
                    <a:pt x="325" y="302"/>
                    <a:pt x="343" y="283"/>
                  </a:cubicBezTo>
                  <a:cubicBezTo>
                    <a:pt x="345" y="281"/>
                    <a:pt x="347" y="279"/>
                    <a:pt x="347" y="276"/>
                  </a:cubicBezTo>
                  <a:close/>
                  <a:moveTo>
                    <a:pt x="288" y="182"/>
                  </a:moveTo>
                  <a:cubicBezTo>
                    <a:pt x="300" y="182"/>
                    <a:pt x="309" y="191"/>
                    <a:pt x="309" y="203"/>
                  </a:cubicBezTo>
                  <a:cubicBezTo>
                    <a:pt x="309" y="209"/>
                    <a:pt x="314" y="214"/>
                    <a:pt x="320" y="214"/>
                  </a:cubicBezTo>
                  <a:cubicBezTo>
                    <a:pt x="326" y="214"/>
                    <a:pt x="331" y="209"/>
                    <a:pt x="331" y="203"/>
                  </a:cubicBezTo>
                  <a:cubicBezTo>
                    <a:pt x="331" y="179"/>
                    <a:pt x="312" y="160"/>
                    <a:pt x="288" y="160"/>
                  </a:cubicBezTo>
                  <a:cubicBezTo>
                    <a:pt x="282" y="160"/>
                    <a:pt x="277" y="165"/>
                    <a:pt x="277" y="171"/>
                  </a:cubicBezTo>
                  <a:cubicBezTo>
                    <a:pt x="277" y="177"/>
                    <a:pt x="282" y="182"/>
                    <a:pt x="288" y="182"/>
                  </a:cubicBezTo>
                  <a:close/>
                  <a:moveTo>
                    <a:pt x="373" y="203"/>
                  </a:moveTo>
                  <a:cubicBezTo>
                    <a:pt x="373" y="156"/>
                    <a:pt x="335" y="118"/>
                    <a:pt x="288" y="118"/>
                  </a:cubicBezTo>
                  <a:cubicBezTo>
                    <a:pt x="282" y="118"/>
                    <a:pt x="277" y="122"/>
                    <a:pt x="277" y="128"/>
                  </a:cubicBezTo>
                  <a:cubicBezTo>
                    <a:pt x="277" y="134"/>
                    <a:pt x="282" y="139"/>
                    <a:pt x="288" y="139"/>
                  </a:cubicBezTo>
                  <a:cubicBezTo>
                    <a:pt x="323" y="139"/>
                    <a:pt x="352" y="168"/>
                    <a:pt x="352" y="203"/>
                  </a:cubicBezTo>
                  <a:cubicBezTo>
                    <a:pt x="352" y="209"/>
                    <a:pt x="357" y="214"/>
                    <a:pt x="363" y="214"/>
                  </a:cubicBezTo>
                  <a:cubicBezTo>
                    <a:pt x="369" y="214"/>
                    <a:pt x="373" y="209"/>
                    <a:pt x="373" y="20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2" name="Freeform 105">
              <a:extLst>
                <a:ext uri="{FF2B5EF4-FFF2-40B4-BE49-F238E27FC236}">
                  <a16:creationId xmlns:a16="http://schemas.microsoft.com/office/drawing/2014/main" id="{1C501EB5-3B10-F342-AE65-1CD3D7AAEDA9}"/>
                </a:ext>
              </a:extLst>
            </p:cNvPr>
            <p:cNvSpPr>
              <a:spLocks noChangeAspect="1" noEditPoints="1"/>
            </p:cNvSpPr>
            <p:nvPr/>
          </p:nvSpPr>
          <p:spPr bwMode="auto">
            <a:xfrm>
              <a:off x="666130" y="5190604"/>
              <a:ext cx="285920" cy="285920"/>
            </a:xfrm>
            <a:custGeom>
              <a:avLst/>
              <a:gdLst>
                <a:gd name="T0" fmla="*/ 330 w 512"/>
                <a:gd name="T1" fmla="*/ 345 h 512"/>
                <a:gd name="T2" fmla="*/ 362 w 512"/>
                <a:gd name="T3" fmla="*/ 306 h 512"/>
                <a:gd name="T4" fmla="*/ 362 w 512"/>
                <a:gd name="T5" fmla="*/ 352 h 512"/>
                <a:gd name="T6" fmla="*/ 330 w 512"/>
                <a:gd name="T7" fmla="*/ 352 h 512"/>
                <a:gd name="T8" fmla="*/ 330 w 512"/>
                <a:gd name="T9" fmla="*/ 345 h 512"/>
                <a:gd name="T10" fmla="*/ 117 w 512"/>
                <a:gd name="T11" fmla="*/ 288 h 512"/>
                <a:gd name="T12" fmla="*/ 181 w 512"/>
                <a:gd name="T13" fmla="*/ 288 h 512"/>
                <a:gd name="T14" fmla="*/ 181 w 512"/>
                <a:gd name="T15" fmla="*/ 256 h 512"/>
                <a:gd name="T16" fmla="*/ 117 w 512"/>
                <a:gd name="T17" fmla="*/ 256 h 512"/>
                <a:gd name="T18" fmla="*/ 117 w 512"/>
                <a:gd name="T19" fmla="*/ 288 h 512"/>
                <a:gd name="T20" fmla="*/ 330 w 512"/>
                <a:gd name="T21" fmla="*/ 121 h 512"/>
                <a:gd name="T22" fmla="*/ 175 w 512"/>
                <a:gd name="T23" fmla="*/ 170 h 512"/>
                <a:gd name="T24" fmla="*/ 330 w 512"/>
                <a:gd name="T25" fmla="*/ 170 h 512"/>
                <a:gd name="T26" fmla="*/ 330 w 512"/>
                <a:gd name="T27" fmla="*/ 121 h 512"/>
                <a:gd name="T28" fmla="*/ 330 w 512"/>
                <a:gd name="T29" fmla="*/ 312 h 512"/>
                <a:gd name="T30" fmla="*/ 362 w 512"/>
                <a:gd name="T31" fmla="*/ 273 h 512"/>
                <a:gd name="T32" fmla="*/ 362 w 512"/>
                <a:gd name="T33" fmla="*/ 232 h 512"/>
                <a:gd name="T34" fmla="*/ 330 w 512"/>
                <a:gd name="T35" fmla="*/ 270 h 512"/>
                <a:gd name="T36" fmla="*/ 330 w 512"/>
                <a:gd name="T37" fmla="*/ 312 h 512"/>
                <a:gd name="T38" fmla="*/ 330 w 512"/>
                <a:gd name="T39" fmla="*/ 237 h 512"/>
                <a:gd name="T40" fmla="*/ 362 w 512"/>
                <a:gd name="T41" fmla="*/ 198 h 512"/>
                <a:gd name="T42" fmla="*/ 362 w 512"/>
                <a:gd name="T43" fmla="*/ 192 h 512"/>
                <a:gd name="T44" fmla="*/ 330 w 512"/>
                <a:gd name="T45" fmla="*/ 192 h 512"/>
                <a:gd name="T46" fmla="*/ 330 w 512"/>
                <a:gd name="T47" fmla="*/ 237 h 512"/>
                <a:gd name="T48" fmla="*/ 352 w 512"/>
                <a:gd name="T49" fmla="*/ 170 h 512"/>
                <a:gd name="T50" fmla="*/ 382 w 512"/>
                <a:gd name="T51" fmla="*/ 170 h 512"/>
                <a:gd name="T52" fmla="*/ 352 w 512"/>
                <a:gd name="T53" fmla="*/ 135 h 512"/>
                <a:gd name="T54" fmla="*/ 352 w 512"/>
                <a:gd name="T55" fmla="*/ 170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3 w 512"/>
                <a:gd name="T67" fmla="*/ 174 h 512"/>
                <a:gd name="T68" fmla="*/ 349 w 512"/>
                <a:gd name="T69" fmla="*/ 99 h 512"/>
                <a:gd name="T70" fmla="*/ 338 w 512"/>
                <a:gd name="T71" fmla="*/ 96 h 512"/>
                <a:gd name="T72" fmla="*/ 103 w 512"/>
                <a:gd name="T73" fmla="*/ 171 h 512"/>
                <a:gd name="T74" fmla="*/ 96 w 512"/>
                <a:gd name="T75" fmla="*/ 183 h 512"/>
                <a:gd name="T76" fmla="*/ 106 w 512"/>
                <a:gd name="T77" fmla="*/ 192 h 512"/>
                <a:gd name="T78" fmla="*/ 138 w 512"/>
                <a:gd name="T79" fmla="*/ 192 h 512"/>
                <a:gd name="T80" fmla="*/ 138 w 512"/>
                <a:gd name="T81" fmla="*/ 234 h 512"/>
                <a:gd name="T82" fmla="*/ 106 w 512"/>
                <a:gd name="T83" fmla="*/ 234 h 512"/>
                <a:gd name="T84" fmla="*/ 96 w 512"/>
                <a:gd name="T85" fmla="*/ 245 h 512"/>
                <a:gd name="T86" fmla="*/ 96 w 512"/>
                <a:gd name="T87" fmla="*/ 298 h 512"/>
                <a:gd name="T88" fmla="*/ 106 w 512"/>
                <a:gd name="T89" fmla="*/ 309 h 512"/>
                <a:gd name="T90" fmla="*/ 192 w 512"/>
                <a:gd name="T91" fmla="*/ 309 h 512"/>
                <a:gd name="T92" fmla="*/ 202 w 512"/>
                <a:gd name="T93" fmla="*/ 298 h 512"/>
                <a:gd name="T94" fmla="*/ 202 w 512"/>
                <a:gd name="T95" fmla="*/ 245 h 512"/>
                <a:gd name="T96" fmla="*/ 192 w 512"/>
                <a:gd name="T97" fmla="*/ 234 h 512"/>
                <a:gd name="T98" fmla="*/ 160 w 512"/>
                <a:gd name="T99" fmla="*/ 234 h 512"/>
                <a:gd name="T100" fmla="*/ 160 w 512"/>
                <a:gd name="T101" fmla="*/ 192 h 512"/>
                <a:gd name="T102" fmla="*/ 309 w 512"/>
                <a:gd name="T103" fmla="*/ 192 h 512"/>
                <a:gd name="T104" fmla="*/ 309 w 512"/>
                <a:gd name="T105" fmla="*/ 352 h 512"/>
                <a:gd name="T106" fmla="*/ 128 w 512"/>
                <a:gd name="T107" fmla="*/ 352 h 512"/>
                <a:gd name="T108" fmla="*/ 117 w 512"/>
                <a:gd name="T109" fmla="*/ 362 h 512"/>
                <a:gd name="T110" fmla="*/ 128 w 512"/>
                <a:gd name="T111" fmla="*/ 373 h 512"/>
                <a:gd name="T112" fmla="*/ 384 w 512"/>
                <a:gd name="T113" fmla="*/ 373 h 512"/>
                <a:gd name="T114" fmla="*/ 394 w 512"/>
                <a:gd name="T115" fmla="*/ 362 h 512"/>
                <a:gd name="T116" fmla="*/ 384 w 512"/>
                <a:gd name="T117" fmla="*/ 352 h 512"/>
                <a:gd name="T118" fmla="*/ 384 w 512"/>
                <a:gd name="T119" fmla="*/ 192 h 512"/>
                <a:gd name="T120" fmla="*/ 405 w 512"/>
                <a:gd name="T121" fmla="*/ 192 h 512"/>
                <a:gd name="T122" fmla="*/ 415 w 512"/>
                <a:gd name="T123" fmla="*/ 185 h 512"/>
                <a:gd name="T124" fmla="*/ 413 w 512"/>
                <a:gd name="T125" fmla="*/ 1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30" y="345"/>
                  </a:moveTo>
                  <a:cubicBezTo>
                    <a:pt x="362" y="306"/>
                    <a:pt x="362" y="306"/>
                    <a:pt x="362" y="306"/>
                  </a:cubicBezTo>
                  <a:cubicBezTo>
                    <a:pt x="362" y="352"/>
                    <a:pt x="362" y="352"/>
                    <a:pt x="362" y="352"/>
                  </a:cubicBezTo>
                  <a:cubicBezTo>
                    <a:pt x="330" y="352"/>
                    <a:pt x="330" y="352"/>
                    <a:pt x="330" y="352"/>
                  </a:cubicBezTo>
                  <a:lnTo>
                    <a:pt x="330" y="345"/>
                  </a:lnTo>
                  <a:close/>
                  <a:moveTo>
                    <a:pt x="117" y="288"/>
                  </a:moveTo>
                  <a:cubicBezTo>
                    <a:pt x="181" y="288"/>
                    <a:pt x="181" y="288"/>
                    <a:pt x="181" y="288"/>
                  </a:cubicBezTo>
                  <a:cubicBezTo>
                    <a:pt x="181" y="256"/>
                    <a:pt x="181" y="256"/>
                    <a:pt x="181" y="256"/>
                  </a:cubicBezTo>
                  <a:cubicBezTo>
                    <a:pt x="117" y="256"/>
                    <a:pt x="117" y="256"/>
                    <a:pt x="117" y="256"/>
                  </a:cubicBezTo>
                  <a:lnTo>
                    <a:pt x="117" y="288"/>
                  </a:lnTo>
                  <a:close/>
                  <a:moveTo>
                    <a:pt x="330" y="121"/>
                  </a:moveTo>
                  <a:cubicBezTo>
                    <a:pt x="175" y="170"/>
                    <a:pt x="175" y="170"/>
                    <a:pt x="175" y="170"/>
                  </a:cubicBezTo>
                  <a:cubicBezTo>
                    <a:pt x="330" y="170"/>
                    <a:pt x="330" y="170"/>
                    <a:pt x="330" y="170"/>
                  </a:cubicBezTo>
                  <a:lnTo>
                    <a:pt x="330" y="121"/>
                  </a:lnTo>
                  <a:close/>
                  <a:moveTo>
                    <a:pt x="330" y="312"/>
                  </a:moveTo>
                  <a:cubicBezTo>
                    <a:pt x="362" y="273"/>
                    <a:pt x="362" y="273"/>
                    <a:pt x="362" y="273"/>
                  </a:cubicBezTo>
                  <a:cubicBezTo>
                    <a:pt x="362" y="232"/>
                    <a:pt x="362" y="232"/>
                    <a:pt x="362" y="232"/>
                  </a:cubicBezTo>
                  <a:cubicBezTo>
                    <a:pt x="330" y="270"/>
                    <a:pt x="330" y="270"/>
                    <a:pt x="330" y="270"/>
                  </a:cubicBezTo>
                  <a:lnTo>
                    <a:pt x="330" y="312"/>
                  </a:lnTo>
                  <a:close/>
                  <a:moveTo>
                    <a:pt x="330" y="237"/>
                  </a:moveTo>
                  <a:cubicBezTo>
                    <a:pt x="362" y="198"/>
                    <a:pt x="362" y="198"/>
                    <a:pt x="362" y="198"/>
                  </a:cubicBezTo>
                  <a:cubicBezTo>
                    <a:pt x="362" y="192"/>
                    <a:pt x="362" y="192"/>
                    <a:pt x="362" y="192"/>
                  </a:cubicBezTo>
                  <a:cubicBezTo>
                    <a:pt x="330" y="192"/>
                    <a:pt x="330" y="192"/>
                    <a:pt x="330" y="192"/>
                  </a:cubicBezTo>
                  <a:lnTo>
                    <a:pt x="330" y="237"/>
                  </a:lnTo>
                  <a:close/>
                  <a:moveTo>
                    <a:pt x="352" y="170"/>
                  </a:moveTo>
                  <a:cubicBezTo>
                    <a:pt x="382" y="170"/>
                    <a:pt x="382" y="170"/>
                    <a:pt x="382" y="170"/>
                  </a:cubicBezTo>
                  <a:cubicBezTo>
                    <a:pt x="352" y="135"/>
                    <a:pt x="352" y="135"/>
                    <a:pt x="352" y="135"/>
                  </a:cubicBezTo>
                  <a:lnTo>
                    <a:pt x="352"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74"/>
                  </a:moveTo>
                  <a:cubicBezTo>
                    <a:pt x="349" y="99"/>
                    <a:pt x="349" y="99"/>
                    <a:pt x="349" y="99"/>
                  </a:cubicBezTo>
                  <a:cubicBezTo>
                    <a:pt x="346" y="96"/>
                    <a:pt x="342" y="95"/>
                    <a:pt x="338" y="96"/>
                  </a:cubicBezTo>
                  <a:cubicBezTo>
                    <a:pt x="103" y="171"/>
                    <a:pt x="103" y="171"/>
                    <a:pt x="103" y="171"/>
                  </a:cubicBezTo>
                  <a:cubicBezTo>
                    <a:pt x="98" y="172"/>
                    <a:pt x="95" y="177"/>
                    <a:pt x="96" y="183"/>
                  </a:cubicBezTo>
                  <a:cubicBezTo>
                    <a:pt x="97" y="188"/>
                    <a:pt x="101" y="192"/>
                    <a:pt x="106" y="192"/>
                  </a:cubicBezTo>
                  <a:cubicBezTo>
                    <a:pt x="138" y="192"/>
                    <a:pt x="138" y="192"/>
                    <a:pt x="138" y="192"/>
                  </a:cubicBezTo>
                  <a:cubicBezTo>
                    <a:pt x="138" y="234"/>
                    <a:pt x="138" y="234"/>
                    <a:pt x="138" y="234"/>
                  </a:cubicBezTo>
                  <a:cubicBezTo>
                    <a:pt x="106" y="234"/>
                    <a:pt x="106" y="234"/>
                    <a:pt x="106" y="234"/>
                  </a:cubicBezTo>
                  <a:cubicBezTo>
                    <a:pt x="100" y="234"/>
                    <a:pt x="96" y="239"/>
                    <a:pt x="96" y="245"/>
                  </a:cubicBezTo>
                  <a:cubicBezTo>
                    <a:pt x="96" y="298"/>
                    <a:pt x="96" y="298"/>
                    <a:pt x="96" y="298"/>
                  </a:cubicBezTo>
                  <a:cubicBezTo>
                    <a:pt x="96" y="304"/>
                    <a:pt x="100" y="309"/>
                    <a:pt x="106" y="309"/>
                  </a:cubicBezTo>
                  <a:cubicBezTo>
                    <a:pt x="192" y="309"/>
                    <a:pt x="192" y="309"/>
                    <a:pt x="192" y="309"/>
                  </a:cubicBezTo>
                  <a:cubicBezTo>
                    <a:pt x="198" y="309"/>
                    <a:pt x="202" y="304"/>
                    <a:pt x="202" y="298"/>
                  </a:cubicBezTo>
                  <a:cubicBezTo>
                    <a:pt x="202" y="245"/>
                    <a:pt x="202" y="245"/>
                    <a:pt x="202" y="245"/>
                  </a:cubicBezTo>
                  <a:cubicBezTo>
                    <a:pt x="202" y="239"/>
                    <a:pt x="198" y="234"/>
                    <a:pt x="192" y="234"/>
                  </a:cubicBezTo>
                  <a:cubicBezTo>
                    <a:pt x="160" y="234"/>
                    <a:pt x="160" y="234"/>
                    <a:pt x="160" y="234"/>
                  </a:cubicBezTo>
                  <a:cubicBezTo>
                    <a:pt x="160" y="192"/>
                    <a:pt x="160" y="192"/>
                    <a:pt x="160" y="192"/>
                  </a:cubicBezTo>
                  <a:cubicBezTo>
                    <a:pt x="309" y="192"/>
                    <a:pt x="309" y="192"/>
                    <a:pt x="309" y="192"/>
                  </a:cubicBezTo>
                  <a:cubicBezTo>
                    <a:pt x="309" y="352"/>
                    <a:pt x="309" y="352"/>
                    <a:pt x="309" y="352"/>
                  </a:cubicBezTo>
                  <a:cubicBezTo>
                    <a:pt x="128" y="352"/>
                    <a:pt x="128" y="352"/>
                    <a:pt x="128" y="352"/>
                  </a:cubicBezTo>
                  <a:cubicBezTo>
                    <a:pt x="122" y="352"/>
                    <a:pt x="117" y="356"/>
                    <a:pt x="117" y="362"/>
                  </a:cubicBezTo>
                  <a:cubicBezTo>
                    <a:pt x="117" y="368"/>
                    <a:pt x="122" y="373"/>
                    <a:pt x="128" y="373"/>
                  </a:cubicBezTo>
                  <a:cubicBezTo>
                    <a:pt x="384" y="373"/>
                    <a:pt x="384" y="373"/>
                    <a:pt x="384" y="373"/>
                  </a:cubicBezTo>
                  <a:cubicBezTo>
                    <a:pt x="390" y="373"/>
                    <a:pt x="394" y="368"/>
                    <a:pt x="394" y="362"/>
                  </a:cubicBezTo>
                  <a:cubicBezTo>
                    <a:pt x="394" y="356"/>
                    <a:pt x="390" y="352"/>
                    <a:pt x="384" y="352"/>
                  </a:cubicBezTo>
                  <a:cubicBezTo>
                    <a:pt x="384" y="192"/>
                    <a:pt x="384" y="192"/>
                    <a:pt x="384" y="192"/>
                  </a:cubicBezTo>
                  <a:cubicBezTo>
                    <a:pt x="405" y="192"/>
                    <a:pt x="405" y="192"/>
                    <a:pt x="405" y="192"/>
                  </a:cubicBezTo>
                  <a:cubicBezTo>
                    <a:pt x="409" y="192"/>
                    <a:pt x="413" y="189"/>
                    <a:pt x="415" y="185"/>
                  </a:cubicBezTo>
                  <a:cubicBezTo>
                    <a:pt x="416" y="182"/>
                    <a:pt x="416" y="177"/>
                    <a:pt x="413" y="1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64" name="Rectangle 63">
            <a:extLst>
              <a:ext uri="{FF2B5EF4-FFF2-40B4-BE49-F238E27FC236}">
                <a16:creationId xmlns:a16="http://schemas.microsoft.com/office/drawing/2014/main" id="{82A36FBA-8B5F-B141-A4B9-DD2DB5E58FF9}"/>
              </a:ext>
            </a:extLst>
          </p:cNvPr>
          <p:cNvSpPr/>
          <p:nvPr/>
        </p:nvSpPr>
        <p:spPr>
          <a:xfrm>
            <a:off x="5222545" y="3101161"/>
            <a:ext cx="1069908" cy="184666"/>
          </a:xfrm>
          <a:prstGeom prst="rect">
            <a:avLst/>
          </a:prstGeom>
        </p:spPr>
        <p:txBody>
          <a:bodyPr wrap="none" lIns="0" tIns="0" rIns="0" bIns="0">
            <a:spAutoFit/>
          </a:bodyPr>
          <a:lstStyle/>
          <a:p>
            <a:r>
              <a:rPr lang="en-US" sz="1200" b="1" dirty="0">
                <a:solidFill>
                  <a:schemeClr val="accent1"/>
                </a:solidFill>
              </a:rPr>
              <a:t>Lorem ipsum </a:t>
            </a:r>
            <a:r>
              <a:rPr lang="en-US" sz="1200" b="1" dirty="0" err="1">
                <a:solidFill>
                  <a:schemeClr val="accent1"/>
                </a:solidFill>
              </a:rPr>
              <a:t>dol</a:t>
            </a:r>
            <a:endParaRPr lang="en-US" sz="1200" b="1" dirty="0">
              <a:solidFill>
                <a:schemeClr val="accent1"/>
              </a:solidFill>
            </a:endParaRPr>
          </a:p>
        </p:txBody>
      </p:sp>
      <p:grpSp>
        <p:nvGrpSpPr>
          <p:cNvPr id="65" name="Group 64">
            <a:extLst>
              <a:ext uri="{FF2B5EF4-FFF2-40B4-BE49-F238E27FC236}">
                <a16:creationId xmlns:a16="http://schemas.microsoft.com/office/drawing/2014/main" id="{40ECA11B-4447-5A4D-853D-4C46BEF1CCCA}"/>
              </a:ext>
            </a:extLst>
          </p:cNvPr>
          <p:cNvGrpSpPr/>
          <p:nvPr/>
        </p:nvGrpSpPr>
        <p:grpSpPr>
          <a:xfrm>
            <a:off x="5222545" y="3407665"/>
            <a:ext cx="1983050" cy="803842"/>
            <a:chOff x="3298830" y="4193729"/>
            <a:chExt cx="1983050" cy="803842"/>
          </a:xfrm>
        </p:grpSpPr>
        <p:sp>
          <p:nvSpPr>
            <p:cNvPr id="66" name="Rectangle 65">
              <a:extLst>
                <a:ext uri="{FF2B5EF4-FFF2-40B4-BE49-F238E27FC236}">
                  <a16:creationId xmlns:a16="http://schemas.microsoft.com/office/drawing/2014/main" id="{E6BA2DDA-E5DD-FD4D-828C-DB8C969DE635}"/>
                </a:ext>
              </a:extLst>
            </p:cNvPr>
            <p:cNvSpPr/>
            <p:nvPr/>
          </p:nvSpPr>
          <p:spPr>
            <a:xfrm>
              <a:off x="3675814" y="4256091"/>
              <a:ext cx="834454" cy="148887"/>
            </a:xfrm>
            <a:prstGeom prst="rect">
              <a:avLst/>
            </a:prstGeom>
          </p:spPr>
          <p:txBody>
            <a:bodyPr wrap="square" lIns="0" tIns="0" rIns="0" bIns="0">
              <a:spAutoFit/>
            </a:bodyPr>
            <a:lstStyle/>
            <a:p>
              <a:pPr>
                <a:lnSpc>
                  <a:spcPct val="106000"/>
                </a:lnSpc>
              </a:pPr>
              <a:r>
                <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rPr>
                <a:t>Lorem ipsum </a:t>
              </a:r>
            </a:p>
          </p:txBody>
        </p:sp>
        <p:sp>
          <p:nvSpPr>
            <p:cNvPr id="67" name="Rectangle 66">
              <a:extLst>
                <a:ext uri="{FF2B5EF4-FFF2-40B4-BE49-F238E27FC236}">
                  <a16:creationId xmlns:a16="http://schemas.microsoft.com/office/drawing/2014/main" id="{9403689E-D645-ED46-8DEB-06692DEC06F3}"/>
                </a:ext>
              </a:extLst>
            </p:cNvPr>
            <p:cNvSpPr/>
            <p:nvPr/>
          </p:nvSpPr>
          <p:spPr>
            <a:xfrm>
              <a:off x="3675814" y="4766692"/>
              <a:ext cx="1064251" cy="148887"/>
            </a:xfrm>
            <a:prstGeom prst="rect">
              <a:avLst/>
            </a:prstGeom>
          </p:spPr>
          <p:txBody>
            <a:bodyPr wrap="square" lIns="0" tIns="0" rIns="0" bIns="0">
              <a:spAutoFit/>
            </a:bodyPr>
            <a:lstStyle/>
            <a:p>
              <a:pPr>
                <a:lnSpc>
                  <a:spcPct val="106000"/>
                </a:lnSpc>
              </a:pPr>
              <a:r>
                <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rPr>
                <a:t>Lorem ipsum </a:t>
              </a:r>
            </a:p>
          </p:txBody>
        </p:sp>
        <p:sp>
          <p:nvSpPr>
            <p:cNvPr id="68" name="Rectangle 67">
              <a:extLst>
                <a:ext uri="{FF2B5EF4-FFF2-40B4-BE49-F238E27FC236}">
                  <a16:creationId xmlns:a16="http://schemas.microsoft.com/office/drawing/2014/main" id="{AC01D219-0C99-E248-ABB6-BCBAB5CADB1F}"/>
                </a:ext>
              </a:extLst>
            </p:cNvPr>
            <p:cNvSpPr/>
            <p:nvPr/>
          </p:nvSpPr>
          <p:spPr>
            <a:xfrm>
              <a:off x="4572000" y="4202835"/>
              <a:ext cx="709880" cy="293607"/>
            </a:xfrm>
            <a:prstGeom prst="rect">
              <a:avLst/>
            </a:prstGeom>
          </p:spPr>
          <p:txBody>
            <a:bodyPr wrap="square" lIns="0" tIns="0" rIns="0" bIns="0">
              <a:spAutoFit/>
            </a:bodyPr>
            <a:lstStyle/>
            <a:p>
              <a:pPr>
                <a:lnSpc>
                  <a:spcPct val="106000"/>
                </a:lnSpc>
              </a:pPr>
              <a:r>
                <a:rPr lang="en-IN" b="1" dirty="0">
                  <a:solidFill>
                    <a:schemeClr val="bg1"/>
                  </a:solidFill>
                  <a:latin typeface="Verdana" panose="020B0604030504040204" pitchFamily="34" charset="0"/>
                  <a:ea typeface="Verdana" panose="020B0604030504040204" pitchFamily="34" charset="0"/>
                  <a:cs typeface="Verdana" panose="020B0604030504040204" pitchFamily="34" charset="0"/>
                </a:rPr>
                <a:t>5464</a:t>
              </a:r>
            </a:p>
          </p:txBody>
        </p:sp>
        <p:sp>
          <p:nvSpPr>
            <p:cNvPr id="69" name="Rectangle 68">
              <a:extLst>
                <a:ext uri="{FF2B5EF4-FFF2-40B4-BE49-F238E27FC236}">
                  <a16:creationId xmlns:a16="http://schemas.microsoft.com/office/drawing/2014/main" id="{78F5173C-EF2D-1444-9CAD-4B44C99AB94D}"/>
                </a:ext>
              </a:extLst>
            </p:cNvPr>
            <p:cNvSpPr/>
            <p:nvPr/>
          </p:nvSpPr>
          <p:spPr>
            <a:xfrm>
              <a:off x="4572000" y="4703964"/>
              <a:ext cx="707131" cy="293607"/>
            </a:xfrm>
            <a:prstGeom prst="rect">
              <a:avLst/>
            </a:prstGeom>
          </p:spPr>
          <p:txBody>
            <a:bodyPr wrap="square" lIns="0" tIns="0" rIns="0" bIns="0">
              <a:spAutoFit/>
            </a:bodyPr>
            <a:lstStyle/>
            <a:p>
              <a:pPr>
                <a:lnSpc>
                  <a:spcPct val="106000"/>
                </a:lnSpc>
              </a:pPr>
              <a:r>
                <a:rPr lang="en-IN" b="1" dirty="0">
                  <a:solidFill>
                    <a:schemeClr val="bg1"/>
                  </a:solidFill>
                  <a:latin typeface="Verdana" panose="020B0604030504040204" pitchFamily="34" charset="0"/>
                  <a:ea typeface="Verdana" panose="020B0604030504040204" pitchFamily="34" charset="0"/>
                  <a:cs typeface="Verdana" panose="020B0604030504040204" pitchFamily="34" charset="0"/>
                </a:rPr>
                <a:t>1599</a:t>
              </a:r>
            </a:p>
          </p:txBody>
        </p:sp>
        <p:cxnSp>
          <p:nvCxnSpPr>
            <p:cNvPr id="70" name="Straight Connector 69">
              <a:extLst>
                <a:ext uri="{FF2B5EF4-FFF2-40B4-BE49-F238E27FC236}">
                  <a16:creationId xmlns:a16="http://schemas.microsoft.com/office/drawing/2014/main" id="{395850CD-8987-9E42-AF5B-3FD5C1827A57}"/>
                </a:ext>
              </a:extLst>
            </p:cNvPr>
            <p:cNvCxnSpPr/>
            <p:nvPr/>
          </p:nvCxnSpPr>
          <p:spPr>
            <a:xfrm>
              <a:off x="3298830" y="4581039"/>
              <a:ext cx="192024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71" name="Freeform 746">
              <a:extLst>
                <a:ext uri="{FF2B5EF4-FFF2-40B4-BE49-F238E27FC236}">
                  <a16:creationId xmlns:a16="http://schemas.microsoft.com/office/drawing/2014/main" id="{18E64DC5-F2DC-A04A-9CD0-B18503BD744C}"/>
                </a:ext>
              </a:extLst>
            </p:cNvPr>
            <p:cNvSpPr>
              <a:spLocks noChangeAspect="1" noEditPoints="1"/>
            </p:cNvSpPr>
            <p:nvPr/>
          </p:nvSpPr>
          <p:spPr bwMode="auto">
            <a:xfrm>
              <a:off x="3302277" y="4705192"/>
              <a:ext cx="283464" cy="283464"/>
            </a:xfrm>
            <a:custGeom>
              <a:avLst/>
              <a:gdLst>
                <a:gd name="T0" fmla="*/ 324 w 512"/>
                <a:gd name="T1" fmla="*/ 223 h 512"/>
                <a:gd name="T2" fmla="*/ 394 w 512"/>
                <a:gd name="T3" fmla="*/ 188 h 512"/>
                <a:gd name="T4" fmla="*/ 394 w 512"/>
                <a:gd name="T5" fmla="*/ 324 h 512"/>
                <a:gd name="T6" fmla="*/ 324 w 512"/>
                <a:gd name="T7" fmla="*/ 289 h 512"/>
                <a:gd name="T8" fmla="*/ 314 w 512"/>
                <a:gd name="T9" fmla="*/ 289 h 512"/>
                <a:gd name="T10" fmla="*/ 309 w 512"/>
                <a:gd name="T11" fmla="*/ 298 h 512"/>
                <a:gd name="T12" fmla="*/ 309 w 512"/>
                <a:gd name="T13" fmla="*/ 352 h 512"/>
                <a:gd name="T14" fmla="*/ 117 w 512"/>
                <a:gd name="T15" fmla="*/ 352 h 512"/>
                <a:gd name="T16" fmla="*/ 117 w 512"/>
                <a:gd name="T17" fmla="*/ 160 h 512"/>
                <a:gd name="T18" fmla="*/ 309 w 512"/>
                <a:gd name="T19" fmla="*/ 160 h 512"/>
                <a:gd name="T20" fmla="*/ 309 w 512"/>
                <a:gd name="T21" fmla="*/ 213 h 512"/>
                <a:gd name="T22" fmla="*/ 314 w 512"/>
                <a:gd name="T23" fmla="*/ 222 h 512"/>
                <a:gd name="T24" fmla="*/ 324 w 512"/>
                <a:gd name="T25" fmla="*/ 223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70 h 512"/>
                <a:gd name="T38" fmla="*/ 411 w 512"/>
                <a:gd name="T39" fmla="*/ 161 h 512"/>
                <a:gd name="T40" fmla="*/ 400 w 512"/>
                <a:gd name="T41" fmla="*/ 161 h 512"/>
                <a:gd name="T42" fmla="*/ 330 w 512"/>
                <a:gd name="T43" fmla="*/ 196 h 512"/>
                <a:gd name="T44" fmla="*/ 330 w 512"/>
                <a:gd name="T45" fmla="*/ 149 h 512"/>
                <a:gd name="T46" fmla="*/ 320 w 512"/>
                <a:gd name="T47" fmla="*/ 138 h 512"/>
                <a:gd name="T48" fmla="*/ 106 w 512"/>
                <a:gd name="T49" fmla="*/ 138 h 512"/>
                <a:gd name="T50" fmla="*/ 96 w 512"/>
                <a:gd name="T51" fmla="*/ 149 h 512"/>
                <a:gd name="T52" fmla="*/ 96 w 512"/>
                <a:gd name="T53" fmla="*/ 362 h 512"/>
                <a:gd name="T54" fmla="*/ 106 w 512"/>
                <a:gd name="T55" fmla="*/ 373 h 512"/>
                <a:gd name="T56" fmla="*/ 320 w 512"/>
                <a:gd name="T57" fmla="*/ 373 h 512"/>
                <a:gd name="T58" fmla="*/ 330 w 512"/>
                <a:gd name="T59" fmla="*/ 362 h 512"/>
                <a:gd name="T60" fmla="*/ 330 w 512"/>
                <a:gd name="T61" fmla="*/ 316 h 512"/>
                <a:gd name="T62" fmla="*/ 400 w 512"/>
                <a:gd name="T63" fmla="*/ 351 h 512"/>
                <a:gd name="T64" fmla="*/ 411 w 512"/>
                <a:gd name="T65" fmla="*/ 350 h 512"/>
                <a:gd name="T66" fmla="*/ 416 w 512"/>
                <a:gd name="T67" fmla="*/ 341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24" y="223"/>
                  </a:moveTo>
                  <a:cubicBezTo>
                    <a:pt x="394" y="188"/>
                    <a:pt x="394" y="188"/>
                    <a:pt x="394" y="188"/>
                  </a:cubicBezTo>
                  <a:cubicBezTo>
                    <a:pt x="394" y="324"/>
                    <a:pt x="394" y="324"/>
                    <a:pt x="394" y="324"/>
                  </a:cubicBezTo>
                  <a:cubicBezTo>
                    <a:pt x="324" y="289"/>
                    <a:pt x="324" y="289"/>
                    <a:pt x="324" y="289"/>
                  </a:cubicBezTo>
                  <a:cubicBezTo>
                    <a:pt x="321" y="287"/>
                    <a:pt x="317" y="287"/>
                    <a:pt x="314" y="289"/>
                  </a:cubicBezTo>
                  <a:cubicBezTo>
                    <a:pt x="311" y="291"/>
                    <a:pt x="309" y="295"/>
                    <a:pt x="309" y="298"/>
                  </a:cubicBezTo>
                  <a:cubicBezTo>
                    <a:pt x="309" y="352"/>
                    <a:pt x="309" y="352"/>
                    <a:pt x="309" y="352"/>
                  </a:cubicBezTo>
                  <a:cubicBezTo>
                    <a:pt x="117" y="352"/>
                    <a:pt x="117" y="352"/>
                    <a:pt x="117" y="352"/>
                  </a:cubicBezTo>
                  <a:cubicBezTo>
                    <a:pt x="117" y="160"/>
                    <a:pt x="117" y="160"/>
                    <a:pt x="117" y="160"/>
                  </a:cubicBezTo>
                  <a:cubicBezTo>
                    <a:pt x="309" y="160"/>
                    <a:pt x="309" y="160"/>
                    <a:pt x="309" y="160"/>
                  </a:cubicBezTo>
                  <a:cubicBezTo>
                    <a:pt x="309" y="213"/>
                    <a:pt x="309" y="213"/>
                    <a:pt x="309" y="213"/>
                  </a:cubicBezTo>
                  <a:cubicBezTo>
                    <a:pt x="309" y="217"/>
                    <a:pt x="311" y="220"/>
                    <a:pt x="314" y="222"/>
                  </a:cubicBezTo>
                  <a:cubicBezTo>
                    <a:pt x="317" y="224"/>
                    <a:pt x="321" y="224"/>
                    <a:pt x="324" y="2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7"/>
                    <a:pt x="414" y="163"/>
                    <a:pt x="411" y="161"/>
                  </a:cubicBezTo>
                  <a:cubicBezTo>
                    <a:pt x="407" y="159"/>
                    <a:pt x="404" y="159"/>
                    <a:pt x="400" y="161"/>
                  </a:cubicBezTo>
                  <a:cubicBezTo>
                    <a:pt x="330" y="196"/>
                    <a:pt x="330" y="196"/>
                    <a:pt x="330" y="196"/>
                  </a:cubicBezTo>
                  <a:cubicBezTo>
                    <a:pt x="330" y="149"/>
                    <a:pt x="330" y="149"/>
                    <a:pt x="330" y="149"/>
                  </a:cubicBezTo>
                  <a:cubicBezTo>
                    <a:pt x="330" y="143"/>
                    <a:pt x="326" y="138"/>
                    <a:pt x="32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320" y="373"/>
                    <a:pt x="320" y="373"/>
                    <a:pt x="320" y="373"/>
                  </a:cubicBezTo>
                  <a:cubicBezTo>
                    <a:pt x="326" y="373"/>
                    <a:pt x="330" y="368"/>
                    <a:pt x="330" y="362"/>
                  </a:cubicBezTo>
                  <a:cubicBezTo>
                    <a:pt x="330" y="316"/>
                    <a:pt x="330" y="316"/>
                    <a:pt x="330" y="316"/>
                  </a:cubicBezTo>
                  <a:cubicBezTo>
                    <a:pt x="400" y="351"/>
                    <a:pt x="400" y="351"/>
                    <a:pt x="400" y="351"/>
                  </a:cubicBezTo>
                  <a:cubicBezTo>
                    <a:pt x="404" y="352"/>
                    <a:pt x="407" y="352"/>
                    <a:pt x="411" y="350"/>
                  </a:cubicBezTo>
                  <a:cubicBezTo>
                    <a:pt x="414" y="348"/>
                    <a:pt x="416" y="345"/>
                    <a:pt x="416" y="341"/>
                  </a:cubicBezTo>
                  <a:lnTo>
                    <a:pt x="416" y="1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2" name="Freeform 574">
              <a:extLst>
                <a:ext uri="{FF2B5EF4-FFF2-40B4-BE49-F238E27FC236}">
                  <a16:creationId xmlns:a16="http://schemas.microsoft.com/office/drawing/2014/main" id="{610B99E0-858A-B44D-B266-F561C37F5CA6}"/>
                </a:ext>
              </a:extLst>
            </p:cNvPr>
            <p:cNvSpPr>
              <a:spLocks noChangeAspect="1" noEditPoints="1"/>
            </p:cNvSpPr>
            <p:nvPr/>
          </p:nvSpPr>
          <p:spPr bwMode="auto">
            <a:xfrm>
              <a:off x="3302277" y="4193729"/>
              <a:ext cx="283464" cy="283464"/>
            </a:xfrm>
            <a:custGeom>
              <a:avLst/>
              <a:gdLst>
                <a:gd name="T0" fmla="*/ 181 w 512"/>
                <a:gd name="T1" fmla="*/ 309 h 512"/>
                <a:gd name="T2" fmla="*/ 330 w 512"/>
                <a:gd name="T3" fmla="*/ 309 h 512"/>
                <a:gd name="T4" fmla="*/ 330 w 512"/>
                <a:gd name="T5" fmla="*/ 394 h 512"/>
                <a:gd name="T6" fmla="*/ 181 w 512"/>
                <a:gd name="T7" fmla="*/ 394 h 512"/>
                <a:gd name="T8" fmla="*/ 181 w 512"/>
                <a:gd name="T9" fmla="*/ 309 h 512"/>
                <a:gd name="T10" fmla="*/ 330 w 512"/>
                <a:gd name="T11" fmla="*/ 117 h 512"/>
                <a:gd name="T12" fmla="*/ 181 w 512"/>
                <a:gd name="T13" fmla="*/ 117 h 512"/>
                <a:gd name="T14" fmla="*/ 181 w 512"/>
                <a:gd name="T15" fmla="*/ 181 h 512"/>
                <a:gd name="T16" fmla="*/ 330 w 512"/>
                <a:gd name="T17" fmla="*/ 181 h 512"/>
                <a:gd name="T18" fmla="*/ 330 w 512"/>
                <a:gd name="T19" fmla="*/ 117 h 512"/>
                <a:gd name="T20" fmla="*/ 117 w 512"/>
                <a:gd name="T21" fmla="*/ 202 h 512"/>
                <a:gd name="T22" fmla="*/ 394 w 512"/>
                <a:gd name="T23" fmla="*/ 202 h 512"/>
                <a:gd name="T24" fmla="*/ 394 w 512"/>
                <a:gd name="T25" fmla="*/ 352 h 512"/>
                <a:gd name="T26" fmla="*/ 352 w 512"/>
                <a:gd name="T27" fmla="*/ 352 h 512"/>
                <a:gd name="T28" fmla="*/ 352 w 512"/>
                <a:gd name="T29" fmla="*/ 298 h 512"/>
                <a:gd name="T30" fmla="*/ 341 w 512"/>
                <a:gd name="T31" fmla="*/ 288 h 512"/>
                <a:gd name="T32" fmla="*/ 170 w 512"/>
                <a:gd name="T33" fmla="*/ 288 h 512"/>
                <a:gd name="T34" fmla="*/ 160 w 512"/>
                <a:gd name="T35" fmla="*/ 298 h 512"/>
                <a:gd name="T36" fmla="*/ 160 w 512"/>
                <a:gd name="T37" fmla="*/ 352 h 512"/>
                <a:gd name="T38" fmla="*/ 117 w 512"/>
                <a:gd name="T39" fmla="*/ 352 h 512"/>
                <a:gd name="T40" fmla="*/ 117 w 512"/>
                <a:gd name="T41" fmla="*/ 202 h 512"/>
                <a:gd name="T42" fmla="*/ 330 w 512"/>
                <a:gd name="T43" fmla="*/ 234 h 512"/>
                <a:gd name="T44" fmla="*/ 341 w 512"/>
                <a:gd name="T45" fmla="*/ 245 h 512"/>
                <a:gd name="T46" fmla="*/ 362 w 512"/>
                <a:gd name="T47" fmla="*/ 245 h 512"/>
                <a:gd name="T48" fmla="*/ 373 w 512"/>
                <a:gd name="T49" fmla="*/ 234 h 512"/>
                <a:gd name="T50" fmla="*/ 362 w 512"/>
                <a:gd name="T51" fmla="*/ 224 h 512"/>
                <a:gd name="T52" fmla="*/ 341 w 512"/>
                <a:gd name="T53" fmla="*/ 224 h 512"/>
                <a:gd name="T54" fmla="*/ 330 w 512"/>
                <a:gd name="T55" fmla="*/ 234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6 w 512"/>
                <a:gd name="T67" fmla="*/ 192 h 512"/>
                <a:gd name="T68" fmla="*/ 405 w 512"/>
                <a:gd name="T69" fmla="*/ 181 h 512"/>
                <a:gd name="T70" fmla="*/ 352 w 512"/>
                <a:gd name="T71" fmla="*/ 181 h 512"/>
                <a:gd name="T72" fmla="*/ 352 w 512"/>
                <a:gd name="T73" fmla="*/ 106 h 512"/>
                <a:gd name="T74" fmla="*/ 341 w 512"/>
                <a:gd name="T75" fmla="*/ 96 h 512"/>
                <a:gd name="T76" fmla="*/ 170 w 512"/>
                <a:gd name="T77" fmla="*/ 96 h 512"/>
                <a:gd name="T78" fmla="*/ 160 w 512"/>
                <a:gd name="T79" fmla="*/ 106 h 512"/>
                <a:gd name="T80" fmla="*/ 160 w 512"/>
                <a:gd name="T81" fmla="*/ 181 h 512"/>
                <a:gd name="T82" fmla="*/ 106 w 512"/>
                <a:gd name="T83" fmla="*/ 181 h 512"/>
                <a:gd name="T84" fmla="*/ 96 w 512"/>
                <a:gd name="T85" fmla="*/ 192 h 512"/>
                <a:gd name="T86" fmla="*/ 96 w 512"/>
                <a:gd name="T87" fmla="*/ 362 h 512"/>
                <a:gd name="T88" fmla="*/ 106 w 512"/>
                <a:gd name="T89" fmla="*/ 373 h 512"/>
                <a:gd name="T90" fmla="*/ 160 w 512"/>
                <a:gd name="T91" fmla="*/ 373 h 512"/>
                <a:gd name="T92" fmla="*/ 160 w 512"/>
                <a:gd name="T93" fmla="*/ 405 h 512"/>
                <a:gd name="T94" fmla="*/ 170 w 512"/>
                <a:gd name="T95" fmla="*/ 416 h 512"/>
                <a:gd name="T96" fmla="*/ 341 w 512"/>
                <a:gd name="T97" fmla="*/ 416 h 512"/>
                <a:gd name="T98" fmla="*/ 352 w 512"/>
                <a:gd name="T99" fmla="*/ 405 h 512"/>
                <a:gd name="T100" fmla="*/ 352 w 512"/>
                <a:gd name="T101" fmla="*/ 373 h 512"/>
                <a:gd name="T102" fmla="*/ 405 w 512"/>
                <a:gd name="T103" fmla="*/ 373 h 512"/>
                <a:gd name="T104" fmla="*/ 416 w 512"/>
                <a:gd name="T105" fmla="*/ 362 h 512"/>
                <a:gd name="T106" fmla="*/ 416 w 512"/>
                <a:gd name="T10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81" y="309"/>
                  </a:moveTo>
                  <a:cubicBezTo>
                    <a:pt x="330" y="309"/>
                    <a:pt x="330" y="309"/>
                    <a:pt x="330" y="309"/>
                  </a:cubicBezTo>
                  <a:cubicBezTo>
                    <a:pt x="330" y="394"/>
                    <a:pt x="330" y="394"/>
                    <a:pt x="330" y="394"/>
                  </a:cubicBezTo>
                  <a:cubicBezTo>
                    <a:pt x="181" y="394"/>
                    <a:pt x="181" y="394"/>
                    <a:pt x="181" y="394"/>
                  </a:cubicBezTo>
                  <a:lnTo>
                    <a:pt x="181" y="309"/>
                  </a:lnTo>
                  <a:close/>
                  <a:moveTo>
                    <a:pt x="330" y="117"/>
                  </a:moveTo>
                  <a:cubicBezTo>
                    <a:pt x="181" y="117"/>
                    <a:pt x="181" y="117"/>
                    <a:pt x="181" y="117"/>
                  </a:cubicBezTo>
                  <a:cubicBezTo>
                    <a:pt x="181" y="181"/>
                    <a:pt x="181" y="181"/>
                    <a:pt x="181" y="181"/>
                  </a:cubicBezTo>
                  <a:cubicBezTo>
                    <a:pt x="330" y="181"/>
                    <a:pt x="330" y="181"/>
                    <a:pt x="330" y="181"/>
                  </a:cubicBezTo>
                  <a:lnTo>
                    <a:pt x="330" y="117"/>
                  </a:lnTo>
                  <a:close/>
                  <a:moveTo>
                    <a:pt x="117" y="202"/>
                  </a:moveTo>
                  <a:cubicBezTo>
                    <a:pt x="394" y="202"/>
                    <a:pt x="394" y="202"/>
                    <a:pt x="394" y="202"/>
                  </a:cubicBezTo>
                  <a:cubicBezTo>
                    <a:pt x="394" y="352"/>
                    <a:pt x="394" y="352"/>
                    <a:pt x="394" y="352"/>
                  </a:cubicBezTo>
                  <a:cubicBezTo>
                    <a:pt x="352" y="352"/>
                    <a:pt x="352" y="352"/>
                    <a:pt x="352" y="352"/>
                  </a:cubicBezTo>
                  <a:cubicBezTo>
                    <a:pt x="352" y="298"/>
                    <a:pt x="352" y="298"/>
                    <a:pt x="352" y="298"/>
                  </a:cubicBezTo>
                  <a:cubicBezTo>
                    <a:pt x="352" y="292"/>
                    <a:pt x="347" y="288"/>
                    <a:pt x="341" y="288"/>
                  </a:cubicBezTo>
                  <a:cubicBezTo>
                    <a:pt x="170" y="288"/>
                    <a:pt x="170" y="288"/>
                    <a:pt x="170" y="288"/>
                  </a:cubicBezTo>
                  <a:cubicBezTo>
                    <a:pt x="164" y="288"/>
                    <a:pt x="160" y="292"/>
                    <a:pt x="160" y="298"/>
                  </a:cubicBezTo>
                  <a:cubicBezTo>
                    <a:pt x="160" y="352"/>
                    <a:pt x="160" y="352"/>
                    <a:pt x="160" y="352"/>
                  </a:cubicBezTo>
                  <a:cubicBezTo>
                    <a:pt x="117" y="352"/>
                    <a:pt x="117" y="352"/>
                    <a:pt x="117" y="352"/>
                  </a:cubicBezTo>
                  <a:lnTo>
                    <a:pt x="117" y="202"/>
                  </a:lnTo>
                  <a:close/>
                  <a:moveTo>
                    <a:pt x="330" y="234"/>
                  </a:moveTo>
                  <a:cubicBezTo>
                    <a:pt x="330" y="240"/>
                    <a:pt x="335" y="245"/>
                    <a:pt x="341" y="245"/>
                  </a:cubicBezTo>
                  <a:cubicBezTo>
                    <a:pt x="362" y="245"/>
                    <a:pt x="362" y="245"/>
                    <a:pt x="362" y="245"/>
                  </a:cubicBezTo>
                  <a:cubicBezTo>
                    <a:pt x="368" y="245"/>
                    <a:pt x="373" y="240"/>
                    <a:pt x="373" y="234"/>
                  </a:cubicBezTo>
                  <a:cubicBezTo>
                    <a:pt x="373" y="228"/>
                    <a:pt x="368" y="224"/>
                    <a:pt x="362" y="224"/>
                  </a:cubicBezTo>
                  <a:cubicBezTo>
                    <a:pt x="341" y="224"/>
                    <a:pt x="341" y="224"/>
                    <a:pt x="341" y="224"/>
                  </a:cubicBezTo>
                  <a:cubicBezTo>
                    <a:pt x="335" y="224"/>
                    <a:pt x="330" y="228"/>
                    <a:pt x="330"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52" y="181"/>
                    <a:pt x="352" y="181"/>
                    <a:pt x="352" y="181"/>
                  </a:cubicBezTo>
                  <a:cubicBezTo>
                    <a:pt x="352" y="106"/>
                    <a:pt x="352" y="106"/>
                    <a:pt x="352" y="106"/>
                  </a:cubicBezTo>
                  <a:cubicBezTo>
                    <a:pt x="352" y="100"/>
                    <a:pt x="347" y="96"/>
                    <a:pt x="341" y="96"/>
                  </a:cubicBezTo>
                  <a:cubicBezTo>
                    <a:pt x="170" y="96"/>
                    <a:pt x="170" y="96"/>
                    <a:pt x="170" y="96"/>
                  </a:cubicBezTo>
                  <a:cubicBezTo>
                    <a:pt x="164" y="96"/>
                    <a:pt x="160" y="100"/>
                    <a:pt x="160" y="106"/>
                  </a:cubicBezTo>
                  <a:cubicBezTo>
                    <a:pt x="160" y="181"/>
                    <a:pt x="160" y="181"/>
                    <a:pt x="160"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160" y="373"/>
                    <a:pt x="160" y="373"/>
                    <a:pt x="160" y="373"/>
                  </a:cubicBezTo>
                  <a:cubicBezTo>
                    <a:pt x="160" y="405"/>
                    <a:pt x="160" y="405"/>
                    <a:pt x="160" y="405"/>
                  </a:cubicBezTo>
                  <a:cubicBezTo>
                    <a:pt x="160" y="411"/>
                    <a:pt x="164" y="416"/>
                    <a:pt x="170" y="416"/>
                  </a:cubicBezTo>
                  <a:cubicBezTo>
                    <a:pt x="341" y="416"/>
                    <a:pt x="341" y="416"/>
                    <a:pt x="341" y="416"/>
                  </a:cubicBezTo>
                  <a:cubicBezTo>
                    <a:pt x="347" y="416"/>
                    <a:pt x="352" y="411"/>
                    <a:pt x="352" y="405"/>
                  </a:cubicBezTo>
                  <a:cubicBezTo>
                    <a:pt x="352" y="373"/>
                    <a:pt x="352" y="373"/>
                    <a:pt x="352" y="373"/>
                  </a:cubicBezTo>
                  <a:cubicBezTo>
                    <a:pt x="405" y="373"/>
                    <a:pt x="405" y="373"/>
                    <a:pt x="405" y="373"/>
                  </a:cubicBezTo>
                  <a:cubicBezTo>
                    <a:pt x="411" y="373"/>
                    <a:pt x="416" y="368"/>
                    <a:pt x="416" y="362"/>
                  </a:cubicBezTo>
                  <a:lnTo>
                    <a:pt x="416" y="1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74" name="Rectangle 73">
            <a:extLst>
              <a:ext uri="{FF2B5EF4-FFF2-40B4-BE49-F238E27FC236}">
                <a16:creationId xmlns:a16="http://schemas.microsoft.com/office/drawing/2014/main" id="{4B86B68E-5DEF-A241-BFD7-AD3A70C90E91}"/>
              </a:ext>
            </a:extLst>
          </p:cNvPr>
          <p:cNvSpPr/>
          <p:nvPr/>
        </p:nvSpPr>
        <p:spPr>
          <a:xfrm>
            <a:off x="8024817" y="3101161"/>
            <a:ext cx="1069908" cy="184666"/>
          </a:xfrm>
          <a:prstGeom prst="rect">
            <a:avLst/>
          </a:prstGeom>
        </p:spPr>
        <p:txBody>
          <a:bodyPr wrap="none" lIns="0" tIns="0" rIns="0" bIns="0">
            <a:spAutoFit/>
          </a:bodyPr>
          <a:lstStyle/>
          <a:p>
            <a:r>
              <a:rPr lang="en-US" sz="1200" b="1" dirty="0">
                <a:solidFill>
                  <a:schemeClr val="accent1"/>
                </a:solidFill>
              </a:rPr>
              <a:t>Lorem ipsum </a:t>
            </a:r>
            <a:r>
              <a:rPr lang="en-US" sz="1200" b="1" dirty="0" err="1">
                <a:solidFill>
                  <a:schemeClr val="accent1"/>
                </a:solidFill>
              </a:rPr>
              <a:t>dol</a:t>
            </a:r>
            <a:endParaRPr lang="en-US" sz="1200" b="1" dirty="0">
              <a:solidFill>
                <a:schemeClr val="accent1"/>
              </a:solidFill>
            </a:endParaRPr>
          </a:p>
        </p:txBody>
      </p:sp>
      <p:grpSp>
        <p:nvGrpSpPr>
          <p:cNvPr id="75" name="Group 74">
            <a:extLst>
              <a:ext uri="{FF2B5EF4-FFF2-40B4-BE49-F238E27FC236}">
                <a16:creationId xmlns:a16="http://schemas.microsoft.com/office/drawing/2014/main" id="{A4F2E512-3016-9F44-ADD1-D5C57B61E083}"/>
              </a:ext>
            </a:extLst>
          </p:cNvPr>
          <p:cNvGrpSpPr/>
          <p:nvPr/>
        </p:nvGrpSpPr>
        <p:grpSpPr>
          <a:xfrm>
            <a:off x="8024817" y="3400454"/>
            <a:ext cx="2051730" cy="1299773"/>
            <a:chOff x="5339127" y="4186518"/>
            <a:chExt cx="2051730" cy="1299773"/>
          </a:xfrm>
        </p:grpSpPr>
        <p:sp>
          <p:nvSpPr>
            <p:cNvPr id="76" name="Rectangle 75">
              <a:extLst>
                <a:ext uri="{FF2B5EF4-FFF2-40B4-BE49-F238E27FC236}">
                  <a16:creationId xmlns:a16="http://schemas.microsoft.com/office/drawing/2014/main" id="{B9BF97F6-A7B3-2D43-AC2B-B82EB22E0F69}"/>
                </a:ext>
              </a:extLst>
            </p:cNvPr>
            <p:cNvSpPr/>
            <p:nvPr/>
          </p:nvSpPr>
          <p:spPr>
            <a:xfrm>
              <a:off x="5698858" y="4186518"/>
              <a:ext cx="806991" cy="312073"/>
            </a:xfrm>
            <a:prstGeom prst="rect">
              <a:avLst/>
            </a:prstGeom>
            <a:ln>
              <a:noFill/>
            </a:ln>
          </p:spPr>
          <p:txBody>
            <a:bodyPr wrap="square" lIns="0" tIns="0" rIns="0" bIns="0">
              <a:spAutoFit/>
            </a:bodyPr>
            <a:lstStyle/>
            <a:p>
              <a:pPr>
                <a:lnSpc>
                  <a:spcPct val="106000"/>
                </a:lnSpc>
              </a:pPr>
              <a:r>
                <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rPr>
                <a:t>Lorem ipsum </a:t>
              </a:r>
              <a:r>
                <a:rPr lang="en-IN" sz="1000" dirty="0" err="1">
                  <a:solidFill>
                    <a:schemeClr val="bg1"/>
                  </a:solidFill>
                  <a:latin typeface="Verdana" panose="020B0604030504040204" pitchFamily="34" charset="0"/>
                  <a:ea typeface="Verdana" panose="020B0604030504040204" pitchFamily="34" charset="0"/>
                  <a:cs typeface="Verdana" panose="020B0604030504040204" pitchFamily="34" charset="0"/>
                </a:rPr>
                <a:t>dol</a:t>
              </a:r>
              <a:endPar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7" name="Rectangle 76">
              <a:extLst>
                <a:ext uri="{FF2B5EF4-FFF2-40B4-BE49-F238E27FC236}">
                  <a16:creationId xmlns:a16="http://schemas.microsoft.com/office/drawing/2014/main" id="{CA1604E8-0F5D-CA45-8D1B-8FCB73B7CF8B}"/>
                </a:ext>
              </a:extLst>
            </p:cNvPr>
            <p:cNvSpPr/>
            <p:nvPr/>
          </p:nvSpPr>
          <p:spPr>
            <a:xfrm>
              <a:off x="5698858" y="5167967"/>
              <a:ext cx="799708" cy="312073"/>
            </a:xfrm>
            <a:prstGeom prst="rect">
              <a:avLst/>
            </a:prstGeom>
            <a:ln>
              <a:noFill/>
            </a:ln>
          </p:spPr>
          <p:txBody>
            <a:bodyPr wrap="square" lIns="0" tIns="0" rIns="0" bIns="0">
              <a:spAutoFit/>
            </a:bodyPr>
            <a:lstStyle/>
            <a:p>
              <a:pPr>
                <a:lnSpc>
                  <a:spcPct val="106000"/>
                </a:lnSpc>
              </a:pPr>
              <a:r>
                <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rPr>
                <a:t>Lorem ipsum </a:t>
              </a:r>
              <a:r>
                <a:rPr lang="en-IN" sz="1000" dirty="0" err="1">
                  <a:solidFill>
                    <a:schemeClr val="bg1"/>
                  </a:solidFill>
                  <a:latin typeface="Verdana" panose="020B0604030504040204" pitchFamily="34" charset="0"/>
                  <a:ea typeface="Verdana" panose="020B0604030504040204" pitchFamily="34" charset="0"/>
                  <a:cs typeface="Verdana" panose="020B0604030504040204" pitchFamily="34" charset="0"/>
                </a:rPr>
                <a:t>dol</a:t>
              </a:r>
              <a:endPar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8" name="Rectangle 77">
              <a:extLst>
                <a:ext uri="{FF2B5EF4-FFF2-40B4-BE49-F238E27FC236}">
                  <a16:creationId xmlns:a16="http://schemas.microsoft.com/office/drawing/2014/main" id="{342FFA98-779C-484C-A318-327CB014F334}"/>
                </a:ext>
              </a:extLst>
            </p:cNvPr>
            <p:cNvSpPr/>
            <p:nvPr/>
          </p:nvSpPr>
          <p:spPr>
            <a:xfrm>
              <a:off x="5698859" y="4677241"/>
              <a:ext cx="857217" cy="312073"/>
            </a:xfrm>
            <a:prstGeom prst="rect">
              <a:avLst/>
            </a:prstGeom>
            <a:ln>
              <a:noFill/>
            </a:ln>
          </p:spPr>
          <p:txBody>
            <a:bodyPr wrap="square" lIns="0" tIns="0" rIns="0" bIns="0">
              <a:spAutoFit/>
            </a:bodyPr>
            <a:lstStyle/>
            <a:p>
              <a:pPr>
                <a:lnSpc>
                  <a:spcPct val="106000"/>
                </a:lnSpc>
              </a:pPr>
              <a:r>
                <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rPr>
                <a:t>Lorem ipsum </a:t>
              </a:r>
              <a:r>
                <a:rPr lang="en-IN" sz="1000" dirty="0" err="1">
                  <a:solidFill>
                    <a:schemeClr val="bg1"/>
                  </a:solidFill>
                  <a:latin typeface="Verdana" panose="020B0604030504040204" pitchFamily="34" charset="0"/>
                  <a:ea typeface="Verdana" panose="020B0604030504040204" pitchFamily="34" charset="0"/>
                  <a:cs typeface="Verdana" panose="020B0604030504040204" pitchFamily="34" charset="0"/>
                </a:rPr>
                <a:t>dol</a:t>
              </a:r>
              <a:endPar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9" name="Rectangle 78">
              <a:extLst>
                <a:ext uri="{FF2B5EF4-FFF2-40B4-BE49-F238E27FC236}">
                  <a16:creationId xmlns:a16="http://schemas.microsoft.com/office/drawing/2014/main" id="{B288EFD6-4166-024C-A321-9772E49B337E}"/>
                </a:ext>
              </a:extLst>
            </p:cNvPr>
            <p:cNvSpPr/>
            <p:nvPr/>
          </p:nvSpPr>
          <p:spPr>
            <a:xfrm>
              <a:off x="6585167" y="4202835"/>
              <a:ext cx="671190" cy="293607"/>
            </a:xfrm>
            <a:prstGeom prst="rect">
              <a:avLst/>
            </a:prstGeom>
            <a:ln>
              <a:noFill/>
            </a:ln>
          </p:spPr>
          <p:txBody>
            <a:bodyPr wrap="square" lIns="0" tIns="0" rIns="0" bIns="0">
              <a:spAutoFit/>
            </a:bodyPr>
            <a:lstStyle/>
            <a:p>
              <a:pPr>
                <a:lnSpc>
                  <a:spcPct val="106000"/>
                </a:lnSpc>
              </a:pPr>
              <a:r>
                <a:rPr lang="en-IN" b="1" dirty="0">
                  <a:solidFill>
                    <a:schemeClr val="bg1"/>
                  </a:solidFill>
                  <a:latin typeface="Verdana" panose="020B0604030504040204" pitchFamily="34" charset="0"/>
                  <a:ea typeface="Verdana" panose="020B0604030504040204" pitchFamily="34" charset="0"/>
                  <a:cs typeface="Verdana" panose="020B0604030504040204" pitchFamily="34" charset="0"/>
                </a:rPr>
                <a:t>997</a:t>
              </a:r>
            </a:p>
          </p:txBody>
        </p:sp>
        <p:sp>
          <p:nvSpPr>
            <p:cNvPr id="80" name="Rectangle 79">
              <a:extLst>
                <a:ext uri="{FF2B5EF4-FFF2-40B4-BE49-F238E27FC236}">
                  <a16:creationId xmlns:a16="http://schemas.microsoft.com/office/drawing/2014/main" id="{BEEE23B2-1AEC-874F-BF5D-2A8659776A97}"/>
                </a:ext>
              </a:extLst>
            </p:cNvPr>
            <p:cNvSpPr/>
            <p:nvPr/>
          </p:nvSpPr>
          <p:spPr>
            <a:xfrm>
              <a:off x="6585167" y="5192684"/>
              <a:ext cx="659318" cy="293607"/>
            </a:xfrm>
            <a:prstGeom prst="rect">
              <a:avLst/>
            </a:prstGeom>
            <a:ln>
              <a:noFill/>
            </a:ln>
          </p:spPr>
          <p:txBody>
            <a:bodyPr wrap="square" lIns="0" tIns="0" rIns="0" bIns="0">
              <a:spAutoFit/>
            </a:bodyPr>
            <a:lstStyle/>
            <a:p>
              <a:pPr>
                <a:lnSpc>
                  <a:spcPct val="106000"/>
                </a:lnSpc>
              </a:pPr>
              <a:r>
                <a:rPr lang="en-IN" b="1" dirty="0">
                  <a:solidFill>
                    <a:schemeClr val="bg1"/>
                  </a:solidFill>
                  <a:latin typeface="Verdana" panose="020B0604030504040204" pitchFamily="34" charset="0"/>
                  <a:ea typeface="Verdana" panose="020B0604030504040204" pitchFamily="34" charset="0"/>
                  <a:cs typeface="Verdana" panose="020B0604030504040204" pitchFamily="34" charset="0"/>
                </a:rPr>
                <a:t>4334</a:t>
              </a:r>
            </a:p>
          </p:txBody>
        </p:sp>
        <p:sp>
          <p:nvSpPr>
            <p:cNvPr id="81" name="Rectangle 80">
              <a:extLst>
                <a:ext uri="{FF2B5EF4-FFF2-40B4-BE49-F238E27FC236}">
                  <a16:creationId xmlns:a16="http://schemas.microsoft.com/office/drawing/2014/main" id="{98D5E2E1-C825-2C4C-AD14-97BA55CE5DC7}"/>
                </a:ext>
              </a:extLst>
            </p:cNvPr>
            <p:cNvSpPr/>
            <p:nvPr/>
          </p:nvSpPr>
          <p:spPr>
            <a:xfrm>
              <a:off x="6585167" y="4703964"/>
              <a:ext cx="520103" cy="293607"/>
            </a:xfrm>
            <a:prstGeom prst="rect">
              <a:avLst/>
            </a:prstGeom>
            <a:ln>
              <a:noFill/>
            </a:ln>
          </p:spPr>
          <p:txBody>
            <a:bodyPr wrap="square" lIns="0" tIns="0" rIns="0" bIns="0">
              <a:spAutoFit/>
            </a:bodyPr>
            <a:lstStyle/>
            <a:p>
              <a:pPr>
                <a:lnSpc>
                  <a:spcPct val="106000"/>
                </a:lnSpc>
              </a:pPr>
              <a:r>
                <a:rPr lang="en-IN" b="1" dirty="0">
                  <a:solidFill>
                    <a:schemeClr val="bg1"/>
                  </a:solidFill>
                  <a:latin typeface="Verdana" panose="020B0604030504040204" pitchFamily="34" charset="0"/>
                  <a:ea typeface="Verdana" panose="020B0604030504040204" pitchFamily="34" charset="0"/>
                  <a:cs typeface="Verdana" panose="020B0604030504040204" pitchFamily="34" charset="0"/>
                </a:rPr>
                <a:t>140</a:t>
              </a:r>
            </a:p>
          </p:txBody>
        </p:sp>
        <p:cxnSp>
          <p:nvCxnSpPr>
            <p:cNvPr id="82" name="Straight Connector 81">
              <a:extLst>
                <a:ext uri="{FF2B5EF4-FFF2-40B4-BE49-F238E27FC236}">
                  <a16:creationId xmlns:a16="http://schemas.microsoft.com/office/drawing/2014/main" id="{1B0D5168-42C7-234D-AE2D-BE7CE4DA7540}"/>
                </a:ext>
              </a:extLst>
            </p:cNvPr>
            <p:cNvCxnSpPr/>
            <p:nvPr/>
          </p:nvCxnSpPr>
          <p:spPr>
            <a:xfrm>
              <a:off x="5339127" y="4581039"/>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C20A626-6B6C-9B42-8A09-917DBD0C0146}"/>
                </a:ext>
              </a:extLst>
            </p:cNvPr>
            <p:cNvCxnSpPr/>
            <p:nvPr/>
          </p:nvCxnSpPr>
          <p:spPr>
            <a:xfrm>
              <a:off x="5339127" y="5082200"/>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grpSp>
          <p:nvGrpSpPr>
            <p:cNvPr id="84" name="Group 331">
              <a:extLst>
                <a:ext uri="{FF2B5EF4-FFF2-40B4-BE49-F238E27FC236}">
                  <a16:creationId xmlns:a16="http://schemas.microsoft.com/office/drawing/2014/main" id="{487E6E08-13DF-B44B-A3AB-44E56D53A514}"/>
                </a:ext>
              </a:extLst>
            </p:cNvPr>
            <p:cNvGrpSpPr>
              <a:grpSpLocks noChangeAspect="1"/>
            </p:cNvGrpSpPr>
            <p:nvPr/>
          </p:nvGrpSpPr>
          <p:grpSpPr bwMode="auto">
            <a:xfrm>
              <a:off x="5358167" y="4188727"/>
              <a:ext cx="283464" cy="283464"/>
              <a:chOff x="3832" y="1197"/>
              <a:chExt cx="340" cy="340"/>
            </a:xfrm>
            <a:solidFill>
              <a:schemeClr val="accent1"/>
            </a:solidFill>
          </p:grpSpPr>
          <p:sp>
            <p:nvSpPr>
              <p:cNvPr id="96" name="Freeform 332">
                <a:extLst>
                  <a:ext uri="{FF2B5EF4-FFF2-40B4-BE49-F238E27FC236}">
                    <a16:creationId xmlns:a16="http://schemas.microsoft.com/office/drawing/2014/main" id="{47D39A5A-DD13-DA42-9FE2-CF6F6089D5D1}"/>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7" name="Freeform 333">
                <a:extLst>
                  <a:ext uri="{FF2B5EF4-FFF2-40B4-BE49-F238E27FC236}">
                    <a16:creationId xmlns:a16="http://schemas.microsoft.com/office/drawing/2014/main" id="{CFC96048-1D8A-154D-AF22-9C7871BF1094}"/>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94" name="Freeform 538">
              <a:extLst>
                <a:ext uri="{FF2B5EF4-FFF2-40B4-BE49-F238E27FC236}">
                  <a16:creationId xmlns:a16="http://schemas.microsoft.com/office/drawing/2014/main" id="{E06CA0CC-39F8-7044-9F53-1BD0EF431CE5}"/>
                </a:ext>
              </a:extLst>
            </p:cNvPr>
            <p:cNvSpPr>
              <a:spLocks noChangeAspect="1" noEditPoints="1"/>
            </p:cNvSpPr>
            <p:nvPr/>
          </p:nvSpPr>
          <p:spPr bwMode="auto">
            <a:xfrm>
              <a:off x="5358167" y="5189293"/>
              <a:ext cx="283464" cy="283464"/>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5" name="Freeform 240">
              <a:extLst>
                <a:ext uri="{FF2B5EF4-FFF2-40B4-BE49-F238E27FC236}">
                  <a16:creationId xmlns:a16="http://schemas.microsoft.com/office/drawing/2014/main" id="{3F94A3CA-8230-9841-A6A0-C61782732D21}"/>
                </a:ext>
              </a:extLst>
            </p:cNvPr>
            <p:cNvSpPr>
              <a:spLocks noChangeAspect="1" noEditPoints="1"/>
            </p:cNvSpPr>
            <p:nvPr/>
          </p:nvSpPr>
          <p:spPr bwMode="auto">
            <a:xfrm>
              <a:off x="5358167" y="4709035"/>
              <a:ext cx="283464" cy="283464"/>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98" name="Group 97">
            <a:extLst>
              <a:ext uri="{FF2B5EF4-FFF2-40B4-BE49-F238E27FC236}">
                <a16:creationId xmlns:a16="http://schemas.microsoft.com/office/drawing/2014/main" id="{7CCE2F8B-7990-484D-BC08-749E1591CFAF}"/>
              </a:ext>
            </a:extLst>
          </p:cNvPr>
          <p:cNvGrpSpPr/>
          <p:nvPr/>
        </p:nvGrpSpPr>
        <p:grpSpPr>
          <a:xfrm>
            <a:off x="5739646" y="1524953"/>
            <a:ext cx="723599" cy="1199014"/>
            <a:chOff x="4818733" y="2011970"/>
            <a:chExt cx="723599" cy="1199014"/>
          </a:xfrm>
        </p:grpSpPr>
        <p:grpSp>
          <p:nvGrpSpPr>
            <p:cNvPr id="99" name="Group 98">
              <a:extLst>
                <a:ext uri="{FF2B5EF4-FFF2-40B4-BE49-F238E27FC236}">
                  <a16:creationId xmlns:a16="http://schemas.microsoft.com/office/drawing/2014/main" id="{6F794E76-BCBC-EC4A-B2C5-B84AD105D6AF}"/>
                </a:ext>
              </a:extLst>
            </p:cNvPr>
            <p:cNvGrpSpPr/>
            <p:nvPr/>
          </p:nvGrpSpPr>
          <p:grpSpPr>
            <a:xfrm>
              <a:off x="4818733" y="2011970"/>
              <a:ext cx="723599" cy="1199014"/>
              <a:chOff x="1399258" y="2337475"/>
              <a:chExt cx="723599" cy="1199014"/>
            </a:xfrm>
          </p:grpSpPr>
          <p:sp>
            <p:nvSpPr>
              <p:cNvPr id="101" name="Teardrop 100">
                <a:extLst>
                  <a:ext uri="{FF2B5EF4-FFF2-40B4-BE49-F238E27FC236}">
                    <a16:creationId xmlns:a16="http://schemas.microsoft.com/office/drawing/2014/main" id="{F77747F4-E3ED-B84B-8E63-8C0759845229}"/>
                  </a:ext>
                </a:extLst>
              </p:cNvPr>
              <p:cNvSpPr/>
              <p:nvPr/>
            </p:nvSpPr>
            <p:spPr bwMode="gray">
              <a:xfrm rot="18928087">
                <a:off x="1399258" y="2812890"/>
                <a:ext cx="723599" cy="723599"/>
              </a:xfrm>
              <a:prstGeom prst="teardrop">
                <a:avLst>
                  <a:gd name="adj" fmla="val 89844"/>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Rectangle 101">
                <a:extLst>
                  <a:ext uri="{FF2B5EF4-FFF2-40B4-BE49-F238E27FC236}">
                    <a16:creationId xmlns:a16="http://schemas.microsoft.com/office/drawing/2014/main" id="{FB02A1A5-3A07-BD48-9606-7D5634DA73BF}"/>
                  </a:ext>
                </a:extLst>
              </p:cNvPr>
              <p:cNvSpPr/>
              <p:nvPr/>
            </p:nvSpPr>
            <p:spPr bwMode="gray">
              <a:xfrm>
                <a:off x="1732832" y="2337475"/>
                <a:ext cx="56451" cy="43621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3" name="Teardrop 102">
                <a:extLst>
                  <a:ext uri="{FF2B5EF4-FFF2-40B4-BE49-F238E27FC236}">
                    <a16:creationId xmlns:a16="http://schemas.microsoft.com/office/drawing/2014/main" id="{9C2EC535-BEB3-BD46-B864-076E78C17E59}"/>
                  </a:ext>
                </a:extLst>
              </p:cNvPr>
              <p:cNvSpPr/>
              <p:nvPr/>
            </p:nvSpPr>
            <p:spPr bwMode="gray">
              <a:xfrm rot="18928087">
                <a:off x="1464175" y="2883426"/>
                <a:ext cx="585152" cy="585152"/>
              </a:xfrm>
              <a:prstGeom prst="teardrop">
                <a:avLst>
                  <a:gd name="adj" fmla="val 89844"/>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04" name="Straight Connector 103">
                <a:extLst>
                  <a:ext uri="{FF2B5EF4-FFF2-40B4-BE49-F238E27FC236}">
                    <a16:creationId xmlns:a16="http://schemas.microsoft.com/office/drawing/2014/main" id="{BE1D4161-DBAE-BF4C-8DF1-56007E693A8C}"/>
                  </a:ext>
                </a:extLst>
              </p:cNvPr>
              <p:cNvCxnSpPr>
                <a:stCxn id="103" idx="7"/>
                <a:endCxn id="102" idx="0"/>
              </p:cNvCxnSpPr>
              <p:nvPr/>
            </p:nvCxnSpPr>
            <p:spPr>
              <a:xfrm flipV="1">
                <a:off x="1759788" y="2337475"/>
                <a:ext cx="1270" cy="466796"/>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00" name="Rectangle 99">
              <a:extLst>
                <a:ext uri="{FF2B5EF4-FFF2-40B4-BE49-F238E27FC236}">
                  <a16:creationId xmlns:a16="http://schemas.microsoft.com/office/drawing/2014/main" id="{B122A1B3-B560-6B40-91E1-3A8182CAA2DE}"/>
                </a:ext>
              </a:extLst>
            </p:cNvPr>
            <p:cNvSpPr/>
            <p:nvPr/>
          </p:nvSpPr>
          <p:spPr>
            <a:xfrm>
              <a:off x="4880460" y="2677616"/>
              <a:ext cx="601447" cy="338554"/>
            </a:xfrm>
            <a:prstGeom prst="rect">
              <a:avLst/>
            </a:prstGeom>
          </p:spPr>
          <p:txBody>
            <a:bodyPr wrap="none">
              <a:spAutoFit/>
            </a:bodyPr>
            <a:lstStyle/>
            <a:p>
              <a:r>
                <a:rPr lang="en-US" sz="1600" b="1" dirty="0">
                  <a:solidFill>
                    <a:schemeClr val="bg1"/>
                  </a:solidFill>
                </a:rPr>
                <a:t>6795</a:t>
              </a:r>
              <a:endParaRPr lang="en-US" dirty="0"/>
            </a:p>
          </p:txBody>
        </p:sp>
      </p:grpSp>
      <p:cxnSp>
        <p:nvCxnSpPr>
          <p:cNvPr id="105" name="Straight Connector 104">
            <a:extLst>
              <a:ext uri="{FF2B5EF4-FFF2-40B4-BE49-F238E27FC236}">
                <a16:creationId xmlns:a16="http://schemas.microsoft.com/office/drawing/2014/main" id="{3738DBD6-CF0F-594E-8B58-3856592D9341}"/>
              </a:ext>
            </a:extLst>
          </p:cNvPr>
          <p:cNvCxnSpPr>
            <a:endCxn id="101" idx="6"/>
          </p:cNvCxnSpPr>
          <p:nvPr/>
        </p:nvCxnSpPr>
        <p:spPr>
          <a:xfrm flipV="1">
            <a:off x="3508075" y="2104255"/>
            <a:ext cx="2339638" cy="69827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48ADEAC5-65BD-464C-AB9A-4E656D783484}"/>
              </a:ext>
            </a:extLst>
          </p:cNvPr>
          <p:cNvSpPr/>
          <p:nvPr/>
        </p:nvSpPr>
        <p:spPr>
          <a:xfrm>
            <a:off x="5613501" y="1576961"/>
            <a:ext cx="1241045" cy="215444"/>
          </a:xfrm>
          <a:prstGeom prst="rect">
            <a:avLst/>
          </a:prstGeom>
          <a:solidFill>
            <a:schemeClr val="accent1"/>
          </a:solidFill>
        </p:spPr>
        <p:txBody>
          <a:bodyPr wrap="none" lIns="0" tIns="0" rIns="0" bIns="0">
            <a:spAutoFit/>
          </a:bodyPr>
          <a:lstStyle/>
          <a:p>
            <a:pPr algn="ctr"/>
            <a:r>
              <a:rPr lang="en-US" sz="1400" b="1" dirty="0">
                <a:solidFill>
                  <a:schemeClr val="bg1"/>
                </a:solidFill>
              </a:rPr>
              <a:t>Lorem ipsum </a:t>
            </a:r>
            <a:r>
              <a:rPr lang="en-US" sz="1400" b="1" dirty="0" err="1">
                <a:solidFill>
                  <a:schemeClr val="bg1"/>
                </a:solidFill>
              </a:rPr>
              <a:t>dol</a:t>
            </a:r>
            <a:endParaRPr lang="en-US" sz="1400" b="1" dirty="0">
              <a:solidFill>
                <a:schemeClr val="bg1"/>
              </a:solidFill>
            </a:endParaRPr>
          </a:p>
        </p:txBody>
      </p:sp>
      <p:cxnSp>
        <p:nvCxnSpPr>
          <p:cNvPr id="107" name="Straight Connector 106">
            <a:extLst>
              <a:ext uri="{FF2B5EF4-FFF2-40B4-BE49-F238E27FC236}">
                <a16:creationId xmlns:a16="http://schemas.microsoft.com/office/drawing/2014/main" id="{F2159FAB-71F4-E74E-B370-F8B82CB9F644}"/>
              </a:ext>
            </a:extLst>
          </p:cNvPr>
          <p:cNvCxnSpPr>
            <a:cxnSpLocks/>
            <a:stCxn id="101" idx="3"/>
          </p:cNvCxnSpPr>
          <p:nvPr/>
        </p:nvCxnSpPr>
        <p:spPr>
          <a:xfrm>
            <a:off x="6098490" y="2723954"/>
            <a:ext cx="0" cy="259362"/>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74EA41A2-9A69-9B46-96A6-AC6E9CA042E6}"/>
              </a:ext>
            </a:extLst>
          </p:cNvPr>
          <p:cNvSpPr/>
          <p:nvPr/>
        </p:nvSpPr>
        <p:spPr bwMode="gray">
          <a:xfrm>
            <a:off x="2242868" y="5436455"/>
            <a:ext cx="7752272" cy="356559"/>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09" name="Straight Arrow Connector 108">
            <a:extLst>
              <a:ext uri="{FF2B5EF4-FFF2-40B4-BE49-F238E27FC236}">
                <a16:creationId xmlns:a16="http://schemas.microsoft.com/office/drawing/2014/main" id="{B17D6E93-7613-C642-8D15-9C601D55F76D}"/>
              </a:ext>
            </a:extLst>
          </p:cNvPr>
          <p:cNvCxnSpPr/>
          <p:nvPr/>
        </p:nvCxnSpPr>
        <p:spPr>
          <a:xfrm>
            <a:off x="3289540" y="5137405"/>
            <a:ext cx="2599427" cy="0"/>
          </a:xfrm>
          <a:prstGeom prst="straightConnector1">
            <a:avLst/>
          </a:prstGeom>
          <a:ln>
            <a:solidFill>
              <a:schemeClr val="bg1"/>
            </a:solidFill>
            <a:prstDash val="sysDash"/>
            <a:tailEnd type="stealth"/>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B3C798A7-5F12-2442-A81E-4BB6DBF5D6A5}"/>
              </a:ext>
            </a:extLst>
          </p:cNvPr>
          <p:cNvGrpSpPr/>
          <p:nvPr/>
        </p:nvGrpSpPr>
        <p:grpSpPr>
          <a:xfrm>
            <a:off x="5992482" y="4953376"/>
            <a:ext cx="1771290" cy="391065"/>
            <a:chOff x="3088256" y="5440392"/>
            <a:chExt cx="1771290" cy="391065"/>
          </a:xfrm>
          <a:solidFill>
            <a:schemeClr val="accent6"/>
          </a:solidFill>
        </p:grpSpPr>
        <p:sp>
          <p:nvSpPr>
            <p:cNvPr id="111" name="Rectangle 110">
              <a:extLst>
                <a:ext uri="{FF2B5EF4-FFF2-40B4-BE49-F238E27FC236}">
                  <a16:creationId xmlns:a16="http://schemas.microsoft.com/office/drawing/2014/main" id="{5B18DC4C-29B6-4448-97AF-AC575D67B104}"/>
                </a:ext>
              </a:extLst>
            </p:cNvPr>
            <p:cNvSpPr/>
            <p:nvPr/>
          </p:nvSpPr>
          <p:spPr bwMode="gray">
            <a:xfrm>
              <a:off x="3088256" y="5440392"/>
              <a:ext cx="1771290" cy="391065"/>
            </a:xfrm>
            <a:prstGeom prst="rect">
              <a:avLst/>
            </a:prstGeom>
            <a:grp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000" b="1" dirty="0">
                  <a:solidFill>
                    <a:schemeClr val="bg1"/>
                  </a:solidFill>
                </a:rPr>
                <a:t>Lorem ipsum </a:t>
              </a:r>
              <a:r>
                <a:rPr lang="en-US" sz="1000" b="1" dirty="0" err="1">
                  <a:solidFill>
                    <a:schemeClr val="bg1"/>
                  </a:solidFill>
                </a:rPr>
                <a:t>dol</a:t>
              </a:r>
              <a:endParaRPr lang="en-US" sz="1000" b="1" dirty="0">
                <a:solidFill>
                  <a:schemeClr val="bg1"/>
                </a:solidFill>
              </a:endParaRPr>
            </a:p>
          </p:txBody>
        </p:sp>
        <p:sp>
          <p:nvSpPr>
            <p:cNvPr id="112" name="Rectangle 111">
              <a:extLst>
                <a:ext uri="{FF2B5EF4-FFF2-40B4-BE49-F238E27FC236}">
                  <a16:creationId xmlns:a16="http://schemas.microsoft.com/office/drawing/2014/main" id="{96F423B7-02B3-254F-AFB8-5F321F4D5D5E}"/>
                </a:ext>
              </a:extLst>
            </p:cNvPr>
            <p:cNvSpPr/>
            <p:nvPr/>
          </p:nvSpPr>
          <p:spPr>
            <a:xfrm>
              <a:off x="4215907" y="5493923"/>
              <a:ext cx="509918" cy="281167"/>
            </a:xfrm>
            <a:prstGeom prst="rect">
              <a:avLst/>
            </a:prstGeom>
            <a:grpFill/>
          </p:spPr>
          <p:txBody>
            <a:bodyPr wrap="square" lIns="0" tIns="0" rIns="0" bIns="0">
              <a:spAutoFit/>
            </a:bodyPr>
            <a:lstStyle/>
            <a:p>
              <a:pPr>
                <a:lnSpc>
                  <a:spcPct val="106000"/>
                </a:lnSpc>
              </a:pPr>
              <a:r>
                <a:rPr lang="en-IN" b="1" dirty="0">
                  <a:solidFill>
                    <a:schemeClr val="bg1"/>
                  </a:solidFill>
                  <a:ea typeface="Verdana" panose="020B0604030504040204" pitchFamily="34" charset="0"/>
                  <a:cs typeface="Verdana" panose="020B0604030504040204" pitchFamily="34" charset="0"/>
                </a:rPr>
                <a:t>587</a:t>
              </a:r>
            </a:p>
          </p:txBody>
        </p:sp>
      </p:grpSp>
      <p:grpSp>
        <p:nvGrpSpPr>
          <p:cNvPr id="113" name="Group 112">
            <a:extLst>
              <a:ext uri="{FF2B5EF4-FFF2-40B4-BE49-F238E27FC236}">
                <a16:creationId xmlns:a16="http://schemas.microsoft.com/office/drawing/2014/main" id="{5F9893A8-6583-864C-95C7-71DE11D36F8F}"/>
              </a:ext>
            </a:extLst>
          </p:cNvPr>
          <p:cNvGrpSpPr/>
          <p:nvPr/>
        </p:nvGrpSpPr>
        <p:grpSpPr>
          <a:xfrm>
            <a:off x="8231038" y="4953376"/>
            <a:ext cx="1771290" cy="391065"/>
            <a:chOff x="5257800" y="5440392"/>
            <a:chExt cx="1771290" cy="391065"/>
          </a:xfrm>
          <a:solidFill>
            <a:schemeClr val="accent6"/>
          </a:solidFill>
        </p:grpSpPr>
        <p:sp>
          <p:nvSpPr>
            <p:cNvPr id="114" name="Rectangle 113">
              <a:extLst>
                <a:ext uri="{FF2B5EF4-FFF2-40B4-BE49-F238E27FC236}">
                  <a16:creationId xmlns:a16="http://schemas.microsoft.com/office/drawing/2014/main" id="{6EA4A1B8-3BD5-AD46-83DF-CE1F63D7EF5F}"/>
                </a:ext>
              </a:extLst>
            </p:cNvPr>
            <p:cNvSpPr/>
            <p:nvPr/>
          </p:nvSpPr>
          <p:spPr bwMode="gray">
            <a:xfrm>
              <a:off x="5257800" y="5440392"/>
              <a:ext cx="1771290" cy="391065"/>
            </a:xfrm>
            <a:prstGeom prst="rect">
              <a:avLst/>
            </a:prstGeom>
            <a:grp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000" b="1" dirty="0">
                  <a:solidFill>
                    <a:schemeClr val="bg1"/>
                  </a:solidFill>
                </a:rPr>
                <a:t>Lorem ipsum </a:t>
              </a:r>
              <a:r>
                <a:rPr lang="en-US" sz="1000" b="1" dirty="0" err="1">
                  <a:solidFill>
                    <a:schemeClr val="bg1"/>
                  </a:solidFill>
                </a:rPr>
                <a:t>dol</a:t>
              </a:r>
              <a:endParaRPr lang="en-US" sz="1000" b="1" dirty="0">
                <a:solidFill>
                  <a:schemeClr val="bg1"/>
                </a:solidFill>
              </a:endParaRPr>
            </a:p>
          </p:txBody>
        </p:sp>
        <p:sp>
          <p:nvSpPr>
            <p:cNvPr id="115" name="Rectangle 114">
              <a:extLst>
                <a:ext uri="{FF2B5EF4-FFF2-40B4-BE49-F238E27FC236}">
                  <a16:creationId xmlns:a16="http://schemas.microsoft.com/office/drawing/2014/main" id="{4940AB66-1626-C244-850C-09825686BB35}"/>
                </a:ext>
              </a:extLst>
            </p:cNvPr>
            <p:cNvSpPr/>
            <p:nvPr/>
          </p:nvSpPr>
          <p:spPr>
            <a:xfrm>
              <a:off x="6477000" y="5493923"/>
              <a:ext cx="509918" cy="281167"/>
            </a:xfrm>
            <a:prstGeom prst="rect">
              <a:avLst/>
            </a:prstGeom>
            <a:grpFill/>
          </p:spPr>
          <p:txBody>
            <a:bodyPr wrap="square" lIns="0" tIns="0" rIns="0" bIns="0">
              <a:spAutoFit/>
            </a:bodyPr>
            <a:lstStyle/>
            <a:p>
              <a:pPr>
                <a:lnSpc>
                  <a:spcPct val="106000"/>
                </a:lnSpc>
              </a:pPr>
              <a:r>
                <a:rPr lang="en-IN" b="1" dirty="0">
                  <a:solidFill>
                    <a:schemeClr val="bg1"/>
                  </a:solidFill>
                  <a:ea typeface="Verdana" panose="020B0604030504040204" pitchFamily="34" charset="0"/>
                  <a:cs typeface="Verdana" panose="020B0604030504040204" pitchFamily="34" charset="0"/>
                </a:rPr>
                <a:t>137</a:t>
              </a:r>
            </a:p>
          </p:txBody>
        </p:sp>
      </p:grpSp>
      <p:grpSp>
        <p:nvGrpSpPr>
          <p:cNvPr id="116" name="Group 115">
            <a:extLst>
              <a:ext uri="{FF2B5EF4-FFF2-40B4-BE49-F238E27FC236}">
                <a16:creationId xmlns:a16="http://schemas.microsoft.com/office/drawing/2014/main" id="{B4A8E3D7-E3D6-9844-B4B6-E7A881AA147D}"/>
              </a:ext>
            </a:extLst>
          </p:cNvPr>
          <p:cNvGrpSpPr/>
          <p:nvPr/>
        </p:nvGrpSpPr>
        <p:grpSpPr>
          <a:xfrm>
            <a:off x="2331210" y="5481757"/>
            <a:ext cx="7595126" cy="265955"/>
            <a:chOff x="807210" y="5941241"/>
            <a:chExt cx="7595126" cy="265955"/>
          </a:xfrm>
        </p:grpSpPr>
        <p:sp>
          <p:nvSpPr>
            <p:cNvPr id="117" name="Freeform 52">
              <a:extLst>
                <a:ext uri="{FF2B5EF4-FFF2-40B4-BE49-F238E27FC236}">
                  <a16:creationId xmlns:a16="http://schemas.microsoft.com/office/drawing/2014/main" id="{117B5068-1626-E941-8C4D-DC96EBB0EC06}"/>
                </a:ext>
              </a:extLst>
            </p:cNvPr>
            <p:cNvSpPr>
              <a:spLocks noChangeAspect="1" noEditPoints="1"/>
            </p:cNvSpPr>
            <p:nvPr/>
          </p:nvSpPr>
          <p:spPr bwMode="auto">
            <a:xfrm>
              <a:off x="807210" y="5941241"/>
              <a:ext cx="262412" cy="262412"/>
            </a:xfrm>
            <a:custGeom>
              <a:avLst/>
              <a:gdLst>
                <a:gd name="T0" fmla="*/ 256 w 512"/>
                <a:gd name="T1" fmla="*/ 285 h 512"/>
                <a:gd name="T2" fmla="*/ 274 w 512"/>
                <a:gd name="T3" fmla="*/ 373 h 512"/>
                <a:gd name="T4" fmla="*/ 237 w 512"/>
                <a:gd name="T5" fmla="*/ 373 h 512"/>
                <a:gd name="T6" fmla="*/ 256 w 512"/>
                <a:gd name="T7" fmla="*/ 285 h 512"/>
                <a:gd name="T8" fmla="*/ 160 w 512"/>
                <a:gd name="T9" fmla="*/ 294 h 512"/>
                <a:gd name="T10" fmla="*/ 160 w 512"/>
                <a:gd name="T11" fmla="*/ 320 h 512"/>
                <a:gd name="T12" fmla="*/ 170 w 512"/>
                <a:gd name="T13" fmla="*/ 320 h 512"/>
                <a:gd name="T14" fmla="*/ 181 w 512"/>
                <a:gd name="T15" fmla="*/ 330 h 512"/>
                <a:gd name="T16" fmla="*/ 181 w 512"/>
                <a:gd name="T17" fmla="*/ 373 h 512"/>
                <a:gd name="T18" fmla="*/ 215 w 512"/>
                <a:gd name="T19" fmla="*/ 373 h 512"/>
                <a:gd name="T20" fmla="*/ 242 w 512"/>
                <a:gd name="T21" fmla="*/ 248 h 512"/>
                <a:gd name="T22" fmla="*/ 160 w 512"/>
                <a:gd name="T23" fmla="*/ 294 h 512"/>
                <a:gd name="T24" fmla="*/ 138 w 512"/>
                <a:gd name="T25" fmla="*/ 373 h 512"/>
                <a:gd name="T26" fmla="*/ 160 w 512"/>
                <a:gd name="T27" fmla="*/ 373 h 512"/>
                <a:gd name="T28" fmla="*/ 160 w 512"/>
                <a:gd name="T29" fmla="*/ 341 h 512"/>
                <a:gd name="T30" fmla="*/ 138 w 512"/>
                <a:gd name="T31" fmla="*/ 341 h 512"/>
                <a:gd name="T32" fmla="*/ 138 w 512"/>
                <a:gd name="T33" fmla="*/ 373 h 512"/>
                <a:gd name="T34" fmla="*/ 343 w 512"/>
                <a:gd name="T35" fmla="*/ 139 h 512"/>
                <a:gd name="T36" fmla="*/ 331 w 512"/>
                <a:gd name="T37" fmla="*/ 131 h 512"/>
                <a:gd name="T38" fmla="*/ 322 w 512"/>
                <a:gd name="T39" fmla="*/ 133 h 512"/>
                <a:gd name="T40" fmla="*/ 314 w 512"/>
                <a:gd name="T41" fmla="*/ 153 h 512"/>
                <a:gd name="T42" fmla="*/ 333 w 512"/>
                <a:gd name="T43" fmla="*/ 190 h 512"/>
                <a:gd name="T44" fmla="*/ 368 w 512"/>
                <a:gd name="T45" fmla="*/ 225 h 512"/>
                <a:gd name="T46" fmla="*/ 361 w 512"/>
                <a:gd name="T47" fmla="*/ 175 h 512"/>
                <a:gd name="T48" fmla="*/ 343 w 512"/>
                <a:gd name="T49" fmla="*/ 139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394 w 512"/>
                <a:gd name="T61" fmla="*/ 384 h 512"/>
                <a:gd name="T62" fmla="*/ 384 w 512"/>
                <a:gd name="T63" fmla="*/ 373 h 512"/>
                <a:gd name="T64" fmla="*/ 384 w 512"/>
                <a:gd name="T65" fmla="*/ 240 h 512"/>
                <a:gd name="T66" fmla="*/ 381 w 512"/>
                <a:gd name="T67" fmla="*/ 168 h 512"/>
                <a:gd name="T68" fmla="*/ 381 w 512"/>
                <a:gd name="T69" fmla="*/ 168 h 512"/>
                <a:gd name="T70" fmla="*/ 360 w 512"/>
                <a:gd name="T71" fmla="*/ 125 h 512"/>
                <a:gd name="T72" fmla="*/ 313 w 512"/>
                <a:gd name="T73" fmla="*/ 114 h 512"/>
                <a:gd name="T74" fmla="*/ 293 w 512"/>
                <a:gd name="T75" fmla="*/ 158 h 512"/>
                <a:gd name="T76" fmla="*/ 306 w 512"/>
                <a:gd name="T77" fmla="*/ 187 h 512"/>
                <a:gd name="T78" fmla="*/ 144 w 512"/>
                <a:gd name="T79" fmla="*/ 278 h 512"/>
                <a:gd name="T80" fmla="*/ 138 w 512"/>
                <a:gd name="T81" fmla="*/ 288 h 512"/>
                <a:gd name="T82" fmla="*/ 138 w 512"/>
                <a:gd name="T83" fmla="*/ 320 h 512"/>
                <a:gd name="T84" fmla="*/ 128 w 512"/>
                <a:gd name="T85" fmla="*/ 320 h 512"/>
                <a:gd name="T86" fmla="*/ 117 w 512"/>
                <a:gd name="T87" fmla="*/ 330 h 512"/>
                <a:gd name="T88" fmla="*/ 117 w 512"/>
                <a:gd name="T89" fmla="*/ 384 h 512"/>
                <a:gd name="T90" fmla="*/ 128 w 512"/>
                <a:gd name="T91" fmla="*/ 394 h 512"/>
                <a:gd name="T92" fmla="*/ 170 w 512"/>
                <a:gd name="T93" fmla="*/ 394 h 512"/>
                <a:gd name="T94" fmla="*/ 384 w 512"/>
                <a:gd name="T95" fmla="*/ 394 h 512"/>
                <a:gd name="T96" fmla="*/ 394 w 512"/>
                <a:gd name="T97" fmla="*/ 384 h 512"/>
                <a:gd name="T98" fmla="*/ 317 w 512"/>
                <a:gd name="T99" fmla="*/ 205 h 512"/>
                <a:gd name="T100" fmla="*/ 266 w 512"/>
                <a:gd name="T101" fmla="*/ 234 h 512"/>
                <a:gd name="T102" fmla="*/ 296 w 512"/>
                <a:gd name="T103" fmla="*/ 373 h 512"/>
                <a:gd name="T104" fmla="*/ 362 w 512"/>
                <a:gd name="T105" fmla="*/ 373 h 512"/>
                <a:gd name="T106" fmla="*/ 362 w 512"/>
                <a:gd name="T107" fmla="*/ 246 h 512"/>
                <a:gd name="T108" fmla="*/ 317 w 512"/>
                <a:gd name="T109"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285"/>
                  </a:moveTo>
                  <a:cubicBezTo>
                    <a:pt x="274" y="373"/>
                    <a:pt x="274" y="373"/>
                    <a:pt x="274" y="373"/>
                  </a:cubicBezTo>
                  <a:cubicBezTo>
                    <a:pt x="237" y="373"/>
                    <a:pt x="237" y="373"/>
                    <a:pt x="237" y="373"/>
                  </a:cubicBezTo>
                  <a:lnTo>
                    <a:pt x="256" y="285"/>
                  </a:lnTo>
                  <a:close/>
                  <a:moveTo>
                    <a:pt x="160" y="294"/>
                  </a:moveTo>
                  <a:cubicBezTo>
                    <a:pt x="160" y="320"/>
                    <a:pt x="160" y="320"/>
                    <a:pt x="160" y="320"/>
                  </a:cubicBezTo>
                  <a:cubicBezTo>
                    <a:pt x="170" y="320"/>
                    <a:pt x="170" y="320"/>
                    <a:pt x="170" y="320"/>
                  </a:cubicBezTo>
                  <a:cubicBezTo>
                    <a:pt x="176" y="320"/>
                    <a:pt x="181" y="324"/>
                    <a:pt x="181" y="330"/>
                  </a:cubicBezTo>
                  <a:cubicBezTo>
                    <a:pt x="181" y="373"/>
                    <a:pt x="181" y="373"/>
                    <a:pt x="181" y="373"/>
                  </a:cubicBezTo>
                  <a:cubicBezTo>
                    <a:pt x="215" y="373"/>
                    <a:pt x="215" y="373"/>
                    <a:pt x="215" y="373"/>
                  </a:cubicBezTo>
                  <a:cubicBezTo>
                    <a:pt x="242" y="248"/>
                    <a:pt x="242" y="248"/>
                    <a:pt x="242" y="248"/>
                  </a:cubicBezTo>
                  <a:lnTo>
                    <a:pt x="160" y="294"/>
                  </a:lnTo>
                  <a:close/>
                  <a:moveTo>
                    <a:pt x="138" y="373"/>
                  </a:moveTo>
                  <a:cubicBezTo>
                    <a:pt x="160" y="373"/>
                    <a:pt x="160" y="373"/>
                    <a:pt x="160" y="373"/>
                  </a:cubicBezTo>
                  <a:cubicBezTo>
                    <a:pt x="160" y="341"/>
                    <a:pt x="160" y="341"/>
                    <a:pt x="160" y="341"/>
                  </a:cubicBezTo>
                  <a:cubicBezTo>
                    <a:pt x="138" y="341"/>
                    <a:pt x="138" y="341"/>
                    <a:pt x="138" y="341"/>
                  </a:cubicBezTo>
                  <a:lnTo>
                    <a:pt x="138" y="373"/>
                  </a:lnTo>
                  <a:close/>
                  <a:moveTo>
                    <a:pt x="343" y="139"/>
                  </a:moveTo>
                  <a:cubicBezTo>
                    <a:pt x="338" y="133"/>
                    <a:pt x="334" y="131"/>
                    <a:pt x="331" y="131"/>
                  </a:cubicBezTo>
                  <a:cubicBezTo>
                    <a:pt x="328" y="131"/>
                    <a:pt x="325" y="132"/>
                    <a:pt x="322" y="133"/>
                  </a:cubicBezTo>
                  <a:cubicBezTo>
                    <a:pt x="316" y="137"/>
                    <a:pt x="311" y="140"/>
                    <a:pt x="314" y="153"/>
                  </a:cubicBezTo>
                  <a:cubicBezTo>
                    <a:pt x="315" y="157"/>
                    <a:pt x="318" y="166"/>
                    <a:pt x="333" y="190"/>
                  </a:cubicBezTo>
                  <a:cubicBezTo>
                    <a:pt x="352" y="222"/>
                    <a:pt x="364" y="227"/>
                    <a:pt x="368" y="225"/>
                  </a:cubicBezTo>
                  <a:cubicBezTo>
                    <a:pt x="372" y="223"/>
                    <a:pt x="376" y="215"/>
                    <a:pt x="361" y="175"/>
                  </a:cubicBezTo>
                  <a:cubicBezTo>
                    <a:pt x="357" y="163"/>
                    <a:pt x="348" y="144"/>
                    <a:pt x="343" y="13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78"/>
                    <a:pt x="390" y="373"/>
                    <a:pt x="384" y="373"/>
                  </a:cubicBezTo>
                  <a:cubicBezTo>
                    <a:pt x="384" y="240"/>
                    <a:pt x="384" y="240"/>
                    <a:pt x="384" y="240"/>
                  </a:cubicBezTo>
                  <a:cubicBezTo>
                    <a:pt x="400" y="226"/>
                    <a:pt x="392" y="197"/>
                    <a:pt x="381" y="168"/>
                  </a:cubicBezTo>
                  <a:cubicBezTo>
                    <a:pt x="381" y="168"/>
                    <a:pt x="381" y="168"/>
                    <a:pt x="381" y="168"/>
                  </a:cubicBezTo>
                  <a:cubicBezTo>
                    <a:pt x="378" y="158"/>
                    <a:pt x="368" y="135"/>
                    <a:pt x="360" y="125"/>
                  </a:cubicBezTo>
                  <a:cubicBezTo>
                    <a:pt x="346" y="109"/>
                    <a:pt x="331" y="105"/>
                    <a:pt x="313" y="114"/>
                  </a:cubicBezTo>
                  <a:cubicBezTo>
                    <a:pt x="295" y="123"/>
                    <a:pt x="288" y="138"/>
                    <a:pt x="293" y="158"/>
                  </a:cubicBezTo>
                  <a:cubicBezTo>
                    <a:pt x="295" y="164"/>
                    <a:pt x="299" y="174"/>
                    <a:pt x="306" y="187"/>
                  </a:cubicBezTo>
                  <a:cubicBezTo>
                    <a:pt x="144" y="278"/>
                    <a:pt x="144" y="278"/>
                    <a:pt x="144" y="278"/>
                  </a:cubicBezTo>
                  <a:cubicBezTo>
                    <a:pt x="140" y="280"/>
                    <a:pt x="138" y="284"/>
                    <a:pt x="138" y="288"/>
                  </a:cubicBezTo>
                  <a:cubicBezTo>
                    <a:pt x="138" y="320"/>
                    <a:pt x="138" y="320"/>
                    <a:pt x="138" y="320"/>
                  </a:cubicBezTo>
                  <a:cubicBezTo>
                    <a:pt x="128" y="320"/>
                    <a:pt x="128" y="320"/>
                    <a:pt x="128" y="320"/>
                  </a:cubicBezTo>
                  <a:cubicBezTo>
                    <a:pt x="122" y="320"/>
                    <a:pt x="117" y="324"/>
                    <a:pt x="117" y="330"/>
                  </a:cubicBezTo>
                  <a:cubicBezTo>
                    <a:pt x="117" y="384"/>
                    <a:pt x="117" y="384"/>
                    <a:pt x="117" y="384"/>
                  </a:cubicBezTo>
                  <a:cubicBezTo>
                    <a:pt x="117" y="390"/>
                    <a:pt x="122" y="394"/>
                    <a:pt x="128" y="394"/>
                  </a:cubicBezTo>
                  <a:cubicBezTo>
                    <a:pt x="170" y="394"/>
                    <a:pt x="170" y="394"/>
                    <a:pt x="170" y="394"/>
                  </a:cubicBezTo>
                  <a:cubicBezTo>
                    <a:pt x="384" y="394"/>
                    <a:pt x="384" y="394"/>
                    <a:pt x="384" y="394"/>
                  </a:cubicBezTo>
                  <a:cubicBezTo>
                    <a:pt x="390" y="394"/>
                    <a:pt x="394" y="390"/>
                    <a:pt x="394" y="384"/>
                  </a:cubicBezTo>
                  <a:close/>
                  <a:moveTo>
                    <a:pt x="317" y="205"/>
                  </a:moveTo>
                  <a:cubicBezTo>
                    <a:pt x="266" y="234"/>
                    <a:pt x="266" y="234"/>
                    <a:pt x="266" y="234"/>
                  </a:cubicBezTo>
                  <a:cubicBezTo>
                    <a:pt x="296" y="373"/>
                    <a:pt x="296" y="373"/>
                    <a:pt x="296" y="373"/>
                  </a:cubicBezTo>
                  <a:cubicBezTo>
                    <a:pt x="362" y="373"/>
                    <a:pt x="362" y="373"/>
                    <a:pt x="362" y="373"/>
                  </a:cubicBezTo>
                  <a:cubicBezTo>
                    <a:pt x="362" y="246"/>
                    <a:pt x="362" y="246"/>
                    <a:pt x="362" y="246"/>
                  </a:cubicBezTo>
                  <a:cubicBezTo>
                    <a:pt x="348" y="244"/>
                    <a:pt x="333" y="230"/>
                    <a:pt x="317" y="20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8" name="Freeform 292">
              <a:extLst>
                <a:ext uri="{FF2B5EF4-FFF2-40B4-BE49-F238E27FC236}">
                  <a16:creationId xmlns:a16="http://schemas.microsoft.com/office/drawing/2014/main" id="{E739132A-A2C7-1B46-BD3C-0BC4A7750BD5}"/>
                </a:ext>
              </a:extLst>
            </p:cNvPr>
            <p:cNvSpPr>
              <a:spLocks noChangeAspect="1" noEditPoints="1"/>
            </p:cNvSpPr>
            <p:nvPr/>
          </p:nvSpPr>
          <p:spPr bwMode="auto">
            <a:xfrm>
              <a:off x="3859746" y="5941241"/>
              <a:ext cx="265176" cy="265176"/>
            </a:xfrm>
            <a:custGeom>
              <a:avLst/>
              <a:gdLst>
                <a:gd name="T0" fmla="*/ 160 w 512"/>
                <a:gd name="T1" fmla="*/ 394 h 512"/>
                <a:gd name="T2" fmla="*/ 309 w 512"/>
                <a:gd name="T3" fmla="*/ 394 h 512"/>
                <a:gd name="T4" fmla="*/ 309 w 512"/>
                <a:gd name="T5" fmla="*/ 117 h 512"/>
                <a:gd name="T6" fmla="*/ 160 w 512"/>
                <a:gd name="T7" fmla="*/ 117 h 512"/>
                <a:gd name="T8" fmla="*/ 160 w 512"/>
                <a:gd name="T9" fmla="*/ 394 h 512"/>
                <a:gd name="T10" fmla="*/ 181 w 512"/>
                <a:gd name="T11" fmla="*/ 149 h 512"/>
                <a:gd name="T12" fmla="*/ 192 w 512"/>
                <a:gd name="T13" fmla="*/ 138 h 512"/>
                <a:gd name="T14" fmla="*/ 277 w 512"/>
                <a:gd name="T15" fmla="*/ 138 h 512"/>
                <a:gd name="T16" fmla="*/ 288 w 512"/>
                <a:gd name="T17" fmla="*/ 149 h 512"/>
                <a:gd name="T18" fmla="*/ 288 w 512"/>
                <a:gd name="T19" fmla="*/ 202 h 512"/>
                <a:gd name="T20" fmla="*/ 277 w 512"/>
                <a:gd name="T21" fmla="*/ 213 h 512"/>
                <a:gd name="T22" fmla="*/ 192 w 512"/>
                <a:gd name="T23" fmla="*/ 213 h 512"/>
                <a:gd name="T24" fmla="*/ 181 w 512"/>
                <a:gd name="T25" fmla="*/ 202 h 512"/>
                <a:gd name="T26" fmla="*/ 181 w 512"/>
                <a:gd name="T27" fmla="*/ 149 h 512"/>
                <a:gd name="T28" fmla="*/ 266 w 512"/>
                <a:gd name="T29" fmla="*/ 192 h 512"/>
                <a:gd name="T30" fmla="*/ 202 w 512"/>
                <a:gd name="T31" fmla="*/ 192 h 512"/>
                <a:gd name="T32" fmla="*/ 202 w 512"/>
                <a:gd name="T33" fmla="*/ 160 h 512"/>
                <a:gd name="T34" fmla="*/ 266 w 512"/>
                <a:gd name="T35" fmla="*/ 160 h 512"/>
                <a:gd name="T36" fmla="*/ 266 w 512"/>
                <a:gd name="T37" fmla="*/ 192 h 512"/>
                <a:gd name="T38" fmla="*/ 256 w 512"/>
                <a:gd name="T39" fmla="*/ 0 h 512"/>
                <a:gd name="T40" fmla="*/ 0 w 512"/>
                <a:gd name="T41" fmla="*/ 256 h 512"/>
                <a:gd name="T42" fmla="*/ 256 w 512"/>
                <a:gd name="T43" fmla="*/ 512 h 512"/>
                <a:gd name="T44" fmla="*/ 512 w 512"/>
                <a:gd name="T45" fmla="*/ 256 h 512"/>
                <a:gd name="T46" fmla="*/ 256 w 512"/>
                <a:gd name="T47" fmla="*/ 0 h 512"/>
                <a:gd name="T48" fmla="*/ 404 w 512"/>
                <a:gd name="T49" fmla="*/ 312 h 512"/>
                <a:gd name="T50" fmla="*/ 330 w 512"/>
                <a:gd name="T51" fmla="*/ 370 h 512"/>
                <a:gd name="T52" fmla="*/ 330 w 512"/>
                <a:gd name="T53" fmla="*/ 405 h 512"/>
                <a:gd name="T54" fmla="*/ 320 w 512"/>
                <a:gd name="T55" fmla="*/ 416 h 512"/>
                <a:gd name="T56" fmla="*/ 149 w 512"/>
                <a:gd name="T57" fmla="*/ 416 h 512"/>
                <a:gd name="T58" fmla="*/ 138 w 512"/>
                <a:gd name="T59" fmla="*/ 405 h 512"/>
                <a:gd name="T60" fmla="*/ 138 w 512"/>
                <a:gd name="T61" fmla="*/ 106 h 512"/>
                <a:gd name="T62" fmla="*/ 149 w 512"/>
                <a:gd name="T63" fmla="*/ 96 h 512"/>
                <a:gd name="T64" fmla="*/ 320 w 512"/>
                <a:gd name="T65" fmla="*/ 96 h 512"/>
                <a:gd name="T66" fmla="*/ 330 w 512"/>
                <a:gd name="T67" fmla="*/ 106 h 512"/>
                <a:gd name="T68" fmla="*/ 330 w 512"/>
                <a:gd name="T69" fmla="*/ 348 h 512"/>
                <a:gd name="T70" fmla="*/ 384 w 512"/>
                <a:gd name="T71" fmla="*/ 305 h 512"/>
                <a:gd name="T72" fmla="*/ 375 w 512"/>
                <a:gd name="T73" fmla="*/ 240 h 512"/>
                <a:gd name="T74" fmla="*/ 366 w 512"/>
                <a:gd name="T75" fmla="*/ 225 h 512"/>
                <a:gd name="T76" fmla="*/ 366 w 512"/>
                <a:gd name="T77" fmla="*/ 224 h 512"/>
                <a:gd name="T78" fmla="*/ 365 w 512"/>
                <a:gd name="T79" fmla="*/ 223 h 512"/>
                <a:gd name="T80" fmla="*/ 365 w 512"/>
                <a:gd name="T81" fmla="*/ 222 h 512"/>
                <a:gd name="T82" fmla="*/ 362 w 512"/>
                <a:gd name="T83" fmla="*/ 213 h 512"/>
                <a:gd name="T84" fmla="*/ 373 w 512"/>
                <a:gd name="T85" fmla="*/ 195 h 512"/>
                <a:gd name="T86" fmla="*/ 353 w 512"/>
                <a:gd name="T87" fmla="*/ 154 h 512"/>
                <a:gd name="T88" fmla="*/ 358 w 512"/>
                <a:gd name="T89" fmla="*/ 139 h 512"/>
                <a:gd name="T90" fmla="*/ 372 w 512"/>
                <a:gd name="T91" fmla="*/ 144 h 512"/>
                <a:gd name="T92" fmla="*/ 399 w 512"/>
                <a:gd name="T93" fmla="*/ 198 h 512"/>
                <a:gd name="T94" fmla="*/ 405 w 512"/>
                <a:gd name="T95" fmla="*/ 212 h 512"/>
                <a:gd name="T96" fmla="*/ 405 w 512"/>
                <a:gd name="T97" fmla="*/ 213 h 512"/>
                <a:gd name="T98" fmla="*/ 405 w 512"/>
                <a:gd name="T99" fmla="*/ 213 h 512"/>
                <a:gd name="T100" fmla="*/ 394 w 512"/>
                <a:gd name="T101" fmla="*/ 231 h 512"/>
                <a:gd name="T102" fmla="*/ 404 w 512"/>
                <a:gd name="T103"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60" y="394"/>
                  </a:moveTo>
                  <a:cubicBezTo>
                    <a:pt x="309" y="394"/>
                    <a:pt x="309" y="394"/>
                    <a:pt x="309" y="394"/>
                  </a:cubicBezTo>
                  <a:cubicBezTo>
                    <a:pt x="309" y="117"/>
                    <a:pt x="309" y="117"/>
                    <a:pt x="309" y="117"/>
                  </a:cubicBezTo>
                  <a:cubicBezTo>
                    <a:pt x="160" y="117"/>
                    <a:pt x="160" y="117"/>
                    <a:pt x="160" y="117"/>
                  </a:cubicBezTo>
                  <a:lnTo>
                    <a:pt x="160" y="394"/>
                  </a:lnTo>
                  <a:close/>
                  <a:moveTo>
                    <a:pt x="181" y="149"/>
                  </a:moveTo>
                  <a:cubicBezTo>
                    <a:pt x="181" y="143"/>
                    <a:pt x="186" y="138"/>
                    <a:pt x="192" y="138"/>
                  </a:cubicBezTo>
                  <a:cubicBezTo>
                    <a:pt x="277" y="138"/>
                    <a:pt x="277" y="138"/>
                    <a:pt x="277" y="138"/>
                  </a:cubicBezTo>
                  <a:cubicBezTo>
                    <a:pt x="283" y="138"/>
                    <a:pt x="288" y="143"/>
                    <a:pt x="288" y="149"/>
                  </a:cubicBezTo>
                  <a:cubicBezTo>
                    <a:pt x="288" y="202"/>
                    <a:pt x="288" y="202"/>
                    <a:pt x="288" y="202"/>
                  </a:cubicBezTo>
                  <a:cubicBezTo>
                    <a:pt x="288" y="208"/>
                    <a:pt x="283" y="213"/>
                    <a:pt x="277" y="213"/>
                  </a:cubicBezTo>
                  <a:cubicBezTo>
                    <a:pt x="192" y="213"/>
                    <a:pt x="192" y="213"/>
                    <a:pt x="192" y="213"/>
                  </a:cubicBezTo>
                  <a:cubicBezTo>
                    <a:pt x="186" y="213"/>
                    <a:pt x="181" y="208"/>
                    <a:pt x="181" y="202"/>
                  </a:cubicBezTo>
                  <a:lnTo>
                    <a:pt x="181" y="149"/>
                  </a:lnTo>
                  <a:close/>
                  <a:moveTo>
                    <a:pt x="266" y="192"/>
                  </a:moveTo>
                  <a:cubicBezTo>
                    <a:pt x="202" y="192"/>
                    <a:pt x="202" y="192"/>
                    <a:pt x="202" y="192"/>
                  </a:cubicBezTo>
                  <a:cubicBezTo>
                    <a:pt x="202" y="160"/>
                    <a:pt x="202" y="160"/>
                    <a:pt x="202" y="160"/>
                  </a:cubicBezTo>
                  <a:cubicBezTo>
                    <a:pt x="266" y="160"/>
                    <a:pt x="266" y="160"/>
                    <a:pt x="266" y="160"/>
                  </a:cubicBezTo>
                  <a:lnTo>
                    <a:pt x="266" y="192"/>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312"/>
                  </a:moveTo>
                  <a:cubicBezTo>
                    <a:pt x="394" y="339"/>
                    <a:pt x="369" y="358"/>
                    <a:pt x="330" y="370"/>
                  </a:cubicBezTo>
                  <a:cubicBezTo>
                    <a:pt x="330" y="405"/>
                    <a:pt x="330" y="405"/>
                    <a:pt x="330" y="405"/>
                  </a:cubicBezTo>
                  <a:cubicBezTo>
                    <a:pt x="330" y="411"/>
                    <a:pt x="326" y="416"/>
                    <a:pt x="320"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20" y="96"/>
                    <a:pt x="320" y="96"/>
                    <a:pt x="320" y="96"/>
                  </a:cubicBezTo>
                  <a:cubicBezTo>
                    <a:pt x="326" y="96"/>
                    <a:pt x="330" y="100"/>
                    <a:pt x="330" y="106"/>
                  </a:cubicBezTo>
                  <a:cubicBezTo>
                    <a:pt x="330" y="348"/>
                    <a:pt x="330" y="348"/>
                    <a:pt x="330" y="348"/>
                  </a:cubicBezTo>
                  <a:cubicBezTo>
                    <a:pt x="359" y="338"/>
                    <a:pt x="377" y="324"/>
                    <a:pt x="384" y="305"/>
                  </a:cubicBezTo>
                  <a:cubicBezTo>
                    <a:pt x="396" y="274"/>
                    <a:pt x="375" y="240"/>
                    <a:pt x="375" y="240"/>
                  </a:cubicBezTo>
                  <a:cubicBezTo>
                    <a:pt x="366" y="225"/>
                    <a:pt x="366" y="225"/>
                    <a:pt x="366" y="225"/>
                  </a:cubicBezTo>
                  <a:cubicBezTo>
                    <a:pt x="366" y="225"/>
                    <a:pt x="366" y="225"/>
                    <a:pt x="366" y="224"/>
                  </a:cubicBezTo>
                  <a:cubicBezTo>
                    <a:pt x="365" y="223"/>
                    <a:pt x="365" y="223"/>
                    <a:pt x="365" y="223"/>
                  </a:cubicBezTo>
                  <a:cubicBezTo>
                    <a:pt x="365" y="222"/>
                    <a:pt x="365" y="222"/>
                    <a:pt x="365" y="222"/>
                  </a:cubicBezTo>
                  <a:cubicBezTo>
                    <a:pt x="363" y="219"/>
                    <a:pt x="362" y="216"/>
                    <a:pt x="362" y="213"/>
                  </a:cubicBezTo>
                  <a:cubicBezTo>
                    <a:pt x="362" y="205"/>
                    <a:pt x="367" y="198"/>
                    <a:pt x="373" y="195"/>
                  </a:cubicBezTo>
                  <a:cubicBezTo>
                    <a:pt x="353" y="154"/>
                    <a:pt x="353" y="154"/>
                    <a:pt x="353" y="154"/>
                  </a:cubicBezTo>
                  <a:cubicBezTo>
                    <a:pt x="350" y="148"/>
                    <a:pt x="352" y="142"/>
                    <a:pt x="358" y="139"/>
                  </a:cubicBezTo>
                  <a:cubicBezTo>
                    <a:pt x="363" y="137"/>
                    <a:pt x="369" y="139"/>
                    <a:pt x="372" y="144"/>
                  </a:cubicBezTo>
                  <a:cubicBezTo>
                    <a:pt x="399" y="198"/>
                    <a:pt x="399" y="198"/>
                    <a:pt x="399" y="198"/>
                  </a:cubicBezTo>
                  <a:cubicBezTo>
                    <a:pt x="402" y="202"/>
                    <a:pt x="405" y="207"/>
                    <a:pt x="405" y="212"/>
                  </a:cubicBezTo>
                  <a:cubicBezTo>
                    <a:pt x="405" y="212"/>
                    <a:pt x="405" y="212"/>
                    <a:pt x="405" y="213"/>
                  </a:cubicBezTo>
                  <a:cubicBezTo>
                    <a:pt x="405" y="213"/>
                    <a:pt x="405" y="213"/>
                    <a:pt x="405" y="213"/>
                  </a:cubicBezTo>
                  <a:cubicBezTo>
                    <a:pt x="405" y="221"/>
                    <a:pt x="401" y="228"/>
                    <a:pt x="394" y="231"/>
                  </a:cubicBezTo>
                  <a:cubicBezTo>
                    <a:pt x="400" y="241"/>
                    <a:pt x="418" y="277"/>
                    <a:pt x="404" y="31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9" name="Freeform 645">
              <a:extLst>
                <a:ext uri="{FF2B5EF4-FFF2-40B4-BE49-F238E27FC236}">
                  <a16:creationId xmlns:a16="http://schemas.microsoft.com/office/drawing/2014/main" id="{4536C3EE-187D-C246-B15D-53CACE074B27}"/>
                </a:ext>
              </a:extLst>
            </p:cNvPr>
            <p:cNvSpPr>
              <a:spLocks noChangeAspect="1" noEditPoints="1"/>
            </p:cNvSpPr>
            <p:nvPr/>
          </p:nvSpPr>
          <p:spPr bwMode="auto">
            <a:xfrm>
              <a:off x="4470806" y="5941241"/>
              <a:ext cx="265176" cy="264398"/>
            </a:xfrm>
            <a:custGeom>
              <a:avLst/>
              <a:gdLst>
                <a:gd name="T0" fmla="*/ 266 w 512"/>
                <a:gd name="T1" fmla="*/ 213 h 512"/>
                <a:gd name="T2" fmla="*/ 256 w 512"/>
                <a:gd name="T3" fmla="*/ 224 h 512"/>
                <a:gd name="T4" fmla="*/ 245 w 512"/>
                <a:gd name="T5" fmla="*/ 213 h 512"/>
                <a:gd name="T6" fmla="*/ 256 w 512"/>
                <a:gd name="T7" fmla="*/ 202 h 512"/>
                <a:gd name="T8" fmla="*/ 266 w 512"/>
                <a:gd name="T9" fmla="*/ 213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66 w 512"/>
                <a:gd name="T21" fmla="*/ 277 h 512"/>
                <a:gd name="T22" fmla="*/ 256 w 512"/>
                <a:gd name="T23" fmla="*/ 266 h 512"/>
                <a:gd name="T24" fmla="*/ 245 w 512"/>
                <a:gd name="T25" fmla="*/ 277 h 512"/>
                <a:gd name="T26" fmla="*/ 245 w 512"/>
                <a:gd name="T27" fmla="*/ 405 h 512"/>
                <a:gd name="T28" fmla="*/ 256 w 512"/>
                <a:gd name="T29" fmla="*/ 416 h 512"/>
                <a:gd name="T30" fmla="*/ 266 w 512"/>
                <a:gd name="T31" fmla="*/ 405 h 512"/>
                <a:gd name="T32" fmla="*/ 266 w 512"/>
                <a:gd name="T33" fmla="*/ 277 h 512"/>
                <a:gd name="T34" fmla="*/ 350 w 512"/>
                <a:gd name="T35" fmla="*/ 246 h 512"/>
                <a:gd name="T36" fmla="*/ 287 w 512"/>
                <a:gd name="T37" fmla="*/ 211 h 512"/>
                <a:gd name="T38" fmla="*/ 266 w 512"/>
                <a:gd name="T39" fmla="*/ 183 h 512"/>
                <a:gd name="T40" fmla="*/ 266 w 512"/>
                <a:gd name="T41" fmla="*/ 117 h 512"/>
                <a:gd name="T42" fmla="*/ 256 w 512"/>
                <a:gd name="T43" fmla="*/ 106 h 512"/>
                <a:gd name="T44" fmla="*/ 245 w 512"/>
                <a:gd name="T45" fmla="*/ 117 h 512"/>
                <a:gd name="T46" fmla="*/ 245 w 512"/>
                <a:gd name="T47" fmla="*/ 183 h 512"/>
                <a:gd name="T48" fmla="*/ 224 w 512"/>
                <a:gd name="T49" fmla="*/ 213 h 512"/>
                <a:gd name="T50" fmla="*/ 165 w 512"/>
                <a:gd name="T51" fmla="*/ 246 h 512"/>
                <a:gd name="T52" fmla="*/ 161 w 512"/>
                <a:gd name="T53" fmla="*/ 261 h 512"/>
                <a:gd name="T54" fmla="*/ 170 w 512"/>
                <a:gd name="T55" fmla="*/ 266 h 512"/>
                <a:gd name="T56" fmla="*/ 176 w 512"/>
                <a:gd name="T57" fmla="*/ 265 h 512"/>
                <a:gd name="T58" fmla="*/ 231 w 512"/>
                <a:gd name="T59" fmla="*/ 233 h 512"/>
                <a:gd name="T60" fmla="*/ 256 w 512"/>
                <a:gd name="T61" fmla="*/ 245 h 512"/>
                <a:gd name="T62" fmla="*/ 281 w 512"/>
                <a:gd name="T63" fmla="*/ 232 h 512"/>
                <a:gd name="T64" fmla="*/ 339 w 512"/>
                <a:gd name="T65" fmla="*/ 265 h 512"/>
                <a:gd name="T66" fmla="*/ 345 w 512"/>
                <a:gd name="T67" fmla="*/ 266 h 512"/>
                <a:gd name="T68" fmla="*/ 354 w 512"/>
                <a:gd name="T69" fmla="*/ 261 h 512"/>
                <a:gd name="T70" fmla="*/ 350 w 512"/>
                <a:gd name="T71"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66" y="213"/>
                  </a:moveTo>
                  <a:cubicBezTo>
                    <a:pt x="266" y="219"/>
                    <a:pt x="262" y="224"/>
                    <a:pt x="256" y="224"/>
                  </a:cubicBezTo>
                  <a:cubicBezTo>
                    <a:pt x="250" y="224"/>
                    <a:pt x="245" y="219"/>
                    <a:pt x="245" y="213"/>
                  </a:cubicBezTo>
                  <a:cubicBezTo>
                    <a:pt x="245" y="207"/>
                    <a:pt x="250" y="202"/>
                    <a:pt x="256" y="202"/>
                  </a:cubicBezTo>
                  <a:cubicBezTo>
                    <a:pt x="262" y="202"/>
                    <a:pt x="266" y="207"/>
                    <a:pt x="266"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77"/>
                  </a:moveTo>
                  <a:cubicBezTo>
                    <a:pt x="266" y="271"/>
                    <a:pt x="262" y="266"/>
                    <a:pt x="256" y="266"/>
                  </a:cubicBezTo>
                  <a:cubicBezTo>
                    <a:pt x="250" y="266"/>
                    <a:pt x="245" y="271"/>
                    <a:pt x="245" y="277"/>
                  </a:cubicBezTo>
                  <a:cubicBezTo>
                    <a:pt x="245" y="405"/>
                    <a:pt x="245" y="405"/>
                    <a:pt x="245" y="405"/>
                  </a:cubicBezTo>
                  <a:cubicBezTo>
                    <a:pt x="245" y="411"/>
                    <a:pt x="250" y="416"/>
                    <a:pt x="256" y="416"/>
                  </a:cubicBezTo>
                  <a:cubicBezTo>
                    <a:pt x="262" y="416"/>
                    <a:pt x="266" y="411"/>
                    <a:pt x="266" y="405"/>
                  </a:cubicBezTo>
                  <a:lnTo>
                    <a:pt x="266" y="277"/>
                  </a:lnTo>
                  <a:close/>
                  <a:moveTo>
                    <a:pt x="350" y="246"/>
                  </a:moveTo>
                  <a:cubicBezTo>
                    <a:pt x="287" y="211"/>
                    <a:pt x="287" y="211"/>
                    <a:pt x="287" y="211"/>
                  </a:cubicBezTo>
                  <a:cubicBezTo>
                    <a:pt x="287" y="198"/>
                    <a:pt x="278" y="187"/>
                    <a:pt x="266" y="183"/>
                  </a:cubicBezTo>
                  <a:cubicBezTo>
                    <a:pt x="266" y="117"/>
                    <a:pt x="266" y="117"/>
                    <a:pt x="266" y="117"/>
                  </a:cubicBezTo>
                  <a:cubicBezTo>
                    <a:pt x="266" y="111"/>
                    <a:pt x="262" y="106"/>
                    <a:pt x="256" y="106"/>
                  </a:cubicBezTo>
                  <a:cubicBezTo>
                    <a:pt x="250" y="106"/>
                    <a:pt x="245" y="111"/>
                    <a:pt x="245" y="117"/>
                  </a:cubicBezTo>
                  <a:cubicBezTo>
                    <a:pt x="245" y="183"/>
                    <a:pt x="245" y="183"/>
                    <a:pt x="245" y="183"/>
                  </a:cubicBezTo>
                  <a:cubicBezTo>
                    <a:pt x="233" y="187"/>
                    <a:pt x="224" y="199"/>
                    <a:pt x="224" y="213"/>
                  </a:cubicBezTo>
                  <a:cubicBezTo>
                    <a:pt x="165" y="246"/>
                    <a:pt x="165" y="246"/>
                    <a:pt x="165" y="246"/>
                  </a:cubicBezTo>
                  <a:cubicBezTo>
                    <a:pt x="160" y="249"/>
                    <a:pt x="158" y="256"/>
                    <a:pt x="161" y="261"/>
                  </a:cubicBezTo>
                  <a:cubicBezTo>
                    <a:pt x="163" y="264"/>
                    <a:pt x="167" y="266"/>
                    <a:pt x="170" y="266"/>
                  </a:cubicBezTo>
                  <a:cubicBezTo>
                    <a:pt x="172" y="266"/>
                    <a:pt x="174" y="266"/>
                    <a:pt x="176" y="265"/>
                  </a:cubicBezTo>
                  <a:cubicBezTo>
                    <a:pt x="231" y="233"/>
                    <a:pt x="231" y="233"/>
                    <a:pt x="231" y="233"/>
                  </a:cubicBezTo>
                  <a:cubicBezTo>
                    <a:pt x="237" y="240"/>
                    <a:pt x="246" y="245"/>
                    <a:pt x="256" y="245"/>
                  </a:cubicBezTo>
                  <a:cubicBezTo>
                    <a:pt x="266" y="245"/>
                    <a:pt x="275" y="240"/>
                    <a:pt x="281" y="232"/>
                  </a:cubicBezTo>
                  <a:cubicBezTo>
                    <a:pt x="339" y="265"/>
                    <a:pt x="339" y="265"/>
                    <a:pt x="339" y="265"/>
                  </a:cubicBezTo>
                  <a:cubicBezTo>
                    <a:pt x="341" y="266"/>
                    <a:pt x="343" y="266"/>
                    <a:pt x="345" y="266"/>
                  </a:cubicBezTo>
                  <a:cubicBezTo>
                    <a:pt x="348" y="266"/>
                    <a:pt x="352" y="264"/>
                    <a:pt x="354" y="261"/>
                  </a:cubicBezTo>
                  <a:cubicBezTo>
                    <a:pt x="357" y="256"/>
                    <a:pt x="355" y="249"/>
                    <a:pt x="350" y="24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0" name="Freeform 402">
              <a:extLst>
                <a:ext uri="{FF2B5EF4-FFF2-40B4-BE49-F238E27FC236}">
                  <a16:creationId xmlns:a16="http://schemas.microsoft.com/office/drawing/2014/main" id="{F1923A69-8BC2-4144-854D-2D7580805A38}"/>
                </a:ext>
              </a:extLst>
            </p:cNvPr>
            <p:cNvSpPr>
              <a:spLocks noChangeAspect="1" noEditPoints="1"/>
            </p:cNvSpPr>
            <p:nvPr/>
          </p:nvSpPr>
          <p:spPr bwMode="auto">
            <a:xfrm>
              <a:off x="5081866" y="5941241"/>
              <a:ext cx="265176" cy="265176"/>
            </a:xfrm>
            <a:custGeom>
              <a:avLst/>
              <a:gdLst>
                <a:gd name="T0" fmla="*/ 256 w 512"/>
                <a:gd name="T1" fmla="*/ 330 h 512"/>
                <a:gd name="T2" fmla="*/ 330 w 512"/>
                <a:gd name="T3" fmla="*/ 256 h 512"/>
                <a:gd name="T4" fmla="*/ 256 w 512"/>
                <a:gd name="T5" fmla="*/ 181 h 512"/>
                <a:gd name="T6" fmla="*/ 181 w 512"/>
                <a:gd name="T7" fmla="*/ 256 h 512"/>
                <a:gd name="T8" fmla="*/ 256 w 512"/>
                <a:gd name="T9" fmla="*/ 330 h 512"/>
                <a:gd name="T10" fmla="*/ 288 w 512"/>
                <a:gd name="T11" fmla="*/ 239 h 512"/>
                <a:gd name="T12" fmla="*/ 304 w 512"/>
                <a:gd name="T13" fmla="*/ 256 h 512"/>
                <a:gd name="T14" fmla="*/ 288 w 512"/>
                <a:gd name="T15" fmla="*/ 272 h 512"/>
                <a:gd name="T16" fmla="*/ 271 w 512"/>
                <a:gd name="T17" fmla="*/ 256 h 512"/>
                <a:gd name="T18" fmla="*/ 288 w 512"/>
                <a:gd name="T19" fmla="*/ 239 h 512"/>
                <a:gd name="T20" fmla="*/ 224 w 512"/>
                <a:gd name="T21" fmla="*/ 239 h 512"/>
                <a:gd name="T22" fmla="*/ 240 w 512"/>
                <a:gd name="T23" fmla="*/ 256 h 512"/>
                <a:gd name="T24" fmla="*/ 224 w 512"/>
                <a:gd name="T25" fmla="*/ 272 h 512"/>
                <a:gd name="T26" fmla="*/ 207 w 512"/>
                <a:gd name="T27" fmla="*/ 256 h 512"/>
                <a:gd name="T28" fmla="*/ 224 w 512"/>
                <a:gd name="T29" fmla="*/ 239 h 512"/>
                <a:gd name="T30" fmla="*/ 138 w 512"/>
                <a:gd name="T31" fmla="*/ 373 h 512"/>
                <a:gd name="T32" fmla="*/ 373 w 512"/>
                <a:gd name="T33" fmla="*/ 373 h 512"/>
                <a:gd name="T34" fmla="*/ 373 w 512"/>
                <a:gd name="T35" fmla="*/ 138 h 512"/>
                <a:gd name="T36" fmla="*/ 138 w 512"/>
                <a:gd name="T37" fmla="*/ 138 h 512"/>
                <a:gd name="T38" fmla="*/ 138 w 512"/>
                <a:gd name="T39" fmla="*/ 373 h 512"/>
                <a:gd name="T40" fmla="*/ 256 w 512"/>
                <a:gd name="T41" fmla="*/ 160 h 512"/>
                <a:gd name="T42" fmla="*/ 352 w 512"/>
                <a:gd name="T43" fmla="*/ 256 h 512"/>
                <a:gd name="T44" fmla="*/ 256 w 512"/>
                <a:gd name="T45" fmla="*/ 352 h 512"/>
                <a:gd name="T46" fmla="*/ 160 w 512"/>
                <a:gd name="T47" fmla="*/ 256 h 512"/>
                <a:gd name="T48" fmla="*/ 256 w 512"/>
                <a:gd name="T49" fmla="*/ 160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394 w 512"/>
                <a:gd name="T61" fmla="*/ 373 h 512"/>
                <a:gd name="T62" fmla="*/ 373 w 512"/>
                <a:gd name="T63" fmla="*/ 394 h 512"/>
                <a:gd name="T64" fmla="*/ 138 w 512"/>
                <a:gd name="T65" fmla="*/ 394 h 512"/>
                <a:gd name="T66" fmla="*/ 117 w 512"/>
                <a:gd name="T67" fmla="*/ 373 h 512"/>
                <a:gd name="T68" fmla="*/ 117 w 512"/>
                <a:gd name="T69" fmla="*/ 138 h 512"/>
                <a:gd name="T70" fmla="*/ 138 w 512"/>
                <a:gd name="T71" fmla="*/ 117 h 512"/>
                <a:gd name="T72" fmla="*/ 373 w 512"/>
                <a:gd name="T73" fmla="*/ 117 h 512"/>
                <a:gd name="T74" fmla="*/ 394 w 512"/>
                <a:gd name="T75" fmla="*/ 138 h 512"/>
                <a:gd name="T76" fmla="*/ 394 w 512"/>
                <a:gd name="T7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330"/>
                  </a:moveTo>
                  <a:cubicBezTo>
                    <a:pt x="297" y="330"/>
                    <a:pt x="330" y="297"/>
                    <a:pt x="330" y="256"/>
                  </a:cubicBezTo>
                  <a:cubicBezTo>
                    <a:pt x="330" y="214"/>
                    <a:pt x="297" y="181"/>
                    <a:pt x="256" y="181"/>
                  </a:cubicBezTo>
                  <a:cubicBezTo>
                    <a:pt x="214" y="181"/>
                    <a:pt x="181" y="214"/>
                    <a:pt x="181" y="256"/>
                  </a:cubicBezTo>
                  <a:cubicBezTo>
                    <a:pt x="181" y="297"/>
                    <a:pt x="214" y="330"/>
                    <a:pt x="256" y="330"/>
                  </a:cubicBezTo>
                  <a:close/>
                  <a:moveTo>
                    <a:pt x="288" y="239"/>
                  </a:moveTo>
                  <a:cubicBezTo>
                    <a:pt x="297" y="239"/>
                    <a:pt x="304" y="247"/>
                    <a:pt x="304" y="256"/>
                  </a:cubicBezTo>
                  <a:cubicBezTo>
                    <a:pt x="304" y="265"/>
                    <a:pt x="297" y="272"/>
                    <a:pt x="288" y="272"/>
                  </a:cubicBezTo>
                  <a:cubicBezTo>
                    <a:pt x="279" y="272"/>
                    <a:pt x="271" y="265"/>
                    <a:pt x="271" y="256"/>
                  </a:cubicBezTo>
                  <a:cubicBezTo>
                    <a:pt x="271" y="247"/>
                    <a:pt x="279" y="239"/>
                    <a:pt x="288" y="239"/>
                  </a:cubicBezTo>
                  <a:close/>
                  <a:moveTo>
                    <a:pt x="224" y="239"/>
                  </a:moveTo>
                  <a:cubicBezTo>
                    <a:pt x="233" y="239"/>
                    <a:pt x="240" y="247"/>
                    <a:pt x="240" y="256"/>
                  </a:cubicBezTo>
                  <a:cubicBezTo>
                    <a:pt x="240" y="265"/>
                    <a:pt x="233" y="272"/>
                    <a:pt x="224" y="272"/>
                  </a:cubicBezTo>
                  <a:cubicBezTo>
                    <a:pt x="215" y="272"/>
                    <a:pt x="207" y="265"/>
                    <a:pt x="207" y="256"/>
                  </a:cubicBezTo>
                  <a:cubicBezTo>
                    <a:pt x="207" y="247"/>
                    <a:pt x="215" y="239"/>
                    <a:pt x="224" y="239"/>
                  </a:cubicBezTo>
                  <a:close/>
                  <a:moveTo>
                    <a:pt x="138" y="373"/>
                  </a:moveTo>
                  <a:cubicBezTo>
                    <a:pt x="373" y="373"/>
                    <a:pt x="373" y="373"/>
                    <a:pt x="373" y="373"/>
                  </a:cubicBezTo>
                  <a:cubicBezTo>
                    <a:pt x="373" y="138"/>
                    <a:pt x="373" y="138"/>
                    <a:pt x="373" y="138"/>
                  </a:cubicBezTo>
                  <a:cubicBezTo>
                    <a:pt x="138" y="138"/>
                    <a:pt x="138" y="138"/>
                    <a:pt x="138" y="138"/>
                  </a:cubicBezTo>
                  <a:lnTo>
                    <a:pt x="138" y="373"/>
                  </a:lnTo>
                  <a:close/>
                  <a:moveTo>
                    <a:pt x="256" y="160"/>
                  </a:moveTo>
                  <a:cubicBezTo>
                    <a:pt x="309" y="160"/>
                    <a:pt x="352" y="203"/>
                    <a:pt x="352" y="256"/>
                  </a:cubicBezTo>
                  <a:cubicBezTo>
                    <a:pt x="352" y="309"/>
                    <a:pt x="309" y="352"/>
                    <a:pt x="256" y="352"/>
                  </a:cubicBezTo>
                  <a:cubicBezTo>
                    <a:pt x="203" y="352"/>
                    <a:pt x="160" y="309"/>
                    <a:pt x="160" y="256"/>
                  </a:cubicBezTo>
                  <a:cubicBezTo>
                    <a:pt x="160" y="203"/>
                    <a:pt x="203" y="160"/>
                    <a:pt x="256" y="16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73"/>
                  </a:moveTo>
                  <a:cubicBezTo>
                    <a:pt x="394" y="385"/>
                    <a:pt x="385" y="394"/>
                    <a:pt x="373" y="394"/>
                  </a:cubicBezTo>
                  <a:cubicBezTo>
                    <a:pt x="138" y="394"/>
                    <a:pt x="138" y="394"/>
                    <a:pt x="138" y="394"/>
                  </a:cubicBezTo>
                  <a:cubicBezTo>
                    <a:pt x="127" y="394"/>
                    <a:pt x="117" y="385"/>
                    <a:pt x="117" y="373"/>
                  </a:cubicBezTo>
                  <a:cubicBezTo>
                    <a:pt x="117" y="138"/>
                    <a:pt x="117" y="138"/>
                    <a:pt x="117" y="138"/>
                  </a:cubicBezTo>
                  <a:cubicBezTo>
                    <a:pt x="117" y="127"/>
                    <a:pt x="127" y="117"/>
                    <a:pt x="138" y="117"/>
                  </a:cubicBezTo>
                  <a:cubicBezTo>
                    <a:pt x="373" y="117"/>
                    <a:pt x="373" y="117"/>
                    <a:pt x="373" y="117"/>
                  </a:cubicBezTo>
                  <a:cubicBezTo>
                    <a:pt x="385" y="117"/>
                    <a:pt x="394" y="127"/>
                    <a:pt x="394" y="138"/>
                  </a:cubicBezTo>
                  <a:lnTo>
                    <a:pt x="394" y="37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1" name="Freeform 460">
              <a:extLst>
                <a:ext uri="{FF2B5EF4-FFF2-40B4-BE49-F238E27FC236}">
                  <a16:creationId xmlns:a16="http://schemas.microsoft.com/office/drawing/2014/main" id="{BA4EF477-600E-1549-9F5F-F43F7627FFD7}"/>
                </a:ext>
              </a:extLst>
            </p:cNvPr>
            <p:cNvSpPr>
              <a:spLocks noChangeAspect="1" noEditPoints="1"/>
            </p:cNvSpPr>
            <p:nvPr/>
          </p:nvSpPr>
          <p:spPr bwMode="auto">
            <a:xfrm>
              <a:off x="5692926" y="5941241"/>
              <a:ext cx="265176" cy="265955"/>
            </a:xfrm>
            <a:custGeom>
              <a:avLst/>
              <a:gdLst>
                <a:gd name="T0" fmla="*/ 263 w 512"/>
                <a:gd name="T1" fmla="*/ 173 h 512"/>
                <a:gd name="T2" fmla="*/ 339 w 512"/>
                <a:gd name="T3" fmla="*/ 248 h 512"/>
                <a:gd name="T4" fmla="*/ 301 w 512"/>
                <a:gd name="T5" fmla="*/ 286 h 512"/>
                <a:gd name="T6" fmla="*/ 263 w 512"/>
                <a:gd name="T7" fmla="*/ 301 h 512"/>
                <a:gd name="T8" fmla="*/ 225 w 512"/>
                <a:gd name="T9" fmla="*/ 286 h 512"/>
                <a:gd name="T10" fmla="*/ 210 w 512"/>
                <a:gd name="T11" fmla="*/ 248 h 512"/>
                <a:gd name="T12" fmla="*/ 225 w 512"/>
                <a:gd name="T13" fmla="*/ 210 h 512"/>
                <a:gd name="T14" fmla="*/ 263 w 512"/>
                <a:gd name="T15" fmla="*/ 173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91 w 512"/>
                <a:gd name="T27" fmla="*/ 165 h 512"/>
                <a:gd name="T28" fmla="*/ 376 w 512"/>
                <a:gd name="T29" fmla="*/ 165 h 512"/>
                <a:gd name="T30" fmla="*/ 331 w 512"/>
                <a:gd name="T31" fmla="*/ 210 h 512"/>
                <a:gd name="T32" fmla="*/ 301 w 512"/>
                <a:gd name="T33" fmla="*/ 180 h 512"/>
                <a:gd name="T34" fmla="*/ 346 w 512"/>
                <a:gd name="T35" fmla="*/ 135 h 512"/>
                <a:gd name="T36" fmla="*/ 346 w 512"/>
                <a:gd name="T37" fmla="*/ 120 h 512"/>
                <a:gd name="T38" fmla="*/ 331 w 512"/>
                <a:gd name="T39" fmla="*/ 120 h 512"/>
                <a:gd name="T40" fmla="*/ 286 w 512"/>
                <a:gd name="T41" fmla="*/ 165 h 512"/>
                <a:gd name="T42" fmla="*/ 271 w 512"/>
                <a:gd name="T43" fmla="*/ 150 h 512"/>
                <a:gd name="T44" fmla="*/ 263 w 512"/>
                <a:gd name="T45" fmla="*/ 143 h 512"/>
                <a:gd name="T46" fmla="*/ 248 w 512"/>
                <a:gd name="T47" fmla="*/ 143 h 512"/>
                <a:gd name="T48" fmla="*/ 248 w 512"/>
                <a:gd name="T49" fmla="*/ 158 h 512"/>
                <a:gd name="T50" fmla="*/ 210 w 512"/>
                <a:gd name="T51" fmla="*/ 195 h 512"/>
                <a:gd name="T52" fmla="*/ 189 w 512"/>
                <a:gd name="T53" fmla="*/ 248 h 512"/>
                <a:gd name="T54" fmla="*/ 203 w 512"/>
                <a:gd name="T55" fmla="*/ 293 h 512"/>
                <a:gd name="T56" fmla="*/ 143 w 512"/>
                <a:gd name="T57" fmla="*/ 354 h 512"/>
                <a:gd name="T58" fmla="*/ 143 w 512"/>
                <a:gd name="T59" fmla="*/ 369 h 512"/>
                <a:gd name="T60" fmla="*/ 150 w 512"/>
                <a:gd name="T61" fmla="*/ 372 h 512"/>
                <a:gd name="T62" fmla="*/ 158 w 512"/>
                <a:gd name="T63" fmla="*/ 369 h 512"/>
                <a:gd name="T64" fmla="*/ 219 w 512"/>
                <a:gd name="T65" fmla="*/ 308 h 512"/>
                <a:gd name="T66" fmla="*/ 263 w 512"/>
                <a:gd name="T67" fmla="*/ 323 h 512"/>
                <a:gd name="T68" fmla="*/ 316 w 512"/>
                <a:gd name="T69" fmla="*/ 301 h 512"/>
                <a:gd name="T70" fmla="*/ 354 w 512"/>
                <a:gd name="T71" fmla="*/ 263 h 512"/>
                <a:gd name="T72" fmla="*/ 354 w 512"/>
                <a:gd name="T73" fmla="*/ 263 h 512"/>
                <a:gd name="T74" fmla="*/ 361 w 512"/>
                <a:gd name="T75" fmla="*/ 266 h 512"/>
                <a:gd name="T76" fmla="*/ 369 w 512"/>
                <a:gd name="T77" fmla="*/ 263 h 512"/>
                <a:gd name="T78" fmla="*/ 369 w 512"/>
                <a:gd name="T79" fmla="*/ 248 h 512"/>
                <a:gd name="T80" fmla="*/ 361 w 512"/>
                <a:gd name="T81" fmla="*/ 241 h 512"/>
                <a:gd name="T82" fmla="*/ 346 w 512"/>
                <a:gd name="T83" fmla="*/ 225 h 512"/>
                <a:gd name="T84" fmla="*/ 391 w 512"/>
                <a:gd name="T85" fmla="*/ 180 h 512"/>
                <a:gd name="T86" fmla="*/ 39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63" y="173"/>
                  </a:moveTo>
                  <a:cubicBezTo>
                    <a:pt x="339" y="248"/>
                    <a:pt x="339" y="248"/>
                    <a:pt x="339" y="248"/>
                  </a:cubicBezTo>
                  <a:cubicBezTo>
                    <a:pt x="301" y="286"/>
                    <a:pt x="301" y="286"/>
                    <a:pt x="301" y="286"/>
                  </a:cubicBezTo>
                  <a:cubicBezTo>
                    <a:pt x="291" y="296"/>
                    <a:pt x="277" y="301"/>
                    <a:pt x="263" y="301"/>
                  </a:cubicBezTo>
                  <a:cubicBezTo>
                    <a:pt x="249" y="301"/>
                    <a:pt x="236" y="296"/>
                    <a:pt x="225" y="286"/>
                  </a:cubicBezTo>
                  <a:cubicBezTo>
                    <a:pt x="215" y="276"/>
                    <a:pt x="210" y="262"/>
                    <a:pt x="210" y="248"/>
                  </a:cubicBezTo>
                  <a:cubicBezTo>
                    <a:pt x="210" y="234"/>
                    <a:pt x="215" y="220"/>
                    <a:pt x="225" y="210"/>
                  </a:cubicBezTo>
                  <a:lnTo>
                    <a:pt x="263" y="1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165"/>
                  </a:moveTo>
                  <a:cubicBezTo>
                    <a:pt x="387" y="161"/>
                    <a:pt x="381" y="161"/>
                    <a:pt x="376" y="165"/>
                  </a:cubicBezTo>
                  <a:cubicBezTo>
                    <a:pt x="331" y="210"/>
                    <a:pt x="331" y="210"/>
                    <a:pt x="331" y="210"/>
                  </a:cubicBezTo>
                  <a:cubicBezTo>
                    <a:pt x="301" y="180"/>
                    <a:pt x="301" y="180"/>
                    <a:pt x="301" y="180"/>
                  </a:cubicBezTo>
                  <a:cubicBezTo>
                    <a:pt x="346" y="135"/>
                    <a:pt x="346" y="135"/>
                    <a:pt x="346" y="135"/>
                  </a:cubicBezTo>
                  <a:cubicBezTo>
                    <a:pt x="350" y="131"/>
                    <a:pt x="350" y="124"/>
                    <a:pt x="346" y="120"/>
                  </a:cubicBezTo>
                  <a:cubicBezTo>
                    <a:pt x="342" y="116"/>
                    <a:pt x="335" y="116"/>
                    <a:pt x="331" y="120"/>
                  </a:cubicBezTo>
                  <a:cubicBezTo>
                    <a:pt x="286" y="165"/>
                    <a:pt x="286" y="165"/>
                    <a:pt x="286" y="165"/>
                  </a:cubicBezTo>
                  <a:cubicBezTo>
                    <a:pt x="271" y="150"/>
                    <a:pt x="271" y="150"/>
                    <a:pt x="271" y="150"/>
                  </a:cubicBezTo>
                  <a:cubicBezTo>
                    <a:pt x="263" y="143"/>
                    <a:pt x="263" y="143"/>
                    <a:pt x="263" y="143"/>
                  </a:cubicBezTo>
                  <a:cubicBezTo>
                    <a:pt x="259" y="138"/>
                    <a:pt x="252" y="138"/>
                    <a:pt x="248" y="143"/>
                  </a:cubicBezTo>
                  <a:cubicBezTo>
                    <a:pt x="244" y="147"/>
                    <a:pt x="244" y="153"/>
                    <a:pt x="248" y="158"/>
                  </a:cubicBezTo>
                  <a:cubicBezTo>
                    <a:pt x="210" y="195"/>
                    <a:pt x="210" y="195"/>
                    <a:pt x="210" y="195"/>
                  </a:cubicBezTo>
                  <a:cubicBezTo>
                    <a:pt x="196" y="209"/>
                    <a:pt x="189" y="228"/>
                    <a:pt x="189" y="248"/>
                  </a:cubicBezTo>
                  <a:cubicBezTo>
                    <a:pt x="189" y="264"/>
                    <a:pt x="194" y="280"/>
                    <a:pt x="203" y="293"/>
                  </a:cubicBezTo>
                  <a:cubicBezTo>
                    <a:pt x="143" y="354"/>
                    <a:pt x="143" y="354"/>
                    <a:pt x="143" y="354"/>
                  </a:cubicBezTo>
                  <a:cubicBezTo>
                    <a:pt x="138" y="358"/>
                    <a:pt x="138" y="365"/>
                    <a:pt x="143" y="369"/>
                  </a:cubicBezTo>
                  <a:cubicBezTo>
                    <a:pt x="145" y="371"/>
                    <a:pt x="147" y="372"/>
                    <a:pt x="150" y="372"/>
                  </a:cubicBezTo>
                  <a:cubicBezTo>
                    <a:pt x="153" y="372"/>
                    <a:pt x="156" y="371"/>
                    <a:pt x="158" y="369"/>
                  </a:cubicBezTo>
                  <a:cubicBezTo>
                    <a:pt x="219" y="308"/>
                    <a:pt x="219" y="308"/>
                    <a:pt x="219" y="308"/>
                  </a:cubicBezTo>
                  <a:cubicBezTo>
                    <a:pt x="231" y="318"/>
                    <a:pt x="247" y="323"/>
                    <a:pt x="263" y="323"/>
                  </a:cubicBezTo>
                  <a:cubicBezTo>
                    <a:pt x="283" y="323"/>
                    <a:pt x="302" y="315"/>
                    <a:pt x="316" y="301"/>
                  </a:cubicBezTo>
                  <a:cubicBezTo>
                    <a:pt x="354" y="263"/>
                    <a:pt x="354" y="263"/>
                    <a:pt x="354" y="263"/>
                  </a:cubicBezTo>
                  <a:cubicBezTo>
                    <a:pt x="354" y="263"/>
                    <a:pt x="354" y="263"/>
                    <a:pt x="354" y="263"/>
                  </a:cubicBezTo>
                  <a:cubicBezTo>
                    <a:pt x="356" y="265"/>
                    <a:pt x="359" y="266"/>
                    <a:pt x="361" y="266"/>
                  </a:cubicBezTo>
                  <a:cubicBezTo>
                    <a:pt x="364" y="266"/>
                    <a:pt x="367" y="265"/>
                    <a:pt x="369" y="263"/>
                  </a:cubicBezTo>
                  <a:cubicBezTo>
                    <a:pt x="373" y="259"/>
                    <a:pt x="373" y="252"/>
                    <a:pt x="369" y="248"/>
                  </a:cubicBezTo>
                  <a:cubicBezTo>
                    <a:pt x="361" y="241"/>
                    <a:pt x="361" y="241"/>
                    <a:pt x="361" y="241"/>
                  </a:cubicBezTo>
                  <a:cubicBezTo>
                    <a:pt x="346" y="225"/>
                    <a:pt x="346" y="225"/>
                    <a:pt x="346" y="225"/>
                  </a:cubicBezTo>
                  <a:cubicBezTo>
                    <a:pt x="391" y="180"/>
                    <a:pt x="391" y="180"/>
                    <a:pt x="391" y="180"/>
                  </a:cubicBezTo>
                  <a:cubicBezTo>
                    <a:pt x="396" y="176"/>
                    <a:pt x="396" y="169"/>
                    <a:pt x="391" y="16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2" name="Freeform 538">
              <a:extLst>
                <a:ext uri="{FF2B5EF4-FFF2-40B4-BE49-F238E27FC236}">
                  <a16:creationId xmlns:a16="http://schemas.microsoft.com/office/drawing/2014/main" id="{AF1E7634-7468-8241-A584-A7464876A5AE}"/>
                </a:ext>
              </a:extLst>
            </p:cNvPr>
            <p:cNvSpPr>
              <a:spLocks noChangeAspect="1" noEditPoints="1"/>
            </p:cNvSpPr>
            <p:nvPr/>
          </p:nvSpPr>
          <p:spPr bwMode="auto">
            <a:xfrm>
              <a:off x="1415506" y="5941241"/>
              <a:ext cx="265176" cy="265176"/>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3" name="Freeform 542">
              <a:extLst>
                <a:ext uri="{FF2B5EF4-FFF2-40B4-BE49-F238E27FC236}">
                  <a16:creationId xmlns:a16="http://schemas.microsoft.com/office/drawing/2014/main" id="{D5017289-342A-6E44-B155-ECECD2815C41}"/>
                </a:ext>
              </a:extLst>
            </p:cNvPr>
            <p:cNvSpPr>
              <a:spLocks noChangeAspect="1" noEditPoints="1"/>
            </p:cNvSpPr>
            <p:nvPr/>
          </p:nvSpPr>
          <p:spPr bwMode="auto">
            <a:xfrm>
              <a:off x="2026566" y="5941241"/>
              <a:ext cx="265176" cy="265176"/>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4" name="Freeform 83">
              <a:extLst>
                <a:ext uri="{FF2B5EF4-FFF2-40B4-BE49-F238E27FC236}">
                  <a16:creationId xmlns:a16="http://schemas.microsoft.com/office/drawing/2014/main" id="{07D6C83A-C791-E248-B13D-A9CAEA422871}"/>
                </a:ext>
              </a:extLst>
            </p:cNvPr>
            <p:cNvSpPr>
              <a:spLocks noChangeAspect="1" noEditPoints="1"/>
            </p:cNvSpPr>
            <p:nvPr/>
          </p:nvSpPr>
          <p:spPr bwMode="auto">
            <a:xfrm>
              <a:off x="2637626" y="5941241"/>
              <a:ext cx="265176" cy="26439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412 h 512"/>
                <a:gd name="T12" fmla="*/ 321 w 512"/>
                <a:gd name="T13" fmla="*/ 416 h 512"/>
                <a:gd name="T14" fmla="*/ 149 w 512"/>
                <a:gd name="T15" fmla="*/ 416 h 512"/>
                <a:gd name="T16" fmla="*/ 141 w 512"/>
                <a:gd name="T17" fmla="*/ 412 h 512"/>
                <a:gd name="T18" fmla="*/ 139 w 512"/>
                <a:gd name="T19" fmla="*/ 403 h 512"/>
                <a:gd name="T20" fmla="*/ 160 w 512"/>
                <a:gd name="T21" fmla="*/ 287 h 512"/>
                <a:gd name="T22" fmla="*/ 160 w 512"/>
                <a:gd name="T23" fmla="*/ 224 h 512"/>
                <a:gd name="T24" fmla="*/ 167 w 512"/>
                <a:gd name="T25" fmla="*/ 214 h 512"/>
                <a:gd name="T26" fmla="*/ 234 w 512"/>
                <a:gd name="T27" fmla="*/ 202 h 512"/>
                <a:gd name="T28" fmla="*/ 302 w 512"/>
                <a:gd name="T29" fmla="*/ 214 h 512"/>
                <a:gd name="T30" fmla="*/ 309 w 512"/>
                <a:gd name="T31" fmla="*/ 224 h 512"/>
                <a:gd name="T32" fmla="*/ 309 w 512"/>
                <a:gd name="T33" fmla="*/ 287 h 512"/>
                <a:gd name="T34" fmla="*/ 332 w 512"/>
                <a:gd name="T35" fmla="*/ 403 h 512"/>
                <a:gd name="T36" fmla="*/ 330 w 512"/>
                <a:gd name="T37" fmla="*/ 412 h 512"/>
                <a:gd name="T38" fmla="*/ 352 w 512"/>
                <a:gd name="T39" fmla="*/ 213 h 512"/>
                <a:gd name="T40" fmla="*/ 341 w 512"/>
                <a:gd name="T41" fmla="*/ 213 h 512"/>
                <a:gd name="T42" fmla="*/ 330 w 512"/>
                <a:gd name="T43" fmla="*/ 202 h 512"/>
                <a:gd name="T44" fmla="*/ 341 w 512"/>
                <a:gd name="T45" fmla="*/ 192 h 512"/>
                <a:gd name="T46" fmla="*/ 352 w 512"/>
                <a:gd name="T47" fmla="*/ 192 h 512"/>
                <a:gd name="T48" fmla="*/ 368 w 512"/>
                <a:gd name="T49" fmla="*/ 176 h 512"/>
                <a:gd name="T50" fmla="*/ 352 w 512"/>
                <a:gd name="T51" fmla="*/ 160 h 512"/>
                <a:gd name="T52" fmla="*/ 341 w 512"/>
                <a:gd name="T53" fmla="*/ 149 h 512"/>
                <a:gd name="T54" fmla="*/ 309 w 512"/>
                <a:gd name="T55" fmla="*/ 117 h 512"/>
                <a:gd name="T56" fmla="*/ 278 w 512"/>
                <a:gd name="T57" fmla="*/ 143 h 512"/>
                <a:gd name="T58" fmla="*/ 272 w 512"/>
                <a:gd name="T59" fmla="*/ 150 h 512"/>
                <a:gd name="T60" fmla="*/ 263 w 512"/>
                <a:gd name="T61" fmla="*/ 150 h 512"/>
                <a:gd name="T62" fmla="*/ 234 w 512"/>
                <a:gd name="T63" fmla="*/ 170 h 512"/>
                <a:gd name="T64" fmla="*/ 224 w 512"/>
                <a:gd name="T65" fmla="*/ 181 h 512"/>
                <a:gd name="T66" fmla="*/ 213 w 512"/>
                <a:gd name="T67" fmla="*/ 170 h 512"/>
                <a:gd name="T68" fmla="*/ 260 w 512"/>
                <a:gd name="T69" fmla="*/ 128 h 512"/>
                <a:gd name="T70" fmla="*/ 309 w 512"/>
                <a:gd name="T71" fmla="*/ 96 h 512"/>
                <a:gd name="T72" fmla="*/ 362 w 512"/>
                <a:gd name="T73" fmla="*/ 140 h 512"/>
                <a:gd name="T74" fmla="*/ 389 w 512"/>
                <a:gd name="T75" fmla="*/ 176 h 512"/>
                <a:gd name="T76" fmla="*/ 352 w 512"/>
                <a:gd name="T77" fmla="*/ 213 h 512"/>
                <a:gd name="T78" fmla="*/ 288 w 512"/>
                <a:gd name="T79" fmla="*/ 290 h 512"/>
                <a:gd name="T80" fmla="*/ 308 w 512"/>
                <a:gd name="T81" fmla="*/ 394 h 512"/>
                <a:gd name="T82" fmla="*/ 162 w 512"/>
                <a:gd name="T83" fmla="*/ 394 h 512"/>
                <a:gd name="T84" fmla="*/ 181 w 512"/>
                <a:gd name="T85" fmla="*/ 290 h 512"/>
                <a:gd name="T86" fmla="*/ 181 w 512"/>
                <a:gd name="T87" fmla="*/ 288 h 512"/>
                <a:gd name="T88" fmla="*/ 181 w 512"/>
                <a:gd name="T89" fmla="*/ 232 h 512"/>
                <a:gd name="T90" fmla="*/ 234 w 512"/>
                <a:gd name="T91" fmla="*/ 224 h 512"/>
                <a:gd name="T92" fmla="*/ 288 w 512"/>
                <a:gd name="T93" fmla="*/ 232 h 512"/>
                <a:gd name="T94" fmla="*/ 288 w 512"/>
                <a:gd name="T95" fmla="*/ 288 h 512"/>
                <a:gd name="T96" fmla="*/ 288 w 512"/>
                <a:gd name="T97" fmla="*/ 2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412"/>
                  </a:moveTo>
                  <a:cubicBezTo>
                    <a:pt x="328" y="414"/>
                    <a:pt x="325" y="416"/>
                    <a:pt x="321" y="416"/>
                  </a:cubicBezTo>
                  <a:cubicBezTo>
                    <a:pt x="149" y="416"/>
                    <a:pt x="149" y="416"/>
                    <a:pt x="149" y="416"/>
                  </a:cubicBezTo>
                  <a:cubicBezTo>
                    <a:pt x="146" y="416"/>
                    <a:pt x="143" y="414"/>
                    <a:pt x="141" y="412"/>
                  </a:cubicBezTo>
                  <a:cubicBezTo>
                    <a:pt x="139" y="409"/>
                    <a:pt x="138" y="406"/>
                    <a:pt x="139" y="403"/>
                  </a:cubicBezTo>
                  <a:cubicBezTo>
                    <a:pt x="160" y="287"/>
                    <a:pt x="160" y="287"/>
                    <a:pt x="160" y="287"/>
                  </a:cubicBezTo>
                  <a:cubicBezTo>
                    <a:pt x="160" y="224"/>
                    <a:pt x="160" y="224"/>
                    <a:pt x="160" y="224"/>
                  </a:cubicBezTo>
                  <a:cubicBezTo>
                    <a:pt x="160" y="219"/>
                    <a:pt x="163" y="215"/>
                    <a:pt x="167" y="214"/>
                  </a:cubicBezTo>
                  <a:cubicBezTo>
                    <a:pt x="168" y="213"/>
                    <a:pt x="201" y="202"/>
                    <a:pt x="234" y="202"/>
                  </a:cubicBezTo>
                  <a:cubicBezTo>
                    <a:pt x="267" y="202"/>
                    <a:pt x="300" y="213"/>
                    <a:pt x="302" y="214"/>
                  </a:cubicBezTo>
                  <a:cubicBezTo>
                    <a:pt x="306" y="215"/>
                    <a:pt x="309" y="219"/>
                    <a:pt x="309" y="224"/>
                  </a:cubicBezTo>
                  <a:cubicBezTo>
                    <a:pt x="309" y="287"/>
                    <a:pt x="309" y="287"/>
                    <a:pt x="309" y="287"/>
                  </a:cubicBezTo>
                  <a:cubicBezTo>
                    <a:pt x="332" y="403"/>
                    <a:pt x="332" y="403"/>
                    <a:pt x="332" y="403"/>
                  </a:cubicBezTo>
                  <a:cubicBezTo>
                    <a:pt x="333" y="406"/>
                    <a:pt x="332" y="409"/>
                    <a:pt x="330" y="412"/>
                  </a:cubicBezTo>
                  <a:close/>
                  <a:moveTo>
                    <a:pt x="352" y="213"/>
                  </a:moveTo>
                  <a:cubicBezTo>
                    <a:pt x="341" y="213"/>
                    <a:pt x="341" y="213"/>
                    <a:pt x="341" y="213"/>
                  </a:cubicBezTo>
                  <a:cubicBezTo>
                    <a:pt x="335" y="213"/>
                    <a:pt x="330" y="208"/>
                    <a:pt x="330" y="202"/>
                  </a:cubicBezTo>
                  <a:cubicBezTo>
                    <a:pt x="330" y="196"/>
                    <a:pt x="335" y="192"/>
                    <a:pt x="341" y="192"/>
                  </a:cubicBezTo>
                  <a:cubicBezTo>
                    <a:pt x="352" y="192"/>
                    <a:pt x="352" y="192"/>
                    <a:pt x="352" y="192"/>
                  </a:cubicBezTo>
                  <a:cubicBezTo>
                    <a:pt x="360" y="192"/>
                    <a:pt x="368" y="184"/>
                    <a:pt x="368" y="176"/>
                  </a:cubicBezTo>
                  <a:cubicBezTo>
                    <a:pt x="368" y="167"/>
                    <a:pt x="360" y="160"/>
                    <a:pt x="352" y="160"/>
                  </a:cubicBezTo>
                  <a:cubicBezTo>
                    <a:pt x="346" y="160"/>
                    <a:pt x="341" y="155"/>
                    <a:pt x="341" y="149"/>
                  </a:cubicBezTo>
                  <a:cubicBezTo>
                    <a:pt x="341" y="131"/>
                    <a:pt x="327" y="117"/>
                    <a:pt x="309" y="117"/>
                  </a:cubicBezTo>
                  <a:cubicBezTo>
                    <a:pt x="294" y="117"/>
                    <a:pt x="281" y="128"/>
                    <a:pt x="278" y="143"/>
                  </a:cubicBezTo>
                  <a:cubicBezTo>
                    <a:pt x="277" y="146"/>
                    <a:pt x="275" y="148"/>
                    <a:pt x="272" y="150"/>
                  </a:cubicBezTo>
                  <a:cubicBezTo>
                    <a:pt x="270" y="151"/>
                    <a:pt x="266" y="152"/>
                    <a:pt x="263" y="150"/>
                  </a:cubicBezTo>
                  <a:cubicBezTo>
                    <a:pt x="249" y="145"/>
                    <a:pt x="234" y="156"/>
                    <a:pt x="234" y="170"/>
                  </a:cubicBezTo>
                  <a:cubicBezTo>
                    <a:pt x="234" y="176"/>
                    <a:pt x="230" y="181"/>
                    <a:pt x="224" y="181"/>
                  </a:cubicBezTo>
                  <a:cubicBezTo>
                    <a:pt x="218" y="181"/>
                    <a:pt x="213" y="176"/>
                    <a:pt x="213" y="170"/>
                  </a:cubicBezTo>
                  <a:cubicBezTo>
                    <a:pt x="213" y="145"/>
                    <a:pt x="235" y="125"/>
                    <a:pt x="260" y="128"/>
                  </a:cubicBezTo>
                  <a:cubicBezTo>
                    <a:pt x="268" y="109"/>
                    <a:pt x="287" y="96"/>
                    <a:pt x="309" y="96"/>
                  </a:cubicBezTo>
                  <a:cubicBezTo>
                    <a:pt x="335" y="96"/>
                    <a:pt x="357" y="115"/>
                    <a:pt x="362" y="140"/>
                  </a:cubicBezTo>
                  <a:cubicBezTo>
                    <a:pt x="377" y="144"/>
                    <a:pt x="389" y="158"/>
                    <a:pt x="389" y="176"/>
                  </a:cubicBezTo>
                  <a:cubicBezTo>
                    <a:pt x="389" y="196"/>
                    <a:pt x="372" y="213"/>
                    <a:pt x="352" y="213"/>
                  </a:cubicBezTo>
                  <a:close/>
                  <a:moveTo>
                    <a:pt x="288" y="290"/>
                  </a:moveTo>
                  <a:cubicBezTo>
                    <a:pt x="308" y="394"/>
                    <a:pt x="308" y="394"/>
                    <a:pt x="308" y="394"/>
                  </a:cubicBezTo>
                  <a:cubicBezTo>
                    <a:pt x="162" y="394"/>
                    <a:pt x="162" y="394"/>
                    <a:pt x="162" y="394"/>
                  </a:cubicBezTo>
                  <a:cubicBezTo>
                    <a:pt x="181" y="290"/>
                    <a:pt x="181" y="290"/>
                    <a:pt x="181" y="290"/>
                  </a:cubicBezTo>
                  <a:cubicBezTo>
                    <a:pt x="181" y="289"/>
                    <a:pt x="181" y="288"/>
                    <a:pt x="181" y="288"/>
                  </a:cubicBezTo>
                  <a:cubicBezTo>
                    <a:pt x="181" y="232"/>
                    <a:pt x="181" y="232"/>
                    <a:pt x="181" y="232"/>
                  </a:cubicBezTo>
                  <a:cubicBezTo>
                    <a:pt x="192" y="229"/>
                    <a:pt x="213" y="224"/>
                    <a:pt x="234" y="224"/>
                  </a:cubicBezTo>
                  <a:cubicBezTo>
                    <a:pt x="255" y="224"/>
                    <a:pt x="277" y="229"/>
                    <a:pt x="288" y="232"/>
                  </a:cubicBezTo>
                  <a:cubicBezTo>
                    <a:pt x="288" y="288"/>
                    <a:pt x="288" y="288"/>
                    <a:pt x="288" y="288"/>
                  </a:cubicBezTo>
                  <a:cubicBezTo>
                    <a:pt x="288" y="288"/>
                    <a:pt x="288" y="289"/>
                    <a:pt x="288" y="29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5" name="Freeform 43">
              <a:extLst>
                <a:ext uri="{FF2B5EF4-FFF2-40B4-BE49-F238E27FC236}">
                  <a16:creationId xmlns:a16="http://schemas.microsoft.com/office/drawing/2014/main" id="{77477D02-2DE7-6845-873C-C9F80B81A70B}"/>
                </a:ext>
              </a:extLst>
            </p:cNvPr>
            <p:cNvSpPr>
              <a:spLocks noChangeAspect="1" noEditPoints="1"/>
            </p:cNvSpPr>
            <p:nvPr/>
          </p:nvSpPr>
          <p:spPr bwMode="auto">
            <a:xfrm>
              <a:off x="3248686" y="5941241"/>
              <a:ext cx="265176" cy="264398"/>
            </a:xfrm>
            <a:custGeom>
              <a:avLst/>
              <a:gdLst>
                <a:gd name="T0" fmla="*/ 171 w 512"/>
                <a:gd name="T1" fmla="*/ 214 h 512"/>
                <a:gd name="T2" fmla="*/ 341 w 512"/>
                <a:gd name="T3" fmla="*/ 214 h 512"/>
                <a:gd name="T4" fmla="*/ 341 w 512"/>
                <a:gd name="T5" fmla="*/ 288 h 512"/>
                <a:gd name="T6" fmla="*/ 171 w 512"/>
                <a:gd name="T7" fmla="*/ 288 h 512"/>
                <a:gd name="T8" fmla="*/ 171 w 512"/>
                <a:gd name="T9" fmla="*/ 214 h 512"/>
                <a:gd name="T10" fmla="*/ 171 w 512"/>
                <a:gd name="T11" fmla="*/ 395 h 512"/>
                <a:gd name="T12" fmla="*/ 341 w 512"/>
                <a:gd name="T13" fmla="*/ 395 h 512"/>
                <a:gd name="T14" fmla="*/ 341 w 512"/>
                <a:gd name="T15" fmla="*/ 310 h 512"/>
                <a:gd name="T16" fmla="*/ 171 w 512"/>
                <a:gd name="T17" fmla="*/ 310 h 512"/>
                <a:gd name="T18" fmla="*/ 171 w 512"/>
                <a:gd name="T19" fmla="*/ 395 h 512"/>
                <a:gd name="T20" fmla="*/ 171 w 512"/>
                <a:gd name="T21" fmla="*/ 192 h 512"/>
                <a:gd name="T22" fmla="*/ 341 w 512"/>
                <a:gd name="T23" fmla="*/ 192 h 512"/>
                <a:gd name="T24" fmla="*/ 341 w 512"/>
                <a:gd name="T25" fmla="*/ 118 h 512"/>
                <a:gd name="T26" fmla="*/ 171 w 512"/>
                <a:gd name="T27" fmla="*/ 118 h 512"/>
                <a:gd name="T28" fmla="*/ 171 w 512"/>
                <a:gd name="T29" fmla="*/ 19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63 w 512"/>
                <a:gd name="T41" fmla="*/ 192 h 512"/>
                <a:gd name="T42" fmla="*/ 363 w 512"/>
                <a:gd name="T43" fmla="*/ 118 h 512"/>
                <a:gd name="T44" fmla="*/ 373 w 512"/>
                <a:gd name="T45" fmla="*/ 107 h 512"/>
                <a:gd name="T46" fmla="*/ 363 w 512"/>
                <a:gd name="T47" fmla="*/ 96 h 512"/>
                <a:gd name="T48" fmla="*/ 149 w 512"/>
                <a:gd name="T49" fmla="*/ 96 h 512"/>
                <a:gd name="T50" fmla="*/ 139 w 512"/>
                <a:gd name="T51" fmla="*/ 107 h 512"/>
                <a:gd name="T52" fmla="*/ 149 w 512"/>
                <a:gd name="T53" fmla="*/ 118 h 512"/>
                <a:gd name="T54" fmla="*/ 149 w 512"/>
                <a:gd name="T55" fmla="*/ 192 h 512"/>
                <a:gd name="T56" fmla="*/ 139 w 512"/>
                <a:gd name="T57" fmla="*/ 203 h 512"/>
                <a:gd name="T58" fmla="*/ 149 w 512"/>
                <a:gd name="T59" fmla="*/ 214 h 512"/>
                <a:gd name="T60" fmla="*/ 149 w 512"/>
                <a:gd name="T61" fmla="*/ 288 h 512"/>
                <a:gd name="T62" fmla="*/ 139 w 512"/>
                <a:gd name="T63" fmla="*/ 299 h 512"/>
                <a:gd name="T64" fmla="*/ 149 w 512"/>
                <a:gd name="T65" fmla="*/ 310 h 512"/>
                <a:gd name="T66" fmla="*/ 149 w 512"/>
                <a:gd name="T67" fmla="*/ 395 h 512"/>
                <a:gd name="T68" fmla="*/ 139 w 512"/>
                <a:gd name="T69" fmla="*/ 406 h 512"/>
                <a:gd name="T70" fmla="*/ 149 w 512"/>
                <a:gd name="T71" fmla="*/ 416 h 512"/>
                <a:gd name="T72" fmla="*/ 363 w 512"/>
                <a:gd name="T73" fmla="*/ 416 h 512"/>
                <a:gd name="T74" fmla="*/ 373 w 512"/>
                <a:gd name="T75" fmla="*/ 406 h 512"/>
                <a:gd name="T76" fmla="*/ 363 w 512"/>
                <a:gd name="T77" fmla="*/ 395 h 512"/>
                <a:gd name="T78" fmla="*/ 363 w 512"/>
                <a:gd name="T79" fmla="*/ 310 h 512"/>
                <a:gd name="T80" fmla="*/ 373 w 512"/>
                <a:gd name="T81" fmla="*/ 299 h 512"/>
                <a:gd name="T82" fmla="*/ 363 w 512"/>
                <a:gd name="T83" fmla="*/ 288 h 512"/>
                <a:gd name="T84" fmla="*/ 363 w 512"/>
                <a:gd name="T85" fmla="*/ 214 h 512"/>
                <a:gd name="T86" fmla="*/ 373 w 512"/>
                <a:gd name="T87" fmla="*/ 203 h 512"/>
                <a:gd name="T88" fmla="*/ 363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71" y="214"/>
                  </a:moveTo>
                  <a:cubicBezTo>
                    <a:pt x="341" y="214"/>
                    <a:pt x="341" y="214"/>
                    <a:pt x="341" y="214"/>
                  </a:cubicBezTo>
                  <a:cubicBezTo>
                    <a:pt x="341" y="288"/>
                    <a:pt x="341" y="288"/>
                    <a:pt x="341" y="288"/>
                  </a:cubicBezTo>
                  <a:cubicBezTo>
                    <a:pt x="171" y="288"/>
                    <a:pt x="171" y="288"/>
                    <a:pt x="171" y="288"/>
                  </a:cubicBezTo>
                  <a:lnTo>
                    <a:pt x="171" y="214"/>
                  </a:lnTo>
                  <a:close/>
                  <a:moveTo>
                    <a:pt x="171" y="395"/>
                  </a:moveTo>
                  <a:cubicBezTo>
                    <a:pt x="341" y="395"/>
                    <a:pt x="341" y="395"/>
                    <a:pt x="341" y="395"/>
                  </a:cubicBezTo>
                  <a:cubicBezTo>
                    <a:pt x="341" y="310"/>
                    <a:pt x="341" y="310"/>
                    <a:pt x="341" y="310"/>
                  </a:cubicBezTo>
                  <a:cubicBezTo>
                    <a:pt x="171" y="310"/>
                    <a:pt x="171" y="310"/>
                    <a:pt x="171" y="310"/>
                  </a:cubicBezTo>
                  <a:lnTo>
                    <a:pt x="171" y="395"/>
                  </a:lnTo>
                  <a:close/>
                  <a:moveTo>
                    <a:pt x="171" y="192"/>
                  </a:moveTo>
                  <a:cubicBezTo>
                    <a:pt x="341" y="192"/>
                    <a:pt x="341" y="192"/>
                    <a:pt x="341" y="192"/>
                  </a:cubicBezTo>
                  <a:cubicBezTo>
                    <a:pt x="341" y="118"/>
                    <a:pt x="341" y="118"/>
                    <a:pt x="341" y="118"/>
                  </a:cubicBezTo>
                  <a:cubicBezTo>
                    <a:pt x="171" y="118"/>
                    <a:pt x="171" y="118"/>
                    <a:pt x="171" y="118"/>
                  </a:cubicBezTo>
                  <a:lnTo>
                    <a:pt x="171" y="19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63" y="192"/>
                  </a:moveTo>
                  <a:cubicBezTo>
                    <a:pt x="363" y="118"/>
                    <a:pt x="363" y="118"/>
                    <a:pt x="363" y="118"/>
                  </a:cubicBezTo>
                  <a:cubicBezTo>
                    <a:pt x="369" y="118"/>
                    <a:pt x="373" y="113"/>
                    <a:pt x="373" y="107"/>
                  </a:cubicBezTo>
                  <a:cubicBezTo>
                    <a:pt x="373" y="101"/>
                    <a:pt x="369" y="96"/>
                    <a:pt x="363" y="96"/>
                  </a:cubicBezTo>
                  <a:cubicBezTo>
                    <a:pt x="149" y="96"/>
                    <a:pt x="149" y="96"/>
                    <a:pt x="149" y="96"/>
                  </a:cubicBezTo>
                  <a:cubicBezTo>
                    <a:pt x="143" y="96"/>
                    <a:pt x="139" y="101"/>
                    <a:pt x="139" y="107"/>
                  </a:cubicBezTo>
                  <a:cubicBezTo>
                    <a:pt x="139" y="113"/>
                    <a:pt x="143" y="118"/>
                    <a:pt x="149" y="118"/>
                  </a:cubicBezTo>
                  <a:cubicBezTo>
                    <a:pt x="149" y="192"/>
                    <a:pt x="149" y="192"/>
                    <a:pt x="149" y="192"/>
                  </a:cubicBezTo>
                  <a:cubicBezTo>
                    <a:pt x="143" y="192"/>
                    <a:pt x="139" y="197"/>
                    <a:pt x="139" y="203"/>
                  </a:cubicBezTo>
                  <a:cubicBezTo>
                    <a:pt x="139" y="209"/>
                    <a:pt x="143" y="214"/>
                    <a:pt x="149" y="214"/>
                  </a:cubicBezTo>
                  <a:cubicBezTo>
                    <a:pt x="149" y="288"/>
                    <a:pt x="149" y="288"/>
                    <a:pt x="149" y="288"/>
                  </a:cubicBezTo>
                  <a:cubicBezTo>
                    <a:pt x="143" y="288"/>
                    <a:pt x="139" y="293"/>
                    <a:pt x="139" y="299"/>
                  </a:cubicBezTo>
                  <a:cubicBezTo>
                    <a:pt x="139" y="305"/>
                    <a:pt x="143" y="310"/>
                    <a:pt x="149" y="310"/>
                  </a:cubicBezTo>
                  <a:cubicBezTo>
                    <a:pt x="149" y="395"/>
                    <a:pt x="149" y="395"/>
                    <a:pt x="149" y="395"/>
                  </a:cubicBezTo>
                  <a:cubicBezTo>
                    <a:pt x="143" y="395"/>
                    <a:pt x="139" y="400"/>
                    <a:pt x="139" y="406"/>
                  </a:cubicBezTo>
                  <a:cubicBezTo>
                    <a:pt x="139" y="412"/>
                    <a:pt x="143" y="416"/>
                    <a:pt x="149" y="416"/>
                  </a:cubicBezTo>
                  <a:cubicBezTo>
                    <a:pt x="363" y="416"/>
                    <a:pt x="363" y="416"/>
                    <a:pt x="363" y="416"/>
                  </a:cubicBezTo>
                  <a:cubicBezTo>
                    <a:pt x="369" y="416"/>
                    <a:pt x="373" y="412"/>
                    <a:pt x="373" y="406"/>
                  </a:cubicBezTo>
                  <a:cubicBezTo>
                    <a:pt x="373" y="400"/>
                    <a:pt x="369" y="395"/>
                    <a:pt x="363" y="395"/>
                  </a:cubicBezTo>
                  <a:cubicBezTo>
                    <a:pt x="363" y="310"/>
                    <a:pt x="363" y="310"/>
                    <a:pt x="363" y="310"/>
                  </a:cubicBezTo>
                  <a:cubicBezTo>
                    <a:pt x="369" y="310"/>
                    <a:pt x="373" y="305"/>
                    <a:pt x="373" y="299"/>
                  </a:cubicBezTo>
                  <a:cubicBezTo>
                    <a:pt x="373" y="293"/>
                    <a:pt x="369" y="288"/>
                    <a:pt x="363" y="288"/>
                  </a:cubicBezTo>
                  <a:cubicBezTo>
                    <a:pt x="363" y="214"/>
                    <a:pt x="363" y="214"/>
                    <a:pt x="363" y="214"/>
                  </a:cubicBezTo>
                  <a:cubicBezTo>
                    <a:pt x="369" y="214"/>
                    <a:pt x="373" y="209"/>
                    <a:pt x="373" y="203"/>
                  </a:cubicBezTo>
                  <a:cubicBezTo>
                    <a:pt x="373" y="197"/>
                    <a:pt x="369" y="192"/>
                    <a:pt x="363" y="19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6" name="Freeform 26">
              <a:extLst>
                <a:ext uri="{FF2B5EF4-FFF2-40B4-BE49-F238E27FC236}">
                  <a16:creationId xmlns:a16="http://schemas.microsoft.com/office/drawing/2014/main" id="{4F9B9C03-100D-734B-AACC-3A591137EF39}"/>
                </a:ext>
              </a:extLst>
            </p:cNvPr>
            <p:cNvSpPr>
              <a:spLocks noChangeAspect="1" noEditPoints="1"/>
            </p:cNvSpPr>
            <p:nvPr/>
          </p:nvSpPr>
          <p:spPr bwMode="auto">
            <a:xfrm>
              <a:off x="6303986" y="5941241"/>
              <a:ext cx="265176" cy="265176"/>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7" name="Freeform 562">
              <a:extLst>
                <a:ext uri="{FF2B5EF4-FFF2-40B4-BE49-F238E27FC236}">
                  <a16:creationId xmlns:a16="http://schemas.microsoft.com/office/drawing/2014/main" id="{1FD5AA53-901D-244E-828C-5967ADD3AA32}"/>
                </a:ext>
              </a:extLst>
            </p:cNvPr>
            <p:cNvSpPr>
              <a:spLocks noChangeAspect="1" noEditPoints="1"/>
            </p:cNvSpPr>
            <p:nvPr/>
          </p:nvSpPr>
          <p:spPr bwMode="auto">
            <a:xfrm>
              <a:off x="6915046" y="5941241"/>
              <a:ext cx="265176" cy="265176"/>
            </a:xfrm>
            <a:custGeom>
              <a:avLst/>
              <a:gdLst>
                <a:gd name="T0" fmla="*/ 362 w 512"/>
                <a:gd name="T1" fmla="*/ 245 h 512"/>
                <a:gd name="T2" fmla="*/ 222 w 512"/>
                <a:gd name="T3" fmla="*/ 245 h 512"/>
                <a:gd name="T4" fmla="*/ 245 w 512"/>
                <a:gd name="T5" fmla="*/ 298 h 512"/>
                <a:gd name="T6" fmla="*/ 238 w 512"/>
                <a:gd name="T7" fmla="*/ 330 h 512"/>
                <a:gd name="T8" fmla="*/ 331 w 512"/>
                <a:gd name="T9" fmla="*/ 330 h 512"/>
                <a:gd name="T10" fmla="*/ 362 w 512"/>
                <a:gd name="T11" fmla="*/ 299 h 512"/>
                <a:gd name="T12" fmla="*/ 362 w 512"/>
                <a:gd name="T13" fmla="*/ 245 h 512"/>
                <a:gd name="T14" fmla="*/ 330 w 512"/>
                <a:gd name="T15" fmla="*/ 288 h 512"/>
                <a:gd name="T16" fmla="*/ 309 w 512"/>
                <a:gd name="T17" fmla="*/ 288 h 512"/>
                <a:gd name="T18" fmla="*/ 298 w 512"/>
                <a:gd name="T19" fmla="*/ 277 h 512"/>
                <a:gd name="T20" fmla="*/ 309 w 512"/>
                <a:gd name="T21" fmla="*/ 266 h 512"/>
                <a:gd name="T22" fmla="*/ 330 w 512"/>
                <a:gd name="T23" fmla="*/ 266 h 512"/>
                <a:gd name="T24" fmla="*/ 341 w 512"/>
                <a:gd name="T25" fmla="*/ 277 h 512"/>
                <a:gd name="T26" fmla="*/ 330 w 512"/>
                <a:gd name="T27" fmla="*/ 288 h 512"/>
                <a:gd name="T28" fmla="*/ 224 w 512"/>
                <a:gd name="T29" fmla="*/ 298 h 512"/>
                <a:gd name="T30" fmla="*/ 170 w 512"/>
                <a:gd name="T31" fmla="*/ 352 h 512"/>
                <a:gd name="T32" fmla="*/ 117 w 512"/>
                <a:gd name="T33" fmla="*/ 298 h 512"/>
                <a:gd name="T34" fmla="*/ 170 w 512"/>
                <a:gd name="T35" fmla="*/ 245 h 512"/>
                <a:gd name="T36" fmla="*/ 224 w 512"/>
                <a:gd name="T37" fmla="*/ 298 h 512"/>
                <a:gd name="T38" fmla="*/ 170 w 512"/>
                <a:gd name="T39" fmla="*/ 224 h 512"/>
                <a:gd name="T40" fmla="*/ 161 w 512"/>
                <a:gd name="T41" fmla="*/ 224 h 512"/>
                <a:gd name="T42" fmla="*/ 169 w 512"/>
                <a:gd name="T43" fmla="*/ 160 h 512"/>
                <a:gd name="T44" fmla="*/ 224 w 512"/>
                <a:gd name="T45" fmla="*/ 160 h 512"/>
                <a:gd name="T46" fmla="*/ 224 w 512"/>
                <a:gd name="T47" fmla="*/ 163 h 512"/>
                <a:gd name="T48" fmla="*/ 242 w 512"/>
                <a:gd name="T49" fmla="*/ 224 h 512"/>
                <a:gd name="T50" fmla="*/ 181 w 512"/>
                <a:gd name="T51" fmla="*/ 224 h 512"/>
                <a:gd name="T52" fmla="*/ 179 w 512"/>
                <a:gd name="T53" fmla="*/ 224 h 512"/>
                <a:gd name="T54" fmla="*/ 170 w 512"/>
                <a:gd name="T55" fmla="*/ 224 h 512"/>
                <a:gd name="T56" fmla="*/ 256 w 512"/>
                <a:gd name="T57" fmla="*/ 0 h 512"/>
                <a:gd name="T58" fmla="*/ 0 w 512"/>
                <a:gd name="T59" fmla="*/ 256 h 512"/>
                <a:gd name="T60" fmla="*/ 256 w 512"/>
                <a:gd name="T61" fmla="*/ 512 h 512"/>
                <a:gd name="T62" fmla="*/ 512 w 512"/>
                <a:gd name="T63" fmla="*/ 256 h 512"/>
                <a:gd name="T64" fmla="*/ 256 w 512"/>
                <a:gd name="T65" fmla="*/ 0 h 512"/>
                <a:gd name="T66" fmla="*/ 368 w 512"/>
                <a:gd name="T67" fmla="*/ 373 h 512"/>
                <a:gd name="T68" fmla="*/ 334 w 512"/>
                <a:gd name="T69" fmla="*/ 352 h 512"/>
                <a:gd name="T70" fmla="*/ 224 w 512"/>
                <a:gd name="T71" fmla="*/ 352 h 512"/>
                <a:gd name="T72" fmla="*/ 223 w 512"/>
                <a:gd name="T73" fmla="*/ 351 h 512"/>
                <a:gd name="T74" fmla="*/ 170 w 512"/>
                <a:gd name="T75" fmla="*/ 373 h 512"/>
                <a:gd name="T76" fmla="*/ 96 w 512"/>
                <a:gd name="T77" fmla="*/ 298 h 512"/>
                <a:gd name="T78" fmla="*/ 139 w 512"/>
                <a:gd name="T79" fmla="*/ 231 h 512"/>
                <a:gd name="T80" fmla="*/ 149 w 512"/>
                <a:gd name="T81" fmla="*/ 148 h 512"/>
                <a:gd name="T82" fmla="*/ 160 w 512"/>
                <a:gd name="T83" fmla="*/ 138 h 512"/>
                <a:gd name="T84" fmla="*/ 224 w 512"/>
                <a:gd name="T85" fmla="*/ 138 h 512"/>
                <a:gd name="T86" fmla="*/ 245 w 512"/>
                <a:gd name="T87" fmla="*/ 158 h 512"/>
                <a:gd name="T88" fmla="*/ 264 w 512"/>
                <a:gd name="T89" fmla="*/ 224 h 512"/>
                <a:gd name="T90" fmla="*/ 320 w 512"/>
                <a:gd name="T91" fmla="*/ 224 h 512"/>
                <a:gd name="T92" fmla="*/ 320 w 512"/>
                <a:gd name="T93" fmla="*/ 170 h 512"/>
                <a:gd name="T94" fmla="*/ 309 w 512"/>
                <a:gd name="T95" fmla="*/ 160 h 512"/>
                <a:gd name="T96" fmla="*/ 320 w 512"/>
                <a:gd name="T97" fmla="*/ 149 h 512"/>
                <a:gd name="T98" fmla="*/ 341 w 512"/>
                <a:gd name="T99" fmla="*/ 170 h 512"/>
                <a:gd name="T100" fmla="*/ 341 w 512"/>
                <a:gd name="T101" fmla="*/ 224 h 512"/>
                <a:gd name="T102" fmla="*/ 362 w 512"/>
                <a:gd name="T103" fmla="*/ 224 h 512"/>
                <a:gd name="T104" fmla="*/ 384 w 512"/>
                <a:gd name="T105" fmla="*/ 245 h 512"/>
                <a:gd name="T106" fmla="*/ 384 w 512"/>
                <a:gd name="T107" fmla="*/ 302 h 512"/>
                <a:gd name="T108" fmla="*/ 405 w 512"/>
                <a:gd name="T109" fmla="*/ 336 h 512"/>
                <a:gd name="T110" fmla="*/ 368 w 512"/>
                <a:gd name="T111" fmla="*/ 373 h 512"/>
                <a:gd name="T112" fmla="*/ 384 w 512"/>
                <a:gd name="T113" fmla="*/ 336 h 512"/>
                <a:gd name="T114" fmla="*/ 368 w 512"/>
                <a:gd name="T115" fmla="*/ 352 h 512"/>
                <a:gd name="T116" fmla="*/ 352 w 512"/>
                <a:gd name="T117" fmla="*/ 336 h 512"/>
                <a:gd name="T118" fmla="*/ 368 w 512"/>
                <a:gd name="T119" fmla="*/ 320 h 512"/>
                <a:gd name="T120" fmla="*/ 384 w 512"/>
                <a:gd name="T121" fmla="*/ 3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62" y="245"/>
                  </a:moveTo>
                  <a:cubicBezTo>
                    <a:pt x="222" y="245"/>
                    <a:pt x="222" y="245"/>
                    <a:pt x="222" y="245"/>
                  </a:cubicBezTo>
                  <a:cubicBezTo>
                    <a:pt x="236" y="259"/>
                    <a:pt x="245" y="277"/>
                    <a:pt x="245" y="298"/>
                  </a:cubicBezTo>
                  <a:cubicBezTo>
                    <a:pt x="245" y="310"/>
                    <a:pt x="242" y="321"/>
                    <a:pt x="238" y="330"/>
                  </a:cubicBezTo>
                  <a:cubicBezTo>
                    <a:pt x="331" y="330"/>
                    <a:pt x="331" y="330"/>
                    <a:pt x="331" y="330"/>
                  </a:cubicBezTo>
                  <a:cubicBezTo>
                    <a:pt x="333" y="314"/>
                    <a:pt x="346" y="301"/>
                    <a:pt x="362" y="299"/>
                  </a:cubicBezTo>
                  <a:lnTo>
                    <a:pt x="362" y="245"/>
                  </a:lnTo>
                  <a:close/>
                  <a:moveTo>
                    <a:pt x="330" y="288"/>
                  </a:moveTo>
                  <a:cubicBezTo>
                    <a:pt x="309" y="288"/>
                    <a:pt x="309" y="288"/>
                    <a:pt x="309" y="288"/>
                  </a:cubicBezTo>
                  <a:cubicBezTo>
                    <a:pt x="303" y="288"/>
                    <a:pt x="298" y="283"/>
                    <a:pt x="298" y="277"/>
                  </a:cubicBezTo>
                  <a:cubicBezTo>
                    <a:pt x="298" y="271"/>
                    <a:pt x="303" y="266"/>
                    <a:pt x="309" y="266"/>
                  </a:cubicBezTo>
                  <a:cubicBezTo>
                    <a:pt x="330" y="266"/>
                    <a:pt x="330" y="266"/>
                    <a:pt x="330" y="266"/>
                  </a:cubicBezTo>
                  <a:cubicBezTo>
                    <a:pt x="336" y="266"/>
                    <a:pt x="341" y="271"/>
                    <a:pt x="341" y="277"/>
                  </a:cubicBezTo>
                  <a:cubicBezTo>
                    <a:pt x="341" y="283"/>
                    <a:pt x="336" y="288"/>
                    <a:pt x="330" y="288"/>
                  </a:cubicBezTo>
                  <a:close/>
                  <a:moveTo>
                    <a:pt x="224" y="298"/>
                  </a:moveTo>
                  <a:cubicBezTo>
                    <a:pt x="224" y="328"/>
                    <a:pt x="200" y="352"/>
                    <a:pt x="170" y="352"/>
                  </a:cubicBezTo>
                  <a:cubicBezTo>
                    <a:pt x="141" y="352"/>
                    <a:pt x="117" y="328"/>
                    <a:pt x="117" y="298"/>
                  </a:cubicBezTo>
                  <a:cubicBezTo>
                    <a:pt x="117" y="269"/>
                    <a:pt x="141" y="245"/>
                    <a:pt x="170" y="245"/>
                  </a:cubicBezTo>
                  <a:cubicBezTo>
                    <a:pt x="200" y="245"/>
                    <a:pt x="224" y="269"/>
                    <a:pt x="224" y="298"/>
                  </a:cubicBezTo>
                  <a:close/>
                  <a:moveTo>
                    <a:pt x="170" y="224"/>
                  </a:moveTo>
                  <a:cubicBezTo>
                    <a:pt x="167" y="224"/>
                    <a:pt x="164" y="224"/>
                    <a:pt x="161" y="224"/>
                  </a:cubicBezTo>
                  <a:cubicBezTo>
                    <a:pt x="169" y="160"/>
                    <a:pt x="169" y="160"/>
                    <a:pt x="169" y="160"/>
                  </a:cubicBezTo>
                  <a:cubicBezTo>
                    <a:pt x="224" y="160"/>
                    <a:pt x="224" y="160"/>
                    <a:pt x="224" y="160"/>
                  </a:cubicBezTo>
                  <a:cubicBezTo>
                    <a:pt x="224" y="161"/>
                    <a:pt x="224" y="162"/>
                    <a:pt x="224" y="163"/>
                  </a:cubicBezTo>
                  <a:cubicBezTo>
                    <a:pt x="242" y="224"/>
                    <a:pt x="242" y="224"/>
                    <a:pt x="242" y="224"/>
                  </a:cubicBezTo>
                  <a:cubicBezTo>
                    <a:pt x="181" y="224"/>
                    <a:pt x="181" y="224"/>
                    <a:pt x="181" y="224"/>
                  </a:cubicBezTo>
                  <a:cubicBezTo>
                    <a:pt x="180" y="224"/>
                    <a:pt x="179" y="224"/>
                    <a:pt x="179" y="224"/>
                  </a:cubicBezTo>
                  <a:cubicBezTo>
                    <a:pt x="176" y="224"/>
                    <a:pt x="173" y="224"/>
                    <a:pt x="170" y="22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8" y="373"/>
                  </a:moveTo>
                  <a:cubicBezTo>
                    <a:pt x="353" y="373"/>
                    <a:pt x="340" y="364"/>
                    <a:pt x="334" y="352"/>
                  </a:cubicBezTo>
                  <a:cubicBezTo>
                    <a:pt x="224" y="352"/>
                    <a:pt x="224" y="352"/>
                    <a:pt x="224" y="352"/>
                  </a:cubicBezTo>
                  <a:cubicBezTo>
                    <a:pt x="223" y="352"/>
                    <a:pt x="223" y="352"/>
                    <a:pt x="223" y="351"/>
                  </a:cubicBezTo>
                  <a:cubicBezTo>
                    <a:pt x="209" y="365"/>
                    <a:pt x="191" y="373"/>
                    <a:pt x="170" y="373"/>
                  </a:cubicBezTo>
                  <a:cubicBezTo>
                    <a:pt x="129" y="373"/>
                    <a:pt x="96" y="340"/>
                    <a:pt x="96" y="298"/>
                  </a:cubicBezTo>
                  <a:cubicBezTo>
                    <a:pt x="96" y="268"/>
                    <a:pt x="113" y="243"/>
                    <a:pt x="139" y="231"/>
                  </a:cubicBezTo>
                  <a:cubicBezTo>
                    <a:pt x="149" y="148"/>
                    <a:pt x="149" y="148"/>
                    <a:pt x="149" y="148"/>
                  </a:cubicBezTo>
                  <a:cubicBezTo>
                    <a:pt x="150" y="142"/>
                    <a:pt x="154" y="138"/>
                    <a:pt x="160" y="138"/>
                  </a:cubicBezTo>
                  <a:cubicBezTo>
                    <a:pt x="224" y="138"/>
                    <a:pt x="224" y="138"/>
                    <a:pt x="224" y="138"/>
                  </a:cubicBezTo>
                  <a:cubicBezTo>
                    <a:pt x="235" y="138"/>
                    <a:pt x="244" y="147"/>
                    <a:pt x="245" y="158"/>
                  </a:cubicBezTo>
                  <a:cubicBezTo>
                    <a:pt x="264" y="224"/>
                    <a:pt x="264" y="224"/>
                    <a:pt x="264" y="224"/>
                  </a:cubicBezTo>
                  <a:cubicBezTo>
                    <a:pt x="320" y="224"/>
                    <a:pt x="320" y="224"/>
                    <a:pt x="320" y="224"/>
                  </a:cubicBezTo>
                  <a:cubicBezTo>
                    <a:pt x="320" y="170"/>
                    <a:pt x="320" y="170"/>
                    <a:pt x="320" y="170"/>
                  </a:cubicBezTo>
                  <a:cubicBezTo>
                    <a:pt x="314" y="170"/>
                    <a:pt x="309" y="166"/>
                    <a:pt x="309" y="160"/>
                  </a:cubicBezTo>
                  <a:cubicBezTo>
                    <a:pt x="309" y="154"/>
                    <a:pt x="314" y="149"/>
                    <a:pt x="320" y="149"/>
                  </a:cubicBezTo>
                  <a:cubicBezTo>
                    <a:pt x="331" y="149"/>
                    <a:pt x="341" y="159"/>
                    <a:pt x="341" y="170"/>
                  </a:cubicBezTo>
                  <a:cubicBezTo>
                    <a:pt x="341" y="224"/>
                    <a:pt x="341" y="224"/>
                    <a:pt x="341" y="224"/>
                  </a:cubicBezTo>
                  <a:cubicBezTo>
                    <a:pt x="362" y="224"/>
                    <a:pt x="362" y="224"/>
                    <a:pt x="362" y="224"/>
                  </a:cubicBezTo>
                  <a:cubicBezTo>
                    <a:pt x="374" y="224"/>
                    <a:pt x="384" y="233"/>
                    <a:pt x="384" y="245"/>
                  </a:cubicBezTo>
                  <a:cubicBezTo>
                    <a:pt x="384" y="302"/>
                    <a:pt x="384" y="302"/>
                    <a:pt x="384" y="302"/>
                  </a:cubicBezTo>
                  <a:cubicBezTo>
                    <a:pt x="396" y="308"/>
                    <a:pt x="405" y="321"/>
                    <a:pt x="405" y="336"/>
                  </a:cubicBezTo>
                  <a:cubicBezTo>
                    <a:pt x="405" y="356"/>
                    <a:pt x="388" y="373"/>
                    <a:pt x="368" y="373"/>
                  </a:cubicBezTo>
                  <a:close/>
                  <a:moveTo>
                    <a:pt x="384" y="336"/>
                  </a:moveTo>
                  <a:cubicBezTo>
                    <a:pt x="384" y="344"/>
                    <a:pt x="376" y="352"/>
                    <a:pt x="368" y="352"/>
                  </a:cubicBezTo>
                  <a:cubicBezTo>
                    <a:pt x="359" y="352"/>
                    <a:pt x="352" y="344"/>
                    <a:pt x="352" y="336"/>
                  </a:cubicBezTo>
                  <a:cubicBezTo>
                    <a:pt x="352" y="327"/>
                    <a:pt x="359" y="320"/>
                    <a:pt x="368" y="320"/>
                  </a:cubicBezTo>
                  <a:cubicBezTo>
                    <a:pt x="376" y="320"/>
                    <a:pt x="384" y="327"/>
                    <a:pt x="384" y="33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8" name="Freeform 127">
              <a:extLst>
                <a:ext uri="{FF2B5EF4-FFF2-40B4-BE49-F238E27FC236}">
                  <a16:creationId xmlns:a16="http://schemas.microsoft.com/office/drawing/2014/main" id="{6CF557B1-8905-834F-8085-AC700650CAD7}"/>
                </a:ext>
              </a:extLst>
            </p:cNvPr>
            <p:cNvSpPr>
              <a:spLocks noChangeAspect="1" noEditPoints="1"/>
            </p:cNvSpPr>
            <p:nvPr/>
          </p:nvSpPr>
          <p:spPr bwMode="auto">
            <a:xfrm>
              <a:off x="7526106" y="5941241"/>
              <a:ext cx="265176" cy="265176"/>
            </a:xfrm>
            <a:custGeom>
              <a:avLst/>
              <a:gdLst>
                <a:gd name="T0" fmla="*/ 352 w 512"/>
                <a:gd name="T1" fmla="*/ 320 h 512"/>
                <a:gd name="T2" fmla="*/ 117 w 512"/>
                <a:gd name="T3" fmla="*/ 192 h 512"/>
                <a:gd name="T4" fmla="*/ 309 w 512"/>
                <a:gd name="T5" fmla="*/ 224 h 512"/>
                <a:gd name="T6" fmla="*/ 330 w 512"/>
                <a:gd name="T7" fmla="*/ 224 h 512"/>
                <a:gd name="T8" fmla="*/ 320 w 512"/>
                <a:gd name="T9" fmla="*/ 298 h 512"/>
                <a:gd name="T10" fmla="*/ 309 w 512"/>
                <a:gd name="T11" fmla="*/ 224 h 512"/>
                <a:gd name="T12" fmla="*/ 277 w 512"/>
                <a:gd name="T13" fmla="*/ 213 h 512"/>
                <a:gd name="T14" fmla="*/ 288 w 512"/>
                <a:gd name="T15" fmla="*/ 288 h 512"/>
                <a:gd name="T16" fmla="*/ 266 w 512"/>
                <a:gd name="T17" fmla="*/ 288 h 512"/>
                <a:gd name="T18" fmla="*/ 224 w 512"/>
                <a:gd name="T19" fmla="*/ 224 h 512"/>
                <a:gd name="T20" fmla="*/ 245 w 512"/>
                <a:gd name="T21" fmla="*/ 224 h 512"/>
                <a:gd name="T22" fmla="*/ 234 w 512"/>
                <a:gd name="T23" fmla="*/ 298 h 512"/>
                <a:gd name="T24" fmla="*/ 224 w 512"/>
                <a:gd name="T25" fmla="*/ 224 h 512"/>
                <a:gd name="T26" fmla="*/ 192 w 512"/>
                <a:gd name="T27" fmla="*/ 213 h 512"/>
                <a:gd name="T28" fmla="*/ 202 w 512"/>
                <a:gd name="T29" fmla="*/ 288 h 512"/>
                <a:gd name="T30" fmla="*/ 181 w 512"/>
                <a:gd name="T31" fmla="*/ 288 h 512"/>
                <a:gd name="T32" fmla="*/ 138 w 512"/>
                <a:gd name="T33" fmla="*/ 224 h 512"/>
                <a:gd name="T34" fmla="*/ 160 w 512"/>
                <a:gd name="T35" fmla="*/ 224 h 512"/>
                <a:gd name="T36" fmla="*/ 149 w 512"/>
                <a:gd name="T37" fmla="*/ 298 h 512"/>
                <a:gd name="T38" fmla="*/ 138 w 512"/>
                <a:gd name="T39" fmla="*/ 224 h 512"/>
                <a:gd name="T40" fmla="*/ 394 w 512"/>
                <a:gd name="T41" fmla="*/ 234 h 512"/>
                <a:gd name="T42" fmla="*/ 373 w 512"/>
                <a:gd name="T43" fmla="*/ 277 h 512"/>
                <a:gd name="T44" fmla="*/ 256 w 512"/>
                <a:gd name="T45" fmla="*/ 0 h 512"/>
                <a:gd name="T46" fmla="*/ 256 w 512"/>
                <a:gd name="T47" fmla="*/ 512 h 512"/>
                <a:gd name="T48" fmla="*/ 256 w 512"/>
                <a:gd name="T49" fmla="*/ 0 h 512"/>
                <a:gd name="T50" fmla="*/ 405 w 512"/>
                <a:gd name="T51" fmla="*/ 298 h 512"/>
                <a:gd name="T52" fmla="*/ 373 w 512"/>
                <a:gd name="T53" fmla="*/ 330 h 512"/>
                <a:gd name="T54" fmla="*/ 106 w 512"/>
                <a:gd name="T55" fmla="*/ 341 h 512"/>
                <a:gd name="T56" fmla="*/ 96 w 512"/>
                <a:gd name="T57" fmla="*/ 181 h 512"/>
                <a:gd name="T58" fmla="*/ 362 w 512"/>
                <a:gd name="T59" fmla="*/ 170 h 512"/>
                <a:gd name="T60" fmla="*/ 373 w 512"/>
                <a:gd name="T61" fmla="*/ 213 h 512"/>
                <a:gd name="T62" fmla="*/ 416 w 512"/>
                <a:gd name="T6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309" y="224"/>
                  </a:moveTo>
                  <a:cubicBezTo>
                    <a:pt x="309" y="218"/>
                    <a:pt x="314" y="213"/>
                    <a:pt x="320" y="213"/>
                  </a:cubicBezTo>
                  <a:cubicBezTo>
                    <a:pt x="326" y="213"/>
                    <a:pt x="330" y="218"/>
                    <a:pt x="330" y="224"/>
                  </a:cubicBezTo>
                  <a:cubicBezTo>
                    <a:pt x="330" y="288"/>
                    <a:pt x="330" y="288"/>
                    <a:pt x="330" y="288"/>
                  </a:cubicBezTo>
                  <a:cubicBezTo>
                    <a:pt x="330" y="294"/>
                    <a:pt x="326" y="298"/>
                    <a:pt x="320" y="298"/>
                  </a:cubicBezTo>
                  <a:cubicBezTo>
                    <a:pt x="314" y="298"/>
                    <a:pt x="309" y="294"/>
                    <a:pt x="309" y="288"/>
                  </a:cubicBezTo>
                  <a:lnTo>
                    <a:pt x="309" y="224"/>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9" name="Freeform 444">
              <a:extLst>
                <a:ext uri="{FF2B5EF4-FFF2-40B4-BE49-F238E27FC236}">
                  <a16:creationId xmlns:a16="http://schemas.microsoft.com/office/drawing/2014/main" id="{C7581965-713D-A041-A229-58FE5472AF57}"/>
                </a:ext>
              </a:extLst>
            </p:cNvPr>
            <p:cNvSpPr>
              <a:spLocks noChangeAspect="1" noEditPoints="1"/>
            </p:cNvSpPr>
            <p:nvPr/>
          </p:nvSpPr>
          <p:spPr bwMode="auto">
            <a:xfrm>
              <a:off x="8137160" y="5941241"/>
              <a:ext cx="265176" cy="265176"/>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56 w 512"/>
                <a:gd name="T11" fmla="*/ 245 h 512"/>
                <a:gd name="T12" fmla="*/ 277 w 512"/>
                <a:gd name="T13" fmla="*/ 245 h 512"/>
                <a:gd name="T14" fmla="*/ 277 w 512"/>
                <a:gd name="T15" fmla="*/ 224 h 512"/>
                <a:gd name="T16" fmla="*/ 288 w 512"/>
                <a:gd name="T17" fmla="*/ 213 h 512"/>
                <a:gd name="T18" fmla="*/ 298 w 512"/>
                <a:gd name="T19" fmla="*/ 224 h 512"/>
                <a:gd name="T20" fmla="*/ 298 w 512"/>
                <a:gd name="T21" fmla="*/ 245 h 512"/>
                <a:gd name="T22" fmla="*/ 320 w 512"/>
                <a:gd name="T23" fmla="*/ 245 h 512"/>
                <a:gd name="T24" fmla="*/ 330 w 512"/>
                <a:gd name="T25" fmla="*/ 256 h 512"/>
                <a:gd name="T26" fmla="*/ 320 w 512"/>
                <a:gd name="T27" fmla="*/ 266 h 512"/>
                <a:gd name="T28" fmla="*/ 298 w 512"/>
                <a:gd name="T29" fmla="*/ 266 h 512"/>
                <a:gd name="T30" fmla="*/ 298 w 512"/>
                <a:gd name="T31" fmla="*/ 288 h 512"/>
                <a:gd name="T32" fmla="*/ 288 w 512"/>
                <a:gd name="T33" fmla="*/ 298 h 512"/>
                <a:gd name="T34" fmla="*/ 277 w 512"/>
                <a:gd name="T35" fmla="*/ 288 h 512"/>
                <a:gd name="T36" fmla="*/ 277 w 512"/>
                <a:gd name="T37" fmla="*/ 266 h 512"/>
                <a:gd name="T38" fmla="*/ 256 w 512"/>
                <a:gd name="T39" fmla="*/ 266 h 512"/>
                <a:gd name="T40" fmla="*/ 245 w 512"/>
                <a:gd name="T41" fmla="*/ 256 h 512"/>
                <a:gd name="T42" fmla="*/ 256 w 512"/>
                <a:gd name="T43" fmla="*/ 245 h 512"/>
                <a:gd name="T44" fmla="*/ 149 w 512"/>
                <a:gd name="T45" fmla="*/ 245 h 512"/>
                <a:gd name="T46" fmla="*/ 213 w 512"/>
                <a:gd name="T47" fmla="*/ 245 h 512"/>
                <a:gd name="T48" fmla="*/ 224 w 512"/>
                <a:gd name="T49" fmla="*/ 256 h 512"/>
                <a:gd name="T50" fmla="*/ 213 w 512"/>
                <a:gd name="T51" fmla="*/ 266 h 512"/>
                <a:gd name="T52" fmla="*/ 149 w 512"/>
                <a:gd name="T53" fmla="*/ 266 h 512"/>
                <a:gd name="T54" fmla="*/ 138 w 512"/>
                <a:gd name="T55" fmla="*/ 256 h 512"/>
                <a:gd name="T56" fmla="*/ 149 w 512"/>
                <a:gd name="T57" fmla="*/ 245 h 512"/>
                <a:gd name="T58" fmla="*/ 373 w 512"/>
                <a:gd name="T59" fmla="*/ 234 h 512"/>
                <a:gd name="T60" fmla="*/ 394 w 512"/>
                <a:gd name="T61" fmla="*/ 234 h 512"/>
                <a:gd name="T62" fmla="*/ 394 w 512"/>
                <a:gd name="T63" fmla="*/ 277 h 512"/>
                <a:gd name="T64" fmla="*/ 373 w 512"/>
                <a:gd name="T65" fmla="*/ 277 h 512"/>
                <a:gd name="T66" fmla="*/ 373 w 512"/>
                <a:gd name="T67" fmla="*/ 234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416 w 512"/>
                <a:gd name="T79" fmla="*/ 288 h 512"/>
                <a:gd name="T80" fmla="*/ 405 w 512"/>
                <a:gd name="T81" fmla="*/ 298 h 512"/>
                <a:gd name="T82" fmla="*/ 373 w 512"/>
                <a:gd name="T83" fmla="*/ 298 h 512"/>
                <a:gd name="T84" fmla="*/ 373 w 512"/>
                <a:gd name="T85" fmla="*/ 330 h 512"/>
                <a:gd name="T86" fmla="*/ 362 w 512"/>
                <a:gd name="T87" fmla="*/ 341 h 512"/>
                <a:gd name="T88" fmla="*/ 106 w 512"/>
                <a:gd name="T89" fmla="*/ 341 h 512"/>
                <a:gd name="T90" fmla="*/ 96 w 512"/>
                <a:gd name="T91" fmla="*/ 330 h 512"/>
                <a:gd name="T92" fmla="*/ 96 w 512"/>
                <a:gd name="T93" fmla="*/ 181 h 512"/>
                <a:gd name="T94" fmla="*/ 106 w 512"/>
                <a:gd name="T95" fmla="*/ 170 h 512"/>
                <a:gd name="T96" fmla="*/ 362 w 512"/>
                <a:gd name="T97" fmla="*/ 170 h 512"/>
                <a:gd name="T98" fmla="*/ 373 w 512"/>
                <a:gd name="T99" fmla="*/ 181 h 512"/>
                <a:gd name="T100" fmla="*/ 373 w 512"/>
                <a:gd name="T101" fmla="*/ 213 h 512"/>
                <a:gd name="T102" fmla="*/ 405 w 512"/>
                <a:gd name="T103" fmla="*/ 213 h 512"/>
                <a:gd name="T104" fmla="*/ 416 w 512"/>
                <a:gd name="T105" fmla="*/ 224 h 512"/>
                <a:gd name="T106" fmla="*/ 416 w 512"/>
                <a:gd name="T107"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56" y="245"/>
                  </a:moveTo>
                  <a:cubicBezTo>
                    <a:pt x="277" y="245"/>
                    <a:pt x="277" y="245"/>
                    <a:pt x="277" y="245"/>
                  </a:cubicBezTo>
                  <a:cubicBezTo>
                    <a:pt x="277" y="224"/>
                    <a:pt x="277" y="224"/>
                    <a:pt x="277" y="224"/>
                  </a:cubicBezTo>
                  <a:cubicBezTo>
                    <a:pt x="277" y="218"/>
                    <a:pt x="282" y="213"/>
                    <a:pt x="288" y="213"/>
                  </a:cubicBezTo>
                  <a:cubicBezTo>
                    <a:pt x="294" y="213"/>
                    <a:pt x="298" y="218"/>
                    <a:pt x="298" y="224"/>
                  </a:cubicBezTo>
                  <a:cubicBezTo>
                    <a:pt x="298" y="245"/>
                    <a:pt x="298" y="245"/>
                    <a:pt x="298" y="245"/>
                  </a:cubicBezTo>
                  <a:cubicBezTo>
                    <a:pt x="320" y="245"/>
                    <a:pt x="320" y="245"/>
                    <a:pt x="320" y="245"/>
                  </a:cubicBezTo>
                  <a:cubicBezTo>
                    <a:pt x="326" y="245"/>
                    <a:pt x="330" y="250"/>
                    <a:pt x="330" y="256"/>
                  </a:cubicBezTo>
                  <a:cubicBezTo>
                    <a:pt x="330" y="262"/>
                    <a:pt x="326" y="266"/>
                    <a:pt x="320" y="266"/>
                  </a:cubicBezTo>
                  <a:cubicBezTo>
                    <a:pt x="298" y="266"/>
                    <a:pt x="298" y="266"/>
                    <a:pt x="298" y="266"/>
                  </a:cubicBezTo>
                  <a:cubicBezTo>
                    <a:pt x="298" y="288"/>
                    <a:pt x="298" y="288"/>
                    <a:pt x="298" y="288"/>
                  </a:cubicBezTo>
                  <a:cubicBezTo>
                    <a:pt x="298" y="294"/>
                    <a:pt x="294" y="298"/>
                    <a:pt x="288" y="298"/>
                  </a:cubicBezTo>
                  <a:cubicBezTo>
                    <a:pt x="282" y="298"/>
                    <a:pt x="277" y="294"/>
                    <a:pt x="277" y="288"/>
                  </a:cubicBezTo>
                  <a:cubicBezTo>
                    <a:pt x="277" y="266"/>
                    <a:pt x="277" y="266"/>
                    <a:pt x="277" y="266"/>
                  </a:cubicBezTo>
                  <a:cubicBezTo>
                    <a:pt x="256" y="266"/>
                    <a:pt x="256" y="266"/>
                    <a:pt x="256" y="266"/>
                  </a:cubicBezTo>
                  <a:cubicBezTo>
                    <a:pt x="250" y="266"/>
                    <a:pt x="245" y="262"/>
                    <a:pt x="245" y="256"/>
                  </a:cubicBezTo>
                  <a:cubicBezTo>
                    <a:pt x="245" y="250"/>
                    <a:pt x="250" y="245"/>
                    <a:pt x="256" y="245"/>
                  </a:cubicBezTo>
                  <a:close/>
                  <a:moveTo>
                    <a:pt x="149" y="245"/>
                  </a:moveTo>
                  <a:cubicBezTo>
                    <a:pt x="213" y="245"/>
                    <a:pt x="213" y="245"/>
                    <a:pt x="213" y="245"/>
                  </a:cubicBezTo>
                  <a:cubicBezTo>
                    <a:pt x="219" y="245"/>
                    <a:pt x="224" y="250"/>
                    <a:pt x="224" y="256"/>
                  </a:cubicBezTo>
                  <a:cubicBezTo>
                    <a:pt x="224" y="262"/>
                    <a:pt x="219" y="266"/>
                    <a:pt x="213" y="266"/>
                  </a:cubicBezTo>
                  <a:cubicBezTo>
                    <a:pt x="149" y="266"/>
                    <a:pt x="149" y="266"/>
                    <a:pt x="149" y="266"/>
                  </a:cubicBezTo>
                  <a:cubicBezTo>
                    <a:pt x="143" y="266"/>
                    <a:pt x="138" y="262"/>
                    <a:pt x="138" y="256"/>
                  </a:cubicBezTo>
                  <a:cubicBezTo>
                    <a:pt x="138" y="250"/>
                    <a:pt x="143" y="245"/>
                    <a:pt x="149" y="245"/>
                  </a:cubicBez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spTree>
    <p:custDataLst>
      <p:tags r:id="rId1"/>
    </p:custDataLst>
    <p:extLst>
      <p:ext uri="{BB962C8B-B14F-4D97-AF65-F5344CB8AC3E}">
        <p14:creationId xmlns:p14="http://schemas.microsoft.com/office/powerpoint/2010/main" val="239164592"/>
      </p:ext>
    </p:extLst>
  </p:cSld>
  <p:clrMapOvr>
    <a:masterClrMapping/>
  </p:clrMapOvr>
  <p:transition>
    <p:fade/>
  </p:transition>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Moon 34">
            <a:extLst>
              <a:ext uri="{FF2B5EF4-FFF2-40B4-BE49-F238E27FC236}">
                <a16:creationId xmlns:a16="http://schemas.microsoft.com/office/drawing/2014/main" id="{F49760AE-E6E1-1440-83A4-8CBE1ECE3686}"/>
              </a:ext>
            </a:extLst>
          </p:cNvPr>
          <p:cNvSpPr/>
          <p:nvPr/>
        </p:nvSpPr>
        <p:spPr bwMode="gray">
          <a:xfrm>
            <a:off x="3266922" y="3476435"/>
            <a:ext cx="537845" cy="982980"/>
          </a:xfrm>
          <a:prstGeom prst="moon">
            <a:avLst>
              <a:gd name="adj" fmla="val 62396"/>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3" name="Moon 22">
            <a:extLst>
              <a:ext uri="{FF2B5EF4-FFF2-40B4-BE49-F238E27FC236}">
                <a16:creationId xmlns:a16="http://schemas.microsoft.com/office/drawing/2014/main" id="{A2EA434F-8AA6-6A4C-95AB-3D57606F6CF0}"/>
              </a:ext>
            </a:extLst>
          </p:cNvPr>
          <p:cNvSpPr/>
          <p:nvPr/>
        </p:nvSpPr>
        <p:spPr bwMode="gray">
          <a:xfrm flipH="1">
            <a:off x="2189097" y="3476435"/>
            <a:ext cx="537845" cy="982980"/>
          </a:xfrm>
          <a:prstGeom prst="moon">
            <a:avLst>
              <a:gd name="adj" fmla="val 62396"/>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4" name="Flowchart: Delay 19">
            <a:extLst>
              <a:ext uri="{FF2B5EF4-FFF2-40B4-BE49-F238E27FC236}">
                <a16:creationId xmlns:a16="http://schemas.microsoft.com/office/drawing/2014/main" id="{4EC983D7-31B1-464A-9A2B-8D2B9940A288}"/>
              </a:ext>
            </a:extLst>
          </p:cNvPr>
          <p:cNvSpPr/>
          <p:nvPr/>
        </p:nvSpPr>
        <p:spPr bwMode="gray">
          <a:xfrm flipH="1">
            <a:off x="1343795" y="1704785"/>
            <a:ext cx="1372987" cy="2354580"/>
          </a:xfrm>
          <a:prstGeom prst="flowChartDelay">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5" name="Rectangle 24">
            <a:extLst>
              <a:ext uri="{FF2B5EF4-FFF2-40B4-BE49-F238E27FC236}">
                <a16:creationId xmlns:a16="http://schemas.microsoft.com/office/drawing/2014/main" id="{DF5C7F2C-DC1B-9B42-93BB-2C402EFCEEEC}"/>
              </a:ext>
            </a:extLst>
          </p:cNvPr>
          <p:cNvSpPr/>
          <p:nvPr/>
        </p:nvSpPr>
        <p:spPr bwMode="gray">
          <a:xfrm>
            <a:off x="2763575" y="1700213"/>
            <a:ext cx="1371111" cy="2359152"/>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6" name="Flowchart: Delay 30">
            <a:extLst>
              <a:ext uri="{FF2B5EF4-FFF2-40B4-BE49-F238E27FC236}">
                <a16:creationId xmlns:a16="http://schemas.microsoft.com/office/drawing/2014/main" id="{B481713E-3F6B-0044-8A4D-8C7E3AE16242}"/>
              </a:ext>
            </a:extLst>
          </p:cNvPr>
          <p:cNvSpPr/>
          <p:nvPr/>
        </p:nvSpPr>
        <p:spPr bwMode="gray">
          <a:xfrm>
            <a:off x="4174373" y="1704785"/>
            <a:ext cx="1372987" cy="2354580"/>
          </a:xfrm>
          <a:prstGeom prst="flowChartDelay">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7" name="Rectangle 26">
            <a:extLst>
              <a:ext uri="{FF2B5EF4-FFF2-40B4-BE49-F238E27FC236}">
                <a16:creationId xmlns:a16="http://schemas.microsoft.com/office/drawing/2014/main" id="{E4342941-4CF2-5B47-B4F1-DEC098AAEDDD}"/>
              </a:ext>
            </a:extLst>
          </p:cNvPr>
          <p:cNvSpPr/>
          <p:nvPr/>
        </p:nvSpPr>
        <p:spPr>
          <a:xfrm>
            <a:off x="2885568" y="1993562"/>
            <a:ext cx="1127125" cy="1692771"/>
          </a:xfrm>
          <a:prstGeom prst="rect">
            <a:avLst/>
          </a:prstGeom>
        </p:spPr>
        <p:txBody>
          <a:bodyPr wrap="square" lIns="0" tIns="0" rIns="0" bIns="0">
            <a:spAutoFit/>
          </a:bodyPr>
          <a:lstStyle/>
          <a:p>
            <a:r>
              <a:rPr lang="en-US" sz="1000" dirty="0">
                <a:solidFill>
                  <a:schemeClr val="bg1"/>
                </a:solidFill>
              </a:rPr>
              <a:t>Lorem ipsum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a:t>
            </a:r>
            <a:r>
              <a:rPr lang="en-US" sz="1000" dirty="0" err="1">
                <a:solidFill>
                  <a:schemeClr val="bg1"/>
                </a:solidFill>
              </a:rPr>
              <a:t>sed</a:t>
            </a:r>
            <a:r>
              <a:rPr lang="en-US" sz="1000" dirty="0">
                <a:solidFill>
                  <a:schemeClr val="bg1"/>
                </a:solidFill>
              </a:rPr>
              <a:t> do </a:t>
            </a:r>
            <a:r>
              <a:rPr lang="en-US" sz="1000" dirty="0" err="1">
                <a:solidFill>
                  <a:schemeClr val="bg1"/>
                </a:solidFill>
              </a:rPr>
              <a:t>eiusmod</a:t>
            </a:r>
            <a:r>
              <a:rPr lang="en-US" sz="1000" dirty="0">
                <a:solidFill>
                  <a:schemeClr val="bg1"/>
                </a:solidFill>
              </a:rPr>
              <a:t> </a:t>
            </a:r>
            <a:r>
              <a:rPr lang="en-US" sz="1000" dirty="0" err="1">
                <a:solidFill>
                  <a:schemeClr val="bg1"/>
                </a:solidFill>
              </a:rPr>
              <a:t>tempor</a:t>
            </a:r>
            <a:r>
              <a:rPr lang="en-US" sz="1000" dirty="0">
                <a:solidFill>
                  <a:schemeClr val="bg1"/>
                </a:solidFill>
              </a:rPr>
              <a:t> </a:t>
            </a:r>
            <a:r>
              <a:rPr lang="en-US" sz="1000" dirty="0" err="1">
                <a:solidFill>
                  <a:schemeClr val="bg1"/>
                </a:solidFill>
              </a:rPr>
              <a:t>incididunt</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labore</a:t>
            </a:r>
            <a:r>
              <a:rPr lang="en-US" sz="1000" dirty="0">
                <a:solidFill>
                  <a:schemeClr val="bg1"/>
                </a:solidFill>
              </a:rPr>
              <a:t> et </a:t>
            </a:r>
            <a:r>
              <a:rPr lang="en-US" sz="1000" dirty="0" err="1">
                <a:solidFill>
                  <a:schemeClr val="bg1"/>
                </a:solidFill>
              </a:rPr>
              <a:t>dolore</a:t>
            </a:r>
            <a:r>
              <a:rPr lang="en-US" sz="1000" dirty="0">
                <a:solidFill>
                  <a:schemeClr val="bg1"/>
                </a:solidFill>
              </a:rPr>
              <a:t> magna </a:t>
            </a:r>
            <a:r>
              <a:rPr lang="en-US" sz="1000" dirty="0" err="1">
                <a:solidFill>
                  <a:schemeClr val="bg1"/>
                </a:solidFill>
              </a:rPr>
              <a:t>aliqua</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enim</a:t>
            </a:r>
            <a:r>
              <a:rPr lang="en-US" sz="1000" dirty="0">
                <a:solidFill>
                  <a:schemeClr val="bg1"/>
                </a:solidFill>
              </a:rPr>
              <a:t> ad minim </a:t>
            </a:r>
            <a:r>
              <a:rPr lang="en-US" sz="1000" dirty="0" err="1">
                <a:solidFill>
                  <a:schemeClr val="bg1"/>
                </a:solidFill>
              </a:rPr>
              <a:t>veniam</a:t>
            </a:r>
            <a:r>
              <a:rPr lang="en-US" sz="1000" dirty="0">
                <a:solidFill>
                  <a:schemeClr val="bg1"/>
                </a:solidFill>
              </a:rPr>
              <a:t>, </a:t>
            </a:r>
            <a:r>
              <a:rPr lang="en-US" sz="1000" dirty="0" err="1">
                <a:solidFill>
                  <a:schemeClr val="bg1"/>
                </a:solidFill>
              </a:rPr>
              <a:t>quis</a:t>
            </a:r>
            <a:r>
              <a:rPr lang="en-US" sz="1000" dirty="0">
                <a:solidFill>
                  <a:schemeClr val="bg1"/>
                </a:solidFill>
              </a:rPr>
              <a:t> </a:t>
            </a:r>
            <a:r>
              <a:rPr lang="en-US" sz="1000" dirty="0" err="1">
                <a:solidFill>
                  <a:schemeClr val="bg1"/>
                </a:solidFill>
              </a:rPr>
              <a:t>nostrud</a:t>
            </a:r>
            <a:r>
              <a:rPr lang="en-US" sz="1000" dirty="0">
                <a:solidFill>
                  <a:schemeClr val="bg1"/>
                </a:solidFill>
              </a:rPr>
              <a:t> exercitation </a:t>
            </a:r>
            <a:r>
              <a:rPr lang="en-US" sz="1000" dirty="0" err="1">
                <a:solidFill>
                  <a:schemeClr val="bg1"/>
                </a:solidFill>
              </a:rPr>
              <a:t>ullamco</a:t>
            </a:r>
            <a:r>
              <a:rPr lang="en-US" sz="1000" dirty="0">
                <a:solidFill>
                  <a:schemeClr val="bg1"/>
                </a:solidFill>
              </a:rPr>
              <a:t> </a:t>
            </a:r>
            <a:r>
              <a:rPr lang="en-US" sz="1000" dirty="0" err="1">
                <a:solidFill>
                  <a:schemeClr val="bg1"/>
                </a:solidFill>
              </a:rPr>
              <a:t>laboris</a:t>
            </a:r>
            <a:r>
              <a:rPr lang="en-US" sz="1000" dirty="0">
                <a:solidFill>
                  <a:schemeClr val="bg1"/>
                </a:solidFill>
              </a:rPr>
              <a:t> nisi </a:t>
            </a:r>
            <a:r>
              <a:rPr lang="en-US" sz="1000" dirty="0" err="1">
                <a:solidFill>
                  <a:schemeClr val="bg1"/>
                </a:solidFill>
              </a:rPr>
              <a:t>ut</a:t>
            </a:r>
            <a:r>
              <a:rPr lang="en-US" sz="1000" dirty="0">
                <a:solidFill>
                  <a:schemeClr val="bg1"/>
                </a:solidFill>
              </a:rPr>
              <a:t> </a:t>
            </a:r>
            <a:r>
              <a:rPr lang="en-US" sz="1000" dirty="0" err="1">
                <a:solidFill>
                  <a:schemeClr val="bg1"/>
                </a:solidFill>
              </a:rPr>
              <a:t>aliquip</a:t>
            </a:r>
            <a:r>
              <a:rPr lang="en-US" sz="1000" dirty="0">
                <a:solidFill>
                  <a:schemeClr val="bg1"/>
                </a:solidFill>
              </a:rPr>
              <a:t> e</a:t>
            </a:r>
          </a:p>
        </p:txBody>
      </p:sp>
      <p:sp>
        <p:nvSpPr>
          <p:cNvPr id="28" name="Rectangle 27">
            <a:extLst>
              <a:ext uri="{FF2B5EF4-FFF2-40B4-BE49-F238E27FC236}">
                <a16:creationId xmlns:a16="http://schemas.microsoft.com/office/drawing/2014/main" id="{BFB2067E-B117-D34C-A21A-4540AB1361F6}"/>
              </a:ext>
            </a:extLst>
          </p:cNvPr>
          <p:cNvSpPr/>
          <p:nvPr/>
        </p:nvSpPr>
        <p:spPr>
          <a:xfrm>
            <a:off x="4255143" y="2189578"/>
            <a:ext cx="1127125" cy="1231106"/>
          </a:xfrm>
          <a:prstGeom prst="rect">
            <a:avLst/>
          </a:prstGeom>
        </p:spPr>
        <p:txBody>
          <a:bodyPr wrap="square" lIns="0" tIns="0" rIns="0" bIns="0">
            <a:spAutoFit/>
          </a:bodyPr>
          <a:lstStyle/>
          <a:p>
            <a:r>
              <a:rPr lang="en-US" sz="1000" dirty="0">
                <a:solidFill>
                  <a:schemeClr val="bg1"/>
                </a:solidFill>
              </a:rPr>
              <a:t>Lorem ipsum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a:t>
            </a:r>
            <a:r>
              <a:rPr lang="en-US" sz="1000" dirty="0" err="1">
                <a:solidFill>
                  <a:schemeClr val="bg1"/>
                </a:solidFill>
              </a:rPr>
              <a:t>sed</a:t>
            </a:r>
            <a:r>
              <a:rPr lang="en-US" sz="1000" dirty="0">
                <a:solidFill>
                  <a:schemeClr val="bg1"/>
                </a:solidFill>
              </a:rPr>
              <a:t> do </a:t>
            </a:r>
            <a:r>
              <a:rPr lang="en-US" sz="1000" dirty="0" err="1">
                <a:solidFill>
                  <a:schemeClr val="bg1"/>
                </a:solidFill>
              </a:rPr>
              <a:t>eiusmod</a:t>
            </a:r>
            <a:r>
              <a:rPr lang="en-US" sz="1000" dirty="0">
                <a:solidFill>
                  <a:schemeClr val="bg1"/>
                </a:solidFill>
              </a:rPr>
              <a:t> </a:t>
            </a:r>
            <a:r>
              <a:rPr lang="en-US" sz="1000" dirty="0" err="1">
                <a:solidFill>
                  <a:schemeClr val="bg1"/>
                </a:solidFill>
              </a:rPr>
              <a:t>tempor</a:t>
            </a:r>
            <a:r>
              <a:rPr lang="en-US" sz="1000" dirty="0">
                <a:solidFill>
                  <a:schemeClr val="bg1"/>
                </a:solidFill>
              </a:rPr>
              <a:t> </a:t>
            </a:r>
            <a:r>
              <a:rPr lang="en-US" sz="1000" dirty="0" err="1">
                <a:solidFill>
                  <a:schemeClr val="bg1"/>
                </a:solidFill>
              </a:rPr>
              <a:t>incididunt</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labore</a:t>
            </a:r>
            <a:r>
              <a:rPr lang="en-US" sz="1000" dirty="0">
                <a:solidFill>
                  <a:schemeClr val="bg1"/>
                </a:solidFill>
              </a:rPr>
              <a:t> et </a:t>
            </a:r>
            <a:r>
              <a:rPr lang="en-US" sz="1000" dirty="0" err="1">
                <a:solidFill>
                  <a:schemeClr val="bg1"/>
                </a:solidFill>
              </a:rPr>
              <a:t>dolore</a:t>
            </a:r>
            <a:r>
              <a:rPr lang="en-US" sz="1000" dirty="0">
                <a:solidFill>
                  <a:schemeClr val="bg1"/>
                </a:solidFill>
              </a:rPr>
              <a:t> magna </a:t>
            </a:r>
            <a:r>
              <a:rPr lang="en-US" sz="1000" dirty="0" err="1">
                <a:solidFill>
                  <a:schemeClr val="bg1"/>
                </a:solidFill>
              </a:rPr>
              <a:t>aliqua</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enim</a:t>
            </a:r>
            <a:r>
              <a:rPr lang="en-US" sz="1000" dirty="0">
                <a:solidFill>
                  <a:schemeClr val="bg1"/>
                </a:solidFill>
              </a:rPr>
              <a:t> ad minim </a:t>
            </a:r>
            <a:r>
              <a:rPr lang="en-US" sz="1000" dirty="0" err="1">
                <a:solidFill>
                  <a:schemeClr val="bg1"/>
                </a:solidFill>
              </a:rPr>
              <a:t>veniam</a:t>
            </a:r>
            <a:r>
              <a:rPr lang="en-US" sz="1000" dirty="0">
                <a:solidFill>
                  <a:schemeClr val="bg1"/>
                </a:solidFill>
              </a:rPr>
              <a:t>, </a:t>
            </a:r>
            <a:r>
              <a:rPr lang="en-US" sz="1000" dirty="0" err="1">
                <a:solidFill>
                  <a:schemeClr val="bg1"/>
                </a:solidFill>
              </a:rPr>
              <a:t>quis</a:t>
            </a:r>
            <a:endParaRPr lang="en-US" sz="1000" dirty="0">
              <a:solidFill>
                <a:schemeClr val="bg1"/>
              </a:solidFill>
            </a:endParaRPr>
          </a:p>
        </p:txBody>
      </p:sp>
      <p:sp>
        <p:nvSpPr>
          <p:cNvPr id="29" name="Rectangle 28">
            <a:extLst>
              <a:ext uri="{FF2B5EF4-FFF2-40B4-BE49-F238E27FC236}">
                <a16:creationId xmlns:a16="http://schemas.microsoft.com/office/drawing/2014/main" id="{80EF302D-BBF2-AF4A-B557-24D05526A277}"/>
              </a:ext>
            </a:extLst>
          </p:cNvPr>
          <p:cNvSpPr/>
          <p:nvPr/>
        </p:nvSpPr>
        <p:spPr>
          <a:xfrm>
            <a:off x="1513840" y="2378282"/>
            <a:ext cx="1172462" cy="923330"/>
          </a:xfrm>
          <a:prstGeom prst="rect">
            <a:avLst/>
          </a:prstGeom>
        </p:spPr>
        <p:txBody>
          <a:bodyPr wrap="square" lIns="0" tIns="0" rIns="0" bIns="0">
            <a:spAutoFit/>
          </a:bodyPr>
          <a:lstStyle/>
          <a:p>
            <a:r>
              <a:rPr lang="en-US" sz="1000" dirty="0">
                <a:solidFill>
                  <a:schemeClr val="bg1"/>
                </a:solidFill>
              </a:rPr>
              <a:t>Lorem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a:t>
            </a:r>
            <a:endParaRPr lang="en-US" sz="1000" dirty="0">
              <a:solidFill>
                <a:schemeClr val="bg1"/>
              </a:solidFill>
            </a:endParaRPr>
          </a:p>
        </p:txBody>
      </p:sp>
      <p:grpSp>
        <p:nvGrpSpPr>
          <p:cNvPr id="30" name="Group 29">
            <a:extLst>
              <a:ext uri="{FF2B5EF4-FFF2-40B4-BE49-F238E27FC236}">
                <a16:creationId xmlns:a16="http://schemas.microsoft.com/office/drawing/2014/main" id="{284A1540-A26A-6D43-B457-9F0D8B70F2BC}"/>
              </a:ext>
            </a:extLst>
          </p:cNvPr>
          <p:cNvGrpSpPr/>
          <p:nvPr/>
        </p:nvGrpSpPr>
        <p:grpSpPr>
          <a:xfrm>
            <a:off x="4520206" y="3880064"/>
            <a:ext cx="903280" cy="696185"/>
            <a:chOff x="3189295" y="4373648"/>
            <a:chExt cx="903280" cy="696185"/>
          </a:xfrm>
          <a:solidFill>
            <a:schemeClr val="accent3">
              <a:alpha val="94000"/>
            </a:schemeClr>
          </a:solidFill>
        </p:grpSpPr>
        <p:sp>
          <p:nvSpPr>
            <p:cNvPr id="31" name="Rounded Rectangle 30">
              <a:extLst>
                <a:ext uri="{FF2B5EF4-FFF2-40B4-BE49-F238E27FC236}">
                  <a16:creationId xmlns:a16="http://schemas.microsoft.com/office/drawing/2014/main" id="{890A2451-0AB2-7948-9B24-7DB793F506B5}"/>
                </a:ext>
              </a:extLst>
            </p:cNvPr>
            <p:cNvSpPr/>
            <p:nvPr/>
          </p:nvSpPr>
          <p:spPr bwMode="gray">
            <a:xfrm>
              <a:off x="3189295" y="4373648"/>
              <a:ext cx="903280" cy="544427"/>
            </a:xfrm>
            <a:prstGeom prst="round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2" name="Moon 31">
              <a:extLst>
                <a:ext uri="{FF2B5EF4-FFF2-40B4-BE49-F238E27FC236}">
                  <a16:creationId xmlns:a16="http://schemas.microsoft.com/office/drawing/2014/main" id="{DD8C2132-EB94-D240-B1BC-CB24DCE4C9BD}"/>
                </a:ext>
              </a:extLst>
            </p:cNvPr>
            <p:cNvSpPr/>
            <p:nvPr/>
          </p:nvSpPr>
          <p:spPr bwMode="gray">
            <a:xfrm>
              <a:off x="3795018" y="4561477"/>
              <a:ext cx="278151" cy="508356"/>
            </a:xfrm>
            <a:prstGeom prst="moon">
              <a:avLst>
                <a:gd name="adj" fmla="val 62396"/>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64" name="Group 592">
            <a:extLst>
              <a:ext uri="{FF2B5EF4-FFF2-40B4-BE49-F238E27FC236}">
                <a16:creationId xmlns:a16="http://schemas.microsoft.com/office/drawing/2014/main" id="{2F3073D8-C1A4-4E46-8A8C-1AE6964A2DB8}"/>
              </a:ext>
            </a:extLst>
          </p:cNvPr>
          <p:cNvGrpSpPr>
            <a:grpSpLocks noChangeAspect="1"/>
          </p:cNvGrpSpPr>
          <p:nvPr/>
        </p:nvGrpSpPr>
        <p:grpSpPr bwMode="auto">
          <a:xfrm>
            <a:off x="4766106" y="3939786"/>
            <a:ext cx="411480" cy="410274"/>
            <a:chOff x="373" y="1933"/>
            <a:chExt cx="341" cy="340"/>
          </a:xfrm>
          <a:solidFill>
            <a:schemeClr val="bg1"/>
          </a:solidFill>
        </p:grpSpPr>
        <p:sp>
          <p:nvSpPr>
            <p:cNvPr id="65" name="Freeform 64">
              <a:extLst>
                <a:ext uri="{FF2B5EF4-FFF2-40B4-BE49-F238E27FC236}">
                  <a16:creationId xmlns:a16="http://schemas.microsoft.com/office/drawing/2014/main" id="{04887003-17EB-C942-8090-41FB0F230BF4}"/>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65">
              <a:extLst>
                <a:ext uri="{FF2B5EF4-FFF2-40B4-BE49-F238E27FC236}">
                  <a16:creationId xmlns:a16="http://schemas.microsoft.com/office/drawing/2014/main" id="{5FF9F973-94B6-FB41-B80C-F6E154FA42ED}"/>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 name="Moon 35">
            <a:extLst>
              <a:ext uri="{FF2B5EF4-FFF2-40B4-BE49-F238E27FC236}">
                <a16:creationId xmlns:a16="http://schemas.microsoft.com/office/drawing/2014/main" id="{8B477F31-36B2-F048-984A-0593CF346E22}"/>
              </a:ext>
            </a:extLst>
          </p:cNvPr>
          <p:cNvSpPr/>
          <p:nvPr/>
        </p:nvSpPr>
        <p:spPr bwMode="gray">
          <a:xfrm>
            <a:off x="8255482" y="3476435"/>
            <a:ext cx="537845" cy="982980"/>
          </a:xfrm>
          <a:prstGeom prst="moon">
            <a:avLst>
              <a:gd name="adj" fmla="val 62396"/>
            </a:avLst>
          </a:prstGeom>
          <a:solidFill>
            <a:srgbClr val="A7A8A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Moon 36">
            <a:extLst>
              <a:ext uri="{FF2B5EF4-FFF2-40B4-BE49-F238E27FC236}">
                <a16:creationId xmlns:a16="http://schemas.microsoft.com/office/drawing/2014/main" id="{88CFB440-716D-164A-B608-CB9DE44AAEF7}"/>
              </a:ext>
            </a:extLst>
          </p:cNvPr>
          <p:cNvSpPr/>
          <p:nvPr/>
        </p:nvSpPr>
        <p:spPr bwMode="gray">
          <a:xfrm flipH="1">
            <a:off x="7167497" y="3476435"/>
            <a:ext cx="537845" cy="982980"/>
          </a:xfrm>
          <a:prstGeom prst="moon">
            <a:avLst>
              <a:gd name="adj" fmla="val 62396"/>
            </a:avLst>
          </a:pr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8" name="Flowchart: Delay 19">
            <a:extLst>
              <a:ext uri="{FF2B5EF4-FFF2-40B4-BE49-F238E27FC236}">
                <a16:creationId xmlns:a16="http://schemas.microsoft.com/office/drawing/2014/main" id="{7DBBAE3E-D72C-3244-AA2C-5D98110DA19B}"/>
              </a:ext>
            </a:extLst>
          </p:cNvPr>
          <p:cNvSpPr/>
          <p:nvPr/>
        </p:nvSpPr>
        <p:spPr bwMode="gray">
          <a:xfrm flipH="1">
            <a:off x="6332355" y="1704785"/>
            <a:ext cx="1372987" cy="2354580"/>
          </a:xfrm>
          <a:prstGeom prst="flowChartDelay">
            <a:avLst/>
          </a:pr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Rectangle 38">
            <a:extLst>
              <a:ext uri="{FF2B5EF4-FFF2-40B4-BE49-F238E27FC236}">
                <a16:creationId xmlns:a16="http://schemas.microsoft.com/office/drawing/2014/main" id="{1540AD03-E5AB-B745-BDD0-69620DDDE844}"/>
              </a:ext>
            </a:extLst>
          </p:cNvPr>
          <p:cNvSpPr/>
          <p:nvPr/>
        </p:nvSpPr>
        <p:spPr bwMode="gray">
          <a:xfrm>
            <a:off x="7752135" y="1700213"/>
            <a:ext cx="1371111" cy="2359152"/>
          </a:xfrm>
          <a:prstGeom prst="rect">
            <a:avLst/>
          </a:prstGeom>
          <a:solidFill>
            <a:srgbClr val="A7A8A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0" name="Flowchart: Delay 30">
            <a:extLst>
              <a:ext uri="{FF2B5EF4-FFF2-40B4-BE49-F238E27FC236}">
                <a16:creationId xmlns:a16="http://schemas.microsoft.com/office/drawing/2014/main" id="{CF486E35-7F3C-C54F-BDE9-4FD1FABC5279}"/>
              </a:ext>
            </a:extLst>
          </p:cNvPr>
          <p:cNvSpPr/>
          <p:nvPr/>
        </p:nvSpPr>
        <p:spPr bwMode="gray">
          <a:xfrm>
            <a:off x="9162933" y="1704785"/>
            <a:ext cx="1372987" cy="2354580"/>
          </a:xfrm>
          <a:prstGeom prst="flowChartDelay">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1" name="Rectangle 40">
            <a:extLst>
              <a:ext uri="{FF2B5EF4-FFF2-40B4-BE49-F238E27FC236}">
                <a16:creationId xmlns:a16="http://schemas.microsoft.com/office/drawing/2014/main" id="{093781FD-649D-D140-AD7C-C6FF6DE2B3F5}"/>
              </a:ext>
            </a:extLst>
          </p:cNvPr>
          <p:cNvSpPr/>
          <p:nvPr/>
        </p:nvSpPr>
        <p:spPr>
          <a:xfrm>
            <a:off x="7874128" y="1993562"/>
            <a:ext cx="1127125" cy="1692771"/>
          </a:xfrm>
          <a:prstGeom prst="rect">
            <a:avLst/>
          </a:prstGeom>
        </p:spPr>
        <p:txBody>
          <a:bodyPr wrap="square" lIns="0" tIns="0" rIns="0" bIns="0">
            <a:spAutoFit/>
          </a:bodyPr>
          <a:lstStyle/>
          <a:p>
            <a:r>
              <a:rPr lang="en-US" sz="1000" dirty="0">
                <a:solidFill>
                  <a:schemeClr val="bg1"/>
                </a:solidFill>
              </a:rPr>
              <a:t>Lorem ipsum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a:t>
            </a:r>
            <a:r>
              <a:rPr lang="en-US" sz="1000" dirty="0" err="1">
                <a:solidFill>
                  <a:schemeClr val="bg1"/>
                </a:solidFill>
              </a:rPr>
              <a:t>sed</a:t>
            </a:r>
            <a:r>
              <a:rPr lang="en-US" sz="1000" dirty="0">
                <a:solidFill>
                  <a:schemeClr val="bg1"/>
                </a:solidFill>
              </a:rPr>
              <a:t> do </a:t>
            </a:r>
            <a:r>
              <a:rPr lang="en-US" sz="1000" dirty="0" err="1">
                <a:solidFill>
                  <a:schemeClr val="bg1"/>
                </a:solidFill>
              </a:rPr>
              <a:t>eiusmod</a:t>
            </a:r>
            <a:r>
              <a:rPr lang="en-US" sz="1000" dirty="0">
                <a:solidFill>
                  <a:schemeClr val="bg1"/>
                </a:solidFill>
              </a:rPr>
              <a:t> </a:t>
            </a:r>
            <a:r>
              <a:rPr lang="en-US" sz="1000" dirty="0" err="1">
                <a:solidFill>
                  <a:schemeClr val="bg1"/>
                </a:solidFill>
              </a:rPr>
              <a:t>tempor</a:t>
            </a:r>
            <a:r>
              <a:rPr lang="en-US" sz="1000" dirty="0">
                <a:solidFill>
                  <a:schemeClr val="bg1"/>
                </a:solidFill>
              </a:rPr>
              <a:t> </a:t>
            </a:r>
            <a:r>
              <a:rPr lang="en-US" sz="1000" dirty="0" err="1">
                <a:solidFill>
                  <a:schemeClr val="bg1"/>
                </a:solidFill>
              </a:rPr>
              <a:t>incididunt</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labore</a:t>
            </a:r>
            <a:r>
              <a:rPr lang="en-US" sz="1000" dirty="0">
                <a:solidFill>
                  <a:schemeClr val="bg1"/>
                </a:solidFill>
              </a:rPr>
              <a:t> et </a:t>
            </a:r>
            <a:r>
              <a:rPr lang="en-US" sz="1000" dirty="0" err="1">
                <a:solidFill>
                  <a:schemeClr val="bg1"/>
                </a:solidFill>
              </a:rPr>
              <a:t>dolore</a:t>
            </a:r>
            <a:r>
              <a:rPr lang="en-US" sz="1000" dirty="0">
                <a:solidFill>
                  <a:schemeClr val="bg1"/>
                </a:solidFill>
              </a:rPr>
              <a:t> magna </a:t>
            </a:r>
            <a:r>
              <a:rPr lang="en-US" sz="1000" dirty="0" err="1">
                <a:solidFill>
                  <a:schemeClr val="bg1"/>
                </a:solidFill>
              </a:rPr>
              <a:t>aliqua</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enim</a:t>
            </a:r>
            <a:r>
              <a:rPr lang="en-US" sz="1000" dirty="0">
                <a:solidFill>
                  <a:schemeClr val="bg1"/>
                </a:solidFill>
              </a:rPr>
              <a:t> ad minim </a:t>
            </a:r>
            <a:r>
              <a:rPr lang="en-US" sz="1000" dirty="0" err="1">
                <a:solidFill>
                  <a:schemeClr val="bg1"/>
                </a:solidFill>
              </a:rPr>
              <a:t>veniam</a:t>
            </a:r>
            <a:r>
              <a:rPr lang="en-US" sz="1000" dirty="0">
                <a:solidFill>
                  <a:schemeClr val="bg1"/>
                </a:solidFill>
              </a:rPr>
              <a:t>, </a:t>
            </a:r>
            <a:r>
              <a:rPr lang="en-US" sz="1000" dirty="0" err="1">
                <a:solidFill>
                  <a:schemeClr val="bg1"/>
                </a:solidFill>
              </a:rPr>
              <a:t>quis</a:t>
            </a:r>
            <a:r>
              <a:rPr lang="en-US" sz="1000" dirty="0">
                <a:solidFill>
                  <a:schemeClr val="bg1"/>
                </a:solidFill>
              </a:rPr>
              <a:t> </a:t>
            </a:r>
            <a:r>
              <a:rPr lang="en-US" sz="1000" dirty="0" err="1">
                <a:solidFill>
                  <a:schemeClr val="bg1"/>
                </a:solidFill>
              </a:rPr>
              <a:t>nostrud</a:t>
            </a:r>
            <a:r>
              <a:rPr lang="en-US" sz="1000" dirty="0">
                <a:solidFill>
                  <a:schemeClr val="bg1"/>
                </a:solidFill>
              </a:rPr>
              <a:t> exercitation </a:t>
            </a:r>
            <a:r>
              <a:rPr lang="en-US" sz="1000" dirty="0" err="1">
                <a:solidFill>
                  <a:schemeClr val="bg1"/>
                </a:solidFill>
              </a:rPr>
              <a:t>ullamco</a:t>
            </a:r>
            <a:r>
              <a:rPr lang="en-US" sz="1000" dirty="0">
                <a:solidFill>
                  <a:schemeClr val="bg1"/>
                </a:solidFill>
              </a:rPr>
              <a:t> </a:t>
            </a:r>
            <a:r>
              <a:rPr lang="en-US" sz="1000" dirty="0" err="1">
                <a:solidFill>
                  <a:schemeClr val="bg1"/>
                </a:solidFill>
              </a:rPr>
              <a:t>laboris</a:t>
            </a:r>
            <a:r>
              <a:rPr lang="en-US" sz="1000" dirty="0">
                <a:solidFill>
                  <a:schemeClr val="bg1"/>
                </a:solidFill>
              </a:rPr>
              <a:t> nisi </a:t>
            </a:r>
            <a:r>
              <a:rPr lang="en-US" sz="1000" dirty="0" err="1">
                <a:solidFill>
                  <a:schemeClr val="bg1"/>
                </a:solidFill>
              </a:rPr>
              <a:t>ut</a:t>
            </a:r>
            <a:r>
              <a:rPr lang="en-US" sz="1000" dirty="0">
                <a:solidFill>
                  <a:schemeClr val="bg1"/>
                </a:solidFill>
              </a:rPr>
              <a:t> </a:t>
            </a:r>
            <a:r>
              <a:rPr lang="en-US" sz="1000" dirty="0" err="1">
                <a:solidFill>
                  <a:schemeClr val="bg1"/>
                </a:solidFill>
              </a:rPr>
              <a:t>aliquip</a:t>
            </a:r>
            <a:r>
              <a:rPr lang="en-US" sz="1000" dirty="0">
                <a:solidFill>
                  <a:schemeClr val="bg1"/>
                </a:solidFill>
              </a:rPr>
              <a:t> e</a:t>
            </a:r>
          </a:p>
        </p:txBody>
      </p:sp>
      <p:sp>
        <p:nvSpPr>
          <p:cNvPr id="42" name="Rectangle 41">
            <a:extLst>
              <a:ext uri="{FF2B5EF4-FFF2-40B4-BE49-F238E27FC236}">
                <a16:creationId xmlns:a16="http://schemas.microsoft.com/office/drawing/2014/main" id="{E0E5DA06-C631-7E40-9D7E-9E734E4F0F18}"/>
              </a:ext>
            </a:extLst>
          </p:cNvPr>
          <p:cNvSpPr/>
          <p:nvPr/>
        </p:nvSpPr>
        <p:spPr>
          <a:xfrm>
            <a:off x="9243703" y="2189578"/>
            <a:ext cx="1127125" cy="1231106"/>
          </a:xfrm>
          <a:prstGeom prst="rect">
            <a:avLst/>
          </a:prstGeom>
        </p:spPr>
        <p:txBody>
          <a:bodyPr wrap="square" lIns="0" tIns="0" rIns="0" bIns="0">
            <a:spAutoFit/>
          </a:bodyPr>
          <a:lstStyle/>
          <a:p>
            <a:r>
              <a:rPr lang="en-US" sz="1000" dirty="0">
                <a:solidFill>
                  <a:schemeClr val="bg1"/>
                </a:solidFill>
              </a:rPr>
              <a:t>Lorem ipsum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a:t>
            </a:r>
            <a:r>
              <a:rPr lang="en-US" sz="1000" dirty="0" err="1">
                <a:solidFill>
                  <a:schemeClr val="bg1"/>
                </a:solidFill>
              </a:rPr>
              <a:t>sed</a:t>
            </a:r>
            <a:r>
              <a:rPr lang="en-US" sz="1000" dirty="0">
                <a:solidFill>
                  <a:schemeClr val="bg1"/>
                </a:solidFill>
              </a:rPr>
              <a:t> do </a:t>
            </a:r>
            <a:r>
              <a:rPr lang="en-US" sz="1000" dirty="0" err="1">
                <a:solidFill>
                  <a:schemeClr val="bg1"/>
                </a:solidFill>
              </a:rPr>
              <a:t>eiusmod</a:t>
            </a:r>
            <a:r>
              <a:rPr lang="en-US" sz="1000" dirty="0">
                <a:solidFill>
                  <a:schemeClr val="bg1"/>
                </a:solidFill>
              </a:rPr>
              <a:t> </a:t>
            </a:r>
            <a:r>
              <a:rPr lang="en-US" sz="1000" dirty="0" err="1">
                <a:solidFill>
                  <a:schemeClr val="bg1"/>
                </a:solidFill>
              </a:rPr>
              <a:t>tempor</a:t>
            </a:r>
            <a:r>
              <a:rPr lang="en-US" sz="1000" dirty="0">
                <a:solidFill>
                  <a:schemeClr val="bg1"/>
                </a:solidFill>
              </a:rPr>
              <a:t> </a:t>
            </a:r>
            <a:r>
              <a:rPr lang="en-US" sz="1000" dirty="0" err="1">
                <a:solidFill>
                  <a:schemeClr val="bg1"/>
                </a:solidFill>
              </a:rPr>
              <a:t>incididunt</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labore</a:t>
            </a:r>
            <a:r>
              <a:rPr lang="en-US" sz="1000" dirty="0">
                <a:solidFill>
                  <a:schemeClr val="bg1"/>
                </a:solidFill>
              </a:rPr>
              <a:t> et </a:t>
            </a:r>
            <a:r>
              <a:rPr lang="en-US" sz="1000" dirty="0" err="1">
                <a:solidFill>
                  <a:schemeClr val="bg1"/>
                </a:solidFill>
              </a:rPr>
              <a:t>dolore</a:t>
            </a:r>
            <a:r>
              <a:rPr lang="en-US" sz="1000" dirty="0">
                <a:solidFill>
                  <a:schemeClr val="bg1"/>
                </a:solidFill>
              </a:rPr>
              <a:t> magna </a:t>
            </a:r>
            <a:r>
              <a:rPr lang="en-US" sz="1000" dirty="0" err="1">
                <a:solidFill>
                  <a:schemeClr val="bg1"/>
                </a:solidFill>
              </a:rPr>
              <a:t>aliqua</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enim</a:t>
            </a:r>
            <a:r>
              <a:rPr lang="en-US" sz="1000" dirty="0">
                <a:solidFill>
                  <a:schemeClr val="bg1"/>
                </a:solidFill>
              </a:rPr>
              <a:t> ad minim </a:t>
            </a:r>
            <a:r>
              <a:rPr lang="en-US" sz="1000" dirty="0" err="1">
                <a:solidFill>
                  <a:schemeClr val="bg1"/>
                </a:solidFill>
              </a:rPr>
              <a:t>veniam</a:t>
            </a:r>
            <a:r>
              <a:rPr lang="en-US" sz="1000" dirty="0">
                <a:solidFill>
                  <a:schemeClr val="bg1"/>
                </a:solidFill>
              </a:rPr>
              <a:t>, </a:t>
            </a:r>
            <a:r>
              <a:rPr lang="en-US" sz="1000" dirty="0" err="1">
                <a:solidFill>
                  <a:schemeClr val="bg1"/>
                </a:solidFill>
              </a:rPr>
              <a:t>quis</a:t>
            </a:r>
            <a:endParaRPr lang="en-US" sz="1000" dirty="0">
              <a:solidFill>
                <a:schemeClr val="bg1"/>
              </a:solidFill>
            </a:endParaRPr>
          </a:p>
        </p:txBody>
      </p:sp>
      <p:sp>
        <p:nvSpPr>
          <p:cNvPr id="43" name="Rectangle 42">
            <a:extLst>
              <a:ext uri="{FF2B5EF4-FFF2-40B4-BE49-F238E27FC236}">
                <a16:creationId xmlns:a16="http://schemas.microsoft.com/office/drawing/2014/main" id="{009CCBD9-BE22-0142-A86A-4239A69E71CD}"/>
              </a:ext>
            </a:extLst>
          </p:cNvPr>
          <p:cNvSpPr/>
          <p:nvPr/>
        </p:nvSpPr>
        <p:spPr>
          <a:xfrm>
            <a:off x="6502400" y="2378282"/>
            <a:ext cx="1172462" cy="923330"/>
          </a:xfrm>
          <a:prstGeom prst="rect">
            <a:avLst/>
          </a:prstGeom>
        </p:spPr>
        <p:txBody>
          <a:bodyPr wrap="square" lIns="0" tIns="0" rIns="0" bIns="0">
            <a:spAutoFit/>
          </a:bodyPr>
          <a:lstStyle/>
          <a:p>
            <a:r>
              <a:rPr lang="en-US" sz="1000" dirty="0">
                <a:solidFill>
                  <a:schemeClr val="bg1"/>
                </a:solidFill>
              </a:rPr>
              <a:t>Lorem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a:t>
            </a:r>
            <a:endParaRPr lang="en-US" sz="1000" dirty="0">
              <a:solidFill>
                <a:schemeClr val="bg1"/>
              </a:solidFill>
            </a:endParaRPr>
          </a:p>
        </p:txBody>
      </p:sp>
      <p:grpSp>
        <p:nvGrpSpPr>
          <p:cNvPr id="44" name="Group 43">
            <a:extLst>
              <a:ext uri="{FF2B5EF4-FFF2-40B4-BE49-F238E27FC236}">
                <a16:creationId xmlns:a16="http://schemas.microsoft.com/office/drawing/2014/main" id="{C49D5B53-568B-224C-A096-DE471DED80EF}"/>
              </a:ext>
            </a:extLst>
          </p:cNvPr>
          <p:cNvGrpSpPr/>
          <p:nvPr/>
        </p:nvGrpSpPr>
        <p:grpSpPr>
          <a:xfrm>
            <a:off x="9508766" y="3880064"/>
            <a:ext cx="903280" cy="696185"/>
            <a:chOff x="3189295" y="4373648"/>
            <a:chExt cx="903280" cy="696185"/>
          </a:xfrm>
          <a:solidFill>
            <a:srgbClr val="75787B">
              <a:alpha val="94000"/>
            </a:srgbClr>
          </a:solidFill>
        </p:grpSpPr>
        <p:sp>
          <p:nvSpPr>
            <p:cNvPr id="45" name="Rounded Rectangle 44">
              <a:extLst>
                <a:ext uri="{FF2B5EF4-FFF2-40B4-BE49-F238E27FC236}">
                  <a16:creationId xmlns:a16="http://schemas.microsoft.com/office/drawing/2014/main" id="{E40A3F62-F75A-2843-BA61-CDD5F9304F26}"/>
                </a:ext>
              </a:extLst>
            </p:cNvPr>
            <p:cNvSpPr/>
            <p:nvPr/>
          </p:nvSpPr>
          <p:spPr bwMode="gray">
            <a:xfrm>
              <a:off x="3189295" y="4373648"/>
              <a:ext cx="903280" cy="544427"/>
            </a:xfrm>
            <a:prstGeom prst="round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6" name="Moon 45">
              <a:extLst>
                <a:ext uri="{FF2B5EF4-FFF2-40B4-BE49-F238E27FC236}">
                  <a16:creationId xmlns:a16="http://schemas.microsoft.com/office/drawing/2014/main" id="{0E28B560-7AB2-144E-AB35-D1C45525CF14}"/>
                </a:ext>
              </a:extLst>
            </p:cNvPr>
            <p:cNvSpPr/>
            <p:nvPr/>
          </p:nvSpPr>
          <p:spPr bwMode="gray">
            <a:xfrm>
              <a:off x="3795018" y="4561477"/>
              <a:ext cx="278151" cy="508356"/>
            </a:xfrm>
            <a:prstGeom prst="moon">
              <a:avLst>
                <a:gd name="adj" fmla="val 62396"/>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47" name="Group 592">
            <a:extLst>
              <a:ext uri="{FF2B5EF4-FFF2-40B4-BE49-F238E27FC236}">
                <a16:creationId xmlns:a16="http://schemas.microsoft.com/office/drawing/2014/main" id="{6CE3B196-6606-574E-8F85-91B37C501D8F}"/>
              </a:ext>
            </a:extLst>
          </p:cNvPr>
          <p:cNvGrpSpPr>
            <a:grpSpLocks noChangeAspect="1"/>
          </p:cNvGrpSpPr>
          <p:nvPr/>
        </p:nvGrpSpPr>
        <p:grpSpPr bwMode="auto">
          <a:xfrm>
            <a:off x="9754666" y="3939786"/>
            <a:ext cx="411480" cy="410274"/>
            <a:chOff x="373" y="1933"/>
            <a:chExt cx="341" cy="340"/>
          </a:xfrm>
          <a:solidFill>
            <a:schemeClr val="bg1"/>
          </a:solidFill>
        </p:grpSpPr>
        <p:sp>
          <p:nvSpPr>
            <p:cNvPr id="48" name="Freeform 47">
              <a:extLst>
                <a:ext uri="{FF2B5EF4-FFF2-40B4-BE49-F238E27FC236}">
                  <a16:creationId xmlns:a16="http://schemas.microsoft.com/office/drawing/2014/main" id="{44497AD2-898C-1947-B745-2B781CBD15FB}"/>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48">
              <a:extLst>
                <a:ext uri="{FF2B5EF4-FFF2-40B4-BE49-F238E27FC236}">
                  <a16:creationId xmlns:a16="http://schemas.microsoft.com/office/drawing/2014/main" id="{2051AE20-AA52-2F45-B234-88A3AFD73624}"/>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ustDataLst>
      <p:tags r:id="rId1"/>
    </p:custDataLst>
    <p:extLst>
      <p:ext uri="{BB962C8B-B14F-4D97-AF65-F5344CB8AC3E}">
        <p14:creationId xmlns:p14="http://schemas.microsoft.com/office/powerpoint/2010/main" val="342393623"/>
      </p:ext>
    </p:extLst>
  </p:cSld>
  <p:clrMapOvr>
    <a:masterClrMapping/>
  </p:clrMapOvr>
  <p:transition>
    <p:fade/>
  </p:transition>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FC2BCACE-D40B-C64A-9F66-E202E517CD4E}"/>
              </a:ext>
            </a:extLst>
          </p:cNvPr>
          <p:cNvGrpSpPr/>
          <p:nvPr/>
        </p:nvGrpSpPr>
        <p:grpSpPr>
          <a:xfrm>
            <a:off x="4660874" y="779464"/>
            <a:ext cx="3063718" cy="2511697"/>
            <a:chOff x="414338" y="1187943"/>
            <a:chExt cx="3027363" cy="2511697"/>
          </a:xfrm>
        </p:grpSpPr>
        <p:grpSp>
          <p:nvGrpSpPr>
            <p:cNvPr id="35" name="Group 34">
              <a:extLst>
                <a:ext uri="{FF2B5EF4-FFF2-40B4-BE49-F238E27FC236}">
                  <a16:creationId xmlns:a16="http://schemas.microsoft.com/office/drawing/2014/main" id="{B689375F-6D96-DF4E-A7BE-83A44BF8BE07}"/>
                </a:ext>
              </a:extLst>
            </p:cNvPr>
            <p:cNvGrpSpPr/>
            <p:nvPr/>
          </p:nvGrpSpPr>
          <p:grpSpPr>
            <a:xfrm flipH="1">
              <a:off x="414338" y="1187943"/>
              <a:ext cx="3027363" cy="2511697"/>
              <a:chOff x="6134100" y="1103313"/>
              <a:chExt cx="3027363" cy="2006600"/>
            </a:xfrm>
          </p:grpSpPr>
          <p:sp>
            <p:nvSpPr>
              <p:cNvPr id="37" name="Freeform 36">
                <a:extLst>
                  <a:ext uri="{FF2B5EF4-FFF2-40B4-BE49-F238E27FC236}">
                    <a16:creationId xmlns:a16="http://schemas.microsoft.com/office/drawing/2014/main" id="{61DC7948-A8D9-BE45-B9DA-068906DD63AC}"/>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38" name="Freeform 37">
                <a:extLst>
                  <a:ext uri="{FF2B5EF4-FFF2-40B4-BE49-F238E27FC236}">
                    <a16:creationId xmlns:a16="http://schemas.microsoft.com/office/drawing/2014/main" id="{330F26D4-F41E-C24E-B6ED-A54E509D7A61}"/>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36" name="Rounded Rectangle 35">
              <a:extLst>
                <a:ext uri="{FF2B5EF4-FFF2-40B4-BE49-F238E27FC236}">
                  <a16:creationId xmlns:a16="http://schemas.microsoft.com/office/drawing/2014/main" id="{2677FBD7-148F-704C-8659-D8CA153692C7}"/>
                </a:ext>
              </a:extLst>
            </p:cNvPr>
            <p:cNvSpPr/>
            <p:nvPr/>
          </p:nvSpPr>
          <p:spPr>
            <a:xfrm>
              <a:off x="583326" y="1399847"/>
              <a:ext cx="2695904" cy="1661630"/>
            </a:xfrm>
            <a:prstGeom prst="roundRect">
              <a:avLst>
                <a:gd name="adj" fmla="val 4832"/>
              </a:avLst>
            </a:prstGeom>
            <a:solidFill>
              <a:schemeClr val="bg1"/>
            </a:solid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bIns="91440" rtlCol="0" anchor="ctr"/>
            <a:lstStyle/>
            <a:p>
              <a:r>
                <a:rPr lang="en-US" i="1" dirty="0">
                  <a:solidFill>
                    <a:schemeClr val="tx1"/>
                  </a:solidFill>
                  <a:latin typeface="+mj-lt"/>
                </a:rPr>
                <a:t>Lorem ipsum dolor sit </a:t>
              </a:r>
              <a:r>
                <a:rPr lang="en-US" i="1" dirty="0" err="1">
                  <a:solidFill>
                    <a:schemeClr val="tx1"/>
                  </a:solidFill>
                  <a:latin typeface="+mj-lt"/>
                </a:rPr>
                <a:t>amet</a:t>
              </a:r>
              <a:r>
                <a:rPr lang="en-US" i="1" dirty="0">
                  <a:solidFill>
                    <a:schemeClr val="tx1"/>
                  </a:solidFill>
                  <a:latin typeface="+mj-lt"/>
                </a:rPr>
                <a:t>, </a:t>
              </a:r>
              <a:r>
                <a:rPr lang="en-US" i="1" dirty="0" err="1">
                  <a:solidFill>
                    <a:schemeClr val="tx1"/>
                  </a:solidFill>
                  <a:latin typeface="+mj-lt"/>
                </a:rPr>
                <a:t>consecteturLorem</a:t>
              </a:r>
              <a:r>
                <a:rPr lang="en-US" i="1" dirty="0">
                  <a:solidFill>
                    <a:schemeClr val="tx1"/>
                  </a:solidFill>
                  <a:latin typeface="+mj-lt"/>
                </a:rPr>
                <a:t> ipsum dolor sit </a:t>
              </a:r>
              <a:r>
                <a:rPr lang="en-US" i="1" dirty="0" err="1">
                  <a:solidFill>
                    <a:schemeClr val="tx1"/>
                  </a:solidFill>
                  <a:latin typeface="+mj-lt"/>
                </a:rPr>
                <a:t>amet</a:t>
              </a:r>
              <a:r>
                <a:rPr lang="en-US" i="1" dirty="0">
                  <a:solidFill>
                    <a:schemeClr val="tx1"/>
                  </a:solidFill>
                  <a:latin typeface="+mj-lt"/>
                </a:rPr>
                <a:t>, </a:t>
              </a:r>
              <a:r>
                <a:rPr lang="en-US" i="1" dirty="0" err="1">
                  <a:solidFill>
                    <a:schemeClr val="tx1"/>
                  </a:solidFill>
                  <a:latin typeface="+mj-lt"/>
                </a:rPr>
                <a:t>consectetur</a:t>
              </a:r>
              <a:endParaRPr lang="en-US" i="1" dirty="0">
                <a:solidFill>
                  <a:schemeClr val="tx1"/>
                </a:solidFill>
                <a:latin typeface="+mj-lt"/>
              </a:endParaRPr>
            </a:p>
          </p:txBody>
        </p:sp>
      </p:grpSp>
      <p:grpSp>
        <p:nvGrpSpPr>
          <p:cNvPr id="39" name="Group 38">
            <a:extLst>
              <a:ext uri="{FF2B5EF4-FFF2-40B4-BE49-F238E27FC236}">
                <a16:creationId xmlns:a16="http://schemas.microsoft.com/office/drawing/2014/main" id="{9BCD5F09-93A2-7040-8474-05F3490FBA90}"/>
              </a:ext>
            </a:extLst>
          </p:cNvPr>
          <p:cNvGrpSpPr/>
          <p:nvPr/>
        </p:nvGrpSpPr>
        <p:grpSpPr>
          <a:xfrm>
            <a:off x="7957087" y="4676695"/>
            <a:ext cx="2313394" cy="1792249"/>
            <a:chOff x="5822183" y="4172881"/>
            <a:chExt cx="3027363" cy="2511697"/>
          </a:xfrm>
        </p:grpSpPr>
        <p:grpSp>
          <p:nvGrpSpPr>
            <p:cNvPr id="40" name="Group 39">
              <a:extLst>
                <a:ext uri="{FF2B5EF4-FFF2-40B4-BE49-F238E27FC236}">
                  <a16:creationId xmlns:a16="http://schemas.microsoft.com/office/drawing/2014/main" id="{7F699900-7DDA-C046-B144-F58A6824E761}"/>
                </a:ext>
              </a:extLst>
            </p:cNvPr>
            <p:cNvGrpSpPr/>
            <p:nvPr/>
          </p:nvGrpSpPr>
          <p:grpSpPr>
            <a:xfrm>
              <a:off x="5822183" y="4172881"/>
              <a:ext cx="3027363" cy="2511697"/>
              <a:chOff x="6134100" y="1103313"/>
              <a:chExt cx="3027363" cy="2006600"/>
            </a:xfrm>
          </p:grpSpPr>
          <p:sp>
            <p:nvSpPr>
              <p:cNvPr id="42" name="Freeform 41">
                <a:extLst>
                  <a:ext uri="{FF2B5EF4-FFF2-40B4-BE49-F238E27FC236}">
                    <a16:creationId xmlns:a16="http://schemas.microsoft.com/office/drawing/2014/main" id="{71A1F585-E99A-5A4D-89C7-B5EE20EC1645}"/>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43" name="Freeform 42">
                <a:extLst>
                  <a:ext uri="{FF2B5EF4-FFF2-40B4-BE49-F238E27FC236}">
                    <a16:creationId xmlns:a16="http://schemas.microsoft.com/office/drawing/2014/main" id="{70503445-C045-7E4B-99D0-EEC12254E155}"/>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41" name="Rounded Rectangle 40">
              <a:extLst>
                <a:ext uri="{FF2B5EF4-FFF2-40B4-BE49-F238E27FC236}">
                  <a16:creationId xmlns:a16="http://schemas.microsoft.com/office/drawing/2014/main" id="{FD1959AA-0FA1-7E48-BAF1-5E562CC5872D}"/>
                </a:ext>
              </a:extLst>
            </p:cNvPr>
            <p:cNvSpPr/>
            <p:nvPr/>
          </p:nvSpPr>
          <p:spPr>
            <a:xfrm>
              <a:off x="6075641" y="4423233"/>
              <a:ext cx="2548820" cy="1606848"/>
            </a:xfrm>
            <a:prstGeom prst="roundRect">
              <a:avLst>
                <a:gd name="adj" fmla="val 4832"/>
              </a:avLst>
            </a:prstGeom>
            <a:solidFill>
              <a:schemeClr val="bg1"/>
            </a:solidFill>
            <a:ln w="127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r>
                <a:rPr lang="en-US" sz="1200" i="1" dirty="0">
                  <a:solidFill>
                    <a:srgbClr val="000000"/>
                  </a:solidFill>
                  <a:latin typeface="+mj-lt"/>
                </a:rPr>
                <a:t>Lorem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Lorem</a:t>
              </a:r>
              <a:r>
                <a:rPr lang="en-US" sz="1200" i="1" dirty="0">
                  <a:solidFill>
                    <a:srgbClr val="000000"/>
                  </a:solidFill>
                  <a:latin typeface="+mj-lt"/>
                </a:rPr>
                <a:t>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a:t>
              </a:r>
              <a:endParaRPr lang="en-US" sz="1200" i="1" dirty="0">
                <a:solidFill>
                  <a:srgbClr val="000000"/>
                </a:solidFill>
                <a:latin typeface="+mj-lt"/>
              </a:endParaRPr>
            </a:p>
          </p:txBody>
        </p:sp>
      </p:grpSp>
      <p:grpSp>
        <p:nvGrpSpPr>
          <p:cNvPr id="44" name="Group 43">
            <a:extLst>
              <a:ext uri="{FF2B5EF4-FFF2-40B4-BE49-F238E27FC236}">
                <a16:creationId xmlns:a16="http://schemas.microsoft.com/office/drawing/2014/main" id="{299759B2-B9D4-1241-9E6D-B5E6304C0677}"/>
              </a:ext>
            </a:extLst>
          </p:cNvPr>
          <p:cNvGrpSpPr/>
          <p:nvPr/>
        </p:nvGrpSpPr>
        <p:grpSpPr>
          <a:xfrm>
            <a:off x="7514191" y="2878537"/>
            <a:ext cx="2756291" cy="1821660"/>
            <a:chOff x="414338" y="1187943"/>
            <a:chExt cx="3027363" cy="2511697"/>
          </a:xfrm>
        </p:grpSpPr>
        <p:grpSp>
          <p:nvGrpSpPr>
            <p:cNvPr id="45" name="Group 44">
              <a:extLst>
                <a:ext uri="{FF2B5EF4-FFF2-40B4-BE49-F238E27FC236}">
                  <a16:creationId xmlns:a16="http://schemas.microsoft.com/office/drawing/2014/main" id="{4DAE12DF-DFAD-7B4F-BB3C-5F2647B9A16E}"/>
                </a:ext>
              </a:extLst>
            </p:cNvPr>
            <p:cNvGrpSpPr/>
            <p:nvPr/>
          </p:nvGrpSpPr>
          <p:grpSpPr>
            <a:xfrm flipH="1">
              <a:off x="414338" y="1187943"/>
              <a:ext cx="3027363" cy="2511697"/>
              <a:chOff x="6134100" y="1103313"/>
              <a:chExt cx="3027363" cy="2006600"/>
            </a:xfrm>
          </p:grpSpPr>
          <p:sp>
            <p:nvSpPr>
              <p:cNvPr id="47" name="Freeform 46">
                <a:extLst>
                  <a:ext uri="{FF2B5EF4-FFF2-40B4-BE49-F238E27FC236}">
                    <a16:creationId xmlns:a16="http://schemas.microsoft.com/office/drawing/2014/main" id="{724A4821-80D5-F044-B3EC-C4BDC6566C51}"/>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48" name="Freeform 47">
                <a:extLst>
                  <a:ext uri="{FF2B5EF4-FFF2-40B4-BE49-F238E27FC236}">
                    <a16:creationId xmlns:a16="http://schemas.microsoft.com/office/drawing/2014/main" id="{7BAE7363-0232-A546-B5EE-DBDD55B24F57}"/>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46" name="Rounded Rectangle 45">
              <a:extLst>
                <a:ext uri="{FF2B5EF4-FFF2-40B4-BE49-F238E27FC236}">
                  <a16:creationId xmlns:a16="http://schemas.microsoft.com/office/drawing/2014/main" id="{5AE9E5AE-A347-3349-BCDF-B81C600343B3}"/>
                </a:ext>
              </a:extLst>
            </p:cNvPr>
            <p:cNvSpPr/>
            <p:nvPr/>
          </p:nvSpPr>
          <p:spPr>
            <a:xfrm>
              <a:off x="583326" y="1418897"/>
              <a:ext cx="2695904" cy="1661630"/>
            </a:xfrm>
            <a:prstGeom prst="roundRect">
              <a:avLst>
                <a:gd name="adj" fmla="val 4832"/>
              </a:avLst>
            </a:prstGeom>
            <a:solidFill>
              <a:schemeClr val="bg1"/>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bIns="91440" rtlCol="0" anchor="ctr"/>
            <a:lstStyle/>
            <a:p>
              <a:r>
                <a:rPr lang="en-US" sz="1400" i="1" dirty="0">
                  <a:solidFill>
                    <a:schemeClr val="accent1"/>
                  </a:solidFill>
                  <a:latin typeface="+mj-lt"/>
                </a:rPr>
                <a:t>Lorem ipsum dolor sit </a:t>
              </a:r>
              <a:r>
                <a:rPr lang="en-US" sz="1400" i="1" dirty="0" err="1">
                  <a:solidFill>
                    <a:schemeClr val="accent1"/>
                  </a:solidFill>
                  <a:latin typeface="+mj-lt"/>
                </a:rPr>
                <a:t>amet</a:t>
              </a:r>
              <a:r>
                <a:rPr lang="en-US" sz="1400" i="1" dirty="0">
                  <a:solidFill>
                    <a:schemeClr val="accent1"/>
                  </a:solidFill>
                  <a:latin typeface="+mj-lt"/>
                </a:rPr>
                <a:t>, </a:t>
              </a:r>
              <a:r>
                <a:rPr lang="en-US" sz="1400" i="1" dirty="0" err="1">
                  <a:solidFill>
                    <a:schemeClr val="accent1"/>
                  </a:solidFill>
                  <a:latin typeface="+mj-lt"/>
                </a:rPr>
                <a:t>consecteturLorem</a:t>
              </a:r>
              <a:r>
                <a:rPr lang="en-US" sz="1400" i="1" dirty="0">
                  <a:solidFill>
                    <a:schemeClr val="accent1"/>
                  </a:solidFill>
                  <a:latin typeface="+mj-lt"/>
                </a:rPr>
                <a:t> ipsum dolor sit </a:t>
              </a:r>
              <a:r>
                <a:rPr lang="en-US" sz="1400" i="1" dirty="0" err="1">
                  <a:solidFill>
                    <a:schemeClr val="accent1"/>
                  </a:solidFill>
                  <a:latin typeface="+mj-lt"/>
                </a:rPr>
                <a:t>amet</a:t>
              </a:r>
              <a:r>
                <a:rPr lang="en-US" sz="1400" i="1" dirty="0">
                  <a:solidFill>
                    <a:schemeClr val="accent1"/>
                  </a:solidFill>
                  <a:latin typeface="+mj-lt"/>
                </a:rPr>
                <a:t>, </a:t>
              </a:r>
              <a:r>
                <a:rPr lang="en-US" sz="1400" i="1" dirty="0" err="1">
                  <a:solidFill>
                    <a:schemeClr val="accent1"/>
                  </a:solidFill>
                  <a:latin typeface="+mj-lt"/>
                </a:rPr>
                <a:t>consecteturLorem</a:t>
              </a:r>
              <a:r>
                <a:rPr lang="en-US" sz="1400" i="1" dirty="0">
                  <a:solidFill>
                    <a:schemeClr val="accent1"/>
                  </a:solidFill>
                  <a:latin typeface="+mj-lt"/>
                </a:rPr>
                <a:t> ipsum dolor sit </a:t>
              </a:r>
              <a:r>
                <a:rPr lang="en-US" sz="1400" i="1" dirty="0" err="1">
                  <a:solidFill>
                    <a:schemeClr val="accent1"/>
                  </a:solidFill>
                  <a:latin typeface="+mj-lt"/>
                </a:rPr>
                <a:t>amet</a:t>
              </a:r>
              <a:r>
                <a:rPr lang="en-US" sz="1400" i="1" dirty="0">
                  <a:solidFill>
                    <a:schemeClr val="accent1"/>
                  </a:solidFill>
                  <a:latin typeface="+mj-lt"/>
                </a:rPr>
                <a:t>, </a:t>
              </a:r>
              <a:r>
                <a:rPr lang="en-US" sz="1400" i="1" dirty="0" err="1">
                  <a:solidFill>
                    <a:schemeClr val="accent1"/>
                  </a:solidFill>
                  <a:latin typeface="+mj-lt"/>
                </a:rPr>
                <a:t>consectetur</a:t>
              </a:r>
              <a:endParaRPr lang="en-US" sz="1400" i="1" dirty="0">
                <a:solidFill>
                  <a:schemeClr val="accent1"/>
                </a:solidFill>
                <a:latin typeface="+mj-lt"/>
              </a:endParaRPr>
            </a:p>
          </p:txBody>
        </p:sp>
      </p:grpSp>
      <p:grpSp>
        <p:nvGrpSpPr>
          <p:cNvPr id="49" name="Group 48">
            <a:extLst>
              <a:ext uri="{FF2B5EF4-FFF2-40B4-BE49-F238E27FC236}">
                <a16:creationId xmlns:a16="http://schemas.microsoft.com/office/drawing/2014/main" id="{F472E26F-9B8D-6E48-9856-8563CD1F66C1}"/>
              </a:ext>
            </a:extLst>
          </p:cNvPr>
          <p:cNvGrpSpPr/>
          <p:nvPr/>
        </p:nvGrpSpPr>
        <p:grpSpPr>
          <a:xfrm>
            <a:off x="7931207" y="936178"/>
            <a:ext cx="2339275" cy="1903912"/>
            <a:chOff x="5822183" y="4172881"/>
            <a:chExt cx="3027363" cy="2511697"/>
          </a:xfrm>
        </p:grpSpPr>
        <p:grpSp>
          <p:nvGrpSpPr>
            <p:cNvPr id="50" name="Group 49">
              <a:extLst>
                <a:ext uri="{FF2B5EF4-FFF2-40B4-BE49-F238E27FC236}">
                  <a16:creationId xmlns:a16="http://schemas.microsoft.com/office/drawing/2014/main" id="{CCD3D9A4-9B82-DA46-AAB0-37636E7B3166}"/>
                </a:ext>
              </a:extLst>
            </p:cNvPr>
            <p:cNvGrpSpPr/>
            <p:nvPr/>
          </p:nvGrpSpPr>
          <p:grpSpPr>
            <a:xfrm>
              <a:off x="5822183" y="4172881"/>
              <a:ext cx="3027363" cy="2511697"/>
              <a:chOff x="6134100" y="1103313"/>
              <a:chExt cx="3027363" cy="2006600"/>
            </a:xfrm>
          </p:grpSpPr>
          <p:sp>
            <p:nvSpPr>
              <p:cNvPr id="68" name="Freeform 67">
                <a:extLst>
                  <a:ext uri="{FF2B5EF4-FFF2-40B4-BE49-F238E27FC236}">
                    <a16:creationId xmlns:a16="http://schemas.microsoft.com/office/drawing/2014/main" id="{785E210D-91D9-1642-A6C5-D7C74896D3EC}"/>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69" name="Freeform 68">
                <a:extLst>
                  <a:ext uri="{FF2B5EF4-FFF2-40B4-BE49-F238E27FC236}">
                    <a16:creationId xmlns:a16="http://schemas.microsoft.com/office/drawing/2014/main" id="{387CE929-BD11-6846-A9AA-796D68B1B72E}"/>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67" name="Rounded Rectangle 66">
              <a:extLst>
                <a:ext uri="{FF2B5EF4-FFF2-40B4-BE49-F238E27FC236}">
                  <a16:creationId xmlns:a16="http://schemas.microsoft.com/office/drawing/2014/main" id="{665234F4-54C8-3841-9FE7-AED5038986A5}"/>
                </a:ext>
              </a:extLst>
            </p:cNvPr>
            <p:cNvSpPr/>
            <p:nvPr/>
          </p:nvSpPr>
          <p:spPr>
            <a:xfrm>
              <a:off x="6061453" y="4400574"/>
              <a:ext cx="2548821" cy="1654440"/>
            </a:xfrm>
            <a:prstGeom prst="roundRect">
              <a:avLst>
                <a:gd name="adj" fmla="val 4832"/>
              </a:avLst>
            </a:prstGeom>
            <a:solidFill>
              <a:schemeClr val="bg1"/>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200" i="1" dirty="0">
                  <a:solidFill>
                    <a:srgbClr val="000000"/>
                  </a:solidFill>
                  <a:latin typeface="+mj-lt"/>
                </a:rPr>
                <a:t>Lorem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Lorem</a:t>
              </a:r>
              <a:r>
                <a:rPr lang="en-US" sz="1200" i="1" dirty="0">
                  <a:solidFill>
                    <a:srgbClr val="000000"/>
                  </a:solidFill>
                  <a:latin typeface="+mj-lt"/>
                </a:rPr>
                <a:t>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Lorem</a:t>
              </a:r>
              <a:r>
                <a:rPr lang="en-US" sz="1200" i="1" dirty="0">
                  <a:solidFill>
                    <a:srgbClr val="000000"/>
                  </a:solidFill>
                  <a:latin typeface="+mj-lt"/>
                </a:rPr>
                <a:t>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a:t>
              </a:r>
              <a:endParaRPr lang="en-US" sz="1200" i="1" dirty="0">
                <a:solidFill>
                  <a:srgbClr val="000000"/>
                </a:solidFill>
                <a:latin typeface="+mj-lt"/>
              </a:endParaRPr>
            </a:p>
          </p:txBody>
        </p:sp>
      </p:grpSp>
      <p:grpSp>
        <p:nvGrpSpPr>
          <p:cNvPr id="70" name="Group 69">
            <a:extLst>
              <a:ext uri="{FF2B5EF4-FFF2-40B4-BE49-F238E27FC236}">
                <a16:creationId xmlns:a16="http://schemas.microsoft.com/office/drawing/2014/main" id="{841E1644-3520-2541-B263-28CA2BE4DA88}"/>
              </a:ext>
            </a:extLst>
          </p:cNvPr>
          <p:cNvGrpSpPr/>
          <p:nvPr/>
        </p:nvGrpSpPr>
        <p:grpSpPr>
          <a:xfrm>
            <a:off x="5087522" y="3548621"/>
            <a:ext cx="2305891" cy="2478754"/>
            <a:chOff x="414338" y="1187943"/>
            <a:chExt cx="3027363" cy="2511697"/>
          </a:xfrm>
        </p:grpSpPr>
        <p:grpSp>
          <p:nvGrpSpPr>
            <p:cNvPr id="71" name="Group 70">
              <a:extLst>
                <a:ext uri="{FF2B5EF4-FFF2-40B4-BE49-F238E27FC236}">
                  <a16:creationId xmlns:a16="http://schemas.microsoft.com/office/drawing/2014/main" id="{A1849ACD-DE91-254C-8EEC-426B3F5631C7}"/>
                </a:ext>
              </a:extLst>
            </p:cNvPr>
            <p:cNvGrpSpPr/>
            <p:nvPr/>
          </p:nvGrpSpPr>
          <p:grpSpPr>
            <a:xfrm flipH="1">
              <a:off x="414338" y="1187943"/>
              <a:ext cx="3027363" cy="2511697"/>
              <a:chOff x="6134100" y="1103313"/>
              <a:chExt cx="3027363" cy="2006600"/>
            </a:xfrm>
          </p:grpSpPr>
          <p:sp>
            <p:nvSpPr>
              <p:cNvPr id="73" name="Freeform 72">
                <a:extLst>
                  <a:ext uri="{FF2B5EF4-FFF2-40B4-BE49-F238E27FC236}">
                    <a16:creationId xmlns:a16="http://schemas.microsoft.com/office/drawing/2014/main" id="{7DB8B45A-6433-084F-A193-D6BCACD0B57B}"/>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74" name="Freeform 73">
                <a:extLst>
                  <a:ext uri="{FF2B5EF4-FFF2-40B4-BE49-F238E27FC236}">
                    <a16:creationId xmlns:a16="http://schemas.microsoft.com/office/drawing/2014/main" id="{C0C84E85-DCC3-CF49-92F0-9B4148892D19}"/>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72" name="Rounded Rectangle 71">
              <a:extLst>
                <a:ext uri="{FF2B5EF4-FFF2-40B4-BE49-F238E27FC236}">
                  <a16:creationId xmlns:a16="http://schemas.microsoft.com/office/drawing/2014/main" id="{671DC53A-6800-9344-8A63-464D25CBB8F0}"/>
                </a:ext>
              </a:extLst>
            </p:cNvPr>
            <p:cNvSpPr/>
            <p:nvPr/>
          </p:nvSpPr>
          <p:spPr>
            <a:xfrm>
              <a:off x="583326" y="1418897"/>
              <a:ext cx="2695904" cy="1661630"/>
            </a:xfrm>
            <a:prstGeom prst="roundRect">
              <a:avLst>
                <a:gd name="adj" fmla="val 4832"/>
              </a:avLst>
            </a:prstGeom>
            <a:solidFill>
              <a:schemeClr val="bg1"/>
            </a:solidFill>
            <a:ln w="127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rtlCol="0" anchor="ctr"/>
            <a:lstStyle/>
            <a:p>
              <a:r>
                <a:rPr lang="en-US" sz="1600" i="1" dirty="0">
                  <a:solidFill>
                    <a:schemeClr val="accent3"/>
                  </a:solidFill>
                  <a:latin typeface="+mj-lt"/>
                </a:rPr>
                <a:t>Lorem ipsum dolor sit </a:t>
              </a:r>
              <a:r>
                <a:rPr lang="en-US" sz="1600" i="1" dirty="0" err="1">
                  <a:solidFill>
                    <a:schemeClr val="accent3"/>
                  </a:solidFill>
                  <a:latin typeface="+mj-lt"/>
                </a:rPr>
                <a:t>amet</a:t>
              </a:r>
              <a:r>
                <a:rPr lang="en-US" sz="1600" i="1" dirty="0">
                  <a:solidFill>
                    <a:schemeClr val="accent3"/>
                  </a:solidFill>
                  <a:latin typeface="+mj-lt"/>
                </a:rPr>
                <a:t>, </a:t>
              </a:r>
              <a:r>
                <a:rPr lang="en-US" sz="1600" i="1" dirty="0" err="1">
                  <a:solidFill>
                    <a:schemeClr val="accent3"/>
                  </a:solidFill>
                  <a:latin typeface="+mj-lt"/>
                </a:rPr>
                <a:t>consecteturLorem</a:t>
              </a:r>
              <a:r>
                <a:rPr lang="en-US" sz="1600" i="1" dirty="0">
                  <a:solidFill>
                    <a:schemeClr val="accent3"/>
                  </a:solidFill>
                  <a:latin typeface="+mj-lt"/>
                </a:rPr>
                <a:t> ipsum dolor sit </a:t>
              </a:r>
              <a:r>
                <a:rPr lang="en-US" sz="1600" i="1" dirty="0" err="1">
                  <a:solidFill>
                    <a:schemeClr val="accent3"/>
                  </a:solidFill>
                  <a:latin typeface="+mj-lt"/>
                </a:rPr>
                <a:t>amet</a:t>
              </a:r>
              <a:r>
                <a:rPr lang="en-US" sz="1600" i="1" dirty="0">
                  <a:solidFill>
                    <a:schemeClr val="accent3"/>
                  </a:solidFill>
                  <a:latin typeface="+mj-lt"/>
                </a:rPr>
                <a:t>, </a:t>
              </a:r>
              <a:r>
                <a:rPr lang="en-US" sz="1600" i="1" dirty="0" err="1">
                  <a:solidFill>
                    <a:schemeClr val="accent3"/>
                  </a:solidFill>
                  <a:latin typeface="+mj-lt"/>
                </a:rPr>
                <a:t>consectetur</a:t>
              </a:r>
              <a:endParaRPr lang="en-US" sz="1600" i="1" dirty="0">
                <a:solidFill>
                  <a:schemeClr val="accent3"/>
                </a:solidFill>
                <a:latin typeface="+mj-lt"/>
              </a:endParaRPr>
            </a:p>
          </p:txBody>
        </p:sp>
      </p:grpSp>
      <p:grpSp>
        <p:nvGrpSpPr>
          <p:cNvPr id="75" name="Group 74">
            <a:extLst>
              <a:ext uri="{FF2B5EF4-FFF2-40B4-BE49-F238E27FC236}">
                <a16:creationId xmlns:a16="http://schemas.microsoft.com/office/drawing/2014/main" id="{BAE5AC5F-2A30-974B-A05B-B554B6E5BB7E}"/>
              </a:ext>
            </a:extLst>
          </p:cNvPr>
          <p:cNvGrpSpPr/>
          <p:nvPr/>
        </p:nvGrpSpPr>
        <p:grpSpPr>
          <a:xfrm>
            <a:off x="1890187" y="1029218"/>
            <a:ext cx="2564075" cy="2018558"/>
            <a:chOff x="5822183" y="4172881"/>
            <a:chExt cx="3027363" cy="2511697"/>
          </a:xfrm>
        </p:grpSpPr>
        <p:grpSp>
          <p:nvGrpSpPr>
            <p:cNvPr id="76" name="Group 75">
              <a:extLst>
                <a:ext uri="{FF2B5EF4-FFF2-40B4-BE49-F238E27FC236}">
                  <a16:creationId xmlns:a16="http://schemas.microsoft.com/office/drawing/2014/main" id="{47EFB452-19E9-2142-AA00-9F08CDBA1F0F}"/>
                </a:ext>
              </a:extLst>
            </p:cNvPr>
            <p:cNvGrpSpPr/>
            <p:nvPr/>
          </p:nvGrpSpPr>
          <p:grpSpPr>
            <a:xfrm>
              <a:off x="5822183" y="4172881"/>
              <a:ext cx="3027363" cy="2511697"/>
              <a:chOff x="6134100" y="1103313"/>
              <a:chExt cx="3027363" cy="2006600"/>
            </a:xfrm>
          </p:grpSpPr>
          <p:sp>
            <p:nvSpPr>
              <p:cNvPr id="78" name="Freeform 77">
                <a:extLst>
                  <a:ext uri="{FF2B5EF4-FFF2-40B4-BE49-F238E27FC236}">
                    <a16:creationId xmlns:a16="http://schemas.microsoft.com/office/drawing/2014/main" id="{616C26CF-D552-914B-8037-B61BFF5F4F7D}"/>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79" name="Freeform 78">
                <a:extLst>
                  <a:ext uri="{FF2B5EF4-FFF2-40B4-BE49-F238E27FC236}">
                    <a16:creationId xmlns:a16="http://schemas.microsoft.com/office/drawing/2014/main" id="{15D37520-1D65-0E4A-8069-4D1F3978432C}"/>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77" name="Rounded Rectangle 76">
              <a:extLst>
                <a:ext uri="{FF2B5EF4-FFF2-40B4-BE49-F238E27FC236}">
                  <a16:creationId xmlns:a16="http://schemas.microsoft.com/office/drawing/2014/main" id="{292812D6-3E5F-4642-8CEF-D41E988CD454}"/>
                </a:ext>
              </a:extLst>
            </p:cNvPr>
            <p:cNvSpPr/>
            <p:nvPr/>
          </p:nvSpPr>
          <p:spPr>
            <a:xfrm>
              <a:off x="6061455" y="4423233"/>
              <a:ext cx="2548820" cy="1606848"/>
            </a:xfrm>
            <a:prstGeom prst="roundRect">
              <a:avLst>
                <a:gd name="adj" fmla="val 4832"/>
              </a:avLst>
            </a:prstGeom>
            <a:solidFill>
              <a:schemeClr val="bg1"/>
            </a:solidFill>
            <a:ln w="127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bIns="91440" rtlCol="0" anchor="ctr"/>
            <a:lstStyle/>
            <a:p>
              <a:r>
                <a:rPr lang="en-US" sz="1400" i="1" dirty="0">
                  <a:solidFill>
                    <a:schemeClr val="accent3"/>
                  </a:solidFill>
                  <a:latin typeface="+mj-lt"/>
                </a:rPr>
                <a:t>Lorem ipsum dolor sit </a:t>
              </a:r>
              <a:r>
                <a:rPr lang="en-US" sz="1400" i="1" dirty="0" err="1">
                  <a:solidFill>
                    <a:schemeClr val="accent3"/>
                  </a:solidFill>
                  <a:latin typeface="+mj-lt"/>
                </a:rPr>
                <a:t>amet</a:t>
              </a:r>
              <a:r>
                <a:rPr lang="en-US" sz="1400" i="1" dirty="0">
                  <a:solidFill>
                    <a:schemeClr val="accent3"/>
                  </a:solidFill>
                  <a:latin typeface="+mj-lt"/>
                </a:rPr>
                <a:t>, </a:t>
              </a:r>
              <a:r>
                <a:rPr lang="en-US" sz="1400" i="1" dirty="0" err="1">
                  <a:solidFill>
                    <a:schemeClr val="accent3"/>
                  </a:solidFill>
                  <a:latin typeface="+mj-lt"/>
                </a:rPr>
                <a:t>consectetur</a:t>
              </a:r>
              <a:endParaRPr lang="en-US" sz="1400" i="1" dirty="0">
                <a:solidFill>
                  <a:schemeClr val="accent3"/>
                </a:solidFill>
                <a:latin typeface="+mj-lt"/>
              </a:endParaRPr>
            </a:p>
          </p:txBody>
        </p:sp>
      </p:grpSp>
      <p:grpSp>
        <p:nvGrpSpPr>
          <p:cNvPr id="80" name="Group 79">
            <a:extLst>
              <a:ext uri="{FF2B5EF4-FFF2-40B4-BE49-F238E27FC236}">
                <a16:creationId xmlns:a16="http://schemas.microsoft.com/office/drawing/2014/main" id="{4E98C226-5870-8743-ADCB-E3B9AC13CDE9}"/>
              </a:ext>
            </a:extLst>
          </p:cNvPr>
          <p:cNvGrpSpPr/>
          <p:nvPr/>
        </p:nvGrpSpPr>
        <p:grpSpPr>
          <a:xfrm flipH="1">
            <a:off x="1890183" y="3065711"/>
            <a:ext cx="2340207" cy="1909187"/>
            <a:chOff x="5822183" y="4172881"/>
            <a:chExt cx="3027363" cy="2511697"/>
          </a:xfrm>
        </p:grpSpPr>
        <p:grpSp>
          <p:nvGrpSpPr>
            <p:cNvPr id="81" name="Group 80">
              <a:extLst>
                <a:ext uri="{FF2B5EF4-FFF2-40B4-BE49-F238E27FC236}">
                  <a16:creationId xmlns:a16="http://schemas.microsoft.com/office/drawing/2014/main" id="{310A0E0F-8F14-104A-A9F2-287437C58B2E}"/>
                </a:ext>
              </a:extLst>
            </p:cNvPr>
            <p:cNvGrpSpPr/>
            <p:nvPr/>
          </p:nvGrpSpPr>
          <p:grpSpPr>
            <a:xfrm>
              <a:off x="5822183" y="4172881"/>
              <a:ext cx="3027363" cy="2511697"/>
              <a:chOff x="6134100" y="1103313"/>
              <a:chExt cx="3027363" cy="2006600"/>
            </a:xfrm>
          </p:grpSpPr>
          <p:sp>
            <p:nvSpPr>
              <p:cNvPr id="83" name="Freeform 82">
                <a:extLst>
                  <a:ext uri="{FF2B5EF4-FFF2-40B4-BE49-F238E27FC236}">
                    <a16:creationId xmlns:a16="http://schemas.microsoft.com/office/drawing/2014/main" id="{00118B86-E5A6-5A4F-9DC9-AE2150734FB4}"/>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84" name="Freeform 83">
                <a:extLst>
                  <a:ext uri="{FF2B5EF4-FFF2-40B4-BE49-F238E27FC236}">
                    <a16:creationId xmlns:a16="http://schemas.microsoft.com/office/drawing/2014/main" id="{BB2EAC12-2975-D94C-926E-B5AE1A87F692}"/>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82" name="Rounded Rectangle 81">
              <a:extLst>
                <a:ext uri="{FF2B5EF4-FFF2-40B4-BE49-F238E27FC236}">
                  <a16:creationId xmlns:a16="http://schemas.microsoft.com/office/drawing/2014/main" id="{5C48E357-C2DF-C748-8B29-B9C46D46B4B2}"/>
                </a:ext>
              </a:extLst>
            </p:cNvPr>
            <p:cNvSpPr/>
            <p:nvPr/>
          </p:nvSpPr>
          <p:spPr>
            <a:xfrm>
              <a:off x="6075641" y="4423233"/>
              <a:ext cx="2548820" cy="1606848"/>
            </a:xfrm>
            <a:prstGeom prst="roundRect">
              <a:avLst>
                <a:gd name="adj" fmla="val 4832"/>
              </a:avLst>
            </a:prstGeom>
            <a:solidFill>
              <a:schemeClr val="bg1"/>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200" i="1" dirty="0">
                  <a:solidFill>
                    <a:srgbClr val="000000"/>
                  </a:solidFill>
                  <a:latin typeface="+mj-lt"/>
                </a:rPr>
                <a:t>Lorem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Lorem</a:t>
              </a:r>
              <a:r>
                <a:rPr lang="en-US" sz="1200" i="1" dirty="0">
                  <a:solidFill>
                    <a:srgbClr val="000000"/>
                  </a:solidFill>
                  <a:latin typeface="+mj-lt"/>
                </a:rPr>
                <a:t>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a:t>
              </a:r>
              <a:endParaRPr lang="en-US" sz="1200" i="1" dirty="0">
                <a:solidFill>
                  <a:srgbClr val="000000"/>
                </a:solidFill>
                <a:latin typeface="+mj-lt"/>
              </a:endParaRPr>
            </a:p>
          </p:txBody>
        </p:sp>
      </p:grpSp>
      <p:grpSp>
        <p:nvGrpSpPr>
          <p:cNvPr id="85" name="Group 84">
            <a:extLst>
              <a:ext uri="{FF2B5EF4-FFF2-40B4-BE49-F238E27FC236}">
                <a16:creationId xmlns:a16="http://schemas.microsoft.com/office/drawing/2014/main" id="{F21D618B-D580-CA4B-9494-F48F8AAA4F11}"/>
              </a:ext>
            </a:extLst>
          </p:cNvPr>
          <p:cNvGrpSpPr/>
          <p:nvPr/>
        </p:nvGrpSpPr>
        <p:grpSpPr>
          <a:xfrm flipH="1">
            <a:off x="2656736" y="4676694"/>
            <a:ext cx="2182018" cy="1780532"/>
            <a:chOff x="414338" y="1187943"/>
            <a:chExt cx="3027363" cy="2511697"/>
          </a:xfrm>
        </p:grpSpPr>
        <p:grpSp>
          <p:nvGrpSpPr>
            <p:cNvPr id="86" name="Group 85">
              <a:extLst>
                <a:ext uri="{FF2B5EF4-FFF2-40B4-BE49-F238E27FC236}">
                  <a16:creationId xmlns:a16="http://schemas.microsoft.com/office/drawing/2014/main" id="{21775F45-BAAB-3741-B15E-D624D496E4E1}"/>
                </a:ext>
              </a:extLst>
            </p:cNvPr>
            <p:cNvGrpSpPr/>
            <p:nvPr/>
          </p:nvGrpSpPr>
          <p:grpSpPr>
            <a:xfrm flipH="1">
              <a:off x="414338" y="1187943"/>
              <a:ext cx="3027363" cy="2511697"/>
              <a:chOff x="6134100" y="1103313"/>
              <a:chExt cx="3027363" cy="2006600"/>
            </a:xfrm>
          </p:grpSpPr>
          <p:sp>
            <p:nvSpPr>
              <p:cNvPr id="88" name="Freeform 87">
                <a:extLst>
                  <a:ext uri="{FF2B5EF4-FFF2-40B4-BE49-F238E27FC236}">
                    <a16:creationId xmlns:a16="http://schemas.microsoft.com/office/drawing/2014/main" id="{0B53B6C2-F844-9842-8264-40BBB7E20887}"/>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89" name="Freeform 88">
                <a:extLst>
                  <a:ext uri="{FF2B5EF4-FFF2-40B4-BE49-F238E27FC236}">
                    <a16:creationId xmlns:a16="http://schemas.microsoft.com/office/drawing/2014/main" id="{61FA8899-13BA-BD4E-B7EC-2786451EED9C}"/>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87" name="Rounded Rectangle 86">
              <a:extLst>
                <a:ext uri="{FF2B5EF4-FFF2-40B4-BE49-F238E27FC236}">
                  <a16:creationId xmlns:a16="http://schemas.microsoft.com/office/drawing/2014/main" id="{1F2CA166-1DBC-504E-B4E7-D01FBAA65513}"/>
                </a:ext>
              </a:extLst>
            </p:cNvPr>
            <p:cNvSpPr/>
            <p:nvPr/>
          </p:nvSpPr>
          <p:spPr>
            <a:xfrm>
              <a:off x="583326" y="1418897"/>
              <a:ext cx="2695904" cy="1661630"/>
            </a:xfrm>
            <a:prstGeom prst="roundRect">
              <a:avLst>
                <a:gd name="adj" fmla="val 4832"/>
              </a:avLst>
            </a:prstGeom>
            <a:solidFill>
              <a:schemeClr val="bg1"/>
            </a:solid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bIns="91440" rtlCol="0" anchor="ctr"/>
            <a:lstStyle/>
            <a:p>
              <a:r>
                <a:rPr lang="en-US" sz="1400" i="1" dirty="0">
                  <a:solidFill>
                    <a:schemeClr val="accent1"/>
                  </a:solidFill>
                  <a:latin typeface="+mj-lt"/>
                </a:rPr>
                <a:t>Lorem ipsum dolor sit </a:t>
              </a:r>
              <a:r>
                <a:rPr lang="en-US" sz="1400" i="1" dirty="0" err="1">
                  <a:solidFill>
                    <a:schemeClr val="accent1"/>
                  </a:solidFill>
                  <a:latin typeface="+mj-lt"/>
                </a:rPr>
                <a:t>amet</a:t>
              </a:r>
              <a:r>
                <a:rPr lang="en-US" sz="1400" i="1" dirty="0">
                  <a:solidFill>
                    <a:schemeClr val="accent1"/>
                  </a:solidFill>
                  <a:latin typeface="+mj-lt"/>
                </a:rPr>
                <a:t>, </a:t>
              </a:r>
              <a:r>
                <a:rPr lang="en-US" sz="1400" i="1" dirty="0" err="1">
                  <a:solidFill>
                    <a:schemeClr val="accent1"/>
                  </a:solidFill>
                  <a:latin typeface="+mj-lt"/>
                </a:rPr>
                <a:t>consecteturLorem</a:t>
              </a:r>
              <a:r>
                <a:rPr lang="en-US" sz="1400" i="1" dirty="0">
                  <a:solidFill>
                    <a:schemeClr val="accent1"/>
                  </a:solidFill>
                  <a:latin typeface="+mj-lt"/>
                </a:rPr>
                <a:t> ipsum dolor sit </a:t>
              </a:r>
              <a:r>
                <a:rPr lang="en-US" sz="1400" i="1" dirty="0" err="1">
                  <a:solidFill>
                    <a:schemeClr val="accent1"/>
                  </a:solidFill>
                  <a:latin typeface="+mj-lt"/>
                </a:rPr>
                <a:t>amet</a:t>
              </a:r>
              <a:r>
                <a:rPr lang="en-US" sz="1400" i="1" dirty="0">
                  <a:solidFill>
                    <a:schemeClr val="accent1"/>
                  </a:solidFill>
                  <a:latin typeface="+mj-lt"/>
                </a:rPr>
                <a:t>, </a:t>
              </a:r>
              <a:r>
                <a:rPr lang="en-US" sz="1400" i="1" dirty="0" err="1">
                  <a:solidFill>
                    <a:schemeClr val="accent1"/>
                  </a:solidFill>
                  <a:latin typeface="+mj-lt"/>
                </a:rPr>
                <a:t>consectetur</a:t>
              </a:r>
              <a:endParaRPr lang="en-US" sz="1400" i="1" dirty="0">
                <a:solidFill>
                  <a:schemeClr val="accent1"/>
                </a:solidFill>
                <a:latin typeface="+mj-lt"/>
              </a:endParaRPr>
            </a:p>
          </p:txBody>
        </p:sp>
      </p:grpSp>
    </p:spTree>
    <p:custDataLst>
      <p:tags r:id="rId1"/>
    </p:custDataLst>
    <p:extLst>
      <p:ext uri="{BB962C8B-B14F-4D97-AF65-F5344CB8AC3E}">
        <p14:creationId xmlns:p14="http://schemas.microsoft.com/office/powerpoint/2010/main" val="1332729588"/>
      </p:ext>
    </p:extLst>
  </p:cSld>
  <p:clrMapOvr>
    <a:masterClrMapping/>
  </p:clrMapOvr>
  <p:transition>
    <p:fade/>
  </p:transition>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4" name="Group 153">
            <a:extLst>
              <a:ext uri="{FF2B5EF4-FFF2-40B4-BE49-F238E27FC236}">
                <a16:creationId xmlns:a16="http://schemas.microsoft.com/office/drawing/2014/main" id="{C07203CE-8AB5-934B-B08F-D20F72E24FC2}"/>
              </a:ext>
            </a:extLst>
          </p:cNvPr>
          <p:cNvGrpSpPr/>
          <p:nvPr/>
        </p:nvGrpSpPr>
        <p:grpSpPr>
          <a:xfrm>
            <a:off x="462169" y="764640"/>
            <a:ext cx="941169" cy="522125"/>
            <a:chOff x="7334251" y="1016000"/>
            <a:chExt cx="791194" cy="438925"/>
          </a:xfrm>
        </p:grpSpPr>
        <p:sp>
          <p:nvSpPr>
            <p:cNvPr id="155" name="Rectangle 154">
              <a:extLst>
                <a:ext uri="{FF2B5EF4-FFF2-40B4-BE49-F238E27FC236}">
                  <a16:creationId xmlns:a16="http://schemas.microsoft.com/office/drawing/2014/main" id="{36E8EAF8-48B9-7340-8CA7-C9F95379E3DE}"/>
                </a:ext>
              </a:extLst>
            </p:cNvPr>
            <p:cNvSpPr/>
            <p:nvPr/>
          </p:nvSpPr>
          <p:spPr bwMode="gray">
            <a:xfrm>
              <a:off x="7334251" y="1016000"/>
              <a:ext cx="791194" cy="438925"/>
            </a:xfrm>
            <a:prstGeom prst="rect">
              <a:avLst/>
            </a:prstGeom>
            <a:noFill/>
            <a:ln w="952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6" name="Oval 155">
              <a:extLst>
                <a:ext uri="{FF2B5EF4-FFF2-40B4-BE49-F238E27FC236}">
                  <a16:creationId xmlns:a16="http://schemas.microsoft.com/office/drawing/2014/main" id="{86D2BD9C-BF8A-2943-B337-7B173A8B373A}"/>
                </a:ext>
              </a:extLst>
            </p:cNvPr>
            <p:cNvSpPr/>
            <p:nvPr/>
          </p:nvSpPr>
          <p:spPr bwMode="gray">
            <a:xfrm>
              <a:off x="7429499" y="1076325"/>
              <a:ext cx="95250" cy="9525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7" name="Oval 156">
              <a:extLst>
                <a:ext uri="{FF2B5EF4-FFF2-40B4-BE49-F238E27FC236}">
                  <a16:creationId xmlns:a16="http://schemas.microsoft.com/office/drawing/2014/main" id="{3154C36F-B270-AD4D-8509-A6A716472593}"/>
                </a:ext>
              </a:extLst>
            </p:cNvPr>
            <p:cNvSpPr/>
            <p:nvPr/>
          </p:nvSpPr>
          <p:spPr bwMode="gray">
            <a:xfrm>
              <a:off x="7429499" y="1295400"/>
              <a:ext cx="95250" cy="95250"/>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8" name="Rectangle 157">
              <a:extLst>
                <a:ext uri="{FF2B5EF4-FFF2-40B4-BE49-F238E27FC236}">
                  <a16:creationId xmlns:a16="http://schemas.microsoft.com/office/drawing/2014/main" id="{FAB151C5-4662-3D4A-9CB7-F104E1F33082}"/>
                </a:ext>
              </a:extLst>
            </p:cNvPr>
            <p:cNvSpPr/>
            <p:nvPr/>
          </p:nvSpPr>
          <p:spPr>
            <a:xfrm>
              <a:off x="7590809" y="1057481"/>
              <a:ext cx="266098" cy="123111"/>
            </a:xfrm>
            <a:prstGeom prst="rect">
              <a:avLst/>
            </a:prstGeom>
          </p:spPr>
          <p:txBody>
            <a:bodyPr wrap="none" lIns="0" tIns="0" rIns="0" bIns="0">
              <a:spAutoFit/>
            </a:bodyPr>
            <a:lstStyle/>
            <a:p>
              <a:r>
                <a:rPr lang="en-US" sz="800" dirty="0"/>
                <a:t>Lorem</a:t>
              </a:r>
            </a:p>
          </p:txBody>
        </p:sp>
        <p:sp>
          <p:nvSpPr>
            <p:cNvPr id="159" name="Rectangle 158">
              <a:extLst>
                <a:ext uri="{FF2B5EF4-FFF2-40B4-BE49-F238E27FC236}">
                  <a16:creationId xmlns:a16="http://schemas.microsoft.com/office/drawing/2014/main" id="{57F83D22-F2C5-FF40-AF20-C5D921289A38}"/>
                </a:ext>
              </a:extLst>
            </p:cNvPr>
            <p:cNvSpPr/>
            <p:nvPr/>
          </p:nvSpPr>
          <p:spPr>
            <a:xfrm>
              <a:off x="7590809" y="1276556"/>
              <a:ext cx="267702" cy="123111"/>
            </a:xfrm>
            <a:prstGeom prst="rect">
              <a:avLst/>
            </a:prstGeom>
          </p:spPr>
          <p:txBody>
            <a:bodyPr wrap="none" lIns="0" tIns="0" rIns="0" bIns="0">
              <a:spAutoFit/>
            </a:bodyPr>
            <a:lstStyle/>
            <a:p>
              <a:r>
                <a:rPr lang="en-US" sz="800" dirty="0"/>
                <a:t>Lorem</a:t>
              </a:r>
            </a:p>
          </p:txBody>
        </p:sp>
      </p:grpSp>
      <p:grpSp>
        <p:nvGrpSpPr>
          <p:cNvPr id="3" name="Group 2">
            <a:extLst>
              <a:ext uri="{FF2B5EF4-FFF2-40B4-BE49-F238E27FC236}">
                <a16:creationId xmlns:a16="http://schemas.microsoft.com/office/drawing/2014/main" id="{6DD29410-EFE0-4E4E-BDA8-155BE9D6DC70}"/>
              </a:ext>
            </a:extLst>
          </p:cNvPr>
          <p:cNvGrpSpPr/>
          <p:nvPr/>
        </p:nvGrpSpPr>
        <p:grpSpPr>
          <a:xfrm>
            <a:off x="462169" y="169760"/>
            <a:ext cx="11319182" cy="6518479"/>
            <a:chOff x="1206791" y="999589"/>
            <a:chExt cx="9778417" cy="5631185"/>
          </a:xfrm>
        </p:grpSpPr>
        <p:sp>
          <p:nvSpPr>
            <p:cNvPr id="98" name="Flowchart: Delay 266">
              <a:extLst>
                <a:ext uri="{FF2B5EF4-FFF2-40B4-BE49-F238E27FC236}">
                  <a16:creationId xmlns:a16="http://schemas.microsoft.com/office/drawing/2014/main" id="{545307F0-D123-F245-83DC-8E3525946396}"/>
                </a:ext>
              </a:extLst>
            </p:cNvPr>
            <p:cNvSpPr/>
            <p:nvPr/>
          </p:nvSpPr>
          <p:spPr bwMode="gray">
            <a:xfrm rot="16200000">
              <a:off x="8985656" y="5281109"/>
              <a:ext cx="686406" cy="920759"/>
            </a:xfrm>
            <a:prstGeom prst="flowChartDelay">
              <a:avLst/>
            </a:prstGeom>
            <a:solidFill>
              <a:schemeClr val="accent3"/>
            </a:solidFill>
            <a:ln w="19050" algn="ctr">
              <a:noFill/>
              <a:miter lim="800000"/>
              <a:headEnd/>
              <a:tailEnd/>
            </a:ln>
          </p:spPr>
          <p:txBody>
            <a:bodyPr vert="vert" wrap="none" lIns="0" tIns="0" rIns="0" bIns="0" rtlCol="0" anchor="ctr"/>
            <a:lstStyle/>
            <a:p>
              <a:pPr algn="ctr">
                <a:lnSpc>
                  <a:spcPct val="106000"/>
                </a:lnSpc>
                <a:buFont typeface="Wingdings 2" pitchFamily="18" charset="2"/>
                <a:buNone/>
              </a:pPr>
              <a:r>
                <a:rPr lang="en-US" sz="800" b="1" dirty="0">
                  <a:solidFill>
                    <a:schemeClr val="bg1"/>
                  </a:solidFill>
                </a:rPr>
                <a:t>Lorem ipsum dolor </a:t>
              </a:r>
            </a:p>
          </p:txBody>
        </p:sp>
        <p:grpSp>
          <p:nvGrpSpPr>
            <p:cNvPr id="99" name="Group 98">
              <a:extLst>
                <a:ext uri="{FF2B5EF4-FFF2-40B4-BE49-F238E27FC236}">
                  <a16:creationId xmlns:a16="http://schemas.microsoft.com/office/drawing/2014/main" id="{4FC35BA9-BFF9-2F41-AF32-2B59ACB57632}"/>
                </a:ext>
              </a:extLst>
            </p:cNvPr>
            <p:cNvGrpSpPr/>
            <p:nvPr/>
          </p:nvGrpSpPr>
          <p:grpSpPr>
            <a:xfrm>
              <a:off x="8739885" y="4834237"/>
              <a:ext cx="1234016" cy="1276197"/>
              <a:chOff x="6918384" y="4116599"/>
              <a:chExt cx="1037376" cy="1072836"/>
            </a:xfrm>
          </p:grpSpPr>
          <p:cxnSp>
            <p:nvCxnSpPr>
              <p:cNvPr id="100" name="Straight Connector 99">
                <a:extLst>
                  <a:ext uri="{FF2B5EF4-FFF2-40B4-BE49-F238E27FC236}">
                    <a16:creationId xmlns:a16="http://schemas.microsoft.com/office/drawing/2014/main" id="{B8008B27-2954-D54E-B48D-35695B0DBFC6}"/>
                  </a:ext>
                </a:extLst>
              </p:cNvPr>
              <p:cNvCxnSpPr/>
              <p:nvPr/>
            </p:nvCxnSpPr>
            <p:spPr>
              <a:xfrm>
                <a:off x="7955760" y="4116599"/>
                <a:ext cx="0" cy="1072836"/>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1" name="Pentagon 100">
                <a:extLst>
                  <a:ext uri="{FF2B5EF4-FFF2-40B4-BE49-F238E27FC236}">
                    <a16:creationId xmlns:a16="http://schemas.microsoft.com/office/drawing/2014/main" id="{F372AC7B-542C-D542-867A-1079EEACFF0A}"/>
                  </a:ext>
                </a:extLst>
              </p:cNvPr>
              <p:cNvSpPr/>
              <p:nvPr/>
            </p:nvSpPr>
            <p:spPr bwMode="gray">
              <a:xfrm flipH="1">
                <a:off x="6918384" y="4116599"/>
                <a:ext cx="1037374" cy="347960"/>
              </a:xfrm>
              <a:prstGeom prst="homePlat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800" b="1" dirty="0">
                    <a:solidFill>
                      <a:schemeClr val="bg1"/>
                    </a:solidFill>
                  </a:rPr>
                  <a:t>Lorem ipsum dolor </a:t>
                </a:r>
              </a:p>
            </p:txBody>
          </p:sp>
        </p:grpSp>
        <p:grpSp>
          <p:nvGrpSpPr>
            <p:cNvPr id="102" name="Group 101">
              <a:extLst>
                <a:ext uri="{FF2B5EF4-FFF2-40B4-BE49-F238E27FC236}">
                  <a16:creationId xmlns:a16="http://schemas.microsoft.com/office/drawing/2014/main" id="{A217A9F9-5973-8945-8263-0583A3532E4B}"/>
                </a:ext>
              </a:extLst>
            </p:cNvPr>
            <p:cNvGrpSpPr/>
            <p:nvPr/>
          </p:nvGrpSpPr>
          <p:grpSpPr>
            <a:xfrm flipH="1">
              <a:off x="7633500" y="999589"/>
              <a:ext cx="1234016" cy="1378548"/>
              <a:chOff x="6918384" y="4030558"/>
              <a:chExt cx="1037376" cy="1158877"/>
            </a:xfrm>
          </p:grpSpPr>
          <p:cxnSp>
            <p:nvCxnSpPr>
              <p:cNvPr id="103" name="Straight Connector 102">
                <a:extLst>
                  <a:ext uri="{FF2B5EF4-FFF2-40B4-BE49-F238E27FC236}">
                    <a16:creationId xmlns:a16="http://schemas.microsoft.com/office/drawing/2014/main" id="{D9FA6E54-8BA2-6940-BCE7-2C7D7D2A00C0}"/>
                  </a:ext>
                </a:extLst>
              </p:cNvPr>
              <p:cNvCxnSpPr/>
              <p:nvPr/>
            </p:nvCxnSpPr>
            <p:spPr>
              <a:xfrm>
                <a:off x="7955760" y="4030558"/>
                <a:ext cx="0" cy="1158877"/>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4" name="Pentagon 103">
                <a:extLst>
                  <a:ext uri="{FF2B5EF4-FFF2-40B4-BE49-F238E27FC236}">
                    <a16:creationId xmlns:a16="http://schemas.microsoft.com/office/drawing/2014/main" id="{A980B237-F367-4441-AE37-580153E23B74}"/>
                  </a:ext>
                </a:extLst>
              </p:cNvPr>
              <p:cNvSpPr/>
              <p:nvPr/>
            </p:nvSpPr>
            <p:spPr bwMode="gray">
              <a:xfrm flipH="1">
                <a:off x="6918384" y="4030558"/>
                <a:ext cx="1037374" cy="347960"/>
              </a:xfrm>
              <a:prstGeom prst="homePlat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800" b="1" dirty="0">
                    <a:solidFill>
                      <a:schemeClr val="bg1"/>
                    </a:solidFill>
                  </a:rPr>
                  <a:t>Lorem ipsum dolor </a:t>
                </a:r>
              </a:p>
            </p:txBody>
          </p:sp>
        </p:grpSp>
        <p:sp>
          <p:nvSpPr>
            <p:cNvPr id="122" name="Rectangle 121">
              <a:extLst>
                <a:ext uri="{FF2B5EF4-FFF2-40B4-BE49-F238E27FC236}">
                  <a16:creationId xmlns:a16="http://schemas.microsoft.com/office/drawing/2014/main" id="{3BB3BB15-3477-C34C-95C3-F84EB74DBE86}"/>
                </a:ext>
              </a:extLst>
            </p:cNvPr>
            <p:cNvSpPr/>
            <p:nvPr/>
          </p:nvSpPr>
          <p:spPr bwMode="gray">
            <a:xfrm>
              <a:off x="7132472" y="6184992"/>
              <a:ext cx="2178424" cy="334621"/>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3" name="Rectangle 122">
              <a:extLst>
                <a:ext uri="{FF2B5EF4-FFF2-40B4-BE49-F238E27FC236}">
                  <a16:creationId xmlns:a16="http://schemas.microsoft.com/office/drawing/2014/main" id="{85A21BB2-F4C3-E54E-BCE4-E18083DD5443}"/>
                </a:ext>
              </a:extLst>
            </p:cNvPr>
            <p:cNvSpPr/>
            <p:nvPr/>
          </p:nvSpPr>
          <p:spPr bwMode="gray">
            <a:xfrm>
              <a:off x="5289412" y="6184991"/>
              <a:ext cx="1401407" cy="445783"/>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4" name="Rectangle 123">
              <a:extLst>
                <a:ext uri="{FF2B5EF4-FFF2-40B4-BE49-F238E27FC236}">
                  <a16:creationId xmlns:a16="http://schemas.microsoft.com/office/drawing/2014/main" id="{7314C4CB-E907-9E47-9736-14B43A5FE62E}"/>
                </a:ext>
              </a:extLst>
            </p:cNvPr>
            <p:cNvSpPr/>
            <p:nvPr/>
          </p:nvSpPr>
          <p:spPr bwMode="gray">
            <a:xfrm>
              <a:off x="2511692" y="6184992"/>
              <a:ext cx="2398390" cy="426166"/>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5" name="Rectangle 124">
              <a:extLst>
                <a:ext uri="{FF2B5EF4-FFF2-40B4-BE49-F238E27FC236}">
                  <a16:creationId xmlns:a16="http://schemas.microsoft.com/office/drawing/2014/main" id="{03586D64-2148-0249-B2C6-FBB57010AD46}"/>
                </a:ext>
              </a:extLst>
            </p:cNvPr>
            <p:cNvSpPr/>
            <p:nvPr/>
          </p:nvSpPr>
          <p:spPr bwMode="gray">
            <a:xfrm>
              <a:off x="1206791" y="5357222"/>
              <a:ext cx="645762" cy="768528"/>
            </a:xfrm>
            <a:prstGeom prst="rect">
              <a:avLst/>
            </a:prstGeom>
            <a:noFill/>
            <a:ln w="19050" algn="ctr">
              <a:noFill/>
              <a:miter lim="800000"/>
              <a:headEnd/>
              <a:tailEnd/>
            </a:ln>
          </p:spPr>
          <p:txBody>
            <a:bodyPr wrap="square" lIns="0" tIns="0" rIns="0" bIns="0" rtlCol="0" anchor="ctr"/>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6" name="Rectangle 125">
              <a:extLst>
                <a:ext uri="{FF2B5EF4-FFF2-40B4-BE49-F238E27FC236}">
                  <a16:creationId xmlns:a16="http://schemas.microsoft.com/office/drawing/2014/main" id="{B1E7A935-B534-5B44-9CBB-9BE5559680C1}"/>
                </a:ext>
              </a:extLst>
            </p:cNvPr>
            <p:cNvSpPr/>
            <p:nvPr/>
          </p:nvSpPr>
          <p:spPr bwMode="gray">
            <a:xfrm>
              <a:off x="2674360" y="4313123"/>
              <a:ext cx="2799534" cy="961019"/>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a:t>
              </a:r>
              <a:r>
                <a:rPr lang="en-US" sz="700" dirty="0" err="1"/>
                <a:t>dLorem</a:t>
              </a:r>
              <a:r>
                <a:rPr lang="en-US" sz="700" dirty="0"/>
                <a:t>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a:t>
              </a:r>
              <a:r>
                <a:rPr lang="en-US" sz="700" dirty="0" err="1"/>
                <a:t>dLorem</a:t>
              </a:r>
              <a:r>
                <a:rPr lang="en-US" sz="700" dirty="0"/>
                <a:t>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a:t>
              </a:r>
              <a:r>
                <a:rPr lang="en-US" sz="700" dirty="0" err="1"/>
                <a:t>dLorem</a:t>
              </a:r>
              <a:r>
                <a:rPr lang="en-US" sz="700" dirty="0"/>
                <a:t>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a:t>
              </a:r>
              <a:r>
                <a:rPr lang="en-US" sz="700" dirty="0" err="1"/>
                <a:t>dLorem</a:t>
              </a:r>
              <a:r>
                <a:rPr lang="en-US" sz="700" dirty="0"/>
                <a:t>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7" name="Rectangle 126">
              <a:extLst>
                <a:ext uri="{FF2B5EF4-FFF2-40B4-BE49-F238E27FC236}">
                  <a16:creationId xmlns:a16="http://schemas.microsoft.com/office/drawing/2014/main" id="{E254E62E-AE30-614F-A8BD-29E2FE247BA4}"/>
                </a:ext>
              </a:extLst>
            </p:cNvPr>
            <p:cNvSpPr/>
            <p:nvPr/>
          </p:nvSpPr>
          <p:spPr bwMode="gray">
            <a:xfrm>
              <a:off x="5676579" y="4313122"/>
              <a:ext cx="1857271" cy="379934"/>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8" name="Rectangle 127">
              <a:extLst>
                <a:ext uri="{FF2B5EF4-FFF2-40B4-BE49-F238E27FC236}">
                  <a16:creationId xmlns:a16="http://schemas.microsoft.com/office/drawing/2014/main" id="{7DD98FE0-67E1-0049-9620-454ACF46CFAC}"/>
                </a:ext>
              </a:extLst>
            </p:cNvPr>
            <p:cNvSpPr/>
            <p:nvPr/>
          </p:nvSpPr>
          <p:spPr bwMode="gray">
            <a:xfrm>
              <a:off x="7763890" y="4313122"/>
              <a:ext cx="1832597" cy="379934"/>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9" name="Rectangle 128">
              <a:extLst>
                <a:ext uri="{FF2B5EF4-FFF2-40B4-BE49-F238E27FC236}">
                  <a16:creationId xmlns:a16="http://schemas.microsoft.com/office/drawing/2014/main" id="{265164D4-92D0-734E-9A25-FC250545BB2A}"/>
                </a:ext>
              </a:extLst>
            </p:cNvPr>
            <p:cNvSpPr/>
            <p:nvPr/>
          </p:nvSpPr>
          <p:spPr bwMode="gray">
            <a:xfrm>
              <a:off x="10213995" y="3587018"/>
              <a:ext cx="771213" cy="1661138"/>
            </a:xfrm>
            <a:prstGeom prst="rect">
              <a:avLst/>
            </a:prstGeom>
            <a:noFill/>
            <a:ln w="19050" algn="ctr">
              <a:noFill/>
              <a:miter lim="800000"/>
              <a:headEnd/>
              <a:tailEnd/>
            </a:ln>
          </p:spPr>
          <p:txBody>
            <a:bodyPr wrap="square" lIns="0" tIns="0" rIns="0" bIns="0" rtlCol="0" anchor="ctr"/>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30" name="Rectangle 129">
              <a:extLst>
                <a:ext uri="{FF2B5EF4-FFF2-40B4-BE49-F238E27FC236}">
                  <a16:creationId xmlns:a16="http://schemas.microsoft.com/office/drawing/2014/main" id="{89B63838-5D75-B448-84A7-5496EEE60390}"/>
                </a:ext>
              </a:extLst>
            </p:cNvPr>
            <p:cNvSpPr/>
            <p:nvPr/>
          </p:nvSpPr>
          <p:spPr bwMode="gray">
            <a:xfrm>
              <a:off x="8577681" y="1701521"/>
              <a:ext cx="2407527" cy="526053"/>
            </a:xfrm>
            <a:prstGeom prst="rect">
              <a:avLst/>
            </a:prstGeom>
            <a:noFill/>
            <a:ln w="19050" algn="ctr">
              <a:noFill/>
              <a:miter lim="800000"/>
              <a:headEnd/>
              <a:tailEnd/>
            </a:ln>
          </p:spPr>
          <p:txBody>
            <a:bodyPr wrap="square" lIns="0" tIns="0" rIns="0" bIns="0" rtlCol="0" anchor="ctr"/>
            <a:lstStyle/>
            <a:p>
              <a:pPr marL="128016" indent="-128016" defTabSz="914378">
                <a:lnSpc>
                  <a:spcPct val="106000"/>
                </a:lnSpc>
                <a:buFont typeface="Arial" panose="020B0604020202020204" pitchFamily="34" charset="0"/>
                <a:buChar char="•"/>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a:p>
              <a:pPr marL="128016" indent="-128016" defTabSz="914378">
                <a:lnSpc>
                  <a:spcPct val="106000"/>
                </a:lnSpc>
                <a:buFont typeface="Arial" panose="020B0604020202020204" pitchFamily="34" charset="0"/>
                <a:buChar char="•"/>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36" name="TextBox 135">
              <a:extLst>
                <a:ext uri="{FF2B5EF4-FFF2-40B4-BE49-F238E27FC236}">
                  <a16:creationId xmlns:a16="http://schemas.microsoft.com/office/drawing/2014/main" id="{5B2CB4EB-C23F-424C-9023-A76DDDB8F20E}"/>
                </a:ext>
              </a:extLst>
            </p:cNvPr>
            <p:cNvSpPr txBox="1"/>
            <p:nvPr/>
          </p:nvSpPr>
          <p:spPr>
            <a:xfrm>
              <a:off x="2975177" y="5623831"/>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1"/>
                  </a:solidFill>
                </a:rPr>
                <a:t>3</a:t>
              </a:r>
            </a:p>
          </p:txBody>
        </p:sp>
        <p:sp>
          <p:nvSpPr>
            <p:cNvPr id="137" name="TextBox 136">
              <a:extLst>
                <a:ext uri="{FF2B5EF4-FFF2-40B4-BE49-F238E27FC236}">
                  <a16:creationId xmlns:a16="http://schemas.microsoft.com/office/drawing/2014/main" id="{55E43825-075B-0D40-8B2A-30C2138817D6}"/>
                </a:ext>
              </a:extLst>
            </p:cNvPr>
            <p:cNvSpPr txBox="1"/>
            <p:nvPr/>
          </p:nvSpPr>
          <p:spPr>
            <a:xfrm>
              <a:off x="5521376" y="5586877"/>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5"/>
                  </a:solidFill>
                </a:rPr>
                <a:t>2</a:t>
              </a:r>
            </a:p>
          </p:txBody>
        </p:sp>
        <p:sp>
          <p:nvSpPr>
            <p:cNvPr id="138" name="TextBox 137">
              <a:extLst>
                <a:ext uri="{FF2B5EF4-FFF2-40B4-BE49-F238E27FC236}">
                  <a16:creationId xmlns:a16="http://schemas.microsoft.com/office/drawing/2014/main" id="{038F2462-E45C-8742-AA20-0609599EBF1C}"/>
                </a:ext>
              </a:extLst>
            </p:cNvPr>
            <p:cNvSpPr txBox="1"/>
            <p:nvPr/>
          </p:nvSpPr>
          <p:spPr>
            <a:xfrm>
              <a:off x="7491388" y="5561194"/>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1"/>
                  </a:solidFill>
                </a:rPr>
                <a:t>1</a:t>
              </a:r>
            </a:p>
          </p:txBody>
        </p:sp>
        <p:sp>
          <p:nvSpPr>
            <p:cNvPr id="139" name="TextBox 138">
              <a:extLst>
                <a:ext uri="{FF2B5EF4-FFF2-40B4-BE49-F238E27FC236}">
                  <a16:creationId xmlns:a16="http://schemas.microsoft.com/office/drawing/2014/main" id="{7D39E132-E2F6-1444-BBF5-1EC5E8B09E63}"/>
                </a:ext>
              </a:extLst>
            </p:cNvPr>
            <p:cNvSpPr txBox="1"/>
            <p:nvPr/>
          </p:nvSpPr>
          <p:spPr>
            <a:xfrm>
              <a:off x="1459480" y="4957796"/>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5"/>
                  </a:solidFill>
                </a:rPr>
                <a:t>4</a:t>
              </a:r>
            </a:p>
          </p:txBody>
        </p:sp>
        <p:sp>
          <p:nvSpPr>
            <p:cNvPr id="140" name="TextBox 139">
              <a:extLst>
                <a:ext uri="{FF2B5EF4-FFF2-40B4-BE49-F238E27FC236}">
                  <a16:creationId xmlns:a16="http://schemas.microsoft.com/office/drawing/2014/main" id="{6D412DFC-AC55-034B-AF73-EEC9EA61DDB6}"/>
                </a:ext>
              </a:extLst>
            </p:cNvPr>
            <p:cNvSpPr txBox="1"/>
            <p:nvPr/>
          </p:nvSpPr>
          <p:spPr>
            <a:xfrm>
              <a:off x="3929741" y="3683939"/>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1"/>
                  </a:solidFill>
                </a:rPr>
                <a:t>5</a:t>
              </a:r>
            </a:p>
          </p:txBody>
        </p:sp>
        <p:sp>
          <p:nvSpPr>
            <p:cNvPr id="141" name="TextBox 140">
              <a:extLst>
                <a:ext uri="{FF2B5EF4-FFF2-40B4-BE49-F238E27FC236}">
                  <a16:creationId xmlns:a16="http://schemas.microsoft.com/office/drawing/2014/main" id="{36860A34-C114-D843-9F4A-B016E3FD646D}"/>
                </a:ext>
              </a:extLst>
            </p:cNvPr>
            <p:cNvSpPr txBox="1"/>
            <p:nvPr/>
          </p:nvSpPr>
          <p:spPr>
            <a:xfrm>
              <a:off x="6439182" y="3683939"/>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5"/>
                  </a:solidFill>
                </a:rPr>
                <a:t>6</a:t>
              </a:r>
            </a:p>
          </p:txBody>
        </p:sp>
        <p:sp>
          <p:nvSpPr>
            <p:cNvPr id="142" name="TextBox 141">
              <a:extLst>
                <a:ext uri="{FF2B5EF4-FFF2-40B4-BE49-F238E27FC236}">
                  <a16:creationId xmlns:a16="http://schemas.microsoft.com/office/drawing/2014/main" id="{5B60F9DB-6B2D-3544-B8FF-099A5D0094EE}"/>
                </a:ext>
              </a:extLst>
            </p:cNvPr>
            <p:cNvSpPr txBox="1"/>
            <p:nvPr/>
          </p:nvSpPr>
          <p:spPr>
            <a:xfrm>
              <a:off x="8467514" y="3683939"/>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1"/>
                  </a:solidFill>
                </a:rPr>
                <a:t>7</a:t>
              </a:r>
            </a:p>
          </p:txBody>
        </p:sp>
        <p:sp>
          <p:nvSpPr>
            <p:cNvPr id="143" name="TextBox 142">
              <a:extLst>
                <a:ext uri="{FF2B5EF4-FFF2-40B4-BE49-F238E27FC236}">
                  <a16:creationId xmlns:a16="http://schemas.microsoft.com/office/drawing/2014/main" id="{687A07EB-0D85-7E47-B454-4FA847FB9851}"/>
                </a:ext>
              </a:extLst>
            </p:cNvPr>
            <p:cNvSpPr txBox="1"/>
            <p:nvPr/>
          </p:nvSpPr>
          <p:spPr>
            <a:xfrm>
              <a:off x="10376263" y="3179745"/>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1"/>
                  </a:solidFill>
                </a:rPr>
                <a:t>8</a:t>
              </a:r>
            </a:p>
          </p:txBody>
        </p:sp>
        <p:sp>
          <p:nvSpPr>
            <p:cNvPr id="144" name="Oval 143">
              <a:extLst>
                <a:ext uri="{FF2B5EF4-FFF2-40B4-BE49-F238E27FC236}">
                  <a16:creationId xmlns:a16="http://schemas.microsoft.com/office/drawing/2014/main" id="{40AC170F-EDB6-E544-986C-C7868CF0FA58}"/>
                </a:ext>
              </a:extLst>
            </p:cNvPr>
            <p:cNvSpPr/>
            <p:nvPr/>
          </p:nvSpPr>
          <p:spPr bwMode="gray">
            <a:xfrm>
              <a:off x="7504665" y="2250161"/>
              <a:ext cx="232309" cy="232309"/>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5" name="Oval 144">
              <a:extLst>
                <a:ext uri="{FF2B5EF4-FFF2-40B4-BE49-F238E27FC236}">
                  <a16:creationId xmlns:a16="http://schemas.microsoft.com/office/drawing/2014/main" id="{F33F11B7-06EA-E14A-8983-DA010FA8E6B9}"/>
                </a:ext>
              </a:extLst>
            </p:cNvPr>
            <p:cNvSpPr/>
            <p:nvPr/>
          </p:nvSpPr>
          <p:spPr bwMode="gray">
            <a:xfrm>
              <a:off x="9862284" y="5953229"/>
              <a:ext cx="232309" cy="232309"/>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6" name="Rectangle 145">
              <a:extLst>
                <a:ext uri="{FF2B5EF4-FFF2-40B4-BE49-F238E27FC236}">
                  <a16:creationId xmlns:a16="http://schemas.microsoft.com/office/drawing/2014/main" id="{21E769D5-C760-3846-80E6-DC97BDA4FE59}"/>
                </a:ext>
              </a:extLst>
            </p:cNvPr>
            <p:cNvSpPr/>
            <p:nvPr/>
          </p:nvSpPr>
          <p:spPr bwMode="gray">
            <a:xfrm>
              <a:off x="5876158" y="5977241"/>
              <a:ext cx="263375" cy="65026"/>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7" name="Flowchart: Merge 4">
              <a:extLst>
                <a:ext uri="{FF2B5EF4-FFF2-40B4-BE49-F238E27FC236}">
                  <a16:creationId xmlns:a16="http://schemas.microsoft.com/office/drawing/2014/main" id="{976AF97B-1989-5147-A168-B980E555E074}"/>
                </a:ext>
              </a:extLst>
            </p:cNvPr>
            <p:cNvSpPr/>
            <p:nvPr/>
          </p:nvSpPr>
          <p:spPr bwMode="gray">
            <a:xfrm rot="5400000">
              <a:off x="4752311" y="5966265"/>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8" name="Flowchart: Merge 93">
              <a:extLst>
                <a:ext uri="{FF2B5EF4-FFF2-40B4-BE49-F238E27FC236}">
                  <a16:creationId xmlns:a16="http://schemas.microsoft.com/office/drawing/2014/main" id="{2CC9B69B-C2CE-C545-A8DA-C9019F49DB12}"/>
                </a:ext>
              </a:extLst>
            </p:cNvPr>
            <p:cNvSpPr/>
            <p:nvPr/>
          </p:nvSpPr>
          <p:spPr bwMode="gray">
            <a:xfrm rot="8069118">
              <a:off x="2124047" y="5809140"/>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9" name="Flowchart: Merge 94">
              <a:extLst>
                <a:ext uri="{FF2B5EF4-FFF2-40B4-BE49-F238E27FC236}">
                  <a16:creationId xmlns:a16="http://schemas.microsoft.com/office/drawing/2014/main" id="{740E874D-54FC-C547-A2D9-C462E786C30A}"/>
                </a:ext>
              </a:extLst>
            </p:cNvPr>
            <p:cNvSpPr/>
            <p:nvPr/>
          </p:nvSpPr>
          <p:spPr bwMode="gray">
            <a:xfrm rot="14173395">
              <a:off x="2261236" y="4175390"/>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0" name="Flowchart: Merge 95">
              <a:extLst>
                <a:ext uri="{FF2B5EF4-FFF2-40B4-BE49-F238E27FC236}">
                  <a16:creationId xmlns:a16="http://schemas.microsoft.com/office/drawing/2014/main" id="{A0C88D23-50AA-4A4C-9A1B-69B8C9101EB6}"/>
                </a:ext>
              </a:extLst>
            </p:cNvPr>
            <p:cNvSpPr/>
            <p:nvPr/>
          </p:nvSpPr>
          <p:spPr bwMode="gray">
            <a:xfrm rot="16200000">
              <a:off x="4819011" y="4063981"/>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1" name="Flowchart: Merge 96">
              <a:extLst>
                <a:ext uri="{FF2B5EF4-FFF2-40B4-BE49-F238E27FC236}">
                  <a16:creationId xmlns:a16="http://schemas.microsoft.com/office/drawing/2014/main" id="{46D5DAA1-0F25-6A41-AA5E-1EB7C1E73780}"/>
                </a:ext>
              </a:extLst>
            </p:cNvPr>
            <p:cNvSpPr/>
            <p:nvPr/>
          </p:nvSpPr>
          <p:spPr bwMode="gray">
            <a:xfrm rot="16200000">
              <a:off x="7258175" y="4063981"/>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2" name="Flowchart: Merge 97">
              <a:extLst>
                <a:ext uri="{FF2B5EF4-FFF2-40B4-BE49-F238E27FC236}">
                  <a16:creationId xmlns:a16="http://schemas.microsoft.com/office/drawing/2014/main" id="{00E64E7D-1F7D-1D4C-999E-B4F89499D246}"/>
                </a:ext>
              </a:extLst>
            </p:cNvPr>
            <p:cNvSpPr/>
            <p:nvPr/>
          </p:nvSpPr>
          <p:spPr bwMode="gray">
            <a:xfrm rot="13387378">
              <a:off x="9640778" y="3904682"/>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3" name="Flowchart: Merge 98">
              <a:extLst>
                <a:ext uri="{FF2B5EF4-FFF2-40B4-BE49-F238E27FC236}">
                  <a16:creationId xmlns:a16="http://schemas.microsoft.com/office/drawing/2014/main" id="{C795CD2A-7668-534D-9398-DC81D854580D}"/>
                </a:ext>
              </a:extLst>
            </p:cNvPr>
            <p:cNvSpPr/>
            <p:nvPr/>
          </p:nvSpPr>
          <p:spPr bwMode="gray">
            <a:xfrm rot="6507109">
              <a:off x="9390374" y="2255932"/>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2" name="Freeform 161">
              <a:extLst>
                <a:ext uri="{FF2B5EF4-FFF2-40B4-BE49-F238E27FC236}">
                  <a16:creationId xmlns:a16="http://schemas.microsoft.com/office/drawing/2014/main" id="{D2A28FF8-1879-ED41-942C-C0B4FC5830CC}"/>
                </a:ext>
              </a:extLst>
            </p:cNvPr>
            <p:cNvSpPr/>
            <p:nvPr/>
          </p:nvSpPr>
          <p:spPr bwMode="gray">
            <a:xfrm flipH="1" flipV="1">
              <a:off x="1947386" y="2347028"/>
              <a:ext cx="8151754" cy="3740015"/>
            </a:xfrm>
            <a:custGeom>
              <a:avLst/>
              <a:gdLst>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8000 w 8367265"/>
                <a:gd name="connsiteY0" fmla="*/ 0 h 3480621"/>
                <a:gd name="connsiteX1" fmla="*/ 7629845 w 8367265"/>
                <a:gd name="connsiteY1" fmla="*/ 0 h 3480621"/>
                <a:gd name="connsiteX2" fmla="*/ 8367265 w 8367265"/>
                <a:gd name="connsiteY2" fmla="*/ 737420 h 3480621"/>
                <a:gd name="connsiteX3" fmla="*/ 7472529 w 8367265"/>
                <a:gd name="connsiteY3" fmla="*/ 1632156 h 3480621"/>
                <a:gd name="connsiteX4" fmla="*/ 904581 w 8367265"/>
                <a:gd name="connsiteY4" fmla="*/ 1632156 h 3480621"/>
                <a:gd name="connsiteX5" fmla="*/ 13 w 8367265"/>
                <a:gd name="connsiteY5" fmla="*/ 2536724 h 3480621"/>
                <a:gd name="connsiteX6" fmla="*/ 943910 w 8367265"/>
                <a:gd name="connsiteY6" fmla="*/ 3480621 h 3480621"/>
                <a:gd name="connsiteX7" fmla="*/ 5152116 w 8367265"/>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99 w 8367364"/>
                <a:gd name="connsiteY0" fmla="*/ 0 h 3480621"/>
                <a:gd name="connsiteX1" fmla="*/ 7629944 w 8367364"/>
                <a:gd name="connsiteY1" fmla="*/ 0 h 3480621"/>
                <a:gd name="connsiteX2" fmla="*/ 8367364 w 8367364"/>
                <a:gd name="connsiteY2" fmla="*/ 737420 h 3480621"/>
                <a:gd name="connsiteX3" fmla="*/ 7472628 w 8367364"/>
                <a:gd name="connsiteY3" fmla="*/ 1632156 h 3480621"/>
                <a:gd name="connsiteX4" fmla="*/ 904680 w 8367364"/>
                <a:gd name="connsiteY4" fmla="*/ 1632156 h 3480621"/>
                <a:gd name="connsiteX5" fmla="*/ 112 w 8367364"/>
                <a:gd name="connsiteY5" fmla="*/ 2536724 h 3480621"/>
                <a:gd name="connsiteX6" fmla="*/ 944009 w 8367364"/>
                <a:gd name="connsiteY6" fmla="*/ 3480621 h 3480621"/>
                <a:gd name="connsiteX7" fmla="*/ 5152215 w 8367364"/>
                <a:gd name="connsiteY7" fmla="*/ 3480621 h 3480621"/>
                <a:gd name="connsiteX0" fmla="*/ 118217 w 8367482"/>
                <a:gd name="connsiteY0" fmla="*/ 0 h 3480621"/>
                <a:gd name="connsiteX1" fmla="*/ 7630062 w 8367482"/>
                <a:gd name="connsiteY1" fmla="*/ 0 h 3480621"/>
                <a:gd name="connsiteX2" fmla="*/ 8367482 w 8367482"/>
                <a:gd name="connsiteY2" fmla="*/ 737420 h 3480621"/>
                <a:gd name="connsiteX3" fmla="*/ 7472746 w 8367482"/>
                <a:gd name="connsiteY3" fmla="*/ 1632156 h 3480621"/>
                <a:gd name="connsiteX4" fmla="*/ 904798 w 8367482"/>
                <a:gd name="connsiteY4" fmla="*/ 1632156 h 3480621"/>
                <a:gd name="connsiteX5" fmla="*/ 230 w 8367482"/>
                <a:gd name="connsiteY5" fmla="*/ 2536724 h 3480621"/>
                <a:gd name="connsiteX6" fmla="*/ 944127 w 8367482"/>
                <a:gd name="connsiteY6" fmla="*/ 3480621 h 3480621"/>
                <a:gd name="connsiteX7" fmla="*/ 5152333 w 8367482"/>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762 w 8368027"/>
                <a:gd name="connsiteY0" fmla="*/ 0 h 3480621"/>
                <a:gd name="connsiteX1" fmla="*/ 7630607 w 8368027"/>
                <a:gd name="connsiteY1" fmla="*/ 0 h 3480621"/>
                <a:gd name="connsiteX2" fmla="*/ 8368027 w 8368027"/>
                <a:gd name="connsiteY2" fmla="*/ 737420 h 3480621"/>
                <a:gd name="connsiteX3" fmla="*/ 7473291 w 8368027"/>
                <a:gd name="connsiteY3" fmla="*/ 1632156 h 3480621"/>
                <a:gd name="connsiteX4" fmla="*/ 905343 w 8368027"/>
                <a:gd name="connsiteY4" fmla="*/ 1632156 h 3480621"/>
                <a:gd name="connsiteX5" fmla="*/ 775 w 8368027"/>
                <a:gd name="connsiteY5" fmla="*/ 2536724 h 3480621"/>
                <a:gd name="connsiteX6" fmla="*/ 944672 w 8368027"/>
                <a:gd name="connsiteY6" fmla="*/ 3480621 h 3480621"/>
                <a:gd name="connsiteX7" fmla="*/ 5152878 w 8368027"/>
                <a:gd name="connsiteY7" fmla="*/ 3480621 h 3480621"/>
                <a:gd name="connsiteX0" fmla="*/ 118250 w 8367515"/>
                <a:gd name="connsiteY0" fmla="*/ 0 h 3480621"/>
                <a:gd name="connsiteX1" fmla="*/ 7630095 w 8367515"/>
                <a:gd name="connsiteY1" fmla="*/ 0 h 3480621"/>
                <a:gd name="connsiteX2" fmla="*/ 8367515 w 8367515"/>
                <a:gd name="connsiteY2" fmla="*/ 737420 h 3480621"/>
                <a:gd name="connsiteX3" fmla="*/ 7472779 w 8367515"/>
                <a:gd name="connsiteY3" fmla="*/ 1632156 h 3480621"/>
                <a:gd name="connsiteX4" fmla="*/ 904831 w 8367515"/>
                <a:gd name="connsiteY4" fmla="*/ 1632156 h 3480621"/>
                <a:gd name="connsiteX5" fmla="*/ 263 w 8367515"/>
                <a:gd name="connsiteY5" fmla="*/ 2536724 h 3480621"/>
                <a:gd name="connsiteX6" fmla="*/ 944160 w 8367515"/>
                <a:gd name="connsiteY6" fmla="*/ 3480621 h 3480621"/>
                <a:gd name="connsiteX7" fmla="*/ 5152366 w 8367515"/>
                <a:gd name="connsiteY7" fmla="*/ 3480621 h 3480621"/>
                <a:gd name="connsiteX0" fmla="*/ 118200 w 8367465"/>
                <a:gd name="connsiteY0" fmla="*/ 0 h 3480621"/>
                <a:gd name="connsiteX1" fmla="*/ 7630045 w 8367465"/>
                <a:gd name="connsiteY1" fmla="*/ 0 h 3480621"/>
                <a:gd name="connsiteX2" fmla="*/ 8367465 w 8367465"/>
                <a:gd name="connsiteY2" fmla="*/ 737420 h 3480621"/>
                <a:gd name="connsiteX3" fmla="*/ 7472729 w 8367465"/>
                <a:gd name="connsiteY3" fmla="*/ 1632156 h 3480621"/>
                <a:gd name="connsiteX4" fmla="*/ 904781 w 8367465"/>
                <a:gd name="connsiteY4" fmla="*/ 1632156 h 3480621"/>
                <a:gd name="connsiteX5" fmla="*/ 213 w 8367465"/>
                <a:gd name="connsiteY5" fmla="*/ 2536724 h 3480621"/>
                <a:gd name="connsiteX6" fmla="*/ 944110 w 8367465"/>
                <a:gd name="connsiteY6" fmla="*/ 3480621 h 3480621"/>
                <a:gd name="connsiteX7" fmla="*/ 5152316 w 8367465"/>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5152341 w 8367490"/>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4142691 w 8367490"/>
                <a:gd name="connsiteY7" fmla="*/ 3480621 h 3480621"/>
                <a:gd name="connsiteX0" fmla="*/ 119282 w 8368547"/>
                <a:gd name="connsiteY0" fmla="*/ 0 h 3480621"/>
                <a:gd name="connsiteX1" fmla="*/ 7631127 w 8368547"/>
                <a:gd name="connsiteY1" fmla="*/ 0 h 3480621"/>
                <a:gd name="connsiteX2" fmla="*/ 8368547 w 8368547"/>
                <a:gd name="connsiteY2" fmla="*/ 737420 h 3480621"/>
                <a:gd name="connsiteX3" fmla="*/ 7473811 w 8368547"/>
                <a:gd name="connsiteY3" fmla="*/ 1632156 h 3480621"/>
                <a:gd name="connsiteX4" fmla="*/ 905863 w 8368547"/>
                <a:gd name="connsiteY4" fmla="*/ 1632156 h 3480621"/>
                <a:gd name="connsiteX5" fmla="*/ 1295 w 8368547"/>
                <a:gd name="connsiteY5" fmla="*/ 2536724 h 3480621"/>
                <a:gd name="connsiteX6" fmla="*/ 945192 w 8368547"/>
                <a:gd name="connsiteY6" fmla="*/ 3480621 h 3480621"/>
                <a:gd name="connsiteX7" fmla="*/ 4143748 w 8368547"/>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42512 w 836731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99662 w 8367311"/>
                <a:gd name="connsiteY7" fmla="*/ 3171749 h 3480621"/>
                <a:gd name="connsiteX0" fmla="*/ 118046 w 8367311"/>
                <a:gd name="connsiteY0" fmla="*/ 0 h 3206068"/>
                <a:gd name="connsiteX1" fmla="*/ 7629891 w 8367311"/>
                <a:gd name="connsiteY1" fmla="*/ 0 h 3206068"/>
                <a:gd name="connsiteX2" fmla="*/ 8367311 w 8367311"/>
                <a:gd name="connsiteY2" fmla="*/ 737420 h 3206068"/>
                <a:gd name="connsiteX3" fmla="*/ 7472575 w 8367311"/>
                <a:gd name="connsiteY3" fmla="*/ 1632156 h 3206068"/>
                <a:gd name="connsiteX4" fmla="*/ 904627 w 8367311"/>
                <a:gd name="connsiteY4" fmla="*/ 1632156 h 3206068"/>
                <a:gd name="connsiteX5" fmla="*/ 59 w 8367311"/>
                <a:gd name="connsiteY5" fmla="*/ 2536724 h 3206068"/>
                <a:gd name="connsiteX6" fmla="*/ 934431 w 8367311"/>
                <a:gd name="connsiteY6" fmla="*/ 3206068 h 3206068"/>
                <a:gd name="connsiteX7" fmla="*/ 4199662 w 8367311"/>
                <a:gd name="connsiteY7" fmla="*/ 3171749 h 3206068"/>
                <a:gd name="connsiteX0" fmla="*/ 118046 w 8367311"/>
                <a:gd name="connsiteY0" fmla="*/ 0 h 3213169"/>
                <a:gd name="connsiteX1" fmla="*/ 7629891 w 8367311"/>
                <a:gd name="connsiteY1" fmla="*/ 0 h 3213169"/>
                <a:gd name="connsiteX2" fmla="*/ 8367311 w 8367311"/>
                <a:gd name="connsiteY2" fmla="*/ 737420 h 3213169"/>
                <a:gd name="connsiteX3" fmla="*/ 7472575 w 8367311"/>
                <a:gd name="connsiteY3" fmla="*/ 1632156 h 3213169"/>
                <a:gd name="connsiteX4" fmla="*/ 904627 w 8367311"/>
                <a:gd name="connsiteY4" fmla="*/ 1632156 h 3213169"/>
                <a:gd name="connsiteX5" fmla="*/ 59 w 8367311"/>
                <a:gd name="connsiteY5" fmla="*/ 2536724 h 3213169"/>
                <a:gd name="connsiteX6" fmla="*/ 934431 w 8367311"/>
                <a:gd name="connsiteY6" fmla="*/ 3206068 h 3213169"/>
                <a:gd name="connsiteX7" fmla="*/ 4199662 w 8367311"/>
                <a:gd name="connsiteY7" fmla="*/ 3171749 h 3213169"/>
                <a:gd name="connsiteX0" fmla="*/ 118073 w 8367338"/>
                <a:gd name="connsiteY0" fmla="*/ 0 h 3213169"/>
                <a:gd name="connsiteX1" fmla="*/ 7629918 w 8367338"/>
                <a:gd name="connsiteY1" fmla="*/ 0 h 3213169"/>
                <a:gd name="connsiteX2" fmla="*/ 8367338 w 8367338"/>
                <a:gd name="connsiteY2" fmla="*/ 737420 h 3213169"/>
                <a:gd name="connsiteX3" fmla="*/ 7472602 w 8367338"/>
                <a:gd name="connsiteY3" fmla="*/ 1632156 h 3213169"/>
                <a:gd name="connsiteX4" fmla="*/ 904654 w 8367338"/>
                <a:gd name="connsiteY4" fmla="*/ 1632156 h 3213169"/>
                <a:gd name="connsiteX5" fmla="*/ 86 w 8367338"/>
                <a:gd name="connsiteY5" fmla="*/ 2536724 h 3213169"/>
                <a:gd name="connsiteX6" fmla="*/ 934458 w 8367338"/>
                <a:gd name="connsiteY6" fmla="*/ 3206068 h 3213169"/>
                <a:gd name="connsiteX7" fmla="*/ 4199689 w 8367338"/>
                <a:gd name="connsiteY7" fmla="*/ 3171749 h 3213169"/>
                <a:gd name="connsiteX0" fmla="*/ 118073 w 8367338"/>
                <a:gd name="connsiteY0" fmla="*/ 0 h 3210578"/>
                <a:gd name="connsiteX1" fmla="*/ 7629918 w 8367338"/>
                <a:gd name="connsiteY1" fmla="*/ 0 h 3210578"/>
                <a:gd name="connsiteX2" fmla="*/ 8367338 w 8367338"/>
                <a:gd name="connsiteY2" fmla="*/ 737420 h 3210578"/>
                <a:gd name="connsiteX3" fmla="*/ 7472602 w 8367338"/>
                <a:gd name="connsiteY3" fmla="*/ 1632156 h 3210578"/>
                <a:gd name="connsiteX4" fmla="*/ 904654 w 8367338"/>
                <a:gd name="connsiteY4" fmla="*/ 1632156 h 3210578"/>
                <a:gd name="connsiteX5" fmla="*/ 86 w 8367338"/>
                <a:gd name="connsiteY5" fmla="*/ 2322230 h 3210578"/>
                <a:gd name="connsiteX6" fmla="*/ 934458 w 8367338"/>
                <a:gd name="connsiteY6" fmla="*/ 3206068 h 3210578"/>
                <a:gd name="connsiteX7" fmla="*/ 4199689 w 8367338"/>
                <a:gd name="connsiteY7" fmla="*/ 3171749 h 321057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09 w 8367274"/>
                <a:gd name="connsiteY0" fmla="*/ 0 h 3214268"/>
                <a:gd name="connsiteX1" fmla="*/ 7629854 w 8367274"/>
                <a:gd name="connsiteY1" fmla="*/ 0 h 3214268"/>
                <a:gd name="connsiteX2" fmla="*/ 8367274 w 8367274"/>
                <a:gd name="connsiteY2" fmla="*/ 737420 h 3214268"/>
                <a:gd name="connsiteX3" fmla="*/ 7472538 w 8367274"/>
                <a:gd name="connsiteY3" fmla="*/ 1632156 h 3214268"/>
                <a:gd name="connsiteX4" fmla="*/ 904590 w 8367274"/>
                <a:gd name="connsiteY4" fmla="*/ 1632156 h 3214268"/>
                <a:gd name="connsiteX5" fmla="*/ 22 w 8367274"/>
                <a:gd name="connsiteY5" fmla="*/ 2322230 h 3214268"/>
                <a:gd name="connsiteX6" fmla="*/ 934394 w 8367274"/>
                <a:gd name="connsiteY6" fmla="*/ 3206068 h 3214268"/>
                <a:gd name="connsiteX7" fmla="*/ 4199625 w 8367274"/>
                <a:gd name="connsiteY7" fmla="*/ 3171749 h 32142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322230 h 3206068"/>
                <a:gd name="connsiteX6" fmla="*/ 934394 w 8367274"/>
                <a:gd name="connsiteY6" fmla="*/ 3206068 h 3206068"/>
                <a:gd name="connsiteX7" fmla="*/ 4199625 w 8367274"/>
                <a:gd name="connsiteY7" fmla="*/ 3171749 h 32060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485245 h 3206068"/>
                <a:gd name="connsiteX6" fmla="*/ 934394 w 8367274"/>
                <a:gd name="connsiteY6" fmla="*/ 3206068 h 3206068"/>
                <a:gd name="connsiteX7" fmla="*/ 4199625 w 8367274"/>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4180576 w 8348225"/>
                <a:gd name="connsiteY7" fmla="*/ 3171749 h 3206403"/>
                <a:gd name="connsiteX0" fmla="*/ 98960 w 8348225"/>
                <a:gd name="connsiteY0" fmla="*/ 0 h 3209377"/>
                <a:gd name="connsiteX1" fmla="*/ 7610805 w 8348225"/>
                <a:gd name="connsiteY1" fmla="*/ 0 h 3209377"/>
                <a:gd name="connsiteX2" fmla="*/ 8348225 w 8348225"/>
                <a:gd name="connsiteY2" fmla="*/ 737420 h 3209377"/>
                <a:gd name="connsiteX3" fmla="*/ 7453489 w 8348225"/>
                <a:gd name="connsiteY3" fmla="*/ 1632156 h 3209377"/>
                <a:gd name="connsiteX4" fmla="*/ 885541 w 8348225"/>
                <a:gd name="connsiteY4" fmla="*/ 1632156 h 3209377"/>
                <a:gd name="connsiteX5" fmla="*/ 23 w 8348225"/>
                <a:gd name="connsiteY5" fmla="*/ 2416607 h 3209377"/>
                <a:gd name="connsiteX6" fmla="*/ 915345 w 8348225"/>
                <a:gd name="connsiteY6" fmla="*/ 3206068 h 3209377"/>
                <a:gd name="connsiteX7" fmla="*/ 2613207 w 8348225"/>
                <a:gd name="connsiteY7" fmla="*/ 3206076 h 3209377"/>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48225" h="3206403">
                  <a:moveTo>
                    <a:pt x="98960" y="0"/>
                  </a:moveTo>
                  <a:lnTo>
                    <a:pt x="7610805" y="0"/>
                  </a:lnTo>
                  <a:cubicBezTo>
                    <a:pt x="8053257" y="39330"/>
                    <a:pt x="8328560" y="294968"/>
                    <a:pt x="8348225" y="737420"/>
                  </a:cubicBezTo>
                  <a:cubicBezTo>
                    <a:pt x="8335115" y="1419124"/>
                    <a:pt x="7899218" y="1609214"/>
                    <a:pt x="7453489" y="1632156"/>
                  </a:cubicBezTo>
                  <a:lnTo>
                    <a:pt x="885541" y="1632156"/>
                  </a:lnTo>
                  <a:cubicBezTo>
                    <a:pt x="349273" y="1632636"/>
                    <a:pt x="-3254" y="1957768"/>
                    <a:pt x="23" y="2416607"/>
                  </a:cubicBezTo>
                  <a:cubicBezTo>
                    <a:pt x="37816" y="3105556"/>
                    <a:pt x="465212" y="3213396"/>
                    <a:pt x="915345" y="3206068"/>
                  </a:cubicBezTo>
                  <a:lnTo>
                    <a:pt x="2613207" y="3187880"/>
                  </a:lnTo>
                </a:path>
              </a:pathLst>
            </a:custGeom>
            <a:noFill/>
            <a:ln w="139700" algn="ctr">
              <a:solidFill>
                <a:schemeClr val="tx1"/>
              </a:solidFill>
              <a:miter lim="800000"/>
              <a:headEnd/>
              <a:tailEnd/>
            </a:ln>
          </p:spPr>
          <p:txBody>
            <a:bodyPr rtlCol="0" anchor="ctr"/>
            <a:lstStyle/>
            <a:p>
              <a:pPr algn="ctr"/>
              <a:endParaRPr lang="en-US" dirty="0"/>
            </a:p>
          </p:txBody>
        </p:sp>
        <p:cxnSp>
          <p:nvCxnSpPr>
            <p:cNvPr id="172" name="Straight Connector 171">
              <a:extLst>
                <a:ext uri="{FF2B5EF4-FFF2-40B4-BE49-F238E27FC236}">
                  <a16:creationId xmlns:a16="http://schemas.microsoft.com/office/drawing/2014/main" id="{3C07E23B-71E1-4B41-AC06-4DF6188B70CB}"/>
                </a:ext>
              </a:extLst>
            </p:cNvPr>
            <p:cNvCxnSpPr>
              <a:endCxn id="162" idx="0"/>
            </p:cNvCxnSpPr>
            <p:nvPr/>
          </p:nvCxnSpPr>
          <p:spPr>
            <a:xfrm>
              <a:off x="7795669" y="6081181"/>
              <a:ext cx="2206842" cy="5862"/>
            </a:xfrm>
            <a:prstGeom prst="line">
              <a:avLst/>
            </a:prstGeom>
            <a:ln>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B5E53AD4-3F55-D243-B949-6EC48562443F}"/>
                </a:ext>
              </a:extLst>
            </p:cNvPr>
            <p:cNvSpPr txBox="1"/>
            <p:nvPr/>
          </p:nvSpPr>
          <p:spPr>
            <a:xfrm>
              <a:off x="8626771" y="6033457"/>
              <a:ext cx="539041" cy="109835"/>
            </a:xfrm>
            <a:prstGeom prst="rect">
              <a:avLst/>
            </a:prstGeom>
            <a:solidFill>
              <a:schemeClr val="tx1"/>
            </a:solidFill>
            <a:ln>
              <a:noFill/>
            </a:ln>
          </p:spPr>
          <p:txBody>
            <a:bodyPr vert="horz" wrap="square" lIns="0" tIns="0" rIns="0" bIns="0" rtlCol="0">
              <a:spAutoFit/>
            </a:bodyPr>
            <a:lstStyle/>
            <a:p>
              <a:pPr algn="ctr">
                <a:spcBef>
                  <a:spcPts val="200"/>
                </a:spcBef>
                <a:buSzPct val="100000"/>
              </a:pPr>
              <a:r>
                <a:rPr lang="en-US" sz="600" dirty="0">
                  <a:solidFill>
                    <a:schemeClr val="bg1"/>
                  </a:solidFill>
                </a:rPr>
                <a:t>1–3 days</a:t>
              </a:r>
            </a:p>
          </p:txBody>
        </p:sp>
        <p:cxnSp>
          <p:nvCxnSpPr>
            <p:cNvPr id="174" name="Straight Connector 173">
              <a:extLst>
                <a:ext uri="{FF2B5EF4-FFF2-40B4-BE49-F238E27FC236}">
                  <a16:creationId xmlns:a16="http://schemas.microsoft.com/office/drawing/2014/main" id="{270860FF-6441-B547-9CCA-740492CDECD5}"/>
                </a:ext>
              </a:extLst>
            </p:cNvPr>
            <p:cNvCxnSpPr/>
            <p:nvPr/>
          </p:nvCxnSpPr>
          <p:spPr>
            <a:xfrm flipH="1">
              <a:off x="3323099" y="4188986"/>
              <a:ext cx="3540915" cy="5862"/>
            </a:xfrm>
            <a:prstGeom prst="line">
              <a:avLst/>
            </a:prstGeom>
            <a:ln>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A0C5F769-F69D-2E4B-B2B9-44CF695978E3}"/>
                </a:ext>
              </a:extLst>
            </p:cNvPr>
            <p:cNvSpPr txBox="1"/>
            <p:nvPr/>
          </p:nvSpPr>
          <p:spPr>
            <a:xfrm>
              <a:off x="4728032" y="4140234"/>
              <a:ext cx="539041" cy="109835"/>
            </a:xfrm>
            <a:prstGeom prst="rect">
              <a:avLst/>
            </a:prstGeom>
            <a:solidFill>
              <a:schemeClr val="tx1"/>
            </a:solidFill>
            <a:ln>
              <a:noFill/>
            </a:ln>
          </p:spPr>
          <p:txBody>
            <a:bodyPr vert="horz" wrap="square" lIns="0" tIns="0" rIns="0" bIns="0" rtlCol="0">
              <a:spAutoFit/>
            </a:bodyPr>
            <a:lstStyle/>
            <a:p>
              <a:pPr algn="ctr">
                <a:spcBef>
                  <a:spcPts val="200"/>
                </a:spcBef>
                <a:buSzPct val="100000"/>
              </a:pPr>
              <a:r>
                <a:rPr lang="en-US" sz="600" dirty="0">
                  <a:solidFill>
                    <a:schemeClr val="bg1"/>
                  </a:solidFill>
                </a:rPr>
                <a:t>10–15 days</a:t>
              </a:r>
            </a:p>
          </p:txBody>
        </p:sp>
        <p:grpSp>
          <p:nvGrpSpPr>
            <p:cNvPr id="176" name="Group 175">
              <a:extLst>
                <a:ext uri="{FF2B5EF4-FFF2-40B4-BE49-F238E27FC236}">
                  <a16:creationId xmlns:a16="http://schemas.microsoft.com/office/drawing/2014/main" id="{C72F45D8-2C00-BB48-80C6-AA4172032D3A}"/>
                </a:ext>
              </a:extLst>
            </p:cNvPr>
            <p:cNvGrpSpPr/>
            <p:nvPr/>
          </p:nvGrpSpPr>
          <p:grpSpPr>
            <a:xfrm>
              <a:off x="1947386" y="5226902"/>
              <a:ext cx="5077808" cy="860142"/>
              <a:chOff x="1170112" y="5218982"/>
              <a:chExt cx="4268663" cy="723079"/>
            </a:xfrm>
          </p:grpSpPr>
          <p:sp>
            <p:nvSpPr>
              <p:cNvPr id="177" name="Freeform 176">
                <a:extLst>
                  <a:ext uri="{FF2B5EF4-FFF2-40B4-BE49-F238E27FC236}">
                    <a16:creationId xmlns:a16="http://schemas.microsoft.com/office/drawing/2014/main" id="{2B2EA7B4-FAE3-1549-9541-6C3535F82A38}"/>
                  </a:ext>
                </a:extLst>
              </p:cNvPr>
              <p:cNvSpPr/>
              <p:nvPr/>
            </p:nvSpPr>
            <p:spPr bwMode="gray">
              <a:xfrm flipH="1" flipV="1">
                <a:off x="1170112" y="5218982"/>
                <a:ext cx="605323" cy="723079"/>
              </a:xfrm>
              <a:custGeom>
                <a:avLst/>
                <a:gdLst>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8000 w 8367265"/>
                  <a:gd name="connsiteY0" fmla="*/ 0 h 3480621"/>
                  <a:gd name="connsiteX1" fmla="*/ 7629845 w 8367265"/>
                  <a:gd name="connsiteY1" fmla="*/ 0 h 3480621"/>
                  <a:gd name="connsiteX2" fmla="*/ 8367265 w 8367265"/>
                  <a:gd name="connsiteY2" fmla="*/ 737420 h 3480621"/>
                  <a:gd name="connsiteX3" fmla="*/ 7472529 w 8367265"/>
                  <a:gd name="connsiteY3" fmla="*/ 1632156 h 3480621"/>
                  <a:gd name="connsiteX4" fmla="*/ 904581 w 8367265"/>
                  <a:gd name="connsiteY4" fmla="*/ 1632156 h 3480621"/>
                  <a:gd name="connsiteX5" fmla="*/ 13 w 8367265"/>
                  <a:gd name="connsiteY5" fmla="*/ 2536724 h 3480621"/>
                  <a:gd name="connsiteX6" fmla="*/ 943910 w 8367265"/>
                  <a:gd name="connsiteY6" fmla="*/ 3480621 h 3480621"/>
                  <a:gd name="connsiteX7" fmla="*/ 5152116 w 8367265"/>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99 w 8367364"/>
                  <a:gd name="connsiteY0" fmla="*/ 0 h 3480621"/>
                  <a:gd name="connsiteX1" fmla="*/ 7629944 w 8367364"/>
                  <a:gd name="connsiteY1" fmla="*/ 0 h 3480621"/>
                  <a:gd name="connsiteX2" fmla="*/ 8367364 w 8367364"/>
                  <a:gd name="connsiteY2" fmla="*/ 737420 h 3480621"/>
                  <a:gd name="connsiteX3" fmla="*/ 7472628 w 8367364"/>
                  <a:gd name="connsiteY3" fmla="*/ 1632156 h 3480621"/>
                  <a:gd name="connsiteX4" fmla="*/ 904680 w 8367364"/>
                  <a:gd name="connsiteY4" fmla="*/ 1632156 h 3480621"/>
                  <a:gd name="connsiteX5" fmla="*/ 112 w 8367364"/>
                  <a:gd name="connsiteY5" fmla="*/ 2536724 h 3480621"/>
                  <a:gd name="connsiteX6" fmla="*/ 944009 w 8367364"/>
                  <a:gd name="connsiteY6" fmla="*/ 3480621 h 3480621"/>
                  <a:gd name="connsiteX7" fmla="*/ 5152215 w 8367364"/>
                  <a:gd name="connsiteY7" fmla="*/ 3480621 h 3480621"/>
                  <a:gd name="connsiteX0" fmla="*/ 118217 w 8367482"/>
                  <a:gd name="connsiteY0" fmla="*/ 0 h 3480621"/>
                  <a:gd name="connsiteX1" fmla="*/ 7630062 w 8367482"/>
                  <a:gd name="connsiteY1" fmla="*/ 0 h 3480621"/>
                  <a:gd name="connsiteX2" fmla="*/ 8367482 w 8367482"/>
                  <a:gd name="connsiteY2" fmla="*/ 737420 h 3480621"/>
                  <a:gd name="connsiteX3" fmla="*/ 7472746 w 8367482"/>
                  <a:gd name="connsiteY3" fmla="*/ 1632156 h 3480621"/>
                  <a:gd name="connsiteX4" fmla="*/ 904798 w 8367482"/>
                  <a:gd name="connsiteY4" fmla="*/ 1632156 h 3480621"/>
                  <a:gd name="connsiteX5" fmla="*/ 230 w 8367482"/>
                  <a:gd name="connsiteY5" fmla="*/ 2536724 h 3480621"/>
                  <a:gd name="connsiteX6" fmla="*/ 944127 w 8367482"/>
                  <a:gd name="connsiteY6" fmla="*/ 3480621 h 3480621"/>
                  <a:gd name="connsiteX7" fmla="*/ 5152333 w 8367482"/>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762 w 8368027"/>
                  <a:gd name="connsiteY0" fmla="*/ 0 h 3480621"/>
                  <a:gd name="connsiteX1" fmla="*/ 7630607 w 8368027"/>
                  <a:gd name="connsiteY1" fmla="*/ 0 h 3480621"/>
                  <a:gd name="connsiteX2" fmla="*/ 8368027 w 8368027"/>
                  <a:gd name="connsiteY2" fmla="*/ 737420 h 3480621"/>
                  <a:gd name="connsiteX3" fmla="*/ 7473291 w 8368027"/>
                  <a:gd name="connsiteY3" fmla="*/ 1632156 h 3480621"/>
                  <a:gd name="connsiteX4" fmla="*/ 905343 w 8368027"/>
                  <a:gd name="connsiteY4" fmla="*/ 1632156 h 3480621"/>
                  <a:gd name="connsiteX5" fmla="*/ 775 w 8368027"/>
                  <a:gd name="connsiteY5" fmla="*/ 2536724 h 3480621"/>
                  <a:gd name="connsiteX6" fmla="*/ 944672 w 8368027"/>
                  <a:gd name="connsiteY6" fmla="*/ 3480621 h 3480621"/>
                  <a:gd name="connsiteX7" fmla="*/ 5152878 w 8368027"/>
                  <a:gd name="connsiteY7" fmla="*/ 3480621 h 3480621"/>
                  <a:gd name="connsiteX0" fmla="*/ 118250 w 8367515"/>
                  <a:gd name="connsiteY0" fmla="*/ 0 h 3480621"/>
                  <a:gd name="connsiteX1" fmla="*/ 7630095 w 8367515"/>
                  <a:gd name="connsiteY1" fmla="*/ 0 h 3480621"/>
                  <a:gd name="connsiteX2" fmla="*/ 8367515 w 8367515"/>
                  <a:gd name="connsiteY2" fmla="*/ 737420 h 3480621"/>
                  <a:gd name="connsiteX3" fmla="*/ 7472779 w 8367515"/>
                  <a:gd name="connsiteY3" fmla="*/ 1632156 h 3480621"/>
                  <a:gd name="connsiteX4" fmla="*/ 904831 w 8367515"/>
                  <a:gd name="connsiteY4" fmla="*/ 1632156 h 3480621"/>
                  <a:gd name="connsiteX5" fmla="*/ 263 w 8367515"/>
                  <a:gd name="connsiteY5" fmla="*/ 2536724 h 3480621"/>
                  <a:gd name="connsiteX6" fmla="*/ 944160 w 8367515"/>
                  <a:gd name="connsiteY6" fmla="*/ 3480621 h 3480621"/>
                  <a:gd name="connsiteX7" fmla="*/ 5152366 w 8367515"/>
                  <a:gd name="connsiteY7" fmla="*/ 3480621 h 3480621"/>
                  <a:gd name="connsiteX0" fmla="*/ 118200 w 8367465"/>
                  <a:gd name="connsiteY0" fmla="*/ 0 h 3480621"/>
                  <a:gd name="connsiteX1" fmla="*/ 7630045 w 8367465"/>
                  <a:gd name="connsiteY1" fmla="*/ 0 h 3480621"/>
                  <a:gd name="connsiteX2" fmla="*/ 8367465 w 8367465"/>
                  <a:gd name="connsiteY2" fmla="*/ 737420 h 3480621"/>
                  <a:gd name="connsiteX3" fmla="*/ 7472729 w 8367465"/>
                  <a:gd name="connsiteY3" fmla="*/ 1632156 h 3480621"/>
                  <a:gd name="connsiteX4" fmla="*/ 904781 w 8367465"/>
                  <a:gd name="connsiteY4" fmla="*/ 1632156 h 3480621"/>
                  <a:gd name="connsiteX5" fmla="*/ 213 w 8367465"/>
                  <a:gd name="connsiteY5" fmla="*/ 2536724 h 3480621"/>
                  <a:gd name="connsiteX6" fmla="*/ 944110 w 8367465"/>
                  <a:gd name="connsiteY6" fmla="*/ 3480621 h 3480621"/>
                  <a:gd name="connsiteX7" fmla="*/ 5152316 w 8367465"/>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5152341 w 8367490"/>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4142691 w 8367490"/>
                  <a:gd name="connsiteY7" fmla="*/ 3480621 h 3480621"/>
                  <a:gd name="connsiteX0" fmla="*/ 119282 w 8368547"/>
                  <a:gd name="connsiteY0" fmla="*/ 0 h 3480621"/>
                  <a:gd name="connsiteX1" fmla="*/ 7631127 w 8368547"/>
                  <a:gd name="connsiteY1" fmla="*/ 0 h 3480621"/>
                  <a:gd name="connsiteX2" fmla="*/ 8368547 w 8368547"/>
                  <a:gd name="connsiteY2" fmla="*/ 737420 h 3480621"/>
                  <a:gd name="connsiteX3" fmla="*/ 7473811 w 8368547"/>
                  <a:gd name="connsiteY3" fmla="*/ 1632156 h 3480621"/>
                  <a:gd name="connsiteX4" fmla="*/ 905863 w 8368547"/>
                  <a:gd name="connsiteY4" fmla="*/ 1632156 h 3480621"/>
                  <a:gd name="connsiteX5" fmla="*/ 1295 w 8368547"/>
                  <a:gd name="connsiteY5" fmla="*/ 2536724 h 3480621"/>
                  <a:gd name="connsiteX6" fmla="*/ 945192 w 8368547"/>
                  <a:gd name="connsiteY6" fmla="*/ 3480621 h 3480621"/>
                  <a:gd name="connsiteX7" fmla="*/ 4143748 w 8368547"/>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42512 w 836731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99662 w 8367311"/>
                  <a:gd name="connsiteY7" fmla="*/ 3171749 h 3480621"/>
                  <a:gd name="connsiteX0" fmla="*/ 118046 w 8367311"/>
                  <a:gd name="connsiteY0" fmla="*/ 0 h 3206068"/>
                  <a:gd name="connsiteX1" fmla="*/ 7629891 w 8367311"/>
                  <a:gd name="connsiteY1" fmla="*/ 0 h 3206068"/>
                  <a:gd name="connsiteX2" fmla="*/ 8367311 w 8367311"/>
                  <a:gd name="connsiteY2" fmla="*/ 737420 h 3206068"/>
                  <a:gd name="connsiteX3" fmla="*/ 7472575 w 8367311"/>
                  <a:gd name="connsiteY3" fmla="*/ 1632156 h 3206068"/>
                  <a:gd name="connsiteX4" fmla="*/ 904627 w 8367311"/>
                  <a:gd name="connsiteY4" fmla="*/ 1632156 h 3206068"/>
                  <a:gd name="connsiteX5" fmla="*/ 59 w 8367311"/>
                  <a:gd name="connsiteY5" fmla="*/ 2536724 h 3206068"/>
                  <a:gd name="connsiteX6" fmla="*/ 934431 w 8367311"/>
                  <a:gd name="connsiteY6" fmla="*/ 3206068 h 3206068"/>
                  <a:gd name="connsiteX7" fmla="*/ 4199662 w 8367311"/>
                  <a:gd name="connsiteY7" fmla="*/ 3171749 h 3206068"/>
                  <a:gd name="connsiteX0" fmla="*/ 118046 w 8367311"/>
                  <a:gd name="connsiteY0" fmla="*/ 0 h 3213169"/>
                  <a:gd name="connsiteX1" fmla="*/ 7629891 w 8367311"/>
                  <a:gd name="connsiteY1" fmla="*/ 0 h 3213169"/>
                  <a:gd name="connsiteX2" fmla="*/ 8367311 w 8367311"/>
                  <a:gd name="connsiteY2" fmla="*/ 737420 h 3213169"/>
                  <a:gd name="connsiteX3" fmla="*/ 7472575 w 8367311"/>
                  <a:gd name="connsiteY3" fmla="*/ 1632156 h 3213169"/>
                  <a:gd name="connsiteX4" fmla="*/ 904627 w 8367311"/>
                  <a:gd name="connsiteY4" fmla="*/ 1632156 h 3213169"/>
                  <a:gd name="connsiteX5" fmla="*/ 59 w 8367311"/>
                  <a:gd name="connsiteY5" fmla="*/ 2536724 h 3213169"/>
                  <a:gd name="connsiteX6" fmla="*/ 934431 w 8367311"/>
                  <a:gd name="connsiteY6" fmla="*/ 3206068 h 3213169"/>
                  <a:gd name="connsiteX7" fmla="*/ 4199662 w 8367311"/>
                  <a:gd name="connsiteY7" fmla="*/ 3171749 h 3213169"/>
                  <a:gd name="connsiteX0" fmla="*/ 118073 w 8367338"/>
                  <a:gd name="connsiteY0" fmla="*/ 0 h 3213169"/>
                  <a:gd name="connsiteX1" fmla="*/ 7629918 w 8367338"/>
                  <a:gd name="connsiteY1" fmla="*/ 0 h 3213169"/>
                  <a:gd name="connsiteX2" fmla="*/ 8367338 w 8367338"/>
                  <a:gd name="connsiteY2" fmla="*/ 737420 h 3213169"/>
                  <a:gd name="connsiteX3" fmla="*/ 7472602 w 8367338"/>
                  <a:gd name="connsiteY3" fmla="*/ 1632156 h 3213169"/>
                  <a:gd name="connsiteX4" fmla="*/ 904654 w 8367338"/>
                  <a:gd name="connsiteY4" fmla="*/ 1632156 h 3213169"/>
                  <a:gd name="connsiteX5" fmla="*/ 86 w 8367338"/>
                  <a:gd name="connsiteY5" fmla="*/ 2536724 h 3213169"/>
                  <a:gd name="connsiteX6" fmla="*/ 934458 w 8367338"/>
                  <a:gd name="connsiteY6" fmla="*/ 3206068 h 3213169"/>
                  <a:gd name="connsiteX7" fmla="*/ 4199689 w 8367338"/>
                  <a:gd name="connsiteY7" fmla="*/ 3171749 h 3213169"/>
                  <a:gd name="connsiteX0" fmla="*/ 118073 w 8367338"/>
                  <a:gd name="connsiteY0" fmla="*/ 0 h 3210578"/>
                  <a:gd name="connsiteX1" fmla="*/ 7629918 w 8367338"/>
                  <a:gd name="connsiteY1" fmla="*/ 0 h 3210578"/>
                  <a:gd name="connsiteX2" fmla="*/ 8367338 w 8367338"/>
                  <a:gd name="connsiteY2" fmla="*/ 737420 h 3210578"/>
                  <a:gd name="connsiteX3" fmla="*/ 7472602 w 8367338"/>
                  <a:gd name="connsiteY3" fmla="*/ 1632156 h 3210578"/>
                  <a:gd name="connsiteX4" fmla="*/ 904654 w 8367338"/>
                  <a:gd name="connsiteY4" fmla="*/ 1632156 h 3210578"/>
                  <a:gd name="connsiteX5" fmla="*/ 86 w 8367338"/>
                  <a:gd name="connsiteY5" fmla="*/ 2322230 h 3210578"/>
                  <a:gd name="connsiteX6" fmla="*/ 934458 w 8367338"/>
                  <a:gd name="connsiteY6" fmla="*/ 3206068 h 3210578"/>
                  <a:gd name="connsiteX7" fmla="*/ 4199689 w 8367338"/>
                  <a:gd name="connsiteY7" fmla="*/ 3171749 h 321057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09 w 8367274"/>
                  <a:gd name="connsiteY0" fmla="*/ 0 h 3214268"/>
                  <a:gd name="connsiteX1" fmla="*/ 7629854 w 8367274"/>
                  <a:gd name="connsiteY1" fmla="*/ 0 h 3214268"/>
                  <a:gd name="connsiteX2" fmla="*/ 8367274 w 8367274"/>
                  <a:gd name="connsiteY2" fmla="*/ 737420 h 3214268"/>
                  <a:gd name="connsiteX3" fmla="*/ 7472538 w 8367274"/>
                  <a:gd name="connsiteY3" fmla="*/ 1632156 h 3214268"/>
                  <a:gd name="connsiteX4" fmla="*/ 904590 w 8367274"/>
                  <a:gd name="connsiteY4" fmla="*/ 1632156 h 3214268"/>
                  <a:gd name="connsiteX5" fmla="*/ 22 w 8367274"/>
                  <a:gd name="connsiteY5" fmla="*/ 2322230 h 3214268"/>
                  <a:gd name="connsiteX6" fmla="*/ 934394 w 8367274"/>
                  <a:gd name="connsiteY6" fmla="*/ 3206068 h 3214268"/>
                  <a:gd name="connsiteX7" fmla="*/ 4199625 w 8367274"/>
                  <a:gd name="connsiteY7" fmla="*/ 3171749 h 32142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322230 h 3206068"/>
                  <a:gd name="connsiteX6" fmla="*/ 934394 w 8367274"/>
                  <a:gd name="connsiteY6" fmla="*/ 3206068 h 3206068"/>
                  <a:gd name="connsiteX7" fmla="*/ 4199625 w 8367274"/>
                  <a:gd name="connsiteY7" fmla="*/ 3171749 h 32060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485245 h 3206068"/>
                  <a:gd name="connsiteX6" fmla="*/ 934394 w 8367274"/>
                  <a:gd name="connsiteY6" fmla="*/ 3206068 h 3206068"/>
                  <a:gd name="connsiteX7" fmla="*/ 4199625 w 8367274"/>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4180576 w 8348225"/>
                  <a:gd name="connsiteY7" fmla="*/ 3171749 h 3206403"/>
                  <a:gd name="connsiteX0" fmla="*/ 98960 w 8348225"/>
                  <a:gd name="connsiteY0" fmla="*/ 0 h 3209377"/>
                  <a:gd name="connsiteX1" fmla="*/ 7610805 w 8348225"/>
                  <a:gd name="connsiteY1" fmla="*/ 0 h 3209377"/>
                  <a:gd name="connsiteX2" fmla="*/ 8348225 w 8348225"/>
                  <a:gd name="connsiteY2" fmla="*/ 737420 h 3209377"/>
                  <a:gd name="connsiteX3" fmla="*/ 7453489 w 8348225"/>
                  <a:gd name="connsiteY3" fmla="*/ 1632156 h 3209377"/>
                  <a:gd name="connsiteX4" fmla="*/ 885541 w 8348225"/>
                  <a:gd name="connsiteY4" fmla="*/ 1632156 h 3209377"/>
                  <a:gd name="connsiteX5" fmla="*/ 23 w 8348225"/>
                  <a:gd name="connsiteY5" fmla="*/ 2416607 h 3209377"/>
                  <a:gd name="connsiteX6" fmla="*/ 915345 w 8348225"/>
                  <a:gd name="connsiteY6" fmla="*/ 3206068 h 3209377"/>
                  <a:gd name="connsiteX7" fmla="*/ 2613207 w 8348225"/>
                  <a:gd name="connsiteY7" fmla="*/ 3206076 h 3209377"/>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0" fmla="*/ 98960 w 8348225"/>
                  <a:gd name="connsiteY0" fmla="*/ 0 h 2416607"/>
                  <a:gd name="connsiteX1" fmla="*/ 7610805 w 8348225"/>
                  <a:gd name="connsiteY1" fmla="*/ 0 h 2416607"/>
                  <a:gd name="connsiteX2" fmla="*/ 8348225 w 8348225"/>
                  <a:gd name="connsiteY2" fmla="*/ 737420 h 2416607"/>
                  <a:gd name="connsiteX3" fmla="*/ 7453489 w 8348225"/>
                  <a:gd name="connsiteY3" fmla="*/ 1632156 h 2416607"/>
                  <a:gd name="connsiteX4" fmla="*/ 885541 w 8348225"/>
                  <a:gd name="connsiteY4" fmla="*/ 1632156 h 2416607"/>
                  <a:gd name="connsiteX5" fmla="*/ 23 w 8348225"/>
                  <a:gd name="connsiteY5" fmla="*/ 2416607 h 2416607"/>
                  <a:gd name="connsiteX0" fmla="*/ 0 w 8249265"/>
                  <a:gd name="connsiteY0" fmla="*/ 0 h 1632156"/>
                  <a:gd name="connsiteX1" fmla="*/ 7511845 w 8249265"/>
                  <a:gd name="connsiteY1" fmla="*/ 0 h 1632156"/>
                  <a:gd name="connsiteX2" fmla="*/ 8249265 w 8249265"/>
                  <a:gd name="connsiteY2" fmla="*/ 737420 h 1632156"/>
                  <a:gd name="connsiteX3" fmla="*/ 7354529 w 8249265"/>
                  <a:gd name="connsiteY3" fmla="*/ 1632156 h 1632156"/>
                  <a:gd name="connsiteX4" fmla="*/ 786581 w 8249265"/>
                  <a:gd name="connsiteY4" fmla="*/ 1632156 h 1632156"/>
                  <a:gd name="connsiteX0" fmla="*/ 0 w 8249265"/>
                  <a:gd name="connsiteY0" fmla="*/ 0 h 1632156"/>
                  <a:gd name="connsiteX1" fmla="*/ 7511845 w 8249265"/>
                  <a:gd name="connsiteY1" fmla="*/ 0 h 1632156"/>
                  <a:gd name="connsiteX2" fmla="*/ 8249265 w 8249265"/>
                  <a:gd name="connsiteY2" fmla="*/ 737420 h 1632156"/>
                  <a:gd name="connsiteX3" fmla="*/ 7354529 w 8249265"/>
                  <a:gd name="connsiteY3" fmla="*/ 1632156 h 1632156"/>
                  <a:gd name="connsiteX0" fmla="*/ 0 w 8249265"/>
                  <a:gd name="connsiteY0" fmla="*/ 0 h 737420"/>
                  <a:gd name="connsiteX1" fmla="*/ 7511845 w 8249265"/>
                  <a:gd name="connsiteY1" fmla="*/ 0 h 737420"/>
                  <a:gd name="connsiteX2" fmla="*/ 8249265 w 8249265"/>
                  <a:gd name="connsiteY2" fmla="*/ 737420 h 737420"/>
                  <a:gd name="connsiteX0" fmla="*/ 0 w 737420"/>
                  <a:gd name="connsiteY0" fmla="*/ 0 h 737420"/>
                  <a:gd name="connsiteX1" fmla="*/ 737420 w 737420"/>
                  <a:gd name="connsiteY1" fmla="*/ 737420 h 737420"/>
                </a:gdLst>
                <a:ahLst/>
                <a:cxnLst>
                  <a:cxn ang="0">
                    <a:pos x="connsiteX0" y="connsiteY0"/>
                  </a:cxn>
                  <a:cxn ang="0">
                    <a:pos x="connsiteX1" y="connsiteY1"/>
                  </a:cxn>
                </a:cxnLst>
                <a:rect l="l" t="t" r="r" b="b"/>
                <a:pathLst>
                  <a:path w="737420" h="737420">
                    <a:moveTo>
                      <a:pt x="0" y="0"/>
                    </a:moveTo>
                    <a:cubicBezTo>
                      <a:pt x="442452" y="39330"/>
                      <a:pt x="717755" y="294968"/>
                      <a:pt x="737420" y="737420"/>
                    </a:cubicBezTo>
                  </a:path>
                </a:pathLst>
              </a:custGeom>
              <a:noFill/>
              <a:ln w="9525" algn="ctr">
                <a:solidFill>
                  <a:schemeClr val="bg1"/>
                </a:solidFill>
                <a:miter lim="800000"/>
                <a:headEnd/>
                <a:tailEnd/>
              </a:ln>
            </p:spPr>
            <p:txBody>
              <a:bodyPr rtlCol="0" anchor="ctr"/>
              <a:lstStyle/>
              <a:p>
                <a:pPr algn="ctr"/>
                <a:endParaRPr lang="en-US" dirty="0"/>
              </a:p>
            </p:txBody>
          </p:sp>
          <p:cxnSp>
            <p:nvCxnSpPr>
              <p:cNvPr id="178" name="Straight Connector 177">
                <a:extLst>
                  <a:ext uri="{FF2B5EF4-FFF2-40B4-BE49-F238E27FC236}">
                    <a16:creationId xmlns:a16="http://schemas.microsoft.com/office/drawing/2014/main" id="{ADB69258-484F-2A4C-A652-CBBF45DADF1A}"/>
                  </a:ext>
                </a:extLst>
              </p:cNvPr>
              <p:cNvCxnSpPr/>
              <p:nvPr/>
            </p:nvCxnSpPr>
            <p:spPr>
              <a:xfrm>
                <a:off x="1737335" y="5942061"/>
                <a:ext cx="370144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5" name="TextBox 184">
              <a:extLst>
                <a:ext uri="{FF2B5EF4-FFF2-40B4-BE49-F238E27FC236}">
                  <a16:creationId xmlns:a16="http://schemas.microsoft.com/office/drawing/2014/main" id="{D1AEDFC5-C81F-A949-9CF8-43F6E62B5F27}"/>
                </a:ext>
              </a:extLst>
            </p:cNvPr>
            <p:cNvSpPr txBox="1"/>
            <p:nvPr/>
          </p:nvSpPr>
          <p:spPr>
            <a:xfrm>
              <a:off x="2540197" y="6032127"/>
              <a:ext cx="597657" cy="109835"/>
            </a:xfrm>
            <a:prstGeom prst="rect">
              <a:avLst/>
            </a:prstGeom>
            <a:solidFill>
              <a:schemeClr val="tx1"/>
            </a:solidFill>
            <a:ln>
              <a:noFill/>
            </a:ln>
          </p:spPr>
          <p:txBody>
            <a:bodyPr vert="horz" wrap="square" lIns="0" tIns="0" rIns="0" bIns="0" rtlCol="0">
              <a:spAutoFit/>
            </a:bodyPr>
            <a:lstStyle/>
            <a:p>
              <a:pPr algn="ctr">
                <a:spcBef>
                  <a:spcPts val="200"/>
                </a:spcBef>
                <a:buSzPct val="100000"/>
              </a:pPr>
              <a:r>
                <a:rPr lang="en-US" sz="600" dirty="0">
                  <a:solidFill>
                    <a:schemeClr val="bg1"/>
                  </a:solidFill>
                </a:rPr>
                <a:t>20–35 days</a:t>
              </a:r>
            </a:p>
          </p:txBody>
        </p:sp>
        <p:grpSp>
          <p:nvGrpSpPr>
            <p:cNvPr id="186" name="Group 185">
              <a:extLst>
                <a:ext uri="{FF2B5EF4-FFF2-40B4-BE49-F238E27FC236}">
                  <a16:creationId xmlns:a16="http://schemas.microsoft.com/office/drawing/2014/main" id="{5F8C9718-BD85-E749-A115-0D1B87A5BA76}"/>
                </a:ext>
              </a:extLst>
            </p:cNvPr>
            <p:cNvGrpSpPr/>
            <p:nvPr/>
          </p:nvGrpSpPr>
          <p:grpSpPr>
            <a:xfrm flipH="1">
              <a:off x="8095075" y="3546637"/>
              <a:ext cx="1961502" cy="636883"/>
              <a:chOff x="1170112" y="5232080"/>
              <a:chExt cx="1648938" cy="736177"/>
            </a:xfrm>
          </p:grpSpPr>
          <p:sp>
            <p:nvSpPr>
              <p:cNvPr id="187" name="Freeform 186">
                <a:extLst>
                  <a:ext uri="{FF2B5EF4-FFF2-40B4-BE49-F238E27FC236}">
                    <a16:creationId xmlns:a16="http://schemas.microsoft.com/office/drawing/2014/main" id="{BB4A1ACC-987E-D842-8947-40AC1528B47F}"/>
                  </a:ext>
                </a:extLst>
              </p:cNvPr>
              <p:cNvSpPr/>
              <p:nvPr/>
            </p:nvSpPr>
            <p:spPr bwMode="gray">
              <a:xfrm flipH="1" flipV="1">
                <a:off x="1170112" y="5232080"/>
                <a:ext cx="605323" cy="723079"/>
              </a:xfrm>
              <a:custGeom>
                <a:avLst/>
                <a:gdLst>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8000 w 8367265"/>
                  <a:gd name="connsiteY0" fmla="*/ 0 h 3480621"/>
                  <a:gd name="connsiteX1" fmla="*/ 7629845 w 8367265"/>
                  <a:gd name="connsiteY1" fmla="*/ 0 h 3480621"/>
                  <a:gd name="connsiteX2" fmla="*/ 8367265 w 8367265"/>
                  <a:gd name="connsiteY2" fmla="*/ 737420 h 3480621"/>
                  <a:gd name="connsiteX3" fmla="*/ 7472529 w 8367265"/>
                  <a:gd name="connsiteY3" fmla="*/ 1632156 h 3480621"/>
                  <a:gd name="connsiteX4" fmla="*/ 904581 w 8367265"/>
                  <a:gd name="connsiteY4" fmla="*/ 1632156 h 3480621"/>
                  <a:gd name="connsiteX5" fmla="*/ 13 w 8367265"/>
                  <a:gd name="connsiteY5" fmla="*/ 2536724 h 3480621"/>
                  <a:gd name="connsiteX6" fmla="*/ 943910 w 8367265"/>
                  <a:gd name="connsiteY6" fmla="*/ 3480621 h 3480621"/>
                  <a:gd name="connsiteX7" fmla="*/ 5152116 w 8367265"/>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99 w 8367364"/>
                  <a:gd name="connsiteY0" fmla="*/ 0 h 3480621"/>
                  <a:gd name="connsiteX1" fmla="*/ 7629944 w 8367364"/>
                  <a:gd name="connsiteY1" fmla="*/ 0 h 3480621"/>
                  <a:gd name="connsiteX2" fmla="*/ 8367364 w 8367364"/>
                  <a:gd name="connsiteY2" fmla="*/ 737420 h 3480621"/>
                  <a:gd name="connsiteX3" fmla="*/ 7472628 w 8367364"/>
                  <a:gd name="connsiteY3" fmla="*/ 1632156 h 3480621"/>
                  <a:gd name="connsiteX4" fmla="*/ 904680 w 8367364"/>
                  <a:gd name="connsiteY4" fmla="*/ 1632156 h 3480621"/>
                  <a:gd name="connsiteX5" fmla="*/ 112 w 8367364"/>
                  <a:gd name="connsiteY5" fmla="*/ 2536724 h 3480621"/>
                  <a:gd name="connsiteX6" fmla="*/ 944009 w 8367364"/>
                  <a:gd name="connsiteY6" fmla="*/ 3480621 h 3480621"/>
                  <a:gd name="connsiteX7" fmla="*/ 5152215 w 8367364"/>
                  <a:gd name="connsiteY7" fmla="*/ 3480621 h 3480621"/>
                  <a:gd name="connsiteX0" fmla="*/ 118217 w 8367482"/>
                  <a:gd name="connsiteY0" fmla="*/ 0 h 3480621"/>
                  <a:gd name="connsiteX1" fmla="*/ 7630062 w 8367482"/>
                  <a:gd name="connsiteY1" fmla="*/ 0 h 3480621"/>
                  <a:gd name="connsiteX2" fmla="*/ 8367482 w 8367482"/>
                  <a:gd name="connsiteY2" fmla="*/ 737420 h 3480621"/>
                  <a:gd name="connsiteX3" fmla="*/ 7472746 w 8367482"/>
                  <a:gd name="connsiteY3" fmla="*/ 1632156 h 3480621"/>
                  <a:gd name="connsiteX4" fmla="*/ 904798 w 8367482"/>
                  <a:gd name="connsiteY4" fmla="*/ 1632156 h 3480621"/>
                  <a:gd name="connsiteX5" fmla="*/ 230 w 8367482"/>
                  <a:gd name="connsiteY5" fmla="*/ 2536724 h 3480621"/>
                  <a:gd name="connsiteX6" fmla="*/ 944127 w 8367482"/>
                  <a:gd name="connsiteY6" fmla="*/ 3480621 h 3480621"/>
                  <a:gd name="connsiteX7" fmla="*/ 5152333 w 8367482"/>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762 w 8368027"/>
                  <a:gd name="connsiteY0" fmla="*/ 0 h 3480621"/>
                  <a:gd name="connsiteX1" fmla="*/ 7630607 w 8368027"/>
                  <a:gd name="connsiteY1" fmla="*/ 0 h 3480621"/>
                  <a:gd name="connsiteX2" fmla="*/ 8368027 w 8368027"/>
                  <a:gd name="connsiteY2" fmla="*/ 737420 h 3480621"/>
                  <a:gd name="connsiteX3" fmla="*/ 7473291 w 8368027"/>
                  <a:gd name="connsiteY3" fmla="*/ 1632156 h 3480621"/>
                  <a:gd name="connsiteX4" fmla="*/ 905343 w 8368027"/>
                  <a:gd name="connsiteY4" fmla="*/ 1632156 h 3480621"/>
                  <a:gd name="connsiteX5" fmla="*/ 775 w 8368027"/>
                  <a:gd name="connsiteY5" fmla="*/ 2536724 h 3480621"/>
                  <a:gd name="connsiteX6" fmla="*/ 944672 w 8368027"/>
                  <a:gd name="connsiteY6" fmla="*/ 3480621 h 3480621"/>
                  <a:gd name="connsiteX7" fmla="*/ 5152878 w 8368027"/>
                  <a:gd name="connsiteY7" fmla="*/ 3480621 h 3480621"/>
                  <a:gd name="connsiteX0" fmla="*/ 118250 w 8367515"/>
                  <a:gd name="connsiteY0" fmla="*/ 0 h 3480621"/>
                  <a:gd name="connsiteX1" fmla="*/ 7630095 w 8367515"/>
                  <a:gd name="connsiteY1" fmla="*/ 0 h 3480621"/>
                  <a:gd name="connsiteX2" fmla="*/ 8367515 w 8367515"/>
                  <a:gd name="connsiteY2" fmla="*/ 737420 h 3480621"/>
                  <a:gd name="connsiteX3" fmla="*/ 7472779 w 8367515"/>
                  <a:gd name="connsiteY3" fmla="*/ 1632156 h 3480621"/>
                  <a:gd name="connsiteX4" fmla="*/ 904831 w 8367515"/>
                  <a:gd name="connsiteY4" fmla="*/ 1632156 h 3480621"/>
                  <a:gd name="connsiteX5" fmla="*/ 263 w 8367515"/>
                  <a:gd name="connsiteY5" fmla="*/ 2536724 h 3480621"/>
                  <a:gd name="connsiteX6" fmla="*/ 944160 w 8367515"/>
                  <a:gd name="connsiteY6" fmla="*/ 3480621 h 3480621"/>
                  <a:gd name="connsiteX7" fmla="*/ 5152366 w 8367515"/>
                  <a:gd name="connsiteY7" fmla="*/ 3480621 h 3480621"/>
                  <a:gd name="connsiteX0" fmla="*/ 118200 w 8367465"/>
                  <a:gd name="connsiteY0" fmla="*/ 0 h 3480621"/>
                  <a:gd name="connsiteX1" fmla="*/ 7630045 w 8367465"/>
                  <a:gd name="connsiteY1" fmla="*/ 0 h 3480621"/>
                  <a:gd name="connsiteX2" fmla="*/ 8367465 w 8367465"/>
                  <a:gd name="connsiteY2" fmla="*/ 737420 h 3480621"/>
                  <a:gd name="connsiteX3" fmla="*/ 7472729 w 8367465"/>
                  <a:gd name="connsiteY3" fmla="*/ 1632156 h 3480621"/>
                  <a:gd name="connsiteX4" fmla="*/ 904781 w 8367465"/>
                  <a:gd name="connsiteY4" fmla="*/ 1632156 h 3480621"/>
                  <a:gd name="connsiteX5" fmla="*/ 213 w 8367465"/>
                  <a:gd name="connsiteY5" fmla="*/ 2536724 h 3480621"/>
                  <a:gd name="connsiteX6" fmla="*/ 944110 w 8367465"/>
                  <a:gd name="connsiteY6" fmla="*/ 3480621 h 3480621"/>
                  <a:gd name="connsiteX7" fmla="*/ 5152316 w 8367465"/>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5152341 w 8367490"/>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4142691 w 8367490"/>
                  <a:gd name="connsiteY7" fmla="*/ 3480621 h 3480621"/>
                  <a:gd name="connsiteX0" fmla="*/ 119282 w 8368547"/>
                  <a:gd name="connsiteY0" fmla="*/ 0 h 3480621"/>
                  <a:gd name="connsiteX1" fmla="*/ 7631127 w 8368547"/>
                  <a:gd name="connsiteY1" fmla="*/ 0 h 3480621"/>
                  <a:gd name="connsiteX2" fmla="*/ 8368547 w 8368547"/>
                  <a:gd name="connsiteY2" fmla="*/ 737420 h 3480621"/>
                  <a:gd name="connsiteX3" fmla="*/ 7473811 w 8368547"/>
                  <a:gd name="connsiteY3" fmla="*/ 1632156 h 3480621"/>
                  <a:gd name="connsiteX4" fmla="*/ 905863 w 8368547"/>
                  <a:gd name="connsiteY4" fmla="*/ 1632156 h 3480621"/>
                  <a:gd name="connsiteX5" fmla="*/ 1295 w 8368547"/>
                  <a:gd name="connsiteY5" fmla="*/ 2536724 h 3480621"/>
                  <a:gd name="connsiteX6" fmla="*/ 945192 w 8368547"/>
                  <a:gd name="connsiteY6" fmla="*/ 3480621 h 3480621"/>
                  <a:gd name="connsiteX7" fmla="*/ 4143748 w 8368547"/>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42512 w 836731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99662 w 8367311"/>
                  <a:gd name="connsiteY7" fmla="*/ 3171749 h 3480621"/>
                  <a:gd name="connsiteX0" fmla="*/ 118046 w 8367311"/>
                  <a:gd name="connsiteY0" fmla="*/ 0 h 3206068"/>
                  <a:gd name="connsiteX1" fmla="*/ 7629891 w 8367311"/>
                  <a:gd name="connsiteY1" fmla="*/ 0 h 3206068"/>
                  <a:gd name="connsiteX2" fmla="*/ 8367311 w 8367311"/>
                  <a:gd name="connsiteY2" fmla="*/ 737420 h 3206068"/>
                  <a:gd name="connsiteX3" fmla="*/ 7472575 w 8367311"/>
                  <a:gd name="connsiteY3" fmla="*/ 1632156 h 3206068"/>
                  <a:gd name="connsiteX4" fmla="*/ 904627 w 8367311"/>
                  <a:gd name="connsiteY4" fmla="*/ 1632156 h 3206068"/>
                  <a:gd name="connsiteX5" fmla="*/ 59 w 8367311"/>
                  <a:gd name="connsiteY5" fmla="*/ 2536724 h 3206068"/>
                  <a:gd name="connsiteX6" fmla="*/ 934431 w 8367311"/>
                  <a:gd name="connsiteY6" fmla="*/ 3206068 h 3206068"/>
                  <a:gd name="connsiteX7" fmla="*/ 4199662 w 8367311"/>
                  <a:gd name="connsiteY7" fmla="*/ 3171749 h 3206068"/>
                  <a:gd name="connsiteX0" fmla="*/ 118046 w 8367311"/>
                  <a:gd name="connsiteY0" fmla="*/ 0 h 3213169"/>
                  <a:gd name="connsiteX1" fmla="*/ 7629891 w 8367311"/>
                  <a:gd name="connsiteY1" fmla="*/ 0 h 3213169"/>
                  <a:gd name="connsiteX2" fmla="*/ 8367311 w 8367311"/>
                  <a:gd name="connsiteY2" fmla="*/ 737420 h 3213169"/>
                  <a:gd name="connsiteX3" fmla="*/ 7472575 w 8367311"/>
                  <a:gd name="connsiteY3" fmla="*/ 1632156 h 3213169"/>
                  <a:gd name="connsiteX4" fmla="*/ 904627 w 8367311"/>
                  <a:gd name="connsiteY4" fmla="*/ 1632156 h 3213169"/>
                  <a:gd name="connsiteX5" fmla="*/ 59 w 8367311"/>
                  <a:gd name="connsiteY5" fmla="*/ 2536724 h 3213169"/>
                  <a:gd name="connsiteX6" fmla="*/ 934431 w 8367311"/>
                  <a:gd name="connsiteY6" fmla="*/ 3206068 h 3213169"/>
                  <a:gd name="connsiteX7" fmla="*/ 4199662 w 8367311"/>
                  <a:gd name="connsiteY7" fmla="*/ 3171749 h 3213169"/>
                  <a:gd name="connsiteX0" fmla="*/ 118073 w 8367338"/>
                  <a:gd name="connsiteY0" fmla="*/ 0 h 3213169"/>
                  <a:gd name="connsiteX1" fmla="*/ 7629918 w 8367338"/>
                  <a:gd name="connsiteY1" fmla="*/ 0 h 3213169"/>
                  <a:gd name="connsiteX2" fmla="*/ 8367338 w 8367338"/>
                  <a:gd name="connsiteY2" fmla="*/ 737420 h 3213169"/>
                  <a:gd name="connsiteX3" fmla="*/ 7472602 w 8367338"/>
                  <a:gd name="connsiteY3" fmla="*/ 1632156 h 3213169"/>
                  <a:gd name="connsiteX4" fmla="*/ 904654 w 8367338"/>
                  <a:gd name="connsiteY4" fmla="*/ 1632156 h 3213169"/>
                  <a:gd name="connsiteX5" fmla="*/ 86 w 8367338"/>
                  <a:gd name="connsiteY5" fmla="*/ 2536724 h 3213169"/>
                  <a:gd name="connsiteX6" fmla="*/ 934458 w 8367338"/>
                  <a:gd name="connsiteY6" fmla="*/ 3206068 h 3213169"/>
                  <a:gd name="connsiteX7" fmla="*/ 4199689 w 8367338"/>
                  <a:gd name="connsiteY7" fmla="*/ 3171749 h 3213169"/>
                  <a:gd name="connsiteX0" fmla="*/ 118073 w 8367338"/>
                  <a:gd name="connsiteY0" fmla="*/ 0 h 3210578"/>
                  <a:gd name="connsiteX1" fmla="*/ 7629918 w 8367338"/>
                  <a:gd name="connsiteY1" fmla="*/ 0 h 3210578"/>
                  <a:gd name="connsiteX2" fmla="*/ 8367338 w 8367338"/>
                  <a:gd name="connsiteY2" fmla="*/ 737420 h 3210578"/>
                  <a:gd name="connsiteX3" fmla="*/ 7472602 w 8367338"/>
                  <a:gd name="connsiteY3" fmla="*/ 1632156 h 3210578"/>
                  <a:gd name="connsiteX4" fmla="*/ 904654 w 8367338"/>
                  <a:gd name="connsiteY4" fmla="*/ 1632156 h 3210578"/>
                  <a:gd name="connsiteX5" fmla="*/ 86 w 8367338"/>
                  <a:gd name="connsiteY5" fmla="*/ 2322230 h 3210578"/>
                  <a:gd name="connsiteX6" fmla="*/ 934458 w 8367338"/>
                  <a:gd name="connsiteY6" fmla="*/ 3206068 h 3210578"/>
                  <a:gd name="connsiteX7" fmla="*/ 4199689 w 8367338"/>
                  <a:gd name="connsiteY7" fmla="*/ 3171749 h 321057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09 w 8367274"/>
                  <a:gd name="connsiteY0" fmla="*/ 0 h 3214268"/>
                  <a:gd name="connsiteX1" fmla="*/ 7629854 w 8367274"/>
                  <a:gd name="connsiteY1" fmla="*/ 0 h 3214268"/>
                  <a:gd name="connsiteX2" fmla="*/ 8367274 w 8367274"/>
                  <a:gd name="connsiteY2" fmla="*/ 737420 h 3214268"/>
                  <a:gd name="connsiteX3" fmla="*/ 7472538 w 8367274"/>
                  <a:gd name="connsiteY3" fmla="*/ 1632156 h 3214268"/>
                  <a:gd name="connsiteX4" fmla="*/ 904590 w 8367274"/>
                  <a:gd name="connsiteY4" fmla="*/ 1632156 h 3214268"/>
                  <a:gd name="connsiteX5" fmla="*/ 22 w 8367274"/>
                  <a:gd name="connsiteY5" fmla="*/ 2322230 h 3214268"/>
                  <a:gd name="connsiteX6" fmla="*/ 934394 w 8367274"/>
                  <a:gd name="connsiteY6" fmla="*/ 3206068 h 3214268"/>
                  <a:gd name="connsiteX7" fmla="*/ 4199625 w 8367274"/>
                  <a:gd name="connsiteY7" fmla="*/ 3171749 h 32142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322230 h 3206068"/>
                  <a:gd name="connsiteX6" fmla="*/ 934394 w 8367274"/>
                  <a:gd name="connsiteY6" fmla="*/ 3206068 h 3206068"/>
                  <a:gd name="connsiteX7" fmla="*/ 4199625 w 8367274"/>
                  <a:gd name="connsiteY7" fmla="*/ 3171749 h 32060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485245 h 3206068"/>
                  <a:gd name="connsiteX6" fmla="*/ 934394 w 8367274"/>
                  <a:gd name="connsiteY6" fmla="*/ 3206068 h 3206068"/>
                  <a:gd name="connsiteX7" fmla="*/ 4199625 w 8367274"/>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4180576 w 8348225"/>
                  <a:gd name="connsiteY7" fmla="*/ 3171749 h 3206403"/>
                  <a:gd name="connsiteX0" fmla="*/ 98960 w 8348225"/>
                  <a:gd name="connsiteY0" fmla="*/ 0 h 3209377"/>
                  <a:gd name="connsiteX1" fmla="*/ 7610805 w 8348225"/>
                  <a:gd name="connsiteY1" fmla="*/ 0 h 3209377"/>
                  <a:gd name="connsiteX2" fmla="*/ 8348225 w 8348225"/>
                  <a:gd name="connsiteY2" fmla="*/ 737420 h 3209377"/>
                  <a:gd name="connsiteX3" fmla="*/ 7453489 w 8348225"/>
                  <a:gd name="connsiteY3" fmla="*/ 1632156 h 3209377"/>
                  <a:gd name="connsiteX4" fmla="*/ 885541 w 8348225"/>
                  <a:gd name="connsiteY4" fmla="*/ 1632156 h 3209377"/>
                  <a:gd name="connsiteX5" fmla="*/ 23 w 8348225"/>
                  <a:gd name="connsiteY5" fmla="*/ 2416607 h 3209377"/>
                  <a:gd name="connsiteX6" fmla="*/ 915345 w 8348225"/>
                  <a:gd name="connsiteY6" fmla="*/ 3206068 h 3209377"/>
                  <a:gd name="connsiteX7" fmla="*/ 2613207 w 8348225"/>
                  <a:gd name="connsiteY7" fmla="*/ 3206076 h 3209377"/>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0" fmla="*/ 98960 w 8348225"/>
                  <a:gd name="connsiteY0" fmla="*/ 0 h 2416607"/>
                  <a:gd name="connsiteX1" fmla="*/ 7610805 w 8348225"/>
                  <a:gd name="connsiteY1" fmla="*/ 0 h 2416607"/>
                  <a:gd name="connsiteX2" fmla="*/ 8348225 w 8348225"/>
                  <a:gd name="connsiteY2" fmla="*/ 737420 h 2416607"/>
                  <a:gd name="connsiteX3" fmla="*/ 7453489 w 8348225"/>
                  <a:gd name="connsiteY3" fmla="*/ 1632156 h 2416607"/>
                  <a:gd name="connsiteX4" fmla="*/ 885541 w 8348225"/>
                  <a:gd name="connsiteY4" fmla="*/ 1632156 h 2416607"/>
                  <a:gd name="connsiteX5" fmla="*/ 23 w 8348225"/>
                  <a:gd name="connsiteY5" fmla="*/ 2416607 h 2416607"/>
                  <a:gd name="connsiteX0" fmla="*/ 0 w 8249265"/>
                  <a:gd name="connsiteY0" fmla="*/ 0 h 1632156"/>
                  <a:gd name="connsiteX1" fmla="*/ 7511845 w 8249265"/>
                  <a:gd name="connsiteY1" fmla="*/ 0 h 1632156"/>
                  <a:gd name="connsiteX2" fmla="*/ 8249265 w 8249265"/>
                  <a:gd name="connsiteY2" fmla="*/ 737420 h 1632156"/>
                  <a:gd name="connsiteX3" fmla="*/ 7354529 w 8249265"/>
                  <a:gd name="connsiteY3" fmla="*/ 1632156 h 1632156"/>
                  <a:gd name="connsiteX4" fmla="*/ 786581 w 8249265"/>
                  <a:gd name="connsiteY4" fmla="*/ 1632156 h 1632156"/>
                  <a:gd name="connsiteX0" fmla="*/ 0 w 8249265"/>
                  <a:gd name="connsiteY0" fmla="*/ 0 h 1632156"/>
                  <a:gd name="connsiteX1" fmla="*/ 7511845 w 8249265"/>
                  <a:gd name="connsiteY1" fmla="*/ 0 h 1632156"/>
                  <a:gd name="connsiteX2" fmla="*/ 8249265 w 8249265"/>
                  <a:gd name="connsiteY2" fmla="*/ 737420 h 1632156"/>
                  <a:gd name="connsiteX3" fmla="*/ 7354529 w 8249265"/>
                  <a:gd name="connsiteY3" fmla="*/ 1632156 h 1632156"/>
                  <a:gd name="connsiteX0" fmla="*/ 0 w 8249265"/>
                  <a:gd name="connsiteY0" fmla="*/ 0 h 737420"/>
                  <a:gd name="connsiteX1" fmla="*/ 7511845 w 8249265"/>
                  <a:gd name="connsiteY1" fmla="*/ 0 h 737420"/>
                  <a:gd name="connsiteX2" fmla="*/ 8249265 w 8249265"/>
                  <a:gd name="connsiteY2" fmla="*/ 737420 h 737420"/>
                  <a:gd name="connsiteX0" fmla="*/ 0 w 737420"/>
                  <a:gd name="connsiteY0" fmla="*/ 0 h 737420"/>
                  <a:gd name="connsiteX1" fmla="*/ 737420 w 737420"/>
                  <a:gd name="connsiteY1" fmla="*/ 737420 h 737420"/>
                </a:gdLst>
                <a:ahLst/>
                <a:cxnLst>
                  <a:cxn ang="0">
                    <a:pos x="connsiteX0" y="connsiteY0"/>
                  </a:cxn>
                  <a:cxn ang="0">
                    <a:pos x="connsiteX1" y="connsiteY1"/>
                  </a:cxn>
                </a:cxnLst>
                <a:rect l="l" t="t" r="r" b="b"/>
                <a:pathLst>
                  <a:path w="737420" h="737420">
                    <a:moveTo>
                      <a:pt x="0" y="0"/>
                    </a:moveTo>
                    <a:cubicBezTo>
                      <a:pt x="442452" y="39330"/>
                      <a:pt x="717755" y="294968"/>
                      <a:pt x="737420" y="737420"/>
                    </a:cubicBezTo>
                  </a:path>
                </a:pathLst>
              </a:custGeom>
              <a:noFill/>
              <a:ln w="9525" algn="ctr">
                <a:solidFill>
                  <a:schemeClr val="bg1"/>
                </a:solidFill>
                <a:miter lim="800000"/>
                <a:headEnd/>
                <a:tailEnd/>
              </a:ln>
            </p:spPr>
            <p:txBody>
              <a:bodyPr rtlCol="0" anchor="ctr"/>
              <a:lstStyle/>
              <a:p>
                <a:pPr algn="ctr"/>
                <a:endParaRPr lang="en-US" dirty="0"/>
              </a:p>
            </p:txBody>
          </p:sp>
          <p:cxnSp>
            <p:nvCxnSpPr>
              <p:cNvPr id="188" name="Straight Connector 187">
                <a:extLst>
                  <a:ext uri="{FF2B5EF4-FFF2-40B4-BE49-F238E27FC236}">
                    <a16:creationId xmlns:a16="http://schemas.microsoft.com/office/drawing/2014/main" id="{73E6053A-45B1-BB4D-80BE-0ED2B96B3ACB}"/>
                  </a:ext>
                </a:extLst>
              </p:cNvPr>
              <p:cNvCxnSpPr/>
              <p:nvPr/>
            </p:nvCxnSpPr>
            <p:spPr>
              <a:xfrm>
                <a:off x="1737335" y="5968257"/>
                <a:ext cx="1081715"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9" name="TextBox 188">
              <a:extLst>
                <a:ext uri="{FF2B5EF4-FFF2-40B4-BE49-F238E27FC236}">
                  <a16:creationId xmlns:a16="http://schemas.microsoft.com/office/drawing/2014/main" id="{67C65EBB-02CC-8147-8716-1CCE85739E4F}"/>
                </a:ext>
              </a:extLst>
            </p:cNvPr>
            <p:cNvSpPr txBox="1"/>
            <p:nvPr/>
          </p:nvSpPr>
          <p:spPr>
            <a:xfrm>
              <a:off x="8942979" y="4128903"/>
              <a:ext cx="539041" cy="109835"/>
            </a:xfrm>
            <a:prstGeom prst="rect">
              <a:avLst/>
            </a:prstGeom>
            <a:solidFill>
              <a:schemeClr val="tx1"/>
            </a:solidFill>
            <a:ln>
              <a:noFill/>
            </a:ln>
          </p:spPr>
          <p:txBody>
            <a:bodyPr vert="horz" wrap="square" lIns="0" tIns="0" rIns="0" bIns="0" rtlCol="0">
              <a:spAutoFit/>
            </a:bodyPr>
            <a:lstStyle/>
            <a:p>
              <a:pPr algn="ctr">
                <a:spcBef>
                  <a:spcPts val="200"/>
                </a:spcBef>
                <a:buSzPct val="100000"/>
              </a:pPr>
              <a:r>
                <a:rPr lang="en-US" sz="600" dirty="0">
                  <a:solidFill>
                    <a:schemeClr val="bg1"/>
                  </a:solidFill>
                </a:rPr>
                <a:t>10–15 days</a:t>
              </a:r>
            </a:p>
          </p:txBody>
        </p:sp>
        <p:sp>
          <p:nvSpPr>
            <p:cNvPr id="109" name="Freeform 314">
              <a:extLst>
                <a:ext uri="{FF2B5EF4-FFF2-40B4-BE49-F238E27FC236}">
                  <a16:creationId xmlns:a16="http://schemas.microsoft.com/office/drawing/2014/main" id="{6BCE01ED-3288-4B5E-85B2-D51D367F621C}"/>
                </a:ext>
              </a:extLst>
            </p:cNvPr>
            <p:cNvSpPr>
              <a:spLocks noChangeAspect="1" noEditPoints="1"/>
            </p:cNvSpPr>
            <p:nvPr/>
          </p:nvSpPr>
          <p:spPr bwMode="auto">
            <a:xfrm>
              <a:off x="7861757" y="1589146"/>
              <a:ext cx="652637" cy="652637"/>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0" name="Freeform 346">
              <a:extLst>
                <a:ext uri="{FF2B5EF4-FFF2-40B4-BE49-F238E27FC236}">
                  <a16:creationId xmlns:a16="http://schemas.microsoft.com/office/drawing/2014/main" id="{541168BD-98CC-40A3-8834-F32A9483462B}"/>
                </a:ext>
              </a:extLst>
            </p:cNvPr>
            <p:cNvSpPr>
              <a:spLocks noChangeAspect="1" noEditPoints="1"/>
            </p:cNvSpPr>
            <p:nvPr/>
          </p:nvSpPr>
          <p:spPr bwMode="auto">
            <a:xfrm>
              <a:off x="9392938" y="3043153"/>
              <a:ext cx="543864" cy="543864"/>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1" name="Freeform 26">
              <a:extLst>
                <a:ext uri="{FF2B5EF4-FFF2-40B4-BE49-F238E27FC236}">
                  <a16:creationId xmlns:a16="http://schemas.microsoft.com/office/drawing/2014/main" id="{CD9CB90B-233A-49C3-B686-F2183F20C5FD}"/>
                </a:ext>
              </a:extLst>
            </p:cNvPr>
            <p:cNvSpPr>
              <a:spLocks noEditPoints="1"/>
            </p:cNvSpPr>
            <p:nvPr/>
          </p:nvSpPr>
          <p:spPr bwMode="auto">
            <a:xfrm>
              <a:off x="7850153" y="3531965"/>
              <a:ext cx="543864" cy="543864"/>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2" name="Freeform 26">
              <a:extLst>
                <a:ext uri="{FF2B5EF4-FFF2-40B4-BE49-F238E27FC236}">
                  <a16:creationId xmlns:a16="http://schemas.microsoft.com/office/drawing/2014/main" id="{E2DB1247-8F51-4D3D-A4D8-11C3873C5A12}"/>
                </a:ext>
              </a:extLst>
            </p:cNvPr>
            <p:cNvSpPr>
              <a:spLocks noEditPoints="1"/>
            </p:cNvSpPr>
            <p:nvPr/>
          </p:nvSpPr>
          <p:spPr bwMode="auto">
            <a:xfrm>
              <a:off x="5732979" y="3526846"/>
              <a:ext cx="543864" cy="543864"/>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3" name="Freeform 26">
              <a:extLst>
                <a:ext uri="{FF2B5EF4-FFF2-40B4-BE49-F238E27FC236}">
                  <a16:creationId xmlns:a16="http://schemas.microsoft.com/office/drawing/2014/main" id="{73FDA3DB-9E46-4130-9361-D79060462A4D}"/>
                </a:ext>
              </a:extLst>
            </p:cNvPr>
            <p:cNvSpPr>
              <a:spLocks noEditPoints="1"/>
            </p:cNvSpPr>
            <p:nvPr/>
          </p:nvSpPr>
          <p:spPr bwMode="auto">
            <a:xfrm>
              <a:off x="3231546" y="3526846"/>
              <a:ext cx="543864" cy="543864"/>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4" name="Freeform 1043">
              <a:extLst>
                <a:ext uri="{FF2B5EF4-FFF2-40B4-BE49-F238E27FC236}">
                  <a16:creationId xmlns:a16="http://schemas.microsoft.com/office/drawing/2014/main" id="{ED45D5B9-C08A-48B0-A2B0-8FBBEE2444AA}"/>
                </a:ext>
              </a:extLst>
            </p:cNvPr>
            <p:cNvSpPr>
              <a:spLocks noChangeAspect="1" noEditPoints="1"/>
            </p:cNvSpPr>
            <p:nvPr/>
          </p:nvSpPr>
          <p:spPr bwMode="auto">
            <a:xfrm>
              <a:off x="2126793" y="5006824"/>
              <a:ext cx="543864" cy="543864"/>
            </a:xfrm>
            <a:custGeom>
              <a:avLst/>
              <a:gdLst>
                <a:gd name="T0" fmla="*/ 266 w 512"/>
                <a:gd name="T1" fmla="*/ 352 h 512"/>
                <a:gd name="T2" fmla="*/ 341 w 512"/>
                <a:gd name="T3" fmla="*/ 160 h 512"/>
                <a:gd name="T4" fmla="*/ 288 w 512"/>
                <a:gd name="T5" fmla="*/ 352 h 512"/>
                <a:gd name="T6" fmla="*/ 234 w 512"/>
                <a:gd name="T7" fmla="*/ 266 h 512"/>
                <a:gd name="T8" fmla="*/ 117 w 512"/>
                <a:gd name="T9" fmla="*/ 352 h 512"/>
                <a:gd name="T10" fmla="*/ 181 w 512"/>
                <a:gd name="T11" fmla="*/ 149 h 512"/>
                <a:gd name="T12" fmla="*/ 330 w 512"/>
                <a:gd name="T13" fmla="*/ 149 h 512"/>
                <a:gd name="T14" fmla="*/ 149 w 512"/>
                <a:gd name="T15" fmla="*/ 309 h 512"/>
                <a:gd name="T16" fmla="*/ 160 w 512"/>
                <a:gd name="T17" fmla="*/ 320 h 512"/>
                <a:gd name="T18" fmla="*/ 138 w 512"/>
                <a:gd name="T19" fmla="*/ 277 h 512"/>
                <a:gd name="T20" fmla="*/ 160 w 512"/>
                <a:gd name="T21" fmla="*/ 234 h 512"/>
                <a:gd name="T22" fmla="*/ 149 w 512"/>
                <a:gd name="T23" fmla="*/ 245 h 512"/>
                <a:gd name="T24" fmla="*/ 149 w 512"/>
                <a:gd name="T25" fmla="*/ 181 h 512"/>
                <a:gd name="T26" fmla="*/ 160 w 512"/>
                <a:gd name="T27" fmla="*/ 192 h 512"/>
                <a:gd name="T28" fmla="*/ 181 w 512"/>
                <a:gd name="T29" fmla="*/ 320 h 512"/>
                <a:gd name="T30" fmla="*/ 202 w 512"/>
                <a:gd name="T31" fmla="*/ 277 h 512"/>
                <a:gd name="T32" fmla="*/ 192 w 512"/>
                <a:gd name="T33" fmla="*/ 288 h 512"/>
                <a:gd name="T34" fmla="*/ 192 w 512"/>
                <a:gd name="T35" fmla="*/ 224 h 512"/>
                <a:gd name="T36" fmla="*/ 202 w 512"/>
                <a:gd name="T37" fmla="*/ 234 h 512"/>
                <a:gd name="T38" fmla="*/ 181 w 512"/>
                <a:gd name="T39" fmla="*/ 192 h 512"/>
                <a:gd name="T40" fmla="*/ 245 w 512"/>
                <a:gd name="T41" fmla="*/ 234 h 512"/>
                <a:gd name="T42" fmla="*/ 234 w 512"/>
                <a:gd name="T43" fmla="*/ 245 h 512"/>
                <a:gd name="T44" fmla="*/ 234 w 512"/>
                <a:gd name="T45" fmla="*/ 181 h 512"/>
                <a:gd name="T46" fmla="*/ 245 w 512"/>
                <a:gd name="T47" fmla="*/ 192 h 512"/>
                <a:gd name="T48" fmla="*/ 266 w 512"/>
                <a:gd name="T49" fmla="*/ 234 h 512"/>
                <a:gd name="T50" fmla="*/ 288 w 512"/>
                <a:gd name="T51" fmla="*/ 192 h 512"/>
                <a:gd name="T52" fmla="*/ 277 w 512"/>
                <a:gd name="T53" fmla="*/ 202 h 512"/>
                <a:gd name="T54" fmla="*/ 320 w 512"/>
                <a:gd name="T55" fmla="*/ 309 h 512"/>
                <a:gd name="T56" fmla="*/ 330 w 512"/>
                <a:gd name="T57" fmla="*/ 320 h 512"/>
                <a:gd name="T58" fmla="*/ 309 w 512"/>
                <a:gd name="T59" fmla="*/ 277 h 512"/>
                <a:gd name="T60" fmla="*/ 330 w 512"/>
                <a:gd name="T61" fmla="*/ 234 h 512"/>
                <a:gd name="T62" fmla="*/ 320 w 512"/>
                <a:gd name="T63" fmla="*/ 245 h 512"/>
                <a:gd name="T64" fmla="*/ 320 w 512"/>
                <a:gd name="T65" fmla="*/ 181 h 512"/>
                <a:gd name="T66" fmla="*/ 330 w 512"/>
                <a:gd name="T67" fmla="*/ 192 h 512"/>
                <a:gd name="T68" fmla="*/ 373 w 512"/>
                <a:gd name="T69" fmla="*/ 192 h 512"/>
                <a:gd name="T70" fmla="*/ 352 w 512"/>
                <a:gd name="T71" fmla="*/ 234 h 512"/>
                <a:gd name="T72" fmla="*/ 362 w 512"/>
                <a:gd name="T73" fmla="*/ 224 h 512"/>
                <a:gd name="T74" fmla="*/ 362 w 512"/>
                <a:gd name="T75" fmla="*/ 288 h 512"/>
                <a:gd name="T76" fmla="*/ 352 w 512"/>
                <a:gd name="T77" fmla="*/ 277 h 512"/>
                <a:gd name="T78" fmla="*/ 373 w 512"/>
                <a:gd name="T79" fmla="*/ 320 h 512"/>
                <a:gd name="T80" fmla="*/ 512 w 512"/>
                <a:gd name="T81" fmla="*/ 256 h 512"/>
                <a:gd name="T82" fmla="*/ 256 w 512"/>
                <a:gd name="T83" fmla="*/ 0 h 512"/>
                <a:gd name="T84" fmla="*/ 405 w 512"/>
                <a:gd name="T85" fmla="*/ 138 h 512"/>
                <a:gd name="T86" fmla="*/ 341 w 512"/>
                <a:gd name="T87" fmla="*/ 117 h 512"/>
                <a:gd name="T88" fmla="*/ 160 w 512"/>
                <a:gd name="T89" fmla="*/ 138 h 512"/>
                <a:gd name="T90" fmla="*/ 96 w 512"/>
                <a:gd name="T91" fmla="*/ 362 h 512"/>
                <a:gd name="T92" fmla="*/ 416 w 512"/>
                <a:gd name="T9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45" y="288"/>
                  </a:moveTo>
                  <a:cubicBezTo>
                    <a:pt x="266" y="288"/>
                    <a:pt x="266" y="288"/>
                    <a:pt x="266" y="288"/>
                  </a:cubicBezTo>
                  <a:cubicBezTo>
                    <a:pt x="266" y="352"/>
                    <a:pt x="266" y="352"/>
                    <a:pt x="266" y="352"/>
                  </a:cubicBezTo>
                  <a:cubicBezTo>
                    <a:pt x="245" y="352"/>
                    <a:pt x="245" y="352"/>
                    <a:pt x="245" y="352"/>
                  </a:cubicBezTo>
                  <a:lnTo>
                    <a:pt x="245" y="288"/>
                  </a:lnTo>
                  <a:close/>
                  <a:moveTo>
                    <a:pt x="341" y="160"/>
                  </a:moveTo>
                  <a:cubicBezTo>
                    <a:pt x="394" y="160"/>
                    <a:pt x="394" y="160"/>
                    <a:pt x="394" y="160"/>
                  </a:cubicBezTo>
                  <a:cubicBezTo>
                    <a:pt x="394" y="352"/>
                    <a:pt x="394" y="352"/>
                    <a:pt x="394" y="352"/>
                  </a:cubicBezTo>
                  <a:cubicBezTo>
                    <a:pt x="288" y="352"/>
                    <a:pt x="288" y="352"/>
                    <a:pt x="288" y="352"/>
                  </a:cubicBezTo>
                  <a:cubicBezTo>
                    <a:pt x="288" y="277"/>
                    <a:pt x="288" y="277"/>
                    <a:pt x="288" y="277"/>
                  </a:cubicBezTo>
                  <a:cubicBezTo>
                    <a:pt x="288" y="271"/>
                    <a:pt x="283" y="266"/>
                    <a:pt x="277" y="266"/>
                  </a:cubicBezTo>
                  <a:cubicBezTo>
                    <a:pt x="234" y="266"/>
                    <a:pt x="234" y="266"/>
                    <a:pt x="234" y="266"/>
                  </a:cubicBezTo>
                  <a:cubicBezTo>
                    <a:pt x="228" y="266"/>
                    <a:pt x="224" y="271"/>
                    <a:pt x="224" y="277"/>
                  </a:cubicBezTo>
                  <a:cubicBezTo>
                    <a:pt x="224" y="352"/>
                    <a:pt x="224" y="352"/>
                    <a:pt x="224" y="352"/>
                  </a:cubicBezTo>
                  <a:cubicBezTo>
                    <a:pt x="117" y="352"/>
                    <a:pt x="117" y="352"/>
                    <a:pt x="117" y="352"/>
                  </a:cubicBezTo>
                  <a:cubicBezTo>
                    <a:pt x="117" y="160"/>
                    <a:pt x="117" y="160"/>
                    <a:pt x="117" y="160"/>
                  </a:cubicBezTo>
                  <a:cubicBezTo>
                    <a:pt x="170" y="160"/>
                    <a:pt x="170" y="160"/>
                    <a:pt x="170" y="160"/>
                  </a:cubicBezTo>
                  <a:cubicBezTo>
                    <a:pt x="176" y="160"/>
                    <a:pt x="181" y="155"/>
                    <a:pt x="181" y="149"/>
                  </a:cubicBezTo>
                  <a:cubicBezTo>
                    <a:pt x="181" y="138"/>
                    <a:pt x="181" y="138"/>
                    <a:pt x="181" y="138"/>
                  </a:cubicBezTo>
                  <a:cubicBezTo>
                    <a:pt x="330" y="138"/>
                    <a:pt x="330" y="138"/>
                    <a:pt x="330" y="138"/>
                  </a:cubicBezTo>
                  <a:cubicBezTo>
                    <a:pt x="330" y="149"/>
                    <a:pt x="330" y="149"/>
                    <a:pt x="330" y="149"/>
                  </a:cubicBezTo>
                  <a:cubicBezTo>
                    <a:pt x="330" y="155"/>
                    <a:pt x="335" y="160"/>
                    <a:pt x="341" y="160"/>
                  </a:cubicBezTo>
                  <a:close/>
                  <a:moveTo>
                    <a:pt x="160" y="320"/>
                  </a:moveTo>
                  <a:cubicBezTo>
                    <a:pt x="160" y="314"/>
                    <a:pt x="155" y="309"/>
                    <a:pt x="149" y="309"/>
                  </a:cubicBezTo>
                  <a:cubicBezTo>
                    <a:pt x="143" y="309"/>
                    <a:pt x="138" y="314"/>
                    <a:pt x="138" y="320"/>
                  </a:cubicBezTo>
                  <a:cubicBezTo>
                    <a:pt x="138" y="326"/>
                    <a:pt x="143" y="330"/>
                    <a:pt x="149" y="330"/>
                  </a:cubicBezTo>
                  <a:cubicBezTo>
                    <a:pt x="155" y="330"/>
                    <a:pt x="160" y="326"/>
                    <a:pt x="160" y="320"/>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160" y="234"/>
                  </a:moveTo>
                  <a:cubicBezTo>
                    <a:pt x="160" y="228"/>
                    <a:pt x="155" y="224"/>
                    <a:pt x="149" y="224"/>
                  </a:cubicBezTo>
                  <a:cubicBezTo>
                    <a:pt x="143" y="224"/>
                    <a:pt x="138" y="228"/>
                    <a:pt x="138" y="234"/>
                  </a:cubicBezTo>
                  <a:cubicBezTo>
                    <a:pt x="138" y="240"/>
                    <a:pt x="143" y="245"/>
                    <a:pt x="149" y="245"/>
                  </a:cubicBezTo>
                  <a:cubicBezTo>
                    <a:pt x="155" y="245"/>
                    <a:pt x="160" y="240"/>
                    <a:pt x="160" y="234"/>
                  </a:cubicBezTo>
                  <a:close/>
                  <a:moveTo>
                    <a:pt x="160" y="192"/>
                  </a:moveTo>
                  <a:cubicBezTo>
                    <a:pt x="160" y="186"/>
                    <a:pt x="155" y="181"/>
                    <a:pt x="149" y="181"/>
                  </a:cubicBezTo>
                  <a:cubicBezTo>
                    <a:pt x="143" y="181"/>
                    <a:pt x="138" y="186"/>
                    <a:pt x="138" y="192"/>
                  </a:cubicBezTo>
                  <a:cubicBezTo>
                    <a:pt x="138" y="198"/>
                    <a:pt x="143" y="202"/>
                    <a:pt x="149" y="202"/>
                  </a:cubicBezTo>
                  <a:cubicBezTo>
                    <a:pt x="155" y="202"/>
                    <a:pt x="160" y="198"/>
                    <a:pt x="160" y="192"/>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02" y="192"/>
                  </a:moveTo>
                  <a:cubicBezTo>
                    <a:pt x="202" y="186"/>
                    <a:pt x="198" y="181"/>
                    <a:pt x="192" y="181"/>
                  </a:cubicBezTo>
                  <a:cubicBezTo>
                    <a:pt x="186" y="181"/>
                    <a:pt x="181" y="186"/>
                    <a:pt x="181" y="192"/>
                  </a:cubicBezTo>
                  <a:cubicBezTo>
                    <a:pt x="181" y="198"/>
                    <a:pt x="186" y="202"/>
                    <a:pt x="192" y="202"/>
                  </a:cubicBezTo>
                  <a:cubicBezTo>
                    <a:pt x="198" y="202"/>
                    <a:pt x="202" y="198"/>
                    <a:pt x="202" y="192"/>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45" y="192"/>
                  </a:moveTo>
                  <a:cubicBezTo>
                    <a:pt x="245" y="186"/>
                    <a:pt x="240" y="181"/>
                    <a:pt x="234" y="181"/>
                  </a:cubicBezTo>
                  <a:cubicBezTo>
                    <a:pt x="228" y="181"/>
                    <a:pt x="224" y="186"/>
                    <a:pt x="224" y="192"/>
                  </a:cubicBezTo>
                  <a:cubicBezTo>
                    <a:pt x="224" y="198"/>
                    <a:pt x="228" y="202"/>
                    <a:pt x="234" y="202"/>
                  </a:cubicBezTo>
                  <a:cubicBezTo>
                    <a:pt x="240" y="202"/>
                    <a:pt x="245" y="198"/>
                    <a:pt x="245" y="192"/>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288" y="192"/>
                  </a:moveTo>
                  <a:cubicBezTo>
                    <a:pt x="288" y="186"/>
                    <a:pt x="283" y="181"/>
                    <a:pt x="277" y="181"/>
                  </a:cubicBezTo>
                  <a:cubicBezTo>
                    <a:pt x="271" y="181"/>
                    <a:pt x="266" y="186"/>
                    <a:pt x="266" y="192"/>
                  </a:cubicBezTo>
                  <a:cubicBezTo>
                    <a:pt x="266" y="198"/>
                    <a:pt x="271" y="202"/>
                    <a:pt x="277" y="202"/>
                  </a:cubicBezTo>
                  <a:cubicBezTo>
                    <a:pt x="283" y="202"/>
                    <a:pt x="288" y="198"/>
                    <a:pt x="288" y="192"/>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30" y="192"/>
                  </a:moveTo>
                  <a:cubicBezTo>
                    <a:pt x="330" y="186"/>
                    <a:pt x="326" y="181"/>
                    <a:pt x="320" y="181"/>
                  </a:cubicBezTo>
                  <a:cubicBezTo>
                    <a:pt x="314" y="181"/>
                    <a:pt x="309" y="186"/>
                    <a:pt x="309" y="192"/>
                  </a:cubicBezTo>
                  <a:cubicBezTo>
                    <a:pt x="309" y="198"/>
                    <a:pt x="314" y="202"/>
                    <a:pt x="320" y="202"/>
                  </a:cubicBezTo>
                  <a:cubicBezTo>
                    <a:pt x="326" y="202"/>
                    <a:pt x="330" y="198"/>
                    <a:pt x="330" y="192"/>
                  </a:cubicBezTo>
                  <a:close/>
                  <a:moveTo>
                    <a:pt x="352" y="192"/>
                  </a:moveTo>
                  <a:cubicBezTo>
                    <a:pt x="352" y="198"/>
                    <a:pt x="356" y="202"/>
                    <a:pt x="362" y="202"/>
                  </a:cubicBezTo>
                  <a:cubicBezTo>
                    <a:pt x="368" y="202"/>
                    <a:pt x="373" y="198"/>
                    <a:pt x="373" y="192"/>
                  </a:cubicBezTo>
                  <a:cubicBezTo>
                    <a:pt x="373" y="186"/>
                    <a:pt x="368" y="181"/>
                    <a:pt x="362" y="181"/>
                  </a:cubicBezTo>
                  <a:cubicBezTo>
                    <a:pt x="356" y="181"/>
                    <a:pt x="352" y="186"/>
                    <a:pt x="352" y="192"/>
                  </a:cubicBezTo>
                  <a:close/>
                  <a:moveTo>
                    <a:pt x="352" y="234"/>
                  </a:moveTo>
                  <a:cubicBezTo>
                    <a:pt x="352" y="240"/>
                    <a:pt x="356" y="245"/>
                    <a:pt x="362" y="245"/>
                  </a:cubicBezTo>
                  <a:cubicBezTo>
                    <a:pt x="368" y="245"/>
                    <a:pt x="373" y="240"/>
                    <a:pt x="373" y="234"/>
                  </a:cubicBezTo>
                  <a:cubicBezTo>
                    <a:pt x="373" y="228"/>
                    <a:pt x="368" y="224"/>
                    <a:pt x="362" y="224"/>
                  </a:cubicBezTo>
                  <a:cubicBezTo>
                    <a:pt x="356" y="224"/>
                    <a:pt x="352" y="228"/>
                    <a:pt x="352" y="234"/>
                  </a:cubicBezTo>
                  <a:close/>
                  <a:moveTo>
                    <a:pt x="352" y="277"/>
                  </a:moveTo>
                  <a:cubicBezTo>
                    <a:pt x="352" y="283"/>
                    <a:pt x="356" y="288"/>
                    <a:pt x="362" y="288"/>
                  </a:cubicBezTo>
                  <a:cubicBezTo>
                    <a:pt x="368" y="288"/>
                    <a:pt x="373" y="283"/>
                    <a:pt x="373" y="277"/>
                  </a:cubicBezTo>
                  <a:cubicBezTo>
                    <a:pt x="373" y="271"/>
                    <a:pt x="368" y="266"/>
                    <a:pt x="362" y="266"/>
                  </a:cubicBezTo>
                  <a:cubicBezTo>
                    <a:pt x="356" y="266"/>
                    <a:pt x="352" y="271"/>
                    <a:pt x="352" y="277"/>
                  </a:cubicBezTo>
                  <a:close/>
                  <a:moveTo>
                    <a:pt x="352" y="320"/>
                  </a:moveTo>
                  <a:cubicBezTo>
                    <a:pt x="352" y="326"/>
                    <a:pt x="356" y="330"/>
                    <a:pt x="362" y="330"/>
                  </a:cubicBezTo>
                  <a:cubicBezTo>
                    <a:pt x="368" y="330"/>
                    <a:pt x="373" y="326"/>
                    <a:pt x="373" y="320"/>
                  </a:cubicBezTo>
                  <a:cubicBezTo>
                    <a:pt x="373" y="314"/>
                    <a:pt x="368" y="309"/>
                    <a:pt x="362" y="309"/>
                  </a:cubicBezTo>
                  <a:cubicBezTo>
                    <a:pt x="356" y="309"/>
                    <a:pt x="352" y="314"/>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52" y="138"/>
                    <a:pt x="352" y="138"/>
                    <a:pt x="352" y="138"/>
                  </a:cubicBezTo>
                  <a:cubicBezTo>
                    <a:pt x="352" y="128"/>
                    <a:pt x="352" y="128"/>
                    <a:pt x="352" y="128"/>
                  </a:cubicBezTo>
                  <a:cubicBezTo>
                    <a:pt x="352" y="122"/>
                    <a:pt x="347" y="117"/>
                    <a:pt x="341" y="117"/>
                  </a:cubicBezTo>
                  <a:cubicBezTo>
                    <a:pt x="170" y="117"/>
                    <a:pt x="170" y="117"/>
                    <a:pt x="170" y="117"/>
                  </a:cubicBezTo>
                  <a:cubicBezTo>
                    <a:pt x="164" y="117"/>
                    <a:pt x="160" y="122"/>
                    <a:pt x="160" y="128"/>
                  </a:cubicBezTo>
                  <a:cubicBezTo>
                    <a:pt x="160" y="138"/>
                    <a:pt x="160" y="138"/>
                    <a:pt x="16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5" name="Freeform 1043">
              <a:extLst>
                <a:ext uri="{FF2B5EF4-FFF2-40B4-BE49-F238E27FC236}">
                  <a16:creationId xmlns:a16="http://schemas.microsoft.com/office/drawing/2014/main" id="{50C848D0-2EE4-497B-85E0-0F9ABCA2D368}"/>
                </a:ext>
              </a:extLst>
            </p:cNvPr>
            <p:cNvSpPr>
              <a:spLocks noChangeAspect="1" noEditPoints="1"/>
            </p:cNvSpPr>
            <p:nvPr/>
          </p:nvSpPr>
          <p:spPr bwMode="auto">
            <a:xfrm>
              <a:off x="5812828" y="5423956"/>
              <a:ext cx="543864" cy="543864"/>
            </a:xfrm>
            <a:custGeom>
              <a:avLst/>
              <a:gdLst>
                <a:gd name="T0" fmla="*/ 266 w 512"/>
                <a:gd name="T1" fmla="*/ 352 h 512"/>
                <a:gd name="T2" fmla="*/ 341 w 512"/>
                <a:gd name="T3" fmla="*/ 160 h 512"/>
                <a:gd name="T4" fmla="*/ 288 w 512"/>
                <a:gd name="T5" fmla="*/ 352 h 512"/>
                <a:gd name="T6" fmla="*/ 234 w 512"/>
                <a:gd name="T7" fmla="*/ 266 h 512"/>
                <a:gd name="T8" fmla="*/ 117 w 512"/>
                <a:gd name="T9" fmla="*/ 352 h 512"/>
                <a:gd name="T10" fmla="*/ 181 w 512"/>
                <a:gd name="T11" fmla="*/ 149 h 512"/>
                <a:gd name="T12" fmla="*/ 330 w 512"/>
                <a:gd name="T13" fmla="*/ 149 h 512"/>
                <a:gd name="T14" fmla="*/ 149 w 512"/>
                <a:gd name="T15" fmla="*/ 309 h 512"/>
                <a:gd name="T16" fmla="*/ 160 w 512"/>
                <a:gd name="T17" fmla="*/ 320 h 512"/>
                <a:gd name="T18" fmla="*/ 138 w 512"/>
                <a:gd name="T19" fmla="*/ 277 h 512"/>
                <a:gd name="T20" fmla="*/ 160 w 512"/>
                <a:gd name="T21" fmla="*/ 234 h 512"/>
                <a:gd name="T22" fmla="*/ 149 w 512"/>
                <a:gd name="T23" fmla="*/ 245 h 512"/>
                <a:gd name="T24" fmla="*/ 149 w 512"/>
                <a:gd name="T25" fmla="*/ 181 h 512"/>
                <a:gd name="T26" fmla="*/ 160 w 512"/>
                <a:gd name="T27" fmla="*/ 192 h 512"/>
                <a:gd name="T28" fmla="*/ 181 w 512"/>
                <a:gd name="T29" fmla="*/ 320 h 512"/>
                <a:gd name="T30" fmla="*/ 202 w 512"/>
                <a:gd name="T31" fmla="*/ 277 h 512"/>
                <a:gd name="T32" fmla="*/ 192 w 512"/>
                <a:gd name="T33" fmla="*/ 288 h 512"/>
                <a:gd name="T34" fmla="*/ 192 w 512"/>
                <a:gd name="T35" fmla="*/ 224 h 512"/>
                <a:gd name="T36" fmla="*/ 202 w 512"/>
                <a:gd name="T37" fmla="*/ 234 h 512"/>
                <a:gd name="T38" fmla="*/ 181 w 512"/>
                <a:gd name="T39" fmla="*/ 192 h 512"/>
                <a:gd name="T40" fmla="*/ 245 w 512"/>
                <a:gd name="T41" fmla="*/ 234 h 512"/>
                <a:gd name="T42" fmla="*/ 234 w 512"/>
                <a:gd name="T43" fmla="*/ 245 h 512"/>
                <a:gd name="T44" fmla="*/ 234 w 512"/>
                <a:gd name="T45" fmla="*/ 181 h 512"/>
                <a:gd name="T46" fmla="*/ 245 w 512"/>
                <a:gd name="T47" fmla="*/ 192 h 512"/>
                <a:gd name="T48" fmla="*/ 266 w 512"/>
                <a:gd name="T49" fmla="*/ 234 h 512"/>
                <a:gd name="T50" fmla="*/ 288 w 512"/>
                <a:gd name="T51" fmla="*/ 192 h 512"/>
                <a:gd name="T52" fmla="*/ 277 w 512"/>
                <a:gd name="T53" fmla="*/ 202 h 512"/>
                <a:gd name="T54" fmla="*/ 320 w 512"/>
                <a:gd name="T55" fmla="*/ 309 h 512"/>
                <a:gd name="T56" fmla="*/ 330 w 512"/>
                <a:gd name="T57" fmla="*/ 320 h 512"/>
                <a:gd name="T58" fmla="*/ 309 w 512"/>
                <a:gd name="T59" fmla="*/ 277 h 512"/>
                <a:gd name="T60" fmla="*/ 330 w 512"/>
                <a:gd name="T61" fmla="*/ 234 h 512"/>
                <a:gd name="T62" fmla="*/ 320 w 512"/>
                <a:gd name="T63" fmla="*/ 245 h 512"/>
                <a:gd name="T64" fmla="*/ 320 w 512"/>
                <a:gd name="T65" fmla="*/ 181 h 512"/>
                <a:gd name="T66" fmla="*/ 330 w 512"/>
                <a:gd name="T67" fmla="*/ 192 h 512"/>
                <a:gd name="T68" fmla="*/ 373 w 512"/>
                <a:gd name="T69" fmla="*/ 192 h 512"/>
                <a:gd name="T70" fmla="*/ 352 w 512"/>
                <a:gd name="T71" fmla="*/ 234 h 512"/>
                <a:gd name="T72" fmla="*/ 362 w 512"/>
                <a:gd name="T73" fmla="*/ 224 h 512"/>
                <a:gd name="T74" fmla="*/ 362 w 512"/>
                <a:gd name="T75" fmla="*/ 288 h 512"/>
                <a:gd name="T76" fmla="*/ 352 w 512"/>
                <a:gd name="T77" fmla="*/ 277 h 512"/>
                <a:gd name="T78" fmla="*/ 373 w 512"/>
                <a:gd name="T79" fmla="*/ 320 h 512"/>
                <a:gd name="T80" fmla="*/ 512 w 512"/>
                <a:gd name="T81" fmla="*/ 256 h 512"/>
                <a:gd name="T82" fmla="*/ 256 w 512"/>
                <a:gd name="T83" fmla="*/ 0 h 512"/>
                <a:gd name="T84" fmla="*/ 405 w 512"/>
                <a:gd name="T85" fmla="*/ 138 h 512"/>
                <a:gd name="T86" fmla="*/ 341 w 512"/>
                <a:gd name="T87" fmla="*/ 117 h 512"/>
                <a:gd name="T88" fmla="*/ 160 w 512"/>
                <a:gd name="T89" fmla="*/ 138 h 512"/>
                <a:gd name="T90" fmla="*/ 96 w 512"/>
                <a:gd name="T91" fmla="*/ 362 h 512"/>
                <a:gd name="T92" fmla="*/ 416 w 512"/>
                <a:gd name="T9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45" y="288"/>
                  </a:moveTo>
                  <a:cubicBezTo>
                    <a:pt x="266" y="288"/>
                    <a:pt x="266" y="288"/>
                    <a:pt x="266" y="288"/>
                  </a:cubicBezTo>
                  <a:cubicBezTo>
                    <a:pt x="266" y="352"/>
                    <a:pt x="266" y="352"/>
                    <a:pt x="266" y="352"/>
                  </a:cubicBezTo>
                  <a:cubicBezTo>
                    <a:pt x="245" y="352"/>
                    <a:pt x="245" y="352"/>
                    <a:pt x="245" y="352"/>
                  </a:cubicBezTo>
                  <a:lnTo>
                    <a:pt x="245" y="288"/>
                  </a:lnTo>
                  <a:close/>
                  <a:moveTo>
                    <a:pt x="341" y="160"/>
                  </a:moveTo>
                  <a:cubicBezTo>
                    <a:pt x="394" y="160"/>
                    <a:pt x="394" y="160"/>
                    <a:pt x="394" y="160"/>
                  </a:cubicBezTo>
                  <a:cubicBezTo>
                    <a:pt x="394" y="352"/>
                    <a:pt x="394" y="352"/>
                    <a:pt x="394" y="352"/>
                  </a:cubicBezTo>
                  <a:cubicBezTo>
                    <a:pt x="288" y="352"/>
                    <a:pt x="288" y="352"/>
                    <a:pt x="288" y="352"/>
                  </a:cubicBezTo>
                  <a:cubicBezTo>
                    <a:pt x="288" y="277"/>
                    <a:pt x="288" y="277"/>
                    <a:pt x="288" y="277"/>
                  </a:cubicBezTo>
                  <a:cubicBezTo>
                    <a:pt x="288" y="271"/>
                    <a:pt x="283" y="266"/>
                    <a:pt x="277" y="266"/>
                  </a:cubicBezTo>
                  <a:cubicBezTo>
                    <a:pt x="234" y="266"/>
                    <a:pt x="234" y="266"/>
                    <a:pt x="234" y="266"/>
                  </a:cubicBezTo>
                  <a:cubicBezTo>
                    <a:pt x="228" y="266"/>
                    <a:pt x="224" y="271"/>
                    <a:pt x="224" y="277"/>
                  </a:cubicBezTo>
                  <a:cubicBezTo>
                    <a:pt x="224" y="352"/>
                    <a:pt x="224" y="352"/>
                    <a:pt x="224" y="352"/>
                  </a:cubicBezTo>
                  <a:cubicBezTo>
                    <a:pt x="117" y="352"/>
                    <a:pt x="117" y="352"/>
                    <a:pt x="117" y="352"/>
                  </a:cubicBezTo>
                  <a:cubicBezTo>
                    <a:pt x="117" y="160"/>
                    <a:pt x="117" y="160"/>
                    <a:pt x="117" y="160"/>
                  </a:cubicBezTo>
                  <a:cubicBezTo>
                    <a:pt x="170" y="160"/>
                    <a:pt x="170" y="160"/>
                    <a:pt x="170" y="160"/>
                  </a:cubicBezTo>
                  <a:cubicBezTo>
                    <a:pt x="176" y="160"/>
                    <a:pt x="181" y="155"/>
                    <a:pt x="181" y="149"/>
                  </a:cubicBezTo>
                  <a:cubicBezTo>
                    <a:pt x="181" y="138"/>
                    <a:pt x="181" y="138"/>
                    <a:pt x="181" y="138"/>
                  </a:cubicBezTo>
                  <a:cubicBezTo>
                    <a:pt x="330" y="138"/>
                    <a:pt x="330" y="138"/>
                    <a:pt x="330" y="138"/>
                  </a:cubicBezTo>
                  <a:cubicBezTo>
                    <a:pt x="330" y="149"/>
                    <a:pt x="330" y="149"/>
                    <a:pt x="330" y="149"/>
                  </a:cubicBezTo>
                  <a:cubicBezTo>
                    <a:pt x="330" y="155"/>
                    <a:pt x="335" y="160"/>
                    <a:pt x="341" y="160"/>
                  </a:cubicBezTo>
                  <a:close/>
                  <a:moveTo>
                    <a:pt x="160" y="320"/>
                  </a:moveTo>
                  <a:cubicBezTo>
                    <a:pt x="160" y="314"/>
                    <a:pt x="155" y="309"/>
                    <a:pt x="149" y="309"/>
                  </a:cubicBezTo>
                  <a:cubicBezTo>
                    <a:pt x="143" y="309"/>
                    <a:pt x="138" y="314"/>
                    <a:pt x="138" y="320"/>
                  </a:cubicBezTo>
                  <a:cubicBezTo>
                    <a:pt x="138" y="326"/>
                    <a:pt x="143" y="330"/>
                    <a:pt x="149" y="330"/>
                  </a:cubicBezTo>
                  <a:cubicBezTo>
                    <a:pt x="155" y="330"/>
                    <a:pt x="160" y="326"/>
                    <a:pt x="160" y="320"/>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160" y="234"/>
                  </a:moveTo>
                  <a:cubicBezTo>
                    <a:pt x="160" y="228"/>
                    <a:pt x="155" y="224"/>
                    <a:pt x="149" y="224"/>
                  </a:cubicBezTo>
                  <a:cubicBezTo>
                    <a:pt x="143" y="224"/>
                    <a:pt x="138" y="228"/>
                    <a:pt x="138" y="234"/>
                  </a:cubicBezTo>
                  <a:cubicBezTo>
                    <a:pt x="138" y="240"/>
                    <a:pt x="143" y="245"/>
                    <a:pt x="149" y="245"/>
                  </a:cubicBezTo>
                  <a:cubicBezTo>
                    <a:pt x="155" y="245"/>
                    <a:pt x="160" y="240"/>
                    <a:pt x="160" y="234"/>
                  </a:cubicBezTo>
                  <a:close/>
                  <a:moveTo>
                    <a:pt x="160" y="192"/>
                  </a:moveTo>
                  <a:cubicBezTo>
                    <a:pt x="160" y="186"/>
                    <a:pt x="155" y="181"/>
                    <a:pt x="149" y="181"/>
                  </a:cubicBezTo>
                  <a:cubicBezTo>
                    <a:pt x="143" y="181"/>
                    <a:pt x="138" y="186"/>
                    <a:pt x="138" y="192"/>
                  </a:cubicBezTo>
                  <a:cubicBezTo>
                    <a:pt x="138" y="198"/>
                    <a:pt x="143" y="202"/>
                    <a:pt x="149" y="202"/>
                  </a:cubicBezTo>
                  <a:cubicBezTo>
                    <a:pt x="155" y="202"/>
                    <a:pt x="160" y="198"/>
                    <a:pt x="160" y="192"/>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02" y="192"/>
                  </a:moveTo>
                  <a:cubicBezTo>
                    <a:pt x="202" y="186"/>
                    <a:pt x="198" y="181"/>
                    <a:pt x="192" y="181"/>
                  </a:cubicBezTo>
                  <a:cubicBezTo>
                    <a:pt x="186" y="181"/>
                    <a:pt x="181" y="186"/>
                    <a:pt x="181" y="192"/>
                  </a:cubicBezTo>
                  <a:cubicBezTo>
                    <a:pt x="181" y="198"/>
                    <a:pt x="186" y="202"/>
                    <a:pt x="192" y="202"/>
                  </a:cubicBezTo>
                  <a:cubicBezTo>
                    <a:pt x="198" y="202"/>
                    <a:pt x="202" y="198"/>
                    <a:pt x="202" y="192"/>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45" y="192"/>
                  </a:moveTo>
                  <a:cubicBezTo>
                    <a:pt x="245" y="186"/>
                    <a:pt x="240" y="181"/>
                    <a:pt x="234" y="181"/>
                  </a:cubicBezTo>
                  <a:cubicBezTo>
                    <a:pt x="228" y="181"/>
                    <a:pt x="224" y="186"/>
                    <a:pt x="224" y="192"/>
                  </a:cubicBezTo>
                  <a:cubicBezTo>
                    <a:pt x="224" y="198"/>
                    <a:pt x="228" y="202"/>
                    <a:pt x="234" y="202"/>
                  </a:cubicBezTo>
                  <a:cubicBezTo>
                    <a:pt x="240" y="202"/>
                    <a:pt x="245" y="198"/>
                    <a:pt x="245" y="192"/>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288" y="192"/>
                  </a:moveTo>
                  <a:cubicBezTo>
                    <a:pt x="288" y="186"/>
                    <a:pt x="283" y="181"/>
                    <a:pt x="277" y="181"/>
                  </a:cubicBezTo>
                  <a:cubicBezTo>
                    <a:pt x="271" y="181"/>
                    <a:pt x="266" y="186"/>
                    <a:pt x="266" y="192"/>
                  </a:cubicBezTo>
                  <a:cubicBezTo>
                    <a:pt x="266" y="198"/>
                    <a:pt x="271" y="202"/>
                    <a:pt x="277" y="202"/>
                  </a:cubicBezTo>
                  <a:cubicBezTo>
                    <a:pt x="283" y="202"/>
                    <a:pt x="288" y="198"/>
                    <a:pt x="288" y="192"/>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30" y="192"/>
                  </a:moveTo>
                  <a:cubicBezTo>
                    <a:pt x="330" y="186"/>
                    <a:pt x="326" y="181"/>
                    <a:pt x="320" y="181"/>
                  </a:cubicBezTo>
                  <a:cubicBezTo>
                    <a:pt x="314" y="181"/>
                    <a:pt x="309" y="186"/>
                    <a:pt x="309" y="192"/>
                  </a:cubicBezTo>
                  <a:cubicBezTo>
                    <a:pt x="309" y="198"/>
                    <a:pt x="314" y="202"/>
                    <a:pt x="320" y="202"/>
                  </a:cubicBezTo>
                  <a:cubicBezTo>
                    <a:pt x="326" y="202"/>
                    <a:pt x="330" y="198"/>
                    <a:pt x="330" y="192"/>
                  </a:cubicBezTo>
                  <a:close/>
                  <a:moveTo>
                    <a:pt x="352" y="192"/>
                  </a:moveTo>
                  <a:cubicBezTo>
                    <a:pt x="352" y="198"/>
                    <a:pt x="356" y="202"/>
                    <a:pt x="362" y="202"/>
                  </a:cubicBezTo>
                  <a:cubicBezTo>
                    <a:pt x="368" y="202"/>
                    <a:pt x="373" y="198"/>
                    <a:pt x="373" y="192"/>
                  </a:cubicBezTo>
                  <a:cubicBezTo>
                    <a:pt x="373" y="186"/>
                    <a:pt x="368" y="181"/>
                    <a:pt x="362" y="181"/>
                  </a:cubicBezTo>
                  <a:cubicBezTo>
                    <a:pt x="356" y="181"/>
                    <a:pt x="352" y="186"/>
                    <a:pt x="352" y="192"/>
                  </a:cubicBezTo>
                  <a:close/>
                  <a:moveTo>
                    <a:pt x="352" y="234"/>
                  </a:moveTo>
                  <a:cubicBezTo>
                    <a:pt x="352" y="240"/>
                    <a:pt x="356" y="245"/>
                    <a:pt x="362" y="245"/>
                  </a:cubicBezTo>
                  <a:cubicBezTo>
                    <a:pt x="368" y="245"/>
                    <a:pt x="373" y="240"/>
                    <a:pt x="373" y="234"/>
                  </a:cubicBezTo>
                  <a:cubicBezTo>
                    <a:pt x="373" y="228"/>
                    <a:pt x="368" y="224"/>
                    <a:pt x="362" y="224"/>
                  </a:cubicBezTo>
                  <a:cubicBezTo>
                    <a:pt x="356" y="224"/>
                    <a:pt x="352" y="228"/>
                    <a:pt x="352" y="234"/>
                  </a:cubicBezTo>
                  <a:close/>
                  <a:moveTo>
                    <a:pt x="352" y="277"/>
                  </a:moveTo>
                  <a:cubicBezTo>
                    <a:pt x="352" y="283"/>
                    <a:pt x="356" y="288"/>
                    <a:pt x="362" y="288"/>
                  </a:cubicBezTo>
                  <a:cubicBezTo>
                    <a:pt x="368" y="288"/>
                    <a:pt x="373" y="283"/>
                    <a:pt x="373" y="277"/>
                  </a:cubicBezTo>
                  <a:cubicBezTo>
                    <a:pt x="373" y="271"/>
                    <a:pt x="368" y="266"/>
                    <a:pt x="362" y="266"/>
                  </a:cubicBezTo>
                  <a:cubicBezTo>
                    <a:pt x="356" y="266"/>
                    <a:pt x="352" y="271"/>
                    <a:pt x="352" y="277"/>
                  </a:cubicBezTo>
                  <a:close/>
                  <a:moveTo>
                    <a:pt x="352" y="320"/>
                  </a:moveTo>
                  <a:cubicBezTo>
                    <a:pt x="352" y="326"/>
                    <a:pt x="356" y="330"/>
                    <a:pt x="362" y="330"/>
                  </a:cubicBezTo>
                  <a:cubicBezTo>
                    <a:pt x="368" y="330"/>
                    <a:pt x="373" y="326"/>
                    <a:pt x="373" y="320"/>
                  </a:cubicBezTo>
                  <a:cubicBezTo>
                    <a:pt x="373" y="314"/>
                    <a:pt x="368" y="309"/>
                    <a:pt x="362" y="309"/>
                  </a:cubicBezTo>
                  <a:cubicBezTo>
                    <a:pt x="356" y="309"/>
                    <a:pt x="352" y="314"/>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52" y="138"/>
                    <a:pt x="352" y="138"/>
                    <a:pt x="352" y="138"/>
                  </a:cubicBezTo>
                  <a:cubicBezTo>
                    <a:pt x="352" y="128"/>
                    <a:pt x="352" y="128"/>
                    <a:pt x="352" y="128"/>
                  </a:cubicBezTo>
                  <a:cubicBezTo>
                    <a:pt x="352" y="122"/>
                    <a:pt x="347" y="117"/>
                    <a:pt x="341" y="117"/>
                  </a:cubicBezTo>
                  <a:cubicBezTo>
                    <a:pt x="170" y="117"/>
                    <a:pt x="170" y="117"/>
                    <a:pt x="170" y="117"/>
                  </a:cubicBezTo>
                  <a:cubicBezTo>
                    <a:pt x="164" y="117"/>
                    <a:pt x="160" y="122"/>
                    <a:pt x="160" y="128"/>
                  </a:cubicBezTo>
                  <a:cubicBezTo>
                    <a:pt x="160" y="138"/>
                    <a:pt x="160" y="138"/>
                    <a:pt x="16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6" name="Freeform 14">
              <a:extLst>
                <a:ext uri="{FF2B5EF4-FFF2-40B4-BE49-F238E27FC236}">
                  <a16:creationId xmlns:a16="http://schemas.microsoft.com/office/drawing/2014/main" id="{EB74D4E8-D839-4BC3-913F-6515CCAC5DC1}"/>
                </a:ext>
              </a:extLst>
            </p:cNvPr>
            <p:cNvSpPr>
              <a:spLocks noChangeAspect="1" noEditPoints="1"/>
            </p:cNvSpPr>
            <p:nvPr/>
          </p:nvSpPr>
          <p:spPr bwMode="auto">
            <a:xfrm>
              <a:off x="7889658" y="5422778"/>
              <a:ext cx="543864" cy="543864"/>
            </a:xfrm>
            <a:custGeom>
              <a:avLst/>
              <a:gdLst>
                <a:gd name="T0" fmla="*/ 266 w 512"/>
                <a:gd name="T1" fmla="*/ 138 h 512"/>
                <a:gd name="T2" fmla="*/ 309 w 512"/>
                <a:gd name="T3" fmla="*/ 117 h 512"/>
                <a:gd name="T4" fmla="*/ 373 w 512"/>
                <a:gd name="T5" fmla="*/ 234 h 512"/>
                <a:gd name="T6" fmla="*/ 394 w 512"/>
                <a:gd name="T7" fmla="*/ 352 h 512"/>
                <a:gd name="T8" fmla="*/ 160 w 512"/>
                <a:gd name="T9" fmla="*/ 320 h 512"/>
                <a:gd name="T10" fmla="*/ 138 w 512"/>
                <a:gd name="T11" fmla="*/ 320 h 512"/>
                <a:gd name="T12" fmla="*/ 117 w 512"/>
                <a:gd name="T13" fmla="*/ 352 h 512"/>
                <a:gd name="T14" fmla="*/ 138 w 512"/>
                <a:gd name="T15" fmla="*/ 234 h 512"/>
                <a:gd name="T16" fmla="*/ 149 w 512"/>
                <a:gd name="T17" fmla="*/ 202 h 512"/>
                <a:gd name="T18" fmla="*/ 362 w 512"/>
                <a:gd name="T19" fmla="*/ 224 h 512"/>
                <a:gd name="T20" fmla="*/ 160 w 512"/>
                <a:gd name="T21" fmla="*/ 277 h 512"/>
                <a:gd name="T22" fmla="*/ 138 w 512"/>
                <a:gd name="T23" fmla="*/ 277 h 512"/>
                <a:gd name="T24" fmla="*/ 160 w 512"/>
                <a:gd name="T25" fmla="*/ 277 h 512"/>
                <a:gd name="T26" fmla="*/ 192 w 512"/>
                <a:gd name="T27" fmla="*/ 309 h 512"/>
                <a:gd name="T28" fmla="*/ 192 w 512"/>
                <a:gd name="T29" fmla="*/ 330 h 512"/>
                <a:gd name="T30" fmla="*/ 202 w 512"/>
                <a:gd name="T31" fmla="*/ 277 h 512"/>
                <a:gd name="T32" fmla="*/ 181 w 512"/>
                <a:gd name="T33" fmla="*/ 277 h 512"/>
                <a:gd name="T34" fmla="*/ 202 w 512"/>
                <a:gd name="T35" fmla="*/ 277 h 512"/>
                <a:gd name="T36" fmla="*/ 192 w 512"/>
                <a:gd name="T37" fmla="*/ 224 h 512"/>
                <a:gd name="T38" fmla="*/ 192 w 512"/>
                <a:gd name="T39" fmla="*/ 245 h 512"/>
                <a:gd name="T40" fmla="*/ 245 w 512"/>
                <a:gd name="T41" fmla="*/ 320 h 512"/>
                <a:gd name="T42" fmla="*/ 224 w 512"/>
                <a:gd name="T43" fmla="*/ 320 h 512"/>
                <a:gd name="T44" fmla="*/ 245 w 512"/>
                <a:gd name="T45" fmla="*/ 320 h 512"/>
                <a:gd name="T46" fmla="*/ 234 w 512"/>
                <a:gd name="T47" fmla="*/ 266 h 512"/>
                <a:gd name="T48" fmla="*/ 234 w 512"/>
                <a:gd name="T49" fmla="*/ 288 h 512"/>
                <a:gd name="T50" fmla="*/ 245 w 512"/>
                <a:gd name="T51" fmla="*/ 234 h 512"/>
                <a:gd name="T52" fmla="*/ 224 w 512"/>
                <a:gd name="T53" fmla="*/ 234 h 512"/>
                <a:gd name="T54" fmla="*/ 245 w 512"/>
                <a:gd name="T55" fmla="*/ 234 h 512"/>
                <a:gd name="T56" fmla="*/ 277 w 512"/>
                <a:gd name="T57" fmla="*/ 309 h 512"/>
                <a:gd name="T58" fmla="*/ 277 w 512"/>
                <a:gd name="T59" fmla="*/ 330 h 512"/>
                <a:gd name="T60" fmla="*/ 288 w 512"/>
                <a:gd name="T61" fmla="*/ 277 h 512"/>
                <a:gd name="T62" fmla="*/ 266 w 512"/>
                <a:gd name="T63" fmla="*/ 277 h 512"/>
                <a:gd name="T64" fmla="*/ 288 w 512"/>
                <a:gd name="T65" fmla="*/ 277 h 512"/>
                <a:gd name="T66" fmla="*/ 277 w 512"/>
                <a:gd name="T67" fmla="*/ 224 h 512"/>
                <a:gd name="T68" fmla="*/ 277 w 512"/>
                <a:gd name="T69" fmla="*/ 245 h 512"/>
                <a:gd name="T70" fmla="*/ 330 w 512"/>
                <a:gd name="T71" fmla="*/ 320 h 512"/>
                <a:gd name="T72" fmla="*/ 309 w 512"/>
                <a:gd name="T73" fmla="*/ 320 h 512"/>
                <a:gd name="T74" fmla="*/ 330 w 512"/>
                <a:gd name="T75" fmla="*/ 320 h 512"/>
                <a:gd name="T76" fmla="*/ 320 w 512"/>
                <a:gd name="T77" fmla="*/ 266 h 512"/>
                <a:gd name="T78" fmla="*/ 320 w 512"/>
                <a:gd name="T79" fmla="*/ 288 h 512"/>
                <a:gd name="T80" fmla="*/ 330 w 512"/>
                <a:gd name="T81" fmla="*/ 234 h 512"/>
                <a:gd name="T82" fmla="*/ 309 w 512"/>
                <a:gd name="T83" fmla="*/ 234 h 512"/>
                <a:gd name="T84" fmla="*/ 330 w 512"/>
                <a:gd name="T85" fmla="*/ 234 h 512"/>
                <a:gd name="T86" fmla="*/ 362 w 512"/>
                <a:gd name="T87" fmla="*/ 309 h 512"/>
                <a:gd name="T88" fmla="*/ 362 w 512"/>
                <a:gd name="T89" fmla="*/ 330 h 512"/>
                <a:gd name="T90" fmla="*/ 373 w 512"/>
                <a:gd name="T91" fmla="*/ 277 h 512"/>
                <a:gd name="T92" fmla="*/ 352 w 512"/>
                <a:gd name="T93" fmla="*/ 277 h 512"/>
                <a:gd name="T94" fmla="*/ 373 w 512"/>
                <a:gd name="T95" fmla="*/ 277 h 512"/>
                <a:gd name="T96" fmla="*/ 256 w 512"/>
                <a:gd name="T97" fmla="*/ 512 h 512"/>
                <a:gd name="T98" fmla="*/ 256 w 512"/>
                <a:gd name="T99" fmla="*/ 0 h 512"/>
                <a:gd name="T100" fmla="*/ 416 w 512"/>
                <a:gd name="T101" fmla="*/ 224 h 512"/>
                <a:gd name="T102" fmla="*/ 384 w 512"/>
                <a:gd name="T103" fmla="*/ 213 h 512"/>
                <a:gd name="T104" fmla="*/ 373 w 512"/>
                <a:gd name="T105" fmla="*/ 181 h 512"/>
                <a:gd name="T106" fmla="*/ 266 w 512"/>
                <a:gd name="T107" fmla="*/ 160 h 512"/>
                <a:gd name="T108" fmla="*/ 330 w 512"/>
                <a:gd name="T109" fmla="*/ 149 h 512"/>
                <a:gd name="T110" fmla="*/ 320 w 512"/>
                <a:gd name="T111" fmla="*/ 96 h 512"/>
                <a:gd name="T112" fmla="*/ 245 w 512"/>
                <a:gd name="T113" fmla="*/ 106 h 512"/>
                <a:gd name="T114" fmla="*/ 245 w 512"/>
                <a:gd name="T115" fmla="*/ 181 h 512"/>
                <a:gd name="T116" fmla="*/ 128 w 512"/>
                <a:gd name="T117" fmla="*/ 192 h 512"/>
                <a:gd name="T118" fmla="*/ 106 w 512"/>
                <a:gd name="T119" fmla="*/ 213 h 512"/>
                <a:gd name="T120" fmla="*/ 96 w 512"/>
                <a:gd name="T121" fmla="*/ 362 h 512"/>
                <a:gd name="T122" fmla="*/ 405 w 512"/>
                <a:gd name="T123" fmla="*/ 373 h 512"/>
                <a:gd name="T124" fmla="*/ 416 w 512"/>
                <a:gd name="T12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09" y="138"/>
                  </a:moveTo>
                  <a:cubicBezTo>
                    <a:pt x="266" y="138"/>
                    <a:pt x="266" y="138"/>
                    <a:pt x="266" y="138"/>
                  </a:cubicBezTo>
                  <a:cubicBezTo>
                    <a:pt x="266" y="117"/>
                    <a:pt x="266" y="117"/>
                    <a:pt x="266" y="117"/>
                  </a:cubicBezTo>
                  <a:cubicBezTo>
                    <a:pt x="309" y="117"/>
                    <a:pt x="309" y="117"/>
                    <a:pt x="309" y="117"/>
                  </a:cubicBezTo>
                  <a:lnTo>
                    <a:pt x="309" y="138"/>
                  </a:lnTo>
                  <a:close/>
                  <a:moveTo>
                    <a:pt x="373" y="234"/>
                  </a:moveTo>
                  <a:cubicBezTo>
                    <a:pt x="394" y="234"/>
                    <a:pt x="394" y="234"/>
                    <a:pt x="394" y="234"/>
                  </a:cubicBezTo>
                  <a:cubicBezTo>
                    <a:pt x="394" y="352"/>
                    <a:pt x="394" y="352"/>
                    <a:pt x="394" y="352"/>
                  </a:cubicBezTo>
                  <a:cubicBezTo>
                    <a:pt x="160" y="352"/>
                    <a:pt x="160" y="352"/>
                    <a:pt x="160" y="352"/>
                  </a:cubicBezTo>
                  <a:cubicBezTo>
                    <a:pt x="160" y="320"/>
                    <a:pt x="160" y="320"/>
                    <a:pt x="160" y="320"/>
                  </a:cubicBezTo>
                  <a:cubicBezTo>
                    <a:pt x="160" y="314"/>
                    <a:pt x="155" y="309"/>
                    <a:pt x="149" y="309"/>
                  </a:cubicBezTo>
                  <a:cubicBezTo>
                    <a:pt x="143" y="309"/>
                    <a:pt x="138" y="314"/>
                    <a:pt x="138" y="320"/>
                  </a:cubicBezTo>
                  <a:cubicBezTo>
                    <a:pt x="138" y="352"/>
                    <a:pt x="138" y="352"/>
                    <a:pt x="138" y="352"/>
                  </a:cubicBezTo>
                  <a:cubicBezTo>
                    <a:pt x="117" y="352"/>
                    <a:pt x="117" y="352"/>
                    <a:pt x="117" y="352"/>
                  </a:cubicBezTo>
                  <a:cubicBezTo>
                    <a:pt x="117" y="234"/>
                    <a:pt x="117" y="234"/>
                    <a:pt x="117" y="234"/>
                  </a:cubicBezTo>
                  <a:cubicBezTo>
                    <a:pt x="138" y="234"/>
                    <a:pt x="138" y="234"/>
                    <a:pt x="138" y="234"/>
                  </a:cubicBezTo>
                  <a:cubicBezTo>
                    <a:pt x="144" y="234"/>
                    <a:pt x="149" y="230"/>
                    <a:pt x="149" y="224"/>
                  </a:cubicBezTo>
                  <a:cubicBezTo>
                    <a:pt x="149" y="202"/>
                    <a:pt x="149" y="202"/>
                    <a:pt x="149" y="202"/>
                  </a:cubicBezTo>
                  <a:cubicBezTo>
                    <a:pt x="362" y="202"/>
                    <a:pt x="362" y="202"/>
                    <a:pt x="362" y="202"/>
                  </a:cubicBezTo>
                  <a:cubicBezTo>
                    <a:pt x="362" y="224"/>
                    <a:pt x="362" y="224"/>
                    <a:pt x="362" y="224"/>
                  </a:cubicBezTo>
                  <a:cubicBezTo>
                    <a:pt x="362" y="230"/>
                    <a:pt x="367" y="234"/>
                    <a:pt x="373" y="234"/>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73" y="320"/>
                  </a:moveTo>
                  <a:cubicBezTo>
                    <a:pt x="373" y="314"/>
                    <a:pt x="368" y="309"/>
                    <a:pt x="362" y="309"/>
                  </a:cubicBezTo>
                  <a:cubicBezTo>
                    <a:pt x="356" y="309"/>
                    <a:pt x="352" y="314"/>
                    <a:pt x="352" y="320"/>
                  </a:cubicBezTo>
                  <a:cubicBezTo>
                    <a:pt x="352" y="326"/>
                    <a:pt x="356" y="330"/>
                    <a:pt x="362" y="330"/>
                  </a:cubicBezTo>
                  <a:cubicBezTo>
                    <a:pt x="368" y="330"/>
                    <a:pt x="373" y="326"/>
                    <a:pt x="373" y="320"/>
                  </a:cubicBezTo>
                  <a:close/>
                  <a:moveTo>
                    <a:pt x="373" y="277"/>
                  </a:moveTo>
                  <a:cubicBezTo>
                    <a:pt x="373" y="271"/>
                    <a:pt x="368" y="266"/>
                    <a:pt x="362" y="266"/>
                  </a:cubicBezTo>
                  <a:cubicBezTo>
                    <a:pt x="356" y="266"/>
                    <a:pt x="352" y="271"/>
                    <a:pt x="352" y="277"/>
                  </a:cubicBezTo>
                  <a:cubicBezTo>
                    <a:pt x="352" y="283"/>
                    <a:pt x="356" y="288"/>
                    <a:pt x="362" y="288"/>
                  </a:cubicBezTo>
                  <a:cubicBezTo>
                    <a:pt x="368" y="288"/>
                    <a:pt x="373" y="283"/>
                    <a:pt x="373"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84" y="213"/>
                    <a:pt x="384" y="213"/>
                    <a:pt x="384" y="213"/>
                  </a:cubicBezTo>
                  <a:cubicBezTo>
                    <a:pt x="384" y="192"/>
                    <a:pt x="384" y="192"/>
                    <a:pt x="384" y="192"/>
                  </a:cubicBezTo>
                  <a:cubicBezTo>
                    <a:pt x="384" y="186"/>
                    <a:pt x="379" y="181"/>
                    <a:pt x="373" y="181"/>
                  </a:cubicBezTo>
                  <a:cubicBezTo>
                    <a:pt x="266" y="181"/>
                    <a:pt x="266" y="181"/>
                    <a:pt x="266" y="181"/>
                  </a:cubicBezTo>
                  <a:cubicBezTo>
                    <a:pt x="266" y="160"/>
                    <a:pt x="266" y="160"/>
                    <a:pt x="266" y="160"/>
                  </a:cubicBezTo>
                  <a:cubicBezTo>
                    <a:pt x="320" y="160"/>
                    <a:pt x="320" y="160"/>
                    <a:pt x="320" y="160"/>
                  </a:cubicBezTo>
                  <a:cubicBezTo>
                    <a:pt x="326" y="160"/>
                    <a:pt x="330" y="155"/>
                    <a:pt x="330" y="149"/>
                  </a:cubicBezTo>
                  <a:cubicBezTo>
                    <a:pt x="330" y="106"/>
                    <a:pt x="330" y="106"/>
                    <a:pt x="330" y="106"/>
                  </a:cubicBezTo>
                  <a:cubicBezTo>
                    <a:pt x="330" y="100"/>
                    <a:pt x="326" y="96"/>
                    <a:pt x="320" y="96"/>
                  </a:cubicBezTo>
                  <a:cubicBezTo>
                    <a:pt x="256" y="96"/>
                    <a:pt x="256" y="96"/>
                    <a:pt x="256" y="96"/>
                  </a:cubicBezTo>
                  <a:cubicBezTo>
                    <a:pt x="250" y="96"/>
                    <a:pt x="245" y="100"/>
                    <a:pt x="245" y="106"/>
                  </a:cubicBezTo>
                  <a:cubicBezTo>
                    <a:pt x="245" y="149"/>
                    <a:pt x="245" y="149"/>
                    <a:pt x="245" y="149"/>
                  </a:cubicBezTo>
                  <a:cubicBezTo>
                    <a:pt x="245" y="181"/>
                    <a:pt x="245" y="181"/>
                    <a:pt x="245" y="181"/>
                  </a:cubicBezTo>
                  <a:cubicBezTo>
                    <a:pt x="138" y="181"/>
                    <a:pt x="138" y="181"/>
                    <a:pt x="138" y="181"/>
                  </a:cubicBezTo>
                  <a:cubicBezTo>
                    <a:pt x="132" y="181"/>
                    <a:pt x="128" y="186"/>
                    <a:pt x="128" y="192"/>
                  </a:cubicBezTo>
                  <a:cubicBezTo>
                    <a:pt x="128" y="213"/>
                    <a:pt x="128" y="213"/>
                    <a:pt x="128" y="213"/>
                  </a:cubicBezTo>
                  <a:cubicBezTo>
                    <a:pt x="106" y="213"/>
                    <a:pt x="106" y="213"/>
                    <a:pt x="106" y="213"/>
                  </a:cubicBezTo>
                  <a:cubicBezTo>
                    <a:pt x="100" y="213"/>
                    <a:pt x="96" y="218"/>
                    <a:pt x="96" y="224"/>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2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7" name="Freeform 23">
              <a:extLst>
                <a:ext uri="{FF2B5EF4-FFF2-40B4-BE49-F238E27FC236}">
                  <a16:creationId xmlns:a16="http://schemas.microsoft.com/office/drawing/2014/main" id="{71130D5B-4F0F-4F20-87F6-FF1B66D733DC}"/>
                </a:ext>
              </a:extLst>
            </p:cNvPr>
            <p:cNvSpPr>
              <a:spLocks noChangeAspect="1" noEditPoints="1"/>
            </p:cNvSpPr>
            <p:nvPr/>
          </p:nvSpPr>
          <p:spPr bwMode="auto">
            <a:xfrm>
              <a:off x="3356111" y="5410183"/>
              <a:ext cx="543864" cy="542270"/>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spTree>
    <p:custDataLst>
      <p:tags r:id="rId1"/>
    </p:custDataLst>
    <p:extLst>
      <p:ext uri="{BB962C8B-B14F-4D97-AF65-F5344CB8AC3E}">
        <p14:creationId xmlns:p14="http://schemas.microsoft.com/office/powerpoint/2010/main" val="218804220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25">
            <a:extLst>
              <a:ext uri="{FF2B5EF4-FFF2-40B4-BE49-F238E27FC236}">
                <a16:creationId xmlns:a16="http://schemas.microsoft.com/office/drawing/2014/main" id="{139B36B8-2485-4FD5-B0B9-D910241B1335}"/>
              </a:ext>
            </a:extLst>
          </p:cNvPr>
          <p:cNvSpPr/>
          <p:nvPr/>
        </p:nvSpPr>
        <p:spPr>
          <a:xfrm>
            <a:off x="3959240" y="1744870"/>
            <a:ext cx="4273520" cy="4273520"/>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5" name="Freeform 19">
            <a:extLst>
              <a:ext uri="{FF2B5EF4-FFF2-40B4-BE49-F238E27FC236}">
                <a16:creationId xmlns:a16="http://schemas.microsoft.com/office/drawing/2014/main" id="{01A45942-010D-4F8D-A317-4F39024DC25D}"/>
              </a:ext>
            </a:extLst>
          </p:cNvPr>
          <p:cNvSpPr>
            <a:spLocks/>
          </p:cNvSpPr>
          <p:nvPr/>
        </p:nvSpPr>
        <p:spPr bwMode="auto">
          <a:xfrm>
            <a:off x="4220570" y="2011324"/>
            <a:ext cx="1875430" cy="2806740"/>
          </a:xfrm>
          <a:custGeom>
            <a:avLst/>
            <a:gdLst>
              <a:gd name="T0" fmla="*/ 0 w 701"/>
              <a:gd name="T1" fmla="*/ 701 h 1049"/>
              <a:gd name="T2" fmla="*/ 93 w 701"/>
              <a:gd name="T3" fmla="*/ 1049 h 1049"/>
              <a:gd name="T4" fmla="*/ 96 w 701"/>
              <a:gd name="T5" fmla="*/ 1049 h 1049"/>
              <a:gd name="T6" fmla="*/ 701 w 701"/>
              <a:gd name="T7" fmla="*/ 699 h 1049"/>
              <a:gd name="T8" fmla="*/ 701 w 701"/>
              <a:gd name="T9" fmla="*/ 0 h 1049"/>
              <a:gd name="T10" fmla="*/ 0 w 701"/>
              <a:gd name="T11" fmla="*/ 701 h 1049"/>
            </a:gdLst>
            <a:ahLst/>
            <a:cxnLst>
              <a:cxn ang="0">
                <a:pos x="T0" y="T1"/>
              </a:cxn>
              <a:cxn ang="0">
                <a:pos x="T2" y="T3"/>
              </a:cxn>
              <a:cxn ang="0">
                <a:pos x="T4" y="T5"/>
              </a:cxn>
              <a:cxn ang="0">
                <a:pos x="T6" y="T7"/>
              </a:cxn>
              <a:cxn ang="0">
                <a:pos x="T8" y="T9"/>
              </a:cxn>
              <a:cxn ang="0">
                <a:pos x="T10" y="T11"/>
              </a:cxn>
            </a:cxnLst>
            <a:rect l="0" t="0" r="r" b="b"/>
            <a:pathLst>
              <a:path w="701" h="1049">
                <a:moveTo>
                  <a:pt x="0" y="701"/>
                </a:moveTo>
                <a:cubicBezTo>
                  <a:pt x="0" y="827"/>
                  <a:pt x="34" y="946"/>
                  <a:pt x="93" y="1049"/>
                </a:cubicBezTo>
                <a:cubicBezTo>
                  <a:pt x="96" y="1049"/>
                  <a:pt x="96" y="1049"/>
                  <a:pt x="96" y="1049"/>
                </a:cubicBezTo>
                <a:cubicBezTo>
                  <a:pt x="701" y="699"/>
                  <a:pt x="701" y="699"/>
                  <a:pt x="701" y="699"/>
                </a:cubicBezTo>
                <a:cubicBezTo>
                  <a:pt x="701" y="0"/>
                  <a:pt x="701" y="0"/>
                  <a:pt x="701" y="0"/>
                </a:cubicBezTo>
                <a:cubicBezTo>
                  <a:pt x="314" y="0"/>
                  <a:pt x="0" y="314"/>
                  <a:pt x="0" y="701"/>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20">
            <a:extLst>
              <a:ext uri="{FF2B5EF4-FFF2-40B4-BE49-F238E27FC236}">
                <a16:creationId xmlns:a16="http://schemas.microsoft.com/office/drawing/2014/main" id="{6E92E73C-D490-4A82-971C-9C95492453E7}"/>
              </a:ext>
            </a:extLst>
          </p:cNvPr>
          <p:cNvSpPr>
            <a:spLocks/>
          </p:cNvSpPr>
          <p:nvPr/>
        </p:nvSpPr>
        <p:spPr bwMode="auto">
          <a:xfrm>
            <a:off x="4476776" y="3881630"/>
            <a:ext cx="3242291" cy="2140604"/>
          </a:xfrm>
          <a:custGeom>
            <a:avLst/>
            <a:gdLst>
              <a:gd name="T0" fmla="*/ 957 w 1212"/>
              <a:gd name="T1" fmla="*/ 606 h 800"/>
              <a:gd name="T2" fmla="*/ 1212 w 1212"/>
              <a:gd name="T3" fmla="*/ 352 h 800"/>
              <a:gd name="T4" fmla="*/ 1210 w 1212"/>
              <a:gd name="T5" fmla="*/ 350 h 800"/>
              <a:gd name="T6" fmla="*/ 605 w 1212"/>
              <a:gd name="T7" fmla="*/ 0 h 800"/>
              <a:gd name="T8" fmla="*/ 0 w 1212"/>
              <a:gd name="T9" fmla="*/ 350 h 800"/>
              <a:gd name="T10" fmla="*/ 957 w 1212"/>
              <a:gd name="T11" fmla="*/ 606 h 800"/>
            </a:gdLst>
            <a:ahLst/>
            <a:cxnLst>
              <a:cxn ang="0">
                <a:pos x="T0" y="T1"/>
              </a:cxn>
              <a:cxn ang="0">
                <a:pos x="T2" y="T3"/>
              </a:cxn>
              <a:cxn ang="0">
                <a:pos x="T4" y="T5"/>
              </a:cxn>
              <a:cxn ang="0">
                <a:pos x="T6" y="T7"/>
              </a:cxn>
              <a:cxn ang="0">
                <a:pos x="T8" y="T9"/>
              </a:cxn>
              <a:cxn ang="0">
                <a:pos x="T10" y="T11"/>
              </a:cxn>
            </a:cxnLst>
            <a:rect l="0" t="0" r="r" b="b"/>
            <a:pathLst>
              <a:path w="1212" h="800">
                <a:moveTo>
                  <a:pt x="957" y="606"/>
                </a:moveTo>
                <a:cubicBezTo>
                  <a:pt x="1066" y="543"/>
                  <a:pt x="1152" y="454"/>
                  <a:pt x="1212" y="352"/>
                </a:cubicBezTo>
                <a:cubicBezTo>
                  <a:pt x="1210" y="350"/>
                  <a:pt x="1210" y="350"/>
                  <a:pt x="1210" y="350"/>
                </a:cubicBezTo>
                <a:cubicBezTo>
                  <a:pt x="1210" y="350"/>
                  <a:pt x="605" y="0"/>
                  <a:pt x="605" y="0"/>
                </a:cubicBezTo>
                <a:cubicBezTo>
                  <a:pt x="0" y="350"/>
                  <a:pt x="0" y="350"/>
                  <a:pt x="0" y="350"/>
                </a:cubicBezTo>
                <a:cubicBezTo>
                  <a:pt x="193" y="685"/>
                  <a:pt x="622" y="800"/>
                  <a:pt x="957" y="606"/>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21">
            <a:extLst>
              <a:ext uri="{FF2B5EF4-FFF2-40B4-BE49-F238E27FC236}">
                <a16:creationId xmlns:a16="http://schemas.microsoft.com/office/drawing/2014/main" id="{D36774E4-17B7-4AD4-87E5-9B8B6DD1B45E}"/>
              </a:ext>
            </a:extLst>
          </p:cNvPr>
          <p:cNvSpPr>
            <a:spLocks/>
          </p:cNvSpPr>
          <p:nvPr/>
        </p:nvSpPr>
        <p:spPr bwMode="auto">
          <a:xfrm>
            <a:off x="6096000" y="2006200"/>
            <a:ext cx="2136760" cy="2811864"/>
          </a:xfrm>
          <a:custGeom>
            <a:avLst/>
            <a:gdLst>
              <a:gd name="T0" fmla="*/ 349 w 799"/>
              <a:gd name="T1" fmla="*/ 94 h 1051"/>
              <a:gd name="T2" fmla="*/ 1 w 799"/>
              <a:gd name="T3" fmla="*/ 0 h 1051"/>
              <a:gd name="T4" fmla="*/ 0 w 799"/>
              <a:gd name="T5" fmla="*/ 2 h 1051"/>
              <a:gd name="T6" fmla="*/ 0 w 799"/>
              <a:gd name="T7" fmla="*/ 701 h 1051"/>
              <a:gd name="T8" fmla="*/ 605 w 799"/>
              <a:gd name="T9" fmla="*/ 1051 h 1051"/>
              <a:gd name="T10" fmla="*/ 349 w 799"/>
              <a:gd name="T11" fmla="*/ 94 h 1051"/>
            </a:gdLst>
            <a:ahLst/>
            <a:cxnLst>
              <a:cxn ang="0">
                <a:pos x="T0" y="T1"/>
              </a:cxn>
              <a:cxn ang="0">
                <a:pos x="T2" y="T3"/>
              </a:cxn>
              <a:cxn ang="0">
                <a:pos x="T4" y="T5"/>
              </a:cxn>
              <a:cxn ang="0">
                <a:pos x="T6" y="T7"/>
              </a:cxn>
              <a:cxn ang="0">
                <a:pos x="T8" y="T9"/>
              </a:cxn>
              <a:cxn ang="0">
                <a:pos x="T10" y="T11"/>
              </a:cxn>
            </a:cxnLst>
            <a:rect l="0" t="0" r="r" b="b"/>
            <a:pathLst>
              <a:path w="799" h="1051">
                <a:moveTo>
                  <a:pt x="349" y="94"/>
                </a:moveTo>
                <a:cubicBezTo>
                  <a:pt x="239" y="30"/>
                  <a:pt x="120" y="0"/>
                  <a:pt x="1" y="0"/>
                </a:cubicBezTo>
                <a:cubicBezTo>
                  <a:pt x="0" y="2"/>
                  <a:pt x="0" y="2"/>
                  <a:pt x="0" y="2"/>
                </a:cubicBezTo>
                <a:cubicBezTo>
                  <a:pt x="0" y="2"/>
                  <a:pt x="0" y="701"/>
                  <a:pt x="0" y="701"/>
                </a:cubicBezTo>
                <a:cubicBezTo>
                  <a:pt x="605" y="1051"/>
                  <a:pt x="605" y="1051"/>
                  <a:pt x="605" y="1051"/>
                </a:cubicBezTo>
                <a:cubicBezTo>
                  <a:pt x="799" y="716"/>
                  <a:pt x="684" y="287"/>
                  <a:pt x="349" y="94"/>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36" name="Group 15">
            <a:extLst>
              <a:ext uri="{FF2B5EF4-FFF2-40B4-BE49-F238E27FC236}">
                <a16:creationId xmlns:a16="http://schemas.microsoft.com/office/drawing/2014/main" id="{7ACE5B3E-6D62-47F7-8124-F0E0661EE502}"/>
              </a:ext>
            </a:extLst>
          </p:cNvPr>
          <p:cNvGrpSpPr/>
          <p:nvPr/>
        </p:nvGrpSpPr>
        <p:grpSpPr>
          <a:xfrm>
            <a:off x="5710410" y="1880659"/>
            <a:ext cx="772463" cy="987675"/>
            <a:chOff x="5523847" y="1971046"/>
            <a:chExt cx="856101" cy="1094616"/>
          </a:xfrm>
          <a:effectLst/>
        </p:grpSpPr>
        <p:sp>
          <p:nvSpPr>
            <p:cNvPr id="43" name="Freeform 22">
              <a:extLst>
                <a:ext uri="{FF2B5EF4-FFF2-40B4-BE49-F238E27FC236}">
                  <a16:creationId xmlns:a16="http://schemas.microsoft.com/office/drawing/2014/main" id="{AA5E12CF-17B2-4613-B995-09759DE63FEF}"/>
                </a:ext>
              </a:extLst>
            </p:cNvPr>
            <p:cNvSpPr>
              <a:spLocks/>
            </p:cNvSpPr>
            <p:nvPr/>
          </p:nvSpPr>
          <p:spPr bwMode="auto">
            <a:xfrm>
              <a:off x="5523847" y="1971046"/>
              <a:ext cx="856101" cy="1094616"/>
            </a:xfrm>
            <a:custGeom>
              <a:avLst/>
              <a:gdLst>
                <a:gd name="T0" fmla="*/ 289 w 289"/>
                <a:gd name="T1" fmla="*/ 43 h 369"/>
                <a:gd name="T2" fmla="*/ 289 w 289"/>
                <a:gd name="T3" fmla="*/ 42 h 369"/>
                <a:gd name="T4" fmla="*/ 244 w 289"/>
                <a:gd name="T5" fmla="*/ 0 h 369"/>
                <a:gd name="T6" fmla="*/ 62 w 289"/>
                <a:gd name="T7" fmla="*/ 0 h 369"/>
                <a:gd name="T8" fmla="*/ 17 w 289"/>
                <a:gd name="T9" fmla="*/ 38 h 369"/>
                <a:gd name="T10" fmla="*/ 17 w 289"/>
                <a:gd name="T11" fmla="*/ 38 h 369"/>
                <a:gd name="T12" fmla="*/ 17 w 289"/>
                <a:gd name="T13" fmla="*/ 275 h 369"/>
                <a:gd name="T14" fmla="*/ 0 w 289"/>
                <a:gd name="T15" fmla="*/ 275 h 369"/>
                <a:gd name="T16" fmla="*/ 144 w 289"/>
                <a:gd name="T17" fmla="*/ 369 h 369"/>
                <a:gd name="T18" fmla="*/ 287 w 289"/>
                <a:gd name="T19" fmla="*/ 275 h 369"/>
                <a:gd name="T20" fmla="*/ 270 w 289"/>
                <a:gd name="T21" fmla="*/ 275 h 369"/>
                <a:gd name="T22" fmla="*/ 270 w 289"/>
                <a:gd name="T23" fmla="*/ 39 h 369"/>
                <a:gd name="T24" fmla="*/ 289 w 289"/>
                <a:gd name="T25" fmla="*/ 4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 h="369">
                  <a:moveTo>
                    <a:pt x="289" y="43"/>
                  </a:moveTo>
                  <a:cubicBezTo>
                    <a:pt x="289" y="42"/>
                    <a:pt x="289" y="42"/>
                    <a:pt x="289" y="42"/>
                  </a:cubicBezTo>
                  <a:cubicBezTo>
                    <a:pt x="289" y="18"/>
                    <a:pt x="269" y="0"/>
                    <a:pt x="244" y="0"/>
                  </a:cubicBezTo>
                  <a:cubicBezTo>
                    <a:pt x="62" y="0"/>
                    <a:pt x="62" y="0"/>
                    <a:pt x="62" y="0"/>
                  </a:cubicBezTo>
                  <a:cubicBezTo>
                    <a:pt x="38" y="0"/>
                    <a:pt x="19" y="16"/>
                    <a:pt x="17" y="38"/>
                  </a:cubicBezTo>
                  <a:cubicBezTo>
                    <a:pt x="17" y="38"/>
                    <a:pt x="17" y="38"/>
                    <a:pt x="17" y="38"/>
                  </a:cubicBezTo>
                  <a:cubicBezTo>
                    <a:pt x="17" y="275"/>
                    <a:pt x="17" y="275"/>
                    <a:pt x="17" y="275"/>
                  </a:cubicBezTo>
                  <a:cubicBezTo>
                    <a:pt x="0" y="275"/>
                    <a:pt x="0" y="275"/>
                    <a:pt x="0" y="275"/>
                  </a:cubicBezTo>
                  <a:cubicBezTo>
                    <a:pt x="144" y="369"/>
                    <a:pt x="144" y="369"/>
                    <a:pt x="144" y="369"/>
                  </a:cubicBezTo>
                  <a:cubicBezTo>
                    <a:pt x="287" y="275"/>
                    <a:pt x="287" y="275"/>
                    <a:pt x="287" y="275"/>
                  </a:cubicBezTo>
                  <a:cubicBezTo>
                    <a:pt x="270" y="275"/>
                    <a:pt x="270" y="275"/>
                    <a:pt x="270" y="275"/>
                  </a:cubicBezTo>
                  <a:cubicBezTo>
                    <a:pt x="270" y="39"/>
                    <a:pt x="270" y="39"/>
                    <a:pt x="270" y="39"/>
                  </a:cubicBezTo>
                  <a:cubicBezTo>
                    <a:pt x="277" y="41"/>
                    <a:pt x="283" y="42"/>
                    <a:pt x="289" y="43"/>
                  </a:cubicBezTo>
                  <a:close/>
                </a:path>
              </a:pathLst>
            </a:custGeom>
            <a:solidFill>
              <a:schemeClr val="bg1">
                <a:lumMod val="95000"/>
              </a:schemeClr>
            </a:solidFill>
            <a:ln>
              <a:noFill/>
            </a:ln>
            <a:effectLst/>
          </p:spPr>
          <p:txBody>
            <a:bodyPr vert="horz" wrap="square" lIns="91440" tIns="45720" rIns="91440" bIns="45720" numCol="1" anchor="t" anchorCtr="0" compatLnSpc="1">
              <a:prstTxWarp prst="textNoShape">
                <a:avLst/>
              </a:prstTxWarp>
            </a:bodyPr>
            <a:lstStyle/>
            <a:p>
              <a:endParaRPr lang="en-US">
                <a:solidFill>
                  <a:srgbClr val="000000"/>
                </a:solidFill>
                <a:latin typeface="Montserrat" panose="00000500000000000000" pitchFamily="50" charset="0"/>
              </a:endParaRPr>
            </a:p>
          </p:txBody>
        </p:sp>
        <p:sp>
          <p:nvSpPr>
            <p:cNvPr id="44" name="Inhaltsplatzhalter 4">
              <a:extLst>
                <a:ext uri="{FF2B5EF4-FFF2-40B4-BE49-F238E27FC236}">
                  <a16:creationId xmlns:a16="http://schemas.microsoft.com/office/drawing/2014/main" id="{E2560867-5533-4615-B8A8-A60D8208581F}"/>
                </a:ext>
              </a:extLst>
            </p:cNvPr>
            <p:cNvSpPr txBox="1">
              <a:spLocks/>
            </p:cNvSpPr>
            <p:nvPr/>
          </p:nvSpPr>
          <p:spPr>
            <a:xfrm>
              <a:off x="5586374" y="2215279"/>
              <a:ext cx="717228" cy="477542"/>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2800" b="1" dirty="0">
                  <a:solidFill>
                    <a:srgbClr val="000000"/>
                  </a:solidFill>
                  <a:latin typeface="+mn-lt"/>
                </a:rPr>
                <a:t>01</a:t>
              </a:r>
              <a:endParaRPr lang="en-US" sz="2000" dirty="0">
                <a:solidFill>
                  <a:srgbClr val="000000"/>
                </a:solidFill>
                <a:latin typeface="+mn-lt"/>
              </a:endParaRPr>
            </a:p>
          </p:txBody>
        </p:sp>
      </p:grpSp>
      <p:grpSp>
        <p:nvGrpSpPr>
          <p:cNvPr id="37" name="Group 18">
            <a:extLst>
              <a:ext uri="{FF2B5EF4-FFF2-40B4-BE49-F238E27FC236}">
                <a16:creationId xmlns:a16="http://schemas.microsoft.com/office/drawing/2014/main" id="{14E4295D-F755-41DC-9C1F-066B5A6A6493}"/>
              </a:ext>
            </a:extLst>
          </p:cNvPr>
          <p:cNvGrpSpPr/>
          <p:nvPr/>
        </p:nvGrpSpPr>
        <p:grpSpPr>
          <a:xfrm>
            <a:off x="6919703" y="4154490"/>
            <a:ext cx="996642" cy="1014577"/>
            <a:chOff x="6864077" y="4491076"/>
            <a:chExt cx="1104554" cy="1124430"/>
          </a:xfrm>
          <a:effectLst/>
        </p:grpSpPr>
        <p:sp>
          <p:nvSpPr>
            <p:cNvPr id="41" name="Freeform 24">
              <a:extLst>
                <a:ext uri="{FF2B5EF4-FFF2-40B4-BE49-F238E27FC236}">
                  <a16:creationId xmlns:a16="http://schemas.microsoft.com/office/drawing/2014/main" id="{CF2A8784-E542-4FA4-A9B4-849E0FC1FC6B}"/>
                </a:ext>
              </a:extLst>
            </p:cNvPr>
            <p:cNvSpPr>
              <a:spLocks/>
            </p:cNvSpPr>
            <p:nvPr/>
          </p:nvSpPr>
          <p:spPr bwMode="auto">
            <a:xfrm>
              <a:off x="6864077" y="4491076"/>
              <a:ext cx="1104554" cy="1124430"/>
            </a:xfrm>
            <a:custGeom>
              <a:avLst/>
              <a:gdLst>
                <a:gd name="T0" fmla="*/ 209 w 373"/>
                <a:gd name="T1" fmla="*/ 367 h 379"/>
                <a:gd name="T2" fmla="*/ 211 w 373"/>
                <a:gd name="T3" fmla="*/ 367 h 379"/>
                <a:gd name="T4" fmla="*/ 270 w 373"/>
                <a:gd name="T5" fmla="*/ 349 h 379"/>
                <a:gd name="T6" fmla="*/ 361 w 373"/>
                <a:gd name="T7" fmla="*/ 191 h 379"/>
                <a:gd name="T8" fmla="*/ 350 w 373"/>
                <a:gd name="T9" fmla="*/ 133 h 379"/>
                <a:gd name="T10" fmla="*/ 350 w 373"/>
                <a:gd name="T11" fmla="*/ 133 h 379"/>
                <a:gd name="T12" fmla="*/ 145 w 373"/>
                <a:gd name="T13" fmla="*/ 15 h 379"/>
                <a:gd name="T14" fmla="*/ 153 w 373"/>
                <a:gd name="T15" fmla="*/ 0 h 379"/>
                <a:gd name="T16" fmla="*/ 0 w 373"/>
                <a:gd name="T17" fmla="*/ 77 h 379"/>
                <a:gd name="T18" fmla="*/ 10 w 373"/>
                <a:gd name="T19" fmla="*/ 249 h 379"/>
                <a:gd name="T20" fmla="*/ 18 w 373"/>
                <a:gd name="T21" fmla="*/ 234 h 379"/>
                <a:gd name="T22" fmla="*/ 222 w 373"/>
                <a:gd name="T23" fmla="*/ 352 h 379"/>
                <a:gd name="T24" fmla="*/ 209 w 373"/>
                <a:gd name="T25" fmla="*/ 367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3" h="379">
                  <a:moveTo>
                    <a:pt x="209" y="367"/>
                  </a:moveTo>
                  <a:cubicBezTo>
                    <a:pt x="211" y="367"/>
                    <a:pt x="211" y="367"/>
                    <a:pt x="211" y="367"/>
                  </a:cubicBezTo>
                  <a:cubicBezTo>
                    <a:pt x="231" y="379"/>
                    <a:pt x="257" y="371"/>
                    <a:pt x="270" y="349"/>
                  </a:cubicBezTo>
                  <a:cubicBezTo>
                    <a:pt x="361" y="191"/>
                    <a:pt x="361" y="191"/>
                    <a:pt x="361" y="191"/>
                  </a:cubicBezTo>
                  <a:cubicBezTo>
                    <a:pt x="373" y="171"/>
                    <a:pt x="368" y="146"/>
                    <a:pt x="350" y="133"/>
                  </a:cubicBezTo>
                  <a:cubicBezTo>
                    <a:pt x="350" y="133"/>
                    <a:pt x="350" y="133"/>
                    <a:pt x="350" y="133"/>
                  </a:cubicBezTo>
                  <a:cubicBezTo>
                    <a:pt x="145" y="15"/>
                    <a:pt x="145" y="15"/>
                    <a:pt x="145" y="15"/>
                  </a:cubicBezTo>
                  <a:cubicBezTo>
                    <a:pt x="153" y="0"/>
                    <a:pt x="153" y="0"/>
                    <a:pt x="153" y="0"/>
                  </a:cubicBezTo>
                  <a:cubicBezTo>
                    <a:pt x="0" y="77"/>
                    <a:pt x="0" y="77"/>
                    <a:pt x="0" y="77"/>
                  </a:cubicBezTo>
                  <a:cubicBezTo>
                    <a:pt x="10" y="249"/>
                    <a:pt x="10" y="249"/>
                    <a:pt x="10" y="249"/>
                  </a:cubicBezTo>
                  <a:cubicBezTo>
                    <a:pt x="18" y="234"/>
                    <a:pt x="18" y="234"/>
                    <a:pt x="18" y="234"/>
                  </a:cubicBezTo>
                  <a:cubicBezTo>
                    <a:pt x="222" y="352"/>
                    <a:pt x="222" y="352"/>
                    <a:pt x="222" y="352"/>
                  </a:cubicBezTo>
                  <a:cubicBezTo>
                    <a:pt x="218" y="357"/>
                    <a:pt x="214" y="362"/>
                    <a:pt x="209" y="367"/>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latin typeface="Montserrat" panose="00000500000000000000" pitchFamily="50" charset="0"/>
              </a:endParaRPr>
            </a:p>
          </p:txBody>
        </p:sp>
        <p:sp>
          <p:nvSpPr>
            <p:cNvPr id="42" name="Inhaltsplatzhalter 4">
              <a:extLst>
                <a:ext uri="{FF2B5EF4-FFF2-40B4-BE49-F238E27FC236}">
                  <a16:creationId xmlns:a16="http://schemas.microsoft.com/office/drawing/2014/main" id="{7DC85C03-F43E-4E7E-9B9B-3238938E48F2}"/>
                </a:ext>
              </a:extLst>
            </p:cNvPr>
            <p:cNvSpPr txBox="1">
              <a:spLocks/>
            </p:cNvSpPr>
            <p:nvPr/>
          </p:nvSpPr>
          <p:spPr>
            <a:xfrm rot="1800000">
              <a:off x="7020846" y="4788450"/>
              <a:ext cx="717228" cy="47754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2800" b="1" dirty="0">
                  <a:solidFill>
                    <a:srgbClr val="000000"/>
                  </a:solidFill>
                  <a:latin typeface="+mn-lt"/>
                </a:rPr>
                <a:t>02</a:t>
              </a:r>
              <a:endParaRPr lang="en-US" sz="2000" dirty="0">
                <a:solidFill>
                  <a:srgbClr val="000000"/>
                </a:solidFill>
                <a:latin typeface="+mn-lt"/>
              </a:endParaRPr>
            </a:p>
          </p:txBody>
        </p:sp>
      </p:grpSp>
      <p:grpSp>
        <p:nvGrpSpPr>
          <p:cNvPr id="38" name="Group 21">
            <a:extLst>
              <a:ext uri="{FF2B5EF4-FFF2-40B4-BE49-F238E27FC236}">
                <a16:creationId xmlns:a16="http://schemas.microsoft.com/office/drawing/2014/main" id="{DB256606-1981-4B3A-B829-8E1BE3CF1254}"/>
              </a:ext>
            </a:extLst>
          </p:cNvPr>
          <p:cNvGrpSpPr/>
          <p:nvPr/>
        </p:nvGrpSpPr>
        <p:grpSpPr>
          <a:xfrm>
            <a:off x="4233380" y="4154490"/>
            <a:ext cx="1024825" cy="968460"/>
            <a:chOff x="3886892" y="4491076"/>
            <a:chExt cx="1135788" cy="1073320"/>
          </a:xfrm>
          <a:effectLst/>
        </p:grpSpPr>
        <p:sp>
          <p:nvSpPr>
            <p:cNvPr id="39" name="Freeform 23">
              <a:extLst>
                <a:ext uri="{FF2B5EF4-FFF2-40B4-BE49-F238E27FC236}">
                  <a16:creationId xmlns:a16="http://schemas.microsoft.com/office/drawing/2014/main" id="{7BDD042E-C00E-4582-9AEE-3F2931433003}"/>
                </a:ext>
              </a:extLst>
            </p:cNvPr>
            <p:cNvSpPr>
              <a:spLocks/>
            </p:cNvSpPr>
            <p:nvPr/>
          </p:nvSpPr>
          <p:spPr bwMode="auto">
            <a:xfrm>
              <a:off x="3886892" y="4491076"/>
              <a:ext cx="1135788" cy="1073320"/>
            </a:xfrm>
            <a:custGeom>
              <a:avLst/>
              <a:gdLst>
                <a:gd name="T0" fmla="*/ 27 w 383"/>
                <a:gd name="T1" fmla="*/ 114 h 362"/>
                <a:gd name="T2" fmla="*/ 26 w 383"/>
                <a:gd name="T3" fmla="*/ 115 h 362"/>
                <a:gd name="T4" fmla="*/ 12 w 383"/>
                <a:gd name="T5" fmla="*/ 175 h 362"/>
                <a:gd name="T6" fmla="*/ 103 w 383"/>
                <a:gd name="T7" fmla="*/ 333 h 362"/>
                <a:gd name="T8" fmla="*/ 159 w 383"/>
                <a:gd name="T9" fmla="*/ 353 h 362"/>
                <a:gd name="T10" fmla="*/ 159 w 383"/>
                <a:gd name="T11" fmla="*/ 353 h 362"/>
                <a:gd name="T12" fmla="*/ 364 w 383"/>
                <a:gd name="T13" fmla="*/ 234 h 362"/>
                <a:gd name="T14" fmla="*/ 373 w 383"/>
                <a:gd name="T15" fmla="*/ 249 h 362"/>
                <a:gd name="T16" fmla="*/ 383 w 383"/>
                <a:gd name="T17" fmla="*/ 77 h 362"/>
                <a:gd name="T18" fmla="*/ 229 w 383"/>
                <a:gd name="T19" fmla="*/ 0 h 362"/>
                <a:gd name="T20" fmla="*/ 238 w 383"/>
                <a:gd name="T21" fmla="*/ 15 h 362"/>
                <a:gd name="T22" fmla="*/ 33 w 383"/>
                <a:gd name="T23" fmla="*/ 133 h 362"/>
                <a:gd name="T24" fmla="*/ 27 w 383"/>
                <a:gd name="T25" fmla="*/ 114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3" h="362">
                  <a:moveTo>
                    <a:pt x="27" y="114"/>
                  </a:moveTo>
                  <a:cubicBezTo>
                    <a:pt x="26" y="115"/>
                    <a:pt x="26" y="115"/>
                    <a:pt x="26" y="115"/>
                  </a:cubicBezTo>
                  <a:cubicBezTo>
                    <a:pt x="6" y="127"/>
                    <a:pt x="0" y="154"/>
                    <a:pt x="12" y="175"/>
                  </a:cubicBezTo>
                  <a:cubicBezTo>
                    <a:pt x="103" y="333"/>
                    <a:pt x="103" y="333"/>
                    <a:pt x="103" y="333"/>
                  </a:cubicBezTo>
                  <a:cubicBezTo>
                    <a:pt x="115" y="354"/>
                    <a:pt x="140" y="362"/>
                    <a:pt x="159" y="353"/>
                  </a:cubicBezTo>
                  <a:cubicBezTo>
                    <a:pt x="159" y="353"/>
                    <a:pt x="159" y="353"/>
                    <a:pt x="159" y="353"/>
                  </a:cubicBezTo>
                  <a:cubicBezTo>
                    <a:pt x="364" y="234"/>
                    <a:pt x="364" y="234"/>
                    <a:pt x="364" y="234"/>
                  </a:cubicBezTo>
                  <a:cubicBezTo>
                    <a:pt x="373" y="249"/>
                    <a:pt x="373" y="249"/>
                    <a:pt x="373" y="249"/>
                  </a:cubicBezTo>
                  <a:cubicBezTo>
                    <a:pt x="383" y="77"/>
                    <a:pt x="383" y="77"/>
                    <a:pt x="383" y="77"/>
                  </a:cubicBezTo>
                  <a:cubicBezTo>
                    <a:pt x="229" y="0"/>
                    <a:pt x="229" y="0"/>
                    <a:pt x="229" y="0"/>
                  </a:cubicBezTo>
                  <a:cubicBezTo>
                    <a:pt x="238" y="15"/>
                    <a:pt x="238" y="15"/>
                    <a:pt x="238" y="15"/>
                  </a:cubicBezTo>
                  <a:cubicBezTo>
                    <a:pt x="33" y="133"/>
                    <a:pt x="33" y="133"/>
                    <a:pt x="33" y="133"/>
                  </a:cubicBezTo>
                  <a:cubicBezTo>
                    <a:pt x="32" y="126"/>
                    <a:pt x="29" y="120"/>
                    <a:pt x="27" y="11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latin typeface="Montserrat" panose="00000500000000000000" pitchFamily="50" charset="0"/>
              </a:endParaRPr>
            </a:p>
          </p:txBody>
        </p:sp>
        <p:sp>
          <p:nvSpPr>
            <p:cNvPr id="40" name="Inhaltsplatzhalter 4">
              <a:extLst>
                <a:ext uri="{FF2B5EF4-FFF2-40B4-BE49-F238E27FC236}">
                  <a16:creationId xmlns:a16="http://schemas.microsoft.com/office/drawing/2014/main" id="{91C995B5-E224-4B94-AE58-38D25D899C78}"/>
                </a:ext>
              </a:extLst>
            </p:cNvPr>
            <p:cNvSpPr txBox="1">
              <a:spLocks/>
            </p:cNvSpPr>
            <p:nvPr/>
          </p:nvSpPr>
          <p:spPr>
            <a:xfrm rot="19800000">
              <a:off x="4130240" y="4754282"/>
              <a:ext cx="717228" cy="47754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2800" b="1" dirty="0">
                  <a:solidFill>
                    <a:srgbClr val="000000"/>
                  </a:solidFill>
                  <a:latin typeface="+mn-lt"/>
                </a:rPr>
                <a:t>03</a:t>
              </a:r>
              <a:endParaRPr lang="en-US" sz="2000" dirty="0">
                <a:solidFill>
                  <a:srgbClr val="000000"/>
                </a:solidFill>
                <a:latin typeface="+mn-lt"/>
              </a:endParaRPr>
            </a:p>
          </p:txBody>
        </p:sp>
      </p:grpSp>
      <p:sp>
        <p:nvSpPr>
          <p:cNvPr id="48" name="TextBox 32">
            <a:extLst>
              <a:ext uri="{FF2B5EF4-FFF2-40B4-BE49-F238E27FC236}">
                <a16:creationId xmlns:a16="http://schemas.microsoft.com/office/drawing/2014/main" id="{39B406E5-EA6F-4575-85E4-183E8E5BED4D}"/>
              </a:ext>
            </a:extLst>
          </p:cNvPr>
          <p:cNvSpPr txBox="1"/>
          <p:nvPr/>
        </p:nvSpPr>
        <p:spPr>
          <a:xfrm>
            <a:off x="8943028" y="2036807"/>
            <a:ext cx="1997245" cy="307777"/>
          </a:xfrm>
          <a:prstGeom prst="rect">
            <a:avLst/>
          </a:prstGeom>
          <a:noFill/>
        </p:spPr>
        <p:txBody>
          <a:bodyPr wrap="square" rtlCol="0">
            <a:spAutoFit/>
          </a:bodyPr>
          <a:lstStyle/>
          <a:p>
            <a:r>
              <a:rPr lang="en-US" sz="1400" b="1" dirty="0">
                <a:solidFill>
                  <a:srgbClr val="000000"/>
                </a:solidFill>
                <a:cs typeface="Lato" panose="020F0502020204030203" pitchFamily="34" charset="0"/>
              </a:rPr>
              <a:t>Option 1</a:t>
            </a:r>
            <a:endParaRPr lang="id-ID" sz="1400" b="1" dirty="0">
              <a:solidFill>
                <a:srgbClr val="000000"/>
              </a:solidFill>
              <a:cs typeface="Lato" panose="020F0502020204030203" pitchFamily="34" charset="0"/>
            </a:endParaRPr>
          </a:p>
        </p:txBody>
      </p:sp>
      <p:sp>
        <p:nvSpPr>
          <p:cNvPr id="49" name="Rectangle 33">
            <a:extLst>
              <a:ext uri="{FF2B5EF4-FFF2-40B4-BE49-F238E27FC236}">
                <a16:creationId xmlns:a16="http://schemas.microsoft.com/office/drawing/2014/main" id="{396FB08D-5118-4132-B566-57F06D2AC65E}"/>
              </a:ext>
            </a:extLst>
          </p:cNvPr>
          <p:cNvSpPr/>
          <p:nvPr/>
        </p:nvSpPr>
        <p:spPr>
          <a:xfrm>
            <a:off x="8943028" y="2255392"/>
            <a:ext cx="2774162" cy="692497"/>
          </a:xfrm>
          <a:prstGeom prst="rect">
            <a:avLst/>
          </a:prstGeom>
        </p:spPr>
        <p:txBody>
          <a:bodyPr wrap="square">
            <a:spAutoFit/>
          </a:bodyPr>
          <a:lstStyle/>
          <a:p>
            <a:r>
              <a:rPr lang="en-US" sz="1300" dirty="0"/>
              <a:t>this is dummy text it is not here to be read it is here to show how this document will look</a:t>
            </a:r>
          </a:p>
        </p:txBody>
      </p:sp>
      <p:sp>
        <p:nvSpPr>
          <p:cNvPr id="50" name="TextBox 34">
            <a:extLst>
              <a:ext uri="{FF2B5EF4-FFF2-40B4-BE49-F238E27FC236}">
                <a16:creationId xmlns:a16="http://schemas.microsoft.com/office/drawing/2014/main" id="{7F703FAA-ABC6-4380-823F-AEC38B176449}"/>
              </a:ext>
            </a:extLst>
          </p:cNvPr>
          <p:cNvSpPr txBox="1"/>
          <p:nvPr/>
        </p:nvSpPr>
        <p:spPr>
          <a:xfrm>
            <a:off x="8943028" y="4084939"/>
            <a:ext cx="1997245" cy="307777"/>
          </a:xfrm>
          <a:prstGeom prst="rect">
            <a:avLst/>
          </a:prstGeom>
          <a:noFill/>
        </p:spPr>
        <p:txBody>
          <a:bodyPr wrap="square" rtlCol="0">
            <a:spAutoFit/>
          </a:bodyPr>
          <a:lstStyle/>
          <a:p>
            <a:r>
              <a:rPr lang="en-US" sz="1400" b="1" dirty="0">
                <a:solidFill>
                  <a:srgbClr val="000000"/>
                </a:solidFill>
                <a:cs typeface="Lato" panose="020F0502020204030203" pitchFamily="34" charset="0"/>
              </a:rPr>
              <a:t>Option 2</a:t>
            </a:r>
            <a:endParaRPr lang="id-ID" sz="1400" b="1" dirty="0">
              <a:solidFill>
                <a:srgbClr val="000000"/>
              </a:solidFill>
              <a:cs typeface="Lato" panose="020F0502020204030203" pitchFamily="34" charset="0"/>
            </a:endParaRPr>
          </a:p>
        </p:txBody>
      </p:sp>
      <p:sp>
        <p:nvSpPr>
          <p:cNvPr id="51" name="Rectangle 35">
            <a:extLst>
              <a:ext uri="{FF2B5EF4-FFF2-40B4-BE49-F238E27FC236}">
                <a16:creationId xmlns:a16="http://schemas.microsoft.com/office/drawing/2014/main" id="{C7D18A27-4223-49A5-92E6-75B9484ADEF9}"/>
              </a:ext>
            </a:extLst>
          </p:cNvPr>
          <p:cNvSpPr/>
          <p:nvPr/>
        </p:nvSpPr>
        <p:spPr>
          <a:xfrm>
            <a:off x="8943028" y="4338073"/>
            <a:ext cx="2774162" cy="692497"/>
          </a:xfrm>
          <a:prstGeom prst="rect">
            <a:avLst/>
          </a:prstGeom>
        </p:spPr>
        <p:txBody>
          <a:bodyPr wrap="square">
            <a:spAutoFit/>
          </a:bodyPr>
          <a:lstStyle/>
          <a:p>
            <a:r>
              <a:rPr lang="en-US" sz="1300" dirty="0"/>
              <a:t>this is dummy text it is not here to be read it is here to show how this document will look</a:t>
            </a:r>
          </a:p>
        </p:txBody>
      </p:sp>
      <p:sp>
        <p:nvSpPr>
          <p:cNvPr id="52" name="TextBox 36">
            <a:extLst>
              <a:ext uri="{FF2B5EF4-FFF2-40B4-BE49-F238E27FC236}">
                <a16:creationId xmlns:a16="http://schemas.microsoft.com/office/drawing/2014/main" id="{1538FDA5-D5FE-4A37-87A0-19E7CF8AB975}"/>
              </a:ext>
            </a:extLst>
          </p:cNvPr>
          <p:cNvSpPr txBox="1"/>
          <p:nvPr/>
        </p:nvSpPr>
        <p:spPr>
          <a:xfrm>
            <a:off x="444500" y="3211414"/>
            <a:ext cx="1997245" cy="307777"/>
          </a:xfrm>
          <a:prstGeom prst="rect">
            <a:avLst/>
          </a:prstGeom>
          <a:noFill/>
        </p:spPr>
        <p:txBody>
          <a:bodyPr wrap="square" rtlCol="0">
            <a:spAutoFit/>
          </a:bodyPr>
          <a:lstStyle/>
          <a:p>
            <a:r>
              <a:rPr lang="en-US" sz="1400" b="1" dirty="0">
                <a:solidFill>
                  <a:srgbClr val="000000"/>
                </a:solidFill>
                <a:cs typeface="Lato" panose="020F0502020204030203" pitchFamily="34" charset="0"/>
              </a:rPr>
              <a:t>Option 3</a:t>
            </a:r>
            <a:endParaRPr lang="id-ID" sz="1400" b="1" dirty="0">
              <a:solidFill>
                <a:srgbClr val="000000"/>
              </a:solidFill>
              <a:cs typeface="Lato" panose="020F0502020204030203" pitchFamily="34" charset="0"/>
            </a:endParaRPr>
          </a:p>
        </p:txBody>
      </p:sp>
      <p:sp>
        <p:nvSpPr>
          <p:cNvPr id="53" name="Rectangle 37">
            <a:extLst>
              <a:ext uri="{FF2B5EF4-FFF2-40B4-BE49-F238E27FC236}">
                <a16:creationId xmlns:a16="http://schemas.microsoft.com/office/drawing/2014/main" id="{EE6AF999-0011-47F3-A590-217CAE6F19B4}"/>
              </a:ext>
            </a:extLst>
          </p:cNvPr>
          <p:cNvSpPr/>
          <p:nvPr/>
        </p:nvSpPr>
        <p:spPr>
          <a:xfrm>
            <a:off x="444500" y="3412132"/>
            <a:ext cx="2690229" cy="692497"/>
          </a:xfrm>
          <a:prstGeom prst="rect">
            <a:avLst/>
          </a:prstGeom>
        </p:spPr>
        <p:txBody>
          <a:bodyPr wrap="square">
            <a:spAutoFit/>
          </a:bodyPr>
          <a:lstStyle/>
          <a:p>
            <a:r>
              <a:rPr lang="en-US" sz="1300" dirty="0"/>
              <a:t>this is dummy text it is not here to be read it is here to show how this document will look</a:t>
            </a:r>
          </a:p>
        </p:txBody>
      </p:sp>
      <p:grpSp>
        <p:nvGrpSpPr>
          <p:cNvPr id="54" name="Group 45">
            <a:extLst>
              <a:ext uri="{FF2B5EF4-FFF2-40B4-BE49-F238E27FC236}">
                <a16:creationId xmlns:a16="http://schemas.microsoft.com/office/drawing/2014/main" id="{F2F548BB-AA4F-47C9-B832-18D46244111C}"/>
              </a:ext>
            </a:extLst>
          </p:cNvPr>
          <p:cNvGrpSpPr/>
          <p:nvPr/>
        </p:nvGrpSpPr>
        <p:grpSpPr>
          <a:xfrm>
            <a:off x="7007309" y="2368549"/>
            <a:ext cx="1708988" cy="374651"/>
            <a:chOff x="7007309" y="2507226"/>
            <a:chExt cx="1708988" cy="604684"/>
          </a:xfrm>
        </p:grpSpPr>
        <p:cxnSp>
          <p:nvCxnSpPr>
            <p:cNvPr id="55" name="Straight Connector 41">
              <a:extLst>
                <a:ext uri="{FF2B5EF4-FFF2-40B4-BE49-F238E27FC236}">
                  <a16:creationId xmlns:a16="http://schemas.microsoft.com/office/drawing/2014/main" id="{9E635A66-2C87-4DCF-B612-A28348D27555}"/>
                </a:ext>
              </a:extLst>
            </p:cNvPr>
            <p:cNvCxnSpPr/>
            <p:nvPr/>
          </p:nvCxnSpPr>
          <p:spPr>
            <a:xfrm flipH="1">
              <a:off x="7007309" y="2507226"/>
              <a:ext cx="1708988" cy="0"/>
            </a:xfrm>
            <a:prstGeom prst="line">
              <a:avLst/>
            </a:prstGeom>
            <a:ln w="9525">
              <a:solidFill>
                <a:srgbClr val="53565A"/>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56" name="Straight Connector 43">
              <a:extLst>
                <a:ext uri="{FF2B5EF4-FFF2-40B4-BE49-F238E27FC236}">
                  <a16:creationId xmlns:a16="http://schemas.microsoft.com/office/drawing/2014/main" id="{DB045890-CDA6-4C3D-B7B9-90FBB2A3547A}"/>
                </a:ext>
              </a:extLst>
            </p:cNvPr>
            <p:cNvCxnSpPr>
              <a:cxnSpLocks/>
            </p:cNvCxnSpPr>
            <p:nvPr/>
          </p:nvCxnSpPr>
          <p:spPr>
            <a:xfrm>
              <a:off x="7007309" y="2507226"/>
              <a:ext cx="0" cy="604684"/>
            </a:xfrm>
            <a:prstGeom prst="line">
              <a:avLst/>
            </a:prstGeom>
            <a:ln w="9525">
              <a:solidFill>
                <a:srgbClr val="53565A"/>
              </a:solidFill>
              <a:prstDash val="dash"/>
              <a:tailEnd type="oval"/>
            </a:ln>
          </p:spPr>
          <p:style>
            <a:lnRef idx="1">
              <a:schemeClr val="accent1"/>
            </a:lnRef>
            <a:fillRef idx="0">
              <a:schemeClr val="accent1"/>
            </a:fillRef>
            <a:effectRef idx="0">
              <a:schemeClr val="accent1"/>
            </a:effectRef>
            <a:fontRef idx="minor">
              <a:schemeClr val="tx1"/>
            </a:fontRef>
          </p:style>
        </p:cxnSp>
      </p:grpSp>
      <p:grpSp>
        <p:nvGrpSpPr>
          <p:cNvPr id="57" name="Group 46">
            <a:extLst>
              <a:ext uri="{FF2B5EF4-FFF2-40B4-BE49-F238E27FC236}">
                <a16:creationId xmlns:a16="http://schemas.microsoft.com/office/drawing/2014/main" id="{3F234395-5002-4464-AB46-B0F06AAED7FC}"/>
              </a:ext>
            </a:extLst>
          </p:cNvPr>
          <p:cNvGrpSpPr/>
          <p:nvPr/>
        </p:nvGrpSpPr>
        <p:grpSpPr>
          <a:xfrm rot="10800000">
            <a:off x="6095998" y="4381176"/>
            <a:ext cx="2620297" cy="1158048"/>
            <a:chOff x="7007309" y="2507226"/>
            <a:chExt cx="1708988" cy="604684"/>
          </a:xfrm>
        </p:grpSpPr>
        <p:cxnSp>
          <p:nvCxnSpPr>
            <p:cNvPr id="58" name="Straight Connector 47">
              <a:extLst>
                <a:ext uri="{FF2B5EF4-FFF2-40B4-BE49-F238E27FC236}">
                  <a16:creationId xmlns:a16="http://schemas.microsoft.com/office/drawing/2014/main" id="{19DF948B-5D5A-4B04-B721-71F2D53FA646}"/>
                </a:ext>
              </a:extLst>
            </p:cNvPr>
            <p:cNvCxnSpPr/>
            <p:nvPr/>
          </p:nvCxnSpPr>
          <p:spPr>
            <a:xfrm flipH="1">
              <a:off x="7007309" y="2507226"/>
              <a:ext cx="1708988" cy="0"/>
            </a:xfrm>
            <a:prstGeom prst="line">
              <a:avLst/>
            </a:prstGeom>
            <a:ln w="9525">
              <a:solidFill>
                <a:srgbClr val="53565A"/>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59" name="Straight Connector 48">
              <a:extLst>
                <a:ext uri="{FF2B5EF4-FFF2-40B4-BE49-F238E27FC236}">
                  <a16:creationId xmlns:a16="http://schemas.microsoft.com/office/drawing/2014/main" id="{E04023A4-0194-4B9F-8616-0089B557A2AE}"/>
                </a:ext>
              </a:extLst>
            </p:cNvPr>
            <p:cNvCxnSpPr>
              <a:cxnSpLocks/>
            </p:cNvCxnSpPr>
            <p:nvPr/>
          </p:nvCxnSpPr>
          <p:spPr>
            <a:xfrm>
              <a:off x="7007309" y="2507226"/>
              <a:ext cx="0" cy="604684"/>
            </a:xfrm>
            <a:prstGeom prst="line">
              <a:avLst/>
            </a:prstGeom>
            <a:ln w="9525">
              <a:solidFill>
                <a:srgbClr val="53565A"/>
              </a:solidFill>
              <a:prstDash val="dash"/>
              <a:tailEnd type="oval"/>
            </a:ln>
          </p:spPr>
          <p:style>
            <a:lnRef idx="1">
              <a:schemeClr val="accent1"/>
            </a:lnRef>
            <a:fillRef idx="0">
              <a:schemeClr val="accent1"/>
            </a:fillRef>
            <a:effectRef idx="0">
              <a:schemeClr val="accent1"/>
            </a:effectRef>
            <a:fontRef idx="minor">
              <a:schemeClr val="tx1"/>
            </a:fontRef>
          </p:style>
        </p:cxnSp>
      </p:grpSp>
      <p:cxnSp>
        <p:nvCxnSpPr>
          <p:cNvPr id="60" name="Straight Connector 50">
            <a:extLst>
              <a:ext uri="{FF2B5EF4-FFF2-40B4-BE49-F238E27FC236}">
                <a16:creationId xmlns:a16="http://schemas.microsoft.com/office/drawing/2014/main" id="{725ACF94-940C-42A3-BEDF-23CE15A73925}"/>
              </a:ext>
            </a:extLst>
          </p:cNvPr>
          <p:cNvCxnSpPr>
            <a:cxnSpLocks/>
          </p:cNvCxnSpPr>
          <p:nvPr/>
        </p:nvCxnSpPr>
        <p:spPr>
          <a:xfrm>
            <a:off x="558800" y="3226965"/>
            <a:ext cx="3974197" cy="0"/>
          </a:xfrm>
          <a:prstGeom prst="line">
            <a:avLst/>
          </a:prstGeom>
          <a:ln w="9525">
            <a:solidFill>
              <a:srgbClr val="53565A"/>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61" name="组合 60"/>
          <p:cNvGrpSpPr/>
          <p:nvPr/>
        </p:nvGrpSpPr>
        <p:grpSpPr>
          <a:xfrm>
            <a:off x="4753953" y="2847742"/>
            <a:ext cx="936624" cy="936624"/>
            <a:chOff x="1978331" y="3234323"/>
            <a:chExt cx="936624" cy="936624"/>
          </a:xfrm>
        </p:grpSpPr>
        <p:sp>
          <p:nvSpPr>
            <p:cNvPr id="62" name="Oval 34">
              <a:extLst>
                <a:ext uri="{FF2B5EF4-FFF2-40B4-BE49-F238E27FC236}">
                  <a16:creationId xmlns:a16="http://schemas.microsoft.com/office/drawing/2014/main" id="{3E3C2A90-19C0-49F1-A404-539321316238}"/>
                </a:ext>
              </a:extLst>
            </p:cNvPr>
            <p:cNvSpPr/>
            <p:nvPr/>
          </p:nvSpPr>
          <p:spPr>
            <a:xfrm>
              <a:off x="1978331" y="3234323"/>
              <a:ext cx="936624" cy="93662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50"/>
            <p:cNvSpPr>
              <a:spLocks noEditPoints="1"/>
            </p:cNvSpPr>
            <p:nvPr/>
          </p:nvSpPr>
          <p:spPr bwMode="auto">
            <a:xfrm>
              <a:off x="2240248" y="3417624"/>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43B02A"/>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65" name="组合 64"/>
          <p:cNvGrpSpPr/>
          <p:nvPr/>
        </p:nvGrpSpPr>
        <p:grpSpPr>
          <a:xfrm>
            <a:off x="6439221" y="2860926"/>
            <a:ext cx="936624" cy="936624"/>
            <a:chOff x="1978331" y="3234323"/>
            <a:chExt cx="936624" cy="936624"/>
          </a:xfrm>
        </p:grpSpPr>
        <p:sp>
          <p:nvSpPr>
            <p:cNvPr id="66" name="Oval 34">
              <a:extLst>
                <a:ext uri="{FF2B5EF4-FFF2-40B4-BE49-F238E27FC236}">
                  <a16:creationId xmlns:a16="http://schemas.microsoft.com/office/drawing/2014/main" id="{3E3C2A90-19C0-49F1-A404-539321316238}"/>
                </a:ext>
              </a:extLst>
            </p:cNvPr>
            <p:cNvSpPr/>
            <p:nvPr/>
          </p:nvSpPr>
          <p:spPr>
            <a:xfrm>
              <a:off x="1978331" y="3234323"/>
              <a:ext cx="936624" cy="93662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Freeform 650"/>
            <p:cNvSpPr>
              <a:spLocks noEditPoints="1"/>
            </p:cNvSpPr>
            <p:nvPr/>
          </p:nvSpPr>
          <p:spPr bwMode="auto">
            <a:xfrm>
              <a:off x="2240248" y="3417624"/>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000000"/>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68" name="组合 67"/>
          <p:cNvGrpSpPr/>
          <p:nvPr/>
        </p:nvGrpSpPr>
        <p:grpSpPr>
          <a:xfrm>
            <a:off x="5662165" y="4351674"/>
            <a:ext cx="936624" cy="936624"/>
            <a:chOff x="1978331" y="3234323"/>
            <a:chExt cx="936624" cy="936624"/>
          </a:xfrm>
        </p:grpSpPr>
        <p:sp>
          <p:nvSpPr>
            <p:cNvPr id="69" name="Oval 34">
              <a:extLst>
                <a:ext uri="{FF2B5EF4-FFF2-40B4-BE49-F238E27FC236}">
                  <a16:creationId xmlns:a16="http://schemas.microsoft.com/office/drawing/2014/main" id="{3E3C2A90-19C0-49F1-A404-539321316238}"/>
                </a:ext>
              </a:extLst>
            </p:cNvPr>
            <p:cNvSpPr/>
            <p:nvPr/>
          </p:nvSpPr>
          <p:spPr>
            <a:xfrm>
              <a:off x="1978331" y="3234323"/>
              <a:ext cx="936624" cy="93662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50"/>
            <p:cNvSpPr>
              <a:spLocks noEditPoints="1"/>
            </p:cNvSpPr>
            <p:nvPr/>
          </p:nvSpPr>
          <p:spPr bwMode="auto">
            <a:xfrm>
              <a:off x="2240248" y="3417624"/>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009A44"/>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Tree>
    <p:custDataLst>
      <p:tags r:id="rId1"/>
    </p:custDataLst>
    <p:extLst>
      <p:ext uri="{BB962C8B-B14F-4D97-AF65-F5344CB8AC3E}">
        <p14:creationId xmlns:p14="http://schemas.microsoft.com/office/powerpoint/2010/main" val="1098899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50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750" fill="hold"/>
                                        <p:tgtEl>
                                          <p:spTgt spid="48"/>
                                        </p:tgtEl>
                                        <p:attrNameLst>
                                          <p:attrName>ppt_x</p:attrName>
                                        </p:attrNameLst>
                                      </p:cBhvr>
                                      <p:tavLst>
                                        <p:tav tm="0">
                                          <p:val>
                                            <p:strVal val="#ppt_x"/>
                                          </p:val>
                                        </p:tav>
                                        <p:tav tm="100000">
                                          <p:val>
                                            <p:strVal val="#ppt_x"/>
                                          </p:val>
                                        </p:tav>
                                      </p:tavLst>
                                    </p:anim>
                                    <p:anim calcmode="lin" valueType="num">
                                      <p:cBhvr additive="base">
                                        <p:cTn id="8" dur="750" fill="hold"/>
                                        <p:tgtEl>
                                          <p:spTgt spid="48"/>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50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750" fill="hold"/>
                                        <p:tgtEl>
                                          <p:spTgt spid="49"/>
                                        </p:tgtEl>
                                        <p:attrNameLst>
                                          <p:attrName>ppt_x</p:attrName>
                                        </p:attrNameLst>
                                      </p:cBhvr>
                                      <p:tavLst>
                                        <p:tav tm="0">
                                          <p:val>
                                            <p:strVal val="#ppt_x"/>
                                          </p:val>
                                        </p:tav>
                                        <p:tav tm="100000">
                                          <p:val>
                                            <p:strVal val="#ppt_x"/>
                                          </p:val>
                                        </p:tav>
                                      </p:tavLst>
                                    </p:anim>
                                    <p:anim calcmode="lin" valueType="num">
                                      <p:cBhvr additive="base">
                                        <p:cTn id="12" dur="750" fill="hold"/>
                                        <p:tgtEl>
                                          <p:spTgt spid="49"/>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750" fill="hold"/>
                                        <p:tgtEl>
                                          <p:spTgt spid="54"/>
                                        </p:tgtEl>
                                        <p:attrNameLst>
                                          <p:attrName>ppt_x</p:attrName>
                                        </p:attrNameLst>
                                      </p:cBhvr>
                                      <p:tavLst>
                                        <p:tav tm="0">
                                          <p:val>
                                            <p:strVal val="#ppt_x"/>
                                          </p:val>
                                        </p:tav>
                                        <p:tav tm="100000">
                                          <p:val>
                                            <p:strVal val="#ppt_x"/>
                                          </p:val>
                                        </p:tav>
                                      </p:tavLst>
                                    </p:anim>
                                    <p:anim calcmode="lin" valueType="num">
                                      <p:cBhvr additive="base">
                                        <p:cTn id="16" dur="750" fill="hold"/>
                                        <p:tgtEl>
                                          <p:spTgt spid="5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750"/>
                                  </p:stCondLst>
                                  <p:childTnLst>
                                    <p:set>
                                      <p:cBhvr>
                                        <p:cTn id="18" dur="1" fill="hold">
                                          <p:stCondLst>
                                            <p:cond delay="0"/>
                                          </p:stCondLst>
                                        </p:cTn>
                                        <p:tgtEl>
                                          <p:spTgt spid="50"/>
                                        </p:tgtEl>
                                        <p:attrNameLst>
                                          <p:attrName>style.visibility</p:attrName>
                                        </p:attrNameLst>
                                      </p:cBhvr>
                                      <p:to>
                                        <p:strVal val="visible"/>
                                      </p:to>
                                    </p:set>
                                    <p:anim calcmode="lin" valueType="num">
                                      <p:cBhvr additive="base">
                                        <p:cTn id="19" dur="750" fill="hold"/>
                                        <p:tgtEl>
                                          <p:spTgt spid="50"/>
                                        </p:tgtEl>
                                        <p:attrNameLst>
                                          <p:attrName>ppt_x</p:attrName>
                                        </p:attrNameLst>
                                      </p:cBhvr>
                                      <p:tavLst>
                                        <p:tav tm="0">
                                          <p:val>
                                            <p:strVal val="#ppt_x"/>
                                          </p:val>
                                        </p:tav>
                                        <p:tav tm="100000">
                                          <p:val>
                                            <p:strVal val="#ppt_x"/>
                                          </p:val>
                                        </p:tav>
                                      </p:tavLst>
                                    </p:anim>
                                    <p:anim calcmode="lin" valueType="num">
                                      <p:cBhvr additive="base">
                                        <p:cTn id="20" dur="750" fill="hold"/>
                                        <p:tgtEl>
                                          <p:spTgt spid="50"/>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750"/>
                                  </p:stCondLst>
                                  <p:childTnLst>
                                    <p:set>
                                      <p:cBhvr>
                                        <p:cTn id="22" dur="1" fill="hold">
                                          <p:stCondLst>
                                            <p:cond delay="0"/>
                                          </p:stCondLst>
                                        </p:cTn>
                                        <p:tgtEl>
                                          <p:spTgt spid="51"/>
                                        </p:tgtEl>
                                        <p:attrNameLst>
                                          <p:attrName>style.visibility</p:attrName>
                                        </p:attrNameLst>
                                      </p:cBhvr>
                                      <p:to>
                                        <p:strVal val="visible"/>
                                      </p:to>
                                    </p:set>
                                    <p:anim calcmode="lin" valueType="num">
                                      <p:cBhvr additive="base">
                                        <p:cTn id="23" dur="750" fill="hold"/>
                                        <p:tgtEl>
                                          <p:spTgt spid="51"/>
                                        </p:tgtEl>
                                        <p:attrNameLst>
                                          <p:attrName>ppt_x</p:attrName>
                                        </p:attrNameLst>
                                      </p:cBhvr>
                                      <p:tavLst>
                                        <p:tav tm="0">
                                          <p:val>
                                            <p:strVal val="#ppt_x"/>
                                          </p:val>
                                        </p:tav>
                                        <p:tav tm="100000">
                                          <p:val>
                                            <p:strVal val="#ppt_x"/>
                                          </p:val>
                                        </p:tav>
                                      </p:tavLst>
                                    </p:anim>
                                    <p:anim calcmode="lin" valueType="num">
                                      <p:cBhvr additive="base">
                                        <p:cTn id="24" dur="750" fill="hold"/>
                                        <p:tgtEl>
                                          <p:spTgt spid="51"/>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750"/>
                                  </p:stCondLst>
                                  <p:childTnLst>
                                    <p:set>
                                      <p:cBhvr>
                                        <p:cTn id="26" dur="1" fill="hold">
                                          <p:stCondLst>
                                            <p:cond delay="0"/>
                                          </p:stCondLst>
                                        </p:cTn>
                                        <p:tgtEl>
                                          <p:spTgt spid="57"/>
                                        </p:tgtEl>
                                        <p:attrNameLst>
                                          <p:attrName>style.visibility</p:attrName>
                                        </p:attrNameLst>
                                      </p:cBhvr>
                                      <p:to>
                                        <p:strVal val="visible"/>
                                      </p:to>
                                    </p:set>
                                    <p:anim calcmode="lin" valueType="num">
                                      <p:cBhvr additive="base">
                                        <p:cTn id="27" dur="750" fill="hold"/>
                                        <p:tgtEl>
                                          <p:spTgt spid="57"/>
                                        </p:tgtEl>
                                        <p:attrNameLst>
                                          <p:attrName>ppt_x</p:attrName>
                                        </p:attrNameLst>
                                      </p:cBhvr>
                                      <p:tavLst>
                                        <p:tav tm="0">
                                          <p:val>
                                            <p:strVal val="#ppt_x"/>
                                          </p:val>
                                        </p:tav>
                                        <p:tav tm="100000">
                                          <p:val>
                                            <p:strVal val="#ppt_x"/>
                                          </p:val>
                                        </p:tav>
                                      </p:tavLst>
                                    </p:anim>
                                    <p:anim calcmode="lin" valueType="num">
                                      <p:cBhvr additive="base">
                                        <p:cTn id="28" dur="750" fill="hold"/>
                                        <p:tgtEl>
                                          <p:spTgt spid="57"/>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0"/>
                                  </p:stCondLst>
                                  <p:childTnLst>
                                    <p:set>
                                      <p:cBhvr>
                                        <p:cTn id="30" dur="1" fill="hold">
                                          <p:stCondLst>
                                            <p:cond delay="0"/>
                                          </p:stCondLst>
                                        </p:cTn>
                                        <p:tgtEl>
                                          <p:spTgt spid="52"/>
                                        </p:tgtEl>
                                        <p:attrNameLst>
                                          <p:attrName>style.visibility</p:attrName>
                                        </p:attrNameLst>
                                      </p:cBhvr>
                                      <p:to>
                                        <p:strVal val="visible"/>
                                      </p:to>
                                    </p:set>
                                    <p:anim calcmode="lin" valueType="num">
                                      <p:cBhvr additive="base">
                                        <p:cTn id="31" dur="750" fill="hold"/>
                                        <p:tgtEl>
                                          <p:spTgt spid="52"/>
                                        </p:tgtEl>
                                        <p:attrNameLst>
                                          <p:attrName>ppt_x</p:attrName>
                                        </p:attrNameLst>
                                      </p:cBhvr>
                                      <p:tavLst>
                                        <p:tav tm="0">
                                          <p:val>
                                            <p:strVal val="#ppt_x"/>
                                          </p:val>
                                        </p:tav>
                                        <p:tav tm="100000">
                                          <p:val>
                                            <p:strVal val="#ppt_x"/>
                                          </p:val>
                                        </p:tav>
                                      </p:tavLst>
                                    </p:anim>
                                    <p:anim calcmode="lin" valueType="num">
                                      <p:cBhvr additive="base">
                                        <p:cTn id="32" dur="750" fill="hold"/>
                                        <p:tgtEl>
                                          <p:spTgt spid="52"/>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1000"/>
                                  </p:stCondLst>
                                  <p:childTnLst>
                                    <p:set>
                                      <p:cBhvr>
                                        <p:cTn id="34" dur="1" fill="hold">
                                          <p:stCondLst>
                                            <p:cond delay="0"/>
                                          </p:stCondLst>
                                        </p:cTn>
                                        <p:tgtEl>
                                          <p:spTgt spid="53"/>
                                        </p:tgtEl>
                                        <p:attrNameLst>
                                          <p:attrName>style.visibility</p:attrName>
                                        </p:attrNameLst>
                                      </p:cBhvr>
                                      <p:to>
                                        <p:strVal val="visible"/>
                                      </p:to>
                                    </p:set>
                                    <p:anim calcmode="lin" valueType="num">
                                      <p:cBhvr additive="base">
                                        <p:cTn id="35" dur="750" fill="hold"/>
                                        <p:tgtEl>
                                          <p:spTgt spid="53"/>
                                        </p:tgtEl>
                                        <p:attrNameLst>
                                          <p:attrName>ppt_x</p:attrName>
                                        </p:attrNameLst>
                                      </p:cBhvr>
                                      <p:tavLst>
                                        <p:tav tm="0">
                                          <p:val>
                                            <p:strVal val="#ppt_x"/>
                                          </p:val>
                                        </p:tav>
                                        <p:tav tm="100000">
                                          <p:val>
                                            <p:strVal val="#ppt_x"/>
                                          </p:val>
                                        </p:tav>
                                      </p:tavLst>
                                    </p:anim>
                                    <p:anim calcmode="lin" valueType="num">
                                      <p:cBhvr additive="base">
                                        <p:cTn id="36" dur="750" fill="hold"/>
                                        <p:tgtEl>
                                          <p:spTgt spid="53"/>
                                        </p:tgtEl>
                                        <p:attrNameLst>
                                          <p:attrName>ppt_y</p:attrName>
                                        </p:attrNameLst>
                                      </p:cBhvr>
                                      <p:tavLst>
                                        <p:tav tm="0">
                                          <p:val>
                                            <p:strVal val="1+#ppt_h/2"/>
                                          </p:val>
                                        </p:tav>
                                        <p:tav tm="100000">
                                          <p:val>
                                            <p:strVal val="#ppt_y"/>
                                          </p:val>
                                        </p:tav>
                                      </p:tavLst>
                                    </p:anim>
                                  </p:childTnLst>
                                </p:cTn>
                              </p:par>
                              <p:par>
                                <p:cTn id="37" presetID="2" presetClass="entr" presetSubtype="4" decel="100000" fill="hold" nodeType="withEffect">
                                  <p:stCondLst>
                                    <p:cond delay="1000"/>
                                  </p:stCondLst>
                                  <p:childTnLst>
                                    <p:set>
                                      <p:cBhvr>
                                        <p:cTn id="38" dur="1" fill="hold">
                                          <p:stCondLst>
                                            <p:cond delay="0"/>
                                          </p:stCondLst>
                                        </p:cTn>
                                        <p:tgtEl>
                                          <p:spTgt spid="60"/>
                                        </p:tgtEl>
                                        <p:attrNameLst>
                                          <p:attrName>style.visibility</p:attrName>
                                        </p:attrNameLst>
                                      </p:cBhvr>
                                      <p:to>
                                        <p:strVal val="visible"/>
                                      </p:to>
                                    </p:set>
                                    <p:anim calcmode="lin" valueType="num">
                                      <p:cBhvr additive="base">
                                        <p:cTn id="39" dur="750" fill="hold"/>
                                        <p:tgtEl>
                                          <p:spTgt spid="60"/>
                                        </p:tgtEl>
                                        <p:attrNameLst>
                                          <p:attrName>ppt_x</p:attrName>
                                        </p:attrNameLst>
                                      </p:cBhvr>
                                      <p:tavLst>
                                        <p:tav tm="0">
                                          <p:val>
                                            <p:strVal val="#ppt_x"/>
                                          </p:val>
                                        </p:tav>
                                        <p:tav tm="100000">
                                          <p:val>
                                            <p:strVal val="#ppt_x"/>
                                          </p:val>
                                        </p:tav>
                                      </p:tavLst>
                                    </p:anim>
                                    <p:anim calcmode="lin" valueType="num">
                                      <p:cBhvr additive="base">
                                        <p:cTn id="40" dur="750" fill="hold"/>
                                        <p:tgtEl>
                                          <p:spTgt spid="6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P spid="51" grpId="0"/>
      <p:bldP spid="52" grpId="0"/>
      <p:bldP spid="53" grpId="0"/>
    </p:bld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Line 36"/>
          <p:cNvSpPr>
            <a:spLocks noChangeShapeType="1"/>
          </p:cNvSpPr>
          <p:nvPr/>
        </p:nvSpPr>
        <p:spPr bwMode="auto">
          <a:xfrm>
            <a:off x="10611773" y="573183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57" name="Line 37"/>
          <p:cNvSpPr>
            <a:spLocks noChangeShapeType="1"/>
          </p:cNvSpPr>
          <p:nvPr/>
        </p:nvSpPr>
        <p:spPr bwMode="auto">
          <a:xfrm>
            <a:off x="10611773" y="573183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76" name="Freeform 56"/>
          <p:cNvSpPr>
            <a:spLocks/>
          </p:cNvSpPr>
          <p:nvPr/>
        </p:nvSpPr>
        <p:spPr bwMode="auto">
          <a:xfrm>
            <a:off x="10599047" y="5721228"/>
            <a:ext cx="25450" cy="19088"/>
          </a:xfrm>
          <a:custGeom>
            <a:avLst/>
            <a:gdLst>
              <a:gd name="T0" fmla="*/ 8 w 15"/>
              <a:gd name="T1" fmla="*/ 12 h 12"/>
              <a:gd name="T2" fmla="*/ 8 w 15"/>
              <a:gd name="T3" fmla="*/ 0 h 12"/>
              <a:gd name="T4" fmla="*/ 8 w 15"/>
              <a:gd name="T5" fmla="*/ 12 h 12"/>
            </a:gdLst>
            <a:ahLst/>
            <a:cxnLst>
              <a:cxn ang="0">
                <a:pos x="T0" y="T1"/>
              </a:cxn>
              <a:cxn ang="0">
                <a:pos x="T2" y="T3"/>
              </a:cxn>
              <a:cxn ang="0">
                <a:pos x="T4" y="T5"/>
              </a:cxn>
            </a:cxnLst>
            <a:rect l="0" t="0" r="r" b="b"/>
            <a:pathLst>
              <a:path w="15" h="12">
                <a:moveTo>
                  <a:pt x="8" y="12"/>
                </a:moveTo>
                <a:cubicBezTo>
                  <a:pt x="15" y="12"/>
                  <a:pt x="15" y="0"/>
                  <a:pt x="8" y="0"/>
                </a:cubicBezTo>
                <a:cubicBezTo>
                  <a:pt x="0" y="0"/>
                  <a:pt x="0" y="12"/>
                  <a:pt x="8" y="12"/>
                </a:cubicBez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52" name="Freeform 51"/>
          <p:cNvSpPr>
            <a:spLocks/>
          </p:cNvSpPr>
          <p:nvPr/>
        </p:nvSpPr>
        <p:spPr bwMode="auto">
          <a:xfrm>
            <a:off x="-115454" y="2724479"/>
            <a:ext cx="12394209" cy="2699832"/>
          </a:xfrm>
          <a:custGeom>
            <a:avLst/>
            <a:gdLst>
              <a:gd name="T0" fmla="*/ 7680 w 7680"/>
              <a:gd name="T1" fmla="*/ 1672 h 1672"/>
              <a:gd name="T2" fmla="*/ 5346 w 7680"/>
              <a:gd name="T3" fmla="*/ 1672 h 1672"/>
              <a:gd name="T4" fmla="*/ 5237 w 7680"/>
              <a:gd name="T5" fmla="*/ 1603 h 1672"/>
              <a:gd name="T6" fmla="*/ 4938 w 7680"/>
              <a:gd name="T7" fmla="*/ 968 h 1672"/>
              <a:gd name="T8" fmla="*/ 4161 w 7680"/>
              <a:gd name="T9" fmla="*/ 968 h 1672"/>
              <a:gd name="T10" fmla="*/ 4045 w 7680"/>
              <a:gd name="T11" fmla="*/ 878 h 1672"/>
              <a:gd name="T12" fmla="*/ 3979 w 7680"/>
              <a:gd name="T13" fmla="*/ 624 h 1672"/>
              <a:gd name="T14" fmla="*/ 3257 w 7680"/>
              <a:gd name="T15" fmla="*/ 624 h 1672"/>
              <a:gd name="T16" fmla="*/ 3219 w 7680"/>
              <a:gd name="T17" fmla="*/ 866 h 1672"/>
              <a:gd name="T18" fmla="*/ 3100 w 7680"/>
              <a:gd name="T19" fmla="*/ 968 h 1672"/>
              <a:gd name="T20" fmla="*/ 1813 w 7680"/>
              <a:gd name="T21" fmla="*/ 968 h 1672"/>
              <a:gd name="T22" fmla="*/ 1711 w 7680"/>
              <a:gd name="T23" fmla="*/ 911 h 1672"/>
              <a:gd name="T24" fmla="*/ 1705 w 7680"/>
              <a:gd name="T25" fmla="*/ 794 h 1672"/>
              <a:gd name="T26" fmla="*/ 1982 w 7680"/>
              <a:gd name="T27" fmla="*/ 240 h 1672"/>
              <a:gd name="T28" fmla="*/ 0 w 7680"/>
              <a:gd name="T29" fmla="*/ 240 h 1672"/>
              <a:gd name="T30" fmla="*/ 0 w 7680"/>
              <a:gd name="T31" fmla="*/ 0 h 1672"/>
              <a:gd name="T32" fmla="*/ 2176 w 7680"/>
              <a:gd name="T33" fmla="*/ 0 h 1672"/>
              <a:gd name="T34" fmla="*/ 2278 w 7680"/>
              <a:gd name="T35" fmla="*/ 57 h 1672"/>
              <a:gd name="T36" fmla="*/ 2284 w 7680"/>
              <a:gd name="T37" fmla="*/ 174 h 1672"/>
              <a:gd name="T38" fmla="*/ 2007 w 7680"/>
              <a:gd name="T39" fmla="*/ 728 h 1672"/>
              <a:gd name="T40" fmla="*/ 2998 w 7680"/>
              <a:gd name="T41" fmla="*/ 728 h 1672"/>
              <a:gd name="T42" fmla="*/ 3036 w 7680"/>
              <a:gd name="T43" fmla="*/ 486 h 1672"/>
              <a:gd name="T44" fmla="*/ 3154 w 7680"/>
              <a:gd name="T45" fmla="*/ 384 h 1672"/>
              <a:gd name="T46" fmla="*/ 4072 w 7680"/>
              <a:gd name="T47" fmla="*/ 384 h 1672"/>
              <a:gd name="T48" fmla="*/ 4189 w 7680"/>
              <a:gd name="T49" fmla="*/ 474 h 1672"/>
              <a:gd name="T50" fmla="*/ 4254 w 7680"/>
              <a:gd name="T51" fmla="*/ 728 h 1672"/>
              <a:gd name="T52" fmla="*/ 5014 w 7680"/>
              <a:gd name="T53" fmla="*/ 728 h 1672"/>
              <a:gd name="T54" fmla="*/ 5123 w 7680"/>
              <a:gd name="T55" fmla="*/ 797 h 1672"/>
              <a:gd name="T56" fmla="*/ 5422 w 7680"/>
              <a:gd name="T57" fmla="*/ 1432 h 1672"/>
              <a:gd name="T58" fmla="*/ 7680 w 7680"/>
              <a:gd name="T59" fmla="*/ 1432 h 1672"/>
              <a:gd name="T60" fmla="*/ 7680 w 7680"/>
              <a:gd name="T61" fmla="*/ 1672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80" h="1672">
                <a:moveTo>
                  <a:pt x="7680" y="1672"/>
                </a:moveTo>
                <a:cubicBezTo>
                  <a:pt x="5346" y="1672"/>
                  <a:pt x="5346" y="1672"/>
                  <a:pt x="5346" y="1672"/>
                </a:cubicBezTo>
                <a:cubicBezTo>
                  <a:pt x="5299" y="1672"/>
                  <a:pt x="5257" y="1645"/>
                  <a:pt x="5237" y="1603"/>
                </a:cubicBezTo>
                <a:cubicBezTo>
                  <a:pt x="4938" y="968"/>
                  <a:pt x="4938" y="968"/>
                  <a:pt x="4938" y="968"/>
                </a:cubicBezTo>
                <a:cubicBezTo>
                  <a:pt x="4161" y="968"/>
                  <a:pt x="4161" y="968"/>
                  <a:pt x="4161" y="968"/>
                </a:cubicBezTo>
                <a:cubicBezTo>
                  <a:pt x="4106" y="968"/>
                  <a:pt x="4059" y="931"/>
                  <a:pt x="4045" y="878"/>
                </a:cubicBezTo>
                <a:cubicBezTo>
                  <a:pt x="3979" y="624"/>
                  <a:pt x="3979" y="624"/>
                  <a:pt x="3979" y="624"/>
                </a:cubicBezTo>
                <a:cubicBezTo>
                  <a:pt x="3257" y="624"/>
                  <a:pt x="3257" y="624"/>
                  <a:pt x="3257" y="624"/>
                </a:cubicBezTo>
                <a:cubicBezTo>
                  <a:pt x="3219" y="866"/>
                  <a:pt x="3219" y="866"/>
                  <a:pt x="3219" y="866"/>
                </a:cubicBezTo>
                <a:cubicBezTo>
                  <a:pt x="3210" y="925"/>
                  <a:pt x="3160" y="968"/>
                  <a:pt x="3100" y="968"/>
                </a:cubicBezTo>
                <a:cubicBezTo>
                  <a:pt x="1813" y="968"/>
                  <a:pt x="1813" y="968"/>
                  <a:pt x="1813" y="968"/>
                </a:cubicBezTo>
                <a:cubicBezTo>
                  <a:pt x="1771" y="968"/>
                  <a:pt x="1732" y="946"/>
                  <a:pt x="1711" y="911"/>
                </a:cubicBezTo>
                <a:cubicBezTo>
                  <a:pt x="1689" y="876"/>
                  <a:pt x="1687" y="832"/>
                  <a:pt x="1705" y="794"/>
                </a:cubicBezTo>
                <a:cubicBezTo>
                  <a:pt x="1982" y="240"/>
                  <a:pt x="1982" y="240"/>
                  <a:pt x="1982" y="240"/>
                </a:cubicBezTo>
                <a:cubicBezTo>
                  <a:pt x="0" y="240"/>
                  <a:pt x="0" y="240"/>
                  <a:pt x="0" y="240"/>
                </a:cubicBezTo>
                <a:cubicBezTo>
                  <a:pt x="0" y="0"/>
                  <a:pt x="0" y="0"/>
                  <a:pt x="0" y="0"/>
                </a:cubicBezTo>
                <a:cubicBezTo>
                  <a:pt x="2176" y="0"/>
                  <a:pt x="2176" y="0"/>
                  <a:pt x="2176" y="0"/>
                </a:cubicBezTo>
                <a:cubicBezTo>
                  <a:pt x="2218" y="0"/>
                  <a:pt x="2256" y="22"/>
                  <a:pt x="2278" y="57"/>
                </a:cubicBezTo>
                <a:cubicBezTo>
                  <a:pt x="2300" y="92"/>
                  <a:pt x="2302" y="136"/>
                  <a:pt x="2284" y="174"/>
                </a:cubicBezTo>
                <a:cubicBezTo>
                  <a:pt x="2007" y="728"/>
                  <a:pt x="2007" y="728"/>
                  <a:pt x="2007" y="728"/>
                </a:cubicBezTo>
                <a:cubicBezTo>
                  <a:pt x="2998" y="728"/>
                  <a:pt x="2998" y="728"/>
                  <a:pt x="2998" y="728"/>
                </a:cubicBezTo>
                <a:cubicBezTo>
                  <a:pt x="3036" y="486"/>
                  <a:pt x="3036" y="486"/>
                  <a:pt x="3036" y="486"/>
                </a:cubicBezTo>
                <a:cubicBezTo>
                  <a:pt x="3045" y="427"/>
                  <a:pt x="3095" y="384"/>
                  <a:pt x="3154" y="384"/>
                </a:cubicBezTo>
                <a:cubicBezTo>
                  <a:pt x="4072" y="384"/>
                  <a:pt x="4072" y="384"/>
                  <a:pt x="4072" y="384"/>
                </a:cubicBezTo>
                <a:cubicBezTo>
                  <a:pt x="4127" y="384"/>
                  <a:pt x="4175" y="421"/>
                  <a:pt x="4189" y="474"/>
                </a:cubicBezTo>
                <a:cubicBezTo>
                  <a:pt x="4254" y="728"/>
                  <a:pt x="4254" y="728"/>
                  <a:pt x="4254" y="728"/>
                </a:cubicBezTo>
                <a:cubicBezTo>
                  <a:pt x="5014" y="728"/>
                  <a:pt x="5014" y="728"/>
                  <a:pt x="5014" y="728"/>
                </a:cubicBezTo>
                <a:cubicBezTo>
                  <a:pt x="5061" y="728"/>
                  <a:pt x="5103" y="755"/>
                  <a:pt x="5123" y="797"/>
                </a:cubicBezTo>
                <a:cubicBezTo>
                  <a:pt x="5422" y="1432"/>
                  <a:pt x="5422" y="1432"/>
                  <a:pt x="5422" y="1432"/>
                </a:cubicBezTo>
                <a:cubicBezTo>
                  <a:pt x="7680" y="1432"/>
                  <a:pt x="7680" y="1432"/>
                  <a:pt x="7680" y="1432"/>
                </a:cubicBezTo>
                <a:lnTo>
                  <a:pt x="7680" y="1672"/>
                </a:lnTo>
                <a:close/>
              </a:path>
            </a:pathLst>
          </a:custGeom>
          <a:solidFill>
            <a:srgbClr val="474647">
              <a:alpha val="62000"/>
            </a:srgbClr>
          </a:solidFill>
          <a:ln>
            <a:noFill/>
          </a:ln>
        </p:spPr>
        <p:txBody>
          <a:bodyPr lIns="68580" tIns="34290" rIns="68580" bIns="34290"/>
          <a:lstStyle/>
          <a:p>
            <a:pPr>
              <a:defRPr/>
            </a:pPr>
            <a:endParaRPr lang="en-US" sz="1350"/>
          </a:p>
        </p:txBody>
      </p:sp>
      <p:grpSp>
        <p:nvGrpSpPr>
          <p:cNvPr id="119" name="Group 118"/>
          <p:cNvGrpSpPr>
            <a:grpSpLocks/>
          </p:cNvGrpSpPr>
          <p:nvPr/>
        </p:nvGrpSpPr>
        <p:grpSpPr bwMode="auto">
          <a:xfrm>
            <a:off x="-111212" y="2652369"/>
            <a:ext cx="12453592" cy="2697712"/>
            <a:chOff x="-93663" y="3201988"/>
            <a:chExt cx="12430125" cy="2693988"/>
          </a:xfrm>
        </p:grpSpPr>
        <p:sp>
          <p:nvSpPr>
            <p:cNvPr id="6" name="Freeform 5"/>
            <p:cNvSpPr>
              <a:spLocks/>
            </p:cNvSpPr>
            <p:nvPr/>
          </p:nvSpPr>
          <p:spPr bwMode="auto">
            <a:xfrm>
              <a:off x="-78846" y="3201988"/>
              <a:ext cx="12370855" cy="2693988"/>
            </a:xfrm>
            <a:custGeom>
              <a:avLst/>
              <a:gdLst>
                <a:gd name="T0" fmla="*/ 7680 w 7680"/>
                <a:gd name="T1" fmla="*/ 1672 h 1672"/>
                <a:gd name="T2" fmla="*/ 5346 w 7680"/>
                <a:gd name="T3" fmla="*/ 1672 h 1672"/>
                <a:gd name="T4" fmla="*/ 5237 w 7680"/>
                <a:gd name="T5" fmla="*/ 1603 h 1672"/>
                <a:gd name="T6" fmla="*/ 4938 w 7680"/>
                <a:gd name="T7" fmla="*/ 968 h 1672"/>
                <a:gd name="T8" fmla="*/ 4161 w 7680"/>
                <a:gd name="T9" fmla="*/ 968 h 1672"/>
                <a:gd name="T10" fmla="*/ 4045 w 7680"/>
                <a:gd name="T11" fmla="*/ 878 h 1672"/>
                <a:gd name="T12" fmla="*/ 3979 w 7680"/>
                <a:gd name="T13" fmla="*/ 624 h 1672"/>
                <a:gd name="T14" fmla="*/ 3257 w 7680"/>
                <a:gd name="T15" fmla="*/ 624 h 1672"/>
                <a:gd name="T16" fmla="*/ 3219 w 7680"/>
                <a:gd name="T17" fmla="*/ 866 h 1672"/>
                <a:gd name="T18" fmla="*/ 3100 w 7680"/>
                <a:gd name="T19" fmla="*/ 968 h 1672"/>
                <a:gd name="T20" fmla="*/ 1813 w 7680"/>
                <a:gd name="T21" fmla="*/ 968 h 1672"/>
                <a:gd name="T22" fmla="*/ 1711 w 7680"/>
                <a:gd name="T23" fmla="*/ 911 h 1672"/>
                <a:gd name="T24" fmla="*/ 1705 w 7680"/>
                <a:gd name="T25" fmla="*/ 794 h 1672"/>
                <a:gd name="T26" fmla="*/ 1982 w 7680"/>
                <a:gd name="T27" fmla="*/ 240 h 1672"/>
                <a:gd name="T28" fmla="*/ 0 w 7680"/>
                <a:gd name="T29" fmla="*/ 240 h 1672"/>
                <a:gd name="T30" fmla="*/ 0 w 7680"/>
                <a:gd name="T31" fmla="*/ 0 h 1672"/>
                <a:gd name="T32" fmla="*/ 2176 w 7680"/>
                <a:gd name="T33" fmla="*/ 0 h 1672"/>
                <a:gd name="T34" fmla="*/ 2278 w 7680"/>
                <a:gd name="T35" fmla="*/ 57 h 1672"/>
                <a:gd name="T36" fmla="*/ 2284 w 7680"/>
                <a:gd name="T37" fmla="*/ 174 h 1672"/>
                <a:gd name="T38" fmla="*/ 2007 w 7680"/>
                <a:gd name="T39" fmla="*/ 728 h 1672"/>
                <a:gd name="T40" fmla="*/ 2998 w 7680"/>
                <a:gd name="T41" fmla="*/ 728 h 1672"/>
                <a:gd name="T42" fmla="*/ 3036 w 7680"/>
                <a:gd name="T43" fmla="*/ 486 h 1672"/>
                <a:gd name="T44" fmla="*/ 3154 w 7680"/>
                <a:gd name="T45" fmla="*/ 384 h 1672"/>
                <a:gd name="T46" fmla="*/ 4072 w 7680"/>
                <a:gd name="T47" fmla="*/ 384 h 1672"/>
                <a:gd name="T48" fmla="*/ 4189 w 7680"/>
                <a:gd name="T49" fmla="*/ 474 h 1672"/>
                <a:gd name="T50" fmla="*/ 4254 w 7680"/>
                <a:gd name="T51" fmla="*/ 728 h 1672"/>
                <a:gd name="T52" fmla="*/ 5014 w 7680"/>
                <a:gd name="T53" fmla="*/ 728 h 1672"/>
                <a:gd name="T54" fmla="*/ 5123 w 7680"/>
                <a:gd name="T55" fmla="*/ 797 h 1672"/>
                <a:gd name="T56" fmla="*/ 5422 w 7680"/>
                <a:gd name="T57" fmla="*/ 1432 h 1672"/>
                <a:gd name="T58" fmla="*/ 7680 w 7680"/>
                <a:gd name="T59" fmla="*/ 1432 h 1672"/>
                <a:gd name="T60" fmla="*/ 7680 w 7680"/>
                <a:gd name="T61" fmla="*/ 1672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80" h="1672">
                  <a:moveTo>
                    <a:pt x="7680" y="1672"/>
                  </a:moveTo>
                  <a:cubicBezTo>
                    <a:pt x="5346" y="1672"/>
                    <a:pt x="5346" y="1672"/>
                    <a:pt x="5346" y="1672"/>
                  </a:cubicBezTo>
                  <a:cubicBezTo>
                    <a:pt x="5299" y="1672"/>
                    <a:pt x="5257" y="1645"/>
                    <a:pt x="5237" y="1603"/>
                  </a:cubicBezTo>
                  <a:cubicBezTo>
                    <a:pt x="4938" y="968"/>
                    <a:pt x="4938" y="968"/>
                    <a:pt x="4938" y="968"/>
                  </a:cubicBezTo>
                  <a:cubicBezTo>
                    <a:pt x="4161" y="968"/>
                    <a:pt x="4161" y="968"/>
                    <a:pt x="4161" y="968"/>
                  </a:cubicBezTo>
                  <a:cubicBezTo>
                    <a:pt x="4106" y="968"/>
                    <a:pt x="4059" y="931"/>
                    <a:pt x="4045" y="878"/>
                  </a:cubicBezTo>
                  <a:cubicBezTo>
                    <a:pt x="3979" y="624"/>
                    <a:pt x="3979" y="624"/>
                    <a:pt x="3979" y="624"/>
                  </a:cubicBezTo>
                  <a:cubicBezTo>
                    <a:pt x="3257" y="624"/>
                    <a:pt x="3257" y="624"/>
                    <a:pt x="3257" y="624"/>
                  </a:cubicBezTo>
                  <a:cubicBezTo>
                    <a:pt x="3219" y="866"/>
                    <a:pt x="3219" y="866"/>
                    <a:pt x="3219" y="866"/>
                  </a:cubicBezTo>
                  <a:cubicBezTo>
                    <a:pt x="3210" y="925"/>
                    <a:pt x="3160" y="968"/>
                    <a:pt x="3100" y="968"/>
                  </a:cubicBezTo>
                  <a:cubicBezTo>
                    <a:pt x="1813" y="968"/>
                    <a:pt x="1813" y="968"/>
                    <a:pt x="1813" y="968"/>
                  </a:cubicBezTo>
                  <a:cubicBezTo>
                    <a:pt x="1771" y="968"/>
                    <a:pt x="1732" y="946"/>
                    <a:pt x="1711" y="911"/>
                  </a:cubicBezTo>
                  <a:cubicBezTo>
                    <a:pt x="1689" y="876"/>
                    <a:pt x="1687" y="832"/>
                    <a:pt x="1705" y="794"/>
                  </a:cubicBezTo>
                  <a:cubicBezTo>
                    <a:pt x="1982" y="240"/>
                    <a:pt x="1982" y="240"/>
                    <a:pt x="1982" y="240"/>
                  </a:cubicBezTo>
                  <a:cubicBezTo>
                    <a:pt x="0" y="240"/>
                    <a:pt x="0" y="240"/>
                    <a:pt x="0" y="240"/>
                  </a:cubicBezTo>
                  <a:cubicBezTo>
                    <a:pt x="0" y="0"/>
                    <a:pt x="0" y="0"/>
                    <a:pt x="0" y="0"/>
                  </a:cubicBezTo>
                  <a:cubicBezTo>
                    <a:pt x="2176" y="0"/>
                    <a:pt x="2176" y="0"/>
                    <a:pt x="2176" y="0"/>
                  </a:cubicBezTo>
                  <a:cubicBezTo>
                    <a:pt x="2218" y="0"/>
                    <a:pt x="2256" y="22"/>
                    <a:pt x="2278" y="57"/>
                  </a:cubicBezTo>
                  <a:cubicBezTo>
                    <a:pt x="2300" y="92"/>
                    <a:pt x="2302" y="136"/>
                    <a:pt x="2284" y="174"/>
                  </a:cubicBezTo>
                  <a:cubicBezTo>
                    <a:pt x="2007" y="728"/>
                    <a:pt x="2007" y="728"/>
                    <a:pt x="2007" y="728"/>
                  </a:cubicBezTo>
                  <a:cubicBezTo>
                    <a:pt x="2998" y="728"/>
                    <a:pt x="2998" y="728"/>
                    <a:pt x="2998" y="728"/>
                  </a:cubicBezTo>
                  <a:cubicBezTo>
                    <a:pt x="3036" y="486"/>
                    <a:pt x="3036" y="486"/>
                    <a:pt x="3036" y="486"/>
                  </a:cubicBezTo>
                  <a:cubicBezTo>
                    <a:pt x="3045" y="427"/>
                    <a:pt x="3095" y="384"/>
                    <a:pt x="3154" y="384"/>
                  </a:cubicBezTo>
                  <a:cubicBezTo>
                    <a:pt x="4072" y="384"/>
                    <a:pt x="4072" y="384"/>
                    <a:pt x="4072" y="384"/>
                  </a:cubicBezTo>
                  <a:cubicBezTo>
                    <a:pt x="4127" y="384"/>
                    <a:pt x="4175" y="421"/>
                    <a:pt x="4189" y="474"/>
                  </a:cubicBezTo>
                  <a:cubicBezTo>
                    <a:pt x="4254" y="728"/>
                    <a:pt x="4254" y="728"/>
                    <a:pt x="4254" y="728"/>
                  </a:cubicBezTo>
                  <a:cubicBezTo>
                    <a:pt x="5014" y="728"/>
                    <a:pt x="5014" y="728"/>
                    <a:pt x="5014" y="728"/>
                  </a:cubicBezTo>
                  <a:cubicBezTo>
                    <a:pt x="5061" y="728"/>
                    <a:pt x="5103" y="755"/>
                    <a:pt x="5123" y="797"/>
                  </a:cubicBezTo>
                  <a:cubicBezTo>
                    <a:pt x="5422" y="1432"/>
                    <a:pt x="5422" y="1432"/>
                    <a:pt x="5422" y="1432"/>
                  </a:cubicBezTo>
                  <a:cubicBezTo>
                    <a:pt x="7680" y="1432"/>
                    <a:pt x="7680" y="1432"/>
                    <a:pt x="7680" y="1432"/>
                  </a:cubicBezTo>
                  <a:lnTo>
                    <a:pt x="7680" y="1672"/>
                  </a:lnTo>
                  <a:close/>
                </a:path>
              </a:pathLst>
            </a:custGeom>
            <a:solidFill>
              <a:srgbClr val="474647"/>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7" name="Freeform 6"/>
            <p:cNvSpPr>
              <a:spLocks/>
            </p:cNvSpPr>
            <p:nvPr/>
          </p:nvSpPr>
          <p:spPr bwMode="auto">
            <a:xfrm>
              <a:off x="-78846" y="3233756"/>
              <a:ext cx="12396257" cy="2630451"/>
            </a:xfrm>
            <a:custGeom>
              <a:avLst/>
              <a:gdLst>
                <a:gd name="T0" fmla="*/ 7696 w 7696"/>
                <a:gd name="T1" fmla="*/ 1632 h 1632"/>
                <a:gd name="T2" fmla="*/ 5346 w 7696"/>
                <a:gd name="T3" fmla="*/ 1632 h 1632"/>
                <a:gd name="T4" fmla="*/ 5255 w 7696"/>
                <a:gd name="T5" fmla="*/ 1575 h 1632"/>
                <a:gd name="T6" fmla="*/ 4951 w 7696"/>
                <a:gd name="T7" fmla="*/ 928 h 1632"/>
                <a:gd name="T8" fmla="*/ 4161 w 7696"/>
                <a:gd name="T9" fmla="*/ 928 h 1632"/>
                <a:gd name="T10" fmla="*/ 4064 w 7696"/>
                <a:gd name="T11" fmla="*/ 853 h 1632"/>
                <a:gd name="T12" fmla="*/ 3995 w 7696"/>
                <a:gd name="T13" fmla="*/ 584 h 1632"/>
                <a:gd name="T14" fmla="*/ 3240 w 7696"/>
                <a:gd name="T15" fmla="*/ 584 h 1632"/>
                <a:gd name="T16" fmla="*/ 3199 w 7696"/>
                <a:gd name="T17" fmla="*/ 843 h 1632"/>
                <a:gd name="T18" fmla="*/ 3100 w 7696"/>
                <a:gd name="T19" fmla="*/ 928 h 1632"/>
                <a:gd name="T20" fmla="*/ 1813 w 7696"/>
                <a:gd name="T21" fmla="*/ 928 h 1632"/>
                <a:gd name="T22" fmla="*/ 1728 w 7696"/>
                <a:gd name="T23" fmla="*/ 881 h 1632"/>
                <a:gd name="T24" fmla="*/ 1723 w 7696"/>
                <a:gd name="T25" fmla="*/ 783 h 1632"/>
                <a:gd name="T26" fmla="*/ 2015 w 7696"/>
                <a:gd name="T27" fmla="*/ 200 h 1632"/>
                <a:gd name="T28" fmla="*/ 0 w 7696"/>
                <a:gd name="T29" fmla="*/ 200 h 1632"/>
                <a:gd name="T30" fmla="*/ 0 w 7696"/>
                <a:gd name="T31" fmla="*/ 0 h 1632"/>
                <a:gd name="T32" fmla="*/ 2176 w 7696"/>
                <a:gd name="T33" fmla="*/ 0 h 1632"/>
                <a:gd name="T34" fmla="*/ 2261 w 7696"/>
                <a:gd name="T35" fmla="*/ 47 h 1632"/>
                <a:gd name="T36" fmla="*/ 2266 w 7696"/>
                <a:gd name="T37" fmla="*/ 145 h 1632"/>
                <a:gd name="T38" fmla="*/ 1974 w 7696"/>
                <a:gd name="T39" fmla="*/ 728 h 1632"/>
                <a:gd name="T40" fmla="*/ 3015 w 7696"/>
                <a:gd name="T41" fmla="*/ 728 h 1632"/>
                <a:gd name="T42" fmla="*/ 3055 w 7696"/>
                <a:gd name="T43" fmla="*/ 469 h 1632"/>
                <a:gd name="T44" fmla="*/ 3154 w 7696"/>
                <a:gd name="T45" fmla="*/ 384 h 1632"/>
                <a:gd name="T46" fmla="*/ 4072 w 7696"/>
                <a:gd name="T47" fmla="*/ 384 h 1632"/>
                <a:gd name="T48" fmla="*/ 4169 w 7696"/>
                <a:gd name="T49" fmla="*/ 459 h 1632"/>
                <a:gd name="T50" fmla="*/ 4239 w 7696"/>
                <a:gd name="T51" fmla="*/ 728 h 1632"/>
                <a:gd name="T52" fmla="*/ 5014 w 7696"/>
                <a:gd name="T53" fmla="*/ 728 h 1632"/>
                <a:gd name="T54" fmla="*/ 5105 w 7696"/>
                <a:gd name="T55" fmla="*/ 785 h 1632"/>
                <a:gd name="T56" fmla="*/ 5409 w 7696"/>
                <a:gd name="T57" fmla="*/ 1432 h 1632"/>
                <a:gd name="T58" fmla="*/ 7696 w 7696"/>
                <a:gd name="T59" fmla="*/ 1432 h 1632"/>
                <a:gd name="T60" fmla="*/ 7696 w 7696"/>
                <a:gd name="T61" fmla="*/ 1632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96" h="1632">
                  <a:moveTo>
                    <a:pt x="7696" y="1632"/>
                  </a:moveTo>
                  <a:cubicBezTo>
                    <a:pt x="5346" y="1632"/>
                    <a:pt x="5346" y="1632"/>
                    <a:pt x="5346" y="1632"/>
                  </a:cubicBezTo>
                  <a:cubicBezTo>
                    <a:pt x="5307" y="1632"/>
                    <a:pt x="5272" y="1610"/>
                    <a:pt x="5255" y="1575"/>
                  </a:cubicBezTo>
                  <a:cubicBezTo>
                    <a:pt x="4951" y="928"/>
                    <a:pt x="4951" y="928"/>
                    <a:pt x="4951" y="928"/>
                  </a:cubicBezTo>
                  <a:cubicBezTo>
                    <a:pt x="4161" y="928"/>
                    <a:pt x="4161" y="928"/>
                    <a:pt x="4161" y="928"/>
                  </a:cubicBezTo>
                  <a:cubicBezTo>
                    <a:pt x="4115" y="928"/>
                    <a:pt x="4076" y="897"/>
                    <a:pt x="4064" y="853"/>
                  </a:cubicBezTo>
                  <a:cubicBezTo>
                    <a:pt x="3995" y="584"/>
                    <a:pt x="3995" y="584"/>
                    <a:pt x="3995" y="584"/>
                  </a:cubicBezTo>
                  <a:cubicBezTo>
                    <a:pt x="3240" y="584"/>
                    <a:pt x="3240" y="584"/>
                    <a:pt x="3240" y="584"/>
                  </a:cubicBezTo>
                  <a:cubicBezTo>
                    <a:pt x="3199" y="843"/>
                    <a:pt x="3199" y="843"/>
                    <a:pt x="3199" y="843"/>
                  </a:cubicBezTo>
                  <a:cubicBezTo>
                    <a:pt x="3192" y="892"/>
                    <a:pt x="3150" y="928"/>
                    <a:pt x="3100" y="928"/>
                  </a:cubicBezTo>
                  <a:cubicBezTo>
                    <a:pt x="1813" y="928"/>
                    <a:pt x="1813" y="928"/>
                    <a:pt x="1813" y="928"/>
                  </a:cubicBezTo>
                  <a:cubicBezTo>
                    <a:pt x="1778" y="928"/>
                    <a:pt x="1746" y="910"/>
                    <a:pt x="1728" y="881"/>
                  </a:cubicBezTo>
                  <a:cubicBezTo>
                    <a:pt x="1709" y="851"/>
                    <a:pt x="1708" y="814"/>
                    <a:pt x="1723" y="783"/>
                  </a:cubicBezTo>
                  <a:cubicBezTo>
                    <a:pt x="2015" y="200"/>
                    <a:pt x="2015" y="200"/>
                    <a:pt x="2015" y="200"/>
                  </a:cubicBezTo>
                  <a:cubicBezTo>
                    <a:pt x="0" y="200"/>
                    <a:pt x="0" y="200"/>
                    <a:pt x="0" y="200"/>
                  </a:cubicBezTo>
                  <a:cubicBezTo>
                    <a:pt x="0" y="0"/>
                    <a:pt x="0" y="0"/>
                    <a:pt x="0" y="0"/>
                  </a:cubicBezTo>
                  <a:cubicBezTo>
                    <a:pt x="2176" y="0"/>
                    <a:pt x="2176" y="0"/>
                    <a:pt x="2176" y="0"/>
                  </a:cubicBezTo>
                  <a:cubicBezTo>
                    <a:pt x="2211" y="0"/>
                    <a:pt x="2243" y="18"/>
                    <a:pt x="2261" y="47"/>
                  </a:cubicBezTo>
                  <a:cubicBezTo>
                    <a:pt x="2280" y="77"/>
                    <a:pt x="2281" y="114"/>
                    <a:pt x="2266" y="145"/>
                  </a:cubicBezTo>
                  <a:cubicBezTo>
                    <a:pt x="1974" y="728"/>
                    <a:pt x="1974" y="728"/>
                    <a:pt x="1974" y="728"/>
                  </a:cubicBezTo>
                  <a:cubicBezTo>
                    <a:pt x="3015" y="728"/>
                    <a:pt x="3015" y="728"/>
                    <a:pt x="3015" y="728"/>
                  </a:cubicBezTo>
                  <a:cubicBezTo>
                    <a:pt x="3055" y="469"/>
                    <a:pt x="3055" y="469"/>
                    <a:pt x="3055" y="469"/>
                  </a:cubicBezTo>
                  <a:cubicBezTo>
                    <a:pt x="3063" y="420"/>
                    <a:pt x="3105" y="384"/>
                    <a:pt x="3154" y="384"/>
                  </a:cubicBezTo>
                  <a:cubicBezTo>
                    <a:pt x="4072" y="384"/>
                    <a:pt x="4072" y="384"/>
                    <a:pt x="4072" y="384"/>
                  </a:cubicBezTo>
                  <a:cubicBezTo>
                    <a:pt x="4118" y="384"/>
                    <a:pt x="4158" y="415"/>
                    <a:pt x="4169" y="459"/>
                  </a:cubicBezTo>
                  <a:cubicBezTo>
                    <a:pt x="4239" y="728"/>
                    <a:pt x="4239" y="728"/>
                    <a:pt x="4239" y="728"/>
                  </a:cubicBezTo>
                  <a:cubicBezTo>
                    <a:pt x="5014" y="728"/>
                    <a:pt x="5014" y="728"/>
                    <a:pt x="5014" y="728"/>
                  </a:cubicBezTo>
                  <a:cubicBezTo>
                    <a:pt x="5053" y="728"/>
                    <a:pt x="5088" y="750"/>
                    <a:pt x="5105" y="785"/>
                  </a:cubicBezTo>
                  <a:cubicBezTo>
                    <a:pt x="5409" y="1432"/>
                    <a:pt x="5409" y="1432"/>
                    <a:pt x="5409" y="1432"/>
                  </a:cubicBezTo>
                  <a:cubicBezTo>
                    <a:pt x="7696" y="1432"/>
                    <a:pt x="7696" y="1432"/>
                    <a:pt x="7696" y="1432"/>
                  </a:cubicBezTo>
                  <a:lnTo>
                    <a:pt x="7696" y="16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8" name="Freeform 7"/>
            <p:cNvSpPr>
              <a:spLocks/>
            </p:cNvSpPr>
            <p:nvPr/>
          </p:nvSpPr>
          <p:spPr bwMode="auto">
            <a:xfrm>
              <a:off x="-78846" y="3267643"/>
              <a:ext cx="12415308" cy="2562676"/>
            </a:xfrm>
            <a:custGeom>
              <a:avLst/>
              <a:gdLst>
                <a:gd name="T0" fmla="*/ 7708 w 7708"/>
                <a:gd name="T1" fmla="*/ 1592 h 1592"/>
                <a:gd name="T2" fmla="*/ 5346 w 7708"/>
                <a:gd name="T3" fmla="*/ 1592 h 1592"/>
                <a:gd name="T4" fmla="*/ 5273 w 7708"/>
                <a:gd name="T5" fmla="*/ 1546 h 1592"/>
                <a:gd name="T6" fmla="*/ 4964 w 7708"/>
                <a:gd name="T7" fmla="*/ 888 h 1592"/>
                <a:gd name="T8" fmla="*/ 4161 w 7708"/>
                <a:gd name="T9" fmla="*/ 888 h 1592"/>
                <a:gd name="T10" fmla="*/ 4084 w 7708"/>
                <a:gd name="T11" fmla="*/ 828 h 1592"/>
                <a:gd name="T12" fmla="*/ 4010 w 7708"/>
                <a:gd name="T13" fmla="*/ 544 h 1592"/>
                <a:gd name="T14" fmla="*/ 3223 w 7708"/>
                <a:gd name="T15" fmla="*/ 544 h 1592"/>
                <a:gd name="T16" fmla="*/ 3179 w 7708"/>
                <a:gd name="T17" fmla="*/ 820 h 1592"/>
                <a:gd name="T18" fmla="*/ 3100 w 7708"/>
                <a:gd name="T19" fmla="*/ 888 h 1592"/>
                <a:gd name="T20" fmla="*/ 1813 w 7708"/>
                <a:gd name="T21" fmla="*/ 888 h 1592"/>
                <a:gd name="T22" fmla="*/ 1745 w 7708"/>
                <a:gd name="T23" fmla="*/ 850 h 1592"/>
                <a:gd name="T24" fmla="*/ 1741 w 7708"/>
                <a:gd name="T25" fmla="*/ 772 h 1592"/>
                <a:gd name="T26" fmla="*/ 2047 w 7708"/>
                <a:gd name="T27" fmla="*/ 160 h 1592"/>
                <a:gd name="T28" fmla="*/ 0 w 7708"/>
                <a:gd name="T29" fmla="*/ 160 h 1592"/>
                <a:gd name="T30" fmla="*/ 0 w 7708"/>
                <a:gd name="T31" fmla="*/ 0 h 1592"/>
                <a:gd name="T32" fmla="*/ 2176 w 7708"/>
                <a:gd name="T33" fmla="*/ 0 h 1592"/>
                <a:gd name="T34" fmla="*/ 2244 w 7708"/>
                <a:gd name="T35" fmla="*/ 38 h 1592"/>
                <a:gd name="T36" fmla="*/ 2248 w 7708"/>
                <a:gd name="T37" fmla="*/ 116 h 1592"/>
                <a:gd name="T38" fmla="*/ 1942 w 7708"/>
                <a:gd name="T39" fmla="*/ 728 h 1592"/>
                <a:gd name="T40" fmla="*/ 3032 w 7708"/>
                <a:gd name="T41" fmla="*/ 728 h 1592"/>
                <a:gd name="T42" fmla="*/ 3075 w 7708"/>
                <a:gd name="T43" fmla="*/ 452 h 1592"/>
                <a:gd name="T44" fmla="*/ 3154 w 7708"/>
                <a:gd name="T45" fmla="*/ 384 h 1592"/>
                <a:gd name="T46" fmla="*/ 4072 w 7708"/>
                <a:gd name="T47" fmla="*/ 384 h 1592"/>
                <a:gd name="T48" fmla="*/ 4150 w 7708"/>
                <a:gd name="T49" fmla="*/ 444 h 1592"/>
                <a:gd name="T50" fmla="*/ 4223 w 7708"/>
                <a:gd name="T51" fmla="*/ 728 h 1592"/>
                <a:gd name="T52" fmla="*/ 5014 w 7708"/>
                <a:gd name="T53" fmla="*/ 728 h 1592"/>
                <a:gd name="T54" fmla="*/ 5087 w 7708"/>
                <a:gd name="T55" fmla="*/ 774 h 1592"/>
                <a:gd name="T56" fmla="*/ 5397 w 7708"/>
                <a:gd name="T57" fmla="*/ 1432 h 1592"/>
                <a:gd name="T58" fmla="*/ 7708 w 7708"/>
                <a:gd name="T59" fmla="*/ 1432 h 1592"/>
                <a:gd name="T60" fmla="*/ 7708 w 7708"/>
                <a:gd name="T61" fmla="*/ 1592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08" h="1592">
                  <a:moveTo>
                    <a:pt x="7708" y="1592"/>
                  </a:moveTo>
                  <a:cubicBezTo>
                    <a:pt x="5346" y="1592"/>
                    <a:pt x="5346" y="1592"/>
                    <a:pt x="5346" y="1592"/>
                  </a:cubicBezTo>
                  <a:cubicBezTo>
                    <a:pt x="5315" y="1592"/>
                    <a:pt x="5287" y="1574"/>
                    <a:pt x="5273" y="1546"/>
                  </a:cubicBezTo>
                  <a:cubicBezTo>
                    <a:pt x="4964" y="888"/>
                    <a:pt x="4964" y="888"/>
                    <a:pt x="4964" y="888"/>
                  </a:cubicBezTo>
                  <a:cubicBezTo>
                    <a:pt x="4161" y="888"/>
                    <a:pt x="4161" y="888"/>
                    <a:pt x="4161" y="888"/>
                  </a:cubicBezTo>
                  <a:cubicBezTo>
                    <a:pt x="4125" y="888"/>
                    <a:pt x="4093" y="863"/>
                    <a:pt x="4084" y="828"/>
                  </a:cubicBezTo>
                  <a:cubicBezTo>
                    <a:pt x="4010" y="544"/>
                    <a:pt x="4010" y="544"/>
                    <a:pt x="4010" y="544"/>
                  </a:cubicBezTo>
                  <a:cubicBezTo>
                    <a:pt x="3223" y="544"/>
                    <a:pt x="3223" y="544"/>
                    <a:pt x="3223" y="544"/>
                  </a:cubicBezTo>
                  <a:cubicBezTo>
                    <a:pt x="3179" y="820"/>
                    <a:pt x="3179" y="820"/>
                    <a:pt x="3179" y="820"/>
                  </a:cubicBezTo>
                  <a:cubicBezTo>
                    <a:pt x="3173" y="859"/>
                    <a:pt x="3140" y="888"/>
                    <a:pt x="3100" y="888"/>
                  </a:cubicBezTo>
                  <a:cubicBezTo>
                    <a:pt x="1813" y="888"/>
                    <a:pt x="1813" y="888"/>
                    <a:pt x="1813" y="888"/>
                  </a:cubicBezTo>
                  <a:cubicBezTo>
                    <a:pt x="1785" y="888"/>
                    <a:pt x="1759" y="874"/>
                    <a:pt x="1745" y="850"/>
                  </a:cubicBezTo>
                  <a:cubicBezTo>
                    <a:pt x="1730" y="826"/>
                    <a:pt x="1729" y="797"/>
                    <a:pt x="1741" y="772"/>
                  </a:cubicBezTo>
                  <a:cubicBezTo>
                    <a:pt x="2047" y="160"/>
                    <a:pt x="2047" y="160"/>
                    <a:pt x="2047" y="160"/>
                  </a:cubicBezTo>
                  <a:cubicBezTo>
                    <a:pt x="0" y="160"/>
                    <a:pt x="0" y="160"/>
                    <a:pt x="0" y="160"/>
                  </a:cubicBezTo>
                  <a:cubicBezTo>
                    <a:pt x="0" y="0"/>
                    <a:pt x="0" y="0"/>
                    <a:pt x="0" y="0"/>
                  </a:cubicBezTo>
                  <a:cubicBezTo>
                    <a:pt x="2176" y="0"/>
                    <a:pt x="2176" y="0"/>
                    <a:pt x="2176" y="0"/>
                  </a:cubicBezTo>
                  <a:cubicBezTo>
                    <a:pt x="2204" y="0"/>
                    <a:pt x="2230" y="14"/>
                    <a:pt x="2244" y="38"/>
                  </a:cubicBezTo>
                  <a:cubicBezTo>
                    <a:pt x="2259" y="62"/>
                    <a:pt x="2260" y="91"/>
                    <a:pt x="2248" y="116"/>
                  </a:cubicBezTo>
                  <a:cubicBezTo>
                    <a:pt x="1942" y="728"/>
                    <a:pt x="1942" y="728"/>
                    <a:pt x="1942" y="728"/>
                  </a:cubicBezTo>
                  <a:cubicBezTo>
                    <a:pt x="3032" y="728"/>
                    <a:pt x="3032" y="728"/>
                    <a:pt x="3032" y="728"/>
                  </a:cubicBezTo>
                  <a:cubicBezTo>
                    <a:pt x="3075" y="452"/>
                    <a:pt x="3075" y="452"/>
                    <a:pt x="3075" y="452"/>
                  </a:cubicBezTo>
                  <a:cubicBezTo>
                    <a:pt x="3081" y="413"/>
                    <a:pt x="3115" y="384"/>
                    <a:pt x="3154" y="384"/>
                  </a:cubicBezTo>
                  <a:cubicBezTo>
                    <a:pt x="4072" y="384"/>
                    <a:pt x="4072" y="384"/>
                    <a:pt x="4072" y="384"/>
                  </a:cubicBezTo>
                  <a:cubicBezTo>
                    <a:pt x="4109" y="384"/>
                    <a:pt x="4141" y="409"/>
                    <a:pt x="4150" y="444"/>
                  </a:cubicBezTo>
                  <a:cubicBezTo>
                    <a:pt x="4223" y="728"/>
                    <a:pt x="4223" y="728"/>
                    <a:pt x="4223" y="728"/>
                  </a:cubicBezTo>
                  <a:cubicBezTo>
                    <a:pt x="5014" y="728"/>
                    <a:pt x="5014" y="728"/>
                    <a:pt x="5014" y="728"/>
                  </a:cubicBezTo>
                  <a:cubicBezTo>
                    <a:pt x="5045" y="728"/>
                    <a:pt x="5074" y="746"/>
                    <a:pt x="5087" y="774"/>
                  </a:cubicBezTo>
                  <a:cubicBezTo>
                    <a:pt x="5397" y="1432"/>
                    <a:pt x="5397" y="1432"/>
                    <a:pt x="5397" y="1432"/>
                  </a:cubicBezTo>
                  <a:cubicBezTo>
                    <a:pt x="7708" y="1432"/>
                    <a:pt x="7708" y="1432"/>
                    <a:pt x="7708" y="1432"/>
                  </a:cubicBezTo>
                  <a:lnTo>
                    <a:pt x="7708" y="1592"/>
                  </a:lnTo>
                  <a:close/>
                </a:path>
              </a:pathLst>
            </a:custGeom>
            <a:solidFill>
              <a:srgbClr val="474647"/>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nvGrpSpPr>
            <p:cNvPr id="35887" name="Group 117"/>
            <p:cNvGrpSpPr>
              <a:grpSpLocks/>
            </p:cNvGrpSpPr>
            <p:nvPr/>
          </p:nvGrpSpPr>
          <p:grpSpPr bwMode="auto">
            <a:xfrm>
              <a:off x="-93663" y="3376613"/>
              <a:ext cx="12401551" cy="2332037"/>
              <a:chOff x="-93663" y="3376613"/>
              <a:chExt cx="12401551" cy="2332037"/>
            </a:xfrm>
          </p:grpSpPr>
          <p:sp>
            <p:nvSpPr>
              <p:cNvPr id="9" name="Freeform 8"/>
              <p:cNvSpPr>
                <a:spLocks/>
              </p:cNvSpPr>
              <p:nvPr/>
            </p:nvSpPr>
            <p:spPr bwMode="auto">
              <a:xfrm>
                <a:off x="-93663" y="3375656"/>
                <a:ext cx="135478" cy="31768"/>
              </a:xfrm>
              <a:custGeom>
                <a:avLst/>
                <a:gdLst>
                  <a:gd name="T0" fmla="*/ 74 w 84"/>
                  <a:gd name="T1" fmla="*/ 20 h 20"/>
                  <a:gd name="T2" fmla="*/ 10 w 84"/>
                  <a:gd name="T3" fmla="*/ 20 h 20"/>
                  <a:gd name="T4" fmla="*/ 0 w 84"/>
                  <a:gd name="T5" fmla="*/ 10 h 20"/>
                  <a:gd name="T6" fmla="*/ 10 w 84"/>
                  <a:gd name="T7" fmla="*/ 0 h 20"/>
                  <a:gd name="T8" fmla="*/ 74 w 84"/>
                  <a:gd name="T9" fmla="*/ 0 h 20"/>
                  <a:gd name="T10" fmla="*/ 84 w 84"/>
                  <a:gd name="T11" fmla="*/ 10 h 20"/>
                  <a:gd name="T12" fmla="*/ 74 w 8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84" h="20">
                    <a:moveTo>
                      <a:pt x="74" y="20"/>
                    </a:moveTo>
                    <a:cubicBezTo>
                      <a:pt x="10" y="20"/>
                      <a:pt x="10" y="20"/>
                      <a:pt x="10" y="20"/>
                    </a:cubicBezTo>
                    <a:cubicBezTo>
                      <a:pt x="4" y="20"/>
                      <a:pt x="0" y="16"/>
                      <a:pt x="0" y="10"/>
                    </a:cubicBezTo>
                    <a:cubicBezTo>
                      <a:pt x="0" y="4"/>
                      <a:pt x="4" y="0"/>
                      <a:pt x="10" y="0"/>
                    </a:cubicBezTo>
                    <a:cubicBezTo>
                      <a:pt x="74" y="0"/>
                      <a:pt x="74" y="0"/>
                      <a:pt x="74" y="0"/>
                    </a:cubicBezTo>
                    <a:cubicBezTo>
                      <a:pt x="80" y="0"/>
                      <a:pt x="84" y="4"/>
                      <a:pt x="84" y="10"/>
                    </a:cubicBezTo>
                    <a:cubicBezTo>
                      <a:pt x="84" y="16"/>
                      <a:pt x="80" y="20"/>
                      <a:pt x="7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0" name="Freeform 9"/>
              <p:cNvSpPr>
                <a:spLocks noEditPoints="1"/>
              </p:cNvSpPr>
              <p:nvPr/>
            </p:nvSpPr>
            <p:spPr bwMode="auto">
              <a:xfrm>
                <a:off x="202696" y="3375656"/>
                <a:ext cx="2931834" cy="31768"/>
              </a:xfrm>
              <a:custGeom>
                <a:avLst/>
                <a:gdLst>
                  <a:gd name="T0" fmla="*/ 1810 w 1820"/>
                  <a:gd name="T1" fmla="*/ 20 h 20"/>
                  <a:gd name="T2" fmla="*/ 1690 w 1820"/>
                  <a:gd name="T3" fmla="*/ 20 h 20"/>
                  <a:gd name="T4" fmla="*/ 1680 w 1820"/>
                  <a:gd name="T5" fmla="*/ 10 h 20"/>
                  <a:gd name="T6" fmla="*/ 1690 w 1820"/>
                  <a:gd name="T7" fmla="*/ 0 h 20"/>
                  <a:gd name="T8" fmla="*/ 1810 w 1820"/>
                  <a:gd name="T9" fmla="*/ 0 h 20"/>
                  <a:gd name="T10" fmla="*/ 1820 w 1820"/>
                  <a:gd name="T11" fmla="*/ 10 h 20"/>
                  <a:gd name="T12" fmla="*/ 1810 w 1820"/>
                  <a:gd name="T13" fmla="*/ 20 h 20"/>
                  <a:gd name="T14" fmla="*/ 1570 w 1820"/>
                  <a:gd name="T15" fmla="*/ 20 h 20"/>
                  <a:gd name="T16" fmla="*/ 1450 w 1820"/>
                  <a:gd name="T17" fmla="*/ 20 h 20"/>
                  <a:gd name="T18" fmla="*/ 1440 w 1820"/>
                  <a:gd name="T19" fmla="*/ 10 h 20"/>
                  <a:gd name="T20" fmla="*/ 1450 w 1820"/>
                  <a:gd name="T21" fmla="*/ 0 h 20"/>
                  <a:gd name="T22" fmla="*/ 1570 w 1820"/>
                  <a:gd name="T23" fmla="*/ 0 h 20"/>
                  <a:gd name="T24" fmla="*/ 1580 w 1820"/>
                  <a:gd name="T25" fmla="*/ 10 h 20"/>
                  <a:gd name="T26" fmla="*/ 1570 w 1820"/>
                  <a:gd name="T27" fmla="*/ 20 h 20"/>
                  <a:gd name="T28" fmla="*/ 1330 w 1820"/>
                  <a:gd name="T29" fmla="*/ 20 h 20"/>
                  <a:gd name="T30" fmla="*/ 1210 w 1820"/>
                  <a:gd name="T31" fmla="*/ 20 h 20"/>
                  <a:gd name="T32" fmla="*/ 1200 w 1820"/>
                  <a:gd name="T33" fmla="*/ 10 h 20"/>
                  <a:gd name="T34" fmla="*/ 1210 w 1820"/>
                  <a:gd name="T35" fmla="*/ 0 h 20"/>
                  <a:gd name="T36" fmla="*/ 1330 w 1820"/>
                  <a:gd name="T37" fmla="*/ 0 h 20"/>
                  <a:gd name="T38" fmla="*/ 1340 w 1820"/>
                  <a:gd name="T39" fmla="*/ 10 h 20"/>
                  <a:gd name="T40" fmla="*/ 1330 w 1820"/>
                  <a:gd name="T41" fmla="*/ 20 h 20"/>
                  <a:gd name="T42" fmla="*/ 1090 w 1820"/>
                  <a:gd name="T43" fmla="*/ 20 h 20"/>
                  <a:gd name="T44" fmla="*/ 970 w 1820"/>
                  <a:gd name="T45" fmla="*/ 20 h 20"/>
                  <a:gd name="T46" fmla="*/ 960 w 1820"/>
                  <a:gd name="T47" fmla="*/ 10 h 20"/>
                  <a:gd name="T48" fmla="*/ 970 w 1820"/>
                  <a:gd name="T49" fmla="*/ 0 h 20"/>
                  <a:gd name="T50" fmla="*/ 1090 w 1820"/>
                  <a:gd name="T51" fmla="*/ 0 h 20"/>
                  <a:gd name="T52" fmla="*/ 1100 w 1820"/>
                  <a:gd name="T53" fmla="*/ 10 h 20"/>
                  <a:gd name="T54" fmla="*/ 1090 w 1820"/>
                  <a:gd name="T55" fmla="*/ 20 h 20"/>
                  <a:gd name="T56" fmla="*/ 850 w 1820"/>
                  <a:gd name="T57" fmla="*/ 20 h 20"/>
                  <a:gd name="T58" fmla="*/ 730 w 1820"/>
                  <a:gd name="T59" fmla="*/ 20 h 20"/>
                  <a:gd name="T60" fmla="*/ 720 w 1820"/>
                  <a:gd name="T61" fmla="*/ 10 h 20"/>
                  <a:gd name="T62" fmla="*/ 730 w 1820"/>
                  <a:gd name="T63" fmla="*/ 0 h 20"/>
                  <a:gd name="T64" fmla="*/ 850 w 1820"/>
                  <a:gd name="T65" fmla="*/ 0 h 20"/>
                  <a:gd name="T66" fmla="*/ 860 w 1820"/>
                  <a:gd name="T67" fmla="*/ 10 h 20"/>
                  <a:gd name="T68" fmla="*/ 850 w 1820"/>
                  <a:gd name="T69" fmla="*/ 20 h 20"/>
                  <a:gd name="T70" fmla="*/ 610 w 1820"/>
                  <a:gd name="T71" fmla="*/ 20 h 20"/>
                  <a:gd name="T72" fmla="*/ 490 w 1820"/>
                  <a:gd name="T73" fmla="*/ 20 h 20"/>
                  <a:gd name="T74" fmla="*/ 480 w 1820"/>
                  <a:gd name="T75" fmla="*/ 10 h 20"/>
                  <a:gd name="T76" fmla="*/ 490 w 1820"/>
                  <a:gd name="T77" fmla="*/ 0 h 20"/>
                  <a:gd name="T78" fmla="*/ 610 w 1820"/>
                  <a:gd name="T79" fmla="*/ 0 h 20"/>
                  <a:gd name="T80" fmla="*/ 620 w 1820"/>
                  <a:gd name="T81" fmla="*/ 10 h 20"/>
                  <a:gd name="T82" fmla="*/ 610 w 1820"/>
                  <a:gd name="T83" fmla="*/ 20 h 20"/>
                  <a:gd name="T84" fmla="*/ 370 w 1820"/>
                  <a:gd name="T85" fmla="*/ 20 h 20"/>
                  <a:gd name="T86" fmla="*/ 250 w 1820"/>
                  <a:gd name="T87" fmla="*/ 20 h 20"/>
                  <a:gd name="T88" fmla="*/ 240 w 1820"/>
                  <a:gd name="T89" fmla="*/ 10 h 20"/>
                  <a:gd name="T90" fmla="*/ 250 w 1820"/>
                  <a:gd name="T91" fmla="*/ 0 h 20"/>
                  <a:gd name="T92" fmla="*/ 370 w 1820"/>
                  <a:gd name="T93" fmla="*/ 0 h 20"/>
                  <a:gd name="T94" fmla="*/ 380 w 1820"/>
                  <a:gd name="T95" fmla="*/ 10 h 20"/>
                  <a:gd name="T96" fmla="*/ 370 w 1820"/>
                  <a:gd name="T97" fmla="*/ 20 h 20"/>
                  <a:gd name="T98" fmla="*/ 130 w 1820"/>
                  <a:gd name="T99" fmla="*/ 20 h 20"/>
                  <a:gd name="T100" fmla="*/ 10 w 1820"/>
                  <a:gd name="T101" fmla="*/ 20 h 20"/>
                  <a:gd name="T102" fmla="*/ 0 w 1820"/>
                  <a:gd name="T103" fmla="*/ 10 h 20"/>
                  <a:gd name="T104" fmla="*/ 10 w 1820"/>
                  <a:gd name="T105" fmla="*/ 0 h 20"/>
                  <a:gd name="T106" fmla="*/ 130 w 1820"/>
                  <a:gd name="T107" fmla="*/ 0 h 20"/>
                  <a:gd name="T108" fmla="*/ 140 w 1820"/>
                  <a:gd name="T109" fmla="*/ 10 h 20"/>
                  <a:gd name="T110" fmla="*/ 130 w 1820"/>
                  <a:gd name="T11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20" h="20">
                    <a:moveTo>
                      <a:pt x="1810" y="20"/>
                    </a:moveTo>
                    <a:cubicBezTo>
                      <a:pt x="1690" y="20"/>
                      <a:pt x="1690" y="20"/>
                      <a:pt x="1690" y="20"/>
                    </a:cubicBezTo>
                    <a:cubicBezTo>
                      <a:pt x="1684" y="20"/>
                      <a:pt x="1680" y="16"/>
                      <a:pt x="1680" y="10"/>
                    </a:cubicBezTo>
                    <a:cubicBezTo>
                      <a:pt x="1680" y="4"/>
                      <a:pt x="1684" y="0"/>
                      <a:pt x="1690" y="0"/>
                    </a:cubicBezTo>
                    <a:cubicBezTo>
                      <a:pt x="1810" y="0"/>
                      <a:pt x="1810" y="0"/>
                      <a:pt x="1810" y="0"/>
                    </a:cubicBezTo>
                    <a:cubicBezTo>
                      <a:pt x="1816" y="0"/>
                      <a:pt x="1820" y="4"/>
                      <a:pt x="1820" y="10"/>
                    </a:cubicBezTo>
                    <a:cubicBezTo>
                      <a:pt x="1820" y="16"/>
                      <a:pt x="1816" y="20"/>
                      <a:pt x="1810" y="20"/>
                    </a:cubicBezTo>
                    <a:close/>
                    <a:moveTo>
                      <a:pt x="1570" y="20"/>
                    </a:moveTo>
                    <a:cubicBezTo>
                      <a:pt x="1450" y="20"/>
                      <a:pt x="1450" y="20"/>
                      <a:pt x="1450" y="20"/>
                    </a:cubicBezTo>
                    <a:cubicBezTo>
                      <a:pt x="1444" y="20"/>
                      <a:pt x="1440" y="16"/>
                      <a:pt x="1440" y="10"/>
                    </a:cubicBezTo>
                    <a:cubicBezTo>
                      <a:pt x="1440" y="4"/>
                      <a:pt x="1444" y="0"/>
                      <a:pt x="1450" y="0"/>
                    </a:cubicBezTo>
                    <a:cubicBezTo>
                      <a:pt x="1570" y="0"/>
                      <a:pt x="1570" y="0"/>
                      <a:pt x="1570" y="0"/>
                    </a:cubicBezTo>
                    <a:cubicBezTo>
                      <a:pt x="1576" y="0"/>
                      <a:pt x="1580" y="4"/>
                      <a:pt x="1580" y="10"/>
                    </a:cubicBezTo>
                    <a:cubicBezTo>
                      <a:pt x="1580" y="16"/>
                      <a:pt x="1576" y="20"/>
                      <a:pt x="1570" y="20"/>
                    </a:cubicBezTo>
                    <a:close/>
                    <a:moveTo>
                      <a:pt x="1330" y="20"/>
                    </a:moveTo>
                    <a:cubicBezTo>
                      <a:pt x="1210" y="20"/>
                      <a:pt x="1210" y="20"/>
                      <a:pt x="1210" y="20"/>
                    </a:cubicBezTo>
                    <a:cubicBezTo>
                      <a:pt x="1204" y="20"/>
                      <a:pt x="1200" y="16"/>
                      <a:pt x="1200" y="10"/>
                    </a:cubicBezTo>
                    <a:cubicBezTo>
                      <a:pt x="1200" y="4"/>
                      <a:pt x="1204" y="0"/>
                      <a:pt x="1210" y="0"/>
                    </a:cubicBezTo>
                    <a:cubicBezTo>
                      <a:pt x="1330" y="0"/>
                      <a:pt x="1330" y="0"/>
                      <a:pt x="1330" y="0"/>
                    </a:cubicBezTo>
                    <a:cubicBezTo>
                      <a:pt x="1336" y="0"/>
                      <a:pt x="1340" y="4"/>
                      <a:pt x="1340" y="10"/>
                    </a:cubicBezTo>
                    <a:cubicBezTo>
                      <a:pt x="1340" y="16"/>
                      <a:pt x="1336" y="20"/>
                      <a:pt x="1330" y="20"/>
                    </a:cubicBezTo>
                    <a:close/>
                    <a:moveTo>
                      <a:pt x="1090" y="20"/>
                    </a:moveTo>
                    <a:cubicBezTo>
                      <a:pt x="970" y="20"/>
                      <a:pt x="970" y="20"/>
                      <a:pt x="970" y="20"/>
                    </a:cubicBezTo>
                    <a:cubicBezTo>
                      <a:pt x="964" y="20"/>
                      <a:pt x="960" y="16"/>
                      <a:pt x="960" y="10"/>
                    </a:cubicBezTo>
                    <a:cubicBezTo>
                      <a:pt x="960" y="4"/>
                      <a:pt x="964" y="0"/>
                      <a:pt x="970" y="0"/>
                    </a:cubicBezTo>
                    <a:cubicBezTo>
                      <a:pt x="1090" y="0"/>
                      <a:pt x="1090" y="0"/>
                      <a:pt x="1090" y="0"/>
                    </a:cubicBezTo>
                    <a:cubicBezTo>
                      <a:pt x="1096" y="0"/>
                      <a:pt x="1100" y="4"/>
                      <a:pt x="1100" y="10"/>
                    </a:cubicBezTo>
                    <a:cubicBezTo>
                      <a:pt x="1100" y="16"/>
                      <a:pt x="1096" y="20"/>
                      <a:pt x="1090" y="20"/>
                    </a:cubicBezTo>
                    <a:close/>
                    <a:moveTo>
                      <a:pt x="850" y="20"/>
                    </a:moveTo>
                    <a:cubicBezTo>
                      <a:pt x="730" y="20"/>
                      <a:pt x="730" y="20"/>
                      <a:pt x="730" y="20"/>
                    </a:cubicBezTo>
                    <a:cubicBezTo>
                      <a:pt x="724" y="20"/>
                      <a:pt x="720" y="16"/>
                      <a:pt x="720" y="10"/>
                    </a:cubicBezTo>
                    <a:cubicBezTo>
                      <a:pt x="720" y="4"/>
                      <a:pt x="724" y="0"/>
                      <a:pt x="730" y="0"/>
                    </a:cubicBezTo>
                    <a:cubicBezTo>
                      <a:pt x="850" y="0"/>
                      <a:pt x="850" y="0"/>
                      <a:pt x="850" y="0"/>
                    </a:cubicBezTo>
                    <a:cubicBezTo>
                      <a:pt x="856" y="0"/>
                      <a:pt x="860" y="4"/>
                      <a:pt x="860" y="10"/>
                    </a:cubicBezTo>
                    <a:cubicBezTo>
                      <a:pt x="860" y="16"/>
                      <a:pt x="856" y="20"/>
                      <a:pt x="850" y="20"/>
                    </a:cubicBezTo>
                    <a:close/>
                    <a:moveTo>
                      <a:pt x="610" y="20"/>
                    </a:moveTo>
                    <a:cubicBezTo>
                      <a:pt x="490" y="20"/>
                      <a:pt x="490" y="20"/>
                      <a:pt x="490" y="20"/>
                    </a:cubicBezTo>
                    <a:cubicBezTo>
                      <a:pt x="484" y="20"/>
                      <a:pt x="480" y="16"/>
                      <a:pt x="480" y="10"/>
                    </a:cubicBezTo>
                    <a:cubicBezTo>
                      <a:pt x="480" y="4"/>
                      <a:pt x="484" y="0"/>
                      <a:pt x="490" y="0"/>
                    </a:cubicBezTo>
                    <a:cubicBezTo>
                      <a:pt x="610" y="0"/>
                      <a:pt x="610" y="0"/>
                      <a:pt x="610" y="0"/>
                    </a:cubicBezTo>
                    <a:cubicBezTo>
                      <a:pt x="616" y="0"/>
                      <a:pt x="620" y="4"/>
                      <a:pt x="620" y="10"/>
                    </a:cubicBezTo>
                    <a:cubicBezTo>
                      <a:pt x="620" y="16"/>
                      <a:pt x="616" y="20"/>
                      <a:pt x="610" y="20"/>
                    </a:cubicBezTo>
                    <a:close/>
                    <a:moveTo>
                      <a:pt x="370" y="20"/>
                    </a:moveTo>
                    <a:cubicBezTo>
                      <a:pt x="250" y="20"/>
                      <a:pt x="250" y="20"/>
                      <a:pt x="250" y="20"/>
                    </a:cubicBezTo>
                    <a:cubicBezTo>
                      <a:pt x="244" y="20"/>
                      <a:pt x="240" y="16"/>
                      <a:pt x="240" y="10"/>
                    </a:cubicBezTo>
                    <a:cubicBezTo>
                      <a:pt x="240" y="4"/>
                      <a:pt x="244" y="0"/>
                      <a:pt x="250" y="0"/>
                    </a:cubicBezTo>
                    <a:cubicBezTo>
                      <a:pt x="370" y="0"/>
                      <a:pt x="370" y="0"/>
                      <a:pt x="370" y="0"/>
                    </a:cubicBezTo>
                    <a:cubicBezTo>
                      <a:pt x="376" y="0"/>
                      <a:pt x="380" y="4"/>
                      <a:pt x="380" y="10"/>
                    </a:cubicBezTo>
                    <a:cubicBezTo>
                      <a:pt x="380" y="16"/>
                      <a:pt x="376" y="20"/>
                      <a:pt x="370" y="20"/>
                    </a:cubicBezTo>
                    <a:close/>
                    <a:moveTo>
                      <a:pt x="130" y="20"/>
                    </a:moveTo>
                    <a:cubicBezTo>
                      <a:pt x="10" y="20"/>
                      <a:pt x="10" y="20"/>
                      <a:pt x="10" y="20"/>
                    </a:cubicBezTo>
                    <a:cubicBezTo>
                      <a:pt x="4" y="20"/>
                      <a:pt x="0" y="16"/>
                      <a:pt x="0" y="10"/>
                    </a:cubicBezTo>
                    <a:cubicBezTo>
                      <a:pt x="0" y="4"/>
                      <a:pt x="4" y="0"/>
                      <a:pt x="10" y="0"/>
                    </a:cubicBezTo>
                    <a:cubicBezTo>
                      <a:pt x="130" y="0"/>
                      <a:pt x="130" y="0"/>
                      <a:pt x="130" y="0"/>
                    </a:cubicBezTo>
                    <a:cubicBezTo>
                      <a:pt x="136" y="0"/>
                      <a:pt x="140" y="4"/>
                      <a:pt x="140" y="10"/>
                    </a:cubicBezTo>
                    <a:cubicBezTo>
                      <a:pt x="140" y="16"/>
                      <a:pt x="136" y="20"/>
                      <a:pt x="13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1" name="Freeform 10"/>
              <p:cNvSpPr>
                <a:spLocks/>
              </p:cNvSpPr>
              <p:nvPr/>
            </p:nvSpPr>
            <p:spPr bwMode="auto">
              <a:xfrm>
                <a:off x="3308111" y="3375656"/>
                <a:ext cx="137594" cy="124956"/>
              </a:xfrm>
              <a:custGeom>
                <a:avLst/>
                <a:gdLst>
                  <a:gd name="T0" fmla="*/ 46 w 85"/>
                  <a:gd name="T1" fmla="*/ 77 h 77"/>
                  <a:gd name="T2" fmla="*/ 41 w 85"/>
                  <a:gd name="T3" fmla="*/ 76 h 77"/>
                  <a:gd name="T4" fmla="*/ 37 w 85"/>
                  <a:gd name="T5" fmla="*/ 63 h 77"/>
                  <a:gd name="T6" fmla="*/ 58 w 85"/>
                  <a:gd name="T7" fmla="*/ 20 h 77"/>
                  <a:gd name="T8" fmla="*/ 10 w 85"/>
                  <a:gd name="T9" fmla="*/ 20 h 77"/>
                  <a:gd name="T10" fmla="*/ 0 w 85"/>
                  <a:gd name="T11" fmla="*/ 10 h 77"/>
                  <a:gd name="T12" fmla="*/ 10 w 85"/>
                  <a:gd name="T13" fmla="*/ 0 h 77"/>
                  <a:gd name="T14" fmla="*/ 74 w 85"/>
                  <a:gd name="T15" fmla="*/ 0 h 77"/>
                  <a:gd name="T16" fmla="*/ 83 w 85"/>
                  <a:gd name="T17" fmla="*/ 5 h 77"/>
                  <a:gd name="T18" fmla="*/ 83 w 85"/>
                  <a:gd name="T19" fmla="*/ 14 h 77"/>
                  <a:gd name="T20" fmla="*/ 54 w 85"/>
                  <a:gd name="T21" fmla="*/ 72 h 77"/>
                  <a:gd name="T22" fmla="*/ 46 w 85"/>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77">
                    <a:moveTo>
                      <a:pt x="46" y="77"/>
                    </a:moveTo>
                    <a:cubicBezTo>
                      <a:pt x="44" y="77"/>
                      <a:pt x="42" y="77"/>
                      <a:pt x="41" y="76"/>
                    </a:cubicBezTo>
                    <a:cubicBezTo>
                      <a:pt x="36" y="74"/>
                      <a:pt x="34" y="68"/>
                      <a:pt x="37" y="63"/>
                    </a:cubicBezTo>
                    <a:cubicBezTo>
                      <a:pt x="58" y="20"/>
                      <a:pt x="58" y="20"/>
                      <a:pt x="58" y="20"/>
                    </a:cubicBezTo>
                    <a:cubicBezTo>
                      <a:pt x="10" y="20"/>
                      <a:pt x="10" y="20"/>
                      <a:pt x="10" y="20"/>
                    </a:cubicBezTo>
                    <a:cubicBezTo>
                      <a:pt x="4" y="20"/>
                      <a:pt x="0" y="16"/>
                      <a:pt x="0" y="10"/>
                    </a:cubicBezTo>
                    <a:cubicBezTo>
                      <a:pt x="0" y="4"/>
                      <a:pt x="4" y="0"/>
                      <a:pt x="10" y="0"/>
                    </a:cubicBezTo>
                    <a:cubicBezTo>
                      <a:pt x="74" y="0"/>
                      <a:pt x="74" y="0"/>
                      <a:pt x="74" y="0"/>
                    </a:cubicBezTo>
                    <a:cubicBezTo>
                      <a:pt x="78" y="0"/>
                      <a:pt x="81" y="2"/>
                      <a:pt x="83" y="5"/>
                    </a:cubicBezTo>
                    <a:cubicBezTo>
                      <a:pt x="85" y="8"/>
                      <a:pt x="85" y="11"/>
                      <a:pt x="83" y="14"/>
                    </a:cubicBezTo>
                    <a:cubicBezTo>
                      <a:pt x="54" y="72"/>
                      <a:pt x="54" y="72"/>
                      <a:pt x="54" y="72"/>
                    </a:cubicBezTo>
                    <a:cubicBezTo>
                      <a:pt x="53" y="75"/>
                      <a:pt x="49" y="77"/>
                      <a:pt x="46"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2" name="Freeform 11"/>
              <p:cNvSpPr>
                <a:spLocks noEditPoints="1"/>
              </p:cNvSpPr>
              <p:nvPr/>
            </p:nvSpPr>
            <p:spPr bwMode="auto">
              <a:xfrm>
                <a:off x="2969415" y="3659457"/>
                <a:ext cx="332344" cy="629020"/>
              </a:xfrm>
              <a:custGeom>
                <a:avLst/>
                <a:gdLst>
                  <a:gd name="T0" fmla="*/ 11 w 207"/>
                  <a:gd name="T1" fmla="*/ 390 h 390"/>
                  <a:gd name="T2" fmla="*/ 7 w 207"/>
                  <a:gd name="T3" fmla="*/ 389 h 390"/>
                  <a:gd name="T4" fmla="*/ 3 w 207"/>
                  <a:gd name="T5" fmla="*/ 375 h 390"/>
                  <a:gd name="T6" fmla="*/ 64 w 207"/>
                  <a:gd name="T7" fmla="*/ 253 h 390"/>
                  <a:gd name="T8" fmla="*/ 77 w 207"/>
                  <a:gd name="T9" fmla="*/ 248 h 390"/>
                  <a:gd name="T10" fmla="*/ 82 w 207"/>
                  <a:gd name="T11" fmla="*/ 261 h 390"/>
                  <a:gd name="T12" fmla="*/ 20 w 207"/>
                  <a:gd name="T13" fmla="*/ 384 h 390"/>
                  <a:gd name="T14" fmla="*/ 11 w 207"/>
                  <a:gd name="T15" fmla="*/ 390 h 390"/>
                  <a:gd name="T16" fmla="*/ 134 w 207"/>
                  <a:gd name="T17" fmla="*/ 144 h 390"/>
                  <a:gd name="T18" fmla="*/ 130 w 207"/>
                  <a:gd name="T19" fmla="*/ 143 h 390"/>
                  <a:gd name="T20" fmla="*/ 125 w 207"/>
                  <a:gd name="T21" fmla="*/ 130 h 390"/>
                  <a:gd name="T22" fmla="*/ 186 w 207"/>
                  <a:gd name="T23" fmla="*/ 7 h 390"/>
                  <a:gd name="T24" fmla="*/ 200 w 207"/>
                  <a:gd name="T25" fmla="*/ 3 h 390"/>
                  <a:gd name="T26" fmla="*/ 204 w 207"/>
                  <a:gd name="T27" fmla="*/ 16 h 390"/>
                  <a:gd name="T28" fmla="*/ 143 w 207"/>
                  <a:gd name="T29" fmla="*/ 139 h 390"/>
                  <a:gd name="T30" fmla="*/ 134 w 207"/>
                  <a:gd name="T31" fmla="*/ 144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390">
                    <a:moveTo>
                      <a:pt x="11" y="390"/>
                    </a:moveTo>
                    <a:cubicBezTo>
                      <a:pt x="10" y="390"/>
                      <a:pt x="8" y="389"/>
                      <a:pt x="7" y="389"/>
                    </a:cubicBezTo>
                    <a:cubicBezTo>
                      <a:pt x="2" y="386"/>
                      <a:pt x="0" y="380"/>
                      <a:pt x="3" y="375"/>
                    </a:cubicBezTo>
                    <a:cubicBezTo>
                      <a:pt x="64" y="253"/>
                      <a:pt x="64" y="253"/>
                      <a:pt x="64" y="253"/>
                    </a:cubicBezTo>
                    <a:cubicBezTo>
                      <a:pt x="66" y="248"/>
                      <a:pt x="72" y="246"/>
                      <a:pt x="77" y="248"/>
                    </a:cubicBezTo>
                    <a:cubicBezTo>
                      <a:pt x="82" y="251"/>
                      <a:pt x="84" y="257"/>
                      <a:pt x="82" y="261"/>
                    </a:cubicBezTo>
                    <a:cubicBezTo>
                      <a:pt x="20" y="384"/>
                      <a:pt x="20" y="384"/>
                      <a:pt x="20" y="384"/>
                    </a:cubicBezTo>
                    <a:cubicBezTo>
                      <a:pt x="19" y="388"/>
                      <a:pt x="15" y="390"/>
                      <a:pt x="11" y="390"/>
                    </a:cubicBezTo>
                    <a:close/>
                    <a:moveTo>
                      <a:pt x="134" y="144"/>
                    </a:moveTo>
                    <a:cubicBezTo>
                      <a:pt x="133" y="144"/>
                      <a:pt x="131" y="144"/>
                      <a:pt x="130" y="143"/>
                    </a:cubicBezTo>
                    <a:cubicBezTo>
                      <a:pt x="125" y="141"/>
                      <a:pt x="123" y="135"/>
                      <a:pt x="125" y="130"/>
                    </a:cubicBezTo>
                    <a:cubicBezTo>
                      <a:pt x="186" y="7"/>
                      <a:pt x="186" y="7"/>
                      <a:pt x="186" y="7"/>
                    </a:cubicBezTo>
                    <a:cubicBezTo>
                      <a:pt x="189" y="2"/>
                      <a:pt x="195" y="0"/>
                      <a:pt x="200" y="3"/>
                    </a:cubicBezTo>
                    <a:cubicBezTo>
                      <a:pt x="205" y="5"/>
                      <a:pt x="207" y="11"/>
                      <a:pt x="204" y="16"/>
                    </a:cubicBezTo>
                    <a:cubicBezTo>
                      <a:pt x="143" y="139"/>
                      <a:pt x="143" y="139"/>
                      <a:pt x="143" y="139"/>
                    </a:cubicBezTo>
                    <a:cubicBezTo>
                      <a:pt x="141" y="142"/>
                      <a:pt x="138" y="144"/>
                      <a:pt x="134" y="1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 name="Freeform 12"/>
              <p:cNvSpPr>
                <a:spLocks/>
              </p:cNvSpPr>
              <p:nvPr/>
            </p:nvSpPr>
            <p:spPr bwMode="auto">
              <a:xfrm>
                <a:off x="2825470" y="4447321"/>
                <a:ext cx="135478" cy="127075"/>
              </a:xfrm>
              <a:custGeom>
                <a:avLst/>
                <a:gdLst>
                  <a:gd name="T0" fmla="*/ 74 w 84"/>
                  <a:gd name="T1" fmla="*/ 79 h 79"/>
                  <a:gd name="T2" fmla="*/ 11 w 84"/>
                  <a:gd name="T3" fmla="*/ 79 h 79"/>
                  <a:gd name="T4" fmla="*/ 2 w 84"/>
                  <a:gd name="T5" fmla="*/ 74 h 79"/>
                  <a:gd name="T6" fmla="*/ 2 w 84"/>
                  <a:gd name="T7" fmla="*/ 65 h 79"/>
                  <a:gd name="T8" fmla="*/ 30 w 84"/>
                  <a:gd name="T9" fmla="*/ 7 h 79"/>
                  <a:gd name="T10" fmla="*/ 43 w 84"/>
                  <a:gd name="T11" fmla="*/ 3 h 79"/>
                  <a:gd name="T12" fmla="*/ 48 w 84"/>
                  <a:gd name="T13" fmla="*/ 16 h 79"/>
                  <a:gd name="T14" fmla="*/ 27 w 84"/>
                  <a:gd name="T15" fmla="*/ 59 h 79"/>
                  <a:gd name="T16" fmla="*/ 74 w 84"/>
                  <a:gd name="T17" fmla="*/ 59 h 79"/>
                  <a:gd name="T18" fmla="*/ 84 w 84"/>
                  <a:gd name="T19" fmla="*/ 69 h 79"/>
                  <a:gd name="T20" fmla="*/ 74 w 84"/>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79">
                    <a:moveTo>
                      <a:pt x="74" y="79"/>
                    </a:moveTo>
                    <a:cubicBezTo>
                      <a:pt x="11" y="79"/>
                      <a:pt x="11" y="79"/>
                      <a:pt x="11" y="79"/>
                    </a:cubicBezTo>
                    <a:cubicBezTo>
                      <a:pt x="7" y="79"/>
                      <a:pt x="4" y="77"/>
                      <a:pt x="2" y="74"/>
                    </a:cubicBezTo>
                    <a:cubicBezTo>
                      <a:pt x="0" y="71"/>
                      <a:pt x="0" y="68"/>
                      <a:pt x="2" y="65"/>
                    </a:cubicBezTo>
                    <a:cubicBezTo>
                      <a:pt x="30" y="7"/>
                      <a:pt x="30" y="7"/>
                      <a:pt x="30" y="7"/>
                    </a:cubicBezTo>
                    <a:cubicBezTo>
                      <a:pt x="32" y="2"/>
                      <a:pt x="38" y="0"/>
                      <a:pt x="43" y="3"/>
                    </a:cubicBezTo>
                    <a:cubicBezTo>
                      <a:pt x="48" y="5"/>
                      <a:pt x="50" y="11"/>
                      <a:pt x="48" y="16"/>
                    </a:cubicBezTo>
                    <a:cubicBezTo>
                      <a:pt x="27" y="59"/>
                      <a:pt x="27" y="59"/>
                      <a:pt x="27" y="59"/>
                    </a:cubicBezTo>
                    <a:cubicBezTo>
                      <a:pt x="74" y="59"/>
                      <a:pt x="74" y="59"/>
                      <a:pt x="74" y="59"/>
                    </a:cubicBezTo>
                    <a:cubicBezTo>
                      <a:pt x="80" y="59"/>
                      <a:pt x="84" y="63"/>
                      <a:pt x="84" y="69"/>
                    </a:cubicBezTo>
                    <a:cubicBezTo>
                      <a:pt x="84" y="75"/>
                      <a:pt x="80" y="79"/>
                      <a:pt x="74"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4" name="Freeform 13"/>
              <p:cNvSpPr>
                <a:spLocks noEditPoints="1"/>
              </p:cNvSpPr>
              <p:nvPr/>
            </p:nvSpPr>
            <p:spPr bwMode="auto">
              <a:xfrm>
                <a:off x="3134529" y="4542627"/>
                <a:ext cx="1475442" cy="31769"/>
              </a:xfrm>
              <a:custGeom>
                <a:avLst/>
                <a:gdLst>
                  <a:gd name="T0" fmla="*/ 906 w 916"/>
                  <a:gd name="T1" fmla="*/ 20 h 20"/>
                  <a:gd name="T2" fmla="*/ 778 w 916"/>
                  <a:gd name="T3" fmla="*/ 20 h 20"/>
                  <a:gd name="T4" fmla="*/ 768 w 916"/>
                  <a:gd name="T5" fmla="*/ 10 h 20"/>
                  <a:gd name="T6" fmla="*/ 778 w 916"/>
                  <a:gd name="T7" fmla="*/ 0 h 20"/>
                  <a:gd name="T8" fmla="*/ 906 w 916"/>
                  <a:gd name="T9" fmla="*/ 0 h 20"/>
                  <a:gd name="T10" fmla="*/ 916 w 916"/>
                  <a:gd name="T11" fmla="*/ 10 h 20"/>
                  <a:gd name="T12" fmla="*/ 906 w 916"/>
                  <a:gd name="T13" fmla="*/ 20 h 20"/>
                  <a:gd name="T14" fmla="*/ 650 w 916"/>
                  <a:gd name="T15" fmla="*/ 20 h 20"/>
                  <a:gd name="T16" fmla="*/ 522 w 916"/>
                  <a:gd name="T17" fmla="*/ 20 h 20"/>
                  <a:gd name="T18" fmla="*/ 512 w 916"/>
                  <a:gd name="T19" fmla="*/ 10 h 20"/>
                  <a:gd name="T20" fmla="*/ 522 w 916"/>
                  <a:gd name="T21" fmla="*/ 0 h 20"/>
                  <a:gd name="T22" fmla="*/ 650 w 916"/>
                  <a:gd name="T23" fmla="*/ 0 h 20"/>
                  <a:gd name="T24" fmla="*/ 660 w 916"/>
                  <a:gd name="T25" fmla="*/ 10 h 20"/>
                  <a:gd name="T26" fmla="*/ 650 w 916"/>
                  <a:gd name="T27" fmla="*/ 20 h 20"/>
                  <a:gd name="T28" fmla="*/ 394 w 916"/>
                  <a:gd name="T29" fmla="*/ 20 h 20"/>
                  <a:gd name="T30" fmla="*/ 266 w 916"/>
                  <a:gd name="T31" fmla="*/ 20 h 20"/>
                  <a:gd name="T32" fmla="*/ 256 w 916"/>
                  <a:gd name="T33" fmla="*/ 10 h 20"/>
                  <a:gd name="T34" fmla="*/ 266 w 916"/>
                  <a:gd name="T35" fmla="*/ 0 h 20"/>
                  <a:gd name="T36" fmla="*/ 394 w 916"/>
                  <a:gd name="T37" fmla="*/ 0 h 20"/>
                  <a:gd name="T38" fmla="*/ 404 w 916"/>
                  <a:gd name="T39" fmla="*/ 10 h 20"/>
                  <a:gd name="T40" fmla="*/ 394 w 916"/>
                  <a:gd name="T41" fmla="*/ 20 h 20"/>
                  <a:gd name="T42" fmla="*/ 138 w 916"/>
                  <a:gd name="T43" fmla="*/ 20 h 20"/>
                  <a:gd name="T44" fmla="*/ 10 w 916"/>
                  <a:gd name="T45" fmla="*/ 20 h 20"/>
                  <a:gd name="T46" fmla="*/ 0 w 916"/>
                  <a:gd name="T47" fmla="*/ 10 h 20"/>
                  <a:gd name="T48" fmla="*/ 10 w 916"/>
                  <a:gd name="T49" fmla="*/ 0 h 20"/>
                  <a:gd name="T50" fmla="*/ 138 w 916"/>
                  <a:gd name="T51" fmla="*/ 0 h 20"/>
                  <a:gd name="T52" fmla="*/ 148 w 916"/>
                  <a:gd name="T53" fmla="*/ 10 h 20"/>
                  <a:gd name="T54" fmla="*/ 138 w 916"/>
                  <a:gd name="T5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6" h="20">
                    <a:moveTo>
                      <a:pt x="906" y="20"/>
                    </a:moveTo>
                    <a:cubicBezTo>
                      <a:pt x="778" y="20"/>
                      <a:pt x="778" y="20"/>
                      <a:pt x="778" y="20"/>
                    </a:cubicBezTo>
                    <a:cubicBezTo>
                      <a:pt x="772" y="20"/>
                      <a:pt x="768" y="16"/>
                      <a:pt x="768" y="10"/>
                    </a:cubicBezTo>
                    <a:cubicBezTo>
                      <a:pt x="768" y="4"/>
                      <a:pt x="772" y="0"/>
                      <a:pt x="778" y="0"/>
                    </a:cubicBezTo>
                    <a:cubicBezTo>
                      <a:pt x="906" y="0"/>
                      <a:pt x="906" y="0"/>
                      <a:pt x="906" y="0"/>
                    </a:cubicBezTo>
                    <a:cubicBezTo>
                      <a:pt x="912" y="0"/>
                      <a:pt x="916" y="4"/>
                      <a:pt x="916" y="10"/>
                    </a:cubicBezTo>
                    <a:cubicBezTo>
                      <a:pt x="916" y="16"/>
                      <a:pt x="912" y="20"/>
                      <a:pt x="906" y="20"/>
                    </a:cubicBezTo>
                    <a:close/>
                    <a:moveTo>
                      <a:pt x="650" y="20"/>
                    </a:moveTo>
                    <a:cubicBezTo>
                      <a:pt x="522" y="20"/>
                      <a:pt x="522" y="20"/>
                      <a:pt x="522" y="20"/>
                    </a:cubicBezTo>
                    <a:cubicBezTo>
                      <a:pt x="516" y="20"/>
                      <a:pt x="512" y="16"/>
                      <a:pt x="512" y="10"/>
                    </a:cubicBezTo>
                    <a:cubicBezTo>
                      <a:pt x="512" y="4"/>
                      <a:pt x="516" y="0"/>
                      <a:pt x="522" y="0"/>
                    </a:cubicBezTo>
                    <a:cubicBezTo>
                      <a:pt x="650" y="0"/>
                      <a:pt x="650" y="0"/>
                      <a:pt x="650" y="0"/>
                    </a:cubicBezTo>
                    <a:cubicBezTo>
                      <a:pt x="656" y="0"/>
                      <a:pt x="660" y="4"/>
                      <a:pt x="660" y="10"/>
                    </a:cubicBezTo>
                    <a:cubicBezTo>
                      <a:pt x="660" y="16"/>
                      <a:pt x="656" y="20"/>
                      <a:pt x="650" y="20"/>
                    </a:cubicBezTo>
                    <a:close/>
                    <a:moveTo>
                      <a:pt x="394" y="20"/>
                    </a:moveTo>
                    <a:cubicBezTo>
                      <a:pt x="266" y="20"/>
                      <a:pt x="266" y="20"/>
                      <a:pt x="266" y="20"/>
                    </a:cubicBezTo>
                    <a:cubicBezTo>
                      <a:pt x="260" y="20"/>
                      <a:pt x="256" y="16"/>
                      <a:pt x="256" y="10"/>
                    </a:cubicBezTo>
                    <a:cubicBezTo>
                      <a:pt x="256" y="4"/>
                      <a:pt x="260" y="0"/>
                      <a:pt x="266" y="0"/>
                    </a:cubicBezTo>
                    <a:cubicBezTo>
                      <a:pt x="394" y="0"/>
                      <a:pt x="394" y="0"/>
                      <a:pt x="394" y="0"/>
                    </a:cubicBezTo>
                    <a:cubicBezTo>
                      <a:pt x="400" y="0"/>
                      <a:pt x="404" y="4"/>
                      <a:pt x="404" y="10"/>
                    </a:cubicBezTo>
                    <a:cubicBezTo>
                      <a:pt x="404" y="16"/>
                      <a:pt x="400" y="20"/>
                      <a:pt x="394" y="20"/>
                    </a:cubicBezTo>
                    <a:close/>
                    <a:moveTo>
                      <a:pt x="138" y="20"/>
                    </a:moveTo>
                    <a:cubicBezTo>
                      <a:pt x="10" y="20"/>
                      <a:pt x="10" y="20"/>
                      <a:pt x="10" y="20"/>
                    </a:cubicBezTo>
                    <a:cubicBezTo>
                      <a:pt x="4" y="20"/>
                      <a:pt x="0" y="16"/>
                      <a:pt x="0" y="10"/>
                    </a:cubicBezTo>
                    <a:cubicBezTo>
                      <a:pt x="0" y="4"/>
                      <a:pt x="4" y="0"/>
                      <a:pt x="10" y="0"/>
                    </a:cubicBezTo>
                    <a:cubicBezTo>
                      <a:pt x="138" y="0"/>
                      <a:pt x="138" y="0"/>
                      <a:pt x="138" y="0"/>
                    </a:cubicBezTo>
                    <a:cubicBezTo>
                      <a:pt x="144" y="0"/>
                      <a:pt x="148" y="4"/>
                      <a:pt x="148" y="10"/>
                    </a:cubicBezTo>
                    <a:cubicBezTo>
                      <a:pt x="148" y="16"/>
                      <a:pt x="144" y="20"/>
                      <a:pt x="138"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5" name="Freeform 14"/>
              <p:cNvSpPr>
                <a:spLocks/>
              </p:cNvSpPr>
              <p:nvPr/>
            </p:nvSpPr>
            <p:spPr bwMode="auto">
              <a:xfrm>
                <a:off x="4796254" y="4440967"/>
                <a:ext cx="152413" cy="133429"/>
              </a:xfrm>
              <a:custGeom>
                <a:avLst/>
                <a:gdLst>
                  <a:gd name="T0" fmla="*/ 74 w 95"/>
                  <a:gd name="T1" fmla="*/ 84 h 84"/>
                  <a:gd name="T2" fmla="*/ 10 w 95"/>
                  <a:gd name="T3" fmla="*/ 84 h 84"/>
                  <a:gd name="T4" fmla="*/ 0 w 95"/>
                  <a:gd name="T5" fmla="*/ 74 h 84"/>
                  <a:gd name="T6" fmla="*/ 10 w 95"/>
                  <a:gd name="T7" fmla="*/ 64 h 84"/>
                  <a:gd name="T8" fmla="*/ 66 w 95"/>
                  <a:gd name="T9" fmla="*/ 64 h 84"/>
                  <a:gd name="T10" fmla="*/ 74 w 95"/>
                  <a:gd name="T11" fmla="*/ 9 h 84"/>
                  <a:gd name="T12" fmla="*/ 86 w 95"/>
                  <a:gd name="T13" fmla="*/ 1 h 84"/>
                  <a:gd name="T14" fmla="*/ 94 w 95"/>
                  <a:gd name="T15" fmla="*/ 12 h 84"/>
                  <a:gd name="T16" fmla="*/ 84 w 95"/>
                  <a:gd name="T17" fmla="*/ 76 h 84"/>
                  <a:gd name="T18" fmla="*/ 74 w 95"/>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74" y="84"/>
                    </a:moveTo>
                    <a:cubicBezTo>
                      <a:pt x="10" y="84"/>
                      <a:pt x="10" y="84"/>
                      <a:pt x="10" y="84"/>
                    </a:cubicBezTo>
                    <a:cubicBezTo>
                      <a:pt x="4" y="84"/>
                      <a:pt x="0" y="80"/>
                      <a:pt x="0" y="74"/>
                    </a:cubicBezTo>
                    <a:cubicBezTo>
                      <a:pt x="0" y="68"/>
                      <a:pt x="4" y="64"/>
                      <a:pt x="10" y="64"/>
                    </a:cubicBezTo>
                    <a:cubicBezTo>
                      <a:pt x="66" y="64"/>
                      <a:pt x="66" y="64"/>
                      <a:pt x="66" y="64"/>
                    </a:cubicBezTo>
                    <a:cubicBezTo>
                      <a:pt x="74" y="9"/>
                      <a:pt x="74" y="9"/>
                      <a:pt x="74" y="9"/>
                    </a:cubicBezTo>
                    <a:cubicBezTo>
                      <a:pt x="75" y="4"/>
                      <a:pt x="80" y="0"/>
                      <a:pt x="86" y="1"/>
                    </a:cubicBezTo>
                    <a:cubicBezTo>
                      <a:pt x="91" y="2"/>
                      <a:pt x="95" y="7"/>
                      <a:pt x="94" y="12"/>
                    </a:cubicBezTo>
                    <a:cubicBezTo>
                      <a:pt x="84" y="76"/>
                      <a:pt x="84" y="76"/>
                      <a:pt x="84" y="76"/>
                    </a:cubicBezTo>
                    <a:cubicBezTo>
                      <a:pt x="84" y="80"/>
                      <a:pt x="79" y="84"/>
                      <a:pt x="74"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6" name="Freeform 15"/>
              <p:cNvSpPr>
                <a:spLocks/>
              </p:cNvSpPr>
              <p:nvPr/>
            </p:nvSpPr>
            <p:spPr bwMode="auto">
              <a:xfrm>
                <a:off x="4933849" y="4205879"/>
                <a:ext cx="52921" cy="152490"/>
              </a:xfrm>
              <a:custGeom>
                <a:avLst/>
                <a:gdLst>
                  <a:gd name="T0" fmla="*/ 11 w 33"/>
                  <a:gd name="T1" fmla="*/ 94 h 94"/>
                  <a:gd name="T2" fmla="*/ 9 w 33"/>
                  <a:gd name="T3" fmla="*/ 94 h 94"/>
                  <a:gd name="T4" fmla="*/ 1 w 33"/>
                  <a:gd name="T5" fmla="*/ 83 h 94"/>
                  <a:gd name="T6" fmla="*/ 12 w 33"/>
                  <a:gd name="T7" fmla="*/ 9 h 94"/>
                  <a:gd name="T8" fmla="*/ 23 w 33"/>
                  <a:gd name="T9" fmla="*/ 1 h 94"/>
                  <a:gd name="T10" fmla="*/ 32 w 33"/>
                  <a:gd name="T11" fmla="*/ 12 h 94"/>
                  <a:gd name="T12" fmla="*/ 20 w 33"/>
                  <a:gd name="T13" fmla="*/ 86 h 94"/>
                  <a:gd name="T14" fmla="*/ 11 w 33"/>
                  <a:gd name="T15" fmla="*/ 94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94">
                    <a:moveTo>
                      <a:pt x="11" y="94"/>
                    </a:moveTo>
                    <a:cubicBezTo>
                      <a:pt x="10" y="94"/>
                      <a:pt x="10" y="94"/>
                      <a:pt x="9" y="94"/>
                    </a:cubicBezTo>
                    <a:cubicBezTo>
                      <a:pt x="4" y="93"/>
                      <a:pt x="0" y="88"/>
                      <a:pt x="1" y="83"/>
                    </a:cubicBezTo>
                    <a:cubicBezTo>
                      <a:pt x="12" y="9"/>
                      <a:pt x="12" y="9"/>
                      <a:pt x="12" y="9"/>
                    </a:cubicBezTo>
                    <a:cubicBezTo>
                      <a:pt x="13" y="4"/>
                      <a:pt x="18" y="0"/>
                      <a:pt x="23" y="1"/>
                    </a:cubicBezTo>
                    <a:cubicBezTo>
                      <a:pt x="29" y="2"/>
                      <a:pt x="33" y="7"/>
                      <a:pt x="32" y="12"/>
                    </a:cubicBezTo>
                    <a:cubicBezTo>
                      <a:pt x="20" y="86"/>
                      <a:pt x="20" y="86"/>
                      <a:pt x="20" y="86"/>
                    </a:cubicBezTo>
                    <a:cubicBezTo>
                      <a:pt x="20" y="91"/>
                      <a:pt x="15" y="94"/>
                      <a:pt x="11"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7" name="Freeform 16"/>
              <p:cNvSpPr>
                <a:spLocks/>
              </p:cNvSpPr>
              <p:nvPr/>
            </p:nvSpPr>
            <p:spPr bwMode="auto">
              <a:xfrm>
                <a:off x="4971952" y="3987733"/>
                <a:ext cx="152413" cy="135547"/>
              </a:xfrm>
              <a:custGeom>
                <a:avLst/>
                <a:gdLst>
                  <a:gd name="T0" fmla="*/ 10 w 95"/>
                  <a:gd name="T1" fmla="*/ 83 h 83"/>
                  <a:gd name="T2" fmla="*/ 9 w 95"/>
                  <a:gd name="T3" fmla="*/ 83 h 83"/>
                  <a:gd name="T4" fmla="*/ 0 w 95"/>
                  <a:gd name="T5" fmla="*/ 72 h 83"/>
                  <a:gd name="T6" fmla="*/ 9 w 95"/>
                  <a:gd name="T7" fmla="*/ 9 h 83"/>
                  <a:gd name="T8" fmla="*/ 19 w 95"/>
                  <a:gd name="T9" fmla="*/ 0 h 83"/>
                  <a:gd name="T10" fmla="*/ 85 w 95"/>
                  <a:gd name="T11" fmla="*/ 0 h 83"/>
                  <a:gd name="T12" fmla="*/ 95 w 95"/>
                  <a:gd name="T13" fmla="*/ 10 h 83"/>
                  <a:gd name="T14" fmla="*/ 85 w 95"/>
                  <a:gd name="T15" fmla="*/ 20 h 83"/>
                  <a:gd name="T16" fmla="*/ 28 w 95"/>
                  <a:gd name="T17" fmla="*/ 20 h 83"/>
                  <a:gd name="T18" fmla="*/ 20 w 95"/>
                  <a:gd name="T19" fmla="*/ 75 h 83"/>
                  <a:gd name="T20" fmla="*/ 10 w 95"/>
                  <a:gd name="T2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83">
                    <a:moveTo>
                      <a:pt x="10" y="83"/>
                    </a:moveTo>
                    <a:cubicBezTo>
                      <a:pt x="10" y="83"/>
                      <a:pt x="9" y="83"/>
                      <a:pt x="9" y="83"/>
                    </a:cubicBezTo>
                    <a:cubicBezTo>
                      <a:pt x="3" y="82"/>
                      <a:pt x="0" y="77"/>
                      <a:pt x="0" y="72"/>
                    </a:cubicBezTo>
                    <a:cubicBezTo>
                      <a:pt x="9" y="9"/>
                      <a:pt x="9" y="9"/>
                      <a:pt x="9" y="9"/>
                    </a:cubicBezTo>
                    <a:cubicBezTo>
                      <a:pt x="10" y="4"/>
                      <a:pt x="14" y="0"/>
                      <a:pt x="19" y="0"/>
                    </a:cubicBezTo>
                    <a:cubicBezTo>
                      <a:pt x="85" y="0"/>
                      <a:pt x="85" y="0"/>
                      <a:pt x="85" y="0"/>
                    </a:cubicBezTo>
                    <a:cubicBezTo>
                      <a:pt x="91" y="0"/>
                      <a:pt x="95" y="4"/>
                      <a:pt x="95" y="10"/>
                    </a:cubicBezTo>
                    <a:cubicBezTo>
                      <a:pt x="95" y="16"/>
                      <a:pt x="91" y="20"/>
                      <a:pt x="85" y="20"/>
                    </a:cubicBezTo>
                    <a:cubicBezTo>
                      <a:pt x="28" y="20"/>
                      <a:pt x="28" y="20"/>
                      <a:pt x="28" y="20"/>
                    </a:cubicBezTo>
                    <a:cubicBezTo>
                      <a:pt x="20" y="75"/>
                      <a:pt x="20" y="75"/>
                      <a:pt x="20" y="75"/>
                    </a:cubicBezTo>
                    <a:cubicBezTo>
                      <a:pt x="19" y="80"/>
                      <a:pt x="15" y="83"/>
                      <a:pt x="10"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8" name="Freeform 17"/>
              <p:cNvSpPr>
                <a:spLocks noEditPoints="1"/>
              </p:cNvSpPr>
              <p:nvPr/>
            </p:nvSpPr>
            <p:spPr bwMode="auto">
              <a:xfrm>
                <a:off x="5272545" y="3987733"/>
                <a:ext cx="935646" cy="33887"/>
              </a:xfrm>
              <a:custGeom>
                <a:avLst/>
                <a:gdLst>
                  <a:gd name="T0" fmla="*/ 570 w 580"/>
                  <a:gd name="T1" fmla="*/ 20 h 20"/>
                  <a:gd name="T2" fmla="*/ 458 w 580"/>
                  <a:gd name="T3" fmla="*/ 20 h 20"/>
                  <a:gd name="T4" fmla="*/ 448 w 580"/>
                  <a:gd name="T5" fmla="*/ 10 h 20"/>
                  <a:gd name="T6" fmla="*/ 458 w 580"/>
                  <a:gd name="T7" fmla="*/ 0 h 20"/>
                  <a:gd name="T8" fmla="*/ 570 w 580"/>
                  <a:gd name="T9" fmla="*/ 0 h 20"/>
                  <a:gd name="T10" fmla="*/ 580 w 580"/>
                  <a:gd name="T11" fmla="*/ 10 h 20"/>
                  <a:gd name="T12" fmla="*/ 570 w 580"/>
                  <a:gd name="T13" fmla="*/ 20 h 20"/>
                  <a:gd name="T14" fmla="*/ 346 w 580"/>
                  <a:gd name="T15" fmla="*/ 20 h 20"/>
                  <a:gd name="T16" fmla="*/ 234 w 580"/>
                  <a:gd name="T17" fmla="*/ 20 h 20"/>
                  <a:gd name="T18" fmla="*/ 224 w 580"/>
                  <a:gd name="T19" fmla="*/ 10 h 20"/>
                  <a:gd name="T20" fmla="*/ 234 w 580"/>
                  <a:gd name="T21" fmla="*/ 0 h 20"/>
                  <a:gd name="T22" fmla="*/ 346 w 580"/>
                  <a:gd name="T23" fmla="*/ 0 h 20"/>
                  <a:gd name="T24" fmla="*/ 356 w 580"/>
                  <a:gd name="T25" fmla="*/ 10 h 20"/>
                  <a:gd name="T26" fmla="*/ 346 w 580"/>
                  <a:gd name="T27" fmla="*/ 20 h 20"/>
                  <a:gd name="T28" fmla="*/ 122 w 580"/>
                  <a:gd name="T29" fmla="*/ 20 h 20"/>
                  <a:gd name="T30" fmla="*/ 10 w 580"/>
                  <a:gd name="T31" fmla="*/ 20 h 20"/>
                  <a:gd name="T32" fmla="*/ 0 w 580"/>
                  <a:gd name="T33" fmla="*/ 10 h 20"/>
                  <a:gd name="T34" fmla="*/ 10 w 580"/>
                  <a:gd name="T35" fmla="*/ 0 h 20"/>
                  <a:gd name="T36" fmla="*/ 122 w 580"/>
                  <a:gd name="T37" fmla="*/ 0 h 20"/>
                  <a:gd name="T38" fmla="*/ 132 w 580"/>
                  <a:gd name="T39" fmla="*/ 10 h 20"/>
                  <a:gd name="T40" fmla="*/ 122 w 580"/>
                  <a:gd name="T4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0" h="20">
                    <a:moveTo>
                      <a:pt x="570" y="20"/>
                    </a:moveTo>
                    <a:cubicBezTo>
                      <a:pt x="458" y="20"/>
                      <a:pt x="458" y="20"/>
                      <a:pt x="458" y="20"/>
                    </a:cubicBezTo>
                    <a:cubicBezTo>
                      <a:pt x="452" y="20"/>
                      <a:pt x="448" y="16"/>
                      <a:pt x="448" y="10"/>
                    </a:cubicBezTo>
                    <a:cubicBezTo>
                      <a:pt x="448" y="4"/>
                      <a:pt x="452" y="0"/>
                      <a:pt x="458" y="0"/>
                    </a:cubicBezTo>
                    <a:cubicBezTo>
                      <a:pt x="570" y="0"/>
                      <a:pt x="570" y="0"/>
                      <a:pt x="570" y="0"/>
                    </a:cubicBezTo>
                    <a:cubicBezTo>
                      <a:pt x="576" y="0"/>
                      <a:pt x="580" y="4"/>
                      <a:pt x="580" y="10"/>
                    </a:cubicBezTo>
                    <a:cubicBezTo>
                      <a:pt x="580" y="16"/>
                      <a:pt x="576" y="20"/>
                      <a:pt x="570" y="20"/>
                    </a:cubicBezTo>
                    <a:close/>
                    <a:moveTo>
                      <a:pt x="346" y="20"/>
                    </a:moveTo>
                    <a:cubicBezTo>
                      <a:pt x="234" y="20"/>
                      <a:pt x="234" y="20"/>
                      <a:pt x="234" y="20"/>
                    </a:cubicBezTo>
                    <a:cubicBezTo>
                      <a:pt x="228" y="20"/>
                      <a:pt x="224" y="16"/>
                      <a:pt x="224" y="10"/>
                    </a:cubicBezTo>
                    <a:cubicBezTo>
                      <a:pt x="224" y="4"/>
                      <a:pt x="228" y="0"/>
                      <a:pt x="234" y="0"/>
                    </a:cubicBezTo>
                    <a:cubicBezTo>
                      <a:pt x="346" y="0"/>
                      <a:pt x="346" y="0"/>
                      <a:pt x="346" y="0"/>
                    </a:cubicBezTo>
                    <a:cubicBezTo>
                      <a:pt x="352" y="0"/>
                      <a:pt x="356" y="4"/>
                      <a:pt x="356" y="10"/>
                    </a:cubicBezTo>
                    <a:cubicBezTo>
                      <a:pt x="356" y="16"/>
                      <a:pt x="352" y="20"/>
                      <a:pt x="346" y="20"/>
                    </a:cubicBezTo>
                    <a:close/>
                    <a:moveTo>
                      <a:pt x="122" y="20"/>
                    </a:moveTo>
                    <a:cubicBezTo>
                      <a:pt x="10" y="20"/>
                      <a:pt x="10" y="20"/>
                      <a:pt x="10" y="20"/>
                    </a:cubicBezTo>
                    <a:cubicBezTo>
                      <a:pt x="4" y="20"/>
                      <a:pt x="0" y="16"/>
                      <a:pt x="0" y="10"/>
                    </a:cubicBezTo>
                    <a:cubicBezTo>
                      <a:pt x="0" y="4"/>
                      <a:pt x="4" y="0"/>
                      <a:pt x="10" y="0"/>
                    </a:cubicBezTo>
                    <a:cubicBezTo>
                      <a:pt x="122" y="0"/>
                      <a:pt x="122" y="0"/>
                      <a:pt x="122" y="0"/>
                    </a:cubicBezTo>
                    <a:cubicBezTo>
                      <a:pt x="128" y="0"/>
                      <a:pt x="132" y="4"/>
                      <a:pt x="132" y="10"/>
                    </a:cubicBezTo>
                    <a:cubicBezTo>
                      <a:pt x="132" y="16"/>
                      <a:pt x="128" y="20"/>
                      <a:pt x="122"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9" name="Freeform 18"/>
              <p:cNvSpPr>
                <a:spLocks/>
              </p:cNvSpPr>
              <p:nvPr/>
            </p:nvSpPr>
            <p:spPr bwMode="auto">
              <a:xfrm>
                <a:off x="6362720" y="3987733"/>
                <a:ext cx="162998" cy="133429"/>
              </a:xfrm>
              <a:custGeom>
                <a:avLst/>
                <a:gdLst>
                  <a:gd name="T0" fmla="*/ 90 w 101"/>
                  <a:gd name="T1" fmla="*/ 82 h 82"/>
                  <a:gd name="T2" fmla="*/ 80 w 101"/>
                  <a:gd name="T3" fmla="*/ 74 h 82"/>
                  <a:gd name="T4" fmla="*/ 67 w 101"/>
                  <a:gd name="T5" fmla="*/ 20 h 82"/>
                  <a:gd name="T6" fmla="*/ 10 w 101"/>
                  <a:gd name="T7" fmla="*/ 20 h 82"/>
                  <a:gd name="T8" fmla="*/ 0 w 101"/>
                  <a:gd name="T9" fmla="*/ 10 h 82"/>
                  <a:gd name="T10" fmla="*/ 10 w 101"/>
                  <a:gd name="T11" fmla="*/ 0 h 82"/>
                  <a:gd name="T12" fmla="*/ 74 w 101"/>
                  <a:gd name="T13" fmla="*/ 0 h 82"/>
                  <a:gd name="T14" fmla="*/ 84 w 101"/>
                  <a:gd name="T15" fmla="*/ 8 h 82"/>
                  <a:gd name="T16" fmla="*/ 100 w 101"/>
                  <a:gd name="T17" fmla="*/ 70 h 82"/>
                  <a:gd name="T18" fmla="*/ 93 w 101"/>
                  <a:gd name="T19" fmla="*/ 82 h 82"/>
                  <a:gd name="T20" fmla="*/ 90 w 101"/>
                  <a:gd name="T21"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82">
                    <a:moveTo>
                      <a:pt x="90" y="82"/>
                    </a:moveTo>
                    <a:cubicBezTo>
                      <a:pt x="86" y="82"/>
                      <a:pt x="82" y="79"/>
                      <a:pt x="80" y="74"/>
                    </a:cubicBezTo>
                    <a:cubicBezTo>
                      <a:pt x="67" y="20"/>
                      <a:pt x="67" y="20"/>
                      <a:pt x="67" y="20"/>
                    </a:cubicBezTo>
                    <a:cubicBezTo>
                      <a:pt x="10" y="20"/>
                      <a:pt x="10" y="20"/>
                      <a:pt x="10" y="20"/>
                    </a:cubicBezTo>
                    <a:cubicBezTo>
                      <a:pt x="4" y="20"/>
                      <a:pt x="0" y="16"/>
                      <a:pt x="0" y="10"/>
                    </a:cubicBezTo>
                    <a:cubicBezTo>
                      <a:pt x="0" y="4"/>
                      <a:pt x="4" y="0"/>
                      <a:pt x="10" y="0"/>
                    </a:cubicBezTo>
                    <a:cubicBezTo>
                      <a:pt x="74" y="0"/>
                      <a:pt x="74" y="0"/>
                      <a:pt x="74" y="0"/>
                    </a:cubicBezTo>
                    <a:cubicBezTo>
                      <a:pt x="79" y="0"/>
                      <a:pt x="83" y="3"/>
                      <a:pt x="84" y="8"/>
                    </a:cubicBezTo>
                    <a:cubicBezTo>
                      <a:pt x="100" y="70"/>
                      <a:pt x="100" y="70"/>
                      <a:pt x="100" y="70"/>
                    </a:cubicBezTo>
                    <a:cubicBezTo>
                      <a:pt x="101" y="75"/>
                      <a:pt x="98" y="80"/>
                      <a:pt x="93" y="82"/>
                    </a:cubicBezTo>
                    <a:cubicBezTo>
                      <a:pt x="92" y="82"/>
                      <a:pt x="91" y="82"/>
                      <a:pt x="90"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0" name="Freeform 19"/>
              <p:cNvSpPr>
                <a:spLocks/>
              </p:cNvSpPr>
              <p:nvPr/>
            </p:nvSpPr>
            <p:spPr bwMode="auto">
              <a:xfrm>
                <a:off x="6521484" y="4203760"/>
                <a:ext cx="63505" cy="154608"/>
              </a:xfrm>
              <a:custGeom>
                <a:avLst/>
                <a:gdLst>
                  <a:gd name="T0" fmla="*/ 30 w 41"/>
                  <a:gd name="T1" fmla="*/ 95 h 95"/>
                  <a:gd name="T2" fmla="*/ 20 w 41"/>
                  <a:gd name="T3" fmla="*/ 88 h 95"/>
                  <a:gd name="T4" fmla="*/ 2 w 41"/>
                  <a:gd name="T5" fmla="*/ 14 h 95"/>
                  <a:gd name="T6" fmla="*/ 9 w 41"/>
                  <a:gd name="T7" fmla="*/ 2 h 95"/>
                  <a:gd name="T8" fmla="*/ 21 w 41"/>
                  <a:gd name="T9" fmla="*/ 9 h 95"/>
                  <a:gd name="T10" fmla="*/ 40 w 41"/>
                  <a:gd name="T11" fmla="*/ 83 h 95"/>
                  <a:gd name="T12" fmla="*/ 33 w 41"/>
                  <a:gd name="T13" fmla="*/ 95 h 95"/>
                  <a:gd name="T14" fmla="*/ 30 w 41"/>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95">
                    <a:moveTo>
                      <a:pt x="30" y="95"/>
                    </a:moveTo>
                    <a:cubicBezTo>
                      <a:pt x="26" y="95"/>
                      <a:pt x="22" y="92"/>
                      <a:pt x="20" y="88"/>
                    </a:cubicBezTo>
                    <a:cubicBezTo>
                      <a:pt x="2" y="14"/>
                      <a:pt x="2" y="14"/>
                      <a:pt x="2" y="14"/>
                    </a:cubicBezTo>
                    <a:cubicBezTo>
                      <a:pt x="0" y="9"/>
                      <a:pt x="3" y="3"/>
                      <a:pt x="9" y="2"/>
                    </a:cubicBezTo>
                    <a:cubicBezTo>
                      <a:pt x="14" y="0"/>
                      <a:pt x="20" y="4"/>
                      <a:pt x="21" y="9"/>
                    </a:cubicBezTo>
                    <a:cubicBezTo>
                      <a:pt x="40" y="83"/>
                      <a:pt x="40" y="83"/>
                      <a:pt x="40" y="83"/>
                    </a:cubicBezTo>
                    <a:cubicBezTo>
                      <a:pt x="41" y="88"/>
                      <a:pt x="38" y="94"/>
                      <a:pt x="33" y="95"/>
                    </a:cubicBezTo>
                    <a:cubicBezTo>
                      <a:pt x="32" y="95"/>
                      <a:pt x="31" y="95"/>
                      <a:pt x="30"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1" name="Freeform 20"/>
              <p:cNvSpPr>
                <a:spLocks/>
              </p:cNvSpPr>
              <p:nvPr/>
            </p:nvSpPr>
            <p:spPr bwMode="auto">
              <a:xfrm>
                <a:off x="6580756" y="4440967"/>
                <a:ext cx="162997" cy="133429"/>
              </a:xfrm>
              <a:custGeom>
                <a:avLst/>
                <a:gdLst>
                  <a:gd name="T0" fmla="*/ 90 w 100"/>
                  <a:gd name="T1" fmla="*/ 83 h 83"/>
                  <a:gd name="T2" fmla="*/ 27 w 100"/>
                  <a:gd name="T3" fmla="*/ 83 h 83"/>
                  <a:gd name="T4" fmla="*/ 17 w 100"/>
                  <a:gd name="T5" fmla="*/ 76 h 83"/>
                  <a:gd name="T6" fmla="*/ 1 w 100"/>
                  <a:gd name="T7" fmla="*/ 14 h 83"/>
                  <a:gd name="T8" fmla="*/ 8 w 100"/>
                  <a:gd name="T9" fmla="*/ 1 h 83"/>
                  <a:gd name="T10" fmla="*/ 20 w 100"/>
                  <a:gd name="T11" fmla="*/ 8 h 83"/>
                  <a:gd name="T12" fmla="*/ 35 w 100"/>
                  <a:gd name="T13" fmla="*/ 63 h 83"/>
                  <a:gd name="T14" fmla="*/ 90 w 100"/>
                  <a:gd name="T15" fmla="*/ 63 h 83"/>
                  <a:gd name="T16" fmla="*/ 100 w 100"/>
                  <a:gd name="T17" fmla="*/ 73 h 83"/>
                  <a:gd name="T18" fmla="*/ 90 w 100"/>
                  <a:gd name="T1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83">
                    <a:moveTo>
                      <a:pt x="90" y="83"/>
                    </a:moveTo>
                    <a:cubicBezTo>
                      <a:pt x="27" y="83"/>
                      <a:pt x="27" y="83"/>
                      <a:pt x="27" y="83"/>
                    </a:cubicBezTo>
                    <a:cubicBezTo>
                      <a:pt x="23" y="83"/>
                      <a:pt x="19" y="80"/>
                      <a:pt x="17" y="76"/>
                    </a:cubicBezTo>
                    <a:cubicBezTo>
                      <a:pt x="1" y="14"/>
                      <a:pt x="1" y="14"/>
                      <a:pt x="1" y="14"/>
                    </a:cubicBezTo>
                    <a:cubicBezTo>
                      <a:pt x="0" y="8"/>
                      <a:pt x="3" y="3"/>
                      <a:pt x="8" y="1"/>
                    </a:cubicBezTo>
                    <a:cubicBezTo>
                      <a:pt x="13" y="0"/>
                      <a:pt x="19" y="3"/>
                      <a:pt x="20" y="8"/>
                    </a:cubicBezTo>
                    <a:cubicBezTo>
                      <a:pt x="35" y="63"/>
                      <a:pt x="35" y="63"/>
                      <a:pt x="35" y="63"/>
                    </a:cubicBezTo>
                    <a:cubicBezTo>
                      <a:pt x="90" y="63"/>
                      <a:pt x="90" y="63"/>
                      <a:pt x="90" y="63"/>
                    </a:cubicBezTo>
                    <a:cubicBezTo>
                      <a:pt x="96" y="63"/>
                      <a:pt x="100" y="67"/>
                      <a:pt x="100" y="73"/>
                    </a:cubicBezTo>
                    <a:cubicBezTo>
                      <a:pt x="100" y="79"/>
                      <a:pt x="96" y="83"/>
                      <a:pt x="90"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2" name="Freeform 21"/>
              <p:cNvSpPr>
                <a:spLocks noEditPoints="1"/>
              </p:cNvSpPr>
              <p:nvPr/>
            </p:nvSpPr>
            <p:spPr bwMode="auto">
              <a:xfrm>
                <a:off x="6946970" y="4542627"/>
                <a:ext cx="730313" cy="31769"/>
              </a:xfrm>
              <a:custGeom>
                <a:avLst/>
                <a:gdLst>
                  <a:gd name="T0" fmla="*/ 442 w 452"/>
                  <a:gd name="T1" fmla="*/ 20 h 20"/>
                  <a:gd name="T2" fmla="*/ 298 w 452"/>
                  <a:gd name="T3" fmla="*/ 20 h 20"/>
                  <a:gd name="T4" fmla="*/ 288 w 452"/>
                  <a:gd name="T5" fmla="*/ 10 h 20"/>
                  <a:gd name="T6" fmla="*/ 298 w 452"/>
                  <a:gd name="T7" fmla="*/ 0 h 20"/>
                  <a:gd name="T8" fmla="*/ 442 w 452"/>
                  <a:gd name="T9" fmla="*/ 0 h 20"/>
                  <a:gd name="T10" fmla="*/ 452 w 452"/>
                  <a:gd name="T11" fmla="*/ 10 h 20"/>
                  <a:gd name="T12" fmla="*/ 442 w 452"/>
                  <a:gd name="T13" fmla="*/ 20 h 20"/>
                  <a:gd name="T14" fmla="*/ 154 w 452"/>
                  <a:gd name="T15" fmla="*/ 20 h 20"/>
                  <a:gd name="T16" fmla="*/ 10 w 452"/>
                  <a:gd name="T17" fmla="*/ 20 h 20"/>
                  <a:gd name="T18" fmla="*/ 0 w 452"/>
                  <a:gd name="T19" fmla="*/ 10 h 20"/>
                  <a:gd name="T20" fmla="*/ 10 w 452"/>
                  <a:gd name="T21" fmla="*/ 0 h 20"/>
                  <a:gd name="T22" fmla="*/ 154 w 452"/>
                  <a:gd name="T23" fmla="*/ 0 h 20"/>
                  <a:gd name="T24" fmla="*/ 164 w 452"/>
                  <a:gd name="T25" fmla="*/ 10 h 20"/>
                  <a:gd name="T26" fmla="*/ 154 w 452"/>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2" h="20">
                    <a:moveTo>
                      <a:pt x="442" y="20"/>
                    </a:moveTo>
                    <a:cubicBezTo>
                      <a:pt x="298" y="20"/>
                      <a:pt x="298" y="20"/>
                      <a:pt x="298" y="20"/>
                    </a:cubicBezTo>
                    <a:cubicBezTo>
                      <a:pt x="292" y="20"/>
                      <a:pt x="288" y="16"/>
                      <a:pt x="288" y="10"/>
                    </a:cubicBezTo>
                    <a:cubicBezTo>
                      <a:pt x="288" y="4"/>
                      <a:pt x="292" y="0"/>
                      <a:pt x="298" y="0"/>
                    </a:cubicBezTo>
                    <a:cubicBezTo>
                      <a:pt x="442" y="0"/>
                      <a:pt x="442" y="0"/>
                      <a:pt x="442" y="0"/>
                    </a:cubicBezTo>
                    <a:cubicBezTo>
                      <a:pt x="448" y="0"/>
                      <a:pt x="452" y="4"/>
                      <a:pt x="452" y="10"/>
                    </a:cubicBezTo>
                    <a:cubicBezTo>
                      <a:pt x="452" y="16"/>
                      <a:pt x="448" y="20"/>
                      <a:pt x="442" y="20"/>
                    </a:cubicBezTo>
                    <a:close/>
                    <a:moveTo>
                      <a:pt x="154" y="20"/>
                    </a:moveTo>
                    <a:cubicBezTo>
                      <a:pt x="10" y="20"/>
                      <a:pt x="10" y="20"/>
                      <a:pt x="10" y="20"/>
                    </a:cubicBezTo>
                    <a:cubicBezTo>
                      <a:pt x="4" y="20"/>
                      <a:pt x="0" y="16"/>
                      <a:pt x="0" y="10"/>
                    </a:cubicBezTo>
                    <a:cubicBezTo>
                      <a:pt x="0" y="4"/>
                      <a:pt x="4" y="0"/>
                      <a:pt x="10" y="0"/>
                    </a:cubicBezTo>
                    <a:cubicBezTo>
                      <a:pt x="154" y="0"/>
                      <a:pt x="154" y="0"/>
                      <a:pt x="154" y="0"/>
                    </a:cubicBezTo>
                    <a:cubicBezTo>
                      <a:pt x="160" y="0"/>
                      <a:pt x="164" y="4"/>
                      <a:pt x="164" y="10"/>
                    </a:cubicBezTo>
                    <a:cubicBezTo>
                      <a:pt x="164" y="16"/>
                      <a:pt x="160" y="20"/>
                      <a:pt x="15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3" name="Freeform 22"/>
              <p:cNvSpPr>
                <a:spLocks/>
              </p:cNvSpPr>
              <p:nvPr/>
            </p:nvSpPr>
            <p:spPr bwMode="auto">
              <a:xfrm>
                <a:off x="7882616" y="4542627"/>
                <a:ext cx="182049" cy="127075"/>
              </a:xfrm>
              <a:custGeom>
                <a:avLst/>
                <a:gdLst>
                  <a:gd name="T0" fmla="*/ 100 w 112"/>
                  <a:gd name="T1" fmla="*/ 78 h 78"/>
                  <a:gd name="T2" fmla="*/ 91 w 112"/>
                  <a:gd name="T3" fmla="*/ 72 h 78"/>
                  <a:gd name="T4" fmla="*/ 66 w 112"/>
                  <a:gd name="T5" fmla="*/ 20 h 78"/>
                  <a:gd name="T6" fmla="*/ 10 w 112"/>
                  <a:gd name="T7" fmla="*/ 20 h 78"/>
                  <a:gd name="T8" fmla="*/ 0 w 112"/>
                  <a:gd name="T9" fmla="*/ 10 h 78"/>
                  <a:gd name="T10" fmla="*/ 10 w 112"/>
                  <a:gd name="T11" fmla="*/ 0 h 78"/>
                  <a:gd name="T12" fmla="*/ 72 w 112"/>
                  <a:gd name="T13" fmla="*/ 0 h 78"/>
                  <a:gd name="T14" fmla="*/ 81 w 112"/>
                  <a:gd name="T15" fmla="*/ 6 h 78"/>
                  <a:gd name="T16" fmla="*/ 109 w 112"/>
                  <a:gd name="T17" fmla="*/ 64 h 78"/>
                  <a:gd name="T18" fmla="*/ 105 w 112"/>
                  <a:gd name="T19" fmla="*/ 77 h 78"/>
                  <a:gd name="T20" fmla="*/ 100 w 112"/>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78">
                    <a:moveTo>
                      <a:pt x="100" y="78"/>
                    </a:moveTo>
                    <a:cubicBezTo>
                      <a:pt x="97" y="78"/>
                      <a:pt x="93" y="76"/>
                      <a:pt x="91" y="72"/>
                    </a:cubicBezTo>
                    <a:cubicBezTo>
                      <a:pt x="66" y="20"/>
                      <a:pt x="66" y="20"/>
                      <a:pt x="66" y="20"/>
                    </a:cubicBezTo>
                    <a:cubicBezTo>
                      <a:pt x="10" y="20"/>
                      <a:pt x="10" y="20"/>
                      <a:pt x="10" y="20"/>
                    </a:cubicBezTo>
                    <a:cubicBezTo>
                      <a:pt x="4" y="20"/>
                      <a:pt x="0" y="16"/>
                      <a:pt x="0" y="10"/>
                    </a:cubicBezTo>
                    <a:cubicBezTo>
                      <a:pt x="0" y="4"/>
                      <a:pt x="4" y="0"/>
                      <a:pt x="10" y="0"/>
                    </a:cubicBezTo>
                    <a:cubicBezTo>
                      <a:pt x="72" y="0"/>
                      <a:pt x="72" y="0"/>
                      <a:pt x="72" y="0"/>
                    </a:cubicBezTo>
                    <a:cubicBezTo>
                      <a:pt x="76" y="0"/>
                      <a:pt x="80" y="2"/>
                      <a:pt x="81" y="6"/>
                    </a:cubicBezTo>
                    <a:cubicBezTo>
                      <a:pt x="109" y="64"/>
                      <a:pt x="109" y="64"/>
                      <a:pt x="109" y="64"/>
                    </a:cubicBezTo>
                    <a:cubicBezTo>
                      <a:pt x="112" y="69"/>
                      <a:pt x="110" y="74"/>
                      <a:pt x="105" y="77"/>
                    </a:cubicBezTo>
                    <a:cubicBezTo>
                      <a:pt x="103" y="78"/>
                      <a:pt x="102" y="78"/>
                      <a:pt x="100"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4" name="Freeform 23"/>
              <p:cNvSpPr>
                <a:spLocks noEditPoints="1"/>
              </p:cNvSpPr>
              <p:nvPr/>
            </p:nvSpPr>
            <p:spPr bwMode="auto">
              <a:xfrm>
                <a:off x="8115470" y="4824310"/>
                <a:ext cx="304826" cy="605724"/>
              </a:xfrm>
              <a:custGeom>
                <a:avLst/>
                <a:gdLst>
                  <a:gd name="T0" fmla="*/ 177 w 189"/>
                  <a:gd name="T1" fmla="*/ 375 h 375"/>
                  <a:gd name="T2" fmla="*/ 168 w 189"/>
                  <a:gd name="T3" fmla="*/ 369 h 375"/>
                  <a:gd name="T4" fmla="*/ 113 w 189"/>
                  <a:gd name="T5" fmla="*/ 251 h 375"/>
                  <a:gd name="T6" fmla="*/ 118 w 189"/>
                  <a:gd name="T7" fmla="*/ 238 h 375"/>
                  <a:gd name="T8" fmla="*/ 131 w 189"/>
                  <a:gd name="T9" fmla="*/ 243 h 375"/>
                  <a:gd name="T10" fmla="*/ 186 w 189"/>
                  <a:gd name="T11" fmla="*/ 360 h 375"/>
                  <a:gd name="T12" fmla="*/ 181 w 189"/>
                  <a:gd name="T13" fmla="*/ 374 h 375"/>
                  <a:gd name="T14" fmla="*/ 177 w 189"/>
                  <a:gd name="T15" fmla="*/ 375 h 375"/>
                  <a:gd name="T16" fmla="*/ 66 w 189"/>
                  <a:gd name="T17" fmla="*/ 139 h 375"/>
                  <a:gd name="T18" fmla="*/ 57 w 189"/>
                  <a:gd name="T19" fmla="*/ 134 h 375"/>
                  <a:gd name="T20" fmla="*/ 2 w 189"/>
                  <a:gd name="T21" fmla="*/ 16 h 375"/>
                  <a:gd name="T22" fmla="*/ 7 w 189"/>
                  <a:gd name="T23" fmla="*/ 3 h 375"/>
                  <a:gd name="T24" fmla="*/ 20 w 189"/>
                  <a:gd name="T25" fmla="*/ 8 h 375"/>
                  <a:gd name="T26" fmla="*/ 75 w 189"/>
                  <a:gd name="T27" fmla="*/ 125 h 375"/>
                  <a:gd name="T28" fmla="*/ 71 w 189"/>
                  <a:gd name="T29" fmla="*/ 138 h 375"/>
                  <a:gd name="T30" fmla="*/ 66 w 189"/>
                  <a:gd name="T31" fmla="*/ 139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9" h="375">
                    <a:moveTo>
                      <a:pt x="177" y="375"/>
                    </a:moveTo>
                    <a:cubicBezTo>
                      <a:pt x="173" y="375"/>
                      <a:pt x="170" y="372"/>
                      <a:pt x="168" y="369"/>
                    </a:cubicBezTo>
                    <a:cubicBezTo>
                      <a:pt x="113" y="251"/>
                      <a:pt x="113" y="251"/>
                      <a:pt x="113" y="251"/>
                    </a:cubicBezTo>
                    <a:cubicBezTo>
                      <a:pt x="110" y="246"/>
                      <a:pt x="113" y="240"/>
                      <a:pt x="118" y="238"/>
                    </a:cubicBezTo>
                    <a:cubicBezTo>
                      <a:pt x="123" y="236"/>
                      <a:pt x="128" y="238"/>
                      <a:pt x="131" y="243"/>
                    </a:cubicBezTo>
                    <a:cubicBezTo>
                      <a:pt x="186" y="360"/>
                      <a:pt x="186" y="360"/>
                      <a:pt x="186" y="360"/>
                    </a:cubicBezTo>
                    <a:cubicBezTo>
                      <a:pt x="189" y="365"/>
                      <a:pt x="186" y="371"/>
                      <a:pt x="181" y="374"/>
                    </a:cubicBezTo>
                    <a:cubicBezTo>
                      <a:pt x="180" y="374"/>
                      <a:pt x="179" y="375"/>
                      <a:pt x="177" y="375"/>
                    </a:cubicBezTo>
                    <a:close/>
                    <a:moveTo>
                      <a:pt x="66" y="139"/>
                    </a:moveTo>
                    <a:cubicBezTo>
                      <a:pt x="63" y="139"/>
                      <a:pt x="59" y="137"/>
                      <a:pt x="57" y="134"/>
                    </a:cubicBezTo>
                    <a:cubicBezTo>
                      <a:pt x="2" y="16"/>
                      <a:pt x="2" y="16"/>
                      <a:pt x="2" y="16"/>
                    </a:cubicBezTo>
                    <a:cubicBezTo>
                      <a:pt x="0" y="11"/>
                      <a:pt x="2" y="5"/>
                      <a:pt x="7" y="3"/>
                    </a:cubicBezTo>
                    <a:cubicBezTo>
                      <a:pt x="12" y="0"/>
                      <a:pt x="18" y="3"/>
                      <a:pt x="20" y="8"/>
                    </a:cubicBezTo>
                    <a:cubicBezTo>
                      <a:pt x="75" y="125"/>
                      <a:pt x="75" y="125"/>
                      <a:pt x="75" y="125"/>
                    </a:cubicBezTo>
                    <a:cubicBezTo>
                      <a:pt x="78" y="130"/>
                      <a:pt x="76" y="136"/>
                      <a:pt x="71" y="138"/>
                    </a:cubicBezTo>
                    <a:cubicBezTo>
                      <a:pt x="69" y="139"/>
                      <a:pt x="68" y="139"/>
                      <a:pt x="66" y="1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5" name="Freeform 24"/>
              <p:cNvSpPr>
                <a:spLocks/>
              </p:cNvSpPr>
              <p:nvPr/>
            </p:nvSpPr>
            <p:spPr bwMode="auto">
              <a:xfrm>
                <a:off x="8468984" y="5582524"/>
                <a:ext cx="179931" cy="127075"/>
              </a:xfrm>
              <a:custGeom>
                <a:avLst/>
                <a:gdLst>
                  <a:gd name="T0" fmla="*/ 102 w 112"/>
                  <a:gd name="T1" fmla="*/ 79 h 79"/>
                  <a:gd name="T2" fmla="*/ 40 w 112"/>
                  <a:gd name="T3" fmla="*/ 79 h 79"/>
                  <a:gd name="T4" fmla="*/ 31 w 112"/>
                  <a:gd name="T5" fmla="*/ 73 h 79"/>
                  <a:gd name="T6" fmla="*/ 3 w 112"/>
                  <a:gd name="T7" fmla="*/ 15 h 79"/>
                  <a:gd name="T8" fmla="*/ 7 w 112"/>
                  <a:gd name="T9" fmla="*/ 2 h 79"/>
                  <a:gd name="T10" fmla="*/ 21 w 112"/>
                  <a:gd name="T11" fmla="*/ 7 h 79"/>
                  <a:gd name="T12" fmla="*/ 46 w 112"/>
                  <a:gd name="T13" fmla="*/ 59 h 79"/>
                  <a:gd name="T14" fmla="*/ 102 w 112"/>
                  <a:gd name="T15" fmla="*/ 59 h 79"/>
                  <a:gd name="T16" fmla="*/ 112 w 112"/>
                  <a:gd name="T17" fmla="*/ 69 h 79"/>
                  <a:gd name="T18" fmla="*/ 102 w 112"/>
                  <a:gd name="T1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79">
                    <a:moveTo>
                      <a:pt x="102" y="79"/>
                    </a:moveTo>
                    <a:cubicBezTo>
                      <a:pt x="40" y="79"/>
                      <a:pt x="40" y="79"/>
                      <a:pt x="40" y="79"/>
                    </a:cubicBezTo>
                    <a:cubicBezTo>
                      <a:pt x="36" y="79"/>
                      <a:pt x="32" y="77"/>
                      <a:pt x="31" y="73"/>
                    </a:cubicBezTo>
                    <a:cubicBezTo>
                      <a:pt x="3" y="15"/>
                      <a:pt x="3" y="15"/>
                      <a:pt x="3" y="15"/>
                    </a:cubicBezTo>
                    <a:cubicBezTo>
                      <a:pt x="0" y="11"/>
                      <a:pt x="2" y="5"/>
                      <a:pt x="7" y="2"/>
                    </a:cubicBezTo>
                    <a:cubicBezTo>
                      <a:pt x="12" y="0"/>
                      <a:pt x="18" y="2"/>
                      <a:pt x="21" y="7"/>
                    </a:cubicBezTo>
                    <a:cubicBezTo>
                      <a:pt x="46" y="59"/>
                      <a:pt x="46" y="59"/>
                      <a:pt x="46" y="59"/>
                    </a:cubicBezTo>
                    <a:cubicBezTo>
                      <a:pt x="102" y="59"/>
                      <a:pt x="102" y="59"/>
                      <a:pt x="102" y="59"/>
                    </a:cubicBezTo>
                    <a:cubicBezTo>
                      <a:pt x="108" y="59"/>
                      <a:pt x="112" y="63"/>
                      <a:pt x="112" y="69"/>
                    </a:cubicBezTo>
                    <a:cubicBezTo>
                      <a:pt x="112" y="75"/>
                      <a:pt x="108" y="79"/>
                      <a:pt x="102"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6" name="Freeform 25"/>
              <p:cNvSpPr>
                <a:spLocks noEditPoints="1"/>
              </p:cNvSpPr>
              <p:nvPr/>
            </p:nvSpPr>
            <p:spPr bwMode="auto">
              <a:xfrm>
                <a:off x="8828848" y="5677829"/>
                <a:ext cx="3126582" cy="31769"/>
              </a:xfrm>
              <a:custGeom>
                <a:avLst/>
                <a:gdLst>
                  <a:gd name="T0" fmla="*/ 1930 w 1940"/>
                  <a:gd name="T1" fmla="*/ 20 h 20"/>
                  <a:gd name="T2" fmla="*/ 1802 w 1940"/>
                  <a:gd name="T3" fmla="*/ 20 h 20"/>
                  <a:gd name="T4" fmla="*/ 1792 w 1940"/>
                  <a:gd name="T5" fmla="*/ 10 h 20"/>
                  <a:gd name="T6" fmla="*/ 1802 w 1940"/>
                  <a:gd name="T7" fmla="*/ 0 h 20"/>
                  <a:gd name="T8" fmla="*/ 1930 w 1940"/>
                  <a:gd name="T9" fmla="*/ 0 h 20"/>
                  <a:gd name="T10" fmla="*/ 1940 w 1940"/>
                  <a:gd name="T11" fmla="*/ 10 h 20"/>
                  <a:gd name="T12" fmla="*/ 1930 w 1940"/>
                  <a:gd name="T13" fmla="*/ 20 h 20"/>
                  <a:gd name="T14" fmla="*/ 1674 w 1940"/>
                  <a:gd name="T15" fmla="*/ 20 h 20"/>
                  <a:gd name="T16" fmla="*/ 1546 w 1940"/>
                  <a:gd name="T17" fmla="*/ 20 h 20"/>
                  <a:gd name="T18" fmla="*/ 1536 w 1940"/>
                  <a:gd name="T19" fmla="*/ 10 h 20"/>
                  <a:gd name="T20" fmla="*/ 1546 w 1940"/>
                  <a:gd name="T21" fmla="*/ 0 h 20"/>
                  <a:gd name="T22" fmla="*/ 1674 w 1940"/>
                  <a:gd name="T23" fmla="*/ 0 h 20"/>
                  <a:gd name="T24" fmla="*/ 1684 w 1940"/>
                  <a:gd name="T25" fmla="*/ 10 h 20"/>
                  <a:gd name="T26" fmla="*/ 1674 w 1940"/>
                  <a:gd name="T27" fmla="*/ 20 h 20"/>
                  <a:gd name="T28" fmla="*/ 1418 w 1940"/>
                  <a:gd name="T29" fmla="*/ 20 h 20"/>
                  <a:gd name="T30" fmla="*/ 1290 w 1940"/>
                  <a:gd name="T31" fmla="*/ 20 h 20"/>
                  <a:gd name="T32" fmla="*/ 1280 w 1940"/>
                  <a:gd name="T33" fmla="*/ 10 h 20"/>
                  <a:gd name="T34" fmla="*/ 1290 w 1940"/>
                  <a:gd name="T35" fmla="*/ 0 h 20"/>
                  <a:gd name="T36" fmla="*/ 1418 w 1940"/>
                  <a:gd name="T37" fmla="*/ 0 h 20"/>
                  <a:gd name="T38" fmla="*/ 1428 w 1940"/>
                  <a:gd name="T39" fmla="*/ 10 h 20"/>
                  <a:gd name="T40" fmla="*/ 1418 w 1940"/>
                  <a:gd name="T41" fmla="*/ 20 h 20"/>
                  <a:gd name="T42" fmla="*/ 1162 w 1940"/>
                  <a:gd name="T43" fmla="*/ 20 h 20"/>
                  <a:gd name="T44" fmla="*/ 1034 w 1940"/>
                  <a:gd name="T45" fmla="*/ 20 h 20"/>
                  <a:gd name="T46" fmla="*/ 1024 w 1940"/>
                  <a:gd name="T47" fmla="*/ 10 h 20"/>
                  <a:gd name="T48" fmla="*/ 1034 w 1940"/>
                  <a:gd name="T49" fmla="*/ 0 h 20"/>
                  <a:gd name="T50" fmla="*/ 1162 w 1940"/>
                  <a:gd name="T51" fmla="*/ 0 h 20"/>
                  <a:gd name="T52" fmla="*/ 1172 w 1940"/>
                  <a:gd name="T53" fmla="*/ 10 h 20"/>
                  <a:gd name="T54" fmla="*/ 1162 w 1940"/>
                  <a:gd name="T55" fmla="*/ 20 h 20"/>
                  <a:gd name="T56" fmla="*/ 906 w 1940"/>
                  <a:gd name="T57" fmla="*/ 20 h 20"/>
                  <a:gd name="T58" fmla="*/ 778 w 1940"/>
                  <a:gd name="T59" fmla="*/ 20 h 20"/>
                  <a:gd name="T60" fmla="*/ 768 w 1940"/>
                  <a:gd name="T61" fmla="*/ 10 h 20"/>
                  <a:gd name="T62" fmla="*/ 778 w 1940"/>
                  <a:gd name="T63" fmla="*/ 0 h 20"/>
                  <a:gd name="T64" fmla="*/ 906 w 1940"/>
                  <a:gd name="T65" fmla="*/ 0 h 20"/>
                  <a:gd name="T66" fmla="*/ 916 w 1940"/>
                  <a:gd name="T67" fmla="*/ 10 h 20"/>
                  <a:gd name="T68" fmla="*/ 906 w 1940"/>
                  <a:gd name="T69" fmla="*/ 20 h 20"/>
                  <a:gd name="T70" fmla="*/ 650 w 1940"/>
                  <a:gd name="T71" fmla="*/ 20 h 20"/>
                  <a:gd name="T72" fmla="*/ 522 w 1940"/>
                  <a:gd name="T73" fmla="*/ 20 h 20"/>
                  <a:gd name="T74" fmla="*/ 512 w 1940"/>
                  <a:gd name="T75" fmla="*/ 10 h 20"/>
                  <a:gd name="T76" fmla="*/ 522 w 1940"/>
                  <a:gd name="T77" fmla="*/ 0 h 20"/>
                  <a:gd name="T78" fmla="*/ 650 w 1940"/>
                  <a:gd name="T79" fmla="*/ 0 h 20"/>
                  <a:gd name="T80" fmla="*/ 660 w 1940"/>
                  <a:gd name="T81" fmla="*/ 10 h 20"/>
                  <a:gd name="T82" fmla="*/ 650 w 1940"/>
                  <a:gd name="T83" fmla="*/ 20 h 20"/>
                  <a:gd name="T84" fmla="*/ 394 w 1940"/>
                  <a:gd name="T85" fmla="*/ 20 h 20"/>
                  <a:gd name="T86" fmla="*/ 266 w 1940"/>
                  <a:gd name="T87" fmla="*/ 20 h 20"/>
                  <a:gd name="T88" fmla="*/ 256 w 1940"/>
                  <a:gd name="T89" fmla="*/ 10 h 20"/>
                  <a:gd name="T90" fmla="*/ 266 w 1940"/>
                  <a:gd name="T91" fmla="*/ 0 h 20"/>
                  <a:gd name="T92" fmla="*/ 394 w 1940"/>
                  <a:gd name="T93" fmla="*/ 0 h 20"/>
                  <a:gd name="T94" fmla="*/ 404 w 1940"/>
                  <a:gd name="T95" fmla="*/ 10 h 20"/>
                  <a:gd name="T96" fmla="*/ 394 w 1940"/>
                  <a:gd name="T97" fmla="*/ 20 h 20"/>
                  <a:gd name="T98" fmla="*/ 138 w 1940"/>
                  <a:gd name="T99" fmla="*/ 20 h 20"/>
                  <a:gd name="T100" fmla="*/ 10 w 1940"/>
                  <a:gd name="T101" fmla="*/ 20 h 20"/>
                  <a:gd name="T102" fmla="*/ 0 w 1940"/>
                  <a:gd name="T103" fmla="*/ 10 h 20"/>
                  <a:gd name="T104" fmla="*/ 10 w 1940"/>
                  <a:gd name="T105" fmla="*/ 0 h 20"/>
                  <a:gd name="T106" fmla="*/ 138 w 1940"/>
                  <a:gd name="T107" fmla="*/ 0 h 20"/>
                  <a:gd name="T108" fmla="*/ 148 w 1940"/>
                  <a:gd name="T109" fmla="*/ 10 h 20"/>
                  <a:gd name="T110" fmla="*/ 138 w 1940"/>
                  <a:gd name="T11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0" h="20">
                    <a:moveTo>
                      <a:pt x="1930" y="20"/>
                    </a:moveTo>
                    <a:cubicBezTo>
                      <a:pt x="1802" y="20"/>
                      <a:pt x="1802" y="20"/>
                      <a:pt x="1802" y="20"/>
                    </a:cubicBezTo>
                    <a:cubicBezTo>
                      <a:pt x="1796" y="20"/>
                      <a:pt x="1792" y="16"/>
                      <a:pt x="1792" y="10"/>
                    </a:cubicBezTo>
                    <a:cubicBezTo>
                      <a:pt x="1792" y="4"/>
                      <a:pt x="1796" y="0"/>
                      <a:pt x="1802" y="0"/>
                    </a:cubicBezTo>
                    <a:cubicBezTo>
                      <a:pt x="1930" y="0"/>
                      <a:pt x="1930" y="0"/>
                      <a:pt x="1930" y="0"/>
                    </a:cubicBezTo>
                    <a:cubicBezTo>
                      <a:pt x="1936" y="0"/>
                      <a:pt x="1940" y="4"/>
                      <a:pt x="1940" y="10"/>
                    </a:cubicBezTo>
                    <a:cubicBezTo>
                      <a:pt x="1940" y="16"/>
                      <a:pt x="1936" y="20"/>
                      <a:pt x="1930" y="20"/>
                    </a:cubicBezTo>
                    <a:close/>
                    <a:moveTo>
                      <a:pt x="1674" y="20"/>
                    </a:moveTo>
                    <a:cubicBezTo>
                      <a:pt x="1546" y="20"/>
                      <a:pt x="1546" y="20"/>
                      <a:pt x="1546" y="20"/>
                    </a:cubicBezTo>
                    <a:cubicBezTo>
                      <a:pt x="1540" y="20"/>
                      <a:pt x="1536" y="16"/>
                      <a:pt x="1536" y="10"/>
                    </a:cubicBezTo>
                    <a:cubicBezTo>
                      <a:pt x="1536" y="4"/>
                      <a:pt x="1540" y="0"/>
                      <a:pt x="1546" y="0"/>
                    </a:cubicBezTo>
                    <a:cubicBezTo>
                      <a:pt x="1674" y="0"/>
                      <a:pt x="1674" y="0"/>
                      <a:pt x="1674" y="0"/>
                    </a:cubicBezTo>
                    <a:cubicBezTo>
                      <a:pt x="1680" y="0"/>
                      <a:pt x="1684" y="4"/>
                      <a:pt x="1684" y="10"/>
                    </a:cubicBezTo>
                    <a:cubicBezTo>
                      <a:pt x="1684" y="16"/>
                      <a:pt x="1680" y="20"/>
                      <a:pt x="1674" y="20"/>
                    </a:cubicBezTo>
                    <a:close/>
                    <a:moveTo>
                      <a:pt x="1418" y="20"/>
                    </a:moveTo>
                    <a:cubicBezTo>
                      <a:pt x="1290" y="20"/>
                      <a:pt x="1290" y="20"/>
                      <a:pt x="1290" y="20"/>
                    </a:cubicBezTo>
                    <a:cubicBezTo>
                      <a:pt x="1284" y="20"/>
                      <a:pt x="1280" y="16"/>
                      <a:pt x="1280" y="10"/>
                    </a:cubicBezTo>
                    <a:cubicBezTo>
                      <a:pt x="1280" y="4"/>
                      <a:pt x="1284" y="0"/>
                      <a:pt x="1290" y="0"/>
                    </a:cubicBezTo>
                    <a:cubicBezTo>
                      <a:pt x="1418" y="0"/>
                      <a:pt x="1418" y="0"/>
                      <a:pt x="1418" y="0"/>
                    </a:cubicBezTo>
                    <a:cubicBezTo>
                      <a:pt x="1424" y="0"/>
                      <a:pt x="1428" y="4"/>
                      <a:pt x="1428" y="10"/>
                    </a:cubicBezTo>
                    <a:cubicBezTo>
                      <a:pt x="1428" y="16"/>
                      <a:pt x="1424" y="20"/>
                      <a:pt x="1418" y="20"/>
                    </a:cubicBezTo>
                    <a:close/>
                    <a:moveTo>
                      <a:pt x="1162" y="20"/>
                    </a:moveTo>
                    <a:cubicBezTo>
                      <a:pt x="1034" y="20"/>
                      <a:pt x="1034" y="20"/>
                      <a:pt x="1034" y="20"/>
                    </a:cubicBezTo>
                    <a:cubicBezTo>
                      <a:pt x="1028" y="20"/>
                      <a:pt x="1024" y="16"/>
                      <a:pt x="1024" y="10"/>
                    </a:cubicBezTo>
                    <a:cubicBezTo>
                      <a:pt x="1024" y="4"/>
                      <a:pt x="1028" y="0"/>
                      <a:pt x="1034" y="0"/>
                    </a:cubicBezTo>
                    <a:cubicBezTo>
                      <a:pt x="1162" y="0"/>
                      <a:pt x="1162" y="0"/>
                      <a:pt x="1162" y="0"/>
                    </a:cubicBezTo>
                    <a:cubicBezTo>
                      <a:pt x="1168" y="0"/>
                      <a:pt x="1172" y="4"/>
                      <a:pt x="1172" y="10"/>
                    </a:cubicBezTo>
                    <a:cubicBezTo>
                      <a:pt x="1172" y="16"/>
                      <a:pt x="1168" y="20"/>
                      <a:pt x="1162" y="20"/>
                    </a:cubicBezTo>
                    <a:close/>
                    <a:moveTo>
                      <a:pt x="906" y="20"/>
                    </a:moveTo>
                    <a:cubicBezTo>
                      <a:pt x="778" y="20"/>
                      <a:pt x="778" y="20"/>
                      <a:pt x="778" y="20"/>
                    </a:cubicBezTo>
                    <a:cubicBezTo>
                      <a:pt x="772" y="20"/>
                      <a:pt x="768" y="16"/>
                      <a:pt x="768" y="10"/>
                    </a:cubicBezTo>
                    <a:cubicBezTo>
                      <a:pt x="768" y="4"/>
                      <a:pt x="772" y="0"/>
                      <a:pt x="778" y="0"/>
                    </a:cubicBezTo>
                    <a:cubicBezTo>
                      <a:pt x="906" y="0"/>
                      <a:pt x="906" y="0"/>
                      <a:pt x="906" y="0"/>
                    </a:cubicBezTo>
                    <a:cubicBezTo>
                      <a:pt x="912" y="0"/>
                      <a:pt x="916" y="4"/>
                      <a:pt x="916" y="10"/>
                    </a:cubicBezTo>
                    <a:cubicBezTo>
                      <a:pt x="916" y="16"/>
                      <a:pt x="912" y="20"/>
                      <a:pt x="906" y="20"/>
                    </a:cubicBezTo>
                    <a:close/>
                    <a:moveTo>
                      <a:pt x="650" y="20"/>
                    </a:moveTo>
                    <a:cubicBezTo>
                      <a:pt x="522" y="20"/>
                      <a:pt x="522" y="20"/>
                      <a:pt x="522" y="20"/>
                    </a:cubicBezTo>
                    <a:cubicBezTo>
                      <a:pt x="516" y="20"/>
                      <a:pt x="512" y="16"/>
                      <a:pt x="512" y="10"/>
                    </a:cubicBezTo>
                    <a:cubicBezTo>
                      <a:pt x="512" y="4"/>
                      <a:pt x="516" y="0"/>
                      <a:pt x="522" y="0"/>
                    </a:cubicBezTo>
                    <a:cubicBezTo>
                      <a:pt x="650" y="0"/>
                      <a:pt x="650" y="0"/>
                      <a:pt x="650" y="0"/>
                    </a:cubicBezTo>
                    <a:cubicBezTo>
                      <a:pt x="656" y="0"/>
                      <a:pt x="660" y="4"/>
                      <a:pt x="660" y="10"/>
                    </a:cubicBezTo>
                    <a:cubicBezTo>
                      <a:pt x="660" y="16"/>
                      <a:pt x="656" y="20"/>
                      <a:pt x="650" y="20"/>
                    </a:cubicBezTo>
                    <a:close/>
                    <a:moveTo>
                      <a:pt x="394" y="20"/>
                    </a:moveTo>
                    <a:cubicBezTo>
                      <a:pt x="266" y="20"/>
                      <a:pt x="266" y="20"/>
                      <a:pt x="266" y="20"/>
                    </a:cubicBezTo>
                    <a:cubicBezTo>
                      <a:pt x="260" y="20"/>
                      <a:pt x="256" y="16"/>
                      <a:pt x="256" y="10"/>
                    </a:cubicBezTo>
                    <a:cubicBezTo>
                      <a:pt x="256" y="4"/>
                      <a:pt x="260" y="0"/>
                      <a:pt x="266" y="0"/>
                    </a:cubicBezTo>
                    <a:cubicBezTo>
                      <a:pt x="394" y="0"/>
                      <a:pt x="394" y="0"/>
                      <a:pt x="394" y="0"/>
                    </a:cubicBezTo>
                    <a:cubicBezTo>
                      <a:pt x="400" y="0"/>
                      <a:pt x="404" y="4"/>
                      <a:pt x="404" y="10"/>
                    </a:cubicBezTo>
                    <a:cubicBezTo>
                      <a:pt x="404" y="16"/>
                      <a:pt x="400" y="20"/>
                      <a:pt x="394" y="20"/>
                    </a:cubicBezTo>
                    <a:close/>
                    <a:moveTo>
                      <a:pt x="138" y="20"/>
                    </a:moveTo>
                    <a:cubicBezTo>
                      <a:pt x="10" y="20"/>
                      <a:pt x="10" y="20"/>
                      <a:pt x="10" y="20"/>
                    </a:cubicBezTo>
                    <a:cubicBezTo>
                      <a:pt x="4" y="20"/>
                      <a:pt x="0" y="16"/>
                      <a:pt x="0" y="10"/>
                    </a:cubicBezTo>
                    <a:cubicBezTo>
                      <a:pt x="0" y="4"/>
                      <a:pt x="4" y="0"/>
                      <a:pt x="10" y="0"/>
                    </a:cubicBezTo>
                    <a:cubicBezTo>
                      <a:pt x="138" y="0"/>
                      <a:pt x="138" y="0"/>
                      <a:pt x="138" y="0"/>
                    </a:cubicBezTo>
                    <a:cubicBezTo>
                      <a:pt x="144" y="0"/>
                      <a:pt x="148" y="4"/>
                      <a:pt x="148" y="10"/>
                    </a:cubicBezTo>
                    <a:cubicBezTo>
                      <a:pt x="148" y="16"/>
                      <a:pt x="144" y="20"/>
                      <a:pt x="138"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 name="Freeform 26"/>
              <p:cNvSpPr>
                <a:spLocks/>
              </p:cNvSpPr>
              <p:nvPr/>
            </p:nvSpPr>
            <p:spPr bwMode="auto">
              <a:xfrm>
                <a:off x="12173466" y="5677829"/>
                <a:ext cx="135478" cy="31769"/>
              </a:xfrm>
              <a:custGeom>
                <a:avLst/>
                <a:gdLst>
                  <a:gd name="T0" fmla="*/ 74 w 84"/>
                  <a:gd name="T1" fmla="*/ 20 h 20"/>
                  <a:gd name="T2" fmla="*/ 10 w 84"/>
                  <a:gd name="T3" fmla="*/ 20 h 20"/>
                  <a:gd name="T4" fmla="*/ 0 w 84"/>
                  <a:gd name="T5" fmla="*/ 10 h 20"/>
                  <a:gd name="T6" fmla="*/ 10 w 84"/>
                  <a:gd name="T7" fmla="*/ 0 h 20"/>
                  <a:gd name="T8" fmla="*/ 74 w 84"/>
                  <a:gd name="T9" fmla="*/ 0 h 20"/>
                  <a:gd name="T10" fmla="*/ 84 w 84"/>
                  <a:gd name="T11" fmla="*/ 10 h 20"/>
                  <a:gd name="T12" fmla="*/ 74 w 8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84" h="20">
                    <a:moveTo>
                      <a:pt x="74" y="20"/>
                    </a:moveTo>
                    <a:cubicBezTo>
                      <a:pt x="10" y="20"/>
                      <a:pt x="10" y="20"/>
                      <a:pt x="10" y="20"/>
                    </a:cubicBezTo>
                    <a:cubicBezTo>
                      <a:pt x="4" y="20"/>
                      <a:pt x="0" y="16"/>
                      <a:pt x="0" y="10"/>
                    </a:cubicBezTo>
                    <a:cubicBezTo>
                      <a:pt x="0" y="4"/>
                      <a:pt x="4" y="0"/>
                      <a:pt x="10" y="0"/>
                    </a:cubicBezTo>
                    <a:cubicBezTo>
                      <a:pt x="74" y="0"/>
                      <a:pt x="74" y="0"/>
                      <a:pt x="74" y="0"/>
                    </a:cubicBezTo>
                    <a:cubicBezTo>
                      <a:pt x="80" y="0"/>
                      <a:pt x="84" y="4"/>
                      <a:pt x="84" y="10"/>
                    </a:cubicBezTo>
                    <a:cubicBezTo>
                      <a:pt x="84" y="16"/>
                      <a:pt x="80" y="20"/>
                      <a:pt x="7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grpSp>
        <p:nvGrpSpPr>
          <p:cNvPr id="34" name="Group 33"/>
          <p:cNvGrpSpPr>
            <a:grpSpLocks/>
          </p:cNvGrpSpPr>
          <p:nvPr/>
        </p:nvGrpSpPr>
        <p:grpSpPr bwMode="auto">
          <a:xfrm>
            <a:off x="1716955" y="2105193"/>
            <a:ext cx="494157" cy="714723"/>
            <a:chOff x="2682876" y="1790701"/>
            <a:chExt cx="514350" cy="746125"/>
          </a:xfrm>
        </p:grpSpPr>
        <p:sp>
          <p:nvSpPr>
            <p:cNvPr id="31" name="Freeform 30"/>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1"/>
            </a:solidFill>
            <a:ln>
              <a:noFill/>
            </a:ln>
          </p:spPr>
          <p:txBody>
            <a:bodyPr lIns="68580" tIns="34290" rIns="68580" bIns="34290"/>
            <a:lstStyle/>
            <a:p>
              <a:pPr>
                <a:defRPr/>
              </a:pPr>
              <a:endParaRPr lang="en-US" sz="1350"/>
            </a:p>
          </p:txBody>
        </p:sp>
        <p:sp>
          <p:nvSpPr>
            <p:cNvPr id="32" name="Freeform 31"/>
            <p:cNvSpPr>
              <a:spLocks/>
            </p:cNvSpPr>
            <p:nvPr/>
          </p:nvSpPr>
          <p:spPr bwMode="auto">
            <a:xfrm>
              <a:off x="2941155" y="1790701"/>
              <a:ext cx="256071"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1">
                <a:lumMod val="75000"/>
              </a:schemeClr>
            </a:solidFill>
            <a:ln>
              <a:noFill/>
            </a:ln>
          </p:spPr>
          <p:txBody>
            <a:bodyPr lIns="68580" tIns="34290" rIns="68580" bIns="34290"/>
            <a:lstStyle/>
            <a:p>
              <a:pPr>
                <a:defRPr/>
              </a:pPr>
              <a:endParaRPr lang="en-US" sz="1350"/>
            </a:p>
          </p:txBody>
        </p:sp>
        <p:sp>
          <p:nvSpPr>
            <p:cNvPr id="33" name="Oval 32"/>
            <p:cNvSpPr>
              <a:spLocks noChangeArrowheads="1"/>
            </p:cNvSpPr>
            <p:nvPr/>
          </p:nvSpPr>
          <p:spPr bwMode="auto">
            <a:xfrm>
              <a:off x="2746894" y="1854907"/>
              <a:ext cx="386313" cy="383027"/>
            </a:xfrm>
            <a:prstGeom prst="ellipse">
              <a:avLst/>
            </a:prstGeom>
            <a:solidFill>
              <a:schemeClr val="bg2"/>
            </a:solidFill>
            <a:ln>
              <a:noFill/>
            </a:ln>
          </p:spPr>
          <p:txBody>
            <a:bodyPr lIns="68580" tIns="34290" rIns="68580" bIns="34290"/>
            <a:lstStyle/>
            <a:p>
              <a:pPr>
                <a:defRPr/>
              </a:pPr>
              <a:endParaRPr lang="en-US" sz="1350"/>
            </a:p>
          </p:txBody>
        </p:sp>
      </p:grpSp>
      <p:grpSp>
        <p:nvGrpSpPr>
          <p:cNvPr id="35" name="Group 34"/>
          <p:cNvGrpSpPr>
            <a:grpSpLocks/>
          </p:cNvGrpSpPr>
          <p:nvPr/>
        </p:nvGrpSpPr>
        <p:grpSpPr bwMode="auto">
          <a:xfrm>
            <a:off x="3865371" y="3286501"/>
            <a:ext cx="494156" cy="714725"/>
            <a:chOff x="2682876" y="1790701"/>
            <a:chExt cx="514350" cy="746125"/>
          </a:xfrm>
        </p:grpSpPr>
        <p:sp>
          <p:nvSpPr>
            <p:cNvPr id="36" name="Freeform 35"/>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2"/>
            </a:solidFill>
            <a:ln>
              <a:noFill/>
            </a:ln>
          </p:spPr>
          <p:txBody>
            <a:bodyPr lIns="68580" tIns="34290" rIns="68580" bIns="34290"/>
            <a:lstStyle/>
            <a:p>
              <a:pPr>
                <a:defRPr/>
              </a:pPr>
              <a:endParaRPr lang="en-US" sz="1350"/>
            </a:p>
          </p:txBody>
        </p:sp>
        <p:sp>
          <p:nvSpPr>
            <p:cNvPr id="37" name="Freeform 36"/>
            <p:cNvSpPr>
              <a:spLocks/>
            </p:cNvSpPr>
            <p:nvPr/>
          </p:nvSpPr>
          <p:spPr bwMode="auto">
            <a:xfrm>
              <a:off x="2941154" y="1790701"/>
              <a:ext cx="256072"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2">
                <a:lumMod val="75000"/>
              </a:schemeClr>
            </a:solidFill>
            <a:ln>
              <a:noFill/>
            </a:ln>
          </p:spPr>
          <p:txBody>
            <a:bodyPr lIns="68580" tIns="34290" rIns="68580" bIns="34290"/>
            <a:lstStyle/>
            <a:p>
              <a:pPr>
                <a:defRPr/>
              </a:pPr>
              <a:endParaRPr lang="en-US" sz="1350"/>
            </a:p>
          </p:txBody>
        </p:sp>
        <p:sp>
          <p:nvSpPr>
            <p:cNvPr id="38" name="Oval 37"/>
            <p:cNvSpPr>
              <a:spLocks noChangeArrowheads="1"/>
            </p:cNvSpPr>
            <p:nvPr/>
          </p:nvSpPr>
          <p:spPr bwMode="auto">
            <a:xfrm>
              <a:off x="2746893" y="1854908"/>
              <a:ext cx="386316" cy="383025"/>
            </a:xfrm>
            <a:prstGeom prst="ellipse">
              <a:avLst/>
            </a:prstGeom>
            <a:solidFill>
              <a:schemeClr val="bg2"/>
            </a:solidFill>
            <a:ln>
              <a:noFill/>
            </a:ln>
          </p:spPr>
          <p:txBody>
            <a:bodyPr lIns="68580" tIns="34290" rIns="68580" bIns="34290"/>
            <a:lstStyle/>
            <a:p>
              <a:pPr>
                <a:defRPr/>
              </a:pPr>
              <a:endParaRPr lang="en-US" sz="1350"/>
            </a:p>
          </p:txBody>
        </p:sp>
      </p:grpSp>
      <p:grpSp>
        <p:nvGrpSpPr>
          <p:cNvPr id="39" name="Group 38"/>
          <p:cNvGrpSpPr>
            <a:grpSpLocks/>
          </p:cNvGrpSpPr>
          <p:nvPr/>
        </p:nvGrpSpPr>
        <p:grpSpPr bwMode="auto">
          <a:xfrm>
            <a:off x="5962883" y="2667215"/>
            <a:ext cx="492036" cy="714725"/>
            <a:chOff x="2682876" y="1790701"/>
            <a:chExt cx="514350" cy="746125"/>
          </a:xfrm>
        </p:grpSpPr>
        <p:sp>
          <p:nvSpPr>
            <p:cNvPr id="40" name="Freeform 39"/>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3"/>
            </a:solidFill>
            <a:ln>
              <a:noFill/>
            </a:ln>
          </p:spPr>
          <p:txBody>
            <a:bodyPr lIns="68580" tIns="34290" rIns="68580" bIns="34290"/>
            <a:lstStyle/>
            <a:p>
              <a:pPr>
                <a:defRPr/>
              </a:pPr>
              <a:endParaRPr lang="en-US" sz="1350"/>
            </a:p>
          </p:txBody>
        </p:sp>
        <p:sp>
          <p:nvSpPr>
            <p:cNvPr id="41" name="Freeform 40"/>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3">
                <a:lumMod val="75000"/>
              </a:schemeClr>
            </a:solidFill>
            <a:ln>
              <a:noFill/>
            </a:ln>
          </p:spPr>
          <p:txBody>
            <a:bodyPr lIns="68580" tIns="34290" rIns="68580" bIns="34290"/>
            <a:lstStyle/>
            <a:p>
              <a:pPr>
                <a:defRPr/>
              </a:pPr>
              <a:endParaRPr lang="en-US" sz="1350"/>
            </a:p>
          </p:txBody>
        </p:sp>
        <p:sp>
          <p:nvSpPr>
            <p:cNvPr id="42" name="Oval 41"/>
            <p:cNvSpPr>
              <a:spLocks noChangeArrowheads="1"/>
            </p:cNvSpPr>
            <p:nvPr/>
          </p:nvSpPr>
          <p:spPr bwMode="auto">
            <a:xfrm>
              <a:off x="2747170" y="1854908"/>
              <a:ext cx="385763" cy="383025"/>
            </a:xfrm>
            <a:prstGeom prst="ellipse">
              <a:avLst/>
            </a:prstGeom>
            <a:solidFill>
              <a:schemeClr val="bg2"/>
            </a:solidFill>
            <a:ln>
              <a:noFill/>
            </a:ln>
          </p:spPr>
          <p:txBody>
            <a:bodyPr lIns="68580" tIns="34290" rIns="68580" bIns="34290"/>
            <a:lstStyle/>
            <a:p>
              <a:pPr>
                <a:defRPr/>
              </a:pPr>
              <a:endParaRPr lang="en-US" sz="1350"/>
            </a:p>
          </p:txBody>
        </p:sp>
      </p:grpSp>
      <p:grpSp>
        <p:nvGrpSpPr>
          <p:cNvPr id="43" name="Group 42"/>
          <p:cNvGrpSpPr>
            <a:grpSpLocks/>
          </p:cNvGrpSpPr>
          <p:nvPr/>
        </p:nvGrpSpPr>
        <p:grpSpPr bwMode="auto">
          <a:xfrm>
            <a:off x="7663800" y="3311951"/>
            <a:ext cx="494157" cy="714725"/>
            <a:chOff x="2682876" y="1790701"/>
            <a:chExt cx="514350" cy="746125"/>
          </a:xfrm>
        </p:grpSpPr>
        <p:sp>
          <p:nvSpPr>
            <p:cNvPr id="44" name="Freeform 43"/>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4"/>
            </a:solidFill>
            <a:ln>
              <a:noFill/>
            </a:ln>
          </p:spPr>
          <p:txBody>
            <a:bodyPr lIns="68580" tIns="34290" rIns="68580" bIns="34290"/>
            <a:lstStyle/>
            <a:p>
              <a:pPr>
                <a:defRPr/>
              </a:pPr>
              <a:endParaRPr lang="en-US" sz="1350"/>
            </a:p>
          </p:txBody>
        </p:sp>
        <p:sp>
          <p:nvSpPr>
            <p:cNvPr id="45" name="Freeform 44"/>
            <p:cNvSpPr>
              <a:spLocks/>
            </p:cNvSpPr>
            <p:nvPr/>
          </p:nvSpPr>
          <p:spPr bwMode="auto">
            <a:xfrm>
              <a:off x="2941155" y="1790701"/>
              <a:ext cx="256071"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4">
                <a:lumMod val="75000"/>
              </a:schemeClr>
            </a:solidFill>
            <a:ln>
              <a:noFill/>
            </a:ln>
          </p:spPr>
          <p:txBody>
            <a:bodyPr lIns="68580" tIns="34290" rIns="68580" bIns="34290"/>
            <a:lstStyle/>
            <a:p>
              <a:pPr>
                <a:defRPr/>
              </a:pPr>
              <a:endParaRPr lang="en-US" sz="1350"/>
            </a:p>
          </p:txBody>
        </p:sp>
        <p:sp>
          <p:nvSpPr>
            <p:cNvPr id="46" name="Oval 45"/>
            <p:cNvSpPr>
              <a:spLocks noChangeArrowheads="1"/>
            </p:cNvSpPr>
            <p:nvPr/>
          </p:nvSpPr>
          <p:spPr bwMode="auto">
            <a:xfrm>
              <a:off x="2746894" y="1854908"/>
              <a:ext cx="386313" cy="383025"/>
            </a:xfrm>
            <a:prstGeom prst="ellipse">
              <a:avLst/>
            </a:prstGeom>
            <a:solidFill>
              <a:schemeClr val="bg2"/>
            </a:solidFill>
            <a:ln>
              <a:noFill/>
            </a:ln>
          </p:spPr>
          <p:txBody>
            <a:bodyPr lIns="68580" tIns="34290" rIns="68580" bIns="34290"/>
            <a:lstStyle/>
            <a:p>
              <a:pPr>
                <a:defRPr/>
              </a:pPr>
              <a:endParaRPr lang="en-US" sz="1350"/>
            </a:p>
          </p:txBody>
        </p:sp>
      </p:grpSp>
      <p:grpSp>
        <p:nvGrpSpPr>
          <p:cNvPr id="47" name="Group 46"/>
          <p:cNvGrpSpPr>
            <a:grpSpLocks/>
          </p:cNvGrpSpPr>
          <p:nvPr/>
        </p:nvGrpSpPr>
        <p:grpSpPr bwMode="auto">
          <a:xfrm>
            <a:off x="9604372" y="4382978"/>
            <a:ext cx="492036" cy="714723"/>
            <a:chOff x="2682876" y="1790701"/>
            <a:chExt cx="514350" cy="746125"/>
          </a:xfrm>
        </p:grpSpPr>
        <p:sp>
          <p:nvSpPr>
            <p:cNvPr id="48" name="Freeform 47"/>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5"/>
            </a:solidFill>
            <a:ln>
              <a:noFill/>
            </a:ln>
          </p:spPr>
          <p:txBody>
            <a:bodyPr lIns="68580" tIns="34290" rIns="68580" bIns="34290"/>
            <a:lstStyle/>
            <a:p>
              <a:pPr>
                <a:defRPr/>
              </a:pPr>
              <a:endParaRPr lang="en-US" sz="1350"/>
            </a:p>
          </p:txBody>
        </p:sp>
        <p:sp>
          <p:nvSpPr>
            <p:cNvPr id="49" name="Freeform 48"/>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5">
                <a:lumMod val="75000"/>
              </a:schemeClr>
            </a:solidFill>
            <a:ln>
              <a:noFill/>
            </a:ln>
          </p:spPr>
          <p:txBody>
            <a:bodyPr lIns="68580" tIns="34290" rIns="68580" bIns="34290"/>
            <a:lstStyle/>
            <a:p>
              <a:pPr>
                <a:defRPr/>
              </a:pPr>
              <a:endParaRPr lang="en-US" sz="1350"/>
            </a:p>
          </p:txBody>
        </p:sp>
        <p:sp>
          <p:nvSpPr>
            <p:cNvPr id="50" name="Oval 49"/>
            <p:cNvSpPr>
              <a:spLocks noChangeArrowheads="1"/>
            </p:cNvSpPr>
            <p:nvPr/>
          </p:nvSpPr>
          <p:spPr bwMode="auto">
            <a:xfrm>
              <a:off x="2747169" y="1854907"/>
              <a:ext cx="385763" cy="383027"/>
            </a:xfrm>
            <a:prstGeom prst="ellipse">
              <a:avLst/>
            </a:prstGeom>
            <a:solidFill>
              <a:schemeClr val="bg2"/>
            </a:solidFill>
            <a:ln>
              <a:noFill/>
            </a:ln>
          </p:spPr>
          <p:txBody>
            <a:bodyPr lIns="68580" tIns="34290" rIns="68580" bIns="34290"/>
            <a:lstStyle/>
            <a:p>
              <a:pPr>
                <a:defRPr/>
              </a:pPr>
              <a:endParaRPr lang="en-US" sz="1350"/>
            </a:p>
          </p:txBody>
        </p:sp>
      </p:grpSp>
      <p:sp>
        <p:nvSpPr>
          <p:cNvPr id="100" name="TextBox 99"/>
          <p:cNvSpPr txBox="1"/>
          <p:nvPr/>
        </p:nvSpPr>
        <p:spPr>
          <a:xfrm>
            <a:off x="1523990" y="1214438"/>
            <a:ext cx="918264" cy="276999"/>
          </a:xfrm>
          <a:prstGeom prst="rect">
            <a:avLst/>
          </a:prstGeom>
          <a:noFill/>
        </p:spPr>
        <p:txBody>
          <a:bodyPr wrap="none">
            <a:spAutoFit/>
          </a:bodyPr>
          <a:lstStyle/>
          <a:p>
            <a:pPr algn="ctr">
              <a:defRPr/>
            </a:pPr>
            <a:r>
              <a:rPr lang="id-ID" sz="1200" b="1" dirty="0">
                <a:latin typeface="+mj-lt"/>
              </a:rPr>
              <a:t>Description</a:t>
            </a:r>
          </a:p>
        </p:txBody>
      </p:sp>
      <p:sp>
        <p:nvSpPr>
          <p:cNvPr id="101" name="Rectangle 100"/>
          <p:cNvSpPr/>
          <p:nvPr/>
        </p:nvSpPr>
        <p:spPr>
          <a:xfrm>
            <a:off x="936484" y="1409557"/>
            <a:ext cx="2095393" cy="646331"/>
          </a:xfrm>
          <a:prstGeom prst="rect">
            <a:avLst/>
          </a:prstGeom>
        </p:spPr>
        <p:txBody>
          <a:bodyPr>
            <a:spAutoFit/>
          </a:bodyPr>
          <a:lstStyle/>
          <a:p>
            <a:pPr algn="ctr">
              <a:defRPr/>
            </a:pPr>
            <a:r>
              <a:rPr lang="id-ID" sz="1200" dirty="0"/>
              <a:t>Suitable for all categories business and</a:t>
            </a:r>
            <a:r>
              <a:rPr lang="en-US" sz="1200" dirty="0"/>
              <a:t> your awesome</a:t>
            </a:r>
            <a:r>
              <a:rPr lang="id-ID" sz="1200" dirty="0"/>
              <a:t> personal presentation</a:t>
            </a:r>
          </a:p>
        </p:txBody>
      </p:sp>
      <p:sp>
        <p:nvSpPr>
          <p:cNvPr id="102" name="TextBox 101"/>
          <p:cNvSpPr txBox="1"/>
          <p:nvPr/>
        </p:nvSpPr>
        <p:spPr>
          <a:xfrm>
            <a:off x="5785066" y="2001655"/>
            <a:ext cx="918265" cy="276999"/>
          </a:xfrm>
          <a:prstGeom prst="rect">
            <a:avLst/>
          </a:prstGeom>
          <a:noFill/>
        </p:spPr>
        <p:txBody>
          <a:bodyPr wrap="none">
            <a:spAutoFit/>
          </a:bodyPr>
          <a:lstStyle/>
          <a:p>
            <a:pPr algn="ctr">
              <a:defRPr/>
            </a:pPr>
            <a:r>
              <a:rPr lang="id-ID" sz="1200" b="1" dirty="0">
                <a:latin typeface="+mj-lt"/>
              </a:rPr>
              <a:t>Description</a:t>
            </a:r>
          </a:p>
        </p:txBody>
      </p:sp>
      <p:sp>
        <p:nvSpPr>
          <p:cNvPr id="103" name="Rectangle 102"/>
          <p:cNvSpPr/>
          <p:nvPr/>
        </p:nvSpPr>
        <p:spPr>
          <a:xfrm>
            <a:off x="5195441" y="2196774"/>
            <a:ext cx="2095393" cy="632011"/>
          </a:xfrm>
          <a:prstGeom prst="rect">
            <a:avLst/>
          </a:prstGeom>
        </p:spPr>
        <p:txBody>
          <a:bodyPr>
            <a:spAutoFit/>
          </a:bodyPr>
          <a:lstStyle/>
          <a:p>
            <a:pPr algn="ctr">
              <a:defRPr/>
            </a:pPr>
            <a:r>
              <a:rPr lang="id-ID" sz="825" dirty="0"/>
              <a:t>Suitable for all categories business and</a:t>
            </a:r>
            <a:r>
              <a:rPr lang="en-US" sz="825" dirty="0"/>
              <a:t> your awesome</a:t>
            </a:r>
            <a:r>
              <a:rPr lang="id-ID" sz="825" dirty="0"/>
              <a:t> personal presentation</a:t>
            </a:r>
          </a:p>
        </p:txBody>
      </p:sp>
      <p:sp>
        <p:nvSpPr>
          <p:cNvPr id="104" name="TextBox 103"/>
          <p:cNvSpPr txBox="1"/>
          <p:nvPr/>
        </p:nvSpPr>
        <p:spPr>
          <a:xfrm>
            <a:off x="7904774" y="2411118"/>
            <a:ext cx="918264" cy="276999"/>
          </a:xfrm>
          <a:prstGeom prst="rect">
            <a:avLst/>
          </a:prstGeom>
          <a:noFill/>
        </p:spPr>
        <p:txBody>
          <a:bodyPr wrap="none">
            <a:spAutoFit/>
          </a:bodyPr>
          <a:lstStyle/>
          <a:p>
            <a:pPr algn="ctr">
              <a:defRPr/>
            </a:pPr>
            <a:r>
              <a:rPr lang="id-ID" sz="1200" b="1" dirty="0">
                <a:latin typeface="+mj-lt"/>
              </a:rPr>
              <a:t>Description</a:t>
            </a:r>
          </a:p>
        </p:txBody>
      </p:sp>
      <p:sp>
        <p:nvSpPr>
          <p:cNvPr id="105" name="Rectangle 104"/>
          <p:cNvSpPr/>
          <p:nvPr/>
        </p:nvSpPr>
        <p:spPr>
          <a:xfrm>
            <a:off x="7315148" y="2606237"/>
            <a:ext cx="2095393" cy="646331"/>
          </a:xfrm>
          <a:prstGeom prst="rect">
            <a:avLst/>
          </a:prstGeom>
        </p:spPr>
        <p:txBody>
          <a:bodyPr>
            <a:spAutoFit/>
          </a:bodyPr>
          <a:lstStyle/>
          <a:p>
            <a:pPr algn="ctr">
              <a:defRPr/>
            </a:pPr>
            <a:r>
              <a:rPr lang="id-ID" sz="1200" dirty="0"/>
              <a:t>Suitable for all categories business and</a:t>
            </a:r>
            <a:r>
              <a:rPr lang="en-US" sz="1200" dirty="0"/>
              <a:t> your awesome</a:t>
            </a:r>
            <a:r>
              <a:rPr lang="id-ID" sz="1200" dirty="0"/>
              <a:t> personal presentation</a:t>
            </a:r>
          </a:p>
        </p:txBody>
      </p:sp>
      <p:sp>
        <p:nvSpPr>
          <p:cNvPr id="108" name="TextBox 107"/>
          <p:cNvSpPr txBox="1"/>
          <p:nvPr/>
        </p:nvSpPr>
        <p:spPr>
          <a:xfrm>
            <a:off x="3687552" y="4341968"/>
            <a:ext cx="918265" cy="276999"/>
          </a:xfrm>
          <a:prstGeom prst="rect">
            <a:avLst/>
          </a:prstGeom>
          <a:noFill/>
        </p:spPr>
        <p:txBody>
          <a:bodyPr wrap="none">
            <a:spAutoFit/>
          </a:bodyPr>
          <a:lstStyle/>
          <a:p>
            <a:pPr>
              <a:defRPr/>
            </a:pPr>
            <a:r>
              <a:rPr lang="id-ID" sz="1200" b="1" dirty="0">
                <a:latin typeface="+mj-lt"/>
              </a:rPr>
              <a:t>Description</a:t>
            </a:r>
          </a:p>
        </p:txBody>
      </p:sp>
      <p:sp>
        <p:nvSpPr>
          <p:cNvPr id="109" name="Rectangle 108"/>
          <p:cNvSpPr/>
          <p:nvPr/>
        </p:nvSpPr>
        <p:spPr>
          <a:xfrm>
            <a:off x="3031877" y="4553852"/>
            <a:ext cx="2095393" cy="646331"/>
          </a:xfrm>
          <a:prstGeom prst="rect">
            <a:avLst/>
          </a:prstGeom>
        </p:spPr>
        <p:txBody>
          <a:bodyPr>
            <a:spAutoFit/>
          </a:bodyPr>
          <a:lstStyle/>
          <a:p>
            <a:pPr algn="ctr">
              <a:defRPr/>
            </a:pPr>
            <a:r>
              <a:rPr lang="id-ID" sz="1200" dirty="0"/>
              <a:t>Suitable for all categories business and</a:t>
            </a:r>
            <a:r>
              <a:rPr lang="en-US" sz="1200" dirty="0"/>
              <a:t> your awesome</a:t>
            </a:r>
            <a:r>
              <a:rPr lang="id-ID" sz="1200" dirty="0"/>
              <a:t> personal presentation</a:t>
            </a:r>
          </a:p>
        </p:txBody>
      </p:sp>
      <p:sp>
        <p:nvSpPr>
          <p:cNvPr id="110" name="TextBox 109"/>
          <p:cNvSpPr txBox="1"/>
          <p:nvPr/>
        </p:nvSpPr>
        <p:spPr>
          <a:xfrm>
            <a:off x="9410541" y="5449760"/>
            <a:ext cx="918264" cy="276999"/>
          </a:xfrm>
          <a:prstGeom prst="rect">
            <a:avLst/>
          </a:prstGeom>
          <a:noFill/>
        </p:spPr>
        <p:txBody>
          <a:bodyPr wrap="none">
            <a:spAutoFit/>
          </a:bodyPr>
          <a:lstStyle/>
          <a:p>
            <a:pPr algn="ctr">
              <a:defRPr/>
            </a:pPr>
            <a:r>
              <a:rPr lang="id-ID" sz="1200" b="1" dirty="0">
                <a:latin typeface="+mj-lt"/>
              </a:rPr>
              <a:t>Description</a:t>
            </a:r>
          </a:p>
        </p:txBody>
      </p:sp>
      <p:sp>
        <p:nvSpPr>
          <p:cNvPr id="111" name="Rectangle 110"/>
          <p:cNvSpPr/>
          <p:nvPr/>
        </p:nvSpPr>
        <p:spPr>
          <a:xfrm>
            <a:off x="8823036" y="5644879"/>
            <a:ext cx="2093273" cy="646331"/>
          </a:xfrm>
          <a:prstGeom prst="rect">
            <a:avLst/>
          </a:prstGeom>
        </p:spPr>
        <p:txBody>
          <a:bodyPr>
            <a:spAutoFit/>
          </a:bodyPr>
          <a:lstStyle/>
          <a:p>
            <a:pPr algn="ctr">
              <a:defRPr/>
            </a:pPr>
            <a:r>
              <a:rPr lang="id-ID" sz="1200" dirty="0"/>
              <a:t>Suitable for all categories business and</a:t>
            </a:r>
            <a:r>
              <a:rPr lang="en-US" sz="1200" dirty="0"/>
              <a:t> your awesome</a:t>
            </a:r>
            <a:r>
              <a:rPr lang="id-ID" sz="1200" dirty="0"/>
              <a:t> personal presentation</a:t>
            </a:r>
          </a:p>
        </p:txBody>
      </p:sp>
      <p:sp>
        <p:nvSpPr>
          <p:cNvPr id="112" name="TextBox 111"/>
          <p:cNvSpPr txBox="1"/>
          <p:nvPr/>
        </p:nvSpPr>
        <p:spPr>
          <a:xfrm>
            <a:off x="1744351" y="2185784"/>
            <a:ext cx="430881" cy="339223"/>
          </a:xfrm>
          <a:prstGeom prst="rect">
            <a:avLst/>
          </a:prstGeom>
          <a:noFill/>
        </p:spPr>
        <p:txBody>
          <a:bodyPr wrap="none">
            <a:spAutoFit/>
          </a:bodyPr>
          <a:lstStyle/>
          <a:p>
            <a:pPr algn="ctr">
              <a:defRPr/>
            </a:pPr>
            <a:r>
              <a:rPr lang="en-US" sz="1050" b="1" dirty="0">
                <a:solidFill>
                  <a:schemeClr val="accent1"/>
                </a:solidFill>
                <a:latin typeface="+mj-lt"/>
              </a:rPr>
              <a:t>01</a:t>
            </a:r>
            <a:endParaRPr lang="id-ID" sz="1050" b="1" dirty="0">
              <a:solidFill>
                <a:schemeClr val="accent1"/>
              </a:solidFill>
              <a:latin typeface="+mj-lt"/>
            </a:endParaRPr>
          </a:p>
        </p:txBody>
      </p:sp>
      <p:sp>
        <p:nvSpPr>
          <p:cNvPr id="113" name="TextBox 112"/>
          <p:cNvSpPr txBox="1"/>
          <p:nvPr/>
        </p:nvSpPr>
        <p:spPr>
          <a:xfrm>
            <a:off x="3894886" y="3369214"/>
            <a:ext cx="430881" cy="339223"/>
          </a:xfrm>
          <a:prstGeom prst="rect">
            <a:avLst/>
          </a:prstGeom>
          <a:noFill/>
        </p:spPr>
        <p:txBody>
          <a:bodyPr wrap="none">
            <a:spAutoFit/>
          </a:bodyPr>
          <a:lstStyle/>
          <a:p>
            <a:pPr algn="ctr">
              <a:defRPr/>
            </a:pPr>
            <a:r>
              <a:rPr lang="en-US" sz="1050" b="1" dirty="0">
                <a:solidFill>
                  <a:schemeClr val="accent2"/>
                </a:solidFill>
                <a:latin typeface="+mj-lt"/>
              </a:rPr>
              <a:t>02</a:t>
            </a:r>
            <a:endParaRPr lang="id-ID" sz="1050" b="1" dirty="0">
              <a:solidFill>
                <a:schemeClr val="accent2"/>
              </a:solidFill>
              <a:latin typeface="+mj-lt"/>
            </a:endParaRPr>
          </a:p>
        </p:txBody>
      </p:sp>
      <p:sp>
        <p:nvSpPr>
          <p:cNvPr id="114" name="TextBox 113"/>
          <p:cNvSpPr txBox="1"/>
          <p:nvPr/>
        </p:nvSpPr>
        <p:spPr>
          <a:xfrm>
            <a:off x="6000883" y="2752048"/>
            <a:ext cx="430881" cy="339223"/>
          </a:xfrm>
          <a:prstGeom prst="rect">
            <a:avLst/>
          </a:prstGeom>
          <a:noFill/>
        </p:spPr>
        <p:txBody>
          <a:bodyPr wrap="none">
            <a:spAutoFit/>
          </a:bodyPr>
          <a:lstStyle/>
          <a:p>
            <a:pPr algn="ctr">
              <a:defRPr/>
            </a:pPr>
            <a:r>
              <a:rPr lang="en-US" sz="1050" b="1" dirty="0">
                <a:solidFill>
                  <a:schemeClr val="accent3"/>
                </a:solidFill>
                <a:latin typeface="+mj-lt"/>
              </a:rPr>
              <a:t>03</a:t>
            </a:r>
            <a:endParaRPr lang="id-ID" sz="1050" b="1" dirty="0">
              <a:solidFill>
                <a:schemeClr val="accent3"/>
              </a:solidFill>
              <a:latin typeface="+mj-lt"/>
            </a:endParaRPr>
          </a:p>
        </p:txBody>
      </p:sp>
      <p:sp>
        <p:nvSpPr>
          <p:cNvPr id="115" name="TextBox 114"/>
          <p:cNvSpPr txBox="1"/>
          <p:nvPr/>
        </p:nvSpPr>
        <p:spPr>
          <a:xfrm>
            <a:off x="7701800" y="3396785"/>
            <a:ext cx="430881" cy="339223"/>
          </a:xfrm>
          <a:prstGeom prst="rect">
            <a:avLst/>
          </a:prstGeom>
          <a:noFill/>
        </p:spPr>
        <p:txBody>
          <a:bodyPr wrap="none">
            <a:spAutoFit/>
          </a:bodyPr>
          <a:lstStyle/>
          <a:p>
            <a:pPr algn="ctr">
              <a:defRPr/>
            </a:pPr>
            <a:r>
              <a:rPr lang="en-US" sz="1050" b="1" dirty="0">
                <a:solidFill>
                  <a:schemeClr val="accent4"/>
                </a:solidFill>
                <a:latin typeface="+mj-lt"/>
              </a:rPr>
              <a:t>04</a:t>
            </a:r>
            <a:endParaRPr lang="id-ID" sz="1050" b="1" dirty="0">
              <a:solidFill>
                <a:schemeClr val="accent4"/>
              </a:solidFill>
              <a:latin typeface="+mj-lt"/>
            </a:endParaRPr>
          </a:p>
        </p:txBody>
      </p:sp>
      <p:sp>
        <p:nvSpPr>
          <p:cNvPr id="116" name="TextBox 115"/>
          <p:cNvSpPr txBox="1"/>
          <p:nvPr/>
        </p:nvSpPr>
        <p:spPr>
          <a:xfrm>
            <a:off x="9640251" y="4469931"/>
            <a:ext cx="430881" cy="339223"/>
          </a:xfrm>
          <a:prstGeom prst="rect">
            <a:avLst/>
          </a:prstGeom>
          <a:noFill/>
        </p:spPr>
        <p:txBody>
          <a:bodyPr wrap="none">
            <a:spAutoFit/>
          </a:bodyPr>
          <a:lstStyle/>
          <a:p>
            <a:pPr algn="ctr">
              <a:defRPr/>
            </a:pPr>
            <a:r>
              <a:rPr lang="en-US" sz="1050" b="1" dirty="0">
                <a:solidFill>
                  <a:schemeClr val="accent5"/>
                </a:solidFill>
                <a:latin typeface="+mj-lt"/>
              </a:rPr>
              <a:t>05</a:t>
            </a:r>
            <a:endParaRPr lang="id-ID" sz="1050" b="1" dirty="0">
              <a:solidFill>
                <a:schemeClr val="accent5"/>
              </a:solidFill>
              <a:latin typeface="+mj-lt"/>
            </a:endParaRPr>
          </a:p>
        </p:txBody>
      </p:sp>
    </p:spTree>
    <p:custDataLst>
      <p:tags r:id="rId1"/>
    </p:custDataLst>
    <p:extLst>
      <p:ext uri="{BB962C8B-B14F-4D97-AF65-F5344CB8AC3E}">
        <p14:creationId xmlns:p14="http://schemas.microsoft.com/office/powerpoint/2010/main" val="1288465997"/>
      </p:ext>
    </p:extLst>
  </p:cSld>
  <p:clrMapOvr>
    <a:masterClrMapping/>
  </p:clrMapOvr>
  <p:transition>
    <p:fade/>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p:cNvGrpSpPr>
          <p:nvPr/>
        </p:nvGrpSpPr>
        <p:grpSpPr bwMode="auto">
          <a:xfrm>
            <a:off x="5045076" y="857250"/>
            <a:ext cx="5476875" cy="6000750"/>
            <a:chOff x="2606222" y="2935741"/>
            <a:chExt cx="8845551" cy="3951287"/>
          </a:xfrm>
        </p:grpSpPr>
        <p:sp>
          <p:nvSpPr>
            <p:cNvPr id="4" name="Freeform 8"/>
            <p:cNvSpPr>
              <a:spLocks/>
            </p:cNvSpPr>
            <p:nvPr/>
          </p:nvSpPr>
          <p:spPr bwMode="auto">
            <a:xfrm>
              <a:off x="2606222" y="2935741"/>
              <a:ext cx="8845551" cy="3951287"/>
            </a:xfrm>
            <a:custGeom>
              <a:avLst/>
              <a:gdLst>
                <a:gd name="T0" fmla="*/ 2339 w 3076"/>
                <a:gd name="T1" fmla="*/ 212 h 1372"/>
                <a:gd name="T2" fmla="*/ 1696 w 3076"/>
                <a:gd name="T3" fmla="*/ 69 h 1372"/>
                <a:gd name="T4" fmla="*/ 1942 w 3076"/>
                <a:gd name="T5" fmla="*/ 0 h 1372"/>
                <a:gd name="T6" fmla="*/ 1920 w 3076"/>
                <a:gd name="T7" fmla="*/ 0 h 1372"/>
                <a:gd name="T8" fmla="*/ 1567 w 3076"/>
                <a:gd name="T9" fmla="*/ 43 h 1372"/>
                <a:gd name="T10" fmla="*/ 1835 w 3076"/>
                <a:gd name="T11" fmla="*/ 196 h 1372"/>
                <a:gd name="T12" fmla="*/ 1888 w 3076"/>
                <a:gd name="T13" fmla="*/ 574 h 1372"/>
                <a:gd name="T14" fmla="*/ 0 w 3076"/>
                <a:gd name="T15" fmla="*/ 1364 h 1372"/>
                <a:gd name="T16" fmla="*/ 0 w 3076"/>
                <a:gd name="T17" fmla="*/ 1372 h 1372"/>
                <a:gd name="T18" fmla="*/ 2499 w 3076"/>
                <a:gd name="T19" fmla="*/ 1372 h 1372"/>
                <a:gd name="T20" fmla="*/ 2832 w 3076"/>
                <a:gd name="T21" fmla="*/ 944 h 1372"/>
                <a:gd name="T22" fmla="*/ 2339 w 3076"/>
                <a:gd name="T23" fmla="*/ 212 h 1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76" h="1372">
                  <a:moveTo>
                    <a:pt x="2339" y="212"/>
                  </a:moveTo>
                  <a:cubicBezTo>
                    <a:pt x="1881" y="99"/>
                    <a:pt x="1736" y="99"/>
                    <a:pt x="1696" y="69"/>
                  </a:cubicBezTo>
                  <a:cubicBezTo>
                    <a:pt x="1661" y="43"/>
                    <a:pt x="1885" y="8"/>
                    <a:pt x="1942" y="0"/>
                  </a:cubicBezTo>
                  <a:cubicBezTo>
                    <a:pt x="1920" y="0"/>
                    <a:pt x="1920" y="0"/>
                    <a:pt x="1920" y="0"/>
                  </a:cubicBezTo>
                  <a:cubicBezTo>
                    <a:pt x="1861" y="4"/>
                    <a:pt x="1734" y="14"/>
                    <a:pt x="1567" y="43"/>
                  </a:cubicBezTo>
                  <a:cubicBezTo>
                    <a:pt x="1354" y="79"/>
                    <a:pt x="1620" y="150"/>
                    <a:pt x="1835" y="196"/>
                  </a:cubicBezTo>
                  <a:cubicBezTo>
                    <a:pt x="2050" y="243"/>
                    <a:pt x="2255" y="353"/>
                    <a:pt x="1888" y="574"/>
                  </a:cubicBezTo>
                  <a:cubicBezTo>
                    <a:pt x="996" y="1111"/>
                    <a:pt x="256" y="1307"/>
                    <a:pt x="0" y="1364"/>
                  </a:cubicBezTo>
                  <a:cubicBezTo>
                    <a:pt x="0" y="1372"/>
                    <a:pt x="0" y="1372"/>
                    <a:pt x="0" y="1372"/>
                  </a:cubicBezTo>
                  <a:cubicBezTo>
                    <a:pt x="2499" y="1372"/>
                    <a:pt x="2499" y="1372"/>
                    <a:pt x="2499" y="1372"/>
                  </a:cubicBezTo>
                  <a:cubicBezTo>
                    <a:pt x="2628" y="1226"/>
                    <a:pt x="2767" y="1050"/>
                    <a:pt x="2832" y="944"/>
                  </a:cubicBezTo>
                  <a:cubicBezTo>
                    <a:pt x="3076" y="549"/>
                    <a:pt x="2796" y="324"/>
                    <a:pt x="2339" y="212"/>
                  </a:cubicBezTo>
                  <a:close/>
                </a:path>
              </a:pathLst>
            </a:custGeom>
            <a:solidFill>
              <a:srgbClr val="292929"/>
            </a:solidFill>
            <a:ln>
              <a:noFill/>
            </a:ln>
          </p:spPr>
          <p:txBody>
            <a:bodyPr lIns="68580" tIns="34290" rIns="68580" bIns="34290"/>
            <a:lstStyle/>
            <a:p>
              <a:pPr>
                <a:defRPr/>
              </a:pPr>
              <a:endParaRPr lang="id-ID" sz="1350" dirty="0"/>
            </a:p>
          </p:txBody>
        </p:sp>
        <p:sp>
          <p:nvSpPr>
            <p:cNvPr id="5" name="Freeform 9"/>
            <p:cNvSpPr>
              <a:spLocks/>
            </p:cNvSpPr>
            <p:nvPr/>
          </p:nvSpPr>
          <p:spPr bwMode="auto">
            <a:xfrm>
              <a:off x="6531596" y="2935741"/>
              <a:ext cx="3271572" cy="3951287"/>
            </a:xfrm>
            <a:custGeom>
              <a:avLst/>
              <a:gdLst>
                <a:gd name="T0" fmla="*/ 1070 w 1138"/>
                <a:gd name="T1" fmla="*/ 369 h 1372"/>
                <a:gd name="T2" fmla="*/ 878 w 1138"/>
                <a:gd name="T3" fmla="*/ 253 h 1372"/>
                <a:gd name="T4" fmla="*/ 680 w 1138"/>
                <a:gd name="T5" fmla="*/ 193 h 1372"/>
                <a:gd name="T6" fmla="*/ 332 w 1138"/>
                <a:gd name="T7" fmla="*/ 117 h 1372"/>
                <a:gd name="T8" fmla="*/ 259 w 1138"/>
                <a:gd name="T9" fmla="*/ 98 h 1372"/>
                <a:gd name="T10" fmla="*/ 229 w 1138"/>
                <a:gd name="T11" fmla="*/ 82 h 1372"/>
                <a:gd name="T12" fmla="*/ 245 w 1138"/>
                <a:gd name="T13" fmla="*/ 61 h 1372"/>
                <a:gd name="T14" fmla="*/ 363 w 1138"/>
                <a:gd name="T15" fmla="*/ 30 h 1372"/>
                <a:gd name="T16" fmla="*/ 572 w 1138"/>
                <a:gd name="T17" fmla="*/ 0 h 1372"/>
                <a:gd name="T18" fmla="*/ 563 w 1138"/>
                <a:gd name="T19" fmla="*/ 0 h 1372"/>
                <a:gd name="T20" fmla="*/ 363 w 1138"/>
                <a:gd name="T21" fmla="*/ 27 h 1372"/>
                <a:gd name="T22" fmla="*/ 244 w 1138"/>
                <a:gd name="T23" fmla="*/ 58 h 1372"/>
                <a:gd name="T24" fmla="*/ 226 w 1138"/>
                <a:gd name="T25" fmla="*/ 84 h 1372"/>
                <a:gd name="T26" fmla="*/ 258 w 1138"/>
                <a:gd name="T27" fmla="*/ 101 h 1372"/>
                <a:gd name="T28" fmla="*/ 332 w 1138"/>
                <a:gd name="T29" fmla="*/ 120 h 1372"/>
                <a:gd name="T30" fmla="*/ 679 w 1138"/>
                <a:gd name="T31" fmla="*/ 198 h 1372"/>
                <a:gd name="T32" fmla="*/ 876 w 1138"/>
                <a:gd name="T33" fmla="*/ 258 h 1372"/>
                <a:gd name="T34" fmla="*/ 1065 w 1138"/>
                <a:gd name="T35" fmla="*/ 373 h 1372"/>
                <a:gd name="T36" fmla="*/ 1085 w 1138"/>
                <a:gd name="T37" fmla="*/ 592 h 1372"/>
                <a:gd name="T38" fmla="*/ 917 w 1138"/>
                <a:gd name="T39" fmla="*/ 780 h 1372"/>
                <a:gd name="T40" fmla="*/ 0 w 1138"/>
                <a:gd name="T41" fmla="*/ 1372 h 1372"/>
                <a:gd name="T42" fmla="*/ 66 w 1138"/>
                <a:gd name="T43" fmla="*/ 1372 h 1372"/>
                <a:gd name="T44" fmla="*/ 926 w 1138"/>
                <a:gd name="T45" fmla="*/ 786 h 1372"/>
                <a:gd name="T46" fmla="*/ 1090 w 1138"/>
                <a:gd name="T47" fmla="*/ 594 h 1372"/>
                <a:gd name="T48" fmla="*/ 1070 w 1138"/>
                <a:gd name="T49" fmla="*/ 369 h 1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8" h="1372">
                  <a:moveTo>
                    <a:pt x="1070" y="369"/>
                  </a:moveTo>
                  <a:cubicBezTo>
                    <a:pt x="1016" y="311"/>
                    <a:pt x="945" y="280"/>
                    <a:pt x="878" y="253"/>
                  </a:cubicBezTo>
                  <a:cubicBezTo>
                    <a:pt x="811" y="228"/>
                    <a:pt x="744" y="209"/>
                    <a:pt x="680" y="193"/>
                  </a:cubicBezTo>
                  <a:cubicBezTo>
                    <a:pt x="551" y="163"/>
                    <a:pt x="435" y="139"/>
                    <a:pt x="332" y="117"/>
                  </a:cubicBezTo>
                  <a:cubicBezTo>
                    <a:pt x="307" y="111"/>
                    <a:pt x="282" y="105"/>
                    <a:pt x="259" y="98"/>
                  </a:cubicBezTo>
                  <a:cubicBezTo>
                    <a:pt x="248" y="94"/>
                    <a:pt x="236" y="90"/>
                    <a:pt x="229" y="82"/>
                  </a:cubicBezTo>
                  <a:cubicBezTo>
                    <a:pt x="221" y="73"/>
                    <a:pt x="237" y="65"/>
                    <a:pt x="245" y="61"/>
                  </a:cubicBezTo>
                  <a:cubicBezTo>
                    <a:pt x="286" y="44"/>
                    <a:pt x="327" y="37"/>
                    <a:pt x="363" y="30"/>
                  </a:cubicBezTo>
                  <a:cubicBezTo>
                    <a:pt x="468" y="11"/>
                    <a:pt x="540" y="3"/>
                    <a:pt x="572" y="0"/>
                  </a:cubicBezTo>
                  <a:cubicBezTo>
                    <a:pt x="563" y="0"/>
                    <a:pt x="563" y="0"/>
                    <a:pt x="563" y="0"/>
                  </a:cubicBezTo>
                  <a:cubicBezTo>
                    <a:pt x="528" y="3"/>
                    <a:pt x="459" y="11"/>
                    <a:pt x="363" y="27"/>
                  </a:cubicBezTo>
                  <a:cubicBezTo>
                    <a:pt x="327" y="35"/>
                    <a:pt x="286" y="41"/>
                    <a:pt x="244" y="58"/>
                  </a:cubicBezTo>
                  <a:cubicBezTo>
                    <a:pt x="236" y="62"/>
                    <a:pt x="216" y="70"/>
                    <a:pt x="226" y="84"/>
                  </a:cubicBezTo>
                  <a:cubicBezTo>
                    <a:pt x="235" y="93"/>
                    <a:pt x="247" y="97"/>
                    <a:pt x="258" y="101"/>
                  </a:cubicBezTo>
                  <a:cubicBezTo>
                    <a:pt x="281" y="109"/>
                    <a:pt x="306" y="115"/>
                    <a:pt x="332" y="120"/>
                  </a:cubicBezTo>
                  <a:cubicBezTo>
                    <a:pt x="434" y="143"/>
                    <a:pt x="551" y="168"/>
                    <a:pt x="679" y="198"/>
                  </a:cubicBezTo>
                  <a:cubicBezTo>
                    <a:pt x="743" y="214"/>
                    <a:pt x="809" y="233"/>
                    <a:pt x="876" y="258"/>
                  </a:cubicBezTo>
                  <a:cubicBezTo>
                    <a:pt x="943" y="284"/>
                    <a:pt x="1013" y="316"/>
                    <a:pt x="1065" y="373"/>
                  </a:cubicBezTo>
                  <a:cubicBezTo>
                    <a:pt x="1119" y="428"/>
                    <a:pt x="1132" y="522"/>
                    <a:pt x="1085" y="592"/>
                  </a:cubicBezTo>
                  <a:cubicBezTo>
                    <a:pt x="1043" y="662"/>
                    <a:pt x="982" y="722"/>
                    <a:pt x="917" y="780"/>
                  </a:cubicBezTo>
                  <a:cubicBezTo>
                    <a:pt x="660" y="998"/>
                    <a:pt x="341" y="1188"/>
                    <a:pt x="0" y="1372"/>
                  </a:cubicBezTo>
                  <a:cubicBezTo>
                    <a:pt x="66" y="1372"/>
                    <a:pt x="66" y="1372"/>
                    <a:pt x="66" y="1372"/>
                  </a:cubicBezTo>
                  <a:cubicBezTo>
                    <a:pt x="399" y="1190"/>
                    <a:pt x="672" y="1003"/>
                    <a:pt x="926" y="786"/>
                  </a:cubicBezTo>
                  <a:cubicBezTo>
                    <a:pt x="991" y="728"/>
                    <a:pt x="1048" y="666"/>
                    <a:pt x="1090" y="594"/>
                  </a:cubicBezTo>
                  <a:cubicBezTo>
                    <a:pt x="1138" y="524"/>
                    <a:pt x="1125" y="426"/>
                    <a:pt x="1070" y="369"/>
                  </a:cubicBezTo>
                  <a:close/>
                </a:path>
              </a:pathLst>
            </a:custGeom>
            <a:solidFill>
              <a:schemeClr val="accent4"/>
            </a:solidFill>
            <a:ln>
              <a:noFill/>
            </a:ln>
          </p:spPr>
          <p:txBody>
            <a:bodyPr lIns="68580" tIns="34290" rIns="68580" bIns="34290"/>
            <a:lstStyle/>
            <a:p>
              <a:pPr>
                <a:defRPr/>
              </a:pPr>
              <a:endParaRPr lang="id-ID" sz="1350"/>
            </a:p>
          </p:txBody>
        </p:sp>
      </p:grpSp>
      <p:grpSp>
        <p:nvGrpSpPr>
          <p:cNvPr id="6" name="Group 5"/>
          <p:cNvGrpSpPr/>
          <p:nvPr/>
        </p:nvGrpSpPr>
        <p:grpSpPr>
          <a:xfrm>
            <a:off x="6625745" y="4681481"/>
            <a:ext cx="649271" cy="941843"/>
            <a:chOff x="2682876" y="1790701"/>
            <a:chExt cx="514350" cy="746125"/>
          </a:xfrm>
          <a:effectLst>
            <a:outerShdw blurRad="76200" dir="18900000" sy="23000" kx="-1200000" algn="bl" rotWithShape="0">
              <a:prstClr val="black">
                <a:alpha val="20000"/>
              </a:prstClr>
            </a:outerShdw>
          </a:effectLst>
        </p:grpSpPr>
        <p:sp>
          <p:nvSpPr>
            <p:cNvPr id="7" name="Freeform 6"/>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1"/>
            </a:solidFill>
            <a:ln>
              <a:noFill/>
            </a:ln>
          </p:spPr>
          <p:txBody>
            <a:bodyPr lIns="68580" tIns="34290" rIns="68580" bIns="34290"/>
            <a:lstStyle/>
            <a:p>
              <a:pPr>
                <a:defRPr/>
              </a:pPr>
              <a:endParaRPr lang="en-US" sz="1350"/>
            </a:p>
          </p:txBody>
        </p:sp>
        <p:sp>
          <p:nvSpPr>
            <p:cNvPr id="8" name="Freeform 7"/>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1">
                <a:lumMod val="75000"/>
              </a:schemeClr>
            </a:solidFill>
            <a:ln>
              <a:noFill/>
            </a:ln>
          </p:spPr>
          <p:txBody>
            <a:bodyPr lIns="68580" tIns="34290" rIns="68580" bIns="34290"/>
            <a:lstStyle/>
            <a:p>
              <a:pPr>
                <a:defRPr/>
              </a:pPr>
              <a:endParaRPr lang="en-US" sz="1350"/>
            </a:p>
          </p:txBody>
        </p:sp>
        <p:sp>
          <p:nvSpPr>
            <p:cNvPr id="9" name="Oval 8"/>
            <p:cNvSpPr>
              <a:spLocks noChangeArrowheads="1"/>
            </p:cNvSpPr>
            <p:nvPr/>
          </p:nvSpPr>
          <p:spPr bwMode="auto">
            <a:xfrm>
              <a:off x="2746376" y="1855788"/>
              <a:ext cx="387350" cy="382588"/>
            </a:xfrm>
            <a:prstGeom prst="ellipse">
              <a:avLst/>
            </a:prstGeom>
            <a:solidFill>
              <a:schemeClr val="bg2"/>
            </a:solidFill>
            <a:ln>
              <a:noFill/>
            </a:ln>
          </p:spPr>
          <p:txBody>
            <a:bodyPr lIns="68580" tIns="34290" rIns="68580" bIns="34290"/>
            <a:lstStyle/>
            <a:p>
              <a:pPr>
                <a:defRPr/>
              </a:pPr>
              <a:endParaRPr lang="en-US" sz="1350"/>
            </a:p>
          </p:txBody>
        </p:sp>
      </p:grpSp>
      <p:grpSp>
        <p:nvGrpSpPr>
          <p:cNvPr id="12" name="Group 11"/>
          <p:cNvGrpSpPr/>
          <p:nvPr/>
        </p:nvGrpSpPr>
        <p:grpSpPr>
          <a:xfrm>
            <a:off x="7632209" y="3733523"/>
            <a:ext cx="570668" cy="827820"/>
            <a:chOff x="2682876" y="1790701"/>
            <a:chExt cx="514350" cy="746125"/>
          </a:xfrm>
          <a:effectLst>
            <a:outerShdw blurRad="76200" dir="18900000" sy="23000" kx="-1200000" algn="bl" rotWithShape="0">
              <a:prstClr val="black">
                <a:alpha val="20000"/>
              </a:prstClr>
            </a:outerShdw>
          </a:effectLst>
        </p:grpSpPr>
        <p:sp>
          <p:nvSpPr>
            <p:cNvPr id="13" name="Freeform 12"/>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2"/>
            </a:solidFill>
            <a:ln>
              <a:noFill/>
            </a:ln>
          </p:spPr>
          <p:txBody>
            <a:bodyPr lIns="68580" tIns="34290" rIns="68580" bIns="34290"/>
            <a:lstStyle/>
            <a:p>
              <a:pPr>
                <a:defRPr/>
              </a:pPr>
              <a:endParaRPr lang="en-US" sz="1350"/>
            </a:p>
          </p:txBody>
        </p:sp>
        <p:sp>
          <p:nvSpPr>
            <p:cNvPr id="14" name="Freeform 13"/>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2">
                <a:lumMod val="75000"/>
              </a:schemeClr>
            </a:solidFill>
            <a:ln>
              <a:noFill/>
            </a:ln>
          </p:spPr>
          <p:txBody>
            <a:bodyPr lIns="68580" tIns="34290" rIns="68580" bIns="34290"/>
            <a:lstStyle/>
            <a:p>
              <a:pPr>
                <a:defRPr/>
              </a:pPr>
              <a:endParaRPr lang="en-US" sz="1350"/>
            </a:p>
          </p:txBody>
        </p:sp>
        <p:sp>
          <p:nvSpPr>
            <p:cNvPr id="15" name="Oval 14"/>
            <p:cNvSpPr>
              <a:spLocks noChangeArrowheads="1"/>
            </p:cNvSpPr>
            <p:nvPr/>
          </p:nvSpPr>
          <p:spPr bwMode="auto">
            <a:xfrm>
              <a:off x="2746376" y="1855788"/>
              <a:ext cx="387350" cy="382588"/>
            </a:xfrm>
            <a:prstGeom prst="ellipse">
              <a:avLst/>
            </a:prstGeom>
            <a:solidFill>
              <a:schemeClr val="bg2"/>
            </a:solidFill>
            <a:ln>
              <a:noFill/>
            </a:ln>
          </p:spPr>
          <p:txBody>
            <a:bodyPr lIns="68580" tIns="34290" rIns="68580" bIns="34290"/>
            <a:lstStyle/>
            <a:p>
              <a:pPr>
                <a:defRPr/>
              </a:pPr>
              <a:endParaRPr lang="en-US" sz="1350"/>
            </a:p>
          </p:txBody>
        </p:sp>
      </p:grpSp>
      <p:grpSp>
        <p:nvGrpSpPr>
          <p:cNvPr id="16" name="Group 15"/>
          <p:cNvGrpSpPr/>
          <p:nvPr/>
        </p:nvGrpSpPr>
        <p:grpSpPr>
          <a:xfrm>
            <a:off x="8482853" y="2950004"/>
            <a:ext cx="461116" cy="668903"/>
            <a:chOff x="2682876" y="1790701"/>
            <a:chExt cx="514350" cy="746125"/>
          </a:xfrm>
          <a:effectLst>
            <a:outerShdw blurRad="76200" dir="18900000" sy="23000" kx="-1200000" algn="bl" rotWithShape="0">
              <a:prstClr val="black">
                <a:alpha val="20000"/>
              </a:prstClr>
            </a:outerShdw>
          </a:effectLst>
        </p:grpSpPr>
        <p:sp>
          <p:nvSpPr>
            <p:cNvPr id="17" name="Freeform 16"/>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3"/>
            </a:solidFill>
            <a:ln>
              <a:noFill/>
            </a:ln>
          </p:spPr>
          <p:txBody>
            <a:bodyPr lIns="68580" tIns="34290" rIns="68580" bIns="34290"/>
            <a:lstStyle/>
            <a:p>
              <a:pPr>
                <a:defRPr/>
              </a:pPr>
              <a:endParaRPr lang="en-US" sz="1350"/>
            </a:p>
          </p:txBody>
        </p:sp>
        <p:sp>
          <p:nvSpPr>
            <p:cNvPr id="18" name="Freeform 17"/>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3">
                <a:lumMod val="75000"/>
              </a:schemeClr>
            </a:solidFill>
            <a:ln>
              <a:noFill/>
            </a:ln>
          </p:spPr>
          <p:txBody>
            <a:bodyPr lIns="68580" tIns="34290" rIns="68580" bIns="34290"/>
            <a:lstStyle/>
            <a:p>
              <a:pPr>
                <a:defRPr/>
              </a:pPr>
              <a:endParaRPr lang="en-US" sz="1350"/>
            </a:p>
          </p:txBody>
        </p:sp>
        <p:sp>
          <p:nvSpPr>
            <p:cNvPr id="19" name="Oval 18"/>
            <p:cNvSpPr>
              <a:spLocks noChangeArrowheads="1"/>
            </p:cNvSpPr>
            <p:nvPr/>
          </p:nvSpPr>
          <p:spPr bwMode="auto">
            <a:xfrm>
              <a:off x="2746376" y="1855788"/>
              <a:ext cx="387350" cy="382588"/>
            </a:xfrm>
            <a:prstGeom prst="ellipse">
              <a:avLst/>
            </a:prstGeom>
            <a:solidFill>
              <a:schemeClr val="bg2"/>
            </a:solidFill>
            <a:ln>
              <a:noFill/>
            </a:ln>
          </p:spPr>
          <p:txBody>
            <a:bodyPr lIns="68580" tIns="34290" rIns="68580" bIns="34290"/>
            <a:lstStyle/>
            <a:p>
              <a:pPr>
                <a:defRPr/>
              </a:pPr>
              <a:endParaRPr lang="en-US" sz="1350"/>
            </a:p>
          </p:txBody>
        </p:sp>
      </p:grpSp>
      <p:grpSp>
        <p:nvGrpSpPr>
          <p:cNvPr id="20" name="Group 19"/>
          <p:cNvGrpSpPr/>
          <p:nvPr/>
        </p:nvGrpSpPr>
        <p:grpSpPr>
          <a:xfrm>
            <a:off x="9058269" y="2022105"/>
            <a:ext cx="383152" cy="555806"/>
            <a:chOff x="2682876" y="1790701"/>
            <a:chExt cx="514350" cy="746125"/>
          </a:xfrm>
          <a:effectLst>
            <a:outerShdw blurRad="76200" dir="18900000" sy="23000" kx="-1200000" algn="bl" rotWithShape="0">
              <a:prstClr val="black">
                <a:alpha val="20000"/>
              </a:prstClr>
            </a:outerShdw>
          </a:effectLst>
        </p:grpSpPr>
        <p:sp>
          <p:nvSpPr>
            <p:cNvPr id="21" name="Freeform 20"/>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4"/>
            </a:solidFill>
            <a:ln>
              <a:noFill/>
            </a:ln>
          </p:spPr>
          <p:txBody>
            <a:bodyPr lIns="68580" tIns="34290" rIns="68580" bIns="34290"/>
            <a:lstStyle/>
            <a:p>
              <a:pPr>
                <a:defRPr/>
              </a:pPr>
              <a:endParaRPr lang="en-US" sz="1350"/>
            </a:p>
          </p:txBody>
        </p:sp>
        <p:sp>
          <p:nvSpPr>
            <p:cNvPr id="22" name="Freeform 21"/>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4">
                <a:lumMod val="75000"/>
              </a:schemeClr>
            </a:solidFill>
            <a:ln>
              <a:noFill/>
            </a:ln>
          </p:spPr>
          <p:txBody>
            <a:bodyPr lIns="68580" tIns="34290" rIns="68580" bIns="34290"/>
            <a:lstStyle/>
            <a:p>
              <a:pPr>
                <a:defRPr/>
              </a:pPr>
              <a:endParaRPr lang="en-US" sz="1350"/>
            </a:p>
          </p:txBody>
        </p:sp>
        <p:sp>
          <p:nvSpPr>
            <p:cNvPr id="23" name="Oval 22"/>
            <p:cNvSpPr>
              <a:spLocks noChangeArrowheads="1"/>
            </p:cNvSpPr>
            <p:nvPr/>
          </p:nvSpPr>
          <p:spPr bwMode="auto">
            <a:xfrm>
              <a:off x="2746376" y="1855788"/>
              <a:ext cx="387350" cy="382588"/>
            </a:xfrm>
            <a:prstGeom prst="ellipse">
              <a:avLst/>
            </a:prstGeom>
            <a:solidFill>
              <a:schemeClr val="bg2"/>
            </a:solidFill>
            <a:ln>
              <a:noFill/>
            </a:ln>
          </p:spPr>
          <p:txBody>
            <a:bodyPr lIns="68580" tIns="34290" rIns="68580" bIns="34290"/>
            <a:lstStyle/>
            <a:p>
              <a:pPr>
                <a:defRPr/>
              </a:pPr>
              <a:endParaRPr lang="en-US" sz="1350"/>
            </a:p>
          </p:txBody>
        </p:sp>
      </p:grpSp>
      <p:sp>
        <p:nvSpPr>
          <p:cNvPr id="25" name="TextBox 24"/>
          <p:cNvSpPr txBox="1"/>
          <p:nvPr/>
        </p:nvSpPr>
        <p:spPr>
          <a:xfrm>
            <a:off x="2128838" y="4856163"/>
            <a:ext cx="2413000" cy="576262"/>
          </a:xfrm>
          <a:prstGeom prst="rect">
            <a:avLst/>
          </a:prstGeom>
          <a:noFill/>
        </p:spPr>
        <p:txBody>
          <a:bodyPr>
            <a:spAutoFit/>
          </a:bodyPr>
          <a:lstStyle/>
          <a:p>
            <a:pPr algn="r">
              <a:defRPr/>
            </a:pPr>
            <a:r>
              <a:rPr lang="id-ID" sz="1050" dirty="0"/>
              <a:t>it, sed do eiusmod tempor incididunt ut labore et dolore magna aliqua. Ut enim ad m</a:t>
            </a:r>
          </a:p>
        </p:txBody>
      </p:sp>
      <p:sp>
        <p:nvSpPr>
          <p:cNvPr id="26" name="TextBox 25"/>
          <p:cNvSpPr txBox="1"/>
          <p:nvPr/>
        </p:nvSpPr>
        <p:spPr>
          <a:xfrm>
            <a:off x="3203909" y="4651376"/>
            <a:ext cx="1337930" cy="276999"/>
          </a:xfrm>
          <a:prstGeom prst="rect">
            <a:avLst/>
          </a:prstGeom>
          <a:noFill/>
        </p:spPr>
        <p:txBody>
          <a:bodyPr wrap="none">
            <a:spAutoFit/>
          </a:bodyPr>
          <a:lstStyle/>
          <a:p>
            <a:pPr algn="r">
              <a:defRPr/>
            </a:pPr>
            <a:r>
              <a:rPr lang="en-US" sz="1200" b="1" dirty="0">
                <a:latin typeface="+mj-lt"/>
              </a:rPr>
              <a:t>Lorem ipsum </a:t>
            </a:r>
            <a:r>
              <a:rPr lang="en-US" sz="1200" b="1" dirty="0" err="1">
                <a:latin typeface="+mj-lt"/>
              </a:rPr>
              <a:t>dolo</a:t>
            </a:r>
            <a:endParaRPr lang="id-ID" sz="1200" b="1" dirty="0">
              <a:latin typeface="+mj-lt"/>
            </a:endParaRPr>
          </a:p>
        </p:txBody>
      </p:sp>
      <p:sp>
        <p:nvSpPr>
          <p:cNvPr id="29" name="TextBox 28"/>
          <p:cNvSpPr txBox="1"/>
          <p:nvPr/>
        </p:nvSpPr>
        <p:spPr>
          <a:xfrm>
            <a:off x="3397250" y="3852863"/>
            <a:ext cx="2413000" cy="577850"/>
          </a:xfrm>
          <a:prstGeom prst="rect">
            <a:avLst/>
          </a:prstGeom>
          <a:noFill/>
        </p:spPr>
        <p:txBody>
          <a:bodyPr>
            <a:spAutoFit/>
          </a:bodyPr>
          <a:lstStyle/>
          <a:p>
            <a:pPr algn="r">
              <a:defRPr/>
            </a:pPr>
            <a:r>
              <a:rPr lang="id-ID" sz="1050" dirty="0"/>
              <a:t>it, sed do eiusmod tempor incididunt ut labore et dolore magna aliqua. Ut enim ad m</a:t>
            </a:r>
          </a:p>
        </p:txBody>
      </p:sp>
      <p:sp>
        <p:nvSpPr>
          <p:cNvPr id="30" name="TextBox 29"/>
          <p:cNvSpPr txBox="1"/>
          <p:nvPr/>
        </p:nvSpPr>
        <p:spPr>
          <a:xfrm>
            <a:off x="4472320" y="3648076"/>
            <a:ext cx="1337930" cy="276999"/>
          </a:xfrm>
          <a:prstGeom prst="rect">
            <a:avLst/>
          </a:prstGeom>
          <a:noFill/>
        </p:spPr>
        <p:txBody>
          <a:bodyPr wrap="none">
            <a:spAutoFit/>
          </a:bodyPr>
          <a:lstStyle/>
          <a:p>
            <a:pPr algn="r">
              <a:defRPr/>
            </a:pPr>
            <a:r>
              <a:rPr lang="en-US" sz="1200" b="1" dirty="0">
                <a:latin typeface="+mj-lt"/>
              </a:rPr>
              <a:t>Lorem ipsum </a:t>
            </a:r>
            <a:r>
              <a:rPr lang="en-US" sz="1200" b="1" dirty="0" err="1">
                <a:latin typeface="+mj-lt"/>
              </a:rPr>
              <a:t>dolo</a:t>
            </a:r>
            <a:endParaRPr lang="id-ID" sz="1200" b="1" dirty="0">
              <a:latin typeface="+mj-lt"/>
            </a:endParaRPr>
          </a:p>
        </p:txBody>
      </p:sp>
      <p:sp>
        <p:nvSpPr>
          <p:cNvPr id="31" name="TextBox 30"/>
          <p:cNvSpPr txBox="1"/>
          <p:nvPr/>
        </p:nvSpPr>
        <p:spPr>
          <a:xfrm>
            <a:off x="4264025" y="2974975"/>
            <a:ext cx="2413000" cy="577850"/>
          </a:xfrm>
          <a:prstGeom prst="rect">
            <a:avLst/>
          </a:prstGeom>
          <a:noFill/>
        </p:spPr>
        <p:txBody>
          <a:bodyPr>
            <a:spAutoFit/>
          </a:bodyPr>
          <a:lstStyle/>
          <a:p>
            <a:pPr algn="r">
              <a:defRPr/>
            </a:pPr>
            <a:r>
              <a:rPr lang="id-ID" sz="1050" dirty="0"/>
              <a:t>it, sed do eiusmod tempor incididunt ut labore et dolore magna aliqua. Ut enim ad m</a:t>
            </a:r>
          </a:p>
        </p:txBody>
      </p:sp>
      <p:sp>
        <p:nvSpPr>
          <p:cNvPr id="32" name="TextBox 31"/>
          <p:cNvSpPr txBox="1"/>
          <p:nvPr/>
        </p:nvSpPr>
        <p:spPr>
          <a:xfrm>
            <a:off x="5339094" y="2770189"/>
            <a:ext cx="1337931" cy="276999"/>
          </a:xfrm>
          <a:prstGeom prst="rect">
            <a:avLst/>
          </a:prstGeom>
          <a:noFill/>
        </p:spPr>
        <p:txBody>
          <a:bodyPr wrap="none">
            <a:spAutoFit/>
          </a:bodyPr>
          <a:lstStyle/>
          <a:p>
            <a:pPr algn="r">
              <a:defRPr/>
            </a:pPr>
            <a:r>
              <a:rPr lang="en-US" sz="1200" b="1" dirty="0">
                <a:latin typeface="+mj-lt"/>
              </a:rPr>
              <a:t>Lorem ipsum </a:t>
            </a:r>
            <a:r>
              <a:rPr lang="en-US" sz="1200" b="1" dirty="0" err="1">
                <a:latin typeface="+mj-lt"/>
              </a:rPr>
              <a:t>dolo</a:t>
            </a:r>
            <a:endParaRPr lang="id-ID" sz="1200" b="1" dirty="0">
              <a:latin typeface="+mj-lt"/>
            </a:endParaRPr>
          </a:p>
        </p:txBody>
      </p:sp>
      <p:sp>
        <p:nvSpPr>
          <p:cNvPr id="33" name="TextBox 32"/>
          <p:cNvSpPr txBox="1"/>
          <p:nvPr/>
        </p:nvSpPr>
        <p:spPr>
          <a:xfrm>
            <a:off x="5229225" y="2090738"/>
            <a:ext cx="2413000" cy="577850"/>
          </a:xfrm>
          <a:prstGeom prst="rect">
            <a:avLst/>
          </a:prstGeom>
          <a:noFill/>
        </p:spPr>
        <p:txBody>
          <a:bodyPr>
            <a:spAutoFit/>
          </a:bodyPr>
          <a:lstStyle/>
          <a:p>
            <a:pPr algn="r">
              <a:defRPr/>
            </a:pPr>
            <a:r>
              <a:rPr lang="id-ID" sz="1050" dirty="0"/>
              <a:t>it, sed do eiusmod tempor incididunt ut labore et dolore magna aliqua. Ut enim ad m</a:t>
            </a:r>
          </a:p>
        </p:txBody>
      </p:sp>
      <p:sp>
        <p:nvSpPr>
          <p:cNvPr id="34" name="TextBox 33"/>
          <p:cNvSpPr txBox="1"/>
          <p:nvPr/>
        </p:nvSpPr>
        <p:spPr>
          <a:xfrm>
            <a:off x="6304295" y="1885951"/>
            <a:ext cx="1337930" cy="276999"/>
          </a:xfrm>
          <a:prstGeom prst="rect">
            <a:avLst/>
          </a:prstGeom>
          <a:noFill/>
        </p:spPr>
        <p:txBody>
          <a:bodyPr wrap="none">
            <a:spAutoFit/>
          </a:bodyPr>
          <a:lstStyle/>
          <a:p>
            <a:pPr algn="r">
              <a:defRPr/>
            </a:pPr>
            <a:r>
              <a:rPr lang="en-US" sz="1200" b="1" dirty="0">
                <a:latin typeface="+mj-lt"/>
              </a:rPr>
              <a:t>Lorem ipsum </a:t>
            </a:r>
            <a:r>
              <a:rPr lang="en-US" sz="1200" b="1" dirty="0" err="1">
                <a:latin typeface="+mj-lt"/>
              </a:rPr>
              <a:t>dolo</a:t>
            </a:r>
            <a:endParaRPr lang="id-ID" sz="1200" b="1" dirty="0">
              <a:latin typeface="+mj-lt"/>
            </a:endParaRPr>
          </a:p>
        </p:txBody>
      </p:sp>
      <p:cxnSp>
        <p:nvCxnSpPr>
          <p:cNvPr id="36" name="Straight Arrow Connector 35"/>
          <p:cNvCxnSpPr/>
          <p:nvPr/>
        </p:nvCxnSpPr>
        <p:spPr>
          <a:xfrm flipH="1">
            <a:off x="5102225" y="4991100"/>
            <a:ext cx="1441450" cy="0"/>
          </a:xfrm>
          <a:prstGeom prst="straightConnector1">
            <a:avLst/>
          </a:prstGeom>
          <a:ln w="19050">
            <a:tailEnd type="oval"/>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a:off x="6353175" y="4010025"/>
            <a:ext cx="1168400" cy="0"/>
          </a:xfrm>
          <a:prstGeom prst="straightConnector1">
            <a:avLst/>
          </a:prstGeom>
          <a:ln w="1905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7262813" y="3152775"/>
            <a:ext cx="1168400" cy="0"/>
          </a:xfrm>
          <a:prstGeom prst="straightConnector1">
            <a:avLst/>
          </a:prstGeom>
          <a:ln w="19050">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H="1">
            <a:off x="8132764" y="2232025"/>
            <a:ext cx="738187" cy="0"/>
          </a:xfrm>
          <a:prstGeom prst="straightConnector1">
            <a:avLst/>
          </a:prstGeom>
          <a:ln w="1905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6739135" y="4841875"/>
            <a:ext cx="418704" cy="369332"/>
          </a:xfrm>
          <a:prstGeom prst="rect">
            <a:avLst/>
          </a:prstGeom>
          <a:noFill/>
        </p:spPr>
        <p:txBody>
          <a:bodyPr wrap="none">
            <a:spAutoFit/>
          </a:bodyPr>
          <a:lstStyle/>
          <a:p>
            <a:pPr algn="ctr">
              <a:defRPr/>
            </a:pPr>
            <a:r>
              <a:rPr lang="en-US" b="1" dirty="0">
                <a:solidFill>
                  <a:schemeClr val="accent1"/>
                </a:solidFill>
                <a:latin typeface="+mj-lt"/>
              </a:rPr>
              <a:t>01</a:t>
            </a:r>
            <a:endParaRPr lang="id-ID" b="1" dirty="0">
              <a:solidFill>
                <a:schemeClr val="accent1"/>
              </a:solidFill>
              <a:latin typeface="+mj-lt"/>
            </a:endParaRPr>
          </a:p>
        </p:txBody>
      </p:sp>
      <p:sp>
        <p:nvSpPr>
          <p:cNvPr id="43" name="TextBox 42"/>
          <p:cNvSpPr txBox="1"/>
          <p:nvPr/>
        </p:nvSpPr>
        <p:spPr>
          <a:xfrm>
            <a:off x="7740333" y="3883025"/>
            <a:ext cx="360996" cy="300082"/>
          </a:xfrm>
          <a:prstGeom prst="rect">
            <a:avLst/>
          </a:prstGeom>
          <a:noFill/>
        </p:spPr>
        <p:txBody>
          <a:bodyPr wrap="none">
            <a:spAutoFit/>
          </a:bodyPr>
          <a:lstStyle/>
          <a:p>
            <a:pPr algn="ctr">
              <a:defRPr/>
            </a:pPr>
            <a:r>
              <a:rPr lang="en-US" sz="1350" b="1" dirty="0">
                <a:solidFill>
                  <a:schemeClr val="accent2"/>
                </a:solidFill>
                <a:latin typeface="+mj-lt"/>
              </a:rPr>
              <a:t>02</a:t>
            </a:r>
            <a:endParaRPr lang="id-ID" sz="1350" b="1" dirty="0">
              <a:solidFill>
                <a:schemeClr val="accent2"/>
              </a:solidFill>
              <a:latin typeface="+mj-lt"/>
            </a:endParaRPr>
          </a:p>
        </p:txBody>
      </p:sp>
      <p:sp>
        <p:nvSpPr>
          <p:cNvPr id="44" name="TextBox 43"/>
          <p:cNvSpPr txBox="1"/>
          <p:nvPr/>
        </p:nvSpPr>
        <p:spPr>
          <a:xfrm>
            <a:off x="8556626" y="3054350"/>
            <a:ext cx="320675" cy="253916"/>
          </a:xfrm>
          <a:prstGeom prst="rect">
            <a:avLst/>
          </a:prstGeom>
          <a:noFill/>
        </p:spPr>
        <p:txBody>
          <a:bodyPr>
            <a:spAutoFit/>
          </a:bodyPr>
          <a:lstStyle/>
          <a:p>
            <a:pPr algn="ctr">
              <a:defRPr/>
            </a:pPr>
            <a:r>
              <a:rPr lang="en-US" sz="1050" b="1" dirty="0">
                <a:solidFill>
                  <a:schemeClr val="accent3"/>
                </a:solidFill>
                <a:latin typeface="+mj-lt"/>
              </a:rPr>
              <a:t>03</a:t>
            </a:r>
            <a:endParaRPr lang="id-ID" sz="1050" b="1" dirty="0">
              <a:solidFill>
                <a:schemeClr val="accent3"/>
              </a:solidFill>
              <a:latin typeface="+mj-lt"/>
            </a:endParaRPr>
          </a:p>
        </p:txBody>
      </p:sp>
      <p:sp>
        <p:nvSpPr>
          <p:cNvPr id="45" name="TextBox 44"/>
          <p:cNvSpPr txBox="1"/>
          <p:nvPr/>
        </p:nvSpPr>
        <p:spPr>
          <a:xfrm>
            <a:off x="9073226" y="2087563"/>
            <a:ext cx="322524" cy="253916"/>
          </a:xfrm>
          <a:prstGeom prst="rect">
            <a:avLst/>
          </a:prstGeom>
          <a:noFill/>
        </p:spPr>
        <p:txBody>
          <a:bodyPr wrap="none">
            <a:spAutoFit/>
          </a:bodyPr>
          <a:lstStyle/>
          <a:p>
            <a:pPr algn="ctr">
              <a:defRPr/>
            </a:pPr>
            <a:r>
              <a:rPr lang="en-US" sz="1050" b="1" dirty="0">
                <a:solidFill>
                  <a:schemeClr val="accent4"/>
                </a:solidFill>
                <a:latin typeface="+mj-lt"/>
              </a:rPr>
              <a:t>04</a:t>
            </a:r>
            <a:endParaRPr lang="id-ID" sz="1050" b="1" dirty="0">
              <a:solidFill>
                <a:schemeClr val="accent4"/>
              </a:solidFill>
              <a:latin typeface="+mj-lt"/>
            </a:endParaRPr>
          </a:p>
        </p:txBody>
      </p:sp>
      <p:sp>
        <p:nvSpPr>
          <p:cNvPr id="41" name="Freeform 992">
            <a:extLst>
              <a:ext uri="{FF2B5EF4-FFF2-40B4-BE49-F238E27FC236}">
                <a16:creationId xmlns:a16="http://schemas.microsoft.com/office/drawing/2014/main" id="{24F11552-BD3A-47C4-A06F-FC8C5FA29374}"/>
              </a:ext>
            </a:extLst>
          </p:cNvPr>
          <p:cNvSpPr>
            <a:spLocks noChangeAspect="1" noEditPoints="1"/>
          </p:cNvSpPr>
          <p:nvPr/>
        </p:nvSpPr>
        <p:spPr bwMode="auto">
          <a:xfrm>
            <a:off x="7657182" y="2047514"/>
            <a:ext cx="369021" cy="369021"/>
          </a:xfrm>
          <a:custGeom>
            <a:avLst/>
            <a:gdLst>
              <a:gd name="T0" fmla="*/ 158 w 512"/>
              <a:gd name="T1" fmla="*/ 373 h 512"/>
              <a:gd name="T2" fmla="*/ 353 w 512"/>
              <a:gd name="T3" fmla="*/ 373 h 512"/>
              <a:gd name="T4" fmla="*/ 381 w 512"/>
              <a:gd name="T5" fmla="*/ 224 h 512"/>
              <a:gd name="T6" fmla="*/ 130 w 512"/>
              <a:gd name="T7" fmla="*/ 224 h 512"/>
              <a:gd name="T8" fmla="*/ 158 w 512"/>
              <a:gd name="T9" fmla="*/ 373 h 512"/>
              <a:gd name="T10" fmla="*/ 309 w 512"/>
              <a:gd name="T11" fmla="*/ 256 h 512"/>
              <a:gd name="T12" fmla="*/ 320 w 512"/>
              <a:gd name="T13" fmla="*/ 245 h 512"/>
              <a:gd name="T14" fmla="*/ 330 w 512"/>
              <a:gd name="T15" fmla="*/ 256 h 512"/>
              <a:gd name="T16" fmla="*/ 330 w 512"/>
              <a:gd name="T17" fmla="*/ 341 h 512"/>
              <a:gd name="T18" fmla="*/ 320 w 512"/>
              <a:gd name="T19" fmla="*/ 352 h 512"/>
              <a:gd name="T20" fmla="*/ 309 w 512"/>
              <a:gd name="T21" fmla="*/ 341 h 512"/>
              <a:gd name="T22" fmla="*/ 309 w 512"/>
              <a:gd name="T23" fmla="*/ 256 h 512"/>
              <a:gd name="T24" fmla="*/ 266 w 512"/>
              <a:gd name="T25" fmla="*/ 256 h 512"/>
              <a:gd name="T26" fmla="*/ 277 w 512"/>
              <a:gd name="T27" fmla="*/ 245 h 512"/>
              <a:gd name="T28" fmla="*/ 288 w 512"/>
              <a:gd name="T29" fmla="*/ 256 h 512"/>
              <a:gd name="T30" fmla="*/ 288 w 512"/>
              <a:gd name="T31" fmla="*/ 341 h 512"/>
              <a:gd name="T32" fmla="*/ 277 w 512"/>
              <a:gd name="T33" fmla="*/ 352 h 512"/>
              <a:gd name="T34" fmla="*/ 266 w 512"/>
              <a:gd name="T35" fmla="*/ 341 h 512"/>
              <a:gd name="T36" fmla="*/ 266 w 512"/>
              <a:gd name="T37" fmla="*/ 256 h 512"/>
              <a:gd name="T38" fmla="*/ 224 w 512"/>
              <a:gd name="T39" fmla="*/ 256 h 512"/>
              <a:gd name="T40" fmla="*/ 234 w 512"/>
              <a:gd name="T41" fmla="*/ 245 h 512"/>
              <a:gd name="T42" fmla="*/ 245 w 512"/>
              <a:gd name="T43" fmla="*/ 256 h 512"/>
              <a:gd name="T44" fmla="*/ 245 w 512"/>
              <a:gd name="T45" fmla="*/ 341 h 512"/>
              <a:gd name="T46" fmla="*/ 234 w 512"/>
              <a:gd name="T47" fmla="*/ 352 h 512"/>
              <a:gd name="T48" fmla="*/ 224 w 512"/>
              <a:gd name="T49" fmla="*/ 341 h 512"/>
              <a:gd name="T50" fmla="*/ 224 w 512"/>
              <a:gd name="T51" fmla="*/ 256 h 512"/>
              <a:gd name="T52" fmla="*/ 181 w 512"/>
              <a:gd name="T53" fmla="*/ 256 h 512"/>
              <a:gd name="T54" fmla="*/ 192 w 512"/>
              <a:gd name="T55" fmla="*/ 245 h 512"/>
              <a:gd name="T56" fmla="*/ 202 w 512"/>
              <a:gd name="T57" fmla="*/ 256 h 512"/>
              <a:gd name="T58" fmla="*/ 202 w 512"/>
              <a:gd name="T59" fmla="*/ 341 h 512"/>
              <a:gd name="T60" fmla="*/ 192 w 512"/>
              <a:gd name="T61" fmla="*/ 352 h 512"/>
              <a:gd name="T62" fmla="*/ 181 w 512"/>
              <a:gd name="T63" fmla="*/ 341 h 512"/>
              <a:gd name="T64" fmla="*/ 181 w 512"/>
              <a:gd name="T65" fmla="*/ 256 h 512"/>
              <a:gd name="T66" fmla="*/ 256 w 512"/>
              <a:gd name="T67" fmla="*/ 0 h 512"/>
              <a:gd name="T68" fmla="*/ 0 w 512"/>
              <a:gd name="T69" fmla="*/ 256 h 512"/>
              <a:gd name="T70" fmla="*/ 256 w 512"/>
              <a:gd name="T71" fmla="*/ 512 h 512"/>
              <a:gd name="T72" fmla="*/ 512 w 512"/>
              <a:gd name="T73" fmla="*/ 256 h 512"/>
              <a:gd name="T74" fmla="*/ 256 w 512"/>
              <a:gd name="T75" fmla="*/ 0 h 512"/>
              <a:gd name="T76" fmla="*/ 405 w 512"/>
              <a:gd name="T77" fmla="*/ 224 h 512"/>
              <a:gd name="T78" fmla="*/ 403 w 512"/>
              <a:gd name="T79" fmla="*/ 224 h 512"/>
              <a:gd name="T80" fmla="*/ 373 w 512"/>
              <a:gd name="T81" fmla="*/ 386 h 512"/>
              <a:gd name="T82" fmla="*/ 362 w 512"/>
              <a:gd name="T83" fmla="*/ 394 h 512"/>
              <a:gd name="T84" fmla="*/ 149 w 512"/>
              <a:gd name="T85" fmla="*/ 394 h 512"/>
              <a:gd name="T86" fmla="*/ 139 w 512"/>
              <a:gd name="T87" fmla="*/ 386 h 512"/>
              <a:gd name="T88" fmla="*/ 108 w 512"/>
              <a:gd name="T89" fmla="*/ 224 h 512"/>
              <a:gd name="T90" fmla="*/ 106 w 512"/>
              <a:gd name="T91" fmla="*/ 224 h 512"/>
              <a:gd name="T92" fmla="*/ 96 w 512"/>
              <a:gd name="T93" fmla="*/ 213 h 512"/>
              <a:gd name="T94" fmla="*/ 106 w 512"/>
              <a:gd name="T95" fmla="*/ 202 h 512"/>
              <a:gd name="T96" fmla="*/ 143 w 512"/>
              <a:gd name="T97" fmla="*/ 202 h 512"/>
              <a:gd name="T98" fmla="*/ 204 w 512"/>
              <a:gd name="T99" fmla="*/ 111 h 512"/>
              <a:gd name="T100" fmla="*/ 219 w 512"/>
              <a:gd name="T101" fmla="*/ 108 h 512"/>
              <a:gd name="T102" fmla="*/ 222 w 512"/>
              <a:gd name="T103" fmla="*/ 123 h 512"/>
              <a:gd name="T104" fmla="*/ 169 w 512"/>
              <a:gd name="T105" fmla="*/ 202 h 512"/>
              <a:gd name="T106" fmla="*/ 342 w 512"/>
              <a:gd name="T107" fmla="*/ 202 h 512"/>
              <a:gd name="T108" fmla="*/ 289 w 512"/>
              <a:gd name="T109" fmla="*/ 123 h 512"/>
              <a:gd name="T110" fmla="*/ 292 w 512"/>
              <a:gd name="T111" fmla="*/ 108 h 512"/>
              <a:gd name="T112" fmla="*/ 307 w 512"/>
              <a:gd name="T113" fmla="*/ 111 h 512"/>
              <a:gd name="T114" fmla="*/ 368 w 512"/>
              <a:gd name="T115" fmla="*/ 202 h 512"/>
              <a:gd name="T116" fmla="*/ 405 w 512"/>
              <a:gd name="T117" fmla="*/ 202 h 512"/>
              <a:gd name="T118" fmla="*/ 416 w 512"/>
              <a:gd name="T119" fmla="*/ 213 h 512"/>
              <a:gd name="T120" fmla="*/ 405 w 512"/>
              <a:gd name="T121"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58" y="373"/>
                </a:moveTo>
                <a:cubicBezTo>
                  <a:pt x="353" y="373"/>
                  <a:pt x="353" y="373"/>
                  <a:pt x="353" y="373"/>
                </a:cubicBezTo>
                <a:cubicBezTo>
                  <a:pt x="381" y="224"/>
                  <a:pt x="381" y="224"/>
                  <a:pt x="381" y="224"/>
                </a:cubicBezTo>
                <a:cubicBezTo>
                  <a:pt x="130" y="224"/>
                  <a:pt x="130" y="224"/>
                  <a:pt x="130" y="224"/>
                </a:cubicBezTo>
                <a:lnTo>
                  <a:pt x="158" y="373"/>
                </a:lnTo>
                <a:close/>
                <a:moveTo>
                  <a:pt x="309" y="256"/>
                </a:moveTo>
                <a:cubicBezTo>
                  <a:pt x="309" y="250"/>
                  <a:pt x="314" y="245"/>
                  <a:pt x="320" y="245"/>
                </a:cubicBezTo>
                <a:cubicBezTo>
                  <a:pt x="326" y="245"/>
                  <a:pt x="330" y="250"/>
                  <a:pt x="330" y="256"/>
                </a:cubicBezTo>
                <a:cubicBezTo>
                  <a:pt x="330" y="341"/>
                  <a:pt x="330" y="341"/>
                  <a:pt x="330" y="341"/>
                </a:cubicBezTo>
                <a:cubicBezTo>
                  <a:pt x="330" y="347"/>
                  <a:pt x="326" y="352"/>
                  <a:pt x="320" y="352"/>
                </a:cubicBezTo>
                <a:cubicBezTo>
                  <a:pt x="314" y="352"/>
                  <a:pt x="309" y="347"/>
                  <a:pt x="309" y="341"/>
                </a:cubicBezTo>
                <a:lnTo>
                  <a:pt x="309" y="256"/>
                </a:lnTo>
                <a:close/>
                <a:moveTo>
                  <a:pt x="266" y="256"/>
                </a:moveTo>
                <a:cubicBezTo>
                  <a:pt x="266" y="250"/>
                  <a:pt x="271" y="245"/>
                  <a:pt x="277" y="245"/>
                </a:cubicBezTo>
                <a:cubicBezTo>
                  <a:pt x="283" y="245"/>
                  <a:pt x="288" y="250"/>
                  <a:pt x="288" y="256"/>
                </a:cubicBezTo>
                <a:cubicBezTo>
                  <a:pt x="288" y="341"/>
                  <a:pt x="288" y="341"/>
                  <a:pt x="288" y="341"/>
                </a:cubicBezTo>
                <a:cubicBezTo>
                  <a:pt x="288" y="347"/>
                  <a:pt x="283" y="352"/>
                  <a:pt x="277" y="352"/>
                </a:cubicBezTo>
                <a:cubicBezTo>
                  <a:pt x="271" y="352"/>
                  <a:pt x="266" y="347"/>
                  <a:pt x="266" y="341"/>
                </a:cubicBezTo>
                <a:lnTo>
                  <a:pt x="266" y="256"/>
                </a:lnTo>
                <a:close/>
                <a:moveTo>
                  <a:pt x="224" y="256"/>
                </a:moveTo>
                <a:cubicBezTo>
                  <a:pt x="224" y="250"/>
                  <a:pt x="228" y="245"/>
                  <a:pt x="234" y="245"/>
                </a:cubicBezTo>
                <a:cubicBezTo>
                  <a:pt x="240" y="245"/>
                  <a:pt x="245" y="250"/>
                  <a:pt x="245" y="256"/>
                </a:cubicBezTo>
                <a:cubicBezTo>
                  <a:pt x="245" y="341"/>
                  <a:pt x="245" y="341"/>
                  <a:pt x="245" y="341"/>
                </a:cubicBezTo>
                <a:cubicBezTo>
                  <a:pt x="245" y="347"/>
                  <a:pt x="240" y="352"/>
                  <a:pt x="234" y="352"/>
                </a:cubicBezTo>
                <a:cubicBezTo>
                  <a:pt x="228" y="352"/>
                  <a:pt x="224" y="347"/>
                  <a:pt x="224" y="341"/>
                </a:cubicBezTo>
                <a:lnTo>
                  <a:pt x="224" y="256"/>
                </a:lnTo>
                <a:close/>
                <a:moveTo>
                  <a:pt x="181" y="256"/>
                </a:moveTo>
                <a:cubicBezTo>
                  <a:pt x="181" y="250"/>
                  <a:pt x="186" y="245"/>
                  <a:pt x="192" y="245"/>
                </a:cubicBezTo>
                <a:cubicBezTo>
                  <a:pt x="198" y="245"/>
                  <a:pt x="202" y="250"/>
                  <a:pt x="202" y="256"/>
                </a:cubicBezTo>
                <a:cubicBezTo>
                  <a:pt x="202" y="341"/>
                  <a:pt x="202" y="341"/>
                  <a:pt x="202" y="341"/>
                </a:cubicBezTo>
                <a:cubicBezTo>
                  <a:pt x="202" y="347"/>
                  <a:pt x="198" y="352"/>
                  <a:pt x="192" y="352"/>
                </a:cubicBezTo>
                <a:cubicBezTo>
                  <a:pt x="186" y="352"/>
                  <a:pt x="181" y="347"/>
                  <a:pt x="181" y="341"/>
                </a:cubicBezTo>
                <a:lnTo>
                  <a:pt x="181"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24"/>
                </a:moveTo>
                <a:cubicBezTo>
                  <a:pt x="403" y="224"/>
                  <a:pt x="403" y="224"/>
                  <a:pt x="403" y="224"/>
                </a:cubicBezTo>
                <a:cubicBezTo>
                  <a:pt x="373" y="386"/>
                  <a:pt x="373" y="386"/>
                  <a:pt x="373" y="386"/>
                </a:cubicBezTo>
                <a:cubicBezTo>
                  <a:pt x="372" y="391"/>
                  <a:pt x="367" y="394"/>
                  <a:pt x="362" y="394"/>
                </a:cubicBezTo>
                <a:cubicBezTo>
                  <a:pt x="149" y="394"/>
                  <a:pt x="149" y="394"/>
                  <a:pt x="149" y="394"/>
                </a:cubicBezTo>
                <a:cubicBezTo>
                  <a:pt x="144" y="394"/>
                  <a:pt x="139" y="391"/>
                  <a:pt x="139" y="386"/>
                </a:cubicBezTo>
                <a:cubicBezTo>
                  <a:pt x="108" y="224"/>
                  <a:pt x="108" y="224"/>
                  <a:pt x="108" y="224"/>
                </a:cubicBezTo>
                <a:cubicBezTo>
                  <a:pt x="106" y="224"/>
                  <a:pt x="106" y="224"/>
                  <a:pt x="106" y="224"/>
                </a:cubicBezTo>
                <a:cubicBezTo>
                  <a:pt x="100" y="224"/>
                  <a:pt x="96" y="219"/>
                  <a:pt x="96" y="213"/>
                </a:cubicBezTo>
                <a:cubicBezTo>
                  <a:pt x="96" y="207"/>
                  <a:pt x="100" y="202"/>
                  <a:pt x="106" y="202"/>
                </a:cubicBezTo>
                <a:cubicBezTo>
                  <a:pt x="143" y="202"/>
                  <a:pt x="143" y="202"/>
                  <a:pt x="143" y="202"/>
                </a:cubicBezTo>
                <a:cubicBezTo>
                  <a:pt x="204" y="111"/>
                  <a:pt x="204" y="111"/>
                  <a:pt x="204" y="111"/>
                </a:cubicBezTo>
                <a:cubicBezTo>
                  <a:pt x="207" y="106"/>
                  <a:pt x="214" y="105"/>
                  <a:pt x="219" y="108"/>
                </a:cubicBezTo>
                <a:cubicBezTo>
                  <a:pt x="224" y="111"/>
                  <a:pt x="225" y="118"/>
                  <a:pt x="222" y="123"/>
                </a:cubicBezTo>
                <a:cubicBezTo>
                  <a:pt x="169" y="202"/>
                  <a:pt x="169" y="202"/>
                  <a:pt x="169" y="202"/>
                </a:cubicBezTo>
                <a:cubicBezTo>
                  <a:pt x="342" y="202"/>
                  <a:pt x="342" y="202"/>
                  <a:pt x="342" y="202"/>
                </a:cubicBezTo>
                <a:cubicBezTo>
                  <a:pt x="289" y="123"/>
                  <a:pt x="289" y="123"/>
                  <a:pt x="289" y="123"/>
                </a:cubicBezTo>
                <a:cubicBezTo>
                  <a:pt x="286" y="118"/>
                  <a:pt x="288" y="111"/>
                  <a:pt x="292" y="108"/>
                </a:cubicBezTo>
                <a:cubicBezTo>
                  <a:pt x="297" y="105"/>
                  <a:pt x="304" y="106"/>
                  <a:pt x="307" y="111"/>
                </a:cubicBezTo>
                <a:cubicBezTo>
                  <a:pt x="368" y="202"/>
                  <a:pt x="368" y="202"/>
                  <a:pt x="368" y="202"/>
                </a:cubicBezTo>
                <a:cubicBezTo>
                  <a:pt x="405" y="202"/>
                  <a:pt x="405" y="202"/>
                  <a:pt x="405" y="202"/>
                </a:cubicBezTo>
                <a:cubicBezTo>
                  <a:pt x="411" y="202"/>
                  <a:pt x="416" y="207"/>
                  <a:pt x="416" y="213"/>
                </a:cubicBezTo>
                <a:cubicBezTo>
                  <a:pt x="416" y="219"/>
                  <a:pt x="411" y="224"/>
                  <a:pt x="405" y="224"/>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0" name="Freeform 1006">
            <a:extLst>
              <a:ext uri="{FF2B5EF4-FFF2-40B4-BE49-F238E27FC236}">
                <a16:creationId xmlns:a16="http://schemas.microsoft.com/office/drawing/2014/main" id="{BE60F9CE-F6C1-47EB-95E4-302EC4B7B1CB}"/>
              </a:ext>
            </a:extLst>
          </p:cNvPr>
          <p:cNvSpPr>
            <a:spLocks noChangeAspect="1" noEditPoints="1"/>
          </p:cNvSpPr>
          <p:nvPr/>
        </p:nvSpPr>
        <p:spPr bwMode="auto">
          <a:xfrm>
            <a:off x="6771644" y="2942599"/>
            <a:ext cx="367982" cy="367982"/>
          </a:xfrm>
          <a:custGeom>
            <a:avLst/>
            <a:gdLst>
              <a:gd name="T0" fmla="*/ 256 w 512"/>
              <a:gd name="T1" fmla="*/ 216 h 512"/>
              <a:gd name="T2" fmla="*/ 374 w 512"/>
              <a:gd name="T3" fmla="*/ 309 h 512"/>
              <a:gd name="T4" fmla="*/ 137 w 512"/>
              <a:gd name="T5" fmla="*/ 309 h 512"/>
              <a:gd name="T6" fmla="*/ 256 w 512"/>
              <a:gd name="T7" fmla="*/ 216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412 w 512"/>
              <a:gd name="T19" fmla="*/ 311 h 512"/>
              <a:gd name="T20" fmla="*/ 266 w 512"/>
              <a:gd name="T21" fmla="*/ 197 h 512"/>
              <a:gd name="T22" fmla="*/ 266 w 512"/>
              <a:gd name="T23" fmla="*/ 190 h 512"/>
              <a:gd name="T24" fmla="*/ 298 w 512"/>
              <a:gd name="T25" fmla="*/ 149 h 512"/>
              <a:gd name="T26" fmla="*/ 256 w 512"/>
              <a:gd name="T27" fmla="*/ 106 h 512"/>
              <a:gd name="T28" fmla="*/ 224 w 512"/>
              <a:gd name="T29" fmla="*/ 121 h 512"/>
              <a:gd name="T30" fmla="*/ 213 w 512"/>
              <a:gd name="T31" fmla="*/ 149 h 512"/>
              <a:gd name="T32" fmla="*/ 224 w 512"/>
              <a:gd name="T33" fmla="*/ 160 h 512"/>
              <a:gd name="T34" fmla="*/ 234 w 512"/>
              <a:gd name="T35" fmla="*/ 149 h 512"/>
              <a:gd name="T36" fmla="*/ 240 w 512"/>
              <a:gd name="T37" fmla="*/ 135 h 512"/>
              <a:gd name="T38" fmla="*/ 256 w 512"/>
              <a:gd name="T39" fmla="*/ 128 h 512"/>
              <a:gd name="T40" fmla="*/ 277 w 512"/>
              <a:gd name="T41" fmla="*/ 149 h 512"/>
              <a:gd name="T42" fmla="*/ 256 w 512"/>
              <a:gd name="T43" fmla="*/ 170 h 512"/>
              <a:gd name="T44" fmla="*/ 245 w 512"/>
              <a:gd name="T45" fmla="*/ 181 h 512"/>
              <a:gd name="T46" fmla="*/ 245 w 512"/>
              <a:gd name="T47" fmla="*/ 197 h 512"/>
              <a:gd name="T48" fmla="*/ 100 w 512"/>
              <a:gd name="T49" fmla="*/ 311 h 512"/>
              <a:gd name="T50" fmla="*/ 96 w 512"/>
              <a:gd name="T51" fmla="*/ 323 h 512"/>
              <a:gd name="T52" fmla="*/ 106 w 512"/>
              <a:gd name="T53" fmla="*/ 330 h 512"/>
              <a:gd name="T54" fmla="*/ 405 w 512"/>
              <a:gd name="T55" fmla="*/ 330 h 512"/>
              <a:gd name="T56" fmla="*/ 415 w 512"/>
              <a:gd name="T57" fmla="*/ 323 h 512"/>
              <a:gd name="T58" fmla="*/ 412 w 512"/>
              <a:gd name="T59" fmla="*/ 3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6"/>
                </a:moveTo>
                <a:cubicBezTo>
                  <a:pt x="374" y="309"/>
                  <a:pt x="374" y="309"/>
                  <a:pt x="374" y="309"/>
                </a:cubicBezTo>
                <a:cubicBezTo>
                  <a:pt x="137" y="309"/>
                  <a:pt x="137" y="309"/>
                  <a:pt x="137" y="309"/>
                </a:cubicBezTo>
                <a:lnTo>
                  <a:pt x="256" y="21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311"/>
                </a:moveTo>
                <a:cubicBezTo>
                  <a:pt x="266" y="197"/>
                  <a:pt x="266" y="197"/>
                  <a:pt x="266" y="197"/>
                </a:cubicBezTo>
                <a:cubicBezTo>
                  <a:pt x="266" y="190"/>
                  <a:pt x="266" y="190"/>
                  <a:pt x="266" y="190"/>
                </a:cubicBezTo>
                <a:cubicBezTo>
                  <a:pt x="285" y="186"/>
                  <a:pt x="298" y="169"/>
                  <a:pt x="298" y="149"/>
                </a:cubicBezTo>
                <a:cubicBezTo>
                  <a:pt x="298" y="125"/>
                  <a:pt x="279" y="106"/>
                  <a:pt x="256" y="106"/>
                </a:cubicBezTo>
                <a:cubicBezTo>
                  <a:pt x="244" y="106"/>
                  <a:pt x="232" y="112"/>
                  <a:pt x="224" y="121"/>
                </a:cubicBezTo>
                <a:cubicBezTo>
                  <a:pt x="217" y="128"/>
                  <a:pt x="213" y="138"/>
                  <a:pt x="213" y="149"/>
                </a:cubicBezTo>
                <a:cubicBezTo>
                  <a:pt x="213" y="155"/>
                  <a:pt x="218" y="160"/>
                  <a:pt x="224" y="160"/>
                </a:cubicBezTo>
                <a:cubicBezTo>
                  <a:pt x="230" y="160"/>
                  <a:pt x="234" y="155"/>
                  <a:pt x="234" y="149"/>
                </a:cubicBezTo>
                <a:cubicBezTo>
                  <a:pt x="234" y="144"/>
                  <a:pt x="236" y="139"/>
                  <a:pt x="240" y="135"/>
                </a:cubicBezTo>
                <a:cubicBezTo>
                  <a:pt x="244" y="130"/>
                  <a:pt x="250" y="128"/>
                  <a:pt x="256" y="128"/>
                </a:cubicBezTo>
                <a:cubicBezTo>
                  <a:pt x="267" y="128"/>
                  <a:pt x="277" y="137"/>
                  <a:pt x="277" y="149"/>
                </a:cubicBezTo>
                <a:cubicBezTo>
                  <a:pt x="277" y="161"/>
                  <a:pt x="267" y="170"/>
                  <a:pt x="256" y="170"/>
                </a:cubicBezTo>
                <a:cubicBezTo>
                  <a:pt x="250" y="170"/>
                  <a:pt x="245" y="175"/>
                  <a:pt x="245" y="181"/>
                </a:cubicBezTo>
                <a:cubicBezTo>
                  <a:pt x="245" y="197"/>
                  <a:pt x="245" y="197"/>
                  <a:pt x="245" y="197"/>
                </a:cubicBezTo>
                <a:cubicBezTo>
                  <a:pt x="100" y="311"/>
                  <a:pt x="100" y="311"/>
                  <a:pt x="100" y="311"/>
                </a:cubicBezTo>
                <a:cubicBezTo>
                  <a:pt x="96" y="314"/>
                  <a:pt x="95" y="319"/>
                  <a:pt x="96" y="323"/>
                </a:cubicBezTo>
                <a:cubicBezTo>
                  <a:pt x="98" y="327"/>
                  <a:pt x="102" y="330"/>
                  <a:pt x="106" y="330"/>
                </a:cubicBezTo>
                <a:cubicBezTo>
                  <a:pt x="405" y="330"/>
                  <a:pt x="405" y="330"/>
                  <a:pt x="405" y="330"/>
                </a:cubicBezTo>
                <a:cubicBezTo>
                  <a:pt x="410" y="330"/>
                  <a:pt x="414" y="327"/>
                  <a:pt x="415" y="323"/>
                </a:cubicBezTo>
                <a:cubicBezTo>
                  <a:pt x="417" y="319"/>
                  <a:pt x="415" y="314"/>
                  <a:pt x="412" y="311"/>
                </a:cubicBezTo>
                <a:close/>
              </a:path>
            </a:pathLst>
          </a:custGeom>
          <a:solidFill>
            <a:srgbClr val="26890D"/>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1" name="Freeform 471">
            <a:extLst>
              <a:ext uri="{FF2B5EF4-FFF2-40B4-BE49-F238E27FC236}">
                <a16:creationId xmlns:a16="http://schemas.microsoft.com/office/drawing/2014/main" id="{424335CC-0200-4ED5-B2E4-3F465FFB2808}"/>
              </a:ext>
            </a:extLst>
          </p:cNvPr>
          <p:cNvSpPr>
            <a:spLocks noChangeAspect="1" noEditPoints="1"/>
          </p:cNvSpPr>
          <p:nvPr/>
        </p:nvSpPr>
        <p:spPr bwMode="auto">
          <a:xfrm>
            <a:off x="5884932" y="3805737"/>
            <a:ext cx="367982" cy="367982"/>
          </a:xfrm>
          <a:custGeom>
            <a:avLst/>
            <a:gdLst>
              <a:gd name="T0" fmla="*/ 185 w 512"/>
              <a:gd name="T1" fmla="*/ 202 h 512"/>
              <a:gd name="T2" fmla="*/ 327 w 512"/>
              <a:gd name="T3" fmla="*/ 202 h 512"/>
              <a:gd name="T4" fmla="*/ 320 w 512"/>
              <a:gd name="T5" fmla="*/ 211 h 512"/>
              <a:gd name="T6" fmla="*/ 317 w 512"/>
              <a:gd name="T7" fmla="*/ 218 h 512"/>
              <a:gd name="T8" fmla="*/ 305 w 512"/>
              <a:gd name="T9" fmla="*/ 373 h 512"/>
              <a:gd name="T10" fmla="*/ 206 w 512"/>
              <a:gd name="T11" fmla="*/ 373 h 512"/>
              <a:gd name="T12" fmla="*/ 195 w 512"/>
              <a:gd name="T13" fmla="*/ 218 h 512"/>
              <a:gd name="T14" fmla="*/ 191 w 512"/>
              <a:gd name="T15" fmla="*/ 211 h 512"/>
              <a:gd name="T16" fmla="*/ 185 w 512"/>
              <a:gd name="T17" fmla="*/ 202 h 512"/>
              <a:gd name="T18" fmla="*/ 321 w 512"/>
              <a:gd name="T19" fmla="*/ 159 h 512"/>
              <a:gd name="T20" fmla="*/ 323 w 512"/>
              <a:gd name="T21" fmla="*/ 138 h 512"/>
              <a:gd name="T22" fmla="*/ 189 w 512"/>
              <a:gd name="T23" fmla="*/ 138 h 512"/>
              <a:gd name="T24" fmla="*/ 190 w 512"/>
              <a:gd name="T25" fmla="*/ 159 h 512"/>
              <a:gd name="T26" fmla="*/ 188 w 512"/>
              <a:gd name="T27" fmla="*/ 167 h 512"/>
              <a:gd name="T28" fmla="*/ 182 w 512"/>
              <a:gd name="T29" fmla="*/ 181 h 512"/>
              <a:gd name="T30" fmla="*/ 330 w 512"/>
              <a:gd name="T31" fmla="*/ 181 h 512"/>
              <a:gd name="T32" fmla="*/ 324 w 512"/>
              <a:gd name="T33" fmla="*/ 167 h 512"/>
              <a:gd name="T34" fmla="*/ 321 w 512"/>
              <a:gd name="T35" fmla="*/ 159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43 w 512"/>
              <a:gd name="T47" fmla="*/ 156 h 512"/>
              <a:gd name="T48" fmla="*/ 345 w 512"/>
              <a:gd name="T49" fmla="*/ 128 h 512"/>
              <a:gd name="T50" fmla="*/ 342 w 512"/>
              <a:gd name="T51" fmla="*/ 120 h 512"/>
              <a:gd name="T52" fmla="*/ 334 w 512"/>
              <a:gd name="T53" fmla="*/ 117 h 512"/>
              <a:gd name="T54" fmla="*/ 177 w 512"/>
              <a:gd name="T55" fmla="*/ 117 h 512"/>
              <a:gd name="T56" fmla="*/ 169 w 512"/>
              <a:gd name="T57" fmla="*/ 120 h 512"/>
              <a:gd name="T58" fmla="*/ 167 w 512"/>
              <a:gd name="T59" fmla="*/ 128 h 512"/>
              <a:gd name="T60" fmla="*/ 169 w 512"/>
              <a:gd name="T61" fmla="*/ 156 h 512"/>
              <a:gd name="T62" fmla="*/ 161 w 512"/>
              <a:gd name="T63" fmla="*/ 197 h 512"/>
              <a:gd name="T64" fmla="*/ 174 w 512"/>
              <a:gd name="T65" fmla="*/ 224 h 512"/>
              <a:gd name="T66" fmla="*/ 186 w 512"/>
              <a:gd name="T67" fmla="*/ 384 h 512"/>
              <a:gd name="T68" fmla="*/ 196 w 512"/>
              <a:gd name="T69" fmla="*/ 394 h 512"/>
              <a:gd name="T70" fmla="*/ 315 w 512"/>
              <a:gd name="T71" fmla="*/ 394 h 512"/>
              <a:gd name="T72" fmla="*/ 326 w 512"/>
              <a:gd name="T73" fmla="*/ 384 h 512"/>
              <a:gd name="T74" fmla="*/ 338 w 512"/>
              <a:gd name="T75" fmla="*/ 224 h 512"/>
              <a:gd name="T76" fmla="*/ 351 w 512"/>
              <a:gd name="T77" fmla="*/ 197 h 512"/>
              <a:gd name="T78" fmla="*/ 343 w 512"/>
              <a:gd name="T79" fmla="*/ 1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85" y="202"/>
                </a:moveTo>
                <a:cubicBezTo>
                  <a:pt x="327" y="202"/>
                  <a:pt x="327" y="202"/>
                  <a:pt x="327" y="202"/>
                </a:cubicBezTo>
                <a:cubicBezTo>
                  <a:pt x="325" y="206"/>
                  <a:pt x="323" y="209"/>
                  <a:pt x="320" y="211"/>
                </a:cubicBezTo>
                <a:cubicBezTo>
                  <a:pt x="318" y="213"/>
                  <a:pt x="317" y="215"/>
                  <a:pt x="317" y="218"/>
                </a:cubicBezTo>
                <a:cubicBezTo>
                  <a:pt x="305" y="373"/>
                  <a:pt x="305" y="373"/>
                  <a:pt x="305" y="373"/>
                </a:cubicBezTo>
                <a:cubicBezTo>
                  <a:pt x="206" y="373"/>
                  <a:pt x="206" y="373"/>
                  <a:pt x="206" y="373"/>
                </a:cubicBezTo>
                <a:cubicBezTo>
                  <a:pt x="195" y="218"/>
                  <a:pt x="195" y="218"/>
                  <a:pt x="195" y="218"/>
                </a:cubicBezTo>
                <a:cubicBezTo>
                  <a:pt x="194" y="215"/>
                  <a:pt x="193" y="213"/>
                  <a:pt x="191" y="211"/>
                </a:cubicBezTo>
                <a:cubicBezTo>
                  <a:pt x="189" y="209"/>
                  <a:pt x="186" y="206"/>
                  <a:pt x="185" y="202"/>
                </a:cubicBezTo>
                <a:close/>
                <a:moveTo>
                  <a:pt x="321" y="159"/>
                </a:moveTo>
                <a:cubicBezTo>
                  <a:pt x="323" y="138"/>
                  <a:pt x="323" y="138"/>
                  <a:pt x="323" y="138"/>
                </a:cubicBezTo>
                <a:cubicBezTo>
                  <a:pt x="189" y="138"/>
                  <a:pt x="189" y="138"/>
                  <a:pt x="189" y="138"/>
                </a:cubicBezTo>
                <a:cubicBezTo>
                  <a:pt x="190" y="159"/>
                  <a:pt x="190" y="159"/>
                  <a:pt x="190" y="159"/>
                </a:cubicBezTo>
                <a:cubicBezTo>
                  <a:pt x="190" y="162"/>
                  <a:pt x="189" y="165"/>
                  <a:pt x="188" y="167"/>
                </a:cubicBezTo>
                <a:cubicBezTo>
                  <a:pt x="184" y="170"/>
                  <a:pt x="182" y="175"/>
                  <a:pt x="182" y="181"/>
                </a:cubicBezTo>
                <a:cubicBezTo>
                  <a:pt x="330" y="181"/>
                  <a:pt x="330" y="181"/>
                  <a:pt x="330" y="181"/>
                </a:cubicBezTo>
                <a:cubicBezTo>
                  <a:pt x="329" y="175"/>
                  <a:pt x="327" y="170"/>
                  <a:pt x="324" y="167"/>
                </a:cubicBezTo>
                <a:cubicBezTo>
                  <a:pt x="322" y="165"/>
                  <a:pt x="321" y="162"/>
                  <a:pt x="321" y="15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3" y="156"/>
                </a:moveTo>
                <a:cubicBezTo>
                  <a:pt x="345" y="128"/>
                  <a:pt x="345" y="128"/>
                  <a:pt x="345" y="128"/>
                </a:cubicBezTo>
                <a:cubicBezTo>
                  <a:pt x="345" y="126"/>
                  <a:pt x="344" y="123"/>
                  <a:pt x="342" y="120"/>
                </a:cubicBezTo>
                <a:cubicBezTo>
                  <a:pt x="340" y="118"/>
                  <a:pt x="337" y="117"/>
                  <a:pt x="334" y="117"/>
                </a:cubicBezTo>
                <a:cubicBezTo>
                  <a:pt x="177" y="117"/>
                  <a:pt x="177" y="117"/>
                  <a:pt x="177" y="117"/>
                </a:cubicBezTo>
                <a:cubicBezTo>
                  <a:pt x="174" y="117"/>
                  <a:pt x="171" y="118"/>
                  <a:pt x="169" y="120"/>
                </a:cubicBezTo>
                <a:cubicBezTo>
                  <a:pt x="167" y="123"/>
                  <a:pt x="166" y="126"/>
                  <a:pt x="167" y="128"/>
                </a:cubicBezTo>
                <a:cubicBezTo>
                  <a:pt x="169" y="156"/>
                  <a:pt x="169" y="156"/>
                  <a:pt x="169" y="156"/>
                </a:cubicBezTo>
                <a:cubicBezTo>
                  <a:pt x="161" y="167"/>
                  <a:pt x="158" y="182"/>
                  <a:pt x="161" y="197"/>
                </a:cubicBezTo>
                <a:cubicBezTo>
                  <a:pt x="163" y="207"/>
                  <a:pt x="167" y="217"/>
                  <a:pt x="174" y="224"/>
                </a:cubicBezTo>
                <a:cubicBezTo>
                  <a:pt x="186" y="384"/>
                  <a:pt x="186" y="384"/>
                  <a:pt x="186" y="384"/>
                </a:cubicBezTo>
                <a:cubicBezTo>
                  <a:pt x="186" y="390"/>
                  <a:pt x="191" y="394"/>
                  <a:pt x="196" y="394"/>
                </a:cubicBezTo>
                <a:cubicBezTo>
                  <a:pt x="315" y="394"/>
                  <a:pt x="315" y="394"/>
                  <a:pt x="315" y="394"/>
                </a:cubicBezTo>
                <a:cubicBezTo>
                  <a:pt x="320" y="394"/>
                  <a:pt x="325" y="390"/>
                  <a:pt x="326" y="384"/>
                </a:cubicBezTo>
                <a:cubicBezTo>
                  <a:pt x="338" y="224"/>
                  <a:pt x="338" y="224"/>
                  <a:pt x="338" y="224"/>
                </a:cubicBezTo>
                <a:cubicBezTo>
                  <a:pt x="344" y="217"/>
                  <a:pt x="349" y="207"/>
                  <a:pt x="351" y="197"/>
                </a:cubicBezTo>
                <a:cubicBezTo>
                  <a:pt x="353" y="182"/>
                  <a:pt x="350" y="167"/>
                  <a:pt x="343" y="156"/>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2" name="Freeform 114">
            <a:extLst>
              <a:ext uri="{FF2B5EF4-FFF2-40B4-BE49-F238E27FC236}">
                <a16:creationId xmlns:a16="http://schemas.microsoft.com/office/drawing/2014/main" id="{D404C3BA-3591-40AF-AAA7-17CA09FF52FC}"/>
              </a:ext>
            </a:extLst>
          </p:cNvPr>
          <p:cNvSpPr>
            <a:spLocks noChangeAspect="1" noEditPoints="1"/>
          </p:cNvSpPr>
          <p:nvPr/>
        </p:nvSpPr>
        <p:spPr bwMode="auto">
          <a:xfrm>
            <a:off x="4636410" y="4807284"/>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05 w 512"/>
              <a:gd name="T13" fmla="*/ 373 h 512"/>
              <a:gd name="T14" fmla="*/ 106 w 512"/>
              <a:gd name="T15" fmla="*/ 373 h 512"/>
              <a:gd name="T16" fmla="*/ 96 w 512"/>
              <a:gd name="T17" fmla="*/ 362 h 512"/>
              <a:gd name="T18" fmla="*/ 96 w 512"/>
              <a:gd name="T19" fmla="*/ 149 h 512"/>
              <a:gd name="T20" fmla="*/ 106 w 512"/>
              <a:gd name="T21" fmla="*/ 138 h 512"/>
              <a:gd name="T22" fmla="*/ 405 w 512"/>
              <a:gd name="T23" fmla="*/ 138 h 512"/>
              <a:gd name="T24" fmla="*/ 416 w 512"/>
              <a:gd name="T25" fmla="*/ 149 h 512"/>
              <a:gd name="T26" fmla="*/ 416 w 512"/>
              <a:gd name="T27" fmla="*/ 362 h 512"/>
              <a:gd name="T28" fmla="*/ 117 w 512"/>
              <a:gd name="T29" fmla="*/ 160 h 512"/>
              <a:gd name="T30" fmla="*/ 394 w 512"/>
              <a:gd name="T31" fmla="*/ 160 h 512"/>
              <a:gd name="T32" fmla="*/ 394 w 512"/>
              <a:gd name="T33" fmla="*/ 181 h 512"/>
              <a:gd name="T34" fmla="*/ 117 w 512"/>
              <a:gd name="T35" fmla="*/ 181 h 512"/>
              <a:gd name="T36" fmla="*/ 117 w 512"/>
              <a:gd name="T37" fmla="*/ 160 h 512"/>
              <a:gd name="T38" fmla="*/ 117 w 512"/>
              <a:gd name="T39" fmla="*/ 352 h 512"/>
              <a:gd name="T40" fmla="*/ 394 w 512"/>
              <a:gd name="T41" fmla="*/ 352 h 512"/>
              <a:gd name="T42" fmla="*/ 394 w 512"/>
              <a:gd name="T43" fmla="*/ 224 h 512"/>
              <a:gd name="T44" fmla="*/ 117 w 512"/>
              <a:gd name="T45" fmla="*/ 224 h 512"/>
              <a:gd name="T46" fmla="*/ 117 w 512"/>
              <a:gd name="T47" fmla="*/ 352 h 512"/>
              <a:gd name="T48" fmla="*/ 149 w 512"/>
              <a:gd name="T49" fmla="*/ 309 h 512"/>
              <a:gd name="T50" fmla="*/ 256 w 512"/>
              <a:gd name="T51" fmla="*/ 309 h 512"/>
              <a:gd name="T52" fmla="*/ 266 w 512"/>
              <a:gd name="T53" fmla="*/ 320 h 512"/>
              <a:gd name="T54" fmla="*/ 256 w 512"/>
              <a:gd name="T55" fmla="*/ 330 h 512"/>
              <a:gd name="T56" fmla="*/ 149 w 512"/>
              <a:gd name="T57" fmla="*/ 330 h 512"/>
              <a:gd name="T58" fmla="*/ 138 w 512"/>
              <a:gd name="T59" fmla="*/ 320 h 512"/>
              <a:gd name="T60" fmla="*/ 149 w 512"/>
              <a:gd name="T6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62"/>
                </a:lnTo>
                <a:close/>
                <a:moveTo>
                  <a:pt x="117" y="160"/>
                </a:moveTo>
                <a:cubicBezTo>
                  <a:pt x="394" y="160"/>
                  <a:pt x="394" y="160"/>
                  <a:pt x="394" y="160"/>
                </a:cubicBezTo>
                <a:cubicBezTo>
                  <a:pt x="394" y="181"/>
                  <a:pt x="394" y="181"/>
                  <a:pt x="394" y="181"/>
                </a:cubicBezTo>
                <a:cubicBezTo>
                  <a:pt x="117" y="181"/>
                  <a:pt x="117" y="181"/>
                  <a:pt x="117" y="181"/>
                </a:cubicBezTo>
                <a:lnTo>
                  <a:pt x="117" y="160"/>
                </a:lnTo>
                <a:close/>
                <a:moveTo>
                  <a:pt x="117" y="352"/>
                </a:moveTo>
                <a:cubicBezTo>
                  <a:pt x="394" y="352"/>
                  <a:pt x="394" y="352"/>
                  <a:pt x="394" y="352"/>
                </a:cubicBezTo>
                <a:cubicBezTo>
                  <a:pt x="394" y="224"/>
                  <a:pt x="394" y="224"/>
                  <a:pt x="394" y="224"/>
                </a:cubicBezTo>
                <a:cubicBezTo>
                  <a:pt x="117" y="224"/>
                  <a:pt x="117" y="224"/>
                  <a:pt x="117" y="224"/>
                </a:cubicBezTo>
                <a:lnTo>
                  <a:pt x="117" y="352"/>
                </a:lnTo>
                <a:close/>
                <a:moveTo>
                  <a:pt x="149" y="309"/>
                </a:moveTo>
                <a:cubicBezTo>
                  <a:pt x="256" y="309"/>
                  <a:pt x="256" y="309"/>
                  <a:pt x="256" y="309"/>
                </a:cubicBezTo>
                <a:cubicBezTo>
                  <a:pt x="262" y="309"/>
                  <a:pt x="266" y="314"/>
                  <a:pt x="266" y="320"/>
                </a:cubicBezTo>
                <a:cubicBezTo>
                  <a:pt x="266" y="326"/>
                  <a:pt x="262" y="330"/>
                  <a:pt x="256" y="330"/>
                </a:cubicBezTo>
                <a:cubicBezTo>
                  <a:pt x="149" y="330"/>
                  <a:pt x="149" y="330"/>
                  <a:pt x="149" y="330"/>
                </a:cubicBezTo>
                <a:cubicBezTo>
                  <a:pt x="143" y="330"/>
                  <a:pt x="138" y="326"/>
                  <a:pt x="138" y="320"/>
                </a:cubicBezTo>
                <a:cubicBezTo>
                  <a:pt x="138" y="314"/>
                  <a:pt x="143" y="309"/>
                  <a:pt x="149" y="309"/>
                </a:cubicBezTo>
                <a:close/>
              </a:path>
            </a:pathLst>
          </a:custGeom>
          <a:solidFill>
            <a:srgbClr val="84BB20"/>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3301492286"/>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nodeType="afterGroup">
                            <p:stCondLst>
                              <p:cond delay="500"/>
                            </p:stCondLst>
                            <p:childTnLst>
                              <p:par>
                                <p:cTn id="9" presetID="2" presetClass="entr" presetSubtype="1"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0-#ppt_h/2"/>
                                          </p:val>
                                        </p:tav>
                                        <p:tav tm="100000">
                                          <p:val>
                                            <p:strVal val="#ppt_y"/>
                                          </p:val>
                                        </p:tav>
                                      </p:tavLst>
                                    </p:anim>
                                  </p:childTnLst>
                                </p:cTn>
                              </p:par>
                            </p:childTnLst>
                          </p:cTn>
                        </p:par>
                        <p:par>
                          <p:cTn id="13" fill="hold" nodeType="afterGroup">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500"/>
                                        <p:tgtEl>
                                          <p:spTgt spid="42"/>
                                        </p:tgtEl>
                                      </p:cBhvr>
                                    </p:animEffect>
                                  </p:childTnLst>
                                </p:cTn>
                              </p:par>
                            </p:childTnLst>
                          </p:cTn>
                        </p:par>
                        <p:par>
                          <p:cTn id="17" fill="hold" nodeType="afterGroup">
                            <p:stCondLst>
                              <p:cond delay="1500"/>
                            </p:stCondLst>
                            <p:childTnLst>
                              <p:par>
                                <p:cTn id="18" presetID="22" presetClass="entr" presetSubtype="2" fill="hold" nodeType="afterEffect">
                                  <p:stCondLst>
                                    <p:cond delay="0"/>
                                  </p:stCondLst>
                                  <p:childTnLst>
                                    <p:set>
                                      <p:cBhvr>
                                        <p:cTn id="19" dur="1" fill="hold">
                                          <p:stCondLst>
                                            <p:cond delay="0"/>
                                          </p:stCondLst>
                                        </p:cTn>
                                        <p:tgtEl>
                                          <p:spTgt spid="36"/>
                                        </p:tgtEl>
                                        <p:attrNameLst>
                                          <p:attrName>style.visibility</p:attrName>
                                        </p:attrNameLst>
                                      </p:cBhvr>
                                      <p:to>
                                        <p:strVal val="visible"/>
                                      </p:to>
                                    </p:set>
                                    <p:animEffect transition="in" filter="wipe(right)">
                                      <p:cBhvr>
                                        <p:cTn id="20" dur="500"/>
                                        <p:tgtEl>
                                          <p:spTgt spid="36"/>
                                        </p:tgtEl>
                                      </p:cBhvr>
                                    </p:animEffect>
                                  </p:childTnLst>
                                </p:cTn>
                              </p:par>
                            </p:childTnLst>
                          </p:cTn>
                        </p:par>
                        <p:par>
                          <p:cTn id="21" fill="hold" nodeType="afterGroup">
                            <p:stCondLst>
                              <p:cond delay="2000"/>
                            </p:stCondLst>
                            <p:childTnLst>
                              <p:par>
                                <p:cTn id="22" presetID="2" presetClass="entr" presetSubtype="8" fill="hold" grpId="0" nodeType="afterEffect">
                                  <p:stCondLst>
                                    <p:cond delay="0"/>
                                  </p:stCondLst>
                                  <p:childTnLst>
                                    <p:set>
                                      <p:cBhvr>
                                        <p:cTn id="23" dur="1" fill="hold">
                                          <p:stCondLst>
                                            <p:cond delay="0"/>
                                          </p:stCondLst>
                                        </p:cTn>
                                        <p:tgtEl>
                                          <p:spTgt spid="26"/>
                                        </p:tgtEl>
                                        <p:attrNameLst>
                                          <p:attrName>style.visibility</p:attrName>
                                        </p:attrNameLst>
                                      </p:cBhvr>
                                      <p:to>
                                        <p:strVal val="visible"/>
                                      </p:to>
                                    </p:set>
                                    <p:anim calcmode="lin" valueType="num">
                                      <p:cBhvr additive="base">
                                        <p:cTn id="24" dur="500" fill="hold"/>
                                        <p:tgtEl>
                                          <p:spTgt spid="26"/>
                                        </p:tgtEl>
                                        <p:attrNameLst>
                                          <p:attrName>ppt_x</p:attrName>
                                        </p:attrNameLst>
                                      </p:cBhvr>
                                      <p:tavLst>
                                        <p:tav tm="0">
                                          <p:val>
                                            <p:strVal val="0-#ppt_w/2"/>
                                          </p:val>
                                        </p:tav>
                                        <p:tav tm="100000">
                                          <p:val>
                                            <p:strVal val="#ppt_x"/>
                                          </p:val>
                                        </p:tav>
                                      </p:tavLst>
                                    </p:anim>
                                    <p:anim calcmode="lin" valueType="num">
                                      <p:cBhvr additive="base">
                                        <p:cTn id="25" dur="500" fill="hold"/>
                                        <p:tgtEl>
                                          <p:spTgt spid="26"/>
                                        </p:tgtEl>
                                        <p:attrNameLst>
                                          <p:attrName>ppt_y</p:attrName>
                                        </p:attrNameLst>
                                      </p:cBhvr>
                                      <p:tavLst>
                                        <p:tav tm="0">
                                          <p:val>
                                            <p:strVal val="#ppt_y"/>
                                          </p:val>
                                        </p:tav>
                                        <p:tav tm="100000">
                                          <p:val>
                                            <p:strVal val="#ppt_y"/>
                                          </p:val>
                                        </p:tav>
                                      </p:tavLst>
                                    </p:anim>
                                  </p:childTnLst>
                                </p:cTn>
                              </p:par>
                            </p:childTnLst>
                          </p:cTn>
                        </p:par>
                        <p:par>
                          <p:cTn id="26" fill="hold" nodeType="afterGroup">
                            <p:stCondLst>
                              <p:cond delay="2500"/>
                            </p:stCondLst>
                            <p:childTnLst>
                              <p:par>
                                <p:cTn id="27" presetID="2" presetClass="entr" presetSubtype="8" fill="hold" grpId="0" nodeType="afterEffect">
                                  <p:stCondLst>
                                    <p:cond delay="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500" fill="hold"/>
                                        <p:tgtEl>
                                          <p:spTgt spid="25"/>
                                        </p:tgtEl>
                                        <p:attrNameLst>
                                          <p:attrName>ppt_x</p:attrName>
                                        </p:attrNameLst>
                                      </p:cBhvr>
                                      <p:tavLst>
                                        <p:tav tm="0">
                                          <p:val>
                                            <p:strVal val="0-#ppt_w/2"/>
                                          </p:val>
                                        </p:tav>
                                        <p:tav tm="100000">
                                          <p:val>
                                            <p:strVal val="#ppt_x"/>
                                          </p:val>
                                        </p:tav>
                                      </p:tavLst>
                                    </p:anim>
                                    <p:anim calcmode="lin" valueType="num">
                                      <p:cBhvr additive="base">
                                        <p:cTn id="30" dur="500" fill="hold"/>
                                        <p:tgtEl>
                                          <p:spTgt spid="25"/>
                                        </p:tgtEl>
                                        <p:attrNameLst>
                                          <p:attrName>ppt_y</p:attrName>
                                        </p:attrNameLst>
                                      </p:cBhvr>
                                      <p:tavLst>
                                        <p:tav tm="0">
                                          <p:val>
                                            <p:strVal val="#ppt_y"/>
                                          </p:val>
                                        </p:tav>
                                        <p:tav tm="100000">
                                          <p:val>
                                            <p:strVal val="#ppt_y"/>
                                          </p:val>
                                        </p:tav>
                                      </p:tavLst>
                                    </p:anim>
                                  </p:childTnLst>
                                </p:cTn>
                              </p:par>
                            </p:childTnLst>
                          </p:cTn>
                        </p:par>
                        <p:par>
                          <p:cTn id="31" fill="hold" nodeType="afterGroup">
                            <p:stCondLst>
                              <p:cond delay="3000"/>
                            </p:stCondLst>
                            <p:childTnLst>
                              <p:par>
                                <p:cTn id="32" presetID="2" presetClass="entr" presetSubtype="1" fill="hold" nodeType="afterEffect">
                                  <p:stCondLst>
                                    <p:cond delay="0"/>
                                  </p:stCondLst>
                                  <p:childTnLst>
                                    <p:set>
                                      <p:cBhvr>
                                        <p:cTn id="33" dur="1" fill="hold">
                                          <p:stCondLst>
                                            <p:cond delay="0"/>
                                          </p:stCondLst>
                                        </p:cTn>
                                        <p:tgtEl>
                                          <p:spTgt spid="12"/>
                                        </p:tgtEl>
                                        <p:attrNameLst>
                                          <p:attrName>style.visibility</p:attrName>
                                        </p:attrNameLst>
                                      </p:cBhvr>
                                      <p:to>
                                        <p:strVal val="visible"/>
                                      </p:to>
                                    </p:set>
                                    <p:anim calcmode="lin" valueType="num">
                                      <p:cBhvr additive="base">
                                        <p:cTn id="34" dur="500" fill="hold"/>
                                        <p:tgtEl>
                                          <p:spTgt spid="12"/>
                                        </p:tgtEl>
                                        <p:attrNameLst>
                                          <p:attrName>ppt_x</p:attrName>
                                        </p:attrNameLst>
                                      </p:cBhvr>
                                      <p:tavLst>
                                        <p:tav tm="0">
                                          <p:val>
                                            <p:strVal val="#ppt_x"/>
                                          </p:val>
                                        </p:tav>
                                        <p:tav tm="100000">
                                          <p:val>
                                            <p:strVal val="#ppt_x"/>
                                          </p:val>
                                        </p:tav>
                                      </p:tavLst>
                                    </p:anim>
                                    <p:anim calcmode="lin" valueType="num">
                                      <p:cBhvr additive="base">
                                        <p:cTn id="35" dur="500" fill="hold"/>
                                        <p:tgtEl>
                                          <p:spTgt spid="12"/>
                                        </p:tgtEl>
                                        <p:attrNameLst>
                                          <p:attrName>ppt_y</p:attrName>
                                        </p:attrNameLst>
                                      </p:cBhvr>
                                      <p:tavLst>
                                        <p:tav tm="0">
                                          <p:val>
                                            <p:strVal val="0-#ppt_h/2"/>
                                          </p:val>
                                        </p:tav>
                                        <p:tav tm="100000">
                                          <p:val>
                                            <p:strVal val="#ppt_y"/>
                                          </p:val>
                                        </p:tav>
                                      </p:tavLst>
                                    </p:anim>
                                  </p:childTnLst>
                                </p:cTn>
                              </p:par>
                            </p:childTnLst>
                          </p:cTn>
                        </p:par>
                        <p:par>
                          <p:cTn id="36" fill="hold" nodeType="afterGroup">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43"/>
                                        </p:tgtEl>
                                        <p:attrNameLst>
                                          <p:attrName>style.visibility</p:attrName>
                                        </p:attrNameLst>
                                      </p:cBhvr>
                                      <p:to>
                                        <p:strVal val="visible"/>
                                      </p:to>
                                    </p:set>
                                    <p:animEffect transition="in" filter="fade">
                                      <p:cBhvr>
                                        <p:cTn id="39" dur="500"/>
                                        <p:tgtEl>
                                          <p:spTgt spid="43"/>
                                        </p:tgtEl>
                                      </p:cBhvr>
                                    </p:animEffect>
                                  </p:childTnLst>
                                </p:cTn>
                              </p:par>
                            </p:childTnLst>
                          </p:cTn>
                        </p:par>
                        <p:par>
                          <p:cTn id="40" fill="hold" nodeType="afterGroup">
                            <p:stCondLst>
                              <p:cond delay="4000"/>
                            </p:stCondLst>
                            <p:childTnLst>
                              <p:par>
                                <p:cTn id="41" presetID="22" presetClass="entr" presetSubtype="2" fill="hold" nodeType="after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wipe(right)">
                                      <p:cBhvr>
                                        <p:cTn id="43" dur="500"/>
                                        <p:tgtEl>
                                          <p:spTgt spid="37"/>
                                        </p:tgtEl>
                                      </p:cBhvr>
                                    </p:animEffect>
                                  </p:childTnLst>
                                </p:cTn>
                              </p:par>
                            </p:childTnLst>
                          </p:cTn>
                        </p:par>
                        <p:par>
                          <p:cTn id="44" fill="hold" nodeType="afterGroup">
                            <p:stCondLst>
                              <p:cond delay="4500"/>
                            </p:stCondLst>
                            <p:childTnLst>
                              <p:par>
                                <p:cTn id="45" presetID="2" presetClass="entr" presetSubtype="8" fill="hold" grpId="0" nodeType="afterEffect">
                                  <p:stCondLst>
                                    <p:cond delay="0"/>
                                  </p:stCondLst>
                                  <p:childTnLst>
                                    <p:set>
                                      <p:cBhvr>
                                        <p:cTn id="46" dur="1" fill="hold">
                                          <p:stCondLst>
                                            <p:cond delay="0"/>
                                          </p:stCondLst>
                                        </p:cTn>
                                        <p:tgtEl>
                                          <p:spTgt spid="30"/>
                                        </p:tgtEl>
                                        <p:attrNameLst>
                                          <p:attrName>style.visibility</p:attrName>
                                        </p:attrNameLst>
                                      </p:cBhvr>
                                      <p:to>
                                        <p:strVal val="visible"/>
                                      </p:to>
                                    </p:set>
                                    <p:anim calcmode="lin" valueType="num">
                                      <p:cBhvr additive="base">
                                        <p:cTn id="47" dur="500" fill="hold"/>
                                        <p:tgtEl>
                                          <p:spTgt spid="30"/>
                                        </p:tgtEl>
                                        <p:attrNameLst>
                                          <p:attrName>ppt_x</p:attrName>
                                        </p:attrNameLst>
                                      </p:cBhvr>
                                      <p:tavLst>
                                        <p:tav tm="0">
                                          <p:val>
                                            <p:strVal val="0-#ppt_w/2"/>
                                          </p:val>
                                        </p:tav>
                                        <p:tav tm="100000">
                                          <p:val>
                                            <p:strVal val="#ppt_x"/>
                                          </p:val>
                                        </p:tav>
                                      </p:tavLst>
                                    </p:anim>
                                    <p:anim calcmode="lin" valueType="num">
                                      <p:cBhvr additive="base">
                                        <p:cTn id="48" dur="500" fill="hold"/>
                                        <p:tgtEl>
                                          <p:spTgt spid="30"/>
                                        </p:tgtEl>
                                        <p:attrNameLst>
                                          <p:attrName>ppt_y</p:attrName>
                                        </p:attrNameLst>
                                      </p:cBhvr>
                                      <p:tavLst>
                                        <p:tav tm="0">
                                          <p:val>
                                            <p:strVal val="#ppt_y"/>
                                          </p:val>
                                        </p:tav>
                                        <p:tav tm="100000">
                                          <p:val>
                                            <p:strVal val="#ppt_y"/>
                                          </p:val>
                                        </p:tav>
                                      </p:tavLst>
                                    </p:anim>
                                  </p:childTnLst>
                                </p:cTn>
                              </p:par>
                            </p:childTnLst>
                          </p:cTn>
                        </p:par>
                        <p:par>
                          <p:cTn id="49" fill="hold" nodeType="afterGroup">
                            <p:stCondLst>
                              <p:cond delay="5000"/>
                            </p:stCondLst>
                            <p:childTnLst>
                              <p:par>
                                <p:cTn id="50" presetID="2" presetClass="entr" presetSubtype="8" fill="hold" grpId="0" nodeType="afterEffect">
                                  <p:stCondLst>
                                    <p:cond delay="0"/>
                                  </p:stCondLst>
                                  <p:childTnLst>
                                    <p:set>
                                      <p:cBhvr>
                                        <p:cTn id="51" dur="1" fill="hold">
                                          <p:stCondLst>
                                            <p:cond delay="0"/>
                                          </p:stCondLst>
                                        </p:cTn>
                                        <p:tgtEl>
                                          <p:spTgt spid="29"/>
                                        </p:tgtEl>
                                        <p:attrNameLst>
                                          <p:attrName>style.visibility</p:attrName>
                                        </p:attrNameLst>
                                      </p:cBhvr>
                                      <p:to>
                                        <p:strVal val="visible"/>
                                      </p:to>
                                    </p:set>
                                    <p:anim calcmode="lin" valueType="num">
                                      <p:cBhvr additive="base">
                                        <p:cTn id="52" dur="500" fill="hold"/>
                                        <p:tgtEl>
                                          <p:spTgt spid="29"/>
                                        </p:tgtEl>
                                        <p:attrNameLst>
                                          <p:attrName>ppt_x</p:attrName>
                                        </p:attrNameLst>
                                      </p:cBhvr>
                                      <p:tavLst>
                                        <p:tav tm="0">
                                          <p:val>
                                            <p:strVal val="0-#ppt_w/2"/>
                                          </p:val>
                                        </p:tav>
                                        <p:tav tm="100000">
                                          <p:val>
                                            <p:strVal val="#ppt_x"/>
                                          </p:val>
                                        </p:tav>
                                      </p:tavLst>
                                    </p:anim>
                                    <p:anim calcmode="lin" valueType="num">
                                      <p:cBhvr additive="base">
                                        <p:cTn id="53" dur="500" fill="hold"/>
                                        <p:tgtEl>
                                          <p:spTgt spid="29"/>
                                        </p:tgtEl>
                                        <p:attrNameLst>
                                          <p:attrName>ppt_y</p:attrName>
                                        </p:attrNameLst>
                                      </p:cBhvr>
                                      <p:tavLst>
                                        <p:tav tm="0">
                                          <p:val>
                                            <p:strVal val="#ppt_y"/>
                                          </p:val>
                                        </p:tav>
                                        <p:tav tm="100000">
                                          <p:val>
                                            <p:strVal val="#ppt_y"/>
                                          </p:val>
                                        </p:tav>
                                      </p:tavLst>
                                    </p:anim>
                                  </p:childTnLst>
                                </p:cTn>
                              </p:par>
                            </p:childTnLst>
                          </p:cTn>
                        </p:par>
                        <p:par>
                          <p:cTn id="54" fill="hold" nodeType="afterGroup">
                            <p:stCondLst>
                              <p:cond delay="5500"/>
                            </p:stCondLst>
                            <p:childTnLst>
                              <p:par>
                                <p:cTn id="55" presetID="2" presetClass="entr" presetSubtype="1" fill="hold" nodeType="afterEffect">
                                  <p:stCondLst>
                                    <p:cond delay="0"/>
                                  </p:stCondLst>
                                  <p:childTnLst>
                                    <p:set>
                                      <p:cBhvr>
                                        <p:cTn id="56" dur="1" fill="hold">
                                          <p:stCondLst>
                                            <p:cond delay="0"/>
                                          </p:stCondLst>
                                        </p:cTn>
                                        <p:tgtEl>
                                          <p:spTgt spid="16"/>
                                        </p:tgtEl>
                                        <p:attrNameLst>
                                          <p:attrName>style.visibility</p:attrName>
                                        </p:attrNameLst>
                                      </p:cBhvr>
                                      <p:to>
                                        <p:strVal val="visible"/>
                                      </p:to>
                                    </p:set>
                                    <p:anim calcmode="lin" valueType="num">
                                      <p:cBhvr additive="base">
                                        <p:cTn id="57" dur="500" fill="hold"/>
                                        <p:tgtEl>
                                          <p:spTgt spid="16"/>
                                        </p:tgtEl>
                                        <p:attrNameLst>
                                          <p:attrName>ppt_x</p:attrName>
                                        </p:attrNameLst>
                                      </p:cBhvr>
                                      <p:tavLst>
                                        <p:tav tm="0">
                                          <p:val>
                                            <p:strVal val="#ppt_x"/>
                                          </p:val>
                                        </p:tav>
                                        <p:tav tm="100000">
                                          <p:val>
                                            <p:strVal val="#ppt_x"/>
                                          </p:val>
                                        </p:tav>
                                      </p:tavLst>
                                    </p:anim>
                                    <p:anim calcmode="lin" valueType="num">
                                      <p:cBhvr additive="base">
                                        <p:cTn id="58" dur="500" fill="hold"/>
                                        <p:tgtEl>
                                          <p:spTgt spid="16"/>
                                        </p:tgtEl>
                                        <p:attrNameLst>
                                          <p:attrName>ppt_y</p:attrName>
                                        </p:attrNameLst>
                                      </p:cBhvr>
                                      <p:tavLst>
                                        <p:tav tm="0">
                                          <p:val>
                                            <p:strVal val="0-#ppt_h/2"/>
                                          </p:val>
                                        </p:tav>
                                        <p:tav tm="100000">
                                          <p:val>
                                            <p:strVal val="#ppt_y"/>
                                          </p:val>
                                        </p:tav>
                                      </p:tavLst>
                                    </p:anim>
                                  </p:childTnLst>
                                </p:cTn>
                              </p:par>
                            </p:childTnLst>
                          </p:cTn>
                        </p:par>
                        <p:par>
                          <p:cTn id="59" fill="hold" nodeType="afterGroup">
                            <p:stCondLst>
                              <p:cond delay="6000"/>
                            </p:stCondLst>
                            <p:childTnLst>
                              <p:par>
                                <p:cTn id="60" presetID="10" presetClass="entr" presetSubtype="0" fill="hold" grpId="0" nodeType="afterEffect">
                                  <p:stCondLst>
                                    <p:cond delay="0"/>
                                  </p:stCondLst>
                                  <p:childTnLst>
                                    <p:set>
                                      <p:cBhvr>
                                        <p:cTn id="61" dur="1" fill="hold">
                                          <p:stCondLst>
                                            <p:cond delay="0"/>
                                          </p:stCondLst>
                                        </p:cTn>
                                        <p:tgtEl>
                                          <p:spTgt spid="44"/>
                                        </p:tgtEl>
                                        <p:attrNameLst>
                                          <p:attrName>style.visibility</p:attrName>
                                        </p:attrNameLst>
                                      </p:cBhvr>
                                      <p:to>
                                        <p:strVal val="visible"/>
                                      </p:to>
                                    </p:set>
                                    <p:animEffect transition="in" filter="fade">
                                      <p:cBhvr>
                                        <p:cTn id="62" dur="500"/>
                                        <p:tgtEl>
                                          <p:spTgt spid="44"/>
                                        </p:tgtEl>
                                      </p:cBhvr>
                                    </p:animEffect>
                                  </p:childTnLst>
                                </p:cTn>
                              </p:par>
                            </p:childTnLst>
                          </p:cTn>
                        </p:par>
                        <p:par>
                          <p:cTn id="63" fill="hold" nodeType="afterGroup">
                            <p:stCondLst>
                              <p:cond delay="6500"/>
                            </p:stCondLst>
                            <p:childTnLst>
                              <p:par>
                                <p:cTn id="64" presetID="22" presetClass="entr" presetSubtype="2" fill="hold" nodeType="after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wipe(right)">
                                      <p:cBhvr>
                                        <p:cTn id="66" dur="500"/>
                                        <p:tgtEl>
                                          <p:spTgt spid="39"/>
                                        </p:tgtEl>
                                      </p:cBhvr>
                                    </p:animEffect>
                                  </p:childTnLst>
                                </p:cTn>
                              </p:par>
                            </p:childTnLst>
                          </p:cTn>
                        </p:par>
                        <p:par>
                          <p:cTn id="67" fill="hold" nodeType="afterGroup">
                            <p:stCondLst>
                              <p:cond delay="7000"/>
                            </p:stCondLst>
                            <p:childTnLst>
                              <p:par>
                                <p:cTn id="68" presetID="2" presetClass="entr" presetSubtype="8"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 calcmode="lin" valueType="num">
                                      <p:cBhvr additive="base">
                                        <p:cTn id="70" dur="500" fill="hold"/>
                                        <p:tgtEl>
                                          <p:spTgt spid="32"/>
                                        </p:tgtEl>
                                        <p:attrNameLst>
                                          <p:attrName>ppt_x</p:attrName>
                                        </p:attrNameLst>
                                      </p:cBhvr>
                                      <p:tavLst>
                                        <p:tav tm="0">
                                          <p:val>
                                            <p:strVal val="0-#ppt_w/2"/>
                                          </p:val>
                                        </p:tav>
                                        <p:tav tm="100000">
                                          <p:val>
                                            <p:strVal val="#ppt_x"/>
                                          </p:val>
                                        </p:tav>
                                      </p:tavLst>
                                    </p:anim>
                                    <p:anim calcmode="lin" valueType="num">
                                      <p:cBhvr additive="base">
                                        <p:cTn id="71" dur="500" fill="hold"/>
                                        <p:tgtEl>
                                          <p:spTgt spid="32"/>
                                        </p:tgtEl>
                                        <p:attrNameLst>
                                          <p:attrName>ppt_y</p:attrName>
                                        </p:attrNameLst>
                                      </p:cBhvr>
                                      <p:tavLst>
                                        <p:tav tm="0">
                                          <p:val>
                                            <p:strVal val="#ppt_y"/>
                                          </p:val>
                                        </p:tav>
                                        <p:tav tm="100000">
                                          <p:val>
                                            <p:strVal val="#ppt_y"/>
                                          </p:val>
                                        </p:tav>
                                      </p:tavLst>
                                    </p:anim>
                                  </p:childTnLst>
                                </p:cTn>
                              </p:par>
                            </p:childTnLst>
                          </p:cTn>
                        </p:par>
                        <p:par>
                          <p:cTn id="72" fill="hold" nodeType="afterGroup">
                            <p:stCondLst>
                              <p:cond delay="7500"/>
                            </p:stCondLst>
                            <p:childTnLst>
                              <p:par>
                                <p:cTn id="73" presetID="2" presetClass="entr" presetSubtype="8" fill="hold" grpId="0" nodeType="afterEffect">
                                  <p:stCondLst>
                                    <p:cond delay="0"/>
                                  </p:stCondLst>
                                  <p:childTnLst>
                                    <p:set>
                                      <p:cBhvr>
                                        <p:cTn id="74" dur="1" fill="hold">
                                          <p:stCondLst>
                                            <p:cond delay="0"/>
                                          </p:stCondLst>
                                        </p:cTn>
                                        <p:tgtEl>
                                          <p:spTgt spid="31"/>
                                        </p:tgtEl>
                                        <p:attrNameLst>
                                          <p:attrName>style.visibility</p:attrName>
                                        </p:attrNameLst>
                                      </p:cBhvr>
                                      <p:to>
                                        <p:strVal val="visible"/>
                                      </p:to>
                                    </p:set>
                                    <p:anim calcmode="lin" valueType="num">
                                      <p:cBhvr additive="base">
                                        <p:cTn id="75" dur="500" fill="hold"/>
                                        <p:tgtEl>
                                          <p:spTgt spid="31"/>
                                        </p:tgtEl>
                                        <p:attrNameLst>
                                          <p:attrName>ppt_x</p:attrName>
                                        </p:attrNameLst>
                                      </p:cBhvr>
                                      <p:tavLst>
                                        <p:tav tm="0">
                                          <p:val>
                                            <p:strVal val="0-#ppt_w/2"/>
                                          </p:val>
                                        </p:tav>
                                        <p:tav tm="100000">
                                          <p:val>
                                            <p:strVal val="#ppt_x"/>
                                          </p:val>
                                        </p:tav>
                                      </p:tavLst>
                                    </p:anim>
                                    <p:anim calcmode="lin" valueType="num">
                                      <p:cBhvr additive="base">
                                        <p:cTn id="76" dur="500" fill="hold"/>
                                        <p:tgtEl>
                                          <p:spTgt spid="31"/>
                                        </p:tgtEl>
                                        <p:attrNameLst>
                                          <p:attrName>ppt_y</p:attrName>
                                        </p:attrNameLst>
                                      </p:cBhvr>
                                      <p:tavLst>
                                        <p:tav tm="0">
                                          <p:val>
                                            <p:strVal val="#ppt_y"/>
                                          </p:val>
                                        </p:tav>
                                        <p:tav tm="100000">
                                          <p:val>
                                            <p:strVal val="#ppt_y"/>
                                          </p:val>
                                        </p:tav>
                                      </p:tavLst>
                                    </p:anim>
                                  </p:childTnLst>
                                </p:cTn>
                              </p:par>
                            </p:childTnLst>
                          </p:cTn>
                        </p:par>
                        <p:par>
                          <p:cTn id="77" fill="hold" nodeType="afterGroup">
                            <p:stCondLst>
                              <p:cond delay="8000"/>
                            </p:stCondLst>
                            <p:childTnLst>
                              <p:par>
                                <p:cTn id="78" presetID="2" presetClass="entr" presetSubtype="1" fill="hold" nodeType="afterEffect">
                                  <p:stCondLst>
                                    <p:cond delay="0"/>
                                  </p:stCondLst>
                                  <p:childTnLst>
                                    <p:set>
                                      <p:cBhvr>
                                        <p:cTn id="79" dur="1" fill="hold">
                                          <p:stCondLst>
                                            <p:cond delay="0"/>
                                          </p:stCondLst>
                                        </p:cTn>
                                        <p:tgtEl>
                                          <p:spTgt spid="20"/>
                                        </p:tgtEl>
                                        <p:attrNameLst>
                                          <p:attrName>style.visibility</p:attrName>
                                        </p:attrNameLst>
                                      </p:cBhvr>
                                      <p:to>
                                        <p:strVal val="visible"/>
                                      </p:to>
                                    </p:set>
                                    <p:anim calcmode="lin" valueType="num">
                                      <p:cBhvr additive="base">
                                        <p:cTn id="80" dur="500" fill="hold"/>
                                        <p:tgtEl>
                                          <p:spTgt spid="20"/>
                                        </p:tgtEl>
                                        <p:attrNameLst>
                                          <p:attrName>ppt_x</p:attrName>
                                        </p:attrNameLst>
                                      </p:cBhvr>
                                      <p:tavLst>
                                        <p:tav tm="0">
                                          <p:val>
                                            <p:strVal val="#ppt_x"/>
                                          </p:val>
                                        </p:tav>
                                        <p:tav tm="100000">
                                          <p:val>
                                            <p:strVal val="#ppt_x"/>
                                          </p:val>
                                        </p:tav>
                                      </p:tavLst>
                                    </p:anim>
                                    <p:anim calcmode="lin" valueType="num">
                                      <p:cBhvr additive="base">
                                        <p:cTn id="81" dur="500" fill="hold"/>
                                        <p:tgtEl>
                                          <p:spTgt spid="20"/>
                                        </p:tgtEl>
                                        <p:attrNameLst>
                                          <p:attrName>ppt_y</p:attrName>
                                        </p:attrNameLst>
                                      </p:cBhvr>
                                      <p:tavLst>
                                        <p:tav tm="0">
                                          <p:val>
                                            <p:strVal val="0-#ppt_h/2"/>
                                          </p:val>
                                        </p:tav>
                                        <p:tav tm="100000">
                                          <p:val>
                                            <p:strVal val="#ppt_y"/>
                                          </p:val>
                                        </p:tav>
                                      </p:tavLst>
                                    </p:anim>
                                  </p:childTnLst>
                                </p:cTn>
                              </p:par>
                            </p:childTnLst>
                          </p:cTn>
                        </p:par>
                        <p:par>
                          <p:cTn id="82" fill="hold" nodeType="afterGroup">
                            <p:stCondLst>
                              <p:cond delay="8500"/>
                            </p:stCondLst>
                            <p:childTnLst>
                              <p:par>
                                <p:cTn id="83" presetID="10" presetClass="entr" presetSubtype="0" fill="hold" grpId="0" nodeType="afterEffect">
                                  <p:stCondLst>
                                    <p:cond delay="0"/>
                                  </p:stCondLst>
                                  <p:childTnLst>
                                    <p:set>
                                      <p:cBhvr>
                                        <p:cTn id="84" dur="1" fill="hold">
                                          <p:stCondLst>
                                            <p:cond delay="0"/>
                                          </p:stCondLst>
                                        </p:cTn>
                                        <p:tgtEl>
                                          <p:spTgt spid="45"/>
                                        </p:tgtEl>
                                        <p:attrNameLst>
                                          <p:attrName>style.visibility</p:attrName>
                                        </p:attrNameLst>
                                      </p:cBhvr>
                                      <p:to>
                                        <p:strVal val="visible"/>
                                      </p:to>
                                    </p:set>
                                    <p:animEffect transition="in" filter="fade">
                                      <p:cBhvr>
                                        <p:cTn id="85" dur="500"/>
                                        <p:tgtEl>
                                          <p:spTgt spid="45"/>
                                        </p:tgtEl>
                                      </p:cBhvr>
                                    </p:animEffect>
                                  </p:childTnLst>
                                </p:cTn>
                              </p:par>
                            </p:childTnLst>
                          </p:cTn>
                        </p:par>
                        <p:par>
                          <p:cTn id="86" fill="hold" nodeType="afterGroup">
                            <p:stCondLst>
                              <p:cond delay="9000"/>
                            </p:stCondLst>
                            <p:childTnLst>
                              <p:par>
                                <p:cTn id="87" presetID="22" presetClass="entr" presetSubtype="2" fill="hold" nodeType="afterEffect">
                                  <p:stCondLst>
                                    <p:cond delay="0"/>
                                  </p:stCondLst>
                                  <p:childTnLst>
                                    <p:set>
                                      <p:cBhvr>
                                        <p:cTn id="88" dur="1" fill="hold">
                                          <p:stCondLst>
                                            <p:cond delay="0"/>
                                          </p:stCondLst>
                                        </p:cTn>
                                        <p:tgtEl>
                                          <p:spTgt spid="40"/>
                                        </p:tgtEl>
                                        <p:attrNameLst>
                                          <p:attrName>style.visibility</p:attrName>
                                        </p:attrNameLst>
                                      </p:cBhvr>
                                      <p:to>
                                        <p:strVal val="visible"/>
                                      </p:to>
                                    </p:set>
                                    <p:animEffect transition="in" filter="wipe(right)">
                                      <p:cBhvr>
                                        <p:cTn id="89" dur="500"/>
                                        <p:tgtEl>
                                          <p:spTgt spid="40"/>
                                        </p:tgtEl>
                                      </p:cBhvr>
                                    </p:animEffect>
                                  </p:childTnLst>
                                </p:cTn>
                              </p:par>
                            </p:childTnLst>
                          </p:cTn>
                        </p:par>
                        <p:par>
                          <p:cTn id="90" fill="hold" nodeType="afterGroup">
                            <p:stCondLst>
                              <p:cond delay="9500"/>
                            </p:stCondLst>
                            <p:childTnLst>
                              <p:par>
                                <p:cTn id="91" presetID="2" presetClass="entr" presetSubtype="8" fill="hold" grpId="0" nodeType="afterEffect">
                                  <p:stCondLst>
                                    <p:cond delay="0"/>
                                  </p:stCondLst>
                                  <p:childTnLst>
                                    <p:set>
                                      <p:cBhvr>
                                        <p:cTn id="92" dur="1" fill="hold">
                                          <p:stCondLst>
                                            <p:cond delay="0"/>
                                          </p:stCondLst>
                                        </p:cTn>
                                        <p:tgtEl>
                                          <p:spTgt spid="34"/>
                                        </p:tgtEl>
                                        <p:attrNameLst>
                                          <p:attrName>style.visibility</p:attrName>
                                        </p:attrNameLst>
                                      </p:cBhvr>
                                      <p:to>
                                        <p:strVal val="visible"/>
                                      </p:to>
                                    </p:set>
                                    <p:anim calcmode="lin" valueType="num">
                                      <p:cBhvr additive="base">
                                        <p:cTn id="93" dur="500" fill="hold"/>
                                        <p:tgtEl>
                                          <p:spTgt spid="34"/>
                                        </p:tgtEl>
                                        <p:attrNameLst>
                                          <p:attrName>ppt_x</p:attrName>
                                        </p:attrNameLst>
                                      </p:cBhvr>
                                      <p:tavLst>
                                        <p:tav tm="0">
                                          <p:val>
                                            <p:strVal val="0-#ppt_w/2"/>
                                          </p:val>
                                        </p:tav>
                                        <p:tav tm="100000">
                                          <p:val>
                                            <p:strVal val="#ppt_x"/>
                                          </p:val>
                                        </p:tav>
                                      </p:tavLst>
                                    </p:anim>
                                    <p:anim calcmode="lin" valueType="num">
                                      <p:cBhvr additive="base">
                                        <p:cTn id="94" dur="500" fill="hold"/>
                                        <p:tgtEl>
                                          <p:spTgt spid="34"/>
                                        </p:tgtEl>
                                        <p:attrNameLst>
                                          <p:attrName>ppt_y</p:attrName>
                                        </p:attrNameLst>
                                      </p:cBhvr>
                                      <p:tavLst>
                                        <p:tav tm="0">
                                          <p:val>
                                            <p:strVal val="#ppt_y"/>
                                          </p:val>
                                        </p:tav>
                                        <p:tav tm="100000">
                                          <p:val>
                                            <p:strVal val="#ppt_y"/>
                                          </p:val>
                                        </p:tav>
                                      </p:tavLst>
                                    </p:anim>
                                  </p:childTnLst>
                                </p:cTn>
                              </p:par>
                            </p:childTnLst>
                          </p:cTn>
                        </p:par>
                        <p:par>
                          <p:cTn id="95" fill="hold" nodeType="afterGroup">
                            <p:stCondLst>
                              <p:cond delay="10000"/>
                            </p:stCondLst>
                            <p:childTnLst>
                              <p:par>
                                <p:cTn id="96" presetID="2" presetClass="entr" presetSubtype="8"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 calcmode="lin" valueType="num">
                                      <p:cBhvr additive="base">
                                        <p:cTn id="98" dur="500" fill="hold"/>
                                        <p:tgtEl>
                                          <p:spTgt spid="33"/>
                                        </p:tgtEl>
                                        <p:attrNameLst>
                                          <p:attrName>ppt_x</p:attrName>
                                        </p:attrNameLst>
                                      </p:cBhvr>
                                      <p:tavLst>
                                        <p:tav tm="0">
                                          <p:val>
                                            <p:strVal val="0-#ppt_w/2"/>
                                          </p:val>
                                        </p:tav>
                                        <p:tav tm="100000">
                                          <p:val>
                                            <p:strVal val="#ppt_x"/>
                                          </p:val>
                                        </p:tav>
                                      </p:tavLst>
                                    </p:anim>
                                    <p:anim calcmode="lin" valueType="num">
                                      <p:cBhvr additive="base">
                                        <p:cTn id="99" dur="500" fill="hold"/>
                                        <p:tgtEl>
                                          <p:spTgt spid="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9" grpId="0"/>
      <p:bldP spid="30" grpId="0"/>
      <p:bldP spid="31" grpId="0"/>
      <p:bldP spid="32" grpId="0"/>
      <p:bldP spid="33" grpId="0"/>
      <p:bldP spid="34" grpId="0"/>
      <p:bldP spid="42" grpId="0"/>
      <p:bldP spid="43" grpId="0"/>
      <p:bldP spid="44" grpId="0"/>
      <p:bldP spid="45" grpId="0"/>
    </p:bld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3D61994-D5FE-4633-B349-9857AC135B9C}"/>
              </a:ext>
            </a:extLst>
          </p:cNvPr>
          <p:cNvGrpSpPr/>
          <p:nvPr/>
        </p:nvGrpSpPr>
        <p:grpSpPr>
          <a:xfrm>
            <a:off x="1532957" y="627145"/>
            <a:ext cx="9584891" cy="6230855"/>
            <a:chOff x="2119314" y="1881189"/>
            <a:chExt cx="7875587" cy="5119687"/>
          </a:xfrm>
        </p:grpSpPr>
        <p:grpSp>
          <p:nvGrpSpPr>
            <p:cNvPr id="31" name="Group 30"/>
            <p:cNvGrpSpPr>
              <a:grpSpLocks/>
            </p:cNvGrpSpPr>
            <p:nvPr/>
          </p:nvGrpSpPr>
          <p:grpSpPr bwMode="auto">
            <a:xfrm>
              <a:off x="5935664" y="3762375"/>
              <a:ext cx="1893887" cy="1417638"/>
              <a:chOff x="5881688" y="4137025"/>
              <a:chExt cx="2579687" cy="1930400"/>
            </a:xfrm>
          </p:grpSpPr>
          <p:sp>
            <p:nvSpPr>
              <p:cNvPr id="32" name="Freeform 31"/>
              <p:cNvSpPr>
                <a:spLocks/>
              </p:cNvSpPr>
              <p:nvPr/>
            </p:nvSpPr>
            <p:spPr bwMode="auto">
              <a:xfrm>
                <a:off x="5888174" y="4137025"/>
                <a:ext cx="2382914" cy="1018162"/>
              </a:xfrm>
              <a:custGeom>
                <a:avLst/>
                <a:gdLst>
                  <a:gd name="T0" fmla="*/ 0 w 1501"/>
                  <a:gd name="T1" fmla="*/ 12 h 642"/>
                  <a:gd name="T2" fmla="*/ 41 w 1501"/>
                  <a:gd name="T3" fmla="*/ 0 h 642"/>
                  <a:gd name="T4" fmla="*/ 1501 w 1501"/>
                  <a:gd name="T5" fmla="*/ 622 h 642"/>
                  <a:gd name="T6" fmla="*/ 1462 w 1501"/>
                  <a:gd name="T7" fmla="*/ 642 h 642"/>
                  <a:gd name="T8" fmla="*/ 0 w 1501"/>
                  <a:gd name="T9" fmla="*/ 12 h 642"/>
                </a:gdLst>
                <a:ahLst/>
                <a:cxnLst>
                  <a:cxn ang="0">
                    <a:pos x="T0" y="T1"/>
                  </a:cxn>
                  <a:cxn ang="0">
                    <a:pos x="T2" y="T3"/>
                  </a:cxn>
                  <a:cxn ang="0">
                    <a:pos x="T4" y="T5"/>
                  </a:cxn>
                  <a:cxn ang="0">
                    <a:pos x="T6" y="T7"/>
                  </a:cxn>
                  <a:cxn ang="0">
                    <a:pos x="T8" y="T9"/>
                  </a:cxn>
                </a:cxnLst>
                <a:rect l="0" t="0" r="r" b="b"/>
                <a:pathLst>
                  <a:path w="1501" h="642">
                    <a:moveTo>
                      <a:pt x="0" y="12"/>
                    </a:moveTo>
                    <a:lnTo>
                      <a:pt x="41" y="0"/>
                    </a:lnTo>
                    <a:lnTo>
                      <a:pt x="1501" y="622"/>
                    </a:lnTo>
                    <a:lnTo>
                      <a:pt x="1462" y="642"/>
                    </a:lnTo>
                    <a:lnTo>
                      <a:pt x="0" y="12"/>
                    </a:lnTo>
                    <a:close/>
                  </a:path>
                </a:pathLst>
              </a:custGeom>
              <a:solidFill>
                <a:schemeClr val="accent2">
                  <a:lumMod val="75000"/>
                </a:schemeClr>
              </a:solidFill>
              <a:ln>
                <a:noFill/>
              </a:ln>
            </p:spPr>
            <p:txBody>
              <a:bodyPr lIns="68580" tIns="34290" rIns="68580" bIns="34290"/>
              <a:lstStyle/>
              <a:p>
                <a:pPr>
                  <a:defRPr/>
                </a:pPr>
                <a:endParaRPr lang="en-US" sz="1350"/>
              </a:p>
            </p:txBody>
          </p:sp>
          <p:sp>
            <p:nvSpPr>
              <p:cNvPr id="33" name="Freeform 32"/>
              <p:cNvSpPr>
                <a:spLocks/>
              </p:cNvSpPr>
              <p:nvPr/>
            </p:nvSpPr>
            <p:spPr bwMode="auto">
              <a:xfrm>
                <a:off x="5881688" y="4156481"/>
                <a:ext cx="2523466" cy="1910944"/>
              </a:xfrm>
              <a:custGeom>
                <a:avLst/>
                <a:gdLst>
                  <a:gd name="T0" fmla="*/ 1468 w 1590"/>
                  <a:gd name="T1" fmla="*/ 1204 h 1204"/>
                  <a:gd name="T2" fmla="*/ 0 w 1590"/>
                  <a:gd name="T3" fmla="*/ 574 h 1204"/>
                  <a:gd name="T4" fmla="*/ 0 w 1590"/>
                  <a:gd name="T5" fmla="*/ 0 h 1204"/>
                  <a:gd name="T6" fmla="*/ 1468 w 1590"/>
                  <a:gd name="T7" fmla="*/ 630 h 1204"/>
                  <a:gd name="T8" fmla="*/ 1590 w 1590"/>
                  <a:gd name="T9" fmla="*/ 939 h 1204"/>
                  <a:gd name="T10" fmla="*/ 1468 w 1590"/>
                  <a:gd name="T11" fmla="*/ 1204 h 1204"/>
                </a:gdLst>
                <a:ahLst/>
                <a:cxnLst>
                  <a:cxn ang="0">
                    <a:pos x="T0" y="T1"/>
                  </a:cxn>
                  <a:cxn ang="0">
                    <a:pos x="T2" y="T3"/>
                  </a:cxn>
                  <a:cxn ang="0">
                    <a:pos x="T4" y="T5"/>
                  </a:cxn>
                  <a:cxn ang="0">
                    <a:pos x="T6" y="T7"/>
                  </a:cxn>
                  <a:cxn ang="0">
                    <a:pos x="T8" y="T9"/>
                  </a:cxn>
                  <a:cxn ang="0">
                    <a:pos x="T10" y="T11"/>
                  </a:cxn>
                </a:cxnLst>
                <a:rect l="0" t="0" r="r" b="b"/>
                <a:pathLst>
                  <a:path w="1590" h="1204">
                    <a:moveTo>
                      <a:pt x="1468" y="1204"/>
                    </a:moveTo>
                    <a:lnTo>
                      <a:pt x="0" y="574"/>
                    </a:lnTo>
                    <a:lnTo>
                      <a:pt x="0" y="0"/>
                    </a:lnTo>
                    <a:lnTo>
                      <a:pt x="1468" y="630"/>
                    </a:lnTo>
                    <a:lnTo>
                      <a:pt x="1590" y="939"/>
                    </a:lnTo>
                    <a:lnTo>
                      <a:pt x="1468" y="1204"/>
                    </a:lnTo>
                    <a:close/>
                  </a:path>
                </a:pathLst>
              </a:custGeom>
              <a:solidFill>
                <a:schemeClr val="accent2"/>
              </a:solidFill>
              <a:ln>
                <a:noFill/>
              </a:ln>
            </p:spPr>
            <p:txBody>
              <a:bodyPr lIns="68580" tIns="34290" rIns="68580" bIns="34290"/>
              <a:lstStyle/>
              <a:p>
                <a:pPr>
                  <a:defRPr/>
                </a:pPr>
                <a:endParaRPr lang="en-US" sz="1350"/>
              </a:p>
            </p:txBody>
          </p:sp>
          <p:sp>
            <p:nvSpPr>
              <p:cNvPr id="34" name="Freeform 33"/>
              <p:cNvSpPr>
                <a:spLocks/>
              </p:cNvSpPr>
              <p:nvPr/>
            </p:nvSpPr>
            <p:spPr bwMode="auto">
              <a:xfrm>
                <a:off x="8208380" y="5124923"/>
                <a:ext cx="252995" cy="942502"/>
              </a:xfrm>
              <a:custGeom>
                <a:avLst/>
                <a:gdLst>
                  <a:gd name="T0" fmla="*/ 4 w 159"/>
                  <a:gd name="T1" fmla="*/ 594 h 594"/>
                  <a:gd name="T2" fmla="*/ 46 w 159"/>
                  <a:gd name="T3" fmla="*/ 575 h 594"/>
                  <a:gd name="T4" fmla="*/ 159 w 159"/>
                  <a:gd name="T5" fmla="*/ 314 h 594"/>
                  <a:gd name="T6" fmla="*/ 39 w 159"/>
                  <a:gd name="T7" fmla="*/ 0 h 594"/>
                  <a:gd name="T8" fmla="*/ 0 w 159"/>
                  <a:gd name="T9" fmla="*/ 20 h 594"/>
                  <a:gd name="T10" fmla="*/ 122 w 159"/>
                  <a:gd name="T11" fmla="*/ 329 h 594"/>
                  <a:gd name="T12" fmla="*/ 4 w 159"/>
                  <a:gd name="T13" fmla="*/ 594 h 594"/>
                </a:gdLst>
                <a:ahLst/>
                <a:cxnLst>
                  <a:cxn ang="0">
                    <a:pos x="T0" y="T1"/>
                  </a:cxn>
                  <a:cxn ang="0">
                    <a:pos x="T2" y="T3"/>
                  </a:cxn>
                  <a:cxn ang="0">
                    <a:pos x="T4" y="T5"/>
                  </a:cxn>
                  <a:cxn ang="0">
                    <a:pos x="T6" y="T7"/>
                  </a:cxn>
                  <a:cxn ang="0">
                    <a:pos x="T8" y="T9"/>
                  </a:cxn>
                  <a:cxn ang="0">
                    <a:pos x="T10" y="T11"/>
                  </a:cxn>
                  <a:cxn ang="0">
                    <a:pos x="T12" y="T13"/>
                  </a:cxn>
                </a:cxnLst>
                <a:rect l="0" t="0" r="r" b="b"/>
                <a:pathLst>
                  <a:path w="159" h="594">
                    <a:moveTo>
                      <a:pt x="4" y="594"/>
                    </a:moveTo>
                    <a:lnTo>
                      <a:pt x="46" y="575"/>
                    </a:lnTo>
                    <a:lnTo>
                      <a:pt x="159" y="314"/>
                    </a:lnTo>
                    <a:lnTo>
                      <a:pt x="39" y="0"/>
                    </a:lnTo>
                    <a:lnTo>
                      <a:pt x="0" y="20"/>
                    </a:lnTo>
                    <a:lnTo>
                      <a:pt x="122" y="329"/>
                    </a:lnTo>
                    <a:lnTo>
                      <a:pt x="4" y="594"/>
                    </a:lnTo>
                    <a:close/>
                  </a:path>
                </a:pathLst>
              </a:custGeom>
              <a:solidFill>
                <a:schemeClr val="accent2">
                  <a:lumMod val="60000"/>
                  <a:lumOff val="40000"/>
                </a:schemeClr>
              </a:solidFill>
              <a:ln>
                <a:noFill/>
              </a:ln>
            </p:spPr>
            <p:txBody>
              <a:bodyPr lIns="68580" tIns="34290" rIns="68580" bIns="34290"/>
              <a:lstStyle/>
              <a:p>
                <a:pPr>
                  <a:defRPr/>
                </a:pPr>
                <a:endParaRPr lang="en-US" sz="1350"/>
              </a:p>
            </p:txBody>
          </p:sp>
        </p:grpSp>
        <p:grpSp>
          <p:nvGrpSpPr>
            <p:cNvPr id="35" name="Group 34"/>
            <p:cNvGrpSpPr>
              <a:grpSpLocks/>
            </p:cNvGrpSpPr>
            <p:nvPr/>
          </p:nvGrpSpPr>
          <p:grpSpPr bwMode="auto">
            <a:xfrm>
              <a:off x="4406900" y="4510089"/>
              <a:ext cx="1562100" cy="1241425"/>
              <a:chOff x="3881438" y="4922838"/>
              <a:chExt cx="2044699" cy="1625600"/>
            </a:xfrm>
          </p:grpSpPr>
          <p:sp>
            <p:nvSpPr>
              <p:cNvPr id="36" name="Freeform 35"/>
              <p:cNvSpPr>
                <a:spLocks/>
              </p:cNvSpPr>
              <p:nvPr/>
            </p:nvSpPr>
            <p:spPr bwMode="auto">
              <a:xfrm>
                <a:off x="4072609" y="4922838"/>
                <a:ext cx="1853528" cy="715098"/>
              </a:xfrm>
              <a:custGeom>
                <a:avLst/>
                <a:gdLst>
                  <a:gd name="T0" fmla="*/ 1167 w 1167"/>
                  <a:gd name="T1" fmla="*/ 12 h 450"/>
                  <a:gd name="T2" fmla="*/ 1126 w 1167"/>
                  <a:gd name="T3" fmla="*/ 0 h 450"/>
                  <a:gd name="T4" fmla="*/ 0 w 1167"/>
                  <a:gd name="T5" fmla="*/ 430 h 450"/>
                  <a:gd name="T6" fmla="*/ 37 w 1167"/>
                  <a:gd name="T7" fmla="*/ 450 h 450"/>
                  <a:gd name="T8" fmla="*/ 1167 w 1167"/>
                  <a:gd name="T9" fmla="*/ 12 h 450"/>
                </a:gdLst>
                <a:ahLst/>
                <a:cxnLst>
                  <a:cxn ang="0">
                    <a:pos x="T0" y="T1"/>
                  </a:cxn>
                  <a:cxn ang="0">
                    <a:pos x="T2" y="T3"/>
                  </a:cxn>
                  <a:cxn ang="0">
                    <a:pos x="T4" y="T5"/>
                  </a:cxn>
                  <a:cxn ang="0">
                    <a:pos x="T6" y="T7"/>
                  </a:cxn>
                  <a:cxn ang="0">
                    <a:pos x="T8" y="T9"/>
                  </a:cxn>
                </a:cxnLst>
                <a:rect l="0" t="0" r="r" b="b"/>
                <a:pathLst>
                  <a:path w="1167" h="450">
                    <a:moveTo>
                      <a:pt x="1167" y="12"/>
                    </a:moveTo>
                    <a:lnTo>
                      <a:pt x="1126" y="0"/>
                    </a:lnTo>
                    <a:lnTo>
                      <a:pt x="0" y="430"/>
                    </a:lnTo>
                    <a:lnTo>
                      <a:pt x="37" y="450"/>
                    </a:lnTo>
                    <a:lnTo>
                      <a:pt x="1167" y="12"/>
                    </a:lnTo>
                    <a:close/>
                  </a:path>
                </a:pathLst>
              </a:custGeom>
              <a:solidFill>
                <a:schemeClr val="accent1">
                  <a:lumMod val="75000"/>
                </a:schemeClr>
              </a:solidFill>
              <a:ln>
                <a:noFill/>
              </a:ln>
            </p:spPr>
            <p:txBody>
              <a:bodyPr lIns="68580" tIns="34290" rIns="68580" bIns="34290"/>
              <a:lstStyle/>
              <a:p>
                <a:pPr>
                  <a:defRPr/>
                </a:pPr>
                <a:endParaRPr lang="en-US" sz="1350"/>
              </a:p>
            </p:txBody>
          </p:sp>
          <p:sp>
            <p:nvSpPr>
              <p:cNvPr id="37" name="Freeform 36"/>
              <p:cNvSpPr>
                <a:spLocks/>
              </p:cNvSpPr>
              <p:nvPr/>
            </p:nvSpPr>
            <p:spPr bwMode="auto">
              <a:xfrm>
                <a:off x="3933387" y="4941546"/>
                <a:ext cx="1992750" cy="1606892"/>
              </a:xfrm>
              <a:custGeom>
                <a:avLst/>
                <a:gdLst>
                  <a:gd name="T0" fmla="*/ 123 w 1255"/>
                  <a:gd name="T1" fmla="*/ 1012 h 1012"/>
                  <a:gd name="T2" fmla="*/ 1255 w 1255"/>
                  <a:gd name="T3" fmla="*/ 574 h 1012"/>
                  <a:gd name="T4" fmla="*/ 1255 w 1255"/>
                  <a:gd name="T5" fmla="*/ 0 h 1012"/>
                  <a:gd name="T6" fmla="*/ 123 w 1255"/>
                  <a:gd name="T7" fmla="*/ 438 h 1012"/>
                  <a:gd name="T8" fmla="*/ 0 w 1255"/>
                  <a:gd name="T9" fmla="*/ 748 h 1012"/>
                  <a:gd name="T10" fmla="*/ 123 w 1255"/>
                  <a:gd name="T11" fmla="*/ 1012 h 1012"/>
                </a:gdLst>
                <a:ahLst/>
                <a:cxnLst>
                  <a:cxn ang="0">
                    <a:pos x="T0" y="T1"/>
                  </a:cxn>
                  <a:cxn ang="0">
                    <a:pos x="T2" y="T3"/>
                  </a:cxn>
                  <a:cxn ang="0">
                    <a:pos x="T4" y="T5"/>
                  </a:cxn>
                  <a:cxn ang="0">
                    <a:pos x="T6" y="T7"/>
                  </a:cxn>
                  <a:cxn ang="0">
                    <a:pos x="T8" y="T9"/>
                  </a:cxn>
                  <a:cxn ang="0">
                    <a:pos x="T10" y="T11"/>
                  </a:cxn>
                </a:cxnLst>
                <a:rect l="0" t="0" r="r" b="b"/>
                <a:pathLst>
                  <a:path w="1255" h="1012">
                    <a:moveTo>
                      <a:pt x="123" y="1012"/>
                    </a:moveTo>
                    <a:lnTo>
                      <a:pt x="1255" y="574"/>
                    </a:lnTo>
                    <a:lnTo>
                      <a:pt x="1255" y="0"/>
                    </a:lnTo>
                    <a:lnTo>
                      <a:pt x="123" y="438"/>
                    </a:lnTo>
                    <a:lnTo>
                      <a:pt x="0" y="748"/>
                    </a:lnTo>
                    <a:lnTo>
                      <a:pt x="123" y="1012"/>
                    </a:lnTo>
                    <a:close/>
                  </a:path>
                </a:pathLst>
              </a:custGeom>
              <a:solidFill>
                <a:schemeClr val="accent1"/>
              </a:solidFill>
              <a:ln>
                <a:noFill/>
              </a:ln>
            </p:spPr>
            <p:txBody>
              <a:bodyPr lIns="68580" tIns="34290" rIns="68580" bIns="34290"/>
              <a:lstStyle/>
              <a:p>
                <a:pPr>
                  <a:defRPr/>
                </a:pPr>
                <a:endParaRPr lang="en-US" sz="1350"/>
              </a:p>
            </p:txBody>
          </p:sp>
          <p:sp>
            <p:nvSpPr>
              <p:cNvPr id="38" name="Freeform 37"/>
              <p:cNvSpPr>
                <a:spLocks/>
              </p:cNvSpPr>
              <p:nvPr/>
            </p:nvSpPr>
            <p:spPr bwMode="auto">
              <a:xfrm>
                <a:off x="3881438" y="5604675"/>
                <a:ext cx="249354" cy="943763"/>
              </a:xfrm>
              <a:custGeom>
                <a:avLst/>
                <a:gdLst>
                  <a:gd name="T0" fmla="*/ 156 w 157"/>
                  <a:gd name="T1" fmla="*/ 594 h 594"/>
                  <a:gd name="T2" fmla="*/ 114 w 157"/>
                  <a:gd name="T3" fmla="*/ 575 h 594"/>
                  <a:gd name="T4" fmla="*/ 0 w 157"/>
                  <a:gd name="T5" fmla="*/ 314 h 594"/>
                  <a:gd name="T6" fmla="*/ 121 w 157"/>
                  <a:gd name="T7" fmla="*/ 0 h 594"/>
                  <a:gd name="T8" fmla="*/ 157 w 157"/>
                  <a:gd name="T9" fmla="*/ 18 h 594"/>
                  <a:gd name="T10" fmla="*/ 37 w 157"/>
                  <a:gd name="T11" fmla="*/ 330 h 594"/>
                  <a:gd name="T12" fmla="*/ 156 w 157"/>
                  <a:gd name="T13" fmla="*/ 594 h 594"/>
                </a:gdLst>
                <a:ahLst/>
                <a:cxnLst>
                  <a:cxn ang="0">
                    <a:pos x="T0" y="T1"/>
                  </a:cxn>
                  <a:cxn ang="0">
                    <a:pos x="T2" y="T3"/>
                  </a:cxn>
                  <a:cxn ang="0">
                    <a:pos x="T4" y="T5"/>
                  </a:cxn>
                  <a:cxn ang="0">
                    <a:pos x="T6" y="T7"/>
                  </a:cxn>
                  <a:cxn ang="0">
                    <a:pos x="T8" y="T9"/>
                  </a:cxn>
                  <a:cxn ang="0">
                    <a:pos x="T10" y="T11"/>
                  </a:cxn>
                  <a:cxn ang="0">
                    <a:pos x="T12" y="T13"/>
                  </a:cxn>
                </a:cxnLst>
                <a:rect l="0" t="0" r="r" b="b"/>
                <a:pathLst>
                  <a:path w="157" h="594">
                    <a:moveTo>
                      <a:pt x="156" y="594"/>
                    </a:moveTo>
                    <a:lnTo>
                      <a:pt x="114" y="575"/>
                    </a:lnTo>
                    <a:lnTo>
                      <a:pt x="0" y="314"/>
                    </a:lnTo>
                    <a:lnTo>
                      <a:pt x="121" y="0"/>
                    </a:lnTo>
                    <a:lnTo>
                      <a:pt x="157" y="18"/>
                    </a:lnTo>
                    <a:lnTo>
                      <a:pt x="37" y="330"/>
                    </a:lnTo>
                    <a:lnTo>
                      <a:pt x="156" y="594"/>
                    </a:lnTo>
                    <a:close/>
                  </a:path>
                </a:pathLst>
              </a:custGeom>
              <a:solidFill>
                <a:schemeClr val="accent1">
                  <a:lumMod val="60000"/>
                  <a:lumOff val="40000"/>
                </a:schemeClr>
              </a:solidFill>
              <a:ln>
                <a:noFill/>
              </a:ln>
            </p:spPr>
            <p:txBody>
              <a:bodyPr lIns="68580" tIns="34290" rIns="68580" bIns="34290"/>
              <a:lstStyle/>
              <a:p>
                <a:pPr>
                  <a:defRPr/>
                </a:pPr>
                <a:endParaRPr lang="en-US" sz="1350"/>
              </a:p>
            </p:txBody>
          </p:sp>
        </p:grpSp>
        <p:grpSp>
          <p:nvGrpSpPr>
            <p:cNvPr id="39" name="Group 38"/>
            <p:cNvGrpSpPr>
              <a:grpSpLocks/>
            </p:cNvGrpSpPr>
            <p:nvPr/>
          </p:nvGrpSpPr>
          <p:grpSpPr bwMode="auto">
            <a:xfrm>
              <a:off x="4408488" y="2192338"/>
              <a:ext cx="1617662" cy="1212850"/>
              <a:chOff x="3846513" y="1779588"/>
              <a:chExt cx="2155825" cy="1617662"/>
            </a:xfrm>
          </p:grpSpPr>
          <p:sp>
            <p:nvSpPr>
              <p:cNvPr id="40" name="Freeform 39"/>
              <p:cNvSpPr>
                <a:spLocks/>
              </p:cNvSpPr>
              <p:nvPr/>
            </p:nvSpPr>
            <p:spPr bwMode="auto">
              <a:xfrm>
                <a:off x="4036920" y="1779588"/>
                <a:ext cx="1954841" cy="707198"/>
              </a:xfrm>
              <a:custGeom>
                <a:avLst/>
                <a:gdLst>
                  <a:gd name="T0" fmla="*/ 1232 w 1232"/>
                  <a:gd name="T1" fmla="*/ 11 h 445"/>
                  <a:gd name="T2" fmla="*/ 1190 w 1232"/>
                  <a:gd name="T3" fmla="*/ 0 h 445"/>
                  <a:gd name="T4" fmla="*/ 0 w 1232"/>
                  <a:gd name="T5" fmla="*/ 425 h 445"/>
                  <a:gd name="T6" fmla="*/ 39 w 1232"/>
                  <a:gd name="T7" fmla="*/ 445 h 445"/>
                  <a:gd name="T8" fmla="*/ 1232 w 1232"/>
                  <a:gd name="T9" fmla="*/ 11 h 445"/>
                </a:gdLst>
                <a:ahLst/>
                <a:cxnLst>
                  <a:cxn ang="0">
                    <a:pos x="T0" y="T1"/>
                  </a:cxn>
                  <a:cxn ang="0">
                    <a:pos x="T2" y="T3"/>
                  </a:cxn>
                  <a:cxn ang="0">
                    <a:pos x="T4" y="T5"/>
                  </a:cxn>
                  <a:cxn ang="0">
                    <a:pos x="T6" y="T7"/>
                  </a:cxn>
                  <a:cxn ang="0">
                    <a:pos x="T8" y="T9"/>
                  </a:cxn>
                </a:cxnLst>
                <a:rect l="0" t="0" r="r" b="b"/>
                <a:pathLst>
                  <a:path w="1232" h="445">
                    <a:moveTo>
                      <a:pt x="1232" y="11"/>
                    </a:moveTo>
                    <a:lnTo>
                      <a:pt x="1190" y="0"/>
                    </a:lnTo>
                    <a:lnTo>
                      <a:pt x="0" y="425"/>
                    </a:lnTo>
                    <a:lnTo>
                      <a:pt x="39" y="445"/>
                    </a:lnTo>
                    <a:lnTo>
                      <a:pt x="1232" y="11"/>
                    </a:lnTo>
                    <a:close/>
                  </a:path>
                </a:pathLst>
              </a:custGeom>
              <a:solidFill>
                <a:schemeClr val="accent5">
                  <a:lumMod val="75000"/>
                </a:schemeClr>
              </a:solidFill>
              <a:ln>
                <a:noFill/>
              </a:ln>
            </p:spPr>
            <p:txBody>
              <a:bodyPr lIns="68580" tIns="34290" rIns="68580" bIns="34290"/>
              <a:lstStyle/>
              <a:p>
                <a:pPr>
                  <a:defRPr/>
                </a:pPr>
                <a:endParaRPr lang="en-US" sz="1350"/>
              </a:p>
            </p:txBody>
          </p:sp>
          <p:sp>
            <p:nvSpPr>
              <p:cNvPr id="41" name="Freeform 40"/>
              <p:cNvSpPr>
                <a:spLocks/>
              </p:cNvSpPr>
              <p:nvPr/>
            </p:nvSpPr>
            <p:spPr bwMode="auto">
              <a:xfrm>
                <a:off x="3903634" y="1788057"/>
                <a:ext cx="2098704" cy="1609193"/>
              </a:xfrm>
              <a:custGeom>
                <a:avLst/>
                <a:gdLst>
                  <a:gd name="T0" fmla="*/ 123 w 1322"/>
                  <a:gd name="T1" fmla="*/ 1014 h 1014"/>
                  <a:gd name="T2" fmla="*/ 1322 w 1322"/>
                  <a:gd name="T3" fmla="*/ 581 h 1014"/>
                  <a:gd name="T4" fmla="*/ 1322 w 1322"/>
                  <a:gd name="T5" fmla="*/ 0 h 1014"/>
                  <a:gd name="T6" fmla="*/ 123 w 1322"/>
                  <a:gd name="T7" fmla="*/ 440 h 1014"/>
                  <a:gd name="T8" fmla="*/ 0 w 1322"/>
                  <a:gd name="T9" fmla="*/ 750 h 1014"/>
                  <a:gd name="T10" fmla="*/ 123 w 1322"/>
                  <a:gd name="T11" fmla="*/ 1014 h 1014"/>
                </a:gdLst>
                <a:ahLst/>
                <a:cxnLst>
                  <a:cxn ang="0">
                    <a:pos x="T0" y="T1"/>
                  </a:cxn>
                  <a:cxn ang="0">
                    <a:pos x="T2" y="T3"/>
                  </a:cxn>
                  <a:cxn ang="0">
                    <a:pos x="T4" y="T5"/>
                  </a:cxn>
                  <a:cxn ang="0">
                    <a:pos x="T6" y="T7"/>
                  </a:cxn>
                  <a:cxn ang="0">
                    <a:pos x="T8" y="T9"/>
                  </a:cxn>
                  <a:cxn ang="0">
                    <a:pos x="T10" y="T11"/>
                  </a:cxn>
                </a:cxnLst>
                <a:rect l="0" t="0" r="r" b="b"/>
                <a:pathLst>
                  <a:path w="1322" h="1014">
                    <a:moveTo>
                      <a:pt x="123" y="1014"/>
                    </a:moveTo>
                    <a:lnTo>
                      <a:pt x="1322" y="581"/>
                    </a:lnTo>
                    <a:lnTo>
                      <a:pt x="1322" y="0"/>
                    </a:lnTo>
                    <a:lnTo>
                      <a:pt x="123" y="440"/>
                    </a:lnTo>
                    <a:lnTo>
                      <a:pt x="0" y="750"/>
                    </a:lnTo>
                    <a:lnTo>
                      <a:pt x="123" y="1014"/>
                    </a:lnTo>
                    <a:close/>
                  </a:path>
                </a:pathLst>
              </a:custGeom>
              <a:solidFill>
                <a:schemeClr val="accent5"/>
              </a:solidFill>
              <a:ln>
                <a:noFill/>
              </a:ln>
            </p:spPr>
            <p:txBody>
              <a:bodyPr lIns="68580" tIns="34290" rIns="68580" bIns="34290"/>
              <a:lstStyle/>
              <a:p>
                <a:pPr>
                  <a:defRPr/>
                </a:pPr>
                <a:endParaRPr lang="en-US" sz="1350"/>
              </a:p>
            </p:txBody>
          </p:sp>
          <p:sp>
            <p:nvSpPr>
              <p:cNvPr id="42" name="Freeform 41"/>
              <p:cNvSpPr>
                <a:spLocks/>
              </p:cNvSpPr>
              <p:nvPr/>
            </p:nvSpPr>
            <p:spPr bwMode="auto">
              <a:xfrm>
                <a:off x="3846513" y="2455025"/>
                <a:ext cx="258107" cy="942225"/>
              </a:xfrm>
              <a:custGeom>
                <a:avLst/>
                <a:gdLst>
                  <a:gd name="T0" fmla="*/ 161 w 163"/>
                  <a:gd name="T1" fmla="*/ 594 h 594"/>
                  <a:gd name="T2" fmla="*/ 113 w 163"/>
                  <a:gd name="T3" fmla="*/ 576 h 594"/>
                  <a:gd name="T4" fmla="*/ 0 w 163"/>
                  <a:gd name="T5" fmla="*/ 315 h 594"/>
                  <a:gd name="T6" fmla="*/ 120 w 163"/>
                  <a:gd name="T7" fmla="*/ 0 h 594"/>
                  <a:gd name="T8" fmla="*/ 163 w 163"/>
                  <a:gd name="T9" fmla="*/ 19 h 594"/>
                  <a:gd name="T10" fmla="*/ 36 w 163"/>
                  <a:gd name="T11" fmla="*/ 330 h 594"/>
                  <a:gd name="T12" fmla="*/ 161 w 163"/>
                  <a:gd name="T13" fmla="*/ 594 h 594"/>
                </a:gdLst>
                <a:ahLst/>
                <a:cxnLst>
                  <a:cxn ang="0">
                    <a:pos x="T0" y="T1"/>
                  </a:cxn>
                  <a:cxn ang="0">
                    <a:pos x="T2" y="T3"/>
                  </a:cxn>
                  <a:cxn ang="0">
                    <a:pos x="T4" y="T5"/>
                  </a:cxn>
                  <a:cxn ang="0">
                    <a:pos x="T6" y="T7"/>
                  </a:cxn>
                  <a:cxn ang="0">
                    <a:pos x="T8" y="T9"/>
                  </a:cxn>
                  <a:cxn ang="0">
                    <a:pos x="T10" y="T11"/>
                  </a:cxn>
                  <a:cxn ang="0">
                    <a:pos x="T12" y="T13"/>
                  </a:cxn>
                </a:cxnLst>
                <a:rect l="0" t="0" r="r" b="b"/>
                <a:pathLst>
                  <a:path w="163" h="594">
                    <a:moveTo>
                      <a:pt x="161" y="594"/>
                    </a:moveTo>
                    <a:lnTo>
                      <a:pt x="113" y="576"/>
                    </a:lnTo>
                    <a:lnTo>
                      <a:pt x="0" y="315"/>
                    </a:lnTo>
                    <a:lnTo>
                      <a:pt x="120" y="0"/>
                    </a:lnTo>
                    <a:lnTo>
                      <a:pt x="163" y="19"/>
                    </a:lnTo>
                    <a:lnTo>
                      <a:pt x="36" y="330"/>
                    </a:lnTo>
                    <a:lnTo>
                      <a:pt x="161" y="594"/>
                    </a:lnTo>
                    <a:close/>
                  </a:path>
                </a:pathLst>
              </a:custGeom>
              <a:solidFill>
                <a:schemeClr val="accent5">
                  <a:lumMod val="60000"/>
                  <a:lumOff val="40000"/>
                </a:schemeClr>
              </a:solidFill>
              <a:ln>
                <a:noFill/>
              </a:ln>
            </p:spPr>
            <p:txBody>
              <a:bodyPr lIns="68580" tIns="34290" rIns="68580" bIns="34290"/>
              <a:lstStyle/>
              <a:p>
                <a:pPr>
                  <a:defRPr/>
                </a:pPr>
                <a:endParaRPr lang="en-US" sz="1350"/>
              </a:p>
            </p:txBody>
          </p:sp>
        </p:grpSp>
        <p:grpSp>
          <p:nvGrpSpPr>
            <p:cNvPr id="43" name="Group 42"/>
            <p:cNvGrpSpPr>
              <a:grpSpLocks/>
            </p:cNvGrpSpPr>
            <p:nvPr/>
          </p:nvGrpSpPr>
          <p:grpSpPr bwMode="auto">
            <a:xfrm>
              <a:off x="4276725" y="3338513"/>
              <a:ext cx="1695450" cy="1268412"/>
              <a:chOff x="3579813" y="3217863"/>
              <a:chExt cx="2351087" cy="1757363"/>
            </a:xfrm>
          </p:grpSpPr>
          <p:sp>
            <p:nvSpPr>
              <p:cNvPr id="44" name="Freeform 43"/>
              <p:cNvSpPr>
                <a:spLocks/>
              </p:cNvSpPr>
              <p:nvPr/>
            </p:nvSpPr>
            <p:spPr bwMode="auto">
              <a:xfrm>
                <a:off x="3769133" y="3217863"/>
                <a:ext cx="2161767" cy="844590"/>
              </a:xfrm>
              <a:custGeom>
                <a:avLst/>
                <a:gdLst>
                  <a:gd name="T0" fmla="*/ 1362 w 1362"/>
                  <a:gd name="T1" fmla="*/ 12 h 532"/>
                  <a:gd name="T2" fmla="*/ 1321 w 1362"/>
                  <a:gd name="T3" fmla="*/ 0 h 532"/>
                  <a:gd name="T4" fmla="*/ 0 w 1362"/>
                  <a:gd name="T5" fmla="*/ 512 h 532"/>
                  <a:gd name="T6" fmla="*/ 39 w 1362"/>
                  <a:gd name="T7" fmla="*/ 532 h 532"/>
                  <a:gd name="T8" fmla="*/ 1362 w 1362"/>
                  <a:gd name="T9" fmla="*/ 12 h 532"/>
                </a:gdLst>
                <a:ahLst/>
                <a:cxnLst>
                  <a:cxn ang="0">
                    <a:pos x="T0" y="T1"/>
                  </a:cxn>
                  <a:cxn ang="0">
                    <a:pos x="T2" y="T3"/>
                  </a:cxn>
                  <a:cxn ang="0">
                    <a:pos x="T4" y="T5"/>
                  </a:cxn>
                  <a:cxn ang="0">
                    <a:pos x="T6" y="T7"/>
                  </a:cxn>
                  <a:cxn ang="0">
                    <a:pos x="T8" y="T9"/>
                  </a:cxn>
                </a:cxnLst>
                <a:rect l="0" t="0" r="r" b="b"/>
                <a:pathLst>
                  <a:path w="1362" h="532">
                    <a:moveTo>
                      <a:pt x="1362" y="12"/>
                    </a:moveTo>
                    <a:lnTo>
                      <a:pt x="1321" y="0"/>
                    </a:lnTo>
                    <a:lnTo>
                      <a:pt x="0" y="512"/>
                    </a:lnTo>
                    <a:lnTo>
                      <a:pt x="39" y="532"/>
                    </a:lnTo>
                    <a:lnTo>
                      <a:pt x="1362" y="12"/>
                    </a:lnTo>
                    <a:close/>
                  </a:path>
                </a:pathLst>
              </a:custGeom>
              <a:solidFill>
                <a:schemeClr val="accent3">
                  <a:lumMod val="75000"/>
                </a:schemeClr>
              </a:solidFill>
              <a:ln>
                <a:noFill/>
              </a:ln>
            </p:spPr>
            <p:txBody>
              <a:bodyPr lIns="68580" tIns="34290" rIns="68580" bIns="34290"/>
              <a:lstStyle/>
              <a:p>
                <a:pPr>
                  <a:defRPr/>
                </a:pPr>
                <a:endParaRPr lang="en-US" sz="1350"/>
              </a:p>
            </p:txBody>
          </p:sp>
          <p:sp>
            <p:nvSpPr>
              <p:cNvPr id="45" name="Freeform 44"/>
              <p:cNvSpPr>
                <a:spLocks/>
              </p:cNvSpPr>
              <p:nvPr/>
            </p:nvSpPr>
            <p:spPr bwMode="auto">
              <a:xfrm>
                <a:off x="3630446" y="3237657"/>
                <a:ext cx="2296051" cy="1737569"/>
              </a:xfrm>
              <a:custGeom>
                <a:avLst/>
                <a:gdLst>
                  <a:gd name="T0" fmla="*/ 123 w 1446"/>
                  <a:gd name="T1" fmla="*/ 1095 h 1095"/>
                  <a:gd name="T2" fmla="*/ 1446 w 1446"/>
                  <a:gd name="T3" fmla="*/ 574 h 1095"/>
                  <a:gd name="T4" fmla="*/ 1446 w 1446"/>
                  <a:gd name="T5" fmla="*/ 0 h 1095"/>
                  <a:gd name="T6" fmla="*/ 123 w 1446"/>
                  <a:gd name="T7" fmla="*/ 520 h 1095"/>
                  <a:gd name="T8" fmla="*/ 0 w 1446"/>
                  <a:gd name="T9" fmla="*/ 830 h 1095"/>
                  <a:gd name="T10" fmla="*/ 123 w 1446"/>
                  <a:gd name="T11" fmla="*/ 1095 h 1095"/>
                </a:gdLst>
                <a:ahLst/>
                <a:cxnLst>
                  <a:cxn ang="0">
                    <a:pos x="T0" y="T1"/>
                  </a:cxn>
                  <a:cxn ang="0">
                    <a:pos x="T2" y="T3"/>
                  </a:cxn>
                  <a:cxn ang="0">
                    <a:pos x="T4" y="T5"/>
                  </a:cxn>
                  <a:cxn ang="0">
                    <a:pos x="T6" y="T7"/>
                  </a:cxn>
                  <a:cxn ang="0">
                    <a:pos x="T8" y="T9"/>
                  </a:cxn>
                  <a:cxn ang="0">
                    <a:pos x="T10" y="T11"/>
                  </a:cxn>
                </a:cxnLst>
                <a:rect l="0" t="0" r="r" b="b"/>
                <a:pathLst>
                  <a:path w="1446" h="1095">
                    <a:moveTo>
                      <a:pt x="123" y="1095"/>
                    </a:moveTo>
                    <a:lnTo>
                      <a:pt x="1446" y="574"/>
                    </a:lnTo>
                    <a:lnTo>
                      <a:pt x="1446" y="0"/>
                    </a:lnTo>
                    <a:lnTo>
                      <a:pt x="123" y="520"/>
                    </a:lnTo>
                    <a:lnTo>
                      <a:pt x="0" y="830"/>
                    </a:lnTo>
                    <a:lnTo>
                      <a:pt x="123" y="1095"/>
                    </a:lnTo>
                    <a:close/>
                  </a:path>
                </a:pathLst>
              </a:custGeom>
              <a:solidFill>
                <a:schemeClr val="accent3"/>
              </a:solidFill>
              <a:ln>
                <a:noFill/>
              </a:ln>
            </p:spPr>
            <p:txBody>
              <a:bodyPr lIns="68580" tIns="34290" rIns="68580" bIns="34290"/>
              <a:lstStyle/>
              <a:p>
                <a:pPr>
                  <a:defRPr/>
                </a:pPr>
                <a:endParaRPr lang="en-US" sz="1350"/>
              </a:p>
            </p:txBody>
          </p:sp>
          <p:sp>
            <p:nvSpPr>
              <p:cNvPr id="46" name="Freeform 45"/>
              <p:cNvSpPr>
                <a:spLocks/>
              </p:cNvSpPr>
              <p:nvPr/>
            </p:nvSpPr>
            <p:spPr bwMode="auto">
              <a:xfrm>
                <a:off x="3579813" y="4031661"/>
                <a:ext cx="250959" cy="943565"/>
              </a:xfrm>
              <a:custGeom>
                <a:avLst/>
                <a:gdLst>
                  <a:gd name="T0" fmla="*/ 155 w 158"/>
                  <a:gd name="T1" fmla="*/ 595 h 595"/>
                  <a:gd name="T2" fmla="*/ 113 w 158"/>
                  <a:gd name="T3" fmla="*/ 577 h 595"/>
                  <a:gd name="T4" fmla="*/ 0 w 158"/>
                  <a:gd name="T5" fmla="*/ 316 h 595"/>
                  <a:gd name="T6" fmla="*/ 119 w 158"/>
                  <a:gd name="T7" fmla="*/ 0 h 595"/>
                  <a:gd name="T8" fmla="*/ 158 w 158"/>
                  <a:gd name="T9" fmla="*/ 20 h 595"/>
                  <a:gd name="T10" fmla="*/ 37 w 158"/>
                  <a:gd name="T11" fmla="*/ 330 h 595"/>
                  <a:gd name="T12" fmla="*/ 155 w 158"/>
                  <a:gd name="T13" fmla="*/ 595 h 595"/>
                </a:gdLst>
                <a:ahLst/>
                <a:cxnLst>
                  <a:cxn ang="0">
                    <a:pos x="T0" y="T1"/>
                  </a:cxn>
                  <a:cxn ang="0">
                    <a:pos x="T2" y="T3"/>
                  </a:cxn>
                  <a:cxn ang="0">
                    <a:pos x="T4" y="T5"/>
                  </a:cxn>
                  <a:cxn ang="0">
                    <a:pos x="T6" y="T7"/>
                  </a:cxn>
                  <a:cxn ang="0">
                    <a:pos x="T8" y="T9"/>
                  </a:cxn>
                  <a:cxn ang="0">
                    <a:pos x="T10" y="T11"/>
                  </a:cxn>
                  <a:cxn ang="0">
                    <a:pos x="T12" y="T13"/>
                  </a:cxn>
                </a:cxnLst>
                <a:rect l="0" t="0" r="r" b="b"/>
                <a:pathLst>
                  <a:path w="158" h="595">
                    <a:moveTo>
                      <a:pt x="155" y="595"/>
                    </a:moveTo>
                    <a:lnTo>
                      <a:pt x="113" y="577"/>
                    </a:lnTo>
                    <a:lnTo>
                      <a:pt x="0" y="316"/>
                    </a:lnTo>
                    <a:lnTo>
                      <a:pt x="119" y="0"/>
                    </a:lnTo>
                    <a:lnTo>
                      <a:pt x="158" y="20"/>
                    </a:lnTo>
                    <a:lnTo>
                      <a:pt x="37" y="330"/>
                    </a:lnTo>
                    <a:lnTo>
                      <a:pt x="155" y="595"/>
                    </a:lnTo>
                    <a:close/>
                  </a:path>
                </a:pathLst>
              </a:custGeom>
              <a:solidFill>
                <a:schemeClr val="accent3">
                  <a:lumMod val="60000"/>
                  <a:lumOff val="40000"/>
                </a:schemeClr>
              </a:solidFill>
              <a:ln>
                <a:noFill/>
              </a:ln>
            </p:spPr>
            <p:txBody>
              <a:bodyPr lIns="68580" tIns="34290" rIns="68580" bIns="34290"/>
              <a:lstStyle/>
              <a:p>
                <a:pPr>
                  <a:defRPr/>
                </a:pPr>
                <a:endParaRPr lang="en-US" sz="1350"/>
              </a:p>
            </p:txBody>
          </p:sp>
        </p:grpSp>
        <p:grpSp>
          <p:nvGrpSpPr>
            <p:cNvPr id="47" name="Group 46"/>
            <p:cNvGrpSpPr>
              <a:grpSpLocks/>
            </p:cNvGrpSpPr>
            <p:nvPr/>
          </p:nvGrpSpPr>
          <p:grpSpPr bwMode="auto">
            <a:xfrm>
              <a:off x="5935663" y="2603500"/>
              <a:ext cx="1674812" cy="1333500"/>
              <a:chOff x="5881688" y="2327275"/>
              <a:chExt cx="2422525" cy="1930401"/>
            </a:xfrm>
          </p:grpSpPr>
          <p:sp>
            <p:nvSpPr>
              <p:cNvPr id="48" name="Freeform 47"/>
              <p:cNvSpPr>
                <a:spLocks/>
              </p:cNvSpPr>
              <p:nvPr/>
            </p:nvSpPr>
            <p:spPr bwMode="auto">
              <a:xfrm>
                <a:off x="5883984" y="2327275"/>
                <a:ext cx="2204384" cy="900854"/>
              </a:xfrm>
              <a:custGeom>
                <a:avLst/>
                <a:gdLst>
                  <a:gd name="T0" fmla="*/ 0 w 1389"/>
                  <a:gd name="T1" fmla="*/ 13 h 567"/>
                  <a:gd name="T2" fmla="*/ 46 w 1389"/>
                  <a:gd name="T3" fmla="*/ 0 h 567"/>
                  <a:gd name="T4" fmla="*/ 1389 w 1389"/>
                  <a:gd name="T5" fmla="*/ 545 h 567"/>
                  <a:gd name="T6" fmla="*/ 1345 w 1389"/>
                  <a:gd name="T7" fmla="*/ 567 h 567"/>
                  <a:gd name="T8" fmla="*/ 0 w 1389"/>
                  <a:gd name="T9" fmla="*/ 13 h 567"/>
                </a:gdLst>
                <a:ahLst/>
                <a:cxnLst>
                  <a:cxn ang="0">
                    <a:pos x="T0" y="T1"/>
                  </a:cxn>
                  <a:cxn ang="0">
                    <a:pos x="T2" y="T3"/>
                  </a:cxn>
                  <a:cxn ang="0">
                    <a:pos x="T4" y="T5"/>
                  </a:cxn>
                  <a:cxn ang="0">
                    <a:pos x="T6" y="T7"/>
                  </a:cxn>
                  <a:cxn ang="0">
                    <a:pos x="T8" y="T9"/>
                  </a:cxn>
                </a:cxnLst>
                <a:rect l="0" t="0" r="r" b="b"/>
                <a:pathLst>
                  <a:path w="1389" h="567">
                    <a:moveTo>
                      <a:pt x="0" y="13"/>
                    </a:moveTo>
                    <a:lnTo>
                      <a:pt x="46" y="0"/>
                    </a:lnTo>
                    <a:lnTo>
                      <a:pt x="1389" y="545"/>
                    </a:lnTo>
                    <a:lnTo>
                      <a:pt x="1345" y="567"/>
                    </a:lnTo>
                    <a:lnTo>
                      <a:pt x="0" y="13"/>
                    </a:lnTo>
                    <a:close/>
                  </a:path>
                </a:pathLst>
              </a:custGeom>
              <a:solidFill>
                <a:schemeClr val="accent4">
                  <a:lumMod val="75000"/>
                </a:schemeClr>
              </a:solidFill>
              <a:ln>
                <a:noFill/>
              </a:ln>
            </p:spPr>
            <p:txBody>
              <a:bodyPr lIns="68580" tIns="34290" rIns="68580" bIns="34290"/>
              <a:lstStyle/>
              <a:p>
                <a:pPr>
                  <a:defRPr/>
                </a:pPr>
                <a:endParaRPr lang="en-US" sz="1350"/>
              </a:p>
            </p:txBody>
          </p:sp>
          <p:sp>
            <p:nvSpPr>
              <p:cNvPr id="49" name="Freeform 48"/>
              <p:cNvSpPr>
                <a:spLocks/>
              </p:cNvSpPr>
              <p:nvPr/>
            </p:nvSpPr>
            <p:spPr bwMode="auto">
              <a:xfrm>
                <a:off x="5881688" y="2347959"/>
                <a:ext cx="2362823" cy="1909717"/>
              </a:xfrm>
              <a:custGeom>
                <a:avLst/>
                <a:gdLst>
                  <a:gd name="T0" fmla="*/ 1350 w 1488"/>
                  <a:gd name="T1" fmla="*/ 1203 h 1203"/>
                  <a:gd name="T2" fmla="*/ 0 w 1488"/>
                  <a:gd name="T3" fmla="*/ 647 h 1203"/>
                  <a:gd name="T4" fmla="*/ 0 w 1488"/>
                  <a:gd name="T5" fmla="*/ 0 h 1203"/>
                  <a:gd name="T6" fmla="*/ 1350 w 1488"/>
                  <a:gd name="T7" fmla="*/ 554 h 1203"/>
                  <a:gd name="T8" fmla="*/ 1488 w 1488"/>
                  <a:gd name="T9" fmla="*/ 904 h 1203"/>
                  <a:gd name="T10" fmla="*/ 1350 w 1488"/>
                  <a:gd name="T11" fmla="*/ 1203 h 1203"/>
                </a:gdLst>
                <a:ahLst/>
                <a:cxnLst>
                  <a:cxn ang="0">
                    <a:pos x="T0" y="T1"/>
                  </a:cxn>
                  <a:cxn ang="0">
                    <a:pos x="T2" y="T3"/>
                  </a:cxn>
                  <a:cxn ang="0">
                    <a:pos x="T4" y="T5"/>
                  </a:cxn>
                  <a:cxn ang="0">
                    <a:pos x="T6" y="T7"/>
                  </a:cxn>
                  <a:cxn ang="0">
                    <a:pos x="T8" y="T9"/>
                  </a:cxn>
                  <a:cxn ang="0">
                    <a:pos x="T10" y="T11"/>
                  </a:cxn>
                </a:cxnLst>
                <a:rect l="0" t="0" r="r" b="b"/>
                <a:pathLst>
                  <a:path w="1488" h="1203">
                    <a:moveTo>
                      <a:pt x="1350" y="1203"/>
                    </a:moveTo>
                    <a:lnTo>
                      <a:pt x="0" y="647"/>
                    </a:lnTo>
                    <a:lnTo>
                      <a:pt x="0" y="0"/>
                    </a:lnTo>
                    <a:lnTo>
                      <a:pt x="1350" y="554"/>
                    </a:lnTo>
                    <a:lnTo>
                      <a:pt x="1488" y="904"/>
                    </a:lnTo>
                    <a:lnTo>
                      <a:pt x="1350" y="1203"/>
                    </a:lnTo>
                    <a:close/>
                  </a:path>
                </a:pathLst>
              </a:custGeom>
              <a:solidFill>
                <a:schemeClr val="accent4"/>
              </a:solidFill>
              <a:ln>
                <a:noFill/>
              </a:ln>
            </p:spPr>
            <p:txBody>
              <a:bodyPr lIns="68580" tIns="34290" rIns="68580" bIns="34290"/>
              <a:lstStyle/>
              <a:p>
                <a:pPr>
                  <a:defRPr/>
                </a:pPr>
                <a:endParaRPr lang="en-US" sz="1350"/>
              </a:p>
            </p:txBody>
          </p:sp>
          <p:sp>
            <p:nvSpPr>
              <p:cNvPr id="50" name="Freeform 49"/>
              <p:cNvSpPr>
                <a:spLocks/>
              </p:cNvSpPr>
              <p:nvPr/>
            </p:nvSpPr>
            <p:spPr bwMode="auto">
              <a:xfrm>
                <a:off x="8019480" y="3191359"/>
                <a:ext cx="284733" cy="1066317"/>
              </a:xfrm>
              <a:custGeom>
                <a:avLst/>
                <a:gdLst>
                  <a:gd name="T0" fmla="*/ 4 w 180"/>
                  <a:gd name="T1" fmla="*/ 671 h 671"/>
                  <a:gd name="T2" fmla="*/ 51 w 180"/>
                  <a:gd name="T3" fmla="*/ 649 h 671"/>
                  <a:gd name="T4" fmla="*/ 180 w 180"/>
                  <a:gd name="T5" fmla="*/ 355 h 671"/>
                  <a:gd name="T6" fmla="*/ 44 w 180"/>
                  <a:gd name="T7" fmla="*/ 0 h 671"/>
                  <a:gd name="T8" fmla="*/ 0 w 180"/>
                  <a:gd name="T9" fmla="*/ 22 h 671"/>
                  <a:gd name="T10" fmla="*/ 139 w 180"/>
                  <a:gd name="T11" fmla="*/ 372 h 671"/>
                  <a:gd name="T12" fmla="*/ 4 w 180"/>
                  <a:gd name="T13" fmla="*/ 671 h 671"/>
                </a:gdLst>
                <a:ahLst/>
                <a:cxnLst>
                  <a:cxn ang="0">
                    <a:pos x="T0" y="T1"/>
                  </a:cxn>
                  <a:cxn ang="0">
                    <a:pos x="T2" y="T3"/>
                  </a:cxn>
                  <a:cxn ang="0">
                    <a:pos x="T4" y="T5"/>
                  </a:cxn>
                  <a:cxn ang="0">
                    <a:pos x="T6" y="T7"/>
                  </a:cxn>
                  <a:cxn ang="0">
                    <a:pos x="T8" y="T9"/>
                  </a:cxn>
                  <a:cxn ang="0">
                    <a:pos x="T10" y="T11"/>
                  </a:cxn>
                  <a:cxn ang="0">
                    <a:pos x="T12" y="T13"/>
                  </a:cxn>
                </a:cxnLst>
                <a:rect l="0" t="0" r="r" b="b"/>
                <a:pathLst>
                  <a:path w="180" h="671">
                    <a:moveTo>
                      <a:pt x="4" y="671"/>
                    </a:moveTo>
                    <a:lnTo>
                      <a:pt x="51" y="649"/>
                    </a:lnTo>
                    <a:lnTo>
                      <a:pt x="180" y="355"/>
                    </a:lnTo>
                    <a:lnTo>
                      <a:pt x="44" y="0"/>
                    </a:lnTo>
                    <a:lnTo>
                      <a:pt x="0" y="22"/>
                    </a:lnTo>
                    <a:lnTo>
                      <a:pt x="139" y="372"/>
                    </a:lnTo>
                    <a:lnTo>
                      <a:pt x="4" y="671"/>
                    </a:lnTo>
                    <a:close/>
                  </a:path>
                </a:pathLst>
              </a:custGeom>
              <a:solidFill>
                <a:schemeClr val="accent4">
                  <a:lumMod val="60000"/>
                  <a:lumOff val="40000"/>
                </a:schemeClr>
              </a:solidFill>
              <a:ln>
                <a:noFill/>
              </a:ln>
            </p:spPr>
            <p:txBody>
              <a:bodyPr lIns="68580" tIns="34290" rIns="68580" bIns="34290"/>
              <a:lstStyle/>
              <a:p>
                <a:pPr>
                  <a:defRPr/>
                </a:pPr>
                <a:endParaRPr lang="en-US" sz="1350"/>
              </a:p>
            </p:txBody>
          </p:sp>
        </p:grpSp>
        <p:grpSp>
          <p:nvGrpSpPr>
            <p:cNvPr id="51" name="Group 50"/>
            <p:cNvGrpSpPr>
              <a:grpSpLocks/>
            </p:cNvGrpSpPr>
            <p:nvPr/>
          </p:nvGrpSpPr>
          <p:grpSpPr bwMode="auto">
            <a:xfrm>
              <a:off x="5921376" y="1881189"/>
              <a:ext cx="187325" cy="5119687"/>
              <a:chOff x="5862638" y="1365250"/>
              <a:chExt cx="239712" cy="5727701"/>
            </a:xfrm>
          </p:grpSpPr>
          <p:sp>
            <p:nvSpPr>
              <p:cNvPr id="52" name="Freeform 51"/>
              <p:cNvSpPr>
                <a:spLocks/>
              </p:cNvSpPr>
              <p:nvPr/>
            </p:nvSpPr>
            <p:spPr bwMode="auto">
              <a:xfrm>
                <a:off x="5866701" y="1402546"/>
                <a:ext cx="113762" cy="5690405"/>
              </a:xfrm>
              <a:custGeom>
                <a:avLst/>
                <a:gdLst>
                  <a:gd name="T0" fmla="*/ 71 w 71"/>
                  <a:gd name="T1" fmla="*/ 3584 h 3584"/>
                  <a:gd name="T2" fmla="*/ 0 w 71"/>
                  <a:gd name="T3" fmla="*/ 3544 h 3584"/>
                  <a:gd name="T4" fmla="*/ 0 w 71"/>
                  <a:gd name="T5" fmla="*/ 0 h 3584"/>
                  <a:gd name="T6" fmla="*/ 71 w 71"/>
                  <a:gd name="T7" fmla="*/ 38 h 3584"/>
                  <a:gd name="T8" fmla="*/ 71 w 71"/>
                  <a:gd name="T9" fmla="*/ 3584 h 3584"/>
                </a:gdLst>
                <a:ahLst/>
                <a:cxnLst>
                  <a:cxn ang="0">
                    <a:pos x="T0" y="T1"/>
                  </a:cxn>
                  <a:cxn ang="0">
                    <a:pos x="T2" y="T3"/>
                  </a:cxn>
                  <a:cxn ang="0">
                    <a:pos x="T4" y="T5"/>
                  </a:cxn>
                  <a:cxn ang="0">
                    <a:pos x="T6" y="T7"/>
                  </a:cxn>
                  <a:cxn ang="0">
                    <a:pos x="T8" y="T9"/>
                  </a:cxn>
                </a:cxnLst>
                <a:rect l="0" t="0" r="r" b="b"/>
                <a:pathLst>
                  <a:path w="71" h="3584">
                    <a:moveTo>
                      <a:pt x="71" y="3584"/>
                    </a:moveTo>
                    <a:lnTo>
                      <a:pt x="0" y="3544"/>
                    </a:lnTo>
                    <a:lnTo>
                      <a:pt x="0" y="0"/>
                    </a:lnTo>
                    <a:lnTo>
                      <a:pt x="71" y="38"/>
                    </a:lnTo>
                    <a:lnTo>
                      <a:pt x="71" y="3584"/>
                    </a:lnTo>
                    <a:close/>
                  </a:path>
                </a:pathLst>
              </a:custGeom>
              <a:gradFill>
                <a:gsLst>
                  <a:gs pos="0">
                    <a:schemeClr val="tx1">
                      <a:lumMod val="40000"/>
                      <a:lumOff val="60000"/>
                    </a:schemeClr>
                  </a:gs>
                  <a:gs pos="100000">
                    <a:schemeClr val="tx1">
                      <a:lumMod val="75000"/>
                    </a:schemeClr>
                  </a:gs>
                </a:gsLst>
                <a:lin ang="5400000" scaled="1"/>
              </a:gradFill>
              <a:ln>
                <a:noFill/>
              </a:ln>
            </p:spPr>
            <p:txBody>
              <a:bodyPr lIns="68580" tIns="34290" rIns="68580" bIns="34290"/>
              <a:lstStyle/>
              <a:p>
                <a:pPr>
                  <a:defRPr/>
                </a:pPr>
                <a:endParaRPr lang="en-US" sz="1350"/>
              </a:p>
            </p:txBody>
          </p:sp>
          <p:sp>
            <p:nvSpPr>
              <p:cNvPr id="53" name="Freeform 52"/>
              <p:cNvSpPr>
                <a:spLocks/>
              </p:cNvSpPr>
              <p:nvPr/>
            </p:nvSpPr>
            <p:spPr bwMode="auto">
              <a:xfrm>
                <a:off x="5980463" y="1416754"/>
                <a:ext cx="117825" cy="5676197"/>
              </a:xfrm>
              <a:custGeom>
                <a:avLst/>
                <a:gdLst>
                  <a:gd name="T0" fmla="*/ 0 w 75"/>
                  <a:gd name="T1" fmla="*/ 3575 h 3575"/>
                  <a:gd name="T2" fmla="*/ 75 w 75"/>
                  <a:gd name="T3" fmla="*/ 3546 h 3575"/>
                  <a:gd name="T4" fmla="*/ 75 w 75"/>
                  <a:gd name="T5" fmla="*/ 0 h 3575"/>
                  <a:gd name="T6" fmla="*/ 0 w 75"/>
                  <a:gd name="T7" fmla="*/ 29 h 3575"/>
                  <a:gd name="T8" fmla="*/ 0 w 75"/>
                  <a:gd name="T9" fmla="*/ 3575 h 3575"/>
                </a:gdLst>
                <a:ahLst/>
                <a:cxnLst>
                  <a:cxn ang="0">
                    <a:pos x="T0" y="T1"/>
                  </a:cxn>
                  <a:cxn ang="0">
                    <a:pos x="T2" y="T3"/>
                  </a:cxn>
                  <a:cxn ang="0">
                    <a:pos x="T4" y="T5"/>
                  </a:cxn>
                  <a:cxn ang="0">
                    <a:pos x="T6" y="T7"/>
                  </a:cxn>
                  <a:cxn ang="0">
                    <a:pos x="T8" y="T9"/>
                  </a:cxn>
                </a:cxnLst>
                <a:rect l="0" t="0" r="r" b="b"/>
                <a:pathLst>
                  <a:path w="75" h="3575">
                    <a:moveTo>
                      <a:pt x="0" y="3575"/>
                    </a:moveTo>
                    <a:lnTo>
                      <a:pt x="75" y="3546"/>
                    </a:lnTo>
                    <a:lnTo>
                      <a:pt x="75" y="0"/>
                    </a:lnTo>
                    <a:lnTo>
                      <a:pt x="0" y="29"/>
                    </a:lnTo>
                    <a:lnTo>
                      <a:pt x="0" y="3575"/>
                    </a:lnTo>
                    <a:close/>
                  </a:path>
                </a:pathLst>
              </a:custGeom>
              <a:gradFill>
                <a:gsLst>
                  <a:gs pos="0">
                    <a:schemeClr val="tx1">
                      <a:lumMod val="40000"/>
                      <a:lumOff val="60000"/>
                    </a:schemeClr>
                  </a:gs>
                  <a:gs pos="59000">
                    <a:schemeClr val="tx1">
                      <a:lumMod val="75000"/>
                    </a:schemeClr>
                  </a:gs>
                </a:gsLst>
                <a:lin ang="5400000" scaled="1"/>
              </a:gradFill>
              <a:ln>
                <a:noFill/>
              </a:ln>
            </p:spPr>
            <p:txBody>
              <a:bodyPr lIns="68580" tIns="34290" rIns="68580" bIns="34290"/>
              <a:lstStyle/>
              <a:p>
                <a:pPr>
                  <a:defRPr/>
                </a:pPr>
                <a:endParaRPr lang="en-US" sz="1350"/>
              </a:p>
            </p:txBody>
          </p:sp>
          <p:sp>
            <p:nvSpPr>
              <p:cNvPr id="54" name="Freeform 53"/>
              <p:cNvSpPr>
                <a:spLocks/>
              </p:cNvSpPr>
              <p:nvPr/>
            </p:nvSpPr>
            <p:spPr bwMode="auto">
              <a:xfrm>
                <a:off x="5862638" y="1365250"/>
                <a:ext cx="239712" cy="97681"/>
              </a:xfrm>
              <a:custGeom>
                <a:avLst/>
                <a:gdLst>
                  <a:gd name="T0" fmla="*/ 0 w 151"/>
                  <a:gd name="T1" fmla="*/ 24 h 62"/>
                  <a:gd name="T2" fmla="*/ 79 w 151"/>
                  <a:gd name="T3" fmla="*/ 0 h 62"/>
                  <a:gd name="T4" fmla="*/ 151 w 151"/>
                  <a:gd name="T5" fmla="*/ 33 h 62"/>
                  <a:gd name="T6" fmla="*/ 76 w 151"/>
                  <a:gd name="T7" fmla="*/ 62 h 62"/>
                  <a:gd name="T8" fmla="*/ 0 w 151"/>
                  <a:gd name="T9" fmla="*/ 24 h 62"/>
                </a:gdLst>
                <a:ahLst/>
                <a:cxnLst>
                  <a:cxn ang="0">
                    <a:pos x="T0" y="T1"/>
                  </a:cxn>
                  <a:cxn ang="0">
                    <a:pos x="T2" y="T3"/>
                  </a:cxn>
                  <a:cxn ang="0">
                    <a:pos x="T4" y="T5"/>
                  </a:cxn>
                  <a:cxn ang="0">
                    <a:pos x="T6" y="T7"/>
                  </a:cxn>
                  <a:cxn ang="0">
                    <a:pos x="T8" y="T9"/>
                  </a:cxn>
                </a:cxnLst>
                <a:rect l="0" t="0" r="r" b="b"/>
                <a:pathLst>
                  <a:path w="151" h="62">
                    <a:moveTo>
                      <a:pt x="0" y="24"/>
                    </a:moveTo>
                    <a:lnTo>
                      <a:pt x="79" y="0"/>
                    </a:lnTo>
                    <a:lnTo>
                      <a:pt x="151" y="33"/>
                    </a:lnTo>
                    <a:lnTo>
                      <a:pt x="76" y="62"/>
                    </a:lnTo>
                    <a:lnTo>
                      <a:pt x="0" y="24"/>
                    </a:lnTo>
                    <a:close/>
                  </a:path>
                </a:pathLst>
              </a:custGeom>
              <a:solidFill>
                <a:schemeClr val="tx1">
                  <a:lumMod val="60000"/>
                  <a:lumOff val="40000"/>
                </a:schemeClr>
              </a:solidFill>
              <a:ln>
                <a:noFill/>
              </a:ln>
            </p:spPr>
            <p:txBody>
              <a:bodyPr lIns="68580" tIns="34290" rIns="68580" bIns="34290"/>
              <a:lstStyle/>
              <a:p>
                <a:pPr>
                  <a:defRPr/>
                </a:pPr>
                <a:endParaRPr lang="en-US" sz="1350"/>
              </a:p>
            </p:txBody>
          </p:sp>
        </p:grpSp>
        <p:sp>
          <p:nvSpPr>
            <p:cNvPr id="24" name="TextBox 23"/>
            <p:cNvSpPr txBox="1"/>
            <p:nvPr/>
          </p:nvSpPr>
          <p:spPr>
            <a:xfrm rot="21398564">
              <a:off x="4432840" y="3919971"/>
              <a:ext cx="1097608" cy="323165"/>
            </a:xfrm>
            <a:prstGeom prst="rect">
              <a:avLst/>
            </a:prstGeom>
            <a:noFill/>
          </p:spPr>
          <p:txBody>
            <a:bodyPr wrap="none">
              <a:spAutoFit/>
              <a:scene3d>
                <a:camera prst="isometricRightUp">
                  <a:rot lat="2100000" lon="19800000" rev="0"/>
                </a:camera>
                <a:lightRig rig="threePt" dir="t"/>
              </a:scene3d>
            </a:bodyPr>
            <a:lstStyle/>
            <a:p>
              <a:pPr algn="ctr">
                <a:defRPr/>
              </a:pPr>
              <a:r>
                <a:rPr lang="id-ID" sz="1500" b="1" dirty="0">
                  <a:solidFill>
                    <a:schemeClr val="bg2"/>
                  </a:solidFill>
                  <a:latin typeface="+mj-lt"/>
                </a:rPr>
                <a:t>Description</a:t>
              </a:r>
            </a:p>
          </p:txBody>
        </p:sp>
        <p:sp>
          <p:nvSpPr>
            <p:cNvPr id="55" name="TextBox 54"/>
            <p:cNvSpPr txBox="1"/>
            <p:nvPr/>
          </p:nvSpPr>
          <p:spPr>
            <a:xfrm rot="21398564">
              <a:off x="4543559" y="5044329"/>
              <a:ext cx="1097608" cy="323165"/>
            </a:xfrm>
            <a:prstGeom prst="rect">
              <a:avLst/>
            </a:prstGeom>
            <a:noFill/>
          </p:spPr>
          <p:txBody>
            <a:bodyPr wrap="none">
              <a:spAutoFit/>
              <a:scene3d>
                <a:camera prst="isometricRightUp">
                  <a:rot lat="2100000" lon="19800000" rev="0"/>
                </a:camera>
                <a:lightRig rig="threePt" dir="t"/>
              </a:scene3d>
            </a:bodyPr>
            <a:lstStyle/>
            <a:p>
              <a:pPr algn="ctr">
                <a:defRPr/>
              </a:pPr>
              <a:r>
                <a:rPr lang="id-ID" sz="1500" b="1" dirty="0">
                  <a:solidFill>
                    <a:schemeClr val="bg2"/>
                  </a:solidFill>
                  <a:latin typeface="+mj-lt"/>
                </a:rPr>
                <a:t>Description</a:t>
              </a:r>
            </a:p>
          </p:txBody>
        </p:sp>
        <p:sp>
          <p:nvSpPr>
            <p:cNvPr id="56" name="TextBox 55"/>
            <p:cNvSpPr txBox="1"/>
            <p:nvPr/>
          </p:nvSpPr>
          <p:spPr>
            <a:xfrm rot="21398564">
              <a:off x="4549979" y="2707554"/>
              <a:ext cx="1097608" cy="323165"/>
            </a:xfrm>
            <a:prstGeom prst="rect">
              <a:avLst/>
            </a:prstGeom>
            <a:noFill/>
          </p:spPr>
          <p:txBody>
            <a:bodyPr wrap="none">
              <a:spAutoFit/>
              <a:scene3d>
                <a:camera prst="isometricRightUp">
                  <a:rot lat="2100000" lon="19800000" rev="0"/>
                </a:camera>
                <a:lightRig rig="threePt" dir="t"/>
              </a:scene3d>
            </a:bodyPr>
            <a:lstStyle/>
            <a:p>
              <a:pPr algn="ctr">
                <a:defRPr/>
              </a:pPr>
              <a:r>
                <a:rPr lang="id-ID" sz="1500" b="1" dirty="0">
                  <a:solidFill>
                    <a:schemeClr val="bg2"/>
                  </a:solidFill>
                  <a:latin typeface="+mj-lt"/>
                </a:rPr>
                <a:t>Description</a:t>
              </a:r>
            </a:p>
          </p:txBody>
        </p:sp>
        <p:sp>
          <p:nvSpPr>
            <p:cNvPr id="57" name="TextBox 56"/>
            <p:cNvSpPr txBox="1"/>
            <p:nvPr/>
          </p:nvSpPr>
          <p:spPr>
            <a:xfrm rot="21398564">
              <a:off x="6364012" y="3207400"/>
              <a:ext cx="1097608" cy="323165"/>
            </a:xfrm>
            <a:prstGeom prst="rect">
              <a:avLst/>
            </a:prstGeom>
            <a:noFill/>
          </p:spPr>
          <p:txBody>
            <a:bodyPr wrap="none">
              <a:spAutoFit/>
              <a:scene3d>
                <a:camera prst="isometricLeftDown">
                  <a:rot lat="2100000" lon="2400000" rev="0"/>
                </a:camera>
                <a:lightRig rig="threePt" dir="t"/>
              </a:scene3d>
            </a:bodyPr>
            <a:lstStyle/>
            <a:p>
              <a:pPr algn="ctr">
                <a:defRPr/>
              </a:pPr>
              <a:r>
                <a:rPr lang="id-ID" sz="1500" b="1" dirty="0">
                  <a:solidFill>
                    <a:schemeClr val="bg2"/>
                  </a:solidFill>
                  <a:latin typeface="+mj-lt"/>
                </a:rPr>
                <a:t>Description</a:t>
              </a:r>
            </a:p>
          </p:txBody>
        </p:sp>
        <p:sp>
          <p:nvSpPr>
            <p:cNvPr id="58" name="TextBox 57"/>
            <p:cNvSpPr txBox="1"/>
            <p:nvPr/>
          </p:nvSpPr>
          <p:spPr>
            <a:xfrm rot="21398564">
              <a:off x="6395428" y="4380107"/>
              <a:ext cx="1277016" cy="369332"/>
            </a:xfrm>
            <a:prstGeom prst="rect">
              <a:avLst/>
            </a:prstGeom>
            <a:noFill/>
          </p:spPr>
          <p:txBody>
            <a:bodyPr wrap="none">
              <a:spAutoFit/>
              <a:scene3d>
                <a:camera prst="isometricLeftDown">
                  <a:rot lat="2100000" lon="2400000" rev="0"/>
                </a:camera>
                <a:lightRig rig="threePt" dir="t"/>
              </a:scene3d>
            </a:bodyPr>
            <a:lstStyle/>
            <a:p>
              <a:pPr algn="ctr">
                <a:defRPr/>
              </a:pPr>
              <a:r>
                <a:rPr lang="id-ID" b="1" dirty="0">
                  <a:solidFill>
                    <a:schemeClr val="bg2"/>
                  </a:solidFill>
                  <a:latin typeface="+mj-lt"/>
                </a:rPr>
                <a:t>Description</a:t>
              </a:r>
            </a:p>
          </p:txBody>
        </p:sp>
        <p:sp>
          <p:nvSpPr>
            <p:cNvPr id="59" name="TextBox 58"/>
            <p:cNvSpPr txBox="1"/>
            <p:nvPr/>
          </p:nvSpPr>
          <p:spPr>
            <a:xfrm>
              <a:off x="2166939" y="2722564"/>
              <a:ext cx="2078037" cy="577081"/>
            </a:xfrm>
            <a:prstGeom prst="rect">
              <a:avLst/>
            </a:prstGeom>
            <a:noFill/>
          </p:spPr>
          <p:txBody>
            <a:bodyPr>
              <a:spAutoFit/>
            </a:bodyPr>
            <a:lstStyle/>
            <a:p>
              <a:pPr algn="r">
                <a:defRPr/>
              </a:pPr>
              <a:r>
                <a:rPr lang="id-ID" sz="1050" dirty="0"/>
                <a:t>Suitable for all </a:t>
              </a:r>
              <a:r>
                <a:rPr lang="en-US" sz="1050" dirty="0"/>
                <a:t>kind </a:t>
              </a:r>
              <a:r>
                <a:rPr lang="id-ID" sz="1050" dirty="0"/>
                <a:t>business and personal presentation</a:t>
              </a:r>
              <a:r>
                <a:rPr lang="en-US" sz="1050" dirty="0"/>
                <a:t>, feel free to edit it this is your presentation</a:t>
              </a:r>
              <a:endParaRPr lang="id-ID" sz="1050" dirty="0"/>
            </a:p>
          </p:txBody>
        </p:sp>
        <p:sp>
          <p:nvSpPr>
            <p:cNvPr id="60" name="TextBox 59"/>
            <p:cNvSpPr txBox="1"/>
            <p:nvPr/>
          </p:nvSpPr>
          <p:spPr>
            <a:xfrm>
              <a:off x="2119314" y="3987801"/>
              <a:ext cx="2078037" cy="577081"/>
            </a:xfrm>
            <a:prstGeom prst="rect">
              <a:avLst/>
            </a:prstGeom>
            <a:noFill/>
          </p:spPr>
          <p:txBody>
            <a:bodyPr>
              <a:spAutoFit/>
            </a:bodyPr>
            <a:lstStyle/>
            <a:p>
              <a:pPr algn="r">
                <a:defRPr/>
              </a:pPr>
              <a:r>
                <a:rPr lang="id-ID" sz="1050" dirty="0"/>
                <a:t>Suitable for all </a:t>
              </a:r>
              <a:r>
                <a:rPr lang="en-US" sz="1050" dirty="0"/>
                <a:t>kind </a:t>
              </a:r>
              <a:r>
                <a:rPr lang="id-ID" sz="1050" dirty="0"/>
                <a:t>business and personal presentation</a:t>
              </a:r>
              <a:r>
                <a:rPr lang="en-US" sz="1050" dirty="0"/>
                <a:t>, feel free to edit it this is your presentation</a:t>
              </a:r>
              <a:endParaRPr lang="id-ID" sz="1050" dirty="0"/>
            </a:p>
          </p:txBody>
        </p:sp>
        <p:sp>
          <p:nvSpPr>
            <p:cNvPr id="61" name="TextBox 60"/>
            <p:cNvSpPr txBox="1"/>
            <p:nvPr/>
          </p:nvSpPr>
          <p:spPr>
            <a:xfrm>
              <a:off x="2119314" y="5105401"/>
              <a:ext cx="2078037" cy="577081"/>
            </a:xfrm>
            <a:prstGeom prst="rect">
              <a:avLst/>
            </a:prstGeom>
            <a:noFill/>
          </p:spPr>
          <p:txBody>
            <a:bodyPr>
              <a:spAutoFit/>
            </a:bodyPr>
            <a:lstStyle/>
            <a:p>
              <a:pPr algn="r">
                <a:defRPr/>
              </a:pPr>
              <a:r>
                <a:rPr lang="id-ID" sz="1050" dirty="0"/>
                <a:t>Suitable for all </a:t>
              </a:r>
              <a:r>
                <a:rPr lang="en-US" sz="1050" dirty="0"/>
                <a:t>kind </a:t>
              </a:r>
              <a:r>
                <a:rPr lang="id-ID" sz="1050" dirty="0"/>
                <a:t>business and personal presentation</a:t>
              </a:r>
              <a:r>
                <a:rPr lang="en-US" sz="1050" dirty="0"/>
                <a:t>, feel free to edit it this is your presentation</a:t>
              </a:r>
              <a:endParaRPr lang="id-ID" sz="1050" dirty="0"/>
            </a:p>
          </p:txBody>
        </p:sp>
        <p:sp>
          <p:nvSpPr>
            <p:cNvPr id="62" name="TextBox 61"/>
            <p:cNvSpPr txBox="1"/>
            <p:nvPr/>
          </p:nvSpPr>
          <p:spPr>
            <a:xfrm>
              <a:off x="7643814" y="3328989"/>
              <a:ext cx="2078037" cy="577081"/>
            </a:xfrm>
            <a:prstGeom prst="rect">
              <a:avLst/>
            </a:prstGeom>
            <a:noFill/>
          </p:spPr>
          <p:txBody>
            <a:bodyPr>
              <a:spAutoFit/>
            </a:bodyPr>
            <a:lstStyle/>
            <a:p>
              <a:pPr>
                <a:defRPr/>
              </a:pPr>
              <a:r>
                <a:rPr lang="id-ID" sz="1050" dirty="0"/>
                <a:t>Suitable for all </a:t>
              </a:r>
              <a:r>
                <a:rPr lang="en-US" sz="1050" dirty="0"/>
                <a:t>kind </a:t>
              </a:r>
              <a:r>
                <a:rPr lang="id-ID" sz="1050" dirty="0"/>
                <a:t>business and personal presentation</a:t>
              </a:r>
              <a:r>
                <a:rPr lang="en-US" sz="1050" dirty="0"/>
                <a:t>, feel free to edit it this is your presentation</a:t>
              </a:r>
              <a:endParaRPr lang="id-ID" sz="1050" dirty="0"/>
            </a:p>
          </p:txBody>
        </p:sp>
        <p:sp>
          <p:nvSpPr>
            <p:cNvPr id="63" name="TextBox 62"/>
            <p:cNvSpPr txBox="1"/>
            <p:nvPr/>
          </p:nvSpPr>
          <p:spPr>
            <a:xfrm>
              <a:off x="7916864" y="4551364"/>
              <a:ext cx="2078037" cy="577081"/>
            </a:xfrm>
            <a:prstGeom prst="rect">
              <a:avLst/>
            </a:prstGeom>
            <a:noFill/>
          </p:spPr>
          <p:txBody>
            <a:bodyPr>
              <a:spAutoFit/>
            </a:bodyPr>
            <a:lstStyle/>
            <a:p>
              <a:pPr>
                <a:defRPr/>
              </a:pPr>
              <a:r>
                <a:rPr lang="id-ID" sz="1050" dirty="0"/>
                <a:t>Suitable for all </a:t>
              </a:r>
              <a:r>
                <a:rPr lang="en-US" sz="1050" dirty="0"/>
                <a:t>kind </a:t>
              </a:r>
              <a:r>
                <a:rPr lang="id-ID" sz="1050" dirty="0"/>
                <a:t>business and personal presentation</a:t>
              </a:r>
              <a:r>
                <a:rPr lang="en-US" sz="1050" dirty="0"/>
                <a:t>, feel free to edit it this is your presentation</a:t>
              </a:r>
              <a:endParaRPr lang="id-ID" sz="1050" dirty="0"/>
            </a:p>
          </p:txBody>
        </p:sp>
      </p:grpSp>
    </p:spTree>
    <p:custDataLst>
      <p:tags r:id="rId1"/>
    </p:custDataLst>
    <p:extLst>
      <p:ext uri="{BB962C8B-B14F-4D97-AF65-F5344CB8AC3E}">
        <p14:creationId xmlns:p14="http://schemas.microsoft.com/office/powerpoint/2010/main" val="3802546378"/>
      </p:ext>
    </p:extLst>
  </p:cSld>
  <p:clrMapOvr>
    <a:masterClrMapping/>
  </p:clrMapOvr>
  <p:transition>
    <p:fade/>
  </p:transition>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29108F6-CE1B-4C22-A747-ED45CC4A1466}"/>
              </a:ext>
            </a:extLst>
          </p:cNvPr>
          <p:cNvGrpSpPr/>
          <p:nvPr/>
        </p:nvGrpSpPr>
        <p:grpSpPr>
          <a:xfrm>
            <a:off x="506033" y="809917"/>
            <a:ext cx="11340826" cy="5238166"/>
            <a:chOff x="1525589" y="1833563"/>
            <a:chExt cx="9142412" cy="4222750"/>
          </a:xfrm>
        </p:grpSpPr>
        <p:sp>
          <p:nvSpPr>
            <p:cNvPr id="103" name="Freeform 61"/>
            <p:cNvSpPr>
              <a:spLocks/>
            </p:cNvSpPr>
            <p:nvPr/>
          </p:nvSpPr>
          <p:spPr bwMode="auto">
            <a:xfrm>
              <a:off x="4073526" y="1833563"/>
              <a:ext cx="639763" cy="569912"/>
            </a:xfrm>
            <a:custGeom>
              <a:avLst/>
              <a:gdLst>
                <a:gd name="T0" fmla="*/ 265 w 265"/>
                <a:gd name="T1" fmla="*/ 98 h 236"/>
                <a:gd name="T2" fmla="*/ 245 w 265"/>
                <a:gd name="T3" fmla="*/ 77 h 236"/>
                <a:gd name="T4" fmla="*/ 241 w 265"/>
                <a:gd name="T5" fmla="*/ 77 h 236"/>
                <a:gd name="T6" fmla="*/ 244 w 265"/>
                <a:gd name="T7" fmla="*/ 69 h 236"/>
                <a:gd name="T8" fmla="*/ 221 w 265"/>
                <a:gd name="T9" fmla="*/ 50 h 236"/>
                <a:gd name="T10" fmla="*/ 207 w 265"/>
                <a:gd name="T11" fmla="*/ 54 h 236"/>
                <a:gd name="T12" fmla="*/ 207 w 265"/>
                <a:gd name="T13" fmla="*/ 50 h 236"/>
                <a:gd name="T14" fmla="*/ 147 w 265"/>
                <a:gd name="T15" fmla="*/ 0 h 236"/>
                <a:gd name="T16" fmla="*/ 92 w 265"/>
                <a:gd name="T17" fmla="*/ 31 h 236"/>
                <a:gd name="T18" fmla="*/ 72 w 265"/>
                <a:gd name="T19" fmla="*/ 28 h 236"/>
                <a:gd name="T20" fmla="*/ 22 w 265"/>
                <a:gd name="T21" fmla="*/ 70 h 236"/>
                <a:gd name="T22" fmla="*/ 22 w 265"/>
                <a:gd name="T23" fmla="*/ 77 h 236"/>
                <a:gd name="T24" fmla="*/ 20 w 265"/>
                <a:gd name="T25" fmla="*/ 77 h 236"/>
                <a:gd name="T26" fmla="*/ 0 w 265"/>
                <a:gd name="T27" fmla="*/ 98 h 236"/>
                <a:gd name="T28" fmla="*/ 20 w 265"/>
                <a:gd name="T29" fmla="*/ 119 h 236"/>
                <a:gd name="T30" fmla="*/ 211 w 265"/>
                <a:gd name="T31" fmla="*/ 119 h 236"/>
                <a:gd name="T32" fmla="*/ 211 w 265"/>
                <a:gd name="T33" fmla="*/ 209 h 236"/>
                <a:gd name="T34" fmla="*/ 238 w 265"/>
                <a:gd name="T35" fmla="*/ 236 h 236"/>
                <a:gd name="T36" fmla="*/ 265 w 265"/>
                <a:gd name="T37" fmla="*/ 209 h 236"/>
                <a:gd name="T38" fmla="*/ 265 w 265"/>
                <a:gd name="T39" fmla="*/ 9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5" h="236">
                  <a:moveTo>
                    <a:pt x="265" y="98"/>
                  </a:moveTo>
                  <a:cubicBezTo>
                    <a:pt x="265" y="86"/>
                    <a:pt x="256" y="77"/>
                    <a:pt x="245" y="77"/>
                  </a:cubicBezTo>
                  <a:cubicBezTo>
                    <a:pt x="241" y="77"/>
                    <a:pt x="241" y="77"/>
                    <a:pt x="241" y="77"/>
                  </a:cubicBezTo>
                  <a:cubicBezTo>
                    <a:pt x="243" y="75"/>
                    <a:pt x="244" y="72"/>
                    <a:pt x="244" y="69"/>
                  </a:cubicBezTo>
                  <a:cubicBezTo>
                    <a:pt x="244" y="58"/>
                    <a:pt x="233" y="50"/>
                    <a:pt x="221" y="50"/>
                  </a:cubicBezTo>
                  <a:cubicBezTo>
                    <a:pt x="216" y="50"/>
                    <a:pt x="211" y="52"/>
                    <a:pt x="207" y="54"/>
                  </a:cubicBezTo>
                  <a:cubicBezTo>
                    <a:pt x="207" y="53"/>
                    <a:pt x="207" y="51"/>
                    <a:pt x="207" y="50"/>
                  </a:cubicBezTo>
                  <a:cubicBezTo>
                    <a:pt x="207" y="22"/>
                    <a:pt x="180" y="0"/>
                    <a:pt x="147" y="0"/>
                  </a:cubicBezTo>
                  <a:cubicBezTo>
                    <a:pt x="122" y="0"/>
                    <a:pt x="101" y="13"/>
                    <a:pt x="92" y="31"/>
                  </a:cubicBezTo>
                  <a:cubicBezTo>
                    <a:pt x="86" y="29"/>
                    <a:pt x="79" y="28"/>
                    <a:pt x="72" y="28"/>
                  </a:cubicBezTo>
                  <a:cubicBezTo>
                    <a:pt x="44" y="28"/>
                    <a:pt x="22" y="46"/>
                    <a:pt x="22" y="70"/>
                  </a:cubicBezTo>
                  <a:cubicBezTo>
                    <a:pt x="22" y="72"/>
                    <a:pt x="22" y="75"/>
                    <a:pt x="22" y="77"/>
                  </a:cubicBezTo>
                  <a:cubicBezTo>
                    <a:pt x="20" y="77"/>
                    <a:pt x="20" y="77"/>
                    <a:pt x="20" y="77"/>
                  </a:cubicBezTo>
                  <a:cubicBezTo>
                    <a:pt x="9" y="77"/>
                    <a:pt x="0" y="86"/>
                    <a:pt x="0" y="98"/>
                  </a:cubicBezTo>
                  <a:cubicBezTo>
                    <a:pt x="0" y="109"/>
                    <a:pt x="9" y="119"/>
                    <a:pt x="20" y="119"/>
                  </a:cubicBezTo>
                  <a:cubicBezTo>
                    <a:pt x="211" y="119"/>
                    <a:pt x="211" y="119"/>
                    <a:pt x="211" y="119"/>
                  </a:cubicBezTo>
                  <a:cubicBezTo>
                    <a:pt x="211" y="209"/>
                    <a:pt x="211" y="209"/>
                    <a:pt x="211" y="209"/>
                  </a:cubicBezTo>
                  <a:cubicBezTo>
                    <a:pt x="211" y="224"/>
                    <a:pt x="223" y="236"/>
                    <a:pt x="238" y="236"/>
                  </a:cubicBezTo>
                  <a:cubicBezTo>
                    <a:pt x="253" y="236"/>
                    <a:pt x="265" y="224"/>
                    <a:pt x="265" y="209"/>
                  </a:cubicBezTo>
                  <a:cubicBezTo>
                    <a:pt x="265" y="98"/>
                    <a:pt x="265" y="98"/>
                    <a:pt x="265" y="98"/>
                  </a:cubicBezTo>
                  <a:close/>
                </a:path>
              </a:pathLst>
            </a:custGeom>
            <a:solidFill>
              <a:schemeClr val="tx1">
                <a:lumMod val="20000"/>
                <a:lumOff val="80000"/>
              </a:schemeClr>
            </a:solidFill>
            <a:ln>
              <a:noFill/>
            </a:ln>
          </p:spPr>
          <p:txBody>
            <a:bodyPr lIns="68580" tIns="34290" rIns="68580" bIns="34290"/>
            <a:lstStyle/>
            <a:p>
              <a:pPr>
                <a:defRPr/>
              </a:pPr>
              <a:endParaRPr lang="en-US" sz="1350"/>
            </a:p>
          </p:txBody>
        </p:sp>
        <p:sp>
          <p:nvSpPr>
            <p:cNvPr id="104" name="Freeform 62"/>
            <p:cNvSpPr>
              <a:spLocks/>
            </p:cNvSpPr>
            <p:nvPr/>
          </p:nvSpPr>
          <p:spPr bwMode="auto">
            <a:xfrm>
              <a:off x="3868739" y="1966914"/>
              <a:ext cx="511175" cy="454025"/>
            </a:xfrm>
            <a:custGeom>
              <a:avLst/>
              <a:gdLst>
                <a:gd name="T0" fmla="*/ 212 w 212"/>
                <a:gd name="T1" fmla="*/ 78 h 188"/>
                <a:gd name="T2" fmla="*/ 196 w 212"/>
                <a:gd name="T3" fmla="*/ 62 h 188"/>
                <a:gd name="T4" fmla="*/ 192 w 212"/>
                <a:gd name="T5" fmla="*/ 62 h 188"/>
                <a:gd name="T6" fmla="*/ 194 w 212"/>
                <a:gd name="T7" fmla="*/ 55 h 188"/>
                <a:gd name="T8" fmla="*/ 177 w 212"/>
                <a:gd name="T9" fmla="*/ 40 h 188"/>
                <a:gd name="T10" fmla="*/ 165 w 212"/>
                <a:gd name="T11" fmla="*/ 44 h 188"/>
                <a:gd name="T12" fmla="*/ 165 w 212"/>
                <a:gd name="T13" fmla="*/ 40 h 188"/>
                <a:gd name="T14" fmla="*/ 118 w 212"/>
                <a:gd name="T15" fmla="*/ 0 h 188"/>
                <a:gd name="T16" fmla="*/ 74 w 212"/>
                <a:gd name="T17" fmla="*/ 25 h 188"/>
                <a:gd name="T18" fmla="*/ 58 w 212"/>
                <a:gd name="T19" fmla="*/ 22 h 188"/>
                <a:gd name="T20" fmla="*/ 18 w 212"/>
                <a:gd name="T21" fmla="*/ 56 h 188"/>
                <a:gd name="T22" fmla="*/ 18 w 212"/>
                <a:gd name="T23" fmla="*/ 62 h 188"/>
                <a:gd name="T24" fmla="*/ 16 w 212"/>
                <a:gd name="T25" fmla="*/ 62 h 188"/>
                <a:gd name="T26" fmla="*/ 0 w 212"/>
                <a:gd name="T27" fmla="*/ 78 h 188"/>
                <a:gd name="T28" fmla="*/ 16 w 212"/>
                <a:gd name="T29" fmla="*/ 95 h 188"/>
                <a:gd name="T30" fmla="*/ 168 w 212"/>
                <a:gd name="T31" fmla="*/ 95 h 188"/>
                <a:gd name="T32" fmla="*/ 168 w 212"/>
                <a:gd name="T33" fmla="*/ 167 h 188"/>
                <a:gd name="T34" fmla="*/ 190 w 212"/>
                <a:gd name="T35" fmla="*/ 188 h 188"/>
                <a:gd name="T36" fmla="*/ 212 w 212"/>
                <a:gd name="T37" fmla="*/ 167 h 188"/>
                <a:gd name="T38" fmla="*/ 212 w 212"/>
                <a:gd name="T39" fmla="*/ 7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2" h="188">
                  <a:moveTo>
                    <a:pt x="212" y="78"/>
                  </a:moveTo>
                  <a:cubicBezTo>
                    <a:pt x="212" y="69"/>
                    <a:pt x="205" y="62"/>
                    <a:pt x="196" y="62"/>
                  </a:cubicBezTo>
                  <a:cubicBezTo>
                    <a:pt x="192" y="62"/>
                    <a:pt x="192" y="62"/>
                    <a:pt x="192" y="62"/>
                  </a:cubicBezTo>
                  <a:cubicBezTo>
                    <a:pt x="194" y="60"/>
                    <a:pt x="194" y="57"/>
                    <a:pt x="194" y="55"/>
                  </a:cubicBezTo>
                  <a:cubicBezTo>
                    <a:pt x="194" y="47"/>
                    <a:pt x="186" y="40"/>
                    <a:pt x="177" y="40"/>
                  </a:cubicBezTo>
                  <a:cubicBezTo>
                    <a:pt x="172" y="40"/>
                    <a:pt x="168" y="41"/>
                    <a:pt x="165" y="44"/>
                  </a:cubicBezTo>
                  <a:cubicBezTo>
                    <a:pt x="165" y="42"/>
                    <a:pt x="165" y="41"/>
                    <a:pt x="165" y="40"/>
                  </a:cubicBezTo>
                  <a:cubicBezTo>
                    <a:pt x="165" y="18"/>
                    <a:pt x="144" y="0"/>
                    <a:pt x="118" y="0"/>
                  </a:cubicBezTo>
                  <a:cubicBezTo>
                    <a:pt x="98" y="0"/>
                    <a:pt x="81" y="11"/>
                    <a:pt x="74" y="25"/>
                  </a:cubicBezTo>
                  <a:cubicBezTo>
                    <a:pt x="69" y="23"/>
                    <a:pt x="64" y="22"/>
                    <a:pt x="58" y="22"/>
                  </a:cubicBezTo>
                  <a:cubicBezTo>
                    <a:pt x="36" y="22"/>
                    <a:pt x="18" y="37"/>
                    <a:pt x="18" y="56"/>
                  </a:cubicBezTo>
                  <a:cubicBezTo>
                    <a:pt x="18" y="58"/>
                    <a:pt x="18" y="60"/>
                    <a:pt x="18" y="62"/>
                  </a:cubicBezTo>
                  <a:cubicBezTo>
                    <a:pt x="16" y="62"/>
                    <a:pt x="16" y="62"/>
                    <a:pt x="16" y="62"/>
                  </a:cubicBezTo>
                  <a:cubicBezTo>
                    <a:pt x="7" y="62"/>
                    <a:pt x="0" y="69"/>
                    <a:pt x="0" y="78"/>
                  </a:cubicBezTo>
                  <a:cubicBezTo>
                    <a:pt x="0" y="87"/>
                    <a:pt x="7" y="95"/>
                    <a:pt x="16" y="95"/>
                  </a:cubicBezTo>
                  <a:cubicBezTo>
                    <a:pt x="168" y="95"/>
                    <a:pt x="168" y="95"/>
                    <a:pt x="168" y="95"/>
                  </a:cubicBezTo>
                  <a:cubicBezTo>
                    <a:pt x="168" y="167"/>
                    <a:pt x="168" y="167"/>
                    <a:pt x="168" y="167"/>
                  </a:cubicBezTo>
                  <a:cubicBezTo>
                    <a:pt x="168" y="178"/>
                    <a:pt x="178" y="188"/>
                    <a:pt x="190" y="188"/>
                  </a:cubicBezTo>
                  <a:cubicBezTo>
                    <a:pt x="202" y="188"/>
                    <a:pt x="212" y="178"/>
                    <a:pt x="212" y="167"/>
                  </a:cubicBezTo>
                  <a:cubicBezTo>
                    <a:pt x="212" y="78"/>
                    <a:pt x="212" y="78"/>
                    <a:pt x="212" y="78"/>
                  </a:cubicBezTo>
                  <a:close/>
                </a:path>
              </a:pathLst>
            </a:custGeom>
            <a:solidFill>
              <a:schemeClr val="tx1">
                <a:lumMod val="40000"/>
                <a:lumOff val="60000"/>
              </a:schemeClr>
            </a:solidFill>
            <a:ln>
              <a:noFill/>
            </a:ln>
          </p:spPr>
          <p:txBody>
            <a:bodyPr lIns="68580" tIns="34290" rIns="68580" bIns="34290"/>
            <a:lstStyle/>
            <a:p>
              <a:pPr>
                <a:defRPr/>
              </a:pPr>
              <a:endParaRPr lang="en-US" sz="1350"/>
            </a:p>
          </p:txBody>
        </p:sp>
        <p:grpSp>
          <p:nvGrpSpPr>
            <p:cNvPr id="357" name="Group 356"/>
            <p:cNvGrpSpPr>
              <a:grpSpLocks/>
            </p:cNvGrpSpPr>
            <p:nvPr/>
          </p:nvGrpSpPr>
          <p:grpSpPr bwMode="auto">
            <a:xfrm>
              <a:off x="4003675" y="2217739"/>
              <a:ext cx="1163638" cy="1233487"/>
              <a:chOff x="3305175" y="1812925"/>
              <a:chExt cx="1552575" cy="1644651"/>
            </a:xfrm>
          </p:grpSpPr>
          <p:sp>
            <p:nvSpPr>
              <p:cNvPr id="105" name="Freeform 63"/>
              <p:cNvSpPr>
                <a:spLocks/>
              </p:cNvSpPr>
              <p:nvPr/>
            </p:nvSpPr>
            <p:spPr bwMode="auto">
              <a:xfrm>
                <a:off x="3608065" y="1903941"/>
                <a:ext cx="258409" cy="1081618"/>
              </a:xfrm>
              <a:custGeom>
                <a:avLst/>
                <a:gdLst>
                  <a:gd name="T0" fmla="*/ 0 w 162"/>
                  <a:gd name="T1" fmla="*/ 681 h 681"/>
                  <a:gd name="T2" fmla="*/ 162 w 162"/>
                  <a:gd name="T3" fmla="*/ 681 h 681"/>
                  <a:gd name="T4" fmla="*/ 142 w 162"/>
                  <a:gd name="T5" fmla="*/ 0 h 681"/>
                  <a:gd name="T6" fmla="*/ 20 w 162"/>
                  <a:gd name="T7" fmla="*/ 0 h 681"/>
                  <a:gd name="T8" fmla="*/ 0 w 162"/>
                  <a:gd name="T9" fmla="*/ 681 h 681"/>
                </a:gdLst>
                <a:ahLst/>
                <a:cxnLst>
                  <a:cxn ang="0">
                    <a:pos x="T0" y="T1"/>
                  </a:cxn>
                  <a:cxn ang="0">
                    <a:pos x="T2" y="T3"/>
                  </a:cxn>
                  <a:cxn ang="0">
                    <a:pos x="T4" y="T5"/>
                  </a:cxn>
                  <a:cxn ang="0">
                    <a:pos x="T6" y="T7"/>
                  </a:cxn>
                  <a:cxn ang="0">
                    <a:pos x="T8" y="T9"/>
                  </a:cxn>
                </a:cxnLst>
                <a:rect l="0" t="0" r="r" b="b"/>
                <a:pathLst>
                  <a:path w="162" h="681">
                    <a:moveTo>
                      <a:pt x="0" y="681"/>
                    </a:moveTo>
                    <a:lnTo>
                      <a:pt x="162" y="681"/>
                    </a:lnTo>
                    <a:lnTo>
                      <a:pt x="142" y="0"/>
                    </a:lnTo>
                    <a:lnTo>
                      <a:pt x="20" y="0"/>
                    </a:lnTo>
                    <a:lnTo>
                      <a:pt x="0" y="681"/>
                    </a:lnTo>
                    <a:close/>
                  </a:path>
                </a:pathLst>
              </a:custGeom>
              <a:solidFill>
                <a:srgbClr val="4D444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06" name="Freeform 64"/>
              <p:cNvSpPr>
                <a:spLocks/>
              </p:cNvSpPr>
              <p:nvPr/>
            </p:nvSpPr>
            <p:spPr bwMode="auto">
              <a:xfrm>
                <a:off x="4038041" y="1903941"/>
                <a:ext cx="256292" cy="1081618"/>
              </a:xfrm>
              <a:custGeom>
                <a:avLst/>
                <a:gdLst>
                  <a:gd name="T0" fmla="*/ 0 w 162"/>
                  <a:gd name="T1" fmla="*/ 681 h 681"/>
                  <a:gd name="T2" fmla="*/ 162 w 162"/>
                  <a:gd name="T3" fmla="*/ 681 h 681"/>
                  <a:gd name="T4" fmla="*/ 144 w 162"/>
                  <a:gd name="T5" fmla="*/ 0 h 681"/>
                  <a:gd name="T6" fmla="*/ 20 w 162"/>
                  <a:gd name="T7" fmla="*/ 0 h 681"/>
                  <a:gd name="T8" fmla="*/ 0 w 162"/>
                  <a:gd name="T9" fmla="*/ 681 h 681"/>
                </a:gdLst>
                <a:ahLst/>
                <a:cxnLst>
                  <a:cxn ang="0">
                    <a:pos x="T0" y="T1"/>
                  </a:cxn>
                  <a:cxn ang="0">
                    <a:pos x="T2" y="T3"/>
                  </a:cxn>
                  <a:cxn ang="0">
                    <a:pos x="T4" y="T5"/>
                  </a:cxn>
                  <a:cxn ang="0">
                    <a:pos x="T6" y="T7"/>
                  </a:cxn>
                  <a:cxn ang="0">
                    <a:pos x="T8" y="T9"/>
                  </a:cxn>
                </a:cxnLst>
                <a:rect l="0" t="0" r="r" b="b"/>
                <a:pathLst>
                  <a:path w="162" h="681">
                    <a:moveTo>
                      <a:pt x="0" y="681"/>
                    </a:moveTo>
                    <a:lnTo>
                      <a:pt x="162" y="681"/>
                    </a:lnTo>
                    <a:lnTo>
                      <a:pt x="144" y="0"/>
                    </a:lnTo>
                    <a:lnTo>
                      <a:pt x="20" y="0"/>
                    </a:lnTo>
                    <a:lnTo>
                      <a:pt x="0" y="681"/>
                    </a:lnTo>
                    <a:close/>
                  </a:path>
                </a:pathLst>
              </a:custGeom>
              <a:solidFill>
                <a:srgbClr val="4D444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07" name="Rectangle 65"/>
              <p:cNvSpPr>
                <a:spLocks noChangeArrowheads="1"/>
              </p:cNvSpPr>
              <p:nvPr/>
            </p:nvSpPr>
            <p:spPr bwMode="auto">
              <a:xfrm>
                <a:off x="3639836" y="1812925"/>
                <a:ext cx="194866" cy="91016"/>
              </a:xfrm>
              <a:prstGeom prst="rect">
                <a:avLst/>
              </a:prstGeom>
              <a:solidFill>
                <a:schemeClr val="accent2"/>
              </a:solidFill>
              <a:ln>
                <a:noFill/>
              </a:ln>
            </p:spPr>
            <p:txBody>
              <a:bodyPr lIns="68580" tIns="34290" rIns="68580" bIns="34290"/>
              <a:lstStyle/>
              <a:p>
                <a:pPr>
                  <a:defRPr/>
                </a:pPr>
                <a:endParaRPr lang="en-US" sz="1350"/>
              </a:p>
            </p:txBody>
          </p:sp>
          <p:sp>
            <p:nvSpPr>
              <p:cNvPr id="108" name="Freeform 66"/>
              <p:cNvSpPr>
                <a:spLocks/>
              </p:cNvSpPr>
              <p:nvPr/>
            </p:nvSpPr>
            <p:spPr bwMode="auto">
              <a:xfrm>
                <a:off x="4069813" y="1812925"/>
                <a:ext cx="194866" cy="91016"/>
              </a:xfrm>
              <a:custGeom>
                <a:avLst/>
                <a:gdLst>
                  <a:gd name="T0" fmla="*/ 2 w 124"/>
                  <a:gd name="T1" fmla="*/ 0 h 57"/>
                  <a:gd name="T2" fmla="*/ 0 w 124"/>
                  <a:gd name="T3" fmla="*/ 57 h 57"/>
                  <a:gd name="T4" fmla="*/ 124 w 124"/>
                  <a:gd name="T5" fmla="*/ 57 h 57"/>
                  <a:gd name="T6" fmla="*/ 122 w 124"/>
                  <a:gd name="T7" fmla="*/ 0 h 57"/>
                  <a:gd name="T8" fmla="*/ 2 w 124"/>
                  <a:gd name="T9" fmla="*/ 0 h 57"/>
                </a:gdLst>
                <a:ahLst/>
                <a:cxnLst>
                  <a:cxn ang="0">
                    <a:pos x="T0" y="T1"/>
                  </a:cxn>
                  <a:cxn ang="0">
                    <a:pos x="T2" y="T3"/>
                  </a:cxn>
                  <a:cxn ang="0">
                    <a:pos x="T4" y="T5"/>
                  </a:cxn>
                  <a:cxn ang="0">
                    <a:pos x="T6" y="T7"/>
                  </a:cxn>
                  <a:cxn ang="0">
                    <a:pos x="T8" y="T9"/>
                  </a:cxn>
                </a:cxnLst>
                <a:rect l="0" t="0" r="r" b="b"/>
                <a:pathLst>
                  <a:path w="124" h="57">
                    <a:moveTo>
                      <a:pt x="2" y="0"/>
                    </a:moveTo>
                    <a:lnTo>
                      <a:pt x="0" y="57"/>
                    </a:lnTo>
                    <a:lnTo>
                      <a:pt x="124" y="57"/>
                    </a:lnTo>
                    <a:lnTo>
                      <a:pt x="122" y="0"/>
                    </a:lnTo>
                    <a:lnTo>
                      <a:pt x="2" y="0"/>
                    </a:lnTo>
                    <a:close/>
                  </a:path>
                </a:pathLst>
              </a:custGeom>
              <a:solidFill>
                <a:schemeClr val="accent2"/>
              </a:solidFill>
              <a:ln>
                <a:noFill/>
              </a:ln>
            </p:spPr>
            <p:txBody>
              <a:bodyPr lIns="68580" tIns="34290" rIns="68580" bIns="34290"/>
              <a:lstStyle/>
              <a:p>
                <a:pPr>
                  <a:defRPr/>
                </a:pPr>
                <a:endParaRPr lang="en-US" sz="1350"/>
              </a:p>
            </p:txBody>
          </p:sp>
          <p:sp>
            <p:nvSpPr>
              <p:cNvPr id="109" name="Freeform 67"/>
              <p:cNvSpPr>
                <a:spLocks/>
              </p:cNvSpPr>
              <p:nvPr/>
            </p:nvSpPr>
            <p:spPr bwMode="auto">
              <a:xfrm>
                <a:off x="3608065" y="1903941"/>
                <a:ext cx="129204" cy="1081618"/>
              </a:xfrm>
              <a:custGeom>
                <a:avLst/>
                <a:gdLst>
                  <a:gd name="T0" fmla="*/ 20 w 81"/>
                  <a:gd name="T1" fmla="*/ 0 h 681"/>
                  <a:gd name="T2" fmla="*/ 0 w 81"/>
                  <a:gd name="T3" fmla="*/ 681 h 681"/>
                  <a:gd name="T4" fmla="*/ 81 w 81"/>
                  <a:gd name="T5" fmla="*/ 681 h 681"/>
                  <a:gd name="T6" fmla="*/ 81 w 81"/>
                  <a:gd name="T7" fmla="*/ 0 h 681"/>
                  <a:gd name="T8" fmla="*/ 20 w 81"/>
                  <a:gd name="T9" fmla="*/ 0 h 681"/>
                </a:gdLst>
                <a:ahLst/>
                <a:cxnLst>
                  <a:cxn ang="0">
                    <a:pos x="T0" y="T1"/>
                  </a:cxn>
                  <a:cxn ang="0">
                    <a:pos x="T2" y="T3"/>
                  </a:cxn>
                  <a:cxn ang="0">
                    <a:pos x="T4" y="T5"/>
                  </a:cxn>
                  <a:cxn ang="0">
                    <a:pos x="T6" y="T7"/>
                  </a:cxn>
                  <a:cxn ang="0">
                    <a:pos x="T8" y="T9"/>
                  </a:cxn>
                </a:cxnLst>
                <a:rect l="0" t="0" r="r" b="b"/>
                <a:pathLst>
                  <a:path w="81" h="681">
                    <a:moveTo>
                      <a:pt x="20" y="0"/>
                    </a:moveTo>
                    <a:lnTo>
                      <a:pt x="0" y="681"/>
                    </a:lnTo>
                    <a:lnTo>
                      <a:pt x="81" y="681"/>
                    </a:lnTo>
                    <a:lnTo>
                      <a:pt x="81" y="0"/>
                    </a:lnTo>
                    <a:lnTo>
                      <a:pt x="20" y="0"/>
                    </a:lnTo>
                    <a:close/>
                  </a:path>
                </a:pathLst>
              </a:custGeom>
              <a:solidFill>
                <a:srgbClr val="403937"/>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10" name="Freeform 68"/>
              <p:cNvSpPr>
                <a:spLocks/>
              </p:cNvSpPr>
              <p:nvPr/>
            </p:nvSpPr>
            <p:spPr bwMode="auto">
              <a:xfrm>
                <a:off x="4038041" y="1903941"/>
                <a:ext cx="127087" cy="1081618"/>
              </a:xfrm>
              <a:custGeom>
                <a:avLst/>
                <a:gdLst>
                  <a:gd name="T0" fmla="*/ 20 w 81"/>
                  <a:gd name="T1" fmla="*/ 0 h 681"/>
                  <a:gd name="T2" fmla="*/ 0 w 81"/>
                  <a:gd name="T3" fmla="*/ 681 h 681"/>
                  <a:gd name="T4" fmla="*/ 81 w 81"/>
                  <a:gd name="T5" fmla="*/ 681 h 681"/>
                  <a:gd name="T6" fmla="*/ 81 w 81"/>
                  <a:gd name="T7" fmla="*/ 0 h 681"/>
                  <a:gd name="T8" fmla="*/ 20 w 81"/>
                  <a:gd name="T9" fmla="*/ 0 h 681"/>
                </a:gdLst>
                <a:ahLst/>
                <a:cxnLst>
                  <a:cxn ang="0">
                    <a:pos x="T0" y="T1"/>
                  </a:cxn>
                  <a:cxn ang="0">
                    <a:pos x="T2" y="T3"/>
                  </a:cxn>
                  <a:cxn ang="0">
                    <a:pos x="T4" y="T5"/>
                  </a:cxn>
                  <a:cxn ang="0">
                    <a:pos x="T6" y="T7"/>
                  </a:cxn>
                  <a:cxn ang="0">
                    <a:pos x="T8" y="T9"/>
                  </a:cxn>
                </a:cxnLst>
                <a:rect l="0" t="0" r="r" b="b"/>
                <a:pathLst>
                  <a:path w="81" h="681">
                    <a:moveTo>
                      <a:pt x="20" y="0"/>
                    </a:moveTo>
                    <a:lnTo>
                      <a:pt x="0" y="681"/>
                    </a:lnTo>
                    <a:lnTo>
                      <a:pt x="81" y="681"/>
                    </a:lnTo>
                    <a:lnTo>
                      <a:pt x="81" y="0"/>
                    </a:lnTo>
                    <a:lnTo>
                      <a:pt x="20" y="0"/>
                    </a:lnTo>
                    <a:close/>
                  </a:path>
                </a:pathLst>
              </a:custGeom>
              <a:solidFill>
                <a:srgbClr val="403937"/>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11" name="Freeform 69"/>
              <p:cNvSpPr>
                <a:spLocks/>
              </p:cNvSpPr>
              <p:nvPr/>
            </p:nvSpPr>
            <p:spPr bwMode="auto">
              <a:xfrm>
                <a:off x="3305175" y="2564342"/>
                <a:ext cx="1292047" cy="893234"/>
              </a:xfrm>
              <a:custGeom>
                <a:avLst/>
                <a:gdLst>
                  <a:gd name="T0" fmla="*/ 544 w 814"/>
                  <a:gd name="T1" fmla="*/ 0 h 563"/>
                  <a:gd name="T2" fmla="*/ 544 w 814"/>
                  <a:gd name="T3" fmla="*/ 111 h 563"/>
                  <a:gd name="T4" fmla="*/ 272 w 814"/>
                  <a:gd name="T5" fmla="*/ 0 h 563"/>
                  <a:gd name="T6" fmla="*/ 272 w 814"/>
                  <a:gd name="T7" fmla="*/ 111 h 563"/>
                  <a:gd name="T8" fmla="*/ 0 w 814"/>
                  <a:gd name="T9" fmla="*/ 0 h 563"/>
                  <a:gd name="T10" fmla="*/ 0 w 814"/>
                  <a:gd name="T11" fmla="*/ 563 h 563"/>
                  <a:gd name="T12" fmla="*/ 272 w 814"/>
                  <a:gd name="T13" fmla="*/ 563 h 563"/>
                  <a:gd name="T14" fmla="*/ 544 w 814"/>
                  <a:gd name="T15" fmla="*/ 563 h 563"/>
                  <a:gd name="T16" fmla="*/ 814 w 814"/>
                  <a:gd name="T17" fmla="*/ 563 h 563"/>
                  <a:gd name="T18" fmla="*/ 814 w 814"/>
                  <a:gd name="T19" fmla="*/ 111 h 563"/>
                  <a:gd name="T20" fmla="*/ 544 w 814"/>
                  <a:gd name="T21"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4" h="563">
                    <a:moveTo>
                      <a:pt x="544" y="0"/>
                    </a:moveTo>
                    <a:lnTo>
                      <a:pt x="544" y="111"/>
                    </a:lnTo>
                    <a:lnTo>
                      <a:pt x="272" y="0"/>
                    </a:lnTo>
                    <a:lnTo>
                      <a:pt x="272" y="111"/>
                    </a:lnTo>
                    <a:lnTo>
                      <a:pt x="0" y="0"/>
                    </a:lnTo>
                    <a:lnTo>
                      <a:pt x="0" y="563"/>
                    </a:lnTo>
                    <a:lnTo>
                      <a:pt x="272" y="563"/>
                    </a:lnTo>
                    <a:lnTo>
                      <a:pt x="544" y="563"/>
                    </a:lnTo>
                    <a:lnTo>
                      <a:pt x="814" y="563"/>
                    </a:lnTo>
                    <a:lnTo>
                      <a:pt x="814" y="111"/>
                    </a:lnTo>
                    <a:lnTo>
                      <a:pt x="544" y="0"/>
                    </a:lnTo>
                    <a:close/>
                  </a:path>
                </a:pathLst>
              </a:custGeom>
              <a:solidFill>
                <a:schemeClr val="tx1">
                  <a:lumMod val="20000"/>
                  <a:lumOff val="80000"/>
                </a:schemeClr>
              </a:solidFill>
              <a:ln>
                <a:noFill/>
              </a:ln>
            </p:spPr>
            <p:txBody>
              <a:bodyPr lIns="68580" tIns="34290" rIns="68580" bIns="34290"/>
              <a:lstStyle/>
              <a:p>
                <a:pPr>
                  <a:defRPr/>
                </a:pPr>
                <a:endParaRPr lang="en-US" sz="1350"/>
              </a:p>
            </p:txBody>
          </p:sp>
          <p:sp>
            <p:nvSpPr>
              <p:cNvPr id="112" name="Rectangle 70"/>
              <p:cNvSpPr>
                <a:spLocks noChangeArrowheads="1"/>
              </p:cNvSpPr>
              <p:nvPr/>
            </p:nvSpPr>
            <p:spPr bwMode="auto">
              <a:xfrm>
                <a:off x="3389899" y="2831042"/>
                <a:ext cx="262646" cy="105833"/>
              </a:xfrm>
              <a:prstGeom prst="rect">
                <a:avLst/>
              </a:prstGeom>
              <a:solidFill>
                <a:srgbClr val="24201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13" name="Rectangle 71"/>
              <p:cNvSpPr>
                <a:spLocks noChangeArrowheads="1"/>
              </p:cNvSpPr>
              <p:nvPr/>
            </p:nvSpPr>
            <p:spPr bwMode="auto">
              <a:xfrm>
                <a:off x="3821994" y="2831042"/>
                <a:ext cx="262646" cy="105833"/>
              </a:xfrm>
              <a:prstGeom prst="rect">
                <a:avLst/>
              </a:prstGeom>
              <a:solidFill>
                <a:srgbClr val="24201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14" name="Rectangle 72"/>
              <p:cNvSpPr>
                <a:spLocks noChangeArrowheads="1"/>
              </p:cNvSpPr>
              <p:nvPr/>
            </p:nvSpPr>
            <p:spPr bwMode="auto">
              <a:xfrm>
                <a:off x="4251971" y="2831042"/>
                <a:ext cx="260527" cy="105833"/>
              </a:xfrm>
              <a:prstGeom prst="rect">
                <a:avLst/>
              </a:prstGeom>
              <a:solidFill>
                <a:srgbClr val="24201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24" name="Rectangle 82"/>
              <p:cNvSpPr>
                <a:spLocks noChangeArrowheads="1"/>
              </p:cNvSpPr>
              <p:nvPr/>
            </p:nvSpPr>
            <p:spPr bwMode="auto">
              <a:xfrm>
                <a:off x="3720324" y="3137960"/>
                <a:ext cx="1090827" cy="319616"/>
              </a:xfrm>
              <a:prstGeom prst="rect">
                <a:avLst/>
              </a:prstGeom>
              <a:solidFill>
                <a:schemeClr val="tx1">
                  <a:lumMod val="40000"/>
                  <a:lumOff val="60000"/>
                </a:schemeClr>
              </a:solidFill>
              <a:ln>
                <a:noFill/>
              </a:ln>
            </p:spPr>
            <p:txBody>
              <a:bodyPr lIns="68580" tIns="34290" rIns="68580" bIns="34290"/>
              <a:lstStyle/>
              <a:p>
                <a:pPr>
                  <a:defRPr/>
                </a:pPr>
                <a:endParaRPr lang="en-US" sz="1350"/>
              </a:p>
            </p:txBody>
          </p:sp>
          <p:sp>
            <p:nvSpPr>
              <p:cNvPr id="125" name="Rectangle 83"/>
              <p:cNvSpPr>
                <a:spLocks noChangeArrowheads="1"/>
              </p:cNvSpPr>
              <p:nvPr/>
            </p:nvSpPr>
            <p:spPr bwMode="auto">
              <a:xfrm>
                <a:off x="3673726" y="3104093"/>
                <a:ext cx="1184024" cy="33867"/>
              </a:xfrm>
              <a:prstGeom prst="rect">
                <a:avLst/>
              </a:prstGeom>
              <a:solidFill>
                <a:srgbClr val="40393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26" name="Rectangle 84"/>
              <p:cNvSpPr>
                <a:spLocks noChangeArrowheads="1"/>
              </p:cNvSpPr>
              <p:nvPr/>
            </p:nvSpPr>
            <p:spPr bwMode="auto">
              <a:xfrm>
                <a:off x="3802931" y="3241676"/>
                <a:ext cx="260527" cy="215900"/>
              </a:xfrm>
              <a:prstGeom prst="rect">
                <a:avLst/>
              </a:prstGeom>
              <a:solidFill>
                <a:srgbClr val="754C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27" name="Rectangle 85"/>
              <p:cNvSpPr>
                <a:spLocks noChangeArrowheads="1"/>
              </p:cNvSpPr>
              <p:nvPr/>
            </p:nvSpPr>
            <p:spPr bwMode="auto">
              <a:xfrm>
                <a:off x="4137593" y="3241676"/>
                <a:ext cx="256291" cy="215900"/>
              </a:xfrm>
              <a:prstGeom prst="rect">
                <a:avLst/>
              </a:prstGeom>
              <a:solidFill>
                <a:srgbClr val="754C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28" name="Rectangle 86"/>
              <p:cNvSpPr>
                <a:spLocks noChangeArrowheads="1"/>
              </p:cNvSpPr>
              <p:nvPr/>
            </p:nvSpPr>
            <p:spPr bwMode="auto">
              <a:xfrm>
                <a:off x="4468018" y="3241676"/>
                <a:ext cx="260527" cy="215900"/>
              </a:xfrm>
              <a:prstGeom prst="rect">
                <a:avLst/>
              </a:prstGeom>
              <a:solidFill>
                <a:srgbClr val="754C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grpSp>
          <p:nvGrpSpPr>
            <p:cNvPr id="360" name="Group 359"/>
            <p:cNvGrpSpPr>
              <a:grpSpLocks/>
            </p:cNvGrpSpPr>
            <p:nvPr/>
          </p:nvGrpSpPr>
          <p:grpSpPr bwMode="auto">
            <a:xfrm>
              <a:off x="8926513" y="5160964"/>
              <a:ext cx="406400" cy="612775"/>
              <a:chOff x="9870166" y="5738829"/>
              <a:chExt cx="542212" cy="816411"/>
            </a:xfrm>
          </p:grpSpPr>
          <p:sp>
            <p:nvSpPr>
              <p:cNvPr id="319" name="Freeform 199"/>
              <p:cNvSpPr>
                <a:spLocks/>
              </p:cNvSpPr>
              <p:nvPr/>
            </p:nvSpPr>
            <p:spPr bwMode="auto">
              <a:xfrm>
                <a:off x="9897700" y="5738829"/>
                <a:ext cx="485026" cy="816411"/>
              </a:xfrm>
              <a:custGeom>
                <a:avLst/>
                <a:gdLst>
                  <a:gd name="T0" fmla="*/ 0 w 236"/>
                  <a:gd name="T1" fmla="*/ 396 h 396"/>
                  <a:gd name="T2" fmla="*/ 236 w 236"/>
                  <a:gd name="T3" fmla="*/ 396 h 396"/>
                  <a:gd name="T4" fmla="*/ 236 w 236"/>
                  <a:gd name="T5" fmla="*/ 89 h 396"/>
                  <a:gd name="T6" fmla="*/ 119 w 236"/>
                  <a:gd name="T7" fmla="*/ 0 h 396"/>
                  <a:gd name="T8" fmla="*/ 0 w 236"/>
                  <a:gd name="T9" fmla="*/ 89 h 396"/>
                  <a:gd name="T10" fmla="*/ 0 w 236"/>
                  <a:gd name="T11" fmla="*/ 396 h 396"/>
                </a:gdLst>
                <a:ahLst/>
                <a:cxnLst>
                  <a:cxn ang="0">
                    <a:pos x="T0" y="T1"/>
                  </a:cxn>
                  <a:cxn ang="0">
                    <a:pos x="T2" y="T3"/>
                  </a:cxn>
                  <a:cxn ang="0">
                    <a:pos x="T4" y="T5"/>
                  </a:cxn>
                  <a:cxn ang="0">
                    <a:pos x="T6" y="T7"/>
                  </a:cxn>
                  <a:cxn ang="0">
                    <a:pos x="T8" y="T9"/>
                  </a:cxn>
                  <a:cxn ang="0">
                    <a:pos x="T10" y="T11"/>
                  </a:cxn>
                </a:cxnLst>
                <a:rect l="0" t="0" r="r" b="b"/>
                <a:pathLst>
                  <a:path w="236" h="396">
                    <a:moveTo>
                      <a:pt x="0" y="396"/>
                    </a:moveTo>
                    <a:lnTo>
                      <a:pt x="236" y="396"/>
                    </a:lnTo>
                    <a:lnTo>
                      <a:pt x="236" y="89"/>
                    </a:lnTo>
                    <a:lnTo>
                      <a:pt x="119" y="0"/>
                    </a:lnTo>
                    <a:lnTo>
                      <a:pt x="0" y="89"/>
                    </a:lnTo>
                    <a:lnTo>
                      <a:pt x="0" y="396"/>
                    </a:lnTo>
                    <a:close/>
                  </a:path>
                </a:pathLst>
              </a:custGeom>
              <a:solidFill>
                <a:schemeClr val="accent1"/>
              </a:solidFill>
              <a:ln>
                <a:noFill/>
              </a:ln>
            </p:spPr>
            <p:txBody>
              <a:bodyPr lIns="68580" tIns="34290" rIns="68580" bIns="34290"/>
              <a:lstStyle/>
              <a:p>
                <a:pPr>
                  <a:defRPr/>
                </a:pPr>
                <a:endParaRPr lang="en-US" sz="1350"/>
              </a:p>
            </p:txBody>
          </p:sp>
          <p:sp>
            <p:nvSpPr>
              <p:cNvPr id="320" name="Freeform 200"/>
              <p:cNvSpPr>
                <a:spLocks/>
              </p:cNvSpPr>
              <p:nvPr/>
            </p:nvSpPr>
            <p:spPr bwMode="auto">
              <a:xfrm>
                <a:off x="9870166" y="5738829"/>
                <a:ext cx="542212" cy="205160"/>
              </a:xfrm>
              <a:custGeom>
                <a:avLst/>
                <a:gdLst>
                  <a:gd name="T0" fmla="*/ 263 w 263"/>
                  <a:gd name="T1" fmla="*/ 100 h 100"/>
                  <a:gd name="T2" fmla="*/ 132 w 263"/>
                  <a:gd name="T3" fmla="*/ 0 h 100"/>
                  <a:gd name="T4" fmla="*/ 0 w 263"/>
                  <a:gd name="T5" fmla="*/ 100 h 100"/>
                </a:gdLst>
                <a:ahLst/>
                <a:cxnLst>
                  <a:cxn ang="0">
                    <a:pos x="T0" y="T1"/>
                  </a:cxn>
                  <a:cxn ang="0">
                    <a:pos x="T2" y="T3"/>
                  </a:cxn>
                  <a:cxn ang="0">
                    <a:pos x="T4" y="T5"/>
                  </a:cxn>
                </a:cxnLst>
                <a:rect l="0" t="0" r="r" b="b"/>
                <a:pathLst>
                  <a:path w="263" h="100">
                    <a:moveTo>
                      <a:pt x="263" y="100"/>
                    </a:moveTo>
                    <a:lnTo>
                      <a:pt x="132" y="0"/>
                    </a:lnTo>
                    <a:lnTo>
                      <a:pt x="0" y="100"/>
                    </a:lnTo>
                  </a:path>
                </a:pathLst>
              </a:custGeom>
              <a:noFill/>
              <a:ln w="42863" cap="rnd">
                <a:solidFill>
                  <a:schemeClr val="accent1">
                    <a:lumMod val="75000"/>
                  </a:schemeClr>
                </a:solidFill>
                <a:prstDash val="solid"/>
                <a:miter lim="800000"/>
                <a:headEnd/>
                <a:tailEnd/>
              </a:ln>
            </p:spPr>
            <p:txBody>
              <a:bodyPr lIns="68580" tIns="34290" rIns="68580" bIns="34290"/>
              <a:lstStyle/>
              <a:p>
                <a:pPr>
                  <a:defRPr/>
                </a:pPr>
                <a:endParaRPr lang="en-US" sz="1350"/>
              </a:p>
            </p:txBody>
          </p:sp>
        </p:grpSp>
        <p:grpSp>
          <p:nvGrpSpPr>
            <p:cNvPr id="361" name="Group 360"/>
            <p:cNvGrpSpPr>
              <a:grpSpLocks/>
            </p:cNvGrpSpPr>
            <p:nvPr/>
          </p:nvGrpSpPr>
          <p:grpSpPr bwMode="auto">
            <a:xfrm>
              <a:off x="9472614" y="5080000"/>
              <a:ext cx="446087" cy="693738"/>
              <a:chOff x="10597926" y="5629563"/>
              <a:chExt cx="595815" cy="925677"/>
            </a:xfrm>
          </p:grpSpPr>
          <p:sp>
            <p:nvSpPr>
              <p:cNvPr id="321" name="Rectangle 201"/>
              <p:cNvSpPr>
                <a:spLocks noChangeArrowheads="1"/>
              </p:cNvSpPr>
              <p:nvPr/>
            </p:nvSpPr>
            <p:spPr bwMode="auto">
              <a:xfrm>
                <a:off x="10667897" y="5665574"/>
                <a:ext cx="86935" cy="156751"/>
              </a:xfrm>
              <a:prstGeom prst="rect">
                <a:avLst/>
              </a:prstGeom>
              <a:solidFill>
                <a:schemeClr val="accent1"/>
              </a:solidFill>
              <a:ln>
                <a:noFill/>
              </a:ln>
            </p:spPr>
            <p:txBody>
              <a:bodyPr lIns="68580" tIns="34290" rIns="68580" bIns="34290"/>
              <a:lstStyle/>
              <a:p>
                <a:pPr>
                  <a:defRPr/>
                </a:pPr>
                <a:endParaRPr lang="en-US" sz="1350"/>
              </a:p>
            </p:txBody>
          </p:sp>
          <p:sp>
            <p:nvSpPr>
              <p:cNvPr id="322" name="Freeform 202"/>
              <p:cNvSpPr>
                <a:spLocks/>
              </p:cNvSpPr>
              <p:nvPr/>
            </p:nvSpPr>
            <p:spPr bwMode="auto">
              <a:xfrm>
                <a:off x="10629730" y="5652864"/>
                <a:ext cx="532206" cy="902376"/>
              </a:xfrm>
              <a:custGeom>
                <a:avLst/>
                <a:gdLst>
                  <a:gd name="T0" fmla="*/ 259 w 259"/>
                  <a:gd name="T1" fmla="*/ 438 h 438"/>
                  <a:gd name="T2" fmla="*/ 0 w 259"/>
                  <a:gd name="T3" fmla="*/ 438 h 438"/>
                  <a:gd name="T4" fmla="*/ 0 w 259"/>
                  <a:gd name="T5" fmla="*/ 100 h 438"/>
                  <a:gd name="T6" fmla="*/ 129 w 259"/>
                  <a:gd name="T7" fmla="*/ 0 h 438"/>
                  <a:gd name="T8" fmla="*/ 259 w 259"/>
                  <a:gd name="T9" fmla="*/ 100 h 438"/>
                  <a:gd name="T10" fmla="*/ 259 w 259"/>
                  <a:gd name="T11" fmla="*/ 438 h 438"/>
                </a:gdLst>
                <a:ahLst/>
                <a:cxnLst>
                  <a:cxn ang="0">
                    <a:pos x="T0" y="T1"/>
                  </a:cxn>
                  <a:cxn ang="0">
                    <a:pos x="T2" y="T3"/>
                  </a:cxn>
                  <a:cxn ang="0">
                    <a:pos x="T4" y="T5"/>
                  </a:cxn>
                  <a:cxn ang="0">
                    <a:pos x="T6" y="T7"/>
                  </a:cxn>
                  <a:cxn ang="0">
                    <a:pos x="T8" y="T9"/>
                  </a:cxn>
                  <a:cxn ang="0">
                    <a:pos x="T10" y="T11"/>
                  </a:cxn>
                </a:cxnLst>
                <a:rect l="0" t="0" r="r" b="b"/>
                <a:pathLst>
                  <a:path w="259" h="438">
                    <a:moveTo>
                      <a:pt x="259" y="438"/>
                    </a:moveTo>
                    <a:lnTo>
                      <a:pt x="0" y="438"/>
                    </a:lnTo>
                    <a:lnTo>
                      <a:pt x="0" y="100"/>
                    </a:lnTo>
                    <a:lnTo>
                      <a:pt x="129" y="0"/>
                    </a:lnTo>
                    <a:lnTo>
                      <a:pt x="259" y="100"/>
                    </a:lnTo>
                    <a:lnTo>
                      <a:pt x="259" y="438"/>
                    </a:lnTo>
                    <a:close/>
                  </a:path>
                </a:pathLst>
              </a:custGeom>
              <a:solidFill>
                <a:schemeClr val="accent1"/>
              </a:solidFill>
              <a:ln>
                <a:noFill/>
              </a:ln>
            </p:spPr>
            <p:txBody>
              <a:bodyPr lIns="68580" tIns="34290" rIns="68580" bIns="34290"/>
              <a:lstStyle/>
              <a:p>
                <a:pPr>
                  <a:defRPr/>
                </a:pPr>
                <a:endParaRPr lang="en-US" sz="1350"/>
              </a:p>
            </p:txBody>
          </p:sp>
          <p:sp>
            <p:nvSpPr>
              <p:cNvPr id="323" name="Freeform 203"/>
              <p:cNvSpPr>
                <a:spLocks/>
              </p:cNvSpPr>
              <p:nvPr/>
            </p:nvSpPr>
            <p:spPr bwMode="auto">
              <a:xfrm>
                <a:off x="10597926" y="5652864"/>
                <a:ext cx="595815" cy="230889"/>
              </a:xfrm>
              <a:custGeom>
                <a:avLst/>
                <a:gdLst>
                  <a:gd name="T0" fmla="*/ 0 w 289"/>
                  <a:gd name="T1" fmla="*/ 112 h 112"/>
                  <a:gd name="T2" fmla="*/ 144 w 289"/>
                  <a:gd name="T3" fmla="*/ 0 h 112"/>
                  <a:gd name="T4" fmla="*/ 289 w 289"/>
                  <a:gd name="T5" fmla="*/ 112 h 112"/>
                </a:gdLst>
                <a:ahLst/>
                <a:cxnLst>
                  <a:cxn ang="0">
                    <a:pos x="T0" y="T1"/>
                  </a:cxn>
                  <a:cxn ang="0">
                    <a:pos x="T2" y="T3"/>
                  </a:cxn>
                  <a:cxn ang="0">
                    <a:pos x="T4" y="T5"/>
                  </a:cxn>
                </a:cxnLst>
                <a:rect l="0" t="0" r="r" b="b"/>
                <a:pathLst>
                  <a:path w="289" h="112">
                    <a:moveTo>
                      <a:pt x="0" y="112"/>
                    </a:moveTo>
                    <a:lnTo>
                      <a:pt x="144" y="0"/>
                    </a:lnTo>
                    <a:lnTo>
                      <a:pt x="289" y="112"/>
                    </a:lnTo>
                  </a:path>
                </a:pathLst>
              </a:custGeom>
              <a:noFill/>
              <a:ln w="49213" cap="rnd">
                <a:solidFill>
                  <a:schemeClr val="accent1">
                    <a:lumMod val="75000"/>
                  </a:schemeClr>
                </a:solidFill>
                <a:prstDash val="solid"/>
                <a:miter lim="800000"/>
                <a:headEnd/>
                <a:tailEnd/>
              </a:ln>
            </p:spPr>
            <p:txBody>
              <a:bodyPr lIns="68580" tIns="34290" rIns="68580" bIns="34290"/>
              <a:lstStyle/>
              <a:p>
                <a:pPr>
                  <a:defRPr/>
                </a:pPr>
                <a:endParaRPr lang="en-US" sz="1350"/>
              </a:p>
            </p:txBody>
          </p:sp>
          <p:sp>
            <p:nvSpPr>
              <p:cNvPr id="324" name="Rectangle 204"/>
              <p:cNvSpPr>
                <a:spLocks noChangeArrowheads="1"/>
              </p:cNvSpPr>
              <p:nvPr/>
            </p:nvSpPr>
            <p:spPr bwMode="auto">
              <a:xfrm>
                <a:off x="10653055" y="5629563"/>
                <a:ext cx="116618" cy="36011"/>
              </a:xfrm>
              <a:prstGeom prst="rect">
                <a:avLst/>
              </a:prstGeom>
              <a:solidFill>
                <a:schemeClr val="accent1">
                  <a:lumMod val="75000"/>
                </a:schemeClr>
              </a:solidFill>
              <a:ln>
                <a:noFill/>
              </a:ln>
            </p:spPr>
            <p:txBody>
              <a:bodyPr lIns="68580" tIns="34290" rIns="68580" bIns="34290"/>
              <a:lstStyle/>
              <a:p>
                <a:pPr>
                  <a:defRPr/>
                </a:pPr>
                <a:endParaRPr lang="en-US" sz="1350"/>
              </a:p>
            </p:txBody>
          </p:sp>
        </p:grpSp>
        <p:grpSp>
          <p:nvGrpSpPr>
            <p:cNvPr id="362" name="Group 361"/>
            <p:cNvGrpSpPr>
              <a:grpSpLocks/>
            </p:cNvGrpSpPr>
            <p:nvPr/>
          </p:nvGrpSpPr>
          <p:grpSpPr bwMode="auto">
            <a:xfrm>
              <a:off x="9186864" y="5237164"/>
              <a:ext cx="492125" cy="536575"/>
              <a:chOff x="10216523" y="5839851"/>
              <a:chExt cx="657663" cy="715390"/>
            </a:xfrm>
          </p:grpSpPr>
          <p:sp>
            <p:nvSpPr>
              <p:cNvPr id="325" name="Rectangle 205"/>
              <p:cNvSpPr>
                <a:spLocks noChangeArrowheads="1"/>
              </p:cNvSpPr>
              <p:nvPr/>
            </p:nvSpPr>
            <p:spPr bwMode="auto">
              <a:xfrm>
                <a:off x="10356542" y="6333004"/>
                <a:ext cx="42430" cy="222237"/>
              </a:xfrm>
              <a:prstGeom prst="rect">
                <a:avLst/>
              </a:prstGeom>
              <a:solidFill>
                <a:srgbClr val="8C623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26" name="Freeform 206"/>
              <p:cNvSpPr>
                <a:spLocks/>
              </p:cNvSpPr>
              <p:nvPr/>
            </p:nvSpPr>
            <p:spPr bwMode="auto">
              <a:xfrm>
                <a:off x="10216523" y="6028222"/>
                <a:ext cx="324588" cy="421192"/>
              </a:xfrm>
              <a:custGeom>
                <a:avLst/>
                <a:gdLst>
                  <a:gd name="T0" fmla="*/ 83 w 83"/>
                  <a:gd name="T1" fmla="*/ 51 h 108"/>
                  <a:gd name="T2" fmla="*/ 74 w 83"/>
                  <a:gd name="T3" fmla="*/ 70 h 108"/>
                  <a:gd name="T4" fmla="*/ 77 w 83"/>
                  <a:gd name="T5" fmla="*/ 83 h 108"/>
                  <a:gd name="T6" fmla="*/ 52 w 83"/>
                  <a:gd name="T7" fmla="*/ 108 h 108"/>
                  <a:gd name="T8" fmla="*/ 42 w 83"/>
                  <a:gd name="T9" fmla="*/ 106 h 108"/>
                  <a:gd name="T10" fmla="*/ 32 w 83"/>
                  <a:gd name="T11" fmla="*/ 108 h 108"/>
                  <a:gd name="T12" fmla="*/ 7 w 83"/>
                  <a:gd name="T13" fmla="*/ 83 h 108"/>
                  <a:gd name="T14" fmla="*/ 10 w 83"/>
                  <a:gd name="T15" fmla="*/ 71 h 108"/>
                  <a:gd name="T16" fmla="*/ 0 w 83"/>
                  <a:gd name="T17" fmla="*/ 51 h 108"/>
                  <a:gd name="T18" fmla="*/ 18 w 83"/>
                  <a:gd name="T19" fmla="*/ 27 h 108"/>
                  <a:gd name="T20" fmla="*/ 18 w 83"/>
                  <a:gd name="T21" fmla="*/ 26 h 108"/>
                  <a:gd name="T22" fmla="*/ 43 w 83"/>
                  <a:gd name="T23" fmla="*/ 0 h 108"/>
                  <a:gd name="T24" fmla="*/ 69 w 83"/>
                  <a:gd name="T25" fmla="*/ 26 h 108"/>
                  <a:gd name="T26" fmla="*/ 69 w 83"/>
                  <a:gd name="T27" fmla="*/ 28 h 108"/>
                  <a:gd name="T28" fmla="*/ 83 w 83"/>
                  <a:gd name="T29" fmla="*/ 5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108">
                    <a:moveTo>
                      <a:pt x="83" y="51"/>
                    </a:moveTo>
                    <a:cubicBezTo>
                      <a:pt x="83" y="59"/>
                      <a:pt x="80" y="66"/>
                      <a:pt x="74" y="70"/>
                    </a:cubicBezTo>
                    <a:cubicBezTo>
                      <a:pt x="76" y="74"/>
                      <a:pt x="77" y="78"/>
                      <a:pt x="77" y="83"/>
                    </a:cubicBezTo>
                    <a:cubicBezTo>
                      <a:pt x="77" y="97"/>
                      <a:pt x="66" y="108"/>
                      <a:pt x="52" y="108"/>
                    </a:cubicBezTo>
                    <a:cubicBezTo>
                      <a:pt x="49" y="108"/>
                      <a:pt x="45" y="107"/>
                      <a:pt x="42" y="106"/>
                    </a:cubicBezTo>
                    <a:cubicBezTo>
                      <a:pt x="39" y="107"/>
                      <a:pt x="36" y="108"/>
                      <a:pt x="32" y="108"/>
                    </a:cubicBezTo>
                    <a:cubicBezTo>
                      <a:pt x="18" y="108"/>
                      <a:pt x="7" y="97"/>
                      <a:pt x="7" y="83"/>
                    </a:cubicBezTo>
                    <a:cubicBezTo>
                      <a:pt x="7" y="78"/>
                      <a:pt x="8" y="74"/>
                      <a:pt x="10" y="71"/>
                    </a:cubicBezTo>
                    <a:cubicBezTo>
                      <a:pt x="4" y="66"/>
                      <a:pt x="0" y="59"/>
                      <a:pt x="0" y="51"/>
                    </a:cubicBezTo>
                    <a:cubicBezTo>
                      <a:pt x="0" y="40"/>
                      <a:pt x="8" y="30"/>
                      <a:pt x="18" y="27"/>
                    </a:cubicBezTo>
                    <a:cubicBezTo>
                      <a:pt x="18" y="26"/>
                      <a:pt x="18" y="26"/>
                      <a:pt x="18" y="26"/>
                    </a:cubicBezTo>
                    <a:cubicBezTo>
                      <a:pt x="18" y="11"/>
                      <a:pt x="29" y="0"/>
                      <a:pt x="43" y="0"/>
                    </a:cubicBezTo>
                    <a:cubicBezTo>
                      <a:pt x="57" y="0"/>
                      <a:pt x="69" y="11"/>
                      <a:pt x="69" y="26"/>
                    </a:cubicBezTo>
                    <a:cubicBezTo>
                      <a:pt x="69" y="26"/>
                      <a:pt x="69" y="27"/>
                      <a:pt x="69" y="28"/>
                    </a:cubicBezTo>
                    <a:cubicBezTo>
                      <a:pt x="77" y="32"/>
                      <a:pt x="83" y="41"/>
                      <a:pt x="83" y="51"/>
                    </a:cubicBezTo>
                    <a:close/>
                  </a:path>
                </a:pathLst>
              </a:custGeom>
              <a:solidFill>
                <a:srgbClr val="427953"/>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27" name="Freeform 207"/>
              <p:cNvSpPr>
                <a:spLocks/>
              </p:cNvSpPr>
              <p:nvPr/>
            </p:nvSpPr>
            <p:spPr bwMode="auto">
              <a:xfrm>
                <a:off x="10216523" y="6028222"/>
                <a:ext cx="163354" cy="421192"/>
              </a:xfrm>
              <a:custGeom>
                <a:avLst/>
                <a:gdLst>
                  <a:gd name="T0" fmla="*/ 18 w 42"/>
                  <a:gd name="T1" fmla="*/ 26 h 108"/>
                  <a:gd name="T2" fmla="*/ 18 w 42"/>
                  <a:gd name="T3" fmla="*/ 27 h 108"/>
                  <a:gd name="T4" fmla="*/ 0 w 42"/>
                  <a:gd name="T5" fmla="*/ 51 h 108"/>
                  <a:gd name="T6" fmla="*/ 10 w 42"/>
                  <a:gd name="T7" fmla="*/ 71 h 108"/>
                  <a:gd name="T8" fmla="*/ 7 w 42"/>
                  <a:gd name="T9" fmla="*/ 83 h 108"/>
                  <a:gd name="T10" fmla="*/ 32 w 42"/>
                  <a:gd name="T11" fmla="*/ 108 h 108"/>
                  <a:gd name="T12" fmla="*/ 42 w 42"/>
                  <a:gd name="T13" fmla="*/ 106 h 108"/>
                  <a:gd name="T14" fmla="*/ 42 w 42"/>
                  <a:gd name="T15" fmla="*/ 106 h 108"/>
                  <a:gd name="T16" fmla="*/ 42 w 42"/>
                  <a:gd name="T17" fmla="*/ 0 h 108"/>
                  <a:gd name="T18" fmla="*/ 18 w 42"/>
                  <a:gd name="T19" fmla="*/ 2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108">
                    <a:moveTo>
                      <a:pt x="18" y="26"/>
                    </a:moveTo>
                    <a:cubicBezTo>
                      <a:pt x="18" y="26"/>
                      <a:pt x="18" y="26"/>
                      <a:pt x="18" y="27"/>
                    </a:cubicBezTo>
                    <a:cubicBezTo>
                      <a:pt x="8" y="30"/>
                      <a:pt x="0" y="40"/>
                      <a:pt x="0" y="51"/>
                    </a:cubicBezTo>
                    <a:cubicBezTo>
                      <a:pt x="0" y="59"/>
                      <a:pt x="4" y="66"/>
                      <a:pt x="10" y="71"/>
                    </a:cubicBezTo>
                    <a:cubicBezTo>
                      <a:pt x="8" y="74"/>
                      <a:pt x="7" y="78"/>
                      <a:pt x="7" y="83"/>
                    </a:cubicBezTo>
                    <a:cubicBezTo>
                      <a:pt x="7" y="97"/>
                      <a:pt x="18" y="108"/>
                      <a:pt x="32" y="108"/>
                    </a:cubicBezTo>
                    <a:cubicBezTo>
                      <a:pt x="36" y="108"/>
                      <a:pt x="39" y="107"/>
                      <a:pt x="42" y="106"/>
                    </a:cubicBezTo>
                    <a:cubicBezTo>
                      <a:pt x="42" y="106"/>
                      <a:pt x="42" y="106"/>
                      <a:pt x="42" y="106"/>
                    </a:cubicBezTo>
                    <a:cubicBezTo>
                      <a:pt x="42" y="0"/>
                      <a:pt x="42" y="0"/>
                      <a:pt x="42" y="0"/>
                    </a:cubicBezTo>
                    <a:cubicBezTo>
                      <a:pt x="29" y="1"/>
                      <a:pt x="18" y="12"/>
                      <a:pt x="18" y="26"/>
                    </a:cubicBezTo>
                    <a:close/>
                  </a:path>
                </a:pathLst>
              </a:custGeom>
              <a:solidFill>
                <a:srgbClr val="386646"/>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28" name="Rectangle 208"/>
              <p:cNvSpPr>
                <a:spLocks noChangeArrowheads="1"/>
              </p:cNvSpPr>
              <p:nvPr/>
            </p:nvSpPr>
            <p:spPr bwMode="auto">
              <a:xfrm>
                <a:off x="10628093" y="6254693"/>
                <a:ext cx="61523" cy="300548"/>
              </a:xfrm>
              <a:prstGeom prst="rect">
                <a:avLst/>
              </a:prstGeom>
              <a:solidFill>
                <a:srgbClr val="8C623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29" name="Freeform 209"/>
              <p:cNvSpPr>
                <a:spLocks/>
              </p:cNvSpPr>
              <p:nvPr/>
            </p:nvSpPr>
            <p:spPr bwMode="auto">
              <a:xfrm>
                <a:off x="10439279" y="5839851"/>
                <a:ext cx="434907" cy="575698"/>
              </a:xfrm>
              <a:custGeom>
                <a:avLst/>
                <a:gdLst>
                  <a:gd name="T0" fmla="*/ 112 w 112"/>
                  <a:gd name="T1" fmla="*/ 69 h 147"/>
                  <a:gd name="T2" fmla="*/ 100 w 112"/>
                  <a:gd name="T3" fmla="*/ 95 h 147"/>
                  <a:gd name="T4" fmla="*/ 105 w 112"/>
                  <a:gd name="T5" fmla="*/ 112 h 147"/>
                  <a:gd name="T6" fmla="*/ 70 w 112"/>
                  <a:gd name="T7" fmla="*/ 147 h 147"/>
                  <a:gd name="T8" fmla="*/ 57 w 112"/>
                  <a:gd name="T9" fmla="*/ 144 h 147"/>
                  <a:gd name="T10" fmla="*/ 43 w 112"/>
                  <a:gd name="T11" fmla="*/ 147 h 147"/>
                  <a:gd name="T12" fmla="*/ 9 w 112"/>
                  <a:gd name="T13" fmla="*/ 112 h 147"/>
                  <a:gd name="T14" fmla="*/ 13 w 112"/>
                  <a:gd name="T15" fmla="*/ 96 h 147"/>
                  <a:gd name="T16" fmla="*/ 0 w 112"/>
                  <a:gd name="T17" fmla="*/ 69 h 147"/>
                  <a:gd name="T18" fmla="*/ 24 w 112"/>
                  <a:gd name="T19" fmla="*/ 36 h 147"/>
                  <a:gd name="T20" fmla="*/ 24 w 112"/>
                  <a:gd name="T21" fmla="*/ 35 h 147"/>
                  <a:gd name="T22" fmla="*/ 59 w 112"/>
                  <a:gd name="T23" fmla="*/ 0 h 147"/>
                  <a:gd name="T24" fmla="*/ 93 w 112"/>
                  <a:gd name="T25" fmla="*/ 35 h 147"/>
                  <a:gd name="T26" fmla="*/ 93 w 112"/>
                  <a:gd name="T27" fmla="*/ 38 h 147"/>
                  <a:gd name="T28" fmla="*/ 112 w 112"/>
                  <a:gd name="T29" fmla="*/ 6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47">
                    <a:moveTo>
                      <a:pt x="112" y="69"/>
                    </a:moveTo>
                    <a:cubicBezTo>
                      <a:pt x="112" y="80"/>
                      <a:pt x="108" y="89"/>
                      <a:pt x="100" y="95"/>
                    </a:cubicBezTo>
                    <a:cubicBezTo>
                      <a:pt x="103" y="100"/>
                      <a:pt x="105" y="106"/>
                      <a:pt x="105" y="112"/>
                    </a:cubicBezTo>
                    <a:cubicBezTo>
                      <a:pt x="105" y="131"/>
                      <a:pt x="89" y="147"/>
                      <a:pt x="70" y="147"/>
                    </a:cubicBezTo>
                    <a:cubicBezTo>
                      <a:pt x="66" y="147"/>
                      <a:pt x="61" y="146"/>
                      <a:pt x="57" y="144"/>
                    </a:cubicBezTo>
                    <a:cubicBezTo>
                      <a:pt x="53" y="146"/>
                      <a:pt x="48" y="147"/>
                      <a:pt x="43" y="147"/>
                    </a:cubicBezTo>
                    <a:cubicBezTo>
                      <a:pt x="24" y="147"/>
                      <a:pt x="9" y="131"/>
                      <a:pt x="9" y="112"/>
                    </a:cubicBezTo>
                    <a:cubicBezTo>
                      <a:pt x="9" y="106"/>
                      <a:pt x="11" y="101"/>
                      <a:pt x="13" y="96"/>
                    </a:cubicBezTo>
                    <a:cubicBezTo>
                      <a:pt x="5" y="90"/>
                      <a:pt x="0" y="80"/>
                      <a:pt x="0" y="69"/>
                    </a:cubicBezTo>
                    <a:cubicBezTo>
                      <a:pt x="0" y="54"/>
                      <a:pt x="10" y="41"/>
                      <a:pt x="24" y="36"/>
                    </a:cubicBezTo>
                    <a:cubicBezTo>
                      <a:pt x="24" y="36"/>
                      <a:pt x="24" y="35"/>
                      <a:pt x="24" y="35"/>
                    </a:cubicBezTo>
                    <a:cubicBezTo>
                      <a:pt x="24" y="16"/>
                      <a:pt x="40" y="0"/>
                      <a:pt x="59" y="0"/>
                    </a:cubicBezTo>
                    <a:cubicBezTo>
                      <a:pt x="78" y="0"/>
                      <a:pt x="93" y="16"/>
                      <a:pt x="93" y="35"/>
                    </a:cubicBezTo>
                    <a:cubicBezTo>
                      <a:pt x="93" y="36"/>
                      <a:pt x="93" y="37"/>
                      <a:pt x="93" y="38"/>
                    </a:cubicBezTo>
                    <a:cubicBezTo>
                      <a:pt x="104" y="44"/>
                      <a:pt x="112" y="56"/>
                      <a:pt x="112" y="69"/>
                    </a:cubicBezTo>
                    <a:close/>
                  </a:path>
                </a:pathLst>
              </a:custGeom>
              <a:solidFill>
                <a:srgbClr val="427953"/>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30" name="Freeform 210"/>
              <p:cNvSpPr>
                <a:spLocks/>
              </p:cNvSpPr>
              <p:nvPr/>
            </p:nvSpPr>
            <p:spPr bwMode="auto">
              <a:xfrm>
                <a:off x="10439279" y="5839851"/>
                <a:ext cx="220635" cy="575698"/>
              </a:xfrm>
              <a:custGeom>
                <a:avLst/>
                <a:gdLst>
                  <a:gd name="T0" fmla="*/ 24 w 57"/>
                  <a:gd name="T1" fmla="*/ 35 h 147"/>
                  <a:gd name="T2" fmla="*/ 24 w 57"/>
                  <a:gd name="T3" fmla="*/ 36 h 147"/>
                  <a:gd name="T4" fmla="*/ 0 w 57"/>
                  <a:gd name="T5" fmla="*/ 69 h 147"/>
                  <a:gd name="T6" fmla="*/ 13 w 57"/>
                  <a:gd name="T7" fmla="*/ 96 h 147"/>
                  <a:gd name="T8" fmla="*/ 9 w 57"/>
                  <a:gd name="T9" fmla="*/ 112 h 147"/>
                  <a:gd name="T10" fmla="*/ 43 w 57"/>
                  <a:gd name="T11" fmla="*/ 147 h 147"/>
                  <a:gd name="T12" fmla="*/ 57 w 57"/>
                  <a:gd name="T13" fmla="*/ 144 h 147"/>
                  <a:gd name="T14" fmla="*/ 57 w 57"/>
                  <a:gd name="T15" fmla="*/ 144 h 147"/>
                  <a:gd name="T16" fmla="*/ 57 w 57"/>
                  <a:gd name="T17" fmla="*/ 0 h 147"/>
                  <a:gd name="T18" fmla="*/ 24 w 57"/>
                  <a:gd name="T19" fmla="*/ 3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147">
                    <a:moveTo>
                      <a:pt x="24" y="35"/>
                    </a:moveTo>
                    <a:cubicBezTo>
                      <a:pt x="24" y="35"/>
                      <a:pt x="24" y="36"/>
                      <a:pt x="24" y="36"/>
                    </a:cubicBezTo>
                    <a:cubicBezTo>
                      <a:pt x="10" y="41"/>
                      <a:pt x="0" y="54"/>
                      <a:pt x="0" y="69"/>
                    </a:cubicBezTo>
                    <a:cubicBezTo>
                      <a:pt x="0" y="80"/>
                      <a:pt x="5" y="90"/>
                      <a:pt x="13" y="96"/>
                    </a:cubicBezTo>
                    <a:cubicBezTo>
                      <a:pt x="11" y="101"/>
                      <a:pt x="9" y="106"/>
                      <a:pt x="9" y="112"/>
                    </a:cubicBezTo>
                    <a:cubicBezTo>
                      <a:pt x="9" y="131"/>
                      <a:pt x="24" y="147"/>
                      <a:pt x="43" y="147"/>
                    </a:cubicBezTo>
                    <a:cubicBezTo>
                      <a:pt x="48" y="147"/>
                      <a:pt x="53" y="146"/>
                      <a:pt x="57" y="144"/>
                    </a:cubicBezTo>
                    <a:cubicBezTo>
                      <a:pt x="57" y="144"/>
                      <a:pt x="57" y="144"/>
                      <a:pt x="57" y="144"/>
                    </a:cubicBezTo>
                    <a:cubicBezTo>
                      <a:pt x="57" y="0"/>
                      <a:pt x="57" y="0"/>
                      <a:pt x="57" y="0"/>
                    </a:cubicBezTo>
                    <a:cubicBezTo>
                      <a:pt x="39" y="1"/>
                      <a:pt x="24" y="16"/>
                      <a:pt x="24" y="35"/>
                    </a:cubicBezTo>
                    <a:close/>
                  </a:path>
                </a:pathLst>
              </a:custGeom>
              <a:solidFill>
                <a:srgbClr val="386646"/>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59" name="Group 358"/>
            <p:cNvGrpSpPr>
              <a:grpSpLocks/>
            </p:cNvGrpSpPr>
            <p:nvPr/>
          </p:nvGrpSpPr>
          <p:grpSpPr bwMode="auto">
            <a:xfrm>
              <a:off x="8248650" y="4995863"/>
              <a:ext cx="890588" cy="781050"/>
              <a:chOff x="8967166" y="5518234"/>
              <a:chExt cx="1187507" cy="1041131"/>
            </a:xfrm>
          </p:grpSpPr>
          <p:sp>
            <p:nvSpPr>
              <p:cNvPr id="331" name="Rectangle 211"/>
              <p:cNvSpPr>
                <a:spLocks noChangeArrowheads="1"/>
              </p:cNvSpPr>
              <p:nvPr/>
            </p:nvSpPr>
            <p:spPr bwMode="auto">
              <a:xfrm>
                <a:off x="9523876" y="5560556"/>
                <a:ext cx="97371" cy="181986"/>
              </a:xfrm>
              <a:prstGeom prst="rect">
                <a:avLst/>
              </a:prstGeom>
              <a:solidFill>
                <a:srgbClr val="60381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32" name="Freeform 212"/>
              <p:cNvSpPr>
                <a:spLocks/>
              </p:cNvSpPr>
              <p:nvPr/>
            </p:nvSpPr>
            <p:spPr bwMode="auto">
              <a:xfrm>
                <a:off x="9487891" y="5996477"/>
                <a:ext cx="645615" cy="562888"/>
              </a:xfrm>
              <a:custGeom>
                <a:avLst/>
                <a:gdLst>
                  <a:gd name="T0" fmla="*/ 0 w 313"/>
                  <a:gd name="T1" fmla="*/ 273 h 273"/>
                  <a:gd name="T2" fmla="*/ 313 w 313"/>
                  <a:gd name="T3" fmla="*/ 273 h 273"/>
                  <a:gd name="T4" fmla="*/ 313 w 313"/>
                  <a:gd name="T5" fmla="*/ 83 h 273"/>
                  <a:gd name="T6" fmla="*/ 74 w 313"/>
                  <a:gd name="T7" fmla="*/ 0 h 273"/>
                  <a:gd name="T8" fmla="*/ 0 w 313"/>
                  <a:gd name="T9" fmla="*/ 83 h 273"/>
                  <a:gd name="T10" fmla="*/ 0 w 313"/>
                  <a:gd name="T11" fmla="*/ 273 h 273"/>
                </a:gdLst>
                <a:ahLst/>
                <a:cxnLst>
                  <a:cxn ang="0">
                    <a:pos x="T0" y="T1"/>
                  </a:cxn>
                  <a:cxn ang="0">
                    <a:pos x="T2" y="T3"/>
                  </a:cxn>
                  <a:cxn ang="0">
                    <a:pos x="T4" y="T5"/>
                  </a:cxn>
                  <a:cxn ang="0">
                    <a:pos x="T6" y="T7"/>
                  </a:cxn>
                  <a:cxn ang="0">
                    <a:pos x="T8" y="T9"/>
                  </a:cxn>
                  <a:cxn ang="0">
                    <a:pos x="T10" y="T11"/>
                  </a:cxn>
                </a:cxnLst>
                <a:rect l="0" t="0" r="r" b="b"/>
                <a:pathLst>
                  <a:path w="313" h="273">
                    <a:moveTo>
                      <a:pt x="0" y="273"/>
                    </a:moveTo>
                    <a:lnTo>
                      <a:pt x="313" y="273"/>
                    </a:lnTo>
                    <a:lnTo>
                      <a:pt x="313" y="83"/>
                    </a:lnTo>
                    <a:lnTo>
                      <a:pt x="74" y="0"/>
                    </a:lnTo>
                    <a:lnTo>
                      <a:pt x="0" y="83"/>
                    </a:lnTo>
                    <a:lnTo>
                      <a:pt x="0" y="273"/>
                    </a:lnTo>
                    <a:close/>
                  </a:path>
                </a:pathLst>
              </a:custGeom>
              <a:solidFill>
                <a:schemeClr val="accent6">
                  <a:lumMod val="60000"/>
                  <a:lumOff val="40000"/>
                </a:schemeClr>
              </a:solidFill>
              <a:ln>
                <a:noFill/>
              </a:ln>
            </p:spPr>
            <p:txBody>
              <a:bodyPr lIns="68580" tIns="34290" rIns="68580" bIns="34290"/>
              <a:lstStyle/>
              <a:p>
                <a:pPr>
                  <a:defRPr/>
                </a:pPr>
                <a:endParaRPr lang="en-US" sz="1350"/>
              </a:p>
            </p:txBody>
          </p:sp>
          <p:sp>
            <p:nvSpPr>
              <p:cNvPr id="333" name="Freeform 213"/>
              <p:cNvSpPr>
                <a:spLocks/>
              </p:cNvSpPr>
              <p:nvPr/>
            </p:nvSpPr>
            <p:spPr bwMode="auto">
              <a:xfrm>
                <a:off x="9470957" y="5996477"/>
                <a:ext cx="683716" cy="184102"/>
              </a:xfrm>
              <a:custGeom>
                <a:avLst/>
                <a:gdLst>
                  <a:gd name="T0" fmla="*/ 332 w 332"/>
                  <a:gd name="T1" fmla="*/ 85 h 89"/>
                  <a:gd name="T2" fmla="*/ 83 w 332"/>
                  <a:gd name="T3" fmla="*/ 0 h 89"/>
                  <a:gd name="T4" fmla="*/ 0 w 332"/>
                  <a:gd name="T5" fmla="*/ 89 h 89"/>
                </a:gdLst>
                <a:ahLst/>
                <a:cxnLst>
                  <a:cxn ang="0">
                    <a:pos x="T0" y="T1"/>
                  </a:cxn>
                  <a:cxn ang="0">
                    <a:pos x="T2" y="T3"/>
                  </a:cxn>
                  <a:cxn ang="0">
                    <a:pos x="T4" y="T5"/>
                  </a:cxn>
                </a:cxnLst>
                <a:rect l="0" t="0" r="r" b="b"/>
                <a:pathLst>
                  <a:path w="332" h="89">
                    <a:moveTo>
                      <a:pt x="332" y="85"/>
                    </a:moveTo>
                    <a:lnTo>
                      <a:pt x="83" y="0"/>
                    </a:lnTo>
                    <a:lnTo>
                      <a:pt x="0" y="89"/>
                    </a:lnTo>
                  </a:path>
                </a:pathLst>
              </a:custGeom>
              <a:noFill/>
              <a:ln w="50800" cap="rnd">
                <a:solidFill>
                  <a:srgbClr val="8C6239"/>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68580" tIns="34290" rIns="68580" bIns="34290"/>
              <a:lstStyle/>
              <a:p>
                <a:pPr>
                  <a:defRPr/>
                </a:pPr>
                <a:endParaRPr lang="en-US" sz="1350"/>
              </a:p>
            </p:txBody>
          </p:sp>
          <p:sp>
            <p:nvSpPr>
              <p:cNvPr id="334" name="Freeform 214"/>
              <p:cNvSpPr>
                <a:spLocks/>
              </p:cNvSpPr>
              <p:nvPr/>
            </p:nvSpPr>
            <p:spPr bwMode="auto">
              <a:xfrm>
                <a:off x="9068771" y="5552092"/>
                <a:ext cx="594812" cy="1007273"/>
              </a:xfrm>
              <a:custGeom>
                <a:avLst/>
                <a:gdLst>
                  <a:gd name="T0" fmla="*/ 0 w 289"/>
                  <a:gd name="T1" fmla="*/ 489 h 489"/>
                  <a:gd name="T2" fmla="*/ 289 w 289"/>
                  <a:gd name="T3" fmla="*/ 489 h 489"/>
                  <a:gd name="T4" fmla="*/ 289 w 289"/>
                  <a:gd name="T5" fmla="*/ 112 h 489"/>
                  <a:gd name="T6" fmla="*/ 146 w 289"/>
                  <a:gd name="T7" fmla="*/ 0 h 489"/>
                  <a:gd name="T8" fmla="*/ 0 w 289"/>
                  <a:gd name="T9" fmla="*/ 112 h 489"/>
                  <a:gd name="T10" fmla="*/ 0 w 289"/>
                  <a:gd name="T11" fmla="*/ 489 h 489"/>
                </a:gdLst>
                <a:ahLst/>
                <a:cxnLst>
                  <a:cxn ang="0">
                    <a:pos x="T0" y="T1"/>
                  </a:cxn>
                  <a:cxn ang="0">
                    <a:pos x="T2" y="T3"/>
                  </a:cxn>
                  <a:cxn ang="0">
                    <a:pos x="T4" y="T5"/>
                  </a:cxn>
                  <a:cxn ang="0">
                    <a:pos x="T6" y="T7"/>
                  </a:cxn>
                  <a:cxn ang="0">
                    <a:pos x="T8" y="T9"/>
                  </a:cxn>
                  <a:cxn ang="0">
                    <a:pos x="T10" y="T11"/>
                  </a:cxn>
                </a:cxnLst>
                <a:rect l="0" t="0" r="r" b="b"/>
                <a:pathLst>
                  <a:path w="289" h="489">
                    <a:moveTo>
                      <a:pt x="0" y="489"/>
                    </a:moveTo>
                    <a:lnTo>
                      <a:pt x="289" y="489"/>
                    </a:lnTo>
                    <a:lnTo>
                      <a:pt x="289" y="112"/>
                    </a:lnTo>
                    <a:lnTo>
                      <a:pt x="146" y="0"/>
                    </a:lnTo>
                    <a:lnTo>
                      <a:pt x="0" y="112"/>
                    </a:lnTo>
                    <a:lnTo>
                      <a:pt x="0" y="489"/>
                    </a:lnTo>
                    <a:close/>
                  </a:path>
                </a:pathLst>
              </a:custGeom>
              <a:solidFill>
                <a:schemeClr val="accent6"/>
              </a:solidFill>
              <a:ln>
                <a:noFill/>
              </a:ln>
            </p:spPr>
            <p:txBody>
              <a:bodyPr lIns="68580" tIns="34290" rIns="68580" bIns="34290"/>
              <a:lstStyle/>
              <a:p>
                <a:pPr>
                  <a:defRPr/>
                </a:pPr>
                <a:endParaRPr lang="en-US" sz="1350"/>
              </a:p>
            </p:txBody>
          </p:sp>
          <p:sp>
            <p:nvSpPr>
              <p:cNvPr id="335" name="Freeform 215"/>
              <p:cNvSpPr>
                <a:spLocks/>
              </p:cNvSpPr>
              <p:nvPr/>
            </p:nvSpPr>
            <p:spPr bwMode="auto">
              <a:xfrm>
                <a:off x="9032786" y="5552092"/>
                <a:ext cx="666781" cy="251818"/>
              </a:xfrm>
              <a:custGeom>
                <a:avLst/>
                <a:gdLst>
                  <a:gd name="T0" fmla="*/ 323 w 323"/>
                  <a:gd name="T1" fmla="*/ 123 h 123"/>
                  <a:gd name="T2" fmla="*/ 164 w 323"/>
                  <a:gd name="T3" fmla="*/ 0 h 123"/>
                  <a:gd name="T4" fmla="*/ 0 w 323"/>
                  <a:gd name="T5" fmla="*/ 123 h 123"/>
                </a:gdLst>
                <a:ahLst/>
                <a:cxnLst>
                  <a:cxn ang="0">
                    <a:pos x="T0" y="T1"/>
                  </a:cxn>
                  <a:cxn ang="0">
                    <a:pos x="T2" y="T3"/>
                  </a:cxn>
                  <a:cxn ang="0">
                    <a:pos x="T4" y="T5"/>
                  </a:cxn>
                </a:cxnLst>
                <a:rect l="0" t="0" r="r" b="b"/>
                <a:pathLst>
                  <a:path w="323" h="123">
                    <a:moveTo>
                      <a:pt x="323" y="123"/>
                    </a:moveTo>
                    <a:lnTo>
                      <a:pt x="164" y="0"/>
                    </a:lnTo>
                    <a:lnTo>
                      <a:pt x="0" y="123"/>
                    </a:lnTo>
                  </a:path>
                </a:pathLst>
              </a:custGeom>
              <a:noFill/>
              <a:ln w="60325" cap="rnd">
                <a:solidFill>
                  <a:srgbClr val="754C24"/>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68580" tIns="34290" rIns="68580" bIns="34290"/>
              <a:lstStyle/>
              <a:p>
                <a:pPr>
                  <a:defRPr/>
                </a:pPr>
                <a:endParaRPr lang="en-US" sz="1350"/>
              </a:p>
            </p:txBody>
          </p:sp>
          <p:sp>
            <p:nvSpPr>
              <p:cNvPr id="336" name="Rectangle 216"/>
              <p:cNvSpPr>
                <a:spLocks noChangeArrowheads="1"/>
              </p:cNvSpPr>
              <p:nvPr/>
            </p:nvSpPr>
            <p:spPr bwMode="auto">
              <a:xfrm>
                <a:off x="9737669" y="6328707"/>
                <a:ext cx="319632" cy="230658"/>
              </a:xfrm>
              <a:prstGeom prst="rect">
                <a:avLst/>
              </a:prstGeom>
              <a:solidFill>
                <a:srgbClr val="60381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37" name="Rectangle 217"/>
              <p:cNvSpPr>
                <a:spLocks noChangeArrowheads="1"/>
              </p:cNvSpPr>
              <p:nvPr/>
            </p:nvSpPr>
            <p:spPr bwMode="auto">
              <a:xfrm>
                <a:off x="9509058" y="5518234"/>
                <a:ext cx="131240" cy="42322"/>
              </a:xfrm>
              <a:prstGeom prst="rect">
                <a:avLst/>
              </a:prstGeom>
              <a:solidFill>
                <a:srgbClr val="754C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38" name="Rectangle 218"/>
              <p:cNvSpPr>
                <a:spLocks noChangeArrowheads="1"/>
              </p:cNvSpPr>
              <p:nvPr/>
            </p:nvSpPr>
            <p:spPr bwMode="auto">
              <a:xfrm>
                <a:off x="9176727" y="5867393"/>
                <a:ext cx="133356" cy="198915"/>
              </a:xfrm>
              <a:prstGeom prst="rect">
                <a:avLst/>
              </a:prstGeom>
              <a:solidFill>
                <a:srgbClr val="5BB1B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39" name="Freeform 219"/>
              <p:cNvSpPr>
                <a:spLocks noEditPoints="1"/>
              </p:cNvSpPr>
              <p:nvPr/>
            </p:nvSpPr>
            <p:spPr bwMode="auto">
              <a:xfrm>
                <a:off x="9168260" y="5856813"/>
                <a:ext cx="150290" cy="222192"/>
              </a:xfrm>
              <a:custGeom>
                <a:avLst/>
                <a:gdLst>
                  <a:gd name="T0" fmla="*/ 63 w 72"/>
                  <a:gd name="T1" fmla="*/ 9 h 108"/>
                  <a:gd name="T2" fmla="*/ 63 w 72"/>
                  <a:gd name="T3" fmla="*/ 98 h 108"/>
                  <a:gd name="T4" fmla="*/ 10 w 72"/>
                  <a:gd name="T5" fmla="*/ 98 h 108"/>
                  <a:gd name="T6" fmla="*/ 10 w 72"/>
                  <a:gd name="T7" fmla="*/ 9 h 108"/>
                  <a:gd name="T8" fmla="*/ 63 w 72"/>
                  <a:gd name="T9" fmla="*/ 9 h 108"/>
                  <a:gd name="T10" fmla="*/ 72 w 72"/>
                  <a:gd name="T11" fmla="*/ 0 h 108"/>
                  <a:gd name="T12" fmla="*/ 63 w 72"/>
                  <a:gd name="T13" fmla="*/ 0 h 108"/>
                  <a:gd name="T14" fmla="*/ 10 w 72"/>
                  <a:gd name="T15" fmla="*/ 0 h 108"/>
                  <a:gd name="T16" fmla="*/ 0 w 72"/>
                  <a:gd name="T17" fmla="*/ 0 h 108"/>
                  <a:gd name="T18" fmla="*/ 0 w 72"/>
                  <a:gd name="T19" fmla="*/ 9 h 108"/>
                  <a:gd name="T20" fmla="*/ 0 w 72"/>
                  <a:gd name="T21" fmla="*/ 98 h 108"/>
                  <a:gd name="T22" fmla="*/ 0 w 72"/>
                  <a:gd name="T23" fmla="*/ 108 h 108"/>
                  <a:gd name="T24" fmla="*/ 10 w 72"/>
                  <a:gd name="T25" fmla="*/ 108 h 108"/>
                  <a:gd name="T26" fmla="*/ 63 w 72"/>
                  <a:gd name="T27" fmla="*/ 108 h 108"/>
                  <a:gd name="T28" fmla="*/ 72 w 72"/>
                  <a:gd name="T29" fmla="*/ 108 h 108"/>
                  <a:gd name="T30" fmla="*/ 72 w 72"/>
                  <a:gd name="T31" fmla="*/ 98 h 108"/>
                  <a:gd name="T32" fmla="*/ 72 w 72"/>
                  <a:gd name="T33" fmla="*/ 9 h 108"/>
                  <a:gd name="T34" fmla="*/ 72 w 72"/>
                  <a:gd name="T35" fmla="*/ 0 h 108"/>
                  <a:gd name="T36" fmla="*/ 72 w 72"/>
                  <a:gd name="T3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08">
                    <a:moveTo>
                      <a:pt x="63" y="9"/>
                    </a:moveTo>
                    <a:lnTo>
                      <a:pt x="63" y="98"/>
                    </a:lnTo>
                    <a:lnTo>
                      <a:pt x="10" y="98"/>
                    </a:lnTo>
                    <a:lnTo>
                      <a:pt x="10" y="9"/>
                    </a:lnTo>
                    <a:lnTo>
                      <a:pt x="63" y="9"/>
                    </a:lnTo>
                    <a:close/>
                    <a:moveTo>
                      <a:pt x="72" y="0"/>
                    </a:moveTo>
                    <a:lnTo>
                      <a:pt x="63" y="0"/>
                    </a:lnTo>
                    <a:lnTo>
                      <a:pt x="10" y="0"/>
                    </a:lnTo>
                    <a:lnTo>
                      <a:pt x="0" y="0"/>
                    </a:lnTo>
                    <a:lnTo>
                      <a:pt x="0" y="9"/>
                    </a:lnTo>
                    <a:lnTo>
                      <a:pt x="0" y="98"/>
                    </a:lnTo>
                    <a:lnTo>
                      <a:pt x="0" y="108"/>
                    </a:lnTo>
                    <a:lnTo>
                      <a:pt x="10" y="108"/>
                    </a:lnTo>
                    <a:lnTo>
                      <a:pt x="63" y="108"/>
                    </a:lnTo>
                    <a:lnTo>
                      <a:pt x="72" y="108"/>
                    </a:lnTo>
                    <a:lnTo>
                      <a:pt x="72" y="98"/>
                    </a:lnTo>
                    <a:lnTo>
                      <a:pt x="72" y="9"/>
                    </a:lnTo>
                    <a:lnTo>
                      <a:pt x="72" y="0"/>
                    </a:lnTo>
                    <a:lnTo>
                      <a:pt x="7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0" name="Freeform 220"/>
              <p:cNvSpPr>
                <a:spLocks noEditPoints="1"/>
              </p:cNvSpPr>
              <p:nvPr/>
            </p:nvSpPr>
            <p:spPr bwMode="auto">
              <a:xfrm>
                <a:off x="9168260" y="5856813"/>
                <a:ext cx="150290" cy="222192"/>
              </a:xfrm>
              <a:custGeom>
                <a:avLst/>
                <a:gdLst>
                  <a:gd name="T0" fmla="*/ 63 w 72"/>
                  <a:gd name="T1" fmla="*/ 9 h 108"/>
                  <a:gd name="T2" fmla="*/ 63 w 72"/>
                  <a:gd name="T3" fmla="*/ 98 h 108"/>
                  <a:gd name="T4" fmla="*/ 10 w 72"/>
                  <a:gd name="T5" fmla="*/ 98 h 108"/>
                  <a:gd name="T6" fmla="*/ 10 w 72"/>
                  <a:gd name="T7" fmla="*/ 9 h 108"/>
                  <a:gd name="T8" fmla="*/ 63 w 72"/>
                  <a:gd name="T9" fmla="*/ 9 h 108"/>
                  <a:gd name="T10" fmla="*/ 72 w 72"/>
                  <a:gd name="T11" fmla="*/ 0 h 108"/>
                  <a:gd name="T12" fmla="*/ 63 w 72"/>
                  <a:gd name="T13" fmla="*/ 0 h 108"/>
                  <a:gd name="T14" fmla="*/ 10 w 72"/>
                  <a:gd name="T15" fmla="*/ 0 h 108"/>
                  <a:gd name="T16" fmla="*/ 0 w 72"/>
                  <a:gd name="T17" fmla="*/ 0 h 108"/>
                  <a:gd name="T18" fmla="*/ 0 w 72"/>
                  <a:gd name="T19" fmla="*/ 9 h 108"/>
                  <a:gd name="T20" fmla="*/ 0 w 72"/>
                  <a:gd name="T21" fmla="*/ 98 h 108"/>
                  <a:gd name="T22" fmla="*/ 0 w 72"/>
                  <a:gd name="T23" fmla="*/ 108 h 108"/>
                  <a:gd name="T24" fmla="*/ 10 w 72"/>
                  <a:gd name="T25" fmla="*/ 108 h 108"/>
                  <a:gd name="T26" fmla="*/ 63 w 72"/>
                  <a:gd name="T27" fmla="*/ 108 h 108"/>
                  <a:gd name="T28" fmla="*/ 72 w 72"/>
                  <a:gd name="T29" fmla="*/ 108 h 108"/>
                  <a:gd name="T30" fmla="*/ 72 w 72"/>
                  <a:gd name="T31" fmla="*/ 98 h 108"/>
                  <a:gd name="T32" fmla="*/ 72 w 72"/>
                  <a:gd name="T33" fmla="*/ 9 h 108"/>
                  <a:gd name="T34" fmla="*/ 72 w 72"/>
                  <a:gd name="T35" fmla="*/ 0 h 108"/>
                  <a:gd name="T36" fmla="*/ 72 w 72"/>
                  <a:gd name="T3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08">
                    <a:moveTo>
                      <a:pt x="63" y="9"/>
                    </a:moveTo>
                    <a:lnTo>
                      <a:pt x="63" y="98"/>
                    </a:lnTo>
                    <a:lnTo>
                      <a:pt x="10" y="98"/>
                    </a:lnTo>
                    <a:lnTo>
                      <a:pt x="10" y="9"/>
                    </a:lnTo>
                    <a:lnTo>
                      <a:pt x="63" y="9"/>
                    </a:lnTo>
                    <a:moveTo>
                      <a:pt x="72" y="0"/>
                    </a:moveTo>
                    <a:lnTo>
                      <a:pt x="63" y="0"/>
                    </a:lnTo>
                    <a:lnTo>
                      <a:pt x="10" y="0"/>
                    </a:lnTo>
                    <a:lnTo>
                      <a:pt x="0" y="0"/>
                    </a:lnTo>
                    <a:lnTo>
                      <a:pt x="0" y="9"/>
                    </a:lnTo>
                    <a:lnTo>
                      <a:pt x="0" y="98"/>
                    </a:lnTo>
                    <a:lnTo>
                      <a:pt x="0" y="108"/>
                    </a:lnTo>
                    <a:lnTo>
                      <a:pt x="10" y="108"/>
                    </a:lnTo>
                    <a:lnTo>
                      <a:pt x="63" y="108"/>
                    </a:lnTo>
                    <a:lnTo>
                      <a:pt x="72" y="108"/>
                    </a:lnTo>
                    <a:lnTo>
                      <a:pt x="72" y="98"/>
                    </a:lnTo>
                    <a:lnTo>
                      <a:pt x="72" y="9"/>
                    </a:lnTo>
                    <a:lnTo>
                      <a:pt x="72" y="0"/>
                    </a:lnTo>
                    <a:lnTo>
                      <a:pt x="7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1" name="Rectangle 221"/>
              <p:cNvSpPr>
                <a:spLocks noChangeArrowheads="1"/>
              </p:cNvSpPr>
              <p:nvPr/>
            </p:nvSpPr>
            <p:spPr bwMode="auto">
              <a:xfrm>
                <a:off x="9422272" y="5867393"/>
                <a:ext cx="133356" cy="198915"/>
              </a:xfrm>
              <a:prstGeom prst="rect">
                <a:avLst/>
              </a:prstGeom>
              <a:solidFill>
                <a:srgbClr val="5BB1B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42" name="Freeform 222"/>
              <p:cNvSpPr>
                <a:spLocks noEditPoints="1"/>
              </p:cNvSpPr>
              <p:nvPr/>
            </p:nvSpPr>
            <p:spPr bwMode="auto">
              <a:xfrm>
                <a:off x="9409571" y="5856813"/>
                <a:ext cx="152407" cy="222192"/>
              </a:xfrm>
              <a:custGeom>
                <a:avLst/>
                <a:gdLst>
                  <a:gd name="T0" fmla="*/ 65 w 74"/>
                  <a:gd name="T1" fmla="*/ 9 h 108"/>
                  <a:gd name="T2" fmla="*/ 65 w 74"/>
                  <a:gd name="T3" fmla="*/ 98 h 108"/>
                  <a:gd name="T4" fmla="*/ 10 w 74"/>
                  <a:gd name="T5" fmla="*/ 98 h 108"/>
                  <a:gd name="T6" fmla="*/ 10 w 74"/>
                  <a:gd name="T7" fmla="*/ 9 h 108"/>
                  <a:gd name="T8" fmla="*/ 65 w 74"/>
                  <a:gd name="T9" fmla="*/ 9 h 108"/>
                  <a:gd name="T10" fmla="*/ 74 w 74"/>
                  <a:gd name="T11" fmla="*/ 0 h 108"/>
                  <a:gd name="T12" fmla="*/ 65 w 74"/>
                  <a:gd name="T13" fmla="*/ 0 h 108"/>
                  <a:gd name="T14" fmla="*/ 10 w 74"/>
                  <a:gd name="T15" fmla="*/ 0 h 108"/>
                  <a:gd name="T16" fmla="*/ 0 w 74"/>
                  <a:gd name="T17" fmla="*/ 0 h 108"/>
                  <a:gd name="T18" fmla="*/ 0 w 74"/>
                  <a:gd name="T19" fmla="*/ 9 h 108"/>
                  <a:gd name="T20" fmla="*/ 0 w 74"/>
                  <a:gd name="T21" fmla="*/ 98 h 108"/>
                  <a:gd name="T22" fmla="*/ 0 w 74"/>
                  <a:gd name="T23" fmla="*/ 108 h 108"/>
                  <a:gd name="T24" fmla="*/ 10 w 74"/>
                  <a:gd name="T25" fmla="*/ 108 h 108"/>
                  <a:gd name="T26" fmla="*/ 65 w 74"/>
                  <a:gd name="T27" fmla="*/ 108 h 108"/>
                  <a:gd name="T28" fmla="*/ 74 w 74"/>
                  <a:gd name="T29" fmla="*/ 108 h 108"/>
                  <a:gd name="T30" fmla="*/ 74 w 74"/>
                  <a:gd name="T31" fmla="*/ 98 h 108"/>
                  <a:gd name="T32" fmla="*/ 74 w 74"/>
                  <a:gd name="T33" fmla="*/ 9 h 108"/>
                  <a:gd name="T34" fmla="*/ 74 w 74"/>
                  <a:gd name="T35" fmla="*/ 0 h 108"/>
                  <a:gd name="T36" fmla="*/ 74 w 74"/>
                  <a:gd name="T3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08">
                    <a:moveTo>
                      <a:pt x="65" y="9"/>
                    </a:moveTo>
                    <a:lnTo>
                      <a:pt x="65" y="98"/>
                    </a:lnTo>
                    <a:lnTo>
                      <a:pt x="10" y="98"/>
                    </a:lnTo>
                    <a:lnTo>
                      <a:pt x="10" y="9"/>
                    </a:lnTo>
                    <a:lnTo>
                      <a:pt x="65" y="9"/>
                    </a:lnTo>
                    <a:close/>
                    <a:moveTo>
                      <a:pt x="74" y="0"/>
                    </a:moveTo>
                    <a:lnTo>
                      <a:pt x="65" y="0"/>
                    </a:lnTo>
                    <a:lnTo>
                      <a:pt x="10" y="0"/>
                    </a:lnTo>
                    <a:lnTo>
                      <a:pt x="0" y="0"/>
                    </a:lnTo>
                    <a:lnTo>
                      <a:pt x="0" y="9"/>
                    </a:lnTo>
                    <a:lnTo>
                      <a:pt x="0" y="98"/>
                    </a:lnTo>
                    <a:lnTo>
                      <a:pt x="0" y="108"/>
                    </a:lnTo>
                    <a:lnTo>
                      <a:pt x="10" y="108"/>
                    </a:lnTo>
                    <a:lnTo>
                      <a:pt x="65" y="108"/>
                    </a:lnTo>
                    <a:lnTo>
                      <a:pt x="74" y="108"/>
                    </a:lnTo>
                    <a:lnTo>
                      <a:pt x="74" y="98"/>
                    </a:lnTo>
                    <a:lnTo>
                      <a:pt x="74" y="9"/>
                    </a:lnTo>
                    <a:lnTo>
                      <a:pt x="74"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3" name="Freeform 223"/>
              <p:cNvSpPr>
                <a:spLocks noEditPoints="1"/>
              </p:cNvSpPr>
              <p:nvPr/>
            </p:nvSpPr>
            <p:spPr bwMode="auto">
              <a:xfrm>
                <a:off x="9409571" y="5856813"/>
                <a:ext cx="152407" cy="222192"/>
              </a:xfrm>
              <a:custGeom>
                <a:avLst/>
                <a:gdLst>
                  <a:gd name="T0" fmla="*/ 65 w 74"/>
                  <a:gd name="T1" fmla="*/ 9 h 108"/>
                  <a:gd name="T2" fmla="*/ 65 w 74"/>
                  <a:gd name="T3" fmla="*/ 98 h 108"/>
                  <a:gd name="T4" fmla="*/ 10 w 74"/>
                  <a:gd name="T5" fmla="*/ 98 h 108"/>
                  <a:gd name="T6" fmla="*/ 10 w 74"/>
                  <a:gd name="T7" fmla="*/ 9 h 108"/>
                  <a:gd name="T8" fmla="*/ 65 w 74"/>
                  <a:gd name="T9" fmla="*/ 9 h 108"/>
                  <a:gd name="T10" fmla="*/ 74 w 74"/>
                  <a:gd name="T11" fmla="*/ 0 h 108"/>
                  <a:gd name="T12" fmla="*/ 65 w 74"/>
                  <a:gd name="T13" fmla="*/ 0 h 108"/>
                  <a:gd name="T14" fmla="*/ 10 w 74"/>
                  <a:gd name="T15" fmla="*/ 0 h 108"/>
                  <a:gd name="T16" fmla="*/ 0 w 74"/>
                  <a:gd name="T17" fmla="*/ 0 h 108"/>
                  <a:gd name="T18" fmla="*/ 0 w 74"/>
                  <a:gd name="T19" fmla="*/ 9 h 108"/>
                  <a:gd name="T20" fmla="*/ 0 w 74"/>
                  <a:gd name="T21" fmla="*/ 98 h 108"/>
                  <a:gd name="T22" fmla="*/ 0 w 74"/>
                  <a:gd name="T23" fmla="*/ 108 h 108"/>
                  <a:gd name="T24" fmla="*/ 10 w 74"/>
                  <a:gd name="T25" fmla="*/ 108 h 108"/>
                  <a:gd name="T26" fmla="*/ 65 w 74"/>
                  <a:gd name="T27" fmla="*/ 108 h 108"/>
                  <a:gd name="T28" fmla="*/ 74 w 74"/>
                  <a:gd name="T29" fmla="*/ 108 h 108"/>
                  <a:gd name="T30" fmla="*/ 74 w 74"/>
                  <a:gd name="T31" fmla="*/ 98 h 108"/>
                  <a:gd name="T32" fmla="*/ 74 w 74"/>
                  <a:gd name="T33" fmla="*/ 9 h 108"/>
                  <a:gd name="T34" fmla="*/ 74 w 74"/>
                  <a:gd name="T35" fmla="*/ 0 h 108"/>
                  <a:gd name="T36" fmla="*/ 74 w 74"/>
                  <a:gd name="T3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08">
                    <a:moveTo>
                      <a:pt x="65" y="9"/>
                    </a:moveTo>
                    <a:lnTo>
                      <a:pt x="65" y="98"/>
                    </a:lnTo>
                    <a:lnTo>
                      <a:pt x="10" y="98"/>
                    </a:lnTo>
                    <a:lnTo>
                      <a:pt x="10" y="9"/>
                    </a:lnTo>
                    <a:lnTo>
                      <a:pt x="65" y="9"/>
                    </a:lnTo>
                    <a:moveTo>
                      <a:pt x="74" y="0"/>
                    </a:moveTo>
                    <a:lnTo>
                      <a:pt x="65" y="0"/>
                    </a:lnTo>
                    <a:lnTo>
                      <a:pt x="10" y="0"/>
                    </a:lnTo>
                    <a:lnTo>
                      <a:pt x="0" y="0"/>
                    </a:lnTo>
                    <a:lnTo>
                      <a:pt x="0" y="9"/>
                    </a:lnTo>
                    <a:lnTo>
                      <a:pt x="0" y="98"/>
                    </a:lnTo>
                    <a:lnTo>
                      <a:pt x="0" y="108"/>
                    </a:lnTo>
                    <a:lnTo>
                      <a:pt x="10" y="108"/>
                    </a:lnTo>
                    <a:lnTo>
                      <a:pt x="65" y="108"/>
                    </a:lnTo>
                    <a:lnTo>
                      <a:pt x="74" y="108"/>
                    </a:lnTo>
                    <a:lnTo>
                      <a:pt x="74" y="98"/>
                    </a:lnTo>
                    <a:lnTo>
                      <a:pt x="74" y="9"/>
                    </a:lnTo>
                    <a:lnTo>
                      <a:pt x="74" y="0"/>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4" name="Rectangle 224"/>
              <p:cNvSpPr>
                <a:spLocks noChangeArrowheads="1"/>
              </p:cNvSpPr>
              <p:nvPr/>
            </p:nvSpPr>
            <p:spPr bwMode="auto">
              <a:xfrm>
                <a:off x="9176727" y="6176347"/>
                <a:ext cx="133356" cy="198915"/>
              </a:xfrm>
              <a:prstGeom prst="rect">
                <a:avLst/>
              </a:prstGeom>
              <a:solidFill>
                <a:srgbClr val="5BB1B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45" name="Freeform 225"/>
              <p:cNvSpPr>
                <a:spLocks noEditPoints="1"/>
              </p:cNvSpPr>
              <p:nvPr/>
            </p:nvSpPr>
            <p:spPr bwMode="auto">
              <a:xfrm>
                <a:off x="9168260" y="6163650"/>
                <a:ext cx="150290" cy="217961"/>
              </a:xfrm>
              <a:custGeom>
                <a:avLst/>
                <a:gdLst>
                  <a:gd name="T0" fmla="*/ 63 w 72"/>
                  <a:gd name="T1" fmla="*/ 10 h 106"/>
                  <a:gd name="T2" fmla="*/ 63 w 72"/>
                  <a:gd name="T3" fmla="*/ 99 h 106"/>
                  <a:gd name="T4" fmla="*/ 10 w 72"/>
                  <a:gd name="T5" fmla="*/ 99 h 106"/>
                  <a:gd name="T6" fmla="*/ 10 w 72"/>
                  <a:gd name="T7" fmla="*/ 10 h 106"/>
                  <a:gd name="T8" fmla="*/ 63 w 72"/>
                  <a:gd name="T9" fmla="*/ 10 h 106"/>
                  <a:gd name="T10" fmla="*/ 72 w 72"/>
                  <a:gd name="T11" fmla="*/ 0 h 106"/>
                  <a:gd name="T12" fmla="*/ 63 w 72"/>
                  <a:gd name="T13" fmla="*/ 0 h 106"/>
                  <a:gd name="T14" fmla="*/ 10 w 72"/>
                  <a:gd name="T15" fmla="*/ 0 h 106"/>
                  <a:gd name="T16" fmla="*/ 0 w 72"/>
                  <a:gd name="T17" fmla="*/ 0 h 106"/>
                  <a:gd name="T18" fmla="*/ 0 w 72"/>
                  <a:gd name="T19" fmla="*/ 10 h 106"/>
                  <a:gd name="T20" fmla="*/ 0 w 72"/>
                  <a:gd name="T21" fmla="*/ 99 h 106"/>
                  <a:gd name="T22" fmla="*/ 0 w 72"/>
                  <a:gd name="T23" fmla="*/ 106 h 106"/>
                  <a:gd name="T24" fmla="*/ 10 w 72"/>
                  <a:gd name="T25" fmla="*/ 106 h 106"/>
                  <a:gd name="T26" fmla="*/ 63 w 72"/>
                  <a:gd name="T27" fmla="*/ 106 h 106"/>
                  <a:gd name="T28" fmla="*/ 72 w 72"/>
                  <a:gd name="T29" fmla="*/ 106 h 106"/>
                  <a:gd name="T30" fmla="*/ 72 w 72"/>
                  <a:gd name="T31" fmla="*/ 99 h 106"/>
                  <a:gd name="T32" fmla="*/ 72 w 72"/>
                  <a:gd name="T33" fmla="*/ 10 h 106"/>
                  <a:gd name="T34" fmla="*/ 72 w 72"/>
                  <a:gd name="T35" fmla="*/ 0 h 106"/>
                  <a:gd name="T36" fmla="*/ 72 w 72"/>
                  <a:gd name="T3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06">
                    <a:moveTo>
                      <a:pt x="63" y="10"/>
                    </a:moveTo>
                    <a:lnTo>
                      <a:pt x="63" y="99"/>
                    </a:lnTo>
                    <a:lnTo>
                      <a:pt x="10" y="99"/>
                    </a:lnTo>
                    <a:lnTo>
                      <a:pt x="10" y="10"/>
                    </a:lnTo>
                    <a:lnTo>
                      <a:pt x="63" y="10"/>
                    </a:lnTo>
                    <a:close/>
                    <a:moveTo>
                      <a:pt x="72" y="0"/>
                    </a:moveTo>
                    <a:lnTo>
                      <a:pt x="63" y="0"/>
                    </a:lnTo>
                    <a:lnTo>
                      <a:pt x="10" y="0"/>
                    </a:lnTo>
                    <a:lnTo>
                      <a:pt x="0" y="0"/>
                    </a:lnTo>
                    <a:lnTo>
                      <a:pt x="0" y="10"/>
                    </a:lnTo>
                    <a:lnTo>
                      <a:pt x="0" y="99"/>
                    </a:lnTo>
                    <a:lnTo>
                      <a:pt x="0" y="106"/>
                    </a:lnTo>
                    <a:lnTo>
                      <a:pt x="10" y="106"/>
                    </a:lnTo>
                    <a:lnTo>
                      <a:pt x="63" y="106"/>
                    </a:lnTo>
                    <a:lnTo>
                      <a:pt x="72" y="106"/>
                    </a:lnTo>
                    <a:lnTo>
                      <a:pt x="72" y="99"/>
                    </a:lnTo>
                    <a:lnTo>
                      <a:pt x="72" y="10"/>
                    </a:lnTo>
                    <a:lnTo>
                      <a:pt x="72" y="0"/>
                    </a:lnTo>
                    <a:lnTo>
                      <a:pt x="7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6" name="Freeform 226"/>
              <p:cNvSpPr>
                <a:spLocks noEditPoints="1"/>
              </p:cNvSpPr>
              <p:nvPr/>
            </p:nvSpPr>
            <p:spPr bwMode="auto">
              <a:xfrm>
                <a:off x="9168260" y="6163650"/>
                <a:ext cx="150290" cy="217961"/>
              </a:xfrm>
              <a:custGeom>
                <a:avLst/>
                <a:gdLst>
                  <a:gd name="T0" fmla="*/ 63 w 72"/>
                  <a:gd name="T1" fmla="*/ 10 h 106"/>
                  <a:gd name="T2" fmla="*/ 63 w 72"/>
                  <a:gd name="T3" fmla="*/ 99 h 106"/>
                  <a:gd name="T4" fmla="*/ 10 w 72"/>
                  <a:gd name="T5" fmla="*/ 99 h 106"/>
                  <a:gd name="T6" fmla="*/ 10 w 72"/>
                  <a:gd name="T7" fmla="*/ 10 h 106"/>
                  <a:gd name="T8" fmla="*/ 63 w 72"/>
                  <a:gd name="T9" fmla="*/ 10 h 106"/>
                  <a:gd name="T10" fmla="*/ 72 w 72"/>
                  <a:gd name="T11" fmla="*/ 0 h 106"/>
                  <a:gd name="T12" fmla="*/ 63 w 72"/>
                  <a:gd name="T13" fmla="*/ 0 h 106"/>
                  <a:gd name="T14" fmla="*/ 10 w 72"/>
                  <a:gd name="T15" fmla="*/ 0 h 106"/>
                  <a:gd name="T16" fmla="*/ 0 w 72"/>
                  <a:gd name="T17" fmla="*/ 0 h 106"/>
                  <a:gd name="T18" fmla="*/ 0 w 72"/>
                  <a:gd name="T19" fmla="*/ 10 h 106"/>
                  <a:gd name="T20" fmla="*/ 0 w 72"/>
                  <a:gd name="T21" fmla="*/ 99 h 106"/>
                  <a:gd name="T22" fmla="*/ 0 w 72"/>
                  <a:gd name="T23" fmla="*/ 106 h 106"/>
                  <a:gd name="T24" fmla="*/ 10 w 72"/>
                  <a:gd name="T25" fmla="*/ 106 h 106"/>
                  <a:gd name="T26" fmla="*/ 63 w 72"/>
                  <a:gd name="T27" fmla="*/ 106 h 106"/>
                  <a:gd name="T28" fmla="*/ 72 w 72"/>
                  <a:gd name="T29" fmla="*/ 106 h 106"/>
                  <a:gd name="T30" fmla="*/ 72 w 72"/>
                  <a:gd name="T31" fmla="*/ 99 h 106"/>
                  <a:gd name="T32" fmla="*/ 72 w 72"/>
                  <a:gd name="T33" fmla="*/ 10 h 106"/>
                  <a:gd name="T34" fmla="*/ 72 w 72"/>
                  <a:gd name="T35" fmla="*/ 0 h 106"/>
                  <a:gd name="T36" fmla="*/ 72 w 72"/>
                  <a:gd name="T3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06">
                    <a:moveTo>
                      <a:pt x="63" y="10"/>
                    </a:moveTo>
                    <a:lnTo>
                      <a:pt x="63" y="99"/>
                    </a:lnTo>
                    <a:lnTo>
                      <a:pt x="10" y="99"/>
                    </a:lnTo>
                    <a:lnTo>
                      <a:pt x="10" y="10"/>
                    </a:lnTo>
                    <a:lnTo>
                      <a:pt x="63" y="10"/>
                    </a:lnTo>
                    <a:moveTo>
                      <a:pt x="72" y="0"/>
                    </a:moveTo>
                    <a:lnTo>
                      <a:pt x="63" y="0"/>
                    </a:lnTo>
                    <a:lnTo>
                      <a:pt x="10" y="0"/>
                    </a:lnTo>
                    <a:lnTo>
                      <a:pt x="0" y="0"/>
                    </a:lnTo>
                    <a:lnTo>
                      <a:pt x="0" y="10"/>
                    </a:lnTo>
                    <a:lnTo>
                      <a:pt x="0" y="99"/>
                    </a:lnTo>
                    <a:lnTo>
                      <a:pt x="0" y="106"/>
                    </a:lnTo>
                    <a:lnTo>
                      <a:pt x="10" y="106"/>
                    </a:lnTo>
                    <a:lnTo>
                      <a:pt x="63" y="106"/>
                    </a:lnTo>
                    <a:lnTo>
                      <a:pt x="72" y="106"/>
                    </a:lnTo>
                    <a:lnTo>
                      <a:pt x="72" y="99"/>
                    </a:lnTo>
                    <a:lnTo>
                      <a:pt x="72" y="10"/>
                    </a:lnTo>
                    <a:lnTo>
                      <a:pt x="72" y="0"/>
                    </a:lnTo>
                    <a:lnTo>
                      <a:pt x="7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7" name="Rectangle 227"/>
              <p:cNvSpPr>
                <a:spLocks noChangeArrowheads="1"/>
              </p:cNvSpPr>
              <p:nvPr/>
            </p:nvSpPr>
            <p:spPr bwMode="auto">
              <a:xfrm>
                <a:off x="9422272" y="6176347"/>
                <a:ext cx="133356" cy="198915"/>
              </a:xfrm>
              <a:prstGeom prst="rect">
                <a:avLst/>
              </a:prstGeom>
              <a:solidFill>
                <a:srgbClr val="5BB1B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48" name="Freeform 228"/>
              <p:cNvSpPr>
                <a:spLocks noEditPoints="1"/>
              </p:cNvSpPr>
              <p:nvPr/>
            </p:nvSpPr>
            <p:spPr bwMode="auto">
              <a:xfrm>
                <a:off x="9409571" y="6163650"/>
                <a:ext cx="152407" cy="217961"/>
              </a:xfrm>
              <a:custGeom>
                <a:avLst/>
                <a:gdLst>
                  <a:gd name="T0" fmla="*/ 65 w 74"/>
                  <a:gd name="T1" fmla="*/ 10 h 106"/>
                  <a:gd name="T2" fmla="*/ 65 w 74"/>
                  <a:gd name="T3" fmla="*/ 99 h 106"/>
                  <a:gd name="T4" fmla="*/ 10 w 74"/>
                  <a:gd name="T5" fmla="*/ 99 h 106"/>
                  <a:gd name="T6" fmla="*/ 10 w 74"/>
                  <a:gd name="T7" fmla="*/ 10 h 106"/>
                  <a:gd name="T8" fmla="*/ 65 w 74"/>
                  <a:gd name="T9" fmla="*/ 10 h 106"/>
                  <a:gd name="T10" fmla="*/ 74 w 74"/>
                  <a:gd name="T11" fmla="*/ 0 h 106"/>
                  <a:gd name="T12" fmla="*/ 65 w 74"/>
                  <a:gd name="T13" fmla="*/ 0 h 106"/>
                  <a:gd name="T14" fmla="*/ 10 w 74"/>
                  <a:gd name="T15" fmla="*/ 0 h 106"/>
                  <a:gd name="T16" fmla="*/ 0 w 74"/>
                  <a:gd name="T17" fmla="*/ 0 h 106"/>
                  <a:gd name="T18" fmla="*/ 0 w 74"/>
                  <a:gd name="T19" fmla="*/ 10 h 106"/>
                  <a:gd name="T20" fmla="*/ 0 w 74"/>
                  <a:gd name="T21" fmla="*/ 99 h 106"/>
                  <a:gd name="T22" fmla="*/ 0 w 74"/>
                  <a:gd name="T23" fmla="*/ 106 h 106"/>
                  <a:gd name="T24" fmla="*/ 10 w 74"/>
                  <a:gd name="T25" fmla="*/ 106 h 106"/>
                  <a:gd name="T26" fmla="*/ 65 w 74"/>
                  <a:gd name="T27" fmla="*/ 106 h 106"/>
                  <a:gd name="T28" fmla="*/ 74 w 74"/>
                  <a:gd name="T29" fmla="*/ 106 h 106"/>
                  <a:gd name="T30" fmla="*/ 74 w 74"/>
                  <a:gd name="T31" fmla="*/ 99 h 106"/>
                  <a:gd name="T32" fmla="*/ 74 w 74"/>
                  <a:gd name="T33" fmla="*/ 10 h 106"/>
                  <a:gd name="T34" fmla="*/ 74 w 74"/>
                  <a:gd name="T35" fmla="*/ 0 h 106"/>
                  <a:gd name="T36" fmla="*/ 74 w 74"/>
                  <a:gd name="T3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06">
                    <a:moveTo>
                      <a:pt x="65" y="10"/>
                    </a:moveTo>
                    <a:lnTo>
                      <a:pt x="65" y="99"/>
                    </a:lnTo>
                    <a:lnTo>
                      <a:pt x="10" y="99"/>
                    </a:lnTo>
                    <a:lnTo>
                      <a:pt x="10" y="10"/>
                    </a:lnTo>
                    <a:lnTo>
                      <a:pt x="65" y="10"/>
                    </a:lnTo>
                    <a:close/>
                    <a:moveTo>
                      <a:pt x="74" y="0"/>
                    </a:moveTo>
                    <a:lnTo>
                      <a:pt x="65" y="0"/>
                    </a:lnTo>
                    <a:lnTo>
                      <a:pt x="10" y="0"/>
                    </a:lnTo>
                    <a:lnTo>
                      <a:pt x="0" y="0"/>
                    </a:lnTo>
                    <a:lnTo>
                      <a:pt x="0" y="10"/>
                    </a:lnTo>
                    <a:lnTo>
                      <a:pt x="0" y="99"/>
                    </a:lnTo>
                    <a:lnTo>
                      <a:pt x="0" y="106"/>
                    </a:lnTo>
                    <a:lnTo>
                      <a:pt x="10" y="106"/>
                    </a:lnTo>
                    <a:lnTo>
                      <a:pt x="65" y="106"/>
                    </a:lnTo>
                    <a:lnTo>
                      <a:pt x="74" y="106"/>
                    </a:lnTo>
                    <a:lnTo>
                      <a:pt x="74" y="99"/>
                    </a:lnTo>
                    <a:lnTo>
                      <a:pt x="74" y="10"/>
                    </a:lnTo>
                    <a:lnTo>
                      <a:pt x="74"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9" name="Freeform 229"/>
              <p:cNvSpPr>
                <a:spLocks noEditPoints="1"/>
              </p:cNvSpPr>
              <p:nvPr/>
            </p:nvSpPr>
            <p:spPr bwMode="auto">
              <a:xfrm>
                <a:off x="9409571" y="6163650"/>
                <a:ext cx="152407" cy="217961"/>
              </a:xfrm>
              <a:custGeom>
                <a:avLst/>
                <a:gdLst>
                  <a:gd name="T0" fmla="*/ 65 w 74"/>
                  <a:gd name="T1" fmla="*/ 10 h 106"/>
                  <a:gd name="T2" fmla="*/ 65 w 74"/>
                  <a:gd name="T3" fmla="*/ 99 h 106"/>
                  <a:gd name="T4" fmla="*/ 10 w 74"/>
                  <a:gd name="T5" fmla="*/ 99 h 106"/>
                  <a:gd name="T6" fmla="*/ 10 w 74"/>
                  <a:gd name="T7" fmla="*/ 10 h 106"/>
                  <a:gd name="T8" fmla="*/ 65 w 74"/>
                  <a:gd name="T9" fmla="*/ 10 h 106"/>
                  <a:gd name="T10" fmla="*/ 74 w 74"/>
                  <a:gd name="T11" fmla="*/ 0 h 106"/>
                  <a:gd name="T12" fmla="*/ 65 w 74"/>
                  <a:gd name="T13" fmla="*/ 0 h 106"/>
                  <a:gd name="T14" fmla="*/ 10 w 74"/>
                  <a:gd name="T15" fmla="*/ 0 h 106"/>
                  <a:gd name="T16" fmla="*/ 0 w 74"/>
                  <a:gd name="T17" fmla="*/ 0 h 106"/>
                  <a:gd name="T18" fmla="*/ 0 w 74"/>
                  <a:gd name="T19" fmla="*/ 10 h 106"/>
                  <a:gd name="T20" fmla="*/ 0 w 74"/>
                  <a:gd name="T21" fmla="*/ 99 h 106"/>
                  <a:gd name="T22" fmla="*/ 0 w 74"/>
                  <a:gd name="T23" fmla="*/ 106 h 106"/>
                  <a:gd name="T24" fmla="*/ 10 w 74"/>
                  <a:gd name="T25" fmla="*/ 106 h 106"/>
                  <a:gd name="T26" fmla="*/ 65 w 74"/>
                  <a:gd name="T27" fmla="*/ 106 h 106"/>
                  <a:gd name="T28" fmla="*/ 74 w 74"/>
                  <a:gd name="T29" fmla="*/ 106 h 106"/>
                  <a:gd name="T30" fmla="*/ 74 w 74"/>
                  <a:gd name="T31" fmla="*/ 99 h 106"/>
                  <a:gd name="T32" fmla="*/ 74 w 74"/>
                  <a:gd name="T33" fmla="*/ 10 h 106"/>
                  <a:gd name="T34" fmla="*/ 74 w 74"/>
                  <a:gd name="T35" fmla="*/ 0 h 106"/>
                  <a:gd name="T36" fmla="*/ 74 w 74"/>
                  <a:gd name="T3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06">
                    <a:moveTo>
                      <a:pt x="65" y="10"/>
                    </a:moveTo>
                    <a:lnTo>
                      <a:pt x="65" y="99"/>
                    </a:lnTo>
                    <a:lnTo>
                      <a:pt x="10" y="99"/>
                    </a:lnTo>
                    <a:lnTo>
                      <a:pt x="10" y="10"/>
                    </a:lnTo>
                    <a:lnTo>
                      <a:pt x="65" y="10"/>
                    </a:lnTo>
                    <a:moveTo>
                      <a:pt x="74" y="0"/>
                    </a:moveTo>
                    <a:lnTo>
                      <a:pt x="65" y="0"/>
                    </a:lnTo>
                    <a:lnTo>
                      <a:pt x="10" y="0"/>
                    </a:lnTo>
                    <a:lnTo>
                      <a:pt x="0" y="0"/>
                    </a:lnTo>
                    <a:lnTo>
                      <a:pt x="0" y="10"/>
                    </a:lnTo>
                    <a:lnTo>
                      <a:pt x="0" y="99"/>
                    </a:lnTo>
                    <a:lnTo>
                      <a:pt x="0" y="106"/>
                    </a:lnTo>
                    <a:lnTo>
                      <a:pt x="10" y="106"/>
                    </a:lnTo>
                    <a:lnTo>
                      <a:pt x="65" y="106"/>
                    </a:lnTo>
                    <a:lnTo>
                      <a:pt x="74" y="106"/>
                    </a:lnTo>
                    <a:lnTo>
                      <a:pt x="74" y="99"/>
                    </a:lnTo>
                    <a:lnTo>
                      <a:pt x="74" y="10"/>
                    </a:lnTo>
                    <a:lnTo>
                      <a:pt x="74" y="0"/>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50" name="Freeform 230"/>
              <p:cNvSpPr>
                <a:spLocks/>
              </p:cNvSpPr>
              <p:nvPr/>
            </p:nvSpPr>
            <p:spPr bwMode="auto">
              <a:xfrm>
                <a:off x="9123807" y="6430281"/>
                <a:ext cx="260363" cy="129084"/>
              </a:xfrm>
              <a:custGeom>
                <a:avLst/>
                <a:gdLst>
                  <a:gd name="T0" fmla="*/ 67 w 67"/>
                  <a:gd name="T1" fmla="*/ 33 h 33"/>
                  <a:gd name="T2" fmla="*/ 0 w 67"/>
                  <a:gd name="T3" fmla="*/ 33 h 33"/>
                  <a:gd name="T4" fmla="*/ 34 w 67"/>
                  <a:gd name="T5" fmla="*/ 0 h 33"/>
                  <a:gd name="T6" fmla="*/ 67 w 67"/>
                  <a:gd name="T7" fmla="*/ 33 h 33"/>
                </a:gdLst>
                <a:ahLst/>
                <a:cxnLst>
                  <a:cxn ang="0">
                    <a:pos x="T0" y="T1"/>
                  </a:cxn>
                  <a:cxn ang="0">
                    <a:pos x="T2" y="T3"/>
                  </a:cxn>
                  <a:cxn ang="0">
                    <a:pos x="T4" y="T5"/>
                  </a:cxn>
                  <a:cxn ang="0">
                    <a:pos x="T6" y="T7"/>
                  </a:cxn>
                </a:cxnLst>
                <a:rect l="0" t="0" r="r" b="b"/>
                <a:pathLst>
                  <a:path w="67" h="33">
                    <a:moveTo>
                      <a:pt x="67" y="33"/>
                    </a:moveTo>
                    <a:cubicBezTo>
                      <a:pt x="0" y="33"/>
                      <a:pt x="0" y="33"/>
                      <a:pt x="0" y="33"/>
                    </a:cubicBezTo>
                    <a:cubicBezTo>
                      <a:pt x="0" y="15"/>
                      <a:pt x="15" y="0"/>
                      <a:pt x="34" y="0"/>
                    </a:cubicBezTo>
                    <a:cubicBezTo>
                      <a:pt x="52" y="0"/>
                      <a:pt x="67" y="15"/>
                      <a:pt x="67" y="33"/>
                    </a:cubicBezTo>
                    <a:close/>
                  </a:path>
                </a:pathLst>
              </a:custGeom>
              <a:solidFill>
                <a:srgbClr val="427953"/>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51" name="Freeform 231"/>
              <p:cNvSpPr>
                <a:spLocks/>
              </p:cNvSpPr>
              <p:nvPr/>
            </p:nvSpPr>
            <p:spPr bwMode="auto">
              <a:xfrm>
                <a:off x="8967166" y="6457791"/>
                <a:ext cx="201094" cy="101574"/>
              </a:xfrm>
              <a:custGeom>
                <a:avLst/>
                <a:gdLst>
                  <a:gd name="T0" fmla="*/ 52 w 52"/>
                  <a:gd name="T1" fmla="*/ 26 h 26"/>
                  <a:gd name="T2" fmla="*/ 0 w 52"/>
                  <a:gd name="T3" fmla="*/ 26 h 26"/>
                  <a:gd name="T4" fmla="*/ 26 w 52"/>
                  <a:gd name="T5" fmla="*/ 0 h 26"/>
                  <a:gd name="T6" fmla="*/ 52 w 52"/>
                  <a:gd name="T7" fmla="*/ 26 h 26"/>
                </a:gdLst>
                <a:ahLst/>
                <a:cxnLst>
                  <a:cxn ang="0">
                    <a:pos x="T0" y="T1"/>
                  </a:cxn>
                  <a:cxn ang="0">
                    <a:pos x="T2" y="T3"/>
                  </a:cxn>
                  <a:cxn ang="0">
                    <a:pos x="T4" y="T5"/>
                  </a:cxn>
                  <a:cxn ang="0">
                    <a:pos x="T6" y="T7"/>
                  </a:cxn>
                </a:cxnLst>
                <a:rect l="0" t="0" r="r" b="b"/>
                <a:pathLst>
                  <a:path w="52" h="26">
                    <a:moveTo>
                      <a:pt x="52" y="26"/>
                    </a:moveTo>
                    <a:cubicBezTo>
                      <a:pt x="0" y="26"/>
                      <a:pt x="0" y="26"/>
                      <a:pt x="0" y="26"/>
                    </a:cubicBezTo>
                    <a:cubicBezTo>
                      <a:pt x="0" y="12"/>
                      <a:pt x="12" y="0"/>
                      <a:pt x="26" y="0"/>
                    </a:cubicBezTo>
                    <a:cubicBezTo>
                      <a:pt x="40" y="0"/>
                      <a:pt x="52" y="12"/>
                      <a:pt x="52" y="26"/>
                    </a:cubicBezTo>
                    <a:close/>
                  </a:path>
                </a:pathLst>
              </a:custGeom>
              <a:solidFill>
                <a:srgbClr val="427953"/>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296" name="Group 295"/>
            <p:cNvGrpSpPr>
              <a:grpSpLocks/>
            </p:cNvGrpSpPr>
            <p:nvPr/>
          </p:nvGrpSpPr>
          <p:grpSpPr bwMode="auto">
            <a:xfrm>
              <a:off x="5835651" y="4776788"/>
              <a:ext cx="1509713" cy="1001712"/>
              <a:chOff x="5841851" y="5359945"/>
              <a:chExt cx="1787922" cy="1186905"/>
            </a:xfrm>
          </p:grpSpPr>
          <p:sp>
            <p:nvSpPr>
              <p:cNvPr id="263" name="Rectangle 165"/>
              <p:cNvSpPr>
                <a:spLocks noChangeArrowheads="1"/>
              </p:cNvSpPr>
              <p:nvPr/>
            </p:nvSpPr>
            <p:spPr bwMode="auto">
              <a:xfrm>
                <a:off x="5982855" y="5666546"/>
                <a:ext cx="1505914" cy="880304"/>
              </a:xfrm>
              <a:prstGeom prst="rect">
                <a:avLst/>
              </a:prstGeom>
              <a:solidFill>
                <a:schemeClr val="accent4"/>
              </a:solidFill>
              <a:ln>
                <a:noFill/>
              </a:ln>
            </p:spPr>
            <p:txBody>
              <a:bodyPr lIns="68580" tIns="34290" rIns="68580" bIns="34290"/>
              <a:lstStyle/>
              <a:p>
                <a:pPr>
                  <a:defRPr/>
                </a:pPr>
                <a:endParaRPr lang="en-US" sz="1350"/>
              </a:p>
            </p:txBody>
          </p:sp>
          <p:sp>
            <p:nvSpPr>
              <p:cNvPr id="264" name="Freeform 166"/>
              <p:cNvSpPr>
                <a:spLocks/>
              </p:cNvSpPr>
              <p:nvPr/>
            </p:nvSpPr>
            <p:spPr bwMode="auto">
              <a:xfrm>
                <a:off x="5905772" y="5570616"/>
                <a:ext cx="1661958" cy="118502"/>
              </a:xfrm>
              <a:custGeom>
                <a:avLst/>
                <a:gdLst>
                  <a:gd name="T0" fmla="*/ 1147 w 1208"/>
                  <a:gd name="T1" fmla="*/ 87 h 87"/>
                  <a:gd name="T2" fmla="*/ 59 w 1208"/>
                  <a:gd name="T3" fmla="*/ 87 h 87"/>
                  <a:gd name="T4" fmla="*/ 0 w 1208"/>
                  <a:gd name="T5" fmla="*/ 0 h 87"/>
                  <a:gd name="T6" fmla="*/ 1208 w 1208"/>
                  <a:gd name="T7" fmla="*/ 0 h 87"/>
                  <a:gd name="T8" fmla="*/ 1147 w 1208"/>
                  <a:gd name="T9" fmla="*/ 87 h 87"/>
                </a:gdLst>
                <a:ahLst/>
                <a:cxnLst>
                  <a:cxn ang="0">
                    <a:pos x="T0" y="T1"/>
                  </a:cxn>
                  <a:cxn ang="0">
                    <a:pos x="T2" y="T3"/>
                  </a:cxn>
                  <a:cxn ang="0">
                    <a:pos x="T4" y="T5"/>
                  </a:cxn>
                  <a:cxn ang="0">
                    <a:pos x="T6" y="T7"/>
                  </a:cxn>
                  <a:cxn ang="0">
                    <a:pos x="T8" y="T9"/>
                  </a:cxn>
                </a:cxnLst>
                <a:rect l="0" t="0" r="r" b="b"/>
                <a:pathLst>
                  <a:path w="1208" h="87">
                    <a:moveTo>
                      <a:pt x="1147" y="87"/>
                    </a:moveTo>
                    <a:lnTo>
                      <a:pt x="59" y="87"/>
                    </a:lnTo>
                    <a:lnTo>
                      <a:pt x="0" y="0"/>
                    </a:lnTo>
                    <a:lnTo>
                      <a:pt x="1208" y="0"/>
                    </a:lnTo>
                    <a:lnTo>
                      <a:pt x="1147" y="87"/>
                    </a:lnTo>
                    <a:close/>
                  </a:path>
                </a:pathLst>
              </a:custGeom>
              <a:solidFill>
                <a:schemeClr val="accent4">
                  <a:lumMod val="75000"/>
                </a:schemeClr>
              </a:solidFill>
              <a:ln>
                <a:noFill/>
              </a:ln>
            </p:spPr>
            <p:txBody>
              <a:bodyPr lIns="68580" tIns="34290" rIns="68580" bIns="34290"/>
              <a:lstStyle/>
              <a:p>
                <a:pPr>
                  <a:defRPr/>
                </a:pPr>
                <a:endParaRPr lang="en-US" sz="1350"/>
              </a:p>
            </p:txBody>
          </p:sp>
          <p:sp>
            <p:nvSpPr>
              <p:cNvPr id="265" name="Rectangle 167"/>
              <p:cNvSpPr>
                <a:spLocks noChangeArrowheads="1"/>
              </p:cNvSpPr>
              <p:nvPr/>
            </p:nvSpPr>
            <p:spPr bwMode="auto">
              <a:xfrm>
                <a:off x="5841851" y="5359945"/>
                <a:ext cx="1787922" cy="233243"/>
              </a:xfrm>
              <a:prstGeom prst="rect">
                <a:avLst/>
              </a:prstGeom>
              <a:solidFill>
                <a:schemeClr val="accent4"/>
              </a:solidFill>
              <a:ln>
                <a:noFill/>
              </a:ln>
            </p:spPr>
            <p:txBody>
              <a:bodyPr lIns="68580" tIns="34290" rIns="68580" bIns="34290"/>
              <a:lstStyle/>
              <a:p>
                <a:pPr>
                  <a:defRPr/>
                </a:pPr>
                <a:endParaRPr lang="en-US" sz="1350"/>
              </a:p>
            </p:txBody>
          </p:sp>
          <p:sp>
            <p:nvSpPr>
              <p:cNvPr id="266" name="Rectangle 168"/>
              <p:cNvSpPr>
                <a:spLocks noChangeArrowheads="1"/>
              </p:cNvSpPr>
              <p:nvPr/>
            </p:nvSpPr>
            <p:spPr bwMode="auto">
              <a:xfrm>
                <a:off x="6537467" y="6204510"/>
                <a:ext cx="396690" cy="310364"/>
              </a:xfrm>
              <a:prstGeom prst="rect">
                <a:avLst/>
              </a:prstGeom>
              <a:solidFill>
                <a:schemeClr val="accent4">
                  <a:lumMod val="50000"/>
                </a:schemeClr>
              </a:solidFill>
              <a:ln>
                <a:noFill/>
              </a:ln>
            </p:spPr>
            <p:txBody>
              <a:bodyPr lIns="68580" tIns="34290" rIns="68580" bIns="34290"/>
              <a:lstStyle/>
              <a:p>
                <a:pPr>
                  <a:defRPr/>
                </a:pPr>
                <a:endParaRPr lang="en-US" sz="1350"/>
              </a:p>
            </p:txBody>
          </p:sp>
          <p:sp>
            <p:nvSpPr>
              <p:cNvPr id="267" name="Rectangle 169"/>
              <p:cNvSpPr>
                <a:spLocks noChangeArrowheads="1"/>
              </p:cNvSpPr>
              <p:nvPr/>
            </p:nvSpPr>
            <p:spPr bwMode="auto">
              <a:xfrm>
                <a:off x="6490467" y="6136794"/>
                <a:ext cx="490691" cy="978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68" name="Rectangle 170"/>
              <p:cNvSpPr>
                <a:spLocks noChangeArrowheads="1"/>
              </p:cNvSpPr>
              <p:nvPr/>
            </p:nvSpPr>
            <p:spPr bwMode="auto">
              <a:xfrm>
                <a:off x="6490467" y="6136794"/>
                <a:ext cx="54521" cy="97812"/>
              </a:xfrm>
              <a:prstGeom prst="rect">
                <a:avLst/>
              </a:prstGeom>
              <a:solidFill>
                <a:srgbClr val="E5393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69" name="Rectangle 171"/>
              <p:cNvSpPr>
                <a:spLocks noChangeArrowheads="1"/>
              </p:cNvSpPr>
              <p:nvPr/>
            </p:nvSpPr>
            <p:spPr bwMode="auto">
              <a:xfrm>
                <a:off x="6599509" y="6136794"/>
                <a:ext cx="54521" cy="97812"/>
              </a:xfrm>
              <a:prstGeom prst="rect">
                <a:avLst/>
              </a:prstGeom>
              <a:solidFill>
                <a:srgbClr val="E5393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70" name="Rectangle 172"/>
              <p:cNvSpPr>
                <a:spLocks noChangeArrowheads="1"/>
              </p:cNvSpPr>
              <p:nvPr/>
            </p:nvSpPr>
            <p:spPr bwMode="auto">
              <a:xfrm>
                <a:off x="6708552" y="6136794"/>
                <a:ext cx="54521" cy="97812"/>
              </a:xfrm>
              <a:prstGeom prst="rect">
                <a:avLst/>
              </a:prstGeom>
              <a:solidFill>
                <a:srgbClr val="E5393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71" name="Rectangle 173"/>
              <p:cNvSpPr>
                <a:spLocks noChangeArrowheads="1"/>
              </p:cNvSpPr>
              <p:nvPr/>
            </p:nvSpPr>
            <p:spPr bwMode="auto">
              <a:xfrm>
                <a:off x="6817594" y="6136794"/>
                <a:ext cx="54521" cy="97812"/>
              </a:xfrm>
              <a:prstGeom prst="rect">
                <a:avLst/>
              </a:prstGeom>
              <a:solidFill>
                <a:srgbClr val="E5393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72" name="Rectangle 174"/>
              <p:cNvSpPr>
                <a:spLocks noChangeArrowheads="1"/>
              </p:cNvSpPr>
              <p:nvPr/>
            </p:nvSpPr>
            <p:spPr bwMode="auto">
              <a:xfrm>
                <a:off x="6926637" y="6136794"/>
                <a:ext cx="54521" cy="97812"/>
              </a:xfrm>
              <a:prstGeom prst="rect">
                <a:avLst/>
              </a:prstGeom>
              <a:solidFill>
                <a:srgbClr val="E5393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nvGrpSpPr>
              <p:cNvPr id="295" name="Group 294"/>
              <p:cNvGrpSpPr/>
              <p:nvPr/>
            </p:nvGrpSpPr>
            <p:grpSpPr>
              <a:xfrm>
                <a:off x="6171929" y="5424585"/>
                <a:ext cx="1107136" cy="114152"/>
                <a:chOff x="6171929" y="5424585"/>
                <a:chExt cx="1107136" cy="114152"/>
              </a:xfrm>
              <a:solidFill>
                <a:schemeClr val="accent4">
                  <a:lumMod val="75000"/>
                </a:schemeClr>
              </a:solidFill>
            </p:grpSpPr>
            <p:sp>
              <p:nvSpPr>
                <p:cNvPr id="273" name="Freeform 175"/>
                <p:cNvSpPr>
                  <a:spLocks/>
                </p:cNvSpPr>
                <p:nvPr/>
              </p:nvSpPr>
              <p:spPr bwMode="auto">
                <a:xfrm>
                  <a:off x="6171929" y="5424585"/>
                  <a:ext cx="70142" cy="114152"/>
                </a:xfrm>
                <a:custGeom>
                  <a:avLst/>
                  <a:gdLst>
                    <a:gd name="T0" fmla="*/ 27 w 27"/>
                    <a:gd name="T1" fmla="*/ 32 h 44"/>
                    <a:gd name="T2" fmla="*/ 23 w 27"/>
                    <a:gd name="T3" fmla="*/ 41 h 44"/>
                    <a:gd name="T4" fmla="*/ 12 w 27"/>
                    <a:gd name="T5" fmla="*/ 44 h 44"/>
                    <a:gd name="T6" fmla="*/ 0 w 27"/>
                    <a:gd name="T7" fmla="*/ 42 h 44"/>
                    <a:gd name="T8" fmla="*/ 0 w 27"/>
                    <a:gd name="T9" fmla="*/ 33 h 44"/>
                    <a:gd name="T10" fmla="*/ 7 w 27"/>
                    <a:gd name="T11" fmla="*/ 36 h 44"/>
                    <a:gd name="T12" fmla="*/ 12 w 27"/>
                    <a:gd name="T13" fmla="*/ 37 h 44"/>
                    <a:gd name="T14" fmla="*/ 17 w 27"/>
                    <a:gd name="T15" fmla="*/ 36 h 44"/>
                    <a:gd name="T16" fmla="*/ 18 w 27"/>
                    <a:gd name="T17" fmla="*/ 32 h 44"/>
                    <a:gd name="T18" fmla="*/ 18 w 27"/>
                    <a:gd name="T19" fmla="*/ 30 h 44"/>
                    <a:gd name="T20" fmla="*/ 16 w 27"/>
                    <a:gd name="T21" fmla="*/ 28 h 44"/>
                    <a:gd name="T22" fmla="*/ 10 w 27"/>
                    <a:gd name="T23" fmla="*/ 25 h 44"/>
                    <a:gd name="T24" fmla="*/ 4 w 27"/>
                    <a:gd name="T25" fmla="*/ 22 h 44"/>
                    <a:gd name="T26" fmla="*/ 1 w 27"/>
                    <a:gd name="T27" fmla="*/ 18 h 44"/>
                    <a:gd name="T28" fmla="*/ 0 w 27"/>
                    <a:gd name="T29" fmla="*/ 12 h 44"/>
                    <a:gd name="T30" fmla="*/ 4 w 27"/>
                    <a:gd name="T31" fmla="*/ 4 h 44"/>
                    <a:gd name="T32" fmla="*/ 14 w 27"/>
                    <a:gd name="T33" fmla="*/ 0 h 44"/>
                    <a:gd name="T34" fmla="*/ 21 w 27"/>
                    <a:gd name="T35" fmla="*/ 1 h 44"/>
                    <a:gd name="T36" fmla="*/ 27 w 27"/>
                    <a:gd name="T37" fmla="*/ 3 h 44"/>
                    <a:gd name="T38" fmla="*/ 24 w 27"/>
                    <a:gd name="T39" fmla="*/ 10 h 44"/>
                    <a:gd name="T40" fmla="*/ 19 w 27"/>
                    <a:gd name="T41" fmla="*/ 8 h 44"/>
                    <a:gd name="T42" fmla="*/ 14 w 27"/>
                    <a:gd name="T43" fmla="*/ 8 h 44"/>
                    <a:gd name="T44" fmla="*/ 10 w 27"/>
                    <a:gd name="T45" fmla="*/ 9 h 44"/>
                    <a:gd name="T46" fmla="*/ 9 w 27"/>
                    <a:gd name="T47" fmla="*/ 12 h 44"/>
                    <a:gd name="T48" fmla="*/ 9 w 27"/>
                    <a:gd name="T49" fmla="*/ 14 h 44"/>
                    <a:gd name="T50" fmla="*/ 11 w 27"/>
                    <a:gd name="T51" fmla="*/ 16 h 44"/>
                    <a:gd name="T52" fmla="*/ 17 w 27"/>
                    <a:gd name="T53" fmla="*/ 19 h 44"/>
                    <a:gd name="T54" fmla="*/ 25 w 27"/>
                    <a:gd name="T55" fmla="*/ 25 h 44"/>
                    <a:gd name="T56" fmla="*/ 27 w 27"/>
                    <a:gd name="T57" fmla="*/ 3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 h="44">
                      <a:moveTo>
                        <a:pt x="27" y="32"/>
                      </a:moveTo>
                      <a:cubicBezTo>
                        <a:pt x="27" y="36"/>
                        <a:pt x="26" y="39"/>
                        <a:pt x="23" y="41"/>
                      </a:cubicBezTo>
                      <a:cubicBezTo>
                        <a:pt x="20" y="43"/>
                        <a:pt x="17" y="44"/>
                        <a:pt x="12" y="44"/>
                      </a:cubicBezTo>
                      <a:cubicBezTo>
                        <a:pt x="7" y="44"/>
                        <a:pt x="3" y="43"/>
                        <a:pt x="0" y="42"/>
                      </a:cubicBezTo>
                      <a:cubicBezTo>
                        <a:pt x="0" y="33"/>
                        <a:pt x="0" y="33"/>
                        <a:pt x="0" y="33"/>
                      </a:cubicBezTo>
                      <a:cubicBezTo>
                        <a:pt x="2" y="34"/>
                        <a:pt x="5" y="35"/>
                        <a:pt x="7" y="36"/>
                      </a:cubicBezTo>
                      <a:cubicBezTo>
                        <a:pt x="9" y="36"/>
                        <a:pt x="11" y="37"/>
                        <a:pt x="12" y="37"/>
                      </a:cubicBezTo>
                      <a:cubicBezTo>
                        <a:pt x="14" y="37"/>
                        <a:pt x="16" y="36"/>
                        <a:pt x="17" y="36"/>
                      </a:cubicBezTo>
                      <a:cubicBezTo>
                        <a:pt x="18" y="35"/>
                        <a:pt x="18" y="34"/>
                        <a:pt x="18" y="32"/>
                      </a:cubicBezTo>
                      <a:cubicBezTo>
                        <a:pt x="18" y="31"/>
                        <a:pt x="18" y="31"/>
                        <a:pt x="18" y="30"/>
                      </a:cubicBezTo>
                      <a:cubicBezTo>
                        <a:pt x="17" y="29"/>
                        <a:pt x="17" y="29"/>
                        <a:pt x="16" y="28"/>
                      </a:cubicBezTo>
                      <a:cubicBezTo>
                        <a:pt x="15" y="27"/>
                        <a:pt x="13" y="26"/>
                        <a:pt x="10" y="25"/>
                      </a:cubicBezTo>
                      <a:cubicBezTo>
                        <a:pt x="8" y="24"/>
                        <a:pt x="6" y="23"/>
                        <a:pt x="4" y="22"/>
                      </a:cubicBezTo>
                      <a:cubicBezTo>
                        <a:pt x="3" y="21"/>
                        <a:pt x="2" y="19"/>
                        <a:pt x="1" y="18"/>
                      </a:cubicBezTo>
                      <a:cubicBezTo>
                        <a:pt x="0" y="16"/>
                        <a:pt x="0" y="14"/>
                        <a:pt x="0" y="12"/>
                      </a:cubicBezTo>
                      <a:cubicBezTo>
                        <a:pt x="0" y="9"/>
                        <a:pt x="1" y="6"/>
                        <a:pt x="4" y="4"/>
                      </a:cubicBezTo>
                      <a:cubicBezTo>
                        <a:pt x="6" y="1"/>
                        <a:pt x="10" y="0"/>
                        <a:pt x="14" y="0"/>
                      </a:cubicBezTo>
                      <a:cubicBezTo>
                        <a:pt x="17" y="0"/>
                        <a:pt x="19" y="1"/>
                        <a:pt x="21" y="1"/>
                      </a:cubicBezTo>
                      <a:cubicBezTo>
                        <a:pt x="23" y="2"/>
                        <a:pt x="25" y="2"/>
                        <a:pt x="27" y="3"/>
                      </a:cubicBezTo>
                      <a:cubicBezTo>
                        <a:pt x="24" y="10"/>
                        <a:pt x="24" y="10"/>
                        <a:pt x="24" y="10"/>
                      </a:cubicBezTo>
                      <a:cubicBezTo>
                        <a:pt x="22" y="9"/>
                        <a:pt x="20" y="9"/>
                        <a:pt x="19" y="8"/>
                      </a:cubicBezTo>
                      <a:cubicBezTo>
                        <a:pt x="17" y="8"/>
                        <a:pt x="16" y="8"/>
                        <a:pt x="14" y="8"/>
                      </a:cubicBezTo>
                      <a:cubicBezTo>
                        <a:pt x="12" y="8"/>
                        <a:pt x="11" y="8"/>
                        <a:pt x="10" y="9"/>
                      </a:cubicBezTo>
                      <a:cubicBezTo>
                        <a:pt x="9" y="10"/>
                        <a:pt x="9" y="11"/>
                        <a:pt x="9" y="12"/>
                      </a:cubicBezTo>
                      <a:cubicBezTo>
                        <a:pt x="9" y="13"/>
                        <a:pt x="9" y="14"/>
                        <a:pt x="9" y="14"/>
                      </a:cubicBezTo>
                      <a:cubicBezTo>
                        <a:pt x="10" y="15"/>
                        <a:pt x="10" y="15"/>
                        <a:pt x="11" y="16"/>
                      </a:cubicBezTo>
                      <a:cubicBezTo>
                        <a:pt x="12" y="17"/>
                        <a:pt x="14" y="18"/>
                        <a:pt x="17" y="19"/>
                      </a:cubicBezTo>
                      <a:cubicBezTo>
                        <a:pt x="21" y="21"/>
                        <a:pt x="24" y="23"/>
                        <a:pt x="25" y="25"/>
                      </a:cubicBezTo>
                      <a:cubicBezTo>
                        <a:pt x="27" y="27"/>
                        <a:pt x="27" y="29"/>
                        <a:pt x="2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4" name="Freeform 176"/>
                <p:cNvSpPr>
                  <a:spLocks/>
                </p:cNvSpPr>
                <p:nvPr/>
              </p:nvSpPr>
              <p:spPr bwMode="auto">
                <a:xfrm>
                  <a:off x="6262700" y="5427335"/>
                  <a:ext cx="90771" cy="111401"/>
                </a:xfrm>
                <a:custGeom>
                  <a:avLst/>
                  <a:gdLst>
                    <a:gd name="T0" fmla="*/ 35 w 35"/>
                    <a:gd name="T1" fmla="*/ 0 h 43"/>
                    <a:gd name="T2" fmla="*/ 35 w 35"/>
                    <a:gd name="T3" fmla="*/ 28 h 43"/>
                    <a:gd name="T4" fmla="*/ 32 w 35"/>
                    <a:gd name="T5" fmla="*/ 36 h 43"/>
                    <a:gd name="T6" fmla="*/ 26 w 35"/>
                    <a:gd name="T7" fmla="*/ 41 h 43"/>
                    <a:gd name="T8" fmla="*/ 17 w 35"/>
                    <a:gd name="T9" fmla="*/ 43 h 43"/>
                    <a:gd name="T10" fmla="*/ 4 w 35"/>
                    <a:gd name="T11" fmla="*/ 39 h 43"/>
                    <a:gd name="T12" fmla="*/ 0 w 35"/>
                    <a:gd name="T13" fmla="*/ 27 h 43"/>
                    <a:gd name="T14" fmla="*/ 0 w 35"/>
                    <a:gd name="T15" fmla="*/ 0 h 43"/>
                    <a:gd name="T16" fmla="*/ 9 w 35"/>
                    <a:gd name="T17" fmla="*/ 0 h 43"/>
                    <a:gd name="T18" fmla="*/ 9 w 35"/>
                    <a:gd name="T19" fmla="*/ 26 h 43"/>
                    <a:gd name="T20" fmla="*/ 11 w 35"/>
                    <a:gd name="T21" fmla="*/ 33 h 43"/>
                    <a:gd name="T22" fmla="*/ 17 w 35"/>
                    <a:gd name="T23" fmla="*/ 36 h 43"/>
                    <a:gd name="T24" fmla="*/ 24 w 35"/>
                    <a:gd name="T25" fmla="*/ 33 h 43"/>
                    <a:gd name="T26" fmla="*/ 26 w 35"/>
                    <a:gd name="T27" fmla="*/ 26 h 43"/>
                    <a:gd name="T28" fmla="*/ 26 w 35"/>
                    <a:gd name="T29" fmla="*/ 0 h 43"/>
                    <a:gd name="T30" fmla="*/ 35 w 35"/>
                    <a:gd name="T3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43">
                      <a:moveTo>
                        <a:pt x="35" y="0"/>
                      </a:moveTo>
                      <a:cubicBezTo>
                        <a:pt x="35" y="28"/>
                        <a:pt x="35" y="28"/>
                        <a:pt x="35" y="28"/>
                      </a:cubicBezTo>
                      <a:cubicBezTo>
                        <a:pt x="35" y="31"/>
                        <a:pt x="34" y="33"/>
                        <a:pt x="32" y="36"/>
                      </a:cubicBezTo>
                      <a:cubicBezTo>
                        <a:pt x="31" y="38"/>
                        <a:pt x="29" y="40"/>
                        <a:pt x="26" y="41"/>
                      </a:cubicBezTo>
                      <a:cubicBezTo>
                        <a:pt x="24" y="42"/>
                        <a:pt x="21" y="43"/>
                        <a:pt x="17" y="43"/>
                      </a:cubicBezTo>
                      <a:cubicBezTo>
                        <a:pt x="11" y="43"/>
                        <a:pt x="7" y="42"/>
                        <a:pt x="4" y="39"/>
                      </a:cubicBezTo>
                      <a:cubicBezTo>
                        <a:pt x="1" y="36"/>
                        <a:pt x="0" y="32"/>
                        <a:pt x="0" y="27"/>
                      </a:cubicBezTo>
                      <a:cubicBezTo>
                        <a:pt x="0" y="0"/>
                        <a:pt x="0" y="0"/>
                        <a:pt x="0" y="0"/>
                      </a:cubicBezTo>
                      <a:cubicBezTo>
                        <a:pt x="9" y="0"/>
                        <a:pt x="9" y="0"/>
                        <a:pt x="9" y="0"/>
                      </a:cubicBezTo>
                      <a:cubicBezTo>
                        <a:pt x="9" y="26"/>
                        <a:pt x="9" y="26"/>
                        <a:pt x="9" y="26"/>
                      </a:cubicBezTo>
                      <a:cubicBezTo>
                        <a:pt x="9" y="29"/>
                        <a:pt x="9" y="32"/>
                        <a:pt x="11" y="33"/>
                      </a:cubicBezTo>
                      <a:cubicBezTo>
                        <a:pt x="12" y="35"/>
                        <a:pt x="14" y="36"/>
                        <a:pt x="17" y="36"/>
                      </a:cubicBezTo>
                      <a:cubicBezTo>
                        <a:pt x="20" y="36"/>
                        <a:pt x="22" y="35"/>
                        <a:pt x="24" y="33"/>
                      </a:cubicBezTo>
                      <a:cubicBezTo>
                        <a:pt x="25" y="32"/>
                        <a:pt x="26" y="29"/>
                        <a:pt x="26" y="26"/>
                      </a:cubicBezTo>
                      <a:cubicBezTo>
                        <a:pt x="26" y="0"/>
                        <a:pt x="26" y="0"/>
                        <a:pt x="26" y="0"/>
                      </a:cubicBez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5" name="Freeform 177"/>
                <p:cNvSpPr>
                  <a:spLocks noEditPoints="1"/>
                </p:cNvSpPr>
                <p:nvPr/>
              </p:nvSpPr>
              <p:spPr bwMode="auto">
                <a:xfrm>
                  <a:off x="6379603" y="5427335"/>
                  <a:ext cx="74268" cy="108650"/>
                </a:xfrm>
                <a:custGeom>
                  <a:avLst/>
                  <a:gdLst>
                    <a:gd name="T0" fmla="*/ 29 w 29"/>
                    <a:gd name="T1" fmla="*/ 13 h 42"/>
                    <a:gd name="T2" fmla="*/ 25 w 29"/>
                    <a:gd name="T3" fmla="*/ 24 h 42"/>
                    <a:gd name="T4" fmla="*/ 13 w 29"/>
                    <a:gd name="T5" fmla="*/ 27 h 42"/>
                    <a:gd name="T6" fmla="*/ 9 w 29"/>
                    <a:gd name="T7" fmla="*/ 27 h 42"/>
                    <a:gd name="T8" fmla="*/ 9 w 29"/>
                    <a:gd name="T9" fmla="*/ 42 h 42"/>
                    <a:gd name="T10" fmla="*/ 0 w 29"/>
                    <a:gd name="T11" fmla="*/ 42 h 42"/>
                    <a:gd name="T12" fmla="*/ 0 w 29"/>
                    <a:gd name="T13" fmla="*/ 0 h 42"/>
                    <a:gd name="T14" fmla="*/ 13 w 29"/>
                    <a:gd name="T15" fmla="*/ 0 h 42"/>
                    <a:gd name="T16" fmla="*/ 25 w 29"/>
                    <a:gd name="T17" fmla="*/ 3 h 42"/>
                    <a:gd name="T18" fmla="*/ 29 w 29"/>
                    <a:gd name="T19" fmla="*/ 13 h 42"/>
                    <a:gd name="T20" fmla="*/ 9 w 29"/>
                    <a:gd name="T21" fmla="*/ 20 h 42"/>
                    <a:gd name="T22" fmla="*/ 12 w 29"/>
                    <a:gd name="T23" fmla="*/ 20 h 42"/>
                    <a:gd name="T24" fmla="*/ 18 w 29"/>
                    <a:gd name="T25" fmla="*/ 18 h 42"/>
                    <a:gd name="T26" fmla="*/ 20 w 29"/>
                    <a:gd name="T27" fmla="*/ 14 h 42"/>
                    <a:gd name="T28" fmla="*/ 18 w 29"/>
                    <a:gd name="T29" fmla="*/ 9 h 42"/>
                    <a:gd name="T30" fmla="*/ 13 w 29"/>
                    <a:gd name="T31" fmla="*/ 7 h 42"/>
                    <a:gd name="T32" fmla="*/ 9 w 29"/>
                    <a:gd name="T33" fmla="*/ 7 h 42"/>
                    <a:gd name="T34" fmla="*/ 9 w 29"/>
                    <a:gd name="T35"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29" y="13"/>
                      </a:moveTo>
                      <a:cubicBezTo>
                        <a:pt x="29" y="18"/>
                        <a:pt x="28" y="21"/>
                        <a:pt x="25" y="24"/>
                      </a:cubicBezTo>
                      <a:cubicBezTo>
                        <a:pt x="22" y="26"/>
                        <a:pt x="18" y="27"/>
                        <a:pt x="13" y="27"/>
                      </a:cubicBezTo>
                      <a:cubicBezTo>
                        <a:pt x="9" y="27"/>
                        <a:pt x="9" y="27"/>
                        <a:pt x="9" y="27"/>
                      </a:cubicBezTo>
                      <a:cubicBezTo>
                        <a:pt x="9" y="42"/>
                        <a:pt x="9" y="42"/>
                        <a:pt x="9" y="42"/>
                      </a:cubicBezTo>
                      <a:cubicBezTo>
                        <a:pt x="0" y="42"/>
                        <a:pt x="0" y="42"/>
                        <a:pt x="0" y="42"/>
                      </a:cubicBezTo>
                      <a:cubicBezTo>
                        <a:pt x="0" y="0"/>
                        <a:pt x="0" y="0"/>
                        <a:pt x="0" y="0"/>
                      </a:cubicBezTo>
                      <a:cubicBezTo>
                        <a:pt x="13" y="0"/>
                        <a:pt x="13" y="0"/>
                        <a:pt x="13" y="0"/>
                      </a:cubicBezTo>
                      <a:cubicBezTo>
                        <a:pt x="19" y="0"/>
                        <a:pt x="23" y="1"/>
                        <a:pt x="25" y="3"/>
                      </a:cubicBezTo>
                      <a:cubicBezTo>
                        <a:pt x="28" y="6"/>
                        <a:pt x="29" y="9"/>
                        <a:pt x="29" y="13"/>
                      </a:cubicBezTo>
                      <a:close/>
                      <a:moveTo>
                        <a:pt x="9" y="20"/>
                      </a:moveTo>
                      <a:cubicBezTo>
                        <a:pt x="12" y="20"/>
                        <a:pt x="12" y="20"/>
                        <a:pt x="12" y="20"/>
                      </a:cubicBezTo>
                      <a:cubicBezTo>
                        <a:pt x="15" y="20"/>
                        <a:pt x="17" y="19"/>
                        <a:pt x="18" y="18"/>
                      </a:cubicBezTo>
                      <a:cubicBezTo>
                        <a:pt x="19" y="17"/>
                        <a:pt x="20" y="16"/>
                        <a:pt x="20" y="14"/>
                      </a:cubicBezTo>
                      <a:cubicBezTo>
                        <a:pt x="20" y="11"/>
                        <a:pt x="20" y="10"/>
                        <a:pt x="18" y="9"/>
                      </a:cubicBezTo>
                      <a:cubicBezTo>
                        <a:pt x="17" y="8"/>
                        <a:pt x="15" y="7"/>
                        <a:pt x="13" y="7"/>
                      </a:cubicBezTo>
                      <a:cubicBezTo>
                        <a:pt x="9" y="7"/>
                        <a:pt x="9" y="7"/>
                        <a:pt x="9" y="7"/>
                      </a:cubicBezTo>
                      <a:lnTo>
                        <a:pt x="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6" name="Freeform 178"/>
                <p:cNvSpPr>
                  <a:spLocks/>
                </p:cNvSpPr>
                <p:nvPr/>
              </p:nvSpPr>
              <p:spPr bwMode="auto">
                <a:xfrm>
                  <a:off x="6474500" y="5427335"/>
                  <a:ext cx="66016" cy="108650"/>
                </a:xfrm>
                <a:custGeom>
                  <a:avLst/>
                  <a:gdLst>
                    <a:gd name="T0" fmla="*/ 48 w 48"/>
                    <a:gd name="T1" fmla="*/ 79 h 79"/>
                    <a:gd name="T2" fmla="*/ 0 w 48"/>
                    <a:gd name="T3" fmla="*/ 79 h 79"/>
                    <a:gd name="T4" fmla="*/ 0 w 48"/>
                    <a:gd name="T5" fmla="*/ 0 h 79"/>
                    <a:gd name="T6" fmla="*/ 48 w 48"/>
                    <a:gd name="T7" fmla="*/ 0 h 79"/>
                    <a:gd name="T8" fmla="*/ 48 w 48"/>
                    <a:gd name="T9" fmla="*/ 13 h 79"/>
                    <a:gd name="T10" fmla="*/ 17 w 48"/>
                    <a:gd name="T11" fmla="*/ 13 h 79"/>
                    <a:gd name="T12" fmla="*/ 17 w 48"/>
                    <a:gd name="T13" fmla="*/ 32 h 79"/>
                    <a:gd name="T14" fmla="*/ 46 w 48"/>
                    <a:gd name="T15" fmla="*/ 32 h 79"/>
                    <a:gd name="T16" fmla="*/ 46 w 48"/>
                    <a:gd name="T17" fmla="*/ 45 h 79"/>
                    <a:gd name="T18" fmla="*/ 17 w 48"/>
                    <a:gd name="T19" fmla="*/ 45 h 79"/>
                    <a:gd name="T20" fmla="*/ 17 w 48"/>
                    <a:gd name="T21" fmla="*/ 66 h 79"/>
                    <a:gd name="T22" fmla="*/ 48 w 48"/>
                    <a:gd name="T23" fmla="*/ 66 h 79"/>
                    <a:gd name="T24" fmla="*/ 48 w 48"/>
                    <a:gd name="T2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79">
                      <a:moveTo>
                        <a:pt x="48" y="79"/>
                      </a:moveTo>
                      <a:lnTo>
                        <a:pt x="0" y="79"/>
                      </a:lnTo>
                      <a:lnTo>
                        <a:pt x="0" y="0"/>
                      </a:lnTo>
                      <a:lnTo>
                        <a:pt x="48" y="0"/>
                      </a:lnTo>
                      <a:lnTo>
                        <a:pt x="48" y="13"/>
                      </a:lnTo>
                      <a:lnTo>
                        <a:pt x="17" y="13"/>
                      </a:lnTo>
                      <a:lnTo>
                        <a:pt x="17" y="32"/>
                      </a:lnTo>
                      <a:lnTo>
                        <a:pt x="46" y="32"/>
                      </a:lnTo>
                      <a:lnTo>
                        <a:pt x="46" y="45"/>
                      </a:lnTo>
                      <a:lnTo>
                        <a:pt x="17" y="45"/>
                      </a:lnTo>
                      <a:lnTo>
                        <a:pt x="17" y="66"/>
                      </a:lnTo>
                      <a:lnTo>
                        <a:pt x="48" y="66"/>
                      </a:lnTo>
                      <a:lnTo>
                        <a:pt x="48"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7" name="Freeform 179"/>
                <p:cNvSpPr>
                  <a:spLocks noEditPoints="1"/>
                </p:cNvSpPr>
                <p:nvPr/>
              </p:nvSpPr>
              <p:spPr bwMode="auto">
                <a:xfrm>
                  <a:off x="6563897" y="5427335"/>
                  <a:ext cx="88021" cy="108650"/>
                </a:xfrm>
                <a:custGeom>
                  <a:avLst/>
                  <a:gdLst>
                    <a:gd name="T0" fmla="*/ 9 w 34"/>
                    <a:gd name="T1" fmla="*/ 26 h 42"/>
                    <a:gd name="T2" fmla="*/ 9 w 34"/>
                    <a:gd name="T3" fmla="*/ 42 h 42"/>
                    <a:gd name="T4" fmla="*/ 0 w 34"/>
                    <a:gd name="T5" fmla="*/ 42 h 42"/>
                    <a:gd name="T6" fmla="*/ 0 w 34"/>
                    <a:gd name="T7" fmla="*/ 0 h 42"/>
                    <a:gd name="T8" fmla="*/ 12 w 34"/>
                    <a:gd name="T9" fmla="*/ 0 h 42"/>
                    <a:gd name="T10" fmla="*/ 25 w 34"/>
                    <a:gd name="T11" fmla="*/ 3 h 42"/>
                    <a:gd name="T12" fmla="*/ 29 w 34"/>
                    <a:gd name="T13" fmla="*/ 13 h 42"/>
                    <a:gd name="T14" fmla="*/ 27 w 34"/>
                    <a:gd name="T15" fmla="*/ 19 h 42"/>
                    <a:gd name="T16" fmla="*/ 21 w 34"/>
                    <a:gd name="T17" fmla="*/ 24 h 42"/>
                    <a:gd name="T18" fmla="*/ 34 w 34"/>
                    <a:gd name="T19" fmla="*/ 42 h 42"/>
                    <a:gd name="T20" fmla="*/ 24 w 34"/>
                    <a:gd name="T21" fmla="*/ 42 h 42"/>
                    <a:gd name="T22" fmla="*/ 13 w 34"/>
                    <a:gd name="T23" fmla="*/ 26 h 42"/>
                    <a:gd name="T24" fmla="*/ 9 w 34"/>
                    <a:gd name="T25" fmla="*/ 26 h 42"/>
                    <a:gd name="T26" fmla="*/ 9 w 34"/>
                    <a:gd name="T27" fmla="*/ 19 h 42"/>
                    <a:gd name="T28" fmla="*/ 11 w 34"/>
                    <a:gd name="T29" fmla="*/ 19 h 42"/>
                    <a:gd name="T30" fmla="*/ 18 w 34"/>
                    <a:gd name="T31" fmla="*/ 17 h 42"/>
                    <a:gd name="T32" fmla="*/ 20 w 34"/>
                    <a:gd name="T33" fmla="*/ 13 h 42"/>
                    <a:gd name="T34" fmla="*/ 18 w 34"/>
                    <a:gd name="T35" fmla="*/ 9 h 42"/>
                    <a:gd name="T36" fmla="*/ 11 w 34"/>
                    <a:gd name="T37" fmla="*/ 7 h 42"/>
                    <a:gd name="T38" fmla="*/ 9 w 34"/>
                    <a:gd name="T39" fmla="*/ 7 h 42"/>
                    <a:gd name="T40" fmla="*/ 9 w 34"/>
                    <a:gd name="T41"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42">
                      <a:moveTo>
                        <a:pt x="9" y="26"/>
                      </a:moveTo>
                      <a:cubicBezTo>
                        <a:pt x="9" y="42"/>
                        <a:pt x="9" y="42"/>
                        <a:pt x="9" y="42"/>
                      </a:cubicBezTo>
                      <a:cubicBezTo>
                        <a:pt x="0" y="42"/>
                        <a:pt x="0" y="42"/>
                        <a:pt x="0" y="42"/>
                      </a:cubicBezTo>
                      <a:cubicBezTo>
                        <a:pt x="0" y="0"/>
                        <a:pt x="0" y="0"/>
                        <a:pt x="0" y="0"/>
                      </a:cubicBezTo>
                      <a:cubicBezTo>
                        <a:pt x="12" y="0"/>
                        <a:pt x="12" y="0"/>
                        <a:pt x="12" y="0"/>
                      </a:cubicBezTo>
                      <a:cubicBezTo>
                        <a:pt x="18" y="0"/>
                        <a:pt x="22" y="1"/>
                        <a:pt x="25" y="3"/>
                      </a:cubicBezTo>
                      <a:cubicBezTo>
                        <a:pt x="28" y="5"/>
                        <a:pt x="29" y="8"/>
                        <a:pt x="29" y="13"/>
                      </a:cubicBezTo>
                      <a:cubicBezTo>
                        <a:pt x="29" y="15"/>
                        <a:pt x="28" y="17"/>
                        <a:pt x="27" y="19"/>
                      </a:cubicBezTo>
                      <a:cubicBezTo>
                        <a:pt x="25" y="21"/>
                        <a:pt x="24" y="23"/>
                        <a:pt x="21" y="24"/>
                      </a:cubicBezTo>
                      <a:cubicBezTo>
                        <a:pt x="27" y="34"/>
                        <a:pt x="32" y="40"/>
                        <a:pt x="34" y="42"/>
                      </a:cubicBezTo>
                      <a:cubicBezTo>
                        <a:pt x="24" y="42"/>
                        <a:pt x="24" y="42"/>
                        <a:pt x="24" y="42"/>
                      </a:cubicBezTo>
                      <a:cubicBezTo>
                        <a:pt x="13" y="26"/>
                        <a:pt x="13" y="26"/>
                        <a:pt x="13" y="26"/>
                      </a:cubicBezTo>
                      <a:lnTo>
                        <a:pt x="9" y="26"/>
                      </a:lnTo>
                      <a:close/>
                      <a:moveTo>
                        <a:pt x="9" y="19"/>
                      </a:moveTo>
                      <a:cubicBezTo>
                        <a:pt x="11" y="19"/>
                        <a:pt x="11" y="19"/>
                        <a:pt x="11" y="19"/>
                      </a:cubicBezTo>
                      <a:cubicBezTo>
                        <a:pt x="14" y="19"/>
                        <a:pt x="16" y="18"/>
                        <a:pt x="18" y="17"/>
                      </a:cubicBezTo>
                      <a:cubicBezTo>
                        <a:pt x="19" y="17"/>
                        <a:pt x="20" y="15"/>
                        <a:pt x="20" y="13"/>
                      </a:cubicBezTo>
                      <a:cubicBezTo>
                        <a:pt x="20" y="11"/>
                        <a:pt x="19" y="10"/>
                        <a:pt x="18" y="9"/>
                      </a:cubicBezTo>
                      <a:cubicBezTo>
                        <a:pt x="16" y="8"/>
                        <a:pt x="14" y="7"/>
                        <a:pt x="11" y="7"/>
                      </a:cubicBezTo>
                      <a:cubicBezTo>
                        <a:pt x="9" y="7"/>
                        <a:pt x="9" y="7"/>
                        <a:pt x="9" y="7"/>
                      </a:cubicBezTo>
                      <a:lnTo>
                        <a:pt x="9"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8" name="Freeform 180"/>
                <p:cNvSpPr>
                  <a:spLocks/>
                </p:cNvSpPr>
                <p:nvPr/>
              </p:nvSpPr>
              <p:spPr bwMode="auto">
                <a:xfrm>
                  <a:off x="6664295" y="5427335"/>
                  <a:ext cx="116903" cy="108650"/>
                </a:xfrm>
                <a:custGeom>
                  <a:avLst/>
                  <a:gdLst>
                    <a:gd name="T0" fmla="*/ 18 w 45"/>
                    <a:gd name="T1" fmla="*/ 42 h 42"/>
                    <a:gd name="T2" fmla="*/ 8 w 45"/>
                    <a:gd name="T3" fmla="*/ 9 h 42"/>
                    <a:gd name="T4" fmla="*/ 7 w 45"/>
                    <a:gd name="T5" fmla="*/ 9 h 42"/>
                    <a:gd name="T6" fmla="*/ 8 w 45"/>
                    <a:gd name="T7" fmla="*/ 23 h 42"/>
                    <a:gd name="T8" fmla="*/ 8 w 45"/>
                    <a:gd name="T9" fmla="*/ 42 h 42"/>
                    <a:gd name="T10" fmla="*/ 0 w 45"/>
                    <a:gd name="T11" fmla="*/ 42 h 42"/>
                    <a:gd name="T12" fmla="*/ 0 w 45"/>
                    <a:gd name="T13" fmla="*/ 0 h 42"/>
                    <a:gd name="T14" fmla="*/ 12 w 45"/>
                    <a:gd name="T15" fmla="*/ 0 h 42"/>
                    <a:gd name="T16" fmla="*/ 22 w 45"/>
                    <a:gd name="T17" fmla="*/ 33 h 42"/>
                    <a:gd name="T18" fmla="*/ 22 w 45"/>
                    <a:gd name="T19" fmla="*/ 33 h 42"/>
                    <a:gd name="T20" fmla="*/ 33 w 45"/>
                    <a:gd name="T21" fmla="*/ 0 h 42"/>
                    <a:gd name="T22" fmla="*/ 45 w 45"/>
                    <a:gd name="T23" fmla="*/ 0 h 42"/>
                    <a:gd name="T24" fmla="*/ 45 w 45"/>
                    <a:gd name="T25" fmla="*/ 42 h 42"/>
                    <a:gd name="T26" fmla="*/ 37 w 45"/>
                    <a:gd name="T27" fmla="*/ 42 h 42"/>
                    <a:gd name="T28" fmla="*/ 37 w 45"/>
                    <a:gd name="T29" fmla="*/ 22 h 42"/>
                    <a:gd name="T30" fmla="*/ 37 w 45"/>
                    <a:gd name="T31" fmla="*/ 19 h 42"/>
                    <a:gd name="T32" fmla="*/ 37 w 45"/>
                    <a:gd name="T33" fmla="*/ 9 h 42"/>
                    <a:gd name="T34" fmla="*/ 37 w 45"/>
                    <a:gd name="T35" fmla="*/ 9 h 42"/>
                    <a:gd name="T36" fmla="*/ 26 w 45"/>
                    <a:gd name="T37" fmla="*/ 42 h 42"/>
                    <a:gd name="T38" fmla="*/ 18 w 45"/>
                    <a:gd name="T3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2">
                      <a:moveTo>
                        <a:pt x="18" y="42"/>
                      </a:moveTo>
                      <a:cubicBezTo>
                        <a:pt x="8" y="9"/>
                        <a:pt x="8" y="9"/>
                        <a:pt x="8" y="9"/>
                      </a:cubicBezTo>
                      <a:cubicBezTo>
                        <a:pt x="7" y="9"/>
                        <a:pt x="7" y="9"/>
                        <a:pt x="7" y="9"/>
                      </a:cubicBezTo>
                      <a:cubicBezTo>
                        <a:pt x="8" y="16"/>
                        <a:pt x="8" y="20"/>
                        <a:pt x="8" y="23"/>
                      </a:cubicBezTo>
                      <a:cubicBezTo>
                        <a:pt x="8" y="42"/>
                        <a:pt x="8" y="42"/>
                        <a:pt x="8" y="42"/>
                      </a:cubicBezTo>
                      <a:cubicBezTo>
                        <a:pt x="0" y="42"/>
                        <a:pt x="0" y="42"/>
                        <a:pt x="0" y="42"/>
                      </a:cubicBezTo>
                      <a:cubicBezTo>
                        <a:pt x="0" y="0"/>
                        <a:pt x="0" y="0"/>
                        <a:pt x="0" y="0"/>
                      </a:cubicBezTo>
                      <a:cubicBezTo>
                        <a:pt x="12" y="0"/>
                        <a:pt x="12" y="0"/>
                        <a:pt x="12" y="0"/>
                      </a:cubicBezTo>
                      <a:cubicBezTo>
                        <a:pt x="22" y="33"/>
                        <a:pt x="22" y="33"/>
                        <a:pt x="22" y="33"/>
                      </a:cubicBezTo>
                      <a:cubicBezTo>
                        <a:pt x="22" y="33"/>
                        <a:pt x="22" y="33"/>
                        <a:pt x="22" y="33"/>
                      </a:cubicBezTo>
                      <a:cubicBezTo>
                        <a:pt x="33" y="0"/>
                        <a:pt x="33" y="0"/>
                        <a:pt x="33" y="0"/>
                      </a:cubicBezTo>
                      <a:cubicBezTo>
                        <a:pt x="45" y="0"/>
                        <a:pt x="45" y="0"/>
                        <a:pt x="45" y="0"/>
                      </a:cubicBezTo>
                      <a:cubicBezTo>
                        <a:pt x="45" y="42"/>
                        <a:pt x="45" y="42"/>
                        <a:pt x="45" y="42"/>
                      </a:cubicBezTo>
                      <a:cubicBezTo>
                        <a:pt x="37" y="42"/>
                        <a:pt x="37" y="42"/>
                        <a:pt x="37" y="42"/>
                      </a:cubicBezTo>
                      <a:cubicBezTo>
                        <a:pt x="37" y="22"/>
                        <a:pt x="37" y="22"/>
                        <a:pt x="37" y="22"/>
                      </a:cubicBezTo>
                      <a:cubicBezTo>
                        <a:pt x="37" y="21"/>
                        <a:pt x="37" y="20"/>
                        <a:pt x="37" y="19"/>
                      </a:cubicBezTo>
                      <a:cubicBezTo>
                        <a:pt x="37" y="18"/>
                        <a:pt x="37" y="15"/>
                        <a:pt x="37" y="9"/>
                      </a:cubicBezTo>
                      <a:cubicBezTo>
                        <a:pt x="37" y="9"/>
                        <a:pt x="37" y="9"/>
                        <a:pt x="37" y="9"/>
                      </a:cubicBezTo>
                      <a:cubicBezTo>
                        <a:pt x="26" y="42"/>
                        <a:pt x="26" y="42"/>
                        <a:pt x="26" y="42"/>
                      </a:cubicBezTo>
                      <a:lnTo>
                        <a:pt x="1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9" name="Freeform 181"/>
                <p:cNvSpPr>
                  <a:spLocks noEditPoints="1"/>
                </p:cNvSpPr>
                <p:nvPr/>
              </p:nvSpPr>
              <p:spPr bwMode="auto">
                <a:xfrm>
                  <a:off x="6796326" y="5427335"/>
                  <a:ext cx="107275" cy="108650"/>
                </a:xfrm>
                <a:custGeom>
                  <a:avLst/>
                  <a:gdLst>
                    <a:gd name="T0" fmla="*/ 31 w 41"/>
                    <a:gd name="T1" fmla="*/ 42 h 42"/>
                    <a:gd name="T2" fmla="*/ 28 w 41"/>
                    <a:gd name="T3" fmla="*/ 32 h 42"/>
                    <a:gd name="T4" fmla="*/ 12 w 41"/>
                    <a:gd name="T5" fmla="*/ 32 h 42"/>
                    <a:gd name="T6" fmla="*/ 9 w 41"/>
                    <a:gd name="T7" fmla="*/ 42 h 42"/>
                    <a:gd name="T8" fmla="*/ 0 w 41"/>
                    <a:gd name="T9" fmla="*/ 42 h 42"/>
                    <a:gd name="T10" fmla="*/ 15 w 41"/>
                    <a:gd name="T11" fmla="*/ 0 h 42"/>
                    <a:gd name="T12" fmla="*/ 26 w 41"/>
                    <a:gd name="T13" fmla="*/ 0 h 42"/>
                    <a:gd name="T14" fmla="*/ 41 w 41"/>
                    <a:gd name="T15" fmla="*/ 42 h 42"/>
                    <a:gd name="T16" fmla="*/ 31 w 41"/>
                    <a:gd name="T17" fmla="*/ 42 h 42"/>
                    <a:gd name="T18" fmla="*/ 26 w 41"/>
                    <a:gd name="T19" fmla="*/ 25 h 42"/>
                    <a:gd name="T20" fmla="*/ 21 w 41"/>
                    <a:gd name="T21" fmla="*/ 9 h 42"/>
                    <a:gd name="T22" fmla="*/ 20 w 41"/>
                    <a:gd name="T23" fmla="*/ 6 h 42"/>
                    <a:gd name="T24" fmla="*/ 15 w 41"/>
                    <a:gd name="T25" fmla="*/ 25 h 42"/>
                    <a:gd name="T26" fmla="*/ 26 w 41"/>
                    <a:gd name="T27" fmla="*/ 2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42">
                      <a:moveTo>
                        <a:pt x="31" y="42"/>
                      </a:moveTo>
                      <a:cubicBezTo>
                        <a:pt x="28" y="32"/>
                        <a:pt x="28" y="32"/>
                        <a:pt x="28" y="32"/>
                      </a:cubicBezTo>
                      <a:cubicBezTo>
                        <a:pt x="12" y="32"/>
                        <a:pt x="12" y="32"/>
                        <a:pt x="12" y="32"/>
                      </a:cubicBezTo>
                      <a:cubicBezTo>
                        <a:pt x="9" y="42"/>
                        <a:pt x="9" y="42"/>
                        <a:pt x="9" y="42"/>
                      </a:cubicBezTo>
                      <a:cubicBezTo>
                        <a:pt x="0" y="42"/>
                        <a:pt x="0" y="42"/>
                        <a:pt x="0" y="42"/>
                      </a:cubicBezTo>
                      <a:cubicBezTo>
                        <a:pt x="15" y="0"/>
                        <a:pt x="15" y="0"/>
                        <a:pt x="15" y="0"/>
                      </a:cubicBezTo>
                      <a:cubicBezTo>
                        <a:pt x="26" y="0"/>
                        <a:pt x="26" y="0"/>
                        <a:pt x="26" y="0"/>
                      </a:cubicBezTo>
                      <a:cubicBezTo>
                        <a:pt x="41" y="42"/>
                        <a:pt x="41" y="42"/>
                        <a:pt x="41" y="42"/>
                      </a:cubicBezTo>
                      <a:lnTo>
                        <a:pt x="31" y="42"/>
                      </a:lnTo>
                      <a:close/>
                      <a:moveTo>
                        <a:pt x="26" y="25"/>
                      </a:moveTo>
                      <a:cubicBezTo>
                        <a:pt x="23" y="16"/>
                        <a:pt x="21" y="10"/>
                        <a:pt x="21" y="9"/>
                      </a:cubicBezTo>
                      <a:cubicBezTo>
                        <a:pt x="21" y="8"/>
                        <a:pt x="20" y="7"/>
                        <a:pt x="20" y="6"/>
                      </a:cubicBezTo>
                      <a:cubicBezTo>
                        <a:pt x="20" y="9"/>
                        <a:pt x="18" y="15"/>
                        <a:pt x="15" y="25"/>
                      </a:cubicBezTo>
                      <a:lnTo>
                        <a:pt x="2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80" name="Freeform 182"/>
                <p:cNvSpPr>
                  <a:spLocks noEditPoints="1"/>
                </p:cNvSpPr>
                <p:nvPr/>
              </p:nvSpPr>
              <p:spPr bwMode="auto">
                <a:xfrm>
                  <a:off x="6915980" y="5427335"/>
                  <a:ext cx="88021" cy="108650"/>
                </a:xfrm>
                <a:custGeom>
                  <a:avLst/>
                  <a:gdLst>
                    <a:gd name="T0" fmla="*/ 9 w 34"/>
                    <a:gd name="T1" fmla="*/ 26 h 42"/>
                    <a:gd name="T2" fmla="*/ 9 w 34"/>
                    <a:gd name="T3" fmla="*/ 42 h 42"/>
                    <a:gd name="T4" fmla="*/ 0 w 34"/>
                    <a:gd name="T5" fmla="*/ 42 h 42"/>
                    <a:gd name="T6" fmla="*/ 0 w 34"/>
                    <a:gd name="T7" fmla="*/ 0 h 42"/>
                    <a:gd name="T8" fmla="*/ 12 w 34"/>
                    <a:gd name="T9" fmla="*/ 0 h 42"/>
                    <a:gd name="T10" fmla="*/ 25 w 34"/>
                    <a:gd name="T11" fmla="*/ 3 h 42"/>
                    <a:gd name="T12" fmla="*/ 29 w 34"/>
                    <a:gd name="T13" fmla="*/ 13 h 42"/>
                    <a:gd name="T14" fmla="*/ 27 w 34"/>
                    <a:gd name="T15" fmla="*/ 19 h 42"/>
                    <a:gd name="T16" fmla="*/ 21 w 34"/>
                    <a:gd name="T17" fmla="*/ 24 h 42"/>
                    <a:gd name="T18" fmla="*/ 34 w 34"/>
                    <a:gd name="T19" fmla="*/ 42 h 42"/>
                    <a:gd name="T20" fmla="*/ 24 w 34"/>
                    <a:gd name="T21" fmla="*/ 42 h 42"/>
                    <a:gd name="T22" fmla="*/ 14 w 34"/>
                    <a:gd name="T23" fmla="*/ 26 h 42"/>
                    <a:gd name="T24" fmla="*/ 9 w 34"/>
                    <a:gd name="T25" fmla="*/ 26 h 42"/>
                    <a:gd name="T26" fmla="*/ 9 w 34"/>
                    <a:gd name="T27" fmla="*/ 19 h 42"/>
                    <a:gd name="T28" fmla="*/ 12 w 34"/>
                    <a:gd name="T29" fmla="*/ 19 h 42"/>
                    <a:gd name="T30" fmla="*/ 18 w 34"/>
                    <a:gd name="T31" fmla="*/ 17 h 42"/>
                    <a:gd name="T32" fmla="*/ 20 w 34"/>
                    <a:gd name="T33" fmla="*/ 13 h 42"/>
                    <a:gd name="T34" fmla="*/ 18 w 34"/>
                    <a:gd name="T35" fmla="*/ 9 h 42"/>
                    <a:gd name="T36" fmla="*/ 12 w 34"/>
                    <a:gd name="T37" fmla="*/ 7 h 42"/>
                    <a:gd name="T38" fmla="*/ 9 w 34"/>
                    <a:gd name="T39" fmla="*/ 7 h 42"/>
                    <a:gd name="T40" fmla="*/ 9 w 34"/>
                    <a:gd name="T41"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42">
                      <a:moveTo>
                        <a:pt x="9" y="26"/>
                      </a:moveTo>
                      <a:cubicBezTo>
                        <a:pt x="9" y="42"/>
                        <a:pt x="9" y="42"/>
                        <a:pt x="9" y="42"/>
                      </a:cubicBezTo>
                      <a:cubicBezTo>
                        <a:pt x="0" y="42"/>
                        <a:pt x="0" y="42"/>
                        <a:pt x="0" y="42"/>
                      </a:cubicBezTo>
                      <a:cubicBezTo>
                        <a:pt x="0" y="0"/>
                        <a:pt x="0" y="0"/>
                        <a:pt x="0" y="0"/>
                      </a:cubicBezTo>
                      <a:cubicBezTo>
                        <a:pt x="12" y="0"/>
                        <a:pt x="12" y="0"/>
                        <a:pt x="12" y="0"/>
                      </a:cubicBezTo>
                      <a:cubicBezTo>
                        <a:pt x="18" y="0"/>
                        <a:pt x="22" y="1"/>
                        <a:pt x="25" y="3"/>
                      </a:cubicBezTo>
                      <a:cubicBezTo>
                        <a:pt x="28" y="5"/>
                        <a:pt x="29" y="8"/>
                        <a:pt x="29" y="13"/>
                      </a:cubicBezTo>
                      <a:cubicBezTo>
                        <a:pt x="29" y="15"/>
                        <a:pt x="29" y="17"/>
                        <a:pt x="27" y="19"/>
                      </a:cubicBezTo>
                      <a:cubicBezTo>
                        <a:pt x="26" y="21"/>
                        <a:pt x="24" y="23"/>
                        <a:pt x="21" y="24"/>
                      </a:cubicBezTo>
                      <a:cubicBezTo>
                        <a:pt x="28" y="34"/>
                        <a:pt x="32" y="40"/>
                        <a:pt x="34" y="42"/>
                      </a:cubicBezTo>
                      <a:cubicBezTo>
                        <a:pt x="24" y="42"/>
                        <a:pt x="24" y="42"/>
                        <a:pt x="24" y="42"/>
                      </a:cubicBezTo>
                      <a:cubicBezTo>
                        <a:pt x="14" y="26"/>
                        <a:pt x="14" y="26"/>
                        <a:pt x="14" y="26"/>
                      </a:cubicBezTo>
                      <a:lnTo>
                        <a:pt x="9" y="26"/>
                      </a:lnTo>
                      <a:close/>
                      <a:moveTo>
                        <a:pt x="9" y="19"/>
                      </a:moveTo>
                      <a:cubicBezTo>
                        <a:pt x="12" y="19"/>
                        <a:pt x="12" y="19"/>
                        <a:pt x="12" y="19"/>
                      </a:cubicBezTo>
                      <a:cubicBezTo>
                        <a:pt x="15" y="19"/>
                        <a:pt x="17" y="18"/>
                        <a:pt x="18" y="17"/>
                      </a:cubicBezTo>
                      <a:cubicBezTo>
                        <a:pt x="20" y="17"/>
                        <a:pt x="20" y="15"/>
                        <a:pt x="20" y="13"/>
                      </a:cubicBezTo>
                      <a:cubicBezTo>
                        <a:pt x="20" y="11"/>
                        <a:pt x="20" y="10"/>
                        <a:pt x="18" y="9"/>
                      </a:cubicBezTo>
                      <a:cubicBezTo>
                        <a:pt x="17" y="8"/>
                        <a:pt x="15" y="7"/>
                        <a:pt x="12" y="7"/>
                      </a:cubicBezTo>
                      <a:cubicBezTo>
                        <a:pt x="9" y="7"/>
                        <a:pt x="9" y="7"/>
                        <a:pt x="9" y="7"/>
                      </a:cubicBezTo>
                      <a:lnTo>
                        <a:pt x="9"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81" name="Freeform 183"/>
                <p:cNvSpPr>
                  <a:spLocks/>
                </p:cNvSpPr>
                <p:nvPr/>
              </p:nvSpPr>
              <p:spPr bwMode="auto">
                <a:xfrm>
                  <a:off x="7017754" y="5427335"/>
                  <a:ext cx="88021" cy="108650"/>
                </a:xfrm>
                <a:custGeom>
                  <a:avLst/>
                  <a:gdLst>
                    <a:gd name="T0" fmla="*/ 64 w 64"/>
                    <a:gd name="T1" fmla="*/ 79 h 79"/>
                    <a:gd name="T2" fmla="*/ 45 w 64"/>
                    <a:gd name="T3" fmla="*/ 79 h 79"/>
                    <a:gd name="T4" fmla="*/ 24 w 64"/>
                    <a:gd name="T5" fmla="*/ 47 h 79"/>
                    <a:gd name="T6" fmla="*/ 17 w 64"/>
                    <a:gd name="T7" fmla="*/ 51 h 79"/>
                    <a:gd name="T8" fmla="*/ 17 w 64"/>
                    <a:gd name="T9" fmla="*/ 79 h 79"/>
                    <a:gd name="T10" fmla="*/ 0 w 64"/>
                    <a:gd name="T11" fmla="*/ 79 h 79"/>
                    <a:gd name="T12" fmla="*/ 0 w 64"/>
                    <a:gd name="T13" fmla="*/ 0 h 79"/>
                    <a:gd name="T14" fmla="*/ 17 w 64"/>
                    <a:gd name="T15" fmla="*/ 0 h 79"/>
                    <a:gd name="T16" fmla="*/ 17 w 64"/>
                    <a:gd name="T17" fmla="*/ 36 h 79"/>
                    <a:gd name="T18" fmla="*/ 24 w 64"/>
                    <a:gd name="T19" fmla="*/ 27 h 79"/>
                    <a:gd name="T20" fmla="*/ 45 w 64"/>
                    <a:gd name="T21" fmla="*/ 0 h 79"/>
                    <a:gd name="T22" fmla="*/ 64 w 64"/>
                    <a:gd name="T23" fmla="*/ 0 h 79"/>
                    <a:gd name="T24" fmla="*/ 37 w 64"/>
                    <a:gd name="T25" fmla="*/ 36 h 79"/>
                    <a:gd name="T26" fmla="*/ 64 w 64"/>
                    <a:gd name="T2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79">
                      <a:moveTo>
                        <a:pt x="64" y="79"/>
                      </a:moveTo>
                      <a:lnTo>
                        <a:pt x="45" y="79"/>
                      </a:lnTo>
                      <a:lnTo>
                        <a:pt x="24" y="47"/>
                      </a:lnTo>
                      <a:lnTo>
                        <a:pt x="17" y="51"/>
                      </a:lnTo>
                      <a:lnTo>
                        <a:pt x="17" y="79"/>
                      </a:lnTo>
                      <a:lnTo>
                        <a:pt x="0" y="79"/>
                      </a:lnTo>
                      <a:lnTo>
                        <a:pt x="0" y="0"/>
                      </a:lnTo>
                      <a:lnTo>
                        <a:pt x="17" y="0"/>
                      </a:lnTo>
                      <a:lnTo>
                        <a:pt x="17" y="36"/>
                      </a:lnTo>
                      <a:lnTo>
                        <a:pt x="24" y="27"/>
                      </a:lnTo>
                      <a:lnTo>
                        <a:pt x="45" y="0"/>
                      </a:lnTo>
                      <a:lnTo>
                        <a:pt x="64" y="0"/>
                      </a:lnTo>
                      <a:lnTo>
                        <a:pt x="37" y="36"/>
                      </a:lnTo>
                      <a:lnTo>
                        <a:pt x="64"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82" name="Freeform 184"/>
                <p:cNvSpPr>
                  <a:spLocks/>
                </p:cNvSpPr>
                <p:nvPr/>
              </p:nvSpPr>
              <p:spPr bwMode="auto">
                <a:xfrm>
                  <a:off x="7120903" y="5427335"/>
                  <a:ext cx="61890" cy="108650"/>
                </a:xfrm>
                <a:custGeom>
                  <a:avLst/>
                  <a:gdLst>
                    <a:gd name="T0" fmla="*/ 45 w 45"/>
                    <a:gd name="T1" fmla="*/ 79 h 79"/>
                    <a:gd name="T2" fmla="*/ 0 w 45"/>
                    <a:gd name="T3" fmla="*/ 79 h 79"/>
                    <a:gd name="T4" fmla="*/ 0 w 45"/>
                    <a:gd name="T5" fmla="*/ 0 h 79"/>
                    <a:gd name="T6" fmla="*/ 45 w 45"/>
                    <a:gd name="T7" fmla="*/ 0 h 79"/>
                    <a:gd name="T8" fmla="*/ 45 w 45"/>
                    <a:gd name="T9" fmla="*/ 13 h 79"/>
                    <a:gd name="T10" fmla="*/ 17 w 45"/>
                    <a:gd name="T11" fmla="*/ 13 h 79"/>
                    <a:gd name="T12" fmla="*/ 17 w 45"/>
                    <a:gd name="T13" fmla="*/ 32 h 79"/>
                    <a:gd name="T14" fmla="*/ 44 w 45"/>
                    <a:gd name="T15" fmla="*/ 32 h 79"/>
                    <a:gd name="T16" fmla="*/ 44 w 45"/>
                    <a:gd name="T17" fmla="*/ 45 h 79"/>
                    <a:gd name="T18" fmla="*/ 17 w 45"/>
                    <a:gd name="T19" fmla="*/ 45 h 79"/>
                    <a:gd name="T20" fmla="*/ 17 w 45"/>
                    <a:gd name="T21" fmla="*/ 66 h 79"/>
                    <a:gd name="T22" fmla="*/ 45 w 45"/>
                    <a:gd name="T23" fmla="*/ 66 h 79"/>
                    <a:gd name="T24" fmla="*/ 45 w 45"/>
                    <a:gd name="T2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79">
                      <a:moveTo>
                        <a:pt x="45" y="79"/>
                      </a:moveTo>
                      <a:lnTo>
                        <a:pt x="0" y="79"/>
                      </a:lnTo>
                      <a:lnTo>
                        <a:pt x="0" y="0"/>
                      </a:lnTo>
                      <a:lnTo>
                        <a:pt x="45" y="0"/>
                      </a:lnTo>
                      <a:lnTo>
                        <a:pt x="45" y="13"/>
                      </a:lnTo>
                      <a:lnTo>
                        <a:pt x="17" y="13"/>
                      </a:lnTo>
                      <a:lnTo>
                        <a:pt x="17" y="32"/>
                      </a:lnTo>
                      <a:lnTo>
                        <a:pt x="44" y="32"/>
                      </a:lnTo>
                      <a:lnTo>
                        <a:pt x="44" y="45"/>
                      </a:lnTo>
                      <a:lnTo>
                        <a:pt x="17" y="45"/>
                      </a:lnTo>
                      <a:lnTo>
                        <a:pt x="17" y="66"/>
                      </a:lnTo>
                      <a:lnTo>
                        <a:pt x="45" y="66"/>
                      </a:lnTo>
                      <a:lnTo>
                        <a:pt x="45"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83" name="Freeform 185"/>
                <p:cNvSpPr>
                  <a:spLocks/>
                </p:cNvSpPr>
                <p:nvPr/>
              </p:nvSpPr>
              <p:spPr bwMode="auto">
                <a:xfrm>
                  <a:off x="7196546" y="5427335"/>
                  <a:ext cx="82519" cy="108650"/>
                </a:xfrm>
                <a:custGeom>
                  <a:avLst/>
                  <a:gdLst>
                    <a:gd name="T0" fmla="*/ 38 w 60"/>
                    <a:gd name="T1" fmla="*/ 79 h 79"/>
                    <a:gd name="T2" fmla="*/ 21 w 60"/>
                    <a:gd name="T3" fmla="*/ 79 h 79"/>
                    <a:gd name="T4" fmla="*/ 21 w 60"/>
                    <a:gd name="T5" fmla="*/ 15 h 79"/>
                    <a:gd name="T6" fmla="*/ 0 w 60"/>
                    <a:gd name="T7" fmla="*/ 15 h 79"/>
                    <a:gd name="T8" fmla="*/ 0 w 60"/>
                    <a:gd name="T9" fmla="*/ 0 h 79"/>
                    <a:gd name="T10" fmla="*/ 60 w 60"/>
                    <a:gd name="T11" fmla="*/ 0 h 79"/>
                    <a:gd name="T12" fmla="*/ 60 w 60"/>
                    <a:gd name="T13" fmla="*/ 15 h 79"/>
                    <a:gd name="T14" fmla="*/ 38 w 60"/>
                    <a:gd name="T15" fmla="*/ 15 h 79"/>
                    <a:gd name="T16" fmla="*/ 38 w 6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79">
                      <a:moveTo>
                        <a:pt x="38" y="79"/>
                      </a:moveTo>
                      <a:lnTo>
                        <a:pt x="21" y="79"/>
                      </a:lnTo>
                      <a:lnTo>
                        <a:pt x="21" y="15"/>
                      </a:lnTo>
                      <a:lnTo>
                        <a:pt x="0" y="15"/>
                      </a:lnTo>
                      <a:lnTo>
                        <a:pt x="0" y="0"/>
                      </a:lnTo>
                      <a:lnTo>
                        <a:pt x="60" y="0"/>
                      </a:lnTo>
                      <a:lnTo>
                        <a:pt x="60" y="15"/>
                      </a:lnTo>
                      <a:lnTo>
                        <a:pt x="38" y="15"/>
                      </a:lnTo>
                      <a:lnTo>
                        <a:pt x="38"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sp>
            <p:nvSpPr>
              <p:cNvPr id="284" name="Rectangle 186"/>
              <p:cNvSpPr>
                <a:spLocks noChangeArrowheads="1"/>
              </p:cNvSpPr>
              <p:nvPr/>
            </p:nvSpPr>
            <p:spPr bwMode="auto">
              <a:xfrm>
                <a:off x="6080617" y="5760596"/>
                <a:ext cx="592213" cy="564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5" name="Rectangle 187"/>
              <p:cNvSpPr>
                <a:spLocks noChangeArrowheads="1"/>
              </p:cNvSpPr>
              <p:nvPr/>
            </p:nvSpPr>
            <p:spPr bwMode="auto">
              <a:xfrm>
                <a:off x="6080617" y="5869693"/>
                <a:ext cx="592213" cy="583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6" name="Rectangle 188"/>
              <p:cNvSpPr>
                <a:spLocks noChangeArrowheads="1"/>
              </p:cNvSpPr>
              <p:nvPr/>
            </p:nvSpPr>
            <p:spPr bwMode="auto">
              <a:xfrm>
                <a:off x="6080617" y="5980672"/>
                <a:ext cx="592213" cy="601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7" name="Rectangle 189"/>
              <p:cNvSpPr>
                <a:spLocks noChangeArrowheads="1"/>
              </p:cNvSpPr>
              <p:nvPr/>
            </p:nvSpPr>
            <p:spPr bwMode="auto">
              <a:xfrm>
                <a:off x="6798794" y="5760596"/>
                <a:ext cx="592213" cy="564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8" name="Rectangle 190"/>
              <p:cNvSpPr>
                <a:spLocks noChangeArrowheads="1"/>
              </p:cNvSpPr>
              <p:nvPr/>
            </p:nvSpPr>
            <p:spPr bwMode="auto">
              <a:xfrm>
                <a:off x="6798794" y="5869693"/>
                <a:ext cx="592213" cy="583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9" name="Rectangle 191"/>
              <p:cNvSpPr>
                <a:spLocks noChangeArrowheads="1"/>
              </p:cNvSpPr>
              <p:nvPr/>
            </p:nvSpPr>
            <p:spPr bwMode="auto">
              <a:xfrm>
                <a:off x="6798794" y="5980672"/>
                <a:ext cx="592213" cy="601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90" name="Rectangle 192"/>
              <p:cNvSpPr>
                <a:spLocks noChangeArrowheads="1"/>
              </p:cNvSpPr>
              <p:nvPr/>
            </p:nvSpPr>
            <p:spPr bwMode="auto">
              <a:xfrm>
                <a:off x="6080617" y="6089770"/>
                <a:ext cx="94002" cy="270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91" name="Rectangle 193"/>
              <p:cNvSpPr>
                <a:spLocks noChangeArrowheads="1"/>
              </p:cNvSpPr>
              <p:nvPr/>
            </p:nvSpPr>
            <p:spPr bwMode="auto">
              <a:xfrm>
                <a:off x="6229140" y="6089770"/>
                <a:ext cx="90242" cy="270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92" name="Rectangle 194"/>
              <p:cNvSpPr>
                <a:spLocks noChangeArrowheads="1"/>
              </p:cNvSpPr>
              <p:nvPr/>
            </p:nvSpPr>
            <p:spPr bwMode="auto">
              <a:xfrm>
                <a:off x="7152242" y="6089770"/>
                <a:ext cx="90242" cy="270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93" name="Rectangle 195"/>
              <p:cNvSpPr>
                <a:spLocks noChangeArrowheads="1"/>
              </p:cNvSpPr>
              <p:nvPr/>
            </p:nvSpPr>
            <p:spPr bwMode="auto">
              <a:xfrm>
                <a:off x="7297005" y="6089770"/>
                <a:ext cx="94002" cy="270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grpSp>
          <p:nvGrpSpPr>
            <p:cNvPr id="209" name="Group 208"/>
            <p:cNvGrpSpPr>
              <a:grpSpLocks/>
            </p:cNvGrpSpPr>
            <p:nvPr/>
          </p:nvGrpSpPr>
          <p:grpSpPr bwMode="auto">
            <a:xfrm>
              <a:off x="8134351" y="2289176"/>
              <a:ext cx="384175" cy="1198563"/>
              <a:chOff x="8814494" y="1909087"/>
              <a:chExt cx="510988" cy="1598634"/>
            </a:xfrm>
          </p:grpSpPr>
          <p:sp>
            <p:nvSpPr>
              <p:cNvPr id="192" name="Freeform 122"/>
              <p:cNvSpPr>
                <a:spLocks/>
              </p:cNvSpPr>
              <p:nvPr/>
            </p:nvSpPr>
            <p:spPr bwMode="auto">
              <a:xfrm>
                <a:off x="8814494" y="1909087"/>
                <a:ext cx="510988" cy="1598634"/>
              </a:xfrm>
              <a:custGeom>
                <a:avLst/>
                <a:gdLst>
                  <a:gd name="T0" fmla="*/ 498 w 498"/>
                  <a:gd name="T1" fmla="*/ 1558 h 1558"/>
                  <a:gd name="T2" fmla="*/ 0 w 498"/>
                  <a:gd name="T3" fmla="*/ 1558 h 1558"/>
                  <a:gd name="T4" fmla="*/ 0 w 498"/>
                  <a:gd name="T5" fmla="*/ 98 h 1558"/>
                  <a:gd name="T6" fmla="*/ 498 w 498"/>
                  <a:gd name="T7" fmla="*/ 0 h 1558"/>
                  <a:gd name="T8" fmla="*/ 498 w 498"/>
                  <a:gd name="T9" fmla="*/ 1558 h 1558"/>
                </a:gdLst>
                <a:ahLst/>
                <a:cxnLst>
                  <a:cxn ang="0">
                    <a:pos x="T0" y="T1"/>
                  </a:cxn>
                  <a:cxn ang="0">
                    <a:pos x="T2" y="T3"/>
                  </a:cxn>
                  <a:cxn ang="0">
                    <a:pos x="T4" y="T5"/>
                  </a:cxn>
                  <a:cxn ang="0">
                    <a:pos x="T6" y="T7"/>
                  </a:cxn>
                  <a:cxn ang="0">
                    <a:pos x="T8" y="T9"/>
                  </a:cxn>
                </a:cxnLst>
                <a:rect l="0" t="0" r="r" b="b"/>
                <a:pathLst>
                  <a:path w="498" h="1558">
                    <a:moveTo>
                      <a:pt x="498" y="1558"/>
                    </a:moveTo>
                    <a:lnTo>
                      <a:pt x="0" y="1558"/>
                    </a:lnTo>
                    <a:lnTo>
                      <a:pt x="0" y="98"/>
                    </a:lnTo>
                    <a:lnTo>
                      <a:pt x="498" y="0"/>
                    </a:lnTo>
                    <a:lnTo>
                      <a:pt x="498" y="1558"/>
                    </a:lnTo>
                    <a:close/>
                  </a:path>
                </a:pathLst>
              </a:custGeom>
              <a:solidFill>
                <a:schemeClr val="accent5">
                  <a:lumMod val="60000"/>
                  <a:lumOff val="40000"/>
                </a:schemeClr>
              </a:solidFill>
              <a:ln>
                <a:noFill/>
              </a:ln>
            </p:spPr>
            <p:txBody>
              <a:bodyPr lIns="68580" tIns="34290" rIns="68580" bIns="34290"/>
              <a:lstStyle/>
              <a:p>
                <a:pPr>
                  <a:defRPr/>
                </a:pPr>
                <a:endParaRPr lang="en-US" sz="1350"/>
              </a:p>
            </p:txBody>
          </p:sp>
          <p:sp>
            <p:nvSpPr>
              <p:cNvPr id="193" name="Rectangle 123"/>
              <p:cNvSpPr>
                <a:spLocks noChangeArrowheads="1"/>
              </p:cNvSpPr>
              <p:nvPr/>
            </p:nvSpPr>
            <p:spPr bwMode="auto">
              <a:xfrm>
                <a:off x="8924293" y="248925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4" name="Rectangle 124"/>
              <p:cNvSpPr>
                <a:spLocks noChangeArrowheads="1"/>
              </p:cNvSpPr>
              <p:nvPr/>
            </p:nvSpPr>
            <p:spPr bwMode="auto">
              <a:xfrm>
                <a:off x="9110107" y="248925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5" name="Rectangle 125"/>
              <p:cNvSpPr>
                <a:spLocks noChangeArrowheads="1"/>
              </p:cNvSpPr>
              <p:nvPr/>
            </p:nvSpPr>
            <p:spPr bwMode="auto">
              <a:xfrm>
                <a:off x="8924293" y="2654410"/>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6" name="Rectangle 126"/>
              <p:cNvSpPr>
                <a:spLocks noChangeArrowheads="1"/>
              </p:cNvSpPr>
              <p:nvPr/>
            </p:nvSpPr>
            <p:spPr bwMode="auto">
              <a:xfrm>
                <a:off x="9110107" y="2654410"/>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7" name="Rectangle 127"/>
              <p:cNvSpPr>
                <a:spLocks noChangeArrowheads="1"/>
              </p:cNvSpPr>
              <p:nvPr/>
            </p:nvSpPr>
            <p:spPr bwMode="auto">
              <a:xfrm>
                <a:off x="8924293" y="2821685"/>
                <a:ext cx="105576" cy="103752"/>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8" name="Rectangle 128"/>
              <p:cNvSpPr>
                <a:spLocks noChangeArrowheads="1"/>
              </p:cNvSpPr>
              <p:nvPr/>
            </p:nvSpPr>
            <p:spPr bwMode="auto">
              <a:xfrm>
                <a:off x="9110107" y="2821685"/>
                <a:ext cx="105576" cy="103752"/>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9" name="Rectangle 129"/>
              <p:cNvSpPr>
                <a:spLocks noChangeArrowheads="1"/>
              </p:cNvSpPr>
              <p:nvPr/>
            </p:nvSpPr>
            <p:spPr bwMode="auto">
              <a:xfrm>
                <a:off x="8924293" y="2154705"/>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0" name="Rectangle 130"/>
              <p:cNvSpPr>
                <a:spLocks noChangeArrowheads="1"/>
              </p:cNvSpPr>
              <p:nvPr/>
            </p:nvSpPr>
            <p:spPr bwMode="auto">
              <a:xfrm>
                <a:off x="9110107" y="2154705"/>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1" name="Rectangle 131"/>
              <p:cNvSpPr>
                <a:spLocks noChangeArrowheads="1"/>
              </p:cNvSpPr>
              <p:nvPr/>
            </p:nvSpPr>
            <p:spPr bwMode="auto">
              <a:xfrm>
                <a:off x="8924293" y="2319862"/>
                <a:ext cx="105576" cy="105870"/>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2" name="Rectangle 132"/>
              <p:cNvSpPr>
                <a:spLocks noChangeArrowheads="1"/>
              </p:cNvSpPr>
              <p:nvPr/>
            </p:nvSpPr>
            <p:spPr bwMode="auto">
              <a:xfrm>
                <a:off x="9110107" y="2319862"/>
                <a:ext cx="105576" cy="105870"/>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3" name="Rectangle 133"/>
              <p:cNvSpPr>
                <a:spLocks noChangeArrowheads="1"/>
              </p:cNvSpPr>
              <p:nvPr/>
            </p:nvSpPr>
            <p:spPr bwMode="auto">
              <a:xfrm>
                <a:off x="8924293" y="2988959"/>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4" name="Rectangle 134"/>
              <p:cNvSpPr>
                <a:spLocks noChangeArrowheads="1"/>
              </p:cNvSpPr>
              <p:nvPr/>
            </p:nvSpPr>
            <p:spPr bwMode="auto">
              <a:xfrm>
                <a:off x="9110107" y="2988959"/>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5" name="Rectangle 135"/>
              <p:cNvSpPr>
                <a:spLocks noChangeArrowheads="1"/>
              </p:cNvSpPr>
              <p:nvPr/>
            </p:nvSpPr>
            <p:spPr bwMode="auto">
              <a:xfrm>
                <a:off x="8924293" y="315623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6" name="Rectangle 136"/>
              <p:cNvSpPr>
                <a:spLocks noChangeArrowheads="1"/>
              </p:cNvSpPr>
              <p:nvPr/>
            </p:nvSpPr>
            <p:spPr bwMode="auto">
              <a:xfrm>
                <a:off x="9110107" y="315623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7" name="Rectangle 137"/>
              <p:cNvSpPr>
                <a:spLocks noChangeArrowheads="1"/>
              </p:cNvSpPr>
              <p:nvPr/>
            </p:nvSpPr>
            <p:spPr bwMode="auto">
              <a:xfrm>
                <a:off x="8996085" y="3323507"/>
                <a:ext cx="162588" cy="18421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grpSp>
        <p:grpSp>
          <p:nvGrpSpPr>
            <p:cNvPr id="188" name="Group 187"/>
            <p:cNvGrpSpPr>
              <a:grpSpLocks/>
            </p:cNvGrpSpPr>
            <p:nvPr/>
          </p:nvGrpSpPr>
          <p:grpSpPr bwMode="auto">
            <a:xfrm>
              <a:off x="7092950" y="2592388"/>
              <a:ext cx="482600" cy="855662"/>
              <a:chOff x="7425725" y="2293714"/>
              <a:chExt cx="643538" cy="1141886"/>
            </a:xfrm>
          </p:grpSpPr>
          <p:sp>
            <p:nvSpPr>
              <p:cNvPr id="180" name="Freeform 184"/>
              <p:cNvSpPr>
                <a:spLocks/>
              </p:cNvSpPr>
              <p:nvPr/>
            </p:nvSpPr>
            <p:spPr bwMode="auto">
              <a:xfrm>
                <a:off x="7425725" y="2293714"/>
                <a:ext cx="643538" cy="1141886"/>
              </a:xfrm>
              <a:custGeom>
                <a:avLst/>
                <a:gdLst>
                  <a:gd name="T0" fmla="*/ 328 w 328"/>
                  <a:gd name="T1" fmla="*/ 582 h 582"/>
                  <a:gd name="T2" fmla="*/ 0 w 328"/>
                  <a:gd name="T3" fmla="*/ 582 h 582"/>
                  <a:gd name="T4" fmla="*/ 0 w 328"/>
                  <a:gd name="T5" fmla="*/ 88 h 582"/>
                  <a:gd name="T6" fmla="*/ 169 w 328"/>
                  <a:gd name="T7" fmla="*/ 0 h 582"/>
                  <a:gd name="T8" fmla="*/ 328 w 328"/>
                  <a:gd name="T9" fmla="*/ 87 h 582"/>
                  <a:gd name="T10" fmla="*/ 328 w 328"/>
                  <a:gd name="T11" fmla="*/ 582 h 582"/>
                </a:gdLst>
                <a:ahLst/>
                <a:cxnLst>
                  <a:cxn ang="0">
                    <a:pos x="T0" y="T1"/>
                  </a:cxn>
                  <a:cxn ang="0">
                    <a:pos x="T2" y="T3"/>
                  </a:cxn>
                  <a:cxn ang="0">
                    <a:pos x="T4" y="T5"/>
                  </a:cxn>
                  <a:cxn ang="0">
                    <a:pos x="T6" y="T7"/>
                  </a:cxn>
                  <a:cxn ang="0">
                    <a:pos x="T8" y="T9"/>
                  </a:cxn>
                  <a:cxn ang="0">
                    <a:pos x="T10" y="T11"/>
                  </a:cxn>
                </a:cxnLst>
                <a:rect l="0" t="0" r="r" b="b"/>
                <a:pathLst>
                  <a:path w="328" h="582">
                    <a:moveTo>
                      <a:pt x="328" y="582"/>
                    </a:moveTo>
                    <a:lnTo>
                      <a:pt x="0" y="582"/>
                    </a:lnTo>
                    <a:lnTo>
                      <a:pt x="0" y="88"/>
                    </a:lnTo>
                    <a:lnTo>
                      <a:pt x="169" y="0"/>
                    </a:lnTo>
                    <a:lnTo>
                      <a:pt x="328" y="87"/>
                    </a:lnTo>
                    <a:lnTo>
                      <a:pt x="328" y="582"/>
                    </a:lnTo>
                    <a:close/>
                  </a:path>
                </a:pathLst>
              </a:custGeom>
              <a:solidFill>
                <a:schemeClr val="accent5">
                  <a:lumMod val="60000"/>
                  <a:lumOff val="40000"/>
                </a:schemeClr>
              </a:solidFill>
              <a:ln>
                <a:noFill/>
              </a:ln>
            </p:spPr>
            <p:txBody>
              <a:bodyPr lIns="68580" tIns="34290" rIns="68580" bIns="34290"/>
              <a:lstStyle/>
              <a:p>
                <a:pPr>
                  <a:defRPr/>
                </a:pPr>
                <a:endParaRPr lang="en-US" sz="1350"/>
              </a:p>
            </p:txBody>
          </p:sp>
          <p:sp>
            <p:nvSpPr>
              <p:cNvPr id="181" name="Rectangle 185"/>
              <p:cNvSpPr>
                <a:spLocks noChangeArrowheads="1"/>
              </p:cNvSpPr>
              <p:nvPr/>
            </p:nvSpPr>
            <p:spPr bwMode="auto">
              <a:xfrm>
                <a:off x="7565440" y="2564886"/>
                <a:ext cx="129132" cy="13346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2" name="Rectangle 186"/>
              <p:cNvSpPr>
                <a:spLocks noChangeArrowheads="1"/>
              </p:cNvSpPr>
              <p:nvPr/>
            </p:nvSpPr>
            <p:spPr bwMode="auto">
              <a:xfrm>
                <a:off x="7800417" y="2564886"/>
                <a:ext cx="131248" cy="13346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3" name="Rectangle 187"/>
              <p:cNvSpPr>
                <a:spLocks noChangeArrowheads="1"/>
              </p:cNvSpPr>
              <p:nvPr/>
            </p:nvSpPr>
            <p:spPr bwMode="auto">
              <a:xfrm>
                <a:off x="7565440" y="2778856"/>
                <a:ext cx="129132" cy="12923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4" name="Rectangle 188"/>
              <p:cNvSpPr>
                <a:spLocks noChangeArrowheads="1"/>
              </p:cNvSpPr>
              <p:nvPr/>
            </p:nvSpPr>
            <p:spPr bwMode="auto">
              <a:xfrm>
                <a:off x="7800417" y="2778856"/>
                <a:ext cx="131248" cy="12923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5" name="Rectangle 189"/>
              <p:cNvSpPr>
                <a:spLocks noChangeArrowheads="1"/>
              </p:cNvSpPr>
              <p:nvPr/>
            </p:nvSpPr>
            <p:spPr bwMode="auto">
              <a:xfrm>
                <a:off x="7565440" y="2990709"/>
                <a:ext cx="129132" cy="1313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6" name="Rectangle 190"/>
              <p:cNvSpPr>
                <a:spLocks noChangeArrowheads="1"/>
              </p:cNvSpPr>
              <p:nvPr/>
            </p:nvSpPr>
            <p:spPr bwMode="auto">
              <a:xfrm>
                <a:off x="7800417" y="2990709"/>
                <a:ext cx="131248" cy="1313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7" name="Rectangle 191"/>
              <p:cNvSpPr>
                <a:spLocks noChangeArrowheads="1"/>
              </p:cNvSpPr>
              <p:nvPr/>
            </p:nvSpPr>
            <p:spPr bwMode="auto">
              <a:xfrm>
                <a:off x="7654350" y="3202562"/>
                <a:ext cx="205340" cy="233038"/>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grpSp>
        <p:grpSp>
          <p:nvGrpSpPr>
            <p:cNvPr id="178" name="Group 177"/>
            <p:cNvGrpSpPr>
              <a:grpSpLocks/>
            </p:cNvGrpSpPr>
            <p:nvPr/>
          </p:nvGrpSpPr>
          <p:grpSpPr bwMode="auto">
            <a:xfrm>
              <a:off x="7504113" y="2049463"/>
              <a:ext cx="692150" cy="1401762"/>
              <a:chOff x="7972425" y="1589088"/>
              <a:chExt cx="923925" cy="1868487"/>
            </a:xfrm>
          </p:grpSpPr>
          <p:sp>
            <p:nvSpPr>
              <p:cNvPr id="149" name="Rectangle 90"/>
              <p:cNvSpPr>
                <a:spLocks noChangeArrowheads="1"/>
              </p:cNvSpPr>
              <p:nvPr/>
            </p:nvSpPr>
            <p:spPr bwMode="auto">
              <a:xfrm>
                <a:off x="7999973" y="1986909"/>
                <a:ext cx="851876" cy="1470666"/>
              </a:xfrm>
              <a:prstGeom prst="rect">
                <a:avLst/>
              </a:prstGeom>
              <a:solidFill>
                <a:schemeClr val="accent5"/>
              </a:solidFill>
              <a:ln>
                <a:noFill/>
              </a:ln>
            </p:spPr>
            <p:txBody>
              <a:bodyPr lIns="68580" tIns="34290" rIns="68580" bIns="34290"/>
              <a:lstStyle/>
              <a:p>
                <a:pPr>
                  <a:defRPr/>
                </a:pPr>
                <a:endParaRPr lang="en-US" sz="1350"/>
              </a:p>
            </p:txBody>
          </p:sp>
          <p:sp>
            <p:nvSpPr>
              <p:cNvPr id="150" name="Rectangle 91"/>
              <p:cNvSpPr>
                <a:spLocks noChangeArrowheads="1"/>
              </p:cNvSpPr>
              <p:nvPr/>
            </p:nvSpPr>
            <p:spPr bwMode="auto">
              <a:xfrm>
                <a:off x="8707750" y="2092712"/>
                <a:ext cx="74169"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1" name="Rectangle 92"/>
              <p:cNvSpPr>
                <a:spLocks noChangeArrowheads="1"/>
              </p:cNvSpPr>
              <p:nvPr/>
            </p:nvSpPr>
            <p:spPr bwMode="auto">
              <a:xfrm>
                <a:off x="8493722" y="2092712"/>
                <a:ext cx="76287"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2" name="Rectangle 93"/>
              <p:cNvSpPr>
                <a:spLocks noChangeArrowheads="1"/>
              </p:cNvSpPr>
              <p:nvPr/>
            </p:nvSpPr>
            <p:spPr bwMode="auto">
              <a:xfrm>
                <a:off x="8281813" y="2092712"/>
                <a:ext cx="76287"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3" name="Rectangle 94"/>
              <p:cNvSpPr>
                <a:spLocks noChangeArrowheads="1"/>
              </p:cNvSpPr>
              <p:nvPr/>
            </p:nvSpPr>
            <p:spPr bwMode="auto">
              <a:xfrm>
                <a:off x="8069903" y="2092712"/>
                <a:ext cx="76287"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4" name="Rectangle 95"/>
              <p:cNvSpPr>
                <a:spLocks noChangeArrowheads="1"/>
              </p:cNvSpPr>
              <p:nvPr/>
            </p:nvSpPr>
            <p:spPr bwMode="auto">
              <a:xfrm>
                <a:off x="8707750" y="2285274"/>
                <a:ext cx="74169"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5" name="Rectangle 96"/>
              <p:cNvSpPr>
                <a:spLocks noChangeArrowheads="1"/>
              </p:cNvSpPr>
              <p:nvPr/>
            </p:nvSpPr>
            <p:spPr bwMode="auto">
              <a:xfrm>
                <a:off x="8493722" y="2285274"/>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6" name="Rectangle 97"/>
              <p:cNvSpPr>
                <a:spLocks noChangeArrowheads="1"/>
              </p:cNvSpPr>
              <p:nvPr/>
            </p:nvSpPr>
            <p:spPr bwMode="auto">
              <a:xfrm>
                <a:off x="8281808" y="2285274"/>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7" name="Rectangle 98"/>
              <p:cNvSpPr>
                <a:spLocks noChangeArrowheads="1"/>
              </p:cNvSpPr>
              <p:nvPr/>
            </p:nvSpPr>
            <p:spPr bwMode="auto">
              <a:xfrm>
                <a:off x="8069903" y="2285274"/>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8" name="Rectangle 99"/>
              <p:cNvSpPr>
                <a:spLocks noChangeArrowheads="1"/>
              </p:cNvSpPr>
              <p:nvPr/>
            </p:nvSpPr>
            <p:spPr bwMode="auto">
              <a:xfrm>
                <a:off x="8707750" y="2477836"/>
                <a:ext cx="74169"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9" name="Rectangle 100"/>
              <p:cNvSpPr>
                <a:spLocks noChangeArrowheads="1"/>
              </p:cNvSpPr>
              <p:nvPr/>
            </p:nvSpPr>
            <p:spPr bwMode="auto">
              <a:xfrm>
                <a:off x="8493722" y="2477836"/>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0" name="Rectangle 101"/>
              <p:cNvSpPr>
                <a:spLocks noChangeArrowheads="1"/>
              </p:cNvSpPr>
              <p:nvPr/>
            </p:nvSpPr>
            <p:spPr bwMode="auto">
              <a:xfrm>
                <a:off x="8281813" y="2477836"/>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1" name="Rectangle 102"/>
              <p:cNvSpPr>
                <a:spLocks noChangeArrowheads="1"/>
              </p:cNvSpPr>
              <p:nvPr/>
            </p:nvSpPr>
            <p:spPr bwMode="auto">
              <a:xfrm>
                <a:off x="8069903" y="2477836"/>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2" name="Rectangle 103"/>
              <p:cNvSpPr>
                <a:spLocks noChangeArrowheads="1"/>
              </p:cNvSpPr>
              <p:nvPr/>
            </p:nvSpPr>
            <p:spPr bwMode="auto">
              <a:xfrm>
                <a:off x="8707750" y="2670398"/>
                <a:ext cx="74169"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3" name="Rectangle 104"/>
              <p:cNvSpPr>
                <a:spLocks noChangeArrowheads="1"/>
              </p:cNvSpPr>
              <p:nvPr/>
            </p:nvSpPr>
            <p:spPr bwMode="auto">
              <a:xfrm>
                <a:off x="8493722" y="2670398"/>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4" name="Rectangle 105"/>
              <p:cNvSpPr>
                <a:spLocks noChangeArrowheads="1"/>
              </p:cNvSpPr>
              <p:nvPr/>
            </p:nvSpPr>
            <p:spPr bwMode="auto">
              <a:xfrm>
                <a:off x="8281813" y="2670398"/>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5" name="Rectangle 106"/>
              <p:cNvSpPr>
                <a:spLocks noChangeArrowheads="1"/>
              </p:cNvSpPr>
              <p:nvPr/>
            </p:nvSpPr>
            <p:spPr bwMode="auto">
              <a:xfrm>
                <a:off x="8069903" y="2670398"/>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6" name="Rectangle 107"/>
              <p:cNvSpPr>
                <a:spLocks noChangeArrowheads="1"/>
              </p:cNvSpPr>
              <p:nvPr/>
            </p:nvSpPr>
            <p:spPr bwMode="auto">
              <a:xfrm>
                <a:off x="8707750" y="2865076"/>
                <a:ext cx="74169"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7" name="Rectangle 108"/>
              <p:cNvSpPr>
                <a:spLocks noChangeArrowheads="1"/>
              </p:cNvSpPr>
              <p:nvPr/>
            </p:nvSpPr>
            <p:spPr bwMode="auto">
              <a:xfrm>
                <a:off x="8493722" y="2865076"/>
                <a:ext cx="76287"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8" name="Rectangle 109"/>
              <p:cNvSpPr>
                <a:spLocks noChangeArrowheads="1"/>
              </p:cNvSpPr>
              <p:nvPr/>
            </p:nvSpPr>
            <p:spPr bwMode="auto">
              <a:xfrm>
                <a:off x="8281813" y="2865076"/>
                <a:ext cx="76287"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9" name="Rectangle 110"/>
              <p:cNvSpPr>
                <a:spLocks noChangeArrowheads="1"/>
              </p:cNvSpPr>
              <p:nvPr/>
            </p:nvSpPr>
            <p:spPr bwMode="auto">
              <a:xfrm>
                <a:off x="8069903" y="2865076"/>
                <a:ext cx="76287"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70" name="Rectangle 111"/>
              <p:cNvSpPr>
                <a:spLocks noChangeArrowheads="1"/>
              </p:cNvSpPr>
              <p:nvPr/>
            </p:nvSpPr>
            <p:spPr bwMode="auto">
              <a:xfrm>
                <a:off x="8707750" y="3055522"/>
                <a:ext cx="74169"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71" name="Rectangle 112"/>
              <p:cNvSpPr>
                <a:spLocks noChangeArrowheads="1"/>
              </p:cNvSpPr>
              <p:nvPr/>
            </p:nvSpPr>
            <p:spPr bwMode="auto">
              <a:xfrm>
                <a:off x="8493722" y="3055522"/>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72" name="Rectangle 113"/>
              <p:cNvSpPr>
                <a:spLocks noChangeArrowheads="1"/>
              </p:cNvSpPr>
              <p:nvPr/>
            </p:nvSpPr>
            <p:spPr bwMode="auto">
              <a:xfrm>
                <a:off x="8281813" y="3055522"/>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73" name="Rectangle 114"/>
              <p:cNvSpPr>
                <a:spLocks noChangeArrowheads="1"/>
              </p:cNvSpPr>
              <p:nvPr/>
            </p:nvSpPr>
            <p:spPr bwMode="auto">
              <a:xfrm>
                <a:off x="8069903" y="3055522"/>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75" name="Rectangle 116"/>
              <p:cNvSpPr>
                <a:spLocks noChangeArrowheads="1"/>
              </p:cNvSpPr>
              <p:nvPr/>
            </p:nvSpPr>
            <p:spPr bwMode="auto">
              <a:xfrm>
                <a:off x="7972425" y="1940355"/>
                <a:ext cx="923925" cy="46553"/>
              </a:xfrm>
              <a:prstGeom prst="rect">
                <a:avLst/>
              </a:prstGeom>
              <a:solidFill>
                <a:schemeClr val="accent5">
                  <a:lumMod val="75000"/>
                </a:schemeClr>
              </a:solidFill>
              <a:ln>
                <a:noFill/>
              </a:ln>
            </p:spPr>
            <p:txBody>
              <a:bodyPr lIns="68580" tIns="34290" rIns="68580" bIns="34290"/>
              <a:lstStyle/>
              <a:p>
                <a:pPr>
                  <a:defRPr/>
                </a:pPr>
                <a:endParaRPr lang="en-US" sz="1350"/>
              </a:p>
            </p:txBody>
          </p:sp>
          <p:sp>
            <p:nvSpPr>
              <p:cNvPr id="176" name="Freeform 117"/>
              <p:cNvSpPr>
                <a:spLocks/>
              </p:cNvSpPr>
              <p:nvPr/>
            </p:nvSpPr>
            <p:spPr bwMode="auto">
              <a:xfrm>
                <a:off x="7999973" y="1589088"/>
                <a:ext cx="851876" cy="351267"/>
              </a:xfrm>
              <a:custGeom>
                <a:avLst/>
                <a:gdLst>
                  <a:gd name="T0" fmla="*/ 47 w 283"/>
                  <a:gd name="T1" fmla="*/ 67 h 117"/>
                  <a:gd name="T2" fmla="*/ 142 w 283"/>
                  <a:gd name="T3" fmla="*/ 0 h 117"/>
                  <a:gd name="T4" fmla="*/ 237 w 283"/>
                  <a:gd name="T5" fmla="*/ 67 h 117"/>
                  <a:gd name="T6" fmla="*/ 283 w 283"/>
                  <a:gd name="T7" fmla="*/ 67 h 117"/>
                  <a:gd name="T8" fmla="*/ 283 w 283"/>
                  <a:gd name="T9" fmla="*/ 117 h 117"/>
                  <a:gd name="T10" fmla="*/ 0 w 283"/>
                  <a:gd name="T11" fmla="*/ 117 h 117"/>
                  <a:gd name="T12" fmla="*/ 0 w 283"/>
                  <a:gd name="T13" fmla="*/ 67 h 117"/>
                  <a:gd name="T14" fmla="*/ 47 w 283"/>
                  <a:gd name="T15" fmla="*/ 67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3" h="117">
                    <a:moveTo>
                      <a:pt x="47" y="67"/>
                    </a:moveTo>
                    <a:cubicBezTo>
                      <a:pt x="60" y="28"/>
                      <a:pt x="98" y="0"/>
                      <a:pt x="142" y="0"/>
                    </a:cubicBezTo>
                    <a:cubicBezTo>
                      <a:pt x="186" y="0"/>
                      <a:pt x="223" y="28"/>
                      <a:pt x="237" y="67"/>
                    </a:cubicBezTo>
                    <a:cubicBezTo>
                      <a:pt x="283" y="67"/>
                      <a:pt x="283" y="67"/>
                      <a:pt x="283" y="67"/>
                    </a:cubicBezTo>
                    <a:cubicBezTo>
                      <a:pt x="283" y="117"/>
                      <a:pt x="283" y="117"/>
                      <a:pt x="283" y="117"/>
                    </a:cubicBezTo>
                    <a:cubicBezTo>
                      <a:pt x="0" y="117"/>
                      <a:pt x="0" y="117"/>
                      <a:pt x="0" y="117"/>
                    </a:cubicBezTo>
                    <a:cubicBezTo>
                      <a:pt x="0" y="67"/>
                      <a:pt x="0" y="67"/>
                      <a:pt x="0" y="67"/>
                    </a:cubicBezTo>
                    <a:lnTo>
                      <a:pt x="47" y="67"/>
                    </a:lnTo>
                    <a:close/>
                  </a:path>
                </a:pathLst>
              </a:custGeom>
              <a:solidFill>
                <a:schemeClr val="accent5"/>
              </a:solidFill>
              <a:ln>
                <a:noFill/>
              </a:ln>
            </p:spPr>
            <p:txBody>
              <a:bodyPr lIns="68580" tIns="34290" rIns="68580" bIns="34290"/>
              <a:lstStyle/>
              <a:p>
                <a:pPr>
                  <a:defRPr/>
                </a:pPr>
                <a:endParaRPr lang="en-US" sz="1350"/>
              </a:p>
            </p:txBody>
          </p:sp>
          <p:sp>
            <p:nvSpPr>
              <p:cNvPr id="177" name="Freeform 118"/>
              <p:cNvSpPr>
                <a:spLocks/>
              </p:cNvSpPr>
              <p:nvPr/>
            </p:nvSpPr>
            <p:spPr bwMode="auto">
              <a:xfrm>
                <a:off x="8197049" y="1663150"/>
                <a:ext cx="455605" cy="226420"/>
              </a:xfrm>
              <a:custGeom>
                <a:avLst/>
                <a:gdLst>
                  <a:gd name="T0" fmla="*/ 0 w 151"/>
                  <a:gd name="T1" fmla="*/ 75 h 75"/>
                  <a:gd name="T2" fmla="*/ 76 w 151"/>
                  <a:gd name="T3" fmla="*/ 0 h 75"/>
                  <a:gd name="T4" fmla="*/ 151 w 151"/>
                  <a:gd name="T5" fmla="*/ 75 h 75"/>
                </a:gdLst>
                <a:ahLst/>
                <a:cxnLst>
                  <a:cxn ang="0">
                    <a:pos x="T0" y="T1"/>
                  </a:cxn>
                  <a:cxn ang="0">
                    <a:pos x="T2" y="T3"/>
                  </a:cxn>
                  <a:cxn ang="0">
                    <a:pos x="T4" y="T5"/>
                  </a:cxn>
                </a:cxnLst>
                <a:rect l="0" t="0" r="r" b="b"/>
                <a:pathLst>
                  <a:path w="151" h="75">
                    <a:moveTo>
                      <a:pt x="0" y="75"/>
                    </a:moveTo>
                    <a:cubicBezTo>
                      <a:pt x="0" y="34"/>
                      <a:pt x="34" y="0"/>
                      <a:pt x="76" y="0"/>
                    </a:cubicBezTo>
                    <a:cubicBezTo>
                      <a:pt x="117" y="0"/>
                      <a:pt x="151" y="34"/>
                      <a:pt x="151" y="75"/>
                    </a:cubicBezTo>
                  </a:path>
                </a:pathLst>
              </a:custGeom>
              <a:solidFill>
                <a:schemeClr val="accent5">
                  <a:lumMod val="75000"/>
                </a:schemeClr>
              </a:solidFill>
              <a:ln>
                <a:noFill/>
              </a:ln>
            </p:spPr>
            <p:txBody>
              <a:bodyPr lIns="68580" tIns="34290" rIns="68580" bIns="34290"/>
              <a:lstStyle/>
              <a:p>
                <a:pPr>
                  <a:defRPr/>
                </a:pPr>
                <a:endParaRPr lang="en-US" sz="1350"/>
              </a:p>
            </p:txBody>
          </p:sp>
        </p:grpSp>
        <p:grpSp>
          <p:nvGrpSpPr>
            <p:cNvPr id="56" name="Group 55"/>
            <p:cNvGrpSpPr>
              <a:grpSpLocks/>
            </p:cNvGrpSpPr>
            <p:nvPr/>
          </p:nvGrpSpPr>
          <p:grpSpPr bwMode="auto">
            <a:xfrm>
              <a:off x="2554289" y="4591050"/>
              <a:ext cx="1273175" cy="1176338"/>
              <a:chOff x="1373188" y="4978400"/>
              <a:chExt cx="1697037" cy="1568450"/>
            </a:xfrm>
          </p:grpSpPr>
          <p:sp>
            <p:nvSpPr>
              <p:cNvPr id="25" name="Rectangle 20"/>
              <p:cNvSpPr>
                <a:spLocks noChangeArrowheads="1"/>
              </p:cNvSpPr>
              <p:nvPr/>
            </p:nvSpPr>
            <p:spPr bwMode="auto">
              <a:xfrm>
                <a:off x="1373188" y="6502399"/>
                <a:ext cx="1631440" cy="44451"/>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6" name="Rectangle 21"/>
              <p:cNvSpPr>
                <a:spLocks noChangeArrowheads="1"/>
              </p:cNvSpPr>
              <p:nvPr/>
            </p:nvSpPr>
            <p:spPr bwMode="auto">
              <a:xfrm>
                <a:off x="1373188" y="6502399"/>
                <a:ext cx="1631440" cy="44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7" name="Rectangle 22"/>
              <p:cNvSpPr>
                <a:spLocks noChangeArrowheads="1"/>
              </p:cNvSpPr>
              <p:nvPr/>
            </p:nvSpPr>
            <p:spPr bwMode="auto">
              <a:xfrm>
                <a:off x="1624992" y="5649384"/>
                <a:ext cx="1195544" cy="85724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 name="Rectangle 23"/>
              <p:cNvSpPr>
                <a:spLocks noChangeArrowheads="1"/>
              </p:cNvSpPr>
              <p:nvPr/>
            </p:nvSpPr>
            <p:spPr bwMode="auto">
              <a:xfrm>
                <a:off x="1624992" y="5649384"/>
                <a:ext cx="1195544" cy="857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9" name="Freeform 24"/>
              <p:cNvSpPr>
                <a:spLocks noEditPoints="1"/>
              </p:cNvSpPr>
              <p:nvPr/>
            </p:nvSpPr>
            <p:spPr bwMode="auto">
              <a:xfrm>
                <a:off x="1601717" y="5649384"/>
                <a:ext cx="1242095" cy="853016"/>
              </a:xfrm>
              <a:custGeom>
                <a:avLst/>
                <a:gdLst>
                  <a:gd name="T0" fmla="*/ 15 w 782"/>
                  <a:gd name="T1" fmla="*/ 168 h 538"/>
                  <a:gd name="T2" fmla="*/ 0 w 782"/>
                  <a:gd name="T3" fmla="*/ 187 h 538"/>
                  <a:gd name="T4" fmla="*/ 0 w 782"/>
                  <a:gd name="T5" fmla="*/ 538 h 538"/>
                  <a:gd name="T6" fmla="*/ 15 w 782"/>
                  <a:gd name="T7" fmla="*/ 538 h 538"/>
                  <a:gd name="T8" fmla="*/ 15 w 782"/>
                  <a:gd name="T9" fmla="*/ 168 h 538"/>
                  <a:gd name="T10" fmla="*/ 782 w 782"/>
                  <a:gd name="T11" fmla="*/ 0 h 538"/>
                  <a:gd name="T12" fmla="*/ 714 w 782"/>
                  <a:gd name="T13" fmla="*/ 0 h 538"/>
                  <a:gd name="T14" fmla="*/ 768 w 782"/>
                  <a:gd name="T15" fmla="*/ 0 h 538"/>
                  <a:gd name="T16" fmla="*/ 768 w 782"/>
                  <a:gd name="T17" fmla="*/ 538 h 538"/>
                  <a:gd name="T18" fmla="*/ 782 w 782"/>
                  <a:gd name="T19" fmla="*/ 538 h 538"/>
                  <a:gd name="T20" fmla="*/ 782 w 782"/>
                  <a:gd name="T21"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2" h="538">
                    <a:moveTo>
                      <a:pt x="15" y="168"/>
                    </a:moveTo>
                    <a:lnTo>
                      <a:pt x="0" y="187"/>
                    </a:lnTo>
                    <a:lnTo>
                      <a:pt x="0" y="538"/>
                    </a:lnTo>
                    <a:lnTo>
                      <a:pt x="15" y="538"/>
                    </a:lnTo>
                    <a:lnTo>
                      <a:pt x="15" y="168"/>
                    </a:lnTo>
                    <a:close/>
                    <a:moveTo>
                      <a:pt x="782" y="0"/>
                    </a:moveTo>
                    <a:lnTo>
                      <a:pt x="714" y="0"/>
                    </a:lnTo>
                    <a:lnTo>
                      <a:pt x="768" y="0"/>
                    </a:lnTo>
                    <a:lnTo>
                      <a:pt x="768" y="538"/>
                    </a:lnTo>
                    <a:lnTo>
                      <a:pt x="782" y="538"/>
                    </a:lnTo>
                    <a:lnTo>
                      <a:pt x="782"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0" name="Freeform 25"/>
              <p:cNvSpPr>
                <a:spLocks noEditPoints="1"/>
              </p:cNvSpPr>
              <p:nvPr/>
            </p:nvSpPr>
            <p:spPr bwMode="auto">
              <a:xfrm>
                <a:off x="1601717" y="5649384"/>
                <a:ext cx="1242095" cy="853016"/>
              </a:xfrm>
              <a:custGeom>
                <a:avLst/>
                <a:gdLst>
                  <a:gd name="T0" fmla="*/ 15 w 782"/>
                  <a:gd name="T1" fmla="*/ 168 h 538"/>
                  <a:gd name="T2" fmla="*/ 0 w 782"/>
                  <a:gd name="T3" fmla="*/ 187 h 538"/>
                  <a:gd name="T4" fmla="*/ 0 w 782"/>
                  <a:gd name="T5" fmla="*/ 538 h 538"/>
                  <a:gd name="T6" fmla="*/ 15 w 782"/>
                  <a:gd name="T7" fmla="*/ 538 h 538"/>
                  <a:gd name="T8" fmla="*/ 15 w 782"/>
                  <a:gd name="T9" fmla="*/ 168 h 538"/>
                  <a:gd name="T10" fmla="*/ 782 w 782"/>
                  <a:gd name="T11" fmla="*/ 0 h 538"/>
                  <a:gd name="T12" fmla="*/ 714 w 782"/>
                  <a:gd name="T13" fmla="*/ 0 h 538"/>
                  <a:gd name="T14" fmla="*/ 768 w 782"/>
                  <a:gd name="T15" fmla="*/ 0 h 538"/>
                  <a:gd name="T16" fmla="*/ 768 w 782"/>
                  <a:gd name="T17" fmla="*/ 538 h 538"/>
                  <a:gd name="T18" fmla="*/ 782 w 782"/>
                  <a:gd name="T19" fmla="*/ 538 h 538"/>
                  <a:gd name="T20" fmla="*/ 782 w 782"/>
                  <a:gd name="T21"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2" h="538">
                    <a:moveTo>
                      <a:pt x="15" y="168"/>
                    </a:moveTo>
                    <a:lnTo>
                      <a:pt x="0" y="187"/>
                    </a:lnTo>
                    <a:lnTo>
                      <a:pt x="0" y="538"/>
                    </a:lnTo>
                    <a:lnTo>
                      <a:pt x="15" y="538"/>
                    </a:lnTo>
                    <a:lnTo>
                      <a:pt x="15" y="168"/>
                    </a:lnTo>
                    <a:moveTo>
                      <a:pt x="782" y="0"/>
                    </a:moveTo>
                    <a:lnTo>
                      <a:pt x="714" y="0"/>
                    </a:lnTo>
                    <a:lnTo>
                      <a:pt x="768" y="0"/>
                    </a:lnTo>
                    <a:lnTo>
                      <a:pt x="768" y="538"/>
                    </a:lnTo>
                    <a:lnTo>
                      <a:pt x="782" y="538"/>
                    </a:lnTo>
                    <a:lnTo>
                      <a:pt x="7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1" name="Freeform 26"/>
              <p:cNvSpPr>
                <a:spLocks noEditPoints="1"/>
              </p:cNvSpPr>
              <p:nvPr/>
            </p:nvSpPr>
            <p:spPr bwMode="auto">
              <a:xfrm>
                <a:off x="1826013" y="6502399"/>
                <a:ext cx="1017798" cy="4233"/>
              </a:xfrm>
              <a:custGeom>
                <a:avLst/>
                <a:gdLst>
                  <a:gd name="T0" fmla="*/ 310 w 641"/>
                  <a:gd name="T1" fmla="*/ 2 h 2"/>
                  <a:gd name="T2" fmla="*/ 2 w 641"/>
                  <a:gd name="T3" fmla="*/ 2 h 2"/>
                  <a:gd name="T4" fmla="*/ 0 w 641"/>
                  <a:gd name="T5" fmla="*/ 2 h 2"/>
                  <a:gd name="T6" fmla="*/ 310 w 641"/>
                  <a:gd name="T7" fmla="*/ 2 h 2"/>
                  <a:gd name="T8" fmla="*/ 641 w 641"/>
                  <a:gd name="T9" fmla="*/ 0 h 2"/>
                  <a:gd name="T10" fmla="*/ 627 w 641"/>
                  <a:gd name="T11" fmla="*/ 0 h 2"/>
                  <a:gd name="T12" fmla="*/ 627 w 641"/>
                  <a:gd name="T13" fmla="*/ 0 h 2"/>
                  <a:gd name="T14" fmla="*/ 641 w 641"/>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2">
                    <a:moveTo>
                      <a:pt x="310" y="2"/>
                    </a:moveTo>
                    <a:lnTo>
                      <a:pt x="2" y="2"/>
                    </a:lnTo>
                    <a:lnTo>
                      <a:pt x="0" y="2"/>
                    </a:lnTo>
                    <a:lnTo>
                      <a:pt x="310" y="2"/>
                    </a:lnTo>
                    <a:close/>
                    <a:moveTo>
                      <a:pt x="641" y="0"/>
                    </a:moveTo>
                    <a:lnTo>
                      <a:pt x="627" y="0"/>
                    </a:lnTo>
                    <a:lnTo>
                      <a:pt x="627" y="0"/>
                    </a:lnTo>
                    <a:lnTo>
                      <a:pt x="641" y="0"/>
                    </a:lnTo>
                    <a:close/>
                  </a:path>
                </a:pathLst>
              </a:custGeom>
              <a:solidFill>
                <a:srgbClr val="38272D"/>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2" name="Freeform 27"/>
              <p:cNvSpPr>
                <a:spLocks noEditPoints="1"/>
              </p:cNvSpPr>
              <p:nvPr/>
            </p:nvSpPr>
            <p:spPr bwMode="auto">
              <a:xfrm>
                <a:off x="1826013" y="6502399"/>
                <a:ext cx="1017798" cy="4233"/>
              </a:xfrm>
              <a:custGeom>
                <a:avLst/>
                <a:gdLst>
                  <a:gd name="T0" fmla="*/ 310 w 641"/>
                  <a:gd name="T1" fmla="*/ 2 h 2"/>
                  <a:gd name="T2" fmla="*/ 2 w 641"/>
                  <a:gd name="T3" fmla="*/ 2 h 2"/>
                  <a:gd name="T4" fmla="*/ 0 w 641"/>
                  <a:gd name="T5" fmla="*/ 2 h 2"/>
                  <a:gd name="T6" fmla="*/ 310 w 641"/>
                  <a:gd name="T7" fmla="*/ 2 h 2"/>
                  <a:gd name="T8" fmla="*/ 641 w 641"/>
                  <a:gd name="T9" fmla="*/ 0 h 2"/>
                  <a:gd name="T10" fmla="*/ 627 w 641"/>
                  <a:gd name="T11" fmla="*/ 0 h 2"/>
                  <a:gd name="T12" fmla="*/ 627 w 641"/>
                  <a:gd name="T13" fmla="*/ 0 h 2"/>
                  <a:gd name="T14" fmla="*/ 641 w 641"/>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2">
                    <a:moveTo>
                      <a:pt x="310" y="2"/>
                    </a:moveTo>
                    <a:lnTo>
                      <a:pt x="2" y="2"/>
                    </a:lnTo>
                    <a:lnTo>
                      <a:pt x="0" y="2"/>
                    </a:lnTo>
                    <a:lnTo>
                      <a:pt x="310" y="2"/>
                    </a:lnTo>
                    <a:moveTo>
                      <a:pt x="641" y="0"/>
                    </a:moveTo>
                    <a:lnTo>
                      <a:pt x="627" y="0"/>
                    </a:lnTo>
                    <a:lnTo>
                      <a:pt x="627" y="0"/>
                    </a:lnTo>
                    <a:lnTo>
                      <a:pt x="6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3" name="Freeform 28"/>
              <p:cNvSpPr>
                <a:spLocks/>
              </p:cNvSpPr>
              <p:nvPr/>
            </p:nvSpPr>
            <p:spPr bwMode="auto">
              <a:xfrm>
                <a:off x="1624992" y="5649384"/>
                <a:ext cx="1195544" cy="857249"/>
              </a:xfrm>
              <a:custGeom>
                <a:avLst/>
                <a:gdLst>
                  <a:gd name="T0" fmla="*/ 753 w 753"/>
                  <a:gd name="T1" fmla="*/ 0 h 540"/>
                  <a:gd name="T2" fmla="*/ 699 w 753"/>
                  <a:gd name="T3" fmla="*/ 0 h 540"/>
                  <a:gd name="T4" fmla="*/ 615 w 753"/>
                  <a:gd name="T5" fmla="*/ 117 h 540"/>
                  <a:gd name="T6" fmla="*/ 506 w 753"/>
                  <a:gd name="T7" fmla="*/ 0 h 540"/>
                  <a:gd name="T8" fmla="*/ 177 w 753"/>
                  <a:gd name="T9" fmla="*/ 468 h 540"/>
                  <a:gd name="T10" fmla="*/ 177 w 753"/>
                  <a:gd name="T11" fmla="*/ 0 h 540"/>
                  <a:gd name="T12" fmla="*/ 115 w 753"/>
                  <a:gd name="T13" fmla="*/ 0 h 540"/>
                  <a:gd name="T14" fmla="*/ 0 w 753"/>
                  <a:gd name="T15" fmla="*/ 168 h 540"/>
                  <a:gd name="T16" fmla="*/ 0 w 753"/>
                  <a:gd name="T17" fmla="*/ 538 h 540"/>
                  <a:gd name="T18" fmla="*/ 128 w 753"/>
                  <a:gd name="T19" fmla="*/ 538 h 540"/>
                  <a:gd name="T20" fmla="*/ 128 w 753"/>
                  <a:gd name="T21" fmla="*/ 540 h 540"/>
                  <a:gd name="T22" fmla="*/ 436 w 753"/>
                  <a:gd name="T23" fmla="*/ 540 h 540"/>
                  <a:gd name="T24" fmla="*/ 753 w 753"/>
                  <a:gd name="T25" fmla="*/ 538 h 540"/>
                  <a:gd name="T26" fmla="*/ 753 w 753"/>
                  <a:gd name="T27" fmla="*/ 538 h 540"/>
                  <a:gd name="T28" fmla="*/ 753 w 753"/>
                  <a:gd name="T2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3" h="540">
                    <a:moveTo>
                      <a:pt x="753" y="0"/>
                    </a:moveTo>
                    <a:lnTo>
                      <a:pt x="699" y="0"/>
                    </a:lnTo>
                    <a:lnTo>
                      <a:pt x="615" y="117"/>
                    </a:lnTo>
                    <a:lnTo>
                      <a:pt x="506" y="0"/>
                    </a:lnTo>
                    <a:lnTo>
                      <a:pt x="177" y="468"/>
                    </a:lnTo>
                    <a:lnTo>
                      <a:pt x="177" y="0"/>
                    </a:lnTo>
                    <a:lnTo>
                      <a:pt x="115" y="0"/>
                    </a:lnTo>
                    <a:lnTo>
                      <a:pt x="0" y="168"/>
                    </a:lnTo>
                    <a:lnTo>
                      <a:pt x="0" y="538"/>
                    </a:lnTo>
                    <a:lnTo>
                      <a:pt x="128" y="538"/>
                    </a:lnTo>
                    <a:lnTo>
                      <a:pt x="128" y="540"/>
                    </a:lnTo>
                    <a:lnTo>
                      <a:pt x="436" y="540"/>
                    </a:lnTo>
                    <a:lnTo>
                      <a:pt x="753" y="538"/>
                    </a:lnTo>
                    <a:lnTo>
                      <a:pt x="753" y="538"/>
                    </a:lnTo>
                    <a:lnTo>
                      <a:pt x="753"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 name="Freeform 29"/>
              <p:cNvSpPr>
                <a:spLocks/>
              </p:cNvSpPr>
              <p:nvPr/>
            </p:nvSpPr>
            <p:spPr bwMode="auto">
              <a:xfrm>
                <a:off x="1624992" y="5649384"/>
                <a:ext cx="1195544" cy="857249"/>
              </a:xfrm>
              <a:custGeom>
                <a:avLst/>
                <a:gdLst>
                  <a:gd name="T0" fmla="*/ 753 w 753"/>
                  <a:gd name="T1" fmla="*/ 0 h 540"/>
                  <a:gd name="T2" fmla="*/ 699 w 753"/>
                  <a:gd name="T3" fmla="*/ 0 h 540"/>
                  <a:gd name="T4" fmla="*/ 615 w 753"/>
                  <a:gd name="T5" fmla="*/ 117 h 540"/>
                  <a:gd name="T6" fmla="*/ 506 w 753"/>
                  <a:gd name="T7" fmla="*/ 0 h 540"/>
                  <a:gd name="T8" fmla="*/ 177 w 753"/>
                  <a:gd name="T9" fmla="*/ 468 h 540"/>
                  <a:gd name="T10" fmla="*/ 177 w 753"/>
                  <a:gd name="T11" fmla="*/ 0 h 540"/>
                  <a:gd name="T12" fmla="*/ 115 w 753"/>
                  <a:gd name="T13" fmla="*/ 0 h 540"/>
                  <a:gd name="T14" fmla="*/ 0 w 753"/>
                  <a:gd name="T15" fmla="*/ 168 h 540"/>
                  <a:gd name="T16" fmla="*/ 0 w 753"/>
                  <a:gd name="T17" fmla="*/ 538 h 540"/>
                  <a:gd name="T18" fmla="*/ 128 w 753"/>
                  <a:gd name="T19" fmla="*/ 538 h 540"/>
                  <a:gd name="T20" fmla="*/ 128 w 753"/>
                  <a:gd name="T21" fmla="*/ 540 h 540"/>
                  <a:gd name="T22" fmla="*/ 436 w 753"/>
                  <a:gd name="T23" fmla="*/ 540 h 540"/>
                  <a:gd name="T24" fmla="*/ 753 w 753"/>
                  <a:gd name="T25" fmla="*/ 538 h 540"/>
                  <a:gd name="T26" fmla="*/ 753 w 753"/>
                  <a:gd name="T27" fmla="*/ 538 h 540"/>
                  <a:gd name="T28" fmla="*/ 753 w 753"/>
                  <a:gd name="T2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3" h="540">
                    <a:moveTo>
                      <a:pt x="753" y="0"/>
                    </a:moveTo>
                    <a:lnTo>
                      <a:pt x="699" y="0"/>
                    </a:lnTo>
                    <a:lnTo>
                      <a:pt x="615" y="117"/>
                    </a:lnTo>
                    <a:lnTo>
                      <a:pt x="506" y="0"/>
                    </a:lnTo>
                    <a:lnTo>
                      <a:pt x="177" y="468"/>
                    </a:lnTo>
                    <a:lnTo>
                      <a:pt x="177" y="0"/>
                    </a:lnTo>
                    <a:lnTo>
                      <a:pt x="115" y="0"/>
                    </a:lnTo>
                    <a:lnTo>
                      <a:pt x="0" y="168"/>
                    </a:lnTo>
                    <a:lnTo>
                      <a:pt x="0" y="538"/>
                    </a:lnTo>
                    <a:lnTo>
                      <a:pt x="128" y="538"/>
                    </a:lnTo>
                    <a:lnTo>
                      <a:pt x="128" y="540"/>
                    </a:lnTo>
                    <a:lnTo>
                      <a:pt x="436" y="540"/>
                    </a:lnTo>
                    <a:lnTo>
                      <a:pt x="753" y="538"/>
                    </a:lnTo>
                    <a:lnTo>
                      <a:pt x="753" y="538"/>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5" name="Rectangle 30"/>
              <p:cNvSpPr>
                <a:spLocks noChangeArrowheads="1"/>
              </p:cNvSpPr>
              <p:nvPr/>
            </p:nvSpPr>
            <p:spPr bwMode="auto">
              <a:xfrm>
                <a:off x="1440900" y="5471584"/>
                <a:ext cx="1563728" cy="177800"/>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6" name="Freeform 31"/>
              <p:cNvSpPr>
                <a:spLocks/>
              </p:cNvSpPr>
              <p:nvPr/>
            </p:nvSpPr>
            <p:spPr bwMode="auto">
              <a:xfrm>
                <a:off x="1373188" y="4978400"/>
                <a:ext cx="1697037" cy="493184"/>
              </a:xfrm>
              <a:custGeom>
                <a:avLst/>
                <a:gdLst>
                  <a:gd name="T0" fmla="*/ 0 w 1069"/>
                  <a:gd name="T1" fmla="*/ 311 h 311"/>
                  <a:gd name="T2" fmla="*/ 535 w 1069"/>
                  <a:gd name="T3" fmla="*/ 0 h 311"/>
                  <a:gd name="T4" fmla="*/ 1069 w 1069"/>
                  <a:gd name="T5" fmla="*/ 311 h 311"/>
                  <a:gd name="T6" fmla="*/ 0 w 1069"/>
                  <a:gd name="T7" fmla="*/ 311 h 311"/>
                </a:gdLst>
                <a:ahLst/>
                <a:cxnLst>
                  <a:cxn ang="0">
                    <a:pos x="T0" y="T1"/>
                  </a:cxn>
                  <a:cxn ang="0">
                    <a:pos x="T2" y="T3"/>
                  </a:cxn>
                  <a:cxn ang="0">
                    <a:pos x="T4" y="T5"/>
                  </a:cxn>
                  <a:cxn ang="0">
                    <a:pos x="T6" y="T7"/>
                  </a:cxn>
                </a:cxnLst>
                <a:rect l="0" t="0" r="r" b="b"/>
                <a:pathLst>
                  <a:path w="1069" h="311">
                    <a:moveTo>
                      <a:pt x="0" y="311"/>
                    </a:moveTo>
                    <a:lnTo>
                      <a:pt x="535" y="0"/>
                    </a:lnTo>
                    <a:lnTo>
                      <a:pt x="1069" y="311"/>
                    </a:lnTo>
                    <a:lnTo>
                      <a:pt x="0" y="311"/>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7" name="Freeform 32"/>
              <p:cNvSpPr>
                <a:spLocks/>
              </p:cNvSpPr>
              <p:nvPr/>
            </p:nvSpPr>
            <p:spPr bwMode="auto">
              <a:xfrm>
                <a:off x="1694821" y="5071533"/>
                <a:ext cx="1058003" cy="309033"/>
              </a:xfrm>
              <a:custGeom>
                <a:avLst/>
                <a:gdLst>
                  <a:gd name="T0" fmla="*/ 0 w 667"/>
                  <a:gd name="T1" fmla="*/ 195 h 195"/>
                  <a:gd name="T2" fmla="*/ 333 w 667"/>
                  <a:gd name="T3" fmla="*/ 0 h 195"/>
                  <a:gd name="T4" fmla="*/ 667 w 667"/>
                  <a:gd name="T5" fmla="*/ 195 h 195"/>
                  <a:gd name="T6" fmla="*/ 0 w 667"/>
                  <a:gd name="T7" fmla="*/ 195 h 195"/>
                </a:gdLst>
                <a:ahLst/>
                <a:cxnLst>
                  <a:cxn ang="0">
                    <a:pos x="T0" y="T1"/>
                  </a:cxn>
                  <a:cxn ang="0">
                    <a:pos x="T2" y="T3"/>
                  </a:cxn>
                  <a:cxn ang="0">
                    <a:pos x="T4" y="T5"/>
                  </a:cxn>
                  <a:cxn ang="0">
                    <a:pos x="T6" y="T7"/>
                  </a:cxn>
                </a:cxnLst>
                <a:rect l="0" t="0" r="r" b="b"/>
                <a:pathLst>
                  <a:path w="667" h="195">
                    <a:moveTo>
                      <a:pt x="0" y="195"/>
                    </a:moveTo>
                    <a:lnTo>
                      <a:pt x="333" y="0"/>
                    </a:lnTo>
                    <a:lnTo>
                      <a:pt x="667" y="195"/>
                    </a:lnTo>
                    <a:lnTo>
                      <a:pt x="0"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dirty="0"/>
              </a:p>
            </p:txBody>
          </p:sp>
          <p:sp>
            <p:nvSpPr>
              <p:cNvPr id="38" name="Rectangle 33"/>
              <p:cNvSpPr>
                <a:spLocks noChangeArrowheads="1"/>
              </p:cNvSpPr>
              <p:nvPr/>
            </p:nvSpPr>
            <p:spPr bwMode="auto">
              <a:xfrm>
                <a:off x="1754069" y="5513917"/>
                <a:ext cx="93104"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9" name="Rectangle 34"/>
              <p:cNvSpPr>
                <a:spLocks noChangeArrowheads="1"/>
              </p:cNvSpPr>
              <p:nvPr/>
            </p:nvSpPr>
            <p:spPr bwMode="auto">
              <a:xfrm>
                <a:off x="1529772" y="5513917"/>
                <a:ext cx="93104"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0" name="Rectangle 35"/>
              <p:cNvSpPr>
                <a:spLocks noChangeArrowheads="1"/>
              </p:cNvSpPr>
              <p:nvPr/>
            </p:nvSpPr>
            <p:spPr bwMode="auto">
              <a:xfrm>
                <a:off x="1986830" y="5513917"/>
                <a:ext cx="95220"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1" name="Rectangle 36"/>
              <p:cNvSpPr>
                <a:spLocks noChangeArrowheads="1"/>
              </p:cNvSpPr>
              <p:nvPr/>
            </p:nvSpPr>
            <p:spPr bwMode="auto">
              <a:xfrm>
                <a:off x="2367711" y="5513917"/>
                <a:ext cx="97336"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2" name="Rectangle 37"/>
              <p:cNvSpPr>
                <a:spLocks noChangeArrowheads="1"/>
              </p:cNvSpPr>
              <p:nvPr/>
            </p:nvSpPr>
            <p:spPr bwMode="auto">
              <a:xfrm>
                <a:off x="2602587" y="5513917"/>
                <a:ext cx="95221"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3" name="Rectangle 38"/>
              <p:cNvSpPr>
                <a:spLocks noChangeArrowheads="1"/>
              </p:cNvSpPr>
              <p:nvPr/>
            </p:nvSpPr>
            <p:spPr bwMode="auto">
              <a:xfrm>
                <a:off x="2820536" y="5513917"/>
                <a:ext cx="97336"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4" name="Rectangle 39"/>
              <p:cNvSpPr>
                <a:spLocks noChangeArrowheads="1"/>
              </p:cNvSpPr>
              <p:nvPr/>
            </p:nvSpPr>
            <p:spPr bwMode="auto">
              <a:xfrm>
                <a:off x="1802737" y="5649384"/>
                <a:ext cx="211601" cy="44449"/>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5" name="Rectangle 40"/>
              <p:cNvSpPr>
                <a:spLocks noChangeArrowheads="1"/>
              </p:cNvSpPr>
              <p:nvPr/>
            </p:nvSpPr>
            <p:spPr bwMode="auto">
              <a:xfrm>
                <a:off x="1802737" y="6460066"/>
                <a:ext cx="211601" cy="46567"/>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6" name="Rectangle 41"/>
              <p:cNvSpPr>
                <a:spLocks noChangeArrowheads="1"/>
              </p:cNvSpPr>
              <p:nvPr/>
            </p:nvSpPr>
            <p:spPr bwMode="auto">
              <a:xfrm>
                <a:off x="1834477" y="5693833"/>
                <a:ext cx="146004" cy="766233"/>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7" name="Rectangle 42"/>
              <p:cNvSpPr>
                <a:spLocks noChangeArrowheads="1"/>
              </p:cNvSpPr>
              <p:nvPr/>
            </p:nvSpPr>
            <p:spPr bwMode="auto">
              <a:xfrm>
                <a:off x="1493800" y="5649384"/>
                <a:ext cx="215833" cy="44449"/>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8" name="Rectangle 43"/>
              <p:cNvSpPr>
                <a:spLocks noChangeArrowheads="1"/>
              </p:cNvSpPr>
              <p:nvPr/>
            </p:nvSpPr>
            <p:spPr bwMode="auto">
              <a:xfrm>
                <a:off x="1493800" y="6460066"/>
                <a:ext cx="215833" cy="46567"/>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9" name="Rectangle 44"/>
              <p:cNvSpPr>
                <a:spLocks noChangeArrowheads="1"/>
              </p:cNvSpPr>
              <p:nvPr/>
            </p:nvSpPr>
            <p:spPr bwMode="auto">
              <a:xfrm>
                <a:off x="1529772" y="5693833"/>
                <a:ext cx="143888" cy="766233"/>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0" name="Rectangle 45"/>
              <p:cNvSpPr>
                <a:spLocks noChangeArrowheads="1"/>
              </p:cNvSpPr>
              <p:nvPr/>
            </p:nvSpPr>
            <p:spPr bwMode="auto">
              <a:xfrm>
                <a:off x="2735896" y="5649384"/>
                <a:ext cx="211601" cy="44449"/>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1" name="Rectangle 46"/>
              <p:cNvSpPr>
                <a:spLocks noChangeArrowheads="1"/>
              </p:cNvSpPr>
              <p:nvPr/>
            </p:nvSpPr>
            <p:spPr bwMode="auto">
              <a:xfrm>
                <a:off x="2735896" y="6460066"/>
                <a:ext cx="211601" cy="46567"/>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2" name="Rectangle 47"/>
              <p:cNvSpPr>
                <a:spLocks noChangeArrowheads="1"/>
              </p:cNvSpPr>
              <p:nvPr/>
            </p:nvSpPr>
            <p:spPr bwMode="auto">
              <a:xfrm>
                <a:off x="2767635" y="5693833"/>
                <a:ext cx="146005" cy="766233"/>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3" name="Rectangle 48"/>
              <p:cNvSpPr>
                <a:spLocks noChangeArrowheads="1"/>
              </p:cNvSpPr>
              <p:nvPr/>
            </p:nvSpPr>
            <p:spPr bwMode="auto">
              <a:xfrm>
                <a:off x="2429074" y="5649384"/>
                <a:ext cx="211601" cy="44449"/>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4" name="Rectangle 49"/>
              <p:cNvSpPr>
                <a:spLocks noChangeArrowheads="1"/>
              </p:cNvSpPr>
              <p:nvPr/>
            </p:nvSpPr>
            <p:spPr bwMode="auto">
              <a:xfrm>
                <a:off x="2429074" y="6460066"/>
                <a:ext cx="211601" cy="46567"/>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5" name="Rectangle 50"/>
              <p:cNvSpPr>
                <a:spLocks noChangeArrowheads="1"/>
              </p:cNvSpPr>
              <p:nvPr/>
            </p:nvSpPr>
            <p:spPr bwMode="auto">
              <a:xfrm>
                <a:off x="2462931" y="5693833"/>
                <a:ext cx="146005" cy="766233"/>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grpSp>
          <p:nvGrpSpPr>
            <p:cNvPr id="57" name="Group 56"/>
            <p:cNvGrpSpPr>
              <a:grpSpLocks/>
            </p:cNvGrpSpPr>
            <p:nvPr/>
          </p:nvGrpSpPr>
          <p:grpSpPr bwMode="auto">
            <a:xfrm>
              <a:off x="3676651" y="5208588"/>
              <a:ext cx="542925" cy="571500"/>
              <a:chOff x="6624168" y="2430009"/>
              <a:chExt cx="525733" cy="552552"/>
            </a:xfrm>
          </p:grpSpPr>
          <p:grpSp>
            <p:nvGrpSpPr>
              <p:cNvPr id="39042" name="Group 57"/>
              <p:cNvGrpSpPr>
                <a:grpSpLocks/>
              </p:cNvGrpSpPr>
              <p:nvPr/>
            </p:nvGrpSpPr>
            <p:grpSpPr bwMode="auto">
              <a:xfrm flipH="1">
                <a:off x="6756402" y="2430009"/>
                <a:ext cx="245161" cy="552552"/>
                <a:chOff x="6945313" y="2481263"/>
                <a:chExt cx="206376" cy="465137"/>
              </a:xfrm>
            </p:grpSpPr>
            <p:sp>
              <p:nvSpPr>
                <p:cNvPr id="69" name="Rectangle 132"/>
                <p:cNvSpPr>
                  <a:spLocks noChangeArrowheads="1"/>
                </p:cNvSpPr>
                <p:nvPr/>
              </p:nvSpPr>
              <p:spPr bwMode="auto">
                <a:xfrm>
                  <a:off x="7035252" y="2806859"/>
                  <a:ext cx="25881" cy="139541"/>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70" name="Rectangle 133"/>
                <p:cNvSpPr>
                  <a:spLocks noChangeArrowheads="1"/>
                </p:cNvSpPr>
                <p:nvPr/>
              </p:nvSpPr>
              <p:spPr bwMode="auto">
                <a:xfrm>
                  <a:off x="7035252" y="2806859"/>
                  <a:ext cx="25881" cy="139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71" name="Freeform 134"/>
                <p:cNvSpPr>
                  <a:spLocks/>
                </p:cNvSpPr>
                <p:nvPr/>
              </p:nvSpPr>
              <p:spPr bwMode="auto">
                <a:xfrm>
                  <a:off x="6944670" y="2481263"/>
                  <a:ext cx="207046" cy="348853"/>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72" name="Freeform 135"/>
                <p:cNvSpPr>
                  <a:spLocks/>
                </p:cNvSpPr>
                <p:nvPr/>
              </p:nvSpPr>
              <p:spPr bwMode="auto">
                <a:xfrm>
                  <a:off x="7048193" y="2481263"/>
                  <a:ext cx="103523" cy="348853"/>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9043" name="Group 58"/>
              <p:cNvGrpSpPr>
                <a:grpSpLocks/>
              </p:cNvGrpSpPr>
              <p:nvPr/>
            </p:nvGrpSpPr>
            <p:grpSpPr bwMode="auto">
              <a:xfrm flipH="1">
                <a:off x="6624168" y="2547427"/>
                <a:ext cx="189186" cy="426393"/>
                <a:chOff x="6945313" y="2481263"/>
                <a:chExt cx="206376" cy="465137"/>
              </a:xfrm>
            </p:grpSpPr>
            <p:sp>
              <p:nvSpPr>
                <p:cNvPr id="65" name="Rectangle 132"/>
                <p:cNvSpPr>
                  <a:spLocks noChangeArrowheads="1"/>
                </p:cNvSpPr>
                <p:nvPr/>
              </p:nvSpPr>
              <p:spPr bwMode="auto">
                <a:xfrm>
                  <a:off x="7035982" y="2806920"/>
                  <a:ext cx="25154" cy="138970"/>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66" name="Rectangle 133"/>
                <p:cNvSpPr>
                  <a:spLocks noChangeArrowheads="1"/>
                </p:cNvSpPr>
                <p:nvPr/>
              </p:nvSpPr>
              <p:spPr bwMode="auto">
                <a:xfrm>
                  <a:off x="7035982" y="2806920"/>
                  <a:ext cx="25154" cy="138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67" name="Freeform 134"/>
                <p:cNvSpPr>
                  <a:spLocks/>
                </p:cNvSpPr>
                <p:nvPr/>
              </p:nvSpPr>
              <p:spPr bwMode="auto">
                <a:xfrm>
                  <a:off x="6945429" y="2482099"/>
                  <a:ext cx="206260" cy="348261"/>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68" name="Freeform 135"/>
                <p:cNvSpPr>
                  <a:spLocks/>
                </p:cNvSpPr>
                <p:nvPr/>
              </p:nvSpPr>
              <p:spPr bwMode="auto">
                <a:xfrm>
                  <a:off x="7047721" y="2482099"/>
                  <a:ext cx="103968" cy="348261"/>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9044" name="Group 59"/>
              <p:cNvGrpSpPr>
                <a:grpSpLocks/>
              </p:cNvGrpSpPr>
              <p:nvPr/>
            </p:nvGrpSpPr>
            <p:grpSpPr bwMode="auto">
              <a:xfrm flipH="1">
                <a:off x="6960715" y="2547427"/>
                <a:ext cx="189186" cy="426393"/>
                <a:chOff x="6945313" y="2481263"/>
                <a:chExt cx="206376" cy="465137"/>
              </a:xfrm>
            </p:grpSpPr>
            <p:sp>
              <p:nvSpPr>
                <p:cNvPr id="61" name="Rectangle 132"/>
                <p:cNvSpPr>
                  <a:spLocks noChangeArrowheads="1"/>
                </p:cNvSpPr>
                <p:nvPr/>
              </p:nvSpPr>
              <p:spPr bwMode="auto">
                <a:xfrm>
                  <a:off x="7035866" y="2806920"/>
                  <a:ext cx="25153" cy="138970"/>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62" name="Rectangle 133"/>
                <p:cNvSpPr>
                  <a:spLocks noChangeArrowheads="1"/>
                </p:cNvSpPr>
                <p:nvPr/>
              </p:nvSpPr>
              <p:spPr bwMode="auto">
                <a:xfrm>
                  <a:off x="7035866" y="2806920"/>
                  <a:ext cx="25153" cy="138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63" name="Freeform 134"/>
                <p:cNvSpPr>
                  <a:spLocks/>
                </p:cNvSpPr>
                <p:nvPr/>
              </p:nvSpPr>
              <p:spPr bwMode="auto">
                <a:xfrm>
                  <a:off x="6945313" y="2482099"/>
                  <a:ext cx="206259" cy="348261"/>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64" name="Freeform 135"/>
                <p:cNvSpPr>
                  <a:spLocks/>
                </p:cNvSpPr>
                <p:nvPr/>
              </p:nvSpPr>
              <p:spPr bwMode="auto">
                <a:xfrm>
                  <a:off x="7047604" y="2482099"/>
                  <a:ext cx="103968" cy="348261"/>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grpSp>
          <p:nvGrpSpPr>
            <p:cNvPr id="73" name="Group 72"/>
            <p:cNvGrpSpPr>
              <a:grpSpLocks/>
            </p:cNvGrpSpPr>
            <p:nvPr/>
          </p:nvGrpSpPr>
          <p:grpSpPr bwMode="auto">
            <a:xfrm>
              <a:off x="2170113" y="5199063"/>
              <a:ext cx="544512" cy="571500"/>
              <a:chOff x="5379262" y="2417763"/>
              <a:chExt cx="525733" cy="552552"/>
            </a:xfrm>
          </p:grpSpPr>
          <p:grpSp>
            <p:nvGrpSpPr>
              <p:cNvPr id="39027" name="Group 73"/>
              <p:cNvGrpSpPr>
                <a:grpSpLocks/>
              </p:cNvGrpSpPr>
              <p:nvPr/>
            </p:nvGrpSpPr>
            <p:grpSpPr bwMode="auto">
              <a:xfrm flipH="1">
                <a:off x="5511496" y="2417763"/>
                <a:ext cx="245161" cy="552552"/>
                <a:chOff x="6945313" y="2481263"/>
                <a:chExt cx="206376" cy="465137"/>
              </a:xfrm>
            </p:grpSpPr>
            <p:sp>
              <p:nvSpPr>
                <p:cNvPr id="85" name="Rectangle 132"/>
                <p:cNvSpPr>
                  <a:spLocks noChangeArrowheads="1"/>
                </p:cNvSpPr>
                <p:nvPr/>
              </p:nvSpPr>
              <p:spPr bwMode="auto">
                <a:xfrm>
                  <a:off x="7035916" y="2806859"/>
                  <a:ext cx="25805" cy="139541"/>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6" name="Rectangle 133"/>
                <p:cNvSpPr>
                  <a:spLocks noChangeArrowheads="1"/>
                </p:cNvSpPr>
                <p:nvPr/>
              </p:nvSpPr>
              <p:spPr bwMode="auto">
                <a:xfrm>
                  <a:off x="7035916" y="2806859"/>
                  <a:ext cx="25805" cy="139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7" name="Freeform 134"/>
                <p:cNvSpPr>
                  <a:spLocks/>
                </p:cNvSpPr>
                <p:nvPr/>
              </p:nvSpPr>
              <p:spPr bwMode="auto">
                <a:xfrm>
                  <a:off x="6945597" y="2481263"/>
                  <a:ext cx="206443" cy="348853"/>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88" name="Freeform 135"/>
                <p:cNvSpPr>
                  <a:spLocks/>
                </p:cNvSpPr>
                <p:nvPr/>
              </p:nvSpPr>
              <p:spPr bwMode="auto">
                <a:xfrm>
                  <a:off x="7048819" y="2481263"/>
                  <a:ext cx="103221" cy="348853"/>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9028" name="Group 74"/>
              <p:cNvGrpSpPr>
                <a:grpSpLocks/>
              </p:cNvGrpSpPr>
              <p:nvPr/>
            </p:nvGrpSpPr>
            <p:grpSpPr bwMode="auto">
              <a:xfrm flipH="1">
                <a:off x="5379262" y="2535181"/>
                <a:ext cx="189186" cy="426393"/>
                <a:chOff x="6945313" y="2481263"/>
                <a:chExt cx="206376" cy="465137"/>
              </a:xfrm>
            </p:grpSpPr>
            <p:sp>
              <p:nvSpPr>
                <p:cNvPr id="81" name="Rectangle 132"/>
                <p:cNvSpPr>
                  <a:spLocks noChangeArrowheads="1"/>
                </p:cNvSpPr>
                <p:nvPr/>
              </p:nvSpPr>
              <p:spPr bwMode="auto">
                <a:xfrm>
                  <a:off x="7036320" y="2806920"/>
                  <a:ext cx="25080" cy="138970"/>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2" name="Rectangle 133"/>
                <p:cNvSpPr>
                  <a:spLocks noChangeArrowheads="1"/>
                </p:cNvSpPr>
                <p:nvPr/>
              </p:nvSpPr>
              <p:spPr bwMode="auto">
                <a:xfrm>
                  <a:off x="7036320" y="2806920"/>
                  <a:ext cx="25080" cy="138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3" name="Freeform 134"/>
                <p:cNvSpPr>
                  <a:spLocks/>
                </p:cNvSpPr>
                <p:nvPr/>
              </p:nvSpPr>
              <p:spPr bwMode="auto">
                <a:xfrm>
                  <a:off x="6946031" y="2482099"/>
                  <a:ext cx="205658" cy="348261"/>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84" name="Freeform 135"/>
                <p:cNvSpPr>
                  <a:spLocks/>
                </p:cNvSpPr>
                <p:nvPr/>
              </p:nvSpPr>
              <p:spPr bwMode="auto">
                <a:xfrm>
                  <a:off x="7048024" y="2482099"/>
                  <a:ext cx="103665" cy="348261"/>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9029" name="Group 75"/>
              <p:cNvGrpSpPr>
                <a:grpSpLocks/>
              </p:cNvGrpSpPr>
              <p:nvPr/>
            </p:nvGrpSpPr>
            <p:grpSpPr bwMode="auto">
              <a:xfrm flipH="1">
                <a:off x="5715809" y="2535181"/>
                <a:ext cx="189186" cy="426393"/>
                <a:chOff x="6945313" y="2481263"/>
                <a:chExt cx="206376" cy="465137"/>
              </a:xfrm>
            </p:grpSpPr>
            <p:sp>
              <p:nvSpPr>
                <p:cNvPr id="77" name="Rectangle 132"/>
                <p:cNvSpPr>
                  <a:spLocks noChangeArrowheads="1"/>
                </p:cNvSpPr>
                <p:nvPr/>
              </p:nvSpPr>
              <p:spPr bwMode="auto">
                <a:xfrm>
                  <a:off x="7035602" y="2806920"/>
                  <a:ext cx="25080" cy="138970"/>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78" name="Rectangle 133"/>
                <p:cNvSpPr>
                  <a:spLocks noChangeArrowheads="1"/>
                </p:cNvSpPr>
                <p:nvPr/>
              </p:nvSpPr>
              <p:spPr bwMode="auto">
                <a:xfrm>
                  <a:off x="7035602" y="2806920"/>
                  <a:ext cx="25080" cy="138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79" name="Freeform 134"/>
                <p:cNvSpPr>
                  <a:spLocks/>
                </p:cNvSpPr>
                <p:nvPr/>
              </p:nvSpPr>
              <p:spPr bwMode="auto">
                <a:xfrm>
                  <a:off x="6945313" y="2482099"/>
                  <a:ext cx="205658" cy="348261"/>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80" name="Freeform 135"/>
                <p:cNvSpPr>
                  <a:spLocks/>
                </p:cNvSpPr>
                <p:nvPr/>
              </p:nvSpPr>
              <p:spPr bwMode="auto">
                <a:xfrm>
                  <a:off x="7047306" y="2482099"/>
                  <a:ext cx="103665" cy="348261"/>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sp>
          <p:nvSpPr>
            <p:cNvPr id="7" name="Rectangle 6"/>
            <p:cNvSpPr>
              <a:spLocks noChangeArrowheads="1"/>
            </p:cNvSpPr>
            <p:nvPr/>
          </p:nvSpPr>
          <p:spPr bwMode="auto">
            <a:xfrm>
              <a:off x="1525589" y="3576639"/>
              <a:ext cx="28575" cy="333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nvGrpSpPr>
            <p:cNvPr id="18" name="Group 17"/>
            <p:cNvGrpSpPr>
              <a:grpSpLocks/>
            </p:cNvGrpSpPr>
            <p:nvPr/>
          </p:nvGrpSpPr>
          <p:grpSpPr bwMode="auto">
            <a:xfrm>
              <a:off x="1527176" y="3446464"/>
              <a:ext cx="9140825" cy="295275"/>
              <a:chOff x="3175" y="3451226"/>
              <a:chExt cx="12188825" cy="395287"/>
            </a:xfrm>
          </p:grpSpPr>
          <p:sp>
            <p:nvSpPr>
              <p:cNvPr id="6" name="Rectangle 5"/>
              <p:cNvSpPr>
                <a:spLocks noChangeArrowheads="1"/>
              </p:cNvSpPr>
              <p:nvPr/>
            </p:nvSpPr>
            <p:spPr bwMode="auto">
              <a:xfrm>
                <a:off x="3175" y="3451226"/>
                <a:ext cx="12188825" cy="39528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 name="Freeform 7"/>
              <p:cNvSpPr>
                <a:spLocks noEditPoints="1"/>
              </p:cNvSpPr>
              <p:nvPr/>
            </p:nvSpPr>
            <p:spPr bwMode="auto">
              <a:xfrm>
                <a:off x="117485" y="3625492"/>
                <a:ext cx="11949622" cy="44629"/>
              </a:xfrm>
              <a:custGeom>
                <a:avLst/>
                <a:gdLst>
                  <a:gd name="T0" fmla="*/ 7383 w 7527"/>
                  <a:gd name="T1" fmla="*/ 28 h 28"/>
                  <a:gd name="T2" fmla="*/ 7335 w 7527"/>
                  <a:gd name="T3" fmla="*/ 0 h 28"/>
                  <a:gd name="T4" fmla="*/ 7143 w 7527"/>
                  <a:gd name="T5" fmla="*/ 28 h 28"/>
                  <a:gd name="T6" fmla="*/ 7000 w 7527"/>
                  <a:gd name="T7" fmla="*/ 0 h 28"/>
                  <a:gd name="T8" fmla="*/ 6952 w 7527"/>
                  <a:gd name="T9" fmla="*/ 28 h 28"/>
                  <a:gd name="T10" fmla="*/ 6712 w 7527"/>
                  <a:gd name="T11" fmla="*/ 28 h 28"/>
                  <a:gd name="T12" fmla="*/ 6664 w 7527"/>
                  <a:gd name="T13" fmla="*/ 0 h 28"/>
                  <a:gd name="T14" fmla="*/ 6473 w 7527"/>
                  <a:gd name="T15" fmla="*/ 28 h 28"/>
                  <a:gd name="T16" fmla="*/ 6328 w 7527"/>
                  <a:gd name="T17" fmla="*/ 0 h 28"/>
                  <a:gd name="T18" fmla="*/ 6281 w 7527"/>
                  <a:gd name="T19" fmla="*/ 28 h 28"/>
                  <a:gd name="T20" fmla="*/ 6041 w 7527"/>
                  <a:gd name="T21" fmla="*/ 28 h 28"/>
                  <a:gd name="T22" fmla="*/ 5993 w 7527"/>
                  <a:gd name="T23" fmla="*/ 0 h 28"/>
                  <a:gd name="T24" fmla="*/ 5801 w 7527"/>
                  <a:gd name="T25" fmla="*/ 28 h 28"/>
                  <a:gd name="T26" fmla="*/ 5658 w 7527"/>
                  <a:gd name="T27" fmla="*/ 0 h 28"/>
                  <a:gd name="T28" fmla="*/ 5609 w 7527"/>
                  <a:gd name="T29" fmla="*/ 28 h 28"/>
                  <a:gd name="T30" fmla="*/ 5370 w 7527"/>
                  <a:gd name="T31" fmla="*/ 28 h 28"/>
                  <a:gd name="T32" fmla="*/ 5321 w 7527"/>
                  <a:gd name="T33" fmla="*/ 0 h 28"/>
                  <a:gd name="T34" fmla="*/ 5130 w 7527"/>
                  <a:gd name="T35" fmla="*/ 28 h 28"/>
                  <a:gd name="T36" fmla="*/ 4986 w 7527"/>
                  <a:gd name="T37" fmla="*/ 0 h 28"/>
                  <a:gd name="T38" fmla="*/ 4938 w 7527"/>
                  <a:gd name="T39" fmla="*/ 28 h 28"/>
                  <a:gd name="T40" fmla="*/ 4698 w 7527"/>
                  <a:gd name="T41" fmla="*/ 28 h 28"/>
                  <a:gd name="T42" fmla="*/ 4651 w 7527"/>
                  <a:gd name="T43" fmla="*/ 0 h 28"/>
                  <a:gd name="T44" fmla="*/ 4459 w 7527"/>
                  <a:gd name="T45" fmla="*/ 28 h 28"/>
                  <a:gd name="T46" fmla="*/ 4315 w 7527"/>
                  <a:gd name="T47" fmla="*/ 0 h 28"/>
                  <a:gd name="T48" fmla="*/ 4267 w 7527"/>
                  <a:gd name="T49" fmla="*/ 28 h 28"/>
                  <a:gd name="T50" fmla="*/ 4027 w 7527"/>
                  <a:gd name="T51" fmla="*/ 28 h 28"/>
                  <a:gd name="T52" fmla="*/ 3979 w 7527"/>
                  <a:gd name="T53" fmla="*/ 0 h 28"/>
                  <a:gd name="T54" fmla="*/ 3788 w 7527"/>
                  <a:gd name="T55" fmla="*/ 28 h 28"/>
                  <a:gd name="T56" fmla="*/ 3644 w 7527"/>
                  <a:gd name="T57" fmla="*/ 0 h 28"/>
                  <a:gd name="T58" fmla="*/ 3596 w 7527"/>
                  <a:gd name="T59" fmla="*/ 28 h 28"/>
                  <a:gd name="T60" fmla="*/ 3356 w 7527"/>
                  <a:gd name="T61" fmla="*/ 28 h 28"/>
                  <a:gd name="T62" fmla="*/ 3308 w 7527"/>
                  <a:gd name="T63" fmla="*/ 0 h 28"/>
                  <a:gd name="T64" fmla="*/ 3116 w 7527"/>
                  <a:gd name="T65" fmla="*/ 28 h 28"/>
                  <a:gd name="T66" fmla="*/ 2972 w 7527"/>
                  <a:gd name="T67" fmla="*/ 0 h 28"/>
                  <a:gd name="T68" fmla="*/ 2924 w 7527"/>
                  <a:gd name="T69" fmla="*/ 28 h 28"/>
                  <a:gd name="T70" fmla="*/ 2684 w 7527"/>
                  <a:gd name="T71" fmla="*/ 28 h 28"/>
                  <a:gd name="T72" fmla="*/ 2637 w 7527"/>
                  <a:gd name="T73" fmla="*/ 0 h 28"/>
                  <a:gd name="T74" fmla="*/ 2445 w 7527"/>
                  <a:gd name="T75" fmla="*/ 28 h 28"/>
                  <a:gd name="T76" fmla="*/ 2301 w 7527"/>
                  <a:gd name="T77" fmla="*/ 0 h 28"/>
                  <a:gd name="T78" fmla="*/ 2254 w 7527"/>
                  <a:gd name="T79" fmla="*/ 28 h 28"/>
                  <a:gd name="T80" fmla="*/ 2014 w 7527"/>
                  <a:gd name="T81" fmla="*/ 28 h 28"/>
                  <a:gd name="T82" fmla="*/ 1966 w 7527"/>
                  <a:gd name="T83" fmla="*/ 0 h 28"/>
                  <a:gd name="T84" fmla="*/ 1774 w 7527"/>
                  <a:gd name="T85" fmla="*/ 28 h 28"/>
                  <a:gd name="T86" fmla="*/ 1630 w 7527"/>
                  <a:gd name="T87" fmla="*/ 0 h 28"/>
                  <a:gd name="T88" fmla="*/ 1582 w 7527"/>
                  <a:gd name="T89" fmla="*/ 28 h 28"/>
                  <a:gd name="T90" fmla="*/ 1342 w 7527"/>
                  <a:gd name="T91" fmla="*/ 28 h 28"/>
                  <a:gd name="T92" fmla="*/ 1294 w 7527"/>
                  <a:gd name="T93" fmla="*/ 0 h 28"/>
                  <a:gd name="T94" fmla="*/ 1102 w 7527"/>
                  <a:gd name="T95" fmla="*/ 28 h 28"/>
                  <a:gd name="T96" fmla="*/ 959 w 7527"/>
                  <a:gd name="T97" fmla="*/ 0 h 28"/>
                  <a:gd name="T98" fmla="*/ 911 w 7527"/>
                  <a:gd name="T99" fmla="*/ 28 h 28"/>
                  <a:gd name="T100" fmla="*/ 671 w 7527"/>
                  <a:gd name="T101" fmla="*/ 28 h 28"/>
                  <a:gd name="T102" fmla="*/ 624 w 7527"/>
                  <a:gd name="T103" fmla="*/ 0 h 28"/>
                  <a:gd name="T104" fmla="*/ 432 w 7527"/>
                  <a:gd name="T105" fmla="*/ 28 h 28"/>
                  <a:gd name="T106" fmla="*/ 287 w 7527"/>
                  <a:gd name="T107" fmla="*/ 0 h 28"/>
                  <a:gd name="T108" fmla="*/ 239 w 7527"/>
                  <a:gd name="T109" fmla="*/ 28 h 28"/>
                  <a:gd name="T110" fmla="*/ 0 w 7527"/>
                  <a:gd name="T11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27" h="28">
                    <a:moveTo>
                      <a:pt x="7527" y="28"/>
                    </a:moveTo>
                    <a:lnTo>
                      <a:pt x="7480" y="28"/>
                    </a:lnTo>
                    <a:lnTo>
                      <a:pt x="7480" y="0"/>
                    </a:lnTo>
                    <a:lnTo>
                      <a:pt x="7527" y="0"/>
                    </a:lnTo>
                    <a:lnTo>
                      <a:pt x="7527" y="28"/>
                    </a:lnTo>
                    <a:close/>
                    <a:moveTo>
                      <a:pt x="7431" y="28"/>
                    </a:moveTo>
                    <a:lnTo>
                      <a:pt x="7383" y="28"/>
                    </a:lnTo>
                    <a:lnTo>
                      <a:pt x="7383" y="0"/>
                    </a:lnTo>
                    <a:lnTo>
                      <a:pt x="7431" y="0"/>
                    </a:lnTo>
                    <a:lnTo>
                      <a:pt x="7431" y="28"/>
                    </a:lnTo>
                    <a:close/>
                    <a:moveTo>
                      <a:pt x="7335" y="28"/>
                    </a:moveTo>
                    <a:lnTo>
                      <a:pt x="7288" y="28"/>
                    </a:lnTo>
                    <a:lnTo>
                      <a:pt x="7288" y="0"/>
                    </a:lnTo>
                    <a:lnTo>
                      <a:pt x="7335" y="0"/>
                    </a:lnTo>
                    <a:lnTo>
                      <a:pt x="7335" y="28"/>
                    </a:lnTo>
                    <a:close/>
                    <a:moveTo>
                      <a:pt x="7240" y="28"/>
                    </a:moveTo>
                    <a:lnTo>
                      <a:pt x="7191" y="28"/>
                    </a:lnTo>
                    <a:lnTo>
                      <a:pt x="7191" y="0"/>
                    </a:lnTo>
                    <a:lnTo>
                      <a:pt x="7240" y="0"/>
                    </a:lnTo>
                    <a:lnTo>
                      <a:pt x="7240" y="28"/>
                    </a:lnTo>
                    <a:close/>
                    <a:moveTo>
                      <a:pt x="7143" y="28"/>
                    </a:moveTo>
                    <a:lnTo>
                      <a:pt x="7096" y="28"/>
                    </a:lnTo>
                    <a:lnTo>
                      <a:pt x="7096" y="0"/>
                    </a:lnTo>
                    <a:lnTo>
                      <a:pt x="7143" y="0"/>
                    </a:lnTo>
                    <a:lnTo>
                      <a:pt x="7143" y="28"/>
                    </a:lnTo>
                    <a:close/>
                    <a:moveTo>
                      <a:pt x="7048" y="28"/>
                    </a:moveTo>
                    <a:lnTo>
                      <a:pt x="7000" y="28"/>
                    </a:lnTo>
                    <a:lnTo>
                      <a:pt x="7000" y="0"/>
                    </a:lnTo>
                    <a:lnTo>
                      <a:pt x="7048" y="0"/>
                    </a:lnTo>
                    <a:lnTo>
                      <a:pt x="7048" y="28"/>
                    </a:lnTo>
                    <a:close/>
                    <a:moveTo>
                      <a:pt x="6952" y="28"/>
                    </a:moveTo>
                    <a:lnTo>
                      <a:pt x="6904" y="28"/>
                    </a:lnTo>
                    <a:lnTo>
                      <a:pt x="6904" y="0"/>
                    </a:lnTo>
                    <a:lnTo>
                      <a:pt x="6952" y="0"/>
                    </a:lnTo>
                    <a:lnTo>
                      <a:pt x="6952" y="28"/>
                    </a:lnTo>
                    <a:close/>
                    <a:moveTo>
                      <a:pt x="6856" y="28"/>
                    </a:moveTo>
                    <a:lnTo>
                      <a:pt x="6808" y="28"/>
                    </a:lnTo>
                    <a:lnTo>
                      <a:pt x="6808" y="0"/>
                    </a:lnTo>
                    <a:lnTo>
                      <a:pt x="6856" y="0"/>
                    </a:lnTo>
                    <a:lnTo>
                      <a:pt x="6856" y="28"/>
                    </a:lnTo>
                    <a:close/>
                    <a:moveTo>
                      <a:pt x="6760" y="28"/>
                    </a:moveTo>
                    <a:lnTo>
                      <a:pt x="6712" y="28"/>
                    </a:lnTo>
                    <a:lnTo>
                      <a:pt x="6712" y="0"/>
                    </a:lnTo>
                    <a:lnTo>
                      <a:pt x="6760" y="0"/>
                    </a:lnTo>
                    <a:lnTo>
                      <a:pt x="6760" y="28"/>
                    </a:lnTo>
                    <a:close/>
                    <a:moveTo>
                      <a:pt x="6664" y="28"/>
                    </a:moveTo>
                    <a:lnTo>
                      <a:pt x="6616" y="28"/>
                    </a:lnTo>
                    <a:lnTo>
                      <a:pt x="6616" y="0"/>
                    </a:lnTo>
                    <a:lnTo>
                      <a:pt x="6664" y="0"/>
                    </a:lnTo>
                    <a:lnTo>
                      <a:pt x="6664" y="28"/>
                    </a:lnTo>
                    <a:close/>
                    <a:moveTo>
                      <a:pt x="6568" y="28"/>
                    </a:moveTo>
                    <a:lnTo>
                      <a:pt x="6520" y="28"/>
                    </a:lnTo>
                    <a:lnTo>
                      <a:pt x="6520" y="0"/>
                    </a:lnTo>
                    <a:lnTo>
                      <a:pt x="6568" y="0"/>
                    </a:lnTo>
                    <a:lnTo>
                      <a:pt x="6568" y="28"/>
                    </a:lnTo>
                    <a:close/>
                    <a:moveTo>
                      <a:pt x="6473" y="28"/>
                    </a:moveTo>
                    <a:lnTo>
                      <a:pt x="6425" y="28"/>
                    </a:lnTo>
                    <a:lnTo>
                      <a:pt x="6425" y="0"/>
                    </a:lnTo>
                    <a:lnTo>
                      <a:pt x="6473" y="0"/>
                    </a:lnTo>
                    <a:lnTo>
                      <a:pt x="6473" y="28"/>
                    </a:lnTo>
                    <a:close/>
                    <a:moveTo>
                      <a:pt x="6376" y="28"/>
                    </a:moveTo>
                    <a:lnTo>
                      <a:pt x="6328" y="28"/>
                    </a:lnTo>
                    <a:lnTo>
                      <a:pt x="6328" y="0"/>
                    </a:lnTo>
                    <a:lnTo>
                      <a:pt x="6376" y="0"/>
                    </a:lnTo>
                    <a:lnTo>
                      <a:pt x="6376" y="28"/>
                    </a:lnTo>
                    <a:close/>
                    <a:moveTo>
                      <a:pt x="6281" y="28"/>
                    </a:moveTo>
                    <a:lnTo>
                      <a:pt x="6233" y="28"/>
                    </a:lnTo>
                    <a:lnTo>
                      <a:pt x="6233" y="0"/>
                    </a:lnTo>
                    <a:lnTo>
                      <a:pt x="6281" y="0"/>
                    </a:lnTo>
                    <a:lnTo>
                      <a:pt x="6281" y="28"/>
                    </a:lnTo>
                    <a:close/>
                    <a:moveTo>
                      <a:pt x="6185" y="28"/>
                    </a:moveTo>
                    <a:lnTo>
                      <a:pt x="6136" y="28"/>
                    </a:lnTo>
                    <a:lnTo>
                      <a:pt x="6136" y="0"/>
                    </a:lnTo>
                    <a:lnTo>
                      <a:pt x="6185" y="0"/>
                    </a:lnTo>
                    <a:lnTo>
                      <a:pt x="6185" y="28"/>
                    </a:lnTo>
                    <a:close/>
                    <a:moveTo>
                      <a:pt x="6089" y="28"/>
                    </a:moveTo>
                    <a:lnTo>
                      <a:pt x="6041" y="28"/>
                    </a:lnTo>
                    <a:lnTo>
                      <a:pt x="6041" y="0"/>
                    </a:lnTo>
                    <a:lnTo>
                      <a:pt x="6089" y="0"/>
                    </a:lnTo>
                    <a:lnTo>
                      <a:pt x="6089" y="28"/>
                    </a:lnTo>
                    <a:close/>
                    <a:moveTo>
                      <a:pt x="5993" y="28"/>
                    </a:moveTo>
                    <a:lnTo>
                      <a:pt x="5945" y="28"/>
                    </a:lnTo>
                    <a:lnTo>
                      <a:pt x="5945" y="0"/>
                    </a:lnTo>
                    <a:lnTo>
                      <a:pt x="5993" y="0"/>
                    </a:lnTo>
                    <a:lnTo>
                      <a:pt x="5993" y="28"/>
                    </a:lnTo>
                    <a:close/>
                    <a:moveTo>
                      <a:pt x="5897" y="28"/>
                    </a:moveTo>
                    <a:lnTo>
                      <a:pt x="5849" y="28"/>
                    </a:lnTo>
                    <a:lnTo>
                      <a:pt x="5849" y="0"/>
                    </a:lnTo>
                    <a:lnTo>
                      <a:pt x="5897" y="0"/>
                    </a:lnTo>
                    <a:lnTo>
                      <a:pt x="5897" y="28"/>
                    </a:lnTo>
                    <a:close/>
                    <a:moveTo>
                      <a:pt x="5801" y="28"/>
                    </a:moveTo>
                    <a:lnTo>
                      <a:pt x="5753" y="28"/>
                    </a:lnTo>
                    <a:lnTo>
                      <a:pt x="5753" y="0"/>
                    </a:lnTo>
                    <a:lnTo>
                      <a:pt x="5801" y="0"/>
                    </a:lnTo>
                    <a:lnTo>
                      <a:pt x="5801" y="28"/>
                    </a:lnTo>
                    <a:close/>
                    <a:moveTo>
                      <a:pt x="5705" y="28"/>
                    </a:moveTo>
                    <a:lnTo>
                      <a:pt x="5658" y="28"/>
                    </a:lnTo>
                    <a:lnTo>
                      <a:pt x="5658" y="0"/>
                    </a:lnTo>
                    <a:lnTo>
                      <a:pt x="5705" y="0"/>
                    </a:lnTo>
                    <a:lnTo>
                      <a:pt x="5705" y="28"/>
                    </a:lnTo>
                    <a:close/>
                    <a:moveTo>
                      <a:pt x="5609" y="28"/>
                    </a:moveTo>
                    <a:lnTo>
                      <a:pt x="5561" y="28"/>
                    </a:lnTo>
                    <a:lnTo>
                      <a:pt x="5561" y="0"/>
                    </a:lnTo>
                    <a:lnTo>
                      <a:pt x="5609" y="0"/>
                    </a:lnTo>
                    <a:lnTo>
                      <a:pt x="5609" y="28"/>
                    </a:lnTo>
                    <a:close/>
                    <a:moveTo>
                      <a:pt x="5513" y="28"/>
                    </a:moveTo>
                    <a:lnTo>
                      <a:pt x="5466" y="28"/>
                    </a:lnTo>
                    <a:lnTo>
                      <a:pt x="5466" y="0"/>
                    </a:lnTo>
                    <a:lnTo>
                      <a:pt x="5513" y="0"/>
                    </a:lnTo>
                    <a:lnTo>
                      <a:pt x="5513" y="28"/>
                    </a:lnTo>
                    <a:close/>
                    <a:moveTo>
                      <a:pt x="5418" y="28"/>
                    </a:moveTo>
                    <a:lnTo>
                      <a:pt x="5370" y="28"/>
                    </a:lnTo>
                    <a:lnTo>
                      <a:pt x="5370" y="0"/>
                    </a:lnTo>
                    <a:lnTo>
                      <a:pt x="5418" y="0"/>
                    </a:lnTo>
                    <a:lnTo>
                      <a:pt x="5418" y="28"/>
                    </a:lnTo>
                    <a:close/>
                    <a:moveTo>
                      <a:pt x="5321" y="28"/>
                    </a:moveTo>
                    <a:lnTo>
                      <a:pt x="5274" y="28"/>
                    </a:lnTo>
                    <a:lnTo>
                      <a:pt x="5274" y="0"/>
                    </a:lnTo>
                    <a:lnTo>
                      <a:pt x="5321" y="0"/>
                    </a:lnTo>
                    <a:lnTo>
                      <a:pt x="5321" y="28"/>
                    </a:lnTo>
                    <a:close/>
                    <a:moveTo>
                      <a:pt x="5226" y="28"/>
                    </a:moveTo>
                    <a:lnTo>
                      <a:pt x="5178" y="28"/>
                    </a:lnTo>
                    <a:lnTo>
                      <a:pt x="5178" y="0"/>
                    </a:lnTo>
                    <a:lnTo>
                      <a:pt x="5226" y="0"/>
                    </a:lnTo>
                    <a:lnTo>
                      <a:pt x="5226" y="28"/>
                    </a:lnTo>
                    <a:close/>
                    <a:moveTo>
                      <a:pt x="5130" y="28"/>
                    </a:moveTo>
                    <a:lnTo>
                      <a:pt x="5082" y="28"/>
                    </a:lnTo>
                    <a:lnTo>
                      <a:pt x="5082" y="0"/>
                    </a:lnTo>
                    <a:lnTo>
                      <a:pt x="5130" y="0"/>
                    </a:lnTo>
                    <a:lnTo>
                      <a:pt x="5130" y="28"/>
                    </a:lnTo>
                    <a:close/>
                    <a:moveTo>
                      <a:pt x="5034" y="28"/>
                    </a:moveTo>
                    <a:lnTo>
                      <a:pt x="4986" y="28"/>
                    </a:lnTo>
                    <a:lnTo>
                      <a:pt x="4986" y="0"/>
                    </a:lnTo>
                    <a:lnTo>
                      <a:pt x="5034" y="0"/>
                    </a:lnTo>
                    <a:lnTo>
                      <a:pt x="5034" y="28"/>
                    </a:lnTo>
                    <a:close/>
                    <a:moveTo>
                      <a:pt x="4938" y="28"/>
                    </a:moveTo>
                    <a:lnTo>
                      <a:pt x="4890" y="28"/>
                    </a:lnTo>
                    <a:lnTo>
                      <a:pt x="4890" y="0"/>
                    </a:lnTo>
                    <a:lnTo>
                      <a:pt x="4938" y="0"/>
                    </a:lnTo>
                    <a:lnTo>
                      <a:pt x="4938" y="28"/>
                    </a:lnTo>
                    <a:close/>
                    <a:moveTo>
                      <a:pt x="4843" y="28"/>
                    </a:moveTo>
                    <a:lnTo>
                      <a:pt x="4794" y="28"/>
                    </a:lnTo>
                    <a:lnTo>
                      <a:pt x="4794" y="0"/>
                    </a:lnTo>
                    <a:lnTo>
                      <a:pt x="4843" y="0"/>
                    </a:lnTo>
                    <a:lnTo>
                      <a:pt x="4843" y="28"/>
                    </a:lnTo>
                    <a:close/>
                    <a:moveTo>
                      <a:pt x="4746" y="28"/>
                    </a:moveTo>
                    <a:lnTo>
                      <a:pt x="4698" y="28"/>
                    </a:lnTo>
                    <a:lnTo>
                      <a:pt x="4698" y="0"/>
                    </a:lnTo>
                    <a:lnTo>
                      <a:pt x="4746" y="0"/>
                    </a:lnTo>
                    <a:lnTo>
                      <a:pt x="4746" y="28"/>
                    </a:lnTo>
                    <a:close/>
                    <a:moveTo>
                      <a:pt x="4651" y="28"/>
                    </a:moveTo>
                    <a:lnTo>
                      <a:pt x="4603" y="28"/>
                    </a:lnTo>
                    <a:lnTo>
                      <a:pt x="4603" y="0"/>
                    </a:lnTo>
                    <a:lnTo>
                      <a:pt x="4651" y="0"/>
                    </a:lnTo>
                    <a:lnTo>
                      <a:pt x="4651" y="28"/>
                    </a:lnTo>
                    <a:close/>
                    <a:moveTo>
                      <a:pt x="4554" y="28"/>
                    </a:moveTo>
                    <a:lnTo>
                      <a:pt x="4506" y="28"/>
                    </a:lnTo>
                    <a:lnTo>
                      <a:pt x="4506" y="0"/>
                    </a:lnTo>
                    <a:lnTo>
                      <a:pt x="4554" y="0"/>
                    </a:lnTo>
                    <a:lnTo>
                      <a:pt x="4554" y="28"/>
                    </a:lnTo>
                    <a:close/>
                    <a:moveTo>
                      <a:pt x="4459" y="28"/>
                    </a:moveTo>
                    <a:lnTo>
                      <a:pt x="4411" y="28"/>
                    </a:lnTo>
                    <a:lnTo>
                      <a:pt x="4411" y="0"/>
                    </a:lnTo>
                    <a:lnTo>
                      <a:pt x="4459" y="0"/>
                    </a:lnTo>
                    <a:lnTo>
                      <a:pt x="4459" y="28"/>
                    </a:lnTo>
                    <a:close/>
                    <a:moveTo>
                      <a:pt x="4363" y="28"/>
                    </a:moveTo>
                    <a:lnTo>
                      <a:pt x="4315" y="28"/>
                    </a:lnTo>
                    <a:lnTo>
                      <a:pt x="4315" y="0"/>
                    </a:lnTo>
                    <a:lnTo>
                      <a:pt x="4363" y="0"/>
                    </a:lnTo>
                    <a:lnTo>
                      <a:pt x="4363" y="28"/>
                    </a:lnTo>
                    <a:close/>
                    <a:moveTo>
                      <a:pt x="4267" y="28"/>
                    </a:moveTo>
                    <a:lnTo>
                      <a:pt x="4219" y="28"/>
                    </a:lnTo>
                    <a:lnTo>
                      <a:pt x="4219" y="0"/>
                    </a:lnTo>
                    <a:lnTo>
                      <a:pt x="4267" y="0"/>
                    </a:lnTo>
                    <a:lnTo>
                      <a:pt x="4267" y="28"/>
                    </a:lnTo>
                    <a:close/>
                    <a:moveTo>
                      <a:pt x="4171" y="28"/>
                    </a:moveTo>
                    <a:lnTo>
                      <a:pt x="4123" y="28"/>
                    </a:lnTo>
                    <a:lnTo>
                      <a:pt x="4123" y="0"/>
                    </a:lnTo>
                    <a:lnTo>
                      <a:pt x="4171" y="0"/>
                    </a:lnTo>
                    <a:lnTo>
                      <a:pt x="4171" y="28"/>
                    </a:lnTo>
                    <a:close/>
                    <a:moveTo>
                      <a:pt x="4076" y="28"/>
                    </a:moveTo>
                    <a:lnTo>
                      <a:pt x="4027" y="28"/>
                    </a:lnTo>
                    <a:lnTo>
                      <a:pt x="4027" y="0"/>
                    </a:lnTo>
                    <a:lnTo>
                      <a:pt x="4076" y="0"/>
                    </a:lnTo>
                    <a:lnTo>
                      <a:pt x="4076" y="28"/>
                    </a:lnTo>
                    <a:close/>
                    <a:moveTo>
                      <a:pt x="3979" y="28"/>
                    </a:moveTo>
                    <a:lnTo>
                      <a:pt x="3931" y="28"/>
                    </a:lnTo>
                    <a:lnTo>
                      <a:pt x="3931" y="0"/>
                    </a:lnTo>
                    <a:lnTo>
                      <a:pt x="3979" y="0"/>
                    </a:lnTo>
                    <a:lnTo>
                      <a:pt x="3979" y="28"/>
                    </a:lnTo>
                    <a:close/>
                    <a:moveTo>
                      <a:pt x="3883" y="28"/>
                    </a:moveTo>
                    <a:lnTo>
                      <a:pt x="3836" y="28"/>
                    </a:lnTo>
                    <a:lnTo>
                      <a:pt x="3836" y="0"/>
                    </a:lnTo>
                    <a:lnTo>
                      <a:pt x="3883" y="0"/>
                    </a:lnTo>
                    <a:lnTo>
                      <a:pt x="3883" y="28"/>
                    </a:lnTo>
                    <a:close/>
                    <a:moveTo>
                      <a:pt x="3788" y="28"/>
                    </a:moveTo>
                    <a:lnTo>
                      <a:pt x="3739" y="28"/>
                    </a:lnTo>
                    <a:lnTo>
                      <a:pt x="3739" y="0"/>
                    </a:lnTo>
                    <a:lnTo>
                      <a:pt x="3788" y="0"/>
                    </a:lnTo>
                    <a:lnTo>
                      <a:pt x="3788" y="28"/>
                    </a:lnTo>
                    <a:close/>
                    <a:moveTo>
                      <a:pt x="3691" y="28"/>
                    </a:moveTo>
                    <a:lnTo>
                      <a:pt x="3644" y="28"/>
                    </a:lnTo>
                    <a:lnTo>
                      <a:pt x="3644" y="0"/>
                    </a:lnTo>
                    <a:lnTo>
                      <a:pt x="3691" y="0"/>
                    </a:lnTo>
                    <a:lnTo>
                      <a:pt x="3691" y="28"/>
                    </a:lnTo>
                    <a:close/>
                    <a:moveTo>
                      <a:pt x="3596" y="28"/>
                    </a:moveTo>
                    <a:lnTo>
                      <a:pt x="3548" y="28"/>
                    </a:lnTo>
                    <a:lnTo>
                      <a:pt x="3548" y="0"/>
                    </a:lnTo>
                    <a:lnTo>
                      <a:pt x="3596" y="0"/>
                    </a:lnTo>
                    <a:lnTo>
                      <a:pt x="3596" y="28"/>
                    </a:lnTo>
                    <a:close/>
                    <a:moveTo>
                      <a:pt x="3499" y="28"/>
                    </a:moveTo>
                    <a:lnTo>
                      <a:pt x="3452" y="28"/>
                    </a:lnTo>
                    <a:lnTo>
                      <a:pt x="3452" y="0"/>
                    </a:lnTo>
                    <a:lnTo>
                      <a:pt x="3499" y="0"/>
                    </a:lnTo>
                    <a:lnTo>
                      <a:pt x="3499" y="28"/>
                    </a:lnTo>
                    <a:close/>
                    <a:moveTo>
                      <a:pt x="3404" y="28"/>
                    </a:moveTo>
                    <a:lnTo>
                      <a:pt x="3356" y="28"/>
                    </a:lnTo>
                    <a:lnTo>
                      <a:pt x="3356" y="0"/>
                    </a:lnTo>
                    <a:lnTo>
                      <a:pt x="3404" y="0"/>
                    </a:lnTo>
                    <a:lnTo>
                      <a:pt x="3404" y="28"/>
                    </a:lnTo>
                    <a:close/>
                    <a:moveTo>
                      <a:pt x="3308" y="28"/>
                    </a:moveTo>
                    <a:lnTo>
                      <a:pt x="3261" y="28"/>
                    </a:lnTo>
                    <a:lnTo>
                      <a:pt x="3261" y="0"/>
                    </a:lnTo>
                    <a:lnTo>
                      <a:pt x="3308" y="0"/>
                    </a:lnTo>
                    <a:lnTo>
                      <a:pt x="3308" y="28"/>
                    </a:lnTo>
                    <a:close/>
                    <a:moveTo>
                      <a:pt x="3212" y="28"/>
                    </a:moveTo>
                    <a:lnTo>
                      <a:pt x="3164" y="28"/>
                    </a:lnTo>
                    <a:lnTo>
                      <a:pt x="3164" y="0"/>
                    </a:lnTo>
                    <a:lnTo>
                      <a:pt x="3212" y="0"/>
                    </a:lnTo>
                    <a:lnTo>
                      <a:pt x="3212" y="28"/>
                    </a:lnTo>
                    <a:close/>
                    <a:moveTo>
                      <a:pt x="3116" y="28"/>
                    </a:moveTo>
                    <a:lnTo>
                      <a:pt x="3068" y="28"/>
                    </a:lnTo>
                    <a:lnTo>
                      <a:pt x="3068" y="0"/>
                    </a:lnTo>
                    <a:lnTo>
                      <a:pt x="3116" y="0"/>
                    </a:lnTo>
                    <a:lnTo>
                      <a:pt x="3116" y="28"/>
                    </a:lnTo>
                    <a:close/>
                    <a:moveTo>
                      <a:pt x="3021" y="28"/>
                    </a:moveTo>
                    <a:lnTo>
                      <a:pt x="2972" y="28"/>
                    </a:lnTo>
                    <a:lnTo>
                      <a:pt x="2972" y="0"/>
                    </a:lnTo>
                    <a:lnTo>
                      <a:pt x="3021" y="0"/>
                    </a:lnTo>
                    <a:lnTo>
                      <a:pt x="3021" y="28"/>
                    </a:lnTo>
                    <a:close/>
                    <a:moveTo>
                      <a:pt x="2924" y="28"/>
                    </a:moveTo>
                    <a:lnTo>
                      <a:pt x="2876" y="28"/>
                    </a:lnTo>
                    <a:lnTo>
                      <a:pt x="2876" y="0"/>
                    </a:lnTo>
                    <a:lnTo>
                      <a:pt x="2924" y="0"/>
                    </a:lnTo>
                    <a:lnTo>
                      <a:pt x="2924" y="28"/>
                    </a:lnTo>
                    <a:close/>
                    <a:moveTo>
                      <a:pt x="2829" y="28"/>
                    </a:moveTo>
                    <a:lnTo>
                      <a:pt x="2781" y="28"/>
                    </a:lnTo>
                    <a:lnTo>
                      <a:pt x="2781" y="0"/>
                    </a:lnTo>
                    <a:lnTo>
                      <a:pt x="2829" y="0"/>
                    </a:lnTo>
                    <a:lnTo>
                      <a:pt x="2829" y="28"/>
                    </a:lnTo>
                    <a:close/>
                    <a:moveTo>
                      <a:pt x="2733" y="28"/>
                    </a:moveTo>
                    <a:lnTo>
                      <a:pt x="2684" y="28"/>
                    </a:lnTo>
                    <a:lnTo>
                      <a:pt x="2684" y="0"/>
                    </a:lnTo>
                    <a:lnTo>
                      <a:pt x="2733" y="0"/>
                    </a:lnTo>
                    <a:lnTo>
                      <a:pt x="2733" y="28"/>
                    </a:lnTo>
                    <a:close/>
                    <a:moveTo>
                      <a:pt x="2637" y="28"/>
                    </a:moveTo>
                    <a:lnTo>
                      <a:pt x="2589" y="28"/>
                    </a:lnTo>
                    <a:lnTo>
                      <a:pt x="2589" y="0"/>
                    </a:lnTo>
                    <a:lnTo>
                      <a:pt x="2637" y="0"/>
                    </a:lnTo>
                    <a:lnTo>
                      <a:pt x="2637" y="28"/>
                    </a:lnTo>
                    <a:close/>
                    <a:moveTo>
                      <a:pt x="2541" y="28"/>
                    </a:moveTo>
                    <a:lnTo>
                      <a:pt x="2493" y="28"/>
                    </a:lnTo>
                    <a:lnTo>
                      <a:pt x="2493" y="0"/>
                    </a:lnTo>
                    <a:lnTo>
                      <a:pt x="2541" y="0"/>
                    </a:lnTo>
                    <a:lnTo>
                      <a:pt x="2541" y="28"/>
                    </a:lnTo>
                    <a:close/>
                    <a:moveTo>
                      <a:pt x="2445" y="28"/>
                    </a:moveTo>
                    <a:lnTo>
                      <a:pt x="2397" y="28"/>
                    </a:lnTo>
                    <a:lnTo>
                      <a:pt x="2397" y="0"/>
                    </a:lnTo>
                    <a:lnTo>
                      <a:pt x="2445" y="0"/>
                    </a:lnTo>
                    <a:lnTo>
                      <a:pt x="2445" y="28"/>
                    </a:lnTo>
                    <a:close/>
                    <a:moveTo>
                      <a:pt x="2349" y="28"/>
                    </a:moveTo>
                    <a:lnTo>
                      <a:pt x="2301" y="28"/>
                    </a:lnTo>
                    <a:lnTo>
                      <a:pt x="2301" y="0"/>
                    </a:lnTo>
                    <a:lnTo>
                      <a:pt x="2349" y="0"/>
                    </a:lnTo>
                    <a:lnTo>
                      <a:pt x="2349" y="28"/>
                    </a:lnTo>
                    <a:close/>
                    <a:moveTo>
                      <a:pt x="2254" y="28"/>
                    </a:moveTo>
                    <a:lnTo>
                      <a:pt x="2206" y="28"/>
                    </a:lnTo>
                    <a:lnTo>
                      <a:pt x="2206" y="0"/>
                    </a:lnTo>
                    <a:lnTo>
                      <a:pt x="2254" y="0"/>
                    </a:lnTo>
                    <a:lnTo>
                      <a:pt x="2254" y="28"/>
                    </a:lnTo>
                    <a:close/>
                    <a:moveTo>
                      <a:pt x="2157" y="28"/>
                    </a:moveTo>
                    <a:lnTo>
                      <a:pt x="2109" y="28"/>
                    </a:lnTo>
                    <a:lnTo>
                      <a:pt x="2109" y="0"/>
                    </a:lnTo>
                    <a:lnTo>
                      <a:pt x="2157" y="0"/>
                    </a:lnTo>
                    <a:lnTo>
                      <a:pt x="2157" y="28"/>
                    </a:lnTo>
                    <a:close/>
                    <a:moveTo>
                      <a:pt x="2061" y="28"/>
                    </a:moveTo>
                    <a:lnTo>
                      <a:pt x="2014" y="28"/>
                    </a:lnTo>
                    <a:lnTo>
                      <a:pt x="2014" y="0"/>
                    </a:lnTo>
                    <a:lnTo>
                      <a:pt x="2061" y="0"/>
                    </a:lnTo>
                    <a:lnTo>
                      <a:pt x="2061" y="28"/>
                    </a:lnTo>
                    <a:close/>
                    <a:moveTo>
                      <a:pt x="1966" y="28"/>
                    </a:moveTo>
                    <a:lnTo>
                      <a:pt x="1917" y="28"/>
                    </a:lnTo>
                    <a:lnTo>
                      <a:pt x="1917" y="0"/>
                    </a:lnTo>
                    <a:lnTo>
                      <a:pt x="1966" y="0"/>
                    </a:lnTo>
                    <a:lnTo>
                      <a:pt x="1966" y="28"/>
                    </a:lnTo>
                    <a:close/>
                    <a:moveTo>
                      <a:pt x="1869" y="28"/>
                    </a:moveTo>
                    <a:lnTo>
                      <a:pt x="1822" y="28"/>
                    </a:lnTo>
                    <a:lnTo>
                      <a:pt x="1822" y="0"/>
                    </a:lnTo>
                    <a:lnTo>
                      <a:pt x="1869" y="0"/>
                    </a:lnTo>
                    <a:lnTo>
                      <a:pt x="1869" y="28"/>
                    </a:lnTo>
                    <a:close/>
                    <a:moveTo>
                      <a:pt x="1774" y="28"/>
                    </a:moveTo>
                    <a:lnTo>
                      <a:pt x="1726" y="28"/>
                    </a:lnTo>
                    <a:lnTo>
                      <a:pt x="1726" y="0"/>
                    </a:lnTo>
                    <a:lnTo>
                      <a:pt x="1774" y="0"/>
                    </a:lnTo>
                    <a:lnTo>
                      <a:pt x="1774" y="28"/>
                    </a:lnTo>
                    <a:close/>
                    <a:moveTo>
                      <a:pt x="1678" y="28"/>
                    </a:moveTo>
                    <a:lnTo>
                      <a:pt x="1630" y="28"/>
                    </a:lnTo>
                    <a:lnTo>
                      <a:pt x="1630" y="0"/>
                    </a:lnTo>
                    <a:lnTo>
                      <a:pt x="1678" y="0"/>
                    </a:lnTo>
                    <a:lnTo>
                      <a:pt x="1678" y="28"/>
                    </a:lnTo>
                    <a:close/>
                    <a:moveTo>
                      <a:pt x="1582" y="28"/>
                    </a:moveTo>
                    <a:lnTo>
                      <a:pt x="1534" y="28"/>
                    </a:lnTo>
                    <a:lnTo>
                      <a:pt x="1534" y="0"/>
                    </a:lnTo>
                    <a:lnTo>
                      <a:pt x="1582" y="0"/>
                    </a:lnTo>
                    <a:lnTo>
                      <a:pt x="1582" y="28"/>
                    </a:lnTo>
                    <a:close/>
                    <a:moveTo>
                      <a:pt x="1486" y="28"/>
                    </a:moveTo>
                    <a:lnTo>
                      <a:pt x="1439" y="28"/>
                    </a:lnTo>
                    <a:lnTo>
                      <a:pt x="1439" y="0"/>
                    </a:lnTo>
                    <a:lnTo>
                      <a:pt x="1486" y="0"/>
                    </a:lnTo>
                    <a:lnTo>
                      <a:pt x="1486" y="28"/>
                    </a:lnTo>
                    <a:close/>
                    <a:moveTo>
                      <a:pt x="1390" y="28"/>
                    </a:moveTo>
                    <a:lnTo>
                      <a:pt x="1342" y="28"/>
                    </a:lnTo>
                    <a:lnTo>
                      <a:pt x="1342" y="0"/>
                    </a:lnTo>
                    <a:lnTo>
                      <a:pt x="1390" y="0"/>
                    </a:lnTo>
                    <a:lnTo>
                      <a:pt x="1390" y="28"/>
                    </a:lnTo>
                    <a:close/>
                    <a:moveTo>
                      <a:pt x="1294" y="28"/>
                    </a:moveTo>
                    <a:lnTo>
                      <a:pt x="1247" y="28"/>
                    </a:lnTo>
                    <a:lnTo>
                      <a:pt x="1247" y="0"/>
                    </a:lnTo>
                    <a:lnTo>
                      <a:pt x="1294" y="0"/>
                    </a:lnTo>
                    <a:lnTo>
                      <a:pt x="1294" y="28"/>
                    </a:lnTo>
                    <a:close/>
                    <a:moveTo>
                      <a:pt x="1199" y="28"/>
                    </a:moveTo>
                    <a:lnTo>
                      <a:pt x="1151" y="28"/>
                    </a:lnTo>
                    <a:lnTo>
                      <a:pt x="1151" y="0"/>
                    </a:lnTo>
                    <a:lnTo>
                      <a:pt x="1199" y="0"/>
                    </a:lnTo>
                    <a:lnTo>
                      <a:pt x="1199" y="28"/>
                    </a:lnTo>
                    <a:close/>
                    <a:moveTo>
                      <a:pt x="1102" y="28"/>
                    </a:moveTo>
                    <a:lnTo>
                      <a:pt x="1054" y="28"/>
                    </a:lnTo>
                    <a:lnTo>
                      <a:pt x="1054" y="0"/>
                    </a:lnTo>
                    <a:lnTo>
                      <a:pt x="1102" y="0"/>
                    </a:lnTo>
                    <a:lnTo>
                      <a:pt x="1102" y="28"/>
                    </a:lnTo>
                    <a:close/>
                    <a:moveTo>
                      <a:pt x="1007" y="28"/>
                    </a:moveTo>
                    <a:lnTo>
                      <a:pt x="959" y="28"/>
                    </a:lnTo>
                    <a:lnTo>
                      <a:pt x="959" y="0"/>
                    </a:lnTo>
                    <a:lnTo>
                      <a:pt x="1007" y="0"/>
                    </a:lnTo>
                    <a:lnTo>
                      <a:pt x="1007" y="28"/>
                    </a:lnTo>
                    <a:close/>
                    <a:moveTo>
                      <a:pt x="911" y="28"/>
                    </a:moveTo>
                    <a:lnTo>
                      <a:pt x="862" y="28"/>
                    </a:lnTo>
                    <a:lnTo>
                      <a:pt x="862" y="0"/>
                    </a:lnTo>
                    <a:lnTo>
                      <a:pt x="911" y="0"/>
                    </a:lnTo>
                    <a:lnTo>
                      <a:pt x="911" y="28"/>
                    </a:lnTo>
                    <a:close/>
                    <a:moveTo>
                      <a:pt x="815" y="28"/>
                    </a:moveTo>
                    <a:lnTo>
                      <a:pt x="767" y="28"/>
                    </a:lnTo>
                    <a:lnTo>
                      <a:pt x="767" y="0"/>
                    </a:lnTo>
                    <a:lnTo>
                      <a:pt x="815" y="0"/>
                    </a:lnTo>
                    <a:lnTo>
                      <a:pt x="815" y="28"/>
                    </a:lnTo>
                    <a:close/>
                    <a:moveTo>
                      <a:pt x="719" y="28"/>
                    </a:moveTo>
                    <a:lnTo>
                      <a:pt x="671" y="28"/>
                    </a:lnTo>
                    <a:lnTo>
                      <a:pt x="671" y="0"/>
                    </a:lnTo>
                    <a:lnTo>
                      <a:pt x="719" y="0"/>
                    </a:lnTo>
                    <a:lnTo>
                      <a:pt x="719" y="28"/>
                    </a:lnTo>
                    <a:close/>
                    <a:moveTo>
                      <a:pt x="624" y="28"/>
                    </a:moveTo>
                    <a:lnTo>
                      <a:pt x="575" y="28"/>
                    </a:lnTo>
                    <a:lnTo>
                      <a:pt x="575" y="0"/>
                    </a:lnTo>
                    <a:lnTo>
                      <a:pt x="624" y="0"/>
                    </a:lnTo>
                    <a:lnTo>
                      <a:pt x="624" y="28"/>
                    </a:lnTo>
                    <a:close/>
                    <a:moveTo>
                      <a:pt x="527" y="28"/>
                    </a:moveTo>
                    <a:lnTo>
                      <a:pt x="479" y="28"/>
                    </a:lnTo>
                    <a:lnTo>
                      <a:pt x="479" y="0"/>
                    </a:lnTo>
                    <a:lnTo>
                      <a:pt x="527" y="0"/>
                    </a:lnTo>
                    <a:lnTo>
                      <a:pt x="527" y="28"/>
                    </a:lnTo>
                    <a:close/>
                    <a:moveTo>
                      <a:pt x="432" y="28"/>
                    </a:moveTo>
                    <a:lnTo>
                      <a:pt x="384" y="28"/>
                    </a:lnTo>
                    <a:lnTo>
                      <a:pt x="384" y="0"/>
                    </a:lnTo>
                    <a:lnTo>
                      <a:pt x="432" y="0"/>
                    </a:lnTo>
                    <a:lnTo>
                      <a:pt x="432" y="28"/>
                    </a:lnTo>
                    <a:close/>
                    <a:moveTo>
                      <a:pt x="335" y="28"/>
                    </a:moveTo>
                    <a:lnTo>
                      <a:pt x="287" y="28"/>
                    </a:lnTo>
                    <a:lnTo>
                      <a:pt x="287" y="0"/>
                    </a:lnTo>
                    <a:lnTo>
                      <a:pt x="335" y="0"/>
                    </a:lnTo>
                    <a:lnTo>
                      <a:pt x="335" y="28"/>
                    </a:lnTo>
                    <a:close/>
                    <a:moveTo>
                      <a:pt x="239" y="28"/>
                    </a:moveTo>
                    <a:lnTo>
                      <a:pt x="192" y="28"/>
                    </a:lnTo>
                    <a:lnTo>
                      <a:pt x="192" y="0"/>
                    </a:lnTo>
                    <a:lnTo>
                      <a:pt x="239" y="0"/>
                    </a:lnTo>
                    <a:lnTo>
                      <a:pt x="239" y="28"/>
                    </a:lnTo>
                    <a:close/>
                    <a:moveTo>
                      <a:pt x="144" y="28"/>
                    </a:moveTo>
                    <a:lnTo>
                      <a:pt x="96" y="28"/>
                    </a:lnTo>
                    <a:lnTo>
                      <a:pt x="96" y="0"/>
                    </a:lnTo>
                    <a:lnTo>
                      <a:pt x="144" y="0"/>
                    </a:lnTo>
                    <a:lnTo>
                      <a:pt x="144" y="28"/>
                    </a:lnTo>
                    <a:close/>
                    <a:moveTo>
                      <a:pt x="47" y="28"/>
                    </a:moveTo>
                    <a:lnTo>
                      <a:pt x="0" y="28"/>
                    </a:lnTo>
                    <a:lnTo>
                      <a:pt x="0" y="0"/>
                    </a:lnTo>
                    <a:lnTo>
                      <a:pt x="47" y="0"/>
                    </a:lnTo>
                    <a:lnTo>
                      <a:pt x="4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sp>
          <p:nvSpPr>
            <p:cNvPr id="9" name="Rectangle 8"/>
            <p:cNvSpPr>
              <a:spLocks noChangeArrowheads="1"/>
            </p:cNvSpPr>
            <p:nvPr/>
          </p:nvSpPr>
          <p:spPr bwMode="auto">
            <a:xfrm>
              <a:off x="10631489" y="3576639"/>
              <a:ext cx="28575" cy="333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nvGrpSpPr>
            <p:cNvPr id="20" name="Group 19"/>
            <p:cNvGrpSpPr>
              <a:grpSpLocks/>
            </p:cNvGrpSpPr>
            <p:nvPr/>
          </p:nvGrpSpPr>
          <p:grpSpPr bwMode="auto">
            <a:xfrm>
              <a:off x="1527176" y="5757863"/>
              <a:ext cx="9140825" cy="298450"/>
              <a:chOff x="3175" y="6534150"/>
              <a:chExt cx="12188825" cy="396875"/>
            </a:xfrm>
          </p:grpSpPr>
          <p:sp>
            <p:nvSpPr>
              <p:cNvPr id="10" name="Rectangle 9"/>
              <p:cNvSpPr>
                <a:spLocks noChangeArrowheads="1"/>
              </p:cNvSpPr>
              <p:nvPr/>
            </p:nvSpPr>
            <p:spPr bwMode="auto">
              <a:xfrm>
                <a:off x="3175" y="6534150"/>
                <a:ext cx="12188825" cy="3968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1" name="Line 10"/>
              <p:cNvSpPr>
                <a:spLocks noChangeShapeType="1"/>
              </p:cNvSpPr>
              <p:nvPr/>
            </p:nvSpPr>
            <p:spPr bwMode="auto">
              <a:xfrm>
                <a:off x="3175" y="6734698"/>
                <a:ext cx="38103" cy="0"/>
              </a:xfrm>
              <a:prstGeom prst="line">
                <a:avLst/>
              </a:prstGeom>
              <a:noFill/>
              <a:ln w="4445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lIns="68580" tIns="34290" rIns="68580" bIns="34290"/>
              <a:lstStyle/>
              <a:p>
                <a:pPr>
                  <a:defRPr/>
                </a:pPr>
                <a:endParaRPr lang="en-US" sz="1350"/>
              </a:p>
            </p:txBody>
          </p:sp>
          <p:sp>
            <p:nvSpPr>
              <p:cNvPr id="12" name="Freeform 11"/>
              <p:cNvSpPr>
                <a:spLocks noEditPoints="1"/>
              </p:cNvSpPr>
              <p:nvPr/>
            </p:nvSpPr>
            <p:spPr bwMode="auto">
              <a:xfrm>
                <a:off x="117485" y="6711477"/>
                <a:ext cx="11949622" cy="44331"/>
              </a:xfrm>
              <a:custGeom>
                <a:avLst/>
                <a:gdLst>
                  <a:gd name="T0" fmla="*/ 7383 w 7527"/>
                  <a:gd name="T1" fmla="*/ 28 h 28"/>
                  <a:gd name="T2" fmla="*/ 7335 w 7527"/>
                  <a:gd name="T3" fmla="*/ 0 h 28"/>
                  <a:gd name="T4" fmla="*/ 7143 w 7527"/>
                  <a:gd name="T5" fmla="*/ 28 h 28"/>
                  <a:gd name="T6" fmla="*/ 7000 w 7527"/>
                  <a:gd name="T7" fmla="*/ 0 h 28"/>
                  <a:gd name="T8" fmla="*/ 6952 w 7527"/>
                  <a:gd name="T9" fmla="*/ 28 h 28"/>
                  <a:gd name="T10" fmla="*/ 6712 w 7527"/>
                  <a:gd name="T11" fmla="*/ 28 h 28"/>
                  <a:gd name="T12" fmla="*/ 6664 w 7527"/>
                  <a:gd name="T13" fmla="*/ 0 h 28"/>
                  <a:gd name="T14" fmla="*/ 6473 w 7527"/>
                  <a:gd name="T15" fmla="*/ 28 h 28"/>
                  <a:gd name="T16" fmla="*/ 6328 w 7527"/>
                  <a:gd name="T17" fmla="*/ 0 h 28"/>
                  <a:gd name="T18" fmla="*/ 6281 w 7527"/>
                  <a:gd name="T19" fmla="*/ 28 h 28"/>
                  <a:gd name="T20" fmla="*/ 6041 w 7527"/>
                  <a:gd name="T21" fmla="*/ 28 h 28"/>
                  <a:gd name="T22" fmla="*/ 5993 w 7527"/>
                  <a:gd name="T23" fmla="*/ 0 h 28"/>
                  <a:gd name="T24" fmla="*/ 5801 w 7527"/>
                  <a:gd name="T25" fmla="*/ 28 h 28"/>
                  <a:gd name="T26" fmla="*/ 5658 w 7527"/>
                  <a:gd name="T27" fmla="*/ 0 h 28"/>
                  <a:gd name="T28" fmla="*/ 5609 w 7527"/>
                  <a:gd name="T29" fmla="*/ 28 h 28"/>
                  <a:gd name="T30" fmla="*/ 5370 w 7527"/>
                  <a:gd name="T31" fmla="*/ 28 h 28"/>
                  <a:gd name="T32" fmla="*/ 5321 w 7527"/>
                  <a:gd name="T33" fmla="*/ 0 h 28"/>
                  <a:gd name="T34" fmla="*/ 5130 w 7527"/>
                  <a:gd name="T35" fmla="*/ 28 h 28"/>
                  <a:gd name="T36" fmla="*/ 4986 w 7527"/>
                  <a:gd name="T37" fmla="*/ 0 h 28"/>
                  <a:gd name="T38" fmla="*/ 4938 w 7527"/>
                  <a:gd name="T39" fmla="*/ 28 h 28"/>
                  <a:gd name="T40" fmla="*/ 4698 w 7527"/>
                  <a:gd name="T41" fmla="*/ 28 h 28"/>
                  <a:gd name="T42" fmla="*/ 4651 w 7527"/>
                  <a:gd name="T43" fmla="*/ 0 h 28"/>
                  <a:gd name="T44" fmla="*/ 4459 w 7527"/>
                  <a:gd name="T45" fmla="*/ 28 h 28"/>
                  <a:gd name="T46" fmla="*/ 4315 w 7527"/>
                  <a:gd name="T47" fmla="*/ 0 h 28"/>
                  <a:gd name="T48" fmla="*/ 4267 w 7527"/>
                  <a:gd name="T49" fmla="*/ 28 h 28"/>
                  <a:gd name="T50" fmla="*/ 4027 w 7527"/>
                  <a:gd name="T51" fmla="*/ 28 h 28"/>
                  <a:gd name="T52" fmla="*/ 3979 w 7527"/>
                  <a:gd name="T53" fmla="*/ 0 h 28"/>
                  <a:gd name="T54" fmla="*/ 3788 w 7527"/>
                  <a:gd name="T55" fmla="*/ 28 h 28"/>
                  <a:gd name="T56" fmla="*/ 3644 w 7527"/>
                  <a:gd name="T57" fmla="*/ 0 h 28"/>
                  <a:gd name="T58" fmla="*/ 3596 w 7527"/>
                  <a:gd name="T59" fmla="*/ 28 h 28"/>
                  <a:gd name="T60" fmla="*/ 3356 w 7527"/>
                  <a:gd name="T61" fmla="*/ 28 h 28"/>
                  <a:gd name="T62" fmla="*/ 3308 w 7527"/>
                  <a:gd name="T63" fmla="*/ 0 h 28"/>
                  <a:gd name="T64" fmla="*/ 3116 w 7527"/>
                  <a:gd name="T65" fmla="*/ 28 h 28"/>
                  <a:gd name="T66" fmla="*/ 2972 w 7527"/>
                  <a:gd name="T67" fmla="*/ 0 h 28"/>
                  <a:gd name="T68" fmla="*/ 2924 w 7527"/>
                  <a:gd name="T69" fmla="*/ 28 h 28"/>
                  <a:gd name="T70" fmla="*/ 2684 w 7527"/>
                  <a:gd name="T71" fmla="*/ 28 h 28"/>
                  <a:gd name="T72" fmla="*/ 2637 w 7527"/>
                  <a:gd name="T73" fmla="*/ 0 h 28"/>
                  <a:gd name="T74" fmla="*/ 2445 w 7527"/>
                  <a:gd name="T75" fmla="*/ 28 h 28"/>
                  <a:gd name="T76" fmla="*/ 2301 w 7527"/>
                  <a:gd name="T77" fmla="*/ 0 h 28"/>
                  <a:gd name="T78" fmla="*/ 2254 w 7527"/>
                  <a:gd name="T79" fmla="*/ 28 h 28"/>
                  <a:gd name="T80" fmla="*/ 2014 w 7527"/>
                  <a:gd name="T81" fmla="*/ 28 h 28"/>
                  <a:gd name="T82" fmla="*/ 1966 w 7527"/>
                  <a:gd name="T83" fmla="*/ 0 h 28"/>
                  <a:gd name="T84" fmla="*/ 1774 w 7527"/>
                  <a:gd name="T85" fmla="*/ 28 h 28"/>
                  <a:gd name="T86" fmla="*/ 1630 w 7527"/>
                  <a:gd name="T87" fmla="*/ 0 h 28"/>
                  <a:gd name="T88" fmla="*/ 1582 w 7527"/>
                  <a:gd name="T89" fmla="*/ 28 h 28"/>
                  <a:gd name="T90" fmla="*/ 1342 w 7527"/>
                  <a:gd name="T91" fmla="*/ 28 h 28"/>
                  <a:gd name="T92" fmla="*/ 1294 w 7527"/>
                  <a:gd name="T93" fmla="*/ 0 h 28"/>
                  <a:gd name="T94" fmla="*/ 1102 w 7527"/>
                  <a:gd name="T95" fmla="*/ 28 h 28"/>
                  <a:gd name="T96" fmla="*/ 959 w 7527"/>
                  <a:gd name="T97" fmla="*/ 0 h 28"/>
                  <a:gd name="T98" fmla="*/ 911 w 7527"/>
                  <a:gd name="T99" fmla="*/ 28 h 28"/>
                  <a:gd name="T100" fmla="*/ 671 w 7527"/>
                  <a:gd name="T101" fmla="*/ 28 h 28"/>
                  <a:gd name="T102" fmla="*/ 624 w 7527"/>
                  <a:gd name="T103" fmla="*/ 0 h 28"/>
                  <a:gd name="T104" fmla="*/ 432 w 7527"/>
                  <a:gd name="T105" fmla="*/ 28 h 28"/>
                  <a:gd name="T106" fmla="*/ 287 w 7527"/>
                  <a:gd name="T107" fmla="*/ 0 h 28"/>
                  <a:gd name="T108" fmla="*/ 239 w 7527"/>
                  <a:gd name="T109" fmla="*/ 28 h 28"/>
                  <a:gd name="T110" fmla="*/ 0 w 7527"/>
                  <a:gd name="T11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27" h="28">
                    <a:moveTo>
                      <a:pt x="7527" y="28"/>
                    </a:moveTo>
                    <a:lnTo>
                      <a:pt x="7480" y="28"/>
                    </a:lnTo>
                    <a:lnTo>
                      <a:pt x="7480" y="0"/>
                    </a:lnTo>
                    <a:lnTo>
                      <a:pt x="7527" y="0"/>
                    </a:lnTo>
                    <a:lnTo>
                      <a:pt x="7527" y="28"/>
                    </a:lnTo>
                    <a:close/>
                    <a:moveTo>
                      <a:pt x="7431" y="28"/>
                    </a:moveTo>
                    <a:lnTo>
                      <a:pt x="7383" y="28"/>
                    </a:lnTo>
                    <a:lnTo>
                      <a:pt x="7383" y="0"/>
                    </a:lnTo>
                    <a:lnTo>
                      <a:pt x="7431" y="0"/>
                    </a:lnTo>
                    <a:lnTo>
                      <a:pt x="7431" y="28"/>
                    </a:lnTo>
                    <a:close/>
                    <a:moveTo>
                      <a:pt x="7335" y="28"/>
                    </a:moveTo>
                    <a:lnTo>
                      <a:pt x="7288" y="28"/>
                    </a:lnTo>
                    <a:lnTo>
                      <a:pt x="7288" y="0"/>
                    </a:lnTo>
                    <a:lnTo>
                      <a:pt x="7335" y="0"/>
                    </a:lnTo>
                    <a:lnTo>
                      <a:pt x="7335" y="28"/>
                    </a:lnTo>
                    <a:close/>
                    <a:moveTo>
                      <a:pt x="7240" y="28"/>
                    </a:moveTo>
                    <a:lnTo>
                      <a:pt x="7191" y="28"/>
                    </a:lnTo>
                    <a:lnTo>
                      <a:pt x="7191" y="0"/>
                    </a:lnTo>
                    <a:lnTo>
                      <a:pt x="7240" y="0"/>
                    </a:lnTo>
                    <a:lnTo>
                      <a:pt x="7240" y="28"/>
                    </a:lnTo>
                    <a:close/>
                    <a:moveTo>
                      <a:pt x="7143" y="28"/>
                    </a:moveTo>
                    <a:lnTo>
                      <a:pt x="7096" y="28"/>
                    </a:lnTo>
                    <a:lnTo>
                      <a:pt x="7096" y="0"/>
                    </a:lnTo>
                    <a:lnTo>
                      <a:pt x="7143" y="0"/>
                    </a:lnTo>
                    <a:lnTo>
                      <a:pt x="7143" y="28"/>
                    </a:lnTo>
                    <a:close/>
                    <a:moveTo>
                      <a:pt x="7048" y="28"/>
                    </a:moveTo>
                    <a:lnTo>
                      <a:pt x="7000" y="28"/>
                    </a:lnTo>
                    <a:lnTo>
                      <a:pt x="7000" y="0"/>
                    </a:lnTo>
                    <a:lnTo>
                      <a:pt x="7048" y="0"/>
                    </a:lnTo>
                    <a:lnTo>
                      <a:pt x="7048" y="28"/>
                    </a:lnTo>
                    <a:close/>
                    <a:moveTo>
                      <a:pt x="6952" y="28"/>
                    </a:moveTo>
                    <a:lnTo>
                      <a:pt x="6904" y="28"/>
                    </a:lnTo>
                    <a:lnTo>
                      <a:pt x="6904" y="0"/>
                    </a:lnTo>
                    <a:lnTo>
                      <a:pt x="6952" y="0"/>
                    </a:lnTo>
                    <a:lnTo>
                      <a:pt x="6952" y="28"/>
                    </a:lnTo>
                    <a:close/>
                    <a:moveTo>
                      <a:pt x="6856" y="28"/>
                    </a:moveTo>
                    <a:lnTo>
                      <a:pt x="6808" y="28"/>
                    </a:lnTo>
                    <a:lnTo>
                      <a:pt x="6808" y="0"/>
                    </a:lnTo>
                    <a:lnTo>
                      <a:pt x="6856" y="0"/>
                    </a:lnTo>
                    <a:lnTo>
                      <a:pt x="6856" y="28"/>
                    </a:lnTo>
                    <a:close/>
                    <a:moveTo>
                      <a:pt x="6760" y="28"/>
                    </a:moveTo>
                    <a:lnTo>
                      <a:pt x="6712" y="28"/>
                    </a:lnTo>
                    <a:lnTo>
                      <a:pt x="6712" y="0"/>
                    </a:lnTo>
                    <a:lnTo>
                      <a:pt x="6760" y="0"/>
                    </a:lnTo>
                    <a:lnTo>
                      <a:pt x="6760" y="28"/>
                    </a:lnTo>
                    <a:close/>
                    <a:moveTo>
                      <a:pt x="6664" y="28"/>
                    </a:moveTo>
                    <a:lnTo>
                      <a:pt x="6616" y="28"/>
                    </a:lnTo>
                    <a:lnTo>
                      <a:pt x="6616" y="0"/>
                    </a:lnTo>
                    <a:lnTo>
                      <a:pt x="6664" y="0"/>
                    </a:lnTo>
                    <a:lnTo>
                      <a:pt x="6664" y="28"/>
                    </a:lnTo>
                    <a:close/>
                    <a:moveTo>
                      <a:pt x="6568" y="28"/>
                    </a:moveTo>
                    <a:lnTo>
                      <a:pt x="6520" y="28"/>
                    </a:lnTo>
                    <a:lnTo>
                      <a:pt x="6520" y="0"/>
                    </a:lnTo>
                    <a:lnTo>
                      <a:pt x="6568" y="0"/>
                    </a:lnTo>
                    <a:lnTo>
                      <a:pt x="6568" y="28"/>
                    </a:lnTo>
                    <a:close/>
                    <a:moveTo>
                      <a:pt x="6473" y="28"/>
                    </a:moveTo>
                    <a:lnTo>
                      <a:pt x="6425" y="28"/>
                    </a:lnTo>
                    <a:lnTo>
                      <a:pt x="6425" y="0"/>
                    </a:lnTo>
                    <a:lnTo>
                      <a:pt x="6473" y="0"/>
                    </a:lnTo>
                    <a:lnTo>
                      <a:pt x="6473" y="28"/>
                    </a:lnTo>
                    <a:close/>
                    <a:moveTo>
                      <a:pt x="6376" y="28"/>
                    </a:moveTo>
                    <a:lnTo>
                      <a:pt x="6328" y="28"/>
                    </a:lnTo>
                    <a:lnTo>
                      <a:pt x="6328" y="0"/>
                    </a:lnTo>
                    <a:lnTo>
                      <a:pt x="6376" y="0"/>
                    </a:lnTo>
                    <a:lnTo>
                      <a:pt x="6376" y="28"/>
                    </a:lnTo>
                    <a:close/>
                    <a:moveTo>
                      <a:pt x="6281" y="28"/>
                    </a:moveTo>
                    <a:lnTo>
                      <a:pt x="6233" y="28"/>
                    </a:lnTo>
                    <a:lnTo>
                      <a:pt x="6233" y="0"/>
                    </a:lnTo>
                    <a:lnTo>
                      <a:pt x="6281" y="0"/>
                    </a:lnTo>
                    <a:lnTo>
                      <a:pt x="6281" y="28"/>
                    </a:lnTo>
                    <a:close/>
                    <a:moveTo>
                      <a:pt x="6185" y="28"/>
                    </a:moveTo>
                    <a:lnTo>
                      <a:pt x="6136" y="28"/>
                    </a:lnTo>
                    <a:lnTo>
                      <a:pt x="6136" y="0"/>
                    </a:lnTo>
                    <a:lnTo>
                      <a:pt x="6185" y="0"/>
                    </a:lnTo>
                    <a:lnTo>
                      <a:pt x="6185" y="28"/>
                    </a:lnTo>
                    <a:close/>
                    <a:moveTo>
                      <a:pt x="6089" y="28"/>
                    </a:moveTo>
                    <a:lnTo>
                      <a:pt x="6041" y="28"/>
                    </a:lnTo>
                    <a:lnTo>
                      <a:pt x="6041" y="0"/>
                    </a:lnTo>
                    <a:lnTo>
                      <a:pt x="6089" y="0"/>
                    </a:lnTo>
                    <a:lnTo>
                      <a:pt x="6089" y="28"/>
                    </a:lnTo>
                    <a:close/>
                    <a:moveTo>
                      <a:pt x="5993" y="28"/>
                    </a:moveTo>
                    <a:lnTo>
                      <a:pt x="5945" y="28"/>
                    </a:lnTo>
                    <a:lnTo>
                      <a:pt x="5945" y="0"/>
                    </a:lnTo>
                    <a:lnTo>
                      <a:pt x="5993" y="0"/>
                    </a:lnTo>
                    <a:lnTo>
                      <a:pt x="5993" y="28"/>
                    </a:lnTo>
                    <a:close/>
                    <a:moveTo>
                      <a:pt x="5897" y="28"/>
                    </a:moveTo>
                    <a:lnTo>
                      <a:pt x="5849" y="28"/>
                    </a:lnTo>
                    <a:lnTo>
                      <a:pt x="5849" y="0"/>
                    </a:lnTo>
                    <a:lnTo>
                      <a:pt x="5897" y="0"/>
                    </a:lnTo>
                    <a:lnTo>
                      <a:pt x="5897" y="28"/>
                    </a:lnTo>
                    <a:close/>
                    <a:moveTo>
                      <a:pt x="5801" y="28"/>
                    </a:moveTo>
                    <a:lnTo>
                      <a:pt x="5753" y="28"/>
                    </a:lnTo>
                    <a:lnTo>
                      <a:pt x="5753" y="0"/>
                    </a:lnTo>
                    <a:lnTo>
                      <a:pt x="5801" y="0"/>
                    </a:lnTo>
                    <a:lnTo>
                      <a:pt x="5801" y="28"/>
                    </a:lnTo>
                    <a:close/>
                    <a:moveTo>
                      <a:pt x="5705" y="28"/>
                    </a:moveTo>
                    <a:lnTo>
                      <a:pt x="5658" y="28"/>
                    </a:lnTo>
                    <a:lnTo>
                      <a:pt x="5658" y="0"/>
                    </a:lnTo>
                    <a:lnTo>
                      <a:pt x="5705" y="0"/>
                    </a:lnTo>
                    <a:lnTo>
                      <a:pt x="5705" y="28"/>
                    </a:lnTo>
                    <a:close/>
                    <a:moveTo>
                      <a:pt x="5609" y="28"/>
                    </a:moveTo>
                    <a:lnTo>
                      <a:pt x="5561" y="28"/>
                    </a:lnTo>
                    <a:lnTo>
                      <a:pt x="5561" y="0"/>
                    </a:lnTo>
                    <a:lnTo>
                      <a:pt x="5609" y="0"/>
                    </a:lnTo>
                    <a:lnTo>
                      <a:pt x="5609" y="28"/>
                    </a:lnTo>
                    <a:close/>
                    <a:moveTo>
                      <a:pt x="5513" y="28"/>
                    </a:moveTo>
                    <a:lnTo>
                      <a:pt x="5466" y="28"/>
                    </a:lnTo>
                    <a:lnTo>
                      <a:pt x="5466" y="0"/>
                    </a:lnTo>
                    <a:lnTo>
                      <a:pt x="5513" y="0"/>
                    </a:lnTo>
                    <a:lnTo>
                      <a:pt x="5513" y="28"/>
                    </a:lnTo>
                    <a:close/>
                    <a:moveTo>
                      <a:pt x="5418" y="28"/>
                    </a:moveTo>
                    <a:lnTo>
                      <a:pt x="5370" y="28"/>
                    </a:lnTo>
                    <a:lnTo>
                      <a:pt x="5370" y="0"/>
                    </a:lnTo>
                    <a:lnTo>
                      <a:pt x="5418" y="0"/>
                    </a:lnTo>
                    <a:lnTo>
                      <a:pt x="5418" y="28"/>
                    </a:lnTo>
                    <a:close/>
                    <a:moveTo>
                      <a:pt x="5321" y="28"/>
                    </a:moveTo>
                    <a:lnTo>
                      <a:pt x="5274" y="28"/>
                    </a:lnTo>
                    <a:lnTo>
                      <a:pt x="5274" y="0"/>
                    </a:lnTo>
                    <a:lnTo>
                      <a:pt x="5321" y="0"/>
                    </a:lnTo>
                    <a:lnTo>
                      <a:pt x="5321" y="28"/>
                    </a:lnTo>
                    <a:close/>
                    <a:moveTo>
                      <a:pt x="5226" y="28"/>
                    </a:moveTo>
                    <a:lnTo>
                      <a:pt x="5178" y="28"/>
                    </a:lnTo>
                    <a:lnTo>
                      <a:pt x="5178" y="0"/>
                    </a:lnTo>
                    <a:lnTo>
                      <a:pt x="5226" y="0"/>
                    </a:lnTo>
                    <a:lnTo>
                      <a:pt x="5226" y="28"/>
                    </a:lnTo>
                    <a:close/>
                    <a:moveTo>
                      <a:pt x="5130" y="28"/>
                    </a:moveTo>
                    <a:lnTo>
                      <a:pt x="5082" y="28"/>
                    </a:lnTo>
                    <a:lnTo>
                      <a:pt x="5082" y="0"/>
                    </a:lnTo>
                    <a:lnTo>
                      <a:pt x="5130" y="0"/>
                    </a:lnTo>
                    <a:lnTo>
                      <a:pt x="5130" y="28"/>
                    </a:lnTo>
                    <a:close/>
                    <a:moveTo>
                      <a:pt x="5034" y="28"/>
                    </a:moveTo>
                    <a:lnTo>
                      <a:pt x="4986" y="28"/>
                    </a:lnTo>
                    <a:lnTo>
                      <a:pt x="4986" y="0"/>
                    </a:lnTo>
                    <a:lnTo>
                      <a:pt x="5034" y="0"/>
                    </a:lnTo>
                    <a:lnTo>
                      <a:pt x="5034" y="28"/>
                    </a:lnTo>
                    <a:close/>
                    <a:moveTo>
                      <a:pt x="4938" y="28"/>
                    </a:moveTo>
                    <a:lnTo>
                      <a:pt x="4890" y="28"/>
                    </a:lnTo>
                    <a:lnTo>
                      <a:pt x="4890" y="0"/>
                    </a:lnTo>
                    <a:lnTo>
                      <a:pt x="4938" y="0"/>
                    </a:lnTo>
                    <a:lnTo>
                      <a:pt x="4938" y="28"/>
                    </a:lnTo>
                    <a:close/>
                    <a:moveTo>
                      <a:pt x="4843" y="28"/>
                    </a:moveTo>
                    <a:lnTo>
                      <a:pt x="4794" y="28"/>
                    </a:lnTo>
                    <a:lnTo>
                      <a:pt x="4794" y="0"/>
                    </a:lnTo>
                    <a:lnTo>
                      <a:pt x="4843" y="0"/>
                    </a:lnTo>
                    <a:lnTo>
                      <a:pt x="4843" y="28"/>
                    </a:lnTo>
                    <a:close/>
                    <a:moveTo>
                      <a:pt x="4746" y="28"/>
                    </a:moveTo>
                    <a:lnTo>
                      <a:pt x="4698" y="28"/>
                    </a:lnTo>
                    <a:lnTo>
                      <a:pt x="4698" y="0"/>
                    </a:lnTo>
                    <a:lnTo>
                      <a:pt x="4746" y="0"/>
                    </a:lnTo>
                    <a:lnTo>
                      <a:pt x="4746" y="28"/>
                    </a:lnTo>
                    <a:close/>
                    <a:moveTo>
                      <a:pt x="4651" y="28"/>
                    </a:moveTo>
                    <a:lnTo>
                      <a:pt x="4603" y="28"/>
                    </a:lnTo>
                    <a:lnTo>
                      <a:pt x="4603" y="0"/>
                    </a:lnTo>
                    <a:lnTo>
                      <a:pt x="4651" y="0"/>
                    </a:lnTo>
                    <a:lnTo>
                      <a:pt x="4651" y="28"/>
                    </a:lnTo>
                    <a:close/>
                    <a:moveTo>
                      <a:pt x="4554" y="28"/>
                    </a:moveTo>
                    <a:lnTo>
                      <a:pt x="4506" y="28"/>
                    </a:lnTo>
                    <a:lnTo>
                      <a:pt x="4506" y="0"/>
                    </a:lnTo>
                    <a:lnTo>
                      <a:pt x="4554" y="0"/>
                    </a:lnTo>
                    <a:lnTo>
                      <a:pt x="4554" y="28"/>
                    </a:lnTo>
                    <a:close/>
                    <a:moveTo>
                      <a:pt x="4459" y="28"/>
                    </a:moveTo>
                    <a:lnTo>
                      <a:pt x="4411" y="28"/>
                    </a:lnTo>
                    <a:lnTo>
                      <a:pt x="4411" y="0"/>
                    </a:lnTo>
                    <a:lnTo>
                      <a:pt x="4459" y="0"/>
                    </a:lnTo>
                    <a:lnTo>
                      <a:pt x="4459" y="28"/>
                    </a:lnTo>
                    <a:close/>
                    <a:moveTo>
                      <a:pt x="4363" y="28"/>
                    </a:moveTo>
                    <a:lnTo>
                      <a:pt x="4315" y="28"/>
                    </a:lnTo>
                    <a:lnTo>
                      <a:pt x="4315" y="0"/>
                    </a:lnTo>
                    <a:lnTo>
                      <a:pt x="4363" y="0"/>
                    </a:lnTo>
                    <a:lnTo>
                      <a:pt x="4363" y="28"/>
                    </a:lnTo>
                    <a:close/>
                    <a:moveTo>
                      <a:pt x="4267" y="28"/>
                    </a:moveTo>
                    <a:lnTo>
                      <a:pt x="4219" y="28"/>
                    </a:lnTo>
                    <a:lnTo>
                      <a:pt x="4219" y="0"/>
                    </a:lnTo>
                    <a:lnTo>
                      <a:pt x="4267" y="0"/>
                    </a:lnTo>
                    <a:lnTo>
                      <a:pt x="4267" y="28"/>
                    </a:lnTo>
                    <a:close/>
                    <a:moveTo>
                      <a:pt x="4171" y="28"/>
                    </a:moveTo>
                    <a:lnTo>
                      <a:pt x="4123" y="28"/>
                    </a:lnTo>
                    <a:lnTo>
                      <a:pt x="4123" y="0"/>
                    </a:lnTo>
                    <a:lnTo>
                      <a:pt x="4171" y="0"/>
                    </a:lnTo>
                    <a:lnTo>
                      <a:pt x="4171" y="28"/>
                    </a:lnTo>
                    <a:close/>
                    <a:moveTo>
                      <a:pt x="4076" y="28"/>
                    </a:moveTo>
                    <a:lnTo>
                      <a:pt x="4027" y="28"/>
                    </a:lnTo>
                    <a:lnTo>
                      <a:pt x="4027" y="0"/>
                    </a:lnTo>
                    <a:lnTo>
                      <a:pt x="4076" y="0"/>
                    </a:lnTo>
                    <a:lnTo>
                      <a:pt x="4076" y="28"/>
                    </a:lnTo>
                    <a:close/>
                    <a:moveTo>
                      <a:pt x="3979" y="28"/>
                    </a:moveTo>
                    <a:lnTo>
                      <a:pt x="3931" y="28"/>
                    </a:lnTo>
                    <a:lnTo>
                      <a:pt x="3931" y="0"/>
                    </a:lnTo>
                    <a:lnTo>
                      <a:pt x="3979" y="0"/>
                    </a:lnTo>
                    <a:lnTo>
                      <a:pt x="3979" y="28"/>
                    </a:lnTo>
                    <a:close/>
                    <a:moveTo>
                      <a:pt x="3883" y="28"/>
                    </a:moveTo>
                    <a:lnTo>
                      <a:pt x="3836" y="28"/>
                    </a:lnTo>
                    <a:lnTo>
                      <a:pt x="3836" y="0"/>
                    </a:lnTo>
                    <a:lnTo>
                      <a:pt x="3883" y="0"/>
                    </a:lnTo>
                    <a:lnTo>
                      <a:pt x="3883" y="28"/>
                    </a:lnTo>
                    <a:close/>
                    <a:moveTo>
                      <a:pt x="3788" y="28"/>
                    </a:moveTo>
                    <a:lnTo>
                      <a:pt x="3739" y="28"/>
                    </a:lnTo>
                    <a:lnTo>
                      <a:pt x="3739" y="0"/>
                    </a:lnTo>
                    <a:lnTo>
                      <a:pt x="3788" y="0"/>
                    </a:lnTo>
                    <a:lnTo>
                      <a:pt x="3788" y="28"/>
                    </a:lnTo>
                    <a:close/>
                    <a:moveTo>
                      <a:pt x="3691" y="28"/>
                    </a:moveTo>
                    <a:lnTo>
                      <a:pt x="3644" y="28"/>
                    </a:lnTo>
                    <a:lnTo>
                      <a:pt x="3644" y="0"/>
                    </a:lnTo>
                    <a:lnTo>
                      <a:pt x="3691" y="0"/>
                    </a:lnTo>
                    <a:lnTo>
                      <a:pt x="3691" y="28"/>
                    </a:lnTo>
                    <a:close/>
                    <a:moveTo>
                      <a:pt x="3596" y="28"/>
                    </a:moveTo>
                    <a:lnTo>
                      <a:pt x="3548" y="28"/>
                    </a:lnTo>
                    <a:lnTo>
                      <a:pt x="3548" y="0"/>
                    </a:lnTo>
                    <a:lnTo>
                      <a:pt x="3596" y="0"/>
                    </a:lnTo>
                    <a:lnTo>
                      <a:pt x="3596" y="28"/>
                    </a:lnTo>
                    <a:close/>
                    <a:moveTo>
                      <a:pt x="3499" y="28"/>
                    </a:moveTo>
                    <a:lnTo>
                      <a:pt x="3452" y="28"/>
                    </a:lnTo>
                    <a:lnTo>
                      <a:pt x="3452" y="0"/>
                    </a:lnTo>
                    <a:lnTo>
                      <a:pt x="3499" y="0"/>
                    </a:lnTo>
                    <a:lnTo>
                      <a:pt x="3499" y="28"/>
                    </a:lnTo>
                    <a:close/>
                    <a:moveTo>
                      <a:pt x="3404" y="28"/>
                    </a:moveTo>
                    <a:lnTo>
                      <a:pt x="3356" y="28"/>
                    </a:lnTo>
                    <a:lnTo>
                      <a:pt x="3356" y="0"/>
                    </a:lnTo>
                    <a:lnTo>
                      <a:pt x="3404" y="0"/>
                    </a:lnTo>
                    <a:lnTo>
                      <a:pt x="3404" y="28"/>
                    </a:lnTo>
                    <a:close/>
                    <a:moveTo>
                      <a:pt x="3308" y="28"/>
                    </a:moveTo>
                    <a:lnTo>
                      <a:pt x="3261" y="28"/>
                    </a:lnTo>
                    <a:lnTo>
                      <a:pt x="3261" y="0"/>
                    </a:lnTo>
                    <a:lnTo>
                      <a:pt x="3308" y="0"/>
                    </a:lnTo>
                    <a:lnTo>
                      <a:pt x="3308" y="28"/>
                    </a:lnTo>
                    <a:close/>
                    <a:moveTo>
                      <a:pt x="3212" y="28"/>
                    </a:moveTo>
                    <a:lnTo>
                      <a:pt x="3164" y="28"/>
                    </a:lnTo>
                    <a:lnTo>
                      <a:pt x="3164" y="0"/>
                    </a:lnTo>
                    <a:lnTo>
                      <a:pt x="3212" y="0"/>
                    </a:lnTo>
                    <a:lnTo>
                      <a:pt x="3212" y="28"/>
                    </a:lnTo>
                    <a:close/>
                    <a:moveTo>
                      <a:pt x="3116" y="28"/>
                    </a:moveTo>
                    <a:lnTo>
                      <a:pt x="3068" y="28"/>
                    </a:lnTo>
                    <a:lnTo>
                      <a:pt x="3068" y="0"/>
                    </a:lnTo>
                    <a:lnTo>
                      <a:pt x="3116" y="0"/>
                    </a:lnTo>
                    <a:lnTo>
                      <a:pt x="3116" y="28"/>
                    </a:lnTo>
                    <a:close/>
                    <a:moveTo>
                      <a:pt x="3021" y="28"/>
                    </a:moveTo>
                    <a:lnTo>
                      <a:pt x="2972" y="28"/>
                    </a:lnTo>
                    <a:lnTo>
                      <a:pt x="2972" y="0"/>
                    </a:lnTo>
                    <a:lnTo>
                      <a:pt x="3021" y="0"/>
                    </a:lnTo>
                    <a:lnTo>
                      <a:pt x="3021" y="28"/>
                    </a:lnTo>
                    <a:close/>
                    <a:moveTo>
                      <a:pt x="2924" y="28"/>
                    </a:moveTo>
                    <a:lnTo>
                      <a:pt x="2876" y="28"/>
                    </a:lnTo>
                    <a:lnTo>
                      <a:pt x="2876" y="0"/>
                    </a:lnTo>
                    <a:lnTo>
                      <a:pt x="2924" y="0"/>
                    </a:lnTo>
                    <a:lnTo>
                      <a:pt x="2924" y="28"/>
                    </a:lnTo>
                    <a:close/>
                    <a:moveTo>
                      <a:pt x="2829" y="28"/>
                    </a:moveTo>
                    <a:lnTo>
                      <a:pt x="2781" y="28"/>
                    </a:lnTo>
                    <a:lnTo>
                      <a:pt x="2781" y="0"/>
                    </a:lnTo>
                    <a:lnTo>
                      <a:pt x="2829" y="0"/>
                    </a:lnTo>
                    <a:lnTo>
                      <a:pt x="2829" y="28"/>
                    </a:lnTo>
                    <a:close/>
                    <a:moveTo>
                      <a:pt x="2733" y="28"/>
                    </a:moveTo>
                    <a:lnTo>
                      <a:pt x="2684" y="28"/>
                    </a:lnTo>
                    <a:lnTo>
                      <a:pt x="2684" y="0"/>
                    </a:lnTo>
                    <a:lnTo>
                      <a:pt x="2733" y="0"/>
                    </a:lnTo>
                    <a:lnTo>
                      <a:pt x="2733" y="28"/>
                    </a:lnTo>
                    <a:close/>
                    <a:moveTo>
                      <a:pt x="2637" y="28"/>
                    </a:moveTo>
                    <a:lnTo>
                      <a:pt x="2589" y="28"/>
                    </a:lnTo>
                    <a:lnTo>
                      <a:pt x="2589" y="0"/>
                    </a:lnTo>
                    <a:lnTo>
                      <a:pt x="2637" y="0"/>
                    </a:lnTo>
                    <a:lnTo>
                      <a:pt x="2637" y="28"/>
                    </a:lnTo>
                    <a:close/>
                    <a:moveTo>
                      <a:pt x="2541" y="28"/>
                    </a:moveTo>
                    <a:lnTo>
                      <a:pt x="2493" y="28"/>
                    </a:lnTo>
                    <a:lnTo>
                      <a:pt x="2493" y="0"/>
                    </a:lnTo>
                    <a:lnTo>
                      <a:pt x="2541" y="0"/>
                    </a:lnTo>
                    <a:lnTo>
                      <a:pt x="2541" y="28"/>
                    </a:lnTo>
                    <a:close/>
                    <a:moveTo>
                      <a:pt x="2445" y="28"/>
                    </a:moveTo>
                    <a:lnTo>
                      <a:pt x="2397" y="28"/>
                    </a:lnTo>
                    <a:lnTo>
                      <a:pt x="2397" y="0"/>
                    </a:lnTo>
                    <a:lnTo>
                      <a:pt x="2445" y="0"/>
                    </a:lnTo>
                    <a:lnTo>
                      <a:pt x="2445" y="28"/>
                    </a:lnTo>
                    <a:close/>
                    <a:moveTo>
                      <a:pt x="2349" y="28"/>
                    </a:moveTo>
                    <a:lnTo>
                      <a:pt x="2301" y="28"/>
                    </a:lnTo>
                    <a:lnTo>
                      <a:pt x="2301" y="0"/>
                    </a:lnTo>
                    <a:lnTo>
                      <a:pt x="2349" y="0"/>
                    </a:lnTo>
                    <a:lnTo>
                      <a:pt x="2349" y="28"/>
                    </a:lnTo>
                    <a:close/>
                    <a:moveTo>
                      <a:pt x="2254" y="28"/>
                    </a:moveTo>
                    <a:lnTo>
                      <a:pt x="2206" y="28"/>
                    </a:lnTo>
                    <a:lnTo>
                      <a:pt x="2206" y="0"/>
                    </a:lnTo>
                    <a:lnTo>
                      <a:pt x="2254" y="0"/>
                    </a:lnTo>
                    <a:lnTo>
                      <a:pt x="2254" y="28"/>
                    </a:lnTo>
                    <a:close/>
                    <a:moveTo>
                      <a:pt x="2157" y="28"/>
                    </a:moveTo>
                    <a:lnTo>
                      <a:pt x="2109" y="28"/>
                    </a:lnTo>
                    <a:lnTo>
                      <a:pt x="2109" y="0"/>
                    </a:lnTo>
                    <a:lnTo>
                      <a:pt x="2157" y="0"/>
                    </a:lnTo>
                    <a:lnTo>
                      <a:pt x="2157" y="28"/>
                    </a:lnTo>
                    <a:close/>
                    <a:moveTo>
                      <a:pt x="2061" y="28"/>
                    </a:moveTo>
                    <a:lnTo>
                      <a:pt x="2014" y="28"/>
                    </a:lnTo>
                    <a:lnTo>
                      <a:pt x="2014" y="0"/>
                    </a:lnTo>
                    <a:lnTo>
                      <a:pt x="2061" y="0"/>
                    </a:lnTo>
                    <a:lnTo>
                      <a:pt x="2061" y="28"/>
                    </a:lnTo>
                    <a:close/>
                    <a:moveTo>
                      <a:pt x="1966" y="28"/>
                    </a:moveTo>
                    <a:lnTo>
                      <a:pt x="1917" y="28"/>
                    </a:lnTo>
                    <a:lnTo>
                      <a:pt x="1917" y="0"/>
                    </a:lnTo>
                    <a:lnTo>
                      <a:pt x="1966" y="0"/>
                    </a:lnTo>
                    <a:lnTo>
                      <a:pt x="1966" y="28"/>
                    </a:lnTo>
                    <a:close/>
                    <a:moveTo>
                      <a:pt x="1869" y="28"/>
                    </a:moveTo>
                    <a:lnTo>
                      <a:pt x="1822" y="28"/>
                    </a:lnTo>
                    <a:lnTo>
                      <a:pt x="1822" y="0"/>
                    </a:lnTo>
                    <a:lnTo>
                      <a:pt x="1869" y="0"/>
                    </a:lnTo>
                    <a:lnTo>
                      <a:pt x="1869" y="28"/>
                    </a:lnTo>
                    <a:close/>
                    <a:moveTo>
                      <a:pt x="1774" y="28"/>
                    </a:moveTo>
                    <a:lnTo>
                      <a:pt x="1726" y="28"/>
                    </a:lnTo>
                    <a:lnTo>
                      <a:pt x="1726" y="0"/>
                    </a:lnTo>
                    <a:lnTo>
                      <a:pt x="1774" y="0"/>
                    </a:lnTo>
                    <a:lnTo>
                      <a:pt x="1774" y="28"/>
                    </a:lnTo>
                    <a:close/>
                    <a:moveTo>
                      <a:pt x="1678" y="28"/>
                    </a:moveTo>
                    <a:lnTo>
                      <a:pt x="1630" y="28"/>
                    </a:lnTo>
                    <a:lnTo>
                      <a:pt x="1630" y="0"/>
                    </a:lnTo>
                    <a:lnTo>
                      <a:pt x="1678" y="0"/>
                    </a:lnTo>
                    <a:lnTo>
                      <a:pt x="1678" y="28"/>
                    </a:lnTo>
                    <a:close/>
                    <a:moveTo>
                      <a:pt x="1582" y="28"/>
                    </a:moveTo>
                    <a:lnTo>
                      <a:pt x="1534" y="28"/>
                    </a:lnTo>
                    <a:lnTo>
                      <a:pt x="1534" y="0"/>
                    </a:lnTo>
                    <a:lnTo>
                      <a:pt x="1582" y="0"/>
                    </a:lnTo>
                    <a:lnTo>
                      <a:pt x="1582" y="28"/>
                    </a:lnTo>
                    <a:close/>
                    <a:moveTo>
                      <a:pt x="1486" y="28"/>
                    </a:moveTo>
                    <a:lnTo>
                      <a:pt x="1439" y="28"/>
                    </a:lnTo>
                    <a:lnTo>
                      <a:pt x="1439" y="0"/>
                    </a:lnTo>
                    <a:lnTo>
                      <a:pt x="1486" y="0"/>
                    </a:lnTo>
                    <a:lnTo>
                      <a:pt x="1486" y="28"/>
                    </a:lnTo>
                    <a:close/>
                    <a:moveTo>
                      <a:pt x="1390" y="28"/>
                    </a:moveTo>
                    <a:lnTo>
                      <a:pt x="1342" y="28"/>
                    </a:lnTo>
                    <a:lnTo>
                      <a:pt x="1342" y="0"/>
                    </a:lnTo>
                    <a:lnTo>
                      <a:pt x="1390" y="0"/>
                    </a:lnTo>
                    <a:lnTo>
                      <a:pt x="1390" y="28"/>
                    </a:lnTo>
                    <a:close/>
                    <a:moveTo>
                      <a:pt x="1294" y="28"/>
                    </a:moveTo>
                    <a:lnTo>
                      <a:pt x="1247" y="28"/>
                    </a:lnTo>
                    <a:lnTo>
                      <a:pt x="1247" y="0"/>
                    </a:lnTo>
                    <a:lnTo>
                      <a:pt x="1294" y="0"/>
                    </a:lnTo>
                    <a:lnTo>
                      <a:pt x="1294" y="28"/>
                    </a:lnTo>
                    <a:close/>
                    <a:moveTo>
                      <a:pt x="1199" y="28"/>
                    </a:moveTo>
                    <a:lnTo>
                      <a:pt x="1151" y="28"/>
                    </a:lnTo>
                    <a:lnTo>
                      <a:pt x="1151" y="0"/>
                    </a:lnTo>
                    <a:lnTo>
                      <a:pt x="1199" y="0"/>
                    </a:lnTo>
                    <a:lnTo>
                      <a:pt x="1199" y="28"/>
                    </a:lnTo>
                    <a:close/>
                    <a:moveTo>
                      <a:pt x="1102" y="28"/>
                    </a:moveTo>
                    <a:lnTo>
                      <a:pt x="1054" y="28"/>
                    </a:lnTo>
                    <a:lnTo>
                      <a:pt x="1054" y="0"/>
                    </a:lnTo>
                    <a:lnTo>
                      <a:pt x="1102" y="0"/>
                    </a:lnTo>
                    <a:lnTo>
                      <a:pt x="1102" y="28"/>
                    </a:lnTo>
                    <a:close/>
                    <a:moveTo>
                      <a:pt x="1007" y="28"/>
                    </a:moveTo>
                    <a:lnTo>
                      <a:pt x="959" y="28"/>
                    </a:lnTo>
                    <a:lnTo>
                      <a:pt x="959" y="0"/>
                    </a:lnTo>
                    <a:lnTo>
                      <a:pt x="1007" y="0"/>
                    </a:lnTo>
                    <a:lnTo>
                      <a:pt x="1007" y="28"/>
                    </a:lnTo>
                    <a:close/>
                    <a:moveTo>
                      <a:pt x="911" y="28"/>
                    </a:moveTo>
                    <a:lnTo>
                      <a:pt x="862" y="28"/>
                    </a:lnTo>
                    <a:lnTo>
                      <a:pt x="862" y="0"/>
                    </a:lnTo>
                    <a:lnTo>
                      <a:pt x="911" y="0"/>
                    </a:lnTo>
                    <a:lnTo>
                      <a:pt x="911" y="28"/>
                    </a:lnTo>
                    <a:close/>
                    <a:moveTo>
                      <a:pt x="815" y="28"/>
                    </a:moveTo>
                    <a:lnTo>
                      <a:pt x="767" y="28"/>
                    </a:lnTo>
                    <a:lnTo>
                      <a:pt x="767" y="0"/>
                    </a:lnTo>
                    <a:lnTo>
                      <a:pt x="815" y="0"/>
                    </a:lnTo>
                    <a:lnTo>
                      <a:pt x="815" y="28"/>
                    </a:lnTo>
                    <a:close/>
                    <a:moveTo>
                      <a:pt x="719" y="28"/>
                    </a:moveTo>
                    <a:lnTo>
                      <a:pt x="671" y="28"/>
                    </a:lnTo>
                    <a:lnTo>
                      <a:pt x="671" y="0"/>
                    </a:lnTo>
                    <a:lnTo>
                      <a:pt x="719" y="0"/>
                    </a:lnTo>
                    <a:lnTo>
                      <a:pt x="719" y="28"/>
                    </a:lnTo>
                    <a:close/>
                    <a:moveTo>
                      <a:pt x="624" y="28"/>
                    </a:moveTo>
                    <a:lnTo>
                      <a:pt x="575" y="28"/>
                    </a:lnTo>
                    <a:lnTo>
                      <a:pt x="575" y="0"/>
                    </a:lnTo>
                    <a:lnTo>
                      <a:pt x="624" y="0"/>
                    </a:lnTo>
                    <a:lnTo>
                      <a:pt x="624" y="28"/>
                    </a:lnTo>
                    <a:close/>
                    <a:moveTo>
                      <a:pt x="527" y="28"/>
                    </a:moveTo>
                    <a:lnTo>
                      <a:pt x="479" y="28"/>
                    </a:lnTo>
                    <a:lnTo>
                      <a:pt x="479" y="0"/>
                    </a:lnTo>
                    <a:lnTo>
                      <a:pt x="527" y="0"/>
                    </a:lnTo>
                    <a:lnTo>
                      <a:pt x="527" y="28"/>
                    </a:lnTo>
                    <a:close/>
                    <a:moveTo>
                      <a:pt x="432" y="28"/>
                    </a:moveTo>
                    <a:lnTo>
                      <a:pt x="384" y="28"/>
                    </a:lnTo>
                    <a:lnTo>
                      <a:pt x="384" y="0"/>
                    </a:lnTo>
                    <a:lnTo>
                      <a:pt x="432" y="0"/>
                    </a:lnTo>
                    <a:lnTo>
                      <a:pt x="432" y="28"/>
                    </a:lnTo>
                    <a:close/>
                    <a:moveTo>
                      <a:pt x="335" y="28"/>
                    </a:moveTo>
                    <a:lnTo>
                      <a:pt x="287" y="28"/>
                    </a:lnTo>
                    <a:lnTo>
                      <a:pt x="287" y="0"/>
                    </a:lnTo>
                    <a:lnTo>
                      <a:pt x="335" y="0"/>
                    </a:lnTo>
                    <a:lnTo>
                      <a:pt x="335" y="28"/>
                    </a:lnTo>
                    <a:close/>
                    <a:moveTo>
                      <a:pt x="239" y="28"/>
                    </a:moveTo>
                    <a:lnTo>
                      <a:pt x="192" y="28"/>
                    </a:lnTo>
                    <a:lnTo>
                      <a:pt x="192" y="0"/>
                    </a:lnTo>
                    <a:lnTo>
                      <a:pt x="239" y="0"/>
                    </a:lnTo>
                    <a:lnTo>
                      <a:pt x="239" y="28"/>
                    </a:lnTo>
                    <a:close/>
                    <a:moveTo>
                      <a:pt x="144" y="28"/>
                    </a:moveTo>
                    <a:lnTo>
                      <a:pt x="96" y="28"/>
                    </a:lnTo>
                    <a:lnTo>
                      <a:pt x="96" y="0"/>
                    </a:lnTo>
                    <a:lnTo>
                      <a:pt x="144" y="0"/>
                    </a:lnTo>
                    <a:lnTo>
                      <a:pt x="144" y="28"/>
                    </a:lnTo>
                    <a:close/>
                    <a:moveTo>
                      <a:pt x="47" y="28"/>
                    </a:moveTo>
                    <a:lnTo>
                      <a:pt x="0" y="28"/>
                    </a:lnTo>
                    <a:lnTo>
                      <a:pt x="0" y="0"/>
                    </a:lnTo>
                    <a:lnTo>
                      <a:pt x="47" y="0"/>
                    </a:lnTo>
                    <a:lnTo>
                      <a:pt x="4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 name="Line 12"/>
              <p:cNvSpPr>
                <a:spLocks noChangeShapeType="1"/>
              </p:cNvSpPr>
              <p:nvPr/>
            </p:nvSpPr>
            <p:spPr bwMode="auto">
              <a:xfrm>
                <a:off x="12143313" y="6734698"/>
                <a:ext cx="38103" cy="0"/>
              </a:xfrm>
              <a:prstGeom prst="line">
                <a:avLst/>
              </a:prstGeom>
              <a:noFill/>
              <a:ln w="4445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lIns="68580" tIns="34290" rIns="68580" bIns="34290"/>
              <a:lstStyle/>
              <a:p>
                <a:pPr>
                  <a:defRPr/>
                </a:pPr>
                <a:endParaRPr lang="en-US" sz="1350"/>
              </a:p>
            </p:txBody>
          </p:sp>
        </p:grpSp>
        <p:grpSp>
          <p:nvGrpSpPr>
            <p:cNvPr id="19" name="Group 18"/>
            <p:cNvGrpSpPr>
              <a:grpSpLocks/>
            </p:cNvGrpSpPr>
            <p:nvPr/>
          </p:nvGrpSpPr>
          <p:grpSpPr bwMode="auto">
            <a:xfrm>
              <a:off x="5094288" y="3717925"/>
              <a:ext cx="296862" cy="2039938"/>
              <a:chOff x="4760913" y="3813175"/>
              <a:chExt cx="395288" cy="2720975"/>
            </a:xfrm>
          </p:grpSpPr>
          <p:sp>
            <p:nvSpPr>
              <p:cNvPr id="14" name="Rectangle 13"/>
              <p:cNvSpPr>
                <a:spLocks noChangeArrowheads="1"/>
              </p:cNvSpPr>
              <p:nvPr/>
            </p:nvSpPr>
            <p:spPr bwMode="auto">
              <a:xfrm>
                <a:off x="4760913" y="3813175"/>
                <a:ext cx="395288" cy="2720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5" name="Rectangle 14"/>
              <p:cNvSpPr>
                <a:spLocks noChangeArrowheads="1"/>
              </p:cNvSpPr>
              <p:nvPr/>
            </p:nvSpPr>
            <p:spPr bwMode="auto">
              <a:xfrm>
                <a:off x="4936361" y="3813175"/>
                <a:ext cx="44391" cy="381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6" name="Freeform 15"/>
              <p:cNvSpPr>
                <a:spLocks noEditPoints="1"/>
              </p:cNvSpPr>
              <p:nvPr/>
            </p:nvSpPr>
            <p:spPr bwMode="auto">
              <a:xfrm>
                <a:off x="4936361" y="3927519"/>
                <a:ext cx="44391" cy="2492286"/>
              </a:xfrm>
              <a:custGeom>
                <a:avLst/>
                <a:gdLst>
                  <a:gd name="T0" fmla="*/ 0 w 28"/>
                  <a:gd name="T1" fmla="*/ 1570 h 1570"/>
                  <a:gd name="T2" fmla="*/ 28 w 28"/>
                  <a:gd name="T3" fmla="*/ 1522 h 1570"/>
                  <a:gd name="T4" fmla="*/ 28 w 28"/>
                  <a:gd name="T5" fmla="*/ 1474 h 1570"/>
                  <a:gd name="T6" fmla="*/ 0 w 28"/>
                  <a:gd name="T7" fmla="*/ 1427 h 1570"/>
                  <a:gd name="T8" fmla="*/ 28 w 28"/>
                  <a:gd name="T9" fmla="*/ 1474 h 1570"/>
                  <a:gd name="T10" fmla="*/ 0 w 28"/>
                  <a:gd name="T11" fmla="*/ 1380 h 1570"/>
                  <a:gd name="T12" fmla="*/ 28 w 28"/>
                  <a:gd name="T13" fmla="*/ 1332 h 1570"/>
                  <a:gd name="T14" fmla="*/ 28 w 28"/>
                  <a:gd name="T15" fmla="*/ 1284 h 1570"/>
                  <a:gd name="T16" fmla="*/ 0 w 28"/>
                  <a:gd name="T17" fmla="*/ 1236 h 1570"/>
                  <a:gd name="T18" fmla="*/ 28 w 28"/>
                  <a:gd name="T19" fmla="*/ 1284 h 1570"/>
                  <a:gd name="T20" fmla="*/ 0 w 28"/>
                  <a:gd name="T21" fmla="*/ 1189 h 1570"/>
                  <a:gd name="T22" fmla="*/ 28 w 28"/>
                  <a:gd name="T23" fmla="*/ 1142 h 1570"/>
                  <a:gd name="T24" fmla="*/ 28 w 28"/>
                  <a:gd name="T25" fmla="*/ 1094 h 1570"/>
                  <a:gd name="T26" fmla="*/ 0 w 28"/>
                  <a:gd name="T27" fmla="*/ 1046 h 1570"/>
                  <a:gd name="T28" fmla="*/ 28 w 28"/>
                  <a:gd name="T29" fmla="*/ 1094 h 1570"/>
                  <a:gd name="T30" fmla="*/ 0 w 28"/>
                  <a:gd name="T31" fmla="*/ 999 h 1570"/>
                  <a:gd name="T32" fmla="*/ 28 w 28"/>
                  <a:gd name="T33" fmla="*/ 951 h 1570"/>
                  <a:gd name="T34" fmla="*/ 28 w 28"/>
                  <a:gd name="T35" fmla="*/ 903 h 1570"/>
                  <a:gd name="T36" fmla="*/ 0 w 28"/>
                  <a:gd name="T37" fmla="*/ 856 h 1570"/>
                  <a:gd name="T38" fmla="*/ 28 w 28"/>
                  <a:gd name="T39" fmla="*/ 903 h 1570"/>
                  <a:gd name="T40" fmla="*/ 0 w 28"/>
                  <a:gd name="T41" fmla="*/ 808 h 1570"/>
                  <a:gd name="T42" fmla="*/ 28 w 28"/>
                  <a:gd name="T43" fmla="*/ 761 h 1570"/>
                  <a:gd name="T44" fmla="*/ 28 w 28"/>
                  <a:gd name="T45" fmla="*/ 713 h 1570"/>
                  <a:gd name="T46" fmla="*/ 0 w 28"/>
                  <a:gd name="T47" fmla="*/ 665 h 1570"/>
                  <a:gd name="T48" fmla="*/ 28 w 28"/>
                  <a:gd name="T49" fmla="*/ 713 h 1570"/>
                  <a:gd name="T50" fmla="*/ 0 w 28"/>
                  <a:gd name="T51" fmla="*/ 618 h 1570"/>
                  <a:gd name="T52" fmla="*/ 28 w 28"/>
                  <a:gd name="T53" fmla="*/ 571 h 1570"/>
                  <a:gd name="T54" fmla="*/ 28 w 28"/>
                  <a:gd name="T55" fmla="*/ 523 h 1570"/>
                  <a:gd name="T56" fmla="*/ 0 w 28"/>
                  <a:gd name="T57" fmla="*/ 475 h 1570"/>
                  <a:gd name="T58" fmla="*/ 28 w 28"/>
                  <a:gd name="T59" fmla="*/ 523 h 1570"/>
                  <a:gd name="T60" fmla="*/ 0 w 28"/>
                  <a:gd name="T61" fmla="*/ 427 h 1570"/>
                  <a:gd name="T62" fmla="*/ 28 w 28"/>
                  <a:gd name="T63" fmla="*/ 380 h 1570"/>
                  <a:gd name="T64" fmla="*/ 28 w 28"/>
                  <a:gd name="T65" fmla="*/ 333 h 1570"/>
                  <a:gd name="T66" fmla="*/ 0 w 28"/>
                  <a:gd name="T67" fmla="*/ 285 h 1570"/>
                  <a:gd name="T68" fmla="*/ 28 w 28"/>
                  <a:gd name="T69" fmla="*/ 333 h 1570"/>
                  <a:gd name="T70" fmla="*/ 0 w 28"/>
                  <a:gd name="T71" fmla="*/ 237 h 1570"/>
                  <a:gd name="T72" fmla="*/ 28 w 28"/>
                  <a:gd name="T73" fmla="*/ 190 h 1570"/>
                  <a:gd name="T74" fmla="*/ 28 w 28"/>
                  <a:gd name="T75" fmla="*/ 142 h 1570"/>
                  <a:gd name="T76" fmla="*/ 0 w 28"/>
                  <a:gd name="T77" fmla="*/ 94 h 1570"/>
                  <a:gd name="T78" fmla="*/ 28 w 28"/>
                  <a:gd name="T79" fmla="*/ 142 h 1570"/>
                  <a:gd name="T80" fmla="*/ 0 w 28"/>
                  <a:gd name="T81" fmla="*/ 47 h 1570"/>
                  <a:gd name="T82" fmla="*/ 28 w 28"/>
                  <a:gd name="T83" fmla="*/ 0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1570">
                    <a:moveTo>
                      <a:pt x="28" y="1570"/>
                    </a:moveTo>
                    <a:lnTo>
                      <a:pt x="0" y="1570"/>
                    </a:lnTo>
                    <a:lnTo>
                      <a:pt x="0" y="1522"/>
                    </a:lnTo>
                    <a:lnTo>
                      <a:pt x="28" y="1522"/>
                    </a:lnTo>
                    <a:lnTo>
                      <a:pt x="28" y="1570"/>
                    </a:lnTo>
                    <a:close/>
                    <a:moveTo>
                      <a:pt x="28" y="1474"/>
                    </a:moveTo>
                    <a:lnTo>
                      <a:pt x="0" y="1474"/>
                    </a:lnTo>
                    <a:lnTo>
                      <a:pt x="0" y="1427"/>
                    </a:lnTo>
                    <a:lnTo>
                      <a:pt x="28" y="1427"/>
                    </a:lnTo>
                    <a:lnTo>
                      <a:pt x="28" y="1474"/>
                    </a:lnTo>
                    <a:close/>
                    <a:moveTo>
                      <a:pt x="28" y="1380"/>
                    </a:moveTo>
                    <a:lnTo>
                      <a:pt x="0" y="1380"/>
                    </a:lnTo>
                    <a:lnTo>
                      <a:pt x="0" y="1332"/>
                    </a:lnTo>
                    <a:lnTo>
                      <a:pt x="28" y="1332"/>
                    </a:lnTo>
                    <a:lnTo>
                      <a:pt x="28" y="1380"/>
                    </a:lnTo>
                    <a:close/>
                    <a:moveTo>
                      <a:pt x="28" y="1284"/>
                    </a:moveTo>
                    <a:lnTo>
                      <a:pt x="0" y="1284"/>
                    </a:lnTo>
                    <a:lnTo>
                      <a:pt x="0" y="1236"/>
                    </a:lnTo>
                    <a:lnTo>
                      <a:pt x="28" y="1236"/>
                    </a:lnTo>
                    <a:lnTo>
                      <a:pt x="28" y="1284"/>
                    </a:lnTo>
                    <a:close/>
                    <a:moveTo>
                      <a:pt x="28" y="1189"/>
                    </a:moveTo>
                    <a:lnTo>
                      <a:pt x="0" y="1189"/>
                    </a:lnTo>
                    <a:lnTo>
                      <a:pt x="0" y="1142"/>
                    </a:lnTo>
                    <a:lnTo>
                      <a:pt x="28" y="1142"/>
                    </a:lnTo>
                    <a:lnTo>
                      <a:pt x="28" y="1189"/>
                    </a:lnTo>
                    <a:close/>
                    <a:moveTo>
                      <a:pt x="28" y="1094"/>
                    </a:moveTo>
                    <a:lnTo>
                      <a:pt x="0" y="1094"/>
                    </a:lnTo>
                    <a:lnTo>
                      <a:pt x="0" y="1046"/>
                    </a:lnTo>
                    <a:lnTo>
                      <a:pt x="28" y="1046"/>
                    </a:lnTo>
                    <a:lnTo>
                      <a:pt x="28" y="1094"/>
                    </a:lnTo>
                    <a:close/>
                    <a:moveTo>
                      <a:pt x="28" y="999"/>
                    </a:moveTo>
                    <a:lnTo>
                      <a:pt x="0" y="999"/>
                    </a:lnTo>
                    <a:lnTo>
                      <a:pt x="0" y="951"/>
                    </a:lnTo>
                    <a:lnTo>
                      <a:pt x="28" y="951"/>
                    </a:lnTo>
                    <a:lnTo>
                      <a:pt x="28" y="999"/>
                    </a:lnTo>
                    <a:close/>
                    <a:moveTo>
                      <a:pt x="28" y="903"/>
                    </a:moveTo>
                    <a:lnTo>
                      <a:pt x="0" y="903"/>
                    </a:lnTo>
                    <a:lnTo>
                      <a:pt x="0" y="856"/>
                    </a:lnTo>
                    <a:lnTo>
                      <a:pt x="28" y="856"/>
                    </a:lnTo>
                    <a:lnTo>
                      <a:pt x="28" y="903"/>
                    </a:lnTo>
                    <a:close/>
                    <a:moveTo>
                      <a:pt x="28" y="808"/>
                    </a:moveTo>
                    <a:lnTo>
                      <a:pt x="0" y="808"/>
                    </a:lnTo>
                    <a:lnTo>
                      <a:pt x="0" y="761"/>
                    </a:lnTo>
                    <a:lnTo>
                      <a:pt x="28" y="761"/>
                    </a:lnTo>
                    <a:lnTo>
                      <a:pt x="28" y="808"/>
                    </a:lnTo>
                    <a:close/>
                    <a:moveTo>
                      <a:pt x="28" y="713"/>
                    </a:moveTo>
                    <a:lnTo>
                      <a:pt x="0" y="713"/>
                    </a:lnTo>
                    <a:lnTo>
                      <a:pt x="0" y="665"/>
                    </a:lnTo>
                    <a:lnTo>
                      <a:pt x="28" y="665"/>
                    </a:lnTo>
                    <a:lnTo>
                      <a:pt x="28" y="713"/>
                    </a:lnTo>
                    <a:close/>
                    <a:moveTo>
                      <a:pt x="28" y="618"/>
                    </a:moveTo>
                    <a:lnTo>
                      <a:pt x="0" y="618"/>
                    </a:lnTo>
                    <a:lnTo>
                      <a:pt x="0" y="571"/>
                    </a:lnTo>
                    <a:lnTo>
                      <a:pt x="28" y="571"/>
                    </a:lnTo>
                    <a:lnTo>
                      <a:pt x="28" y="618"/>
                    </a:lnTo>
                    <a:close/>
                    <a:moveTo>
                      <a:pt x="28" y="523"/>
                    </a:moveTo>
                    <a:lnTo>
                      <a:pt x="0" y="523"/>
                    </a:lnTo>
                    <a:lnTo>
                      <a:pt x="0" y="475"/>
                    </a:lnTo>
                    <a:lnTo>
                      <a:pt x="28" y="475"/>
                    </a:lnTo>
                    <a:lnTo>
                      <a:pt x="28" y="523"/>
                    </a:lnTo>
                    <a:close/>
                    <a:moveTo>
                      <a:pt x="28" y="427"/>
                    </a:moveTo>
                    <a:lnTo>
                      <a:pt x="0" y="427"/>
                    </a:lnTo>
                    <a:lnTo>
                      <a:pt x="0" y="380"/>
                    </a:lnTo>
                    <a:lnTo>
                      <a:pt x="28" y="380"/>
                    </a:lnTo>
                    <a:lnTo>
                      <a:pt x="28" y="427"/>
                    </a:lnTo>
                    <a:close/>
                    <a:moveTo>
                      <a:pt x="28" y="333"/>
                    </a:moveTo>
                    <a:lnTo>
                      <a:pt x="0" y="333"/>
                    </a:lnTo>
                    <a:lnTo>
                      <a:pt x="0" y="285"/>
                    </a:lnTo>
                    <a:lnTo>
                      <a:pt x="28" y="285"/>
                    </a:lnTo>
                    <a:lnTo>
                      <a:pt x="28" y="333"/>
                    </a:lnTo>
                    <a:close/>
                    <a:moveTo>
                      <a:pt x="28" y="237"/>
                    </a:moveTo>
                    <a:lnTo>
                      <a:pt x="0" y="237"/>
                    </a:lnTo>
                    <a:lnTo>
                      <a:pt x="0" y="190"/>
                    </a:lnTo>
                    <a:lnTo>
                      <a:pt x="28" y="190"/>
                    </a:lnTo>
                    <a:lnTo>
                      <a:pt x="28" y="237"/>
                    </a:lnTo>
                    <a:close/>
                    <a:moveTo>
                      <a:pt x="28" y="142"/>
                    </a:moveTo>
                    <a:lnTo>
                      <a:pt x="0" y="142"/>
                    </a:lnTo>
                    <a:lnTo>
                      <a:pt x="0" y="94"/>
                    </a:lnTo>
                    <a:lnTo>
                      <a:pt x="28" y="94"/>
                    </a:lnTo>
                    <a:lnTo>
                      <a:pt x="28" y="142"/>
                    </a:lnTo>
                    <a:close/>
                    <a:moveTo>
                      <a:pt x="28" y="47"/>
                    </a:moveTo>
                    <a:lnTo>
                      <a:pt x="0" y="47"/>
                    </a:lnTo>
                    <a:lnTo>
                      <a:pt x="0" y="0"/>
                    </a:lnTo>
                    <a:lnTo>
                      <a:pt x="28" y="0"/>
                    </a:lnTo>
                    <a:lnTo>
                      <a:pt x="28"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7" name="Rectangle 16"/>
              <p:cNvSpPr>
                <a:spLocks noChangeArrowheads="1"/>
              </p:cNvSpPr>
              <p:nvPr/>
            </p:nvSpPr>
            <p:spPr bwMode="auto">
              <a:xfrm>
                <a:off x="4936361" y="6493917"/>
                <a:ext cx="44391" cy="381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sp>
          <p:nvSpPr>
            <p:cNvPr id="89" name="TextBox 88"/>
            <p:cNvSpPr txBox="1"/>
            <p:nvPr/>
          </p:nvSpPr>
          <p:spPr>
            <a:xfrm>
              <a:off x="2823620" y="3884613"/>
              <a:ext cx="736099" cy="230832"/>
            </a:xfrm>
            <a:prstGeom prst="rect">
              <a:avLst/>
            </a:prstGeom>
            <a:noFill/>
          </p:spPr>
          <p:txBody>
            <a:bodyPr wrap="none">
              <a:spAutoFit/>
            </a:bodyPr>
            <a:lstStyle/>
            <a:p>
              <a:pPr algn="ctr">
                <a:defRPr/>
              </a:pPr>
              <a:r>
                <a:rPr lang="id-ID" sz="900" b="1" dirty="0">
                  <a:latin typeface="+mj-lt"/>
                </a:rPr>
                <a:t>Description</a:t>
              </a:r>
            </a:p>
          </p:txBody>
        </p:sp>
        <p:sp>
          <p:nvSpPr>
            <p:cNvPr id="90" name="Rectangle 89"/>
            <p:cNvSpPr/>
            <p:nvPr/>
          </p:nvSpPr>
          <p:spPr>
            <a:xfrm>
              <a:off x="2408238" y="4030663"/>
              <a:ext cx="1568450" cy="474662"/>
            </a:xfrm>
            <a:prstGeom prst="rect">
              <a:avLst/>
            </a:prstGeom>
          </p:spPr>
          <p:txBody>
            <a:bodyPr>
              <a:spAutoFit/>
            </a:bodyPr>
            <a:lstStyle/>
            <a:p>
              <a:pPr algn="ctr">
                <a:defRPr/>
              </a:pPr>
              <a:r>
                <a:rPr lang="id-ID" sz="825" dirty="0"/>
                <a:t>Suitable for all categories business and</a:t>
              </a:r>
              <a:r>
                <a:rPr lang="en-US" sz="825" dirty="0"/>
                <a:t> your awesome</a:t>
              </a:r>
              <a:r>
                <a:rPr lang="id-ID" sz="825" dirty="0"/>
                <a:t> personal presentation</a:t>
              </a:r>
            </a:p>
          </p:txBody>
        </p:sp>
        <p:grpSp>
          <p:nvGrpSpPr>
            <p:cNvPr id="354" name="Group 353"/>
            <p:cNvGrpSpPr>
              <a:grpSpLocks/>
            </p:cNvGrpSpPr>
            <p:nvPr/>
          </p:nvGrpSpPr>
          <p:grpSpPr bwMode="auto">
            <a:xfrm>
              <a:off x="1897063" y="2541588"/>
              <a:ext cx="1187450" cy="927100"/>
              <a:chOff x="496888" y="2244727"/>
              <a:chExt cx="1584324" cy="1238248"/>
            </a:xfrm>
          </p:grpSpPr>
          <p:grpSp>
            <p:nvGrpSpPr>
              <p:cNvPr id="39012" name="Group 97"/>
              <p:cNvGrpSpPr>
                <a:grpSpLocks/>
              </p:cNvGrpSpPr>
              <p:nvPr/>
            </p:nvGrpSpPr>
            <p:grpSpPr bwMode="auto">
              <a:xfrm>
                <a:off x="668337" y="3055938"/>
                <a:ext cx="1252538" cy="427037"/>
                <a:chOff x="668337" y="3055938"/>
                <a:chExt cx="1252538" cy="427037"/>
              </a:xfrm>
            </p:grpSpPr>
            <p:sp>
              <p:nvSpPr>
                <p:cNvPr id="94" name="Rectangle 54"/>
                <p:cNvSpPr>
                  <a:spLocks noChangeArrowheads="1"/>
                </p:cNvSpPr>
                <p:nvPr/>
              </p:nvSpPr>
              <p:spPr bwMode="auto">
                <a:xfrm>
                  <a:off x="668452" y="3056797"/>
                  <a:ext cx="65661" cy="426178"/>
                </a:xfrm>
                <a:prstGeom prst="rect">
                  <a:avLst/>
                </a:prstGeom>
                <a:solidFill>
                  <a:srgbClr val="A95E3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95" name="Rectangle 55"/>
                <p:cNvSpPr>
                  <a:spLocks noChangeArrowheads="1"/>
                </p:cNvSpPr>
                <p:nvPr/>
              </p:nvSpPr>
              <p:spPr bwMode="auto">
                <a:xfrm>
                  <a:off x="1854576" y="3056797"/>
                  <a:ext cx="65661" cy="426178"/>
                </a:xfrm>
                <a:prstGeom prst="rect">
                  <a:avLst/>
                </a:prstGeom>
                <a:solidFill>
                  <a:srgbClr val="A95E3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97" name="Rectangle 57"/>
                <p:cNvSpPr>
                  <a:spLocks noChangeArrowheads="1"/>
                </p:cNvSpPr>
                <p:nvPr/>
              </p:nvSpPr>
              <p:spPr bwMode="auto">
                <a:xfrm>
                  <a:off x="668452" y="3241262"/>
                  <a:ext cx="1188243" cy="63609"/>
                </a:xfrm>
                <a:prstGeom prst="rect">
                  <a:avLst/>
                </a:prstGeom>
                <a:solidFill>
                  <a:srgbClr val="A95E3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sp>
            <p:nvSpPr>
              <p:cNvPr id="96" name="Rectangle 56"/>
              <p:cNvSpPr>
                <a:spLocks noChangeArrowheads="1"/>
              </p:cNvSpPr>
              <p:nvPr/>
            </p:nvSpPr>
            <p:spPr bwMode="auto">
              <a:xfrm>
                <a:off x="496888" y="2244727"/>
                <a:ext cx="1584324" cy="812070"/>
              </a:xfrm>
              <a:prstGeom prst="rect">
                <a:avLst/>
              </a:prstGeom>
              <a:solidFill>
                <a:schemeClr val="accent2"/>
              </a:solidFill>
              <a:ln>
                <a:noFill/>
              </a:ln>
            </p:spPr>
            <p:txBody>
              <a:bodyPr lIns="68580" tIns="34290" rIns="68580" bIns="34290"/>
              <a:lstStyle/>
              <a:p>
                <a:pPr>
                  <a:defRPr/>
                </a:pPr>
                <a:endParaRPr lang="en-US" sz="1350"/>
              </a:p>
            </p:txBody>
          </p:sp>
        </p:grpSp>
        <p:sp>
          <p:nvSpPr>
            <p:cNvPr id="99" name="TextBox 98"/>
            <p:cNvSpPr txBox="1"/>
            <p:nvPr/>
          </p:nvSpPr>
          <p:spPr>
            <a:xfrm>
              <a:off x="1951779" y="2620964"/>
              <a:ext cx="1081193" cy="461665"/>
            </a:xfrm>
            <a:prstGeom prst="rect">
              <a:avLst/>
            </a:prstGeom>
            <a:noFill/>
          </p:spPr>
          <p:txBody>
            <a:bodyPr wrap="none">
              <a:spAutoFit/>
            </a:bodyPr>
            <a:lstStyle/>
            <a:p>
              <a:pPr algn="ctr">
                <a:defRPr/>
              </a:pPr>
              <a:r>
                <a:rPr lang="en-US" sz="1200" b="1" dirty="0">
                  <a:solidFill>
                    <a:schemeClr val="bg2"/>
                  </a:solidFill>
                  <a:latin typeface="+mj-lt"/>
                </a:rPr>
                <a:t>CITY</a:t>
              </a:r>
            </a:p>
            <a:p>
              <a:pPr algn="ctr">
                <a:defRPr/>
              </a:pPr>
              <a:r>
                <a:rPr lang="en-US" sz="1200" b="1" dirty="0">
                  <a:solidFill>
                    <a:schemeClr val="bg2"/>
                  </a:solidFill>
                  <a:latin typeface="+mj-lt"/>
                </a:rPr>
                <a:t>INFOGRAPHIC</a:t>
              </a:r>
              <a:endParaRPr lang="id-ID" sz="1200" b="1" dirty="0">
                <a:solidFill>
                  <a:schemeClr val="bg2"/>
                </a:solidFill>
                <a:latin typeface="+mj-lt"/>
              </a:endParaRPr>
            </a:p>
          </p:txBody>
        </p:sp>
        <p:grpSp>
          <p:nvGrpSpPr>
            <p:cNvPr id="356" name="Group 355"/>
            <p:cNvGrpSpPr>
              <a:grpSpLocks/>
            </p:cNvGrpSpPr>
            <p:nvPr/>
          </p:nvGrpSpPr>
          <p:grpSpPr bwMode="auto">
            <a:xfrm>
              <a:off x="3457576" y="2886075"/>
              <a:ext cx="728663" cy="565150"/>
              <a:chOff x="2578100" y="2705100"/>
              <a:chExt cx="971550" cy="752476"/>
            </a:xfrm>
          </p:grpSpPr>
          <p:sp>
            <p:nvSpPr>
              <p:cNvPr id="115" name="Freeform 73"/>
              <p:cNvSpPr>
                <a:spLocks/>
              </p:cNvSpPr>
              <p:nvPr/>
            </p:nvSpPr>
            <p:spPr bwMode="auto">
              <a:xfrm>
                <a:off x="2603500" y="2705100"/>
                <a:ext cx="431800" cy="665815"/>
              </a:xfrm>
              <a:custGeom>
                <a:avLst/>
                <a:gdLst>
                  <a:gd name="T0" fmla="*/ 134 w 134"/>
                  <a:gd name="T1" fmla="*/ 207 h 207"/>
                  <a:gd name="T2" fmla="*/ 0 w 134"/>
                  <a:gd name="T3" fmla="*/ 207 h 207"/>
                  <a:gd name="T4" fmla="*/ 0 w 134"/>
                  <a:gd name="T5" fmla="*/ 63 h 207"/>
                  <a:gd name="T6" fmla="*/ 63 w 134"/>
                  <a:gd name="T7" fmla="*/ 0 h 207"/>
                  <a:gd name="T8" fmla="*/ 72 w 134"/>
                  <a:gd name="T9" fmla="*/ 0 h 207"/>
                  <a:gd name="T10" fmla="*/ 134 w 134"/>
                  <a:gd name="T11" fmla="*/ 63 h 207"/>
                  <a:gd name="T12" fmla="*/ 134 w 134"/>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134" h="207">
                    <a:moveTo>
                      <a:pt x="134" y="207"/>
                    </a:moveTo>
                    <a:cubicBezTo>
                      <a:pt x="0" y="207"/>
                      <a:pt x="0" y="207"/>
                      <a:pt x="0" y="207"/>
                    </a:cubicBezTo>
                    <a:cubicBezTo>
                      <a:pt x="0" y="63"/>
                      <a:pt x="0" y="63"/>
                      <a:pt x="0" y="63"/>
                    </a:cubicBezTo>
                    <a:cubicBezTo>
                      <a:pt x="0" y="28"/>
                      <a:pt x="28" y="0"/>
                      <a:pt x="63" y="0"/>
                    </a:cubicBezTo>
                    <a:cubicBezTo>
                      <a:pt x="72" y="0"/>
                      <a:pt x="72" y="0"/>
                      <a:pt x="72" y="0"/>
                    </a:cubicBezTo>
                    <a:cubicBezTo>
                      <a:pt x="106" y="0"/>
                      <a:pt x="134" y="28"/>
                      <a:pt x="134" y="63"/>
                    </a:cubicBezTo>
                    <a:lnTo>
                      <a:pt x="134" y="207"/>
                    </a:lnTo>
                    <a:close/>
                  </a:path>
                </a:pathLst>
              </a:custGeom>
              <a:solidFill>
                <a:schemeClr val="accent2"/>
              </a:solidFill>
              <a:ln>
                <a:noFill/>
              </a:ln>
            </p:spPr>
            <p:txBody>
              <a:bodyPr lIns="68580" tIns="34290" rIns="68580" bIns="34290"/>
              <a:lstStyle/>
              <a:p>
                <a:pPr>
                  <a:defRPr/>
                </a:pPr>
                <a:endParaRPr lang="en-US" sz="1350"/>
              </a:p>
            </p:txBody>
          </p:sp>
          <p:sp>
            <p:nvSpPr>
              <p:cNvPr id="116" name="Freeform 74"/>
              <p:cNvSpPr>
                <a:spLocks/>
              </p:cNvSpPr>
              <p:nvPr/>
            </p:nvSpPr>
            <p:spPr bwMode="auto">
              <a:xfrm>
                <a:off x="2603500" y="2705100"/>
                <a:ext cx="431800" cy="200802"/>
              </a:xfrm>
              <a:custGeom>
                <a:avLst/>
                <a:gdLst>
                  <a:gd name="T0" fmla="*/ 134 w 134"/>
                  <a:gd name="T1" fmla="*/ 63 h 63"/>
                  <a:gd name="T2" fmla="*/ 72 w 134"/>
                  <a:gd name="T3" fmla="*/ 0 h 63"/>
                  <a:gd name="T4" fmla="*/ 63 w 134"/>
                  <a:gd name="T5" fmla="*/ 0 h 63"/>
                  <a:gd name="T6" fmla="*/ 0 w 134"/>
                  <a:gd name="T7" fmla="*/ 63 h 63"/>
                  <a:gd name="T8" fmla="*/ 0 w 134"/>
                  <a:gd name="T9" fmla="*/ 63 h 63"/>
                  <a:gd name="T10" fmla="*/ 134 w 134"/>
                  <a:gd name="T11" fmla="*/ 63 h 63"/>
                </a:gdLst>
                <a:ahLst/>
                <a:cxnLst>
                  <a:cxn ang="0">
                    <a:pos x="T0" y="T1"/>
                  </a:cxn>
                  <a:cxn ang="0">
                    <a:pos x="T2" y="T3"/>
                  </a:cxn>
                  <a:cxn ang="0">
                    <a:pos x="T4" y="T5"/>
                  </a:cxn>
                  <a:cxn ang="0">
                    <a:pos x="T6" y="T7"/>
                  </a:cxn>
                  <a:cxn ang="0">
                    <a:pos x="T8" y="T9"/>
                  </a:cxn>
                  <a:cxn ang="0">
                    <a:pos x="T10" y="T11"/>
                  </a:cxn>
                </a:cxnLst>
                <a:rect l="0" t="0" r="r" b="b"/>
                <a:pathLst>
                  <a:path w="134" h="63">
                    <a:moveTo>
                      <a:pt x="134" y="63"/>
                    </a:moveTo>
                    <a:cubicBezTo>
                      <a:pt x="134" y="28"/>
                      <a:pt x="106" y="0"/>
                      <a:pt x="72" y="0"/>
                    </a:cubicBezTo>
                    <a:cubicBezTo>
                      <a:pt x="63" y="0"/>
                      <a:pt x="63" y="0"/>
                      <a:pt x="63" y="0"/>
                    </a:cubicBezTo>
                    <a:cubicBezTo>
                      <a:pt x="28" y="0"/>
                      <a:pt x="0" y="28"/>
                      <a:pt x="0" y="63"/>
                    </a:cubicBezTo>
                    <a:cubicBezTo>
                      <a:pt x="0" y="63"/>
                      <a:pt x="0" y="63"/>
                      <a:pt x="0" y="63"/>
                    </a:cubicBezTo>
                    <a:cubicBezTo>
                      <a:pt x="134" y="63"/>
                      <a:pt x="134" y="63"/>
                      <a:pt x="134" y="63"/>
                    </a:cubicBezTo>
                    <a:close/>
                  </a:path>
                </a:pathLst>
              </a:custGeom>
              <a:solidFill>
                <a:schemeClr val="accent3"/>
              </a:solidFill>
              <a:ln>
                <a:noFill/>
              </a:ln>
            </p:spPr>
            <p:txBody>
              <a:bodyPr lIns="68580" tIns="34290" rIns="68580" bIns="34290"/>
              <a:lstStyle/>
              <a:p>
                <a:pPr>
                  <a:defRPr/>
                </a:pPr>
                <a:endParaRPr lang="en-US" sz="1350"/>
              </a:p>
            </p:txBody>
          </p:sp>
          <p:sp>
            <p:nvSpPr>
              <p:cNvPr id="117" name="Rectangle 75"/>
              <p:cNvSpPr>
                <a:spLocks noChangeArrowheads="1"/>
              </p:cNvSpPr>
              <p:nvPr/>
            </p:nvSpPr>
            <p:spPr bwMode="auto">
              <a:xfrm>
                <a:off x="2603500" y="2905902"/>
                <a:ext cx="215900" cy="465013"/>
              </a:xfrm>
              <a:prstGeom prst="rect">
                <a:avLst/>
              </a:prstGeom>
              <a:solidFill>
                <a:schemeClr val="accent2">
                  <a:lumMod val="75000"/>
                </a:schemeClr>
              </a:solidFill>
              <a:ln>
                <a:noFill/>
              </a:ln>
            </p:spPr>
            <p:txBody>
              <a:bodyPr lIns="68580" tIns="34290" rIns="68580" bIns="34290"/>
              <a:lstStyle/>
              <a:p>
                <a:pPr>
                  <a:defRPr/>
                </a:pPr>
                <a:endParaRPr lang="en-US" sz="1350"/>
              </a:p>
            </p:txBody>
          </p:sp>
          <p:sp>
            <p:nvSpPr>
              <p:cNvPr id="118" name="Freeform 76"/>
              <p:cNvSpPr>
                <a:spLocks/>
              </p:cNvSpPr>
              <p:nvPr/>
            </p:nvSpPr>
            <p:spPr bwMode="auto">
              <a:xfrm>
                <a:off x="2603500" y="2705100"/>
                <a:ext cx="215900" cy="200802"/>
              </a:xfrm>
              <a:custGeom>
                <a:avLst/>
                <a:gdLst>
                  <a:gd name="T0" fmla="*/ 0 w 67"/>
                  <a:gd name="T1" fmla="*/ 63 h 63"/>
                  <a:gd name="T2" fmla="*/ 63 w 67"/>
                  <a:gd name="T3" fmla="*/ 0 h 63"/>
                  <a:gd name="T4" fmla="*/ 67 w 67"/>
                  <a:gd name="T5" fmla="*/ 0 h 63"/>
                  <a:gd name="T6" fmla="*/ 67 w 67"/>
                  <a:gd name="T7" fmla="*/ 63 h 63"/>
                  <a:gd name="T8" fmla="*/ 0 w 67"/>
                  <a:gd name="T9" fmla="*/ 63 h 63"/>
                </a:gdLst>
                <a:ahLst/>
                <a:cxnLst>
                  <a:cxn ang="0">
                    <a:pos x="T0" y="T1"/>
                  </a:cxn>
                  <a:cxn ang="0">
                    <a:pos x="T2" y="T3"/>
                  </a:cxn>
                  <a:cxn ang="0">
                    <a:pos x="T4" y="T5"/>
                  </a:cxn>
                  <a:cxn ang="0">
                    <a:pos x="T6" y="T7"/>
                  </a:cxn>
                  <a:cxn ang="0">
                    <a:pos x="T8" y="T9"/>
                  </a:cxn>
                </a:cxnLst>
                <a:rect l="0" t="0" r="r" b="b"/>
                <a:pathLst>
                  <a:path w="67" h="63">
                    <a:moveTo>
                      <a:pt x="0" y="63"/>
                    </a:moveTo>
                    <a:cubicBezTo>
                      <a:pt x="0" y="28"/>
                      <a:pt x="28" y="0"/>
                      <a:pt x="63" y="0"/>
                    </a:cubicBezTo>
                    <a:cubicBezTo>
                      <a:pt x="67" y="0"/>
                      <a:pt x="67" y="0"/>
                      <a:pt x="67" y="0"/>
                    </a:cubicBezTo>
                    <a:cubicBezTo>
                      <a:pt x="67" y="63"/>
                      <a:pt x="67" y="63"/>
                      <a:pt x="67" y="63"/>
                    </a:cubicBezTo>
                    <a:cubicBezTo>
                      <a:pt x="0" y="63"/>
                      <a:pt x="0" y="63"/>
                      <a:pt x="0" y="63"/>
                    </a:cubicBezTo>
                    <a:close/>
                  </a:path>
                </a:pathLst>
              </a:custGeom>
              <a:solidFill>
                <a:schemeClr val="accent3">
                  <a:lumMod val="75000"/>
                </a:schemeClr>
              </a:solidFill>
              <a:ln>
                <a:noFill/>
              </a:ln>
            </p:spPr>
            <p:txBody>
              <a:bodyPr lIns="68580" tIns="34290" rIns="68580" bIns="34290"/>
              <a:lstStyle/>
              <a:p>
                <a:pPr>
                  <a:defRPr/>
                </a:pPr>
                <a:endParaRPr lang="en-US" sz="1350"/>
              </a:p>
            </p:txBody>
          </p:sp>
          <p:sp>
            <p:nvSpPr>
              <p:cNvPr id="119" name="Freeform 77"/>
              <p:cNvSpPr>
                <a:spLocks/>
              </p:cNvSpPr>
              <p:nvPr/>
            </p:nvSpPr>
            <p:spPr bwMode="auto">
              <a:xfrm>
                <a:off x="3090333" y="2705100"/>
                <a:ext cx="431800" cy="665815"/>
              </a:xfrm>
              <a:custGeom>
                <a:avLst/>
                <a:gdLst>
                  <a:gd name="T0" fmla="*/ 134 w 134"/>
                  <a:gd name="T1" fmla="*/ 207 h 207"/>
                  <a:gd name="T2" fmla="*/ 0 w 134"/>
                  <a:gd name="T3" fmla="*/ 207 h 207"/>
                  <a:gd name="T4" fmla="*/ 0 w 134"/>
                  <a:gd name="T5" fmla="*/ 63 h 207"/>
                  <a:gd name="T6" fmla="*/ 63 w 134"/>
                  <a:gd name="T7" fmla="*/ 0 h 207"/>
                  <a:gd name="T8" fmla="*/ 72 w 134"/>
                  <a:gd name="T9" fmla="*/ 0 h 207"/>
                  <a:gd name="T10" fmla="*/ 134 w 134"/>
                  <a:gd name="T11" fmla="*/ 63 h 207"/>
                  <a:gd name="T12" fmla="*/ 134 w 134"/>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134" h="207">
                    <a:moveTo>
                      <a:pt x="134" y="207"/>
                    </a:moveTo>
                    <a:cubicBezTo>
                      <a:pt x="0" y="207"/>
                      <a:pt x="0" y="207"/>
                      <a:pt x="0" y="207"/>
                    </a:cubicBezTo>
                    <a:cubicBezTo>
                      <a:pt x="0" y="63"/>
                      <a:pt x="0" y="63"/>
                      <a:pt x="0" y="63"/>
                    </a:cubicBezTo>
                    <a:cubicBezTo>
                      <a:pt x="0" y="28"/>
                      <a:pt x="28" y="0"/>
                      <a:pt x="63" y="0"/>
                    </a:cubicBezTo>
                    <a:cubicBezTo>
                      <a:pt x="72" y="0"/>
                      <a:pt x="72" y="0"/>
                      <a:pt x="72" y="0"/>
                    </a:cubicBezTo>
                    <a:cubicBezTo>
                      <a:pt x="106" y="0"/>
                      <a:pt x="134" y="28"/>
                      <a:pt x="134" y="63"/>
                    </a:cubicBezTo>
                    <a:lnTo>
                      <a:pt x="134" y="207"/>
                    </a:lnTo>
                    <a:close/>
                  </a:path>
                </a:pathLst>
              </a:custGeom>
              <a:solidFill>
                <a:schemeClr val="accent2"/>
              </a:solidFill>
              <a:ln>
                <a:noFill/>
              </a:ln>
            </p:spPr>
            <p:txBody>
              <a:bodyPr lIns="68580" tIns="34290" rIns="68580" bIns="34290"/>
              <a:lstStyle/>
              <a:p>
                <a:pPr>
                  <a:defRPr/>
                </a:pPr>
                <a:endParaRPr lang="en-US" sz="1350"/>
              </a:p>
            </p:txBody>
          </p:sp>
          <p:sp>
            <p:nvSpPr>
              <p:cNvPr id="120" name="Freeform 78"/>
              <p:cNvSpPr>
                <a:spLocks/>
              </p:cNvSpPr>
              <p:nvPr/>
            </p:nvSpPr>
            <p:spPr bwMode="auto">
              <a:xfrm>
                <a:off x="3090333" y="2705100"/>
                <a:ext cx="431800" cy="200802"/>
              </a:xfrm>
              <a:custGeom>
                <a:avLst/>
                <a:gdLst>
                  <a:gd name="T0" fmla="*/ 134 w 134"/>
                  <a:gd name="T1" fmla="*/ 63 h 63"/>
                  <a:gd name="T2" fmla="*/ 72 w 134"/>
                  <a:gd name="T3" fmla="*/ 0 h 63"/>
                  <a:gd name="T4" fmla="*/ 63 w 134"/>
                  <a:gd name="T5" fmla="*/ 0 h 63"/>
                  <a:gd name="T6" fmla="*/ 0 w 134"/>
                  <a:gd name="T7" fmla="*/ 63 h 63"/>
                  <a:gd name="T8" fmla="*/ 0 w 134"/>
                  <a:gd name="T9" fmla="*/ 63 h 63"/>
                  <a:gd name="T10" fmla="*/ 134 w 134"/>
                  <a:gd name="T11" fmla="*/ 63 h 63"/>
                </a:gdLst>
                <a:ahLst/>
                <a:cxnLst>
                  <a:cxn ang="0">
                    <a:pos x="T0" y="T1"/>
                  </a:cxn>
                  <a:cxn ang="0">
                    <a:pos x="T2" y="T3"/>
                  </a:cxn>
                  <a:cxn ang="0">
                    <a:pos x="T4" y="T5"/>
                  </a:cxn>
                  <a:cxn ang="0">
                    <a:pos x="T6" y="T7"/>
                  </a:cxn>
                  <a:cxn ang="0">
                    <a:pos x="T8" y="T9"/>
                  </a:cxn>
                  <a:cxn ang="0">
                    <a:pos x="T10" y="T11"/>
                  </a:cxn>
                </a:cxnLst>
                <a:rect l="0" t="0" r="r" b="b"/>
                <a:pathLst>
                  <a:path w="134" h="63">
                    <a:moveTo>
                      <a:pt x="134" y="63"/>
                    </a:moveTo>
                    <a:cubicBezTo>
                      <a:pt x="134" y="28"/>
                      <a:pt x="106" y="0"/>
                      <a:pt x="72" y="0"/>
                    </a:cubicBezTo>
                    <a:cubicBezTo>
                      <a:pt x="63" y="0"/>
                      <a:pt x="63" y="0"/>
                      <a:pt x="63" y="0"/>
                    </a:cubicBezTo>
                    <a:cubicBezTo>
                      <a:pt x="28" y="0"/>
                      <a:pt x="0" y="28"/>
                      <a:pt x="0" y="63"/>
                    </a:cubicBezTo>
                    <a:cubicBezTo>
                      <a:pt x="0" y="63"/>
                      <a:pt x="0" y="63"/>
                      <a:pt x="0" y="63"/>
                    </a:cubicBezTo>
                    <a:cubicBezTo>
                      <a:pt x="134" y="63"/>
                      <a:pt x="134" y="63"/>
                      <a:pt x="134" y="63"/>
                    </a:cubicBezTo>
                    <a:close/>
                  </a:path>
                </a:pathLst>
              </a:custGeom>
              <a:solidFill>
                <a:schemeClr val="accent3"/>
              </a:solidFill>
              <a:ln>
                <a:noFill/>
              </a:ln>
            </p:spPr>
            <p:txBody>
              <a:bodyPr lIns="68580" tIns="34290" rIns="68580" bIns="34290"/>
              <a:lstStyle/>
              <a:p>
                <a:pPr>
                  <a:defRPr/>
                </a:pPr>
                <a:endParaRPr lang="en-US" sz="1350"/>
              </a:p>
            </p:txBody>
          </p:sp>
          <p:sp>
            <p:nvSpPr>
              <p:cNvPr id="121" name="Rectangle 79"/>
              <p:cNvSpPr>
                <a:spLocks noChangeArrowheads="1"/>
              </p:cNvSpPr>
              <p:nvPr/>
            </p:nvSpPr>
            <p:spPr bwMode="auto">
              <a:xfrm>
                <a:off x="3090333" y="2905902"/>
                <a:ext cx="215900" cy="465013"/>
              </a:xfrm>
              <a:prstGeom prst="rect">
                <a:avLst/>
              </a:prstGeom>
              <a:solidFill>
                <a:schemeClr val="accent2">
                  <a:lumMod val="75000"/>
                </a:schemeClr>
              </a:solidFill>
              <a:ln>
                <a:noFill/>
              </a:ln>
            </p:spPr>
            <p:txBody>
              <a:bodyPr lIns="68580" tIns="34290" rIns="68580" bIns="34290"/>
              <a:lstStyle/>
              <a:p>
                <a:pPr>
                  <a:defRPr/>
                </a:pPr>
                <a:endParaRPr lang="en-US" sz="1350"/>
              </a:p>
            </p:txBody>
          </p:sp>
          <p:sp>
            <p:nvSpPr>
              <p:cNvPr id="122" name="Freeform 80"/>
              <p:cNvSpPr>
                <a:spLocks/>
              </p:cNvSpPr>
              <p:nvPr/>
            </p:nvSpPr>
            <p:spPr bwMode="auto">
              <a:xfrm>
                <a:off x="3090333" y="2705100"/>
                <a:ext cx="215900" cy="200802"/>
              </a:xfrm>
              <a:custGeom>
                <a:avLst/>
                <a:gdLst>
                  <a:gd name="T0" fmla="*/ 0 w 67"/>
                  <a:gd name="T1" fmla="*/ 63 h 63"/>
                  <a:gd name="T2" fmla="*/ 63 w 67"/>
                  <a:gd name="T3" fmla="*/ 0 h 63"/>
                  <a:gd name="T4" fmla="*/ 67 w 67"/>
                  <a:gd name="T5" fmla="*/ 0 h 63"/>
                  <a:gd name="T6" fmla="*/ 67 w 67"/>
                  <a:gd name="T7" fmla="*/ 63 h 63"/>
                  <a:gd name="T8" fmla="*/ 0 w 67"/>
                  <a:gd name="T9" fmla="*/ 63 h 63"/>
                </a:gdLst>
                <a:ahLst/>
                <a:cxnLst>
                  <a:cxn ang="0">
                    <a:pos x="T0" y="T1"/>
                  </a:cxn>
                  <a:cxn ang="0">
                    <a:pos x="T2" y="T3"/>
                  </a:cxn>
                  <a:cxn ang="0">
                    <a:pos x="T4" y="T5"/>
                  </a:cxn>
                  <a:cxn ang="0">
                    <a:pos x="T6" y="T7"/>
                  </a:cxn>
                  <a:cxn ang="0">
                    <a:pos x="T8" y="T9"/>
                  </a:cxn>
                </a:cxnLst>
                <a:rect l="0" t="0" r="r" b="b"/>
                <a:pathLst>
                  <a:path w="67" h="63">
                    <a:moveTo>
                      <a:pt x="0" y="63"/>
                    </a:moveTo>
                    <a:cubicBezTo>
                      <a:pt x="0" y="28"/>
                      <a:pt x="28" y="0"/>
                      <a:pt x="63" y="0"/>
                    </a:cubicBezTo>
                    <a:cubicBezTo>
                      <a:pt x="67" y="0"/>
                      <a:pt x="67" y="0"/>
                      <a:pt x="67" y="0"/>
                    </a:cubicBezTo>
                    <a:cubicBezTo>
                      <a:pt x="67" y="63"/>
                      <a:pt x="67" y="63"/>
                      <a:pt x="67" y="63"/>
                    </a:cubicBezTo>
                    <a:cubicBezTo>
                      <a:pt x="0" y="63"/>
                      <a:pt x="0" y="63"/>
                      <a:pt x="0" y="63"/>
                    </a:cubicBezTo>
                    <a:close/>
                  </a:path>
                </a:pathLst>
              </a:custGeom>
              <a:solidFill>
                <a:schemeClr val="accent3">
                  <a:lumMod val="75000"/>
                </a:schemeClr>
              </a:solidFill>
              <a:ln>
                <a:noFill/>
              </a:ln>
            </p:spPr>
            <p:txBody>
              <a:bodyPr lIns="68580" tIns="34290" rIns="68580" bIns="34290"/>
              <a:lstStyle/>
              <a:p>
                <a:pPr>
                  <a:defRPr/>
                </a:pPr>
                <a:endParaRPr lang="en-US" sz="1350"/>
              </a:p>
            </p:txBody>
          </p:sp>
          <p:sp>
            <p:nvSpPr>
              <p:cNvPr id="123" name="Rectangle 81"/>
              <p:cNvSpPr>
                <a:spLocks noChangeArrowheads="1"/>
              </p:cNvSpPr>
              <p:nvPr/>
            </p:nvSpPr>
            <p:spPr bwMode="auto">
              <a:xfrm>
                <a:off x="2578100" y="3370915"/>
                <a:ext cx="971550" cy="86661"/>
              </a:xfrm>
              <a:prstGeom prst="rect">
                <a:avLst/>
              </a:prstGeom>
              <a:solidFill>
                <a:srgbClr val="754C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sp>
          <p:nvSpPr>
            <p:cNvPr id="130" name="TextBox 129"/>
            <p:cNvSpPr txBox="1"/>
            <p:nvPr/>
          </p:nvSpPr>
          <p:spPr>
            <a:xfrm>
              <a:off x="4889501" y="2239963"/>
              <a:ext cx="736099" cy="230832"/>
            </a:xfrm>
            <a:prstGeom prst="rect">
              <a:avLst/>
            </a:prstGeom>
            <a:noFill/>
          </p:spPr>
          <p:txBody>
            <a:bodyPr wrap="none">
              <a:spAutoFit/>
            </a:bodyPr>
            <a:lstStyle/>
            <a:p>
              <a:pPr>
                <a:defRPr/>
              </a:pPr>
              <a:r>
                <a:rPr lang="id-ID" sz="900" b="1" dirty="0">
                  <a:latin typeface="+mj-lt"/>
                </a:rPr>
                <a:t>Description</a:t>
              </a:r>
            </a:p>
          </p:txBody>
        </p:sp>
        <p:sp>
          <p:nvSpPr>
            <p:cNvPr id="131" name="Rectangle 130"/>
            <p:cNvSpPr/>
            <p:nvPr/>
          </p:nvSpPr>
          <p:spPr>
            <a:xfrm>
              <a:off x="4889500" y="2386014"/>
              <a:ext cx="1568450" cy="473075"/>
            </a:xfrm>
            <a:prstGeom prst="rect">
              <a:avLst/>
            </a:prstGeom>
          </p:spPr>
          <p:txBody>
            <a:bodyPr>
              <a:spAutoFit/>
            </a:bodyPr>
            <a:lstStyle/>
            <a:p>
              <a:pPr>
                <a:defRPr/>
              </a:pPr>
              <a:r>
                <a:rPr lang="id-ID" sz="825" dirty="0"/>
                <a:t>Suitable for all categories business and</a:t>
              </a:r>
              <a:r>
                <a:rPr lang="en-US" sz="825" dirty="0"/>
                <a:t> your awesome</a:t>
              </a:r>
              <a:r>
                <a:rPr lang="id-ID" sz="825" dirty="0"/>
                <a:t> personal presentation</a:t>
              </a:r>
            </a:p>
          </p:txBody>
        </p:sp>
        <p:grpSp>
          <p:nvGrpSpPr>
            <p:cNvPr id="132" name="Group 131"/>
            <p:cNvGrpSpPr>
              <a:grpSpLocks/>
            </p:cNvGrpSpPr>
            <p:nvPr/>
          </p:nvGrpSpPr>
          <p:grpSpPr bwMode="auto">
            <a:xfrm flipH="1">
              <a:off x="5608639" y="3211513"/>
              <a:ext cx="904875" cy="354012"/>
              <a:chOff x="7135813" y="7938"/>
              <a:chExt cx="2992437" cy="1169987"/>
            </a:xfrm>
          </p:grpSpPr>
          <p:sp>
            <p:nvSpPr>
              <p:cNvPr id="133" name="Rectangle 206"/>
              <p:cNvSpPr>
                <a:spLocks noChangeArrowheads="1"/>
              </p:cNvSpPr>
              <p:nvPr/>
            </p:nvSpPr>
            <p:spPr bwMode="auto">
              <a:xfrm>
                <a:off x="8096544" y="7938"/>
                <a:ext cx="2031706" cy="849947"/>
              </a:xfrm>
              <a:prstGeom prst="rect">
                <a:avLst/>
              </a:prstGeom>
              <a:solidFill>
                <a:schemeClr val="accent4">
                  <a:lumMod val="75000"/>
                </a:schemeClr>
              </a:solidFill>
              <a:ln>
                <a:noFill/>
              </a:ln>
            </p:spPr>
            <p:txBody>
              <a:bodyPr lIns="68580" tIns="34290" rIns="68580" bIns="34290"/>
              <a:lstStyle/>
              <a:p>
                <a:pPr>
                  <a:defRPr/>
                </a:pPr>
                <a:endParaRPr lang="en-US" sz="1350"/>
              </a:p>
            </p:txBody>
          </p:sp>
          <p:sp>
            <p:nvSpPr>
              <p:cNvPr id="134" name="Rectangle 207"/>
              <p:cNvSpPr>
                <a:spLocks noChangeArrowheads="1"/>
              </p:cNvSpPr>
              <p:nvPr/>
            </p:nvSpPr>
            <p:spPr bwMode="auto">
              <a:xfrm>
                <a:off x="8096544" y="842144"/>
                <a:ext cx="2031706" cy="167891"/>
              </a:xfrm>
              <a:prstGeom prst="rect">
                <a:avLst/>
              </a:prstGeom>
              <a:solidFill>
                <a:srgbClr val="3F4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35" name="Oval 208"/>
              <p:cNvSpPr>
                <a:spLocks noChangeArrowheads="1"/>
              </p:cNvSpPr>
              <p:nvPr/>
            </p:nvSpPr>
            <p:spPr bwMode="auto">
              <a:xfrm>
                <a:off x="8254041" y="826405"/>
                <a:ext cx="346493" cy="351520"/>
              </a:xfrm>
              <a:prstGeom prst="ellipse">
                <a:avLst/>
              </a:prstGeom>
              <a:solidFill>
                <a:srgbClr val="3F4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6" name="Oval 209"/>
              <p:cNvSpPr>
                <a:spLocks noChangeArrowheads="1"/>
              </p:cNvSpPr>
              <p:nvPr/>
            </p:nvSpPr>
            <p:spPr bwMode="auto">
              <a:xfrm>
                <a:off x="8327540" y="899858"/>
                <a:ext cx="199496" cy="204615"/>
              </a:xfrm>
              <a:prstGeom prst="ellipse">
                <a:avLst/>
              </a:pr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7" name="Oval 210"/>
              <p:cNvSpPr>
                <a:spLocks noChangeArrowheads="1"/>
              </p:cNvSpPr>
              <p:nvPr/>
            </p:nvSpPr>
            <p:spPr bwMode="auto">
              <a:xfrm>
                <a:off x="9655760" y="826405"/>
                <a:ext cx="346493" cy="351520"/>
              </a:xfrm>
              <a:prstGeom prst="ellipse">
                <a:avLst/>
              </a:prstGeom>
              <a:solidFill>
                <a:srgbClr val="3F4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8" name="Oval 211"/>
              <p:cNvSpPr>
                <a:spLocks noChangeArrowheads="1"/>
              </p:cNvSpPr>
              <p:nvPr/>
            </p:nvSpPr>
            <p:spPr bwMode="auto">
              <a:xfrm>
                <a:off x="9729258" y="899858"/>
                <a:ext cx="199496" cy="204615"/>
              </a:xfrm>
              <a:prstGeom prst="ellipse">
                <a:avLst/>
              </a:pr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9" name="Rectangle 212"/>
              <p:cNvSpPr>
                <a:spLocks noChangeArrowheads="1"/>
              </p:cNvSpPr>
              <p:nvPr/>
            </p:nvSpPr>
            <p:spPr bwMode="auto">
              <a:xfrm>
                <a:off x="8033546" y="805419"/>
                <a:ext cx="62999" cy="68204"/>
              </a:xfrm>
              <a:prstGeom prst="rect">
                <a:avLst/>
              </a:prstGeom>
              <a:solidFill>
                <a:srgbClr val="3F4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40" name="Freeform 213"/>
              <p:cNvSpPr>
                <a:spLocks/>
              </p:cNvSpPr>
              <p:nvPr/>
            </p:nvSpPr>
            <p:spPr bwMode="auto">
              <a:xfrm>
                <a:off x="7135813" y="7938"/>
                <a:ext cx="897733" cy="1002096"/>
              </a:xfrm>
              <a:custGeom>
                <a:avLst/>
                <a:gdLst>
                  <a:gd name="T0" fmla="*/ 564 w 564"/>
                  <a:gd name="T1" fmla="*/ 632 h 632"/>
                  <a:gd name="T2" fmla="*/ 0 w 564"/>
                  <a:gd name="T3" fmla="*/ 632 h 632"/>
                  <a:gd name="T4" fmla="*/ 0 w 564"/>
                  <a:gd name="T5" fmla="*/ 364 h 632"/>
                  <a:gd name="T6" fmla="*/ 183 w 564"/>
                  <a:gd name="T7" fmla="*/ 252 h 632"/>
                  <a:gd name="T8" fmla="*/ 183 w 564"/>
                  <a:gd name="T9" fmla="*/ 112 h 632"/>
                  <a:gd name="T10" fmla="*/ 355 w 564"/>
                  <a:gd name="T11" fmla="*/ 0 h 632"/>
                  <a:gd name="T12" fmla="*/ 564 w 564"/>
                  <a:gd name="T13" fmla="*/ 0 h 632"/>
                  <a:gd name="T14" fmla="*/ 564 w 564"/>
                  <a:gd name="T15" fmla="*/ 63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4" h="632">
                    <a:moveTo>
                      <a:pt x="564" y="632"/>
                    </a:moveTo>
                    <a:lnTo>
                      <a:pt x="0" y="632"/>
                    </a:lnTo>
                    <a:lnTo>
                      <a:pt x="0" y="364"/>
                    </a:lnTo>
                    <a:lnTo>
                      <a:pt x="183" y="252"/>
                    </a:lnTo>
                    <a:lnTo>
                      <a:pt x="183" y="112"/>
                    </a:lnTo>
                    <a:lnTo>
                      <a:pt x="355" y="0"/>
                    </a:lnTo>
                    <a:lnTo>
                      <a:pt x="564" y="0"/>
                    </a:lnTo>
                    <a:lnTo>
                      <a:pt x="564" y="632"/>
                    </a:lnTo>
                    <a:close/>
                  </a:path>
                </a:pathLst>
              </a:custGeom>
              <a:solidFill>
                <a:schemeClr val="accent4"/>
              </a:solidFill>
              <a:ln>
                <a:noFill/>
              </a:ln>
            </p:spPr>
            <p:txBody>
              <a:bodyPr lIns="68580" tIns="34290" rIns="68580" bIns="34290"/>
              <a:lstStyle/>
              <a:p>
                <a:pPr>
                  <a:defRPr/>
                </a:pPr>
                <a:endParaRPr lang="en-US" sz="1350"/>
              </a:p>
            </p:txBody>
          </p:sp>
          <p:sp>
            <p:nvSpPr>
              <p:cNvPr id="141" name="Rectangle 214"/>
              <p:cNvSpPr>
                <a:spLocks noChangeArrowheads="1"/>
              </p:cNvSpPr>
              <p:nvPr/>
            </p:nvSpPr>
            <p:spPr bwMode="auto">
              <a:xfrm>
                <a:off x="7424559" y="233540"/>
                <a:ext cx="204744" cy="188877"/>
              </a:xfrm>
              <a:prstGeom prst="rect">
                <a:avLst/>
              </a:prstGeom>
              <a:solidFill>
                <a:srgbClr val="D2EDF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42" name="Oval 215"/>
              <p:cNvSpPr>
                <a:spLocks noChangeArrowheads="1"/>
              </p:cNvSpPr>
              <p:nvPr/>
            </p:nvSpPr>
            <p:spPr bwMode="auto">
              <a:xfrm>
                <a:off x="7198812" y="826405"/>
                <a:ext cx="351744" cy="351520"/>
              </a:xfrm>
              <a:prstGeom prst="ellipse">
                <a:avLst/>
              </a:prstGeom>
              <a:solidFill>
                <a:srgbClr val="3F4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43" name="Oval 216"/>
              <p:cNvSpPr>
                <a:spLocks noChangeArrowheads="1"/>
              </p:cNvSpPr>
              <p:nvPr/>
            </p:nvSpPr>
            <p:spPr bwMode="auto">
              <a:xfrm>
                <a:off x="7277562" y="899858"/>
                <a:ext cx="199496" cy="204615"/>
              </a:xfrm>
              <a:prstGeom prst="ellipse">
                <a:avLst/>
              </a:pr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44" name="Oval 217"/>
              <p:cNvSpPr>
                <a:spLocks noChangeArrowheads="1"/>
              </p:cNvSpPr>
              <p:nvPr/>
            </p:nvSpPr>
            <p:spPr bwMode="auto">
              <a:xfrm>
                <a:off x="7681802" y="826405"/>
                <a:ext cx="351744" cy="351520"/>
              </a:xfrm>
              <a:prstGeom prst="ellipse">
                <a:avLst/>
              </a:prstGeom>
              <a:solidFill>
                <a:srgbClr val="3F4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45" name="Oval 218"/>
              <p:cNvSpPr>
                <a:spLocks noChangeArrowheads="1"/>
              </p:cNvSpPr>
              <p:nvPr/>
            </p:nvSpPr>
            <p:spPr bwMode="auto">
              <a:xfrm>
                <a:off x="7755300" y="899858"/>
                <a:ext cx="199496" cy="204615"/>
              </a:xfrm>
              <a:prstGeom prst="ellipse">
                <a:avLst/>
              </a:pr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sp>
          <p:nvSpPr>
            <p:cNvPr id="210" name="TextBox 209"/>
            <p:cNvSpPr txBox="1"/>
            <p:nvPr/>
          </p:nvSpPr>
          <p:spPr>
            <a:xfrm>
              <a:off x="8578851" y="2800350"/>
              <a:ext cx="736099" cy="230832"/>
            </a:xfrm>
            <a:prstGeom prst="rect">
              <a:avLst/>
            </a:prstGeom>
            <a:noFill/>
          </p:spPr>
          <p:txBody>
            <a:bodyPr wrap="none">
              <a:spAutoFit/>
            </a:bodyPr>
            <a:lstStyle/>
            <a:p>
              <a:pPr>
                <a:defRPr/>
              </a:pPr>
              <a:r>
                <a:rPr lang="id-ID" sz="900" b="1" dirty="0">
                  <a:latin typeface="+mj-lt"/>
                </a:rPr>
                <a:t>Description</a:t>
              </a:r>
            </a:p>
          </p:txBody>
        </p:sp>
        <p:sp>
          <p:nvSpPr>
            <p:cNvPr id="211" name="Rectangle 210"/>
            <p:cNvSpPr/>
            <p:nvPr/>
          </p:nvSpPr>
          <p:spPr>
            <a:xfrm>
              <a:off x="8578850" y="2946401"/>
              <a:ext cx="1568450" cy="473075"/>
            </a:xfrm>
            <a:prstGeom prst="rect">
              <a:avLst/>
            </a:prstGeom>
          </p:spPr>
          <p:txBody>
            <a:bodyPr>
              <a:spAutoFit/>
            </a:bodyPr>
            <a:lstStyle/>
            <a:p>
              <a:pPr>
                <a:defRPr/>
              </a:pPr>
              <a:r>
                <a:rPr lang="id-ID" sz="825" dirty="0"/>
                <a:t>Suitable for all categories business and</a:t>
              </a:r>
              <a:r>
                <a:rPr lang="en-US" sz="825" dirty="0"/>
                <a:t> your awesome</a:t>
              </a:r>
              <a:r>
                <a:rPr lang="id-ID" sz="825" dirty="0"/>
                <a:t> personal presentation</a:t>
              </a:r>
            </a:p>
          </p:txBody>
        </p:sp>
        <p:grpSp>
          <p:nvGrpSpPr>
            <p:cNvPr id="212" name="Group 211"/>
            <p:cNvGrpSpPr>
              <a:grpSpLocks/>
            </p:cNvGrpSpPr>
            <p:nvPr/>
          </p:nvGrpSpPr>
          <p:grpSpPr bwMode="auto">
            <a:xfrm>
              <a:off x="1843089" y="5695951"/>
              <a:ext cx="479425" cy="195263"/>
              <a:chOff x="5857875" y="2214563"/>
              <a:chExt cx="1208088" cy="488951"/>
            </a:xfrm>
          </p:grpSpPr>
          <p:sp>
            <p:nvSpPr>
              <p:cNvPr id="213" name="Freeform 122"/>
              <p:cNvSpPr>
                <a:spLocks/>
              </p:cNvSpPr>
              <p:nvPr/>
            </p:nvSpPr>
            <p:spPr bwMode="auto">
              <a:xfrm>
                <a:off x="5857875" y="2214563"/>
                <a:ext cx="1208088" cy="401497"/>
              </a:xfrm>
              <a:custGeom>
                <a:avLst/>
                <a:gdLst>
                  <a:gd name="T0" fmla="*/ 21 w 402"/>
                  <a:gd name="T1" fmla="*/ 56 h 132"/>
                  <a:gd name="T2" fmla="*/ 51 w 402"/>
                  <a:gd name="T3" fmla="*/ 56 h 132"/>
                  <a:gd name="T4" fmla="*/ 76 w 402"/>
                  <a:gd name="T5" fmla="*/ 24 h 132"/>
                  <a:gd name="T6" fmla="*/ 133 w 402"/>
                  <a:gd name="T7" fmla="*/ 0 h 132"/>
                  <a:gd name="T8" fmla="*/ 188 w 402"/>
                  <a:gd name="T9" fmla="*/ 0 h 132"/>
                  <a:gd name="T10" fmla="*/ 245 w 402"/>
                  <a:gd name="T11" fmla="*/ 24 h 132"/>
                  <a:gd name="T12" fmla="*/ 270 w 402"/>
                  <a:gd name="T13" fmla="*/ 56 h 132"/>
                  <a:gd name="T14" fmla="*/ 349 w 402"/>
                  <a:gd name="T15" fmla="*/ 56 h 132"/>
                  <a:gd name="T16" fmla="*/ 402 w 402"/>
                  <a:gd name="T17" fmla="*/ 110 h 132"/>
                  <a:gd name="T18" fmla="*/ 402 w 402"/>
                  <a:gd name="T19" fmla="*/ 111 h 132"/>
                  <a:gd name="T20" fmla="*/ 381 w 402"/>
                  <a:gd name="T21" fmla="*/ 132 h 132"/>
                  <a:gd name="T22" fmla="*/ 21 w 402"/>
                  <a:gd name="T23" fmla="*/ 132 h 132"/>
                  <a:gd name="T24" fmla="*/ 0 w 402"/>
                  <a:gd name="T25" fmla="*/ 111 h 132"/>
                  <a:gd name="T26" fmla="*/ 0 w 402"/>
                  <a:gd name="T27" fmla="*/ 77 h 132"/>
                  <a:gd name="T28" fmla="*/ 21 w 402"/>
                  <a:gd name="T29" fmla="*/ 5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2" h="132">
                    <a:moveTo>
                      <a:pt x="21" y="56"/>
                    </a:moveTo>
                    <a:cubicBezTo>
                      <a:pt x="51" y="56"/>
                      <a:pt x="51" y="56"/>
                      <a:pt x="51" y="56"/>
                    </a:cubicBezTo>
                    <a:cubicBezTo>
                      <a:pt x="76" y="24"/>
                      <a:pt x="76" y="24"/>
                      <a:pt x="76" y="24"/>
                    </a:cubicBezTo>
                    <a:cubicBezTo>
                      <a:pt x="88" y="9"/>
                      <a:pt x="110" y="0"/>
                      <a:pt x="133" y="0"/>
                    </a:cubicBezTo>
                    <a:cubicBezTo>
                      <a:pt x="188" y="0"/>
                      <a:pt x="188" y="0"/>
                      <a:pt x="188" y="0"/>
                    </a:cubicBezTo>
                    <a:cubicBezTo>
                      <a:pt x="211" y="0"/>
                      <a:pt x="233" y="9"/>
                      <a:pt x="245" y="24"/>
                    </a:cubicBezTo>
                    <a:cubicBezTo>
                      <a:pt x="270" y="56"/>
                      <a:pt x="270" y="56"/>
                      <a:pt x="270" y="56"/>
                    </a:cubicBezTo>
                    <a:cubicBezTo>
                      <a:pt x="349" y="56"/>
                      <a:pt x="349" y="56"/>
                      <a:pt x="349" y="56"/>
                    </a:cubicBezTo>
                    <a:cubicBezTo>
                      <a:pt x="378" y="56"/>
                      <a:pt x="402" y="81"/>
                      <a:pt x="402" y="110"/>
                    </a:cubicBezTo>
                    <a:cubicBezTo>
                      <a:pt x="402" y="111"/>
                      <a:pt x="402" y="111"/>
                      <a:pt x="402" y="111"/>
                    </a:cubicBezTo>
                    <a:cubicBezTo>
                      <a:pt x="402" y="123"/>
                      <a:pt x="393" y="132"/>
                      <a:pt x="381" y="132"/>
                    </a:cubicBezTo>
                    <a:cubicBezTo>
                      <a:pt x="21" y="132"/>
                      <a:pt x="21" y="132"/>
                      <a:pt x="21" y="132"/>
                    </a:cubicBezTo>
                    <a:cubicBezTo>
                      <a:pt x="9" y="132"/>
                      <a:pt x="0" y="123"/>
                      <a:pt x="0" y="111"/>
                    </a:cubicBezTo>
                    <a:cubicBezTo>
                      <a:pt x="0" y="77"/>
                      <a:pt x="0" y="77"/>
                      <a:pt x="0" y="77"/>
                    </a:cubicBezTo>
                    <a:cubicBezTo>
                      <a:pt x="0" y="66"/>
                      <a:pt x="9" y="56"/>
                      <a:pt x="21" y="56"/>
                    </a:cubicBezTo>
                    <a:close/>
                  </a:path>
                </a:pathLst>
              </a:custGeom>
              <a:solidFill>
                <a:schemeClr val="accent2"/>
              </a:solidFill>
              <a:ln>
                <a:noFill/>
              </a:ln>
            </p:spPr>
            <p:txBody>
              <a:bodyPr lIns="68580" tIns="34290" rIns="68580" bIns="34290"/>
              <a:lstStyle/>
              <a:p>
                <a:pPr>
                  <a:defRPr/>
                </a:pPr>
                <a:endParaRPr lang="en-US" sz="1350"/>
              </a:p>
            </p:txBody>
          </p:sp>
          <p:sp>
            <p:nvSpPr>
              <p:cNvPr id="214" name="Freeform 123"/>
              <p:cNvSpPr>
                <a:spLocks/>
              </p:cNvSpPr>
              <p:nvPr/>
            </p:nvSpPr>
            <p:spPr bwMode="auto">
              <a:xfrm>
                <a:off x="6097892" y="2258291"/>
                <a:ext cx="500035" cy="135157"/>
              </a:xfrm>
              <a:custGeom>
                <a:avLst/>
                <a:gdLst>
                  <a:gd name="T0" fmla="*/ 8 w 167"/>
                  <a:gd name="T1" fmla="*/ 45 h 45"/>
                  <a:gd name="T2" fmla="*/ 3 w 167"/>
                  <a:gd name="T3" fmla="*/ 36 h 45"/>
                  <a:gd name="T4" fmla="*/ 17 w 167"/>
                  <a:gd name="T5" fmla="*/ 19 h 45"/>
                  <a:gd name="T6" fmla="*/ 62 w 167"/>
                  <a:gd name="T7" fmla="*/ 0 h 45"/>
                  <a:gd name="T8" fmla="*/ 105 w 167"/>
                  <a:gd name="T9" fmla="*/ 0 h 45"/>
                  <a:gd name="T10" fmla="*/ 151 w 167"/>
                  <a:gd name="T11" fmla="*/ 19 h 45"/>
                  <a:gd name="T12" fmla="*/ 164 w 167"/>
                  <a:gd name="T13" fmla="*/ 36 h 45"/>
                  <a:gd name="T14" fmla="*/ 160 w 167"/>
                  <a:gd name="T15" fmla="*/ 45 h 45"/>
                  <a:gd name="T16" fmla="*/ 8 w 16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45">
                    <a:moveTo>
                      <a:pt x="8" y="45"/>
                    </a:moveTo>
                    <a:cubicBezTo>
                      <a:pt x="3" y="45"/>
                      <a:pt x="0" y="39"/>
                      <a:pt x="3" y="36"/>
                    </a:cubicBezTo>
                    <a:cubicBezTo>
                      <a:pt x="17" y="19"/>
                      <a:pt x="17" y="19"/>
                      <a:pt x="17" y="19"/>
                    </a:cubicBezTo>
                    <a:cubicBezTo>
                      <a:pt x="26" y="7"/>
                      <a:pt x="43" y="0"/>
                      <a:pt x="62" y="0"/>
                    </a:cubicBezTo>
                    <a:cubicBezTo>
                      <a:pt x="105" y="0"/>
                      <a:pt x="105" y="0"/>
                      <a:pt x="105" y="0"/>
                    </a:cubicBezTo>
                    <a:cubicBezTo>
                      <a:pt x="124" y="0"/>
                      <a:pt x="141" y="7"/>
                      <a:pt x="151" y="19"/>
                    </a:cubicBezTo>
                    <a:cubicBezTo>
                      <a:pt x="164" y="36"/>
                      <a:pt x="164" y="36"/>
                      <a:pt x="164" y="36"/>
                    </a:cubicBezTo>
                    <a:cubicBezTo>
                      <a:pt x="167" y="39"/>
                      <a:pt x="164" y="45"/>
                      <a:pt x="160" y="45"/>
                    </a:cubicBezTo>
                    <a:lnTo>
                      <a:pt x="8" y="45"/>
                    </a:lnTo>
                    <a:close/>
                  </a:path>
                </a:pathLst>
              </a:custGeom>
              <a:solidFill>
                <a:schemeClr val="bg2"/>
              </a:solidFill>
              <a:ln>
                <a:noFill/>
              </a:ln>
            </p:spPr>
            <p:txBody>
              <a:bodyPr lIns="68580" tIns="34290" rIns="68580" bIns="34290"/>
              <a:lstStyle/>
              <a:p>
                <a:pPr>
                  <a:defRPr/>
                </a:pPr>
                <a:endParaRPr lang="en-US" sz="1350"/>
              </a:p>
            </p:txBody>
          </p:sp>
          <p:sp>
            <p:nvSpPr>
              <p:cNvPr id="215" name="Freeform 124"/>
              <p:cNvSpPr>
                <a:spLocks/>
              </p:cNvSpPr>
              <p:nvPr/>
            </p:nvSpPr>
            <p:spPr bwMode="auto">
              <a:xfrm>
                <a:off x="5857875" y="2520655"/>
                <a:ext cx="1208088" cy="95405"/>
              </a:xfrm>
              <a:custGeom>
                <a:avLst/>
                <a:gdLst>
                  <a:gd name="T0" fmla="*/ 402 w 402"/>
                  <a:gd name="T1" fmla="*/ 0 h 31"/>
                  <a:gd name="T2" fmla="*/ 402 w 402"/>
                  <a:gd name="T3" fmla="*/ 9 h 31"/>
                  <a:gd name="T4" fmla="*/ 402 w 402"/>
                  <a:gd name="T5" fmla="*/ 10 h 31"/>
                  <a:gd name="T6" fmla="*/ 381 w 402"/>
                  <a:gd name="T7" fmla="*/ 31 h 31"/>
                  <a:gd name="T8" fmla="*/ 21 w 402"/>
                  <a:gd name="T9" fmla="*/ 31 h 31"/>
                  <a:gd name="T10" fmla="*/ 0 w 402"/>
                  <a:gd name="T11" fmla="*/ 10 h 31"/>
                  <a:gd name="T12" fmla="*/ 0 w 402"/>
                  <a:gd name="T13" fmla="*/ 0 h 31"/>
                  <a:gd name="T14" fmla="*/ 402 w 402"/>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 h="31">
                    <a:moveTo>
                      <a:pt x="402" y="0"/>
                    </a:moveTo>
                    <a:cubicBezTo>
                      <a:pt x="402" y="3"/>
                      <a:pt x="402" y="6"/>
                      <a:pt x="402" y="9"/>
                    </a:cubicBezTo>
                    <a:cubicBezTo>
                      <a:pt x="402" y="10"/>
                      <a:pt x="402" y="10"/>
                      <a:pt x="402" y="10"/>
                    </a:cubicBezTo>
                    <a:cubicBezTo>
                      <a:pt x="402" y="22"/>
                      <a:pt x="393" y="31"/>
                      <a:pt x="381" y="31"/>
                    </a:cubicBezTo>
                    <a:cubicBezTo>
                      <a:pt x="21" y="31"/>
                      <a:pt x="21" y="31"/>
                      <a:pt x="21" y="31"/>
                    </a:cubicBezTo>
                    <a:cubicBezTo>
                      <a:pt x="9" y="31"/>
                      <a:pt x="0" y="22"/>
                      <a:pt x="0" y="10"/>
                    </a:cubicBezTo>
                    <a:cubicBezTo>
                      <a:pt x="0" y="0"/>
                      <a:pt x="0" y="0"/>
                      <a:pt x="0" y="0"/>
                    </a:cubicBezTo>
                    <a:lnTo>
                      <a:pt x="402" y="0"/>
                    </a:lnTo>
                    <a:close/>
                  </a:path>
                </a:pathLst>
              </a:custGeom>
              <a:solidFill>
                <a:schemeClr val="accent2">
                  <a:lumMod val="75000"/>
                </a:schemeClr>
              </a:solidFill>
              <a:ln>
                <a:noFill/>
              </a:ln>
            </p:spPr>
            <p:txBody>
              <a:bodyPr lIns="68580" tIns="34290" rIns="68580" bIns="34290"/>
              <a:lstStyle/>
              <a:p>
                <a:pPr>
                  <a:defRPr/>
                </a:pPr>
                <a:endParaRPr lang="en-US" sz="1350"/>
              </a:p>
            </p:txBody>
          </p:sp>
          <p:sp>
            <p:nvSpPr>
              <p:cNvPr id="216" name="Oval 125"/>
              <p:cNvSpPr>
                <a:spLocks noChangeArrowheads="1"/>
              </p:cNvSpPr>
              <p:nvPr/>
            </p:nvSpPr>
            <p:spPr bwMode="auto">
              <a:xfrm>
                <a:off x="6693935" y="2465002"/>
                <a:ext cx="236018" cy="238512"/>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17" name="Oval 126"/>
              <p:cNvSpPr>
                <a:spLocks noChangeArrowheads="1"/>
              </p:cNvSpPr>
              <p:nvPr/>
            </p:nvSpPr>
            <p:spPr bwMode="auto">
              <a:xfrm>
                <a:off x="6749939" y="2520655"/>
                <a:ext cx="124010" cy="12720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sp>
            <p:nvSpPr>
              <p:cNvPr id="218" name="Oval 127"/>
              <p:cNvSpPr>
                <a:spLocks noChangeArrowheads="1"/>
              </p:cNvSpPr>
              <p:nvPr/>
            </p:nvSpPr>
            <p:spPr bwMode="auto">
              <a:xfrm>
                <a:off x="6009886" y="2465002"/>
                <a:ext cx="236016" cy="238512"/>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19" name="Oval 128"/>
              <p:cNvSpPr>
                <a:spLocks noChangeArrowheads="1"/>
              </p:cNvSpPr>
              <p:nvPr/>
            </p:nvSpPr>
            <p:spPr bwMode="auto">
              <a:xfrm>
                <a:off x="6065890" y="2520655"/>
                <a:ext cx="124008" cy="12720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grpSp>
        <p:grpSp>
          <p:nvGrpSpPr>
            <p:cNvPr id="220" name="Group 219"/>
            <p:cNvGrpSpPr>
              <a:grpSpLocks/>
            </p:cNvGrpSpPr>
            <p:nvPr/>
          </p:nvGrpSpPr>
          <p:grpSpPr bwMode="auto">
            <a:xfrm>
              <a:off x="8650289" y="5694364"/>
              <a:ext cx="479425" cy="193675"/>
              <a:chOff x="5857875" y="2214563"/>
              <a:chExt cx="1208088" cy="488951"/>
            </a:xfrm>
          </p:grpSpPr>
          <p:sp>
            <p:nvSpPr>
              <p:cNvPr id="221" name="Freeform 122"/>
              <p:cNvSpPr>
                <a:spLocks/>
              </p:cNvSpPr>
              <p:nvPr/>
            </p:nvSpPr>
            <p:spPr bwMode="auto">
              <a:xfrm>
                <a:off x="5857875" y="2214563"/>
                <a:ext cx="1208088" cy="400780"/>
              </a:xfrm>
              <a:custGeom>
                <a:avLst/>
                <a:gdLst>
                  <a:gd name="T0" fmla="*/ 21 w 402"/>
                  <a:gd name="T1" fmla="*/ 56 h 132"/>
                  <a:gd name="T2" fmla="*/ 51 w 402"/>
                  <a:gd name="T3" fmla="*/ 56 h 132"/>
                  <a:gd name="T4" fmla="*/ 76 w 402"/>
                  <a:gd name="T5" fmla="*/ 24 h 132"/>
                  <a:gd name="T6" fmla="*/ 133 w 402"/>
                  <a:gd name="T7" fmla="*/ 0 h 132"/>
                  <a:gd name="T8" fmla="*/ 188 w 402"/>
                  <a:gd name="T9" fmla="*/ 0 h 132"/>
                  <a:gd name="T10" fmla="*/ 245 w 402"/>
                  <a:gd name="T11" fmla="*/ 24 h 132"/>
                  <a:gd name="T12" fmla="*/ 270 w 402"/>
                  <a:gd name="T13" fmla="*/ 56 h 132"/>
                  <a:gd name="T14" fmla="*/ 349 w 402"/>
                  <a:gd name="T15" fmla="*/ 56 h 132"/>
                  <a:gd name="T16" fmla="*/ 402 w 402"/>
                  <a:gd name="T17" fmla="*/ 110 h 132"/>
                  <a:gd name="T18" fmla="*/ 402 w 402"/>
                  <a:gd name="T19" fmla="*/ 111 h 132"/>
                  <a:gd name="T20" fmla="*/ 381 w 402"/>
                  <a:gd name="T21" fmla="*/ 132 h 132"/>
                  <a:gd name="T22" fmla="*/ 21 w 402"/>
                  <a:gd name="T23" fmla="*/ 132 h 132"/>
                  <a:gd name="T24" fmla="*/ 0 w 402"/>
                  <a:gd name="T25" fmla="*/ 111 h 132"/>
                  <a:gd name="T26" fmla="*/ 0 w 402"/>
                  <a:gd name="T27" fmla="*/ 77 h 132"/>
                  <a:gd name="T28" fmla="*/ 21 w 402"/>
                  <a:gd name="T29" fmla="*/ 5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2" h="132">
                    <a:moveTo>
                      <a:pt x="21" y="56"/>
                    </a:moveTo>
                    <a:cubicBezTo>
                      <a:pt x="51" y="56"/>
                      <a:pt x="51" y="56"/>
                      <a:pt x="51" y="56"/>
                    </a:cubicBezTo>
                    <a:cubicBezTo>
                      <a:pt x="76" y="24"/>
                      <a:pt x="76" y="24"/>
                      <a:pt x="76" y="24"/>
                    </a:cubicBezTo>
                    <a:cubicBezTo>
                      <a:pt x="88" y="9"/>
                      <a:pt x="110" y="0"/>
                      <a:pt x="133" y="0"/>
                    </a:cubicBezTo>
                    <a:cubicBezTo>
                      <a:pt x="188" y="0"/>
                      <a:pt x="188" y="0"/>
                      <a:pt x="188" y="0"/>
                    </a:cubicBezTo>
                    <a:cubicBezTo>
                      <a:pt x="211" y="0"/>
                      <a:pt x="233" y="9"/>
                      <a:pt x="245" y="24"/>
                    </a:cubicBezTo>
                    <a:cubicBezTo>
                      <a:pt x="270" y="56"/>
                      <a:pt x="270" y="56"/>
                      <a:pt x="270" y="56"/>
                    </a:cubicBezTo>
                    <a:cubicBezTo>
                      <a:pt x="349" y="56"/>
                      <a:pt x="349" y="56"/>
                      <a:pt x="349" y="56"/>
                    </a:cubicBezTo>
                    <a:cubicBezTo>
                      <a:pt x="378" y="56"/>
                      <a:pt x="402" y="81"/>
                      <a:pt x="402" y="110"/>
                    </a:cubicBezTo>
                    <a:cubicBezTo>
                      <a:pt x="402" y="111"/>
                      <a:pt x="402" y="111"/>
                      <a:pt x="402" y="111"/>
                    </a:cubicBezTo>
                    <a:cubicBezTo>
                      <a:pt x="402" y="123"/>
                      <a:pt x="393" y="132"/>
                      <a:pt x="381" y="132"/>
                    </a:cubicBezTo>
                    <a:cubicBezTo>
                      <a:pt x="21" y="132"/>
                      <a:pt x="21" y="132"/>
                      <a:pt x="21" y="132"/>
                    </a:cubicBezTo>
                    <a:cubicBezTo>
                      <a:pt x="9" y="132"/>
                      <a:pt x="0" y="123"/>
                      <a:pt x="0" y="111"/>
                    </a:cubicBezTo>
                    <a:cubicBezTo>
                      <a:pt x="0" y="77"/>
                      <a:pt x="0" y="77"/>
                      <a:pt x="0" y="77"/>
                    </a:cubicBezTo>
                    <a:cubicBezTo>
                      <a:pt x="0" y="66"/>
                      <a:pt x="9" y="56"/>
                      <a:pt x="21" y="56"/>
                    </a:cubicBezTo>
                    <a:close/>
                  </a:path>
                </a:pathLst>
              </a:custGeom>
              <a:solidFill>
                <a:schemeClr val="accent3"/>
              </a:solidFill>
              <a:ln>
                <a:noFill/>
              </a:ln>
            </p:spPr>
            <p:txBody>
              <a:bodyPr lIns="68580" tIns="34290" rIns="68580" bIns="34290"/>
              <a:lstStyle/>
              <a:p>
                <a:pPr>
                  <a:defRPr/>
                </a:pPr>
                <a:endParaRPr lang="en-US" sz="1350"/>
              </a:p>
            </p:txBody>
          </p:sp>
          <p:sp>
            <p:nvSpPr>
              <p:cNvPr id="222" name="Freeform 123"/>
              <p:cNvSpPr>
                <a:spLocks/>
              </p:cNvSpPr>
              <p:nvPr/>
            </p:nvSpPr>
            <p:spPr bwMode="auto">
              <a:xfrm>
                <a:off x="6097892" y="2258647"/>
                <a:ext cx="500035" cy="136265"/>
              </a:xfrm>
              <a:custGeom>
                <a:avLst/>
                <a:gdLst>
                  <a:gd name="T0" fmla="*/ 8 w 167"/>
                  <a:gd name="T1" fmla="*/ 45 h 45"/>
                  <a:gd name="T2" fmla="*/ 3 w 167"/>
                  <a:gd name="T3" fmla="*/ 36 h 45"/>
                  <a:gd name="T4" fmla="*/ 17 w 167"/>
                  <a:gd name="T5" fmla="*/ 19 h 45"/>
                  <a:gd name="T6" fmla="*/ 62 w 167"/>
                  <a:gd name="T7" fmla="*/ 0 h 45"/>
                  <a:gd name="T8" fmla="*/ 105 w 167"/>
                  <a:gd name="T9" fmla="*/ 0 h 45"/>
                  <a:gd name="T10" fmla="*/ 151 w 167"/>
                  <a:gd name="T11" fmla="*/ 19 h 45"/>
                  <a:gd name="T12" fmla="*/ 164 w 167"/>
                  <a:gd name="T13" fmla="*/ 36 h 45"/>
                  <a:gd name="T14" fmla="*/ 160 w 167"/>
                  <a:gd name="T15" fmla="*/ 45 h 45"/>
                  <a:gd name="T16" fmla="*/ 8 w 16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45">
                    <a:moveTo>
                      <a:pt x="8" y="45"/>
                    </a:moveTo>
                    <a:cubicBezTo>
                      <a:pt x="3" y="45"/>
                      <a:pt x="0" y="39"/>
                      <a:pt x="3" y="36"/>
                    </a:cubicBezTo>
                    <a:cubicBezTo>
                      <a:pt x="17" y="19"/>
                      <a:pt x="17" y="19"/>
                      <a:pt x="17" y="19"/>
                    </a:cubicBezTo>
                    <a:cubicBezTo>
                      <a:pt x="26" y="7"/>
                      <a:pt x="43" y="0"/>
                      <a:pt x="62" y="0"/>
                    </a:cubicBezTo>
                    <a:cubicBezTo>
                      <a:pt x="105" y="0"/>
                      <a:pt x="105" y="0"/>
                      <a:pt x="105" y="0"/>
                    </a:cubicBezTo>
                    <a:cubicBezTo>
                      <a:pt x="124" y="0"/>
                      <a:pt x="141" y="7"/>
                      <a:pt x="151" y="19"/>
                    </a:cubicBezTo>
                    <a:cubicBezTo>
                      <a:pt x="164" y="36"/>
                      <a:pt x="164" y="36"/>
                      <a:pt x="164" y="36"/>
                    </a:cubicBezTo>
                    <a:cubicBezTo>
                      <a:pt x="167" y="39"/>
                      <a:pt x="164" y="45"/>
                      <a:pt x="160" y="45"/>
                    </a:cubicBezTo>
                    <a:lnTo>
                      <a:pt x="8" y="45"/>
                    </a:lnTo>
                    <a:close/>
                  </a:path>
                </a:pathLst>
              </a:custGeom>
              <a:solidFill>
                <a:schemeClr val="bg2"/>
              </a:solidFill>
              <a:ln>
                <a:noFill/>
              </a:ln>
            </p:spPr>
            <p:txBody>
              <a:bodyPr lIns="68580" tIns="34290" rIns="68580" bIns="34290"/>
              <a:lstStyle/>
              <a:p>
                <a:pPr>
                  <a:defRPr/>
                </a:pPr>
                <a:endParaRPr lang="en-US" sz="1350"/>
              </a:p>
            </p:txBody>
          </p:sp>
          <p:sp>
            <p:nvSpPr>
              <p:cNvPr id="223" name="Freeform 124"/>
              <p:cNvSpPr>
                <a:spLocks/>
              </p:cNvSpPr>
              <p:nvPr/>
            </p:nvSpPr>
            <p:spPr bwMode="auto">
              <a:xfrm>
                <a:off x="5857875" y="2519155"/>
                <a:ext cx="1208088" cy="96187"/>
              </a:xfrm>
              <a:custGeom>
                <a:avLst/>
                <a:gdLst>
                  <a:gd name="T0" fmla="*/ 402 w 402"/>
                  <a:gd name="T1" fmla="*/ 0 h 31"/>
                  <a:gd name="T2" fmla="*/ 402 w 402"/>
                  <a:gd name="T3" fmla="*/ 9 h 31"/>
                  <a:gd name="T4" fmla="*/ 402 w 402"/>
                  <a:gd name="T5" fmla="*/ 10 h 31"/>
                  <a:gd name="T6" fmla="*/ 381 w 402"/>
                  <a:gd name="T7" fmla="*/ 31 h 31"/>
                  <a:gd name="T8" fmla="*/ 21 w 402"/>
                  <a:gd name="T9" fmla="*/ 31 h 31"/>
                  <a:gd name="T10" fmla="*/ 0 w 402"/>
                  <a:gd name="T11" fmla="*/ 10 h 31"/>
                  <a:gd name="T12" fmla="*/ 0 w 402"/>
                  <a:gd name="T13" fmla="*/ 0 h 31"/>
                  <a:gd name="T14" fmla="*/ 402 w 402"/>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 h="31">
                    <a:moveTo>
                      <a:pt x="402" y="0"/>
                    </a:moveTo>
                    <a:cubicBezTo>
                      <a:pt x="402" y="3"/>
                      <a:pt x="402" y="6"/>
                      <a:pt x="402" y="9"/>
                    </a:cubicBezTo>
                    <a:cubicBezTo>
                      <a:pt x="402" y="10"/>
                      <a:pt x="402" y="10"/>
                      <a:pt x="402" y="10"/>
                    </a:cubicBezTo>
                    <a:cubicBezTo>
                      <a:pt x="402" y="22"/>
                      <a:pt x="393" y="31"/>
                      <a:pt x="381" y="31"/>
                    </a:cubicBezTo>
                    <a:cubicBezTo>
                      <a:pt x="21" y="31"/>
                      <a:pt x="21" y="31"/>
                      <a:pt x="21" y="31"/>
                    </a:cubicBezTo>
                    <a:cubicBezTo>
                      <a:pt x="9" y="31"/>
                      <a:pt x="0" y="22"/>
                      <a:pt x="0" y="10"/>
                    </a:cubicBezTo>
                    <a:cubicBezTo>
                      <a:pt x="0" y="0"/>
                      <a:pt x="0" y="0"/>
                      <a:pt x="0" y="0"/>
                    </a:cubicBezTo>
                    <a:lnTo>
                      <a:pt x="402" y="0"/>
                    </a:lnTo>
                    <a:close/>
                  </a:path>
                </a:pathLst>
              </a:custGeom>
              <a:solidFill>
                <a:schemeClr val="accent3">
                  <a:lumMod val="75000"/>
                </a:schemeClr>
              </a:solidFill>
              <a:ln>
                <a:noFill/>
              </a:ln>
            </p:spPr>
            <p:txBody>
              <a:bodyPr lIns="68580" tIns="34290" rIns="68580" bIns="34290"/>
              <a:lstStyle/>
              <a:p>
                <a:pPr>
                  <a:defRPr/>
                </a:pPr>
                <a:endParaRPr lang="en-US" sz="1350"/>
              </a:p>
            </p:txBody>
          </p:sp>
          <p:sp>
            <p:nvSpPr>
              <p:cNvPr id="224" name="Oval 125"/>
              <p:cNvSpPr>
                <a:spLocks noChangeArrowheads="1"/>
              </p:cNvSpPr>
              <p:nvPr/>
            </p:nvSpPr>
            <p:spPr bwMode="auto">
              <a:xfrm>
                <a:off x="6693935" y="2467053"/>
                <a:ext cx="236018" cy="236461"/>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25" name="Oval 126"/>
              <p:cNvSpPr>
                <a:spLocks noChangeArrowheads="1"/>
              </p:cNvSpPr>
              <p:nvPr/>
            </p:nvSpPr>
            <p:spPr bwMode="auto">
              <a:xfrm>
                <a:off x="6749939" y="2519155"/>
                <a:ext cx="124010" cy="13225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sp>
            <p:nvSpPr>
              <p:cNvPr id="226" name="Oval 127"/>
              <p:cNvSpPr>
                <a:spLocks noChangeArrowheads="1"/>
              </p:cNvSpPr>
              <p:nvPr/>
            </p:nvSpPr>
            <p:spPr bwMode="auto">
              <a:xfrm>
                <a:off x="6009886" y="2467053"/>
                <a:ext cx="236016" cy="236461"/>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27" name="Oval 128"/>
              <p:cNvSpPr>
                <a:spLocks noChangeArrowheads="1"/>
              </p:cNvSpPr>
              <p:nvPr/>
            </p:nvSpPr>
            <p:spPr bwMode="auto">
              <a:xfrm>
                <a:off x="6065890" y="2519155"/>
                <a:ext cx="124008" cy="13225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grpSp>
        <p:grpSp>
          <p:nvGrpSpPr>
            <p:cNvPr id="228" name="Group 227"/>
            <p:cNvGrpSpPr>
              <a:grpSpLocks/>
            </p:cNvGrpSpPr>
            <p:nvPr/>
          </p:nvGrpSpPr>
          <p:grpSpPr bwMode="auto">
            <a:xfrm>
              <a:off x="5707064" y="5683251"/>
              <a:ext cx="479425" cy="195263"/>
              <a:chOff x="5857875" y="2214563"/>
              <a:chExt cx="1208088" cy="488951"/>
            </a:xfrm>
          </p:grpSpPr>
          <p:sp>
            <p:nvSpPr>
              <p:cNvPr id="229" name="Freeform 122"/>
              <p:cNvSpPr>
                <a:spLocks/>
              </p:cNvSpPr>
              <p:nvPr/>
            </p:nvSpPr>
            <p:spPr bwMode="auto">
              <a:xfrm>
                <a:off x="5857875" y="2214563"/>
                <a:ext cx="1208088" cy="401497"/>
              </a:xfrm>
              <a:custGeom>
                <a:avLst/>
                <a:gdLst>
                  <a:gd name="T0" fmla="*/ 21 w 402"/>
                  <a:gd name="T1" fmla="*/ 56 h 132"/>
                  <a:gd name="T2" fmla="*/ 51 w 402"/>
                  <a:gd name="T3" fmla="*/ 56 h 132"/>
                  <a:gd name="T4" fmla="*/ 76 w 402"/>
                  <a:gd name="T5" fmla="*/ 24 h 132"/>
                  <a:gd name="T6" fmla="*/ 133 w 402"/>
                  <a:gd name="T7" fmla="*/ 0 h 132"/>
                  <a:gd name="T8" fmla="*/ 188 w 402"/>
                  <a:gd name="T9" fmla="*/ 0 h 132"/>
                  <a:gd name="T10" fmla="*/ 245 w 402"/>
                  <a:gd name="T11" fmla="*/ 24 h 132"/>
                  <a:gd name="T12" fmla="*/ 270 w 402"/>
                  <a:gd name="T13" fmla="*/ 56 h 132"/>
                  <a:gd name="T14" fmla="*/ 349 w 402"/>
                  <a:gd name="T15" fmla="*/ 56 h 132"/>
                  <a:gd name="T16" fmla="*/ 402 w 402"/>
                  <a:gd name="T17" fmla="*/ 110 h 132"/>
                  <a:gd name="T18" fmla="*/ 402 w 402"/>
                  <a:gd name="T19" fmla="*/ 111 h 132"/>
                  <a:gd name="T20" fmla="*/ 381 w 402"/>
                  <a:gd name="T21" fmla="*/ 132 h 132"/>
                  <a:gd name="T22" fmla="*/ 21 w 402"/>
                  <a:gd name="T23" fmla="*/ 132 h 132"/>
                  <a:gd name="T24" fmla="*/ 0 w 402"/>
                  <a:gd name="T25" fmla="*/ 111 h 132"/>
                  <a:gd name="T26" fmla="*/ 0 w 402"/>
                  <a:gd name="T27" fmla="*/ 77 h 132"/>
                  <a:gd name="T28" fmla="*/ 21 w 402"/>
                  <a:gd name="T29" fmla="*/ 5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2" h="132">
                    <a:moveTo>
                      <a:pt x="21" y="56"/>
                    </a:moveTo>
                    <a:cubicBezTo>
                      <a:pt x="51" y="56"/>
                      <a:pt x="51" y="56"/>
                      <a:pt x="51" y="56"/>
                    </a:cubicBezTo>
                    <a:cubicBezTo>
                      <a:pt x="76" y="24"/>
                      <a:pt x="76" y="24"/>
                      <a:pt x="76" y="24"/>
                    </a:cubicBezTo>
                    <a:cubicBezTo>
                      <a:pt x="88" y="9"/>
                      <a:pt x="110" y="0"/>
                      <a:pt x="133" y="0"/>
                    </a:cubicBezTo>
                    <a:cubicBezTo>
                      <a:pt x="188" y="0"/>
                      <a:pt x="188" y="0"/>
                      <a:pt x="188" y="0"/>
                    </a:cubicBezTo>
                    <a:cubicBezTo>
                      <a:pt x="211" y="0"/>
                      <a:pt x="233" y="9"/>
                      <a:pt x="245" y="24"/>
                    </a:cubicBezTo>
                    <a:cubicBezTo>
                      <a:pt x="270" y="56"/>
                      <a:pt x="270" y="56"/>
                      <a:pt x="270" y="56"/>
                    </a:cubicBezTo>
                    <a:cubicBezTo>
                      <a:pt x="349" y="56"/>
                      <a:pt x="349" y="56"/>
                      <a:pt x="349" y="56"/>
                    </a:cubicBezTo>
                    <a:cubicBezTo>
                      <a:pt x="378" y="56"/>
                      <a:pt x="402" y="81"/>
                      <a:pt x="402" y="110"/>
                    </a:cubicBezTo>
                    <a:cubicBezTo>
                      <a:pt x="402" y="111"/>
                      <a:pt x="402" y="111"/>
                      <a:pt x="402" y="111"/>
                    </a:cubicBezTo>
                    <a:cubicBezTo>
                      <a:pt x="402" y="123"/>
                      <a:pt x="393" y="132"/>
                      <a:pt x="381" y="132"/>
                    </a:cubicBezTo>
                    <a:cubicBezTo>
                      <a:pt x="21" y="132"/>
                      <a:pt x="21" y="132"/>
                      <a:pt x="21" y="132"/>
                    </a:cubicBezTo>
                    <a:cubicBezTo>
                      <a:pt x="9" y="132"/>
                      <a:pt x="0" y="123"/>
                      <a:pt x="0" y="111"/>
                    </a:cubicBezTo>
                    <a:cubicBezTo>
                      <a:pt x="0" y="77"/>
                      <a:pt x="0" y="77"/>
                      <a:pt x="0" y="77"/>
                    </a:cubicBezTo>
                    <a:cubicBezTo>
                      <a:pt x="0" y="66"/>
                      <a:pt x="9" y="56"/>
                      <a:pt x="21" y="56"/>
                    </a:cubicBezTo>
                    <a:close/>
                  </a:path>
                </a:pathLst>
              </a:custGeom>
              <a:solidFill>
                <a:schemeClr val="accent6"/>
              </a:solidFill>
              <a:ln>
                <a:noFill/>
              </a:ln>
            </p:spPr>
            <p:txBody>
              <a:bodyPr lIns="68580" tIns="34290" rIns="68580" bIns="34290"/>
              <a:lstStyle/>
              <a:p>
                <a:pPr>
                  <a:defRPr/>
                </a:pPr>
                <a:endParaRPr lang="en-US" sz="1350"/>
              </a:p>
            </p:txBody>
          </p:sp>
          <p:sp>
            <p:nvSpPr>
              <p:cNvPr id="230" name="Freeform 123"/>
              <p:cNvSpPr>
                <a:spLocks/>
              </p:cNvSpPr>
              <p:nvPr/>
            </p:nvSpPr>
            <p:spPr bwMode="auto">
              <a:xfrm>
                <a:off x="6097892" y="2258291"/>
                <a:ext cx="500035" cy="135157"/>
              </a:xfrm>
              <a:custGeom>
                <a:avLst/>
                <a:gdLst>
                  <a:gd name="T0" fmla="*/ 8 w 167"/>
                  <a:gd name="T1" fmla="*/ 45 h 45"/>
                  <a:gd name="T2" fmla="*/ 3 w 167"/>
                  <a:gd name="T3" fmla="*/ 36 h 45"/>
                  <a:gd name="T4" fmla="*/ 17 w 167"/>
                  <a:gd name="T5" fmla="*/ 19 h 45"/>
                  <a:gd name="T6" fmla="*/ 62 w 167"/>
                  <a:gd name="T7" fmla="*/ 0 h 45"/>
                  <a:gd name="T8" fmla="*/ 105 w 167"/>
                  <a:gd name="T9" fmla="*/ 0 h 45"/>
                  <a:gd name="T10" fmla="*/ 151 w 167"/>
                  <a:gd name="T11" fmla="*/ 19 h 45"/>
                  <a:gd name="T12" fmla="*/ 164 w 167"/>
                  <a:gd name="T13" fmla="*/ 36 h 45"/>
                  <a:gd name="T14" fmla="*/ 160 w 167"/>
                  <a:gd name="T15" fmla="*/ 45 h 45"/>
                  <a:gd name="T16" fmla="*/ 8 w 16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45">
                    <a:moveTo>
                      <a:pt x="8" y="45"/>
                    </a:moveTo>
                    <a:cubicBezTo>
                      <a:pt x="3" y="45"/>
                      <a:pt x="0" y="39"/>
                      <a:pt x="3" y="36"/>
                    </a:cubicBezTo>
                    <a:cubicBezTo>
                      <a:pt x="17" y="19"/>
                      <a:pt x="17" y="19"/>
                      <a:pt x="17" y="19"/>
                    </a:cubicBezTo>
                    <a:cubicBezTo>
                      <a:pt x="26" y="7"/>
                      <a:pt x="43" y="0"/>
                      <a:pt x="62" y="0"/>
                    </a:cubicBezTo>
                    <a:cubicBezTo>
                      <a:pt x="105" y="0"/>
                      <a:pt x="105" y="0"/>
                      <a:pt x="105" y="0"/>
                    </a:cubicBezTo>
                    <a:cubicBezTo>
                      <a:pt x="124" y="0"/>
                      <a:pt x="141" y="7"/>
                      <a:pt x="151" y="19"/>
                    </a:cubicBezTo>
                    <a:cubicBezTo>
                      <a:pt x="164" y="36"/>
                      <a:pt x="164" y="36"/>
                      <a:pt x="164" y="36"/>
                    </a:cubicBezTo>
                    <a:cubicBezTo>
                      <a:pt x="167" y="39"/>
                      <a:pt x="164" y="45"/>
                      <a:pt x="160" y="45"/>
                    </a:cubicBezTo>
                    <a:lnTo>
                      <a:pt x="8" y="45"/>
                    </a:lnTo>
                    <a:close/>
                  </a:path>
                </a:pathLst>
              </a:custGeom>
              <a:solidFill>
                <a:schemeClr val="bg2"/>
              </a:solidFill>
              <a:ln>
                <a:noFill/>
              </a:ln>
            </p:spPr>
            <p:txBody>
              <a:bodyPr lIns="68580" tIns="34290" rIns="68580" bIns="34290"/>
              <a:lstStyle/>
              <a:p>
                <a:pPr>
                  <a:defRPr/>
                </a:pPr>
                <a:endParaRPr lang="en-US" sz="1350"/>
              </a:p>
            </p:txBody>
          </p:sp>
          <p:sp>
            <p:nvSpPr>
              <p:cNvPr id="231" name="Freeform 124"/>
              <p:cNvSpPr>
                <a:spLocks/>
              </p:cNvSpPr>
              <p:nvPr/>
            </p:nvSpPr>
            <p:spPr bwMode="auto">
              <a:xfrm>
                <a:off x="5857875" y="2520655"/>
                <a:ext cx="1208088" cy="95405"/>
              </a:xfrm>
              <a:custGeom>
                <a:avLst/>
                <a:gdLst>
                  <a:gd name="T0" fmla="*/ 402 w 402"/>
                  <a:gd name="T1" fmla="*/ 0 h 31"/>
                  <a:gd name="T2" fmla="*/ 402 w 402"/>
                  <a:gd name="T3" fmla="*/ 9 h 31"/>
                  <a:gd name="T4" fmla="*/ 402 w 402"/>
                  <a:gd name="T5" fmla="*/ 10 h 31"/>
                  <a:gd name="T6" fmla="*/ 381 w 402"/>
                  <a:gd name="T7" fmla="*/ 31 h 31"/>
                  <a:gd name="T8" fmla="*/ 21 w 402"/>
                  <a:gd name="T9" fmla="*/ 31 h 31"/>
                  <a:gd name="T10" fmla="*/ 0 w 402"/>
                  <a:gd name="T11" fmla="*/ 10 h 31"/>
                  <a:gd name="T12" fmla="*/ 0 w 402"/>
                  <a:gd name="T13" fmla="*/ 0 h 31"/>
                  <a:gd name="T14" fmla="*/ 402 w 402"/>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 h="31">
                    <a:moveTo>
                      <a:pt x="402" y="0"/>
                    </a:moveTo>
                    <a:cubicBezTo>
                      <a:pt x="402" y="3"/>
                      <a:pt x="402" y="6"/>
                      <a:pt x="402" y="9"/>
                    </a:cubicBezTo>
                    <a:cubicBezTo>
                      <a:pt x="402" y="10"/>
                      <a:pt x="402" y="10"/>
                      <a:pt x="402" y="10"/>
                    </a:cubicBezTo>
                    <a:cubicBezTo>
                      <a:pt x="402" y="22"/>
                      <a:pt x="393" y="31"/>
                      <a:pt x="381" y="31"/>
                    </a:cubicBezTo>
                    <a:cubicBezTo>
                      <a:pt x="21" y="31"/>
                      <a:pt x="21" y="31"/>
                      <a:pt x="21" y="31"/>
                    </a:cubicBezTo>
                    <a:cubicBezTo>
                      <a:pt x="9" y="31"/>
                      <a:pt x="0" y="22"/>
                      <a:pt x="0" y="10"/>
                    </a:cubicBezTo>
                    <a:cubicBezTo>
                      <a:pt x="0" y="0"/>
                      <a:pt x="0" y="0"/>
                      <a:pt x="0" y="0"/>
                    </a:cubicBezTo>
                    <a:lnTo>
                      <a:pt x="402" y="0"/>
                    </a:lnTo>
                    <a:close/>
                  </a:path>
                </a:pathLst>
              </a:custGeom>
              <a:solidFill>
                <a:schemeClr val="accent6">
                  <a:lumMod val="75000"/>
                </a:schemeClr>
              </a:solidFill>
              <a:ln>
                <a:noFill/>
              </a:ln>
            </p:spPr>
            <p:txBody>
              <a:bodyPr lIns="68580" tIns="34290" rIns="68580" bIns="34290"/>
              <a:lstStyle/>
              <a:p>
                <a:pPr>
                  <a:defRPr/>
                </a:pPr>
                <a:endParaRPr lang="en-US" sz="1350"/>
              </a:p>
            </p:txBody>
          </p:sp>
          <p:sp>
            <p:nvSpPr>
              <p:cNvPr id="232" name="Oval 125"/>
              <p:cNvSpPr>
                <a:spLocks noChangeArrowheads="1"/>
              </p:cNvSpPr>
              <p:nvPr/>
            </p:nvSpPr>
            <p:spPr bwMode="auto">
              <a:xfrm>
                <a:off x="6693935" y="2465002"/>
                <a:ext cx="236018" cy="238512"/>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33" name="Oval 126"/>
              <p:cNvSpPr>
                <a:spLocks noChangeArrowheads="1"/>
              </p:cNvSpPr>
              <p:nvPr/>
            </p:nvSpPr>
            <p:spPr bwMode="auto">
              <a:xfrm>
                <a:off x="6749939" y="2520655"/>
                <a:ext cx="124010" cy="12720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sp>
            <p:nvSpPr>
              <p:cNvPr id="234" name="Oval 127"/>
              <p:cNvSpPr>
                <a:spLocks noChangeArrowheads="1"/>
              </p:cNvSpPr>
              <p:nvPr/>
            </p:nvSpPr>
            <p:spPr bwMode="auto">
              <a:xfrm>
                <a:off x="6009886" y="2465002"/>
                <a:ext cx="236016" cy="238512"/>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35" name="Oval 128"/>
              <p:cNvSpPr>
                <a:spLocks noChangeArrowheads="1"/>
              </p:cNvSpPr>
              <p:nvPr/>
            </p:nvSpPr>
            <p:spPr bwMode="auto">
              <a:xfrm>
                <a:off x="6065890" y="2520655"/>
                <a:ext cx="124008" cy="12720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grpSp>
        <p:sp>
          <p:nvSpPr>
            <p:cNvPr id="297" name="TextBox 296"/>
            <p:cNvSpPr txBox="1"/>
            <p:nvPr/>
          </p:nvSpPr>
          <p:spPr>
            <a:xfrm>
              <a:off x="6178008" y="3983038"/>
              <a:ext cx="736099" cy="230832"/>
            </a:xfrm>
            <a:prstGeom prst="rect">
              <a:avLst/>
            </a:prstGeom>
            <a:noFill/>
          </p:spPr>
          <p:txBody>
            <a:bodyPr wrap="none">
              <a:spAutoFit/>
            </a:bodyPr>
            <a:lstStyle/>
            <a:p>
              <a:pPr algn="ctr">
                <a:defRPr/>
              </a:pPr>
              <a:r>
                <a:rPr lang="id-ID" sz="900" b="1" dirty="0">
                  <a:latin typeface="+mj-lt"/>
                </a:rPr>
                <a:t>Description</a:t>
              </a:r>
            </a:p>
          </p:txBody>
        </p:sp>
        <p:sp>
          <p:nvSpPr>
            <p:cNvPr id="298" name="Rectangle 297"/>
            <p:cNvSpPr/>
            <p:nvPr/>
          </p:nvSpPr>
          <p:spPr>
            <a:xfrm>
              <a:off x="5762625" y="4129089"/>
              <a:ext cx="1568450" cy="473075"/>
            </a:xfrm>
            <a:prstGeom prst="rect">
              <a:avLst/>
            </a:prstGeom>
          </p:spPr>
          <p:txBody>
            <a:bodyPr>
              <a:spAutoFit/>
            </a:bodyPr>
            <a:lstStyle/>
            <a:p>
              <a:pPr algn="ctr">
                <a:defRPr/>
              </a:pPr>
              <a:r>
                <a:rPr lang="id-ID" sz="825" dirty="0"/>
                <a:t>Suitable for all categories business and</a:t>
              </a:r>
              <a:r>
                <a:rPr lang="en-US" sz="825" dirty="0"/>
                <a:t> your awesome</a:t>
              </a:r>
              <a:r>
                <a:rPr lang="id-ID" sz="825" dirty="0"/>
                <a:t> personal presentation</a:t>
              </a:r>
            </a:p>
          </p:txBody>
        </p:sp>
        <p:grpSp>
          <p:nvGrpSpPr>
            <p:cNvPr id="299" name="Group 298"/>
            <p:cNvGrpSpPr>
              <a:grpSpLocks/>
            </p:cNvGrpSpPr>
            <p:nvPr/>
          </p:nvGrpSpPr>
          <p:grpSpPr bwMode="auto">
            <a:xfrm>
              <a:off x="7180263" y="5321301"/>
              <a:ext cx="330200" cy="441325"/>
              <a:chOff x="4392562" y="5586928"/>
              <a:chExt cx="327055" cy="436772"/>
            </a:xfrm>
          </p:grpSpPr>
          <p:grpSp>
            <p:nvGrpSpPr>
              <p:cNvPr id="38955" name="Group 299"/>
              <p:cNvGrpSpPr>
                <a:grpSpLocks/>
              </p:cNvGrpSpPr>
              <p:nvPr/>
            </p:nvGrpSpPr>
            <p:grpSpPr bwMode="auto">
              <a:xfrm>
                <a:off x="4512492" y="5586928"/>
                <a:ext cx="207125" cy="434840"/>
                <a:chOff x="6686551" y="5032375"/>
                <a:chExt cx="271463" cy="569913"/>
              </a:xfrm>
            </p:grpSpPr>
            <p:sp>
              <p:nvSpPr>
                <p:cNvPr id="308" name="Rectangle 269"/>
                <p:cNvSpPr>
                  <a:spLocks noChangeArrowheads="1"/>
                </p:cNvSpPr>
                <p:nvPr/>
              </p:nvSpPr>
              <p:spPr bwMode="auto">
                <a:xfrm>
                  <a:off x="6807575" y="5466857"/>
                  <a:ext cx="28851" cy="135904"/>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09" name="Rectangle 270"/>
                <p:cNvSpPr>
                  <a:spLocks noChangeArrowheads="1"/>
                </p:cNvSpPr>
                <p:nvPr/>
              </p:nvSpPr>
              <p:spPr bwMode="auto">
                <a:xfrm>
                  <a:off x="6807575" y="5466857"/>
                  <a:ext cx="28851" cy="135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10" name="Freeform 271"/>
                <p:cNvSpPr>
                  <a:spLocks/>
                </p:cNvSpPr>
                <p:nvPr/>
              </p:nvSpPr>
              <p:spPr bwMode="auto">
                <a:xfrm>
                  <a:off x="6685989" y="5032375"/>
                  <a:ext cx="272025" cy="448896"/>
                </a:xfrm>
                <a:custGeom>
                  <a:avLst/>
                  <a:gdLst>
                    <a:gd name="T0" fmla="*/ 0 w 171"/>
                    <a:gd name="T1" fmla="*/ 282 h 282"/>
                    <a:gd name="T2" fmla="*/ 87 w 171"/>
                    <a:gd name="T3" fmla="*/ 0 h 282"/>
                    <a:gd name="T4" fmla="*/ 171 w 171"/>
                    <a:gd name="T5" fmla="*/ 282 h 282"/>
                    <a:gd name="T6" fmla="*/ 0 w 171"/>
                    <a:gd name="T7" fmla="*/ 282 h 282"/>
                  </a:gdLst>
                  <a:ahLst/>
                  <a:cxnLst>
                    <a:cxn ang="0">
                      <a:pos x="T0" y="T1"/>
                    </a:cxn>
                    <a:cxn ang="0">
                      <a:pos x="T2" y="T3"/>
                    </a:cxn>
                    <a:cxn ang="0">
                      <a:pos x="T4" y="T5"/>
                    </a:cxn>
                    <a:cxn ang="0">
                      <a:pos x="T6" y="T7"/>
                    </a:cxn>
                  </a:cxnLst>
                  <a:rect l="0" t="0" r="r" b="b"/>
                  <a:pathLst>
                    <a:path w="171" h="282">
                      <a:moveTo>
                        <a:pt x="0" y="282"/>
                      </a:moveTo>
                      <a:lnTo>
                        <a:pt x="87" y="0"/>
                      </a:lnTo>
                      <a:lnTo>
                        <a:pt x="171" y="282"/>
                      </a:lnTo>
                      <a:lnTo>
                        <a:pt x="0" y="282"/>
                      </a:lnTo>
                      <a:close/>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11" name="Freeform 272"/>
                <p:cNvSpPr>
                  <a:spLocks/>
                </p:cNvSpPr>
                <p:nvPr/>
              </p:nvSpPr>
              <p:spPr bwMode="auto">
                <a:xfrm>
                  <a:off x="6685989" y="5032375"/>
                  <a:ext cx="272025" cy="448896"/>
                </a:xfrm>
                <a:custGeom>
                  <a:avLst/>
                  <a:gdLst>
                    <a:gd name="T0" fmla="*/ 0 w 171"/>
                    <a:gd name="T1" fmla="*/ 282 h 282"/>
                    <a:gd name="T2" fmla="*/ 87 w 171"/>
                    <a:gd name="T3" fmla="*/ 0 h 282"/>
                    <a:gd name="T4" fmla="*/ 171 w 171"/>
                    <a:gd name="T5" fmla="*/ 282 h 282"/>
                    <a:gd name="T6" fmla="*/ 0 w 171"/>
                    <a:gd name="T7" fmla="*/ 282 h 282"/>
                  </a:gdLst>
                  <a:ahLst/>
                  <a:cxnLst>
                    <a:cxn ang="0">
                      <a:pos x="T0" y="T1"/>
                    </a:cxn>
                    <a:cxn ang="0">
                      <a:pos x="T2" y="T3"/>
                    </a:cxn>
                    <a:cxn ang="0">
                      <a:pos x="T4" y="T5"/>
                    </a:cxn>
                    <a:cxn ang="0">
                      <a:pos x="T6" y="T7"/>
                    </a:cxn>
                  </a:cxnLst>
                  <a:rect l="0" t="0" r="r" b="b"/>
                  <a:pathLst>
                    <a:path w="171" h="282">
                      <a:moveTo>
                        <a:pt x="0" y="282"/>
                      </a:moveTo>
                      <a:lnTo>
                        <a:pt x="87" y="0"/>
                      </a:lnTo>
                      <a:lnTo>
                        <a:pt x="171" y="282"/>
                      </a:lnTo>
                      <a:lnTo>
                        <a:pt x="0" y="2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12" name="Freeform 273"/>
                <p:cNvSpPr>
                  <a:spLocks/>
                </p:cNvSpPr>
                <p:nvPr/>
              </p:nvSpPr>
              <p:spPr bwMode="auto">
                <a:xfrm>
                  <a:off x="6685989" y="5032375"/>
                  <a:ext cx="138073" cy="448896"/>
                </a:xfrm>
                <a:custGeom>
                  <a:avLst/>
                  <a:gdLst>
                    <a:gd name="T0" fmla="*/ 87 w 87"/>
                    <a:gd name="T1" fmla="*/ 0 h 282"/>
                    <a:gd name="T2" fmla="*/ 0 w 87"/>
                    <a:gd name="T3" fmla="*/ 282 h 282"/>
                    <a:gd name="T4" fmla="*/ 87 w 87"/>
                    <a:gd name="T5" fmla="*/ 282 h 282"/>
                    <a:gd name="T6" fmla="*/ 87 w 87"/>
                    <a:gd name="T7" fmla="*/ 0 h 282"/>
                  </a:gdLst>
                  <a:ahLst/>
                  <a:cxnLst>
                    <a:cxn ang="0">
                      <a:pos x="T0" y="T1"/>
                    </a:cxn>
                    <a:cxn ang="0">
                      <a:pos x="T2" y="T3"/>
                    </a:cxn>
                    <a:cxn ang="0">
                      <a:pos x="T4" y="T5"/>
                    </a:cxn>
                    <a:cxn ang="0">
                      <a:pos x="T6" y="T7"/>
                    </a:cxn>
                  </a:cxnLst>
                  <a:rect l="0" t="0" r="r" b="b"/>
                  <a:pathLst>
                    <a:path w="87" h="282">
                      <a:moveTo>
                        <a:pt x="87" y="0"/>
                      </a:moveTo>
                      <a:lnTo>
                        <a:pt x="0" y="282"/>
                      </a:lnTo>
                      <a:lnTo>
                        <a:pt x="87" y="282"/>
                      </a:lnTo>
                      <a:lnTo>
                        <a:pt x="87" y="0"/>
                      </a:lnTo>
                      <a:close/>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13" name="Freeform 274"/>
                <p:cNvSpPr>
                  <a:spLocks/>
                </p:cNvSpPr>
                <p:nvPr/>
              </p:nvSpPr>
              <p:spPr bwMode="auto">
                <a:xfrm>
                  <a:off x="6685989" y="5032375"/>
                  <a:ext cx="138073" cy="448896"/>
                </a:xfrm>
                <a:custGeom>
                  <a:avLst/>
                  <a:gdLst>
                    <a:gd name="T0" fmla="*/ 87 w 87"/>
                    <a:gd name="T1" fmla="*/ 0 h 282"/>
                    <a:gd name="T2" fmla="*/ 0 w 87"/>
                    <a:gd name="T3" fmla="*/ 282 h 282"/>
                    <a:gd name="T4" fmla="*/ 87 w 87"/>
                    <a:gd name="T5" fmla="*/ 282 h 282"/>
                    <a:gd name="T6" fmla="*/ 87 w 87"/>
                    <a:gd name="T7" fmla="*/ 0 h 282"/>
                  </a:gdLst>
                  <a:ahLst/>
                  <a:cxnLst>
                    <a:cxn ang="0">
                      <a:pos x="T0" y="T1"/>
                    </a:cxn>
                    <a:cxn ang="0">
                      <a:pos x="T2" y="T3"/>
                    </a:cxn>
                    <a:cxn ang="0">
                      <a:pos x="T4" y="T5"/>
                    </a:cxn>
                    <a:cxn ang="0">
                      <a:pos x="T6" y="T7"/>
                    </a:cxn>
                  </a:cxnLst>
                  <a:rect l="0" t="0" r="r" b="b"/>
                  <a:pathLst>
                    <a:path w="87" h="282">
                      <a:moveTo>
                        <a:pt x="87" y="0"/>
                      </a:moveTo>
                      <a:lnTo>
                        <a:pt x="0" y="282"/>
                      </a:lnTo>
                      <a:lnTo>
                        <a:pt x="87" y="282"/>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8956" name="Group 300"/>
              <p:cNvGrpSpPr>
                <a:grpSpLocks/>
              </p:cNvGrpSpPr>
              <p:nvPr/>
            </p:nvGrpSpPr>
            <p:grpSpPr bwMode="auto">
              <a:xfrm>
                <a:off x="4392562" y="5607049"/>
                <a:ext cx="198461" cy="416651"/>
                <a:chOff x="6686551" y="5032375"/>
                <a:chExt cx="271463" cy="569913"/>
              </a:xfrm>
            </p:grpSpPr>
            <p:sp>
              <p:nvSpPr>
                <p:cNvPr id="302" name="Rectangle 269"/>
                <p:cNvSpPr>
                  <a:spLocks noChangeArrowheads="1"/>
                </p:cNvSpPr>
                <p:nvPr/>
              </p:nvSpPr>
              <p:spPr bwMode="auto">
                <a:xfrm>
                  <a:off x="6809144" y="5466899"/>
                  <a:ext cx="25809" cy="135389"/>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03" name="Rectangle 270"/>
                <p:cNvSpPr>
                  <a:spLocks noChangeArrowheads="1"/>
                </p:cNvSpPr>
                <p:nvPr/>
              </p:nvSpPr>
              <p:spPr bwMode="auto">
                <a:xfrm>
                  <a:off x="6809144" y="5466899"/>
                  <a:ext cx="25809" cy="135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04" name="Freeform 271"/>
                <p:cNvSpPr>
                  <a:spLocks/>
                </p:cNvSpPr>
                <p:nvPr/>
              </p:nvSpPr>
              <p:spPr bwMode="auto">
                <a:xfrm>
                  <a:off x="6686551" y="5032791"/>
                  <a:ext cx="270997" cy="447002"/>
                </a:xfrm>
                <a:custGeom>
                  <a:avLst/>
                  <a:gdLst>
                    <a:gd name="T0" fmla="*/ 0 w 171"/>
                    <a:gd name="T1" fmla="*/ 282 h 282"/>
                    <a:gd name="T2" fmla="*/ 87 w 171"/>
                    <a:gd name="T3" fmla="*/ 0 h 282"/>
                    <a:gd name="T4" fmla="*/ 171 w 171"/>
                    <a:gd name="T5" fmla="*/ 282 h 282"/>
                    <a:gd name="T6" fmla="*/ 0 w 171"/>
                    <a:gd name="T7" fmla="*/ 282 h 282"/>
                  </a:gdLst>
                  <a:ahLst/>
                  <a:cxnLst>
                    <a:cxn ang="0">
                      <a:pos x="T0" y="T1"/>
                    </a:cxn>
                    <a:cxn ang="0">
                      <a:pos x="T2" y="T3"/>
                    </a:cxn>
                    <a:cxn ang="0">
                      <a:pos x="T4" y="T5"/>
                    </a:cxn>
                    <a:cxn ang="0">
                      <a:pos x="T6" y="T7"/>
                    </a:cxn>
                  </a:cxnLst>
                  <a:rect l="0" t="0" r="r" b="b"/>
                  <a:pathLst>
                    <a:path w="171" h="282">
                      <a:moveTo>
                        <a:pt x="0" y="282"/>
                      </a:moveTo>
                      <a:lnTo>
                        <a:pt x="87" y="0"/>
                      </a:lnTo>
                      <a:lnTo>
                        <a:pt x="171" y="282"/>
                      </a:lnTo>
                      <a:lnTo>
                        <a:pt x="0" y="282"/>
                      </a:lnTo>
                      <a:close/>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05" name="Freeform 272"/>
                <p:cNvSpPr>
                  <a:spLocks/>
                </p:cNvSpPr>
                <p:nvPr/>
              </p:nvSpPr>
              <p:spPr bwMode="auto">
                <a:xfrm>
                  <a:off x="6686551" y="5032791"/>
                  <a:ext cx="270997" cy="447002"/>
                </a:xfrm>
                <a:custGeom>
                  <a:avLst/>
                  <a:gdLst>
                    <a:gd name="T0" fmla="*/ 0 w 171"/>
                    <a:gd name="T1" fmla="*/ 282 h 282"/>
                    <a:gd name="T2" fmla="*/ 87 w 171"/>
                    <a:gd name="T3" fmla="*/ 0 h 282"/>
                    <a:gd name="T4" fmla="*/ 171 w 171"/>
                    <a:gd name="T5" fmla="*/ 282 h 282"/>
                    <a:gd name="T6" fmla="*/ 0 w 171"/>
                    <a:gd name="T7" fmla="*/ 282 h 282"/>
                  </a:gdLst>
                  <a:ahLst/>
                  <a:cxnLst>
                    <a:cxn ang="0">
                      <a:pos x="T0" y="T1"/>
                    </a:cxn>
                    <a:cxn ang="0">
                      <a:pos x="T2" y="T3"/>
                    </a:cxn>
                    <a:cxn ang="0">
                      <a:pos x="T4" y="T5"/>
                    </a:cxn>
                    <a:cxn ang="0">
                      <a:pos x="T6" y="T7"/>
                    </a:cxn>
                  </a:cxnLst>
                  <a:rect l="0" t="0" r="r" b="b"/>
                  <a:pathLst>
                    <a:path w="171" h="282">
                      <a:moveTo>
                        <a:pt x="0" y="282"/>
                      </a:moveTo>
                      <a:lnTo>
                        <a:pt x="87" y="0"/>
                      </a:lnTo>
                      <a:lnTo>
                        <a:pt x="171" y="282"/>
                      </a:lnTo>
                      <a:lnTo>
                        <a:pt x="0" y="2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06" name="Freeform 273"/>
                <p:cNvSpPr>
                  <a:spLocks/>
                </p:cNvSpPr>
                <p:nvPr/>
              </p:nvSpPr>
              <p:spPr bwMode="auto">
                <a:xfrm>
                  <a:off x="6686551" y="5032791"/>
                  <a:ext cx="137649" cy="447002"/>
                </a:xfrm>
                <a:custGeom>
                  <a:avLst/>
                  <a:gdLst>
                    <a:gd name="T0" fmla="*/ 87 w 87"/>
                    <a:gd name="T1" fmla="*/ 0 h 282"/>
                    <a:gd name="T2" fmla="*/ 0 w 87"/>
                    <a:gd name="T3" fmla="*/ 282 h 282"/>
                    <a:gd name="T4" fmla="*/ 87 w 87"/>
                    <a:gd name="T5" fmla="*/ 282 h 282"/>
                    <a:gd name="T6" fmla="*/ 87 w 87"/>
                    <a:gd name="T7" fmla="*/ 0 h 282"/>
                  </a:gdLst>
                  <a:ahLst/>
                  <a:cxnLst>
                    <a:cxn ang="0">
                      <a:pos x="T0" y="T1"/>
                    </a:cxn>
                    <a:cxn ang="0">
                      <a:pos x="T2" y="T3"/>
                    </a:cxn>
                    <a:cxn ang="0">
                      <a:pos x="T4" y="T5"/>
                    </a:cxn>
                    <a:cxn ang="0">
                      <a:pos x="T6" y="T7"/>
                    </a:cxn>
                  </a:cxnLst>
                  <a:rect l="0" t="0" r="r" b="b"/>
                  <a:pathLst>
                    <a:path w="87" h="282">
                      <a:moveTo>
                        <a:pt x="87" y="0"/>
                      </a:moveTo>
                      <a:lnTo>
                        <a:pt x="0" y="282"/>
                      </a:lnTo>
                      <a:lnTo>
                        <a:pt x="87" y="282"/>
                      </a:lnTo>
                      <a:lnTo>
                        <a:pt x="87" y="0"/>
                      </a:lnTo>
                      <a:close/>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07" name="Freeform 274"/>
                <p:cNvSpPr>
                  <a:spLocks/>
                </p:cNvSpPr>
                <p:nvPr/>
              </p:nvSpPr>
              <p:spPr bwMode="auto">
                <a:xfrm>
                  <a:off x="6686551" y="5032791"/>
                  <a:ext cx="137649" cy="447002"/>
                </a:xfrm>
                <a:custGeom>
                  <a:avLst/>
                  <a:gdLst>
                    <a:gd name="T0" fmla="*/ 87 w 87"/>
                    <a:gd name="T1" fmla="*/ 0 h 282"/>
                    <a:gd name="T2" fmla="*/ 0 w 87"/>
                    <a:gd name="T3" fmla="*/ 282 h 282"/>
                    <a:gd name="T4" fmla="*/ 87 w 87"/>
                    <a:gd name="T5" fmla="*/ 282 h 282"/>
                    <a:gd name="T6" fmla="*/ 87 w 87"/>
                    <a:gd name="T7" fmla="*/ 0 h 282"/>
                  </a:gdLst>
                  <a:ahLst/>
                  <a:cxnLst>
                    <a:cxn ang="0">
                      <a:pos x="T0" y="T1"/>
                    </a:cxn>
                    <a:cxn ang="0">
                      <a:pos x="T2" y="T3"/>
                    </a:cxn>
                    <a:cxn ang="0">
                      <a:pos x="T4" y="T5"/>
                    </a:cxn>
                    <a:cxn ang="0">
                      <a:pos x="T6" y="T7"/>
                    </a:cxn>
                  </a:cxnLst>
                  <a:rect l="0" t="0" r="r" b="b"/>
                  <a:pathLst>
                    <a:path w="87" h="282">
                      <a:moveTo>
                        <a:pt x="87" y="0"/>
                      </a:moveTo>
                      <a:lnTo>
                        <a:pt x="0" y="282"/>
                      </a:lnTo>
                      <a:lnTo>
                        <a:pt x="87" y="282"/>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sp>
          <p:nvSpPr>
            <p:cNvPr id="314" name="TextBox 313"/>
            <p:cNvSpPr txBox="1"/>
            <p:nvPr/>
          </p:nvSpPr>
          <p:spPr>
            <a:xfrm>
              <a:off x="8741820" y="4203700"/>
              <a:ext cx="736099" cy="230832"/>
            </a:xfrm>
            <a:prstGeom prst="rect">
              <a:avLst/>
            </a:prstGeom>
            <a:noFill/>
          </p:spPr>
          <p:txBody>
            <a:bodyPr wrap="none">
              <a:spAutoFit/>
            </a:bodyPr>
            <a:lstStyle/>
            <a:p>
              <a:pPr algn="ctr">
                <a:defRPr/>
              </a:pPr>
              <a:r>
                <a:rPr lang="id-ID" sz="900" b="1" dirty="0">
                  <a:latin typeface="+mj-lt"/>
                </a:rPr>
                <a:t>Description</a:t>
              </a:r>
            </a:p>
          </p:txBody>
        </p:sp>
        <p:sp>
          <p:nvSpPr>
            <p:cNvPr id="315" name="Rectangle 314"/>
            <p:cNvSpPr/>
            <p:nvPr/>
          </p:nvSpPr>
          <p:spPr>
            <a:xfrm>
              <a:off x="8324850" y="4349751"/>
              <a:ext cx="1568450" cy="473075"/>
            </a:xfrm>
            <a:prstGeom prst="rect">
              <a:avLst/>
            </a:prstGeom>
          </p:spPr>
          <p:txBody>
            <a:bodyPr>
              <a:spAutoFit/>
            </a:bodyPr>
            <a:lstStyle/>
            <a:p>
              <a:pPr algn="ctr">
                <a:defRPr/>
              </a:pPr>
              <a:r>
                <a:rPr lang="id-ID" sz="825" dirty="0"/>
                <a:t>Suitable for all categories business and</a:t>
              </a:r>
              <a:r>
                <a:rPr lang="en-US" sz="825" dirty="0"/>
                <a:t> your awesome</a:t>
              </a:r>
              <a:r>
                <a:rPr lang="id-ID" sz="825" dirty="0"/>
                <a:t> personal presentation</a:t>
              </a:r>
            </a:p>
          </p:txBody>
        </p:sp>
      </p:grpSp>
    </p:spTree>
    <p:custDataLst>
      <p:tags r:id="rId1"/>
    </p:custDataLst>
    <p:extLst>
      <p:ext uri="{BB962C8B-B14F-4D97-AF65-F5344CB8AC3E}">
        <p14:creationId xmlns:p14="http://schemas.microsoft.com/office/powerpoint/2010/main" val="717000858"/>
      </p:ext>
    </p:extLst>
  </p:cSld>
  <p:clrMapOvr>
    <a:masterClrMapping/>
  </p:clrMapOvr>
  <p:transition>
    <p:fade/>
  </p:transition>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7477" y="1938338"/>
            <a:ext cx="12475532" cy="4397262"/>
            <a:chOff x="1489076" y="2514601"/>
            <a:chExt cx="9242425" cy="3257686"/>
          </a:xfrm>
        </p:grpSpPr>
        <p:sp>
          <p:nvSpPr>
            <p:cNvPr id="41" name="Freeform 11"/>
            <p:cNvSpPr>
              <a:spLocks/>
            </p:cNvSpPr>
            <p:nvPr/>
          </p:nvSpPr>
          <p:spPr bwMode="auto">
            <a:xfrm>
              <a:off x="1489076" y="2514601"/>
              <a:ext cx="9242425" cy="3000375"/>
            </a:xfrm>
            <a:custGeom>
              <a:avLst/>
              <a:gdLst>
                <a:gd name="T0" fmla="*/ 3230 w 7810"/>
                <a:gd name="T1" fmla="*/ 1944 h 2536"/>
                <a:gd name="T2" fmla="*/ 3231 w 7810"/>
                <a:gd name="T3" fmla="*/ 1896 h 2536"/>
                <a:gd name="T4" fmla="*/ 2939 w 7810"/>
                <a:gd name="T5" fmla="*/ 1027 h 2536"/>
                <a:gd name="T6" fmla="*/ 2647 w 7810"/>
                <a:gd name="T7" fmla="*/ 1367 h 2536"/>
                <a:gd name="T8" fmla="*/ 2055 w 7810"/>
                <a:gd name="T9" fmla="*/ 1910 h 2536"/>
                <a:gd name="T10" fmla="*/ 1466 w 7810"/>
                <a:gd name="T11" fmla="*/ 1371 h 2536"/>
                <a:gd name="T12" fmla="*/ 1463 w 7810"/>
                <a:gd name="T13" fmla="*/ 593 h 2536"/>
                <a:gd name="T14" fmla="*/ 1458 w 7810"/>
                <a:gd name="T15" fmla="*/ 537 h 2536"/>
                <a:gd name="T16" fmla="*/ 1124 w 7810"/>
                <a:gd name="T17" fmla="*/ 300 h 2536"/>
                <a:gd name="T18" fmla="*/ 0 w 7810"/>
                <a:gd name="T19" fmla="*/ 300 h 2536"/>
                <a:gd name="T20" fmla="*/ 1224 w 7810"/>
                <a:gd name="T21" fmla="*/ 0 h 2536"/>
                <a:gd name="T22" fmla="*/ 1591 w 7810"/>
                <a:gd name="T23" fmla="*/ 175 h 2536"/>
                <a:gd name="T24" fmla="*/ 1763 w 7810"/>
                <a:gd name="T25" fmla="*/ 640 h 2536"/>
                <a:gd name="T26" fmla="*/ 1763 w 7810"/>
                <a:gd name="T27" fmla="*/ 1271 h 2536"/>
                <a:gd name="T28" fmla="*/ 1764 w 7810"/>
                <a:gd name="T29" fmla="*/ 1319 h 2536"/>
                <a:gd name="T30" fmla="*/ 2347 w 7810"/>
                <a:gd name="T31" fmla="*/ 1319 h 2536"/>
                <a:gd name="T32" fmla="*/ 2349 w 7810"/>
                <a:gd name="T33" fmla="*/ 1271 h 2536"/>
                <a:gd name="T34" fmla="*/ 3530 w 7810"/>
                <a:gd name="T35" fmla="*/ 1319 h 2536"/>
                <a:gd name="T36" fmla="*/ 3530 w 7810"/>
                <a:gd name="T37" fmla="*/ 1367 h 2536"/>
                <a:gd name="T38" fmla="*/ 3530 w 7810"/>
                <a:gd name="T39" fmla="*/ 1944 h 2536"/>
                <a:gd name="T40" fmla="*/ 4114 w 7810"/>
                <a:gd name="T41" fmla="*/ 1944 h 2536"/>
                <a:gd name="T42" fmla="*/ 4114 w 7810"/>
                <a:gd name="T43" fmla="*/ 1896 h 2536"/>
                <a:gd name="T44" fmla="*/ 4114 w 7810"/>
                <a:gd name="T45" fmla="*/ 1319 h 2536"/>
                <a:gd name="T46" fmla="*/ 5295 w 7810"/>
                <a:gd name="T47" fmla="*/ 1271 h 2536"/>
                <a:gd name="T48" fmla="*/ 5297 w 7810"/>
                <a:gd name="T49" fmla="*/ 1319 h 2536"/>
                <a:gd name="T50" fmla="*/ 5880 w 7810"/>
                <a:gd name="T51" fmla="*/ 1319 h 2536"/>
                <a:gd name="T52" fmla="*/ 5881 w 7810"/>
                <a:gd name="T53" fmla="*/ 1271 h 2536"/>
                <a:gd name="T54" fmla="*/ 5879 w 7810"/>
                <a:gd name="T55" fmla="*/ 823 h 2536"/>
                <a:gd name="T56" fmla="*/ 5879 w 7810"/>
                <a:gd name="T57" fmla="*/ 632 h 2536"/>
                <a:gd name="T58" fmla="*/ 6419 w 7810"/>
                <a:gd name="T59" fmla="*/ 43 h 2536"/>
                <a:gd name="T60" fmla="*/ 7780 w 7810"/>
                <a:gd name="T61" fmla="*/ 40 h 2536"/>
                <a:gd name="T62" fmla="*/ 6519 w 7810"/>
                <a:gd name="T63" fmla="*/ 340 h 2536"/>
                <a:gd name="T64" fmla="*/ 6471 w 7810"/>
                <a:gd name="T65" fmla="*/ 340 h 2536"/>
                <a:gd name="T66" fmla="*/ 6184 w 7810"/>
                <a:gd name="T67" fmla="*/ 577 h 2536"/>
                <a:gd name="T68" fmla="*/ 6180 w 7810"/>
                <a:gd name="T69" fmla="*/ 1371 h 2536"/>
                <a:gd name="T70" fmla="*/ 6005 w 7810"/>
                <a:gd name="T71" fmla="*/ 1738 h 2536"/>
                <a:gd name="T72" fmla="*/ 4999 w 7810"/>
                <a:gd name="T73" fmla="*/ 1367 h 2536"/>
                <a:gd name="T74" fmla="*/ 4997 w 7810"/>
                <a:gd name="T75" fmla="*/ 1319 h 2536"/>
                <a:gd name="T76" fmla="*/ 4413 w 7810"/>
                <a:gd name="T77" fmla="*/ 1319 h 2536"/>
                <a:gd name="T78" fmla="*/ 4414 w 7810"/>
                <a:gd name="T79" fmla="*/ 1944 h 2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10" h="2536">
                  <a:moveTo>
                    <a:pt x="3822" y="2536"/>
                  </a:moveTo>
                  <a:cubicBezTo>
                    <a:pt x="3496" y="2536"/>
                    <a:pt x="3230" y="2271"/>
                    <a:pt x="3230" y="1944"/>
                  </a:cubicBezTo>
                  <a:cubicBezTo>
                    <a:pt x="3230" y="1896"/>
                    <a:pt x="3230" y="1896"/>
                    <a:pt x="3230" y="1896"/>
                  </a:cubicBezTo>
                  <a:cubicBezTo>
                    <a:pt x="3231" y="1896"/>
                    <a:pt x="3231" y="1896"/>
                    <a:pt x="3231" y="1896"/>
                  </a:cubicBezTo>
                  <a:cubicBezTo>
                    <a:pt x="3231" y="1319"/>
                    <a:pt x="3231" y="1319"/>
                    <a:pt x="3231" y="1319"/>
                  </a:cubicBezTo>
                  <a:cubicBezTo>
                    <a:pt x="3231" y="1158"/>
                    <a:pt x="3100" y="1027"/>
                    <a:pt x="2939" y="1027"/>
                  </a:cubicBezTo>
                  <a:cubicBezTo>
                    <a:pt x="2778" y="1027"/>
                    <a:pt x="2647" y="1158"/>
                    <a:pt x="2647" y="1319"/>
                  </a:cubicBezTo>
                  <a:cubicBezTo>
                    <a:pt x="2647" y="1367"/>
                    <a:pt x="2647" y="1367"/>
                    <a:pt x="2647" y="1367"/>
                  </a:cubicBezTo>
                  <a:cubicBezTo>
                    <a:pt x="2645" y="1367"/>
                    <a:pt x="2645" y="1367"/>
                    <a:pt x="2645" y="1367"/>
                  </a:cubicBezTo>
                  <a:cubicBezTo>
                    <a:pt x="2620" y="1670"/>
                    <a:pt x="2365" y="1910"/>
                    <a:pt x="2055" y="1910"/>
                  </a:cubicBezTo>
                  <a:cubicBezTo>
                    <a:pt x="1898" y="1910"/>
                    <a:pt x="1750" y="1849"/>
                    <a:pt x="1638" y="1738"/>
                  </a:cubicBezTo>
                  <a:cubicBezTo>
                    <a:pt x="1538" y="1639"/>
                    <a:pt x="1478" y="1510"/>
                    <a:pt x="1466" y="1371"/>
                  </a:cubicBezTo>
                  <a:cubicBezTo>
                    <a:pt x="1463" y="1371"/>
                    <a:pt x="1463" y="1371"/>
                    <a:pt x="1463" y="1371"/>
                  </a:cubicBezTo>
                  <a:cubicBezTo>
                    <a:pt x="1463" y="593"/>
                    <a:pt x="1463" y="593"/>
                    <a:pt x="1463" y="593"/>
                  </a:cubicBezTo>
                  <a:cubicBezTo>
                    <a:pt x="1458" y="537"/>
                    <a:pt x="1458" y="537"/>
                    <a:pt x="1458" y="537"/>
                  </a:cubicBezTo>
                  <a:cubicBezTo>
                    <a:pt x="1458" y="537"/>
                    <a:pt x="1458" y="537"/>
                    <a:pt x="1458" y="537"/>
                  </a:cubicBezTo>
                  <a:cubicBezTo>
                    <a:pt x="1432" y="403"/>
                    <a:pt x="1313" y="300"/>
                    <a:pt x="1172" y="300"/>
                  </a:cubicBezTo>
                  <a:cubicBezTo>
                    <a:pt x="1124" y="300"/>
                    <a:pt x="1124" y="300"/>
                    <a:pt x="1124" y="300"/>
                  </a:cubicBezTo>
                  <a:cubicBezTo>
                    <a:pt x="1124" y="300"/>
                    <a:pt x="1124" y="300"/>
                    <a:pt x="1124" y="300"/>
                  </a:cubicBezTo>
                  <a:cubicBezTo>
                    <a:pt x="0" y="300"/>
                    <a:pt x="0" y="300"/>
                    <a:pt x="0" y="300"/>
                  </a:cubicBezTo>
                  <a:cubicBezTo>
                    <a:pt x="0" y="0"/>
                    <a:pt x="0" y="0"/>
                    <a:pt x="0" y="0"/>
                  </a:cubicBezTo>
                  <a:cubicBezTo>
                    <a:pt x="1224" y="0"/>
                    <a:pt x="1224" y="0"/>
                    <a:pt x="1224" y="0"/>
                  </a:cubicBezTo>
                  <a:cubicBezTo>
                    <a:pt x="1224" y="3"/>
                    <a:pt x="1224" y="3"/>
                    <a:pt x="1224" y="3"/>
                  </a:cubicBezTo>
                  <a:cubicBezTo>
                    <a:pt x="1363" y="15"/>
                    <a:pt x="1492" y="75"/>
                    <a:pt x="1591" y="175"/>
                  </a:cubicBezTo>
                  <a:cubicBezTo>
                    <a:pt x="1702" y="287"/>
                    <a:pt x="1763" y="435"/>
                    <a:pt x="1763" y="592"/>
                  </a:cubicBezTo>
                  <a:cubicBezTo>
                    <a:pt x="1763" y="640"/>
                    <a:pt x="1763" y="640"/>
                    <a:pt x="1763" y="640"/>
                  </a:cubicBezTo>
                  <a:cubicBezTo>
                    <a:pt x="1763" y="640"/>
                    <a:pt x="1763" y="640"/>
                    <a:pt x="1763" y="640"/>
                  </a:cubicBezTo>
                  <a:cubicBezTo>
                    <a:pt x="1763" y="1271"/>
                    <a:pt x="1763" y="1271"/>
                    <a:pt x="1763" y="1271"/>
                  </a:cubicBezTo>
                  <a:cubicBezTo>
                    <a:pt x="1764" y="1271"/>
                    <a:pt x="1764" y="1271"/>
                    <a:pt x="1764" y="1271"/>
                  </a:cubicBezTo>
                  <a:cubicBezTo>
                    <a:pt x="1764" y="1319"/>
                    <a:pt x="1764" y="1319"/>
                    <a:pt x="1764" y="1319"/>
                  </a:cubicBezTo>
                  <a:cubicBezTo>
                    <a:pt x="1764" y="1479"/>
                    <a:pt x="1894" y="1610"/>
                    <a:pt x="2055" y="1610"/>
                  </a:cubicBezTo>
                  <a:cubicBezTo>
                    <a:pt x="2216" y="1610"/>
                    <a:pt x="2347" y="1479"/>
                    <a:pt x="2347" y="1319"/>
                  </a:cubicBezTo>
                  <a:cubicBezTo>
                    <a:pt x="2347" y="1271"/>
                    <a:pt x="2347" y="1271"/>
                    <a:pt x="2347" y="1271"/>
                  </a:cubicBezTo>
                  <a:cubicBezTo>
                    <a:pt x="2349" y="1271"/>
                    <a:pt x="2349" y="1271"/>
                    <a:pt x="2349" y="1271"/>
                  </a:cubicBezTo>
                  <a:cubicBezTo>
                    <a:pt x="2374" y="967"/>
                    <a:pt x="2629" y="727"/>
                    <a:pt x="2939" y="727"/>
                  </a:cubicBezTo>
                  <a:cubicBezTo>
                    <a:pt x="3265" y="727"/>
                    <a:pt x="3530" y="992"/>
                    <a:pt x="3530" y="1319"/>
                  </a:cubicBezTo>
                  <a:cubicBezTo>
                    <a:pt x="3530" y="1367"/>
                    <a:pt x="3530" y="1367"/>
                    <a:pt x="3530" y="1367"/>
                  </a:cubicBezTo>
                  <a:cubicBezTo>
                    <a:pt x="3530" y="1367"/>
                    <a:pt x="3530" y="1367"/>
                    <a:pt x="3530" y="1367"/>
                  </a:cubicBezTo>
                  <a:cubicBezTo>
                    <a:pt x="3530" y="1896"/>
                    <a:pt x="3530" y="1896"/>
                    <a:pt x="3530" y="1896"/>
                  </a:cubicBezTo>
                  <a:cubicBezTo>
                    <a:pt x="3530" y="1944"/>
                    <a:pt x="3530" y="1944"/>
                    <a:pt x="3530" y="1944"/>
                  </a:cubicBezTo>
                  <a:cubicBezTo>
                    <a:pt x="3530" y="2105"/>
                    <a:pt x="3661" y="2236"/>
                    <a:pt x="3822" y="2236"/>
                  </a:cubicBezTo>
                  <a:cubicBezTo>
                    <a:pt x="3983" y="2236"/>
                    <a:pt x="4114" y="2105"/>
                    <a:pt x="4114" y="1944"/>
                  </a:cubicBezTo>
                  <a:cubicBezTo>
                    <a:pt x="4114" y="1896"/>
                    <a:pt x="4114" y="1896"/>
                    <a:pt x="4114" y="1896"/>
                  </a:cubicBezTo>
                  <a:cubicBezTo>
                    <a:pt x="4114" y="1896"/>
                    <a:pt x="4114" y="1896"/>
                    <a:pt x="4114" y="1896"/>
                  </a:cubicBezTo>
                  <a:cubicBezTo>
                    <a:pt x="4114" y="1367"/>
                    <a:pt x="4114" y="1367"/>
                    <a:pt x="4114" y="1367"/>
                  </a:cubicBezTo>
                  <a:cubicBezTo>
                    <a:pt x="4114" y="1319"/>
                    <a:pt x="4114" y="1319"/>
                    <a:pt x="4114" y="1319"/>
                  </a:cubicBezTo>
                  <a:cubicBezTo>
                    <a:pt x="4114" y="992"/>
                    <a:pt x="4379" y="727"/>
                    <a:pt x="4705" y="727"/>
                  </a:cubicBezTo>
                  <a:cubicBezTo>
                    <a:pt x="5015" y="727"/>
                    <a:pt x="5270" y="967"/>
                    <a:pt x="5295" y="1271"/>
                  </a:cubicBezTo>
                  <a:cubicBezTo>
                    <a:pt x="5297" y="1271"/>
                    <a:pt x="5297" y="1271"/>
                    <a:pt x="5297" y="1271"/>
                  </a:cubicBezTo>
                  <a:cubicBezTo>
                    <a:pt x="5297" y="1319"/>
                    <a:pt x="5297" y="1319"/>
                    <a:pt x="5297" y="1319"/>
                  </a:cubicBezTo>
                  <a:cubicBezTo>
                    <a:pt x="5297" y="1479"/>
                    <a:pt x="5428" y="1610"/>
                    <a:pt x="5589" y="1610"/>
                  </a:cubicBezTo>
                  <a:cubicBezTo>
                    <a:pt x="5749" y="1610"/>
                    <a:pt x="5880" y="1479"/>
                    <a:pt x="5880" y="1319"/>
                  </a:cubicBezTo>
                  <a:cubicBezTo>
                    <a:pt x="5880" y="1271"/>
                    <a:pt x="5880" y="1271"/>
                    <a:pt x="5880" y="1271"/>
                  </a:cubicBezTo>
                  <a:cubicBezTo>
                    <a:pt x="5881" y="1271"/>
                    <a:pt x="5881" y="1271"/>
                    <a:pt x="5881" y="1271"/>
                  </a:cubicBezTo>
                  <a:cubicBezTo>
                    <a:pt x="5881" y="823"/>
                    <a:pt x="5881" y="823"/>
                    <a:pt x="5881" y="823"/>
                  </a:cubicBezTo>
                  <a:cubicBezTo>
                    <a:pt x="5879" y="823"/>
                    <a:pt x="5879" y="823"/>
                    <a:pt x="5879" y="823"/>
                  </a:cubicBezTo>
                  <a:cubicBezTo>
                    <a:pt x="5879" y="680"/>
                    <a:pt x="5879" y="680"/>
                    <a:pt x="5879" y="680"/>
                  </a:cubicBezTo>
                  <a:cubicBezTo>
                    <a:pt x="5879" y="632"/>
                    <a:pt x="5879" y="632"/>
                    <a:pt x="5879" y="632"/>
                  </a:cubicBezTo>
                  <a:cubicBezTo>
                    <a:pt x="5879" y="475"/>
                    <a:pt x="5940" y="327"/>
                    <a:pt x="6051" y="215"/>
                  </a:cubicBezTo>
                  <a:cubicBezTo>
                    <a:pt x="6150" y="115"/>
                    <a:pt x="6279" y="55"/>
                    <a:pt x="6419" y="43"/>
                  </a:cubicBezTo>
                  <a:cubicBezTo>
                    <a:pt x="6419" y="40"/>
                    <a:pt x="6419" y="40"/>
                    <a:pt x="6419" y="40"/>
                  </a:cubicBezTo>
                  <a:cubicBezTo>
                    <a:pt x="7780" y="40"/>
                    <a:pt x="7780" y="40"/>
                    <a:pt x="7780" y="40"/>
                  </a:cubicBezTo>
                  <a:cubicBezTo>
                    <a:pt x="7810" y="340"/>
                    <a:pt x="7810" y="340"/>
                    <a:pt x="7810" y="340"/>
                  </a:cubicBezTo>
                  <a:cubicBezTo>
                    <a:pt x="6519" y="340"/>
                    <a:pt x="6519" y="340"/>
                    <a:pt x="6519" y="340"/>
                  </a:cubicBezTo>
                  <a:cubicBezTo>
                    <a:pt x="6519" y="340"/>
                    <a:pt x="6519" y="340"/>
                    <a:pt x="6519" y="340"/>
                  </a:cubicBezTo>
                  <a:cubicBezTo>
                    <a:pt x="6471" y="340"/>
                    <a:pt x="6471" y="340"/>
                    <a:pt x="6471" y="340"/>
                  </a:cubicBezTo>
                  <a:cubicBezTo>
                    <a:pt x="6330" y="340"/>
                    <a:pt x="6210" y="443"/>
                    <a:pt x="6184" y="577"/>
                  </a:cubicBezTo>
                  <a:cubicBezTo>
                    <a:pt x="6184" y="577"/>
                    <a:pt x="6184" y="577"/>
                    <a:pt x="6184" y="577"/>
                  </a:cubicBezTo>
                  <a:cubicBezTo>
                    <a:pt x="6180" y="616"/>
                    <a:pt x="6180" y="616"/>
                    <a:pt x="6180" y="616"/>
                  </a:cubicBezTo>
                  <a:cubicBezTo>
                    <a:pt x="6180" y="1371"/>
                    <a:pt x="6180" y="1371"/>
                    <a:pt x="6180" y="1371"/>
                  </a:cubicBezTo>
                  <a:cubicBezTo>
                    <a:pt x="6178" y="1371"/>
                    <a:pt x="6178" y="1371"/>
                    <a:pt x="6178" y="1371"/>
                  </a:cubicBezTo>
                  <a:cubicBezTo>
                    <a:pt x="6166" y="1510"/>
                    <a:pt x="6106" y="1639"/>
                    <a:pt x="6005" y="1738"/>
                  </a:cubicBezTo>
                  <a:cubicBezTo>
                    <a:pt x="5894" y="1849"/>
                    <a:pt x="5746" y="1910"/>
                    <a:pt x="5589" y="1910"/>
                  </a:cubicBezTo>
                  <a:cubicBezTo>
                    <a:pt x="5279" y="1910"/>
                    <a:pt x="5023" y="1670"/>
                    <a:pt x="4999" y="1367"/>
                  </a:cubicBezTo>
                  <a:cubicBezTo>
                    <a:pt x="4997" y="1367"/>
                    <a:pt x="4997" y="1367"/>
                    <a:pt x="4997" y="1367"/>
                  </a:cubicBezTo>
                  <a:cubicBezTo>
                    <a:pt x="4997" y="1319"/>
                    <a:pt x="4997" y="1319"/>
                    <a:pt x="4997" y="1319"/>
                  </a:cubicBezTo>
                  <a:cubicBezTo>
                    <a:pt x="4997" y="1158"/>
                    <a:pt x="4866" y="1027"/>
                    <a:pt x="4705" y="1027"/>
                  </a:cubicBezTo>
                  <a:cubicBezTo>
                    <a:pt x="4544" y="1027"/>
                    <a:pt x="4413" y="1158"/>
                    <a:pt x="4413" y="1319"/>
                  </a:cubicBezTo>
                  <a:cubicBezTo>
                    <a:pt x="4413" y="1896"/>
                    <a:pt x="4413" y="1896"/>
                    <a:pt x="4413" y="1896"/>
                  </a:cubicBezTo>
                  <a:cubicBezTo>
                    <a:pt x="4414" y="1944"/>
                    <a:pt x="4414" y="1944"/>
                    <a:pt x="4414" y="1944"/>
                  </a:cubicBezTo>
                  <a:cubicBezTo>
                    <a:pt x="4414" y="2271"/>
                    <a:pt x="4148" y="2536"/>
                    <a:pt x="3822" y="2536"/>
                  </a:cubicBezTo>
                  <a:close/>
                </a:path>
              </a:pathLst>
            </a:custGeom>
            <a:solidFill>
              <a:srgbClr val="5D5E5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a:p>
          </p:txBody>
        </p:sp>
        <p:grpSp>
          <p:nvGrpSpPr>
            <p:cNvPr id="65" name="Group 64"/>
            <p:cNvGrpSpPr>
              <a:grpSpLocks/>
            </p:cNvGrpSpPr>
            <p:nvPr/>
          </p:nvGrpSpPr>
          <p:grpSpPr bwMode="auto">
            <a:xfrm>
              <a:off x="1546226" y="2560639"/>
              <a:ext cx="9121775" cy="2909887"/>
              <a:chOff x="28575" y="2270125"/>
              <a:chExt cx="12163425" cy="3879850"/>
            </a:xfrm>
          </p:grpSpPr>
          <p:sp>
            <p:nvSpPr>
              <p:cNvPr id="42" name="Freeform 12"/>
              <p:cNvSpPr>
                <a:spLocks/>
              </p:cNvSpPr>
              <p:nvPr/>
            </p:nvSpPr>
            <p:spPr bwMode="auto">
              <a:xfrm>
                <a:off x="28575" y="2591858"/>
                <a:ext cx="12163425" cy="3558117"/>
              </a:xfrm>
              <a:custGeom>
                <a:avLst/>
                <a:gdLst>
                  <a:gd name="T0" fmla="*/ 3220 w 7709"/>
                  <a:gd name="T1" fmla="*/ 1702 h 2256"/>
                  <a:gd name="T2" fmla="*/ 3221 w 7709"/>
                  <a:gd name="T3" fmla="*/ 1692 h 2256"/>
                  <a:gd name="T4" fmla="*/ 2891 w 7709"/>
                  <a:gd name="T5" fmla="*/ 747 h 2256"/>
                  <a:gd name="T6" fmla="*/ 2561 w 7709"/>
                  <a:gd name="T7" fmla="*/ 1087 h 2256"/>
                  <a:gd name="T8" fmla="*/ 2007 w 7709"/>
                  <a:gd name="T9" fmla="*/ 1630 h 2256"/>
                  <a:gd name="T10" fmla="*/ 1454 w 7709"/>
                  <a:gd name="T11" fmla="*/ 1091 h 2256"/>
                  <a:gd name="T12" fmla="*/ 1453 w 7709"/>
                  <a:gd name="T13" fmla="*/ 350 h 2256"/>
                  <a:gd name="T14" fmla="*/ 1453 w 7709"/>
                  <a:gd name="T15" fmla="*/ 333 h 2256"/>
                  <a:gd name="T16" fmla="*/ 1114 w 7709"/>
                  <a:gd name="T17" fmla="*/ 20 h 2256"/>
                  <a:gd name="T18" fmla="*/ 0 w 7709"/>
                  <a:gd name="T19" fmla="*/ 20 h 2256"/>
                  <a:gd name="T20" fmla="*/ 1134 w 7709"/>
                  <a:gd name="T21" fmla="*/ 0 h 2256"/>
                  <a:gd name="T22" fmla="*/ 1369 w 7709"/>
                  <a:gd name="T23" fmla="*/ 101 h 2256"/>
                  <a:gd name="T24" fmla="*/ 1473 w 7709"/>
                  <a:gd name="T25" fmla="*/ 353 h 2256"/>
                  <a:gd name="T26" fmla="*/ 1473 w 7709"/>
                  <a:gd name="T27" fmla="*/ 1071 h 2256"/>
                  <a:gd name="T28" fmla="*/ 1474 w 7709"/>
                  <a:gd name="T29" fmla="*/ 1081 h 2256"/>
                  <a:gd name="T30" fmla="*/ 2541 w 7709"/>
                  <a:gd name="T31" fmla="*/ 1077 h 2256"/>
                  <a:gd name="T32" fmla="*/ 2541 w 7709"/>
                  <a:gd name="T33" fmla="*/ 1067 h 2256"/>
                  <a:gd name="T34" fmla="*/ 3241 w 7709"/>
                  <a:gd name="T35" fmla="*/ 1077 h 2256"/>
                  <a:gd name="T36" fmla="*/ 3240 w 7709"/>
                  <a:gd name="T37" fmla="*/ 1712 h 2256"/>
                  <a:gd name="T38" fmla="*/ 4308 w 7709"/>
                  <a:gd name="T39" fmla="*/ 1710 h 2256"/>
                  <a:gd name="T40" fmla="*/ 4307 w 7709"/>
                  <a:gd name="T41" fmla="*/ 1077 h 2256"/>
                  <a:gd name="T42" fmla="*/ 5007 w 7709"/>
                  <a:gd name="T43" fmla="*/ 1067 h 2256"/>
                  <a:gd name="T44" fmla="*/ 5007 w 7709"/>
                  <a:gd name="T45" fmla="*/ 1077 h 2256"/>
                  <a:gd name="T46" fmla="*/ 6074 w 7709"/>
                  <a:gd name="T47" fmla="*/ 1081 h 2256"/>
                  <a:gd name="T48" fmla="*/ 6074 w 7709"/>
                  <a:gd name="T49" fmla="*/ 1071 h 2256"/>
                  <a:gd name="T50" fmla="*/ 6073 w 7709"/>
                  <a:gd name="T51" fmla="*/ 405 h 2256"/>
                  <a:gd name="T52" fmla="*/ 6178 w 7709"/>
                  <a:gd name="T53" fmla="*/ 141 h 2256"/>
                  <a:gd name="T54" fmla="*/ 6413 w 7709"/>
                  <a:gd name="T55" fmla="*/ 40 h 2256"/>
                  <a:gd name="T56" fmla="*/ 7709 w 7709"/>
                  <a:gd name="T57" fmla="*/ 60 h 2256"/>
                  <a:gd name="T58" fmla="*/ 6433 w 7709"/>
                  <a:gd name="T59" fmla="*/ 60 h 2256"/>
                  <a:gd name="T60" fmla="*/ 6093 w 7709"/>
                  <a:gd name="T61" fmla="*/ 373 h 2256"/>
                  <a:gd name="T62" fmla="*/ 6093 w 7709"/>
                  <a:gd name="T63" fmla="*/ 385 h 2256"/>
                  <a:gd name="T64" fmla="*/ 6094 w 7709"/>
                  <a:gd name="T65" fmla="*/ 1091 h 2256"/>
                  <a:gd name="T66" fmla="*/ 5931 w 7709"/>
                  <a:gd name="T67" fmla="*/ 1469 h 2256"/>
                  <a:gd name="T68" fmla="*/ 4987 w 7709"/>
                  <a:gd name="T69" fmla="*/ 1087 h 2256"/>
                  <a:gd name="T70" fmla="*/ 4987 w 7709"/>
                  <a:gd name="T71" fmla="*/ 1077 h 2256"/>
                  <a:gd name="T72" fmla="*/ 4327 w 7709"/>
                  <a:gd name="T73" fmla="*/ 1077 h 2256"/>
                  <a:gd name="T74" fmla="*/ 4328 w 7709"/>
                  <a:gd name="T75" fmla="*/ 1702 h 2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09" h="2256">
                    <a:moveTo>
                      <a:pt x="3774" y="2256"/>
                    </a:moveTo>
                    <a:cubicBezTo>
                      <a:pt x="3469" y="2256"/>
                      <a:pt x="3220" y="2008"/>
                      <a:pt x="3220" y="1702"/>
                    </a:cubicBezTo>
                    <a:cubicBezTo>
                      <a:pt x="3220" y="1692"/>
                      <a:pt x="3220" y="1692"/>
                      <a:pt x="3220" y="1692"/>
                    </a:cubicBezTo>
                    <a:cubicBezTo>
                      <a:pt x="3221" y="1692"/>
                      <a:pt x="3221" y="1692"/>
                      <a:pt x="3221" y="1692"/>
                    </a:cubicBezTo>
                    <a:cubicBezTo>
                      <a:pt x="3221" y="1077"/>
                      <a:pt x="3221" y="1077"/>
                      <a:pt x="3221" y="1077"/>
                    </a:cubicBezTo>
                    <a:cubicBezTo>
                      <a:pt x="3221" y="895"/>
                      <a:pt x="3073" y="747"/>
                      <a:pt x="2891" y="747"/>
                    </a:cubicBezTo>
                    <a:cubicBezTo>
                      <a:pt x="2709" y="747"/>
                      <a:pt x="2561" y="895"/>
                      <a:pt x="2561" y="1077"/>
                    </a:cubicBezTo>
                    <a:cubicBezTo>
                      <a:pt x="2561" y="1087"/>
                      <a:pt x="2561" y="1087"/>
                      <a:pt x="2561" y="1087"/>
                    </a:cubicBezTo>
                    <a:cubicBezTo>
                      <a:pt x="2561" y="1087"/>
                      <a:pt x="2561" y="1087"/>
                      <a:pt x="2561" y="1087"/>
                    </a:cubicBezTo>
                    <a:cubicBezTo>
                      <a:pt x="2555" y="1387"/>
                      <a:pt x="2309" y="1630"/>
                      <a:pt x="2007" y="1630"/>
                    </a:cubicBezTo>
                    <a:cubicBezTo>
                      <a:pt x="1860" y="1630"/>
                      <a:pt x="1722" y="1573"/>
                      <a:pt x="1617" y="1469"/>
                    </a:cubicBezTo>
                    <a:cubicBezTo>
                      <a:pt x="1515" y="1368"/>
                      <a:pt x="1458" y="1234"/>
                      <a:pt x="1454" y="1091"/>
                    </a:cubicBezTo>
                    <a:cubicBezTo>
                      <a:pt x="1453" y="1091"/>
                      <a:pt x="1453" y="1091"/>
                      <a:pt x="1453" y="1091"/>
                    </a:cubicBezTo>
                    <a:cubicBezTo>
                      <a:pt x="1453" y="350"/>
                      <a:pt x="1453" y="350"/>
                      <a:pt x="1453" y="350"/>
                    </a:cubicBezTo>
                    <a:cubicBezTo>
                      <a:pt x="1452" y="333"/>
                      <a:pt x="1452" y="333"/>
                      <a:pt x="1452" y="333"/>
                    </a:cubicBezTo>
                    <a:cubicBezTo>
                      <a:pt x="1453" y="333"/>
                      <a:pt x="1453" y="333"/>
                      <a:pt x="1453" y="333"/>
                    </a:cubicBezTo>
                    <a:cubicBezTo>
                      <a:pt x="1444" y="160"/>
                      <a:pt x="1298" y="20"/>
                      <a:pt x="1124" y="20"/>
                    </a:cubicBezTo>
                    <a:cubicBezTo>
                      <a:pt x="1114" y="20"/>
                      <a:pt x="1114" y="20"/>
                      <a:pt x="1114" y="20"/>
                    </a:cubicBezTo>
                    <a:cubicBezTo>
                      <a:pt x="1114" y="20"/>
                      <a:pt x="1114" y="20"/>
                      <a:pt x="1114" y="20"/>
                    </a:cubicBezTo>
                    <a:cubicBezTo>
                      <a:pt x="0" y="20"/>
                      <a:pt x="0" y="20"/>
                      <a:pt x="0" y="20"/>
                    </a:cubicBezTo>
                    <a:cubicBezTo>
                      <a:pt x="0" y="0"/>
                      <a:pt x="0" y="0"/>
                      <a:pt x="0" y="0"/>
                    </a:cubicBezTo>
                    <a:cubicBezTo>
                      <a:pt x="1134" y="0"/>
                      <a:pt x="1134" y="0"/>
                      <a:pt x="1134" y="0"/>
                    </a:cubicBezTo>
                    <a:cubicBezTo>
                      <a:pt x="1134" y="1"/>
                      <a:pt x="1134" y="1"/>
                      <a:pt x="1134" y="1"/>
                    </a:cubicBezTo>
                    <a:cubicBezTo>
                      <a:pt x="1222" y="3"/>
                      <a:pt x="1305" y="38"/>
                      <a:pt x="1369" y="101"/>
                    </a:cubicBezTo>
                    <a:cubicBezTo>
                      <a:pt x="1434" y="165"/>
                      <a:pt x="1471" y="251"/>
                      <a:pt x="1473" y="343"/>
                    </a:cubicBezTo>
                    <a:cubicBezTo>
                      <a:pt x="1473" y="353"/>
                      <a:pt x="1473" y="353"/>
                      <a:pt x="1473" y="353"/>
                    </a:cubicBezTo>
                    <a:cubicBezTo>
                      <a:pt x="1473" y="353"/>
                      <a:pt x="1473" y="353"/>
                      <a:pt x="1473" y="353"/>
                    </a:cubicBezTo>
                    <a:cubicBezTo>
                      <a:pt x="1473" y="1071"/>
                      <a:pt x="1473" y="1071"/>
                      <a:pt x="1473" y="1071"/>
                    </a:cubicBezTo>
                    <a:cubicBezTo>
                      <a:pt x="1474" y="1071"/>
                      <a:pt x="1474" y="1071"/>
                      <a:pt x="1474" y="1071"/>
                    </a:cubicBezTo>
                    <a:cubicBezTo>
                      <a:pt x="1474" y="1081"/>
                      <a:pt x="1474" y="1081"/>
                      <a:pt x="1474" y="1081"/>
                    </a:cubicBezTo>
                    <a:cubicBezTo>
                      <a:pt x="1476" y="1373"/>
                      <a:pt x="1715" y="1610"/>
                      <a:pt x="2007" y="1610"/>
                    </a:cubicBezTo>
                    <a:cubicBezTo>
                      <a:pt x="2302" y="1610"/>
                      <a:pt x="2541" y="1371"/>
                      <a:pt x="2541" y="1077"/>
                    </a:cubicBezTo>
                    <a:cubicBezTo>
                      <a:pt x="2541" y="1067"/>
                      <a:pt x="2541" y="1067"/>
                      <a:pt x="2541" y="1067"/>
                    </a:cubicBezTo>
                    <a:cubicBezTo>
                      <a:pt x="2541" y="1067"/>
                      <a:pt x="2541" y="1067"/>
                      <a:pt x="2541" y="1067"/>
                    </a:cubicBezTo>
                    <a:cubicBezTo>
                      <a:pt x="2546" y="878"/>
                      <a:pt x="2701" y="727"/>
                      <a:pt x="2891" y="727"/>
                    </a:cubicBezTo>
                    <a:cubicBezTo>
                      <a:pt x="3084" y="727"/>
                      <a:pt x="3241" y="884"/>
                      <a:pt x="3241" y="1077"/>
                    </a:cubicBezTo>
                    <a:cubicBezTo>
                      <a:pt x="3241" y="1712"/>
                      <a:pt x="3241" y="1712"/>
                      <a:pt x="3241" y="1712"/>
                    </a:cubicBezTo>
                    <a:cubicBezTo>
                      <a:pt x="3240" y="1712"/>
                      <a:pt x="3240" y="1712"/>
                      <a:pt x="3240" y="1712"/>
                    </a:cubicBezTo>
                    <a:cubicBezTo>
                      <a:pt x="3246" y="2002"/>
                      <a:pt x="3483" y="2236"/>
                      <a:pt x="3774" y="2236"/>
                    </a:cubicBezTo>
                    <a:cubicBezTo>
                      <a:pt x="4066" y="2236"/>
                      <a:pt x="4303" y="2001"/>
                      <a:pt x="4308" y="1710"/>
                    </a:cubicBezTo>
                    <a:cubicBezTo>
                      <a:pt x="4307" y="1702"/>
                      <a:pt x="4307" y="1702"/>
                      <a:pt x="4307" y="1702"/>
                    </a:cubicBezTo>
                    <a:cubicBezTo>
                      <a:pt x="4307" y="1077"/>
                      <a:pt x="4307" y="1077"/>
                      <a:pt x="4307" y="1077"/>
                    </a:cubicBezTo>
                    <a:cubicBezTo>
                      <a:pt x="4307" y="884"/>
                      <a:pt x="4464" y="727"/>
                      <a:pt x="4657" y="727"/>
                    </a:cubicBezTo>
                    <a:cubicBezTo>
                      <a:pt x="4847" y="727"/>
                      <a:pt x="5001" y="878"/>
                      <a:pt x="5007" y="1067"/>
                    </a:cubicBezTo>
                    <a:cubicBezTo>
                      <a:pt x="5007" y="1067"/>
                      <a:pt x="5007" y="1067"/>
                      <a:pt x="5007" y="1067"/>
                    </a:cubicBezTo>
                    <a:cubicBezTo>
                      <a:pt x="5007" y="1077"/>
                      <a:pt x="5007" y="1077"/>
                      <a:pt x="5007" y="1077"/>
                    </a:cubicBezTo>
                    <a:cubicBezTo>
                      <a:pt x="5007" y="1371"/>
                      <a:pt x="5246" y="1610"/>
                      <a:pt x="5541" y="1610"/>
                    </a:cubicBezTo>
                    <a:cubicBezTo>
                      <a:pt x="5833" y="1610"/>
                      <a:pt x="6072" y="1373"/>
                      <a:pt x="6074" y="1081"/>
                    </a:cubicBezTo>
                    <a:cubicBezTo>
                      <a:pt x="6074" y="1071"/>
                      <a:pt x="6074" y="1071"/>
                      <a:pt x="6074" y="1071"/>
                    </a:cubicBezTo>
                    <a:cubicBezTo>
                      <a:pt x="6074" y="1071"/>
                      <a:pt x="6074" y="1071"/>
                      <a:pt x="6074" y="1071"/>
                    </a:cubicBezTo>
                    <a:cubicBezTo>
                      <a:pt x="6074" y="405"/>
                      <a:pt x="6074" y="405"/>
                      <a:pt x="6074" y="405"/>
                    </a:cubicBezTo>
                    <a:cubicBezTo>
                      <a:pt x="6073" y="405"/>
                      <a:pt x="6073" y="405"/>
                      <a:pt x="6073" y="405"/>
                    </a:cubicBezTo>
                    <a:cubicBezTo>
                      <a:pt x="6073" y="383"/>
                      <a:pt x="6073" y="383"/>
                      <a:pt x="6073" y="383"/>
                    </a:cubicBezTo>
                    <a:cubicBezTo>
                      <a:pt x="6075" y="291"/>
                      <a:pt x="6112" y="205"/>
                      <a:pt x="6178" y="141"/>
                    </a:cubicBezTo>
                    <a:cubicBezTo>
                      <a:pt x="6241" y="78"/>
                      <a:pt x="6324" y="43"/>
                      <a:pt x="6413" y="41"/>
                    </a:cubicBezTo>
                    <a:cubicBezTo>
                      <a:pt x="6413" y="40"/>
                      <a:pt x="6413" y="40"/>
                      <a:pt x="6413" y="40"/>
                    </a:cubicBezTo>
                    <a:cubicBezTo>
                      <a:pt x="7709" y="40"/>
                      <a:pt x="7709" y="40"/>
                      <a:pt x="7709" y="40"/>
                    </a:cubicBezTo>
                    <a:cubicBezTo>
                      <a:pt x="7709" y="60"/>
                      <a:pt x="7709" y="60"/>
                      <a:pt x="7709" y="60"/>
                    </a:cubicBezTo>
                    <a:cubicBezTo>
                      <a:pt x="6433" y="60"/>
                      <a:pt x="6433" y="60"/>
                      <a:pt x="6433" y="60"/>
                    </a:cubicBezTo>
                    <a:cubicBezTo>
                      <a:pt x="6433" y="60"/>
                      <a:pt x="6433" y="60"/>
                      <a:pt x="6433" y="60"/>
                    </a:cubicBezTo>
                    <a:cubicBezTo>
                      <a:pt x="6423" y="60"/>
                      <a:pt x="6423" y="60"/>
                      <a:pt x="6423" y="60"/>
                    </a:cubicBezTo>
                    <a:cubicBezTo>
                      <a:pt x="6248" y="60"/>
                      <a:pt x="6102" y="200"/>
                      <a:pt x="6093" y="373"/>
                    </a:cubicBezTo>
                    <a:cubicBezTo>
                      <a:pt x="6094" y="373"/>
                      <a:pt x="6094" y="373"/>
                      <a:pt x="6094" y="373"/>
                    </a:cubicBezTo>
                    <a:cubicBezTo>
                      <a:pt x="6093" y="385"/>
                      <a:pt x="6093" y="385"/>
                      <a:pt x="6093" y="385"/>
                    </a:cubicBezTo>
                    <a:cubicBezTo>
                      <a:pt x="6094" y="385"/>
                      <a:pt x="6094" y="385"/>
                      <a:pt x="6094" y="385"/>
                    </a:cubicBezTo>
                    <a:cubicBezTo>
                      <a:pt x="6094" y="1091"/>
                      <a:pt x="6094" y="1091"/>
                      <a:pt x="6094" y="1091"/>
                    </a:cubicBezTo>
                    <a:cubicBezTo>
                      <a:pt x="6094" y="1091"/>
                      <a:pt x="6094" y="1091"/>
                      <a:pt x="6094" y="1091"/>
                    </a:cubicBezTo>
                    <a:cubicBezTo>
                      <a:pt x="6090" y="1234"/>
                      <a:pt x="6033" y="1368"/>
                      <a:pt x="5931" y="1469"/>
                    </a:cubicBezTo>
                    <a:cubicBezTo>
                      <a:pt x="5826" y="1573"/>
                      <a:pt x="5688" y="1630"/>
                      <a:pt x="5541" y="1630"/>
                    </a:cubicBezTo>
                    <a:cubicBezTo>
                      <a:pt x="5239" y="1630"/>
                      <a:pt x="4992" y="1387"/>
                      <a:pt x="4987" y="1087"/>
                    </a:cubicBezTo>
                    <a:cubicBezTo>
                      <a:pt x="4987" y="1087"/>
                      <a:pt x="4987" y="1087"/>
                      <a:pt x="4987" y="1087"/>
                    </a:cubicBezTo>
                    <a:cubicBezTo>
                      <a:pt x="4987" y="1077"/>
                      <a:pt x="4987" y="1077"/>
                      <a:pt x="4987" y="1077"/>
                    </a:cubicBezTo>
                    <a:cubicBezTo>
                      <a:pt x="4987" y="895"/>
                      <a:pt x="4839" y="747"/>
                      <a:pt x="4657" y="747"/>
                    </a:cubicBezTo>
                    <a:cubicBezTo>
                      <a:pt x="4475" y="747"/>
                      <a:pt x="4327" y="895"/>
                      <a:pt x="4327" y="1077"/>
                    </a:cubicBezTo>
                    <a:cubicBezTo>
                      <a:pt x="4327" y="1692"/>
                      <a:pt x="4327" y="1692"/>
                      <a:pt x="4327" y="1692"/>
                    </a:cubicBezTo>
                    <a:cubicBezTo>
                      <a:pt x="4328" y="1702"/>
                      <a:pt x="4328" y="1702"/>
                      <a:pt x="4328" y="1702"/>
                    </a:cubicBezTo>
                    <a:cubicBezTo>
                      <a:pt x="4328" y="2008"/>
                      <a:pt x="4079" y="2256"/>
                      <a:pt x="3774" y="22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a:p>
            </p:txBody>
          </p:sp>
          <p:sp>
            <p:nvSpPr>
              <p:cNvPr id="43" name="Freeform 13"/>
              <p:cNvSpPr>
                <a:spLocks/>
              </p:cNvSpPr>
              <p:nvPr/>
            </p:nvSpPr>
            <p:spPr bwMode="auto">
              <a:xfrm>
                <a:off x="28575" y="2270125"/>
                <a:ext cx="12131673" cy="3560234"/>
              </a:xfrm>
              <a:custGeom>
                <a:avLst/>
                <a:gdLst>
                  <a:gd name="T0" fmla="*/ 3424 w 7689"/>
                  <a:gd name="T1" fmla="*/ 1916 h 2256"/>
                  <a:gd name="T2" fmla="*/ 3424 w 7689"/>
                  <a:gd name="T3" fmla="*/ 1906 h 2256"/>
                  <a:gd name="T4" fmla="*/ 3424 w 7689"/>
                  <a:gd name="T5" fmla="*/ 1271 h 2256"/>
                  <a:gd name="T6" fmla="*/ 2357 w 7689"/>
                  <a:gd name="T7" fmla="*/ 1281 h 2256"/>
                  <a:gd name="T8" fmla="*/ 2357 w 7689"/>
                  <a:gd name="T9" fmla="*/ 1291 h 2256"/>
                  <a:gd name="T10" fmla="*/ 1658 w 7689"/>
                  <a:gd name="T11" fmla="*/ 1291 h 2256"/>
                  <a:gd name="T12" fmla="*/ 1657 w 7689"/>
                  <a:gd name="T13" fmla="*/ 544 h 2256"/>
                  <a:gd name="T14" fmla="*/ 1128 w 7689"/>
                  <a:gd name="T15" fmla="*/ 21 h 2256"/>
                  <a:gd name="T16" fmla="*/ 1118 w 7689"/>
                  <a:gd name="T17" fmla="*/ 20 h 2256"/>
                  <a:gd name="T18" fmla="*/ 0 w 7689"/>
                  <a:gd name="T19" fmla="*/ 0 h 2256"/>
                  <a:gd name="T20" fmla="*/ 1138 w 7689"/>
                  <a:gd name="T21" fmla="*/ 1 h 2256"/>
                  <a:gd name="T22" fmla="*/ 1677 w 7689"/>
                  <a:gd name="T23" fmla="*/ 554 h 2256"/>
                  <a:gd name="T24" fmla="*/ 1677 w 7689"/>
                  <a:gd name="T25" fmla="*/ 564 h 2256"/>
                  <a:gd name="T26" fmla="*/ 1678 w 7689"/>
                  <a:gd name="T27" fmla="*/ 1271 h 2256"/>
                  <a:gd name="T28" fmla="*/ 2007 w 7689"/>
                  <a:gd name="T29" fmla="*/ 1610 h 2256"/>
                  <a:gd name="T30" fmla="*/ 2337 w 7689"/>
                  <a:gd name="T31" fmla="*/ 1271 h 2256"/>
                  <a:gd name="T32" fmla="*/ 2891 w 7689"/>
                  <a:gd name="T33" fmla="*/ 727 h 2256"/>
                  <a:gd name="T34" fmla="*/ 3444 w 7689"/>
                  <a:gd name="T35" fmla="*/ 1291 h 2256"/>
                  <a:gd name="T36" fmla="*/ 3444 w 7689"/>
                  <a:gd name="T37" fmla="*/ 1896 h 2256"/>
                  <a:gd name="T38" fmla="*/ 3774 w 7689"/>
                  <a:gd name="T39" fmla="*/ 2236 h 2256"/>
                  <a:gd name="T40" fmla="*/ 4104 w 7689"/>
                  <a:gd name="T41" fmla="*/ 1291 h 2256"/>
                  <a:gd name="T42" fmla="*/ 4657 w 7689"/>
                  <a:gd name="T43" fmla="*/ 727 h 2256"/>
                  <a:gd name="T44" fmla="*/ 5211 w 7689"/>
                  <a:gd name="T45" fmla="*/ 1271 h 2256"/>
                  <a:gd name="T46" fmla="*/ 5541 w 7689"/>
                  <a:gd name="T47" fmla="*/ 1610 h 2256"/>
                  <a:gd name="T48" fmla="*/ 5870 w 7689"/>
                  <a:gd name="T49" fmla="*/ 1271 h 2256"/>
                  <a:gd name="T50" fmla="*/ 5871 w 7689"/>
                  <a:gd name="T51" fmla="*/ 747 h 2256"/>
                  <a:gd name="T52" fmla="*/ 5869 w 7689"/>
                  <a:gd name="T53" fmla="*/ 604 h 2256"/>
                  <a:gd name="T54" fmla="*/ 6030 w 7689"/>
                  <a:gd name="T55" fmla="*/ 204 h 2256"/>
                  <a:gd name="T56" fmla="*/ 6409 w 7689"/>
                  <a:gd name="T57" fmla="*/ 40 h 2256"/>
                  <a:gd name="T58" fmla="*/ 7689 w 7689"/>
                  <a:gd name="T59" fmla="*/ 60 h 2256"/>
                  <a:gd name="T60" fmla="*/ 6429 w 7689"/>
                  <a:gd name="T61" fmla="*/ 61 h 2256"/>
                  <a:gd name="T62" fmla="*/ 5889 w 7689"/>
                  <a:gd name="T63" fmla="*/ 586 h 2256"/>
                  <a:gd name="T64" fmla="*/ 5889 w 7689"/>
                  <a:gd name="T65" fmla="*/ 727 h 2256"/>
                  <a:gd name="T66" fmla="*/ 5891 w 7689"/>
                  <a:gd name="T67" fmla="*/ 1291 h 2256"/>
                  <a:gd name="T68" fmla="*/ 5541 w 7689"/>
                  <a:gd name="T69" fmla="*/ 1630 h 2256"/>
                  <a:gd name="T70" fmla="*/ 5191 w 7689"/>
                  <a:gd name="T71" fmla="*/ 1291 h 2256"/>
                  <a:gd name="T72" fmla="*/ 4657 w 7689"/>
                  <a:gd name="T73" fmla="*/ 747 h 2256"/>
                  <a:gd name="T74" fmla="*/ 4124 w 7689"/>
                  <a:gd name="T75" fmla="*/ 1281 h 2256"/>
                  <a:gd name="T76" fmla="*/ 4124 w 7689"/>
                  <a:gd name="T77" fmla="*/ 1916 h 2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689" h="2256">
                    <a:moveTo>
                      <a:pt x="3774" y="2256"/>
                    </a:moveTo>
                    <a:cubicBezTo>
                      <a:pt x="3584" y="2256"/>
                      <a:pt x="3430" y="2105"/>
                      <a:pt x="3424" y="1916"/>
                    </a:cubicBezTo>
                    <a:cubicBezTo>
                      <a:pt x="3424" y="1916"/>
                      <a:pt x="3424" y="1916"/>
                      <a:pt x="3424" y="1916"/>
                    </a:cubicBezTo>
                    <a:cubicBezTo>
                      <a:pt x="3424" y="1906"/>
                      <a:pt x="3424" y="1906"/>
                      <a:pt x="3424" y="1906"/>
                    </a:cubicBezTo>
                    <a:cubicBezTo>
                      <a:pt x="3424" y="1271"/>
                      <a:pt x="3424" y="1271"/>
                      <a:pt x="3424" y="1271"/>
                    </a:cubicBezTo>
                    <a:cubicBezTo>
                      <a:pt x="3424" y="1271"/>
                      <a:pt x="3424" y="1271"/>
                      <a:pt x="3424" y="1271"/>
                    </a:cubicBezTo>
                    <a:cubicBezTo>
                      <a:pt x="3419" y="981"/>
                      <a:pt x="3182" y="747"/>
                      <a:pt x="2891" y="747"/>
                    </a:cubicBezTo>
                    <a:cubicBezTo>
                      <a:pt x="2597" y="747"/>
                      <a:pt x="2357" y="986"/>
                      <a:pt x="2357" y="1281"/>
                    </a:cubicBezTo>
                    <a:cubicBezTo>
                      <a:pt x="2357" y="1291"/>
                      <a:pt x="2357" y="1291"/>
                      <a:pt x="2357" y="1291"/>
                    </a:cubicBezTo>
                    <a:cubicBezTo>
                      <a:pt x="2357" y="1291"/>
                      <a:pt x="2357" y="1291"/>
                      <a:pt x="2357" y="1291"/>
                    </a:cubicBezTo>
                    <a:cubicBezTo>
                      <a:pt x="2352" y="1479"/>
                      <a:pt x="2197" y="1630"/>
                      <a:pt x="2007" y="1630"/>
                    </a:cubicBezTo>
                    <a:cubicBezTo>
                      <a:pt x="1818" y="1630"/>
                      <a:pt x="1663" y="1479"/>
                      <a:pt x="1658" y="1291"/>
                    </a:cubicBezTo>
                    <a:cubicBezTo>
                      <a:pt x="1657" y="1291"/>
                      <a:pt x="1657" y="1291"/>
                      <a:pt x="1657" y="1291"/>
                    </a:cubicBezTo>
                    <a:cubicBezTo>
                      <a:pt x="1657" y="544"/>
                      <a:pt x="1657" y="544"/>
                      <a:pt x="1657" y="544"/>
                    </a:cubicBezTo>
                    <a:cubicBezTo>
                      <a:pt x="1657" y="544"/>
                      <a:pt x="1657" y="544"/>
                      <a:pt x="1657" y="544"/>
                    </a:cubicBezTo>
                    <a:cubicBezTo>
                      <a:pt x="1652" y="257"/>
                      <a:pt x="1416" y="23"/>
                      <a:pt x="1128" y="21"/>
                    </a:cubicBezTo>
                    <a:cubicBezTo>
                      <a:pt x="1118" y="21"/>
                      <a:pt x="1118" y="21"/>
                      <a:pt x="1118" y="21"/>
                    </a:cubicBezTo>
                    <a:cubicBezTo>
                      <a:pt x="1118" y="20"/>
                      <a:pt x="1118" y="20"/>
                      <a:pt x="1118" y="20"/>
                    </a:cubicBezTo>
                    <a:cubicBezTo>
                      <a:pt x="0" y="20"/>
                      <a:pt x="0" y="20"/>
                      <a:pt x="0" y="20"/>
                    </a:cubicBezTo>
                    <a:cubicBezTo>
                      <a:pt x="0" y="0"/>
                      <a:pt x="0" y="0"/>
                      <a:pt x="0" y="0"/>
                    </a:cubicBezTo>
                    <a:cubicBezTo>
                      <a:pt x="1138" y="0"/>
                      <a:pt x="1138" y="0"/>
                      <a:pt x="1138" y="0"/>
                    </a:cubicBezTo>
                    <a:cubicBezTo>
                      <a:pt x="1138" y="1"/>
                      <a:pt x="1138" y="1"/>
                      <a:pt x="1138" y="1"/>
                    </a:cubicBezTo>
                    <a:cubicBezTo>
                      <a:pt x="1281" y="4"/>
                      <a:pt x="1415" y="62"/>
                      <a:pt x="1516" y="164"/>
                    </a:cubicBezTo>
                    <a:cubicBezTo>
                      <a:pt x="1620" y="269"/>
                      <a:pt x="1677" y="407"/>
                      <a:pt x="1677" y="554"/>
                    </a:cubicBezTo>
                    <a:cubicBezTo>
                      <a:pt x="1677" y="564"/>
                      <a:pt x="1677" y="564"/>
                      <a:pt x="1677" y="564"/>
                    </a:cubicBezTo>
                    <a:cubicBezTo>
                      <a:pt x="1677" y="564"/>
                      <a:pt x="1677" y="564"/>
                      <a:pt x="1677" y="564"/>
                    </a:cubicBezTo>
                    <a:cubicBezTo>
                      <a:pt x="1677" y="1271"/>
                      <a:pt x="1677" y="1271"/>
                      <a:pt x="1677" y="1271"/>
                    </a:cubicBezTo>
                    <a:cubicBezTo>
                      <a:pt x="1678" y="1271"/>
                      <a:pt x="1678" y="1271"/>
                      <a:pt x="1678" y="1271"/>
                    </a:cubicBezTo>
                    <a:cubicBezTo>
                      <a:pt x="1678" y="1281"/>
                      <a:pt x="1678" y="1281"/>
                      <a:pt x="1678" y="1281"/>
                    </a:cubicBezTo>
                    <a:cubicBezTo>
                      <a:pt x="1678" y="1462"/>
                      <a:pt x="1826" y="1610"/>
                      <a:pt x="2007" y="1610"/>
                    </a:cubicBezTo>
                    <a:cubicBezTo>
                      <a:pt x="2189" y="1610"/>
                      <a:pt x="2337" y="1462"/>
                      <a:pt x="2337" y="1281"/>
                    </a:cubicBezTo>
                    <a:cubicBezTo>
                      <a:pt x="2337" y="1271"/>
                      <a:pt x="2337" y="1271"/>
                      <a:pt x="2337" y="1271"/>
                    </a:cubicBezTo>
                    <a:cubicBezTo>
                      <a:pt x="2337" y="1271"/>
                      <a:pt x="2337" y="1271"/>
                      <a:pt x="2337" y="1271"/>
                    </a:cubicBezTo>
                    <a:cubicBezTo>
                      <a:pt x="2343" y="970"/>
                      <a:pt x="2589" y="727"/>
                      <a:pt x="2891" y="727"/>
                    </a:cubicBezTo>
                    <a:cubicBezTo>
                      <a:pt x="3196" y="727"/>
                      <a:pt x="3444" y="975"/>
                      <a:pt x="3444" y="1281"/>
                    </a:cubicBezTo>
                    <a:cubicBezTo>
                      <a:pt x="3444" y="1291"/>
                      <a:pt x="3444" y="1291"/>
                      <a:pt x="3444" y="1291"/>
                    </a:cubicBezTo>
                    <a:cubicBezTo>
                      <a:pt x="3444" y="1291"/>
                      <a:pt x="3444" y="1291"/>
                      <a:pt x="3444" y="1291"/>
                    </a:cubicBezTo>
                    <a:cubicBezTo>
                      <a:pt x="3444" y="1896"/>
                      <a:pt x="3444" y="1896"/>
                      <a:pt x="3444" y="1896"/>
                    </a:cubicBezTo>
                    <a:cubicBezTo>
                      <a:pt x="3444" y="1906"/>
                      <a:pt x="3444" y="1906"/>
                      <a:pt x="3444" y="1906"/>
                    </a:cubicBezTo>
                    <a:cubicBezTo>
                      <a:pt x="3444" y="2088"/>
                      <a:pt x="3592" y="2236"/>
                      <a:pt x="3774" y="2236"/>
                    </a:cubicBezTo>
                    <a:cubicBezTo>
                      <a:pt x="3956" y="2236"/>
                      <a:pt x="4104" y="2088"/>
                      <a:pt x="4104" y="1906"/>
                    </a:cubicBezTo>
                    <a:cubicBezTo>
                      <a:pt x="4104" y="1291"/>
                      <a:pt x="4104" y="1291"/>
                      <a:pt x="4104" y="1291"/>
                    </a:cubicBezTo>
                    <a:cubicBezTo>
                      <a:pt x="4104" y="1281"/>
                      <a:pt x="4104" y="1281"/>
                      <a:pt x="4104" y="1281"/>
                    </a:cubicBezTo>
                    <a:cubicBezTo>
                      <a:pt x="4104" y="975"/>
                      <a:pt x="4352" y="727"/>
                      <a:pt x="4657" y="727"/>
                    </a:cubicBezTo>
                    <a:cubicBezTo>
                      <a:pt x="4959" y="727"/>
                      <a:pt x="5205" y="970"/>
                      <a:pt x="5211" y="1271"/>
                    </a:cubicBezTo>
                    <a:cubicBezTo>
                      <a:pt x="5211" y="1271"/>
                      <a:pt x="5211" y="1271"/>
                      <a:pt x="5211" y="1271"/>
                    </a:cubicBezTo>
                    <a:cubicBezTo>
                      <a:pt x="5211" y="1281"/>
                      <a:pt x="5211" y="1281"/>
                      <a:pt x="5211" y="1281"/>
                    </a:cubicBezTo>
                    <a:cubicBezTo>
                      <a:pt x="5211" y="1462"/>
                      <a:pt x="5359" y="1610"/>
                      <a:pt x="5541" y="1610"/>
                    </a:cubicBezTo>
                    <a:cubicBezTo>
                      <a:pt x="5722" y="1610"/>
                      <a:pt x="5870" y="1462"/>
                      <a:pt x="5870" y="1281"/>
                    </a:cubicBezTo>
                    <a:cubicBezTo>
                      <a:pt x="5870" y="1271"/>
                      <a:pt x="5870" y="1271"/>
                      <a:pt x="5870" y="1271"/>
                    </a:cubicBezTo>
                    <a:cubicBezTo>
                      <a:pt x="5871" y="1271"/>
                      <a:pt x="5871" y="1271"/>
                      <a:pt x="5871" y="1271"/>
                    </a:cubicBezTo>
                    <a:cubicBezTo>
                      <a:pt x="5871" y="747"/>
                      <a:pt x="5871" y="747"/>
                      <a:pt x="5871" y="747"/>
                    </a:cubicBezTo>
                    <a:cubicBezTo>
                      <a:pt x="5869" y="747"/>
                      <a:pt x="5869" y="747"/>
                      <a:pt x="5869" y="747"/>
                    </a:cubicBezTo>
                    <a:cubicBezTo>
                      <a:pt x="5869" y="604"/>
                      <a:pt x="5869" y="604"/>
                      <a:pt x="5869" y="604"/>
                    </a:cubicBezTo>
                    <a:cubicBezTo>
                      <a:pt x="5869" y="594"/>
                      <a:pt x="5869" y="594"/>
                      <a:pt x="5869" y="594"/>
                    </a:cubicBezTo>
                    <a:cubicBezTo>
                      <a:pt x="5869" y="447"/>
                      <a:pt x="5926" y="309"/>
                      <a:pt x="6030" y="204"/>
                    </a:cubicBezTo>
                    <a:cubicBezTo>
                      <a:pt x="6131" y="102"/>
                      <a:pt x="6265" y="44"/>
                      <a:pt x="6409" y="41"/>
                    </a:cubicBezTo>
                    <a:cubicBezTo>
                      <a:pt x="6409" y="40"/>
                      <a:pt x="6409" y="40"/>
                      <a:pt x="6409" y="40"/>
                    </a:cubicBezTo>
                    <a:cubicBezTo>
                      <a:pt x="7689" y="40"/>
                      <a:pt x="7689" y="40"/>
                      <a:pt x="7689" y="40"/>
                    </a:cubicBezTo>
                    <a:cubicBezTo>
                      <a:pt x="7689" y="60"/>
                      <a:pt x="7689" y="60"/>
                      <a:pt x="7689" y="60"/>
                    </a:cubicBezTo>
                    <a:cubicBezTo>
                      <a:pt x="6429" y="60"/>
                      <a:pt x="6429" y="60"/>
                      <a:pt x="6429" y="60"/>
                    </a:cubicBezTo>
                    <a:cubicBezTo>
                      <a:pt x="6429" y="61"/>
                      <a:pt x="6429" y="61"/>
                      <a:pt x="6429" y="61"/>
                    </a:cubicBezTo>
                    <a:cubicBezTo>
                      <a:pt x="6419" y="61"/>
                      <a:pt x="6419" y="61"/>
                      <a:pt x="6419" y="61"/>
                    </a:cubicBezTo>
                    <a:cubicBezTo>
                      <a:pt x="6129" y="63"/>
                      <a:pt x="5893" y="298"/>
                      <a:pt x="5889" y="586"/>
                    </a:cubicBezTo>
                    <a:cubicBezTo>
                      <a:pt x="5889" y="594"/>
                      <a:pt x="5889" y="594"/>
                      <a:pt x="5889" y="594"/>
                    </a:cubicBezTo>
                    <a:cubicBezTo>
                      <a:pt x="5889" y="727"/>
                      <a:pt x="5889" y="727"/>
                      <a:pt x="5889" y="727"/>
                    </a:cubicBezTo>
                    <a:cubicBezTo>
                      <a:pt x="5891" y="727"/>
                      <a:pt x="5891" y="727"/>
                      <a:pt x="5891" y="727"/>
                    </a:cubicBezTo>
                    <a:cubicBezTo>
                      <a:pt x="5891" y="1291"/>
                      <a:pt x="5891" y="1291"/>
                      <a:pt x="5891" y="1291"/>
                    </a:cubicBezTo>
                    <a:cubicBezTo>
                      <a:pt x="5890" y="1291"/>
                      <a:pt x="5890" y="1291"/>
                      <a:pt x="5890" y="1291"/>
                    </a:cubicBezTo>
                    <a:cubicBezTo>
                      <a:pt x="5885" y="1479"/>
                      <a:pt x="5730" y="1630"/>
                      <a:pt x="5541" y="1630"/>
                    </a:cubicBezTo>
                    <a:cubicBezTo>
                      <a:pt x="5351" y="1630"/>
                      <a:pt x="5196" y="1479"/>
                      <a:pt x="5191" y="1291"/>
                    </a:cubicBezTo>
                    <a:cubicBezTo>
                      <a:pt x="5191" y="1291"/>
                      <a:pt x="5191" y="1291"/>
                      <a:pt x="5191" y="1291"/>
                    </a:cubicBezTo>
                    <a:cubicBezTo>
                      <a:pt x="5191" y="1281"/>
                      <a:pt x="5191" y="1281"/>
                      <a:pt x="5191" y="1281"/>
                    </a:cubicBezTo>
                    <a:cubicBezTo>
                      <a:pt x="5191" y="986"/>
                      <a:pt x="4951" y="747"/>
                      <a:pt x="4657" y="747"/>
                    </a:cubicBezTo>
                    <a:cubicBezTo>
                      <a:pt x="4366" y="747"/>
                      <a:pt x="4128" y="982"/>
                      <a:pt x="4124" y="1273"/>
                    </a:cubicBezTo>
                    <a:cubicBezTo>
                      <a:pt x="4124" y="1281"/>
                      <a:pt x="4124" y="1281"/>
                      <a:pt x="4124" y="1281"/>
                    </a:cubicBezTo>
                    <a:cubicBezTo>
                      <a:pt x="4124" y="1916"/>
                      <a:pt x="4124" y="1916"/>
                      <a:pt x="4124" y="1916"/>
                    </a:cubicBezTo>
                    <a:cubicBezTo>
                      <a:pt x="4124" y="1916"/>
                      <a:pt x="4124" y="1916"/>
                      <a:pt x="4124" y="1916"/>
                    </a:cubicBezTo>
                    <a:cubicBezTo>
                      <a:pt x="4118" y="2105"/>
                      <a:pt x="3964" y="2256"/>
                      <a:pt x="3774" y="22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a:p>
            </p:txBody>
          </p:sp>
        </p:grpSp>
        <p:sp>
          <p:nvSpPr>
            <p:cNvPr id="67" name="TextBox 66"/>
            <p:cNvSpPr txBox="1"/>
            <p:nvPr/>
          </p:nvSpPr>
          <p:spPr>
            <a:xfrm>
              <a:off x="3576737" y="4806950"/>
              <a:ext cx="633215" cy="193812"/>
            </a:xfrm>
            <a:prstGeom prst="rect">
              <a:avLst/>
            </a:prstGeom>
            <a:noFill/>
          </p:spPr>
          <p:txBody>
            <a:bodyPr wrap="none">
              <a:spAutoFit/>
            </a:bodyPr>
            <a:lstStyle/>
            <a:p>
              <a:pPr algn="ctr">
                <a:defRPr/>
              </a:pPr>
              <a:r>
                <a:rPr lang="id-ID" sz="1100" b="1" dirty="0">
                  <a:latin typeface="+mj-lt"/>
                </a:rPr>
                <a:t>Description</a:t>
              </a:r>
            </a:p>
          </p:txBody>
        </p:sp>
        <p:sp>
          <p:nvSpPr>
            <p:cNvPr id="68" name="Rectangle 67"/>
            <p:cNvSpPr/>
            <p:nvPr/>
          </p:nvSpPr>
          <p:spPr>
            <a:xfrm>
              <a:off x="3109913" y="4953001"/>
              <a:ext cx="1568450" cy="427527"/>
            </a:xfrm>
            <a:prstGeom prst="rect">
              <a:avLst/>
            </a:prstGeom>
          </p:spPr>
          <p:txBody>
            <a:bodyPr>
              <a:spAutoFit/>
            </a:bodyPr>
            <a:lstStyle/>
            <a:p>
              <a:pPr algn="ctr">
                <a:defRPr/>
              </a:pPr>
              <a:r>
                <a:rPr lang="id-ID" sz="1050" dirty="0"/>
                <a:t>Suitable for all categories business and</a:t>
              </a:r>
              <a:r>
                <a:rPr lang="en-US" sz="1050" dirty="0"/>
                <a:t> your awesome</a:t>
              </a:r>
              <a:r>
                <a:rPr lang="id-ID" sz="1050" dirty="0"/>
                <a:t> personal presentation</a:t>
              </a:r>
            </a:p>
          </p:txBody>
        </p:sp>
        <p:sp>
          <p:nvSpPr>
            <p:cNvPr id="69" name="TextBox 68"/>
            <p:cNvSpPr txBox="1"/>
            <p:nvPr/>
          </p:nvSpPr>
          <p:spPr>
            <a:xfrm>
              <a:off x="4643537" y="2743200"/>
              <a:ext cx="633215" cy="193812"/>
            </a:xfrm>
            <a:prstGeom prst="rect">
              <a:avLst/>
            </a:prstGeom>
            <a:noFill/>
          </p:spPr>
          <p:txBody>
            <a:bodyPr wrap="none">
              <a:spAutoFit/>
            </a:bodyPr>
            <a:lstStyle/>
            <a:p>
              <a:pPr algn="ctr">
                <a:defRPr/>
              </a:pPr>
              <a:r>
                <a:rPr lang="id-ID" sz="1100" b="1" dirty="0">
                  <a:latin typeface="+mj-lt"/>
                </a:rPr>
                <a:t>Description</a:t>
              </a:r>
            </a:p>
          </p:txBody>
        </p:sp>
        <p:sp>
          <p:nvSpPr>
            <p:cNvPr id="70" name="Rectangle 69"/>
            <p:cNvSpPr/>
            <p:nvPr/>
          </p:nvSpPr>
          <p:spPr>
            <a:xfrm>
              <a:off x="4175125" y="2889251"/>
              <a:ext cx="1568450" cy="427527"/>
            </a:xfrm>
            <a:prstGeom prst="rect">
              <a:avLst/>
            </a:prstGeom>
          </p:spPr>
          <p:txBody>
            <a:bodyPr>
              <a:spAutoFit/>
            </a:bodyPr>
            <a:lstStyle/>
            <a:p>
              <a:pPr algn="ctr">
                <a:defRPr/>
              </a:pPr>
              <a:r>
                <a:rPr lang="id-ID" sz="1050" dirty="0"/>
                <a:t>Suitable for all categories business and</a:t>
              </a:r>
              <a:r>
                <a:rPr lang="en-US" sz="1050" dirty="0"/>
                <a:t> your awesome</a:t>
              </a:r>
              <a:r>
                <a:rPr lang="id-ID" sz="1050" dirty="0"/>
                <a:t> personal presentation</a:t>
              </a:r>
            </a:p>
          </p:txBody>
        </p:sp>
        <p:sp>
          <p:nvSpPr>
            <p:cNvPr id="71" name="TextBox 70"/>
            <p:cNvSpPr txBox="1"/>
            <p:nvPr/>
          </p:nvSpPr>
          <p:spPr>
            <a:xfrm>
              <a:off x="6739037" y="2727325"/>
              <a:ext cx="633215" cy="193812"/>
            </a:xfrm>
            <a:prstGeom prst="rect">
              <a:avLst/>
            </a:prstGeom>
            <a:noFill/>
          </p:spPr>
          <p:txBody>
            <a:bodyPr wrap="none">
              <a:spAutoFit/>
            </a:bodyPr>
            <a:lstStyle/>
            <a:p>
              <a:pPr algn="ctr">
                <a:defRPr/>
              </a:pPr>
              <a:r>
                <a:rPr lang="id-ID" sz="1100" b="1" dirty="0">
                  <a:latin typeface="+mj-lt"/>
                </a:rPr>
                <a:t>Description</a:t>
              </a:r>
            </a:p>
          </p:txBody>
        </p:sp>
        <p:sp>
          <p:nvSpPr>
            <p:cNvPr id="72" name="Rectangle 71"/>
            <p:cNvSpPr/>
            <p:nvPr/>
          </p:nvSpPr>
          <p:spPr>
            <a:xfrm>
              <a:off x="6272213" y="2873376"/>
              <a:ext cx="1568450" cy="427527"/>
            </a:xfrm>
            <a:prstGeom prst="rect">
              <a:avLst/>
            </a:prstGeom>
          </p:spPr>
          <p:txBody>
            <a:bodyPr>
              <a:spAutoFit/>
            </a:bodyPr>
            <a:lstStyle/>
            <a:p>
              <a:pPr algn="ctr">
                <a:defRPr/>
              </a:pPr>
              <a:r>
                <a:rPr lang="id-ID" sz="1050" dirty="0"/>
                <a:t>Suitable for all categories business and</a:t>
              </a:r>
              <a:r>
                <a:rPr lang="en-US" sz="1050" dirty="0"/>
                <a:t> your awesome</a:t>
              </a:r>
              <a:r>
                <a:rPr lang="id-ID" sz="1050" dirty="0"/>
                <a:t> personal presentation</a:t>
              </a:r>
            </a:p>
          </p:txBody>
        </p:sp>
        <p:sp>
          <p:nvSpPr>
            <p:cNvPr id="73" name="TextBox 72"/>
            <p:cNvSpPr txBox="1"/>
            <p:nvPr/>
          </p:nvSpPr>
          <p:spPr>
            <a:xfrm>
              <a:off x="7794725" y="4805363"/>
              <a:ext cx="633215" cy="193812"/>
            </a:xfrm>
            <a:prstGeom prst="rect">
              <a:avLst/>
            </a:prstGeom>
            <a:noFill/>
          </p:spPr>
          <p:txBody>
            <a:bodyPr wrap="none">
              <a:spAutoFit/>
            </a:bodyPr>
            <a:lstStyle/>
            <a:p>
              <a:pPr algn="ctr">
                <a:defRPr/>
              </a:pPr>
              <a:r>
                <a:rPr lang="id-ID" sz="1100" b="1" dirty="0">
                  <a:latin typeface="+mj-lt"/>
                </a:rPr>
                <a:t>Description</a:t>
              </a:r>
            </a:p>
          </p:txBody>
        </p:sp>
        <p:sp>
          <p:nvSpPr>
            <p:cNvPr id="74" name="Rectangle 73"/>
            <p:cNvSpPr/>
            <p:nvPr/>
          </p:nvSpPr>
          <p:spPr>
            <a:xfrm>
              <a:off x="7327901" y="4951414"/>
              <a:ext cx="1566863" cy="427527"/>
            </a:xfrm>
            <a:prstGeom prst="rect">
              <a:avLst/>
            </a:prstGeom>
          </p:spPr>
          <p:txBody>
            <a:bodyPr>
              <a:spAutoFit/>
            </a:bodyPr>
            <a:lstStyle/>
            <a:p>
              <a:pPr algn="ctr">
                <a:defRPr/>
              </a:pPr>
              <a:r>
                <a:rPr lang="id-ID" sz="1050" dirty="0"/>
                <a:t>Suitable for all categories business and</a:t>
              </a:r>
              <a:r>
                <a:rPr lang="en-US" sz="1050" dirty="0"/>
                <a:t> your awesome</a:t>
              </a:r>
              <a:r>
                <a:rPr lang="id-ID" sz="1050" dirty="0"/>
                <a:t> personal presentation</a:t>
              </a:r>
            </a:p>
          </p:txBody>
        </p:sp>
        <p:sp>
          <p:nvSpPr>
            <p:cNvPr id="75" name="TextBox 74"/>
            <p:cNvSpPr txBox="1"/>
            <p:nvPr/>
          </p:nvSpPr>
          <p:spPr>
            <a:xfrm>
              <a:off x="5688112" y="5578475"/>
              <a:ext cx="633215" cy="193812"/>
            </a:xfrm>
            <a:prstGeom prst="rect">
              <a:avLst/>
            </a:prstGeom>
            <a:noFill/>
          </p:spPr>
          <p:txBody>
            <a:bodyPr wrap="none">
              <a:spAutoFit/>
            </a:bodyPr>
            <a:lstStyle/>
            <a:p>
              <a:pPr algn="ctr">
                <a:defRPr/>
              </a:pPr>
              <a:r>
                <a:rPr lang="id-ID" sz="1100" b="1" dirty="0">
                  <a:latin typeface="+mj-lt"/>
                </a:rPr>
                <a:t>Description</a:t>
              </a:r>
            </a:p>
          </p:txBody>
        </p:sp>
      </p:grpSp>
      <p:sp>
        <p:nvSpPr>
          <p:cNvPr id="33" name="Freeform 812">
            <a:extLst>
              <a:ext uri="{FF2B5EF4-FFF2-40B4-BE49-F238E27FC236}">
                <a16:creationId xmlns:a16="http://schemas.microsoft.com/office/drawing/2014/main" id="{3A6EF21F-E73E-4D90-B5F1-9AF8369A71F1}"/>
              </a:ext>
            </a:extLst>
          </p:cNvPr>
          <p:cNvSpPr>
            <a:spLocks noChangeAspect="1" noEditPoints="1"/>
          </p:cNvSpPr>
          <p:nvPr/>
        </p:nvSpPr>
        <p:spPr bwMode="auto">
          <a:xfrm>
            <a:off x="2829663" y="3802597"/>
            <a:ext cx="638203" cy="640080"/>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4" name="Freeform 279">
            <a:extLst>
              <a:ext uri="{FF2B5EF4-FFF2-40B4-BE49-F238E27FC236}">
                <a16:creationId xmlns:a16="http://schemas.microsoft.com/office/drawing/2014/main" id="{21126139-ECBA-4531-B633-A36344F2A600}"/>
              </a:ext>
            </a:extLst>
          </p:cNvPr>
          <p:cNvSpPr>
            <a:spLocks noChangeAspect="1" noEditPoints="1"/>
          </p:cNvSpPr>
          <p:nvPr/>
        </p:nvSpPr>
        <p:spPr bwMode="auto">
          <a:xfrm>
            <a:off x="8491281" y="3793597"/>
            <a:ext cx="640080" cy="640080"/>
          </a:xfrm>
          <a:custGeom>
            <a:avLst/>
            <a:gdLst>
              <a:gd name="T0" fmla="*/ 149 w 512"/>
              <a:gd name="T1" fmla="*/ 294 h 512"/>
              <a:gd name="T2" fmla="*/ 170 w 512"/>
              <a:gd name="T3" fmla="*/ 192 h 512"/>
              <a:gd name="T4" fmla="*/ 181 w 512"/>
              <a:gd name="T5" fmla="*/ 261 h 512"/>
              <a:gd name="T6" fmla="*/ 192 w 512"/>
              <a:gd name="T7" fmla="*/ 157 h 512"/>
              <a:gd name="T8" fmla="*/ 224 w 512"/>
              <a:gd name="T9" fmla="*/ 142 h 512"/>
              <a:gd name="T10" fmla="*/ 217 w 512"/>
              <a:gd name="T11" fmla="*/ 197 h 512"/>
              <a:gd name="T12" fmla="*/ 235 w 512"/>
              <a:gd name="T13" fmla="*/ 208 h 512"/>
              <a:gd name="T14" fmla="*/ 245 w 512"/>
              <a:gd name="T15" fmla="*/ 189 h 512"/>
              <a:gd name="T16" fmla="*/ 245 w 512"/>
              <a:gd name="T17" fmla="*/ 128 h 512"/>
              <a:gd name="T18" fmla="*/ 266 w 512"/>
              <a:gd name="T19" fmla="*/ 129 h 512"/>
              <a:gd name="T20" fmla="*/ 268 w 512"/>
              <a:gd name="T21" fmla="*/ 194 h 512"/>
              <a:gd name="T22" fmla="*/ 279 w 512"/>
              <a:gd name="T23" fmla="*/ 211 h 512"/>
              <a:gd name="T24" fmla="*/ 283 w 512"/>
              <a:gd name="T25" fmla="*/ 213 h 512"/>
              <a:gd name="T26" fmla="*/ 285 w 512"/>
              <a:gd name="T27" fmla="*/ 213 h 512"/>
              <a:gd name="T28" fmla="*/ 287 w 512"/>
              <a:gd name="T29" fmla="*/ 213 h 512"/>
              <a:gd name="T30" fmla="*/ 294 w 512"/>
              <a:gd name="T31" fmla="*/ 197 h 512"/>
              <a:gd name="T32" fmla="*/ 288 w 512"/>
              <a:gd name="T33" fmla="*/ 142 h 512"/>
              <a:gd name="T34" fmla="*/ 320 w 512"/>
              <a:gd name="T35" fmla="*/ 157 h 512"/>
              <a:gd name="T36" fmla="*/ 330 w 512"/>
              <a:gd name="T37" fmla="*/ 261 h 512"/>
              <a:gd name="T38" fmla="*/ 341 w 512"/>
              <a:gd name="T39" fmla="*/ 192 h 512"/>
              <a:gd name="T40" fmla="*/ 362 w 512"/>
              <a:gd name="T41" fmla="*/ 293 h 512"/>
              <a:gd name="T42" fmla="*/ 384 w 512"/>
              <a:gd name="T43" fmla="*/ 297 h 512"/>
              <a:gd name="T44" fmla="*/ 379 w 512"/>
              <a:gd name="T45" fmla="*/ 307 h 512"/>
              <a:gd name="T46" fmla="*/ 130 w 512"/>
              <a:gd name="T47" fmla="*/ 305 h 512"/>
              <a:gd name="T48" fmla="*/ 128 w 512"/>
              <a:gd name="T49" fmla="*/ 297 h 512"/>
              <a:gd name="T50" fmla="*/ 118 w 512"/>
              <a:gd name="T51" fmla="*/ 319 h 512"/>
              <a:gd name="T52" fmla="*/ 256 w 512"/>
              <a:gd name="T53" fmla="*/ 362 h 512"/>
              <a:gd name="T54" fmla="*/ 257 w 512"/>
              <a:gd name="T55" fmla="*/ 362 h 512"/>
              <a:gd name="T56" fmla="*/ 394 w 512"/>
              <a:gd name="T57" fmla="*/ 319 h 512"/>
              <a:gd name="T58" fmla="*/ 384 w 512"/>
              <a:gd name="T59" fmla="*/ 297 h 512"/>
              <a:gd name="T60" fmla="*/ 256 w 512"/>
              <a:gd name="T61" fmla="*/ 512 h 512"/>
              <a:gd name="T62" fmla="*/ 256 w 512"/>
              <a:gd name="T63" fmla="*/ 0 h 512"/>
              <a:gd name="T64" fmla="*/ 414 w 512"/>
              <a:gd name="T65" fmla="*/ 289 h 512"/>
              <a:gd name="T66" fmla="*/ 384 w 512"/>
              <a:gd name="T67" fmla="*/ 274 h 512"/>
              <a:gd name="T68" fmla="*/ 341 w 512"/>
              <a:gd name="T69" fmla="*/ 156 h 512"/>
              <a:gd name="T70" fmla="*/ 335 w 512"/>
              <a:gd name="T71" fmla="*/ 141 h 512"/>
              <a:gd name="T72" fmla="*/ 288 w 512"/>
              <a:gd name="T73" fmla="*/ 120 h 512"/>
              <a:gd name="T74" fmla="*/ 277 w 512"/>
              <a:gd name="T75" fmla="*/ 106 h 512"/>
              <a:gd name="T76" fmla="*/ 224 w 512"/>
              <a:gd name="T77" fmla="*/ 117 h 512"/>
              <a:gd name="T78" fmla="*/ 187 w 512"/>
              <a:gd name="T79" fmla="*/ 135 h 512"/>
              <a:gd name="T80" fmla="*/ 170 w 512"/>
              <a:gd name="T81" fmla="*/ 150 h 512"/>
              <a:gd name="T82" fmla="*/ 128 w 512"/>
              <a:gd name="T83" fmla="*/ 260 h 512"/>
              <a:gd name="T84" fmla="*/ 105 w 512"/>
              <a:gd name="T85" fmla="*/ 281 h 512"/>
              <a:gd name="T86" fmla="*/ 97 w 512"/>
              <a:gd name="T87" fmla="*/ 325 h 512"/>
              <a:gd name="T88" fmla="*/ 119 w 512"/>
              <a:gd name="T89" fmla="*/ 370 h 512"/>
              <a:gd name="T90" fmla="*/ 256 w 512"/>
              <a:gd name="T91" fmla="*/ 384 h 512"/>
              <a:gd name="T92" fmla="*/ 393 w 512"/>
              <a:gd name="T93" fmla="*/ 370 h 512"/>
              <a:gd name="T94" fmla="*/ 415 w 512"/>
              <a:gd name="T95" fmla="*/ 32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311"/>
                </a:moveTo>
                <a:cubicBezTo>
                  <a:pt x="182" y="311"/>
                  <a:pt x="160" y="298"/>
                  <a:pt x="149" y="294"/>
                </a:cubicBezTo>
                <a:cubicBezTo>
                  <a:pt x="149" y="260"/>
                  <a:pt x="149" y="260"/>
                  <a:pt x="149" y="260"/>
                </a:cubicBezTo>
                <a:cubicBezTo>
                  <a:pt x="149" y="232"/>
                  <a:pt x="160" y="209"/>
                  <a:pt x="170" y="192"/>
                </a:cubicBezTo>
                <a:cubicBezTo>
                  <a:pt x="170" y="250"/>
                  <a:pt x="170" y="250"/>
                  <a:pt x="170" y="250"/>
                </a:cubicBezTo>
                <a:cubicBezTo>
                  <a:pt x="170" y="256"/>
                  <a:pt x="175" y="261"/>
                  <a:pt x="181" y="261"/>
                </a:cubicBezTo>
                <a:cubicBezTo>
                  <a:pt x="187" y="261"/>
                  <a:pt x="192" y="256"/>
                  <a:pt x="192" y="250"/>
                </a:cubicBezTo>
                <a:cubicBezTo>
                  <a:pt x="192" y="157"/>
                  <a:pt x="192" y="157"/>
                  <a:pt x="192" y="157"/>
                </a:cubicBezTo>
                <a:cubicBezTo>
                  <a:pt x="192" y="156"/>
                  <a:pt x="195" y="155"/>
                  <a:pt x="197" y="154"/>
                </a:cubicBezTo>
                <a:cubicBezTo>
                  <a:pt x="207" y="149"/>
                  <a:pt x="213" y="145"/>
                  <a:pt x="224" y="142"/>
                </a:cubicBezTo>
                <a:cubicBezTo>
                  <a:pt x="224" y="186"/>
                  <a:pt x="224" y="186"/>
                  <a:pt x="224" y="186"/>
                </a:cubicBezTo>
                <a:cubicBezTo>
                  <a:pt x="217" y="197"/>
                  <a:pt x="217" y="197"/>
                  <a:pt x="217" y="197"/>
                </a:cubicBezTo>
                <a:cubicBezTo>
                  <a:pt x="214" y="202"/>
                  <a:pt x="215" y="208"/>
                  <a:pt x="220" y="211"/>
                </a:cubicBezTo>
                <a:cubicBezTo>
                  <a:pt x="225" y="214"/>
                  <a:pt x="232" y="213"/>
                  <a:pt x="235" y="208"/>
                </a:cubicBezTo>
                <a:cubicBezTo>
                  <a:pt x="243" y="194"/>
                  <a:pt x="243" y="194"/>
                  <a:pt x="243" y="194"/>
                </a:cubicBezTo>
                <a:cubicBezTo>
                  <a:pt x="244" y="193"/>
                  <a:pt x="245" y="191"/>
                  <a:pt x="245" y="189"/>
                </a:cubicBezTo>
                <a:cubicBezTo>
                  <a:pt x="245" y="129"/>
                  <a:pt x="245" y="129"/>
                  <a:pt x="245" y="129"/>
                </a:cubicBezTo>
                <a:cubicBezTo>
                  <a:pt x="245" y="128"/>
                  <a:pt x="245" y="128"/>
                  <a:pt x="245" y="128"/>
                </a:cubicBezTo>
                <a:cubicBezTo>
                  <a:pt x="266" y="128"/>
                  <a:pt x="266" y="128"/>
                  <a:pt x="266" y="128"/>
                </a:cubicBezTo>
                <a:cubicBezTo>
                  <a:pt x="266" y="129"/>
                  <a:pt x="266" y="129"/>
                  <a:pt x="266" y="129"/>
                </a:cubicBezTo>
                <a:cubicBezTo>
                  <a:pt x="266" y="189"/>
                  <a:pt x="266" y="189"/>
                  <a:pt x="266" y="189"/>
                </a:cubicBezTo>
                <a:cubicBezTo>
                  <a:pt x="266" y="191"/>
                  <a:pt x="267" y="193"/>
                  <a:pt x="268" y="194"/>
                </a:cubicBezTo>
                <a:cubicBezTo>
                  <a:pt x="276" y="208"/>
                  <a:pt x="276" y="208"/>
                  <a:pt x="276" y="208"/>
                </a:cubicBezTo>
                <a:cubicBezTo>
                  <a:pt x="277" y="209"/>
                  <a:pt x="278" y="210"/>
                  <a:pt x="279" y="211"/>
                </a:cubicBezTo>
                <a:cubicBezTo>
                  <a:pt x="279" y="211"/>
                  <a:pt x="279" y="211"/>
                  <a:pt x="279" y="211"/>
                </a:cubicBezTo>
                <a:cubicBezTo>
                  <a:pt x="280" y="212"/>
                  <a:pt x="281" y="212"/>
                  <a:pt x="283" y="213"/>
                </a:cubicBezTo>
                <a:cubicBezTo>
                  <a:pt x="283" y="213"/>
                  <a:pt x="283" y="213"/>
                  <a:pt x="283" y="213"/>
                </a:cubicBezTo>
                <a:cubicBezTo>
                  <a:pt x="284" y="213"/>
                  <a:pt x="284" y="213"/>
                  <a:pt x="285" y="213"/>
                </a:cubicBezTo>
                <a:cubicBezTo>
                  <a:pt x="286" y="213"/>
                  <a:pt x="286" y="213"/>
                  <a:pt x="286" y="213"/>
                </a:cubicBezTo>
                <a:cubicBezTo>
                  <a:pt x="287" y="213"/>
                  <a:pt x="287" y="213"/>
                  <a:pt x="287" y="213"/>
                </a:cubicBezTo>
                <a:cubicBezTo>
                  <a:pt x="288" y="213"/>
                  <a:pt x="290" y="212"/>
                  <a:pt x="291" y="211"/>
                </a:cubicBezTo>
                <a:cubicBezTo>
                  <a:pt x="296" y="208"/>
                  <a:pt x="297" y="202"/>
                  <a:pt x="294" y="197"/>
                </a:cubicBezTo>
                <a:cubicBezTo>
                  <a:pt x="288" y="186"/>
                  <a:pt x="288" y="186"/>
                  <a:pt x="288" y="186"/>
                </a:cubicBezTo>
                <a:cubicBezTo>
                  <a:pt x="288" y="142"/>
                  <a:pt x="288" y="142"/>
                  <a:pt x="288" y="142"/>
                </a:cubicBezTo>
                <a:cubicBezTo>
                  <a:pt x="298" y="145"/>
                  <a:pt x="304" y="149"/>
                  <a:pt x="314" y="154"/>
                </a:cubicBezTo>
                <a:cubicBezTo>
                  <a:pt x="316" y="155"/>
                  <a:pt x="320" y="156"/>
                  <a:pt x="320" y="157"/>
                </a:cubicBezTo>
                <a:cubicBezTo>
                  <a:pt x="320" y="250"/>
                  <a:pt x="320" y="250"/>
                  <a:pt x="320" y="250"/>
                </a:cubicBezTo>
                <a:cubicBezTo>
                  <a:pt x="320" y="256"/>
                  <a:pt x="324" y="261"/>
                  <a:pt x="330" y="261"/>
                </a:cubicBezTo>
                <a:cubicBezTo>
                  <a:pt x="336" y="261"/>
                  <a:pt x="341" y="256"/>
                  <a:pt x="341" y="250"/>
                </a:cubicBezTo>
                <a:cubicBezTo>
                  <a:pt x="341" y="192"/>
                  <a:pt x="341" y="192"/>
                  <a:pt x="341" y="192"/>
                </a:cubicBezTo>
                <a:cubicBezTo>
                  <a:pt x="352" y="209"/>
                  <a:pt x="362" y="232"/>
                  <a:pt x="362" y="260"/>
                </a:cubicBezTo>
                <a:cubicBezTo>
                  <a:pt x="362" y="293"/>
                  <a:pt x="362" y="293"/>
                  <a:pt x="362" y="293"/>
                </a:cubicBezTo>
                <a:cubicBezTo>
                  <a:pt x="352" y="298"/>
                  <a:pt x="329" y="311"/>
                  <a:pt x="256" y="311"/>
                </a:cubicBezTo>
                <a:close/>
                <a:moveTo>
                  <a:pt x="384" y="297"/>
                </a:moveTo>
                <a:cubicBezTo>
                  <a:pt x="384" y="298"/>
                  <a:pt x="384" y="298"/>
                  <a:pt x="384" y="298"/>
                </a:cubicBezTo>
                <a:cubicBezTo>
                  <a:pt x="384" y="302"/>
                  <a:pt x="382" y="305"/>
                  <a:pt x="379" y="307"/>
                </a:cubicBezTo>
                <a:cubicBezTo>
                  <a:pt x="371" y="314"/>
                  <a:pt x="343" y="332"/>
                  <a:pt x="256" y="332"/>
                </a:cubicBezTo>
                <a:cubicBezTo>
                  <a:pt x="155" y="332"/>
                  <a:pt x="133" y="309"/>
                  <a:pt x="130" y="305"/>
                </a:cubicBezTo>
                <a:cubicBezTo>
                  <a:pt x="128" y="303"/>
                  <a:pt x="128" y="301"/>
                  <a:pt x="128" y="298"/>
                </a:cubicBezTo>
                <a:cubicBezTo>
                  <a:pt x="128" y="297"/>
                  <a:pt x="128" y="297"/>
                  <a:pt x="128" y="297"/>
                </a:cubicBezTo>
                <a:cubicBezTo>
                  <a:pt x="118" y="300"/>
                  <a:pt x="118" y="300"/>
                  <a:pt x="118" y="300"/>
                </a:cubicBezTo>
                <a:cubicBezTo>
                  <a:pt x="117" y="306"/>
                  <a:pt x="116" y="314"/>
                  <a:pt x="118" y="319"/>
                </a:cubicBezTo>
                <a:cubicBezTo>
                  <a:pt x="120" y="328"/>
                  <a:pt x="130" y="346"/>
                  <a:pt x="135" y="355"/>
                </a:cubicBezTo>
                <a:cubicBezTo>
                  <a:pt x="141" y="357"/>
                  <a:pt x="167" y="362"/>
                  <a:pt x="256" y="362"/>
                </a:cubicBezTo>
                <a:cubicBezTo>
                  <a:pt x="256" y="362"/>
                  <a:pt x="256" y="362"/>
                  <a:pt x="256" y="362"/>
                </a:cubicBezTo>
                <a:cubicBezTo>
                  <a:pt x="256" y="362"/>
                  <a:pt x="256" y="362"/>
                  <a:pt x="257" y="362"/>
                </a:cubicBezTo>
                <a:cubicBezTo>
                  <a:pt x="345" y="362"/>
                  <a:pt x="371" y="357"/>
                  <a:pt x="377" y="355"/>
                </a:cubicBezTo>
                <a:cubicBezTo>
                  <a:pt x="383" y="346"/>
                  <a:pt x="392" y="328"/>
                  <a:pt x="394" y="319"/>
                </a:cubicBezTo>
                <a:cubicBezTo>
                  <a:pt x="396" y="314"/>
                  <a:pt x="395" y="306"/>
                  <a:pt x="395" y="300"/>
                </a:cubicBezTo>
                <a:lnTo>
                  <a:pt x="384" y="29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89"/>
                </a:moveTo>
                <a:cubicBezTo>
                  <a:pt x="414" y="286"/>
                  <a:pt x="411" y="282"/>
                  <a:pt x="407" y="281"/>
                </a:cubicBezTo>
                <a:cubicBezTo>
                  <a:pt x="384" y="274"/>
                  <a:pt x="384" y="274"/>
                  <a:pt x="384" y="274"/>
                </a:cubicBezTo>
                <a:cubicBezTo>
                  <a:pt x="384" y="260"/>
                  <a:pt x="384" y="260"/>
                  <a:pt x="384" y="260"/>
                </a:cubicBezTo>
                <a:cubicBezTo>
                  <a:pt x="384" y="225"/>
                  <a:pt x="373" y="186"/>
                  <a:pt x="341" y="156"/>
                </a:cubicBezTo>
                <a:cubicBezTo>
                  <a:pt x="341" y="150"/>
                  <a:pt x="341" y="150"/>
                  <a:pt x="341" y="150"/>
                </a:cubicBezTo>
                <a:cubicBezTo>
                  <a:pt x="341" y="146"/>
                  <a:pt x="339" y="143"/>
                  <a:pt x="335" y="141"/>
                </a:cubicBezTo>
                <a:cubicBezTo>
                  <a:pt x="331" y="139"/>
                  <a:pt x="327" y="137"/>
                  <a:pt x="324" y="135"/>
                </a:cubicBezTo>
                <a:cubicBezTo>
                  <a:pt x="312" y="129"/>
                  <a:pt x="301" y="123"/>
                  <a:pt x="288" y="120"/>
                </a:cubicBezTo>
                <a:cubicBezTo>
                  <a:pt x="288" y="117"/>
                  <a:pt x="288" y="117"/>
                  <a:pt x="288" y="117"/>
                </a:cubicBezTo>
                <a:cubicBezTo>
                  <a:pt x="288" y="111"/>
                  <a:pt x="283" y="106"/>
                  <a:pt x="277" y="106"/>
                </a:cubicBezTo>
                <a:cubicBezTo>
                  <a:pt x="234" y="106"/>
                  <a:pt x="234" y="106"/>
                  <a:pt x="234" y="106"/>
                </a:cubicBezTo>
                <a:cubicBezTo>
                  <a:pt x="228" y="106"/>
                  <a:pt x="224" y="111"/>
                  <a:pt x="224" y="117"/>
                </a:cubicBezTo>
                <a:cubicBezTo>
                  <a:pt x="224" y="120"/>
                  <a:pt x="224" y="120"/>
                  <a:pt x="224" y="120"/>
                </a:cubicBezTo>
                <a:cubicBezTo>
                  <a:pt x="210" y="123"/>
                  <a:pt x="200" y="129"/>
                  <a:pt x="187" y="135"/>
                </a:cubicBezTo>
                <a:cubicBezTo>
                  <a:pt x="184" y="137"/>
                  <a:pt x="180" y="139"/>
                  <a:pt x="176" y="141"/>
                </a:cubicBezTo>
                <a:cubicBezTo>
                  <a:pt x="173" y="143"/>
                  <a:pt x="170" y="146"/>
                  <a:pt x="170" y="150"/>
                </a:cubicBezTo>
                <a:cubicBezTo>
                  <a:pt x="170" y="156"/>
                  <a:pt x="170" y="156"/>
                  <a:pt x="170" y="156"/>
                </a:cubicBezTo>
                <a:cubicBezTo>
                  <a:pt x="138" y="186"/>
                  <a:pt x="128" y="225"/>
                  <a:pt x="128" y="260"/>
                </a:cubicBezTo>
                <a:cubicBezTo>
                  <a:pt x="128" y="274"/>
                  <a:pt x="128" y="274"/>
                  <a:pt x="128" y="274"/>
                </a:cubicBezTo>
                <a:cubicBezTo>
                  <a:pt x="105" y="281"/>
                  <a:pt x="105" y="281"/>
                  <a:pt x="105" y="281"/>
                </a:cubicBezTo>
                <a:cubicBezTo>
                  <a:pt x="101" y="283"/>
                  <a:pt x="99" y="286"/>
                  <a:pt x="98" y="289"/>
                </a:cubicBezTo>
                <a:cubicBezTo>
                  <a:pt x="97" y="291"/>
                  <a:pt x="94" y="310"/>
                  <a:pt x="97" y="325"/>
                </a:cubicBezTo>
                <a:cubicBezTo>
                  <a:pt x="101" y="339"/>
                  <a:pt x="116" y="365"/>
                  <a:pt x="118" y="368"/>
                </a:cubicBezTo>
                <a:cubicBezTo>
                  <a:pt x="118" y="369"/>
                  <a:pt x="119" y="370"/>
                  <a:pt x="119" y="370"/>
                </a:cubicBezTo>
                <a:cubicBezTo>
                  <a:pt x="128" y="379"/>
                  <a:pt x="174" y="384"/>
                  <a:pt x="256" y="384"/>
                </a:cubicBezTo>
                <a:cubicBezTo>
                  <a:pt x="256" y="384"/>
                  <a:pt x="256" y="384"/>
                  <a:pt x="256" y="384"/>
                </a:cubicBezTo>
                <a:cubicBezTo>
                  <a:pt x="256" y="384"/>
                  <a:pt x="256" y="384"/>
                  <a:pt x="257" y="384"/>
                </a:cubicBezTo>
                <a:cubicBezTo>
                  <a:pt x="338" y="384"/>
                  <a:pt x="384" y="379"/>
                  <a:pt x="393" y="370"/>
                </a:cubicBezTo>
                <a:cubicBezTo>
                  <a:pt x="393" y="370"/>
                  <a:pt x="394" y="369"/>
                  <a:pt x="394" y="368"/>
                </a:cubicBezTo>
                <a:cubicBezTo>
                  <a:pt x="396" y="365"/>
                  <a:pt x="411" y="339"/>
                  <a:pt x="415" y="325"/>
                </a:cubicBezTo>
                <a:cubicBezTo>
                  <a:pt x="419" y="310"/>
                  <a:pt x="415" y="291"/>
                  <a:pt x="414" y="28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 name="Freeform 917">
            <a:extLst>
              <a:ext uri="{FF2B5EF4-FFF2-40B4-BE49-F238E27FC236}">
                <a16:creationId xmlns:a16="http://schemas.microsoft.com/office/drawing/2014/main" id="{02D94426-8A06-40C5-BDC2-C9B45EC4ACA9}"/>
              </a:ext>
            </a:extLst>
          </p:cNvPr>
          <p:cNvSpPr>
            <a:spLocks noChangeAspect="1" noEditPoints="1"/>
          </p:cNvSpPr>
          <p:nvPr/>
        </p:nvSpPr>
        <p:spPr bwMode="auto">
          <a:xfrm>
            <a:off x="5647796" y="4771753"/>
            <a:ext cx="638204" cy="64008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Freeform 812">
            <a:extLst>
              <a:ext uri="{FF2B5EF4-FFF2-40B4-BE49-F238E27FC236}">
                <a16:creationId xmlns:a16="http://schemas.microsoft.com/office/drawing/2014/main" id="{9605B7C5-7966-4469-A780-6FE7D7A1A810}"/>
              </a:ext>
            </a:extLst>
          </p:cNvPr>
          <p:cNvSpPr>
            <a:spLocks noChangeAspect="1" noEditPoints="1"/>
          </p:cNvSpPr>
          <p:nvPr/>
        </p:nvSpPr>
        <p:spPr bwMode="auto">
          <a:xfrm>
            <a:off x="7067239" y="3643268"/>
            <a:ext cx="638203" cy="640080"/>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 name="Freeform 279">
            <a:extLst>
              <a:ext uri="{FF2B5EF4-FFF2-40B4-BE49-F238E27FC236}">
                <a16:creationId xmlns:a16="http://schemas.microsoft.com/office/drawing/2014/main" id="{B1C627B6-2860-48BD-B897-D7DE112D3114}"/>
              </a:ext>
            </a:extLst>
          </p:cNvPr>
          <p:cNvSpPr>
            <a:spLocks noChangeAspect="1" noEditPoints="1"/>
          </p:cNvSpPr>
          <p:nvPr/>
        </p:nvSpPr>
        <p:spPr bwMode="auto">
          <a:xfrm>
            <a:off x="4253705" y="3643268"/>
            <a:ext cx="640080" cy="640080"/>
          </a:xfrm>
          <a:custGeom>
            <a:avLst/>
            <a:gdLst>
              <a:gd name="T0" fmla="*/ 149 w 512"/>
              <a:gd name="T1" fmla="*/ 294 h 512"/>
              <a:gd name="T2" fmla="*/ 170 w 512"/>
              <a:gd name="T3" fmla="*/ 192 h 512"/>
              <a:gd name="T4" fmla="*/ 181 w 512"/>
              <a:gd name="T5" fmla="*/ 261 h 512"/>
              <a:gd name="T6" fmla="*/ 192 w 512"/>
              <a:gd name="T7" fmla="*/ 157 h 512"/>
              <a:gd name="T8" fmla="*/ 224 w 512"/>
              <a:gd name="T9" fmla="*/ 142 h 512"/>
              <a:gd name="T10" fmla="*/ 217 w 512"/>
              <a:gd name="T11" fmla="*/ 197 h 512"/>
              <a:gd name="T12" fmla="*/ 235 w 512"/>
              <a:gd name="T13" fmla="*/ 208 h 512"/>
              <a:gd name="T14" fmla="*/ 245 w 512"/>
              <a:gd name="T15" fmla="*/ 189 h 512"/>
              <a:gd name="T16" fmla="*/ 245 w 512"/>
              <a:gd name="T17" fmla="*/ 128 h 512"/>
              <a:gd name="T18" fmla="*/ 266 w 512"/>
              <a:gd name="T19" fmla="*/ 129 h 512"/>
              <a:gd name="T20" fmla="*/ 268 w 512"/>
              <a:gd name="T21" fmla="*/ 194 h 512"/>
              <a:gd name="T22" fmla="*/ 279 w 512"/>
              <a:gd name="T23" fmla="*/ 211 h 512"/>
              <a:gd name="T24" fmla="*/ 283 w 512"/>
              <a:gd name="T25" fmla="*/ 213 h 512"/>
              <a:gd name="T26" fmla="*/ 285 w 512"/>
              <a:gd name="T27" fmla="*/ 213 h 512"/>
              <a:gd name="T28" fmla="*/ 287 w 512"/>
              <a:gd name="T29" fmla="*/ 213 h 512"/>
              <a:gd name="T30" fmla="*/ 294 w 512"/>
              <a:gd name="T31" fmla="*/ 197 h 512"/>
              <a:gd name="T32" fmla="*/ 288 w 512"/>
              <a:gd name="T33" fmla="*/ 142 h 512"/>
              <a:gd name="T34" fmla="*/ 320 w 512"/>
              <a:gd name="T35" fmla="*/ 157 h 512"/>
              <a:gd name="T36" fmla="*/ 330 w 512"/>
              <a:gd name="T37" fmla="*/ 261 h 512"/>
              <a:gd name="T38" fmla="*/ 341 w 512"/>
              <a:gd name="T39" fmla="*/ 192 h 512"/>
              <a:gd name="T40" fmla="*/ 362 w 512"/>
              <a:gd name="T41" fmla="*/ 293 h 512"/>
              <a:gd name="T42" fmla="*/ 384 w 512"/>
              <a:gd name="T43" fmla="*/ 297 h 512"/>
              <a:gd name="T44" fmla="*/ 379 w 512"/>
              <a:gd name="T45" fmla="*/ 307 h 512"/>
              <a:gd name="T46" fmla="*/ 130 w 512"/>
              <a:gd name="T47" fmla="*/ 305 h 512"/>
              <a:gd name="T48" fmla="*/ 128 w 512"/>
              <a:gd name="T49" fmla="*/ 297 h 512"/>
              <a:gd name="T50" fmla="*/ 118 w 512"/>
              <a:gd name="T51" fmla="*/ 319 h 512"/>
              <a:gd name="T52" fmla="*/ 256 w 512"/>
              <a:gd name="T53" fmla="*/ 362 h 512"/>
              <a:gd name="T54" fmla="*/ 257 w 512"/>
              <a:gd name="T55" fmla="*/ 362 h 512"/>
              <a:gd name="T56" fmla="*/ 394 w 512"/>
              <a:gd name="T57" fmla="*/ 319 h 512"/>
              <a:gd name="T58" fmla="*/ 384 w 512"/>
              <a:gd name="T59" fmla="*/ 297 h 512"/>
              <a:gd name="T60" fmla="*/ 256 w 512"/>
              <a:gd name="T61" fmla="*/ 512 h 512"/>
              <a:gd name="T62" fmla="*/ 256 w 512"/>
              <a:gd name="T63" fmla="*/ 0 h 512"/>
              <a:gd name="T64" fmla="*/ 414 w 512"/>
              <a:gd name="T65" fmla="*/ 289 h 512"/>
              <a:gd name="T66" fmla="*/ 384 w 512"/>
              <a:gd name="T67" fmla="*/ 274 h 512"/>
              <a:gd name="T68" fmla="*/ 341 w 512"/>
              <a:gd name="T69" fmla="*/ 156 h 512"/>
              <a:gd name="T70" fmla="*/ 335 w 512"/>
              <a:gd name="T71" fmla="*/ 141 h 512"/>
              <a:gd name="T72" fmla="*/ 288 w 512"/>
              <a:gd name="T73" fmla="*/ 120 h 512"/>
              <a:gd name="T74" fmla="*/ 277 w 512"/>
              <a:gd name="T75" fmla="*/ 106 h 512"/>
              <a:gd name="T76" fmla="*/ 224 w 512"/>
              <a:gd name="T77" fmla="*/ 117 h 512"/>
              <a:gd name="T78" fmla="*/ 187 w 512"/>
              <a:gd name="T79" fmla="*/ 135 h 512"/>
              <a:gd name="T80" fmla="*/ 170 w 512"/>
              <a:gd name="T81" fmla="*/ 150 h 512"/>
              <a:gd name="T82" fmla="*/ 128 w 512"/>
              <a:gd name="T83" fmla="*/ 260 h 512"/>
              <a:gd name="T84" fmla="*/ 105 w 512"/>
              <a:gd name="T85" fmla="*/ 281 h 512"/>
              <a:gd name="T86" fmla="*/ 97 w 512"/>
              <a:gd name="T87" fmla="*/ 325 h 512"/>
              <a:gd name="T88" fmla="*/ 119 w 512"/>
              <a:gd name="T89" fmla="*/ 370 h 512"/>
              <a:gd name="T90" fmla="*/ 256 w 512"/>
              <a:gd name="T91" fmla="*/ 384 h 512"/>
              <a:gd name="T92" fmla="*/ 393 w 512"/>
              <a:gd name="T93" fmla="*/ 370 h 512"/>
              <a:gd name="T94" fmla="*/ 415 w 512"/>
              <a:gd name="T95" fmla="*/ 32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311"/>
                </a:moveTo>
                <a:cubicBezTo>
                  <a:pt x="182" y="311"/>
                  <a:pt x="160" y="298"/>
                  <a:pt x="149" y="294"/>
                </a:cubicBezTo>
                <a:cubicBezTo>
                  <a:pt x="149" y="260"/>
                  <a:pt x="149" y="260"/>
                  <a:pt x="149" y="260"/>
                </a:cubicBezTo>
                <a:cubicBezTo>
                  <a:pt x="149" y="232"/>
                  <a:pt x="160" y="209"/>
                  <a:pt x="170" y="192"/>
                </a:cubicBezTo>
                <a:cubicBezTo>
                  <a:pt x="170" y="250"/>
                  <a:pt x="170" y="250"/>
                  <a:pt x="170" y="250"/>
                </a:cubicBezTo>
                <a:cubicBezTo>
                  <a:pt x="170" y="256"/>
                  <a:pt x="175" y="261"/>
                  <a:pt x="181" y="261"/>
                </a:cubicBezTo>
                <a:cubicBezTo>
                  <a:pt x="187" y="261"/>
                  <a:pt x="192" y="256"/>
                  <a:pt x="192" y="250"/>
                </a:cubicBezTo>
                <a:cubicBezTo>
                  <a:pt x="192" y="157"/>
                  <a:pt x="192" y="157"/>
                  <a:pt x="192" y="157"/>
                </a:cubicBezTo>
                <a:cubicBezTo>
                  <a:pt x="192" y="156"/>
                  <a:pt x="195" y="155"/>
                  <a:pt x="197" y="154"/>
                </a:cubicBezTo>
                <a:cubicBezTo>
                  <a:pt x="207" y="149"/>
                  <a:pt x="213" y="145"/>
                  <a:pt x="224" y="142"/>
                </a:cubicBezTo>
                <a:cubicBezTo>
                  <a:pt x="224" y="186"/>
                  <a:pt x="224" y="186"/>
                  <a:pt x="224" y="186"/>
                </a:cubicBezTo>
                <a:cubicBezTo>
                  <a:pt x="217" y="197"/>
                  <a:pt x="217" y="197"/>
                  <a:pt x="217" y="197"/>
                </a:cubicBezTo>
                <a:cubicBezTo>
                  <a:pt x="214" y="202"/>
                  <a:pt x="215" y="208"/>
                  <a:pt x="220" y="211"/>
                </a:cubicBezTo>
                <a:cubicBezTo>
                  <a:pt x="225" y="214"/>
                  <a:pt x="232" y="213"/>
                  <a:pt x="235" y="208"/>
                </a:cubicBezTo>
                <a:cubicBezTo>
                  <a:pt x="243" y="194"/>
                  <a:pt x="243" y="194"/>
                  <a:pt x="243" y="194"/>
                </a:cubicBezTo>
                <a:cubicBezTo>
                  <a:pt x="244" y="193"/>
                  <a:pt x="245" y="191"/>
                  <a:pt x="245" y="189"/>
                </a:cubicBezTo>
                <a:cubicBezTo>
                  <a:pt x="245" y="129"/>
                  <a:pt x="245" y="129"/>
                  <a:pt x="245" y="129"/>
                </a:cubicBezTo>
                <a:cubicBezTo>
                  <a:pt x="245" y="128"/>
                  <a:pt x="245" y="128"/>
                  <a:pt x="245" y="128"/>
                </a:cubicBezTo>
                <a:cubicBezTo>
                  <a:pt x="266" y="128"/>
                  <a:pt x="266" y="128"/>
                  <a:pt x="266" y="128"/>
                </a:cubicBezTo>
                <a:cubicBezTo>
                  <a:pt x="266" y="129"/>
                  <a:pt x="266" y="129"/>
                  <a:pt x="266" y="129"/>
                </a:cubicBezTo>
                <a:cubicBezTo>
                  <a:pt x="266" y="189"/>
                  <a:pt x="266" y="189"/>
                  <a:pt x="266" y="189"/>
                </a:cubicBezTo>
                <a:cubicBezTo>
                  <a:pt x="266" y="191"/>
                  <a:pt x="267" y="193"/>
                  <a:pt x="268" y="194"/>
                </a:cubicBezTo>
                <a:cubicBezTo>
                  <a:pt x="276" y="208"/>
                  <a:pt x="276" y="208"/>
                  <a:pt x="276" y="208"/>
                </a:cubicBezTo>
                <a:cubicBezTo>
                  <a:pt x="277" y="209"/>
                  <a:pt x="278" y="210"/>
                  <a:pt x="279" y="211"/>
                </a:cubicBezTo>
                <a:cubicBezTo>
                  <a:pt x="279" y="211"/>
                  <a:pt x="279" y="211"/>
                  <a:pt x="279" y="211"/>
                </a:cubicBezTo>
                <a:cubicBezTo>
                  <a:pt x="280" y="212"/>
                  <a:pt x="281" y="212"/>
                  <a:pt x="283" y="213"/>
                </a:cubicBezTo>
                <a:cubicBezTo>
                  <a:pt x="283" y="213"/>
                  <a:pt x="283" y="213"/>
                  <a:pt x="283" y="213"/>
                </a:cubicBezTo>
                <a:cubicBezTo>
                  <a:pt x="284" y="213"/>
                  <a:pt x="284" y="213"/>
                  <a:pt x="285" y="213"/>
                </a:cubicBezTo>
                <a:cubicBezTo>
                  <a:pt x="286" y="213"/>
                  <a:pt x="286" y="213"/>
                  <a:pt x="286" y="213"/>
                </a:cubicBezTo>
                <a:cubicBezTo>
                  <a:pt x="287" y="213"/>
                  <a:pt x="287" y="213"/>
                  <a:pt x="287" y="213"/>
                </a:cubicBezTo>
                <a:cubicBezTo>
                  <a:pt x="288" y="213"/>
                  <a:pt x="290" y="212"/>
                  <a:pt x="291" y="211"/>
                </a:cubicBezTo>
                <a:cubicBezTo>
                  <a:pt x="296" y="208"/>
                  <a:pt x="297" y="202"/>
                  <a:pt x="294" y="197"/>
                </a:cubicBezTo>
                <a:cubicBezTo>
                  <a:pt x="288" y="186"/>
                  <a:pt x="288" y="186"/>
                  <a:pt x="288" y="186"/>
                </a:cubicBezTo>
                <a:cubicBezTo>
                  <a:pt x="288" y="142"/>
                  <a:pt x="288" y="142"/>
                  <a:pt x="288" y="142"/>
                </a:cubicBezTo>
                <a:cubicBezTo>
                  <a:pt x="298" y="145"/>
                  <a:pt x="304" y="149"/>
                  <a:pt x="314" y="154"/>
                </a:cubicBezTo>
                <a:cubicBezTo>
                  <a:pt x="316" y="155"/>
                  <a:pt x="320" y="156"/>
                  <a:pt x="320" y="157"/>
                </a:cubicBezTo>
                <a:cubicBezTo>
                  <a:pt x="320" y="250"/>
                  <a:pt x="320" y="250"/>
                  <a:pt x="320" y="250"/>
                </a:cubicBezTo>
                <a:cubicBezTo>
                  <a:pt x="320" y="256"/>
                  <a:pt x="324" y="261"/>
                  <a:pt x="330" y="261"/>
                </a:cubicBezTo>
                <a:cubicBezTo>
                  <a:pt x="336" y="261"/>
                  <a:pt x="341" y="256"/>
                  <a:pt x="341" y="250"/>
                </a:cubicBezTo>
                <a:cubicBezTo>
                  <a:pt x="341" y="192"/>
                  <a:pt x="341" y="192"/>
                  <a:pt x="341" y="192"/>
                </a:cubicBezTo>
                <a:cubicBezTo>
                  <a:pt x="352" y="209"/>
                  <a:pt x="362" y="232"/>
                  <a:pt x="362" y="260"/>
                </a:cubicBezTo>
                <a:cubicBezTo>
                  <a:pt x="362" y="293"/>
                  <a:pt x="362" y="293"/>
                  <a:pt x="362" y="293"/>
                </a:cubicBezTo>
                <a:cubicBezTo>
                  <a:pt x="352" y="298"/>
                  <a:pt x="329" y="311"/>
                  <a:pt x="256" y="311"/>
                </a:cubicBezTo>
                <a:close/>
                <a:moveTo>
                  <a:pt x="384" y="297"/>
                </a:moveTo>
                <a:cubicBezTo>
                  <a:pt x="384" y="298"/>
                  <a:pt x="384" y="298"/>
                  <a:pt x="384" y="298"/>
                </a:cubicBezTo>
                <a:cubicBezTo>
                  <a:pt x="384" y="302"/>
                  <a:pt x="382" y="305"/>
                  <a:pt x="379" y="307"/>
                </a:cubicBezTo>
                <a:cubicBezTo>
                  <a:pt x="371" y="314"/>
                  <a:pt x="343" y="332"/>
                  <a:pt x="256" y="332"/>
                </a:cubicBezTo>
                <a:cubicBezTo>
                  <a:pt x="155" y="332"/>
                  <a:pt x="133" y="309"/>
                  <a:pt x="130" y="305"/>
                </a:cubicBezTo>
                <a:cubicBezTo>
                  <a:pt x="128" y="303"/>
                  <a:pt x="128" y="301"/>
                  <a:pt x="128" y="298"/>
                </a:cubicBezTo>
                <a:cubicBezTo>
                  <a:pt x="128" y="297"/>
                  <a:pt x="128" y="297"/>
                  <a:pt x="128" y="297"/>
                </a:cubicBezTo>
                <a:cubicBezTo>
                  <a:pt x="118" y="300"/>
                  <a:pt x="118" y="300"/>
                  <a:pt x="118" y="300"/>
                </a:cubicBezTo>
                <a:cubicBezTo>
                  <a:pt x="117" y="306"/>
                  <a:pt x="116" y="314"/>
                  <a:pt x="118" y="319"/>
                </a:cubicBezTo>
                <a:cubicBezTo>
                  <a:pt x="120" y="328"/>
                  <a:pt x="130" y="346"/>
                  <a:pt x="135" y="355"/>
                </a:cubicBezTo>
                <a:cubicBezTo>
                  <a:pt x="141" y="357"/>
                  <a:pt x="167" y="362"/>
                  <a:pt x="256" y="362"/>
                </a:cubicBezTo>
                <a:cubicBezTo>
                  <a:pt x="256" y="362"/>
                  <a:pt x="256" y="362"/>
                  <a:pt x="256" y="362"/>
                </a:cubicBezTo>
                <a:cubicBezTo>
                  <a:pt x="256" y="362"/>
                  <a:pt x="256" y="362"/>
                  <a:pt x="257" y="362"/>
                </a:cubicBezTo>
                <a:cubicBezTo>
                  <a:pt x="345" y="362"/>
                  <a:pt x="371" y="357"/>
                  <a:pt x="377" y="355"/>
                </a:cubicBezTo>
                <a:cubicBezTo>
                  <a:pt x="383" y="346"/>
                  <a:pt x="392" y="328"/>
                  <a:pt x="394" y="319"/>
                </a:cubicBezTo>
                <a:cubicBezTo>
                  <a:pt x="396" y="314"/>
                  <a:pt x="395" y="306"/>
                  <a:pt x="395" y="300"/>
                </a:cubicBezTo>
                <a:lnTo>
                  <a:pt x="384" y="29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89"/>
                </a:moveTo>
                <a:cubicBezTo>
                  <a:pt x="414" y="286"/>
                  <a:pt x="411" y="282"/>
                  <a:pt x="407" y="281"/>
                </a:cubicBezTo>
                <a:cubicBezTo>
                  <a:pt x="384" y="274"/>
                  <a:pt x="384" y="274"/>
                  <a:pt x="384" y="274"/>
                </a:cubicBezTo>
                <a:cubicBezTo>
                  <a:pt x="384" y="260"/>
                  <a:pt x="384" y="260"/>
                  <a:pt x="384" y="260"/>
                </a:cubicBezTo>
                <a:cubicBezTo>
                  <a:pt x="384" y="225"/>
                  <a:pt x="373" y="186"/>
                  <a:pt x="341" y="156"/>
                </a:cubicBezTo>
                <a:cubicBezTo>
                  <a:pt x="341" y="150"/>
                  <a:pt x="341" y="150"/>
                  <a:pt x="341" y="150"/>
                </a:cubicBezTo>
                <a:cubicBezTo>
                  <a:pt x="341" y="146"/>
                  <a:pt x="339" y="143"/>
                  <a:pt x="335" y="141"/>
                </a:cubicBezTo>
                <a:cubicBezTo>
                  <a:pt x="331" y="139"/>
                  <a:pt x="327" y="137"/>
                  <a:pt x="324" y="135"/>
                </a:cubicBezTo>
                <a:cubicBezTo>
                  <a:pt x="312" y="129"/>
                  <a:pt x="301" y="123"/>
                  <a:pt x="288" y="120"/>
                </a:cubicBezTo>
                <a:cubicBezTo>
                  <a:pt x="288" y="117"/>
                  <a:pt x="288" y="117"/>
                  <a:pt x="288" y="117"/>
                </a:cubicBezTo>
                <a:cubicBezTo>
                  <a:pt x="288" y="111"/>
                  <a:pt x="283" y="106"/>
                  <a:pt x="277" y="106"/>
                </a:cubicBezTo>
                <a:cubicBezTo>
                  <a:pt x="234" y="106"/>
                  <a:pt x="234" y="106"/>
                  <a:pt x="234" y="106"/>
                </a:cubicBezTo>
                <a:cubicBezTo>
                  <a:pt x="228" y="106"/>
                  <a:pt x="224" y="111"/>
                  <a:pt x="224" y="117"/>
                </a:cubicBezTo>
                <a:cubicBezTo>
                  <a:pt x="224" y="120"/>
                  <a:pt x="224" y="120"/>
                  <a:pt x="224" y="120"/>
                </a:cubicBezTo>
                <a:cubicBezTo>
                  <a:pt x="210" y="123"/>
                  <a:pt x="200" y="129"/>
                  <a:pt x="187" y="135"/>
                </a:cubicBezTo>
                <a:cubicBezTo>
                  <a:pt x="184" y="137"/>
                  <a:pt x="180" y="139"/>
                  <a:pt x="176" y="141"/>
                </a:cubicBezTo>
                <a:cubicBezTo>
                  <a:pt x="173" y="143"/>
                  <a:pt x="170" y="146"/>
                  <a:pt x="170" y="150"/>
                </a:cubicBezTo>
                <a:cubicBezTo>
                  <a:pt x="170" y="156"/>
                  <a:pt x="170" y="156"/>
                  <a:pt x="170" y="156"/>
                </a:cubicBezTo>
                <a:cubicBezTo>
                  <a:pt x="138" y="186"/>
                  <a:pt x="128" y="225"/>
                  <a:pt x="128" y="260"/>
                </a:cubicBezTo>
                <a:cubicBezTo>
                  <a:pt x="128" y="274"/>
                  <a:pt x="128" y="274"/>
                  <a:pt x="128" y="274"/>
                </a:cubicBezTo>
                <a:cubicBezTo>
                  <a:pt x="105" y="281"/>
                  <a:pt x="105" y="281"/>
                  <a:pt x="105" y="281"/>
                </a:cubicBezTo>
                <a:cubicBezTo>
                  <a:pt x="101" y="283"/>
                  <a:pt x="99" y="286"/>
                  <a:pt x="98" y="289"/>
                </a:cubicBezTo>
                <a:cubicBezTo>
                  <a:pt x="97" y="291"/>
                  <a:pt x="94" y="310"/>
                  <a:pt x="97" y="325"/>
                </a:cubicBezTo>
                <a:cubicBezTo>
                  <a:pt x="101" y="339"/>
                  <a:pt x="116" y="365"/>
                  <a:pt x="118" y="368"/>
                </a:cubicBezTo>
                <a:cubicBezTo>
                  <a:pt x="118" y="369"/>
                  <a:pt x="119" y="370"/>
                  <a:pt x="119" y="370"/>
                </a:cubicBezTo>
                <a:cubicBezTo>
                  <a:pt x="128" y="379"/>
                  <a:pt x="174" y="384"/>
                  <a:pt x="256" y="384"/>
                </a:cubicBezTo>
                <a:cubicBezTo>
                  <a:pt x="256" y="384"/>
                  <a:pt x="256" y="384"/>
                  <a:pt x="256" y="384"/>
                </a:cubicBezTo>
                <a:cubicBezTo>
                  <a:pt x="256" y="384"/>
                  <a:pt x="256" y="384"/>
                  <a:pt x="257" y="384"/>
                </a:cubicBezTo>
                <a:cubicBezTo>
                  <a:pt x="338" y="384"/>
                  <a:pt x="384" y="379"/>
                  <a:pt x="393" y="370"/>
                </a:cubicBezTo>
                <a:cubicBezTo>
                  <a:pt x="393" y="370"/>
                  <a:pt x="394" y="369"/>
                  <a:pt x="394" y="368"/>
                </a:cubicBezTo>
                <a:cubicBezTo>
                  <a:pt x="396" y="365"/>
                  <a:pt x="411" y="339"/>
                  <a:pt x="415" y="325"/>
                </a:cubicBezTo>
                <a:cubicBezTo>
                  <a:pt x="419" y="310"/>
                  <a:pt x="415" y="291"/>
                  <a:pt x="414" y="28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1663598563"/>
      </p:ext>
    </p:extLst>
  </p:cSld>
  <p:clrMapOvr>
    <a:masterClrMapping/>
  </p:clrMapOvr>
  <p:transition>
    <p:fade/>
  </p:transition>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2" name="Group 101"/>
          <p:cNvGrpSpPr/>
          <p:nvPr/>
        </p:nvGrpSpPr>
        <p:grpSpPr>
          <a:xfrm>
            <a:off x="3814763" y="0"/>
            <a:ext cx="4552950" cy="6858000"/>
            <a:chOff x="3054350" y="3195638"/>
            <a:chExt cx="6070600" cy="3657600"/>
          </a:xfrm>
          <a:solidFill>
            <a:schemeClr val="tx2"/>
          </a:solidFill>
        </p:grpSpPr>
        <p:sp>
          <p:nvSpPr>
            <p:cNvPr id="103" name="Freeform 19"/>
            <p:cNvSpPr>
              <a:spLocks/>
            </p:cNvSpPr>
            <p:nvPr/>
          </p:nvSpPr>
          <p:spPr bwMode="auto">
            <a:xfrm>
              <a:off x="3054350" y="3195638"/>
              <a:ext cx="2782888" cy="3657600"/>
            </a:xfrm>
            <a:custGeom>
              <a:avLst/>
              <a:gdLst>
                <a:gd name="T0" fmla="*/ 665 w 665"/>
                <a:gd name="T1" fmla="*/ 0 h 873"/>
                <a:gd name="T2" fmla="*/ 661 w 665"/>
                <a:gd name="T3" fmla="*/ 0 h 873"/>
                <a:gd name="T4" fmla="*/ 0 w 665"/>
                <a:gd name="T5" fmla="*/ 873 h 873"/>
                <a:gd name="T6" fmla="*/ 46 w 665"/>
                <a:gd name="T7" fmla="*/ 873 h 873"/>
                <a:gd name="T8" fmla="*/ 665 w 665"/>
                <a:gd name="T9" fmla="*/ 0 h 873"/>
              </a:gdLst>
              <a:ahLst/>
              <a:cxnLst>
                <a:cxn ang="0">
                  <a:pos x="T0" y="T1"/>
                </a:cxn>
                <a:cxn ang="0">
                  <a:pos x="T2" y="T3"/>
                </a:cxn>
                <a:cxn ang="0">
                  <a:pos x="T4" y="T5"/>
                </a:cxn>
                <a:cxn ang="0">
                  <a:pos x="T6" y="T7"/>
                </a:cxn>
                <a:cxn ang="0">
                  <a:pos x="T8" y="T9"/>
                </a:cxn>
              </a:cxnLst>
              <a:rect l="0" t="0" r="r" b="b"/>
              <a:pathLst>
                <a:path w="665" h="873">
                  <a:moveTo>
                    <a:pt x="665" y="0"/>
                  </a:moveTo>
                  <a:cubicBezTo>
                    <a:pt x="664" y="0"/>
                    <a:pt x="662" y="0"/>
                    <a:pt x="661" y="0"/>
                  </a:cubicBezTo>
                  <a:cubicBezTo>
                    <a:pt x="558" y="291"/>
                    <a:pt x="338" y="582"/>
                    <a:pt x="0" y="873"/>
                  </a:cubicBezTo>
                  <a:cubicBezTo>
                    <a:pt x="15" y="873"/>
                    <a:pt x="31" y="873"/>
                    <a:pt x="46" y="873"/>
                  </a:cubicBezTo>
                  <a:cubicBezTo>
                    <a:pt x="363" y="582"/>
                    <a:pt x="569" y="291"/>
                    <a:pt x="665" y="0"/>
                  </a:cubicBezTo>
                  <a:close/>
                </a:path>
              </a:pathLst>
            </a:custGeom>
            <a:grpFill/>
            <a:ln>
              <a:noFill/>
            </a:ln>
          </p:spPr>
          <p:txBody>
            <a:bodyPr lIns="68580" tIns="34290" rIns="68580" bIns="34290"/>
            <a:lstStyle/>
            <a:p>
              <a:pPr>
                <a:defRPr/>
              </a:pPr>
              <a:endParaRPr lang="id-ID" sz="1350"/>
            </a:p>
          </p:txBody>
        </p:sp>
        <p:sp>
          <p:nvSpPr>
            <p:cNvPr id="104" name="Freeform 20"/>
            <p:cNvSpPr>
              <a:spLocks noEditPoints="1"/>
            </p:cNvSpPr>
            <p:nvPr/>
          </p:nvSpPr>
          <p:spPr bwMode="auto">
            <a:xfrm>
              <a:off x="3359150" y="3195638"/>
              <a:ext cx="5464175" cy="3657600"/>
            </a:xfrm>
            <a:custGeom>
              <a:avLst/>
              <a:gdLst>
                <a:gd name="T0" fmla="*/ 711 w 1306"/>
                <a:gd name="T1" fmla="*/ 0 h 873"/>
                <a:gd name="T2" fmla="*/ 655 w 1306"/>
                <a:gd name="T3" fmla="*/ 0 h 873"/>
                <a:gd name="T4" fmla="*/ 656 w 1306"/>
                <a:gd name="T5" fmla="*/ 21 h 873"/>
                <a:gd name="T6" fmla="*/ 650 w 1306"/>
                <a:gd name="T7" fmla="*/ 21 h 873"/>
                <a:gd name="T8" fmla="*/ 650 w 1306"/>
                <a:gd name="T9" fmla="*/ 0 h 873"/>
                <a:gd name="T10" fmla="*/ 594 w 1306"/>
                <a:gd name="T11" fmla="*/ 0 h 873"/>
                <a:gd name="T12" fmla="*/ 0 w 1306"/>
                <a:gd name="T13" fmla="*/ 873 h 873"/>
                <a:gd name="T14" fmla="*/ 623 w 1306"/>
                <a:gd name="T15" fmla="*/ 873 h 873"/>
                <a:gd name="T16" fmla="*/ 624 w 1306"/>
                <a:gd name="T17" fmla="*/ 849 h 873"/>
                <a:gd name="T18" fmla="*/ 681 w 1306"/>
                <a:gd name="T19" fmla="*/ 849 h 873"/>
                <a:gd name="T20" fmla="*/ 682 w 1306"/>
                <a:gd name="T21" fmla="*/ 873 h 873"/>
                <a:gd name="T22" fmla="*/ 1306 w 1306"/>
                <a:gd name="T23" fmla="*/ 873 h 873"/>
                <a:gd name="T24" fmla="*/ 711 w 1306"/>
                <a:gd name="T25" fmla="*/ 0 h 873"/>
                <a:gd name="T26" fmla="*/ 649 w 1306"/>
                <a:gd name="T27" fmla="*/ 70 h 873"/>
                <a:gd name="T28" fmla="*/ 656 w 1306"/>
                <a:gd name="T29" fmla="*/ 70 h 873"/>
                <a:gd name="T30" fmla="*/ 657 w 1306"/>
                <a:gd name="T31" fmla="*/ 119 h 873"/>
                <a:gd name="T32" fmla="*/ 648 w 1306"/>
                <a:gd name="T33" fmla="*/ 119 h 873"/>
                <a:gd name="T34" fmla="*/ 649 w 1306"/>
                <a:gd name="T35" fmla="*/ 70 h 873"/>
                <a:gd name="T36" fmla="*/ 647 w 1306"/>
                <a:gd name="T37" fmla="*/ 167 h 873"/>
                <a:gd name="T38" fmla="*/ 658 w 1306"/>
                <a:gd name="T39" fmla="*/ 167 h 873"/>
                <a:gd name="T40" fmla="*/ 659 w 1306"/>
                <a:gd name="T41" fmla="*/ 216 h 873"/>
                <a:gd name="T42" fmla="*/ 646 w 1306"/>
                <a:gd name="T43" fmla="*/ 216 h 873"/>
                <a:gd name="T44" fmla="*/ 647 w 1306"/>
                <a:gd name="T45" fmla="*/ 167 h 873"/>
                <a:gd name="T46" fmla="*/ 645 w 1306"/>
                <a:gd name="T47" fmla="*/ 265 h 873"/>
                <a:gd name="T48" fmla="*/ 660 w 1306"/>
                <a:gd name="T49" fmla="*/ 265 h 873"/>
                <a:gd name="T50" fmla="*/ 662 w 1306"/>
                <a:gd name="T51" fmla="*/ 313 h 873"/>
                <a:gd name="T52" fmla="*/ 644 w 1306"/>
                <a:gd name="T53" fmla="*/ 313 h 873"/>
                <a:gd name="T54" fmla="*/ 645 w 1306"/>
                <a:gd name="T55" fmla="*/ 265 h 873"/>
                <a:gd name="T56" fmla="*/ 642 w 1306"/>
                <a:gd name="T57" fmla="*/ 362 h 873"/>
                <a:gd name="T58" fmla="*/ 663 w 1306"/>
                <a:gd name="T59" fmla="*/ 362 h 873"/>
                <a:gd name="T60" fmla="*/ 664 w 1306"/>
                <a:gd name="T61" fmla="*/ 411 h 873"/>
                <a:gd name="T62" fmla="*/ 641 w 1306"/>
                <a:gd name="T63" fmla="*/ 411 h 873"/>
                <a:gd name="T64" fmla="*/ 642 w 1306"/>
                <a:gd name="T65" fmla="*/ 362 h 873"/>
                <a:gd name="T66" fmla="*/ 639 w 1306"/>
                <a:gd name="T67" fmla="*/ 460 h 873"/>
                <a:gd name="T68" fmla="*/ 666 w 1306"/>
                <a:gd name="T69" fmla="*/ 460 h 873"/>
                <a:gd name="T70" fmla="*/ 668 w 1306"/>
                <a:gd name="T71" fmla="*/ 508 h 873"/>
                <a:gd name="T72" fmla="*/ 638 w 1306"/>
                <a:gd name="T73" fmla="*/ 508 h 873"/>
                <a:gd name="T74" fmla="*/ 639 w 1306"/>
                <a:gd name="T75" fmla="*/ 460 h 873"/>
                <a:gd name="T76" fmla="*/ 636 w 1306"/>
                <a:gd name="T77" fmla="*/ 557 h 873"/>
                <a:gd name="T78" fmla="*/ 669 w 1306"/>
                <a:gd name="T79" fmla="*/ 557 h 873"/>
                <a:gd name="T80" fmla="*/ 671 w 1306"/>
                <a:gd name="T81" fmla="*/ 606 h 873"/>
                <a:gd name="T82" fmla="*/ 634 w 1306"/>
                <a:gd name="T83" fmla="*/ 606 h 873"/>
                <a:gd name="T84" fmla="*/ 636 w 1306"/>
                <a:gd name="T85" fmla="*/ 557 h 873"/>
                <a:gd name="T86" fmla="*/ 632 w 1306"/>
                <a:gd name="T87" fmla="*/ 654 h 873"/>
                <a:gd name="T88" fmla="*/ 673 w 1306"/>
                <a:gd name="T89" fmla="*/ 654 h 873"/>
                <a:gd name="T90" fmla="*/ 675 w 1306"/>
                <a:gd name="T91" fmla="*/ 703 h 873"/>
                <a:gd name="T92" fmla="*/ 630 w 1306"/>
                <a:gd name="T93" fmla="*/ 703 h 873"/>
                <a:gd name="T94" fmla="*/ 632 w 1306"/>
                <a:gd name="T95" fmla="*/ 654 h 873"/>
                <a:gd name="T96" fmla="*/ 626 w 1306"/>
                <a:gd name="T97" fmla="*/ 800 h 873"/>
                <a:gd name="T98" fmla="*/ 628 w 1306"/>
                <a:gd name="T99" fmla="*/ 752 h 873"/>
                <a:gd name="T100" fmla="*/ 677 w 1306"/>
                <a:gd name="T101" fmla="*/ 752 h 873"/>
                <a:gd name="T102" fmla="*/ 679 w 1306"/>
                <a:gd name="T103" fmla="*/ 800 h 873"/>
                <a:gd name="T104" fmla="*/ 626 w 1306"/>
                <a:gd name="T105" fmla="*/ 80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6" h="873">
                  <a:moveTo>
                    <a:pt x="711" y="0"/>
                  </a:moveTo>
                  <a:cubicBezTo>
                    <a:pt x="692" y="0"/>
                    <a:pt x="674" y="0"/>
                    <a:pt x="655" y="0"/>
                  </a:cubicBezTo>
                  <a:cubicBezTo>
                    <a:pt x="655" y="7"/>
                    <a:pt x="656" y="14"/>
                    <a:pt x="656" y="21"/>
                  </a:cubicBezTo>
                  <a:cubicBezTo>
                    <a:pt x="654" y="21"/>
                    <a:pt x="652" y="21"/>
                    <a:pt x="650" y="21"/>
                  </a:cubicBezTo>
                  <a:cubicBezTo>
                    <a:pt x="650" y="14"/>
                    <a:pt x="650" y="7"/>
                    <a:pt x="650" y="0"/>
                  </a:cubicBezTo>
                  <a:cubicBezTo>
                    <a:pt x="631" y="0"/>
                    <a:pt x="613" y="0"/>
                    <a:pt x="594" y="0"/>
                  </a:cubicBezTo>
                  <a:cubicBezTo>
                    <a:pt x="502" y="291"/>
                    <a:pt x="304" y="582"/>
                    <a:pt x="0" y="873"/>
                  </a:cubicBezTo>
                  <a:cubicBezTo>
                    <a:pt x="207" y="873"/>
                    <a:pt x="415" y="873"/>
                    <a:pt x="623" y="873"/>
                  </a:cubicBezTo>
                  <a:cubicBezTo>
                    <a:pt x="623" y="865"/>
                    <a:pt x="624" y="857"/>
                    <a:pt x="624" y="849"/>
                  </a:cubicBezTo>
                  <a:cubicBezTo>
                    <a:pt x="643" y="849"/>
                    <a:pt x="662" y="849"/>
                    <a:pt x="681" y="849"/>
                  </a:cubicBezTo>
                  <a:cubicBezTo>
                    <a:pt x="682" y="857"/>
                    <a:pt x="682" y="865"/>
                    <a:pt x="682" y="873"/>
                  </a:cubicBezTo>
                  <a:cubicBezTo>
                    <a:pt x="890" y="873"/>
                    <a:pt x="1098" y="873"/>
                    <a:pt x="1306" y="873"/>
                  </a:cubicBezTo>
                  <a:cubicBezTo>
                    <a:pt x="1002" y="582"/>
                    <a:pt x="803" y="291"/>
                    <a:pt x="711" y="0"/>
                  </a:cubicBezTo>
                  <a:close/>
                  <a:moveTo>
                    <a:pt x="649" y="70"/>
                  </a:moveTo>
                  <a:cubicBezTo>
                    <a:pt x="651" y="70"/>
                    <a:pt x="654" y="70"/>
                    <a:pt x="656" y="70"/>
                  </a:cubicBezTo>
                  <a:cubicBezTo>
                    <a:pt x="657" y="86"/>
                    <a:pt x="657" y="103"/>
                    <a:pt x="657" y="119"/>
                  </a:cubicBezTo>
                  <a:cubicBezTo>
                    <a:pt x="654" y="119"/>
                    <a:pt x="651" y="119"/>
                    <a:pt x="648" y="119"/>
                  </a:cubicBezTo>
                  <a:cubicBezTo>
                    <a:pt x="648" y="103"/>
                    <a:pt x="649" y="86"/>
                    <a:pt x="649" y="70"/>
                  </a:cubicBezTo>
                  <a:close/>
                  <a:moveTo>
                    <a:pt x="647" y="167"/>
                  </a:moveTo>
                  <a:cubicBezTo>
                    <a:pt x="651" y="167"/>
                    <a:pt x="655" y="167"/>
                    <a:pt x="658" y="167"/>
                  </a:cubicBezTo>
                  <a:cubicBezTo>
                    <a:pt x="659" y="184"/>
                    <a:pt x="659" y="200"/>
                    <a:pt x="659" y="216"/>
                  </a:cubicBezTo>
                  <a:cubicBezTo>
                    <a:pt x="655" y="216"/>
                    <a:pt x="650" y="216"/>
                    <a:pt x="646" y="216"/>
                  </a:cubicBezTo>
                  <a:cubicBezTo>
                    <a:pt x="646" y="200"/>
                    <a:pt x="647" y="184"/>
                    <a:pt x="647" y="167"/>
                  </a:cubicBezTo>
                  <a:close/>
                  <a:moveTo>
                    <a:pt x="645" y="265"/>
                  </a:moveTo>
                  <a:cubicBezTo>
                    <a:pt x="650" y="265"/>
                    <a:pt x="655" y="265"/>
                    <a:pt x="660" y="265"/>
                  </a:cubicBezTo>
                  <a:cubicBezTo>
                    <a:pt x="661" y="281"/>
                    <a:pt x="661" y="297"/>
                    <a:pt x="662" y="313"/>
                  </a:cubicBezTo>
                  <a:cubicBezTo>
                    <a:pt x="656" y="313"/>
                    <a:pt x="650" y="313"/>
                    <a:pt x="644" y="313"/>
                  </a:cubicBezTo>
                  <a:cubicBezTo>
                    <a:pt x="644" y="297"/>
                    <a:pt x="644" y="281"/>
                    <a:pt x="645" y="265"/>
                  </a:cubicBezTo>
                  <a:close/>
                  <a:moveTo>
                    <a:pt x="642" y="362"/>
                  </a:moveTo>
                  <a:cubicBezTo>
                    <a:pt x="649" y="362"/>
                    <a:pt x="656" y="362"/>
                    <a:pt x="663" y="362"/>
                  </a:cubicBezTo>
                  <a:cubicBezTo>
                    <a:pt x="664" y="378"/>
                    <a:pt x="664" y="395"/>
                    <a:pt x="664" y="411"/>
                  </a:cubicBezTo>
                  <a:cubicBezTo>
                    <a:pt x="657" y="411"/>
                    <a:pt x="649" y="411"/>
                    <a:pt x="641" y="411"/>
                  </a:cubicBezTo>
                  <a:cubicBezTo>
                    <a:pt x="641" y="395"/>
                    <a:pt x="642" y="378"/>
                    <a:pt x="642" y="362"/>
                  </a:cubicBezTo>
                  <a:close/>
                  <a:moveTo>
                    <a:pt x="639" y="460"/>
                  </a:moveTo>
                  <a:cubicBezTo>
                    <a:pt x="648" y="460"/>
                    <a:pt x="657" y="460"/>
                    <a:pt x="666" y="460"/>
                  </a:cubicBezTo>
                  <a:cubicBezTo>
                    <a:pt x="667" y="476"/>
                    <a:pt x="667" y="492"/>
                    <a:pt x="668" y="508"/>
                  </a:cubicBezTo>
                  <a:cubicBezTo>
                    <a:pt x="658" y="508"/>
                    <a:pt x="648" y="508"/>
                    <a:pt x="638" y="508"/>
                  </a:cubicBezTo>
                  <a:cubicBezTo>
                    <a:pt x="638" y="492"/>
                    <a:pt x="639" y="476"/>
                    <a:pt x="639" y="460"/>
                  </a:cubicBezTo>
                  <a:close/>
                  <a:moveTo>
                    <a:pt x="636" y="557"/>
                  </a:moveTo>
                  <a:cubicBezTo>
                    <a:pt x="647" y="557"/>
                    <a:pt x="658" y="557"/>
                    <a:pt x="669" y="557"/>
                  </a:cubicBezTo>
                  <a:cubicBezTo>
                    <a:pt x="670" y="573"/>
                    <a:pt x="670" y="589"/>
                    <a:pt x="671" y="606"/>
                  </a:cubicBezTo>
                  <a:cubicBezTo>
                    <a:pt x="659" y="606"/>
                    <a:pt x="646" y="606"/>
                    <a:pt x="634" y="606"/>
                  </a:cubicBezTo>
                  <a:cubicBezTo>
                    <a:pt x="635" y="589"/>
                    <a:pt x="635" y="573"/>
                    <a:pt x="636" y="557"/>
                  </a:cubicBezTo>
                  <a:close/>
                  <a:moveTo>
                    <a:pt x="632" y="654"/>
                  </a:moveTo>
                  <a:cubicBezTo>
                    <a:pt x="646" y="654"/>
                    <a:pt x="659" y="654"/>
                    <a:pt x="673" y="654"/>
                  </a:cubicBezTo>
                  <a:cubicBezTo>
                    <a:pt x="674" y="670"/>
                    <a:pt x="674" y="687"/>
                    <a:pt x="675" y="703"/>
                  </a:cubicBezTo>
                  <a:cubicBezTo>
                    <a:pt x="660" y="703"/>
                    <a:pt x="645" y="703"/>
                    <a:pt x="630" y="703"/>
                  </a:cubicBezTo>
                  <a:cubicBezTo>
                    <a:pt x="631" y="687"/>
                    <a:pt x="632" y="670"/>
                    <a:pt x="632" y="654"/>
                  </a:cubicBezTo>
                  <a:close/>
                  <a:moveTo>
                    <a:pt x="626" y="800"/>
                  </a:moveTo>
                  <a:cubicBezTo>
                    <a:pt x="627" y="784"/>
                    <a:pt x="628" y="768"/>
                    <a:pt x="628" y="752"/>
                  </a:cubicBezTo>
                  <a:cubicBezTo>
                    <a:pt x="645" y="752"/>
                    <a:pt x="661" y="752"/>
                    <a:pt x="677" y="752"/>
                  </a:cubicBezTo>
                  <a:cubicBezTo>
                    <a:pt x="678" y="768"/>
                    <a:pt x="678" y="784"/>
                    <a:pt x="679" y="800"/>
                  </a:cubicBezTo>
                  <a:cubicBezTo>
                    <a:pt x="661" y="800"/>
                    <a:pt x="644" y="800"/>
                    <a:pt x="626" y="800"/>
                  </a:cubicBezTo>
                  <a:close/>
                </a:path>
              </a:pathLst>
            </a:custGeom>
            <a:grpFill/>
            <a:ln>
              <a:noFill/>
            </a:ln>
          </p:spPr>
          <p:txBody>
            <a:bodyPr lIns="68580" tIns="34290" rIns="68580" bIns="34290"/>
            <a:lstStyle/>
            <a:p>
              <a:pPr>
                <a:defRPr/>
              </a:pPr>
              <a:endParaRPr lang="id-ID" sz="1350"/>
            </a:p>
          </p:txBody>
        </p:sp>
        <p:sp>
          <p:nvSpPr>
            <p:cNvPr id="105" name="Freeform 21"/>
            <p:cNvSpPr>
              <a:spLocks/>
            </p:cNvSpPr>
            <p:nvPr/>
          </p:nvSpPr>
          <p:spPr bwMode="auto">
            <a:xfrm>
              <a:off x="6343650" y="3195638"/>
              <a:ext cx="2781300" cy="3657600"/>
            </a:xfrm>
            <a:custGeom>
              <a:avLst/>
              <a:gdLst>
                <a:gd name="T0" fmla="*/ 4 w 665"/>
                <a:gd name="T1" fmla="*/ 0 h 873"/>
                <a:gd name="T2" fmla="*/ 0 w 665"/>
                <a:gd name="T3" fmla="*/ 0 h 873"/>
                <a:gd name="T4" fmla="*/ 619 w 665"/>
                <a:gd name="T5" fmla="*/ 873 h 873"/>
                <a:gd name="T6" fmla="*/ 665 w 665"/>
                <a:gd name="T7" fmla="*/ 873 h 873"/>
                <a:gd name="T8" fmla="*/ 4 w 665"/>
                <a:gd name="T9" fmla="*/ 0 h 873"/>
              </a:gdLst>
              <a:ahLst/>
              <a:cxnLst>
                <a:cxn ang="0">
                  <a:pos x="T0" y="T1"/>
                </a:cxn>
                <a:cxn ang="0">
                  <a:pos x="T2" y="T3"/>
                </a:cxn>
                <a:cxn ang="0">
                  <a:pos x="T4" y="T5"/>
                </a:cxn>
                <a:cxn ang="0">
                  <a:pos x="T6" y="T7"/>
                </a:cxn>
                <a:cxn ang="0">
                  <a:pos x="T8" y="T9"/>
                </a:cxn>
              </a:cxnLst>
              <a:rect l="0" t="0" r="r" b="b"/>
              <a:pathLst>
                <a:path w="665" h="873">
                  <a:moveTo>
                    <a:pt x="4" y="0"/>
                  </a:moveTo>
                  <a:cubicBezTo>
                    <a:pt x="3" y="0"/>
                    <a:pt x="2" y="0"/>
                    <a:pt x="0" y="0"/>
                  </a:cubicBezTo>
                  <a:cubicBezTo>
                    <a:pt x="97" y="291"/>
                    <a:pt x="303" y="582"/>
                    <a:pt x="619" y="873"/>
                  </a:cubicBezTo>
                  <a:cubicBezTo>
                    <a:pt x="635" y="873"/>
                    <a:pt x="650" y="873"/>
                    <a:pt x="665" y="873"/>
                  </a:cubicBezTo>
                  <a:cubicBezTo>
                    <a:pt x="328" y="582"/>
                    <a:pt x="107" y="291"/>
                    <a:pt x="4" y="0"/>
                  </a:cubicBezTo>
                  <a:close/>
                </a:path>
              </a:pathLst>
            </a:custGeom>
            <a:grpFill/>
            <a:ln>
              <a:noFill/>
            </a:ln>
          </p:spPr>
          <p:txBody>
            <a:bodyPr lIns="68580" tIns="34290" rIns="68580" bIns="34290"/>
            <a:lstStyle/>
            <a:p>
              <a:pPr>
                <a:defRPr/>
              </a:pPr>
              <a:endParaRPr lang="id-ID" sz="1350"/>
            </a:p>
          </p:txBody>
        </p:sp>
      </p:grpSp>
      <p:sp>
        <p:nvSpPr>
          <p:cNvPr id="106" name="Freeform 23"/>
          <p:cNvSpPr>
            <a:spLocks/>
          </p:cNvSpPr>
          <p:nvPr/>
        </p:nvSpPr>
        <p:spPr bwMode="auto">
          <a:xfrm>
            <a:off x="5000625" y="3140075"/>
            <a:ext cx="814388" cy="1968500"/>
          </a:xfrm>
          <a:custGeom>
            <a:avLst/>
            <a:gdLst>
              <a:gd name="T0" fmla="*/ 76 w 76"/>
              <a:gd name="T1" fmla="*/ 80 h 183"/>
              <a:gd name="T2" fmla="*/ 64 w 76"/>
              <a:gd name="T3" fmla="*/ 0 h 183"/>
              <a:gd name="T4" fmla="*/ 17 w 76"/>
              <a:gd name="T5" fmla="*/ 80 h 183"/>
              <a:gd name="T6" fmla="*/ 33 w 76"/>
              <a:gd name="T7" fmla="*/ 80 h 183"/>
              <a:gd name="T8" fmla="*/ 0 w 76"/>
              <a:gd name="T9" fmla="*/ 183 h 183"/>
              <a:gd name="T10" fmla="*/ 38 w 76"/>
              <a:gd name="T11" fmla="*/ 183 h 183"/>
              <a:gd name="T12" fmla="*/ 60 w 76"/>
              <a:gd name="T13" fmla="*/ 80 h 183"/>
              <a:gd name="T14" fmla="*/ 76 w 76"/>
              <a:gd name="T15" fmla="*/ 80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83">
                <a:moveTo>
                  <a:pt x="76" y="80"/>
                </a:moveTo>
                <a:cubicBezTo>
                  <a:pt x="70" y="53"/>
                  <a:pt x="66" y="26"/>
                  <a:pt x="64" y="0"/>
                </a:cubicBezTo>
                <a:cubicBezTo>
                  <a:pt x="52" y="26"/>
                  <a:pt x="36" y="53"/>
                  <a:pt x="17" y="80"/>
                </a:cubicBezTo>
                <a:cubicBezTo>
                  <a:pt x="22" y="80"/>
                  <a:pt x="27" y="80"/>
                  <a:pt x="33" y="80"/>
                </a:cubicBezTo>
                <a:cubicBezTo>
                  <a:pt x="22" y="114"/>
                  <a:pt x="12" y="149"/>
                  <a:pt x="0" y="183"/>
                </a:cubicBezTo>
                <a:cubicBezTo>
                  <a:pt x="13" y="183"/>
                  <a:pt x="25" y="183"/>
                  <a:pt x="38" y="183"/>
                </a:cubicBezTo>
                <a:cubicBezTo>
                  <a:pt x="46" y="149"/>
                  <a:pt x="53" y="114"/>
                  <a:pt x="60" y="80"/>
                </a:cubicBezTo>
                <a:cubicBezTo>
                  <a:pt x="65" y="80"/>
                  <a:pt x="71" y="80"/>
                  <a:pt x="76" y="80"/>
                </a:cubicBezTo>
                <a:close/>
              </a:path>
            </a:pathLst>
          </a:custGeom>
          <a:solidFill>
            <a:schemeClr val="bg1"/>
          </a:solidFill>
          <a:ln>
            <a:noFill/>
          </a:ln>
        </p:spPr>
        <p:txBody>
          <a:bodyPr lIns="68580" tIns="34290" rIns="68580" bIns="34290"/>
          <a:lstStyle/>
          <a:p>
            <a:pPr>
              <a:defRPr/>
            </a:pPr>
            <a:endParaRPr lang="id-ID" sz="1350"/>
          </a:p>
        </p:txBody>
      </p:sp>
      <p:sp>
        <p:nvSpPr>
          <p:cNvPr id="107" name="Freeform 24"/>
          <p:cNvSpPr>
            <a:spLocks/>
          </p:cNvSpPr>
          <p:nvPr/>
        </p:nvSpPr>
        <p:spPr bwMode="auto">
          <a:xfrm>
            <a:off x="6418263" y="3243264"/>
            <a:ext cx="722312" cy="1914525"/>
          </a:xfrm>
          <a:custGeom>
            <a:avLst/>
            <a:gdLst>
              <a:gd name="T0" fmla="*/ 5 w 69"/>
              <a:gd name="T1" fmla="*/ 103 h 183"/>
              <a:gd name="T2" fmla="*/ 61 w 69"/>
              <a:gd name="T3" fmla="*/ 183 h 183"/>
              <a:gd name="T4" fmla="*/ 69 w 69"/>
              <a:gd name="T5" fmla="*/ 103 h 183"/>
              <a:gd name="T6" fmla="*/ 52 w 69"/>
              <a:gd name="T7" fmla="*/ 103 h 183"/>
              <a:gd name="T8" fmla="*/ 20 w 69"/>
              <a:gd name="T9" fmla="*/ 0 h 183"/>
              <a:gd name="T10" fmla="*/ 0 w 69"/>
              <a:gd name="T11" fmla="*/ 0 h 183"/>
              <a:gd name="T12" fmla="*/ 22 w 69"/>
              <a:gd name="T13" fmla="*/ 103 h 183"/>
              <a:gd name="T14" fmla="*/ 5 w 69"/>
              <a:gd name="T15" fmla="*/ 103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183">
                <a:moveTo>
                  <a:pt x="5" y="103"/>
                </a:moveTo>
                <a:cubicBezTo>
                  <a:pt x="20" y="130"/>
                  <a:pt x="39" y="156"/>
                  <a:pt x="61" y="183"/>
                </a:cubicBezTo>
                <a:cubicBezTo>
                  <a:pt x="66" y="156"/>
                  <a:pt x="69" y="130"/>
                  <a:pt x="69" y="103"/>
                </a:cubicBezTo>
                <a:cubicBezTo>
                  <a:pt x="63" y="103"/>
                  <a:pt x="58" y="103"/>
                  <a:pt x="52" y="103"/>
                </a:cubicBezTo>
                <a:cubicBezTo>
                  <a:pt x="40" y="69"/>
                  <a:pt x="30" y="34"/>
                  <a:pt x="20" y="0"/>
                </a:cubicBezTo>
                <a:cubicBezTo>
                  <a:pt x="13" y="0"/>
                  <a:pt x="7" y="0"/>
                  <a:pt x="0" y="0"/>
                </a:cubicBezTo>
                <a:cubicBezTo>
                  <a:pt x="7" y="34"/>
                  <a:pt x="14" y="69"/>
                  <a:pt x="22" y="103"/>
                </a:cubicBezTo>
                <a:cubicBezTo>
                  <a:pt x="16" y="103"/>
                  <a:pt x="10" y="103"/>
                  <a:pt x="5" y="103"/>
                </a:cubicBezTo>
                <a:close/>
              </a:path>
            </a:pathLst>
          </a:custGeom>
          <a:solidFill>
            <a:schemeClr val="bg1"/>
          </a:solidFill>
          <a:ln>
            <a:noFill/>
          </a:ln>
        </p:spPr>
        <p:txBody>
          <a:bodyPr lIns="68580" tIns="34290" rIns="68580" bIns="34290"/>
          <a:lstStyle/>
          <a:p>
            <a:pPr>
              <a:defRPr/>
            </a:pPr>
            <a:endParaRPr lang="id-ID" sz="1350"/>
          </a:p>
        </p:txBody>
      </p:sp>
      <p:sp>
        <p:nvSpPr>
          <p:cNvPr id="109" name="Rectangle 5"/>
          <p:cNvSpPr>
            <a:spLocks noChangeArrowheads="1"/>
          </p:cNvSpPr>
          <p:nvPr/>
        </p:nvSpPr>
        <p:spPr bwMode="auto">
          <a:xfrm>
            <a:off x="4195169" y="4181477"/>
            <a:ext cx="61913" cy="981075"/>
          </a:xfrm>
          <a:prstGeom prst="rect">
            <a:avLst/>
          </a:prstGeom>
          <a:solidFill>
            <a:schemeClr val="tx1">
              <a:lumMod val="60000"/>
              <a:lumOff val="40000"/>
            </a:schemeClr>
          </a:solidFill>
          <a:ln>
            <a:noFill/>
          </a:ln>
        </p:spPr>
        <p:txBody>
          <a:bodyPr lIns="68580" tIns="34290" rIns="68580" bIns="34290"/>
          <a:lstStyle/>
          <a:p>
            <a:pPr>
              <a:defRPr/>
            </a:pPr>
            <a:endParaRPr lang="id-ID" sz="1350" dirty="0"/>
          </a:p>
        </p:txBody>
      </p:sp>
      <p:sp>
        <p:nvSpPr>
          <p:cNvPr id="112" name="Rectangle 5"/>
          <p:cNvSpPr>
            <a:spLocks noChangeArrowheads="1"/>
          </p:cNvSpPr>
          <p:nvPr/>
        </p:nvSpPr>
        <p:spPr bwMode="auto">
          <a:xfrm>
            <a:off x="5011920" y="2512443"/>
            <a:ext cx="51229" cy="811784"/>
          </a:xfrm>
          <a:prstGeom prst="rect">
            <a:avLst/>
          </a:prstGeom>
          <a:solidFill>
            <a:schemeClr val="tx1">
              <a:lumMod val="60000"/>
              <a:lumOff val="40000"/>
            </a:schemeClr>
          </a:solidFill>
          <a:ln>
            <a:noFill/>
          </a:ln>
        </p:spPr>
        <p:txBody>
          <a:bodyPr lIns="68580" tIns="34290" rIns="68580" bIns="34290"/>
          <a:lstStyle/>
          <a:p>
            <a:pPr>
              <a:defRPr/>
            </a:pPr>
            <a:endParaRPr lang="id-ID" sz="1350" dirty="0"/>
          </a:p>
        </p:txBody>
      </p:sp>
      <p:sp>
        <p:nvSpPr>
          <p:cNvPr id="115" name="Rectangle 5"/>
          <p:cNvSpPr>
            <a:spLocks noChangeArrowheads="1"/>
          </p:cNvSpPr>
          <p:nvPr/>
        </p:nvSpPr>
        <p:spPr bwMode="auto">
          <a:xfrm>
            <a:off x="7995644" y="4181477"/>
            <a:ext cx="61913" cy="981075"/>
          </a:xfrm>
          <a:prstGeom prst="rect">
            <a:avLst/>
          </a:prstGeom>
          <a:solidFill>
            <a:schemeClr val="tx1">
              <a:lumMod val="60000"/>
              <a:lumOff val="40000"/>
            </a:schemeClr>
          </a:solidFill>
          <a:ln>
            <a:noFill/>
          </a:ln>
        </p:spPr>
        <p:txBody>
          <a:bodyPr lIns="68580" tIns="34290" rIns="68580" bIns="34290"/>
          <a:lstStyle/>
          <a:p>
            <a:pPr>
              <a:defRPr/>
            </a:pPr>
            <a:endParaRPr lang="id-ID" sz="1350"/>
          </a:p>
        </p:txBody>
      </p:sp>
      <p:sp>
        <p:nvSpPr>
          <p:cNvPr id="118" name="Rectangle 5"/>
          <p:cNvSpPr>
            <a:spLocks noChangeArrowheads="1"/>
          </p:cNvSpPr>
          <p:nvPr/>
        </p:nvSpPr>
        <p:spPr bwMode="auto">
          <a:xfrm>
            <a:off x="7193145" y="2512443"/>
            <a:ext cx="51229" cy="811784"/>
          </a:xfrm>
          <a:prstGeom prst="rect">
            <a:avLst/>
          </a:prstGeom>
          <a:solidFill>
            <a:schemeClr val="tx1">
              <a:lumMod val="60000"/>
              <a:lumOff val="40000"/>
            </a:schemeClr>
          </a:solidFill>
          <a:ln>
            <a:noFill/>
          </a:ln>
        </p:spPr>
        <p:txBody>
          <a:bodyPr lIns="68580" tIns="34290" rIns="68580" bIns="34290"/>
          <a:lstStyle/>
          <a:p>
            <a:pPr>
              <a:defRPr/>
            </a:pPr>
            <a:endParaRPr lang="id-ID" sz="1350" dirty="0"/>
          </a:p>
        </p:txBody>
      </p:sp>
      <p:sp>
        <p:nvSpPr>
          <p:cNvPr id="120" name="Rectangle 119"/>
          <p:cNvSpPr>
            <a:spLocks noChangeArrowheads="1"/>
          </p:cNvSpPr>
          <p:nvPr/>
        </p:nvSpPr>
        <p:spPr bwMode="auto">
          <a:xfrm>
            <a:off x="7556501" y="2227263"/>
            <a:ext cx="1497013"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eaLnBrk="1" hangingPunct="1"/>
            <a:r>
              <a:rPr lang="id-ID" altLang="de-DE" sz="900"/>
              <a:t>Suitable for all categories business and personal presentation</a:t>
            </a:r>
          </a:p>
        </p:txBody>
      </p:sp>
      <p:sp>
        <p:nvSpPr>
          <p:cNvPr id="121" name="TextBox 120"/>
          <p:cNvSpPr txBox="1"/>
          <p:nvPr/>
        </p:nvSpPr>
        <p:spPr>
          <a:xfrm>
            <a:off x="7556501" y="2033588"/>
            <a:ext cx="623889" cy="253916"/>
          </a:xfrm>
          <a:prstGeom prst="rect">
            <a:avLst/>
          </a:prstGeom>
          <a:noFill/>
        </p:spPr>
        <p:txBody>
          <a:bodyPr wrap="none">
            <a:spAutoFit/>
          </a:bodyPr>
          <a:lstStyle/>
          <a:p>
            <a:pPr>
              <a:defRPr/>
            </a:pPr>
            <a:r>
              <a:rPr lang="id-ID" sz="1050" b="1" dirty="0">
                <a:latin typeface="+mj-lt"/>
              </a:rPr>
              <a:t>Product</a:t>
            </a:r>
          </a:p>
        </p:txBody>
      </p:sp>
      <p:sp>
        <p:nvSpPr>
          <p:cNvPr id="122" name="Rectangle 121"/>
          <p:cNvSpPr>
            <a:spLocks noChangeArrowheads="1"/>
          </p:cNvSpPr>
          <p:nvPr/>
        </p:nvSpPr>
        <p:spPr bwMode="auto">
          <a:xfrm>
            <a:off x="3213100" y="2208213"/>
            <a:ext cx="14732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algn="r" eaLnBrk="1" hangingPunct="1"/>
            <a:r>
              <a:rPr lang="id-ID" altLang="de-DE" sz="900"/>
              <a:t>Suitable for all categories business and personal presentation</a:t>
            </a:r>
          </a:p>
        </p:txBody>
      </p:sp>
      <p:sp>
        <p:nvSpPr>
          <p:cNvPr id="123" name="TextBox 122"/>
          <p:cNvSpPr txBox="1"/>
          <p:nvPr/>
        </p:nvSpPr>
        <p:spPr>
          <a:xfrm>
            <a:off x="4004704" y="2014538"/>
            <a:ext cx="681597" cy="253916"/>
          </a:xfrm>
          <a:prstGeom prst="rect">
            <a:avLst/>
          </a:prstGeom>
          <a:noFill/>
        </p:spPr>
        <p:txBody>
          <a:bodyPr wrap="none">
            <a:spAutoFit/>
          </a:bodyPr>
          <a:lstStyle/>
          <a:p>
            <a:pPr algn="r">
              <a:defRPr/>
            </a:pPr>
            <a:r>
              <a:rPr lang="id-ID" sz="1050" b="1" dirty="0">
                <a:latin typeface="+mj-lt"/>
              </a:rPr>
              <a:t>Payment</a:t>
            </a:r>
          </a:p>
        </p:txBody>
      </p:sp>
      <p:sp>
        <p:nvSpPr>
          <p:cNvPr id="124" name="Rectangle 123"/>
          <p:cNvSpPr>
            <a:spLocks noChangeArrowheads="1"/>
          </p:cNvSpPr>
          <p:nvPr/>
        </p:nvSpPr>
        <p:spPr bwMode="auto">
          <a:xfrm>
            <a:off x="8442326" y="3770313"/>
            <a:ext cx="1497013"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eaLnBrk="1" hangingPunct="1"/>
            <a:r>
              <a:rPr lang="id-ID" altLang="de-DE" sz="900"/>
              <a:t>Suitable for all categories business and personal presentation</a:t>
            </a:r>
          </a:p>
        </p:txBody>
      </p:sp>
      <p:sp>
        <p:nvSpPr>
          <p:cNvPr id="125" name="TextBox 124"/>
          <p:cNvSpPr txBox="1"/>
          <p:nvPr/>
        </p:nvSpPr>
        <p:spPr>
          <a:xfrm>
            <a:off x="8442325" y="3576638"/>
            <a:ext cx="647934" cy="253916"/>
          </a:xfrm>
          <a:prstGeom prst="rect">
            <a:avLst/>
          </a:prstGeom>
          <a:noFill/>
        </p:spPr>
        <p:txBody>
          <a:bodyPr wrap="none">
            <a:spAutoFit/>
          </a:bodyPr>
          <a:lstStyle/>
          <a:p>
            <a:pPr>
              <a:defRPr/>
            </a:pPr>
            <a:r>
              <a:rPr lang="id-ID" sz="1050" b="1" dirty="0">
                <a:latin typeface="+mj-lt"/>
              </a:rPr>
              <a:t>Delivery</a:t>
            </a:r>
          </a:p>
        </p:txBody>
      </p:sp>
      <p:sp>
        <p:nvSpPr>
          <p:cNvPr id="126" name="Rectangle 125"/>
          <p:cNvSpPr>
            <a:spLocks noChangeArrowheads="1"/>
          </p:cNvSpPr>
          <p:nvPr/>
        </p:nvSpPr>
        <p:spPr bwMode="auto">
          <a:xfrm>
            <a:off x="2336800" y="3789363"/>
            <a:ext cx="14732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algn="r" eaLnBrk="1" hangingPunct="1"/>
            <a:r>
              <a:rPr lang="id-ID" altLang="de-DE" sz="900"/>
              <a:t>Suitable for all categories business and personal presentation</a:t>
            </a:r>
          </a:p>
        </p:txBody>
      </p:sp>
      <p:sp>
        <p:nvSpPr>
          <p:cNvPr id="127" name="TextBox 126"/>
          <p:cNvSpPr txBox="1"/>
          <p:nvPr/>
        </p:nvSpPr>
        <p:spPr>
          <a:xfrm>
            <a:off x="3357634" y="3595688"/>
            <a:ext cx="452367" cy="253916"/>
          </a:xfrm>
          <a:prstGeom prst="rect">
            <a:avLst/>
          </a:prstGeom>
          <a:noFill/>
        </p:spPr>
        <p:txBody>
          <a:bodyPr wrap="none">
            <a:spAutoFit/>
          </a:bodyPr>
          <a:lstStyle/>
          <a:p>
            <a:pPr algn="r">
              <a:defRPr/>
            </a:pPr>
            <a:r>
              <a:rPr lang="id-ID" sz="1050" b="1" dirty="0">
                <a:latin typeface="+mj-lt"/>
              </a:rPr>
              <a:t>Brief</a:t>
            </a:r>
          </a:p>
        </p:txBody>
      </p:sp>
      <p:grpSp>
        <p:nvGrpSpPr>
          <p:cNvPr id="44" name="Group 662">
            <a:extLst>
              <a:ext uri="{FF2B5EF4-FFF2-40B4-BE49-F238E27FC236}">
                <a16:creationId xmlns:a16="http://schemas.microsoft.com/office/drawing/2014/main" id="{0B82427E-441B-474A-96F7-AAD684151838}"/>
              </a:ext>
            </a:extLst>
          </p:cNvPr>
          <p:cNvGrpSpPr>
            <a:grpSpLocks noChangeAspect="1"/>
          </p:cNvGrpSpPr>
          <p:nvPr/>
        </p:nvGrpSpPr>
        <p:grpSpPr bwMode="auto">
          <a:xfrm>
            <a:off x="3960220" y="3637109"/>
            <a:ext cx="548640" cy="548640"/>
            <a:chOff x="2340" y="2340"/>
            <a:chExt cx="340" cy="340"/>
          </a:xfrm>
          <a:solidFill>
            <a:schemeClr val="accent1"/>
          </a:solidFill>
        </p:grpSpPr>
        <p:sp>
          <p:nvSpPr>
            <p:cNvPr id="45" name="Oval 663">
              <a:extLst>
                <a:ext uri="{FF2B5EF4-FFF2-40B4-BE49-F238E27FC236}">
                  <a16:creationId xmlns:a16="http://schemas.microsoft.com/office/drawing/2014/main" id="{5DA63629-923F-414A-8402-CC08EE776728}"/>
                </a:ext>
              </a:extLst>
            </p:cNvPr>
            <p:cNvSpPr>
              <a:spLocks noChangeArrowheads="1"/>
            </p:cNvSpPr>
            <p:nvPr/>
          </p:nvSpPr>
          <p:spPr bwMode="auto">
            <a:xfrm>
              <a:off x="2559" y="2559"/>
              <a:ext cx="15" cy="15"/>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664">
              <a:extLst>
                <a:ext uri="{FF2B5EF4-FFF2-40B4-BE49-F238E27FC236}">
                  <a16:creationId xmlns:a16="http://schemas.microsoft.com/office/drawing/2014/main" id="{736B7A8E-0330-424F-AF06-89378E166F05}"/>
                </a:ext>
              </a:extLst>
            </p:cNvPr>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Oval 665">
              <a:extLst>
                <a:ext uri="{FF2B5EF4-FFF2-40B4-BE49-F238E27FC236}">
                  <a16:creationId xmlns:a16="http://schemas.microsoft.com/office/drawing/2014/main" id="{234E19B9-8419-4465-A72B-BF3511D2E150}"/>
                </a:ext>
              </a:extLst>
            </p:cNvPr>
            <p:cNvSpPr>
              <a:spLocks noChangeArrowheads="1"/>
            </p:cNvSpPr>
            <p:nvPr/>
          </p:nvSpPr>
          <p:spPr bwMode="auto">
            <a:xfrm>
              <a:off x="2439" y="2559"/>
              <a:ext cx="14" cy="15"/>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666">
              <a:extLst>
                <a:ext uri="{FF2B5EF4-FFF2-40B4-BE49-F238E27FC236}">
                  <a16:creationId xmlns:a16="http://schemas.microsoft.com/office/drawing/2014/main" id="{13E6B91E-9619-4EF0-BF6C-FFB31DACCD4A}"/>
                </a:ext>
              </a:extLst>
            </p:cNvPr>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 name="Freeform 232">
            <a:extLst>
              <a:ext uri="{FF2B5EF4-FFF2-40B4-BE49-F238E27FC236}">
                <a16:creationId xmlns:a16="http://schemas.microsoft.com/office/drawing/2014/main" id="{32E71E19-EC4F-43DC-B8FE-3E04A8137A4D}"/>
              </a:ext>
            </a:extLst>
          </p:cNvPr>
          <p:cNvSpPr>
            <a:spLocks noChangeAspect="1" noEditPoints="1"/>
          </p:cNvSpPr>
          <p:nvPr/>
        </p:nvSpPr>
        <p:spPr bwMode="auto">
          <a:xfrm>
            <a:off x="7798594" y="3731942"/>
            <a:ext cx="457200" cy="457200"/>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0" name="Freeform 908">
            <a:extLst>
              <a:ext uri="{FF2B5EF4-FFF2-40B4-BE49-F238E27FC236}">
                <a16:creationId xmlns:a16="http://schemas.microsoft.com/office/drawing/2014/main" id="{358A512B-C52F-4C7B-8F29-D5ED3E5C34BE}"/>
              </a:ext>
            </a:extLst>
          </p:cNvPr>
          <p:cNvSpPr>
            <a:spLocks noChangeAspect="1" noEditPoints="1"/>
          </p:cNvSpPr>
          <p:nvPr/>
        </p:nvSpPr>
        <p:spPr bwMode="auto">
          <a:xfrm>
            <a:off x="4808934" y="2076723"/>
            <a:ext cx="457200" cy="457200"/>
          </a:xfrm>
          <a:custGeom>
            <a:avLst/>
            <a:gdLst>
              <a:gd name="T0" fmla="*/ 384 w 512"/>
              <a:gd name="T1" fmla="*/ 160 h 512"/>
              <a:gd name="T2" fmla="*/ 213 w 512"/>
              <a:gd name="T3" fmla="*/ 256 h 512"/>
              <a:gd name="T4" fmla="*/ 181 w 512"/>
              <a:gd name="T5" fmla="*/ 256 h 512"/>
              <a:gd name="T6" fmla="*/ 202 w 512"/>
              <a:gd name="T7" fmla="*/ 234 h 512"/>
              <a:gd name="T8" fmla="*/ 245 w 512"/>
              <a:gd name="T9" fmla="*/ 288 h 512"/>
              <a:gd name="T10" fmla="*/ 213 w 512"/>
              <a:gd name="T11" fmla="*/ 288 h 512"/>
              <a:gd name="T12" fmla="*/ 234 w 512"/>
              <a:gd name="T13" fmla="*/ 266 h 512"/>
              <a:gd name="T14" fmla="*/ 277 w 512"/>
              <a:gd name="T15" fmla="*/ 256 h 512"/>
              <a:gd name="T16" fmla="*/ 245 w 512"/>
              <a:gd name="T17" fmla="*/ 256 h 512"/>
              <a:gd name="T18" fmla="*/ 266 w 512"/>
              <a:gd name="T19" fmla="*/ 234 h 512"/>
              <a:gd name="T20" fmla="*/ 309 w 512"/>
              <a:gd name="T21" fmla="*/ 288 h 512"/>
              <a:gd name="T22" fmla="*/ 277 w 512"/>
              <a:gd name="T23" fmla="*/ 288 h 512"/>
              <a:gd name="T24" fmla="*/ 298 w 512"/>
              <a:gd name="T25" fmla="*/ 266 h 512"/>
              <a:gd name="T26" fmla="*/ 341 w 512"/>
              <a:gd name="T27" fmla="*/ 256 h 512"/>
              <a:gd name="T28" fmla="*/ 309 w 512"/>
              <a:gd name="T29" fmla="*/ 256 h 512"/>
              <a:gd name="T30" fmla="*/ 330 w 512"/>
              <a:gd name="T31" fmla="*/ 234 h 512"/>
              <a:gd name="T32" fmla="*/ 373 w 512"/>
              <a:gd name="T33" fmla="*/ 288 h 512"/>
              <a:gd name="T34" fmla="*/ 341 w 512"/>
              <a:gd name="T35" fmla="*/ 288 h 512"/>
              <a:gd name="T36" fmla="*/ 362 w 512"/>
              <a:gd name="T37" fmla="*/ 266 h 512"/>
              <a:gd name="T38" fmla="*/ 373 w 512"/>
              <a:gd name="T39" fmla="*/ 224 h 512"/>
              <a:gd name="T40" fmla="*/ 341 w 512"/>
              <a:gd name="T41" fmla="*/ 224 h 512"/>
              <a:gd name="T42" fmla="*/ 362 w 512"/>
              <a:gd name="T43" fmla="*/ 202 h 512"/>
              <a:gd name="T44" fmla="*/ 341 w 512"/>
              <a:gd name="T45" fmla="*/ 192 h 512"/>
              <a:gd name="T46" fmla="*/ 309 w 512"/>
              <a:gd name="T47" fmla="*/ 192 h 512"/>
              <a:gd name="T48" fmla="*/ 330 w 512"/>
              <a:gd name="T49" fmla="*/ 170 h 512"/>
              <a:gd name="T50" fmla="*/ 309 w 512"/>
              <a:gd name="T51" fmla="*/ 224 h 512"/>
              <a:gd name="T52" fmla="*/ 277 w 512"/>
              <a:gd name="T53" fmla="*/ 224 h 512"/>
              <a:gd name="T54" fmla="*/ 298 w 512"/>
              <a:gd name="T55" fmla="*/ 202 h 512"/>
              <a:gd name="T56" fmla="*/ 277 w 512"/>
              <a:gd name="T57" fmla="*/ 192 h 512"/>
              <a:gd name="T58" fmla="*/ 245 w 512"/>
              <a:gd name="T59" fmla="*/ 192 h 512"/>
              <a:gd name="T60" fmla="*/ 266 w 512"/>
              <a:gd name="T61" fmla="*/ 170 h 512"/>
              <a:gd name="T62" fmla="*/ 245 w 512"/>
              <a:gd name="T63" fmla="*/ 224 h 512"/>
              <a:gd name="T64" fmla="*/ 213 w 512"/>
              <a:gd name="T65" fmla="*/ 224 h 512"/>
              <a:gd name="T66" fmla="*/ 234 w 512"/>
              <a:gd name="T67" fmla="*/ 202 h 512"/>
              <a:gd name="T68" fmla="*/ 213 w 512"/>
              <a:gd name="T69" fmla="*/ 192 h 512"/>
              <a:gd name="T70" fmla="*/ 181 w 512"/>
              <a:gd name="T71" fmla="*/ 192 h 512"/>
              <a:gd name="T72" fmla="*/ 202 w 512"/>
              <a:gd name="T73" fmla="*/ 170 h 512"/>
              <a:gd name="T74" fmla="*/ 181 w 512"/>
              <a:gd name="T75" fmla="*/ 224 h 512"/>
              <a:gd name="T76" fmla="*/ 149 w 512"/>
              <a:gd name="T77" fmla="*/ 224 h 512"/>
              <a:gd name="T78" fmla="*/ 170 w 512"/>
              <a:gd name="T79" fmla="*/ 202 h 512"/>
              <a:gd name="T80" fmla="*/ 181 w 512"/>
              <a:gd name="T81" fmla="*/ 288 h 512"/>
              <a:gd name="T82" fmla="*/ 149 w 512"/>
              <a:gd name="T83" fmla="*/ 288 h 512"/>
              <a:gd name="T84" fmla="*/ 170 w 512"/>
              <a:gd name="T85" fmla="*/ 266 h 512"/>
              <a:gd name="T86" fmla="*/ 256 w 512"/>
              <a:gd name="T87" fmla="*/ 0 h 512"/>
              <a:gd name="T88" fmla="*/ 512 w 512"/>
              <a:gd name="T89" fmla="*/ 256 h 512"/>
              <a:gd name="T90" fmla="*/ 394 w 512"/>
              <a:gd name="T91" fmla="*/ 330 h 512"/>
              <a:gd name="T92" fmla="*/ 128 w 512"/>
              <a:gd name="T93" fmla="*/ 394 h 512"/>
              <a:gd name="T94" fmla="*/ 117 w 512"/>
              <a:gd name="T95" fmla="*/ 149 h 512"/>
              <a:gd name="T96" fmla="*/ 405 w 512"/>
              <a:gd name="T9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138" y="309"/>
                </a:moveTo>
                <a:cubicBezTo>
                  <a:pt x="384" y="309"/>
                  <a:pt x="384" y="309"/>
                  <a:pt x="384" y="309"/>
                </a:cubicBezTo>
                <a:cubicBezTo>
                  <a:pt x="384" y="160"/>
                  <a:pt x="384" y="160"/>
                  <a:pt x="384" y="160"/>
                </a:cubicBezTo>
                <a:cubicBezTo>
                  <a:pt x="138" y="160"/>
                  <a:pt x="138" y="160"/>
                  <a:pt x="138" y="160"/>
                </a:cubicBezTo>
                <a:lnTo>
                  <a:pt x="138" y="309"/>
                </a:lnTo>
                <a:close/>
                <a:moveTo>
                  <a:pt x="213" y="256"/>
                </a:moveTo>
                <a:cubicBezTo>
                  <a:pt x="213" y="262"/>
                  <a:pt x="208" y="266"/>
                  <a:pt x="202" y="266"/>
                </a:cubicBezTo>
                <a:cubicBezTo>
                  <a:pt x="192" y="266"/>
                  <a:pt x="192" y="266"/>
                  <a:pt x="192" y="266"/>
                </a:cubicBezTo>
                <a:cubicBezTo>
                  <a:pt x="186" y="266"/>
                  <a:pt x="181" y="262"/>
                  <a:pt x="181" y="256"/>
                </a:cubicBezTo>
                <a:cubicBezTo>
                  <a:pt x="181" y="245"/>
                  <a:pt x="181" y="245"/>
                  <a:pt x="181" y="245"/>
                </a:cubicBezTo>
                <a:cubicBezTo>
                  <a:pt x="181" y="239"/>
                  <a:pt x="186" y="234"/>
                  <a:pt x="192" y="234"/>
                </a:cubicBezTo>
                <a:cubicBezTo>
                  <a:pt x="202" y="234"/>
                  <a:pt x="202" y="234"/>
                  <a:pt x="202" y="234"/>
                </a:cubicBezTo>
                <a:cubicBezTo>
                  <a:pt x="208" y="234"/>
                  <a:pt x="213" y="239"/>
                  <a:pt x="213" y="245"/>
                </a:cubicBezTo>
                <a:lnTo>
                  <a:pt x="213" y="256"/>
                </a:lnTo>
                <a:close/>
                <a:moveTo>
                  <a:pt x="245" y="288"/>
                </a:moveTo>
                <a:cubicBezTo>
                  <a:pt x="245" y="294"/>
                  <a:pt x="240" y="298"/>
                  <a:pt x="234" y="298"/>
                </a:cubicBezTo>
                <a:cubicBezTo>
                  <a:pt x="224" y="298"/>
                  <a:pt x="224" y="298"/>
                  <a:pt x="224" y="298"/>
                </a:cubicBezTo>
                <a:cubicBezTo>
                  <a:pt x="218" y="298"/>
                  <a:pt x="213" y="294"/>
                  <a:pt x="213" y="288"/>
                </a:cubicBezTo>
                <a:cubicBezTo>
                  <a:pt x="213" y="277"/>
                  <a:pt x="213" y="277"/>
                  <a:pt x="213" y="277"/>
                </a:cubicBezTo>
                <a:cubicBezTo>
                  <a:pt x="213" y="271"/>
                  <a:pt x="218" y="266"/>
                  <a:pt x="224" y="266"/>
                </a:cubicBezTo>
                <a:cubicBezTo>
                  <a:pt x="234" y="266"/>
                  <a:pt x="234" y="266"/>
                  <a:pt x="234" y="266"/>
                </a:cubicBezTo>
                <a:cubicBezTo>
                  <a:pt x="240" y="266"/>
                  <a:pt x="245" y="271"/>
                  <a:pt x="245" y="277"/>
                </a:cubicBezTo>
                <a:lnTo>
                  <a:pt x="245" y="288"/>
                </a:lnTo>
                <a:close/>
                <a:moveTo>
                  <a:pt x="277" y="256"/>
                </a:moveTo>
                <a:cubicBezTo>
                  <a:pt x="277" y="262"/>
                  <a:pt x="272" y="266"/>
                  <a:pt x="266" y="266"/>
                </a:cubicBezTo>
                <a:cubicBezTo>
                  <a:pt x="256" y="266"/>
                  <a:pt x="256" y="266"/>
                  <a:pt x="256" y="266"/>
                </a:cubicBezTo>
                <a:cubicBezTo>
                  <a:pt x="250" y="266"/>
                  <a:pt x="245" y="262"/>
                  <a:pt x="245" y="256"/>
                </a:cubicBezTo>
                <a:cubicBezTo>
                  <a:pt x="245" y="245"/>
                  <a:pt x="245" y="245"/>
                  <a:pt x="245" y="245"/>
                </a:cubicBezTo>
                <a:cubicBezTo>
                  <a:pt x="245" y="239"/>
                  <a:pt x="250" y="234"/>
                  <a:pt x="256" y="234"/>
                </a:cubicBezTo>
                <a:cubicBezTo>
                  <a:pt x="266" y="234"/>
                  <a:pt x="266" y="234"/>
                  <a:pt x="266" y="234"/>
                </a:cubicBezTo>
                <a:cubicBezTo>
                  <a:pt x="272" y="234"/>
                  <a:pt x="277" y="239"/>
                  <a:pt x="277" y="245"/>
                </a:cubicBezTo>
                <a:lnTo>
                  <a:pt x="277" y="256"/>
                </a:lnTo>
                <a:close/>
                <a:moveTo>
                  <a:pt x="309" y="288"/>
                </a:moveTo>
                <a:cubicBezTo>
                  <a:pt x="309" y="294"/>
                  <a:pt x="304" y="298"/>
                  <a:pt x="298" y="298"/>
                </a:cubicBezTo>
                <a:cubicBezTo>
                  <a:pt x="288" y="298"/>
                  <a:pt x="288" y="298"/>
                  <a:pt x="288" y="298"/>
                </a:cubicBezTo>
                <a:cubicBezTo>
                  <a:pt x="282" y="298"/>
                  <a:pt x="277" y="294"/>
                  <a:pt x="277" y="288"/>
                </a:cubicBezTo>
                <a:cubicBezTo>
                  <a:pt x="277" y="277"/>
                  <a:pt x="277" y="277"/>
                  <a:pt x="277" y="277"/>
                </a:cubicBezTo>
                <a:cubicBezTo>
                  <a:pt x="277" y="271"/>
                  <a:pt x="282" y="266"/>
                  <a:pt x="288" y="266"/>
                </a:cubicBezTo>
                <a:cubicBezTo>
                  <a:pt x="298" y="266"/>
                  <a:pt x="298" y="266"/>
                  <a:pt x="298" y="266"/>
                </a:cubicBezTo>
                <a:cubicBezTo>
                  <a:pt x="304" y="266"/>
                  <a:pt x="309" y="271"/>
                  <a:pt x="309" y="277"/>
                </a:cubicBezTo>
                <a:lnTo>
                  <a:pt x="309" y="288"/>
                </a:lnTo>
                <a:close/>
                <a:moveTo>
                  <a:pt x="341" y="256"/>
                </a:moveTo>
                <a:cubicBezTo>
                  <a:pt x="341" y="262"/>
                  <a:pt x="336" y="266"/>
                  <a:pt x="330" y="266"/>
                </a:cubicBezTo>
                <a:cubicBezTo>
                  <a:pt x="320" y="266"/>
                  <a:pt x="320" y="266"/>
                  <a:pt x="320" y="266"/>
                </a:cubicBezTo>
                <a:cubicBezTo>
                  <a:pt x="314" y="266"/>
                  <a:pt x="309" y="262"/>
                  <a:pt x="309" y="256"/>
                </a:cubicBezTo>
                <a:cubicBezTo>
                  <a:pt x="309" y="245"/>
                  <a:pt x="309" y="245"/>
                  <a:pt x="309" y="245"/>
                </a:cubicBezTo>
                <a:cubicBezTo>
                  <a:pt x="309" y="239"/>
                  <a:pt x="314" y="234"/>
                  <a:pt x="320" y="234"/>
                </a:cubicBezTo>
                <a:cubicBezTo>
                  <a:pt x="330" y="234"/>
                  <a:pt x="330" y="234"/>
                  <a:pt x="330" y="234"/>
                </a:cubicBezTo>
                <a:cubicBezTo>
                  <a:pt x="336" y="234"/>
                  <a:pt x="341" y="239"/>
                  <a:pt x="341" y="245"/>
                </a:cubicBezTo>
                <a:lnTo>
                  <a:pt x="341" y="256"/>
                </a:lnTo>
                <a:close/>
                <a:moveTo>
                  <a:pt x="373" y="288"/>
                </a:moveTo>
                <a:cubicBezTo>
                  <a:pt x="373" y="294"/>
                  <a:pt x="368" y="298"/>
                  <a:pt x="362" y="298"/>
                </a:cubicBezTo>
                <a:cubicBezTo>
                  <a:pt x="352" y="298"/>
                  <a:pt x="352" y="298"/>
                  <a:pt x="352" y="298"/>
                </a:cubicBezTo>
                <a:cubicBezTo>
                  <a:pt x="346" y="298"/>
                  <a:pt x="341" y="294"/>
                  <a:pt x="341" y="288"/>
                </a:cubicBezTo>
                <a:cubicBezTo>
                  <a:pt x="341" y="277"/>
                  <a:pt x="341" y="277"/>
                  <a:pt x="341" y="277"/>
                </a:cubicBezTo>
                <a:cubicBezTo>
                  <a:pt x="341" y="271"/>
                  <a:pt x="346" y="266"/>
                  <a:pt x="352" y="266"/>
                </a:cubicBezTo>
                <a:cubicBezTo>
                  <a:pt x="362" y="266"/>
                  <a:pt x="362" y="266"/>
                  <a:pt x="362" y="266"/>
                </a:cubicBezTo>
                <a:cubicBezTo>
                  <a:pt x="368" y="266"/>
                  <a:pt x="373" y="271"/>
                  <a:pt x="373" y="277"/>
                </a:cubicBezTo>
                <a:lnTo>
                  <a:pt x="373" y="288"/>
                </a:lnTo>
                <a:close/>
                <a:moveTo>
                  <a:pt x="373" y="224"/>
                </a:moveTo>
                <a:cubicBezTo>
                  <a:pt x="373" y="230"/>
                  <a:pt x="368" y="234"/>
                  <a:pt x="362" y="234"/>
                </a:cubicBezTo>
                <a:cubicBezTo>
                  <a:pt x="352" y="234"/>
                  <a:pt x="352" y="234"/>
                  <a:pt x="352" y="234"/>
                </a:cubicBezTo>
                <a:cubicBezTo>
                  <a:pt x="346" y="234"/>
                  <a:pt x="341" y="230"/>
                  <a:pt x="341" y="224"/>
                </a:cubicBezTo>
                <a:cubicBezTo>
                  <a:pt x="341" y="213"/>
                  <a:pt x="341" y="213"/>
                  <a:pt x="341" y="213"/>
                </a:cubicBezTo>
                <a:cubicBezTo>
                  <a:pt x="341" y="207"/>
                  <a:pt x="346" y="202"/>
                  <a:pt x="352" y="202"/>
                </a:cubicBezTo>
                <a:cubicBezTo>
                  <a:pt x="362" y="202"/>
                  <a:pt x="362" y="202"/>
                  <a:pt x="362" y="202"/>
                </a:cubicBezTo>
                <a:cubicBezTo>
                  <a:pt x="368" y="202"/>
                  <a:pt x="373" y="207"/>
                  <a:pt x="373" y="213"/>
                </a:cubicBezTo>
                <a:lnTo>
                  <a:pt x="373" y="224"/>
                </a:lnTo>
                <a:close/>
                <a:moveTo>
                  <a:pt x="341" y="192"/>
                </a:moveTo>
                <a:cubicBezTo>
                  <a:pt x="341" y="198"/>
                  <a:pt x="336" y="202"/>
                  <a:pt x="330" y="202"/>
                </a:cubicBezTo>
                <a:cubicBezTo>
                  <a:pt x="320" y="202"/>
                  <a:pt x="320" y="202"/>
                  <a:pt x="320" y="202"/>
                </a:cubicBezTo>
                <a:cubicBezTo>
                  <a:pt x="314" y="202"/>
                  <a:pt x="309" y="198"/>
                  <a:pt x="309" y="192"/>
                </a:cubicBezTo>
                <a:cubicBezTo>
                  <a:pt x="309" y="181"/>
                  <a:pt x="309" y="181"/>
                  <a:pt x="309" y="181"/>
                </a:cubicBezTo>
                <a:cubicBezTo>
                  <a:pt x="309" y="175"/>
                  <a:pt x="314" y="170"/>
                  <a:pt x="320" y="170"/>
                </a:cubicBezTo>
                <a:cubicBezTo>
                  <a:pt x="330" y="170"/>
                  <a:pt x="330" y="170"/>
                  <a:pt x="330" y="170"/>
                </a:cubicBezTo>
                <a:cubicBezTo>
                  <a:pt x="336" y="170"/>
                  <a:pt x="341" y="175"/>
                  <a:pt x="341" y="181"/>
                </a:cubicBezTo>
                <a:lnTo>
                  <a:pt x="341" y="192"/>
                </a:lnTo>
                <a:close/>
                <a:moveTo>
                  <a:pt x="309" y="224"/>
                </a:moveTo>
                <a:cubicBezTo>
                  <a:pt x="309" y="230"/>
                  <a:pt x="304" y="234"/>
                  <a:pt x="298" y="234"/>
                </a:cubicBezTo>
                <a:cubicBezTo>
                  <a:pt x="288" y="234"/>
                  <a:pt x="288" y="234"/>
                  <a:pt x="288" y="234"/>
                </a:cubicBezTo>
                <a:cubicBezTo>
                  <a:pt x="282" y="234"/>
                  <a:pt x="277" y="230"/>
                  <a:pt x="277" y="224"/>
                </a:cubicBezTo>
                <a:cubicBezTo>
                  <a:pt x="277" y="213"/>
                  <a:pt x="277" y="213"/>
                  <a:pt x="277" y="213"/>
                </a:cubicBezTo>
                <a:cubicBezTo>
                  <a:pt x="277" y="207"/>
                  <a:pt x="282" y="202"/>
                  <a:pt x="288" y="202"/>
                </a:cubicBezTo>
                <a:cubicBezTo>
                  <a:pt x="298" y="202"/>
                  <a:pt x="298" y="202"/>
                  <a:pt x="298" y="202"/>
                </a:cubicBezTo>
                <a:cubicBezTo>
                  <a:pt x="304" y="202"/>
                  <a:pt x="309" y="207"/>
                  <a:pt x="309" y="213"/>
                </a:cubicBezTo>
                <a:lnTo>
                  <a:pt x="309" y="224"/>
                </a:lnTo>
                <a:close/>
                <a:moveTo>
                  <a:pt x="277" y="192"/>
                </a:moveTo>
                <a:cubicBezTo>
                  <a:pt x="277" y="198"/>
                  <a:pt x="272" y="202"/>
                  <a:pt x="266" y="202"/>
                </a:cubicBezTo>
                <a:cubicBezTo>
                  <a:pt x="256" y="202"/>
                  <a:pt x="256" y="202"/>
                  <a:pt x="256" y="202"/>
                </a:cubicBezTo>
                <a:cubicBezTo>
                  <a:pt x="250" y="202"/>
                  <a:pt x="245" y="198"/>
                  <a:pt x="245" y="192"/>
                </a:cubicBezTo>
                <a:cubicBezTo>
                  <a:pt x="245" y="181"/>
                  <a:pt x="245" y="181"/>
                  <a:pt x="245" y="181"/>
                </a:cubicBezTo>
                <a:cubicBezTo>
                  <a:pt x="245" y="175"/>
                  <a:pt x="250" y="170"/>
                  <a:pt x="256" y="170"/>
                </a:cubicBezTo>
                <a:cubicBezTo>
                  <a:pt x="266" y="170"/>
                  <a:pt x="266" y="170"/>
                  <a:pt x="266" y="170"/>
                </a:cubicBezTo>
                <a:cubicBezTo>
                  <a:pt x="272" y="170"/>
                  <a:pt x="277" y="175"/>
                  <a:pt x="277" y="181"/>
                </a:cubicBezTo>
                <a:lnTo>
                  <a:pt x="277" y="192"/>
                </a:lnTo>
                <a:close/>
                <a:moveTo>
                  <a:pt x="245" y="224"/>
                </a:moveTo>
                <a:cubicBezTo>
                  <a:pt x="245" y="230"/>
                  <a:pt x="240" y="234"/>
                  <a:pt x="234" y="234"/>
                </a:cubicBezTo>
                <a:cubicBezTo>
                  <a:pt x="224" y="234"/>
                  <a:pt x="224" y="234"/>
                  <a:pt x="224" y="234"/>
                </a:cubicBezTo>
                <a:cubicBezTo>
                  <a:pt x="218" y="234"/>
                  <a:pt x="213" y="230"/>
                  <a:pt x="213" y="224"/>
                </a:cubicBezTo>
                <a:cubicBezTo>
                  <a:pt x="213" y="213"/>
                  <a:pt x="213" y="213"/>
                  <a:pt x="213" y="213"/>
                </a:cubicBezTo>
                <a:cubicBezTo>
                  <a:pt x="213" y="207"/>
                  <a:pt x="218" y="202"/>
                  <a:pt x="224" y="202"/>
                </a:cubicBezTo>
                <a:cubicBezTo>
                  <a:pt x="234" y="202"/>
                  <a:pt x="234" y="202"/>
                  <a:pt x="234" y="202"/>
                </a:cubicBezTo>
                <a:cubicBezTo>
                  <a:pt x="240" y="202"/>
                  <a:pt x="245" y="207"/>
                  <a:pt x="245" y="213"/>
                </a:cubicBezTo>
                <a:lnTo>
                  <a:pt x="245" y="224"/>
                </a:lnTo>
                <a:close/>
                <a:moveTo>
                  <a:pt x="213" y="192"/>
                </a:moveTo>
                <a:cubicBezTo>
                  <a:pt x="213" y="198"/>
                  <a:pt x="208" y="202"/>
                  <a:pt x="202" y="202"/>
                </a:cubicBezTo>
                <a:cubicBezTo>
                  <a:pt x="192" y="202"/>
                  <a:pt x="192" y="202"/>
                  <a:pt x="192" y="202"/>
                </a:cubicBezTo>
                <a:cubicBezTo>
                  <a:pt x="186" y="202"/>
                  <a:pt x="181" y="198"/>
                  <a:pt x="181" y="192"/>
                </a:cubicBezTo>
                <a:cubicBezTo>
                  <a:pt x="181" y="181"/>
                  <a:pt x="181" y="181"/>
                  <a:pt x="181" y="181"/>
                </a:cubicBezTo>
                <a:cubicBezTo>
                  <a:pt x="181" y="175"/>
                  <a:pt x="186" y="170"/>
                  <a:pt x="192" y="170"/>
                </a:cubicBezTo>
                <a:cubicBezTo>
                  <a:pt x="202" y="170"/>
                  <a:pt x="202" y="170"/>
                  <a:pt x="202" y="170"/>
                </a:cubicBezTo>
                <a:cubicBezTo>
                  <a:pt x="208" y="170"/>
                  <a:pt x="213" y="175"/>
                  <a:pt x="213" y="181"/>
                </a:cubicBezTo>
                <a:lnTo>
                  <a:pt x="213" y="192"/>
                </a:lnTo>
                <a:close/>
                <a:moveTo>
                  <a:pt x="181" y="224"/>
                </a:moveTo>
                <a:cubicBezTo>
                  <a:pt x="181" y="230"/>
                  <a:pt x="176" y="234"/>
                  <a:pt x="170" y="234"/>
                </a:cubicBezTo>
                <a:cubicBezTo>
                  <a:pt x="160" y="234"/>
                  <a:pt x="160" y="234"/>
                  <a:pt x="160" y="234"/>
                </a:cubicBezTo>
                <a:cubicBezTo>
                  <a:pt x="154" y="234"/>
                  <a:pt x="149" y="230"/>
                  <a:pt x="149" y="224"/>
                </a:cubicBezTo>
                <a:cubicBezTo>
                  <a:pt x="149" y="213"/>
                  <a:pt x="149" y="213"/>
                  <a:pt x="149" y="213"/>
                </a:cubicBezTo>
                <a:cubicBezTo>
                  <a:pt x="149" y="207"/>
                  <a:pt x="154" y="202"/>
                  <a:pt x="160" y="202"/>
                </a:cubicBezTo>
                <a:cubicBezTo>
                  <a:pt x="170" y="202"/>
                  <a:pt x="170" y="202"/>
                  <a:pt x="170" y="202"/>
                </a:cubicBezTo>
                <a:cubicBezTo>
                  <a:pt x="176" y="202"/>
                  <a:pt x="181" y="207"/>
                  <a:pt x="181" y="213"/>
                </a:cubicBezTo>
                <a:lnTo>
                  <a:pt x="181" y="224"/>
                </a:lnTo>
                <a:close/>
                <a:moveTo>
                  <a:pt x="181" y="288"/>
                </a:moveTo>
                <a:cubicBezTo>
                  <a:pt x="181" y="294"/>
                  <a:pt x="176" y="298"/>
                  <a:pt x="170" y="298"/>
                </a:cubicBezTo>
                <a:cubicBezTo>
                  <a:pt x="160" y="298"/>
                  <a:pt x="160" y="298"/>
                  <a:pt x="160" y="298"/>
                </a:cubicBezTo>
                <a:cubicBezTo>
                  <a:pt x="154" y="298"/>
                  <a:pt x="149" y="294"/>
                  <a:pt x="149" y="288"/>
                </a:cubicBezTo>
                <a:cubicBezTo>
                  <a:pt x="149" y="277"/>
                  <a:pt x="149" y="277"/>
                  <a:pt x="149" y="277"/>
                </a:cubicBezTo>
                <a:cubicBezTo>
                  <a:pt x="149" y="271"/>
                  <a:pt x="154" y="266"/>
                  <a:pt x="160" y="266"/>
                </a:cubicBezTo>
                <a:cubicBezTo>
                  <a:pt x="170" y="266"/>
                  <a:pt x="170" y="266"/>
                  <a:pt x="170" y="266"/>
                </a:cubicBezTo>
                <a:cubicBezTo>
                  <a:pt x="176" y="266"/>
                  <a:pt x="181" y="271"/>
                  <a:pt x="181" y="277"/>
                </a:cubicBezTo>
                <a:lnTo>
                  <a:pt x="181" y="28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20"/>
                </a:moveTo>
                <a:cubicBezTo>
                  <a:pt x="405" y="326"/>
                  <a:pt x="400" y="330"/>
                  <a:pt x="394" y="330"/>
                </a:cubicBezTo>
                <a:cubicBezTo>
                  <a:pt x="138" y="330"/>
                  <a:pt x="138" y="330"/>
                  <a:pt x="138" y="330"/>
                </a:cubicBezTo>
                <a:cubicBezTo>
                  <a:pt x="138" y="384"/>
                  <a:pt x="138" y="384"/>
                  <a:pt x="138" y="384"/>
                </a:cubicBezTo>
                <a:cubicBezTo>
                  <a:pt x="138" y="390"/>
                  <a:pt x="134" y="394"/>
                  <a:pt x="128" y="394"/>
                </a:cubicBezTo>
                <a:cubicBezTo>
                  <a:pt x="122" y="394"/>
                  <a:pt x="117" y="390"/>
                  <a:pt x="117" y="384"/>
                </a:cubicBezTo>
                <a:cubicBezTo>
                  <a:pt x="117" y="320"/>
                  <a:pt x="117" y="320"/>
                  <a:pt x="117" y="320"/>
                </a:cubicBezTo>
                <a:cubicBezTo>
                  <a:pt x="117" y="149"/>
                  <a:pt x="117" y="149"/>
                  <a:pt x="117" y="149"/>
                </a:cubicBezTo>
                <a:cubicBezTo>
                  <a:pt x="117" y="143"/>
                  <a:pt x="122" y="138"/>
                  <a:pt x="128" y="138"/>
                </a:cubicBezTo>
                <a:cubicBezTo>
                  <a:pt x="394" y="138"/>
                  <a:pt x="394" y="138"/>
                  <a:pt x="394" y="138"/>
                </a:cubicBezTo>
                <a:cubicBezTo>
                  <a:pt x="400" y="138"/>
                  <a:pt x="405" y="143"/>
                  <a:pt x="405" y="149"/>
                </a:cubicBezTo>
                <a:lnTo>
                  <a:pt x="405" y="3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1" name="Freeform 669">
            <a:extLst>
              <a:ext uri="{FF2B5EF4-FFF2-40B4-BE49-F238E27FC236}">
                <a16:creationId xmlns:a16="http://schemas.microsoft.com/office/drawing/2014/main" id="{653E7A40-DCAB-4386-9082-EB564B1607B7}"/>
              </a:ext>
            </a:extLst>
          </p:cNvPr>
          <p:cNvSpPr>
            <a:spLocks noChangeAspect="1" noEditPoints="1"/>
          </p:cNvSpPr>
          <p:nvPr/>
        </p:nvSpPr>
        <p:spPr bwMode="auto">
          <a:xfrm>
            <a:off x="6985001" y="2141496"/>
            <a:ext cx="457200" cy="457200"/>
          </a:xfrm>
          <a:custGeom>
            <a:avLst/>
            <a:gdLst>
              <a:gd name="T0" fmla="*/ 181 w 512"/>
              <a:gd name="T1" fmla="*/ 160 h 512"/>
              <a:gd name="T2" fmla="*/ 320 w 512"/>
              <a:gd name="T3" fmla="*/ 160 h 512"/>
              <a:gd name="T4" fmla="*/ 320 w 512"/>
              <a:gd name="T5" fmla="*/ 352 h 512"/>
              <a:gd name="T6" fmla="*/ 181 w 512"/>
              <a:gd name="T7" fmla="*/ 352 h 512"/>
              <a:gd name="T8" fmla="*/ 181 w 512"/>
              <a:gd name="T9" fmla="*/ 160 h 512"/>
              <a:gd name="T10" fmla="*/ 288 w 512"/>
              <a:gd name="T11" fmla="*/ 117 h 512"/>
              <a:gd name="T12" fmla="*/ 224 w 512"/>
              <a:gd name="T13" fmla="*/ 117 h 512"/>
              <a:gd name="T14" fmla="*/ 224 w 512"/>
              <a:gd name="T15" fmla="*/ 138 h 512"/>
              <a:gd name="T16" fmla="*/ 288 w 512"/>
              <a:gd name="T17" fmla="*/ 138 h 512"/>
              <a:gd name="T18" fmla="*/ 288 w 512"/>
              <a:gd name="T19" fmla="*/ 117 h 512"/>
              <a:gd name="T20" fmla="*/ 117 w 512"/>
              <a:gd name="T21" fmla="*/ 352 h 512"/>
              <a:gd name="T22" fmla="*/ 160 w 512"/>
              <a:gd name="T23" fmla="*/ 352 h 512"/>
              <a:gd name="T24" fmla="*/ 160 w 512"/>
              <a:gd name="T25" fmla="*/ 160 h 512"/>
              <a:gd name="T26" fmla="*/ 117 w 512"/>
              <a:gd name="T27" fmla="*/ 160 h 512"/>
              <a:gd name="T28" fmla="*/ 117 w 512"/>
              <a:gd name="T29" fmla="*/ 352 h 512"/>
              <a:gd name="T30" fmla="*/ 341 w 512"/>
              <a:gd name="T31" fmla="*/ 352 h 512"/>
              <a:gd name="T32" fmla="*/ 394 w 512"/>
              <a:gd name="T33" fmla="*/ 352 h 512"/>
              <a:gd name="T34" fmla="*/ 394 w 512"/>
              <a:gd name="T35" fmla="*/ 160 h 512"/>
              <a:gd name="T36" fmla="*/ 341 w 512"/>
              <a:gd name="T37" fmla="*/ 160 h 512"/>
              <a:gd name="T38" fmla="*/ 341 w 512"/>
              <a:gd name="T39" fmla="*/ 352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49 h 512"/>
              <a:gd name="T52" fmla="*/ 405 w 512"/>
              <a:gd name="T53" fmla="*/ 138 h 512"/>
              <a:gd name="T54" fmla="*/ 309 w 512"/>
              <a:gd name="T55" fmla="*/ 138 h 512"/>
              <a:gd name="T56" fmla="*/ 309 w 512"/>
              <a:gd name="T57" fmla="*/ 106 h 512"/>
              <a:gd name="T58" fmla="*/ 298 w 512"/>
              <a:gd name="T59" fmla="*/ 96 h 512"/>
              <a:gd name="T60" fmla="*/ 213 w 512"/>
              <a:gd name="T61" fmla="*/ 96 h 512"/>
              <a:gd name="T62" fmla="*/ 202 w 512"/>
              <a:gd name="T63" fmla="*/ 106 h 512"/>
              <a:gd name="T64" fmla="*/ 202 w 512"/>
              <a:gd name="T65" fmla="*/ 138 h 512"/>
              <a:gd name="T66" fmla="*/ 106 w 512"/>
              <a:gd name="T67" fmla="*/ 138 h 512"/>
              <a:gd name="T68" fmla="*/ 96 w 512"/>
              <a:gd name="T69" fmla="*/ 149 h 512"/>
              <a:gd name="T70" fmla="*/ 96 w 512"/>
              <a:gd name="T71" fmla="*/ 362 h 512"/>
              <a:gd name="T72" fmla="*/ 106 w 512"/>
              <a:gd name="T73" fmla="*/ 373 h 512"/>
              <a:gd name="T74" fmla="*/ 405 w 512"/>
              <a:gd name="T75" fmla="*/ 373 h 512"/>
              <a:gd name="T76" fmla="*/ 416 w 512"/>
              <a:gd name="T77" fmla="*/ 362 h 512"/>
              <a:gd name="T78" fmla="*/ 416 w 512"/>
              <a:gd name="T7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81" y="160"/>
                </a:moveTo>
                <a:cubicBezTo>
                  <a:pt x="320" y="160"/>
                  <a:pt x="320" y="160"/>
                  <a:pt x="320" y="160"/>
                </a:cubicBezTo>
                <a:cubicBezTo>
                  <a:pt x="320" y="352"/>
                  <a:pt x="320" y="352"/>
                  <a:pt x="320" y="352"/>
                </a:cubicBezTo>
                <a:cubicBezTo>
                  <a:pt x="181" y="352"/>
                  <a:pt x="181" y="352"/>
                  <a:pt x="181" y="352"/>
                </a:cubicBezTo>
                <a:lnTo>
                  <a:pt x="181" y="160"/>
                </a:lnTo>
                <a:close/>
                <a:moveTo>
                  <a:pt x="288" y="117"/>
                </a:moveTo>
                <a:cubicBezTo>
                  <a:pt x="224" y="117"/>
                  <a:pt x="224" y="117"/>
                  <a:pt x="224" y="117"/>
                </a:cubicBezTo>
                <a:cubicBezTo>
                  <a:pt x="224" y="138"/>
                  <a:pt x="224" y="138"/>
                  <a:pt x="224" y="138"/>
                </a:cubicBezTo>
                <a:cubicBezTo>
                  <a:pt x="288" y="138"/>
                  <a:pt x="288" y="138"/>
                  <a:pt x="288" y="138"/>
                </a:cubicBezTo>
                <a:lnTo>
                  <a:pt x="288" y="117"/>
                </a:lnTo>
                <a:close/>
                <a:moveTo>
                  <a:pt x="117" y="352"/>
                </a:moveTo>
                <a:cubicBezTo>
                  <a:pt x="160" y="352"/>
                  <a:pt x="160" y="352"/>
                  <a:pt x="160" y="352"/>
                </a:cubicBezTo>
                <a:cubicBezTo>
                  <a:pt x="160" y="160"/>
                  <a:pt x="160" y="160"/>
                  <a:pt x="160" y="160"/>
                </a:cubicBezTo>
                <a:cubicBezTo>
                  <a:pt x="117" y="160"/>
                  <a:pt x="117" y="160"/>
                  <a:pt x="117" y="160"/>
                </a:cubicBezTo>
                <a:lnTo>
                  <a:pt x="117" y="352"/>
                </a:lnTo>
                <a:close/>
                <a:moveTo>
                  <a:pt x="341" y="352"/>
                </a:moveTo>
                <a:cubicBezTo>
                  <a:pt x="394" y="352"/>
                  <a:pt x="394" y="352"/>
                  <a:pt x="394" y="352"/>
                </a:cubicBezTo>
                <a:cubicBezTo>
                  <a:pt x="394" y="160"/>
                  <a:pt x="394" y="160"/>
                  <a:pt x="394" y="160"/>
                </a:cubicBezTo>
                <a:cubicBezTo>
                  <a:pt x="341" y="160"/>
                  <a:pt x="341" y="160"/>
                  <a:pt x="341" y="160"/>
                </a:cubicBezTo>
                <a:lnTo>
                  <a:pt x="341"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09" y="138"/>
                  <a:pt x="309" y="138"/>
                  <a:pt x="309" y="138"/>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38"/>
                  <a:pt x="202" y="138"/>
                  <a:pt x="202"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119264610"/>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wipe(down)">
                                      <p:cBhvr>
                                        <p:cTn id="7" dur="500"/>
                                        <p:tgtEl>
                                          <p:spTgt spid="102"/>
                                        </p:tgtEl>
                                      </p:cBhvr>
                                    </p:animEffect>
                                  </p:childTnLst>
                                </p:cTn>
                              </p:par>
                            </p:childTnLst>
                          </p:cTn>
                        </p:par>
                        <p:par>
                          <p:cTn id="8" fill="hold" nodeType="afterGroup">
                            <p:stCondLst>
                              <p:cond delay="500"/>
                            </p:stCondLst>
                            <p:childTnLst>
                              <p:par>
                                <p:cTn id="9" presetID="22" presetClass="entr" presetSubtype="4" fill="hold" nodeType="afterEffect">
                                  <p:stCondLst>
                                    <p:cond delay="0"/>
                                  </p:stCondLst>
                                  <p:childTnLst>
                                    <p:set>
                                      <p:cBhvr>
                                        <p:cTn id="10" dur="1" fill="hold">
                                          <p:stCondLst>
                                            <p:cond delay="0"/>
                                          </p:stCondLst>
                                        </p:cTn>
                                        <p:tgtEl>
                                          <p:spTgt spid="106"/>
                                        </p:tgtEl>
                                        <p:attrNameLst>
                                          <p:attrName>style.visibility</p:attrName>
                                        </p:attrNameLst>
                                      </p:cBhvr>
                                      <p:to>
                                        <p:strVal val="visible"/>
                                      </p:to>
                                    </p:set>
                                    <p:animEffect transition="in" filter="wipe(down)">
                                      <p:cBhvr>
                                        <p:cTn id="11" dur="500"/>
                                        <p:tgtEl>
                                          <p:spTgt spid="106"/>
                                        </p:tgtEl>
                                      </p:cBhvr>
                                    </p:animEffect>
                                  </p:childTnLst>
                                </p:cTn>
                              </p:par>
                              <p:par>
                                <p:cTn id="12" presetID="22" presetClass="entr" presetSubtype="1" fill="hold" nodeType="withEffect">
                                  <p:stCondLst>
                                    <p:cond delay="0"/>
                                  </p:stCondLst>
                                  <p:childTnLst>
                                    <p:set>
                                      <p:cBhvr>
                                        <p:cTn id="13" dur="1" fill="hold">
                                          <p:stCondLst>
                                            <p:cond delay="0"/>
                                          </p:stCondLst>
                                        </p:cTn>
                                        <p:tgtEl>
                                          <p:spTgt spid="107"/>
                                        </p:tgtEl>
                                        <p:attrNameLst>
                                          <p:attrName>style.visibility</p:attrName>
                                        </p:attrNameLst>
                                      </p:cBhvr>
                                      <p:to>
                                        <p:strVal val="visible"/>
                                      </p:to>
                                    </p:set>
                                    <p:animEffect transition="in" filter="wipe(up)">
                                      <p:cBhvr>
                                        <p:cTn id="14" dur="500"/>
                                        <p:tgtEl>
                                          <p:spTgt spid="107"/>
                                        </p:tgtEl>
                                      </p:cBhvr>
                                    </p:animEffect>
                                  </p:childTnLst>
                                </p:cTn>
                              </p:par>
                            </p:childTnLst>
                          </p:cTn>
                        </p:par>
                        <p:par>
                          <p:cTn id="15" fill="hold" nodeType="afterGroup">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23"/>
                                        </p:tgtEl>
                                        <p:attrNameLst>
                                          <p:attrName>style.visibility</p:attrName>
                                        </p:attrNameLst>
                                      </p:cBhvr>
                                      <p:to>
                                        <p:strVal val="visible"/>
                                      </p:to>
                                    </p:set>
                                    <p:animEffect transition="in" filter="fade">
                                      <p:cBhvr>
                                        <p:cTn id="18" dur="500"/>
                                        <p:tgtEl>
                                          <p:spTgt spid="12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2"/>
                                        </p:tgtEl>
                                        <p:attrNameLst>
                                          <p:attrName>style.visibility</p:attrName>
                                        </p:attrNameLst>
                                      </p:cBhvr>
                                      <p:to>
                                        <p:strVal val="visible"/>
                                      </p:to>
                                    </p:set>
                                    <p:animEffect transition="in" filter="fade">
                                      <p:cBhvr>
                                        <p:cTn id="21" dur="500"/>
                                        <p:tgtEl>
                                          <p:spTgt spid="12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7"/>
                                        </p:tgtEl>
                                        <p:attrNameLst>
                                          <p:attrName>style.visibility</p:attrName>
                                        </p:attrNameLst>
                                      </p:cBhvr>
                                      <p:to>
                                        <p:strVal val="visible"/>
                                      </p:to>
                                    </p:set>
                                    <p:animEffect transition="in" filter="fade">
                                      <p:cBhvr>
                                        <p:cTn id="24" dur="500"/>
                                        <p:tgtEl>
                                          <p:spTgt spid="12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26"/>
                                        </p:tgtEl>
                                        <p:attrNameLst>
                                          <p:attrName>style.visibility</p:attrName>
                                        </p:attrNameLst>
                                      </p:cBhvr>
                                      <p:to>
                                        <p:strVal val="visible"/>
                                      </p:to>
                                    </p:set>
                                    <p:animEffect transition="in" filter="fade">
                                      <p:cBhvr>
                                        <p:cTn id="27" dur="500"/>
                                        <p:tgtEl>
                                          <p:spTgt spid="12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1"/>
                                        </p:tgtEl>
                                        <p:attrNameLst>
                                          <p:attrName>style.visibility</p:attrName>
                                        </p:attrNameLst>
                                      </p:cBhvr>
                                      <p:to>
                                        <p:strVal val="visible"/>
                                      </p:to>
                                    </p:set>
                                    <p:animEffect transition="in" filter="fade">
                                      <p:cBhvr>
                                        <p:cTn id="30" dur="500"/>
                                        <p:tgtEl>
                                          <p:spTgt spid="12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0"/>
                                        </p:tgtEl>
                                        <p:attrNameLst>
                                          <p:attrName>style.visibility</p:attrName>
                                        </p:attrNameLst>
                                      </p:cBhvr>
                                      <p:to>
                                        <p:strVal val="visible"/>
                                      </p:to>
                                    </p:set>
                                    <p:animEffect transition="in" filter="fade">
                                      <p:cBhvr>
                                        <p:cTn id="33" dur="500"/>
                                        <p:tgtEl>
                                          <p:spTgt spid="12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5"/>
                                        </p:tgtEl>
                                        <p:attrNameLst>
                                          <p:attrName>style.visibility</p:attrName>
                                        </p:attrNameLst>
                                      </p:cBhvr>
                                      <p:to>
                                        <p:strVal val="visible"/>
                                      </p:to>
                                    </p:set>
                                    <p:animEffect transition="in" filter="fade">
                                      <p:cBhvr>
                                        <p:cTn id="36" dur="500"/>
                                        <p:tgtEl>
                                          <p:spTgt spid="12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24"/>
                                        </p:tgtEl>
                                        <p:attrNameLst>
                                          <p:attrName>style.visibility</p:attrName>
                                        </p:attrNameLst>
                                      </p:cBhvr>
                                      <p:to>
                                        <p:strVal val="visible"/>
                                      </p:to>
                                    </p:set>
                                    <p:animEffect transition="in" filter="fade">
                                      <p:cBhvr>
                                        <p:cTn id="39" dur="50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p:bldP spid="121" grpId="0"/>
      <p:bldP spid="122" grpId="0"/>
      <p:bldP spid="123" grpId="0"/>
      <p:bldP spid="124" grpId="0"/>
      <p:bldP spid="125" grpId="0"/>
      <p:bldP spid="126" grpId="0"/>
      <p:bldP spid="127" grpId="0"/>
    </p:bld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
          <p:cNvSpPr>
            <a:spLocks/>
          </p:cNvSpPr>
          <p:nvPr/>
        </p:nvSpPr>
        <p:spPr bwMode="auto">
          <a:xfrm rot="5400000">
            <a:off x="5245101" y="933451"/>
            <a:ext cx="1158875" cy="1266825"/>
          </a:xfrm>
          <a:custGeom>
            <a:avLst/>
            <a:gdLst>
              <a:gd name="T0" fmla="*/ 2147483646 w 381"/>
              <a:gd name="T1" fmla="*/ 2147483646 h 416"/>
              <a:gd name="T2" fmla="*/ 2147483646 w 381"/>
              <a:gd name="T3" fmla="*/ 0 h 416"/>
              <a:gd name="T4" fmla="*/ 2147483646 w 381"/>
              <a:gd name="T5" fmla="*/ 2147483646 h 416"/>
              <a:gd name="T6" fmla="*/ 2147483646 w 381"/>
              <a:gd name="T7" fmla="*/ 2147483646 h 416"/>
              <a:gd name="T8" fmla="*/ 2147483646 w 381"/>
              <a:gd name="T9" fmla="*/ 2147483646 h 416"/>
              <a:gd name="T10" fmla="*/ 0 w 381"/>
              <a:gd name="T11" fmla="*/ 2147483646 h 416"/>
              <a:gd name="T12" fmla="*/ 0 w 381"/>
              <a:gd name="T13" fmla="*/ 2147483646 h 416"/>
              <a:gd name="T14" fmla="*/ 2147483646 w 381"/>
              <a:gd name="T15" fmla="*/ 2147483646 h 416"/>
              <a:gd name="T16" fmla="*/ 2147483646 w 381"/>
              <a:gd name="T17" fmla="*/ 2147483646 h 416"/>
              <a:gd name="T18" fmla="*/ 2147483646 w 381"/>
              <a:gd name="T19" fmla="*/ 2147483646 h 416"/>
              <a:gd name="T20" fmla="*/ 2147483646 w 381"/>
              <a:gd name="T21" fmla="*/ 2147483646 h 416"/>
              <a:gd name="T22" fmla="*/ 2147483646 w 381"/>
              <a:gd name="T23" fmla="*/ 2147483646 h 416"/>
              <a:gd name="T24" fmla="*/ 2147483646 w 381"/>
              <a:gd name="T25" fmla="*/ 2147483646 h 4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1" h="416">
                <a:moveTo>
                  <a:pt x="381" y="2"/>
                </a:moveTo>
                <a:cubicBezTo>
                  <a:pt x="372" y="1"/>
                  <a:pt x="361" y="0"/>
                  <a:pt x="351" y="0"/>
                </a:cubicBezTo>
                <a:cubicBezTo>
                  <a:pt x="236" y="0"/>
                  <a:pt x="143" y="93"/>
                  <a:pt x="143" y="208"/>
                </a:cubicBezTo>
                <a:cubicBezTo>
                  <a:pt x="143" y="208"/>
                  <a:pt x="143" y="208"/>
                  <a:pt x="143" y="208"/>
                </a:cubicBezTo>
                <a:cubicBezTo>
                  <a:pt x="143" y="280"/>
                  <a:pt x="85" y="338"/>
                  <a:pt x="13" y="338"/>
                </a:cubicBezTo>
                <a:cubicBezTo>
                  <a:pt x="9" y="338"/>
                  <a:pt x="4" y="338"/>
                  <a:pt x="0" y="338"/>
                </a:cubicBezTo>
                <a:cubicBezTo>
                  <a:pt x="0" y="416"/>
                  <a:pt x="0" y="416"/>
                  <a:pt x="0" y="416"/>
                </a:cubicBezTo>
                <a:cubicBezTo>
                  <a:pt x="4" y="416"/>
                  <a:pt x="9" y="416"/>
                  <a:pt x="13" y="416"/>
                </a:cubicBezTo>
                <a:cubicBezTo>
                  <a:pt x="128" y="416"/>
                  <a:pt x="221" y="323"/>
                  <a:pt x="221" y="208"/>
                </a:cubicBezTo>
                <a:cubicBezTo>
                  <a:pt x="221" y="208"/>
                  <a:pt x="221" y="208"/>
                  <a:pt x="221" y="208"/>
                </a:cubicBezTo>
                <a:cubicBezTo>
                  <a:pt x="221" y="136"/>
                  <a:pt x="279" y="78"/>
                  <a:pt x="351" y="78"/>
                </a:cubicBezTo>
                <a:cubicBezTo>
                  <a:pt x="362" y="78"/>
                  <a:pt x="372" y="79"/>
                  <a:pt x="381" y="82"/>
                </a:cubicBezTo>
                <a:lnTo>
                  <a:pt x="381" y="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5" name="Freeform 6"/>
          <p:cNvSpPr>
            <a:spLocks/>
          </p:cNvSpPr>
          <p:nvPr/>
        </p:nvSpPr>
        <p:spPr bwMode="auto">
          <a:xfrm rot="5400000">
            <a:off x="5698332" y="-507207"/>
            <a:ext cx="984250" cy="1998663"/>
          </a:xfrm>
          <a:custGeom>
            <a:avLst/>
            <a:gdLst>
              <a:gd name="T0" fmla="*/ 2147483646 w 324"/>
              <a:gd name="T1" fmla="*/ 2147483646 h 656"/>
              <a:gd name="T2" fmla="*/ 2147483646 w 324"/>
              <a:gd name="T3" fmla="*/ 2147483646 h 656"/>
              <a:gd name="T4" fmla="*/ 2147483646 w 324"/>
              <a:gd name="T5" fmla="*/ 2147483646 h 656"/>
              <a:gd name="T6" fmla="*/ 2147483646 w 324"/>
              <a:gd name="T7" fmla="*/ 2147483646 h 656"/>
              <a:gd name="T8" fmla="*/ 0 w 324"/>
              <a:gd name="T9" fmla="*/ 0 h 656"/>
              <a:gd name="T10" fmla="*/ 0 w 324"/>
              <a:gd name="T11" fmla="*/ 2147483646 h 656"/>
              <a:gd name="T12" fmla="*/ 0 w 324"/>
              <a:gd name="T13" fmla="*/ 2147483646 h 656"/>
              <a:gd name="T14" fmla="*/ 2147483646 w 324"/>
              <a:gd name="T15" fmla="*/ 2147483646 h 656"/>
              <a:gd name="T16" fmla="*/ 2147483646 w 324"/>
              <a:gd name="T17" fmla="*/ 2147483646 h 656"/>
              <a:gd name="T18" fmla="*/ 2147483646 w 324"/>
              <a:gd name="T19" fmla="*/ 2147483646 h 656"/>
              <a:gd name="T20" fmla="*/ 2147483646 w 324"/>
              <a:gd name="T21" fmla="*/ 2147483646 h 656"/>
              <a:gd name="T22" fmla="*/ 2147483646 w 324"/>
              <a:gd name="T23" fmla="*/ 2147483646 h 656"/>
              <a:gd name="T24" fmla="*/ 2147483646 w 324"/>
              <a:gd name="T25" fmla="*/ 2147483646 h 6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4" h="656">
                <a:moveTo>
                  <a:pt x="324" y="578"/>
                </a:moveTo>
                <a:cubicBezTo>
                  <a:pt x="258" y="571"/>
                  <a:pt x="208" y="515"/>
                  <a:pt x="208" y="448"/>
                </a:cubicBezTo>
                <a:cubicBezTo>
                  <a:pt x="208" y="209"/>
                  <a:pt x="208" y="209"/>
                  <a:pt x="208" y="209"/>
                </a:cubicBezTo>
                <a:cubicBezTo>
                  <a:pt x="208" y="209"/>
                  <a:pt x="208" y="209"/>
                  <a:pt x="208" y="209"/>
                </a:cubicBezTo>
                <a:cubicBezTo>
                  <a:pt x="208" y="94"/>
                  <a:pt x="114" y="0"/>
                  <a:pt x="0" y="0"/>
                </a:cubicBezTo>
                <a:cubicBezTo>
                  <a:pt x="0" y="78"/>
                  <a:pt x="0" y="78"/>
                  <a:pt x="0" y="78"/>
                </a:cubicBezTo>
                <a:cubicBezTo>
                  <a:pt x="0" y="78"/>
                  <a:pt x="0" y="78"/>
                  <a:pt x="0" y="78"/>
                </a:cubicBezTo>
                <a:cubicBezTo>
                  <a:pt x="71" y="78"/>
                  <a:pt x="130" y="137"/>
                  <a:pt x="130" y="209"/>
                </a:cubicBezTo>
                <a:cubicBezTo>
                  <a:pt x="130" y="209"/>
                  <a:pt x="130" y="209"/>
                  <a:pt x="130" y="209"/>
                </a:cubicBezTo>
                <a:cubicBezTo>
                  <a:pt x="130" y="448"/>
                  <a:pt x="130" y="448"/>
                  <a:pt x="130" y="448"/>
                </a:cubicBezTo>
                <a:cubicBezTo>
                  <a:pt x="130" y="448"/>
                  <a:pt x="130" y="448"/>
                  <a:pt x="130" y="448"/>
                </a:cubicBezTo>
                <a:cubicBezTo>
                  <a:pt x="130" y="559"/>
                  <a:pt x="215" y="649"/>
                  <a:pt x="324" y="656"/>
                </a:cubicBezTo>
                <a:lnTo>
                  <a:pt x="324" y="57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6" name="Freeform 7"/>
          <p:cNvSpPr>
            <a:spLocks/>
          </p:cNvSpPr>
          <p:nvPr/>
        </p:nvSpPr>
        <p:spPr bwMode="auto">
          <a:xfrm rot="5400000">
            <a:off x="4893469" y="1439069"/>
            <a:ext cx="844550" cy="2271712"/>
          </a:xfrm>
          <a:custGeom>
            <a:avLst/>
            <a:gdLst>
              <a:gd name="T0" fmla="*/ 2147483646 w 278"/>
              <a:gd name="T1" fmla="*/ 2147483646 h 746"/>
              <a:gd name="T2" fmla="*/ 2147483646 w 278"/>
              <a:gd name="T3" fmla="*/ 2147483646 h 746"/>
              <a:gd name="T4" fmla="*/ 2147483646 w 278"/>
              <a:gd name="T5" fmla="*/ 2147483646 h 746"/>
              <a:gd name="T6" fmla="*/ 2147483646 w 278"/>
              <a:gd name="T7" fmla="*/ 2147483646 h 746"/>
              <a:gd name="T8" fmla="*/ 2147483646 w 278"/>
              <a:gd name="T9" fmla="*/ 2147483646 h 746"/>
              <a:gd name="T10" fmla="*/ 2147483646 w 278"/>
              <a:gd name="T11" fmla="*/ 2147483646 h 746"/>
              <a:gd name="T12" fmla="*/ 0 w 278"/>
              <a:gd name="T13" fmla="*/ 0 h 746"/>
              <a:gd name="T14" fmla="*/ 0 w 278"/>
              <a:gd name="T15" fmla="*/ 2147483646 h 746"/>
              <a:gd name="T16" fmla="*/ 2147483646 w 278"/>
              <a:gd name="T17" fmla="*/ 2147483646 h 746"/>
              <a:gd name="T18" fmla="*/ 2147483646 w 278"/>
              <a:gd name="T19" fmla="*/ 2147483646 h 746"/>
              <a:gd name="T20" fmla="*/ 2147483646 w 278"/>
              <a:gd name="T21" fmla="*/ 2147483646 h 746"/>
              <a:gd name="T22" fmla="*/ 2147483646 w 278"/>
              <a:gd name="T23" fmla="*/ 2147483646 h 746"/>
              <a:gd name="T24" fmla="*/ 2147483646 w 278"/>
              <a:gd name="T25" fmla="*/ 2147483646 h 746"/>
              <a:gd name="T26" fmla="*/ 2147483646 w 278"/>
              <a:gd name="T27" fmla="*/ 2147483646 h 7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78" h="746">
                <a:moveTo>
                  <a:pt x="278" y="667"/>
                </a:moveTo>
                <a:cubicBezTo>
                  <a:pt x="221" y="654"/>
                  <a:pt x="178" y="604"/>
                  <a:pt x="176" y="543"/>
                </a:cubicBezTo>
                <a:cubicBezTo>
                  <a:pt x="177" y="543"/>
                  <a:pt x="177" y="543"/>
                  <a:pt x="177" y="543"/>
                </a:cubicBezTo>
                <a:cubicBezTo>
                  <a:pt x="176" y="541"/>
                  <a:pt x="176" y="541"/>
                  <a:pt x="176" y="541"/>
                </a:cubicBezTo>
                <a:cubicBezTo>
                  <a:pt x="176" y="205"/>
                  <a:pt x="176" y="205"/>
                  <a:pt x="176" y="205"/>
                </a:cubicBezTo>
                <a:cubicBezTo>
                  <a:pt x="176" y="205"/>
                  <a:pt x="176" y="205"/>
                  <a:pt x="176" y="205"/>
                </a:cubicBezTo>
                <a:cubicBezTo>
                  <a:pt x="175" y="101"/>
                  <a:pt x="99" y="16"/>
                  <a:pt x="0" y="0"/>
                </a:cubicBezTo>
                <a:cubicBezTo>
                  <a:pt x="0" y="80"/>
                  <a:pt x="0" y="80"/>
                  <a:pt x="0" y="80"/>
                </a:cubicBezTo>
                <a:cubicBezTo>
                  <a:pt x="56" y="94"/>
                  <a:pt x="98" y="145"/>
                  <a:pt x="98" y="206"/>
                </a:cubicBezTo>
                <a:cubicBezTo>
                  <a:pt x="98" y="206"/>
                  <a:pt x="98" y="206"/>
                  <a:pt x="98" y="206"/>
                </a:cubicBezTo>
                <a:cubicBezTo>
                  <a:pt x="98" y="540"/>
                  <a:pt x="98" y="540"/>
                  <a:pt x="98" y="540"/>
                </a:cubicBezTo>
                <a:cubicBezTo>
                  <a:pt x="98" y="540"/>
                  <a:pt x="98" y="540"/>
                  <a:pt x="98" y="540"/>
                </a:cubicBezTo>
                <a:cubicBezTo>
                  <a:pt x="98" y="646"/>
                  <a:pt x="177" y="733"/>
                  <a:pt x="278" y="746"/>
                </a:cubicBezTo>
                <a:lnTo>
                  <a:pt x="278" y="66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7" name="Freeform 8"/>
          <p:cNvSpPr>
            <a:spLocks/>
          </p:cNvSpPr>
          <p:nvPr/>
        </p:nvSpPr>
        <p:spPr bwMode="auto">
          <a:xfrm rot="5400000">
            <a:off x="5538788" y="5335588"/>
            <a:ext cx="996950" cy="2279650"/>
          </a:xfrm>
          <a:custGeom>
            <a:avLst/>
            <a:gdLst>
              <a:gd name="T0" fmla="*/ 2147483646 w 328"/>
              <a:gd name="T1" fmla="*/ 2147483646 h 748"/>
              <a:gd name="T2" fmla="*/ 2147483646 w 328"/>
              <a:gd name="T3" fmla="*/ 0 h 748"/>
              <a:gd name="T4" fmla="*/ 2147483646 w 328"/>
              <a:gd name="T5" fmla="*/ 2147483646 h 748"/>
              <a:gd name="T6" fmla="*/ 2147483646 w 328"/>
              <a:gd name="T7" fmla="*/ 2147483646 h 748"/>
              <a:gd name="T8" fmla="*/ 2147483646 w 328"/>
              <a:gd name="T9" fmla="*/ 2147483646 h 748"/>
              <a:gd name="T10" fmla="*/ 2147483646 w 328"/>
              <a:gd name="T11" fmla="*/ 2147483646 h 748"/>
              <a:gd name="T12" fmla="*/ 2147483646 w 328"/>
              <a:gd name="T13" fmla="*/ 2147483646 h 748"/>
              <a:gd name="T14" fmla="*/ 0 w 328"/>
              <a:gd name="T15" fmla="*/ 2147483646 h 748"/>
              <a:gd name="T16" fmla="*/ 0 w 328"/>
              <a:gd name="T17" fmla="*/ 2147483646 h 748"/>
              <a:gd name="T18" fmla="*/ 2147483646 w 328"/>
              <a:gd name="T19" fmla="*/ 2147483646 h 748"/>
              <a:gd name="T20" fmla="*/ 2147483646 w 328"/>
              <a:gd name="T21" fmla="*/ 2147483646 h 748"/>
              <a:gd name="T22" fmla="*/ 2147483646 w 328"/>
              <a:gd name="T23" fmla="*/ 2147483646 h 748"/>
              <a:gd name="T24" fmla="*/ 2147483646 w 328"/>
              <a:gd name="T25" fmla="*/ 2147483646 h 748"/>
              <a:gd name="T26" fmla="*/ 2147483646 w 328"/>
              <a:gd name="T27" fmla="*/ 2147483646 h 748"/>
              <a:gd name="T28" fmla="*/ 2147483646 w 328"/>
              <a:gd name="T29" fmla="*/ 2147483646 h 748"/>
              <a:gd name="T30" fmla="*/ 2147483646 w 328"/>
              <a:gd name="T31" fmla="*/ 2147483646 h 7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28" h="748">
                <a:moveTo>
                  <a:pt x="328" y="79"/>
                </a:moveTo>
                <a:cubicBezTo>
                  <a:pt x="328" y="0"/>
                  <a:pt x="328" y="0"/>
                  <a:pt x="328" y="0"/>
                </a:cubicBezTo>
                <a:cubicBezTo>
                  <a:pt x="228" y="15"/>
                  <a:pt x="151" y="102"/>
                  <a:pt x="151" y="206"/>
                </a:cubicBezTo>
                <a:cubicBezTo>
                  <a:pt x="151" y="206"/>
                  <a:pt x="151" y="206"/>
                  <a:pt x="151" y="206"/>
                </a:cubicBezTo>
                <a:cubicBezTo>
                  <a:pt x="151" y="540"/>
                  <a:pt x="151" y="540"/>
                  <a:pt x="151" y="540"/>
                </a:cubicBezTo>
                <a:cubicBezTo>
                  <a:pt x="151" y="540"/>
                  <a:pt x="151" y="540"/>
                  <a:pt x="151" y="540"/>
                </a:cubicBezTo>
                <a:cubicBezTo>
                  <a:pt x="151" y="611"/>
                  <a:pt x="93" y="670"/>
                  <a:pt x="21" y="670"/>
                </a:cubicBezTo>
                <a:cubicBezTo>
                  <a:pt x="14" y="670"/>
                  <a:pt x="7" y="669"/>
                  <a:pt x="0" y="668"/>
                </a:cubicBezTo>
                <a:cubicBezTo>
                  <a:pt x="0" y="747"/>
                  <a:pt x="0" y="747"/>
                  <a:pt x="0" y="747"/>
                </a:cubicBezTo>
                <a:cubicBezTo>
                  <a:pt x="7" y="747"/>
                  <a:pt x="14" y="748"/>
                  <a:pt x="21" y="748"/>
                </a:cubicBezTo>
                <a:cubicBezTo>
                  <a:pt x="135" y="748"/>
                  <a:pt x="228" y="655"/>
                  <a:pt x="229" y="541"/>
                </a:cubicBezTo>
                <a:cubicBezTo>
                  <a:pt x="229" y="541"/>
                  <a:pt x="229" y="541"/>
                  <a:pt x="229" y="541"/>
                </a:cubicBezTo>
                <a:cubicBezTo>
                  <a:pt x="229" y="205"/>
                  <a:pt x="229" y="205"/>
                  <a:pt x="229" y="205"/>
                </a:cubicBezTo>
                <a:cubicBezTo>
                  <a:pt x="229" y="203"/>
                  <a:pt x="229" y="203"/>
                  <a:pt x="229" y="203"/>
                </a:cubicBezTo>
                <a:cubicBezTo>
                  <a:pt x="229" y="203"/>
                  <a:pt x="229" y="203"/>
                  <a:pt x="229" y="203"/>
                </a:cubicBezTo>
                <a:cubicBezTo>
                  <a:pt x="231" y="143"/>
                  <a:pt x="272" y="93"/>
                  <a:pt x="328" y="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8" name="Freeform 10"/>
          <p:cNvSpPr>
            <a:spLocks/>
          </p:cNvSpPr>
          <p:nvPr/>
        </p:nvSpPr>
        <p:spPr bwMode="auto">
          <a:xfrm rot="5400000">
            <a:off x="4191001" y="2982914"/>
            <a:ext cx="1954213" cy="1995487"/>
          </a:xfrm>
          <a:custGeom>
            <a:avLst/>
            <a:gdLst>
              <a:gd name="T0" fmla="*/ 2147483646 w 643"/>
              <a:gd name="T1" fmla="*/ 2147483646 h 655"/>
              <a:gd name="T2" fmla="*/ 2147483646 w 643"/>
              <a:gd name="T3" fmla="*/ 0 h 655"/>
              <a:gd name="T4" fmla="*/ 2147483646 w 643"/>
              <a:gd name="T5" fmla="*/ 2147483646 h 655"/>
              <a:gd name="T6" fmla="*/ 2147483646 w 643"/>
              <a:gd name="T7" fmla="*/ 2147483646 h 655"/>
              <a:gd name="T8" fmla="*/ 2147483646 w 643"/>
              <a:gd name="T9" fmla="*/ 2147483646 h 655"/>
              <a:gd name="T10" fmla="*/ 2147483646 w 643"/>
              <a:gd name="T11" fmla="*/ 2147483646 h 655"/>
              <a:gd name="T12" fmla="*/ 2147483646 w 643"/>
              <a:gd name="T13" fmla="*/ 2147483646 h 655"/>
              <a:gd name="T14" fmla="*/ 2147483646 w 643"/>
              <a:gd name="T15" fmla="*/ 2147483646 h 655"/>
              <a:gd name="T16" fmla="*/ 2147483646 w 643"/>
              <a:gd name="T17" fmla="*/ 2147483646 h 655"/>
              <a:gd name="T18" fmla="*/ 0 w 643"/>
              <a:gd name="T19" fmla="*/ 2147483646 h 655"/>
              <a:gd name="T20" fmla="*/ 0 w 643"/>
              <a:gd name="T21" fmla="*/ 2147483646 h 655"/>
              <a:gd name="T22" fmla="*/ 2147483646 w 643"/>
              <a:gd name="T23" fmla="*/ 2147483646 h 655"/>
              <a:gd name="T24" fmla="*/ 2147483646 w 643"/>
              <a:gd name="T25" fmla="*/ 2147483646 h 655"/>
              <a:gd name="T26" fmla="*/ 2147483646 w 643"/>
              <a:gd name="T27" fmla="*/ 2147483646 h 655"/>
              <a:gd name="T28" fmla="*/ 2147483646 w 643"/>
              <a:gd name="T29" fmla="*/ 2147483646 h 655"/>
              <a:gd name="T30" fmla="*/ 2147483646 w 643"/>
              <a:gd name="T31" fmla="*/ 2147483646 h 655"/>
              <a:gd name="T32" fmla="*/ 2147483646 w 643"/>
              <a:gd name="T33" fmla="*/ 2147483646 h 655"/>
              <a:gd name="T34" fmla="*/ 2147483646 w 643"/>
              <a:gd name="T35" fmla="*/ 2147483646 h 655"/>
              <a:gd name="T36" fmla="*/ 2147483646 w 643"/>
              <a:gd name="T37" fmla="*/ 2147483646 h 655"/>
              <a:gd name="T38" fmla="*/ 2147483646 w 643"/>
              <a:gd name="T39" fmla="*/ 2147483646 h 6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43" h="655">
                <a:moveTo>
                  <a:pt x="643" y="79"/>
                </a:moveTo>
                <a:cubicBezTo>
                  <a:pt x="643" y="0"/>
                  <a:pt x="643" y="0"/>
                  <a:pt x="643" y="0"/>
                </a:cubicBezTo>
                <a:cubicBezTo>
                  <a:pt x="536" y="9"/>
                  <a:pt x="452" y="99"/>
                  <a:pt x="452" y="208"/>
                </a:cubicBezTo>
                <a:cubicBezTo>
                  <a:pt x="453" y="208"/>
                  <a:pt x="453" y="208"/>
                  <a:pt x="453" y="208"/>
                </a:cubicBezTo>
                <a:cubicBezTo>
                  <a:pt x="453" y="447"/>
                  <a:pt x="453" y="447"/>
                  <a:pt x="453" y="447"/>
                </a:cubicBezTo>
                <a:cubicBezTo>
                  <a:pt x="453" y="447"/>
                  <a:pt x="453" y="447"/>
                  <a:pt x="453" y="447"/>
                </a:cubicBezTo>
                <a:cubicBezTo>
                  <a:pt x="453" y="514"/>
                  <a:pt x="402" y="569"/>
                  <a:pt x="337" y="577"/>
                </a:cubicBezTo>
                <a:cubicBezTo>
                  <a:pt x="26" y="577"/>
                  <a:pt x="26" y="577"/>
                  <a:pt x="26" y="577"/>
                </a:cubicBezTo>
                <a:cubicBezTo>
                  <a:pt x="26" y="576"/>
                  <a:pt x="26" y="576"/>
                  <a:pt x="26" y="576"/>
                </a:cubicBezTo>
                <a:cubicBezTo>
                  <a:pt x="17" y="576"/>
                  <a:pt x="8" y="575"/>
                  <a:pt x="0" y="574"/>
                </a:cubicBezTo>
                <a:cubicBezTo>
                  <a:pt x="0" y="653"/>
                  <a:pt x="0" y="653"/>
                  <a:pt x="0" y="653"/>
                </a:cubicBezTo>
                <a:cubicBezTo>
                  <a:pt x="8" y="654"/>
                  <a:pt x="16" y="654"/>
                  <a:pt x="25" y="654"/>
                </a:cubicBezTo>
                <a:cubicBezTo>
                  <a:pt x="25" y="655"/>
                  <a:pt x="25" y="655"/>
                  <a:pt x="25" y="655"/>
                </a:cubicBezTo>
                <a:cubicBezTo>
                  <a:pt x="322" y="655"/>
                  <a:pt x="322" y="655"/>
                  <a:pt x="322" y="655"/>
                </a:cubicBezTo>
                <a:cubicBezTo>
                  <a:pt x="322" y="655"/>
                  <a:pt x="336" y="655"/>
                  <a:pt x="342" y="655"/>
                </a:cubicBezTo>
                <a:cubicBezTo>
                  <a:pt x="361" y="652"/>
                  <a:pt x="361" y="652"/>
                  <a:pt x="361" y="652"/>
                </a:cubicBezTo>
                <a:cubicBezTo>
                  <a:pt x="457" y="634"/>
                  <a:pt x="531" y="549"/>
                  <a:pt x="531" y="447"/>
                </a:cubicBezTo>
                <a:cubicBezTo>
                  <a:pt x="531" y="447"/>
                  <a:pt x="531" y="447"/>
                  <a:pt x="531" y="447"/>
                </a:cubicBezTo>
                <a:cubicBezTo>
                  <a:pt x="531" y="208"/>
                  <a:pt x="531" y="208"/>
                  <a:pt x="531" y="208"/>
                </a:cubicBezTo>
                <a:cubicBezTo>
                  <a:pt x="531" y="142"/>
                  <a:pt x="579" y="87"/>
                  <a:pt x="643" y="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9" name="Freeform 11"/>
          <p:cNvSpPr>
            <a:spLocks/>
          </p:cNvSpPr>
          <p:nvPr/>
        </p:nvSpPr>
        <p:spPr bwMode="auto">
          <a:xfrm rot="5400000">
            <a:off x="5020470" y="4833145"/>
            <a:ext cx="1011237" cy="1266825"/>
          </a:xfrm>
          <a:custGeom>
            <a:avLst/>
            <a:gdLst>
              <a:gd name="T0" fmla="*/ 2147483646 w 333"/>
              <a:gd name="T1" fmla="*/ 2147483646 h 416"/>
              <a:gd name="T2" fmla="*/ 2147483646 w 333"/>
              <a:gd name="T3" fmla="*/ 2147483646 h 416"/>
              <a:gd name="T4" fmla="*/ 2147483646 w 333"/>
              <a:gd name="T5" fmla="*/ 2147483646 h 416"/>
              <a:gd name="T6" fmla="*/ 2147483646 w 333"/>
              <a:gd name="T7" fmla="*/ 0 h 416"/>
              <a:gd name="T8" fmla="*/ 0 w 333"/>
              <a:gd name="T9" fmla="*/ 2147483646 h 416"/>
              <a:gd name="T10" fmla="*/ 0 w 333"/>
              <a:gd name="T11" fmla="*/ 2147483646 h 416"/>
              <a:gd name="T12" fmla="*/ 2147483646 w 333"/>
              <a:gd name="T13" fmla="*/ 2147483646 h 416"/>
              <a:gd name="T14" fmla="*/ 2147483646 w 333"/>
              <a:gd name="T15" fmla="*/ 2147483646 h 416"/>
              <a:gd name="T16" fmla="*/ 2147483646 w 333"/>
              <a:gd name="T17" fmla="*/ 2147483646 h 416"/>
              <a:gd name="T18" fmla="*/ 2147483646 w 333"/>
              <a:gd name="T19" fmla="*/ 2147483646 h 416"/>
              <a:gd name="T20" fmla="*/ 2147483646 w 333"/>
              <a:gd name="T21" fmla="*/ 2147483646 h 4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3" h="416">
                <a:moveTo>
                  <a:pt x="333" y="337"/>
                </a:moveTo>
                <a:cubicBezTo>
                  <a:pt x="271" y="326"/>
                  <a:pt x="225" y="273"/>
                  <a:pt x="225" y="209"/>
                </a:cubicBezTo>
                <a:cubicBezTo>
                  <a:pt x="225" y="209"/>
                  <a:pt x="225" y="209"/>
                  <a:pt x="225" y="209"/>
                </a:cubicBezTo>
                <a:cubicBezTo>
                  <a:pt x="225" y="94"/>
                  <a:pt x="132" y="0"/>
                  <a:pt x="17" y="0"/>
                </a:cubicBezTo>
                <a:cubicBezTo>
                  <a:pt x="11" y="0"/>
                  <a:pt x="6" y="1"/>
                  <a:pt x="0" y="1"/>
                </a:cubicBezTo>
                <a:cubicBezTo>
                  <a:pt x="0" y="79"/>
                  <a:pt x="0" y="79"/>
                  <a:pt x="0" y="79"/>
                </a:cubicBezTo>
                <a:cubicBezTo>
                  <a:pt x="5" y="79"/>
                  <a:pt x="11" y="78"/>
                  <a:pt x="17" y="78"/>
                </a:cubicBezTo>
                <a:cubicBezTo>
                  <a:pt x="88" y="78"/>
                  <a:pt x="147" y="137"/>
                  <a:pt x="147" y="209"/>
                </a:cubicBezTo>
                <a:cubicBezTo>
                  <a:pt x="147" y="209"/>
                  <a:pt x="147" y="209"/>
                  <a:pt x="147" y="209"/>
                </a:cubicBezTo>
                <a:cubicBezTo>
                  <a:pt x="147" y="316"/>
                  <a:pt x="228" y="405"/>
                  <a:pt x="333" y="416"/>
                </a:cubicBezTo>
                <a:lnTo>
                  <a:pt x="333" y="33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60" name="Group 59"/>
          <p:cNvGrpSpPr/>
          <p:nvPr/>
        </p:nvGrpSpPr>
        <p:grpSpPr>
          <a:xfrm rot="5400000">
            <a:off x="1738616" y="2575290"/>
            <a:ext cx="7878848" cy="2820180"/>
            <a:chOff x="1639888" y="2122488"/>
            <a:chExt cx="10342562" cy="3702050"/>
          </a:xfrm>
          <a:solidFill>
            <a:schemeClr val="bg2"/>
          </a:solidFill>
        </p:grpSpPr>
        <p:sp>
          <p:nvSpPr>
            <p:cNvPr id="61" name="Freeform 12"/>
            <p:cNvSpPr>
              <a:spLocks/>
            </p:cNvSpPr>
            <p:nvPr/>
          </p:nvSpPr>
          <p:spPr bwMode="auto">
            <a:xfrm>
              <a:off x="1639888" y="2122488"/>
              <a:ext cx="55562" cy="50800"/>
            </a:xfrm>
            <a:custGeom>
              <a:avLst/>
              <a:gdLst>
                <a:gd name="T0" fmla="*/ 11 w 14"/>
                <a:gd name="T1" fmla="*/ 13 h 13"/>
                <a:gd name="T2" fmla="*/ 0 w 14"/>
                <a:gd name="T3" fmla="*/ 11 h 13"/>
                <a:gd name="T4" fmla="*/ 2 w 14"/>
                <a:gd name="T5" fmla="*/ 0 h 13"/>
                <a:gd name="T6" fmla="*/ 14 w 14"/>
                <a:gd name="T7" fmla="*/ 3 h 13"/>
                <a:gd name="T8" fmla="*/ 11 w 14"/>
                <a:gd name="T9" fmla="*/ 13 h 13"/>
              </a:gdLst>
              <a:ahLst/>
              <a:cxnLst>
                <a:cxn ang="0">
                  <a:pos x="T0" y="T1"/>
                </a:cxn>
                <a:cxn ang="0">
                  <a:pos x="T2" y="T3"/>
                </a:cxn>
                <a:cxn ang="0">
                  <a:pos x="T4" y="T5"/>
                </a:cxn>
                <a:cxn ang="0">
                  <a:pos x="T6" y="T7"/>
                </a:cxn>
                <a:cxn ang="0">
                  <a:pos x="T8" y="T9"/>
                </a:cxn>
              </a:cxnLst>
              <a:rect l="0" t="0" r="r" b="b"/>
              <a:pathLst>
                <a:path w="14" h="13">
                  <a:moveTo>
                    <a:pt x="11" y="13"/>
                  </a:moveTo>
                  <a:cubicBezTo>
                    <a:pt x="8" y="13"/>
                    <a:pt x="4" y="12"/>
                    <a:pt x="0" y="11"/>
                  </a:cubicBezTo>
                  <a:cubicBezTo>
                    <a:pt x="2" y="0"/>
                    <a:pt x="2" y="0"/>
                    <a:pt x="2" y="0"/>
                  </a:cubicBezTo>
                  <a:cubicBezTo>
                    <a:pt x="6" y="1"/>
                    <a:pt x="10" y="2"/>
                    <a:pt x="14" y="3"/>
                  </a:cubicBezTo>
                  <a:lnTo>
                    <a:pt x="1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id-ID"/>
            </a:p>
          </p:txBody>
        </p:sp>
        <p:sp>
          <p:nvSpPr>
            <p:cNvPr id="62" name="Freeform 13"/>
            <p:cNvSpPr>
              <a:spLocks noEditPoints="1"/>
            </p:cNvSpPr>
            <p:nvPr/>
          </p:nvSpPr>
          <p:spPr bwMode="auto">
            <a:xfrm>
              <a:off x="1774825" y="2162175"/>
              <a:ext cx="4832350" cy="3662363"/>
            </a:xfrm>
            <a:custGeom>
              <a:avLst/>
              <a:gdLst>
                <a:gd name="T0" fmla="*/ 959 w 1211"/>
                <a:gd name="T1" fmla="*/ 905 h 916"/>
                <a:gd name="T2" fmla="*/ 1211 w 1211"/>
                <a:gd name="T3" fmla="*/ 916 h 916"/>
                <a:gd name="T4" fmla="*/ 1164 w 1211"/>
                <a:gd name="T5" fmla="*/ 916 h 916"/>
                <a:gd name="T6" fmla="*/ 1116 w 1211"/>
                <a:gd name="T7" fmla="*/ 916 h 916"/>
                <a:gd name="T8" fmla="*/ 1068 w 1211"/>
                <a:gd name="T9" fmla="*/ 916 h 916"/>
                <a:gd name="T10" fmla="*/ 1020 w 1211"/>
                <a:gd name="T11" fmla="*/ 916 h 916"/>
                <a:gd name="T12" fmla="*/ 924 w 1211"/>
                <a:gd name="T13" fmla="*/ 913 h 916"/>
                <a:gd name="T14" fmla="*/ 877 w 1211"/>
                <a:gd name="T15" fmla="*/ 896 h 916"/>
                <a:gd name="T16" fmla="*/ 840 w 1211"/>
                <a:gd name="T17" fmla="*/ 864 h 916"/>
                <a:gd name="T18" fmla="*/ 815 w 1211"/>
                <a:gd name="T19" fmla="*/ 821 h 916"/>
                <a:gd name="T20" fmla="*/ 801 w 1211"/>
                <a:gd name="T21" fmla="*/ 774 h 916"/>
                <a:gd name="T22" fmla="*/ 795 w 1211"/>
                <a:gd name="T23" fmla="*/ 726 h 916"/>
                <a:gd name="T24" fmla="*/ 806 w 1211"/>
                <a:gd name="T25" fmla="*/ 720 h 916"/>
                <a:gd name="T26" fmla="*/ 795 w 1211"/>
                <a:gd name="T27" fmla="*/ 678 h 916"/>
                <a:gd name="T28" fmla="*/ 795 w 1211"/>
                <a:gd name="T29" fmla="*/ 630 h 916"/>
                <a:gd name="T30" fmla="*/ 795 w 1211"/>
                <a:gd name="T31" fmla="*/ 582 h 916"/>
                <a:gd name="T32" fmla="*/ 286 w 1211"/>
                <a:gd name="T33" fmla="*/ 569 h 916"/>
                <a:gd name="T34" fmla="*/ 237 w 1211"/>
                <a:gd name="T35" fmla="*/ 575 h 916"/>
                <a:gd name="T36" fmla="*/ 331 w 1211"/>
                <a:gd name="T37" fmla="*/ 562 h 916"/>
                <a:gd name="T38" fmla="*/ 191 w 1211"/>
                <a:gd name="T39" fmla="*/ 556 h 916"/>
                <a:gd name="T40" fmla="*/ 374 w 1211"/>
                <a:gd name="T41" fmla="*/ 544 h 916"/>
                <a:gd name="T42" fmla="*/ 155 w 1211"/>
                <a:gd name="T43" fmla="*/ 523 h 916"/>
                <a:gd name="T44" fmla="*/ 795 w 1211"/>
                <a:gd name="T45" fmla="*/ 534 h 916"/>
                <a:gd name="T46" fmla="*/ 409 w 1211"/>
                <a:gd name="T47" fmla="*/ 514 h 916"/>
                <a:gd name="T48" fmla="*/ 129 w 1211"/>
                <a:gd name="T49" fmla="*/ 481 h 916"/>
                <a:gd name="T50" fmla="*/ 795 w 1211"/>
                <a:gd name="T51" fmla="*/ 487 h 916"/>
                <a:gd name="T52" fmla="*/ 435 w 1211"/>
                <a:gd name="T53" fmla="*/ 476 h 916"/>
                <a:gd name="T54" fmla="*/ 115 w 1211"/>
                <a:gd name="T55" fmla="*/ 434 h 916"/>
                <a:gd name="T56" fmla="*/ 795 w 1211"/>
                <a:gd name="T57" fmla="*/ 439 h 916"/>
                <a:gd name="T58" fmla="*/ 451 w 1211"/>
                <a:gd name="T59" fmla="*/ 432 h 916"/>
                <a:gd name="T60" fmla="*/ 463 w 1211"/>
                <a:gd name="T61" fmla="*/ 428 h 916"/>
                <a:gd name="T62" fmla="*/ 123 w 1211"/>
                <a:gd name="T63" fmla="*/ 409 h 916"/>
                <a:gd name="T64" fmla="*/ 794 w 1211"/>
                <a:gd name="T65" fmla="*/ 391 h 916"/>
                <a:gd name="T66" fmla="*/ 467 w 1211"/>
                <a:gd name="T67" fmla="*/ 387 h 916"/>
                <a:gd name="T68" fmla="*/ 123 w 1211"/>
                <a:gd name="T69" fmla="*/ 362 h 916"/>
                <a:gd name="T70" fmla="*/ 783 w 1211"/>
                <a:gd name="T71" fmla="*/ 346 h 916"/>
                <a:gd name="T72" fmla="*/ 479 w 1211"/>
                <a:gd name="T73" fmla="*/ 342 h 916"/>
                <a:gd name="T74" fmla="*/ 123 w 1211"/>
                <a:gd name="T75" fmla="*/ 314 h 916"/>
                <a:gd name="T76" fmla="*/ 762 w 1211"/>
                <a:gd name="T77" fmla="*/ 305 h 916"/>
                <a:gd name="T78" fmla="*/ 501 w 1211"/>
                <a:gd name="T79" fmla="*/ 301 h 916"/>
                <a:gd name="T80" fmla="*/ 731 w 1211"/>
                <a:gd name="T81" fmla="*/ 272 h 916"/>
                <a:gd name="T82" fmla="*/ 534 w 1211"/>
                <a:gd name="T83" fmla="*/ 269 h 916"/>
                <a:gd name="T84" fmla="*/ 123 w 1211"/>
                <a:gd name="T85" fmla="*/ 266 h 916"/>
                <a:gd name="T86" fmla="*/ 690 w 1211"/>
                <a:gd name="T87" fmla="*/ 251 h 916"/>
                <a:gd name="T88" fmla="*/ 575 w 1211"/>
                <a:gd name="T89" fmla="*/ 249 h 916"/>
                <a:gd name="T90" fmla="*/ 644 w 1211"/>
                <a:gd name="T91" fmla="*/ 242 h 916"/>
                <a:gd name="T92" fmla="*/ 645 w 1211"/>
                <a:gd name="T93" fmla="*/ 231 h 916"/>
                <a:gd name="T94" fmla="*/ 123 w 1211"/>
                <a:gd name="T95" fmla="*/ 194 h 916"/>
                <a:gd name="T96" fmla="*/ 111 w 1211"/>
                <a:gd name="T97" fmla="*/ 147 h 916"/>
                <a:gd name="T98" fmla="*/ 98 w 1211"/>
                <a:gd name="T99" fmla="*/ 102 h 916"/>
                <a:gd name="T100" fmla="*/ 75 w 1211"/>
                <a:gd name="T101" fmla="*/ 63 h 916"/>
                <a:gd name="T102" fmla="*/ 41 w 1211"/>
                <a:gd name="T103" fmla="*/ 31 h 916"/>
                <a:gd name="T104" fmla="*/ 0 w 1211"/>
                <a:gd name="T105" fmla="*/ 10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1" h="916">
                  <a:moveTo>
                    <a:pt x="959" y="916"/>
                  </a:moveTo>
                  <a:cubicBezTo>
                    <a:pt x="955" y="916"/>
                    <a:pt x="952" y="916"/>
                    <a:pt x="948" y="916"/>
                  </a:cubicBezTo>
                  <a:cubicBezTo>
                    <a:pt x="949" y="905"/>
                    <a:pt x="949" y="905"/>
                    <a:pt x="949" y="905"/>
                  </a:cubicBezTo>
                  <a:cubicBezTo>
                    <a:pt x="952" y="905"/>
                    <a:pt x="956" y="905"/>
                    <a:pt x="959" y="905"/>
                  </a:cubicBezTo>
                  <a:cubicBezTo>
                    <a:pt x="959" y="905"/>
                    <a:pt x="959" y="905"/>
                    <a:pt x="959" y="905"/>
                  </a:cubicBezTo>
                  <a:cubicBezTo>
                    <a:pt x="972" y="905"/>
                    <a:pt x="972" y="905"/>
                    <a:pt x="972" y="905"/>
                  </a:cubicBezTo>
                  <a:cubicBezTo>
                    <a:pt x="972" y="916"/>
                    <a:pt x="972" y="916"/>
                    <a:pt x="972" y="916"/>
                  </a:cubicBezTo>
                  <a:cubicBezTo>
                    <a:pt x="959" y="916"/>
                    <a:pt x="959" y="916"/>
                    <a:pt x="959" y="916"/>
                  </a:cubicBezTo>
                  <a:cubicBezTo>
                    <a:pt x="959" y="916"/>
                    <a:pt x="959" y="916"/>
                    <a:pt x="959" y="916"/>
                  </a:cubicBezTo>
                  <a:close/>
                  <a:moveTo>
                    <a:pt x="1211" y="916"/>
                  </a:moveTo>
                  <a:cubicBezTo>
                    <a:pt x="1187" y="916"/>
                    <a:pt x="1187" y="916"/>
                    <a:pt x="1187" y="916"/>
                  </a:cubicBezTo>
                  <a:cubicBezTo>
                    <a:pt x="1187" y="905"/>
                    <a:pt x="1187" y="905"/>
                    <a:pt x="1187" y="905"/>
                  </a:cubicBezTo>
                  <a:cubicBezTo>
                    <a:pt x="1211" y="905"/>
                    <a:pt x="1211" y="905"/>
                    <a:pt x="1211" y="905"/>
                  </a:cubicBezTo>
                  <a:lnTo>
                    <a:pt x="1211" y="916"/>
                  </a:lnTo>
                  <a:close/>
                  <a:moveTo>
                    <a:pt x="1164" y="916"/>
                  </a:moveTo>
                  <a:cubicBezTo>
                    <a:pt x="1140" y="916"/>
                    <a:pt x="1140" y="916"/>
                    <a:pt x="1140" y="916"/>
                  </a:cubicBezTo>
                  <a:cubicBezTo>
                    <a:pt x="1140" y="905"/>
                    <a:pt x="1140" y="905"/>
                    <a:pt x="1140" y="905"/>
                  </a:cubicBezTo>
                  <a:cubicBezTo>
                    <a:pt x="1164" y="905"/>
                    <a:pt x="1164" y="905"/>
                    <a:pt x="1164" y="905"/>
                  </a:cubicBezTo>
                  <a:lnTo>
                    <a:pt x="1164" y="916"/>
                  </a:lnTo>
                  <a:close/>
                  <a:moveTo>
                    <a:pt x="1116" y="916"/>
                  </a:moveTo>
                  <a:cubicBezTo>
                    <a:pt x="1092" y="916"/>
                    <a:pt x="1092" y="916"/>
                    <a:pt x="1092" y="916"/>
                  </a:cubicBezTo>
                  <a:cubicBezTo>
                    <a:pt x="1092" y="905"/>
                    <a:pt x="1092" y="905"/>
                    <a:pt x="1092" y="905"/>
                  </a:cubicBezTo>
                  <a:cubicBezTo>
                    <a:pt x="1116" y="905"/>
                    <a:pt x="1116" y="905"/>
                    <a:pt x="1116" y="905"/>
                  </a:cubicBezTo>
                  <a:lnTo>
                    <a:pt x="1116" y="916"/>
                  </a:lnTo>
                  <a:close/>
                  <a:moveTo>
                    <a:pt x="1068" y="916"/>
                  </a:moveTo>
                  <a:cubicBezTo>
                    <a:pt x="1044" y="916"/>
                    <a:pt x="1044" y="916"/>
                    <a:pt x="1044" y="916"/>
                  </a:cubicBezTo>
                  <a:cubicBezTo>
                    <a:pt x="1044" y="905"/>
                    <a:pt x="1044" y="905"/>
                    <a:pt x="1044" y="905"/>
                  </a:cubicBezTo>
                  <a:cubicBezTo>
                    <a:pt x="1068" y="905"/>
                    <a:pt x="1068" y="905"/>
                    <a:pt x="1068" y="905"/>
                  </a:cubicBezTo>
                  <a:lnTo>
                    <a:pt x="1068" y="916"/>
                  </a:lnTo>
                  <a:close/>
                  <a:moveTo>
                    <a:pt x="1020" y="916"/>
                  </a:moveTo>
                  <a:cubicBezTo>
                    <a:pt x="996" y="916"/>
                    <a:pt x="996" y="916"/>
                    <a:pt x="996" y="916"/>
                  </a:cubicBezTo>
                  <a:cubicBezTo>
                    <a:pt x="996" y="905"/>
                    <a:pt x="996" y="905"/>
                    <a:pt x="996" y="905"/>
                  </a:cubicBezTo>
                  <a:cubicBezTo>
                    <a:pt x="1020" y="905"/>
                    <a:pt x="1020" y="905"/>
                    <a:pt x="1020" y="905"/>
                  </a:cubicBezTo>
                  <a:lnTo>
                    <a:pt x="1020" y="916"/>
                  </a:lnTo>
                  <a:close/>
                  <a:moveTo>
                    <a:pt x="924" y="913"/>
                  </a:moveTo>
                  <a:cubicBezTo>
                    <a:pt x="915" y="911"/>
                    <a:pt x="907" y="909"/>
                    <a:pt x="900" y="906"/>
                  </a:cubicBezTo>
                  <a:cubicBezTo>
                    <a:pt x="903" y="896"/>
                    <a:pt x="903" y="896"/>
                    <a:pt x="903" y="896"/>
                  </a:cubicBezTo>
                  <a:cubicBezTo>
                    <a:pt x="910" y="899"/>
                    <a:pt x="918" y="901"/>
                    <a:pt x="926" y="902"/>
                  </a:cubicBezTo>
                  <a:lnTo>
                    <a:pt x="924" y="913"/>
                  </a:lnTo>
                  <a:close/>
                  <a:moveTo>
                    <a:pt x="877" y="896"/>
                  </a:moveTo>
                  <a:cubicBezTo>
                    <a:pt x="870" y="892"/>
                    <a:pt x="863" y="887"/>
                    <a:pt x="857" y="881"/>
                  </a:cubicBezTo>
                  <a:cubicBezTo>
                    <a:pt x="864" y="873"/>
                    <a:pt x="864" y="873"/>
                    <a:pt x="864" y="873"/>
                  </a:cubicBezTo>
                  <a:cubicBezTo>
                    <a:pt x="870" y="878"/>
                    <a:pt x="876" y="883"/>
                    <a:pt x="883" y="886"/>
                  </a:cubicBezTo>
                  <a:lnTo>
                    <a:pt x="877" y="896"/>
                  </a:lnTo>
                  <a:close/>
                  <a:moveTo>
                    <a:pt x="840" y="864"/>
                  </a:moveTo>
                  <a:cubicBezTo>
                    <a:pt x="835" y="857"/>
                    <a:pt x="830" y="851"/>
                    <a:pt x="826" y="843"/>
                  </a:cubicBezTo>
                  <a:cubicBezTo>
                    <a:pt x="835" y="838"/>
                    <a:pt x="835" y="838"/>
                    <a:pt x="835" y="838"/>
                  </a:cubicBezTo>
                  <a:cubicBezTo>
                    <a:pt x="839" y="845"/>
                    <a:pt x="843" y="851"/>
                    <a:pt x="848" y="857"/>
                  </a:cubicBezTo>
                  <a:lnTo>
                    <a:pt x="840" y="864"/>
                  </a:lnTo>
                  <a:close/>
                  <a:moveTo>
                    <a:pt x="815" y="821"/>
                  </a:moveTo>
                  <a:cubicBezTo>
                    <a:pt x="812" y="814"/>
                    <a:pt x="809" y="806"/>
                    <a:pt x="806" y="798"/>
                  </a:cubicBezTo>
                  <a:cubicBezTo>
                    <a:pt x="817" y="795"/>
                    <a:pt x="817" y="795"/>
                    <a:pt x="817" y="795"/>
                  </a:cubicBezTo>
                  <a:cubicBezTo>
                    <a:pt x="819" y="803"/>
                    <a:pt x="822" y="810"/>
                    <a:pt x="825" y="817"/>
                  </a:cubicBezTo>
                  <a:lnTo>
                    <a:pt x="815" y="821"/>
                  </a:lnTo>
                  <a:close/>
                  <a:moveTo>
                    <a:pt x="801" y="774"/>
                  </a:moveTo>
                  <a:cubicBezTo>
                    <a:pt x="799" y="767"/>
                    <a:pt x="798" y="758"/>
                    <a:pt x="797" y="750"/>
                  </a:cubicBezTo>
                  <a:cubicBezTo>
                    <a:pt x="808" y="749"/>
                    <a:pt x="808" y="749"/>
                    <a:pt x="808" y="749"/>
                  </a:cubicBezTo>
                  <a:cubicBezTo>
                    <a:pt x="808" y="757"/>
                    <a:pt x="810" y="765"/>
                    <a:pt x="811" y="772"/>
                  </a:cubicBezTo>
                  <a:lnTo>
                    <a:pt x="801" y="774"/>
                  </a:lnTo>
                  <a:close/>
                  <a:moveTo>
                    <a:pt x="795" y="726"/>
                  </a:moveTo>
                  <a:cubicBezTo>
                    <a:pt x="795" y="725"/>
                    <a:pt x="795" y="724"/>
                    <a:pt x="795" y="723"/>
                  </a:cubicBezTo>
                  <a:cubicBezTo>
                    <a:pt x="795" y="721"/>
                    <a:pt x="795" y="720"/>
                    <a:pt x="795" y="720"/>
                  </a:cubicBezTo>
                  <a:cubicBezTo>
                    <a:pt x="795" y="702"/>
                    <a:pt x="795" y="702"/>
                    <a:pt x="795" y="702"/>
                  </a:cubicBezTo>
                  <a:cubicBezTo>
                    <a:pt x="806" y="702"/>
                    <a:pt x="806" y="702"/>
                    <a:pt x="806" y="702"/>
                  </a:cubicBezTo>
                  <a:cubicBezTo>
                    <a:pt x="806" y="720"/>
                    <a:pt x="806" y="720"/>
                    <a:pt x="806" y="720"/>
                  </a:cubicBezTo>
                  <a:cubicBezTo>
                    <a:pt x="806" y="720"/>
                    <a:pt x="806" y="721"/>
                    <a:pt x="806" y="723"/>
                  </a:cubicBezTo>
                  <a:cubicBezTo>
                    <a:pt x="806" y="724"/>
                    <a:pt x="806" y="725"/>
                    <a:pt x="806" y="726"/>
                  </a:cubicBezTo>
                  <a:lnTo>
                    <a:pt x="795" y="726"/>
                  </a:lnTo>
                  <a:close/>
                  <a:moveTo>
                    <a:pt x="806" y="678"/>
                  </a:moveTo>
                  <a:cubicBezTo>
                    <a:pt x="795" y="678"/>
                    <a:pt x="795" y="678"/>
                    <a:pt x="795" y="678"/>
                  </a:cubicBezTo>
                  <a:cubicBezTo>
                    <a:pt x="795" y="654"/>
                    <a:pt x="795" y="654"/>
                    <a:pt x="795" y="654"/>
                  </a:cubicBezTo>
                  <a:cubicBezTo>
                    <a:pt x="806" y="654"/>
                    <a:pt x="806" y="654"/>
                    <a:pt x="806" y="654"/>
                  </a:cubicBezTo>
                  <a:lnTo>
                    <a:pt x="806" y="678"/>
                  </a:lnTo>
                  <a:close/>
                  <a:moveTo>
                    <a:pt x="806" y="630"/>
                  </a:moveTo>
                  <a:cubicBezTo>
                    <a:pt x="795" y="630"/>
                    <a:pt x="795" y="630"/>
                    <a:pt x="795" y="630"/>
                  </a:cubicBezTo>
                  <a:cubicBezTo>
                    <a:pt x="795" y="606"/>
                    <a:pt x="795" y="606"/>
                    <a:pt x="795" y="606"/>
                  </a:cubicBezTo>
                  <a:cubicBezTo>
                    <a:pt x="806" y="606"/>
                    <a:pt x="806" y="606"/>
                    <a:pt x="806" y="606"/>
                  </a:cubicBezTo>
                  <a:lnTo>
                    <a:pt x="806" y="630"/>
                  </a:lnTo>
                  <a:close/>
                  <a:moveTo>
                    <a:pt x="806" y="582"/>
                  </a:moveTo>
                  <a:cubicBezTo>
                    <a:pt x="795" y="582"/>
                    <a:pt x="795" y="582"/>
                    <a:pt x="795" y="582"/>
                  </a:cubicBezTo>
                  <a:cubicBezTo>
                    <a:pt x="795" y="558"/>
                    <a:pt x="795" y="558"/>
                    <a:pt x="795" y="558"/>
                  </a:cubicBezTo>
                  <a:cubicBezTo>
                    <a:pt x="806" y="558"/>
                    <a:pt x="806" y="558"/>
                    <a:pt x="806" y="558"/>
                  </a:cubicBezTo>
                  <a:lnTo>
                    <a:pt x="806" y="582"/>
                  </a:lnTo>
                  <a:close/>
                  <a:moveTo>
                    <a:pt x="286" y="580"/>
                  </a:moveTo>
                  <a:cubicBezTo>
                    <a:pt x="286" y="569"/>
                    <a:pt x="286" y="569"/>
                    <a:pt x="286" y="569"/>
                  </a:cubicBezTo>
                  <a:cubicBezTo>
                    <a:pt x="293" y="569"/>
                    <a:pt x="301" y="568"/>
                    <a:pt x="309" y="567"/>
                  </a:cubicBezTo>
                  <a:cubicBezTo>
                    <a:pt x="310" y="578"/>
                    <a:pt x="310" y="578"/>
                    <a:pt x="310" y="578"/>
                  </a:cubicBezTo>
                  <a:cubicBezTo>
                    <a:pt x="302" y="579"/>
                    <a:pt x="294" y="579"/>
                    <a:pt x="286" y="580"/>
                  </a:cubicBezTo>
                  <a:close/>
                  <a:moveTo>
                    <a:pt x="261" y="579"/>
                  </a:moveTo>
                  <a:cubicBezTo>
                    <a:pt x="253" y="578"/>
                    <a:pt x="245" y="577"/>
                    <a:pt x="237" y="575"/>
                  </a:cubicBezTo>
                  <a:cubicBezTo>
                    <a:pt x="239" y="565"/>
                    <a:pt x="239" y="565"/>
                    <a:pt x="239" y="565"/>
                  </a:cubicBezTo>
                  <a:cubicBezTo>
                    <a:pt x="247" y="566"/>
                    <a:pt x="254" y="567"/>
                    <a:pt x="262" y="568"/>
                  </a:cubicBezTo>
                  <a:lnTo>
                    <a:pt x="261" y="579"/>
                  </a:lnTo>
                  <a:close/>
                  <a:moveTo>
                    <a:pt x="334" y="573"/>
                  </a:moveTo>
                  <a:cubicBezTo>
                    <a:pt x="331" y="562"/>
                    <a:pt x="331" y="562"/>
                    <a:pt x="331" y="562"/>
                  </a:cubicBezTo>
                  <a:cubicBezTo>
                    <a:pt x="339" y="560"/>
                    <a:pt x="346" y="558"/>
                    <a:pt x="353" y="555"/>
                  </a:cubicBezTo>
                  <a:cubicBezTo>
                    <a:pt x="357" y="564"/>
                    <a:pt x="357" y="564"/>
                    <a:pt x="357" y="564"/>
                  </a:cubicBezTo>
                  <a:cubicBezTo>
                    <a:pt x="350" y="568"/>
                    <a:pt x="342" y="570"/>
                    <a:pt x="334" y="573"/>
                  </a:cubicBezTo>
                  <a:close/>
                  <a:moveTo>
                    <a:pt x="213" y="568"/>
                  </a:moveTo>
                  <a:cubicBezTo>
                    <a:pt x="206" y="564"/>
                    <a:pt x="198" y="561"/>
                    <a:pt x="191" y="556"/>
                  </a:cubicBezTo>
                  <a:cubicBezTo>
                    <a:pt x="197" y="547"/>
                    <a:pt x="197" y="547"/>
                    <a:pt x="197" y="547"/>
                  </a:cubicBezTo>
                  <a:cubicBezTo>
                    <a:pt x="203" y="551"/>
                    <a:pt x="210" y="555"/>
                    <a:pt x="217" y="558"/>
                  </a:cubicBezTo>
                  <a:lnTo>
                    <a:pt x="213" y="568"/>
                  </a:lnTo>
                  <a:close/>
                  <a:moveTo>
                    <a:pt x="379" y="553"/>
                  </a:moveTo>
                  <a:cubicBezTo>
                    <a:pt x="374" y="544"/>
                    <a:pt x="374" y="544"/>
                    <a:pt x="374" y="544"/>
                  </a:cubicBezTo>
                  <a:cubicBezTo>
                    <a:pt x="380" y="540"/>
                    <a:pt x="386" y="535"/>
                    <a:pt x="392" y="530"/>
                  </a:cubicBezTo>
                  <a:cubicBezTo>
                    <a:pt x="399" y="538"/>
                    <a:pt x="399" y="538"/>
                    <a:pt x="399" y="538"/>
                  </a:cubicBezTo>
                  <a:cubicBezTo>
                    <a:pt x="393" y="544"/>
                    <a:pt x="386" y="549"/>
                    <a:pt x="379" y="553"/>
                  </a:cubicBezTo>
                  <a:close/>
                  <a:moveTo>
                    <a:pt x="172" y="541"/>
                  </a:moveTo>
                  <a:cubicBezTo>
                    <a:pt x="166" y="536"/>
                    <a:pt x="160" y="530"/>
                    <a:pt x="155" y="523"/>
                  </a:cubicBezTo>
                  <a:cubicBezTo>
                    <a:pt x="163" y="517"/>
                    <a:pt x="163" y="517"/>
                    <a:pt x="163" y="517"/>
                  </a:cubicBezTo>
                  <a:cubicBezTo>
                    <a:pt x="168" y="523"/>
                    <a:pt x="173" y="528"/>
                    <a:pt x="179" y="533"/>
                  </a:cubicBezTo>
                  <a:lnTo>
                    <a:pt x="172" y="541"/>
                  </a:lnTo>
                  <a:close/>
                  <a:moveTo>
                    <a:pt x="806" y="534"/>
                  </a:moveTo>
                  <a:cubicBezTo>
                    <a:pt x="795" y="534"/>
                    <a:pt x="795" y="534"/>
                    <a:pt x="795" y="534"/>
                  </a:cubicBezTo>
                  <a:cubicBezTo>
                    <a:pt x="795" y="510"/>
                    <a:pt x="795" y="510"/>
                    <a:pt x="795" y="510"/>
                  </a:cubicBezTo>
                  <a:cubicBezTo>
                    <a:pt x="806" y="510"/>
                    <a:pt x="806" y="510"/>
                    <a:pt x="806" y="510"/>
                  </a:cubicBezTo>
                  <a:lnTo>
                    <a:pt x="806" y="534"/>
                  </a:lnTo>
                  <a:close/>
                  <a:moveTo>
                    <a:pt x="417" y="521"/>
                  </a:moveTo>
                  <a:cubicBezTo>
                    <a:pt x="409" y="514"/>
                    <a:pt x="409" y="514"/>
                    <a:pt x="409" y="514"/>
                  </a:cubicBezTo>
                  <a:cubicBezTo>
                    <a:pt x="414" y="508"/>
                    <a:pt x="419" y="502"/>
                    <a:pt x="423" y="496"/>
                  </a:cubicBezTo>
                  <a:cubicBezTo>
                    <a:pt x="432" y="502"/>
                    <a:pt x="432" y="502"/>
                    <a:pt x="432" y="502"/>
                  </a:cubicBezTo>
                  <a:cubicBezTo>
                    <a:pt x="427" y="509"/>
                    <a:pt x="422" y="515"/>
                    <a:pt x="417" y="521"/>
                  </a:cubicBezTo>
                  <a:close/>
                  <a:moveTo>
                    <a:pt x="141" y="503"/>
                  </a:moveTo>
                  <a:cubicBezTo>
                    <a:pt x="137" y="496"/>
                    <a:pt x="133" y="489"/>
                    <a:pt x="129" y="481"/>
                  </a:cubicBezTo>
                  <a:cubicBezTo>
                    <a:pt x="139" y="477"/>
                    <a:pt x="139" y="477"/>
                    <a:pt x="139" y="477"/>
                  </a:cubicBezTo>
                  <a:cubicBezTo>
                    <a:pt x="142" y="484"/>
                    <a:pt x="146" y="491"/>
                    <a:pt x="150" y="498"/>
                  </a:cubicBezTo>
                  <a:lnTo>
                    <a:pt x="141" y="503"/>
                  </a:lnTo>
                  <a:close/>
                  <a:moveTo>
                    <a:pt x="806" y="487"/>
                  </a:moveTo>
                  <a:cubicBezTo>
                    <a:pt x="795" y="487"/>
                    <a:pt x="795" y="487"/>
                    <a:pt x="795" y="487"/>
                  </a:cubicBezTo>
                  <a:cubicBezTo>
                    <a:pt x="795" y="463"/>
                    <a:pt x="795" y="463"/>
                    <a:pt x="795" y="463"/>
                  </a:cubicBezTo>
                  <a:cubicBezTo>
                    <a:pt x="806" y="463"/>
                    <a:pt x="806" y="463"/>
                    <a:pt x="806" y="463"/>
                  </a:cubicBezTo>
                  <a:lnTo>
                    <a:pt x="806" y="487"/>
                  </a:lnTo>
                  <a:close/>
                  <a:moveTo>
                    <a:pt x="444" y="481"/>
                  </a:moveTo>
                  <a:cubicBezTo>
                    <a:pt x="435" y="476"/>
                    <a:pt x="435" y="476"/>
                    <a:pt x="435" y="476"/>
                  </a:cubicBezTo>
                  <a:cubicBezTo>
                    <a:pt x="438" y="469"/>
                    <a:pt x="442" y="462"/>
                    <a:pt x="444" y="454"/>
                  </a:cubicBezTo>
                  <a:cubicBezTo>
                    <a:pt x="454" y="458"/>
                    <a:pt x="454" y="458"/>
                    <a:pt x="454" y="458"/>
                  </a:cubicBezTo>
                  <a:cubicBezTo>
                    <a:pt x="451" y="466"/>
                    <a:pt x="448" y="473"/>
                    <a:pt x="444" y="481"/>
                  </a:cubicBezTo>
                  <a:close/>
                  <a:moveTo>
                    <a:pt x="121" y="458"/>
                  </a:moveTo>
                  <a:cubicBezTo>
                    <a:pt x="119" y="450"/>
                    <a:pt x="117" y="442"/>
                    <a:pt x="115" y="434"/>
                  </a:cubicBezTo>
                  <a:cubicBezTo>
                    <a:pt x="126" y="432"/>
                    <a:pt x="126" y="432"/>
                    <a:pt x="126" y="432"/>
                  </a:cubicBezTo>
                  <a:cubicBezTo>
                    <a:pt x="127" y="440"/>
                    <a:pt x="129" y="447"/>
                    <a:pt x="131" y="455"/>
                  </a:cubicBezTo>
                  <a:lnTo>
                    <a:pt x="121" y="458"/>
                  </a:lnTo>
                  <a:close/>
                  <a:moveTo>
                    <a:pt x="806" y="439"/>
                  </a:moveTo>
                  <a:cubicBezTo>
                    <a:pt x="795" y="439"/>
                    <a:pt x="795" y="439"/>
                    <a:pt x="795" y="439"/>
                  </a:cubicBezTo>
                  <a:cubicBezTo>
                    <a:pt x="795" y="415"/>
                    <a:pt x="795" y="415"/>
                    <a:pt x="795" y="415"/>
                  </a:cubicBezTo>
                  <a:cubicBezTo>
                    <a:pt x="806" y="415"/>
                    <a:pt x="806" y="415"/>
                    <a:pt x="806" y="415"/>
                  </a:cubicBezTo>
                  <a:lnTo>
                    <a:pt x="806" y="439"/>
                  </a:lnTo>
                  <a:close/>
                  <a:moveTo>
                    <a:pt x="462" y="435"/>
                  </a:moveTo>
                  <a:cubicBezTo>
                    <a:pt x="451" y="432"/>
                    <a:pt x="451" y="432"/>
                    <a:pt x="451" y="432"/>
                  </a:cubicBezTo>
                  <a:cubicBezTo>
                    <a:pt x="452" y="431"/>
                    <a:pt x="452" y="430"/>
                    <a:pt x="452" y="429"/>
                  </a:cubicBezTo>
                  <a:cubicBezTo>
                    <a:pt x="452" y="429"/>
                    <a:pt x="452" y="428"/>
                    <a:pt x="452" y="428"/>
                  </a:cubicBezTo>
                  <a:cubicBezTo>
                    <a:pt x="452" y="425"/>
                    <a:pt x="452" y="418"/>
                    <a:pt x="453" y="409"/>
                  </a:cubicBezTo>
                  <a:cubicBezTo>
                    <a:pt x="463" y="410"/>
                    <a:pt x="463" y="410"/>
                    <a:pt x="463" y="410"/>
                  </a:cubicBezTo>
                  <a:cubicBezTo>
                    <a:pt x="463" y="419"/>
                    <a:pt x="463" y="425"/>
                    <a:pt x="463" y="428"/>
                  </a:cubicBezTo>
                  <a:cubicBezTo>
                    <a:pt x="463" y="429"/>
                    <a:pt x="463" y="429"/>
                    <a:pt x="463" y="429"/>
                  </a:cubicBezTo>
                  <a:cubicBezTo>
                    <a:pt x="463" y="430"/>
                    <a:pt x="463" y="430"/>
                    <a:pt x="463" y="430"/>
                  </a:cubicBezTo>
                  <a:cubicBezTo>
                    <a:pt x="463" y="430"/>
                    <a:pt x="463" y="430"/>
                    <a:pt x="463" y="430"/>
                  </a:cubicBezTo>
                  <a:cubicBezTo>
                    <a:pt x="463" y="431"/>
                    <a:pt x="462" y="432"/>
                    <a:pt x="462" y="435"/>
                  </a:cubicBezTo>
                  <a:close/>
                  <a:moveTo>
                    <a:pt x="123" y="409"/>
                  </a:moveTo>
                  <a:cubicBezTo>
                    <a:pt x="112" y="409"/>
                    <a:pt x="112" y="409"/>
                    <a:pt x="112" y="409"/>
                  </a:cubicBezTo>
                  <a:cubicBezTo>
                    <a:pt x="112" y="385"/>
                    <a:pt x="112" y="385"/>
                    <a:pt x="112" y="385"/>
                  </a:cubicBezTo>
                  <a:cubicBezTo>
                    <a:pt x="123" y="385"/>
                    <a:pt x="123" y="385"/>
                    <a:pt x="123" y="385"/>
                  </a:cubicBezTo>
                  <a:lnTo>
                    <a:pt x="123" y="409"/>
                  </a:lnTo>
                  <a:close/>
                  <a:moveTo>
                    <a:pt x="794" y="391"/>
                  </a:moveTo>
                  <a:cubicBezTo>
                    <a:pt x="793" y="384"/>
                    <a:pt x="792" y="376"/>
                    <a:pt x="790" y="368"/>
                  </a:cubicBezTo>
                  <a:cubicBezTo>
                    <a:pt x="801" y="366"/>
                    <a:pt x="801" y="366"/>
                    <a:pt x="801" y="366"/>
                  </a:cubicBezTo>
                  <a:cubicBezTo>
                    <a:pt x="802" y="374"/>
                    <a:pt x="804" y="382"/>
                    <a:pt x="805" y="390"/>
                  </a:cubicBezTo>
                  <a:lnTo>
                    <a:pt x="794" y="391"/>
                  </a:lnTo>
                  <a:close/>
                  <a:moveTo>
                    <a:pt x="467" y="387"/>
                  </a:moveTo>
                  <a:cubicBezTo>
                    <a:pt x="456" y="385"/>
                    <a:pt x="456" y="385"/>
                    <a:pt x="456" y="385"/>
                  </a:cubicBezTo>
                  <a:cubicBezTo>
                    <a:pt x="458" y="377"/>
                    <a:pt x="459" y="369"/>
                    <a:pt x="461" y="361"/>
                  </a:cubicBezTo>
                  <a:cubicBezTo>
                    <a:pt x="472" y="364"/>
                    <a:pt x="472" y="364"/>
                    <a:pt x="472" y="364"/>
                  </a:cubicBezTo>
                  <a:cubicBezTo>
                    <a:pt x="470" y="371"/>
                    <a:pt x="468" y="379"/>
                    <a:pt x="467" y="387"/>
                  </a:cubicBezTo>
                  <a:close/>
                  <a:moveTo>
                    <a:pt x="123" y="362"/>
                  </a:moveTo>
                  <a:cubicBezTo>
                    <a:pt x="112" y="362"/>
                    <a:pt x="112" y="362"/>
                    <a:pt x="112" y="362"/>
                  </a:cubicBezTo>
                  <a:cubicBezTo>
                    <a:pt x="112" y="338"/>
                    <a:pt x="112" y="338"/>
                    <a:pt x="112" y="338"/>
                  </a:cubicBezTo>
                  <a:cubicBezTo>
                    <a:pt x="123" y="338"/>
                    <a:pt x="123" y="338"/>
                    <a:pt x="123" y="338"/>
                  </a:cubicBezTo>
                  <a:lnTo>
                    <a:pt x="123" y="362"/>
                  </a:lnTo>
                  <a:close/>
                  <a:moveTo>
                    <a:pt x="783" y="346"/>
                  </a:moveTo>
                  <a:cubicBezTo>
                    <a:pt x="781" y="339"/>
                    <a:pt x="778" y="331"/>
                    <a:pt x="774" y="325"/>
                  </a:cubicBezTo>
                  <a:cubicBezTo>
                    <a:pt x="784" y="320"/>
                    <a:pt x="784" y="320"/>
                    <a:pt x="784" y="320"/>
                  </a:cubicBezTo>
                  <a:cubicBezTo>
                    <a:pt x="787" y="327"/>
                    <a:pt x="791" y="335"/>
                    <a:pt x="793" y="342"/>
                  </a:cubicBezTo>
                  <a:lnTo>
                    <a:pt x="783" y="346"/>
                  </a:lnTo>
                  <a:close/>
                  <a:moveTo>
                    <a:pt x="479" y="342"/>
                  </a:moveTo>
                  <a:cubicBezTo>
                    <a:pt x="469" y="338"/>
                    <a:pt x="469" y="338"/>
                    <a:pt x="469" y="338"/>
                  </a:cubicBezTo>
                  <a:cubicBezTo>
                    <a:pt x="472" y="330"/>
                    <a:pt x="476" y="322"/>
                    <a:pt x="480" y="315"/>
                  </a:cubicBezTo>
                  <a:cubicBezTo>
                    <a:pt x="489" y="320"/>
                    <a:pt x="489" y="320"/>
                    <a:pt x="489" y="320"/>
                  </a:cubicBezTo>
                  <a:cubicBezTo>
                    <a:pt x="485" y="327"/>
                    <a:pt x="482" y="334"/>
                    <a:pt x="479" y="342"/>
                  </a:cubicBezTo>
                  <a:close/>
                  <a:moveTo>
                    <a:pt x="123" y="314"/>
                  </a:moveTo>
                  <a:cubicBezTo>
                    <a:pt x="112" y="314"/>
                    <a:pt x="112" y="314"/>
                    <a:pt x="112" y="314"/>
                  </a:cubicBezTo>
                  <a:cubicBezTo>
                    <a:pt x="112" y="290"/>
                    <a:pt x="112" y="290"/>
                    <a:pt x="112" y="290"/>
                  </a:cubicBezTo>
                  <a:cubicBezTo>
                    <a:pt x="123" y="290"/>
                    <a:pt x="123" y="290"/>
                    <a:pt x="123" y="290"/>
                  </a:cubicBezTo>
                  <a:lnTo>
                    <a:pt x="123" y="314"/>
                  </a:lnTo>
                  <a:close/>
                  <a:moveTo>
                    <a:pt x="762" y="305"/>
                  </a:moveTo>
                  <a:cubicBezTo>
                    <a:pt x="758" y="298"/>
                    <a:pt x="753" y="292"/>
                    <a:pt x="748" y="287"/>
                  </a:cubicBezTo>
                  <a:cubicBezTo>
                    <a:pt x="755" y="280"/>
                    <a:pt x="755" y="280"/>
                    <a:pt x="755" y="280"/>
                  </a:cubicBezTo>
                  <a:cubicBezTo>
                    <a:pt x="761" y="285"/>
                    <a:pt x="766" y="292"/>
                    <a:pt x="771" y="299"/>
                  </a:cubicBezTo>
                  <a:lnTo>
                    <a:pt x="762" y="305"/>
                  </a:lnTo>
                  <a:close/>
                  <a:moveTo>
                    <a:pt x="501" y="301"/>
                  </a:moveTo>
                  <a:cubicBezTo>
                    <a:pt x="493" y="294"/>
                    <a:pt x="493" y="294"/>
                    <a:pt x="493" y="294"/>
                  </a:cubicBezTo>
                  <a:cubicBezTo>
                    <a:pt x="498" y="288"/>
                    <a:pt x="503" y="281"/>
                    <a:pt x="509" y="276"/>
                  </a:cubicBezTo>
                  <a:cubicBezTo>
                    <a:pt x="516" y="283"/>
                    <a:pt x="516" y="283"/>
                    <a:pt x="516" y="283"/>
                  </a:cubicBezTo>
                  <a:cubicBezTo>
                    <a:pt x="511" y="289"/>
                    <a:pt x="506" y="295"/>
                    <a:pt x="501" y="301"/>
                  </a:cubicBezTo>
                  <a:close/>
                  <a:moveTo>
                    <a:pt x="731" y="272"/>
                  </a:moveTo>
                  <a:cubicBezTo>
                    <a:pt x="724" y="267"/>
                    <a:pt x="718" y="263"/>
                    <a:pt x="711" y="260"/>
                  </a:cubicBezTo>
                  <a:cubicBezTo>
                    <a:pt x="716" y="250"/>
                    <a:pt x="716" y="250"/>
                    <a:pt x="716" y="250"/>
                  </a:cubicBezTo>
                  <a:cubicBezTo>
                    <a:pt x="723" y="254"/>
                    <a:pt x="730" y="258"/>
                    <a:pt x="737" y="263"/>
                  </a:cubicBezTo>
                  <a:lnTo>
                    <a:pt x="731" y="272"/>
                  </a:lnTo>
                  <a:close/>
                  <a:moveTo>
                    <a:pt x="534" y="269"/>
                  </a:moveTo>
                  <a:cubicBezTo>
                    <a:pt x="528" y="260"/>
                    <a:pt x="528" y="260"/>
                    <a:pt x="528" y="260"/>
                  </a:cubicBezTo>
                  <a:cubicBezTo>
                    <a:pt x="535" y="255"/>
                    <a:pt x="542" y="251"/>
                    <a:pt x="549" y="248"/>
                  </a:cubicBezTo>
                  <a:cubicBezTo>
                    <a:pt x="554" y="257"/>
                    <a:pt x="554" y="257"/>
                    <a:pt x="554" y="257"/>
                  </a:cubicBezTo>
                  <a:cubicBezTo>
                    <a:pt x="547" y="261"/>
                    <a:pt x="540" y="264"/>
                    <a:pt x="534" y="269"/>
                  </a:cubicBezTo>
                  <a:close/>
                  <a:moveTo>
                    <a:pt x="123" y="266"/>
                  </a:moveTo>
                  <a:cubicBezTo>
                    <a:pt x="112" y="266"/>
                    <a:pt x="112" y="266"/>
                    <a:pt x="112" y="266"/>
                  </a:cubicBezTo>
                  <a:cubicBezTo>
                    <a:pt x="112" y="242"/>
                    <a:pt x="112" y="242"/>
                    <a:pt x="112" y="242"/>
                  </a:cubicBezTo>
                  <a:cubicBezTo>
                    <a:pt x="123" y="242"/>
                    <a:pt x="123" y="242"/>
                    <a:pt x="123" y="242"/>
                  </a:cubicBezTo>
                  <a:lnTo>
                    <a:pt x="123" y="266"/>
                  </a:lnTo>
                  <a:close/>
                  <a:moveTo>
                    <a:pt x="690" y="251"/>
                  </a:moveTo>
                  <a:cubicBezTo>
                    <a:pt x="683" y="248"/>
                    <a:pt x="675" y="246"/>
                    <a:pt x="667" y="245"/>
                  </a:cubicBezTo>
                  <a:cubicBezTo>
                    <a:pt x="669" y="234"/>
                    <a:pt x="669" y="234"/>
                    <a:pt x="669" y="234"/>
                  </a:cubicBezTo>
                  <a:cubicBezTo>
                    <a:pt x="678" y="236"/>
                    <a:pt x="686" y="238"/>
                    <a:pt x="693" y="240"/>
                  </a:cubicBezTo>
                  <a:lnTo>
                    <a:pt x="690" y="251"/>
                  </a:lnTo>
                  <a:close/>
                  <a:moveTo>
                    <a:pt x="575" y="249"/>
                  </a:moveTo>
                  <a:cubicBezTo>
                    <a:pt x="572" y="239"/>
                    <a:pt x="572" y="239"/>
                    <a:pt x="572" y="239"/>
                  </a:cubicBezTo>
                  <a:cubicBezTo>
                    <a:pt x="580" y="236"/>
                    <a:pt x="588" y="235"/>
                    <a:pt x="596" y="233"/>
                  </a:cubicBezTo>
                  <a:cubicBezTo>
                    <a:pt x="598" y="244"/>
                    <a:pt x="598" y="244"/>
                    <a:pt x="598" y="244"/>
                  </a:cubicBezTo>
                  <a:cubicBezTo>
                    <a:pt x="590" y="245"/>
                    <a:pt x="583" y="247"/>
                    <a:pt x="575" y="249"/>
                  </a:cubicBezTo>
                  <a:close/>
                  <a:moveTo>
                    <a:pt x="644" y="242"/>
                  </a:moveTo>
                  <a:cubicBezTo>
                    <a:pt x="640" y="242"/>
                    <a:pt x="635" y="241"/>
                    <a:pt x="631" y="241"/>
                  </a:cubicBezTo>
                  <a:cubicBezTo>
                    <a:pt x="628" y="241"/>
                    <a:pt x="624" y="242"/>
                    <a:pt x="621" y="242"/>
                  </a:cubicBezTo>
                  <a:cubicBezTo>
                    <a:pt x="621" y="231"/>
                    <a:pt x="621" y="231"/>
                    <a:pt x="621" y="231"/>
                  </a:cubicBezTo>
                  <a:cubicBezTo>
                    <a:pt x="624" y="231"/>
                    <a:pt x="627" y="231"/>
                    <a:pt x="631" y="231"/>
                  </a:cubicBezTo>
                  <a:cubicBezTo>
                    <a:pt x="636" y="231"/>
                    <a:pt x="641" y="231"/>
                    <a:pt x="645" y="231"/>
                  </a:cubicBezTo>
                  <a:lnTo>
                    <a:pt x="644" y="242"/>
                  </a:lnTo>
                  <a:close/>
                  <a:moveTo>
                    <a:pt x="123" y="218"/>
                  </a:moveTo>
                  <a:cubicBezTo>
                    <a:pt x="112" y="218"/>
                    <a:pt x="112" y="218"/>
                    <a:pt x="112" y="218"/>
                  </a:cubicBezTo>
                  <a:cubicBezTo>
                    <a:pt x="112" y="194"/>
                    <a:pt x="112" y="194"/>
                    <a:pt x="112" y="194"/>
                  </a:cubicBezTo>
                  <a:cubicBezTo>
                    <a:pt x="123" y="194"/>
                    <a:pt x="123" y="194"/>
                    <a:pt x="123" y="194"/>
                  </a:cubicBezTo>
                  <a:lnTo>
                    <a:pt x="123" y="218"/>
                  </a:lnTo>
                  <a:close/>
                  <a:moveTo>
                    <a:pt x="123" y="170"/>
                  </a:moveTo>
                  <a:cubicBezTo>
                    <a:pt x="112" y="170"/>
                    <a:pt x="112" y="170"/>
                    <a:pt x="112" y="170"/>
                  </a:cubicBezTo>
                  <a:cubicBezTo>
                    <a:pt x="112" y="164"/>
                    <a:pt x="112" y="164"/>
                    <a:pt x="112" y="164"/>
                  </a:cubicBezTo>
                  <a:cubicBezTo>
                    <a:pt x="112" y="164"/>
                    <a:pt x="112" y="157"/>
                    <a:pt x="111" y="147"/>
                  </a:cubicBezTo>
                  <a:cubicBezTo>
                    <a:pt x="121" y="146"/>
                    <a:pt x="121" y="146"/>
                    <a:pt x="121" y="146"/>
                  </a:cubicBezTo>
                  <a:cubicBezTo>
                    <a:pt x="123" y="157"/>
                    <a:pt x="123" y="164"/>
                    <a:pt x="123" y="164"/>
                  </a:cubicBezTo>
                  <a:lnTo>
                    <a:pt x="123" y="170"/>
                  </a:lnTo>
                  <a:close/>
                  <a:moveTo>
                    <a:pt x="106" y="124"/>
                  </a:moveTo>
                  <a:cubicBezTo>
                    <a:pt x="104" y="117"/>
                    <a:pt x="101" y="109"/>
                    <a:pt x="98" y="102"/>
                  </a:cubicBezTo>
                  <a:cubicBezTo>
                    <a:pt x="108" y="98"/>
                    <a:pt x="108" y="98"/>
                    <a:pt x="108" y="98"/>
                  </a:cubicBezTo>
                  <a:cubicBezTo>
                    <a:pt x="111" y="106"/>
                    <a:pt x="114" y="114"/>
                    <a:pt x="116" y="121"/>
                  </a:cubicBezTo>
                  <a:lnTo>
                    <a:pt x="106" y="124"/>
                  </a:lnTo>
                  <a:close/>
                  <a:moveTo>
                    <a:pt x="88" y="82"/>
                  </a:moveTo>
                  <a:cubicBezTo>
                    <a:pt x="84" y="75"/>
                    <a:pt x="79" y="69"/>
                    <a:pt x="75" y="63"/>
                  </a:cubicBezTo>
                  <a:cubicBezTo>
                    <a:pt x="83" y="56"/>
                    <a:pt x="83" y="56"/>
                    <a:pt x="83" y="56"/>
                  </a:cubicBezTo>
                  <a:cubicBezTo>
                    <a:pt x="88" y="62"/>
                    <a:pt x="93" y="69"/>
                    <a:pt x="97" y="76"/>
                  </a:cubicBezTo>
                  <a:lnTo>
                    <a:pt x="88" y="82"/>
                  </a:lnTo>
                  <a:close/>
                  <a:moveTo>
                    <a:pt x="59" y="46"/>
                  </a:moveTo>
                  <a:cubicBezTo>
                    <a:pt x="53" y="41"/>
                    <a:pt x="47" y="36"/>
                    <a:pt x="41" y="31"/>
                  </a:cubicBezTo>
                  <a:cubicBezTo>
                    <a:pt x="47" y="22"/>
                    <a:pt x="47" y="22"/>
                    <a:pt x="47" y="22"/>
                  </a:cubicBezTo>
                  <a:cubicBezTo>
                    <a:pt x="54" y="27"/>
                    <a:pt x="60" y="32"/>
                    <a:pt x="66" y="38"/>
                  </a:cubicBezTo>
                  <a:lnTo>
                    <a:pt x="59" y="46"/>
                  </a:lnTo>
                  <a:close/>
                  <a:moveTo>
                    <a:pt x="21" y="19"/>
                  </a:moveTo>
                  <a:cubicBezTo>
                    <a:pt x="14" y="16"/>
                    <a:pt x="7" y="13"/>
                    <a:pt x="0" y="10"/>
                  </a:cubicBezTo>
                  <a:cubicBezTo>
                    <a:pt x="3" y="0"/>
                    <a:pt x="3" y="0"/>
                    <a:pt x="3" y="0"/>
                  </a:cubicBezTo>
                  <a:cubicBezTo>
                    <a:pt x="11" y="3"/>
                    <a:pt x="19" y="6"/>
                    <a:pt x="26" y="10"/>
                  </a:cubicBezTo>
                  <a:lnTo>
                    <a:pt x="21"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id-ID"/>
            </a:p>
          </p:txBody>
        </p:sp>
        <p:sp>
          <p:nvSpPr>
            <p:cNvPr id="63" name="Rectangle 14"/>
            <p:cNvSpPr>
              <a:spLocks noChangeArrowheads="1"/>
            </p:cNvSpPr>
            <p:nvPr/>
          </p:nvSpPr>
          <p:spPr bwMode="auto">
            <a:xfrm>
              <a:off x="6704013" y="5781675"/>
              <a:ext cx="47625"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id-ID"/>
            </a:p>
          </p:txBody>
        </p:sp>
        <p:sp>
          <p:nvSpPr>
            <p:cNvPr id="64" name="Freeform 15"/>
            <p:cNvSpPr>
              <a:spLocks/>
            </p:cNvSpPr>
            <p:nvPr/>
          </p:nvSpPr>
          <p:spPr bwMode="auto">
            <a:xfrm>
              <a:off x="6870700" y="5768975"/>
              <a:ext cx="55562" cy="52388"/>
            </a:xfrm>
            <a:custGeom>
              <a:avLst/>
              <a:gdLst>
                <a:gd name="T0" fmla="*/ 11 w 14"/>
                <a:gd name="T1" fmla="*/ 0 h 13"/>
                <a:gd name="T2" fmla="*/ 0 w 14"/>
                <a:gd name="T3" fmla="*/ 3 h 13"/>
                <a:gd name="T4" fmla="*/ 2 w 14"/>
                <a:gd name="T5" fmla="*/ 13 h 13"/>
                <a:gd name="T6" fmla="*/ 14 w 14"/>
                <a:gd name="T7" fmla="*/ 11 h 13"/>
                <a:gd name="T8" fmla="*/ 11 w 14"/>
                <a:gd name="T9" fmla="*/ 0 h 13"/>
              </a:gdLst>
              <a:ahLst/>
              <a:cxnLst>
                <a:cxn ang="0">
                  <a:pos x="T0" y="T1"/>
                </a:cxn>
                <a:cxn ang="0">
                  <a:pos x="T2" y="T3"/>
                </a:cxn>
                <a:cxn ang="0">
                  <a:pos x="T4" y="T5"/>
                </a:cxn>
                <a:cxn ang="0">
                  <a:pos x="T6" y="T7"/>
                </a:cxn>
                <a:cxn ang="0">
                  <a:pos x="T8" y="T9"/>
                </a:cxn>
              </a:cxnLst>
              <a:rect l="0" t="0" r="r" b="b"/>
              <a:pathLst>
                <a:path w="14" h="13">
                  <a:moveTo>
                    <a:pt x="11" y="0"/>
                  </a:moveTo>
                  <a:cubicBezTo>
                    <a:pt x="8" y="1"/>
                    <a:pt x="4" y="2"/>
                    <a:pt x="0" y="3"/>
                  </a:cubicBezTo>
                  <a:cubicBezTo>
                    <a:pt x="2" y="13"/>
                    <a:pt x="2" y="13"/>
                    <a:pt x="2" y="13"/>
                  </a:cubicBezTo>
                  <a:cubicBezTo>
                    <a:pt x="6" y="13"/>
                    <a:pt x="10" y="12"/>
                    <a:pt x="14" y="11"/>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id-ID"/>
            </a:p>
          </p:txBody>
        </p:sp>
        <p:sp>
          <p:nvSpPr>
            <p:cNvPr id="65" name="Freeform 16"/>
            <p:cNvSpPr>
              <a:spLocks noEditPoints="1"/>
            </p:cNvSpPr>
            <p:nvPr/>
          </p:nvSpPr>
          <p:spPr bwMode="auto">
            <a:xfrm>
              <a:off x="7007225" y="2122488"/>
              <a:ext cx="4832350" cy="3662363"/>
            </a:xfrm>
            <a:custGeom>
              <a:avLst/>
              <a:gdLst>
                <a:gd name="T0" fmla="*/ 959 w 1211"/>
                <a:gd name="T1" fmla="*/ 11 h 916"/>
                <a:gd name="T2" fmla="*/ 1211 w 1211"/>
                <a:gd name="T3" fmla="*/ 11 h 916"/>
                <a:gd name="T4" fmla="*/ 1163 w 1211"/>
                <a:gd name="T5" fmla="*/ 11 h 916"/>
                <a:gd name="T6" fmla="*/ 1116 w 1211"/>
                <a:gd name="T7" fmla="*/ 11 h 916"/>
                <a:gd name="T8" fmla="*/ 1068 w 1211"/>
                <a:gd name="T9" fmla="*/ 11 h 916"/>
                <a:gd name="T10" fmla="*/ 1020 w 1211"/>
                <a:gd name="T11" fmla="*/ 11 h 916"/>
                <a:gd name="T12" fmla="*/ 926 w 1211"/>
                <a:gd name="T13" fmla="*/ 14 h 916"/>
                <a:gd name="T14" fmla="*/ 883 w 1211"/>
                <a:gd name="T15" fmla="*/ 29 h 916"/>
                <a:gd name="T16" fmla="*/ 848 w 1211"/>
                <a:gd name="T17" fmla="*/ 59 h 916"/>
                <a:gd name="T18" fmla="*/ 824 w 1211"/>
                <a:gd name="T19" fmla="*/ 99 h 916"/>
                <a:gd name="T20" fmla="*/ 811 w 1211"/>
                <a:gd name="T21" fmla="*/ 144 h 916"/>
                <a:gd name="T22" fmla="*/ 806 w 1211"/>
                <a:gd name="T23" fmla="*/ 190 h 916"/>
                <a:gd name="T24" fmla="*/ 795 w 1211"/>
                <a:gd name="T25" fmla="*/ 196 h 916"/>
                <a:gd name="T26" fmla="*/ 795 w 1211"/>
                <a:gd name="T27" fmla="*/ 262 h 916"/>
                <a:gd name="T28" fmla="*/ 795 w 1211"/>
                <a:gd name="T29" fmla="*/ 310 h 916"/>
                <a:gd name="T30" fmla="*/ 795 w 1211"/>
                <a:gd name="T31" fmla="*/ 358 h 916"/>
                <a:gd name="T32" fmla="*/ 309 w 1211"/>
                <a:gd name="T33" fmla="*/ 349 h 916"/>
                <a:gd name="T34" fmla="*/ 239 w 1211"/>
                <a:gd name="T35" fmla="*/ 351 h 916"/>
                <a:gd name="T36" fmla="*/ 353 w 1211"/>
                <a:gd name="T37" fmla="*/ 361 h 916"/>
                <a:gd name="T38" fmla="*/ 197 w 1211"/>
                <a:gd name="T39" fmla="*/ 369 h 916"/>
                <a:gd name="T40" fmla="*/ 392 w 1211"/>
                <a:gd name="T41" fmla="*/ 386 h 916"/>
                <a:gd name="T42" fmla="*/ 163 w 1211"/>
                <a:gd name="T43" fmla="*/ 399 h 916"/>
                <a:gd name="T44" fmla="*/ 795 w 1211"/>
                <a:gd name="T45" fmla="*/ 405 h 916"/>
                <a:gd name="T46" fmla="*/ 423 w 1211"/>
                <a:gd name="T47" fmla="*/ 420 h 916"/>
                <a:gd name="T48" fmla="*/ 139 w 1211"/>
                <a:gd name="T49" fmla="*/ 439 h 916"/>
                <a:gd name="T50" fmla="*/ 795 w 1211"/>
                <a:gd name="T51" fmla="*/ 453 h 916"/>
                <a:gd name="T52" fmla="*/ 444 w 1211"/>
                <a:gd name="T53" fmla="*/ 462 h 916"/>
                <a:gd name="T54" fmla="*/ 126 w 1211"/>
                <a:gd name="T55" fmla="*/ 484 h 916"/>
                <a:gd name="T56" fmla="*/ 795 w 1211"/>
                <a:gd name="T57" fmla="*/ 501 h 916"/>
                <a:gd name="T58" fmla="*/ 463 w 1211"/>
                <a:gd name="T59" fmla="*/ 486 h 916"/>
                <a:gd name="T60" fmla="*/ 452 w 1211"/>
                <a:gd name="T61" fmla="*/ 488 h 916"/>
                <a:gd name="T62" fmla="*/ 123 w 1211"/>
                <a:gd name="T63" fmla="*/ 530 h 916"/>
                <a:gd name="T64" fmla="*/ 805 w 1211"/>
                <a:gd name="T65" fmla="*/ 526 h 916"/>
                <a:gd name="T66" fmla="*/ 472 w 1211"/>
                <a:gd name="T67" fmla="*/ 552 h 916"/>
                <a:gd name="T68" fmla="*/ 123 w 1211"/>
                <a:gd name="T69" fmla="*/ 578 h 916"/>
                <a:gd name="T70" fmla="*/ 793 w 1211"/>
                <a:gd name="T71" fmla="*/ 573 h 916"/>
                <a:gd name="T72" fmla="*/ 489 w 1211"/>
                <a:gd name="T73" fmla="*/ 595 h 916"/>
                <a:gd name="T74" fmla="*/ 123 w 1211"/>
                <a:gd name="T75" fmla="*/ 626 h 916"/>
                <a:gd name="T76" fmla="*/ 771 w 1211"/>
                <a:gd name="T77" fmla="*/ 617 h 916"/>
                <a:gd name="T78" fmla="*/ 516 w 1211"/>
                <a:gd name="T79" fmla="*/ 632 h 916"/>
                <a:gd name="T80" fmla="*/ 737 w 1211"/>
                <a:gd name="T81" fmla="*/ 653 h 916"/>
                <a:gd name="T82" fmla="*/ 554 w 1211"/>
                <a:gd name="T83" fmla="*/ 659 h 916"/>
                <a:gd name="T84" fmla="*/ 123 w 1211"/>
                <a:gd name="T85" fmla="*/ 674 h 916"/>
                <a:gd name="T86" fmla="*/ 693 w 1211"/>
                <a:gd name="T87" fmla="*/ 675 h 916"/>
                <a:gd name="T88" fmla="*/ 598 w 1211"/>
                <a:gd name="T89" fmla="*/ 672 h 916"/>
                <a:gd name="T90" fmla="*/ 645 w 1211"/>
                <a:gd name="T91" fmla="*/ 685 h 916"/>
                <a:gd name="T92" fmla="*/ 644 w 1211"/>
                <a:gd name="T93" fmla="*/ 674 h 916"/>
                <a:gd name="T94" fmla="*/ 123 w 1211"/>
                <a:gd name="T95" fmla="*/ 698 h 916"/>
                <a:gd name="T96" fmla="*/ 112 w 1211"/>
                <a:gd name="T97" fmla="*/ 752 h 916"/>
                <a:gd name="T98" fmla="*/ 108 w 1211"/>
                <a:gd name="T99" fmla="*/ 818 h 916"/>
                <a:gd name="T100" fmla="*/ 83 w 1211"/>
                <a:gd name="T101" fmla="*/ 860 h 916"/>
                <a:gd name="T102" fmla="*/ 47 w 1211"/>
                <a:gd name="T103" fmla="*/ 893 h 916"/>
                <a:gd name="T104" fmla="*/ 3 w 1211"/>
                <a:gd name="T105"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1" h="916">
                  <a:moveTo>
                    <a:pt x="959" y="0"/>
                  </a:moveTo>
                  <a:cubicBezTo>
                    <a:pt x="972" y="0"/>
                    <a:pt x="972" y="0"/>
                    <a:pt x="972" y="0"/>
                  </a:cubicBezTo>
                  <a:cubicBezTo>
                    <a:pt x="972" y="11"/>
                    <a:pt x="972" y="11"/>
                    <a:pt x="972" y="11"/>
                  </a:cubicBezTo>
                  <a:cubicBezTo>
                    <a:pt x="959" y="11"/>
                    <a:pt x="959" y="11"/>
                    <a:pt x="959" y="11"/>
                  </a:cubicBezTo>
                  <a:cubicBezTo>
                    <a:pt x="959" y="11"/>
                    <a:pt x="959" y="11"/>
                    <a:pt x="959" y="11"/>
                  </a:cubicBezTo>
                  <a:cubicBezTo>
                    <a:pt x="956" y="11"/>
                    <a:pt x="952" y="11"/>
                    <a:pt x="948" y="11"/>
                  </a:cubicBezTo>
                  <a:cubicBezTo>
                    <a:pt x="948" y="0"/>
                    <a:pt x="948" y="0"/>
                    <a:pt x="948" y="0"/>
                  </a:cubicBezTo>
                  <a:cubicBezTo>
                    <a:pt x="952" y="0"/>
                    <a:pt x="955" y="0"/>
                    <a:pt x="959" y="0"/>
                  </a:cubicBezTo>
                  <a:cubicBezTo>
                    <a:pt x="959" y="0"/>
                    <a:pt x="959" y="0"/>
                    <a:pt x="959" y="0"/>
                  </a:cubicBezTo>
                  <a:close/>
                  <a:moveTo>
                    <a:pt x="1211" y="11"/>
                  </a:moveTo>
                  <a:cubicBezTo>
                    <a:pt x="1187" y="11"/>
                    <a:pt x="1187" y="11"/>
                    <a:pt x="1187" y="11"/>
                  </a:cubicBezTo>
                  <a:cubicBezTo>
                    <a:pt x="1187" y="0"/>
                    <a:pt x="1187" y="0"/>
                    <a:pt x="1187" y="0"/>
                  </a:cubicBezTo>
                  <a:cubicBezTo>
                    <a:pt x="1211" y="0"/>
                    <a:pt x="1211" y="0"/>
                    <a:pt x="1211" y="0"/>
                  </a:cubicBezTo>
                  <a:lnTo>
                    <a:pt x="1211" y="11"/>
                  </a:lnTo>
                  <a:close/>
                  <a:moveTo>
                    <a:pt x="1163" y="11"/>
                  </a:moveTo>
                  <a:cubicBezTo>
                    <a:pt x="1140" y="11"/>
                    <a:pt x="1140" y="11"/>
                    <a:pt x="1140" y="11"/>
                  </a:cubicBezTo>
                  <a:cubicBezTo>
                    <a:pt x="1140" y="0"/>
                    <a:pt x="1140" y="0"/>
                    <a:pt x="1140" y="0"/>
                  </a:cubicBezTo>
                  <a:cubicBezTo>
                    <a:pt x="1163" y="0"/>
                    <a:pt x="1163" y="0"/>
                    <a:pt x="1163" y="0"/>
                  </a:cubicBezTo>
                  <a:lnTo>
                    <a:pt x="1163" y="11"/>
                  </a:lnTo>
                  <a:close/>
                  <a:moveTo>
                    <a:pt x="1116" y="11"/>
                  </a:moveTo>
                  <a:cubicBezTo>
                    <a:pt x="1092" y="11"/>
                    <a:pt x="1092" y="11"/>
                    <a:pt x="1092" y="11"/>
                  </a:cubicBezTo>
                  <a:cubicBezTo>
                    <a:pt x="1092" y="0"/>
                    <a:pt x="1092" y="0"/>
                    <a:pt x="1092" y="0"/>
                  </a:cubicBezTo>
                  <a:cubicBezTo>
                    <a:pt x="1116" y="0"/>
                    <a:pt x="1116" y="0"/>
                    <a:pt x="1116" y="0"/>
                  </a:cubicBezTo>
                  <a:lnTo>
                    <a:pt x="1116" y="11"/>
                  </a:lnTo>
                  <a:close/>
                  <a:moveTo>
                    <a:pt x="1068" y="11"/>
                  </a:moveTo>
                  <a:cubicBezTo>
                    <a:pt x="1044" y="11"/>
                    <a:pt x="1044" y="11"/>
                    <a:pt x="1044" y="11"/>
                  </a:cubicBezTo>
                  <a:cubicBezTo>
                    <a:pt x="1044" y="0"/>
                    <a:pt x="1044" y="0"/>
                    <a:pt x="1044" y="0"/>
                  </a:cubicBezTo>
                  <a:cubicBezTo>
                    <a:pt x="1068" y="0"/>
                    <a:pt x="1068" y="0"/>
                    <a:pt x="1068" y="0"/>
                  </a:cubicBezTo>
                  <a:lnTo>
                    <a:pt x="1068" y="11"/>
                  </a:lnTo>
                  <a:close/>
                  <a:moveTo>
                    <a:pt x="1020" y="11"/>
                  </a:moveTo>
                  <a:cubicBezTo>
                    <a:pt x="996" y="11"/>
                    <a:pt x="996" y="11"/>
                    <a:pt x="996" y="11"/>
                  </a:cubicBezTo>
                  <a:cubicBezTo>
                    <a:pt x="996" y="0"/>
                    <a:pt x="996" y="0"/>
                    <a:pt x="996" y="0"/>
                  </a:cubicBezTo>
                  <a:cubicBezTo>
                    <a:pt x="1020" y="0"/>
                    <a:pt x="1020" y="0"/>
                    <a:pt x="1020" y="0"/>
                  </a:cubicBezTo>
                  <a:lnTo>
                    <a:pt x="1020" y="11"/>
                  </a:lnTo>
                  <a:close/>
                  <a:moveTo>
                    <a:pt x="926" y="14"/>
                  </a:moveTo>
                  <a:cubicBezTo>
                    <a:pt x="918" y="15"/>
                    <a:pt x="910" y="17"/>
                    <a:pt x="903" y="20"/>
                  </a:cubicBezTo>
                  <a:cubicBezTo>
                    <a:pt x="900" y="10"/>
                    <a:pt x="900" y="10"/>
                    <a:pt x="900" y="10"/>
                  </a:cubicBezTo>
                  <a:cubicBezTo>
                    <a:pt x="907" y="7"/>
                    <a:pt x="915" y="5"/>
                    <a:pt x="924" y="3"/>
                  </a:cubicBezTo>
                  <a:lnTo>
                    <a:pt x="926" y="14"/>
                  </a:lnTo>
                  <a:close/>
                  <a:moveTo>
                    <a:pt x="883" y="29"/>
                  </a:moveTo>
                  <a:cubicBezTo>
                    <a:pt x="876" y="33"/>
                    <a:pt x="870" y="38"/>
                    <a:pt x="864" y="43"/>
                  </a:cubicBezTo>
                  <a:cubicBezTo>
                    <a:pt x="857" y="35"/>
                    <a:pt x="857" y="35"/>
                    <a:pt x="857" y="35"/>
                  </a:cubicBezTo>
                  <a:cubicBezTo>
                    <a:pt x="863" y="29"/>
                    <a:pt x="870" y="24"/>
                    <a:pt x="877" y="20"/>
                  </a:cubicBezTo>
                  <a:lnTo>
                    <a:pt x="883" y="29"/>
                  </a:lnTo>
                  <a:close/>
                  <a:moveTo>
                    <a:pt x="848" y="59"/>
                  </a:moveTo>
                  <a:cubicBezTo>
                    <a:pt x="843" y="65"/>
                    <a:pt x="839" y="71"/>
                    <a:pt x="835" y="78"/>
                  </a:cubicBezTo>
                  <a:cubicBezTo>
                    <a:pt x="826" y="73"/>
                    <a:pt x="826" y="73"/>
                    <a:pt x="826" y="73"/>
                  </a:cubicBezTo>
                  <a:cubicBezTo>
                    <a:pt x="830" y="65"/>
                    <a:pt x="835" y="59"/>
                    <a:pt x="840" y="52"/>
                  </a:cubicBezTo>
                  <a:lnTo>
                    <a:pt x="848" y="59"/>
                  </a:lnTo>
                  <a:close/>
                  <a:moveTo>
                    <a:pt x="824" y="99"/>
                  </a:moveTo>
                  <a:cubicBezTo>
                    <a:pt x="821" y="106"/>
                    <a:pt x="819" y="113"/>
                    <a:pt x="817" y="121"/>
                  </a:cubicBezTo>
                  <a:cubicBezTo>
                    <a:pt x="806" y="118"/>
                    <a:pt x="806" y="118"/>
                    <a:pt x="806" y="118"/>
                  </a:cubicBezTo>
                  <a:cubicBezTo>
                    <a:pt x="809" y="110"/>
                    <a:pt x="811" y="102"/>
                    <a:pt x="815" y="95"/>
                  </a:cubicBezTo>
                  <a:lnTo>
                    <a:pt x="824" y="99"/>
                  </a:lnTo>
                  <a:close/>
                  <a:moveTo>
                    <a:pt x="811" y="144"/>
                  </a:moveTo>
                  <a:cubicBezTo>
                    <a:pt x="809" y="151"/>
                    <a:pt x="808" y="159"/>
                    <a:pt x="807" y="167"/>
                  </a:cubicBezTo>
                  <a:cubicBezTo>
                    <a:pt x="797" y="166"/>
                    <a:pt x="797" y="166"/>
                    <a:pt x="797" y="166"/>
                  </a:cubicBezTo>
                  <a:cubicBezTo>
                    <a:pt x="798" y="157"/>
                    <a:pt x="799" y="149"/>
                    <a:pt x="800" y="141"/>
                  </a:cubicBezTo>
                  <a:lnTo>
                    <a:pt x="811" y="144"/>
                  </a:lnTo>
                  <a:close/>
                  <a:moveTo>
                    <a:pt x="806" y="190"/>
                  </a:moveTo>
                  <a:cubicBezTo>
                    <a:pt x="806" y="191"/>
                    <a:pt x="806" y="192"/>
                    <a:pt x="806" y="193"/>
                  </a:cubicBezTo>
                  <a:cubicBezTo>
                    <a:pt x="806" y="195"/>
                    <a:pt x="806" y="196"/>
                    <a:pt x="806" y="196"/>
                  </a:cubicBezTo>
                  <a:cubicBezTo>
                    <a:pt x="806" y="214"/>
                    <a:pt x="806" y="214"/>
                    <a:pt x="806" y="214"/>
                  </a:cubicBezTo>
                  <a:cubicBezTo>
                    <a:pt x="795" y="214"/>
                    <a:pt x="795" y="214"/>
                    <a:pt x="795" y="214"/>
                  </a:cubicBezTo>
                  <a:cubicBezTo>
                    <a:pt x="795" y="196"/>
                    <a:pt x="795" y="196"/>
                    <a:pt x="795" y="196"/>
                  </a:cubicBezTo>
                  <a:cubicBezTo>
                    <a:pt x="795" y="196"/>
                    <a:pt x="795" y="195"/>
                    <a:pt x="795" y="193"/>
                  </a:cubicBezTo>
                  <a:cubicBezTo>
                    <a:pt x="795" y="192"/>
                    <a:pt x="795" y="191"/>
                    <a:pt x="795" y="190"/>
                  </a:cubicBezTo>
                  <a:lnTo>
                    <a:pt x="806" y="190"/>
                  </a:lnTo>
                  <a:close/>
                  <a:moveTo>
                    <a:pt x="806" y="262"/>
                  </a:moveTo>
                  <a:cubicBezTo>
                    <a:pt x="795" y="262"/>
                    <a:pt x="795" y="262"/>
                    <a:pt x="795" y="262"/>
                  </a:cubicBezTo>
                  <a:cubicBezTo>
                    <a:pt x="795" y="238"/>
                    <a:pt x="795" y="238"/>
                    <a:pt x="795" y="238"/>
                  </a:cubicBezTo>
                  <a:cubicBezTo>
                    <a:pt x="806" y="238"/>
                    <a:pt x="806" y="238"/>
                    <a:pt x="806" y="238"/>
                  </a:cubicBezTo>
                  <a:lnTo>
                    <a:pt x="806" y="262"/>
                  </a:lnTo>
                  <a:close/>
                  <a:moveTo>
                    <a:pt x="806" y="310"/>
                  </a:moveTo>
                  <a:cubicBezTo>
                    <a:pt x="795" y="310"/>
                    <a:pt x="795" y="310"/>
                    <a:pt x="795" y="310"/>
                  </a:cubicBezTo>
                  <a:cubicBezTo>
                    <a:pt x="795" y="286"/>
                    <a:pt x="795" y="286"/>
                    <a:pt x="795" y="286"/>
                  </a:cubicBezTo>
                  <a:cubicBezTo>
                    <a:pt x="806" y="286"/>
                    <a:pt x="806" y="286"/>
                    <a:pt x="806" y="286"/>
                  </a:cubicBezTo>
                  <a:lnTo>
                    <a:pt x="806" y="310"/>
                  </a:lnTo>
                  <a:close/>
                  <a:moveTo>
                    <a:pt x="806" y="358"/>
                  </a:moveTo>
                  <a:cubicBezTo>
                    <a:pt x="795" y="358"/>
                    <a:pt x="795" y="358"/>
                    <a:pt x="795" y="358"/>
                  </a:cubicBezTo>
                  <a:cubicBezTo>
                    <a:pt x="795" y="334"/>
                    <a:pt x="795" y="334"/>
                    <a:pt x="795" y="334"/>
                  </a:cubicBezTo>
                  <a:cubicBezTo>
                    <a:pt x="806" y="334"/>
                    <a:pt x="806" y="334"/>
                    <a:pt x="806" y="334"/>
                  </a:cubicBezTo>
                  <a:lnTo>
                    <a:pt x="806" y="358"/>
                  </a:lnTo>
                  <a:close/>
                  <a:moveTo>
                    <a:pt x="310" y="338"/>
                  </a:moveTo>
                  <a:cubicBezTo>
                    <a:pt x="309" y="349"/>
                    <a:pt x="309" y="349"/>
                    <a:pt x="309" y="349"/>
                  </a:cubicBezTo>
                  <a:cubicBezTo>
                    <a:pt x="301" y="348"/>
                    <a:pt x="293" y="347"/>
                    <a:pt x="285" y="347"/>
                  </a:cubicBezTo>
                  <a:cubicBezTo>
                    <a:pt x="286" y="336"/>
                    <a:pt x="286" y="336"/>
                    <a:pt x="286" y="336"/>
                  </a:cubicBezTo>
                  <a:cubicBezTo>
                    <a:pt x="294" y="337"/>
                    <a:pt x="302" y="337"/>
                    <a:pt x="310" y="338"/>
                  </a:cubicBezTo>
                  <a:close/>
                  <a:moveTo>
                    <a:pt x="262" y="348"/>
                  </a:moveTo>
                  <a:cubicBezTo>
                    <a:pt x="254" y="348"/>
                    <a:pt x="247" y="350"/>
                    <a:pt x="239" y="351"/>
                  </a:cubicBezTo>
                  <a:cubicBezTo>
                    <a:pt x="237" y="341"/>
                    <a:pt x="237" y="341"/>
                    <a:pt x="237" y="341"/>
                  </a:cubicBezTo>
                  <a:cubicBezTo>
                    <a:pt x="245" y="339"/>
                    <a:pt x="253" y="338"/>
                    <a:pt x="261" y="337"/>
                  </a:cubicBezTo>
                  <a:lnTo>
                    <a:pt x="262" y="348"/>
                  </a:lnTo>
                  <a:close/>
                  <a:moveTo>
                    <a:pt x="357" y="351"/>
                  </a:moveTo>
                  <a:cubicBezTo>
                    <a:pt x="353" y="361"/>
                    <a:pt x="353" y="361"/>
                    <a:pt x="353" y="361"/>
                  </a:cubicBezTo>
                  <a:cubicBezTo>
                    <a:pt x="346" y="358"/>
                    <a:pt x="339" y="356"/>
                    <a:pt x="331" y="354"/>
                  </a:cubicBezTo>
                  <a:cubicBezTo>
                    <a:pt x="334" y="343"/>
                    <a:pt x="334" y="343"/>
                    <a:pt x="334" y="343"/>
                  </a:cubicBezTo>
                  <a:cubicBezTo>
                    <a:pt x="342" y="345"/>
                    <a:pt x="350" y="348"/>
                    <a:pt x="357" y="351"/>
                  </a:cubicBezTo>
                  <a:close/>
                  <a:moveTo>
                    <a:pt x="217" y="358"/>
                  </a:moveTo>
                  <a:cubicBezTo>
                    <a:pt x="210" y="361"/>
                    <a:pt x="203" y="365"/>
                    <a:pt x="197" y="369"/>
                  </a:cubicBezTo>
                  <a:cubicBezTo>
                    <a:pt x="191" y="360"/>
                    <a:pt x="191" y="360"/>
                    <a:pt x="191" y="360"/>
                  </a:cubicBezTo>
                  <a:cubicBezTo>
                    <a:pt x="198" y="355"/>
                    <a:pt x="206" y="351"/>
                    <a:pt x="213" y="348"/>
                  </a:cubicBezTo>
                  <a:lnTo>
                    <a:pt x="217" y="358"/>
                  </a:lnTo>
                  <a:close/>
                  <a:moveTo>
                    <a:pt x="399" y="377"/>
                  </a:moveTo>
                  <a:cubicBezTo>
                    <a:pt x="392" y="386"/>
                    <a:pt x="392" y="386"/>
                    <a:pt x="392" y="386"/>
                  </a:cubicBezTo>
                  <a:cubicBezTo>
                    <a:pt x="386" y="381"/>
                    <a:pt x="380" y="376"/>
                    <a:pt x="374" y="372"/>
                  </a:cubicBezTo>
                  <a:cubicBezTo>
                    <a:pt x="379" y="363"/>
                    <a:pt x="379" y="363"/>
                    <a:pt x="379" y="363"/>
                  </a:cubicBezTo>
                  <a:cubicBezTo>
                    <a:pt x="386" y="367"/>
                    <a:pt x="393" y="372"/>
                    <a:pt x="399" y="377"/>
                  </a:cubicBezTo>
                  <a:close/>
                  <a:moveTo>
                    <a:pt x="179" y="382"/>
                  </a:moveTo>
                  <a:cubicBezTo>
                    <a:pt x="173" y="387"/>
                    <a:pt x="168" y="393"/>
                    <a:pt x="163" y="399"/>
                  </a:cubicBezTo>
                  <a:cubicBezTo>
                    <a:pt x="154" y="392"/>
                    <a:pt x="154" y="392"/>
                    <a:pt x="154" y="392"/>
                  </a:cubicBezTo>
                  <a:cubicBezTo>
                    <a:pt x="160" y="386"/>
                    <a:pt x="165" y="380"/>
                    <a:pt x="171" y="374"/>
                  </a:cubicBezTo>
                  <a:lnTo>
                    <a:pt x="179" y="382"/>
                  </a:lnTo>
                  <a:close/>
                  <a:moveTo>
                    <a:pt x="806" y="405"/>
                  </a:moveTo>
                  <a:cubicBezTo>
                    <a:pt x="795" y="405"/>
                    <a:pt x="795" y="405"/>
                    <a:pt x="795" y="405"/>
                  </a:cubicBezTo>
                  <a:cubicBezTo>
                    <a:pt x="795" y="382"/>
                    <a:pt x="795" y="382"/>
                    <a:pt x="795" y="382"/>
                  </a:cubicBezTo>
                  <a:cubicBezTo>
                    <a:pt x="806" y="382"/>
                    <a:pt x="806" y="382"/>
                    <a:pt x="806" y="382"/>
                  </a:cubicBezTo>
                  <a:lnTo>
                    <a:pt x="806" y="405"/>
                  </a:lnTo>
                  <a:close/>
                  <a:moveTo>
                    <a:pt x="432" y="414"/>
                  </a:moveTo>
                  <a:cubicBezTo>
                    <a:pt x="423" y="420"/>
                    <a:pt x="423" y="420"/>
                    <a:pt x="423" y="420"/>
                  </a:cubicBezTo>
                  <a:cubicBezTo>
                    <a:pt x="418" y="414"/>
                    <a:pt x="414" y="407"/>
                    <a:pt x="409" y="402"/>
                  </a:cubicBezTo>
                  <a:cubicBezTo>
                    <a:pt x="417" y="395"/>
                    <a:pt x="417" y="395"/>
                    <a:pt x="417" y="395"/>
                  </a:cubicBezTo>
                  <a:cubicBezTo>
                    <a:pt x="422" y="401"/>
                    <a:pt x="427" y="407"/>
                    <a:pt x="432" y="414"/>
                  </a:cubicBezTo>
                  <a:close/>
                  <a:moveTo>
                    <a:pt x="150" y="418"/>
                  </a:moveTo>
                  <a:cubicBezTo>
                    <a:pt x="146" y="425"/>
                    <a:pt x="142" y="432"/>
                    <a:pt x="139" y="439"/>
                  </a:cubicBezTo>
                  <a:cubicBezTo>
                    <a:pt x="129" y="435"/>
                    <a:pt x="129" y="435"/>
                    <a:pt x="129" y="435"/>
                  </a:cubicBezTo>
                  <a:cubicBezTo>
                    <a:pt x="133" y="427"/>
                    <a:pt x="136" y="420"/>
                    <a:pt x="140" y="413"/>
                  </a:cubicBezTo>
                  <a:lnTo>
                    <a:pt x="150" y="418"/>
                  </a:lnTo>
                  <a:close/>
                  <a:moveTo>
                    <a:pt x="806" y="453"/>
                  </a:moveTo>
                  <a:cubicBezTo>
                    <a:pt x="795" y="453"/>
                    <a:pt x="795" y="453"/>
                    <a:pt x="795" y="453"/>
                  </a:cubicBezTo>
                  <a:cubicBezTo>
                    <a:pt x="795" y="429"/>
                    <a:pt x="795" y="429"/>
                    <a:pt x="795" y="429"/>
                  </a:cubicBezTo>
                  <a:cubicBezTo>
                    <a:pt x="806" y="429"/>
                    <a:pt x="806" y="429"/>
                    <a:pt x="806" y="429"/>
                  </a:cubicBezTo>
                  <a:lnTo>
                    <a:pt x="806" y="453"/>
                  </a:lnTo>
                  <a:close/>
                  <a:moveTo>
                    <a:pt x="454" y="458"/>
                  </a:moveTo>
                  <a:cubicBezTo>
                    <a:pt x="444" y="462"/>
                    <a:pt x="444" y="462"/>
                    <a:pt x="444" y="462"/>
                  </a:cubicBezTo>
                  <a:cubicBezTo>
                    <a:pt x="441" y="454"/>
                    <a:pt x="438" y="447"/>
                    <a:pt x="435" y="440"/>
                  </a:cubicBezTo>
                  <a:cubicBezTo>
                    <a:pt x="444" y="435"/>
                    <a:pt x="444" y="435"/>
                    <a:pt x="444" y="435"/>
                  </a:cubicBezTo>
                  <a:cubicBezTo>
                    <a:pt x="448" y="443"/>
                    <a:pt x="451" y="450"/>
                    <a:pt x="454" y="458"/>
                  </a:cubicBezTo>
                  <a:close/>
                  <a:moveTo>
                    <a:pt x="131" y="461"/>
                  </a:moveTo>
                  <a:cubicBezTo>
                    <a:pt x="129" y="468"/>
                    <a:pt x="127" y="476"/>
                    <a:pt x="126" y="484"/>
                  </a:cubicBezTo>
                  <a:cubicBezTo>
                    <a:pt x="115" y="482"/>
                    <a:pt x="115" y="482"/>
                    <a:pt x="115" y="482"/>
                  </a:cubicBezTo>
                  <a:cubicBezTo>
                    <a:pt x="117" y="474"/>
                    <a:pt x="119" y="466"/>
                    <a:pt x="121" y="458"/>
                  </a:cubicBezTo>
                  <a:lnTo>
                    <a:pt x="131" y="461"/>
                  </a:lnTo>
                  <a:close/>
                  <a:moveTo>
                    <a:pt x="806" y="501"/>
                  </a:moveTo>
                  <a:cubicBezTo>
                    <a:pt x="795" y="501"/>
                    <a:pt x="795" y="501"/>
                    <a:pt x="795" y="501"/>
                  </a:cubicBezTo>
                  <a:cubicBezTo>
                    <a:pt x="795" y="477"/>
                    <a:pt x="795" y="477"/>
                    <a:pt x="795" y="477"/>
                  </a:cubicBezTo>
                  <a:cubicBezTo>
                    <a:pt x="806" y="477"/>
                    <a:pt x="806" y="477"/>
                    <a:pt x="806" y="477"/>
                  </a:cubicBezTo>
                  <a:lnTo>
                    <a:pt x="806" y="501"/>
                  </a:lnTo>
                  <a:close/>
                  <a:moveTo>
                    <a:pt x="462" y="485"/>
                  </a:moveTo>
                  <a:cubicBezTo>
                    <a:pt x="463" y="486"/>
                    <a:pt x="463" y="486"/>
                    <a:pt x="463" y="486"/>
                  </a:cubicBezTo>
                  <a:cubicBezTo>
                    <a:pt x="463" y="486"/>
                    <a:pt x="463" y="486"/>
                    <a:pt x="463" y="486"/>
                  </a:cubicBezTo>
                  <a:cubicBezTo>
                    <a:pt x="463" y="487"/>
                    <a:pt x="463" y="487"/>
                    <a:pt x="463" y="488"/>
                  </a:cubicBezTo>
                  <a:cubicBezTo>
                    <a:pt x="463" y="491"/>
                    <a:pt x="463" y="497"/>
                    <a:pt x="463" y="506"/>
                  </a:cubicBezTo>
                  <a:cubicBezTo>
                    <a:pt x="453" y="507"/>
                    <a:pt x="453" y="507"/>
                    <a:pt x="453" y="507"/>
                  </a:cubicBezTo>
                  <a:cubicBezTo>
                    <a:pt x="452" y="498"/>
                    <a:pt x="452" y="491"/>
                    <a:pt x="452" y="488"/>
                  </a:cubicBezTo>
                  <a:cubicBezTo>
                    <a:pt x="452" y="488"/>
                    <a:pt x="452" y="487"/>
                    <a:pt x="452" y="487"/>
                  </a:cubicBezTo>
                  <a:cubicBezTo>
                    <a:pt x="452" y="486"/>
                    <a:pt x="451" y="485"/>
                    <a:pt x="451" y="484"/>
                  </a:cubicBezTo>
                  <a:cubicBezTo>
                    <a:pt x="462" y="481"/>
                    <a:pt x="462" y="481"/>
                    <a:pt x="462" y="481"/>
                  </a:cubicBezTo>
                  <a:cubicBezTo>
                    <a:pt x="462" y="484"/>
                    <a:pt x="462" y="485"/>
                    <a:pt x="462" y="485"/>
                  </a:cubicBezTo>
                  <a:close/>
                  <a:moveTo>
                    <a:pt x="123" y="530"/>
                  </a:moveTo>
                  <a:cubicBezTo>
                    <a:pt x="112" y="530"/>
                    <a:pt x="112" y="530"/>
                    <a:pt x="112" y="530"/>
                  </a:cubicBezTo>
                  <a:cubicBezTo>
                    <a:pt x="112" y="506"/>
                    <a:pt x="112" y="506"/>
                    <a:pt x="112" y="506"/>
                  </a:cubicBezTo>
                  <a:cubicBezTo>
                    <a:pt x="123" y="506"/>
                    <a:pt x="123" y="506"/>
                    <a:pt x="123" y="506"/>
                  </a:cubicBezTo>
                  <a:lnTo>
                    <a:pt x="123" y="530"/>
                  </a:lnTo>
                  <a:close/>
                  <a:moveTo>
                    <a:pt x="805" y="526"/>
                  </a:moveTo>
                  <a:cubicBezTo>
                    <a:pt x="804" y="534"/>
                    <a:pt x="802" y="542"/>
                    <a:pt x="800" y="550"/>
                  </a:cubicBezTo>
                  <a:cubicBezTo>
                    <a:pt x="790" y="547"/>
                    <a:pt x="790" y="547"/>
                    <a:pt x="790" y="547"/>
                  </a:cubicBezTo>
                  <a:cubicBezTo>
                    <a:pt x="792" y="540"/>
                    <a:pt x="793" y="532"/>
                    <a:pt x="794" y="524"/>
                  </a:cubicBezTo>
                  <a:lnTo>
                    <a:pt x="805" y="526"/>
                  </a:lnTo>
                  <a:close/>
                  <a:moveTo>
                    <a:pt x="472" y="552"/>
                  </a:moveTo>
                  <a:cubicBezTo>
                    <a:pt x="461" y="555"/>
                    <a:pt x="461" y="555"/>
                    <a:pt x="461" y="555"/>
                  </a:cubicBezTo>
                  <a:cubicBezTo>
                    <a:pt x="459" y="547"/>
                    <a:pt x="457" y="539"/>
                    <a:pt x="456" y="531"/>
                  </a:cubicBezTo>
                  <a:cubicBezTo>
                    <a:pt x="467" y="529"/>
                    <a:pt x="467" y="529"/>
                    <a:pt x="467" y="529"/>
                  </a:cubicBezTo>
                  <a:cubicBezTo>
                    <a:pt x="468" y="537"/>
                    <a:pt x="470" y="545"/>
                    <a:pt x="472" y="552"/>
                  </a:cubicBezTo>
                  <a:close/>
                  <a:moveTo>
                    <a:pt x="123" y="578"/>
                  </a:moveTo>
                  <a:cubicBezTo>
                    <a:pt x="112" y="578"/>
                    <a:pt x="112" y="578"/>
                    <a:pt x="112" y="578"/>
                  </a:cubicBezTo>
                  <a:cubicBezTo>
                    <a:pt x="112" y="554"/>
                    <a:pt x="112" y="554"/>
                    <a:pt x="112" y="554"/>
                  </a:cubicBezTo>
                  <a:cubicBezTo>
                    <a:pt x="123" y="554"/>
                    <a:pt x="123" y="554"/>
                    <a:pt x="123" y="554"/>
                  </a:cubicBezTo>
                  <a:lnTo>
                    <a:pt x="123" y="578"/>
                  </a:lnTo>
                  <a:close/>
                  <a:moveTo>
                    <a:pt x="793" y="573"/>
                  </a:moveTo>
                  <a:cubicBezTo>
                    <a:pt x="791" y="581"/>
                    <a:pt x="787" y="589"/>
                    <a:pt x="784" y="596"/>
                  </a:cubicBezTo>
                  <a:cubicBezTo>
                    <a:pt x="774" y="591"/>
                    <a:pt x="774" y="591"/>
                    <a:pt x="774" y="591"/>
                  </a:cubicBezTo>
                  <a:cubicBezTo>
                    <a:pt x="778" y="584"/>
                    <a:pt x="781" y="577"/>
                    <a:pt x="783" y="570"/>
                  </a:cubicBezTo>
                  <a:lnTo>
                    <a:pt x="793" y="573"/>
                  </a:lnTo>
                  <a:close/>
                  <a:moveTo>
                    <a:pt x="489" y="595"/>
                  </a:moveTo>
                  <a:cubicBezTo>
                    <a:pt x="479" y="601"/>
                    <a:pt x="479" y="601"/>
                    <a:pt x="479" y="601"/>
                  </a:cubicBezTo>
                  <a:cubicBezTo>
                    <a:pt x="476" y="594"/>
                    <a:pt x="472" y="586"/>
                    <a:pt x="469" y="578"/>
                  </a:cubicBezTo>
                  <a:cubicBezTo>
                    <a:pt x="479" y="574"/>
                    <a:pt x="479" y="574"/>
                    <a:pt x="479" y="574"/>
                  </a:cubicBezTo>
                  <a:cubicBezTo>
                    <a:pt x="482" y="582"/>
                    <a:pt x="485" y="589"/>
                    <a:pt x="489" y="595"/>
                  </a:cubicBezTo>
                  <a:close/>
                  <a:moveTo>
                    <a:pt x="123" y="626"/>
                  </a:moveTo>
                  <a:cubicBezTo>
                    <a:pt x="112" y="626"/>
                    <a:pt x="112" y="626"/>
                    <a:pt x="112" y="626"/>
                  </a:cubicBezTo>
                  <a:cubicBezTo>
                    <a:pt x="112" y="602"/>
                    <a:pt x="112" y="602"/>
                    <a:pt x="112" y="602"/>
                  </a:cubicBezTo>
                  <a:cubicBezTo>
                    <a:pt x="123" y="602"/>
                    <a:pt x="123" y="602"/>
                    <a:pt x="123" y="602"/>
                  </a:cubicBezTo>
                  <a:lnTo>
                    <a:pt x="123" y="626"/>
                  </a:lnTo>
                  <a:close/>
                  <a:moveTo>
                    <a:pt x="771" y="617"/>
                  </a:moveTo>
                  <a:cubicBezTo>
                    <a:pt x="766" y="624"/>
                    <a:pt x="761" y="630"/>
                    <a:pt x="755" y="636"/>
                  </a:cubicBezTo>
                  <a:cubicBezTo>
                    <a:pt x="748" y="629"/>
                    <a:pt x="748" y="629"/>
                    <a:pt x="748" y="629"/>
                  </a:cubicBezTo>
                  <a:cubicBezTo>
                    <a:pt x="753" y="623"/>
                    <a:pt x="758" y="617"/>
                    <a:pt x="762" y="611"/>
                  </a:cubicBezTo>
                  <a:lnTo>
                    <a:pt x="771" y="617"/>
                  </a:lnTo>
                  <a:close/>
                  <a:moveTo>
                    <a:pt x="516" y="632"/>
                  </a:moveTo>
                  <a:cubicBezTo>
                    <a:pt x="509" y="640"/>
                    <a:pt x="509" y="640"/>
                    <a:pt x="509" y="640"/>
                  </a:cubicBezTo>
                  <a:cubicBezTo>
                    <a:pt x="503" y="634"/>
                    <a:pt x="498" y="628"/>
                    <a:pt x="493" y="621"/>
                  </a:cubicBezTo>
                  <a:cubicBezTo>
                    <a:pt x="501" y="615"/>
                    <a:pt x="501" y="615"/>
                    <a:pt x="501" y="615"/>
                  </a:cubicBezTo>
                  <a:cubicBezTo>
                    <a:pt x="506" y="621"/>
                    <a:pt x="511" y="627"/>
                    <a:pt x="516" y="632"/>
                  </a:cubicBezTo>
                  <a:close/>
                  <a:moveTo>
                    <a:pt x="737" y="653"/>
                  </a:moveTo>
                  <a:cubicBezTo>
                    <a:pt x="730" y="658"/>
                    <a:pt x="723" y="662"/>
                    <a:pt x="716" y="666"/>
                  </a:cubicBezTo>
                  <a:cubicBezTo>
                    <a:pt x="711" y="656"/>
                    <a:pt x="711" y="656"/>
                    <a:pt x="711" y="656"/>
                  </a:cubicBezTo>
                  <a:cubicBezTo>
                    <a:pt x="718" y="653"/>
                    <a:pt x="724" y="649"/>
                    <a:pt x="730" y="644"/>
                  </a:cubicBezTo>
                  <a:lnTo>
                    <a:pt x="737" y="653"/>
                  </a:lnTo>
                  <a:close/>
                  <a:moveTo>
                    <a:pt x="554" y="659"/>
                  </a:moveTo>
                  <a:cubicBezTo>
                    <a:pt x="549" y="668"/>
                    <a:pt x="549" y="668"/>
                    <a:pt x="549" y="668"/>
                  </a:cubicBezTo>
                  <a:cubicBezTo>
                    <a:pt x="542" y="665"/>
                    <a:pt x="535" y="661"/>
                    <a:pt x="528" y="656"/>
                  </a:cubicBezTo>
                  <a:cubicBezTo>
                    <a:pt x="534" y="647"/>
                    <a:pt x="534" y="647"/>
                    <a:pt x="534" y="647"/>
                  </a:cubicBezTo>
                  <a:cubicBezTo>
                    <a:pt x="540" y="651"/>
                    <a:pt x="547" y="655"/>
                    <a:pt x="554" y="659"/>
                  </a:cubicBezTo>
                  <a:close/>
                  <a:moveTo>
                    <a:pt x="123" y="674"/>
                  </a:moveTo>
                  <a:cubicBezTo>
                    <a:pt x="112" y="674"/>
                    <a:pt x="112" y="674"/>
                    <a:pt x="112" y="674"/>
                  </a:cubicBezTo>
                  <a:cubicBezTo>
                    <a:pt x="112" y="650"/>
                    <a:pt x="112" y="650"/>
                    <a:pt x="112" y="650"/>
                  </a:cubicBezTo>
                  <a:cubicBezTo>
                    <a:pt x="123" y="650"/>
                    <a:pt x="123" y="650"/>
                    <a:pt x="123" y="650"/>
                  </a:cubicBezTo>
                  <a:lnTo>
                    <a:pt x="123" y="674"/>
                  </a:lnTo>
                  <a:close/>
                  <a:moveTo>
                    <a:pt x="693" y="675"/>
                  </a:moveTo>
                  <a:cubicBezTo>
                    <a:pt x="686" y="678"/>
                    <a:pt x="678" y="680"/>
                    <a:pt x="669" y="682"/>
                  </a:cubicBezTo>
                  <a:cubicBezTo>
                    <a:pt x="667" y="671"/>
                    <a:pt x="667" y="671"/>
                    <a:pt x="667" y="671"/>
                  </a:cubicBezTo>
                  <a:cubicBezTo>
                    <a:pt x="675" y="670"/>
                    <a:pt x="683" y="668"/>
                    <a:pt x="690" y="665"/>
                  </a:cubicBezTo>
                  <a:lnTo>
                    <a:pt x="693" y="675"/>
                  </a:lnTo>
                  <a:close/>
                  <a:moveTo>
                    <a:pt x="598" y="672"/>
                  </a:moveTo>
                  <a:cubicBezTo>
                    <a:pt x="596" y="683"/>
                    <a:pt x="596" y="683"/>
                    <a:pt x="596" y="683"/>
                  </a:cubicBezTo>
                  <a:cubicBezTo>
                    <a:pt x="588" y="681"/>
                    <a:pt x="580" y="679"/>
                    <a:pt x="572" y="677"/>
                  </a:cubicBezTo>
                  <a:cubicBezTo>
                    <a:pt x="575" y="667"/>
                    <a:pt x="575" y="667"/>
                    <a:pt x="575" y="667"/>
                  </a:cubicBezTo>
                  <a:cubicBezTo>
                    <a:pt x="583" y="669"/>
                    <a:pt x="590" y="671"/>
                    <a:pt x="598" y="672"/>
                  </a:cubicBezTo>
                  <a:close/>
                  <a:moveTo>
                    <a:pt x="645" y="685"/>
                  </a:moveTo>
                  <a:cubicBezTo>
                    <a:pt x="640" y="685"/>
                    <a:pt x="636" y="685"/>
                    <a:pt x="631" y="685"/>
                  </a:cubicBezTo>
                  <a:cubicBezTo>
                    <a:pt x="627" y="685"/>
                    <a:pt x="624" y="685"/>
                    <a:pt x="621" y="685"/>
                  </a:cubicBezTo>
                  <a:cubicBezTo>
                    <a:pt x="621" y="674"/>
                    <a:pt x="621" y="674"/>
                    <a:pt x="621" y="674"/>
                  </a:cubicBezTo>
                  <a:cubicBezTo>
                    <a:pt x="624" y="674"/>
                    <a:pt x="628" y="674"/>
                    <a:pt x="631" y="674"/>
                  </a:cubicBezTo>
                  <a:cubicBezTo>
                    <a:pt x="635" y="674"/>
                    <a:pt x="640" y="674"/>
                    <a:pt x="644" y="674"/>
                  </a:cubicBezTo>
                  <a:lnTo>
                    <a:pt x="645" y="685"/>
                  </a:lnTo>
                  <a:close/>
                  <a:moveTo>
                    <a:pt x="123" y="722"/>
                  </a:moveTo>
                  <a:cubicBezTo>
                    <a:pt x="112" y="722"/>
                    <a:pt x="112" y="722"/>
                    <a:pt x="112" y="722"/>
                  </a:cubicBezTo>
                  <a:cubicBezTo>
                    <a:pt x="112" y="698"/>
                    <a:pt x="112" y="698"/>
                    <a:pt x="112" y="698"/>
                  </a:cubicBezTo>
                  <a:cubicBezTo>
                    <a:pt x="123" y="698"/>
                    <a:pt x="123" y="698"/>
                    <a:pt x="123" y="698"/>
                  </a:cubicBezTo>
                  <a:lnTo>
                    <a:pt x="123" y="722"/>
                  </a:lnTo>
                  <a:close/>
                  <a:moveTo>
                    <a:pt x="123" y="752"/>
                  </a:moveTo>
                  <a:cubicBezTo>
                    <a:pt x="123" y="752"/>
                    <a:pt x="123" y="759"/>
                    <a:pt x="121" y="770"/>
                  </a:cubicBezTo>
                  <a:cubicBezTo>
                    <a:pt x="111" y="769"/>
                    <a:pt x="111" y="769"/>
                    <a:pt x="111" y="769"/>
                  </a:cubicBezTo>
                  <a:cubicBezTo>
                    <a:pt x="112" y="759"/>
                    <a:pt x="112" y="752"/>
                    <a:pt x="112" y="752"/>
                  </a:cubicBezTo>
                  <a:cubicBezTo>
                    <a:pt x="112" y="746"/>
                    <a:pt x="112" y="746"/>
                    <a:pt x="112" y="746"/>
                  </a:cubicBezTo>
                  <a:cubicBezTo>
                    <a:pt x="123" y="746"/>
                    <a:pt x="123" y="746"/>
                    <a:pt x="123" y="746"/>
                  </a:cubicBezTo>
                  <a:lnTo>
                    <a:pt x="123" y="752"/>
                  </a:lnTo>
                  <a:close/>
                  <a:moveTo>
                    <a:pt x="116" y="794"/>
                  </a:moveTo>
                  <a:cubicBezTo>
                    <a:pt x="114" y="802"/>
                    <a:pt x="111" y="810"/>
                    <a:pt x="108" y="818"/>
                  </a:cubicBezTo>
                  <a:cubicBezTo>
                    <a:pt x="98" y="813"/>
                    <a:pt x="98" y="813"/>
                    <a:pt x="98" y="813"/>
                  </a:cubicBezTo>
                  <a:cubicBezTo>
                    <a:pt x="101" y="806"/>
                    <a:pt x="104" y="799"/>
                    <a:pt x="106" y="792"/>
                  </a:cubicBezTo>
                  <a:lnTo>
                    <a:pt x="116" y="794"/>
                  </a:lnTo>
                  <a:close/>
                  <a:moveTo>
                    <a:pt x="97" y="840"/>
                  </a:moveTo>
                  <a:cubicBezTo>
                    <a:pt x="93" y="847"/>
                    <a:pt x="88" y="854"/>
                    <a:pt x="83" y="860"/>
                  </a:cubicBezTo>
                  <a:cubicBezTo>
                    <a:pt x="75" y="853"/>
                    <a:pt x="75" y="853"/>
                    <a:pt x="75" y="853"/>
                  </a:cubicBezTo>
                  <a:cubicBezTo>
                    <a:pt x="79" y="847"/>
                    <a:pt x="84" y="841"/>
                    <a:pt x="88" y="834"/>
                  </a:cubicBezTo>
                  <a:lnTo>
                    <a:pt x="97" y="840"/>
                  </a:lnTo>
                  <a:close/>
                  <a:moveTo>
                    <a:pt x="66" y="878"/>
                  </a:moveTo>
                  <a:cubicBezTo>
                    <a:pt x="60" y="884"/>
                    <a:pt x="54" y="889"/>
                    <a:pt x="47" y="893"/>
                  </a:cubicBezTo>
                  <a:cubicBezTo>
                    <a:pt x="41" y="885"/>
                    <a:pt x="41" y="885"/>
                    <a:pt x="41" y="885"/>
                  </a:cubicBezTo>
                  <a:cubicBezTo>
                    <a:pt x="47" y="880"/>
                    <a:pt x="53" y="875"/>
                    <a:pt x="59" y="870"/>
                  </a:cubicBezTo>
                  <a:lnTo>
                    <a:pt x="66" y="878"/>
                  </a:lnTo>
                  <a:close/>
                  <a:moveTo>
                    <a:pt x="26" y="906"/>
                  </a:moveTo>
                  <a:cubicBezTo>
                    <a:pt x="19" y="910"/>
                    <a:pt x="11" y="913"/>
                    <a:pt x="3" y="916"/>
                  </a:cubicBezTo>
                  <a:cubicBezTo>
                    <a:pt x="0" y="906"/>
                    <a:pt x="0" y="906"/>
                    <a:pt x="0" y="906"/>
                  </a:cubicBezTo>
                  <a:cubicBezTo>
                    <a:pt x="7" y="903"/>
                    <a:pt x="14" y="900"/>
                    <a:pt x="21" y="896"/>
                  </a:cubicBezTo>
                  <a:lnTo>
                    <a:pt x="26"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id-ID"/>
            </a:p>
          </p:txBody>
        </p:sp>
        <p:sp>
          <p:nvSpPr>
            <p:cNvPr id="66" name="Rectangle 17"/>
            <p:cNvSpPr>
              <a:spLocks noChangeArrowheads="1"/>
            </p:cNvSpPr>
            <p:nvPr/>
          </p:nvSpPr>
          <p:spPr bwMode="auto">
            <a:xfrm>
              <a:off x="11934825" y="2122488"/>
              <a:ext cx="47625"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id-ID"/>
            </a:p>
          </p:txBody>
        </p:sp>
      </p:grpSp>
      <p:sp>
        <p:nvSpPr>
          <p:cNvPr id="67" name="TextBox 66"/>
          <p:cNvSpPr txBox="1"/>
          <p:nvPr/>
        </p:nvSpPr>
        <p:spPr>
          <a:xfrm>
            <a:off x="4657725" y="2871788"/>
            <a:ext cx="2928938" cy="584200"/>
          </a:xfrm>
          <a:prstGeom prst="rect">
            <a:avLst/>
          </a:prstGeom>
          <a:noFill/>
        </p:spPr>
        <p:txBody>
          <a:bodyPr>
            <a:spAutoFit/>
          </a:bodyPr>
          <a:lstStyle/>
          <a:p>
            <a:pPr>
              <a:defRPr/>
            </a:pPr>
            <a:r>
              <a:rPr lang="id-ID" sz="3200" b="1" dirty="0">
                <a:cs typeface="Arial" panose="020B0604020202020204" pitchFamily="34" charset="0"/>
              </a:rPr>
              <a:t>Road Process</a:t>
            </a:r>
          </a:p>
        </p:txBody>
      </p:sp>
      <p:sp>
        <p:nvSpPr>
          <p:cNvPr id="68" name="Rectangle 67"/>
          <p:cNvSpPr>
            <a:spLocks noChangeArrowheads="1"/>
          </p:cNvSpPr>
          <p:nvPr/>
        </p:nvSpPr>
        <p:spPr bwMode="auto">
          <a:xfrm>
            <a:off x="7604125" y="912814"/>
            <a:ext cx="27368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eaLnBrk="1" hangingPunct="1"/>
            <a:r>
              <a:rPr lang="id-ID" altLang="de-DE" sz="1400">
                <a:latin typeface="+mn-lt"/>
              </a:rPr>
              <a:t>Suitable for all categories business and personal presentation</a:t>
            </a:r>
          </a:p>
        </p:txBody>
      </p:sp>
      <p:sp>
        <p:nvSpPr>
          <p:cNvPr id="69" name="TextBox 68"/>
          <p:cNvSpPr txBox="1"/>
          <p:nvPr/>
        </p:nvSpPr>
        <p:spPr>
          <a:xfrm>
            <a:off x="7604125" y="630238"/>
            <a:ext cx="862800" cy="338554"/>
          </a:xfrm>
          <a:prstGeom prst="rect">
            <a:avLst/>
          </a:prstGeom>
          <a:noFill/>
        </p:spPr>
        <p:txBody>
          <a:bodyPr wrap="none">
            <a:spAutoFit/>
          </a:bodyPr>
          <a:lstStyle/>
          <a:p>
            <a:pPr>
              <a:defRPr/>
            </a:pPr>
            <a:r>
              <a:rPr lang="id-ID" sz="1600" b="1" dirty="0">
                <a:ea typeface="Raleway" panose="020B0003030101060003" pitchFamily="2" charset="0"/>
              </a:rPr>
              <a:t>Content</a:t>
            </a:r>
          </a:p>
        </p:txBody>
      </p:sp>
      <p:sp>
        <p:nvSpPr>
          <p:cNvPr id="70" name="Rectangle 69"/>
          <p:cNvSpPr>
            <a:spLocks noChangeArrowheads="1"/>
          </p:cNvSpPr>
          <p:nvPr/>
        </p:nvSpPr>
        <p:spPr bwMode="auto">
          <a:xfrm>
            <a:off x="1333500" y="1878014"/>
            <a:ext cx="27447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algn="r" eaLnBrk="1" hangingPunct="1"/>
            <a:r>
              <a:rPr lang="id-ID" altLang="de-DE" sz="1400">
                <a:latin typeface="+mn-lt"/>
              </a:rPr>
              <a:t>Suitable for all categories business and personal presentation</a:t>
            </a:r>
          </a:p>
        </p:txBody>
      </p:sp>
      <p:sp>
        <p:nvSpPr>
          <p:cNvPr id="71" name="TextBox 70"/>
          <p:cNvSpPr txBox="1"/>
          <p:nvPr/>
        </p:nvSpPr>
        <p:spPr>
          <a:xfrm>
            <a:off x="3215488" y="1595438"/>
            <a:ext cx="862800" cy="338554"/>
          </a:xfrm>
          <a:prstGeom prst="rect">
            <a:avLst/>
          </a:prstGeom>
          <a:noFill/>
        </p:spPr>
        <p:txBody>
          <a:bodyPr wrap="none">
            <a:spAutoFit/>
          </a:bodyPr>
          <a:lstStyle/>
          <a:p>
            <a:pPr algn="r">
              <a:defRPr/>
            </a:pPr>
            <a:r>
              <a:rPr lang="id-ID" sz="1600" b="1" dirty="0">
                <a:ea typeface="Raleway" panose="020B0003030101060003" pitchFamily="2" charset="0"/>
              </a:rPr>
              <a:t>Content</a:t>
            </a:r>
          </a:p>
        </p:txBody>
      </p:sp>
      <p:sp>
        <p:nvSpPr>
          <p:cNvPr id="72" name="Rectangle 71"/>
          <p:cNvSpPr>
            <a:spLocks noChangeArrowheads="1"/>
          </p:cNvSpPr>
          <p:nvPr/>
        </p:nvSpPr>
        <p:spPr bwMode="auto">
          <a:xfrm>
            <a:off x="4657726" y="3417889"/>
            <a:ext cx="4468813"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algn="just" eaLnBrk="1" hangingPunct="1"/>
            <a:r>
              <a:rPr lang="en-US" altLang="de-DE" sz="1400">
                <a:latin typeface="+mn-lt"/>
              </a:rPr>
              <a:t>Contrary to It has roots in a piece of classical Latin literature from 45 BC. Contrary to popular belief It has roots in a piece of literature from 45 BC. </a:t>
            </a:r>
            <a:endParaRPr lang="en-US" altLang="de-DE" sz="1400" b="1">
              <a:latin typeface="+mn-lt"/>
            </a:endParaRPr>
          </a:p>
        </p:txBody>
      </p:sp>
      <p:sp>
        <p:nvSpPr>
          <p:cNvPr id="73" name="Rectangle 72"/>
          <p:cNvSpPr>
            <a:spLocks noChangeArrowheads="1"/>
          </p:cNvSpPr>
          <p:nvPr/>
        </p:nvSpPr>
        <p:spPr bwMode="auto">
          <a:xfrm>
            <a:off x="7200900" y="5808664"/>
            <a:ext cx="27368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eaLnBrk="1" hangingPunct="1"/>
            <a:r>
              <a:rPr lang="id-ID" altLang="de-DE" sz="1400">
                <a:latin typeface="+mn-lt"/>
              </a:rPr>
              <a:t>Suitable for all categories business and personal presentation</a:t>
            </a:r>
          </a:p>
        </p:txBody>
      </p:sp>
      <p:sp>
        <p:nvSpPr>
          <p:cNvPr id="74" name="TextBox 73"/>
          <p:cNvSpPr txBox="1"/>
          <p:nvPr/>
        </p:nvSpPr>
        <p:spPr>
          <a:xfrm>
            <a:off x="7200900" y="5526088"/>
            <a:ext cx="862800" cy="338554"/>
          </a:xfrm>
          <a:prstGeom prst="rect">
            <a:avLst/>
          </a:prstGeom>
          <a:noFill/>
        </p:spPr>
        <p:txBody>
          <a:bodyPr wrap="none">
            <a:spAutoFit/>
          </a:bodyPr>
          <a:lstStyle/>
          <a:p>
            <a:pPr>
              <a:defRPr/>
            </a:pPr>
            <a:r>
              <a:rPr lang="id-ID" sz="1600" b="1" dirty="0">
                <a:ea typeface="Raleway" panose="020B0003030101060003" pitchFamily="2" charset="0"/>
              </a:rPr>
              <a:t>Content</a:t>
            </a:r>
          </a:p>
        </p:txBody>
      </p:sp>
      <p:sp>
        <p:nvSpPr>
          <p:cNvPr id="75" name="Rectangle 74"/>
          <p:cNvSpPr>
            <a:spLocks noChangeArrowheads="1"/>
          </p:cNvSpPr>
          <p:nvPr/>
        </p:nvSpPr>
        <p:spPr bwMode="auto">
          <a:xfrm>
            <a:off x="1181100" y="4951414"/>
            <a:ext cx="27447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algn="r" eaLnBrk="1" hangingPunct="1"/>
            <a:r>
              <a:rPr lang="id-ID" altLang="de-DE" sz="1400">
                <a:latin typeface="+mn-lt"/>
              </a:rPr>
              <a:t>Suitable for all categories business and personal presentation</a:t>
            </a:r>
          </a:p>
        </p:txBody>
      </p:sp>
      <p:sp>
        <p:nvSpPr>
          <p:cNvPr id="76" name="TextBox 75"/>
          <p:cNvSpPr txBox="1"/>
          <p:nvPr/>
        </p:nvSpPr>
        <p:spPr>
          <a:xfrm>
            <a:off x="3063088" y="4668838"/>
            <a:ext cx="862800" cy="338554"/>
          </a:xfrm>
          <a:prstGeom prst="rect">
            <a:avLst/>
          </a:prstGeom>
          <a:noFill/>
        </p:spPr>
        <p:txBody>
          <a:bodyPr wrap="none">
            <a:spAutoFit/>
          </a:bodyPr>
          <a:lstStyle/>
          <a:p>
            <a:pPr algn="r">
              <a:defRPr/>
            </a:pPr>
            <a:r>
              <a:rPr lang="id-ID" sz="1600" b="1" dirty="0">
                <a:ea typeface="Raleway" panose="020B0003030101060003" pitchFamily="2" charset="0"/>
              </a:rPr>
              <a:t>Content</a:t>
            </a:r>
          </a:p>
        </p:txBody>
      </p:sp>
      <p:grpSp>
        <p:nvGrpSpPr>
          <p:cNvPr id="77" name="Group 76"/>
          <p:cNvGrpSpPr>
            <a:grpSpLocks/>
          </p:cNvGrpSpPr>
          <p:nvPr/>
        </p:nvGrpSpPr>
        <p:grpSpPr bwMode="auto">
          <a:xfrm>
            <a:off x="5524501" y="703264"/>
            <a:ext cx="650875" cy="650875"/>
            <a:chOff x="5534177" y="703253"/>
            <a:chExt cx="650723" cy="650723"/>
          </a:xfrm>
        </p:grpSpPr>
        <p:sp>
          <p:nvSpPr>
            <p:cNvPr id="78" name="Oval 77"/>
            <p:cNvSpPr/>
            <p:nvPr/>
          </p:nvSpPr>
          <p:spPr>
            <a:xfrm>
              <a:off x="5534177" y="703253"/>
              <a:ext cx="650723" cy="6507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schemeClr val="bg2"/>
                </a:solidFill>
              </a:endParaRPr>
            </a:p>
          </p:txBody>
        </p:sp>
        <p:sp>
          <p:nvSpPr>
            <p:cNvPr id="79" name="TextBox 78"/>
            <p:cNvSpPr txBox="1"/>
            <p:nvPr/>
          </p:nvSpPr>
          <p:spPr>
            <a:xfrm>
              <a:off x="5613533" y="830223"/>
              <a:ext cx="444248" cy="400017"/>
            </a:xfrm>
            <a:prstGeom prst="rect">
              <a:avLst/>
            </a:prstGeom>
            <a:noFill/>
          </p:spPr>
          <p:txBody>
            <a:bodyPr wrap="none">
              <a:spAutoFit/>
            </a:bodyPr>
            <a:lstStyle/>
            <a:p>
              <a:pPr>
                <a:defRPr/>
              </a:pPr>
              <a:r>
                <a:rPr lang="id-ID" sz="2000" b="1" dirty="0">
                  <a:solidFill>
                    <a:schemeClr val="bg2"/>
                  </a:solidFill>
                  <a:ea typeface="Raleway" panose="020B0003030101060003" pitchFamily="2" charset="0"/>
                </a:rPr>
                <a:t>01</a:t>
              </a:r>
            </a:p>
          </p:txBody>
        </p:sp>
      </p:grpSp>
      <p:grpSp>
        <p:nvGrpSpPr>
          <p:cNvPr id="80" name="Group 79"/>
          <p:cNvGrpSpPr>
            <a:grpSpLocks/>
          </p:cNvGrpSpPr>
          <p:nvPr/>
        </p:nvGrpSpPr>
        <p:grpSpPr bwMode="auto">
          <a:xfrm>
            <a:off x="5459414" y="1728789"/>
            <a:ext cx="650875" cy="650875"/>
            <a:chOff x="5469090" y="1728778"/>
            <a:chExt cx="650723" cy="650723"/>
          </a:xfrm>
        </p:grpSpPr>
        <p:sp>
          <p:nvSpPr>
            <p:cNvPr id="81" name="Oval 80"/>
            <p:cNvSpPr/>
            <p:nvPr/>
          </p:nvSpPr>
          <p:spPr>
            <a:xfrm>
              <a:off x="5469090" y="1728778"/>
              <a:ext cx="650723" cy="6507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schemeClr val="bg2"/>
                </a:solidFill>
              </a:endParaRPr>
            </a:p>
          </p:txBody>
        </p:sp>
        <p:sp>
          <p:nvSpPr>
            <p:cNvPr id="82" name="TextBox 81"/>
            <p:cNvSpPr txBox="1"/>
            <p:nvPr/>
          </p:nvSpPr>
          <p:spPr>
            <a:xfrm>
              <a:off x="5565904" y="1858923"/>
              <a:ext cx="444248" cy="400017"/>
            </a:xfrm>
            <a:prstGeom prst="rect">
              <a:avLst/>
            </a:prstGeom>
            <a:noFill/>
          </p:spPr>
          <p:txBody>
            <a:bodyPr wrap="none">
              <a:spAutoFit/>
            </a:bodyPr>
            <a:lstStyle/>
            <a:p>
              <a:pPr>
                <a:defRPr/>
              </a:pPr>
              <a:r>
                <a:rPr lang="id-ID" sz="2000" b="1" dirty="0">
                  <a:solidFill>
                    <a:schemeClr val="bg2"/>
                  </a:solidFill>
                  <a:ea typeface="Raleway" panose="020B0003030101060003" pitchFamily="2" charset="0"/>
                </a:rPr>
                <a:t>02</a:t>
              </a:r>
            </a:p>
          </p:txBody>
        </p:sp>
      </p:grpSp>
      <p:grpSp>
        <p:nvGrpSpPr>
          <p:cNvPr id="83" name="Group 82"/>
          <p:cNvGrpSpPr>
            <a:grpSpLocks/>
          </p:cNvGrpSpPr>
          <p:nvPr/>
        </p:nvGrpSpPr>
        <p:grpSpPr bwMode="auto">
          <a:xfrm>
            <a:off x="5194301" y="4687889"/>
            <a:ext cx="650875" cy="650875"/>
            <a:chOff x="5203977" y="4687878"/>
            <a:chExt cx="650723" cy="650723"/>
          </a:xfrm>
        </p:grpSpPr>
        <p:sp>
          <p:nvSpPr>
            <p:cNvPr id="84" name="Oval 83"/>
            <p:cNvSpPr/>
            <p:nvPr/>
          </p:nvSpPr>
          <p:spPr>
            <a:xfrm>
              <a:off x="5203977" y="4687878"/>
              <a:ext cx="650723" cy="65072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schemeClr val="bg2"/>
                </a:solidFill>
              </a:endParaRPr>
            </a:p>
          </p:txBody>
        </p:sp>
        <p:sp>
          <p:nvSpPr>
            <p:cNvPr id="85" name="TextBox 84"/>
            <p:cNvSpPr txBox="1"/>
            <p:nvPr/>
          </p:nvSpPr>
          <p:spPr>
            <a:xfrm>
              <a:off x="5289682" y="4821197"/>
              <a:ext cx="444248" cy="400017"/>
            </a:xfrm>
            <a:prstGeom prst="rect">
              <a:avLst/>
            </a:prstGeom>
            <a:noFill/>
          </p:spPr>
          <p:txBody>
            <a:bodyPr wrap="none">
              <a:spAutoFit/>
            </a:bodyPr>
            <a:lstStyle/>
            <a:p>
              <a:pPr>
                <a:defRPr/>
              </a:pPr>
              <a:r>
                <a:rPr lang="id-ID" sz="2000" b="1" dirty="0">
                  <a:solidFill>
                    <a:schemeClr val="bg2"/>
                  </a:solidFill>
                  <a:ea typeface="Raleway" panose="020B0003030101060003" pitchFamily="2" charset="0"/>
                </a:rPr>
                <a:t>03</a:t>
              </a:r>
            </a:p>
          </p:txBody>
        </p:sp>
      </p:grpSp>
      <p:grpSp>
        <p:nvGrpSpPr>
          <p:cNvPr id="86" name="Group 85"/>
          <p:cNvGrpSpPr>
            <a:grpSpLocks/>
          </p:cNvGrpSpPr>
          <p:nvPr/>
        </p:nvGrpSpPr>
        <p:grpSpPr bwMode="auto">
          <a:xfrm>
            <a:off x="5243514" y="5703889"/>
            <a:ext cx="650875" cy="650875"/>
            <a:chOff x="5253190" y="5703878"/>
            <a:chExt cx="650723" cy="650723"/>
          </a:xfrm>
        </p:grpSpPr>
        <p:sp>
          <p:nvSpPr>
            <p:cNvPr id="87" name="Oval 86"/>
            <p:cNvSpPr/>
            <p:nvPr/>
          </p:nvSpPr>
          <p:spPr>
            <a:xfrm>
              <a:off x="5253190" y="5703878"/>
              <a:ext cx="650723" cy="65072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schemeClr val="bg2"/>
                </a:solidFill>
              </a:endParaRPr>
            </a:p>
          </p:txBody>
        </p:sp>
        <p:sp>
          <p:nvSpPr>
            <p:cNvPr id="88" name="TextBox 87"/>
            <p:cNvSpPr txBox="1"/>
            <p:nvPr/>
          </p:nvSpPr>
          <p:spPr>
            <a:xfrm>
              <a:off x="5346830" y="5840371"/>
              <a:ext cx="444248" cy="400017"/>
            </a:xfrm>
            <a:prstGeom prst="rect">
              <a:avLst/>
            </a:prstGeom>
            <a:noFill/>
          </p:spPr>
          <p:txBody>
            <a:bodyPr wrap="none">
              <a:spAutoFit/>
            </a:bodyPr>
            <a:lstStyle/>
            <a:p>
              <a:pPr>
                <a:defRPr/>
              </a:pPr>
              <a:r>
                <a:rPr lang="id-ID" sz="2000" b="1" dirty="0">
                  <a:solidFill>
                    <a:schemeClr val="bg2"/>
                  </a:solidFill>
                  <a:ea typeface="Raleway" panose="020B0003030101060003" pitchFamily="2" charset="0"/>
                </a:rPr>
                <a:t>04</a:t>
              </a:r>
            </a:p>
          </p:txBody>
        </p:sp>
      </p:grpSp>
      <p:cxnSp>
        <p:nvCxnSpPr>
          <p:cNvPr id="94" name="Straight Arrow Connector 93"/>
          <p:cNvCxnSpPr/>
          <p:nvPr/>
        </p:nvCxnSpPr>
        <p:spPr>
          <a:xfrm>
            <a:off x="6372225" y="1038225"/>
            <a:ext cx="476250" cy="0"/>
          </a:xfrm>
          <a:prstGeom prst="straightConnector1">
            <a:avLst/>
          </a:prstGeom>
          <a:ln w="1905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4838700" y="2047875"/>
            <a:ext cx="476250" cy="0"/>
          </a:xfrm>
          <a:prstGeom prst="straightConnector1">
            <a:avLst/>
          </a:prstGeom>
          <a:ln w="1905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6046788" y="6029325"/>
            <a:ext cx="476250" cy="0"/>
          </a:xfrm>
          <a:prstGeom prst="straightConnector1">
            <a:avLst/>
          </a:prstGeom>
          <a:ln w="1905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4589463" y="5029200"/>
            <a:ext cx="476250" cy="0"/>
          </a:xfrm>
          <a:prstGeom prst="straightConnector1">
            <a:avLst/>
          </a:prstGeom>
          <a:ln w="1905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2" name="Freeform 737">
            <a:extLst>
              <a:ext uri="{FF2B5EF4-FFF2-40B4-BE49-F238E27FC236}">
                <a16:creationId xmlns:a16="http://schemas.microsoft.com/office/drawing/2014/main" id="{295D110D-B2DC-4D97-A987-256A8A17E9E6}"/>
              </a:ext>
            </a:extLst>
          </p:cNvPr>
          <p:cNvSpPr>
            <a:spLocks noChangeAspect="1" noEditPoints="1"/>
          </p:cNvSpPr>
          <p:nvPr/>
        </p:nvSpPr>
        <p:spPr bwMode="auto">
          <a:xfrm>
            <a:off x="6994806" y="774521"/>
            <a:ext cx="519880" cy="52141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4" name="Freeform 737">
            <a:extLst>
              <a:ext uri="{FF2B5EF4-FFF2-40B4-BE49-F238E27FC236}">
                <a16:creationId xmlns:a16="http://schemas.microsoft.com/office/drawing/2014/main" id="{09D409EB-CA46-4029-9BE0-23C9178C5357}"/>
              </a:ext>
            </a:extLst>
          </p:cNvPr>
          <p:cNvSpPr>
            <a:spLocks noChangeAspect="1" noEditPoints="1"/>
          </p:cNvSpPr>
          <p:nvPr/>
        </p:nvSpPr>
        <p:spPr bwMode="auto">
          <a:xfrm>
            <a:off x="4235093" y="1766297"/>
            <a:ext cx="519880" cy="52141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5" name="Freeform 242">
            <a:extLst>
              <a:ext uri="{FF2B5EF4-FFF2-40B4-BE49-F238E27FC236}">
                <a16:creationId xmlns:a16="http://schemas.microsoft.com/office/drawing/2014/main" id="{E2C7AE54-D6B7-45B0-BC9D-5BB4E3DF797B}"/>
              </a:ext>
            </a:extLst>
          </p:cNvPr>
          <p:cNvSpPr>
            <a:spLocks noChangeAspect="1" noEditPoints="1"/>
          </p:cNvSpPr>
          <p:nvPr/>
        </p:nvSpPr>
        <p:spPr bwMode="auto">
          <a:xfrm>
            <a:off x="6635808" y="5800725"/>
            <a:ext cx="457200" cy="4572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6" name="Freeform 242">
            <a:extLst>
              <a:ext uri="{FF2B5EF4-FFF2-40B4-BE49-F238E27FC236}">
                <a16:creationId xmlns:a16="http://schemas.microsoft.com/office/drawing/2014/main" id="{01C9AD1A-0B3C-47C5-9C57-DCBC8DAF09DB}"/>
              </a:ext>
            </a:extLst>
          </p:cNvPr>
          <p:cNvSpPr>
            <a:spLocks noChangeAspect="1" noEditPoints="1"/>
          </p:cNvSpPr>
          <p:nvPr/>
        </p:nvSpPr>
        <p:spPr bwMode="auto">
          <a:xfrm>
            <a:off x="4091199" y="4851673"/>
            <a:ext cx="369676" cy="369676"/>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982121122"/>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2"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wipe(right)">
                                      <p:cBhvr>
                                        <p:cTn id="7" dur="500"/>
                                        <p:tgtEl>
                                          <p:spTgt spid="55"/>
                                        </p:tgtEl>
                                      </p:cBhvr>
                                    </p:animEffect>
                                  </p:childTnLst>
                                </p:cTn>
                              </p:par>
                            </p:childTnLst>
                          </p:cTn>
                        </p:par>
                        <p:par>
                          <p:cTn id="8" fill="hold" nodeType="afterGroup">
                            <p:stCondLst>
                              <p:cond delay="500"/>
                            </p:stCondLst>
                            <p:childTnLst>
                              <p:par>
                                <p:cTn id="9" presetID="22" presetClass="entr" presetSubtype="1" fill="hold" nodeType="after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wipe(up)">
                                      <p:cBhvr>
                                        <p:cTn id="11" dur="500"/>
                                        <p:tgtEl>
                                          <p:spTgt spid="54"/>
                                        </p:tgtEl>
                                      </p:cBhvr>
                                    </p:animEffect>
                                  </p:childTnLst>
                                </p:cTn>
                              </p:par>
                            </p:childTnLst>
                          </p:cTn>
                        </p:par>
                        <p:par>
                          <p:cTn id="12" fill="hold" nodeType="afterGroup">
                            <p:stCondLst>
                              <p:cond delay="1000"/>
                            </p:stCondLst>
                            <p:childTnLst>
                              <p:par>
                                <p:cTn id="13" presetID="22" presetClass="entr" presetSubtype="2" fill="hold" nodeType="afterEffect">
                                  <p:stCondLst>
                                    <p:cond delay="0"/>
                                  </p:stCondLst>
                                  <p:childTnLst>
                                    <p:set>
                                      <p:cBhvr>
                                        <p:cTn id="14" dur="1" fill="hold">
                                          <p:stCondLst>
                                            <p:cond delay="0"/>
                                          </p:stCondLst>
                                        </p:cTn>
                                        <p:tgtEl>
                                          <p:spTgt spid="56"/>
                                        </p:tgtEl>
                                        <p:attrNameLst>
                                          <p:attrName>style.visibility</p:attrName>
                                        </p:attrNameLst>
                                      </p:cBhvr>
                                      <p:to>
                                        <p:strVal val="visible"/>
                                      </p:to>
                                    </p:set>
                                    <p:animEffect transition="in" filter="wipe(right)">
                                      <p:cBhvr>
                                        <p:cTn id="15" dur="500"/>
                                        <p:tgtEl>
                                          <p:spTgt spid="56"/>
                                        </p:tgtEl>
                                      </p:cBhvr>
                                    </p:animEffect>
                                  </p:childTnLst>
                                </p:cTn>
                              </p:par>
                            </p:childTnLst>
                          </p:cTn>
                        </p:par>
                        <p:par>
                          <p:cTn id="16" fill="hold" nodeType="afterGroup">
                            <p:stCondLst>
                              <p:cond delay="1500"/>
                            </p:stCondLst>
                            <p:childTnLst>
                              <p:par>
                                <p:cTn id="17" presetID="22" presetClass="entr" presetSubtype="1" fill="hold" nodeType="after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up)">
                                      <p:cBhvr>
                                        <p:cTn id="19" dur="500"/>
                                        <p:tgtEl>
                                          <p:spTgt spid="58"/>
                                        </p:tgtEl>
                                      </p:cBhvr>
                                    </p:animEffect>
                                  </p:childTnLst>
                                </p:cTn>
                              </p:par>
                            </p:childTnLst>
                          </p:cTn>
                        </p:par>
                        <p:par>
                          <p:cTn id="20" fill="hold" nodeType="afterGroup">
                            <p:stCondLst>
                              <p:cond delay="2000"/>
                            </p:stCondLst>
                            <p:childTnLst>
                              <p:par>
                                <p:cTn id="21" presetID="22" presetClass="entr" presetSubtype="1" fill="hold" nodeType="afterEffect">
                                  <p:stCondLst>
                                    <p:cond delay="0"/>
                                  </p:stCondLst>
                                  <p:childTnLst>
                                    <p:set>
                                      <p:cBhvr>
                                        <p:cTn id="22" dur="1" fill="hold">
                                          <p:stCondLst>
                                            <p:cond delay="0"/>
                                          </p:stCondLst>
                                        </p:cTn>
                                        <p:tgtEl>
                                          <p:spTgt spid="59"/>
                                        </p:tgtEl>
                                        <p:attrNameLst>
                                          <p:attrName>style.visibility</p:attrName>
                                        </p:attrNameLst>
                                      </p:cBhvr>
                                      <p:to>
                                        <p:strVal val="visible"/>
                                      </p:to>
                                    </p:set>
                                    <p:animEffect transition="in" filter="wipe(up)">
                                      <p:cBhvr>
                                        <p:cTn id="23" dur="500"/>
                                        <p:tgtEl>
                                          <p:spTgt spid="59"/>
                                        </p:tgtEl>
                                      </p:cBhvr>
                                    </p:animEffect>
                                  </p:childTnLst>
                                </p:cTn>
                              </p:par>
                            </p:childTnLst>
                          </p:cTn>
                        </p:par>
                        <p:par>
                          <p:cTn id="24" fill="hold" nodeType="afterGroup">
                            <p:stCondLst>
                              <p:cond delay="2500"/>
                            </p:stCondLst>
                            <p:childTnLst>
                              <p:par>
                                <p:cTn id="25" presetID="22" presetClass="entr" presetSubtype="8" fill="hold" nodeType="afterEffect">
                                  <p:stCondLst>
                                    <p:cond delay="0"/>
                                  </p:stCondLst>
                                  <p:childTnLst>
                                    <p:set>
                                      <p:cBhvr>
                                        <p:cTn id="26" dur="1" fill="hold">
                                          <p:stCondLst>
                                            <p:cond delay="0"/>
                                          </p:stCondLst>
                                        </p:cTn>
                                        <p:tgtEl>
                                          <p:spTgt spid="57"/>
                                        </p:tgtEl>
                                        <p:attrNameLst>
                                          <p:attrName>style.visibility</p:attrName>
                                        </p:attrNameLst>
                                      </p:cBhvr>
                                      <p:to>
                                        <p:strVal val="visible"/>
                                      </p:to>
                                    </p:set>
                                    <p:animEffect transition="in" filter="wipe(left)">
                                      <p:cBhvr>
                                        <p:cTn id="27" dur="500"/>
                                        <p:tgtEl>
                                          <p:spTgt spid="57"/>
                                        </p:tgtEl>
                                      </p:cBhvr>
                                    </p:animEffect>
                                  </p:childTnLst>
                                </p:cTn>
                              </p:par>
                            </p:childTnLst>
                          </p:cTn>
                        </p:par>
                        <p:par>
                          <p:cTn id="28" fill="hold" nodeType="afterGroup">
                            <p:stCondLst>
                              <p:cond delay="3000"/>
                            </p:stCondLst>
                            <p:childTnLst>
                              <p:par>
                                <p:cTn id="29" presetID="22" presetClass="entr" presetSubtype="8" fill="hold" nodeType="afterEffect">
                                  <p:stCondLst>
                                    <p:cond delay="0"/>
                                  </p:stCondLst>
                                  <p:childTnLst>
                                    <p:set>
                                      <p:cBhvr>
                                        <p:cTn id="30" dur="1" fill="hold">
                                          <p:stCondLst>
                                            <p:cond delay="0"/>
                                          </p:stCondLst>
                                        </p:cTn>
                                        <p:tgtEl>
                                          <p:spTgt spid="67">
                                            <p:txEl>
                                              <p:pRg st="0" end="0"/>
                                            </p:txEl>
                                          </p:spTgt>
                                        </p:tgtEl>
                                        <p:attrNameLst>
                                          <p:attrName>style.visibility</p:attrName>
                                        </p:attrNameLst>
                                      </p:cBhvr>
                                      <p:to>
                                        <p:strVal val="visible"/>
                                      </p:to>
                                    </p:set>
                                    <p:animEffect transition="in" filter="wipe(left)">
                                      <p:cBhvr>
                                        <p:cTn id="31" dur="500"/>
                                        <p:tgtEl>
                                          <p:spTgt spid="67">
                                            <p:txEl>
                                              <p:pRg st="0" end="0"/>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2"/>
                                        </p:tgtEl>
                                        <p:attrNameLst>
                                          <p:attrName>style.visibility</p:attrName>
                                        </p:attrNameLst>
                                      </p:cBhvr>
                                      <p:to>
                                        <p:strVal val="visible"/>
                                      </p:to>
                                    </p:set>
                                    <p:animEffect transition="in" filter="fade">
                                      <p:cBhvr>
                                        <p:cTn id="34" dur="500"/>
                                        <p:tgtEl>
                                          <p:spTgt spid="72"/>
                                        </p:tgtEl>
                                      </p:cBhvr>
                                    </p:animEffect>
                                  </p:childTnLst>
                                </p:cTn>
                              </p:par>
                            </p:childTnLst>
                          </p:cTn>
                        </p:par>
                        <p:par>
                          <p:cTn id="35" fill="hold" nodeType="afterGroup">
                            <p:stCondLst>
                              <p:cond delay="3500"/>
                            </p:stCondLst>
                            <p:childTnLst>
                              <p:par>
                                <p:cTn id="36" presetID="22" presetClass="entr" presetSubtype="1" fill="hold" nodeType="afterEffect">
                                  <p:stCondLst>
                                    <p:cond delay="0"/>
                                  </p:stCondLst>
                                  <p:childTnLst>
                                    <p:set>
                                      <p:cBhvr>
                                        <p:cTn id="37" dur="1" fill="hold">
                                          <p:stCondLst>
                                            <p:cond delay="0"/>
                                          </p:stCondLst>
                                        </p:cTn>
                                        <p:tgtEl>
                                          <p:spTgt spid="60"/>
                                        </p:tgtEl>
                                        <p:attrNameLst>
                                          <p:attrName>style.visibility</p:attrName>
                                        </p:attrNameLst>
                                      </p:cBhvr>
                                      <p:to>
                                        <p:strVal val="visible"/>
                                      </p:to>
                                    </p:set>
                                    <p:animEffect transition="in" filter="wipe(up)">
                                      <p:cBhvr>
                                        <p:cTn id="38" dur="500"/>
                                        <p:tgtEl>
                                          <p:spTgt spid="60"/>
                                        </p:tgtEl>
                                      </p:cBhvr>
                                    </p:animEffect>
                                  </p:childTnLst>
                                </p:cTn>
                              </p:par>
                            </p:childTnLst>
                          </p:cTn>
                        </p:par>
                        <p:par>
                          <p:cTn id="39" fill="hold" nodeType="afterGroup">
                            <p:stCondLst>
                              <p:cond delay="4000"/>
                            </p:stCondLst>
                            <p:childTnLst>
                              <p:par>
                                <p:cTn id="40" presetID="53" presetClass="entr" presetSubtype="16" fill="hold" nodeType="afterEffect">
                                  <p:stCondLst>
                                    <p:cond delay="0"/>
                                  </p:stCondLst>
                                  <p:childTnLst>
                                    <p:set>
                                      <p:cBhvr>
                                        <p:cTn id="41" dur="1" fill="hold">
                                          <p:stCondLst>
                                            <p:cond delay="0"/>
                                          </p:stCondLst>
                                        </p:cTn>
                                        <p:tgtEl>
                                          <p:spTgt spid="77"/>
                                        </p:tgtEl>
                                        <p:attrNameLst>
                                          <p:attrName>style.visibility</p:attrName>
                                        </p:attrNameLst>
                                      </p:cBhvr>
                                      <p:to>
                                        <p:strVal val="visible"/>
                                      </p:to>
                                    </p:set>
                                    <p:anim calcmode="lin" valueType="num">
                                      <p:cBhvr>
                                        <p:cTn id="42" dur="500" fill="hold"/>
                                        <p:tgtEl>
                                          <p:spTgt spid="77"/>
                                        </p:tgtEl>
                                        <p:attrNameLst>
                                          <p:attrName>ppt_w</p:attrName>
                                        </p:attrNameLst>
                                      </p:cBhvr>
                                      <p:tavLst>
                                        <p:tav tm="0">
                                          <p:val>
                                            <p:fltVal val="0"/>
                                          </p:val>
                                        </p:tav>
                                        <p:tav tm="100000">
                                          <p:val>
                                            <p:strVal val="#ppt_w"/>
                                          </p:val>
                                        </p:tav>
                                      </p:tavLst>
                                    </p:anim>
                                    <p:anim calcmode="lin" valueType="num">
                                      <p:cBhvr>
                                        <p:cTn id="43" dur="500" fill="hold"/>
                                        <p:tgtEl>
                                          <p:spTgt spid="77"/>
                                        </p:tgtEl>
                                        <p:attrNameLst>
                                          <p:attrName>ppt_h</p:attrName>
                                        </p:attrNameLst>
                                      </p:cBhvr>
                                      <p:tavLst>
                                        <p:tav tm="0">
                                          <p:val>
                                            <p:fltVal val="0"/>
                                          </p:val>
                                        </p:tav>
                                        <p:tav tm="100000">
                                          <p:val>
                                            <p:strVal val="#ppt_h"/>
                                          </p:val>
                                        </p:tav>
                                      </p:tavLst>
                                    </p:anim>
                                    <p:animEffect transition="in" filter="fade">
                                      <p:cBhvr>
                                        <p:cTn id="44" dur="500"/>
                                        <p:tgtEl>
                                          <p:spTgt spid="77"/>
                                        </p:tgtEl>
                                      </p:cBhvr>
                                    </p:animEffect>
                                  </p:childTnLst>
                                </p:cTn>
                              </p:par>
                            </p:childTnLst>
                          </p:cTn>
                        </p:par>
                        <p:par>
                          <p:cTn id="45" fill="hold" nodeType="afterGroup">
                            <p:stCondLst>
                              <p:cond delay="4500"/>
                            </p:stCondLst>
                            <p:childTnLst>
                              <p:par>
                                <p:cTn id="46" presetID="22" presetClass="entr" presetSubtype="8" fill="hold" nodeType="afterEffect">
                                  <p:stCondLst>
                                    <p:cond delay="0"/>
                                  </p:stCondLst>
                                  <p:childTnLst>
                                    <p:set>
                                      <p:cBhvr>
                                        <p:cTn id="47" dur="1" fill="hold">
                                          <p:stCondLst>
                                            <p:cond delay="0"/>
                                          </p:stCondLst>
                                        </p:cTn>
                                        <p:tgtEl>
                                          <p:spTgt spid="94"/>
                                        </p:tgtEl>
                                        <p:attrNameLst>
                                          <p:attrName>style.visibility</p:attrName>
                                        </p:attrNameLst>
                                      </p:cBhvr>
                                      <p:to>
                                        <p:strVal val="visible"/>
                                      </p:to>
                                    </p:set>
                                    <p:animEffect transition="in" filter="wipe(left)">
                                      <p:cBhvr>
                                        <p:cTn id="48" dur="500"/>
                                        <p:tgtEl>
                                          <p:spTgt spid="94"/>
                                        </p:tgtEl>
                                      </p:cBhvr>
                                    </p:animEffect>
                                  </p:childTnLst>
                                </p:cTn>
                              </p:par>
                            </p:childTnLst>
                          </p:cTn>
                        </p:par>
                        <p:par>
                          <p:cTn id="49" fill="hold" nodeType="afterGroup">
                            <p:stCondLst>
                              <p:cond delay="5000"/>
                            </p:stCondLst>
                            <p:childTnLst>
                              <p:par>
                                <p:cTn id="50" presetID="53" presetClass="entr" presetSubtype="16" fill="hold" grpId="0" nodeType="afterEffect">
                                  <p:stCondLst>
                                    <p:cond delay="0"/>
                                  </p:stCondLst>
                                  <p:childTnLst>
                                    <p:set>
                                      <p:cBhvr>
                                        <p:cTn id="51" dur="1" fill="hold">
                                          <p:stCondLst>
                                            <p:cond delay="0"/>
                                          </p:stCondLst>
                                        </p:cTn>
                                        <p:tgtEl>
                                          <p:spTgt spid="69"/>
                                        </p:tgtEl>
                                        <p:attrNameLst>
                                          <p:attrName>style.visibility</p:attrName>
                                        </p:attrNameLst>
                                      </p:cBhvr>
                                      <p:to>
                                        <p:strVal val="visible"/>
                                      </p:to>
                                    </p:set>
                                    <p:anim calcmode="lin" valueType="num">
                                      <p:cBhvr>
                                        <p:cTn id="52" dur="500" fill="hold"/>
                                        <p:tgtEl>
                                          <p:spTgt spid="69"/>
                                        </p:tgtEl>
                                        <p:attrNameLst>
                                          <p:attrName>ppt_w</p:attrName>
                                        </p:attrNameLst>
                                      </p:cBhvr>
                                      <p:tavLst>
                                        <p:tav tm="0">
                                          <p:val>
                                            <p:fltVal val="0"/>
                                          </p:val>
                                        </p:tav>
                                        <p:tav tm="100000">
                                          <p:val>
                                            <p:strVal val="#ppt_w"/>
                                          </p:val>
                                        </p:tav>
                                      </p:tavLst>
                                    </p:anim>
                                    <p:anim calcmode="lin" valueType="num">
                                      <p:cBhvr>
                                        <p:cTn id="53" dur="500" fill="hold"/>
                                        <p:tgtEl>
                                          <p:spTgt spid="69"/>
                                        </p:tgtEl>
                                        <p:attrNameLst>
                                          <p:attrName>ppt_h</p:attrName>
                                        </p:attrNameLst>
                                      </p:cBhvr>
                                      <p:tavLst>
                                        <p:tav tm="0">
                                          <p:val>
                                            <p:fltVal val="0"/>
                                          </p:val>
                                        </p:tav>
                                        <p:tav tm="100000">
                                          <p:val>
                                            <p:strVal val="#ppt_h"/>
                                          </p:val>
                                        </p:tav>
                                      </p:tavLst>
                                    </p:anim>
                                    <p:animEffect transition="in" filter="fade">
                                      <p:cBhvr>
                                        <p:cTn id="54" dur="500"/>
                                        <p:tgtEl>
                                          <p:spTgt spid="69"/>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68"/>
                                        </p:tgtEl>
                                        <p:attrNameLst>
                                          <p:attrName>style.visibility</p:attrName>
                                        </p:attrNameLst>
                                      </p:cBhvr>
                                      <p:to>
                                        <p:strVal val="visible"/>
                                      </p:to>
                                    </p:set>
                                    <p:anim calcmode="lin" valueType="num">
                                      <p:cBhvr>
                                        <p:cTn id="57" dur="500" fill="hold"/>
                                        <p:tgtEl>
                                          <p:spTgt spid="68"/>
                                        </p:tgtEl>
                                        <p:attrNameLst>
                                          <p:attrName>ppt_w</p:attrName>
                                        </p:attrNameLst>
                                      </p:cBhvr>
                                      <p:tavLst>
                                        <p:tav tm="0">
                                          <p:val>
                                            <p:fltVal val="0"/>
                                          </p:val>
                                        </p:tav>
                                        <p:tav tm="100000">
                                          <p:val>
                                            <p:strVal val="#ppt_w"/>
                                          </p:val>
                                        </p:tav>
                                      </p:tavLst>
                                    </p:anim>
                                    <p:anim calcmode="lin" valueType="num">
                                      <p:cBhvr>
                                        <p:cTn id="58" dur="500" fill="hold"/>
                                        <p:tgtEl>
                                          <p:spTgt spid="68"/>
                                        </p:tgtEl>
                                        <p:attrNameLst>
                                          <p:attrName>ppt_h</p:attrName>
                                        </p:attrNameLst>
                                      </p:cBhvr>
                                      <p:tavLst>
                                        <p:tav tm="0">
                                          <p:val>
                                            <p:fltVal val="0"/>
                                          </p:val>
                                        </p:tav>
                                        <p:tav tm="100000">
                                          <p:val>
                                            <p:strVal val="#ppt_h"/>
                                          </p:val>
                                        </p:tav>
                                      </p:tavLst>
                                    </p:anim>
                                    <p:animEffect transition="in" filter="fade">
                                      <p:cBhvr>
                                        <p:cTn id="59" dur="500"/>
                                        <p:tgtEl>
                                          <p:spTgt spid="68"/>
                                        </p:tgtEl>
                                      </p:cBhvr>
                                    </p:animEffect>
                                  </p:childTnLst>
                                </p:cTn>
                              </p:par>
                            </p:childTnLst>
                          </p:cTn>
                        </p:par>
                        <p:par>
                          <p:cTn id="60" fill="hold" nodeType="afterGroup">
                            <p:stCondLst>
                              <p:cond delay="5500"/>
                            </p:stCondLst>
                            <p:childTnLst>
                              <p:par>
                                <p:cTn id="61" presetID="53" presetClass="entr" presetSubtype="16" fill="hold" nodeType="afterEffect">
                                  <p:stCondLst>
                                    <p:cond delay="0"/>
                                  </p:stCondLst>
                                  <p:childTnLst>
                                    <p:set>
                                      <p:cBhvr>
                                        <p:cTn id="62" dur="1" fill="hold">
                                          <p:stCondLst>
                                            <p:cond delay="0"/>
                                          </p:stCondLst>
                                        </p:cTn>
                                        <p:tgtEl>
                                          <p:spTgt spid="80"/>
                                        </p:tgtEl>
                                        <p:attrNameLst>
                                          <p:attrName>style.visibility</p:attrName>
                                        </p:attrNameLst>
                                      </p:cBhvr>
                                      <p:to>
                                        <p:strVal val="visible"/>
                                      </p:to>
                                    </p:set>
                                    <p:anim calcmode="lin" valueType="num">
                                      <p:cBhvr>
                                        <p:cTn id="63" dur="500" fill="hold"/>
                                        <p:tgtEl>
                                          <p:spTgt spid="80"/>
                                        </p:tgtEl>
                                        <p:attrNameLst>
                                          <p:attrName>ppt_w</p:attrName>
                                        </p:attrNameLst>
                                      </p:cBhvr>
                                      <p:tavLst>
                                        <p:tav tm="0">
                                          <p:val>
                                            <p:fltVal val="0"/>
                                          </p:val>
                                        </p:tav>
                                        <p:tav tm="100000">
                                          <p:val>
                                            <p:strVal val="#ppt_w"/>
                                          </p:val>
                                        </p:tav>
                                      </p:tavLst>
                                    </p:anim>
                                    <p:anim calcmode="lin" valueType="num">
                                      <p:cBhvr>
                                        <p:cTn id="64" dur="500" fill="hold"/>
                                        <p:tgtEl>
                                          <p:spTgt spid="80"/>
                                        </p:tgtEl>
                                        <p:attrNameLst>
                                          <p:attrName>ppt_h</p:attrName>
                                        </p:attrNameLst>
                                      </p:cBhvr>
                                      <p:tavLst>
                                        <p:tav tm="0">
                                          <p:val>
                                            <p:fltVal val="0"/>
                                          </p:val>
                                        </p:tav>
                                        <p:tav tm="100000">
                                          <p:val>
                                            <p:strVal val="#ppt_h"/>
                                          </p:val>
                                        </p:tav>
                                      </p:tavLst>
                                    </p:anim>
                                    <p:animEffect transition="in" filter="fade">
                                      <p:cBhvr>
                                        <p:cTn id="65" dur="500"/>
                                        <p:tgtEl>
                                          <p:spTgt spid="80"/>
                                        </p:tgtEl>
                                      </p:cBhvr>
                                    </p:animEffect>
                                  </p:childTnLst>
                                </p:cTn>
                              </p:par>
                            </p:childTnLst>
                          </p:cTn>
                        </p:par>
                        <p:par>
                          <p:cTn id="66" fill="hold" nodeType="afterGroup">
                            <p:stCondLst>
                              <p:cond delay="6000"/>
                            </p:stCondLst>
                            <p:childTnLst>
                              <p:par>
                                <p:cTn id="67" presetID="22" presetClass="entr" presetSubtype="2" fill="hold" nodeType="afterEffect">
                                  <p:stCondLst>
                                    <p:cond delay="0"/>
                                  </p:stCondLst>
                                  <p:childTnLst>
                                    <p:set>
                                      <p:cBhvr>
                                        <p:cTn id="68" dur="1" fill="hold">
                                          <p:stCondLst>
                                            <p:cond delay="0"/>
                                          </p:stCondLst>
                                        </p:cTn>
                                        <p:tgtEl>
                                          <p:spTgt spid="95"/>
                                        </p:tgtEl>
                                        <p:attrNameLst>
                                          <p:attrName>style.visibility</p:attrName>
                                        </p:attrNameLst>
                                      </p:cBhvr>
                                      <p:to>
                                        <p:strVal val="visible"/>
                                      </p:to>
                                    </p:set>
                                    <p:animEffect transition="in" filter="wipe(right)">
                                      <p:cBhvr>
                                        <p:cTn id="69" dur="500"/>
                                        <p:tgtEl>
                                          <p:spTgt spid="95"/>
                                        </p:tgtEl>
                                      </p:cBhvr>
                                    </p:animEffect>
                                  </p:childTnLst>
                                </p:cTn>
                              </p:par>
                            </p:childTnLst>
                          </p:cTn>
                        </p:par>
                        <p:par>
                          <p:cTn id="70" fill="hold" nodeType="afterGroup">
                            <p:stCondLst>
                              <p:cond delay="6500"/>
                            </p:stCondLst>
                            <p:childTnLst>
                              <p:par>
                                <p:cTn id="71" presetID="53" presetClass="entr" presetSubtype="16" fill="hold" grpId="0" nodeType="afterEffect">
                                  <p:stCondLst>
                                    <p:cond delay="0"/>
                                  </p:stCondLst>
                                  <p:childTnLst>
                                    <p:set>
                                      <p:cBhvr>
                                        <p:cTn id="72" dur="1" fill="hold">
                                          <p:stCondLst>
                                            <p:cond delay="0"/>
                                          </p:stCondLst>
                                        </p:cTn>
                                        <p:tgtEl>
                                          <p:spTgt spid="71"/>
                                        </p:tgtEl>
                                        <p:attrNameLst>
                                          <p:attrName>style.visibility</p:attrName>
                                        </p:attrNameLst>
                                      </p:cBhvr>
                                      <p:to>
                                        <p:strVal val="visible"/>
                                      </p:to>
                                    </p:set>
                                    <p:anim calcmode="lin" valueType="num">
                                      <p:cBhvr>
                                        <p:cTn id="73" dur="500" fill="hold"/>
                                        <p:tgtEl>
                                          <p:spTgt spid="71"/>
                                        </p:tgtEl>
                                        <p:attrNameLst>
                                          <p:attrName>ppt_w</p:attrName>
                                        </p:attrNameLst>
                                      </p:cBhvr>
                                      <p:tavLst>
                                        <p:tav tm="0">
                                          <p:val>
                                            <p:fltVal val="0"/>
                                          </p:val>
                                        </p:tav>
                                        <p:tav tm="100000">
                                          <p:val>
                                            <p:strVal val="#ppt_w"/>
                                          </p:val>
                                        </p:tav>
                                      </p:tavLst>
                                    </p:anim>
                                    <p:anim calcmode="lin" valueType="num">
                                      <p:cBhvr>
                                        <p:cTn id="74" dur="500" fill="hold"/>
                                        <p:tgtEl>
                                          <p:spTgt spid="71"/>
                                        </p:tgtEl>
                                        <p:attrNameLst>
                                          <p:attrName>ppt_h</p:attrName>
                                        </p:attrNameLst>
                                      </p:cBhvr>
                                      <p:tavLst>
                                        <p:tav tm="0">
                                          <p:val>
                                            <p:fltVal val="0"/>
                                          </p:val>
                                        </p:tav>
                                        <p:tav tm="100000">
                                          <p:val>
                                            <p:strVal val="#ppt_h"/>
                                          </p:val>
                                        </p:tav>
                                      </p:tavLst>
                                    </p:anim>
                                    <p:animEffect transition="in" filter="fade">
                                      <p:cBhvr>
                                        <p:cTn id="75" dur="500"/>
                                        <p:tgtEl>
                                          <p:spTgt spid="71"/>
                                        </p:tgtEl>
                                      </p:cBhvr>
                                    </p:animEffect>
                                  </p:childTnLst>
                                </p:cTn>
                              </p:par>
                              <p:par>
                                <p:cTn id="76" presetID="53" presetClass="entr" presetSubtype="16" fill="hold" grpId="0" nodeType="withEffect">
                                  <p:stCondLst>
                                    <p:cond delay="0"/>
                                  </p:stCondLst>
                                  <p:childTnLst>
                                    <p:set>
                                      <p:cBhvr>
                                        <p:cTn id="77" dur="1" fill="hold">
                                          <p:stCondLst>
                                            <p:cond delay="0"/>
                                          </p:stCondLst>
                                        </p:cTn>
                                        <p:tgtEl>
                                          <p:spTgt spid="70"/>
                                        </p:tgtEl>
                                        <p:attrNameLst>
                                          <p:attrName>style.visibility</p:attrName>
                                        </p:attrNameLst>
                                      </p:cBhvr>
                                      <p:to>
                                        <p:strVal val="visible"/>
                                      </p:to>
                                    </p:set>
                                    <p:anim calcmode="lin" valueType="num">
                                      <p:cBhvr>
                                        <p:cTn id="78" dur="500" fill="hold"/>
                                        <p:tgtEl>
                                          <p:spTgt spid="70"/>
                                        </p:tgtEl>
                                        <p:attrNameLst>
                                          <p:attrName>ppt_w</p:attrName>
                                        </p:attrNameLst>
                                      </p:cBhvr>
                                      <p:tavLst>
                                        <p:tav tm="0">
                                          <p:val>
                                            <p:fltVal val="0"/>
                                          </p:val>
                                        </p:tav>
                                        <p:tav tm="100000">
                                          <p:val>
                                            <p:strVal val="#ppt_w"/>
                                          </p:val>
                                        </p:tav>
                                      </p:tavLst>
                                    </p:anim>
                                    <p:anim calcmode="lin" valueType="num">
                                      <p:cBhvr>
                                        <p:cTn id="79" dur="500" fill="hold"/>
                                        <p:tgtEl>
                                          <p:spTgt spid="70"/>
                                        </p:tgtEl>
                                        <p:attrNameLst>
                                          <p:attrName>ppt_h</p:attrName>
                                        </p:attrNameLst>
                                      </p:cBhvr>
                                      <p:tavLst>
                                        <p:tav tm="0">
                                          <p:val>
                                            <p:fltVal val="0"/>
                                          </p:val>
                                        </p:tav>
                                        <p:tav tm="100000">
                                          <p:val>
                                            <p:strVal val="#ppt_h"/>
                                          </p:val>
                                        </p:tav>
                                      </p:tavLst>
                                    </p:anim>
                                    <p:animEffect transition="in" filter="fade">
                                      <p:cBhvr>
                                        <p:cTn id="80" dur="500"/>
                                        <p:tgtEl>
                                          <p:spTgt spid="70"/>
                                        </p:tgtEl>
                                      </p:cBhvr>
                                    </p:animEffect>
                                  </p:childTnLst>
                                </p:cTn>
                              </p:par>
                            </p:childTnLst>
                          </p:cTn>
                        </p:par>
                        <p:par>
                          <p:cTn id="81" fill="hold" nodeType="afterGroup">
                            <p:stCondLst>
                              <p:cond delay="7000"/>
                            </p:stCondLst>
                            <p:childTnLst>
                              <p:par>
                                <p:cTn id="82" presetID="53" presetClass="entr" presetSubtype="16" fill="hold" nodeType="afterEffect">
                                  <p:stCondLst>
                                    <p:cond delay="0"/>
                                  </p:stCondLst>
                                  <p:childTnLst>
                                    <p:set>
                                      <p:cBhvr>
                                        <p:cTn id="83" dur="1" fill="hold">
                                          <p:stCondLst>
                                            <p:cond delay="0"/>
                                          </p:stCondLst>
                                        </p:cTn>
                                        <p:tgtEl>
                                          <p:spTgt spid="83"/>
                                        </p:tgtEl>
                                        <p:attrNameLst>
                                          <p:attrName>style.visibility</p:attrName>
                                        </p:attrNameLst>
                                      </p:cBhvr>
                                      <p:to>
                                        <p:strVal val="visible"/>
                                      </p:to>
                                    </p:set>
                                    <p:anim calcmode="lin" valueType="num">
                                      <p:cBhvr>
                                        <p:cTn id="84" dur="500" fill="hold"/>
                                        <p:tgtEl>
                                          <p:spTgt spid="83"/>
                                        </p:tgtEl>
                                        <p:attrNameLst>
                                          <p:attrName>ppt_w</p:attrName>
                                        </p:attrNameLst>
                                      </p:cBhvr>
                                      <p:tavLst>
                                        <p:tav tm="0">
                                          <p:val>
                                            <p:fltVal val="0"/>
                                          </p:val>
                                        </p:tav>
                                        <p:tav tm="100000">
                                          <p:val>
                                            <p:strVal val="#ppt_w"/>
                                          </p:val>
                                        </p:tav>
                                      </p:tavLst>
                                    </p:anim>
                                    <p:anim calcmode="lin" valueType="num">
                                      <p:cBhvr>
                                        <p:cTn id="85" dur="500" fill="hold"/>
                                        <p:tgtEl>
                                          <p:spTgt spid="83"/>
                                        </p:tgtEl>
                                        <p:attrNameLst>
                                          <p:attrName>ppt_h</p:attrName>
                                        </p:attrNameLst>
                                      </p:cBhvr>
                                      <p:tavLst>
                                        <p:tav tm="0">
                                          <p:val>
                                            <p:fltVal val="0"/>
                                          </p:val>
                                        </p:tav>
                                        <p:tav tm="100000">
                                          <p:val>
                                            <p:strVal val="#ppt_h"/>
                                          </p:val>
                                        </p:tav>
                                      </p:tavLst>
                                    </p:anim>
                                    <p:animEffect transition="in" filter="fade">
                                      <p:cBhvr>
                                        <p:cTn id="86" dur="500"/>
                                        <p:tgtEl>
                                          <p:spTgt spid="83"/>
                                        </p:tgtEl>
                                      </p:cBhvr>
                                    </p:animEffect>
                                  </p:childTnLst>
                                </p:cTn>
                              </p:par>
                            </p:childTnLst>
                          </p:cTn>
                        </p:par>
                        <p:par>
                          <p:cTn id="87" fill="hold" nodeType="afterGroup">
                            <p:stCondLst>
                              <p:cond delay="7500"/>
                            </p:stCondLst>
                            <p:childTnLst>
                              <p:par>
                                <p:cTn id="88" presetID="22" presetClass="entr" presetSubtype="2" fill="hold" nodeType="afterEffect">
                                  <p:stCondLst>
                                    <p:cond delay="0"/>
                                  </p:stCondLst>
                                  <p:childTnLst>
                                    <p:set>
                                      <p:cBhvr>
                                        <p:cTn id="89" dur="1" fill="hold">
                                          <p:stCondLst>
                                            <p:cond delay="0"/>
                                          </p:stCondLst>
                                        </p:cTn>
                                        <p:tgtEl>
                                          <p:spTgt spid="97"/>
                                        </p:tgtEl>
                                        <p:attrNameLst>
                                          <p:attrName>style.visibility</p:attrName>
                                        </p:attrNameLst>
                                      </p:cBhvr>
                                      <p:to>
                                        <p:strVal val="visible"/>
                                      </p:to>
                                    </p:set>
                                    <p:animEffect transition="in" filter="wipe(right)">
                                      <p:cBhvr>
                                        <p:cTn id="90" dur="500"/>
                                        <p:tgtEl>
                                          <p:spTgt spid="97"/>
                                        </p:tgtEl>
                                      </p:cBhvr>
                                    </p:animEffect>
                                  </p:childTnLst>
                                </p:cTn>
                              </p:par>
                            </p:childTnLst>
                          </p:cTn>
                        </p:par>
                        <p:par>
                          <p:cTn id="91" fill="hold" nodeType="afterGroup">
                            <p:stCondLst>
                              <p:cond delay="8000"/>
                            </p:stCondLst>
                            <p:childTnLst>
                              <p:par>
                                <p:cTn id="92" presetID="53" presetClass="entr" presetSubtype="16" fill="hold" grpId="0" nodeType="afterEffect">
                                  <p:stCondLst>
                                    <p:cond delay="0"/>
                                  </p:stCondLst>
                                  <p:childTnLst>
                                    <p:set>
                                      <p:cBhvr>
                                        <p:cTn id="93" dur="1" fill="hold">
                                          <p:stCondLst>
                                            <p:cond delay="0"/>
                                          </p:stCondLst>
                                        </p:cTn>
                                        <p:tgtEl>
                                          <p:spTgt spid="76"/>
                                        </p:tgtEl>
                                        <p:attrNameLst>
                                          <p:attrName>style.visibility</p:attrName>
                                        </p:attrNameLst>
                                      </p:cBhvr>
                                      <p:to>
                                        <p:strVal val="visible"/>
                                      </p:to>
                                    </p:set>
                                    <p:anim calcmode="lin" valueType="num">
                                      <p:cBhvr>
                                        <p:cTn id="94" dur="500" fill="hold"/>
                                        <p:tgtEl>
                                          <p:spTgt spid="76"/>
                                        </p:tgtEl>
                                        <p:attrNameLst>
                                          <p:attrName>ppt_w</p:attrName>
                                        </p:attrNameLst>
                                      </p:cBhvr>
                                      <p:tavLst>
                                        <p:tav tm="0">
                                          <p:val>
                                            <p:fltVal val="0"/>
                                          </p:val>
                                        </p:tav>
                                        <p:tav tm="100000">
                                          <p:val>
                                            <p:strVal val="#ppt_w"/>
                                          </p:val>
                                        </p:tav>
                                      </p:tavLst>
                                    </p:anim>
                                    <p:anim calcmode="lin" valueType="num">
                                      <p:cBhvr>
                                        <p:cTn id="95" dur="500" fill="hold"/>
                                        <p:tgtEl>
                                          <p:spTgt spid="76"/>
                                        </p:tgtEl>
                                        <p:attrNameLst>
                                          <p:attrName>ppt_h</p:attrName>
                                        </p:attrNameLst>
                                      </p:cBhvr>
                                      <p:tavLst>
                                        <p:tav tm="0">
                                          <p:val>
                                            <p:fltVal val="0"/>
                                          </p:val>
                                        </p:tav>
                                        <p:tav tm="100000">
                                          <p:val>
                                            <p:strVal val="#ppt_h"/>
                                          </p:val>
                                        </p:tav>
                                      </p:tavLst>
                                    </p:anim>
                                    <p:animEffect transition="in" filter="fade">
                                      <p:cBhvr>
                                        <p:cTn id="96" dur="500"/>
                                        <p:tgtEl>
                                          <p:spTgt spid="76"/>
                                        </p:tgtEl>
                                      </p:cBhvr>
                                    </p:animEffect>
                                  </p:childTnLst>
                                </p:cTn>
                              </p:par>
                              <p:par>
                                <p:cTn id="97" presetID="53" presetClass="entr" presetSubtype="16" fill="hold" grpId="0" nodeType="withEffect">
                                  <p:stCondLst>
                                    <p:cond delay="0"/>
                                  </p:stCondLst>
                                  <p:childTnLst>
                                    <p:set>
                                      <p:cBhvr>
                                        <p:cTn id="98" dur="1" fill="hold">
                                          <p:stCondLst>
                                            <p:cond delay="0"/>
                                          </p:stCondLst>
                                        </p:cTn>
                                        <p:tgtEl>
                                          <p:spTgt spid="75"/>
                                        </p:tgtEl>
                                        <p:attrNameLst>
                                          <p:attrName>style.visibility</p:attrName>
                                        </p:attrNameLst>
                                      </p:cBhvr>
                                      <p:to>
                                        <p:strVal val="visible"/>
                                      </p:to>
                                    </p:set>
                                    <p:anim calcmode="lin" valueType="num">
                                      <p:cBhvr>
                                        <p:cTn id="99" dur="500" fill="hold"/>
                                        <p:tgtEl>
                                          <p:spTgt spid="75"/>
                                        </p:tgtEl>
                                        <p:attrNameLst>
                                          <p:attrName>ppt_w</p:attrName>
                                        </p:attrNameLst>
                                      </p:cBhvr>
                                      <p:tavLst>
                                        <p:tav tm="0">
                                          <p:val>
                                            <p:fltVal val="0"/>
                                          </p:val>
                                        </p:tav>
                                        <p:tav tm="100000">
                                          <p:val>
                                            <p:strVal val="#ppt_w"/>
                                          </p:val>
                                        </p:tav>
                                      </p:tavLst>
                                    </p:anim>
                                    <p:anim calcmode="lin" valueType="num">
                                      <p:cBhvr>
                                        <p:cTn id="100" dur="500" fill="hold"/>
                                        <p:tgtEl>
                                          <p:spTgt spid="75"/>
                                        </p:tgtEl>
                                        <p:attrNameLst>
                                          <p:attrName>ppt_h</p:attrName>
                                        </p:attrNameLst>
                                      </p:cBhvr>
                                      <p:tavLst>
                                        <p:tav tm="0">
                                          <p:val>
                                            <p:fltVal val="0"/>
                                          </p:val>
                                        </p:tav>
                                        <p:tav tm="100000">
                                          <p:val>
                                            <p:strVal val="#ppt_h"/>
                                          </p:val>
                                        </p:tav>
                                      </p:tavLst>
                                    </p:anim>
                                    <p:animEffect transition="in" filter="fade">
                                      <p:cBhvr>
                                        <p:cTn id="101" dur="500"/>
                                        <p:tgtEl>
                                          <p:spTgt spid="75"/>
                                        </p:tgtEl>
                                      </p:cBhvr>
                                    </p:animEffect>
                                  </p:childTnLst>
                                </p:cTn>
                              </p:par>
                            </p:childTnLst>
                          </p:cTn>
                        </p:par>
                        <p:par>
                          <p:cTn id="102" fill="hold" nodeType="afterGroup">
                            <p:stCondLst>
                              <p:cond delay="8500"/>
                            </p:stCondLst>
                            <p:childTnLst>
                              <p:par>
                                <p:cTn id="103" presetID="53" presetClass="entr" presetSubtype="16" fill="hold" nodeType="afterEffect">
                                  <p:stCondLst>
                                    <p:cond delay="0"/>
                                  </p:stCondLst>
                                  <p:childTnLst>
                                    <p:set>
                                      <p:cBhvr>
                                        <p:cTn id="104" dur="1" fill="hold">
                                          <p:stCondLst>
                                            <p:cond delay="0"/>
                                          </p:stCondLst>
                                        </p:cTn>
                                        <p:tgtEl>
                                          <p:spTgt spid="86"/>
                                        </p:tgtEl>
                                        <p:attrNameLst>
                                          <p:attrName>style.visibility</p:attrName>
                                        </p:attrNameLst>
                                      </p:cBhvr>
                                      <p:to>
                                        <p:strVal val="visible"/>
                                      </p:to>
                                    </p:set>
                                    <p:anim calcmode="lin" valueType="num">
                                      <p:cBhvr>
                                        <p:cTn id="105" dur="500" fill="hold"/>
                                        <p:tgtEl>
                                          <p:spTgt spid="86"/>
                                        </p:tgtEl>
                                        <p:attrNameLst>
                                          <p:attrName>ppt_w</p:attrName>
                                        </p:attrNameLst>
                                      </p:cBhvr>
                                      <p:tavLst>
                                        <p:tav tm="0">
                                          <p:val>
                                            <p:fltVal val="0"/>
                                          </p:val>
                                        </p:tav>
                                        <p:tav tm="100000">
                                          <p:val>
                                            <p:strVal val="#ppt_w"/>
                                          </p:val>
                                        </p:tav>
                                      </p:tavLst>
                                    </p:anim>
                                    <p:anim calcmode="lin" valueType="num">
                                      <p:cBhvr>
                                        <p:cTn id="106" dur="500" fill="hold"/>
                                        <p:tgtEl>
                                          <p:spTgt spid="86"/>
                                        </p:tgtEl>
                                        <p:attrNameLst>
                                          <p:attrName>ppt_h</p:attrName>
                                        </p:attrNameLst>
                                      </p:cBhvr>
                                      <p:tavLst>
                                        <p:tav tm="0">
                                          <p:val>
                                            <p:fltVal val="0"/>
                                          </p:val>
                                        </p:tav>
                                        <p:tav tm="100000">
                                          <p:val>
                                            <p:strVal val="#ppt_h"/>
                                          </p:val>
                                        </p:tav>
                                      </p:tavLst>
                                    </p:anim>
                                    <p:animEffect transition="in" filter="fade">
                                      <p:cBhvr>
                                        <p:cTn id="107" dur="500"/>
                                        <p:tgtEl>
                                          <p:spTgt spid="86"/>
                                        </p:tgtEl>
                                      </p:cBhvr>
                                    </p:animEffect>
                                  </p:childTnLst>
                                </p:cTn>
                              </p:par>
                            </p:childTnLst>
                          </p:cTn>
                        </p:par>
                        <p:par>
                          <p:cTn id="108" fill="hold" nodeType="afterGroup">
                            <p:stCondLst>
                              <p:cond delay="9000"/>
                            </p:stCondLst>
                            <p:childTnLst>
                              <p:par>
                                <p:cTn id="109" presetID="22" presetClass="entr" presetSubtype="8" fill="hold" nodeType="afterEffect">
                                  <p:stCondLst>
                                    <p:cond delay="0"/>
                                  </p:stCondLst>
                                  <p:childTnLst>
                                    <p:set>
                                      <p:cBhvr>
                                        <p:cTn id="110" dur="1" fill="hold">
                                          <p:stCondLst>
                                            <p:cond delay="0"/>
                                          </p:stCondLst>
                                        </p:cTn>
                                        <p:tgtEl>
                                          <p:spTgt spid="96"/>
                                        </p:tgtEl>
                                        <p:attrNameLst>
                                          <p:attrName>style.visibility</p:attrName>
                                        </p:attrNameLst>
                                      </p:cBhvr>
                                      <p:to>
                                        <p:strVal val="visible"/>
                                      </p:to>
                                    </p:set>
                                    <p:animEffect transition="in" filter="wipe(left)">
                                      <p:cBhvr>
                                        <p:cTn id="111" dur="500"/>
                                        <p:tgtEl>
                                          <p:spTgt spid="96"/>
                                        </p:tgtEl>
                                      </p:cBhvr>
                                    </p:animEffect>
                                  </p:childTnLst>
                                </p:cTn>
                              </p:par>
                            </p:childTnLst>
                          </p:cTn>
                        </p:par>
                        <p:par>
                          <p:cTn id="112" fill="hold" nodeType="afterGroup">
                            <p:stCondLst>
                              <p:cond delay="9500"/>
                            </p:stCondLst>
                            <p:childTnLst>
                              <p:par>
                                <p:cTn id="113" presetID="53" presetClass="entr" presetSubtype="16" fill="hold" grpId="0" nodeType="afterEffect">
                                  <p:stCondLst>
                                    <p:cond delay="0"/>
                                  </p:stCondLst>
                                  <p:childTnLst>
                                    <p:set>
                                      <p:cBhvr>
                                        <p:cTn id="114" dur="1" fill="hold">
                                          <p:stCondLst>
                                            <p:cond delay="0"/>
                                          </p:stCondLst>
                                        </p:cTn>
                                        <p:tgtEl>
                                          <p:spTgt spid="74"/>
                                        </p:tgtEl>
                                        <p:attrNameLst>
                                          <p:attrName>style.visibility</p:attrName>
                                        </p:attrNameLst>
                                      </p:cBhvr>
                                      <p:to>
                                        <p:strVal val="visible"/>
                                      </p:to>
                                    </p:set>
                                    <p:anim calcmode="lin" valueType="num">
                                      <p:cBhvr>
                                        <p:cTn id="115" dur="500" fill="hold"/>
                                        <p:tgtEl>
                                          <p:spTgt spid="74"/>
                                        </p:tgtEl>
                                        <p:attrNameLst>
                                          <p:attrName>ppt_w</p:attrName>
                                        </p:attrNameLst>
                                      </p:cBhvr>
                                      <p:tavLst>
                                        <p:tav tm="0">
                                          <p:val>
                                            <p:fltVal val="0"/>
                                          </p:val>
                                        </p:tav>
                                        <p:tav tm="100000">
                                          <p:val>
                                            <p:strVal val="#ppt_w"/>
                                          </p:val>
                                        </p:tav>
                                      </p:tavLst>
                                    </p:anim>
                                    <p:anim calcmode="lin" valueType="num">
                                      <p:cBhvr>
                                        <p:cTn id="116" dur="500" fill="hold"/>
                                        <p:tgtEl>
                                          <p:spTgt spid="74"/>
                                        </p:tgtEl>
                                        <p:attrNameLst>
                                          <p:attrName>ppt_h</p:attrName>
                                        </p:attrNameLst>
                                      </p:cBhvr>
                                      <p:tavLst>
                                        <p:tav tm="0">
                                          <p:val>
                                            <p:fltVal val="0"/>
                                          </p:val>
                                        </p:tav>
                                        <p:tav tm="100000">
                                          <p:val>
                                            <p:strVal val="#ppt_h"/>
                                          </p:val>
                                        </p:tav>
                                      </p:tavLst>
                                    </p:anim>
                                    <p:animEffect transition="in" filter="fade">
                                      <p:cBhvr>
                                        <p:cTn id="117" dur="500"/>
                                        <p:tgtEl>
                                          <p:spTgt spid="74"/>
                                        </p:tgtEl>
                                      </p:cBhvr>
                                    </p:animEffect>
                                  </p:childTnLst>
                                </p:cTn>
                              </p:par>
                              <p:par>
                                <p:cTn id="118" presetID="53" presetClass="entr" presetSubtype="16" fill="hold" grpId="0" nodeType="withEffect">
                                  <p:stCondLst>
                                    <p:cond delay="0"/>
                                  </p:stCondLst>
                                  <p:childTnLst>
                                    <p:set>
                                      <p:cBhvr>
                                        <p:cTn id="119" dur="1" fill="hold">
                                          <p:stCondLst>
                                            <p:cond delay="0"/>
                                          </p:stCondLst>
                                        </p:cTn>
                                        <p:tgtEl>
                                          <p:spTgt spid="73"/>
                                        </p:tgtEl>
                                        <p:attrNameLst>
                                          <p:attrName>style.visibility</p:attrName>
                                        </p:attrNameLst>
                                      </p:cBhvr>
                                      <p:to>
                                        <p:strVal val="visible"/>
                                      </p:to>
                                    </p:set>
                                    <p:anim calcmode="lin" valueType="num">
                                      <p:cBhvr>
                                        <p:cTn id="120" dur="500" fill="hold"/>
                                        <p:tgtEl>
                                          <p:spTgt spid="73"/>
                                        </p:tgtEl>
                                        <p:attrNameLst>
                                          <p:attrName>ppt_w</p:attrName>
                                        </p:attrNameLst>
                                      </p:cBhvr>
                                      <p:tavLst>
                                        <p:tav tm="0">
                                          <p:val>
                                            <p:fltVal val="0"/>
                                          </p:val>
                                        </p:tav>
                                        <p:tav tm="100000">
                                          <p:val>
                                            <p:strVal val="#ppt_w"/>
                                          </p:val>
                                        </p:tav>
                                      </p:tavLst>
                                    </p:anim>
                                    <p:anim calcmode="lin" valueType="num">
                                      <p:cBhvr>
                                        <p:cTn id="121" dur="500" fill="hold"/>
                                        <p:tgtEl>
                                          <p:spTgt spid="73"/>
                                        </p:tgtEl>
                                        <p:attrNameLst>
                                          <p:attrName>ppt_h</p:attrName>
                                        </p:attrNameLst>
                                      </p:cBhvr>
                                      <p:tavLst>
                                        <p:tav tm="0">
                                          <p:val>
                                            <p:fltVal val="0"/>
                                          </p:val>
                                        </p:tav>
                                        <p:tav tm="100000">
                                          <p:val>
                                            <p:strVal val="#ppt_h"/>
                                          </p:val>
                                        </p:tav>
                                      </p:tavLst>
                                    </p:anim>
                                    <p:animEffect transition="in" filter="fade">
                                      <p:cBhvr>
                                        <p:cTn id="122"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9" grpId="0"/>
      <p:bldP spid="70" grpId="0"/>
      <p:bldP spid="71" grpId="0"/>
      <p:bldP spid="72" grpId="0"/>
      <p:bldP spid="73" grpId="0"/>
      <p:bldP spid="74" grpId="0"/>
      <p:bldP spid="75" grpId="0"/>
      <p:bldP spid="76" grpId="0"/>
    </p:bldLst>
  </p:timing>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5AA7BDE-7848-4D89-91C1-2DDF6A2430E3}"/>
              </a:ext>
            </a:extLst>
          </p:cNvPr>
          <p:cNvGrpSpPr/>
          <p:nvPr/>
        </p:nvGrpSpPr>
        <p:grpSpPr>
          <a:xfrm>
            <a:off x="1404321" y="0"/>
            <a:ext cx="10134047" cy="5988301"/>
            <a:chOff x="2249488" y="-20638"/>
            <a:chExt cx="8486775" cy="5014913"/>
          </a:xfrm>
        </p:grpSpPr>
        <p:grpSp>
          <p:nvGrpSpPr>
            <p:cNvPr id="77" name="Group 76"/>
            <p:cNvGrpSpPr>
              <a:grpSpLocks/>
            </p:cNvGrpSpPr>
            <p:nvPr/>
          </p:nvGrpSpPr>
          <p:grpSpPr bwMode="auto">
            <a:xfrm>
              <a:off x="2249488" y="-20638"/>
              <a:ext cx="8486775" cy="5014913"/>
              <a:chOff x="966723" y="-90137"/>
              <a:chExt cx="11316720" cy="6686775"/>
            </a:xfrm>
          </p:grpSpPr>
          <p:sp>
            <p:nvSpPr>
              <p:cNvPr id="37" name="Shape 16940"/>
              <p:cNvSpPr/>
              <p:nvPr/>
            </p:nvSpPr>
            <p:spPr>
              <a:xfrm>
                <a:off x="2327861" y="2130321"/>
                <a:ext cx="1041494" cy="1299677"/>
              </a:xfrm>
              <a:custGeom>
                <a:avLst/>
                <a:gdLst/>
                <a:ahLst/>
                <a:cxnLst>
                  <a:cxn ang="0">
                    <a:pos x="wd2" y="hd2"/>
                  </a:cxn>
                  <a:cxn ang="5400000">
                    <a:pos x="wd2" y="hd2"/>
                  </a:cxn>
                  <a:cxn ang="10800000">
                    <a:pos x="wd2" y="hd2"/>
                  </a:cxn>
                  <a:cxn ang="16200000">
                    <a:pos x="wd2" y="hd2"/>
                  </a:cxn>
                </a:cxnLst>
                <a:rect l="0" t="0" r="r" b="b"/>
                <a:pathLst>
                  <a:path w="21600" h="21600" extrusionOk="0">
                    <a:moveTo>
                      <a:pt x="21149" y="0"/>
                    </a:moveTo>
                    <a:cubicBezTo>
                      <a:pt x="9468" y="0"/>
                      <a:pt x="0" y="6207"/>
                      <a:pt x="0" y="13861"/>
                    </a:cubicBezTo>
                    <a:lnTo>
                      <a:pt x="0" y="21600"/>
                    </a:lnTo>
                    <a:lnTo>
                      <a:pt x="14102" y="21600"/>
                    </a:lnTo>
                    <a:lnTo>
                      <a:pt x="14102" y="13861"/>
                    </a:lnTo>
                    <a:cubicBezTo>
                      <a:pt x="14102" y="11309"/>
                      <a:pt x="17254" y="9244"/>
                      <a:pt x="21149" y="9244"/>
                    </a:cubicBezTo>
                    <a:cubicBezTo>
                      <a:pt x="21303" y="9244"/>
                      <a:pt x="21448" y="9268"/>
                      <a:pt x="21600" y="9275"/>
                    </a:cubicBezTo>
                    <a:lnTo>
                      <a:pt x="21600" y="16"/>
                    </a:lnTo>
                    <a:cubicBezTo>
                      <a:pt x="21449" y="13"/>
                      <a:pt x="21301" y="0"/>
                      <a:pt x="21149" y="0"/>
                    </a:cubicBezTo>
                    <a:close/>
                  </a:path>
                </a:pathLst>
              </a:custGeom>
              <a:solidFill>
                <a:srgbClr val="292929"/>
              </a:solidFill>
              <a:ln w="12700" cap="flat">
                <a:noFill/>
                <a:miter lim="400000"/>
              </a:ln>
              <a:effectLst/>
            </p:spPr>
            <p:txBody>
              <a:bodyPr lIns="0" tIns="0" rIns="0" bIns="0" anchor="ctr"/>
              <a:lstStyle/>
              <a:p>
                <a:pPr>
                  <a:defRPr/>
                </a:pPr>
                <a:endParaRPr sz="1350"/>
              </a:p>
            </p:txBody>
          </p:sp>
          <p:grpSp>
            <p:nvGrpSpPr>
              <p:cNvPr id="46123" name="Group 75"/>
              <p:cNvGrpSpPr>
                <a:grpSpLocks/>
              </p:cNvGrpSpPr>
              <p:nvPr/>
            </p:nvGrpSpPr>
            <p:grpSpPr bwMode="auto">
              <a:xfrm>
                <a:off x="966723" y="-90137"/>
                <a:ext cx="11316720" cy="6686775"/>
                <a:chOff x="966723" y="-90137"/>
                <a:chExt cx="11316720" cy="6686775"/>
              </a:xfrm>
            </p:grpSpPr>
            <p:sp>
              <p:nvSpPr>
                <p:cNvPr id="38" name="Shape 16941"/>
                <p:cNvSpPr/>
                <p:nvPr/>
              </p:nvSpPr>
              <p:spPr>
                <a:xfrm>
                  <a:off x="2327861" y="3425765"/>
                  <a:ext cx="679512" cy="188178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0"/>
                      </a:lnTo>
                      <a:lnTo>
                        <a:pt x="0" y="0"/>
                      </a:lnTo>
                      <a:lnTo>
                        <a:pt x="0" y="21600"/>
                      </a:lnTo>
                      <a:cubicBezTo>
                        <a:pt x="0" y="21600"/>
                        <a:pt x="21600" y="21600"/>
                        <a:pt x="21600" y="21600"/>
                      </a:cubicBezTo>
                      <a:close/>
                    </a:path>
                  </a:pathLst>
                </a:custGeom>
                <a:solidFill>
                  <a:srgbClr val="292929"/>
                </a:solidFill>
                <a:ln w="12700" cap="flat">
                  <a:noFill/>
                  <a:miter lim="400000"/>
                </a:ln>
                <a:effectLst/>
              </p:spPr>
              <p:txBody>
                <a:bodyPr lIns="0" tIns="0" rIns="0" bIns="0" anchor="ctr"/>
                <a:lstStyle/>
                <a:p>
                  <a:pPr>
                    <a:defRPr/>
                  </a:pPr>
                  <a:endParaRPr sz="1350"/>
                </a:p>
              </p:txBody>
            </p:sp>
            <p:sp>
              <p:nvSpPr>
                <p:cNvPr id="39" name="Shape 16942"/>
                <p:cNvSpPr/>
                <p:nvPr/>
              </p:nvSpPr>
              <p:spPr>
                <a:xfrm>
                  <a:off x="966723" y="5296961"/>
                  <a:ext cx="2038533" cy="1299677"/>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35" y="21600"/>
                        <a:pt x="0" y="15394"/>
                        <a:pt x="0" y="7739"/>
                      </a:cubicBezTo>
                      <a:lnTo>
                        <a:pt x="0" y="0"/>
                      </a:lnTo>
                      <a:lnTo>
                        <a:pt x="7200" y="0"/>
                      </a:lnTo>
                      <a:lnTo>
                        <a:pt x="7200" y="7739"/>
                      </a:lnTo>
                      <a:cubicBezTo>
                        <a:pt x="7200" y="10291"/>
                        <a:pt x="8811" y="12359"/>
                        <a:pt x="10800" y="12359"/>
                      </a:cubicBezTo>
                      <a:cubicBezTo>
                        <a:pt x="12788" y="12359"/>
                        <a:pt x="14400" y="10291"/>
                        <a:pt x="14400" y="7739"/>
                      </a:cubicBezTo>
                      <a:lnTo>
                        <a:pt x="14400" y="0"/>
                      </a:lnTo>
                      <a:lnTo>
                        <a:pt x="21600" y="0"/>
                      </a:lnTo>
                      <a:lnTo>
                        <a:pt x="21600" y="7739"/>
                      </a:lnTo>
                      <a:cubicBezTo>
                        <a:pt x="21600" y="15394"/>
                        <a:pt x="16764" y="21600"/>
                        <a:pt x="10800" y="21600"/>
                      </a:cubicBezTo>
                      <a:close/>
                    </a:path>
                  </a:pathLst>
                </a:custGeom>
                <a:solidFill>
                  <a:srgbClr val="292929"/>
                </a:solidFill>
                <a:ln w="12700" cap="flat">
                  <a:noFill/>
                  <a:miter lim="400000"/>
                </a:ln>
                <a:effectLst/>
              </p:spPr>
              <p:txBody>
                <a:bodyPr lIns="0" tIns="0" rIns="0" bIns="0" anchor="ctr"/>
                <a:lstStyle/>
                <a:p>
                  <a:pPr>
                    <a:defRPr/>
                  </a:pPr>
                  <a:endParaRPr sz="1350"/>
                </a:p>
              </p:txBody>
            </p:sp>
            <p:sp>
              <p:nvSpPr>
                <p:cNvPr id="40" name="Shape 16943"/>
                <p:cNvSpPr/>
                <p:nvPr/>
              </p:nvSpPr>
              <p:spPr>
                <a:xfrm>
                  <a:off x="980403" y="-66852"/>
                  <a:ext cx="681628" cy="5370164"/>
                </a:xfrm>
                <a:custGeom>
                  <a:avLst/>
                  <a:gdLst/>
                  <a:ahLst/>
                  <a:cxnLst>
                    <a:cxn ang="0">
                      <a:pos x="wd2" y="hd2"/>
                    </a:cxn>
                    <a:cxn ang="5400000">
                      <a:pos x="wd2" y="hd2"/>
                    </a:cxn>
                    <a:cxn ang="10800000">
                      <a:pos x="wd2" y="hd2"/>
                    </a:cxn>
                    <a:cxn ang="16200000">
                      <a:pos x="wd2" y="hd2"/>
                    </a:cxn>
                  </a:cxnLst>
                  <a:rect l="0" t="0" r="r" b="b"/>
                  <a:pathLst>
                    <a:path w="21600" h="21600" extrusionOk="0">
                      <a:moveTo>
                        <a:pt x="21542" y="0"/>
                      </a:moveTo>
                      <a:lnTo>
                        <a:pt x="21600" y="21600"/>
                      </a:lnTo>
                      <a:lnTo>
                        <a:pt x="58" y="21600"/>
                      </a:lnTo>
                      <a:lnTo>
                        <a:pt x="0" y="0"/>
                      </a:lnTo>
                      <a:lnTo>
                        <a:pt x="21542" y="0"/>
                      </a:lnTo>
                      <a:close/>
                    </a:path>
                  </a:pathLst>
                </a:custGeom>
                <a:solidFill>
                  <a:srgbClr val="292929"/>
                </a:solidFill>
                <a:ln w="12700" cap="flat">
                  <a:noFill/>
                  <a:miter lim="400000"/>
                </a:ln>
                <a:effectLst/>
              </p:spPr>
              <p:txBody>
                <a:bodyPr lIns="0" tIns="0" rIns="0" bIns="0" anchor="ctr"/>
                <a:lstStyle/>
                <a:p>
                  <a:pPr>
                    <a:defRPr/>
                  </a:pPr>
                  <a:endParaRPr sz="1350"/>
                </a:p>
              </p:txBody>
            </p:sp>
            <p:sp>
              <p:nvSpPr>
                <p:cNvPr id="41" name="Shape 16944"/>
                <p:cNvSpPr/>
                <p:nvPr/>
              </p:nvSpPr>
              <p:spPr>
                <a:xfrm>
                  <a:off x="3972660" y="2697607"/>
                  <a:ext cx="2256570" cy="1839446"/>
                </a:xfrm>
                <a:custGeom>
                  <a:avLst/>
                  <a:gdLst/>
                  <a:ahLst/>
                  <a:cxnLst>
                    <a:cxn ang="0">
                      <a:pos x="wd2" y="hd2"/>
                    </a:cxn>
                    <a:cxn ang="5400000">
                      <a:pos x="wd2" y="hd2"/>
                    </a:cxn>
                    <a:cxn ang="10800000">
                      <a:pos x="wd2" y="hd2"/>
                    </a:cxn>
                    <a:cxn ang="16200000">
                      <a:pos x="wd2" y="hd2"/>
                    </a:cxn>
                  </a:cxnLst>
                  <a:rect l="0" t="0" r="r" b="b"/>
                  <a:pathLst>
                    <a:path w="21600" h="21600" extrusionOk="0">
                      <a:moveTo>
                        <a:pt x="17001" y="21600"/>
                      </a:moveTo>
                      <a:lnTo>
                        <a:pt x="0" y="4605"/>
                      </a:lnTo>
                      <a:lnTo>
                        <a:pt x="4599" y="0"/>
                      </a:lnTo>
                      <a:lnTo>
                        <a:pt x="21600" y="16995"/>
                      </a:lnTo>
                      <a:lnTo>
                        <a:pt x="17001" y="21600"/>
                      </a:lnTo>
                      <a:close/>
                    </a:path>
                  </a:pathLst>
                </a:custGeom>
                <a:solidFill>
                  <a:srgbClr val="292929"/>
                </a:solidFill>
                <a:ln w="12700" cap="flat">
                  <a:noFill/>
                  <a:miter lim="400000"/>
                </a:ln>
                <a:effectLst/>
              </p:spPr>
              <p:txBody>
                <a:bodyPr lIns="0" tIns="0" rIns="0" bIns="0" anchor="ctr"/>
                <a:lstStyle/>
                <a:p>
                  <a:pPr>
                    <a:defRPr/>
                  </a:pPr>
                  <a:endParaRPr sz="1350"/>
                </a:p>
              </p:txBody>
            </p:sp>
            <p:sp>
              <p:nvSpPr>
                <p:cNvPr id="42" name="Shape 16945"/>
                <p:cNvSpPr/>
                <p:nvPr/>
              </p:nvSpPr>
              <p:spPr>
                <a:xfrm>
                  <a:off x="2607287" y="2130321"/>
                  <a:ext cx="1860718" cy="965232"/>
                </a:xfrm>
                <a:custGeom>
                  <a:avLst/>
                  <a:gdLst/>
                  <a:ahLst/>
                  <a:cxnLst>
                    <a:cxn ang="0">
                      <a:pos x="wd2" y="hd2"/>
                    </a:cxn>
                    <a:cxn ang="5400000">
                      <a:pos x="wd2" y="hd2"/>
                    </a:cxn>
                    <a:cxn ang="10800000">
                      <a:pos x="wd2" y="hd2"/>
                    </a:cxn>
                    <a:cxn ang="16200000">
                      <a:pos x="wd2" y="hd2"/>
                    </a:cxn>
                  </a:cxnLst>
                  <a:rect l="0" t="0" r="r" b="b"/>
                  <a:pathLst>
                    <a:path w="21600" h="21594" extrusionOk="0">
                      <a:moveTo>
                        <a:pt x="8537" y="0"/>
                      </a:moveTo>
                      <a:cubicBezTo>
                        <a:pt x="5506" y="-6"/>
                        <a:pt x="2478" y="1807"/>
                        <a:pt x="168" y="5437"/>
                      </a:cubicBezTo>
                      <a:cubicBezTo>
                        <a:pt x="108" y="5531"/>
                        <a:pt x="58" y="5633"/>
                        <a:pt x="0" y="5729"/>
                      </a:cubicBezTo>
                      <a:lnTo>
                        <a:pt x="4255" y="12424"/>
                      </a:lnTo>
                      <a:lnTo>
                        <a:pt x="8383" y="12424"/>
                      </a:lnTo>
                      <a:lnTo>
                        <a:pt x="8383" y="12431"/>
                      </a:lnTo>
                      <a:cubicBezTo>
                        <a:pt x="9446" y="12363"/>
                        <a:pt x="10524" y="12953"/>
                        <a:pt x="11337" y="14232"/>
                      </a:cubicBezTo>
                      <a:lnTo>
                        <a:pt x="16022" y="21594"/>
                      </a:lnTo>
                      <a:lnTo>
                        <a:pt x="21600" y="12827"/>
                      </a:lnTo>
                      <a:lnTo>
                        <a:pt x="16916" y="5472"/>
                      </a:lnTo>
                      <a:cubicBezTo>
                        <a:pt x="14600" y="1833"/>
                        <a:pt x="11569" y="7"/>
                        <a:pt x="8537" y="0"/>
                      </a:cubicBezTo>
                      <a:close/>
                    </a:path>
                  </a:pathLst>
                </a:custGeom>
                <a:solidFill>
                  <a:srgbClr val="292929"/>
                </a:solidFill>
                <a:ln w="12700" cap="flat">
                  <a:noFill/>
                  <a:miter lim="400000"/>
                </a:ln>
                <a:effectLst/>
              </p:spPr>
              <p:txBody>
                <a:bodyPr lIns="0" tIns="0" rIns="0" bIns="0" anchor="ctr"/>
                <a:lstStyle/>
                <a:p>
                  <a:pPr>
                    <a:defRPr/>
                  </a:pPr>
                  <a:endParaRPr sz="1350"/>
                </a:p>
              </p:txBody>
            </p:sp>
            <p:sp>
              <p:nvSpPr>
                <p:cNvPr id="43" name="Shape 16946"/>
                <p:cNvSpPr/>
                <p:nvPr/>
              </p:nvSpPr>
              <p:spPr>
                <a:xfrm>
                  <a:off x="7073856" y="-90137"/>
                  <a:ext cx="5209587" cy="4265227"/>
                </a:xfrm>
                <a:custGeom>
                  <a:avLst/>
                  <a:gdLst/>
                  <a:ahLst/>
                  <a:cxnLst>
                    <a:cxn ang="0">
                      <a:pos x="wd2" y="hd2"/>
                    </a:cxn>
                    <a:cxn ang="5400000">
                      <a:pos x="wd2" y="hd2"/>
                    </a:cxn>
                    <a:cxn ang="10800000">
                      <a:pos x="wd2" y="hd2"/>
                    </a:cxn>
                    <a:cxn ang="16200000">
                      <a:pos x="wd2" y="hd2"/>
                    </a:cxn>
                  </a:cxnLst>
                  <a:rect l="0" t="0" r="r" b="b"/>
                  <a:pathLst>
                    <a:path w="21599" h="21595" extrusionOk="0">
                      <a:moveTo>
                        <a:pt x="21569" y="2063"/>
                      </a:moveTo>
                      <a:lnTo>
                        <a:pt x="1992" y="21595"/>
                      </a:lnTo>
                      <a:lnTo>
                        <a:pt x="0" y="19608"/>
                      </a:lnTo>
                      <a:lnTo>
                        <a:pt x="19597" y="57"/>
                      </a:lnTo>
                      <a:cubicBezTo>
                        <a:pt x="19902" y="26"/>
                        <a:pt x="20208" y="7"/>
                        <a:pt x="20515" y="2"/>
                      </a:cubicBezTo>
                      <a:cubicBezTo>
                        <a:pt x="20865" y="-5"/>
                        <a:pt x="21215" y="5"/>
                        <a:pt x="21564" y="31"/>
                      </a:cubicBezTo>
                      <a:cubicBezTo>
                        <a:pt x="21587" y="375"/>
                        <a:pt x="21599" y="719"/>
                        <a:pt x="21599" y="1063"/>
                      </a:cubicBezTo>
                      <a:cubicBezTo>
                        <a:pt x="21600" y="1397"/>
                        <a:pt x="21590" y="1730"/>
                        <a:pt x="21569" y="2063"/>
                      </a:cubicBezTo>
                      <a:close/>
                    </a:path>
                  </a:pathLst>
                </a:custGeom>
                <a:solidFill>
                  <a:srgbClr val="292929"/>
                </a:solidFill>
                <a:ln w="12700" cap="flat">
                  <a:noFill/>
                  <a:miter lim="400000"/>
                </a:ln>
                <a:effectLst/>
              </p:spPr>
              <p:txBody>
                <a:bodyPr lIns="0" tIns="0" rIns="0" bIns="0" anchor="ctr"/>
                <a:lstStyle/>
                <a:p>
                  <a:pPr>
                    <a:defRPr/>
                  </a:pPr>
                  <a:endParaRPr sz="1350"/>
                </a:p>
              </p:txBody>
            </p:sp>
            <p:sp>
              <p:nvSpPr>
                <p:cNvPr id="44" name="Shape 16947"/>
                <p:cNvSpPr/>
                <p:nvPr/>
              </p:nvSpPr>
              <p:spPr>
                <a:xfrm>
                  <a:off x="5695782" y="3777143"/>
                  <a:ext cx="1860717" cy="967350"/>
                </a:xfrm>
                <a:custGeom>
                  <a:avLst/>
                  <a:gdLst/>
                  <a:ahLst/>
                  <a:cxnLst>
                    <a:cxn ang="0">
                      <a:pos x="wd2" y="hd2"/>
                    </a:cxn>
                    <a:cxn ang="5400000">
                      <a:pos x="wd2" y="hd2"/>
                    </a:cxn>
                    <a:cxn ang="10800000">
                      <a:pos x="wd2" y="hd2"/>
                    </a:cxn>
                    <a:cxn ang="16200000">
                      <a:pos x="wd2" y="hd2"/>
                    </a:cxn>
                  </a:cxnLst>
                  <a:rect l="0" t="0" r="r" b="b"/>
                  <a:pathLst>
                    <a:path w="21600" h="19916" extrusionOk="0">
                      <a:moveTo>
                        <a:pt x="169" y="14904"/>
                      </a:moveTo>
                      <a:cubicBezTo>
                        <a:pt x="4788" y="21600"/>
                        <a:pt x="12287" y="21584"/>
                        <a:pt x="16918" y="14872"/>
                      </a:cubicBezTo>
                      <a:lnTo>
                        <a:pt x="21600" y="8084"/>
                      </a:lnTo>
                      <a:lnTo>
                        <a:pt x="16023" y="0"/>
                      </a:lnTo>
                      <a:lnTo>
                        <a:pt x="11341" y="6788"/>
                      </a:lnTo>
                      <a:cubicBezTo>
                        <a:pt x="9798" y="9025"/>
                        <a:pt x="7302" y="9030"/>
                        <a:pt x="5761" y="6797"/>
                      </a:cubicBezTo>
                      <a:cubicBezTo>
                        <a:pt x="5700" y="6708"/>
                        <a:pt x="5658" y="6604"/>
                        <a:pt x="5602" y="6511"/>
                      </a:cubicBezTo>
                      <a:lnTo>
                        <a:pt x="0" y="14632"/>
                      </a:lnTo>
                      <a:cubicBezTo>
                        <a:pt x="58" y="14720"/>
                        <a:pt x="109" y="14817"/>
                        <a:pt x="169" y="14904"/>
                      </a:cubicBezTo>
                      <a:close/>
                    </a:path>
                  </a:pathLst>
                </a:custGeom>
                <a:solidFill>
                  <a:srgbClr val="292929"/>
                </a:solidFill>
                <a:ln w="12700" cap="flat">
                  <a:noFill/>
                  <a:miter lim="400000"/>
                </a:ln>
                <a:effectLst/>
              </p:spPr>
              <p:txBody>
                <a:bodyPr lIns="0" tIns="0" rIns="0" bIns="0" anchor="ctr"/>
                <a:lstStyle/>
                <a:p>
                  <a:pPr>
                    <a:defRPr/>
                  </a:pPr>
                  <a:endParaRPr sz="1350"/>
                </a:p>
              </p:txBody>
            </p:sp>
          </p:grpSp>
        </p:grpSp>
        <p:grpSp>
          <p:nvGrpSpPr>
            <p:cNvPr id="27" name="Group 16958"/>
            <p:cNvGrpSpPr>
              <a:grpSpLocks/>
            </p:cNvGrpSpPr>
            <p:nvPr/>
          </p:nvGrpSpPr>
          <p:grpSpPr bwMode="auto">
            <a:xfrm>
              <a:off x="2459039" y="30164"/>
              <a:ext cx="8220075" cy="4789487"/>
              <a:chOff x="0" y="0"/>
              <a:chExt cx="11409951" cy="8143807"/>
            </a:xfrm>
          </p:grpSpPr>
          <p:sp>
            <p:nvSpPr>
              <p:cNvPr id="28" name="Shape 16949"/>
              <p:cNvSpPr/>
              <p:nvPr/>
            </p:nvSpPr>
            <p:spPr>
              <a:xfrm>
                <a:off x="1432304" y="4413365"/>
                <a:ext cx="132213" cy="23861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400"/>
                    </a:lnTo>
                    <a:lnTo>
                      <a:pt x="21600" y="2400"/>
                    </a:lnTo>
                    <a:cubicBezTo>
                      <a:pt x="21600" y="2400"/>
                      <a:pt x="21600" y="0"/>
                      <a:pt x="21600" y="0"/>
                    </a:cubicBezTo>
                    <a:close/>
                    <a:moveTo>
                      <a:pt x="21600" y="4800"/>
                    </a:moveTo>
                    <a:lnTo>
                      <a:pt x="0" y="4800"/>
                    </a:lnTo>
                    <a:lnTo>
                      <a:pt x="0" y="7200"/>
                    </a:lnTo>
                    <a:lnTo>
                      <a:pt x="21600" y="7200"/>
                    </a:lnTo>
                    <a:cubicBezTo>
                      <a:pt x="21600" y="7200"/>
                      <a:pt x="21600" y="4800"/>
                      <a:pt x="21600" y="4800"/>
                    </a:cubicBezTo>
                    <a:close/>
                    <a:moveTo>
                      <a:pt x="21600" y="9600"/>
                    </a:moveTo>
                    <a:lnTo>
                      <a:pt x="0" y="9600"/>
                    </a:lnTo>
                    <a:lnTo>
                      <a:pt x="0" y="12000"/>
                    </a:lnTo>
                    <a:lnTo>
                      <a:pt x="21600" y="12000"/>
                    </a:lnTo>
                    <a:cubicBezTo>
                      <a:pt x="21600" y="12000"/>
                      <a:pt x="21600" y="9600"/>
                      <a:pt x="21600" y="9600"/>
                    </a:cubicBezTo>
                    <a:close/>
                    <a:moveTo>
                      <a:pt x="21600" y="14400"/>
                    </a:moveTo>
                    <a:lnTo>
                      <a:pt x="0" y="14400"/>
                    </a:lnTo>
                    <a:lnTo>
                      <a:pt x="0" y="16800"/>
                    </a:lnTo>
                    <a:lnTo>
                      <a:pt x="21600" y="16800"/>
                    </a:lnTo>
                    <a:cubicBezTo>
                      <a:pt x="21600" y="16800"/>
                      <a:pt x="21600" y="14400"/>
                      <a:pt x="21600" y="14400"/>
                    </a:cubicBezTo>
                    <a:close/>
                    <a:moveTo>
                      <a:pt x="21600" y="19200"/>
                    </a:moveTo>
                    <a:lnTo>
                      <a:pt x="0" y="19200"/>
                    </a:lnTo>
                    <a:lnTo>
                      <a:pt x="0" y="21600"/>
                    </a:lnTo>
                    <a:lnTo>
                      <a:pt x="21600" y="21600"/>
                    </a:lnTo>
                    <a:cubicBezTo>
                      <a:pt x="21600" y="21600"/>
                      <a:pt x="21600" y="19200"/>
                      <a:pt x="21600" y="19200"/>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29" name="Shape 16950"/>
              <p:cNvSpPr/>
              <p:nvPr/>
            </p:nvSpPr>
            <p:spPr>
              <a:xfrm>
                <a:off x="0" y="7039791"/>
                <a:ext cx="1564516" cy="1104016"/>
              </a:xfrm>
              <a:custGeom>
                <a:avLst/>
                <a:gdLst/>
                <a:ahLst/>
                <a:cxnLst>
                  <a:cxn ang="0">
                    <a:pos x="wd2" y="hd2"/>
                  </a:cxn>
                  <a:cxn ang="5400000">
                    <a:pos x="wd2" y="hd2"/>
                  </a:cxn>
                  <a:cxn ang="10800000">
                    <a:pos x="wd2" y="hd2"/>
                  </a:cxn>
                  <a:cxn ang="16200000">
                    <a:pos x="wd2" y="hd2"/>
                  </a:cxn>
                </a:cxnLst>
                <a:rect l="0" t="0" r="r" b="b"/>
                <a:pathLst>
                  <a:path w="21600" h="21600" extrusionOk="0">
                    <a:moveTo>
                      <a:pt x="1831" y="16"/>
                    </a:moveTo>
                    <a:lnTo>
                      <a:pt x="0" y="16"/>
                    </a:lnTo>
                    <a:lnTo>
                      <a:pt x="0" y="5212"/>
                    </a:lnTo>
                    <a:lnTo>
                      <a:pt x="1831" y="5212"/>
                    </a:lnTo>
                    <a:cubicBezTo>
                      <a:pt x="1831" y="5212"/>
                      <a:pt x="1831" y="16"/>
                      <a:pt x="1831" y="16"/>
                    </a:cubicBezTo>
                    <a:close/>
                    <a:moveTo>
                      <a:pt x="3650" y="14188"/>
                    </a:moveTo>
                    <a:cubicBezTo>
                      <a:pt x="2976" y="12923"/>
                      <a:pt x="2480" y="11515"/>
                      <a:pt x="2174" y="9998"/>
                    </a:cubicBezTo>
                    <a:lnTo>
                      <a:pt x="415" y="10716"/>
                    </a:lnTo>
                    <a:cubicBezTo>
                      <a:pt x="783" y="12543"/>
                      <a:pt x="1380" y="14241"/>
                      <a:pt x="2192" y="15763"/>
                    </a:cubicBezTo>
                    <a:cubicBezTo>
                      <a:pt x="2192" y="15763"/>
                      <a:pt x="3650" y="14188"/>
                      <a:pt x="3650" y="14188"/>
                    </a:cubicBezTo>
                    <a:close/>
                    <a:moveTo>
                      <a:pt x="9157" y="19038"/>
                    </a:moveTo>
                    <a:cubicBezTo>
                      <a:pt x="8068" y="18750"/>
                      <a:pt x="7034" y="18180"/>
                      <a:pt x="6088" y="17347"/>
                    </a:cubicBezTo>
                    <a:lnTo>
                      <a:pt x="5123" y="19559"/>
                    </a:lnTo>
                    <a:cubicBezTo>
                      <a:pt x="6264" y="20567"/>
                      <a:pt x="7509" y="21252"/>
                      <a:pt x="8823" y="21600"/>
                    </a:cubicBezTo>
                    <a:cubicBezTo>
                      <a:pt x="8823" y="21600"/>
                      <a:pt x="9157" y="19038"/>
                      <a:pt x="9157" y="19038"/>
                    </a:cubicBezTo>
                    <a:close/>
                    <a:moveTo>
                      <a:pt x="16486" y="19550"/>
                    </a:moveTo>
                    <a:lnTo>
                      <a:pt x="15519" y="17338"/>
                    </a:lnTo>
                    <a:cubicBezTo>
                      <a:pt x="14573" y="18175"/>
                      <a:pt x="13542" y="18746"/>
                      <a:pt x="12451" y="19037"/>
                    </a:cubicBezTo>
                    <a:lnTo>
                      <a:pt x="12788" y="21596"/>
                    </a:lnTo>
                    <a:cubicBezTo>
                      <a:pt x="14102" y="21248"/>
                      <a:pt x="15346" y="20559"/>
                      <a:pt x="16486" y="19550"/>
                    </a:cubicBezTo>
                    <a:close/>
                    <a:moveTo>
                      <a:pt x="21187" y="10700"/>
                    </a:moveTo>
                    <a:lnTo>
                      <a:pt x="19427" y="9985"/>
                    </a:lnTo>
                    <a:cubicBezTo>
                      <a:pt x="19123" y="11501"/>
                      <a:pt x="18627" y="12911"/>
                      <a:pt x="17955" y="14177"/>
                    </a:cubicBezTo>
                    <a:lnTo>
                      <a:pt x="19414" y="15749"/>
                    </a:lnTo>
                    <a:cubicBezTo>
                      <a:pt x="20225" y="14226"/>
                      <a:pt x="20821" y="12527"/>
                      <a:pt x="21187" y="10700"/>
                    </a:cubicBezTo>
                    <a:close/>
                    <a:moveTo>
                      <a:pt x="21600" y="0"/>
                    </a:moveTo>
                    <a:lnTo>
                      <a:pt x="19769" y="0"/>
                    </a:lnTo>
                    <a:lnTo>
                      <a:pt x="19769" y="5196"/>
                    </a:lnTo>
                    <a:lnTo>
                      <a:pt x="21600" y="5196"/>
                    </a:lnTo>
                    <a:cubicBezTo>
                      <a:pt x="21600" y="5196"/>
                      <a:pt x="21600" y="0"/>
                      <a:pt x="21600" y="0"/>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0" name="Shape 16951"/>
              <p:cNvSpPr/>
              <p:nvPr/>
            </p:nvSpPr>
            <p:spPr>
              <a:xfrm>
                <a:off x="13221" y="2809977"/>
                <a:ext cx="132213" cy="3978778"/>
              </a:xfrm>
              <a:custGeom>
                <a:avLst/>
                <a:gdLst/>
                <a:ahLst/>
                <a:cxnLst>
                  <a:cxn ang="0">
                    <a:pos x="wd2" y="hd2"/>
                  </a:cxn>
                  <a:cxn ang="5400000">
                    <a:pos x="wd2" y="hd2"/>
                  </a:cxn>
                  <a:cxn ang="10800000">
                    <a:pos x="wd2" y="hd2"/>
                  </a:cxn>
                  <a:cxn ang="16200000">
                    <a:pos x="wd2" y="hd2"/>
                  </a:cxn>
                </a:cxnLst>
                <a:rect l="0" t="0" r="r" b="b"/>
                <a:pathLst>
                  <a:path w="21600" h="21600" extrusionOk="0">
                    <a:moveTo>
                      <a:pt x="21600" y="20160"/>
                    </a:moveTo>
                    <a:lnTo>
                      <a:pt x="0" y="20160"/>
                    </a:lnTo>
                    <a:lnTo>
                      <a:pt x="0" y="21600"/>
                    </a:lnTo>
                    <a:lnTo>
                      <a:pt x="21600" y="21600"/>
                    </a:lnTo>
                    <a:cubicBezTo>
                      <a:pt x="21600" y="21600"/>
                      <a:pt x="21600" y="20160"/>
                      <a:pt x="21600" y="20160"/>
                    </a:cubicBezTo>
                    <a:close/>
                    <a:moveTo>
                      <a:pt x="21600" y="17280"/>
                    </a:moveTo>
                    <a:lnTo>
                      <a:pt x="0" y="17280"/>
                    </a:lnTo>
                    <a:lnTo>
                      <a:pt x="0" y="18720"/>
                    </a:lnTo>
                    <a:lnTo>
                      <a:pt x="21600" y="18720"/>
                    </a:lnTo>
                    <a:cubicBezTo>
                      <a:pt x="21600" y="18720"/>
                      <a:pt x="21600" y="17280"/>
                      <a:pt x="21600" y="17280"/>
                    </a:cubicBezTo>
                    <a:close/>
                    <a:moveTo>
                      <a:pt x="21600" y="14400"/>
                    </a:moveTo>
                    <a:lnTo>
                      <a:pt x="0" y="14400"/>
                    </a:lnTo>
                    <a:lnTo>
                      <a:pt x="0" y="15840"/>
                    </a:lnTo>
                    <a:lnTo>
                      <a:pt x="21600" y="15840"/>
                    </a:lnTo>
                    <a:cubicBezTo>
                      <a:pt x="21600" y="15840"/>
                      <a:pt x="21600" y="14400"/>
                      <a:pt x="21600" y="14400"/>
                    </a:cubicBezTo>
                    <a:close/>
                    <a:moveTo>
                      <a:pt x="21600" y="11520"/>
                    </a:moveTo>
                    <a:lnTo>
                      <a:pt x="0" y="11520"/>
                    </a:lnTo>
                    <a:lnTo>
                      <a:pt x="0" y="12960"/>
                    </a:lnTo>
                    <a:lnTo>
                      <a:pt x="21600" y="12960"/>
                    </a:lnTo>
                    <a:cubicBezTo>
                      <a:pt x="21600" y="12960"/>
                      <a:pt x="21600" y="11520"/>
                      <a:pt x="21600" y="11520"/>
                    </a:cubicBezTo>
                    <a:close/>
                    <a:moveTo>
                      <a:pt x="21600" y="8640"/>
                    </a:moveTo>
                    <a:lnTo>
                      <a:pt x="0" y="8640"/>
                    </a:lnTo>
                    <a:lnTo>
                      <a:pt x="0" y="10080"/>
                    </a:lnTo>
                    <a:lnTo>
                      <a:pt x="21600" y="10080"/>
                    </a:lnTo>
                    <a:cubicBezTo>
                      <a:pt x="21600" y="10080"/>
                      <a:pt x="21600" y="8640"/>
                      <a:pt x="21600" y="8640"/>
                    </a:cubicBezTo>
                    <a:close/>
                    <a:moveTo>
                      <a:pt x="21600" y="5760"/>
                    </a:moveTo>
                    <a:lnTo>
                      <a:pt x="0" y="5760"/>
                    </a:lnTo>
                    <a:lnTo>
                      <a:pt x="0" y="7200"/>
                    </a:lnTo>
                    <a:lnTo>
                      <a:pt x="21600" y="7200"/>
                    </a:lnTo>
                    <a:cubicBezTo>
                      <a:pt x="21600" y="7200"/>
                      <a:pt x="21600" y="5760"/>
                      <a:pt x="21600" y="5760"/>
                    </a:cubicBezTo>
                    <a:close/>
                    <a:moveTo>
                      <a:pt x="21600" y="2880"/>
                    </a:moveTo>
                    <a:lnTo>
                      <a:pt x="0" y="2880"/>
                    </a:lnTo>
                    <a:lnTo>
                      <a:pt x="0" y="4320"/>
                    </a:lnTo>
                    <a:lnTo>
                      <a:pt x="21600" y="4320"/>
                    </a:lnTo>
                    <a:cubicBezTo>
                      <a:pt x="21600" y="4320"/>
                      <a:pt x="21600" y="2880"/>
                      <a:pt x="21600" y="2880"/>
                    </a:cubicBezTo>
                    <a:close/>
                    <a:moveTo>
                      <a:pt x="21600" y="0"/>
                    </a:moveTo>
                    <a:lnTo>
                      <a:pt x="0" y="0"/>
                    </a:lnTo>
                    <a:lnTo>
                      <a:pt x="0" y="1440"/>
                    </a:lnTo>
                    <a:lnTo>
                      <a:pt x="21600" y="1440"/>
                    </a:lnTo>
                    <a:cubicBezTo>
                      <a:pt x="21600" y="1440"/>
                      <a:pt x="21600" y="0"/>
                      <a:pt x="21600" y="0"/>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1" name="Shape 16952"/>
              <p:cNvSpPr/>
              <p:nvPr/>
            </p:nvSpPr>
            <p:spPr>
              <a:xfrm>
                <a:off x="13221" y="164657"/>
                <a:ext cx="132213" cy="2386187"/>
              </a:xfrm>
              <a:custGeom>
                <a:avLst/>
                <a:gdLst/>
                <a:ahLst/>
                <a:cxnLst>
                  <a:cxn ang="0">
                    <a:pos x="wd2" y="hd2"/>
                  </a:cxn>
                  <a:cxn ang="5400000">
                    <a:pos x="wd2" y="hd2"/>
                  </a:cxn>
                  <a:cxn ang="10800000">
                    <a:pos x="wd2" y="hd2"/>
                  </a:cxn>
                  <a:cxn ang="16200000">
                    <a:pos x="wd2" y="hd2"/>
                  </a:cxn>
                </a:cxnLst>
                <a:rect l="0" t="0" r="r" b="b"/>
                <a:pathLst>
                  <a:path w="21600" h="21600" extrusionOk="0">
                    <a:moveTo>
                      <a:pt x="21600" y="19200"/>
                    </a:moveTo>
                    <a:lnTo>
                      <a:pt x="0" y="19200"/>
                    </a:lnTo>
                    <a:lnTo>
                      <a:pt x="0" y="21600"/>
                    </a:lnTo>
                    <a:lnTo>
                      <a:pt x="21600" y="21600"/>
                    </a:lnTo>
                    <a:lnTo>
                      <a:pt x="21600" y="19200"/>
                    </a:lnTo>
                    <a:close/>
                    <a:moveTo>
                      <a:pt x="21600" y="14400"/>
                    </a:moveTo>
                    <a:lnTo>
                      <a:pt x="0" y="14400"/>
                    </a:lnTo>
                    <a:lnTo>
                      <a:pt x="0" y="16800"/>
                    </a:lnTo>
                    <a:lnTo>
                      <a:pt x="21600" y="16800"/>
                    </a:lnTo>
                    <a:lnTo>
                      <a:pt x="21600" y="14400"/>
                    </a:lnTo>
                    <a:close/>
                    <a:moveTo>
                      <a:pt x="21600" y="9600"/>
                    </a:moveTo>
                    <a:lnTo>
                      <a:pt x="0" y="9600"/>
                    </a:lnTo>
                    <a:lnTo>
                      <a:pt x="0" y="12000"/>
                    </a:lnTo>
                    <a:lnTo>
                      <a:pt x="21600" y="12000"/>
                    </a:lnTo>
                    <a:lnTo>
                      <a:pt x="21600" y="9600"/>
                    </a:lnTo>
                    <a:close/>
                    <a:moveTo>
                      <a:pt x="21600" y="4800"/>
                    </a:moveTo>
                    <a:lnTo>
                      <a:pt x="0" y="4800"/>
                    </a:lnTo>
                    <a:lnTo>
                      <a:pt x="0" y="7200"/>
                    </a:lnTo>
                    <a:lnTo>
                      <a:pt x="21600" y="7200"/>
                    </a:lnTo>
                    <a:lnTo>
                      <a:pt x="21600" y="4800"/>
                    </a:lnTo>
                    <a:close/>
                    <a:moveTo>
                      <a:pt x="21600" y="0"/>
                    </a:moveTo>
                    <a:lnTo>
                      <a:pt x="0" y="0"/>
                    </a:lnTo>
                    <a:lnTo>
                      <a:pt x="0" y="2400"/>
                    </a:lnTo>
                    <a:lnTo>
                      <a:pt x="21600" y="2400"/>
                    </a:lnTo>
                    <a:lnTo>
                      <a:pt x="21600" y="0"/>
                    </a:ln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2" name="Shape 16953"/>
              <p:cNvSpPr/>
              <p:nvPr/>
            </p:nvSpPr>
            <p:spPr>
              <a:xfrm>
                <a:off x="1416878" y="3036719"/>
                <a:ext cx="1181100" cy="1101317"/>
              </a:xfrm>
              <a:custGeom>
                <a:avLst/>
                <a:gdLst/>
                <a:ahLst/>
                <a:cxnLst>
                  <a:cxn ang="0">
                    <a:pos x="wd2" y="hd2"/>
                  </a:cxn>
                  <a:cxn ang="5400000">
                    <a:pos x="wd2" y="hd2"/>
                  </a:cxn>
                  <a:cxn ang="10800000">
                    <a:pos x="wd2" y="hd2"/>
                  </a:cxn>
                  <a:cxn ang="16200000">
                    <a:pos x="wd2" y="hd2"/>
                  </a:cxn>
                </a:cxnLst>
                <a:rect l="0" t="0" r="r" b="b"/>
                <a:pathLst>
                  <a:path w="21600" h="21600" extrusionOk="0">
                    <a:moveTo>
                      <a:pt x="2424" y="16400"/>
                    </a:moveTo>
                    <a:lnTo>
                      <a:pt x="0" y="16400"/>
                    </a:lnTo>
                    <a:lnTo>
                      <a:pt x="0" y="21600"/>
                    </a:lnTo>
                    <a:lnTo>
                      <a:pt x="2424" y="21600"/>
                    </a:lnTo>
                    <a:lnTo>
                      <a:pt x="2424" y="16400"/>
                    </a:lnTo>
                    <a:close/>
                    <a:moveTo>
                      <a:pt x="2902" y="5842"/>
                    </a:moveTo>
                    <a:cubicBezTo>
                      <a:pt x="2365" y="6603"/>
                      <a:pt x="1899" y="7408"/>
                      <a:pt x="1506" y="8252"/>
                    </a:cubicBezTo>
                    <a:cubicBezTo>
                      <a:pt x="1113" y="9096"/>
                      <a:pt x="794" y="9978"/>
                      <a:pt x="550" y="10892"/>
                    </a:cubicBezTo>
                    <a:lnTo>
                      <a:pt x="2880" y="11610"/>
                    </a:lnTo>
                    <a:cubicBezTo>
                      <a:pt x="3082" y="10852"/>
                      <a:pt x="3347" y="10122"/>
                      <a:pt x="3674" y="9420"/>
                    </a:cubicBezTo>
                    <a:cubicBezTo>
                      <a:pt x="4000" y="8719"/>
                      <a:pt x="4388" y="8050"/>
                      <a:pt x="4834" y="7418"/>
                    </a:cubicBezTo>
                    <a:lnTo>
                      <a:pt x="2902" y="5842"/>
                    </a:lnTo>
                    <a:close/>
                    <a:moveTo>
                      <a:pt x="11684" y="0"/>
                    </a:moveTo>
                    <a:cubicBezTo>
                      <a:pt x="10814" y="174"/>
                      <a:pt x="9967" y="432"/>
                      <a:pt x="9148" y="774"/>
                    </a:cubicBezTo>
                    <a:cubicBezTo>
                      <a:pt x="8330" y="1115"/>
                      <a:pt x="7540" y="1538"/>
                      <a:pt x="6784" y="2042"/>
                    </a:cubicBezTo>
                    <a:lnTo>
                      <a:pt x="8063" y="4257"/>
                    </a:lnTo>
                    <a:cubicBezTo>
                      <a:pt x="8689" y="3839"/>
                      <a:pt x="9344" y="3488"/>
                      <a:pt x="10023" y="3206"/>
                    </a:cubicBezTo>
                    <a:cubicBezTo>
                      <a:pt x="10705" y="2922"/>
                      <a:pt x="11406" y="2708"/>
                      <a:pt x="12127" y="2564"/>
                    </a:cubicBezTo>
                    <a:lnTo>
                      <a:pt x="11684" y="0"/>
                    </a:lnTo>
                    <a:close/>
                    <a:moveTo>
                      <a:pt x="16703" y="751"/>
                    </a:moveTo>
                    <a:lnTo>
                      <a:pt x="16257" y="3312"/>
                    </a:lnTo>
                    <a:cubicBezTo>
                      <a:pt x="16979" y="3457"/>
                      <a:pt x="17682" y="3673"/>
                      <a:pt x="18361" y="3957"/>
                    </a:cubicBezTo>
                    <a:cubicBezTo>
                      <a:pt x="19039" y="4241"/>
                      <a:pt x="19694" y="4593"/>
                      <a:pt x="20320" y="5012"/>
                    </a:cubicBezTo>
                    <a:lnTo>
                      <a:pt x="21600" y="2798"/>
                    </a:lnTo>
                    <a:cubicBezTo>
                      <a:pt x="20845" y="2293"/>
                      <a:pt x="20056" y="1868"/>
                      <a:pt x="19238" y="1526"/>
                    </a:cubicBezTo>
                    <a:cubicBezTo>
                      <a:pt x="18420" y="1184"/>
                      <a:pt x="17573" y="925"/>
                      <a:pt x="16703" y="751"/>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3" name="Shape 16954"/>
              <p:cNvSpPr/>
              <p:nvPr/>
            </p:nvSpPr>
            <p:spPr>
              <a:xfrm>
                <a:off x="2692731" y="3341742"/>
                <a:ext cx="2157269" cy="2156745"/>
              </a:xfrm>
              <a:custGeom>
                <a:avLst/>
                <a:gdLst/>
                <a:ahLst/>
                <a:cxnLst>
                  <a:cxn ang="0">
                    <a:pos x="wd2" y="hd2"/>
                  </a:cxn>
                  <a:cxn ang="5400000">
                    <a:pos x="wd2" y="hd2"/>
                  </a:cxn>
                  <a:cxn ang="10800000">
                    <a:pos x="wd2" y="hd2"/>
                  </a:cxn>
                  <a:cxn ang="16200000">
                    <a:pos x="wd2" y="hd2"/>
                  </a:cxn>
                </a:cxnLst>
                <a:rect l="0" t="0" r="r" b="b"/>
                <a:pathLst>
                  <a:path w="21600" h="21600" extrusionOk="0">
                    <a:moveTo>
                      <a:pt x="18782" y="19722"/>
                    </a:moveTo>
                    <a:lnTo>
                      <a:pt x="19722" y="18782"/>
                    </a:lnTo>
                    <a:lnTo>
                      <a:pt x="21600" y="20661"/>
                    </a:lnTo>
                    <a:lnTo>
                      <a:pt x="20661" y="21600"/>
                    </a:lnTo>
                    <a:lnTo>
                      <a:pt x="18782" y="19722"/>
                    </a:lnTo>
                    <a:close/>
                    <a:moveTo>
                      <a:pt x="15026" y="15965"/>
                    </a:moveTo>
                    <a:lnTo>
                      <a:pt x="15965" y="15026"/>
                    </a:lnTo>
                    <a:lnTo>
                      <a:pt x="17843" y="16904"/>
                    </a:lnTo>
                    <a:lnTo>
                      <a:pt x="16904" y="17843"/>
                    </a:lnTo>
                    <a:lnTo>
                      <a:pt x="15026" y="15965"/>
                    </a:lnTo>
                    <a:close/>
                    <a:moveTo>
                      <a:pt x="11270" y="12209"/>
                    </a:moveTo>
                    <a:lnTo>
                      <a:pt x="12209" y="11270"/>
                    </a:lnTo>
                    <a:lnTo>
                      <a:pt x="14087" y="13148"/>
                    </a:lnTo>
                    <a:lnTo>
                      <a:pt x="13148" y="14087"/>
                    </a:lnTo>
                    <a:lnTo>
                      <a:pt x="11270" y="12209"/>
                    </a:lnTo>
                    <a:close/>
                    <a:moveTo>
                      <a:pt x="7513" y="8452"/>
                    </a:moveTo>
                    <a:lnTo>
                      <a:pt x="8452" y="7513"/>
                    </a:lnTo>
                    <a:lnTo>
                      <a:pt x="10330" y="9391"/>
                    </a:lnTo>
                    <a:lnTo>
                      <a:pt x="9391" y="10330"/>
                    </a:lnTo>
                    <a:lnTo>
                      <a:pt x="7513" y="8452"/>
                    </a:lnTo>
                    <a:close/>
                    <a:moveTo>
                      <a:pt x="3757" y="4696"/>
                    </a:moveTo>
                    <a:lnTo>
                      <a:pt x="4696" y="3757"/>
                    </a:lnTo>
                    <a:lnTo>
                      <a:pt x="6574" y="5635"/>
                    </a:lnTo>
                    <a:lnTo>
                      <a:pt x="5635" y="6574"/>
                    </a:lnTo>
                    <a:lnTo>
                      <a:pt x="3757" y="4696"/>
                    </a:lnTo>
                    <a:close/>
                    <a:moveTo>
                      <a:pt x="0" y="939"/>
                    </a:moveTo>
                    <a:lnTo>
                      <a:pt x="939" y="0"/>
                    </a:lnTo>
                    <a:lnTo>
                      <a:pt x="2818" y="1878"/>
                    </a:lnTo>
                    <a:lnTo>
                      <a:pt x="1878" y="2818"/>
                    </a:lnTo>
                    <a:lnTo>
                      <a:pt x="0" y="939"/>
                    </a:ln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4" name="Shape 16955"/>
              <p:cNvSpPr/>
              <p:nvPr/>
            </p:nvSpPr>
            <p:spPr>
              <a:xfrm>
                <a:off x="4957974" y="5563270"/>
                <a:ext cx="810904" cy="229442"/>
              </a:xfrm>
              <a:custGeom>
                <a:avLst/>
                <a:gdLst/>
                <a:ahLst/>
                <a:cxnLst>
                  <a:cxn ang="0">
                    <a:pos x="wd2" y="hd2"/>
                  </a:cxn>
                  <a:cxn ang="5400000">
                    <a:pos x="wd2" y="hd2"/>
                  </a:cxn>
                  <a:cxn ang="10800000">
                    <a:pos x="wd2" y="hd2"/>
                  </a:cxn>
                  <a:cxn ang="16200000">
                    <a:pos x="wd2" y="hd2"/>
                  </a:cxn>
                </a:cxnLst>
                <a:rect l="0" t="0" r="r" b="b"/>
                <a:pathLst>
                  <a:path w="21600" h="21600" extrusionOk="0">
                    <a:moveTo>
                      <a:pt x="14673" y="21600"/>
                    </a:moveTo>
                    <a:cubicBezTo>
                      <a:pt x="15921" y="20459"/>
                      <a:pt x="17128" y="18923"/>
                      <a:pt x="18285" y="17003"/>
                    </a:cubicBezTo>
                    <a:cubicBezTo>
                      <a:pt x="19442" y="15083"/>
                      <a:pt x="20550" y="12779"/>
                      <a:pt x="21600" y="10104"/>
                    </a:cubicBezTo>
                    <a:lnTo>
                      <a:pt x="19532" y="0"/>
                    </a:lnTo>
                    <a:cubicBezTo>
                      <a:pt x="18662" y="2214"/>
                      <a:pt x="17743" y="4124"/>
                      <a:pt x="16783" y="5715"/>
                    </a:cubicBezTo>
                    <a:cubicBezTo>
                      <a:pt x="15820" y="7311"/>
                      <a:pt x="14822" y="8582"/>
                      <a:pt x="13787" y="9529"/>
                    </a:cubicBezTo>
                    <a:lnTo>
                      <a:pt x="14673" y="21600"/>
                    </a:lnTo>
                    <a:close/>
                    <a:moveTo>
                      <a:pt x="7310" y="19815"/>
                    </a:moveTo>
                    <a:lnTo>
                      <a:pt x="7715" y="7436"/>
                    </a:lnTo>
                    <a:cubicBezTo>
                      <a:pt x="6652" y="7002"/>
                      <a:pt x="5610" y="6226"/>
                      <a:pt x="4597" y="5114"/>
                    </a:cubicBezTo>
                    <a:cubicBezTo>
                      <a:pt x="3584" y="4002"/>
                      <a:pt x="2600" y="2556"/>
                      <a:pt x="1650" y="782"/>
                    </a:cubicBezTo>
                    <a:lnTo>
                      <a:pt x="0" y="11801"/>
                    </a:lnTo>
                    <a:cubicBezTo>
                      <a:pt x="1145" y="13940"/>
                      <a:pt x="2332" y="15683"/>
                      <a:pt x="3552" y="17021"/>
                    </a:cubicBezTo>
                    <a:cubicBezTo>
                      <a:pt x="4773" y="18360"/>
                      <a:pt x="6028" y="19294"/>
                      <a:pt x="7310" y="19815"/>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5" name="Shape 16956"/>
              <p:cNvSpPr/>
              <p:nvPr/>
            </p:nvSpPr>
            <p:spPr>
              <a:xfrm>
                <a:off x="5881258" y="2621026"/>
                <a:ext cx="2906475" cy="2907154"/>
              </a:xfrm>
              <a:custGeom>
                <a:avLst/>
                <a:gdLst/>
                <a:ahLst/>
                <a:cxnLst>
                  <a:cxn ang="0">
                    <a:pos x="wd2" y="hd2"/>
                  </a:cxn>
                  <a:cxn ang="5400000">
                    <a:pos x="wd2" y="hd2"/>
                  </a:cxn>
                  <a:cxn ang="10800000">
                    <a:pos x="wd2" y="hd2"/>
                  </a:cxn>
                  <a:cxn ang="16200000">
                    <a:pos x="wd2" y="hd2"/>
                  </a:cxn>
                </a:cxnLst>
                <a:rect l="0" t="0" r="r" b="b"/>
                <a:pathLst>
                  <a:path w="21600" h="21600" extrusionOk="0">
                    <a:moveTo>
                      <a:pt x="2090" y="20206"/>
                    </a:moveTo>
                    <a:lnTo>
                      <a:pt x="1394" y="19510"/>
                    </a:lnTo>
                    <a:lnTo>
                      <a:pt x="0" y="20903"/>
                    </a:lnTo>
                    <a:lnTo>
                      <a:pt x="697" y="21600"/>
                    </a:lnTo>
                    <a:cubicBezTo>
                      <a:pt x="697" y="21600"/>
                      <a:pt x="2090" y="20206"/>
                      <a:pt x="2090" y="20206"/>
                    </a:cubicBezTo>
                    <a:close/>
                    <a:moveTo>
                      <a:pt x="4877" y="17419"/>
                    </a:moveTo>
                    <a:lnTo>
                      <a:pt x="4181" y="16723"/>
                    </a:lnTo>
                    <a:lnTo>
                      <a:pt x="2787" y="18116"/>
                    </a:lnTo>
                    <a:lnTo>
                      <a:pt x="3484" y="18813"/>
                    </a:lnTo>
                    <a:cubicBezTo>
                      <a:pt x="3484" y="18813"/>
                      <a:pt x="4877" y="17419"/>
                      <a:pt x="4877" y="17419"/>
                    </a:cubicBezTo>
                    <a:close/>
                    <a:moveTo>
                      <a:pt x="7665" y="14632"/>
                    </a:moveTo>
                    <a:lnTo>
                      <a:pt x="6968" y="13935"/>
                    </a:lnTo>
                    <a:lnTo>
                      <a:pt x="5574" y="15329"/>
                    </a:lnTo>
                    <a:lnTo>
                      <a:pt x="6271" y="16026"/>
                    </a:lnTo>
                    <a:cubicBezTo>
                      <a:pt x="6271" y="16026"/>
                      <a:pt x="7665" y="14632"/>
                      <a:pt x="7665" y="14632"/>
                    </a:cubicBezTo>
                    <a:close/>
                    <a:moveTo>
                      <a:pt x="10452" y="11845"/>
                    </a:moveTo>
                    <a:lnTo>
                      <a:pt x="9755" y="11148"/>
                    </a:lnTo>
                    <a:lnTo>
                      <a:pt x="8361" y="12542"/>
                    </a:lnTo>
                    <a:lnTo>
                      <a:pt x="9058" y="13239"/>
                    </a:lnTo>
                    <a:cubicBezTo>
                      <a:pt x="9058" y="13239"/>
                      <a:pt x="10452" y="11845"/>
                      <a:pt x="10452" y="11845"/>
                    </a:cubicBezTo>
                    <a:close/>
                    <a:moveTo>
                      <a:pt x="13239" y="9058"/>
                    </a:moveTo>
                    <a:lnTo>
                      <a:pt x="12542" y="8361"/>
                    </a:lnTo>
                    <a:lnTo>
                      <a:pt x="11148" y="9755"/>
                    </a:lnTo>
                    <a:lnTo>
                      <a:pt x="11845" y="10452"/>
                    </a:lnTo>
                    <a:cubicBezTo>
                      <a:pt x="11845" y="10452"/>
                      <a:pt x="13239" y="9058"/>
                      <a:pt x="13239" y="9058"/>
                    </a:cubicBezTo>
                    <a:close/>
                    <a:moveTo>
                      <a:pt x="16026" y="6271"/>
                    </a:moveTo>
                    <a:lnTo>
                      <a:pt x="15329" y="5574"/>
                    </a:lnTo>
                    <a:lnTo>
                      <a:pt x="13935" y="6968"/>
                    </a:lnTo>
                    <a:lnTo>
                      <a:pt x="14632" y="7665"/>
                    </a:lnTo>
                    <a:cubicBezTo>
                      <a:pt x="14632" y="7665"/>
                      <a:pt x="16026" y="6271"/>
                      <a:pt x="16026" y="6271"/>
                    </a:cubicBezTo>
                    <a:close/>
                    <a:moveTo>
                      <a:pt x="18813" y="3484"/>
                    </a:moveTo>
                    <a:lnTo>
                      <a:pt x="18116" y="2787"/>
                    </a:lnTo>
                    <a:lnTo>
                      <a:pt x="16722" y="4181"/>
                    </a:lnTo>
                    <a:lnTo>
                      <a:pt x="17419" y="4878"/>
                    </a:lnTo>
                    <a:cubicBezTo>
                      <a:pt x="17419" y="4878"/>
                      <a:pt x="18813" y="3484"/>
                      <a:pt x="18813" y="3484"/>
                    </a:cubicBezTo>
                    <a:close/>
                    <a:moveTo>
                      <a:pt x="21600" y="697"/>
                    </a:moveTo>
                    <a:lnTo>
                      <a:pt x="20903" y="0"/>
                    </a:lnTo>
                    <a:lnTo>
                      <a:pt x="19510" y="1394"/>
                    </a:lnTo>
                    <a:lnTo>
                      <a:pt x="20206" y="2090"/>
                    </a:lnTo>
                    <a:cubicBezTo>
                      <a:pt x="20206" y="2090"/>
                      <a:pt x="21600" y="697"/>
                      <a:pt x="21600" y="697"/>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6" name="Shape 16957"/>
              <p:cNvSpPr/>
              <p:nvPr/>
            </p:nvSpPr>
            <p:spPr>
              <a:xfrm>
                <a:off x="8878078" y="0"/>
                <a:ext cx="2531873" cy="2531950"/>
              </a:xfrm>
              <a:custGeom>
                <a:avLst/>
                <a:gdLst/>
                <a:ahLst/>
                <a:cxnLst>
                  <a:cxn ang="0">
                    <a:pos x="wd2" y="hd2"/>
                  </a:cxn>
                  <a:cxn ang="5400000">
                    <a:pos x="wd2" y="hd2"/>
                  </a:cxn>
                  <a:cxn ang="10800000">
                    <a:pos x="wd2" y="hd2"/>
                  </a:cxn>
                  <a:cxn ang="16200000">
                    <a:pos x="wd2" y="hd2"/>
                  </a:cxn>
                </a:cxnLst>
                <a:rect l="0" t="0" r="r" b="b"/>
                <a:pathLst>
                  <a:path w="21600" h="21600" extrusionOk="0">
                    <a:moveTo>
                      <a:pt x="2400" y="20000"/>
                    </a:moveTo>
                    <a:lnTo>
                      <a:pt x="1600" y="19200"/>
                    </a:lnTo>
                    <a:lnTo>
                      <a:pt x="0" y="20800"/>
                    </a:lnTo>
                    <a:lnTo>
                      <a:pt x="800" y="21600"/>
                    </a:lnTo>
                    <a:lnTo>
                      <a:pt x="2400" y="20000"/>
                    </a:lnTo>
                    <a:close/>
                    <a:moveTo>
                      <a:pt x="5600" y="16800"/>
                    </a:moveTo>
                    <a:lnTo>
                      <a:pt x="4800" y="16000"/>
                    </a:lnTo>
                    <a:lnTo>
                      <a:pt x="3200" y="17600"/>
                    </a:lnTo>
                    <a:lnTo>
                      <a:pt x="4000" y="18400"/>
                    </a:lnTo>
                    <a:lnTo>
                      <a:pt x="5600" y="16800"/>
                    </a:lnTo>
                    <a:close/>
                    <a:moveTo>
                      <a:pt x="8800" y="13600"/>
                    </a:moveTo>
                    <a:lnTo>
                      <a:pt x="8000" y="12800"/>
                    </a:lnTo>
                    <a:lnTo>
                      <a:pt x="6400" y="14400"/>
                    </a:lnTo>
                    <a:lnTo>
                      <a:pt x="7200" y="15200"/>
                    </a:lnTo>
                    <a:lnTo>
                      <a:pt x="8800" y="13600"/>
                    </a:lnTo>
                    <a:close/>
                    <a:moveTo>
                      <a:pt x="12000" y="10400"/>
                    </a:moveTo>
                    <a:lnTo>
                      <a:pt x="11200" y="9600"/>
                    </a:lnTo>
                    <a:lnTo>
                      <a:pt x="9600" y="11200"/>
                    </a:lnTo>
                    <a:lnTo>
                      <a:pt x="10400" y="12000"/>
                    </a:lnTo>
                    <a:lnTo>
                      <a:pt x="12000" y="10400"/>
                    </a:lnTo>
                    <a:close/>
                    <a:moveTo>
                      <a:pt x="15200" y="7200"/>
                    </a:moveTo>
                    <a:lnTo>
                      <a:pt x="14400" y="6400"/>
                    </a:lnTo>
                    <a:lnTo>
                      <a:pt x="12800" y="8000"/>
                    </a:lnTo>
                    <a:lnTo>
                      <a:pt x="13600" y="8800"/>
                    </a:lnTo>
                    <a:lnTo>
                      <a:pt x="15200" y="7200"/>
                    </a:lnTo>
                    <a:close/>
                    <a:moveTo>
                      <a:pt x="18400" y="4000"/>
                    </a:moveTo>
                    <a:lnTo>
                      <a:pt x="17600" y="3200"/>
                    </a:lnTo>
                    <a:lnTo>
                      <a:pt x="16000" y="4800"/>
                    </a:lnTo>
                    <a:lnTo>
                      <a:pt x="16800" y="5600"/>
                    </a:lnTo>
                    <a:lnTo>
                      <a:pt x="18400" y="4000"/>
                    </a:lnTo>
                    <a:close/>
                    <a:moveTo>
                      <a:pt x="21600" y="800"/>
                    </a:moveTo>
                    <a:lnTo>
                      <a:pt x="20800" y="0"/>
                    </a:lnTo>
                    <a:lnTo>
                      <a:pt x="19200" y="1600"/>
                    </a:lnTo>
                    <a:lnTo>
                      <a:pt x="20000" y="2400"/>
                    </a:lnTo>
                    <a:lnTo>
                      <a:pt x="21600" y="800"/>
                    </a:lnTo>
                    <a:close/>
                  </a:path>
                </a:pathLst>
              </a:custGeom>
              <a:solidFill>
                <a:srgbClr val="FFFFFF"/>
              </a:solidFill>
              <a:ln w="12700" cap="flat">
                <a:noFill/>
                <a:miter lim="400000"/>
              </a:ln>
              <a:effectLst/>
            </p:spPr>
            <p:txBody>
              <a:bodyPr lIns="0" tIns="0" rIns="0" bIns="0" anchor="ctr"/>
              <a:lstStyle/>
              <a:p>
                <a:pPr>
                  <a:defRPr sz="3000"/>
                </a:pPr>
                <a:endParaRPr sz="2250"/>
              </a:p>
            </p:txBody>
          </p:sp>
        </p:grpSp>
        <p:grpSp>
          <p:nvGrpSpPr>
            <p:cNvPr id="66" name="Group 65"/>
            <p:cNvGrpSpPr>
              <a:grpSpLocks/>
            </p:cNvGrpSpPr>
            <p:nvPr/>
          </p:nvGrpSpPr>
          <p:grpSpPr bwMode="auto">
            <a:xfrm>
              <a:off x="8585201" y="290514"/>
              <a:ext cx="989013" cy="655637"/>
              <a:chOff x="9415282" y="323276"/>
              <a:chExt cx="1317626" cy="876177"/>
            </a:xfrm>
          </p:grpSpPr>
          <p:sp>
            <p:nvSpPr>
              <p:cNvPr id="24" name="Shape 16960"/>
              <p:cNvSpPr/>
              <p:nvPr/>
            </p:nvSpPr>
            <p:spPr>
              <a:xfrm flipH="1">
                <a:off x="9988439" y="582098"/>
                <a:ext cx="93059" cy="617355"/>
              </a:xfrm>
              <a:prstGeom prst="rect">
                <a:avLst/>
              </a:prstGeom>
              <a:solidFill>
                <a:schemeClr val="accent5">
                  <a:lumMod val="75000"/>
                </a:schemeClr>
              </a:solidFill>
              <a:ln w="12700" cap="flat">
                <a:noFill/>
                <a:miter lim="400000"/>
              </a:ln>
              <a:effectLst/>
            </p:spPr>
            <p:txBody>
              <a:bodyPr lIns="0" tIns="0" rIns="0" bIns="0" anchor="ctr"/>
              <a:lstStyle/>
              <a:p>
                <a:pPr>
                  <a:defRPr/>
                </a:pPr>
                <a:endParaRPr sz="1350"/>
              </a:p>
            </p:txBody>
          </p:sp>
          <p:sp>
            <p:nvSpPr>
              <p:cNvPr id="25" name="Shape 16961"/>
              <p:cNvSpPr/>
              <p:nvPr/>
            </p:nvSpPr>
            <p:spPr>
              <a:xfrm>
                <a:off x="9415282" y="323276"/>
                <a:ext cx="1317626" cy="458243"/>
              </a:xfrm>
              <a:custGeom>
                <a:avLst/>
                <a:gdLst/>
                <a:ahLst/>
                <a:cxnLst>
                  <a:cxn ang="0">
                    <a:pos x="wd2" y="hd2"/>
                  </a:cxn>
                  <a:cxn ang="5400000">
                    <a:pos x="wd2" y="hd2"/>
                  </a:cxn>
                  <a:cxn ang="10800000">
                    <a:pos x="wd2" y="hd2"/>
                  </a:cxn>
                  <a:cxn ang="16200000">
                    <a:pos x="wd2" y="hd2"/>
                  </a:cxn>
                </a:cxnLst>
                <a:rect l="0" t="0" r="r" b="b"/>
                <a:pathLst>
                  <a:path w="21600" h="21600" extrusionOk="0">
                    <a:moveTo>
                      <a:pt x="18026" y="21600"/>
                    </a:moveTo>
                    <a:lnTo>
                      <a:pt x="21600" y="10800"/>
                    </a:lnTo>
                    <a:lnTo>
                      <a:pt x="18026" y="0"/>
                    </a:lnTo>
                    <a:lnTo>
                      <a:pt x="0" y="0"/>
                    </a:lnTo>
                    <a:lnTo>
                      <a:pt x="0" y="21600"/>
                    </a:lnTo>
                    <a:lnTo>
                      <a:pt x="18026" y="21600"/>
                    </a:lnTo>
                    <a:close/>
                  </a:path>
                </a:pathLst>
              </a:custGeom>
              <a:solidFill>
                <a:schemeClr val="accent5"/>
              </a:solidFill>
              <a:ln w="12700" cap="flat">
                <a:noFill/>
                <a:miter lim="400000"/>
              </a:ln>
              <a:effectLst/>
              <a:extLst>
                <a:ext uri="{C572A759-6A51-4108-AA02-DFA0A04FC94B}"/>
              </a:extLst>
            </p:spPr>
            <p:txBody>
              <a:bodyPr lIns="0" tIns="0" rIns="0" bIns="0" anchor="ctr"/>
              <a:lstStyle>
                <a:lvl1pPr>
                  <a:defRPr sz="2500" cap="all">
                    <a:solidFill>
                      <a:srgbClr val="FFFFFF"/>
                    </a:solidFill>
                    <a:latin typeface="Helvetica Neue Light"/>
                    <a:ea typeface="Helvetica Neue Light"/>
                    <a:cs typeface="Helvetica Neue Light"/>
                    <a:sym typeface="Helvetica Neue Light"/>
                  </a:defRPr>
                </a:lvl1pPr>
              </a:lstStyle>
              <a:p>
                <a:pPr>
                  <a:defRPr/>
                </a:pPr>
                <a:endParaRPr sz="1875" dirty="0"/>
              </a:p>
            </p:txBody>
          </p:sp>
        </p:grpSp>
        <p:grpSp>
          <p:nvGrpSpPr>
            <p:cNvPr id="68" name="Group 67"/>
            <p:cNvGrpSpPr>
              <a:grpSpLocks/>
            </p:cNvGrpSpPr>
            <p:nvPr/>
          </p:nvGrpSpPr>
          <p:grpSpPr bwMode="auto">
            <a:xfrm>
              <a:off x="3740150" y="849314"/>
              <a:ext cx="444500" cy="795337"/>
              <a:chOff x="2954692" y="1068565"/>
              <a:chExt cx="593149" cy="1061083"/>
            </a:xfrm>
          </p:grpSpPr>
          <p:sp>
            <p:nvSpPr>
              <p:cNvPr id="22" name="Shape 16963"/>
              <p:cNvSpPr/>
              <p:nvPr/>
            </p:nvSpPr>
            <p:spPr>
              <a:xfrm>
                <a:off x="3213135" y="1621344"/>
                <a:ext cx="76262" cy="508304"/>
              </a:xfrm>
              <a:prstGeom prst="rect">
                <a:avLst/>
              </a:prstGeom>
              <a:solidFill>
                <a:schemeClr val="accent3">
                  <a:lumMod val="75000"/>
                </a:schemeClr>
              </a:solidFill>
              <a:ln w="12700" cap="flat">
                <a:noFill/>
                <a:miter lim="400000"/>
              </a:ln>
              <a:effectLst/>
            </p:spPr>
            <p:txBody>
              <a:bodyPr lIns="0" tIns="0" rIns="0" bIns="0" anchor="ctr"/>
              <a:lstStyle/>
              <a:p>
                <a:pPr>
                  <a:defRPr/>
                </a:pPr>
                <a:endParaRPr sz="1350"/>
              </a:p>
            </p:txBody>
          </p:sp>
          <p:sp>
            <p:nvSpPr>
              <p:cNvPr id="23" name="Shape 16964"/>
              <p:cNvSpPr/>
              <p:nvPr/>
            </p:nvSpPr>
            <p:spPr>
              <a:xfrm>
                <a:off x="2954692" y="1068565"/>
                <a:ext cx="593149" cy="593021"/>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chemeClr val="accent3"/>
              </a:solidFill>
              <a:ln w="12700" cap="flat">
                <a:noFill/>
                <a:miter lim="400000"/>
              </a:ln>
              <a:effectLst/>
              <a:extLst>
                <a:ext uri="{C572A759-6A51-4108-AA02-DFA0A04FC94B}"/>
              </a:extLst>
            </p:spPr>
            <p:txBody>
              <a:bodyPr lIns="0" tIns="0" rIns="0" bIns="0" anchor="ctr"/>
              <a:lstStyle>
                <a:lvl1pPr>
                  <a:defRPr sz="2500" cap="all">
                    <a:solidFill>
                      <a:srgbClr val="FFFFFF"/>
                    </a:solidFill>
                    <a:latin typeface="Helvetica Neue Light"/>
                    <a:ea typeface="Helvetica Neue Light"/>
                    <a:cs typeface="Helvetica Neue Light"/>
                    <a:sym typeface="Helvetica Neue Light"/>
                  </a:defRPr>
                </a:lvl1pPr>
              </a:lstStyle>
              <a:p>
                <a:pPr>
                  <a:defRPr/>
                </a:pPr>
                <a:endParaRPr sz="1875" dirty="0"/>
              </a:p>
            </p:txBody>
          </p:sp>
        </p:grpSp>
        <p:grpSp>
          <p:nvGrpSpPr>
            <p:cNvPr id="69" name="Group 68"/>
            <p:cNvGrpSpPr>
              <a:grpSpLocks/>
            </p:cNvGrpSpPr>
            <p:nvPr/>
          </p:nvGrpSpPr>
          <p:grpSpPr bwMode="auto">
            <a:xfrm>
              <a:off x="2794000" y="3781425"/>
              <a:ext cx="444500" cy="795338"/>
              <a:chOff x="1692478" y="4968268"/>
              <a:chExt cx="593149" cy="1061083"/>
            </a:xfrm>
          </p:grpSpPr>
          <p:sp>
            <p:nvSpPr>
              <p:cNvPr id="48" name="Shape 16963"/>
              <p:cNvSpPr/>
              <p:nvPr/>
            </p:nvSpPr>
            <p:spPr>
              <a:xfrm>
                <a:off x="1950921" y="5521048"/>
                <a:ext cx="76262" cy="508303"/>
              </a:xfrm>
              <a:prstGeom prst="rect">
                <a:avLst/>
              </a:prstGeom>
              <a:solidFill>
                <a:schemeClr val="accent2">
                  <a:lumMod val="75000"/>
                </a:schemeClr>
              </a:solidFill>
              <a:ln w="12700" cap="flat">
                <a:noFill/>
                <a:miter lim="400000"/>
              </a:ln>
              <a:effectLst/>
            </p:spPr>
            <p:txBody>
              <a:bodyPr lIns="0" tIns="0" rIns="0" bIns="0" anchor="ctr"/>
              <a:lstStyle/>
              <a:p>
                <a:pPr>
                  <a:defRPr/>
                </a:pPr>
                <a:endParaRPr sz="1350"/>
              </a:p>
            </p:txBody>
          </p:sp>
          <p:sp>
            <p:nvSpPr>
              <p:cNvPr id="49" name="Shape 16964"/>
              <p:cNvSpPr/>
              <p:nvPr/>
            </p:nvSpPr>
            <p:spPr>
              <a:xfrm>
                <a:off x="1692478" y="4968268"/>
                <a:ext cx="593149" cy="59302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chemeClr val="accent2"/>
              </a:solidFill>
              <a:ln w="12700" cap="flat">
                <a:noFill/>
                <a:miter lim="400000"/>
              </a:ln>
              <a:effectLst/>
              <a:extLst>
                <a:ext uri="{C572A759-6A51-4108-AA02-DFA0A04FC94B}"/>
              </a:extLst>
            </p:spPr>
            <p:txBody>
              <a:bodyPr lIns="0" tIns="0" rIns="0" bIns="0" anchor="ctr"/>
              <a:lstStyle>
                <a:lvl1pPr>
                  <a:defRPr sz="2500" cap="all">
                    <a:solidFill>
                      <a:srgbClr val="FFFFFF"/>
                    </a:solidFill>
                    <a:latin typeface="Helvetica Neue Light"/>
                    <a:ea typeface="Helvetica Neue Light"/>
                    <a:cs typeface="Helvetica Neue Light"/>
                    <a:sym typeface="Helvetica Neue Light"/>
                  </a:defRPr>
                </a:lvl1pPr>
              </a:lstStyle>
              <a:p>
                <a:pPr>
                  <a:defRPr/>
                </a:pPr>
                <a:endParaRPr sz="1875" dirty="0"/>
              </a:p>
            </p:txBody>
          </p:sp>
        </p:grpSp>
        <p:grpSp>
          <p:nvGrpSpPr>
            <p:cNvPr id="67" name="Group 66"/>
            <p:cNvGrpSpPr>
              <a:grpSpLocks/>
            </p:cNvGrpSpPr>
            <p:nvPr/>
          </p:nvGrpSpPr>
          <p:grpSpPr bwMode="auto">
            <a:xfrm>
              <a:off x="6146800" y="2400300"/>
              <a:ext cx="444500" cy="795338"/>
              <a:chOff x="6162814" y="3137073"/>
              <a:chExt cx="593149" cy="1061083"/>
            </a:xfrm>
          </p:grpSpPr>
          <p:sp>
            <p:nvSpPr>
              <p:cNvPr id="51" name="Shape 16963"/>
              <p:cNvSpPr/>
              <p:nvPr/>
            </p:nvSpPr>
            <p:spPr>
              <a:xfrm>
                <a:off x="6421257" y="3689853"/>
                <a:ext cx="76262" cy="508303"/>
              </a:xfrm>
              <a:prstGeom prst="rect">
                <a:avLst/>
              </a:prstGeom>
              <a:solidFill>
                <a:schemeClr val="accent4">
                  <a:lumMod val="75000"/>
                </a:schemeClr>
              </a:solidFill>
              <a:ln w="12700" cap="flat">
                <a:noFill/>
                <a:miter lim="400000"/>
              </a:ln>
              <a:effectLst/>
            </p:spPr>
            <p:txBody>
              <a:bodyPr lIns="0" tIns="0" rIns="0" bIns="0" anchor="ctr"/>
              <a:lstStyle/>
              <a:p>
                <a:pPr>
                  <a:defRPr/>
                </a:pPr>
                <a:endParaRPr sz="1350"/>
              </a:p>
            </p:txBody>
          </p:sp>
          <p:sp>
            <p:nvSpPr>
              <p:cNvPr id="52" name="Shape 16964"/>
              <p:cNvSpPr/>
              <p:nvPr/>
            </p:nvSpPr>
            <p:spPr>
              <a:xfrm>
                <a:off x="6162814" y="3137073"/>
                <a:ext cx="593149" cy="59302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chemeClr val="accent4"/>
              </a:solidFill>
              <a:ln w="12700" cap="flat">
                <a:noFill/>
                <a:miter lim="400000"/>
              </a:ln>
              <a:effectLst/>
              <a:extLst>
                <a:ext uri="{C572A759-6A51-4108-AA02-DFA0A04FC94B}"/>
              </a:extLst>
            </p:spPr>
            <p:txBody>
              <a:bodyPr lIns="0" tIns="0" rIns="0" bIns="0" anchor="ctr"/>
              <a:lstStyle>
                <a:lvl1pPr>
                  <a:defRPr sz="2500" cap="all">
                    <a:solidFill>
                      <a:srgbClr val="FFFFFF"/>
                    </a:solidFill>
                    <a:latin typeface="Helvetica Neue Light"/>
                    <a:ea typeface="Helvetica Neue Light"/>
                    <a:cs typeface="Helvetica Neue Light"/>
                    <a:sym typeface="Helvetica Neue Light"/>
                  </a:defRPr>
                </a:lvl1pPr>
              </a:lstStyle>
              <a:p>
                <a:pPr>
                  <a:defRPr/>
                </a:pPr>
                <a:endParaRPr sz="1875" dirty="0"/>
              </a:p>
            </p:txBody>
          </p:sp>
        </p:grpSp>
        <p:sp>
          <p:nvSpPr>
            <p:cNvPr id="56" name="TextBox 55"/>
            <p:cNvSpPr txBox="1"/>
            <p:nvPr/>
          </p:nvSpPr>
          <p:spPr>
            <a:xfrm>
              <a:off x="3838576" y="3932239"/>
              <a:ext cx="918265" cy="276999"/>
            </a:xfrm>
            <a:prstGeom prst="rect">
              <a:avLst/>
            </a:prstGeom>
            <a:noFill/>
          </p:spPr>
          <p:txBody>
            <a:bodyPr wrap="square">
              <a:spAutoFit/>
            </a:bodyPr>
            <a:lstStyle/>
            <a:p>
              <a:pPr>
                <a:defRPr/>
              </a:pPr>
              <a:r>
                <a:rPr lang="id-ID" sz="1200" b="1" dirty="0">
                  <a:latin typeface="+mj-lt"/>
                </a:rPr>
                <a:t>Description</a:t>
              </a:r>
            </a:p>
          </p:txBody>
        </p:sp>
        <p:sp>
          <p:nvSpPr>
            <p:cNvPr id="57" name="Rectangle 56"/>
            <p:cNvSpPr/>
            <p:nvPr/>
          </p:nvSpPr>
          <p:spPr>
            <a:xfrm>
              <a:off x="3838575" y="4171951"/>
              <a:ext cx="1792288" cy="577081"/>
            </a:xfrm>
            <a:prstGeom prst="rect">
              <a:avLst/>
            </a:prstGeom>
          </p:spPr>
          <p:txBody>
            <a:bodyPr wrap="square">
              <a:spAutoFit/>
            </a:bodyPr>
            <a:lstStyle/>
            <a:p>
              <a:pPr>
                <a:defRPr/>
              </a:pPr>
              <a:r>
                <a:rPr lang="id-ID" sz="1050" dirty="0"/>
                <a:t>Suitable for all categories business and</a:t>
              </a:r>
              <a:r>
                <a:rPr lang="en-US" sz="1050" dirty="0"/>
                <a:t> your awesome</a:t>
              </a:r>
              <a:r>
                <a:rPr lang="id-ID" sz="1050" dirty="0"/>
                <a:t> personal presentation</a:t>
              </a:r>
            </a:p>
          </p:txBody>
        </p:sp>
        <p:sp>
          <p:nvSpPr>
            <p:cNvPr id="58" name="TextBox 57"/>
            <p:cNvSpPr txBox="1"/>
            <p:nvPr/>
          </p:nvSpPr>
          <p:spPr>
            <a:xfrm>
              <a:off x="4318001" y="723901"/>
              <a:ext cx="918265" cy="276999"/>
            </a:xfrm>
            <a:prstGeom prst="rect">
              <a:avLst/>
            </a:prstGeom>
            <a:noFill/>
          </p:spPr>
          <p:txBody>
            <a:bodyPr wrap="square">
              <a:spAutoFit/>
            </a:bodyPr>
            <a:lstStyle/>
            <a:p>
              <a:pPr>
                <a:defRPr/>
              </a:pPr>
              <a:r>
                <a:rPr lang="id-ID" sz="1200" b="1" dirty="0">
                  <a:latin typeface="+mj-lt"/>
                </a:rPr>
                <a:t>Description</a:t>
              </a:r>
            </a:p>
          </p:txBody>
        </p:sp>
        <p:sp>
          <p:nvSpPr>
            <p:cNvPr id="59" name="Rectangle 58"/>
            <p:cNvSpPr/>
            <p:nvPr/>
          </p:nvSpPr>
          <p:spPr>
            <a:xfrm>
              <a:off x="4318000" y="962026"/>
              <a:ext cx="1792288" cy="577081"/>
            </a:xfrm>
            <a:prstGeom prst="rect">
              <a:avLst/>
            </a:prstGeom>
          </p:spPr>
          <p:txBody>
            <a:bodyPr wrap="square">
              <a:spAutoFit/>
            </a:bodyPr>
            <a:lstStyle/>
            <a:p>
              <a:pPr>
                <a:defRPr/>
              </a:pPr>
              <a:r>
                <a:rPr lang="id-ID" sz="1050" dirty="0"/>
                <a:t>Suitable for all categories business and</a:t>
              </a:r>
              <a:r>
                <a:rPr lang="en-US" sz="1050" dirty="0"/>
                <a:t> your awesome</a:t>
              </a:r>
              <a:r>
                <a:rPr lang="id-ID" sz="1050" dirty="0"/>
                <a:t> personal presentation</a:t>
              </a:r>
            </a:p>
          </p:txBody>
        </p:sp>
        <p:sp>
          <p:nvSpPr>
            <p:cNvPr id="62" name="TextBox 61"/>
            <p:cNvSpPr txBox="1"/>
            <p:nvPr/>
          </p:nvSpPr>
          <p:spPr>
            <a:xfrm>
              <a:off x="6691314" y="3508376"/>
              <a:ext cx="918265" cy="276999"/>
            </a:xfrm>
            <a:prstGeom prst="rect">
              <a:avLst/>
            </a:prstGeom>
            <a:noFill/>
          </p:spPr>
          <p:txBody>
            <a:bodyPr wrap="square">
              <a:spAutoFit/>
            </a:bodyPr>
            <a:lstStyle/>
            <a:p>
              <a:pPr>
                <a:defRPr/>
              </a:pPr>
              <a:r>
                <a:rPr lang="id-ID" sz="1200" b="1" dirty="0">
                  <a:latin typeface="+mj-lt"/>
                </a:rPr>
                <a:t>Description</a:t>
              </a:r>
            </a:p>
          </p:txBody>
        </p:sp>
        <p:sp>
          <p:nvSpPr>
            <p:cNvPr id="63" name="Rectangle 62"/>
            <p:cNvSpPr/>
            <p:nvPr/>
          </p:nvSpPr>
          <p:spPr>
            <a:xfrm>
              <a:off x="6691314" y="3748089"/>
              <a:ext cx="1792287" cy="577081"/>
            </a:xfrm>
            <a:prstGeom prst="rect">
              <a:avLst/>
            </a:prstGeom>
          </p:spPr>
          <p:txBody>
            <a:bodyPr wrap="square">
              <a:spAutoFit/>
            </a:bodyPr>
            <a:lstStyle/>
            <a:p>
              <a:pPr>
                <a:defRPr/>
              </a:pPr>
              <a:r>
                <a:rPr lang="id-ID" sz="1050" dirty="0"/>
                <a:t>Suitable for all categories business and</a:t>
              </a:r>
              <a:r>
                <a:rPr lang="en-US" sz="1050" dirty="0"/>
                <a:t> your awesome</a:t>
              </a:r>
              <a:r>
                <a:rPr lang="id-ID" sz="1050" dirty="0"/>
                <a:t> personal presentation</a:t>
              </a:r>
            </a:p>
          </p:txBody>
        </p:sp>
        <p:sp>
          <p:nvSpPr>
            <p:cNvPr id="64" name="TextBox 63"/>
            <p:cNvSpPr txBox="1"/>
            <p:nvPr/>
          </p:nvSpPr>
          <p:spPr>
            <a:xfrm>
              <a:off x="7549461" y="493714"/>
              <a:ext cx="918265" cy="276999"/>
            </a:xfrm>
            <a:prstGeom prst="rect">
              <a:avLst/>
            </a:prstGeom>
            <a:noFill/>
          </p:spPr>
          <p:txBody>
            <a:bodyPr wrap="square">
              <a:spAutoFit/>
            </a:bodyPr>
            <a:lstStyle/>
            <a:p>
              <a:pPr algn="r">
                <a:defRPr/>
              </a:pPr>
              <a:r>
                <a:rPr lang="id-ID" sz="1200" b="1" dirty="0">
                  <a:latin typeface="+mj-lt"/>
                </a:rPr>
                <a:t>Description</a:t>
              </a:r>
            </a:p>
          </p:txBody>
        </p:sp>
        <p:sp>
          <p:nvSpPr>
            <p:cNvPr id="65" name="Rectangle 64"/>
            <p:cNvSpPr/>
            <p:nvPr/>
          </p:nvSpPr>
          <p:spPr>
            <a:xfrm>
              <a:off x="6673851" y="731839"/>
              <a:ext cx="1793875" cy="577081"/>
            </a:xfrm>
            <a:prstGeom prst="rect">
              <a:avLst/>
            </a:prstGeom>
          </p:spPr>
          <p:txBody>
            <a:bodyPr wrap="square">
              <a:spAutoFit/>
            </a:bodyPr>
            <a:lstStyle/>
            <a:p>
              <a:pPr algn="r">
                <a:defRPr/>
              </a:pPr>
              <a:r>
                <a:rPr lang="id-ID" sz="1050" dirty="0"/>
                <a:t>Suitable for all categories business and</a:t>
              </a:r>
              <a:r>
                <a:rPr lang="en-US" sz="1050" dirty="0"/>
                <a:t> your awesome</a:t>
              </a:r>
              <a:r>
                <a:rPr lang="id-ID" sz="1050" dirty="0"/>
                <a:t> personal presentation</a:t>
              </a:r>
            </a:p>
          </p:txBody>
        </p:sp>
        <p:grpSp>
          <p:nvGrpSpPr>
            <p:cNvPr id="78" name="Group 77"/>
            <p:cNvGrpSpPr>
              <a:grpSpLocks/>
            </p:cNvGrpSpPr>
            <p:nvPr/>
          </p:nvGrpSpPr>
          <p:grpSpPr bwMode="auto">
            <a:xfrm>
              <a:off x="2478088" y="293688"/>
              <a:ext cx="823912" cy="639762"/>
              <a:chOff x="1272766" y="328614"/>
              <a:chExt cx="1098022" cy="852707"/>
            </a:xfrm>
          </p:grpSpPr>
          <p:sp>
            <p:nvSpPr>
              <p:cNvPr id="18" name="Shape 16969"/>
              <p:cNvSpPr/>
              <p:nvPr/>
            </p:nvSpPr>
            <p:spPr>
              <a:xfrm>
                <a:off x="1776291" y="762373"/>
                <a:ext cx="93089" cy="418948"/>
              </a:xfrm>
              <a:prstGeom prst="rect">
                <a:avLst/>
              </a:prstGeom>
              <a:solidFill>
                <a:schemeClr val="accent1">
                  <a:lumMod val="75000"/>
                </a:schemeClr>
              </a:solidFill>
              <a:ln w="12700" cap="flat">
                <a:noFill/>
                <a:miter lim="400000"/>
              </a:ln>
              <a:effectLst/>
            </p:spPr>
            <p:txBody>
              <a:bodyPr lIns="0" tIns="0" rIns="0" bIns="0" anchor="ctr"/>
              <a:lstStyle/>
              <a:p>
                <a:pPr>
                  <a:defRPr/>
                </a:pPr>
                <a:endParaRPr sz="1350"/>
              </a:p>
            </p:txBody>
          </p:sp>
          <p:sp>
            <p:nvSpPr>
              <p:cNvPr id="19" name="Shape 16970"/>
              <p:cNvSpPr/>
              <p:nvPr/>
            </p:nvSpPr>
            <p:spPr>
              <a:xfrm>
                <a:off x="1272766" y="328614"/>
                <a:ext cx="1098022" cy="459150"/>
              </a:xfrm>
              <a:prstGeom prst="rect">
                <a:avLst/>
              </a:prstGeom>
              <a:solidFill>
                <a:schemeClr val="accent1"/>
              </a:solidFill>
              <a:ln w="12700" cap="flat">
                <a:noFill/>
                <a:miter lim="400000"/>
              </a:ln>
              <a:effectLst/>
              <a:extLst>
                <a:ext uri="{C572A759-6A51-4108-AA02-DFA0A04FC94B}"/>
              </a:extLst>
            </p:spPr>
            <p:txBody>
              <a:bodyPr lIns="0" tIns="0" rIns="0" bIns="0" anchor="ctr"/>
              <a:lstStyle>
                <a:lvl1pPr>
                  <a:defRPr sz="2500" cap="all">
                    <a:solidFill>
                      <a:srgbClr val="FFFFFF"/>
                    </a:solidFill>
                    <a:latin typeface="Helvetica Neue Light"/>
                    <a:ea typeface="Helvetica Neue Light"/>
                    <a:cs typeface="Helvetica Neue Light"/>
                    <a:sym typeface="Helvetica Neue Light"/>
                  </a:defRPr>
                </a:lvl1pPr>
              </a:lstStyle>
              <a:p>
                <a:pPr>
                  <a:defRPr/>
                </a:pPr>
                <a:endParaRPr sz="1875" dirty="0"/>
              </a:p>
            </p:txBody>
          </p:sp>
        </p:grpSp>
        <p:sp>
          <p:nvSpPr>
            <p:cNvPr id="70" name="TextBox 69"/>
            <p:cNvSpPr txBox="1"/>
            <p:nvPr/>
          </p:nvSpPr>
          <p:spPr>
            <a:xfrm>
              <a:off x="2637417" y="331789"/>
              <a:ext cx="490967" cy="276999"/>
            </a:xfrm>
            <a:prstGeom prst="rect">
              <a:avLst/>
            </a:prstGeom>
            <a:noFill/>
          </p:spPr>
          <p:txBody>
            <a:bodyPr wrap="square">
              <a:spAutoFit/>
            </a:bodyPr>
            <a:lstStyle/>
            <a:p>
              <a:pPr algn="ctr">
                <a:defRPr/>
              </a:pPr>
              <a:r>
                <a:rPr lang="id-ID" sz="1200" b="1" dirty="0">
                  <a:solidFill>
                    <a:schemeClr val="bg2"/>
                  </a:solidFill>
                  <a:latin typeface="+mj-lt"/>
                </a:rPr>
                <a:t>Start</a:t>
              </a:r>
            </a:p>
          </p:txBody>
        </p:sp>
        <p:sp>
          <p:nvSpPr>
            <p:cNvPr id="71" name="TextBox 70"/>
            <p:cNvSpPr txBox="1"/>
            <p:nvPr/>
          </p:nvSpPr>
          <p:spPr>
            <a:xfrm>
              <a:off x="2844576" y="3876676"/>
              <a:ext cx="341760" cy="276999"/>
            </a:xfrm>
            <a:prstGeom prst="rect">
              <a:avLst/>
            </a:prstGeom>
            <a:noFill/>
          </p:spPr>
          <p:txBody>
            <a:bodyPr wrap="square">
              <a:spAutoFit/>
            </a:bodyPr>
            <a:lstStyle/>
            <a:p>
              <a:pPr algn="ctr">
                <a:defRPr/>
              </a:pPr>
              <a:r>
                <a:rPr lang="id-ID" sz="1200" b="1" dirty="0">
                  <a:solidFill>
                    <a:schemeClr val="bg2"/>
                  </a:solidFill>
                  <a:latin typeface="+mj-lt"/>
                </a:rPr>
                <a:t>01</a:t>
              </a:r>
            </a:p>
          </p:txBody>
        </p:sp>
        <p:sp>
          <p:nvSpPr>
            <p:cNvPr id="72" name="TextBox 71"/>
            <p:cNvSpPr txBox="1"/>
            <p:nvPr/>
          </p:nvSpPr>
          <p:spPr>
            <a:xfrm>
              <a:off x="3791520" y="944564"/>
              <a:ext cx="341760" cy="276999"/>
            </a:xfrm>
            <a:prstGeom prst="rect">
              <a:avLst/>
            </a:prstGeom>
            <a:noFill/>
          </p:spPr>
          <p:txBody>
            <a:bodyPr wrap="square">
              <a:spAutoFit/>
            </a:bodyPr>
            <a:lstStyle/>
            <a:p>
              <a:pPr algn="ctr">
                <a:defRPr/>
              </a:pPr>
              <a:r>
                <a:rPr lang="id-ID" sz="1200" b="1" dirty="0">
                  <a:solidFill>
                    <a:schemeClr val="bg2"/>
                  </a:solidFill>
                  <a:latin typeface="+mj-lt"/>
                </a:rPr>
                <a:t>02</a:t>
              </a:r>
            </a:p>
          </p:txBody>
        </p:sp>
        <p:sp>
          <p:nvSpPr>
            <p:cNvPr id="73" name="TextBox 72"/>
            <p:cNvSpPr txBox="1"/>
            <p:nvPr/>
          </p:nvSpPr>
          <p:spPr>
            <a:xfrm>
              <a:off x="6197376" y="2506664"/>
              <a:ext cx="341760" cy="276999"/>
            </a:xfrm>
            <a:prstGeom prst="rect">
              <a:avLst/>
            </a:prstGeom>
            <a:noFill/>
          </p:spPr>
          <p:txBody>
            <a:bodyPr wrap="square">
              <a:spAutoFit/>
            </a:bodyPr>
            <a:lstStyle/>
            <a:p>
              <a:pPr algn="ctr">
                <a:defRPr/>
              </a:pPr>
              <a:r>
                <a:rPr lang="id-ID" sz="1200" b="1" dirty="0">
                  <a:solidFill>
                    <a:schemeClr val="bg2"/>
                  </a:solidFill>
                  <a:latin typeface="+mj-lt"/>
                </a:rPr>
                <a:t>03</a:t>
              </a:r>
            </a:p>
          </p:txBody>
        </p:sp>
        <p:sp>
          <p:nvSpPr>
            <p:cNvPr id="74" name="TextBox 73"/>
            <p:cNvSpPr txBox="1"/>
            <p:nvPr/>
          </p:nvSpPr>
          <p:spPr>
            <a:xfrm>
              <a:off x="8799823" y="338139"/>
              <a:ext cx="559769" cy="276999"/>
            </a:xfrm>
            <a:prstGeom prst="rect">
              <a:avLst/>
            </a:prstGeom>
            <a:noFill/>
          </p:spPr>
          <p:txBody>
            <a:bodyPr wrap="square">
              <a:spAutoFit/>
            </a:bodyPr>
            <a:lstStyle/>
            <a:p>
              <a:pPr algn="ctr">
                <a:defRPr/>
              </a:pPr>
              <a:r>
                <a:rPr lang="id-ID" sz="1200" b="1" dirty="0">
                  <a:solidFill>
                    <a:schemeClr val="bg2"/>
                  </a:solidFill>
                  <a:latin typeface="+mj-lt"/>
                </a:rPr>
                <a:t>Finish</a:t>
              </a:r>
            </a:p>
          </p:txBody>
        </p:sp>
      </p:grpSp>
    </p:spTree>
    <p:custDataLst>
      <p:tags r:id="rId1"/>
    </p:custDataLst>
    <p:extLst>
      <p:ext uri="{BB962C8B-B14F-4D97-AF65-F5344CB8AC3E}">
        <p14:creationId xmlns:p14="http://schemas.microsoft.com/office/powerpoint/2010/main" val="4046201782"/>
      </p:ext>
    </p:extLst>
  </p:cSld>
  <p:clrMapOvr>
    <a:masterClrMapping/>
  </p:clrMapOvr>
  <p:transition>
    <p:fade/>
  </p:transition>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A5227-4993-4861-9C32-F3716EA8FFC5}"/>
              </a:ext>
            </a:extLst>
          </p:cNvPr>
          <p:cNvGrpSpPr/>
          <p:nvPr/>
        </p:nvGrpSpPr>
        <p:grpSpPr>
          <a:xfrm>
            <a:off x="2229850" y="622829"/>
            <a:ext cx="8066477" cy="5612341"/>
            <a:chOff x="2530724" y="1174483"/>
            <a:chExt cx="6915374" cy="4811448"/>
          </a:xfrm>
        </p:grpSpPr>
        <p:grpSp>
          <p:nvGrpSpPr>
            <p:cNvPr id="155" name="Group 154">
              <a:extLst>
                <a:ext uri="{FF2B5EF4-FFF2-40B4-BE49-F238E27FC236}">
                  <a16:creationId xmlns:a16="http://schemas.microsoft.com/office/drawing/2014/main" id="{5C6C9997-F775-374A-9A19-F351D94109C3}"/>
                </a:ext>
              </a:extLst>
            </p:cNvPr>
            <p:cNvGrpSpPr/>
            <p:nvPr/>
          </p:nvGrpSpPr>
          <p:grpSpPr>
            <a:xfrm>
              <a:off x="4195285" y="2462288"/>
              <a:ext cx="2902871" cy="1585501"/>
              <a:chOff x="2073942" y="4691170"/>
              <a:chExt cx="2902871" cy="1585501"/>
            </a:xfrm>
          </p:grpSpPr>
          <p:sp>
            <p:nvSpPr>
              <p:cNvPr id="156" name="Freeform 846">
                <a:extLst>
                  <a:ext uri="{FF2B5EF4-FFF2-40B4-BE49-F238E27FC236}">
                    <a16:creationId xmlns:a16="http://schemas.microsoft.com/office/drawing/2014/main" id="{A9533848-C485-0E43-A455-B46990F7608A}"/>
                  </a:ext>
                </a:extLst>
              </p:cNvPr>
              <p:cNvSpPr>
                <a:spLocks noEditPoints="1"/>
              </p:cNvSpPr>
              <p:nvPr/>
            </p:nvSpPr>
            <p:spPr bwMode="auto">
              <a:xfrm>
                <a:off x="2073942" y="4779787"/>
                <a:ext cx="1777998" cy="1425751"/>
              </a:xfrm>
              <a:custGeom>
                <a:avLst/>
                <a:gdLst>
                  <a:gd name="T0" fmla="*/ 64 w 320"/>
                  <a:gd name="T1" fmla="*/ 171 h 256"/>
                  <a:gd name="T2" fmla="*/ 64 w 320"/>
                  <a:gd name="T3" fmla="*/ 128 h 256"/>
                  <a:gd name="T4" fmla="*/ 256 w 320"/>
                  <a:gd name="T5" fmla="*/ 128 h 256"/>
                  <a:gd name="T6" fmla="*/ 256 w 320"/>
                  <a:gd name="T7" fmla="*/ 171 h 256"/>
                  <a:gd name="T8" fmla="*/ 256 w 320"/>
                  <a:gd name="T9" fmla="*/ 128 h 256"/>
                  <a:gd name="T10" fmla="*/ 309 w 320"/>
                  <a:gd name="T11" fmla="*/ 202 h 256"/>
                  <a:gd name="T12" fmla="*/ 298 w 320"/>
                  <a:gd name="T13" fmla="*/ 256 h 256"/>
                  <a:gd name="T14" fmla="*/ 234 w 320"/>
                  <a:gd name="T15" fmla="*/ 245 h 256"/>
                  <a:gd name="T16" fmla="*/ 165 w 320"/>
                  <a:gd name="T17" fmla="*/ 224 h 256"/>
                  <a:gd name="T18" fmla="*/ 85 w 320"/>
                  <a:gd name="T19" fmla="*/ 245 h 256"/>
                  <a:gd name="T20" fmla="*/ 21 w 320"/>
                  <a:gd name="T21" fmla="*/ 256 h 256"/>
                  <a:gd name="T22" fmla="*/ 10 w 320"/>
                  <a:gd name="T23" fmla="*/ 203 h 256"/>
                  <a:gd name="T24" fmla="*/ 10 w 320"/>
                  <a:gd name="T25" fmla="*/ 203 h 256"/>
                  <a:gd name="T26" fmla="*/ 10 w 320"/>
                  <a:gd name="T27" fmla="*/ 203 h 256"/>
                  <a:gd name="T28" fmla="*/ 10 w 320"/>
                  <a:gd name="T29" fmla="*/ 199 h 256"/>
                  <a:gd name="T30" fmla="*/ 0 w 320"/>
                  <a:gd name="T31" fmla="*/ 181 h 256"/>
                  <a:gd name="T32" fmla="*/ 44 w 320"/>
                  <a:gd name="T33" fmla="*/ 88 h 256"/>
                  <a:gd name="T34" fmla="*/ 32 w 320"/>
                  <a:gd name="T35" fmla="*/ 85 h 256"/>
                  <a:gd name="T36" fmla="*/ 32 w 320"/>
                  <a:gd name="T37" fmla="*/ 64 h 256"/>
                  <a:gd name="T38" fmla="*/ 64 w 320"/>
                  <a:gd name="T39" fmla="*/ 29 h 256"/>
                  <a:gd name="T40" fmla="*/ 106 w 320"/>
                  <a:gd name="T41" fmla="*/ 0 h 256"/>
                  <a:gd name="T42" fmla="*/ 254 w 320"/>
                  <a:gd name="T43" fmla="*/ 27 h 256"/>
                  <a:gd name="T44" fmla="*/ 267 w 320"/>
                  <a:gd name="T45" fmla="*/ 64 h 256"/>
                  <a:gd name="T46" fmla="*/ 298 w 320"/>
                  <a:gd name="T47" fmla="*/ 75 h 256"/>
                  <a:gd name="T48" fmla="*/ 274 w 320"/>
                  <a:gd name="T49" fmla="*/ 85 h 256"/>
                  <a:gd name="T50" fmla="*/ 320 w 320"/>
                  <a:gd name="T51" fmla="*/ 149 h 256"/>
                  <a:gd name="T52" fmla="*/ 316 w 320"/>
                  <a:gd name="T53" fmla="*/ 194 h 256"/>
                  <a:gd name="T54" fmla="*/ 252 w 320"/>
                  <a:gd name="T55" fmla="*/ 85 h 256"/>
                  <a:gd name="T56" fmla="*/ 213 w 320"/>
                  <a:gd name="T57" fmla="*/ 21 h 256"/>
                  <a:gd name="T58" fmla="*/ 84 w 320"/>
                  <a:gd name="T59" fmla="*/ 36 h 256"/>
                  <a:gd name="T60" fmla="*/ 64 w 320"/>
                  <a:gd name="T61" fmla="*/ 217 h 256"/>
                  <a:gd name="T62" fmla="*/ 32 w 320"/>
                  <a:gd name="T63" fmla="*/ 235 h 256"/>
                  <a:gd name="T64" fmla="*/ 64 w 320"/>
                  <a:gd name="T65" fmla="*/ 217 h 256"/>
                  <a:gd name="T66" fmla="*/ 298 w 320"/>
                  <a:gd name="T67" fmla="*/ 183 h 256"/>
                  <a:gd name="T68" fmla="*/ 298 w 320"/>
                  <a:gd name="T69" fmla="*/ 149 h 256"/>
                  <a:gd name="T70" fmla="*/ 62 w 320"/>
                  <a:gd name="T71" fmla="*/ 107 h 256"/>
                  <a:gd name="T72" fmla="*/ 21 w 320"/>
                  <a:gd name="T73" fmla="*/ 180 h 256"/>
                  <a:gd name="T74" fmla="*/ 288 w 320"/>
                  <a:gd name="T75" fmla="*/ 212 h 256"/>
                  <a:gd name="T76" fmla="*/ 256 w 320"/>
                  <a:gd name="T77" fmla="*/ 235 h 256"/>
                  <a:gd name="T78" fmla="*/ 288 w 320"/>
                  <a:gd name="T79" fmla="*/ 212 h 256"/>
                  <a:gd name="T80" fmla="*/ 128 w 320"/>
                  <a:gd name="T81" fmla="*/ 139 h 256"/>
                  <a:gd name="T82" fmla="*/ 128 w 320"/>
                  <a:gd name="T83" fmla="*/ 160 h 256"/>
                  <a:gd name="T84" fmla="*/ 202 w 320"/>
                  <a:gd name="T85"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85" y="149"/>
                    </a:moveTo>
                    <a:cubicBezTo>
                      <a:pt x="85" y="161"/>
                      <a:pt x="75" y="171"/>
                      <a:pt x="64" y="171"/>
                    </a:cubicBezTo>
                    <a:cubicBezTo>
                      <a:pt x="52" y="171"/>
                      <a:pt x="42" y="161"/>
                      <a:pt x="42" y="149"/>
                    </a:cubicBezTo>
                    <a:cubicBezTo>
                      <a:pt x="42" y="138"/>
                      <a:pt x="52" y="128"/>
                      <a:pt x="64" y="128"/>
                    </a:cubicBezTo>
                    <a:cubicBezTo>
                      <a:pt x="75" y="128"/>
                      <a:pt x="85" y="138"/>
                      <a:pt x="85" y="149"/>
                    </a:cubicBezTo>
                    <a:close/>
                    <a:moveTo>
                      <a:pt x="256" y="128"/>
                    </a:moveTo>
                    <a:cubicBezTo>
                      <a:pt x="244" y="128"/>
                      <a:pt x="234" y="138"/>
                      <a:pt x="234" y="149"/>
                    </a:cubicBezTo>
                    <a:cubicBezTo>
                      <a:pt x="234" y="161"/>
                      <a:pt x="244" y="171"/>
                      <a:pt x="256" y="171"/>
                    </a:cubicBezTo>
                    <a:cubicBezTo>
                      <a:pt x="267" y="171"/>
                      <a:pt x="277" y="161"/>
                      <a:pt x="277" y="149"/>
                    </a:cubicBezTo>
                    <a:cubicBezTo>
                      <a:pt x="277" y="138"/>
                      <a:pt x="267" y="128"/>
                      <a:pt x="256" y="128"/>
                    </a:cubicBezTo>
                    <a:close/>
                    <a:moveTo>
                      <a:pt x="316" y="194"/>
                    </a:moveTo>
                    <a:cubicBezTo>
                      <a:pt x="314" y="197"/>
                      <a:pt x="312" y="199"/>
                      <a:pt x="309" y="202"/>
                    </a:cubicBezTo>
                    <a:cubicBezTo>
                      <a:pt x="309" y="202"/>
                      <a:pt x="309" y="245"/>
                      <a:pt x="309" y="245"/>
                    </a:cubicBezTo>
                    <a:cubicBezTo>
                      <a:pt x="309" y="251"/>
                      <a:pt x="304" y="256"/>
                      <a:pt x="298" y="256"/>
                    </a:cubicBezTo>
                    <a:cubicBezTo>
                      <a:pt x="245" y="256"/>
                      <a:pt x="245" y="256"/>
                      <a:pt x="245" y="256"/>
                    </a:cubicBezTo>
                    <a:cubicBezTo>
                      <a:pt x="239" y="256"/>
                      <a:pt x="234" y="251"/>
                      <a:pt x="234" y="245"/>
                    </a:cubicBezTo>
                    <a:cubicBezTo>
                      <a:pt x="234" y="221"/>
                      <a:pt x="234" y="221"/>
                      <a:pt x="234" y="221"/>
                    </a:cubicBezTo>
                    <a:cubicBezTo>
                      <a:pt x="215" y="223"/>
                      <a:pt x="192" y="224"/>
                      <a:pt x="165" y="224"/>
                    </a:cubicBezTo>
                    <a:cubicBezTo>
                      <a:pt x="134" y="224"/>
                      <a:pt x="107" y="223"/>
                      <a:pt x="85" y="220"/>
                    </a:cubicBezTo>
                    <a:cubicBezTo>
                      <a:pt x="85" y="245"/>
                      <a:pt x="85" y="245"/>
                      <a:pt x="85" y="245"/>
                    </a:cubicBezTo>
                    <a:cubicBezTo>
                      <a:pt x="85" y="251"/>
                      <a:pt x="80" y="256"/>
                      <a:pt x="74" y="256"/>
                    </a:cubicBezTo>
                    <a:cubicBezTo>
                      <a:pt x="21" y="256"/>
                      <a:pt x="21" y="256"/>
                      <a:pt x="21" y="256"/>
                    </a:cubicBezTo>
                    <a:cubicBezTo>
                      <a:pt x="15" y="256"/>
                      <a:pt x="10" y="251"/>
                      <a:pt x="10" y="245"/>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199"/>
                      <a:pt x="10" y="199"/>
                      <a:pt x="10" y="199"/>
                    </a:cubicBezTo>
                    <a:cubicBezTo>
                      <a:pt x="10" y="199"/>
                      <a:pt x="7" y="197"/>
                      <a:pt x="6" y="195"/>
                    </a:cubicBezTo>
                    <a:cubicBezTo>
                      <a:pt x="0" y="189"/>
                      <a:pt x="0" y="183"/>
                      <a:pt x="0" y="181"/>
                    </a:cubicBezTo>
                    <a:cubicBezTo>
                      <a:pt x="0" y="149"/>
                      <a:pt x="0" y="149"/>
                      <a:pt x="0" y="149"/>
                    </a:cubicBezTo>
                    <a:cubicBezTo>
                      <a:pt x="0" y="120"/>
                      <a:pt x="19" y="96"/>
                      <a:pt x="44" y="88"/>
                    </a:cubicBezTo>
                    <a:cubicBezTo>
                      <a:pt x="45" y="85"/>
                      <a:pt x="45" y="85"/>
                      <a:pt x="45" y="85"/>
                    </a:cubicBezTo>
                    <a:cubicBezTo>
                      <a:pt x="32" y="85"/>
                      <a:pt x="32" y="85"/>
                      <a:pt x="32" y="85"/>
                    </a:cubicBezTo>
                    <a:cubicBezTo>
                      <a:pt x="26" y="85"/>
                      <a:pt x="21" y="81"/>
                      <a:pt x="21" y="75"/>
                    </a:cubicBezTo>
                    <a:cubicBezTo>
                      <a:pt x="21" y="69"/>
                      <a:pt x="26" y="64"/>
                      <a:pt x="32" y="64"/>
                    </a:cubicBezTo>
                    <a:cubicBezTo>
                      <a:pt x="52" y="64"/>
                      <a:pt x="52" y="64"/>
                      <a:pt x="52" y="64"/>
                    </a:cubicBezTo>
                    <a:cubicBezTo>
                      <a:pt x="64" y="29"/>
                      <a:pt x="64" y="29"/>
                      <a:pt x="64" y="29"/>
                    </a:cubicBezTo>
                    <a:cubicBezTo>
                      <a:pt x="64" y="28"/>
                      <a:pt x="65" y="28"/>
                      <a:pt x="65" y="27"/>
                    </a:cubicBezTo>
                    <a:cubicBezTo>
                      <a:pt x="65" y="26"/>
                      <a:pt x="80" y="0"/>
                      <a:pt x="106" y="0"/>
                    </a:cubicBezTo>
                    <a:cubicBezTo>
                      <a:pt x="213" y="0"/>
                      <a:pt x="213" y="0"/>
                      <a:pt x="213" y="0"/>
                    </a:cubicBezTo>
                    <a:cubicBezTo>
                      <a:pt x="240" y="0"/>
                      <a:pt x="254" y="26"/>
                      <a:pt x="254" y="27"/>
                    </a:cubicBezTo>
                    <a:cubicBezTo>
                      <a:pt x="255" y="28"/>
                      <a:pt x="255" y="28"/>
                      <a:pt x="255" y="29"/>
                    </a:cubicBezTo>
                    <a:cubicBezTo>
                      <a:pt x="267" y="64"/>
                      <a:pt x="267" y="64"/>
                      <a:pt x="267" y="64"/>
                    </a:cubicBezTo>
                    <a:cubicBezTo>
                      <a:pt x="288" y="64"/>
                      <a:pt x="288" y="64"/>
                      <a:pt x="288" y="64"/>
                    </a:cubicBezTo>
                    <a:cubicBezTo>
                      <a:pt x="294" y="64"/>
                      <a:pt x="298" y="69"/>
                      <a:pt x="298" y="75"/>
                    </a:cubicBezTo>
                    <a:cubicBezTo>
                      <a:pt x="298" y="81"/>
                      <a:pt x="294" y="85"/>
                      <a:pt x="288" y="85"/>
                    </a:cubicBezTo>
                    <a:cubicBezTo>
                      <a:pt x="274" y="85"/>
                      <a:pt x="274" y="85"/>
                      <a:pt x="274" y="85"/>
                    </a:cubicBezTo>
                    <a:cubicBezTo>
                      <a:pt x="275" y="88"/>
                      <a:pt x="275" y="88"/>
                      <a:pt x="275" y="88"/>
                    </a:cubicBezTo>
                    <a:cubicBezTo>
                      <a:pt x="301" y="96"/>
                      <a:pt x="320" y="120"/>
                      <a:pt x="320" y="149"/>
                    </a:cubicBezTo>
                    <a:cubicBezTo>
                      <a:pt x="320" y="180"/>
                      <a:pt x="320" y="180"/>
                      <a:pt x="320" y="180"/>
                    </a:cubicBezTo>
                    <a:cubicBezTo>
                      <a:pt x="320" y="184"/>
                      <a:pt x="320" y="189"/>
                      <a:pt x="316" y="194"/>
                    </a:cubicBezTo>
                    <a:close/>
                    <a:moveTo>
                      <a:pt x="68" y="85"/>
                    </a:moveTo>
                    <a:cubicBezTo>
                      <a:pt x="252" y="85"/>
                      <a:pt x="252" y="85"/>
                      <a:pt x="252" y="85"/>
                    </a:cubicBezTo>
                    <a:cubicBezTo>
                      <a:pt x="235" y="36"/>
                      <a:pt x="235" y="36"/>
                      <a:pt x="235" y="36"/>
                    </a:cubicBezTo>
                    <a:cubicBezTo>
                      <a:pt x="233" y="34"/>
                      <a:pt x="225" y="21"/>
                      <a:pt x="213" y="21"/>
                    </a:cubicBezTo>
                    <a:cubicBezTo>
                      <a:pt x="106" y="21"/>
                      <a:pt x="106" y="21"/>
                      <a:pt x="106" y="21"/>
                    </a:cubicBezTo>
                    <a:cubicBezTo>
                      <a:pt x="94" y="21"/>
                      <a:pt x="86" y="33"/>
                      <a:pt x="84" y="36"/>
                    </a:cubicBezTo>
                    <a:lnTo>
                      <a:pt x="68" y="85"/>
                    </a:lnTo>
                    <a:close/>
                    <a:moveTo>
                      <a:pt x="64" y="217"/>
                    </a:moveTo>
                    <a:cubicBezTo>
                      <a:pt x="51" y="215"/>
                      <a:pt x="41" y="213"/>
                      <a:pt x="32" y="210"/>
                    </a:cubicBezTo>
                    <a:cubicBezTo>
                      <a:pt x="32" y="235"/>
                      <a:pt x="32" y="235"/>
                      <a:pt x="32" y="235"/>
                    </a:cubicBezTo>
                    <a:cubicBezTo>
                      <a:pt x="64" y="235"/>
                      <a:pt x="64" y="235"/>
                      <a:pt x="64" y="235"/>
                    </a:cubicBezTo>
                    <a:lnTo>
                      <a:pt x="64" y="217"/>
                    </a:lnTo>
                    <a:close/>
                    <a:moveTo>
                      <a:pt x="165" y="203"/>
                    </a:moveTo>
                    <a:cubicBezTo>
                      <a:pt x="278" y="203"/>
                      <a:pt x="296" y="185"/>
                      <a:pt x="298" y="183"/>
                    </a:cubicBezTo>
                    <a:cubicBezTo>
                      <a:pt x="298" y="182"/>
                      <a:pt x="298" y="182"/>
                      <a:pt x="298" y="181"/>
                    </a:cubicBezTo>
                    <a:cubicBezTo>
                      <a:pt x="298" y="149"/>
                      <a:pt x="298" y="149"/>
                      <a:pt x="298" y="149"/>
                    </a:cubicBezTo>
                    <a:cubicBezTo>
                      <a:pt x="298" y="126"/>
                      <a:pt x="280" y="107"/>
                      <a:pt x="258" y="107"/>
                    </a:cubicBezTo>
                    <a:cubicBezTo>
                      <a:pt x="62" y="107"/>
                      <a:pt x="62" y="107"/>
                      <a:pt x="62" y="107"/>
                    </a:cubicBezTo>
                    <a:cubicBezTo>
                      <a:pt x="39" y="107"/>
                      <a:pt x="21" y="126"/>
                      <a:pt x="21" y="149"/>
                    </a:cubicBezTo>
                    <a:cubicBezTo>
                      <a:pt x="21" y="180"/>
                      <a:pt x="21" y="180"/>
                      <a:pt x="21" y="180"/>
                    </a:cubicBezTo>
                    <a:cubicBezTo>
                      <a:pt x="23" y="183"/>
                      <a:pt x="43" y="203"/>
                      <a:pt x="165" y="203"/>
                    </a:cubicBezTo>
                    <a:close/>
                    <a:moveTo>
                      <a:pt x="288" y="212"/>
                    </a:moveTo>
                    <a:cubicBezTo>
                      <a:pt x="279" y="215"/>
                      <a:pt x="268" y="217"/>
                      <a:pt x="256" y="219"/>
                    </a:cubicBezTo>
                    <a:cubicBezTo>
                      <a:pt x="256" y="235"/>
                      <a:pt x="256" y="235"/>
                      <a:pt x="256" y="235"/>
                    </a:cubicBezTo>
                    <a:cubicBezTo>
                      <a:pt x="288" y="235"/>
                      <a:pt x="288" y="235"/>
                      <a:pt x="288" y="235"/>
                    </a:cubicBezTo>
                    <a:lnTo>
                      <a:pt x="288" y="212"/>
                    </a:lnTo>
                    <a:close/>
                    <a:moveTo>
                      <a:pt x="192" y="139"/>
                    </a:moveTo>
                    <a:cubicBezTo>
                      <a:pt x="128" y="139"/>
                      <a:pt x="128" y="139"/>
                      <a:pt x="128" y="139"/>
                    </a:cubicBezTo>
                    <a:cubicBezTo>
                      <a:pt x="122" y="139"/>
                      <a:pt x="117" y="143"/>
                      <a:pt x="117" y="149"/>
                    </a:cubicBezTo>
                    <a:cubicBezTo>
                      <a:pt x="117" y="155"/>
                      <a:pt x="122" y="160"/>
                      <a:pt x="128" y="160"/>
                    </a:cubicBezTo>
                    <a:cubicBezTo>
                      <a:pt x="192" y="160"/>
                      <a:pt x="192" y="160"/>
                      <a:pt x="192" y="160"/>
                    </a:cubicBezTo>
                    <a:cubicBezTo>
                      <a:pt x="198" y="160"/>
                      <a:pt x="202" y="155"/>
                      <a:pt x="202" y="149"/>
                    </a:cubicBezTo>
                    <a:cubicBezTo>
                      <a:pt x="202" y="143"/>
                      <a:pt x="198" y="139"/>
                      <a:pt x="192" y="139"/>
                    </a:cubicBezTo>
                    <a:close/>
                  </a:path>
                </a:pathLst>
              </a:custGeom>
              <a:solidFill>
                <a:schemeClr val="tx2"/>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7" name="Rectangle 156">
                <a:extLst>
                  <a:ext uri="{FF2B5EF4-FFF2-40B4-BE49-F238E27FC236}">
                    <a16:creationId xmlns:a16="http://schemas.microsoft.com/office/drawing/2014/main" id="{45CF4285-C3C6-E145-8F78-8D09F1BA34F9}"/>
                  </a:ext>
                </a:extLst>
              </p:cNvPr>
              <p:cNvSpPr/>
              <p:nvPr/>
            </p:nvSpPr>
            <p:spPr bwMode="gray">
              <a:xfrm>
                <a:off x="2805113" y="4691170"/>
                <a:ext cx="2171700" cy="158550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58" name="Group 157">
                <a:extLst>
                  <a:ext uri="{FF2B5EF4-FFF2-40B4-BE49-F238E27FC236}">
                    <a16:creationId xmlns:a16="http://schemas.microsoft.com/office/drawing/2014/main" id="{E8E058B8-13F8-8A4C-A94E-5AAAE8EC0752}"/>
                  </a:ext>
                </a:extLst>
              </p:cNvPr>
              <p:cNvGrpSpPr/>
              <p:nvPr/>
            </p:nvGrpSpPr>
            <p:grpSpPr>
              <a:xfrm>
                <a:off x="2852738" y="4767263"/>
                <a:ext cx="1076325" cy="1433512"/>
                <a:chOff x="3005138" y="4767263"/>
                <a:chExt cx="1533525" cy="1433512"/>
              </a:xfrm>
            </p:grpSpPr>
            <p:sp>
              <p:nvSpPr>
                <p:cNvPr id="159" name="Rectangle 158">
                  <a:extLst>
                    <a:ext uri="{FF2B5EF4-FFF2-40B4-BE49-F238E27FC236}">
                      <a16:creationId xmlns:a16="http://schemas.microsoft.com/office/drawing/2014/main" id="{5419B20D-0612-7C42-9526-D01FD14A3A3F}"/>
                    </a:ext>
                  </a:extLst>
                </p:cNvPr>
                <p:cNvSpPr/>
                <p:nvPr/>
              </p:nvSpPr>
              <p:spPr bwMode="gray">
                <a:xfrm>
                  <a:off x="3005138" y="4767263"/>
                  <a:ext cx="1529583" cy="2571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0" name="Rectangle 159">
                  <a:extLst>
                    <a:ext uri="{FF2B5EF4-FFF2-40B4-BE49-F238E27FC236}">
                      <a16:creationId xmlns:a16="http://schemas.microsoft.com/office/drawing/2014/main" id="{A7D89C19-9EA1-0E45-B535-BD31BD1F857A}"/>
                    </a:ext>
                  </a:extLst>
                </p:cNvPr>
                <p:cNvSpPr/>
                <p:nvPr/>
              </p:nvSpPr>
              <p:spPr bwMode="gray">
                <a:xfrm>
                  <a:off x="3005138" y="5061347"/>
                  <a:ext cx="1530157" cy="25717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1" name="Rectangle 160">
                  <a:extLst>
                    <a:ext uri="{FF2B5EF4-FFF2-40B4-BE49-F238E27FC236}">
                      <a16:creationId xmlns:a16="http://schemas.microsoft.com/office/drawing/2014/main" id="{A5BBFE3F-FA6C-A24A-905E-45C76B88C7CB}"/>
                    </a:ext>
                  </a:extLst>
                </p:cNvPr>
                <p:cNvSpPr/>
                <p:nvPr/>
              </p:nvSpPr>
              <p:spPr bwMode="gray">
                <a:xfrm>
                  <a:off x="3005138" y="5355431"/>
                  <a:ext cx="1530157" cy="257175"/>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2" name="Rectangle 161">
                  <a:extLst>
                    <a:ext uri="{FF2B5EF4-FFF2-40B4-BE49-F238E27FC236}">
                      <a16:creationId xmlns:a16="http://schemas.microsoft.com/office/drawing/2014/main" id="{A03C41BD-9CC4-4440-8493-C5C12E332A6D}"/>
                    </a:ext>
                  </a:extLst>
                </p:cNvPr>
                <p:cNvSpPr/>
                <p:nvPr/>
              </p:nvSpPr>
              <p:spPr bwMode="gray">
                <a:xfrm>
                  <a:off x="3005138" y="5649515"/>
                  <a:ext cx="1530157" cy="257175"/>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3" name="Rectangle 162">
                  <a:extLst>
                    <a:ext uri="{FF2B5EF4-FFF2-40B4-BE49-F238E27FC236}">
                      <a16:creationId xmlns:a16="http://schemas.microsoft.com/office/drawing/2014/main" id="{54AAAE1C-E6F3-684F-BCEA-F133E8F85194}"/>
                    </a:ext>
                  </a:extLst>
                </p:cNvPr>
                <p:cNvSpPr/>
                <p:nvPr/>
              </p:nvSpPr>
              <p:spPr bwMode="gray">
                <a:xfrm>
                  <a:off x="3005138" y="5943600"/>
                  <a:ext cx="1533525" cy="25717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sp>
          <p:nvSpPr>
            <p:cNvPr id="164" name="Rectangle 163">
              <a:extLst>
                <a:ext uri="{FF2B5EF4-FFF2-40B4-BE49-F238E27FC236}">
                  <a16:creationId xmlns:a16="http://schemas.microsoft.com/office/drawing/2014/main" id="{0A96B475-4EE5-5040-B7E0-1B1B35ED9685}"/>
                </a:ext>
              </a:extLst>
            </p:cNvPr>
            <p:cNvSpPr/>
            <p:nvPr/>
          </p:nvSpPr>
          <p:spPr>
            <a:xfrm>
              <a:off x="6107555" y="2534302"/>
              <a:ext cx="1676401" cy="115416"/>
            </a:xfrm>
            <a:prstGeom prst="rect">
              <a:avLst/>
            </a:prstGeom>
          </p:spPr>
          <p:txBody>
            <a:bodyPr wrap="square" lIns="0" tIns="0" rIns="0" bIns="0">
              <a:spAutoFit/>
            </a:bodyPr>
            <a:lstStyle/>
            <a:p>
              <a:pPr>
                <a:lnSpc>
                  <a:spcPts val="900"/>
                </a:lnSpc>
              </a:pPr>
              <a:r>
                <a:rPr lang="da-DK" sz="800" dirty="0"/>
                <a:t>Lorem ipsum dolor sit ame</a:t>
              </a:r>
              <a:endParaRPr lang="en-US" sz="800" dirty="0"/>
            </a:p>
          </p:txBody>
        </p:sp>
        <p:sp>
          <p:nvSpPr>
            <p:cNvPr id="165" name="Rectangle 164">
              <a:extLst>
                <a:ext uri="{FF2B5EF4-FFF2-40B4-BE49-F238E27FC236}">
                  <a16:creationId xmlns:a16="http://schemas.microsoft.com/office/drawing/2014/main" id="{ED91B3DE-EF1B-5D4B-A121-D25579BA60EF}"/>
                </a:ext>
              </a:extLst>
            </p:cNvPr>
            <p:cNvSpPr/>
            <p:nvPr/>
          </p:nvSpPr>
          <p:spPr>
            <a:xfrm>
              <a:off x="6107555" y="2838417"/>
              <a:ext cx="1447801" cy="115416"/>
            </a:xfrm>
            <a:prstGeom prst="rect">
              <a:avLst/>
            </a:prstGeom>
          </p:spPr>
          <p:txBody>
            <a:bodyPr wrap="square" lIns="0" tIns="0" rIns="0" bIns="0">
              <a:spAutoFit/>
            </a:bodyPr>
            <a:lstStyle/>
            <a:p>
              <a:pPr>
                <a:lnSpc>
                  <a:spcPts val="900"/>
                </a:lnSpc>
              </a:pPr>
              <a:r>
                <a:rPr lang="da-DK" sz="800" dirty="0"/>
                <a:t>Lorem ipsum dolor sit ame</a:t>
              </a:r>
              <a:endParaRPr lang="en-US" sz="800" dirty="0"/>
            </a:p>
          </p:txBody>
        </p:sp>
        <p:sp>
          <p:nvSpPr>
            <p:cNvPr id="166" name="Rectangle 165">
              <a:extLst>
                <a:ext uri="{FF2B5EF4-FFF2-40B4-BE49-F238E27FC236}">
                  <a16:creationId xmlns:a16="http://schemas.microsoft.com/office/drawing/2014/main" id="{CEAC94F4-7C42-064B-A266-8DB647624272}"/>
                </a:ext>
              </a:extLst>
            </p:cNvPr>
            <p:cNvSpPr/>
            <p:nvPr/>
          </p:nvSpPr>
          <p:spPr>
            <a:xfrm>
              <a:off x="6107554" y="3143217"/>
              <a:ext cx="1590674" cy="115416"/>
            </a:xfrm>
            <a:prstGeom prst="rect">
              <a:avLst/>
            </a:prstGeom>
          </p:spPr>
          <p:txBody>
            <a:bodyPr wrap="square" lIns="0" tIns="0" rIns="0" bIns="0">
              <a:spAutoFit/>
            </a:bodyPr>
            <a:lstStyle/>
            <a:p>
              <a:pPr>
                <a:lnSpc>
                  <a:spcPts val="900"/>
                </a:lnSpc>
              </a:pPr>
              <a:r>
                <a:rPr lang="da-DK" sz="800" dirty="0"/>
                <a:t>Lorem ipsum dolor sit ame</a:t>
              </a:r>
              <a:endParaRPr lang="en-US" sz="800" dirty="0"/>
            </a:p>
          </p:txBody>
        </p:sp>
        <p:sp>
          <p:nvSpPr>
            <p:cNvPr id="167" name="Rectangle 166">
              <a:extLst>
                <a:ext uri="{FF2B5EF4-FFF2-40B4-BE49-F238E27FC236}">
                  <a16:creationId xmlns:a16="http://schemas.microsoft.com/office/drawing/2014/main" id="{ECCD0C9A-2EEC-4F4A-B7A7-7EB858429005}"/>
                </a:ext>
              </a:extLst>
            </p:cNvPr>
            <p:cNvSpPr/>
            <p:nvPr/>
          </p:nvSpPr>
          <p:spPr>
            <a:xfrm>
              <a:off x="6107555" y="3438492"/>
              <a:ext cx="1657351" cy="115416"/>
            </a:xfrm>
            <a:prstGeom prst="rect">
              <a:avLst/>
            </a:prstGeom>
          </p:spPr>
          <p:txBody>
            <a:bodyPr wrap="square" lIns="0" tIns="0" rIns="0" bIns="0">
              <a:spAutoFit/>
            </a:bodyPr>
            <a:lstStyle/>
            <a:p>
              <a:pPr>
                <a:lnSpc>
                  <a:spcPts val="900"/>
                </a:lnSpc>
              </a:pPr>
              <a:r>
                <a:rPr lang="da-DK" sz="800" dirty="0"/>
                <a:t>Lorem ipsum dolor sit ame</a:t>
              </a:r>
              <a:endParaRPr lang="en-US" sz="800" dirty="0"/>
            </a:p>
          </p:txBody>
        </p:sp>
        <p:sp>
          <p:nvSpPr>
            <p:cNvPr id="168" name="Rectangle 167">
              <a:extLst>
                <a:ext uri="{FF2B5EF4-FFF2-40B4-BE49-F238E27FC236}">
                  <a16:creationId xmlns:a16="http://schemas.microsoft.com/office/drawing/2014/main" id="{B94ECF54-CE59-434E-8C58-4841FD0C95BB}"/>
                </a:ext>
              </a:extLst>
            </p:cNvPr>
            <p:cNvSpPr/>
            <p:nvPr/>
          </p:nvSpPr>
          <p:spPr>
            <a:xfrm>
              <a:off x="6107554" y="3714718"/>
              <a:ext cx="1419226" cy="123111"/>
            </a:xfrm>
            <a:prstGeom prst="rect">
              <a:avLst/>
            </a:prstGeom>
          </p:spPr>
          <p:txBody>
            <a:bodyPr wrap="square" lIns="0" tIns="0" rIns="0" bIns="0">
              <a:spAutoFit/>
            </a:bodyPr>
            <a:lstStyle/>
            <a:p>
              <a:r>
                <a:rPr lang="da-DK" sz="800" dirty="0"/>
                <a:t>Lorem ipsum dolor sit ame</a:t>
              </a:r>
              <a:endParaRPr lang="en-US" sz="800" dirty="0"/>
            </a:p>
          </p:txBody>
        </p:sp>
        <p:sp>
          <p:nvSpPr>
            <p:cNvPr id="169" name="Rounded Rectangle 168">
              <a:extLst>
                <a:ext uri="{FF2B5EF4-FFF2-40B4-BE49-F238E27FC236}">
                  <a16:creationId xmlns:a16="http://schemas.microsoft.com/office/drawing/2014/main" id="{18B3FE1C-68A5-6A4F-8272-1115E08CD8A4}"/>
                </a:ext>
              </a:extLst>
            </p:cNvPr>
            <p:cNvSpPr/>
            <p:nvPr/>
          </p:nvSpPr>
          <p:spPr bwMode="gray">
            <a:xfrm>
              <a:off x="4064441" y="2464308"/>
              <a:ext cx="3743325" cy="1609832"/>
            </a:xfrm>
            <a:prstGeom prst="round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0" name="Rectangle 169">
              <a:extLst>
                <a:ext uri="{FF2B5EF4-FFF2-40B4-BE49-F238E27FC236}">
                  <a16:creationId xmlns:a16="http://schemas.microsoft.com/office/drawing/2014/main" id="{00E9F268-329C-A84A-AA25-3CFAA75E3DB2}"/>
                </a:ext>
              </a:extLst>
            </p:cNvPr>
            <p:cNvSpPr/>
            <p:nvPr/>
          </p:nvSpPr>
          <p:spPr>
            <a:xfrm>
              <a:off x="4782500" y="4070510"/>
              <a:ext cx="2349833" cy="305502"/>
            </a:xfrm>
            <a:prstGeom prst="rect">
              <a:avLst/>
            </a:prstGeom>
            <a:solidFill>
              <a:schemeClr val="tx2"/>
            </a:solidFill>
          </p:spPr>
          <p:txBody>
            <a:bodyPr wrap="square" lIns="0" tIns="0" rIns="0" bIns="0" anchor="t">
              <a:noAutofit/>
            </a:bodyPr>
            <a:lstStyle/>
            <a:p>
              <a:pPr algn="ctr" defTabSz="1312670"/>
              <a:r>
                <a:rPr lang="da-DK" sz="1000" b="1" dirty="0">
                  <a:solidFill>
                    <a:schemeClr val="bg1"/>
                  </a:solidFill>
                  <a:ea typeface="Calibri"/>
                  <a:cs typeface="Times New Roman"/>
                </a:rPr>
                <a:t>Lorem ipsum dolor sit ameLorem ipsum dolor sit ame</a:t>
              </a:r>
              <a:endParaRPr lang="en-US" sz="700" dirty="0">
                <a:solidFill>
                  <a:schemeClr val="bg1"/>
                </a:solidFill>
                <a:ea typeface="Calibri"/>
                <a:cs typeface="Times New Roman"/>
              </a:endParaRPr>
            </a:p>
          </p:txBody>
        </p:sp>
        <p:grpSp>
          <p:nvGrpSpPr>
            <p:cNvPr id="90" name="Group 89">
              <a:extLst>
                <a:ext uri="{FF2B5EF4-FFF2-40B4-BE49-F238E27FC236}">
                  <a16:creationId xmlns:a16="http://schemas.microsoft.com/office/drawing/2014/main" id="{D57B992E-680A-7942-9863-4F112B95B22E}"/>
                </a:ext>
              </a:extLst>
            </p:cNvPr>
            <p:cNvGrpSpPr/>
            <p:nvPr/>
          </p:nvGrpSpPr>
          <p:grpSpPr>
            <a:xfrm>
              <a:off x="2851957" y="1980779"/>
              <a:ext cx="6249182" cy="3274233"/>
              <a:chOff x="547688" y="4133850"/>
              <a:chExt cx="6662737" cy="3490913"/>
            </a:xfrm>
          </p:grpSpPr>
          <p:sp>
            <p:nvSpPr>
              <p:cNvPr id="91" name="Rounded Rectangle 90">
                <a:extLst>
                  <a:ext uri="{FF2B5EF4-FFF2-40B4-BE49-F238E27FC236}">
                    <a16:creationId xmlns:a16="http://schemas.microsoft.com/office/drawing/2014/main" id="{6A26B0F0-77E8-EF48-B057-4B34528B71BE}"/>
                  </a:ext>
                </a:extLst>
              </p:cNvPr>
              <p:cNvSpPr/>
              <p:nvPr/>
            </p:nvSpPr>
            <p:spPr bwMode="gray">
              <a:xfrm>
                <a:off x="547688" y="4138613"/>
                <a:ext cx="6648450" cy="3486150"/>
              </a:xfrm>
              <a:prstGeom prst="roundRect">
                <a:avLst/>
              </a:prstGeom>
              <a:noFill/>
              <a:ln w="29210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2" name="Rounded Rectangle 91">
                <a:extLst>
                  <a:ext uri="{FF2B5EF4-FFF2-40B4-BE49-F238E27FC236}">
                    <a16:creationId xmlns:a16="http://schemas.microsoft.com/office/drawing/2014/main" id="{3D90DDFA-5E34-224E-83D0-2663B16CB4A9}"/>
                  </a:ext>
                </a:extLst>
              </p:cNvPr>
              <p:cNvSpPr/>
              <p:nvPr/>
            </p:nvSpPr>
            <p:spPr bwMode="gray">
              <a:xfrm>
                <a:off x="561975" y="4133850"/>
                <a:ext cx="6648450" cy="3486150"/>
              </a:xfrm>
              <a:prstGeom prst="roundRect">
                <a:avLst/>
              </a:prstGeom>
              <a:noFill/>
              <a:ln w="12700" algn="ctr">
                <a:solidFill>
                  <a:schemeClr val="bg1"/>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93" name="Freeform 197">
              <a:extLst>
                <a:ext uri="{FF2B5EF4-FFF2-40B4-BE49-F238E27FC236}">
                  <a16:creationId xmlns:a16="http://schemas.microsoft.com/office/drawing/2014/main" id="{33A61039-753F-2641-A8C5-769B3FC6185B}"/>
                </a:ext>
              </a:extLst>
            </p:cNvPr>
            <p:cNvSpPr>
              <a:spLocks/>
            </p:cNvSpPr>
            <p:nvPr/>
          </p:nvSpPr>
          <p:spPr bwMode="auto">
            <a:xfrm>
              <a:off x="2730578" y="1317435"/>
              <a:ext cx="1354981" cy="154118"/>
            </a:xfrm>
            <a:prstGeom prst="rect">
              <a:avLst/>
            </a:prstGeom>
            <a:noFill/>
            <a:ln w="12700">
              <a:noFill/>
              <a:prstDash val="solid"/>
              <a:round/>
              <a:headEnd/>
              <a:tailEnd/>
            </a:ln>
          </p:spPr>
          <p:txBody>
            <a:bodyPr vert="horz" wrap="square" lIns="0" tIns="0" rIns="0" bIns="0" numCol="1" anchor="ctr" anchorCtr="0" compatLnSpc="1">
              <a:prstTxWarp prst="textNoShape">
                <a:avLst/>
              </a:prstTxWarp>
            </a:bodyPr>
            <a:lstStyle/>
            <a:p>
              <a:pPr algn="ctr">
                <a:defRPr/>
              </a:pPr>
              <a:r>
                <a:rPr lang="en-US" sz="900" b="1" kern="0" dirty="0">
                  <a:cs typeface="Arial" pitchFamily="34" charset="0"/>
                </a:rPr>
                <a:t>Lorem ipsum </a:t>
              </a:r>
              <a:r>
                <a:rPr lang="en-US" sz="900" b="1" kern="0" dirty="0" err="1">
                  <a:cs typeface="Arial" pitchFamily="34" charset="0"/>
                </a:rPr>
                <a:t>dolo</a:t>
              </a:r>
              <a:endParaRPr lang="en-US" sz="900" b="1" kern="0" dirty="0">
                <a:cs typeface="Arial" pitchFamily="34" charset="0"/>
              </a:endParaRPr>
            </a:p>
          </p:txBody>
        </p:sp>
        <p:sp>
          <p:nvSpPr>
            <p:cNvPr id="176" name="Freeform 197">
              <a:extLst>
                <a:ext uri="{FF2B5EF4-FFF2-40B4-BE49-F238E27FC236}">
                  <a16:creationId xmlns:a16="http://schemas.microsoft.com/office/drawing/2014/main" id="{8A52D4FF-D65C-E048-8B34-BC0510511B95}"/>
                </a:ext>
              </a:extLst>
            </p:cNvPr>
            <p:cNvSpPr>
              <a:spLocks/>
            </p:cNvSpPr>
            <p:nvPr/>
          </p:nvSpPr>
          <p:spPr bwMode="auto">
            <a:xfrm>
              <a:off x="8223532" y="1331779"/>
              <a:ext cx="933338" cy="139775"/>
            </a:xfrm>
            <a:prstGeom prst="rect">
              <a:avLst/>
            </a:prstGeom>
            <a:noFill/>
            <a:ln w="12700">
              <a:noFill/>
              <a:prstDash val="solid"/>
              <a:round/>
              <a:headEnd/>
              <a:tailEnd/>
            </a:ln>
          </p:spPr>
          <p:txBody>
            <a:bodyPr vert="horz" wrap="square" lIns="0" tIns="0" rIns="0" bIns="0" numCol="1" anchor="ctr" anchorCtr="0" compatLnSpc="1">
              <a:prstTxWarp prst="textNoShape">
                <a:avLst/>
              </a:prstTxWarp>
            </a:bodyPr>
            <a:lstStyle/>
            <a:p>
              <a:pPr algn="ctr">
                <a:defRPr/>
              </a:pPr>
              <a:r>
                <a:rPr lang="en-US" sz="900" b="1" kern="0" dirty="0">
                  <a:cs typeface="Arial" pitchFamily="34" charset="0"/>
                </a:rPr>
                <a:t>Lorem ipsum </a:t>
              </a:r>
              <a:r>
                <a:rPr lang="en-US" sz="900" b="1" kern="0" dirty="0" err="1">
                  <a:cs typeface="Arial" pitchFamily="34" charset="0"/>
                </a:rPr>
                <a:t>dolo</a:t>
              </a:r>
              <a:endParaRPr lang="en-US" sz="900" b="1" kern="0" dirty="0">
                <a:cs typeface="Arial" pitchFamily="34" charset="0"/>
              </a:endParaRPr>
            </a:p>
          </p:txBody>
        </p:sp>
        <p:grpSp>
          <p:nvGrpSpPr>
            <p:cNvPr id="177" name="Group 176">
              <a:extLst>
                <a:ext uri="{FF2B5EF4-FFF2-40B4-BE49-F238E27FC236}">
                  <a16:creationId xmlns:a16="http://schemas.microsoft.com/office/drawing/2014/main" id="{EDE93C28-4260-5E49-A464-57A7AE3A1E27}"/>
                </a:ext>
              </a:extLst>
            </p:cNvPr>
            <p:cNvGrpSpPr/>
            <p:nvPr/>
          </p:nvGrpSpPr>
          <p:grpSpPr>
            <a:xfrm>
              <a:off x="5417621" y="1174483"/>
              <a:ext cx="1182888" cy="1179576"/>
              <a:chOff x="11247358" y="2604218"/>
              <a:chExt cx="1152483" cy="1011411"/>
            </a:xfrm>
            <a:solidFill>
              <a:schemeClr val="tx1"/>
            </a:solidFill>
          </p:grpSpPr>
          <p:sp>
            <p:nvSpPr>
              <p:cNvPr id="178" name="Oval 177">
                <a:extLst>
                  <a:ext uri="{FF2B5EF4-FFF2-40B4-BE49-F238E27FC236}">
                    <a16:creationId xmlns:a16="http://schemas.microsoft.com/office/drawing/2014/main" id="{9DA7A366-6A88-454F-AB25-54FA487CD4B5}"/>
                  </a:ext>
                </a:extLst>
              </p:cNvPr>
              <p:cNvSpPr/>
              <p:nvPr/>
            </p:nvSpPr>
            <p:spPr>
              <a:xfrm>
                <a:off x="11247358" y="2604218"/>
                <a:ext cx="1152483" cy="1011411"/>
              </a:xfrm>
              <a:prstGeom prst="ellipse">
                <a:avLst/>
              </a:pr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9" name="Freeform 197">
                <a:extLst>
                  <a:ext uri="{FF2B5EF4-FFF2-40B4-BE49-F238E27FC236}">
                    <a16:creationId xmlns:a16="http://schemas.microsoft.com/office/drawing/2014/main" id="{428579BD-F11D-EE48-8FAF-34B78C5CE22A}"/>
                  </a:ext>
                </a:extLst>
              </p:cNvPr>
              <p:cNvSpPr>
                <a:spLocks/>
              </p:cNvSpPr>
              <p:nvPr/>
            </p:nvSpPr>
            <p:spPr bwMode="auto">
              <a:xfrm>
                <a:off x="11313523" y="2784821"/>
                <a:ext cx="1066158" cy="674631"/>
              </a:xfrm>
              <a:prstGeom prst="rect">
                <a:avLst/>
              </a:prstGeom>
              <a:noFill/>
              <a:ln w="12700">
                <a:noFill/>
                <a:prstDash val="solid"/>
                <a:round/>
                <a:headEnd/>
                <a:tailEnd/>
              </a:ln>
            </p:spPr>
            <p:txBody>
              <a:bodyPr vert="horz" wrap="square" lIns="146304" tIns="73152" rIns="146304" bIns="73152" numCol="1" anchor="ctr" anchorCtr="0" compatLnSpc="1">
                <a:prstTxWarp prst="textNoShape">
                  <a:avLst/>
                </a:prstTxWarp>
              </a:bodyPr>
              <a:lstStyle/>
              <a:p>
                <a:pPr algn="ctr">
                  <a:defRPr/>
                </a:pPr>
                <a:r>
                  <a:rPr lang="en-US" sz="1200" b="1" kern="0" dirty="0">
                    <a:solidFill>
                      <a:schemeClr val="bg1"/>
                    </a:solidFill>
                    <a:cs typeface="Arial" pitchFamily="34" charset="0"/>
                  </a:rPr>
                  <a:t>it, </a:t>
                </a:r>
                <a:r>
                  <a:rPr lang="en-US" sz="1200" b="1" kern="0" dirty="0" err="1">
                    <a:solidFill>
                      <a:schemeClr val="bg1"/>
                    </a:solidFill>
                    <a:cs typeface="Arial" pitchFamily="34" charset="0"/>
                  </a:rPr>
                  <a:t>sed</a:t>
                </a:r>
                <a:r>
                  <a:rPr lang="en-US" sz="1200" b="1" kern="0" dirty="0">
                    <a:solidFill>
                      <a:schemeClr val="bg1"/>
                    </a:solidFill>
                    <a:cs typeface="Arial" pitchFamily="34" charset="0"/>
                  </a:rPr>
                  <a:t> do </a:t>
                </a:r>
                <a:r>
                  <a:rPr lang="en-US" sz="1200" b="1" kern="0" dirty="0" err="1">
                    <a:solidFill>
                      <a:schemeClr val="bg1"/>
                    </a:solidFill>
                    <a:cs typeface="Arial" pitchFamily="34" charset="0"/>
                  </a:rPr>
                  <a:t>eiusmod</a:t>
                </a:r>
                <a:r>
                  <a:rPr lang="en-US" sz="1200" b="1" kern="0" dirty="0">
                    <a:solidFill>
                      <a:schemeClr val="bg1"/>
                    </a:solidFill>
                    <a:cs typeface="Arial" pitchFamily="34" charset="0"/>
                  </a:rPr>
                  <a:t> </a:t>
                </a:r>
                <a:r>
                  <a:rPr lang="en-US" sz="1200" b="1" kern="0" dirty="0" err="1">
                    <a:solidFill>
                      <a:schemeClr val="bg1"/>
                    </a:solidFill>
                    <a:cs typeface="Arial" pitchFamily="34" charset="0"/>
                  </a:rPr>
                  <a:t>tempor</a:t>
                </a:r>
                <a:r>
                  <a:rPr lang="en-US" sz="1200" b="1" kern="0" dirty="0">
                    <a:solidFill>
                      <a:schemeClr val="bg1"/>
                    </a:solidFill>
                    <a:cs typeface="Arial" pitchFamily="34" charset="0"/>
                  </a:rPr>
                  <a:t> </a:t>
                </a:r>
                <a:r>
                  <a:rPr lang="en-US" sz="1200" b="1" kern="0" dirty="0" err="1">
                    <a:solidFill>
                      <a:schemeClr val="bg1"/>
                    </a:solidFill>
                    <a:cs typeface="Arial" pitchFamily="34" charset="0"/>
                  </a:rPr>
                  <a:t>incididunt</a:t>
                </a:r>
                <a:endParaRPr lang="en-US" sz="1200" b="1" kern="0" dirty="0">
                  <a:solidFill>
                    <a:schemeClr val="bg1"/>
                  </a:solidFill>
                  <a:cs typeface="Arial" pitchFamily="34" charset="0"/>
                </a:endParaRPr>
              </a:p>
            </p:txBody>
          </p:sp>
        </p:grpSp>
        <p:sp>
          <p:nvSpPr>
            <p:cNvPr id="182" name="Rectangle 181">
              <a:extLst>
                <a:ext uri="{FF2B5EF4-FFF2-40B4-BE49-F238E27FC236}">
                  <a16:creationId xmlns:a16="http://schemas.microsoft.com/office/drawing/2014/main" id="{E26C7ABF-9AE0-EA40-A209-93EF56E8E642}"/>
                </a:ext>
              </a:extLst>
            </p:cNvPr>
            <p:cNvSpPr/>
            <p:nvPr/>
          </p:nvSpPr>
          <p:spPr>
            <a:xfrm>
              <a:off x="3219230" y="2543274"/>
              <a:ext cx="1006823" cy="246221"/>
            </a:xfrm>
            <a:prstGeom prst="rect">
              <a:avLst/>
            </a:prstGeom>
          </p:spPr>
          <p:txBody>
            <a:bodyPr wrap="square" lIns="0" tIns="0" rIns="0" bIns="0">
              <a:spAutoFit/>
            </a:bodyPr>
            <a:lstStyle/>
            <a:p>
              <a:pPr defTabSz="1312670">
                <a:spcBef>
                  <a:spcPts val="600"/>
                </a:spcBef>
                <a:spcAft>
                  <a:spcPts val="1200"/>
                </a:spcAft>
              </a:pPr>
              <a:r>
                <a:rPr lang="en-US" sz="800" dirty="0">
                  <a:ea typeface="Calibri"/>
                  <a:cs typeface="Times New Roman"/>
                </a:rPr>
                <a:t>it, </a:t>
              </a:r>
              <a:r>
                <a:rPr lang="en-US" sz="800" dirty="0" err="1">
                  <a:ea typeface="Calibri"/>
                  <a:cs typeface="Times New Roman"/>
                </a:rPr>
                <a:t>sed</a:t>
              </a:r>
              <a:r>
                <a:rPr lang="en-US" sz="800" dirty="0">
                  <a:ea typeface="Calibri"/>
                  <a:cs typeface="Times New Roman"/>
                </a:rPr>
                <a:t> do </a:t>
              </a:r>
              <a:r>
                <a:rPr lang="en-US" sz="800" dirty="0" err="1">
                  <a:ea typeface="Calibri"/>
                  <a:cs typeface="Times New Roman"/>
                </a:rPr>
                <a:t>eiusmod</a:t>
              </a:r>
              <a:r>
                <a:rPr lang="en-US" sz="800" dirty="0">
                  <a:ea typeface="Calibri"/>
                  <a:cs typeface="Times New Roman"/>
                </a:rPr>
                <a:t> </a:t>
              </a:r>
              <a:r>
                <a:rPr lang="en-US" sz="800" dirty="0" err="1">
                  <a:ea typeface="Calibri"/>
                  <a:cs typeface="Times New Roman"/>
                </a:rPr>
                <a:t>tempor</a:t>
              </a:r>
              <a:r>
                <a:rPr lang="en-US" sz="800" dirty="0">
                  <a:ea typeface="Calibri"/>
                  <a:cs typeface="Times New Roman"/>
                </a:rPr>
                <a:t> </a:t>
              </a:r>
              <a:r>
                <a:rPr lang="en-US" sz="800" dirty="0" err="1">
                  <a:ea typeface="Calibri"/>
                  <a:cs typeface="Times New Roman"/>
                </a:rPr>
                <a:t>incididunt</a:t>
              </a:r>
              <a:endParaRPr lang="en-US" sz="800" dirty="0">
                <a:ea typeface="Calibri"/>
                <a:cs typeface="Times New Roman"/>
              </a:endParaRPr>
            </a:p>
          </p:txBody>
        </p:sp>
        <p:grpSp>
          <p:nvGrpSpPr>
            <p:cNvPr id="183" name="Group 182">
              <a:extLst>
                <a:ext uri="{FF2B5EF4-FFF2-40B4-BE49-F238E27FC236}">
                  <a16:creationId xmlns:a16="http://schemas.microsoft.com/office/drawing/2014/main" id="{C9D831C2-2D63-3943-9A37-D14DB04AA514}"/>
                </a:ext>
              </a:extLst>
            </p:cNvPr>
            <p:cNvGrpSpPr/>
            <p:nvPr/>
          </p:nvGrpSpPr>
          <p:grpSpPr>
            <a:xfrm>
              <a:off x="8329856" y="1543622"/>
              <a:ext cx="740333" cy="737573"/>
              <a:chOff x="6275351" y="3177707"/>
              <a:chExt cx="815217" cy="830337"/>
            </a:xfrm>
          </p:grpSpPr>
          <p:sp>
            <p:nvSpPr>
              <p:cNvPr id="184" name="Rectangle 183">
                <a:extLst>
                  <a:ext uri="{FF2B5EF4-FFF2-40B4-BE49-F238E27FC236}">
                    <a16:creationId xmlns:a16="http://schemas.microsoft.com/office/drawing/2014/main" id="{0A0DC869-51A3-A24F-9822-5791D64C4C09}"/>
                  </a:ext>
                </a:extLst>
              </p:cNvPr>
              <p:cNvSpPr/>
              <p:nvPr/>
            </p:nvSpPr>
            <p:spPr>
              <a:xfrm>
                <a:off x="6371079" y="3177707"/>
                <a:ext cx="581415" cy="6562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5" name="Freeform 14">
                <a:extLst>
                  <a:ext uri="{FF2B5EF4-FFF2-40B4-BE49-F238E27FC236}">
                    <a16:creationId xmlns:a16="http://schemas.microsoft.com/office/drawing/2014/main" id="{BC9BAA4A-96A7-EE43-A5F0-529E390FE619}"/>
                  </a:ext>
                </a:extLst>
              </p:cNvPr>
              <p:cNvSpPr>
                <a:spLocks noChangeAspect="1" noEditPoints="1"/>
              </p:cNvSpPr>
              <p:nvPr/>
            </p:nvSpPr>
            <p:spPr bwMode="auto">
              <a:xfrm>
                <a:off x="6275351" y="3192827"/>
                <a:ext cx="815217" cy="815217"/>
              </a:xfrm>
              <a:custGeom>
                <a:avLst/>
                <a:gdLst>
                  <a:gd name="T0" fmla="*/ 266 w 512"/>
                  <a:gd name="T1" fmla="*/ 138 h 512"/>
                  <a:gd name="T2" fmla="*/ 309 w 512"/>
                  <a:gd name="T3" fmla="*/ 117 h 512"/>
                  <a:gd name="T4" fmla="*/ 373 w 512"/>
                  <a:gd name="T5" fmla="*/ 234 h 512"/>
                  <a:gd name="T6" fmla="*/ 394 w 512"/>
                  <a:gd name="T7" fmla="*/ 352 h 512"/>
                  <a:gd name="T8" fmla="*/ 160 w 512"/>
                  <a:gd name="T9" fmla="*/ 320 h 512"/>
                  <a:gd name="T10" fmla="*/ 138 w 512"/>
                  <a:gd name="T11" fmla="*/ 320 h 512"/>
                  <a:gd name="T12" fmla="*/ 117 w 512"/>
                  <a:gd name="T13" fmla="*/ 352 h 512"/>
                  <a:gd name="T14" fmla="*/ 138 w 512"/>
                  <a:gd name="T15" fmla="*/ 234 h 512"/>
                  <a:gd name="T16" fmla="*/ 149 w 512"/>
                  <a:gd name="T17" fmla="*/ 202 h 512"/>
                  <a:gd name="T18" fmla="*/ 362 w 512"/>
                  <a:gd name="T19" fmla="*/ 224 h 512"/>
                  <a:gd name="T20" fmla="*/ 160 w 512"/>
                  <a:gd name="T21" fmla="*/ 277 h 512"/>
                  <a:gd name="T22" fmla="*/ 138 w 512"/>
                  <a:gd name="T23" fmla="*/ 277 h 512"/>
                  <a:gd name="T24" fmla="*/ 160 w 512"/>
                  <a:gd name="T25" fmla="*/ 277 h 512"/>
                  <a:gd name="T26" fmla="*/ 192 w 512"/>
                  <a:gd name="T27" fmla="*/ 309 h 512"/>
                  <a:gd name="T28" fmla="*/ 192 w 512"/>
                  <a:gd name="T29" fmla="*/ 330 h 512"/>
                  <a:gd name="T30" fmla="*/ 202 w 512"/>
                  <a:gd name="T31" fmla="*/ 277 h 512"/>
                  <a:gd name="T32" fmla="*/ 181 w 512"/>
                  <a:gd name="T33" fmla="*/ 277 h 512"/>
                  <a:gd name="T34" fmla="*/ 202 w 512"/>
                  <a:gd name="T35" fmla="*/ 277 h 512"/>
                  <a:gd name="T36" fmla="*/ 192 w 512"/>
                  <a:gd name="T37" fmla="*/ 224 h 512"/>
                  <a:gd name="T38" fmla="*/ 192 w 512"/>
                  <a:gd name="T39" fmla="*/ 245 h 512"/>
                  <a:gd name="T40" fmla="*/ 245 w 512"/>
                  <a:gd name="T41" fmla="*/ 320 h 512"/>
                  <a:gd name="T42" fmla="*/ 224 w 512"/>
                  <a:gd name="T43" fmla="*/ 320 h 512"/>
                  <a:gd name="T44" fmla="*/ 245 w 512"/>
                  <a:gd name="T45" fmla="*/ 320 h 512"/>
                  <a:gd name="T46" fmla="*/ 234 w 512"/>
                  <a:gd name="T47" fmla="*/ 266 h 512"/>
                  <a:gd name="T48" fmla="*/ 234 w 512"/>
                  <a:gd name="T49" fmla="*/ 288 h 512"/>
                  <a:gd name="T50" fmla="*/ 245 w 512"/>
                  <a:gd name="T51" fmla="*/ 234 h 512"/>
                  <a:gd name="T52" fmla="*/ 224 w 512"/>
                  <a:gd name="T53" fmla="*/ 234 h 512"/>
                  <a:gd name="T54" fmla="*/ 245 w 512"/>
                  <a:gd name="T55" fmla="*/ 234 h 512"/>
                  <a:gd name="T56" fmla="*/ 277 w 512"/>
                  <a:gd name="T57" fmla="*/ 309 h 512"/>
                  <a:gd name="T58" fmla="*/ 277 w 512"/>
                  <a:gd name="T59" fmla="*/ 330 h 512"/>
                  <a:gd name="T60" fmla="*/ 288 w 512"/>
                  <a:gd name="T61" fmla="*/ 277 h 512"/>
                  <a:gd name="T62" fmla="*/ 266 w 512"/>
                  <a:gd name="T63" fmla="*/ 277 h 512"/>
                  <a:gd name="T64" fmla="*/ 288 w 512"/>
                  <a:gd name="T65" fmla="*/ 277 h 512"/>
                  <a:gd name="T66" fmla="*/ 277 w 512"/>
                  <a:gd name="T67" fmla="*/ 224 h 512"/>
                  <a:gd name="T68" fmla="*/ 277 w 512"/>
                  <a:gd name="T69" fmla="*/ 245 h 512"/>
                  <a:gd name="T70" fmla="*/ 330 w 512"/>
                  <a:gd name="T71" fmla="*/ 320 h 512"/>
                  <a:gd name="T72" fmla="*/ 309 w 512"/>
                  <a:gd name="T73" fmla="*/ 320 h 512"/>
                  <a:gd name="T74" fmla="*/ 330 w 512"/>
                  <a:gd name="T75" fmla="*/ 320 h 512"/>
                  <a:gd name="T76" fmla="*/ 320 w 512"/>
                  <a:gd name="T77" fmla="*/ 266 h 512"/>
                  <a:gd name="T78" fmla="*/ 320 w 512"/>
                  <a:gd name="T79" fmla="*/ 288 h 512"/>
                  <a:gd name="T80" fmla="*/ 330 w 512"/>
                  <a:gd name="T81" fmla="*/ 234 h 512"/>
                  <a:gd name="T82" fmla="*/ 309 w 512"/>
                  <a:gd name="T83" fmla="*/ 234 h 512"/>
                  <a:gd name="T84" fmla="*/ 330 w 512"/>
                  <a:gd name="T85" fmla="*/ 234 h 512"/>
                  <a:gd name="T86" fmla="*/ 362 w 512"/>
                  <a:gd name="T87" fmla="*/ 309 h 512"/>
                  <a:gd name="T88" fmla="*/ 362 w 512"/>
                  <a:gd name="T89" fmla="*/ 330 h 512"/>
                  <a:gd name="T90" fmla="*/ 373 w 512"/>
                  <a:gd name="T91" fmla="*/ 277 h 512"/>
                  <a:gd name="T92" fmla="*/ 352 w 512"/>
                  <a:gd name="T93" fmla="*/ 277 h 512"/>
                  <a:gd name="T94" fmla="*/ 373 w 512"/>
                  <a:gd name="T95" fmla="*/ 277 h 512"/>
                  <a:gd name="T96" fmla="*/ 256 w 512"/>
                  <a:gd name="T97" fmla="*/ 512 h 512"/>
                  <a:gd name="T98" fmla="*/ 256 w 512"/>
                  <a:gd name="T99" fmla="*/ 0 h 512"/>
                  <a:gd name="T100" fmla="*/ 416 w 512"/>
                  <a:gd name="T101" fmla="*/ 224 h 512"/>
                  <a:gd name="T102" fmla="*/ 384 w 512"/>
                  <a:gd name="T103" fmla="*/ 213 h 512"/>
                  <a:gd name="T104" fmla="*/ 373 w 512"/>
                  <a:gd name="T105" fmla="*/ 181 h 512"/>
                  <a:gd name="T106" fmla="*/ 266 w 512"/>
                  <a:gd name="T107" fmla="*/ 160 h 512"/>
                  <a:gd name="T108" fmla="*/ 330 w 512"/>
                  <a:gd name="T109" fmla="*/ 149 h 512"/>
                  <a:gd name="T110" fmla="*/ 320 w 512"/>
                  <a:gd name="T111" fmla="*/ 96 h 512"/>
                  <a:gd name="T112" fmla="*/ 245 w 512"/>
                  <a:gd name="T113" fmla="*/ 106 h 512"/>
                  <a:gd name="T114" fmla="*/ 245 w 512"/>
                  <a:gd name="T115" fmla="*/ 181 h 512"/>
                  <a:gd name="T116" fmla="*/ 128 w 512"/>
                  <a:gd name="T117" fmla="*/ 192 h 512"/>
                  <a:gd name="T118" fmla="*/ 106 w 512"/>
                  <a:gd name="T119" fmla="*/ 213 h 512"/>
                  <a:gd name="T120" fmla="*/ 96 w 512"/>
                  <a:gd name="T121" fmla="*/ 362 h 512"/>
                  <a:gd name="T122" fmla="*/ 405 w 512"/>
                  <a:gd name="T123" fmla="*/ 373 h 512"/>
                  <a:gd name="T124" fmla="*/ 416 w 512"/>
                  <a:gd name="T12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09" y="138"/>
                    </a:moveTo>
                    <a:cubicBezTo>
                      <a:pt x="266" y="138"/>
                      <a:pt x="266" y="138"/>
                      <a:pt x="266" y="138"/>
                    </a:cubicBezTo>
                    <a:cubicBezTo>
                      <a:pt x="266" y="117"/>
                      <a:pt x="266" y="117"/>
                      <a:pt x="266" y="117"/>
                    </a:cubicBezTo>
                    <a:cubicBezTo>
                      <a:pt x="309" y="117"/>
                      <a:pt x="309" y="117"/>
                      <a:pt x="309" y="117"/>
                    </a:cubicBezTo>
                    <a:lnTo>
                      <a:pt x="309" y="138"/>
                    </a:lnTo>
                    <a:close/>
                    <a:moveTo>
                      <a:pt x="373" y="234"/>
                    </a:moveTo>
                    <a:cubicBezTo>
                      <a:pt x="394" y="234"/>
                      <a:pt x="394" y="234"/>
                      <a:pt x="394" y="234"/>
                    </a:cubicBezTo>
                    <a:cubicBezTo>
                      <a:pt x="394" y="352"/>
                      <a:pt x="394" y="352"/>
                      <a:pt x="394" y="352"/>
                    </a:cubicBezTo>
                    <a:cubicBezTo>
                      <a:pt x="160" y="352"/>
                      <a:pt x="160" y="352"/>
                      <a:pt x="160" y="352"/>
                    </a:cubicBezTo>
                    <a:cubicBezTo>
                      <a:pt x="160" y="320"/>
                      <a:pt x="160" y="320"/>
                      <a:pt x="160" y="320"/>
                    </a:cubicBezTo>
                    <a:cubicBezTo>
                      <a:pt x="160" y="314"/>
                      <a:pt x="155" y="309"/>
                      <a:pt x="149" y="309"/>
                    </a:cubicBezTo>
                    <a:cubicBezTo>
                      <a:pt x="143" y="309"/>
                      <a:pt x="138" y="314"/>
                      <a:pt x="138" y="320"/>
                    </a:cubicBezTo>
                    <a:cubicBezTo>
                      <a:pt x="138" y="352"/>
                      <a:pt x="138" y="352"/>
                      <a:pt x="138" y="352"/>
                    </a:cubicBezTo>
                    <a:cubicBezTo>
                      <a:pt x="117" y="352"/>
                      <a:pt x="117" y="352"/>
                      <a:pt x="117" y="352"/>
                    </a:cubicBezTo>
                    <a:cubicBezTo>
                      <a:pt x="117" y="234"/>
                      <a:pt x="117" y="234"/>
                      <a:pt x="117" y="234"/>
                    </a:cubicBezTo>
                    <a:cubicBezTo>
                      <a:pt x="138" y="234"/>
                      <a:pt x="138" y="234"/>
                      <a:pt x="138" y="234"/>
                    </a:cubicBezTo>
                    <a:cubicBezTo>
                      <a:pt x="144" y="234"/>
                      <a:pt x="149" y="230"/>
                      <a:pt x="149" y="224"/>
                    </a:cubicBezTo>
                    <a:cubicBezTo>
                      <a:pt x="149" y="202"/>
                      <a:pt x="149" y="202"/>
                      <a:pt x="149" y="202"/>
                    </a:cubicBezTo>
                    <a:cubicBezTo>
                      <a:pt x="362" y="202"/>
                      <a:pt x="362" y="202"/>
                      <a:pt x="362" y="202"/>
                    </a:cubicBezTo>
                    <a:cubicBezTo>
                      <a:pt x="362" y="224"/>
                      <a:pt x="362" y="224"/>
                      <a:pt x="362" y="224"/>
                    </a:cubicBezTo>
                    <a:cubicBezTo>
                      <a:pt x="362" y="230"/>
                      <a:pt x="367" y="234"/>
                      <a:pt x="373" y="234"/>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73" y="320"/>
                    </a:moveTo>
                    <a:cubicBezTo>
                      <a:pt x="373" y="314"/>
                      <a:pt x="368" y="309"/>
                      <a:pt x="362" y="309"/>
                    </a:cubicBezTo>
                    <a:cubicBezTo>
                      <a:pt x="356" y="309"/>
                      <a:pt x="352" y="314"/>
                      <a:pt x="352" y="320"/>
                    </a:cubicBezTo>
                    <a:cubicBezTo>
                      <a:pt x="352" y="326"/>
                      <a:pt x="356" y="330"/>
                      <a:pt x="362" y="330"/>
                    </a:cubicBezTo>
                    <a:cubicBezTo>
                      <a:pt x="368" y="330"/>
                      <a:pt x="373" y="326"/>
                      <a:pt x="373" y="320"/>
                    </a:cubicBezTo>
                    <a:close/>
                    <a:moveTo>
                      <a:pt x="373" y="277"/>
                    </a:moveTo>
                    <a:cubicBezTo>
                      <a:pt x="373" y="271"/>
                      <a:pt x="368" y="266"/>
                      <a:pt x="362" y="266"/>
                    </a:cubicBezTo>
                    <a:cubicBezTo>
                      <a:pt x="356" y="266"/>
                      <a:pt x="352" y="271"/>
                      <a:pt x="352" y="277"/>
                    </a:cubicBezTo>
                    <a:cubicBezTo>
                      <a:pt x="352" y="283"/>
                      <a:pt x="356" y="288"/>
                      <a:pt x="362" y="288"/>
                    </a:cubicBezTo>
                    <a:cubicBezTo>
                      <a:pt x="368" y="288"/>
                      <a:pt x="373" y="283"/>
                      <a:pt x="373"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84" y="213"/>
                      <a:pt x="384" y="213"/>
                      <a:pt x="384" y="213"/>
                    </a:cubicBezTo>
                    <a:cubicBezTo>
                      <a:pt x="384" y="192"/>
                      <a:pt x="384" y="192"/>
                      <a:pt x="384" y="192"/>
                    </a:cubicBezTo>
                    <a:cubicBezTo>
                      <a:pt x="384" y="186"/>
                      <a:pt x="379" y="181"/>
                      <a:pt x="373" y="181"/>
                    </a:cubicBezTo>
                    <a:cubicBezTo>
                      <a:pt x="266" y="181"/>
                      <a:pt x="266" y="181"/>
                      <a:pt x="266" y="181"/>
                    </a:cubicBezTo>
                    <a:cubicBezTo>
                      <a:pt x="266" y="160"/>
                      <a:pt x="266" y="160"/>
                      <a:pt x="266" y="160"/>
                    </a:cubicBezTo>
                    <a:cubicBezTo>
                      <a:pt x="320" y="160"/>
                      <a:pt x="320" y="160"/>
                      <a:pt x="320" y="160"/>
                    </a:cubicBezTo>
                    <a:cubicBezTo>
                      <a:pt x="326" y="160"/>
                      <a:pt x="330" y="155"/>
                      <a:pt x="330" y="149"/>
                    </a:cubicBezTo>
                    <a:cubicBezTo>
                      <a:pt x="330" y="106"/>
                      <a:pt x="330" y="106"/>
                      <a:pt x="330" y="106"/>
                    </a:cubicBezTo>
                    <a:cubicBezTo>
                      <a:pt x="330" y="100"/>
                      <a:pt x="326" y="96"/>
                      <a:pt x="320" y="96"/>
                    </a:cubicBezTo>
                    <a:cubicBezTo>
                      <a:pt x="256" y="96"/>
                      <a:pt x="256" y="96"/>
                      <a:pt x="256" y="96"/>
                    </a:cubicBezTo>
                    <a:cubicBezTo>
                      <a:pt x="250" y="96"/>
                      <a:pt x="245" y="100"/>
                      <a:pt x="245" y="106"/>
                    </a:cubicBezTo>
                    <a:cubicBezTo>
                      <a:pt x="245" y="149"/>
                      <a:pt x="245" y="149"/>
                      <a:pt x="245" y="149"/>
                    </a:cubicBezTo>
                    <a:cubicBezTo>
                      <a:pt x="245" y="181"/>
                      <a:pt x="245" y="181"/>
                      <a:pt x="245" y="181"/>
                    </a:cubicBezTo>
                    <a:cubicBezTo>
                      <a:pt x="138" y="181"/>
                      <a:pt x="138" y="181"/>
                      <a:pt x="138" y="181"/>
                    </a:cubicBezTo>
                    <a:cubicBezTo>
                      <a:pt x="132" y="181"/>
                      <a:pt x="128" y="186"/>
                      <a:pt x="128" y="192"/>
                    </a:cubicBezTo>
                    <a:cubicBezTo>
                      <a:pt x="128" y="213"/>
                      <a:pt x="128" y="213"/>
                      <a:pt x="128" y="213"/>
                    </a:cubicBezTo>
                    <a:cubicBezTo>
                      <a:pt x="106" y="213"/>
                      <a:pt x="106" y="213"/>
                      <a:pt x="106" y="213"/>
                    </a:cubicBezTo>
                    <a:cubicBezTo>
                      <a:pt x="100" y="213"/>
                      <a:pt x="96" y="218"/>
                      <a:pt x="96" y="224"/>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2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186" name="Group 185">
              <a:extLst>
                <a:ext uri="{FF2B5EF4-FFF2-40B4-BE49-F238E27FC236}">
                  <a16:creationId xmlns:a16="http://schemas.microsoft.com/office/drawing/2014/main" id="{734F0CFC-B1E3-434A-9101-07F05D84EF31}"/>
                </a:ext>
              </a:extLst>
            </p:cNvPr>
            <p:cNvGrpSpPr/>
            <p:nvPr/>
          </p:nvGrpSpPr>
          <p:grpSpPr>
            <a:xfrm>
              <a:off x="3010802" y="1543622"/>
              <a:ext cx="737573" cy="740333"/>
              <a:chOff x="909517" y="3216221"/>
              <a:chExt cx="817614" cy="815217"/>
            </a:xfrm>
          </p:grpSpPr>
          <p:sp>
            <p:nvSpPr>
              <p:cNvPr id="187" name="Rectangle 186">
                <a:extLst>
                  <a:ext uri="{FF2B5EF4-FFF2-40B4-BE49-F238E27FC236}">
                    <a16:creationId xmlns:a16="http://schemas.microsoft.com/office/drawing/2014/main" id="{E0E5F020-01EB-EC4C-A69A-76F3314C1793}"/>
                  </a:ext>
                </a:extLst>
              </p:cNvPr>
              <p:cNvSpPr/>
              <p:nvPr/>
            </p:nvSpPr>
            <p:spPr>
              <a:xfrm>
                <a:off x="1071175" y="3407027"/>
                <a:ext cx="438314" cy="494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8" name="Freeform 23">
                <a:extLst>
                  <a:ext uri="{FF2B5EF4-FFF2-40B4-BE49-F238E27FC236}">
                    <a16:creationId xmlns:a16="http://schemas.microsoft.com/office/drawing/2014/main" id="{03B8BF94-1C7B-7443-92C2-86D1261FAE2E}"/>
                  </a:ext>
                </a:extLst>
              </p:cNvPr>
              <p:cNvSpPr>
                <a:spLocks noChangeAspect="1" noEditPoints="1"/>
              </p:cNvSpPr>
              <p:nvPr/>
            </p:nvSpPr>
            <p:spPr bwMode="auto">
              <a:xfrm>
                <a:off x="909517" y="3216221"/>
                <a:ext cx="817614" cy="815217"/>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89" name="TextBox 188">
              <a:extLst>
                <a:ext uri="{FF2B5EF4-FFF2-40B4-BE49-F238E27FC236}">
                  <a16:creationId xmlns:a16="http://schemas.microsoft.com/office/drawing/2014/main" id="{0071C1FD-AC27-7B40-BD13-5FF4D30E4DB3}"/>
                </a:ext>
              </a:extLst>
            </p:cNvPr>
            <p:cNvSpPr txBox="1"/>
            <p:nvPr/>
          </p:nvSpPr>
          <p:spPr>
            <a:xfrm>
              <a:off x="4195246" y="1506977"/>
              <a:ext cx="1158972" cy="138499"/>
            </a:xfrm>
            <a:prstGeom prst="rect">
              <a:avLst/>
            </a:prstGeom>
            <a:noFill/>
          </p:spPr>
          <p:txBody>
            <a:bodyPr vert="horz" wrap="none" lIns="0" tIns="0" rIns="0" bIns="0" rtlCol="0">
              <a:spAutoFit/>
            </a:bodyPr>
            <a:lstStyle/>
            <a:p>
              <a:pPr>
                <a:spcBef>
                  <a:spcPts val="200"/>
                </a:spcBef>
                <a:buSzPct val="100000"/>
              </a:pPr>
              <a:r>
                <a:rPr lang="en-US" sz="900" b="1" dirty="0">
                  <a:solidFill>
                    <a:schemeClr val="accent3"/>
                  </a:solidFill>
                  <a:latin typeface="Verdana" charset="0"/>
                  <a:ea typeface="Verdana" charset="0"/>
                  <a:cs typeface="Verdana" charset="0"/>
                </a:rPr>
                <a:t>Lorem ipsum </a:t>
              </a:r>
              <a:r>
                <a:rPr lang="en-US" sz="900" b="1" dirty="0" err="1">
                  <a:solidFill>
                    <a:schemeClr val="accent3"/>
                  </a:solidFill>
                  <a:latin typeface="Verdana" charset="0"/>
                  <a:ea typeface="Verdana" charset="0"/>
                  <a:cs typeface="Verdana" charset="0"/>
                </a:rPr>
                <a:t>dolo</a:t>
              </a:r>
              <a:endParaRPr lang="en-US" sz="900" b="1" dirty="0">
                <a:solidFill>
                  <a:schemeClr val="accent3"/>
                </a:solidFill>
                <a:latin typeface="Verdana" charset="0"/>
                <a:ea typeface="Verdana" charset="0"/>
                <a:cs typeface="Verdana" charset="0"/>
              </a:endParaRPr>
            </a:p>
          </p:txBody>
        </p:sp>
        <p:sp>
          <p:nvSpPr>
            <p:cNvPr id="190" name="TextBox 189">
              <a:extLst>
                <a:ext uri="{FF2B5EF4-FFF2-40B4-BE49-F238E27FC236}">
                  <a16:creationId xmlns:a16="http://schemas.microsoft.com/office/drawing/2014/main" id="{FABA93D6-8F5F-2945-BF85-99EDDDA2B70F}"/>
                </a:ext>
              </a:extLst>
            </p:cNvPr>
            <p:cNvSpPr txBox="1"/>
            <p:nvPr/>
          </p:nvSpPr>
          <p:spPr>
            <a:xfrm>
              <a:off x="7253590" y="1524844"/>
              <a:ext cx="1158972" cy="138499"/>
            </a:xfrm>
            <a:prstGeom prst="rect">
              <a:avLst/>
            </a:prstGeom>
            <a:noFill/>
          </p:spPr>
          <p:txBody>
            <a:bodyPr vert="horz" wrap="none" lIns="0" tIns="0" rIns="0" bIns="0" rtlCol="0">
              <a:spAutoFit/>
            </a:bodyPr>
            <a:lstStyle/>
            <a:p>
              <a:pPr>
                <a:spcBef>
                  <a:spcPts val="200"/>
                </a:spcBef>
                <a:buSzPct val="100000"/>
              </a:pPr>
              <a:r>
                <a:rPr lang="en-US" sz="900" b="1" dirty="0">
                  <a:solidFill>
                    <a:schemeClr val="accent1"/>
                  </a:solidFill>
                  <a:latin typeface="Verdana" charset="0"/>
                  <a:ea typeface="Verdana" charset="0"/>
                  <a:cs typeface="Verdana" charset="0"/>
                </a:rPr>
                <a:t>Lorem ipsum </a:t>
              </a:r>
              <a:r>
                <a:rPr lang="en-US" sz="900" b="1" dirty="0" err="1">
                  <a:solidFill>
                    <a:schemeClr val="accent1"/>
                  </a:solidFill>
                  <a:latin typeface="Verdana" charset="0"/>
                  <a:ea typeface="Verdana" charset="0"/>
                  <a:cs typeface="Verdana" charset="0"/>
                </a:rPr>
                <a:t>dolo</a:t>
              </a:r>
              <a:endParaRPr lang="en-US" sz="900" b="1" dirty="0">
                <a:solidFill>
                  <a:schemeClr val="accent1"/>
                </a:solidFill>
                <a:latin typeface="Verdana" charset="0"/>
                <a:ea typeface="Verdana" charset="0"/>
                <a:cs typeface="Verdana" charset="0"/>
              </a:endParaRPr>
            </a:p>
          </p:txBody>
        </p:sp>
        <p:sp>
          <p:nvSpPr>
            <p:cNvPr id="191" name="Rectangle 190">
              <a:extLst>
                <a:ext uri="{FF2B5EF4-FFF2-40B4-BE49-F238E27FC236}">
                  <a16:creationId xmlns:a16="http://schemas.microsoft.com/office/drawing/2014/main" id="{5B10FA63-AD00-D043-BB5B-82D35CB9FB6B}"/>
                </a:ext>
              </a:extLst>
            </p:cNvPr>
            <p:cNvSpPr/>
            <p:nvPr/>
          </p:nvSpPr>
          <p:spPr>
            <a:xfrm>
              <a:off x="3257330" y="3449243"/>
              <a:ext cx="905118" cy="246221"/>
            </a:xfrm>
            <a:prstGeom prst="rect">
              <a:avLst/>
            </a:prstGeom>
          </p:spPr>
          <p:txBody>
            <a:bodyPr wrap="square" lIns="0" tIns="0" rIns="0" bIns="0">
              <a:spAutoFit/>
            </a:bodyPr>
            <a:lstStyle/>
            <a:p>
              <a:pPr defTabSz="1312670">
                <a:spcBef>
                  <a:spcPts val="600"/>
                </a:spcBef>
                <a:spcAft>
                  <a:spcPts val="1200"/>
                </a:spcAft>
              </a:pPr>
              <a:r>
                <a:rPr lang="en-US" sz="800" dirty="0">
                  <a:ea typeface="Calibri"/>
                  <a:cs typeface="Times New Roman"/>
                </a:rPr>
                <a:t>it, </a:t>
              </a:r>
              <a:r>
                <a:rPr lang="en-US" sz="800" dirty="0" err="1">
                  <a:ea typeface="Calibri"/>
                  <a:cs typeface="Times New Roman"/>
                </a:rPr>
                <a:t>sed</a:t>
              </a:r>
              <a:r>
                <a:rPr lang="en-US" sz="800" dirty="0">
                  <a:ea typeface="Calibri"/>
                  <a:cs typeface="Times New Roman"/>
                </a:rPr>
                <a:t> do </a:t>
              </a:r>
              <a:r>
                <a:rPr lang="en-US" sz="800" dirty="0" err="1">
                  <a:ea typeface="Calibri"/>
                  <a:cs typeface="Times New Roman"/>
                </a:rPr>
                <a:t>eiusmod</a:t>
              </a:r>
              <a:r>
                <a:rPr lang="en-US" sz="800" dirty="0">
                  <a:ea typeface="Calibri"/>
                  <a:cs typeface="Times New Roman"/>
                </a:rPr>
                <a:t> </a:t>
              </a:r>
              <a:r>
                <a:rPr lang="en-US" sz="800" dirty="0" err="1">
                  <a:ea typeface="Calibri"/>
                  <a:cs typeface="Times New Roman"/>
                </a:rPr>
                <a:t>tempor</a:t>
              </a:r>
              <a:r>
                <a:rPr lang="en-US" sz="800" dirty="0">
                  <a:ea typeface="Calibri"/>
                  <a:cs typeface="Times New Roman"/>
                </a:rPr>
                <a:t> </a:t>
              </a:r>
              <a:r>
                <a:rPr lang="en-US" sz="800" dirty="0" err="1">
                  <a:ea typeface="Calibri"/>
                  <a:cs typeface="Times New Roman"/>
                </a:rPr>
                <a:t>incididunt</a:t>
              </a:r>
              <a:endParaRPr lang="en-US" sz="800" dirty="0">
                <a:ea typeface="Calibri"/>
                <a:cs typeface="Times New Roman"/>
              </a:endParaRPr>
            </a:p>
          </p:txBody>
        </p:sp>
        <p:grpSp>
          <p:nvGrpSpPr>
            <p:cNvPr id="192" name="Group 191">
              <a:extLst>
                <a:ext uri="{FF2B5EF4-FFF2-40B4-BE49-F238E27FC236}">
                  <a16:creationId xmlns:a16="http://schemas.microsoft.com/office/drawing/2014/main" id="{9D76DDD1-C252-DB4B-8BEC-03D00419333B}"/>
                </a:ext>
              </a:extLst>
            </p:cNvPr>
            <p:cNvGrpSpPr/>
            <p:nvPr/>
          </p:nvGrpSpPr>
          <p:grpSpPr>
            <a:xfrm>
              <a:off x="2853602" y="4332308"/>
              <a:ext cx="671166" cy="671166"/>
              <a:chOff x="423864" y="4448176"/>
              <a:chExt cx="533400" cy="533400"/>
            </a:xfrm>
          </p:grpSpPr>
          <p:grpSp>
            <p:nvGrpSpPr>
              <p:cNvPr id="193" name="Group 192">
                <a:extLst>
                  <a:ext uri="{FF2B5EF4-FFF2-40B4-BE49-F238E27FC236}">
                    <a16:creationId xmlns:a16="http://schemas.microsoft.com/office/drawing/2014/main" id="{4962A0FB-7C78-4B47-A3C8-FE4285F6D7EF}"/>
                  </a:ext>
                </a:extLst>
              </p:cNvPr>
              <p:cNvGrpSpPr/>
              <p:nvPr/>
            </p:nvGrpSpPr>
            <p:grpSpPr>
              <a:xfrm>
                <a:off x="423864" y="4448176"/>
                <a:ext cx="533400" cy="533400"/>
                <a:chOff x="2281238" y="5324475"/>
                <a:chExt cx="942975" cy="942975"/>
              </a:xfrm>
            </p:grpSpPr>
            <p:sp>
              <p:nvSpPr>
                <p:cNvPr id="195" name="Teardrop 194">
                  <a:extLst>
                    <a:ext uri="{FF2B5EF4-FFF2-40B4-BE49-F238E27FC236}">
                      <a16:creationId xmlns:a16="http://schemas.microsoft.com/office/drawing/2014/main" id="{5DD2BC0C-E3F6-0B41-AB6E-3CCCC2DCD939}"/>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6" name="Oval 195">
                  <a:extLst>
                    <a:ext uri="{FF2B5EF4-FFF2-40B4-BE49-F238E27FC236}">
                      <a16:creationId xmlns:a16="http://schemas.microsoft.com/office/drawing/2014/main" id="{F0AE1E2D-B531-8040-80F1-9C324FBA3A54}"/>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94" name="Rectangle 193">
                <a:extLst>
                  <a:ext uri="{FF2B5EF4-FFF2-40B4-BE49-F238E27FC236}">
                    <a16:creationId xmlns:a16="http://schemas.microsoft.com/office/drawing/2014/main" id="{449739A8-E938-C347-AAB0-C1B60ADF8122}"/>
                  </a:ext>
                </a:extLst>
              </p:cNvPr>
              <p:cNvSpPr/>
              <p:nvPr/>
            </p:nvSpPr>
            <p:spPr>
              <a:xfrm>
                <a:off x="549746" y="4655212"/>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197" name="Rectangle 196">
              <a:extLst>
                <a:ext uri="{FF2B5EF4-FFF2-40B4-BE49-F238E27FC236}">
                  <a16:creationId xmlns:a16="http://schemas.microsoft.com/office/drawing/2014/main" id="{BC5E6332-E90A-D641-88C1-AA1DD0EB6F98}"/>
                </a:ext>
              </a:extLst>
            </p:cNvPr>
            <p:cNvSpPr/>
            <p:nvPr/>
          </p:nvSpPr>
          <p:spPr>
            <a:xfrm>
              <a:off x="3080031" y="5493488"/>
              <a:ext cx="468804" cy="492443"/>
            </a:xfrm>
            <a:prstGeom prst="rect">
              <a:avLst/>
            </a:prstGeom>
          </p:spPr>
          <p:txBody>
            <a:bodyPr wrap="square" lIns="0" tIns="0" rIns="0" bIns="0">
              <a:spAutoFit/>
            </a:bodyPr>
            <a:lstStyle/>
            <a:p>
              <a:pPr defTabSz="1312670">
                <a:spcBef>
                  <a:spcPts val="600"/>
                </a:spcBef>
                <a:spcAft>
                  <a:spcPts val="1200"/>
                </a:spcAft>
              </a:pPr>
              <a:r>
                <a:rPr lang="da-DK" sz="800" dirty="0">
                  <a:ea typeface="Calibri"/>
                  <a:cs typeface="Times New Roman"/>
                </a:rPr>
                <a:t>Lorem ipsum dolor sit ame</a:t>
              </a:r>
              <a:endParaRPr lang="en-US" sz="800" dirty="0">
                <a:ea typeface="Calibri"/>
                <a:cs typeface="Times New Roman"/>
              </a:endParaRPr>
            </a:p>
          </p:txBody>
        </p:sp>
        <p:grpSp>
          <p:nvGrpSpPr>
            <p:cNvPr id="198" name="Group 197">
              <a:extLst>
                <a:ext uri="{FF2B5EF4-FFF2-40B4-BE49-F238E27FC236}">
                  <a16:creationId xmlns:a16="http://schemas.microsoft.com/office/drawing/2014/main" id="{C8E45EC4-123A-0549-8926-920096821605}"/>
                </a:ext>
              </a:extLst>
            </p:cNvPr>
            <p:cNvGrpSpPr/>
            <p:nvPr/>
          </p:nvGrpSpPr>
          <p:grpSpPr>
            <a:xfrm>
              <a:off x="3692117" y="4370408"/>
              <a:ext cx="671166" cy="671166"/>
              <a:chOff x="423864" y="4448176"/>
              <a:chExt cx="533400" cy="533400"/>
            </a:xfrm>
          </p:grpSpPr>
          <p:grpSp>
            <p:nvGrpSpPr>
              <p:cNvPr id="199" name="Group 198">
                <a:extLst>
                  <a:ext uri="{FF2B5EF4-FFF2-40B4-BE49-F238E27FC236}">
                    <a16:creationId xmlns:a16="http://schemas.microsoft.com/office/drawing/2014/main" id="{4DF48B9C-34BA-F04C-9949-9F8636830E10}"/>
                  </a:ext>
                </a:extLst>
              </p:cNvPr>
              <p:cNvGrpSpPr/>
              <p:nvPr/>
            </p:nvGrpSpPr>
            <p:grpSpPr>
              <a:xfrm>
                <a:off x="423864" y="4448176"/>
                <a:ext cx="533400" cy="533400"/>
                <a:chOff x="2281238" y="5324475"/>
                <a:chExt cx="942975" cy="942975"/>
              </a:xfrm>
            </p:grpSpPr>
            <p:sp>
              <p:nvSpPr>
                <p:cNvPr id="201" name="Teardrop 200">
                  <a:extLst>
                    <a:ext uri="{FF2B5EF4-FFF2-40B4-BE49-F238E27FC236}">
                      <a16:creationId xmlns:a16="http://schemas.microsoft.com/office/drawing/2014/main" id="{6BB37178-B951-E748-BD1F-3DAF6FE564FF}"/>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2" name="Oval 201">
                  <a:extLst>
                    <a:ext uri="{FF2B5EF4-FFF2-40B4-BE49-F238E27FC236}">
                      <a16:creationId xmlns:a16="http://schemas.microsoft.com/office/drawing/2014/main" id="{1D691126-2F53-274E-850D-E5FE5EC04F12}"/>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00" name="Rectangle 199">
                <a:extLst>
                  <a:ext uri="{FF2B5EF4-FFF2-40B4-BE49-F238E27FC236}">
                    <a16:creationId xmlns:a16="http://schemas.microsoft.com/office/drawing/2014/main" id="{13431137-23C8-F146-A23A-16D705E5EDD5}"/>
                  </a:ext>
                </a:extLst>
              </p:cNvPr>
              <p:cNvSpPr/>
              <p:nvPr/>
            </p:nvSpPr>
            <p:spPr>
              <a:xfrm>
                <a:off x="564503" y="4655212"/>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203" name="Rectangle 202">
              <a:extLst>
                <a:ext uri="{FF2B5EF4-FFF2-40B4-BE49-F238E27FC236}">
                  <a16:creationId xmlns:a16="http://schemas.microsoft.com/office/drawing/2014/main" id="{33377070-20DF-4C45-8146-1A4603006D8C}"/>
                </a:ext>
              </a:extLst>
            </p:cNvPr>
            <p:cNvSpPr/>
            <p:nvPr/>
          </p:nvSpPr>
          <p:spPr>
            <a:xfrm>
              <a:off x="3860906" y="5493488"/>
              <a:ext cx="736885" cy="246221"/>
            </a:xfrm>
            <a:prstGeom prst="rect">
              <a:avLst/>
            </a:prstGeom>
          </p:spPr>
          <p:txBody>
            <a:bodyPr wrap="square" lIns="0" tIns="0" rIns="0" bIns="0">
              <a:spAutoFit/>
            </a:bodyPr>
            <a:lstStyle/>
            <a:p>
              <a:pPr defTabSz="1312670">
                <a:spcBef>
                  <a:spcPts val="600"/>
                </a:spcBef>
                <a:spcAft>
                  <a:spcPts val="1200"/>
                </a:spcAft>
              </a:pPr>
              <a:r>
                <a:rPr lang="da-DK" sz="800" dirty="0">
                  <a:ea typeface="Calibri"/>
                  <a:cs typeface="Times New Roman"/>
                </a:rPr>
                <a:t>Lorem ipsum dolor sit ame</a:t>
              </a:r>
              <a:endParaRPr lang="en-US" sz="800" dirty="0">
                <a:ea typeface="Calibri"/>
                <a:cs typeface="Times New Roman"/>
              </a:endParaRPr>
            </a:p>
          </p:txBody>
        </p:sp>
        <p:grpSp>
          <p:nvGrpSpPr>
            <p:cNvPr id="204" name="Group 203">
              <a:extLst>
                <a:ext uri="{FF2B5EF4-FFF2-40B4-BE49-F238E27FC236}">
                  <a16:creationId xmlns:a16="http://schemas.microsoft.com/office/drawing/2014/main" id="{8DCF2439-4A39-8B41-B9A7-BDC3AA8ECD6D}"/>
                </a:ext>
              </a:extLst>
            </p:cNvPr>
            <p:cNvGrpSpPr/>
            <p:nvPr/>
          </p:nvGrpSpPr>
          <p:grpSpPr>
            <a:xfrm>
              <a:off x="7593894" y="4356588"/>
              <a:ext cx="671166" cy="671166"/>
              <a:chOff x="423864" y="4448176"/>
              <a:chExt cx="533400" cy="533400"/>
            </a:xfrm>
          </p:grpSpPr>
          <p:grpSp>
            <p:nvGrpSpPr>
              <p:cNvPr id="205" name="Group 204">
                <a:extLst>
                  <a:ext uri="{FF2B5EF4-FFF2-40B4-BE49-F238E27FC236}">
                    <a16:creationId xmlns:a16="http://schemas.microsoft.com/office/drawing/2014/main" id="{34494725-9661-A446-968B-CB7E6DD5648B}"/>
                  </a:ext>
                </a:extLst>
              </p:cNvPr>
              <p:cNvGrpSpPr/>
              <p:nvPr/>
            </p:nvGrpSpPr>
            <p:grpSpPr>
              <a:xfrm>
                <a:off x="423864" y="4448176"/>
                <a:ext cx="533400" cy="533400"/>
                <a:chOff x="2281238" y="5324475"/>
                <a:chExt cx="942975" cy="942975"/>
              </a:xfrm>
            </p:grpSpPr>
            <p:sp>
              <p:nvSpPr>
                <p:cNvPr id="207" name="Teardrop 206">
                  <a:extLst>
                    <a:ext uri="{FF2B5EF4-FFF2-40B4-BE49-F238E27FC236}">
                      <a16:creationId xmlns:a16="http://schemas.microsoft.com/office/drawing/2014/main" id="{3E3C1733-723B-2E44-BBED-68480AF3A4FD}"/>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8" name="Oval 207">
                  <a:extLst>
                    <a:ext uri="{FF2B5EF4-FFF2-40B4-BE49-F238E27FC236}">
                      <a16:creationId xmlns:a16="http://schemas.microsoft.com/office/drawing/2014/main" id="{4D5B1C9A-79DA-DD4E-B5AF-7C874CCCAE5A}"/>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06" name="Rectangle 205">
                <a:extLst>
                  <a:ext uri="{FF2B5EF4-FFF2-40B4-BE49-F238E27FC236}">
                    <a16:creationId xmlns:a16="http://schemas.microsoft.com/office/drawing/2014/main" id="{CCD579C4-A0AB-7C4F-9012-D0B005DE746C}"/>
                  </a:ext>
                </a:extLst>
              </p:cNvPr>
              <p:cNvSpPr/>
              <p:nvPr/>
            </p:nvSpPr>
            <p:spPr>
              <a:xfrm>
                <a:off x="564502" y="4655212"/>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209" name="Rectangle 208">
              <a:extLst>
                <a:ext uri="{FF2B5EF4-FFF2-40B4-BE49-F238E27FC236}">
                  <a16:creationId xmlns:a16="http://schemas.microsoft.com/office/drawing/2014/main" id="{DE94B15E-F5DB-EA4C-AAD1-A96F7A96714C}"/>
                </a:ext>
              </a:extLst>
            </p:cNvPr>
            <p:cNvSpPr/>
            <p:nvPr/>
          </p:nvSpPr>
          <p:spPr>
            <a:xfrm>
              <a:off x="7556392" y="5483655"/>
              <a:ext cx="736885" cy="246221"/>
            </a:xfrm>
            <a:prstGeom prst="rect">
              <a:avLst/>
            </a:prstGeom>
          </p:spPr>
          <p:txBody>
            <a:bodyPr wrap="square" lIns="0" tIns="0" rIns="0" bIns="0">
              <a:spAutoFit/>
            </a:bodyPr>
            <a:lstStyle/>
            <a:p>
              <a:pPr defTabSz="1312670">
                <a:spcBef>
                  <a:spcPts val="600"/>
                </a:spcBef>
                <a:spcAft>
                  <a:spcPts val="1200"/>
                </a:spcAft>
              </a:pPr>
              <a:r>
                <a:rPr lang="da-DK" sz="800" dirty="0">
                  <a:ea typeface="Calibri"/>
                  <a:cs typeface="Times New Roman"/>
                </a:rPr>
                <a:t>Lorem ipsum dolor sit ame</a:t>
              </a:r>
              <a:endParaRPr lang="en-US" sz="800" dirty="0">
                <a:ea typeface="Calibri"/>
                <a:cs typeface="Times New Roman"/>
              </a:endParaRPr>
            </a:p>
          </p:txBody>
        </p:sp>
        <p:grpSp>
          <p:nvGrpSpPr>
            <p:cNvPr id="210" name="Group 209">
              <a:extLst>
                <a:ext uri="{FF2B5EF4-FFF2-40B4-BE49-F238E27FC236}">
                  <a16:creationId xmlns:a16="http://schemas.microsoft.com/office/drawing/2014/main" id="{A76BECBB-CDB9-7546-BFC9-38BE39DABBFC}"/>
                </a:ext>
              </a:extLst>
            </p:cNvPr>
            <p:cNvGrpSpPr/>
            <p:nvPr/>
          </p:nvGrpSpPr>
          <p:grpSpPr>
            <a:xfrm>
              <a:off x="8400752" y="4332308"/>
              <a:ext cx="671166" cy="671166"/>
              <a:chOff x="423864" y="4448176"/>
              <a:chExt cx="533400" cy="533400"/>
            </a:xfrm>
          </p:grpSpPr>
          <p:grpSp>
            <p:nvGrpSpPr>
              <p:cNvPr id="211" name="Group 210">
                <a:extLst>
                  <a:ext uri="{FF2B5EF4-FFF2-40B4-BE49-F238E27FC236}">
                    <a16:creationId xmlns:a16="http://schemas.microsoft.com/office/drawing/2014/main" id="{8F02698C-80B3-BE42-BFDF-43DFD47286E9}"/>
                  </a:ext>
                </a:extLst>
              </p:cNvPr>
              <p:cNvGrpSpPr/>
              <p:nvPr/>
            </p:nvGrpSpPr>
            <p:grpSpPr>
              <a:xfrm>
                <a:off x="423864" y="4448176"/>
                <a:ext cx="533400" cy="533400"/>
                <a:chOff x="2281238" y="5324475"/>
                <a:chExt cx="942975" cy="942975"/>
              </a:xfrm>
            </p:grpSpPr>
            <p:sp>
              <p:nvSpPr>
                <p:cNvPr id="213" name="Teardrop 212">
                  <a:extLst>
                    <a:ext uri="{FF2B5EF4-FFF2-40B4-BE49-F238E27FC236}">
                      <a16:creationId xmlns:a16="http://schemas.microsoft.com/office/drawing/2014/main" id="{110C6634-57D1-314B-B4F0-0F16F5EDB15B}"/>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4" name="Oval 213">
                  <a:extLst>
                    <a:ext uri="{FF2B5EF4-FFF2-40B4-BE49-F238E27FC236}">
                      <a16:creationId xmlns:a16="http://schemas.microsoft.com/office/drawing/2014/main" id="{F4E4DE61-E7D8-E841-8B0D-26906975AA8F}"/>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12" name="Rectangle 211">
                <a:extLst>
                  <a:ext uri="{FF2B5EF4-FFF2-40B4-BE49-F238E27FC236}">
                    <a16:creationId xmlns:a16="http://schemas.microsoft.com/office/drawing/2014/main" id="{0B09EDDD-7047-3B40-AF87-F9701BF797A9}"/>
                  </a:ext>
                </a:extLst>
              </p:cNvPr>
              <p:cNvSpPr/>
              <p:nvPr/>
            </p:nvSpPr>
            <p:spPr>
              <a:xfrm>
                <a:off x="549746" y="4596190"/>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215" name="Rectangle 214">
              <a:extLst>
                <a:ext uri="{FF2B5EF4-FFF2-40B4-BE49-F238E27FC236}">
                  <a16:creationId xmlns:a16="http://schemas.microsoft.com/office/drawing/2014/main" id="{9B7073A1-90F9-B044-9434-B9B1E363FDE0}"/>
                </a:ext>
              </a:extLst>
            </p:cNvPr>
            <p:cNvSpPr/>
            <p:nvPr/>
          </p:nvSpPr>
          <p:spPr>
            <a:xfrm>
              <a:off x="8468199" y="5493488"/>
              <a:ext cx="977899" cy="246221"/>
            </a:xfrm>
            <a:prstGeom prst="rect">
              <a:avLst/>
            </a:prstGeom>
          </p:spPr>
          <p:txBody>
            <a:bodyPr wrap="square" lIns="0" tIns="0" rIns="0" bIns="0">
              <a:spAutoFit/>
            </a:bodyPr>
            <a:lstStyle/>
            <a:p>
              <a:pPr defTabSz="1312670">
                <a:spcBef>
                  <a:spcPts val="600"/>
                </a:spcBef>
                <a:spcAft>
                  <a:spcPts val="1200"/>
                </a:spcAft>
              </a:pPr>
              <a:r>
                <a:rPr lang="da-DK" sz="800" dirty="0">
                  <a:ea typeface="Calibri"/>
                  <a:cs typeface="Times New Roman"/>
                </a:rPr>
                <a:t>Lorem ipsum dolor sit ame</a:t>
              </a:r>
              <a:endParaRPr lang="en-US" sz="800" dirty="0">
                <a:ea typeface="Calibri"/>
                <a:cs typeface="Times New Roman"/>
              </a:endParaRPr>
            </a:p>
          </p:txBody>
        </p:sp>
        <p:grpSp>
          <p:nvGrpSpPr>
            <p:cNvPr id="216" name="Group 215">
              <a:extLst>
                <a:ext uri="{FF2B5EF4-FFF2-40B4-BE49-F238E27FC236}">
                  <a16:creationId xmlns:a16="http://schemas.microsoft.com/office/drawing/2014/main" id="{8FA97D28-C363-8540-B58C-8CE097F103F0}"/>
                </a:ext>
              </a:extLst>
            </p:cNvPr>
            <p:cNvGrpSpPr/>
            <p:nvPr/>
          </p:nvGrpSpPr>
          <p:grpSpPr>
            <a:xfrm>
              <a:off x="8764474" y="3396379"/>
              <a:ext cx="671166" cy="671166"/>
              <a:chOff x="423864" y="4448176"/>
              <a:chExt cx="533400" cy="533400"/>
            </a:xfrm>
          </p:grpSpPr>
          <p:grpSp>
            <p:nvGrpSpPr>
              <p:cNvPr id="217" name="Group 216">
                <a:extLst>
                  <a:ext uri="{FF2B5EF4-FFF2-40B4-BE49-F238E27FC236}">
                    <a16:creationId xmlns:a16="http://schemas.microsoft.com/office/drawing/2014/main" id="{44716FD5-9D4B-DB45-B6F7-891080A3AD3D}"/>
                  </a:ext>
                </a:extLst>
              </p:cNvPr>
              <p:cNvGrpSpPr/>
              <p:nvPr/>
            </p:nvGrpSpPr>
            <p:grpSpPr>
              <a:xfrm>
                <a:off x="423864" y="4448176"/>
                <a:ext cx="533400" cy="533400"/>
                <a:chOff x="2281238" y="5324475"/>
                <a:chExt cx="942975" cy="942975"/>
              </a:xfrm>
            </p:grpSpPr>
            <p:sp>
              <p:nvSpPr>
                <p:cNvPr id="219" name="Teardrop 218">
                  <a:extLst>
                    <a:ext uri="{FF2B5EF4-FFF2-40B4-BE49-F238E27FC236}">
                      <a16:creationId xmlns:a16="http://schemas.microsoft.com/office/drawing/2014/main" id="{C4299F04-B26F-674B-A1B8-414B8CCABD34}"/>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0" name="Oval 219">
                  <a:extLst>
                    <a:ext uri="{FF2B5EF4-FFF2-40B4-BE49-F238E27FC236}">
                      <a16:creationId xmlns:a16="http://schemas.microsoft.com/office/drawing/2014/main" id="{E5DA4DC3-BA34-624B-A71D-7636435F87F4}"/>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18" name="Rectangle 217">
                <a:extLst>
                  <a:ext uri="{FF2B5EF4-FFF2-40B4-BE49-F238E27FC236}">
                    <a16:creationId xmlns:a16="http://schemas.microsoft.com/office/drawing/2014/main" id="{678765CD-F3C0-D249-8D9B-F1135877A125}"/>
                  </a:ext>
                </a:extLst>
              </p:cNvPr>
              <p:cNvSpPr/>
              <p:nvPr/>
            </p:nvSpPr>
            <p:spPr>
              <a:xfrm>
                <a:off x="549746" y="4640457"/>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221" name="Rectangle 220">
              <a:extLst>
                <a:ext uri="{FF2B5EF4-FFF2-40B4-BE49-F238E27FC236}">
                  <a16:creationId xmlns:a16="http://schemas.microsoft.com/office/drawing/2014/main" id="{2800D3DF-DC90-144D-9660-7A53AF9CDBBB}"/>
                </a:ext>
              </a:extLst>
            </p:cNvPr>
            <p:cNvSpPr/>
            <p:nvPr/>
          </p:nvSpPr>
          <p:spPr>
            <a:xfrm>
              <a:off x="7924478" y="3507842"/>
              <a:ext cx="937608" cy="246221"/>
            </a:xfrm>
            <a:prstGeom prst="rect">
              <a:avLst/>
            </a:prstGeom>
          </p:spPr>
          <p:txBody>
            <a:bodyPr wrap="square" lIns="0" tIns="0" rIns="0" bIns="0">
              <a:spAutoFit/>
            </a:bodyPr>
            <a:lstStyle/>
            <a:p>
              <a:pPr defTabSz="1312670">
                <a:spcBef>
                  <a:spcPts val="600"/>
                </a:spcBef>
                <a:spcAft>
                  <a:spcPts val="1200"/>
                </a:spcAft>
              </a:pPr>
              <a:r>
                <a:rPr lang="en-US" sz="800" dirty="0">
                  <a:ea typeface="Calibri"/>
                  <a:cs typeface="Times New Roman"/>
                </a:rPr>
                <a:t>it, </a:t>
              </a:r>
              <a:r>
                <a:rPr lang="en-US" sz="800" dirty="0" err="1">
                  <a:ea typeface="Calibri"/>
                  <a:cs typeface="Times New Roman"/>
                </a:rPr>
                <a:t>sed</a:t>
              </a:r>
              <a:r>
                <a:rPr lang="en-US" sz="800" dirty="0">
                  <a:ea typeface="Calibri"/>
                  <a:cs typeface="Times New Roman"/>
                </a:rPr>
                <a:t> do </a:t>
              </a:r>
              <a:r>
                <a:rPr lang="en-US" sz="800" dirty="0" err="1">
                  <a:ea typeface="Calibri"/>
                  <a:cs typeface="Times New Roman"/>
                </a:rPr>
                <a:t>eiusmod</a:t>
              </a:r>
              <a:r>
                <a:rPr lang="en-US" sz="800" dirty="0">
                  <a:ea typeface="Calibri"/>
                  <a:cs typeface="Times New Roman"/>
                </a:rPr>
                <a:t> </a:t>
              </a:r>
              <a:r>
                <a:rPr lang="en-US" sz="800" dirty="0" err="1">
                  <a:ea typeface="Calibri"/>
                  <a:cs typeface="Times New Roman"/>
                </a:rPr>
                <a:t>tempor</a:t>
              </a:r>
              <a:r>
                <a:rPr lang="en-US" sz="800" dirty="0">
                  <a:ea typeface="Calibri"/>
                  <a:cs typeface="Times New Roman"/>
                </a:rPr>
                <a:t> </a:t>
              </a:r>
              <a:r>
                <a:rPr lang="en-US" sz="800" dirty="0" err="1">
                  <a:ea typeface="Calibri"/>
                  <a:cs typeface="Times New Roman"/>
                </a:rPr>
                <a:t>incididunt</a:t>
              </a:r>
              <a:endParaRPr lang="en-US" sz="800" dirty="0">
                <a:ea typeface="Calibri"/>
                <a:cs typeface="Times New Roman"/>
              </a:endParaRPr>
            </a:p>
          </p:txBody>
        </p:sp>
        <p:grpSp>
          <p:nvGrpSpPr>
            <p:cNvPr id="222" name="Group 221">
              <a:extLst>
                <a:ext uri="{FF2B5EF4-FFF2-40B4-BE49-F238E27FC236}">
                  <a16:creationId xmlns:a16="http://schemas.microsoft.com/office/drawing/2014/main" id="{BA4C981C-6225-044B-B16A-831BAF68E7CB}"/>
                </a:ext>
              </a:extLst>
            </p:cNvPr>
            <p:cNvGrpSpPr/>
            <p:nvPr/>
          </p:nvGrpSpPr>
          <p:grpSpPr>
            <a:xfrm>
              <a:off x="2530724" y="3311668"/>
              <a:ext cx="671166" cy="671166"/>
              <a:chOff x="423864" y="4448176"/>
              <a:chExt cx="533400" cy="533400"/>
            </a:xfrm>
          </p:grpSpPr>
          <p:grpSp>
            <p:nvGrpSpPr>
              <p:cNvPr id="223" name="Group 222">
                <a:extLst>
                  <a:ext uri="{FF2B5EF4-FFF2-40B4-BE49-F238E27FC236}">
                    <a16:creationId xmlns:a16="http://schemas.microsoft.com/office/drawing/2014/main" id="{73F226CB-8F9D-094F-9634-F550DB81D447}"/>
                  </a:ext>
                </a:extLst>
              </p:cNvPr>
              <p:cNvGrpSpPr/>
              <p:nvPr/>
            </p:nvGrpSpPr>
            <p:grpSpPr>
              <a:xfrm>
                <a:off x="423864" y="4448176"/>
                <a:ext cx="533400" cy="533400"/>
                <a:chOff x="2281238" y="5324475"/>
                <a:chExt cx="942975" cy="942975"/>
              </a:xfrm>
            </p:grpSpPr>
            <p:sp>
              <p:nvSpPr>
                <p:cNvPr id="225" name="Teardrop 224">
                  <a:extLst>
                    <a:ext uri="{FF2B5EF4-FFF2-40B4-BE49-F238E27FC236}">
                      <a16:creationId xmlns:a16="http://schemas.microsoft.com/office/drawing/2014/main" id="{68895C90-9DA4-2F47-8C4F-653B91356D69}"/>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6" name="Oval 225">
                  <a:extLst>
                    <a:ext uri="{FF2B5EF4-FFF2-40B4-BE49-F238E27FC236}">
                      <a16:creationId xmlns:a16="http://schemas.microsoft.com/office/drawing/2014/main" id="{3EF1B9B6-DF70-934D-B14C-BC97E48BD50D}"/>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24" name="Rectangle 223">
                <a:extLst>
                  <a:ext uri="{FF2B5EF4-FFF2-40B4-BE49-F238E27FC236}">
                    <a16:creationId xmlns:a16="http://schemas.microsoft.com/office/drawing/2014/main" id="{7482F223-A60A-E94C-96E7-E9E6629D1CD4}"/>
                  </a:ext>
                </a:extLst>
              </p:cNvPr>
              <p:cNvSpPr/>
              <p:nvPr/>
            </p:nvSpPr>
            <p:spPr>
              <a:xfrm>
                <a:off x="549746" y="4655212"/>
                <a:ext cx="290465"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grpSp>
          <p:nvGrpSpPr>
            <p:cNvPr id="227" name="Group 226">
              <a:extLst>
                <a:ext uri="{FF2B5EF4-FFF2-40B4-BE49-F238E27FC236}">
                  <a16:creationId xmlns:a16="http://schemas.microsoft.com/office/drawing/2014/main" id="{FF6B078D-2F87-CF43-8C1B-16FB24FB356F}"/>
                </a:ext>
              </a:extLst>
            </p:cNvPr>
            <p:cNvGrpSpPr/>
            <p:nvPr/>
          </p:nvGrpSpPr>
          <p:grpSpPr>
            <a:xfrm>
              <a:off x="2530724" y="2166026"/>
              <a:ext cx="671166" cy="671166"/>
              <a:chOff x="423864" y="4448176"/>
              <a:chExt cx="533400" cy="533400"/>
            </a:xfrm>
          </p:grpSpPr>
          <p:grpSp>
            <p:nvGrpSpPr>
              <p:cNvPr id="228" name="Group 227">
                <a:extLst>
                  <a:ext uri="{FF2B5EF4-FFF2-40B4-BE49-F238E27FC236}">
                    <a16:creationId xmlns:a16="http://schemas.microsoft.com/office/drawing/2014/main" id="{A4817231-46B9-FC4D-A219-E2064B2085B8}"/>
                  </a:ext>
                </a:extLst>
              </p:cNvPr>
              <p:cNvGrpSpPr/>
              <p:nvPr/>
            </p:nvGrpSpPr>
            <p:grpSpPr>
              <a:xfrm>
                <a:off x="423864" y="4448176"/>
                <a:ext cx="533400" cy="533400"/>
                <a:chOff x="2281238" y="5324475"/>
                <a:chExt cx="942975" cy="942975"/>
              </a:xfrm>
            </p:grpSpPr>
            <p:sp>
              <p:nvSpPr>
                <p:cNvPr id="230" name="Teardrop 229">
                  <a:extLst>
                    <a:ext uri="{FF2B5EF4-FFF2-40B4-BE49-F238E27FC236}">
                      <a16:creationId xmlns:a16="http://schemas.microsoft.com/office/drawing/2014/main" id="{293FFE8E-0F83-AA44-939B-5C2C4B4AD7AA}"/>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1" name="Oval 230">
                  <a:extLst>
                    <a:ext uri="{FF2B5EF4-FFF2-40B4-BE49-F238E27FC236}">
                      <a16:creationId xmlns:a16="http://schemas.microsoft.com/office/drawing/2014/main" id="{BE08142D-11DC-0D44-976B-276DD789CC95}"/>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29" name="Rectangle 228">
                <a:extLst>
                  <a:ext uri="{FF2B5EF4-FFF2-40B4-BE49-F238E27FC236}">
                    <a16:creationId xmlns:a16="http://schemas.microsoft.com/office/drawing/2014/main" id="{C8992083-5EA8-344E-9872-DD9AFA42AFEA}"/>
                  </a:ext>
                </a:extLst>
              </p:cNvPr>
              <p:cNvSpPr/>
              <p:nvPr/>
            </p:nvSpPr>
            <p:spPr>
              <a:xfrm>
                <a:off x="549746" y="4655212"/>
                <a:ext cx="290464" cy="122300"/>
              </a:xfrm>
              <a:prstGeom prst="rect">
                <a:avLst/>
              </a:prstGeom>
            </p:spPr>
            <p:txBody>
              <a:bodyPr wrap="none" lIns="0" tIns="0" rIns="0" bIns="0">
                <a:spAutoFit/>
              </a:bodyPr>
              <a:lstStyle/>
              <a:p>
                <a:pPr algn="ctr"/>
                <a:r>
                  <a:rPr lang="en-US" sz="1000" b="1" dirty="0">
                    <a:ea typeface="Calibri"/>
                    <a:cs typeface="Times New Roman"/>
                  </a:rPr>
                  <a:t>Lorem </a:t>
                </a:r>
              </a:p>
            </p:txBody>
          </p:sp>
        </p:grpSp>
        <p:grpSp>
          <p:nvGrpSpPr>
            <p:cNvPr id="232" name="Group 231">
              <a:extLst>
                <a:ext uri="{FF2B5EF4-FFF2-40B4-BE49-F238E27FC236}">
                  <a16:creationId xmlns:a16="http://schemas.microsoft.com/office/drawing/2014/main" id="{029E9AB7-4869-3C48-BDFF-0B6196CA8FCE}"/>
                </a:ext>
              </a:extLst>
            </p:cNvPr>
            <p:cNvGrpSpPr/>
            <p:nvPr/>
          </p:nvGrpSpPr>
          <p:grpSpPr>
            <a:xfrm>
              <a:off x="8773758" y="2242226"/>
              <a:ext cx="671166" cy="671166"/>
              <a:chOff x="423864" y="4448176"/>
              <a:chExt cx="533400" cy="533400"/>
            </a:xfrm>
          </p:grpSpPr>
          <p:grpSp>
            <p:nvGrpSpPr>
              <p:cNvPr id="233" name="Group 232">
                <a:extLst>
                  <a:ext uri="{FF2B5EF4-FFF2-40B4-BE49-F238E27FC236}">
                    <a16:creationId xmlns:a16="http://schemas.microsoft.com/office/drawing/2014/main" id="{6FC30141-B2B4-BD42-A426-F477386CDC36}"/>
                  </a:ext>
                </a:extLst>
              </p:cNvPr>
              <p:cNvGrpSpPr/>
              <p:nvPr/>
            </p:nvGrpSpPr>
            <p:grpSpPr>
              <a:xfrm>
                <a:off x="423864" y="4448176"/>
                <a:ext cx="533400" cy="533400"/>
                <a:chOff x="2281238" y="5324475"/>
                <a:chExt cx="942975" cy="942975"/>
              </a:xfrm>
            </p:grpSpPr>
            <p:sp>
              <p:nvSpPr>
                <p:cNvPr id="235" name="Teardrop 234">
                  <a:extLst>
                    <a:ext uri="{FF2B5EF4-FFF2-40B4-BE49-F238E27FC236}">
                      <a16:creationId xmlns:a16="http://schemas.microsoft.com/office/drawing/2014/main" id="{E5DD1EE1-9972-D84D-872A-7DC79FFA5A80}"/>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6" name="Oval 235">
                  <a:extLst>
                    <a:ext uri="{FF2B5EF4-FFF2-40B4-BE49-F238E27FC236}">
                      <a16:creationId xmlns:a16="http://schemas.microsoft.com/office/drawing/2014/main" id="{47824122-18D8-0248-9E7C-6EAB7256E32D}"/>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34" name="Rectangle 233">
                <a:extLst>
                  <a:ext uri="{FF2B5EF4-FFF2-40B4-BE49-F238E27FC236}">
                    <a16:creationId xmlns:a16="http://schemas.microsoft.com/office/drawing/2014/main" id="{AFA48324-2FE0-5F49-92C9-29006AC246B9}"/>
                  </a:ext>
                </a:extLst>
              </p:cNvPr>
              <p:cNvSpPr/>
              <p:nvPr/>
            </p:nvSpPr>
            <p:spPr>
              <a:xfrm>
                <a:off x="549746" y="4640457"/>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237" name="Rectangle 236">
              <a:extLst>
                <a:ext uri="{FF2B5EF4-FFF2-40B4-BE49-F238E27FC236}">
                  <a16:creationId xmlns:a16="http://schemas.microsoft.com/office/drawing/2014/main" id="{6F1E2841-491C-DB4E-AB94-6BBCA93386A3}"/>
                </a:ext>
              </a:extLst>
            </p:cNvPr>
            <p:cNvSpPr/>
            <p:nvPr/>
          </p:nvSpPr>
          <p:spPr>
            <a:xfrm>
              <a:off x="7915194" y="2426344"/>
              <a:ext cx="946892" cy="246221"/>
            </a:xfrm>
            <a:prstGeom prst="rect">
              <a:avLst/>
            </a:prstGeom>
          </p:spPr>
          <p:txBody>
            <a:bodyPr wrap="square" lIns="0" tIns="0" rIns="0" bIns="0">
              <a:spAutoFit/>
            </a:bodyPr>
            <a:lstStyle/>
            <a:p>
              <a:pPr defTabSz="1312670">
                <a:spcBef>
                  <a:spcPts val="600"/>
                </a:spcBef>
                <a:spcAft>
                  <a:spcPts val="1200"/>
                </a:spcAft>
              </a:pPr>
              <a:r>
                <a:rPr lang="en-US" sz="800" dirty="0">
                  <a:ea typeface="Calibri"/>
                  <a:cs typeface="Times New Roman"/>
                </a:rPr>
                <a:t>it, </a:t>
              </a:r>
              <a:r>
                <a:rPr lang="en-US" sz="800" dirty="0" err="1">
                  <a:ea typeface="Calibri"/>
                  <a:cs typeface="Times New Roman"/>
                </a:rPr>
                <a:t>sed</a:t>
              </a:r>
              <a:r>
                <a:rPr lang="en-US" sz="800" dirty="0">
                  <a:ea typeface="Calibri"/>
                  <a:cs typeface="Times New Roman"/>
                </a:rPr>
                <a:t> do </a:t>
              </a:r>
              <a:r>
                <a:rPr lang="en-US" sz="800" dirty="0" err="1">
                  <a:ea typeface="Calibri"/>
                  <a:cs typeface="Times New Roman"/>
                </a:rPr>
                <a:t>eiusmod</a:t>
              </a:r>
              <a:r>
                <a:rPr lang="en-US" sz="800" dirty="0">
                  <a:ea typeface="Calibri"/>
                  <a:cs typeface="Times New Roman"/>
                </a:rPr>
                <a:t> </a:t>
              </a:r>
              <a:r>
                <a:rPr lang="en-US" sz="800" dirty="0" err="1">
                  <a:ea typeface="Calibri"/>
                  <a:cs typeface="Times New Roman"/>
                </a:rPr>
                <a:t>tempor</a:t>
              </a:r>
              <a:r>
                <a:rPr lang="en-US" sz="800" dirty="0">
                  <a:ea typeface="Calibri"/>
                  <a:cs typeface="Times New Roman"/>
                </a:rPr>
                <a:t> </a:t>
              </a:r>
              <a:r>
                <a:rPr lang="en-US" sz="800" dirty="0" err="1">
                  <a:ea typeface="Calibri"/>
                  <a:cs typeface="Times New Roman"/>
                </a:rPr>
                <a:t>incididunt</a:t>
              </a:r>
              <a:endParaRPr lang="en-US" sz="800" dirty="0">
                <a:ea typeface="Calibri"/>
                <a:cs typeface="Times New Roman"/>
              </a:endParaRPr>
            </a:p>
          </p:txBody>
        </p:sp>
        <p:sp>
          <p:nvSpPr>
            <p:cNvPr id="238" name="Rectangle 237">
              <a:extLst>
                <a:ext uri="{FF2B5EF4-FFF2-40B4-BE49-F238E27FC236}">
                  <a16:creationId xmlns:a16="http://schemas.microsoft.com/office/drawing/2014/main" id="{56BBA459-1C72-FE40-B5D2-577E07E06CED}"/>
                </a:ext>
              </a:extLst>
            </p:cNvPr>
            <p:cNvSpPr/>
            <p:nvPr/>
          </p:nvSpPr>
          <p:spPr>
            <a:xfrm>
              <a:off x="4909332" y="5108555"/>
              <a:ext cx="2310580" cy="291710"/>
            </a:xfrm>
            <a:prstGeom prst="rect">
              <a:avLst/>
            </a:prstGeom>
            <a:solidFill>
              <a:schemeClr val="tx1">
                <a:lumMod val="50000"/>
                <a:lumOff val="50000"/>
              </a:schemeClr>
            </a:solidFill>
          </p:spPr>
          <p:txBody>
            <a:bodyPr wrap="square" lIns="0" tIns="0" rIns="0" bIns="0" anchor="t">
              <a:noAutofit/>
            </a:bodyPr>
            <a:lstStyle/>
            <a:p>
              <a:pPr algn="ctr" defTabSz="1312670"/>
              <a:r>
                <a:rPr lang="da-DK" sz="1000" b="1" dirty="0">
                  <a:solidFill>
                    <a:schemeClr val="bg1"/>
                  </a:solidFill>
                  <a:ea typeface="Calibri"/>
                  <a:cs typeface="Times New Roman"/>
                </a:rPr>
                <a:t>Lorem ipsum dolor sit ameLorem ipsum dolor sit ame</a:t>
              </a:r>
              <a:endParaRPr lang="en-US" sz="700" dirty="0">
                <a:solidFill>
                  <a:schemeClr val="bg1"/>
                </a:solidFill>
                <a:ea typeface="Calibri"/>
                <a:cs typeface="Times New Roman"/>
              </a:endParaRPr>
            </a:p>
          </p:txBody>
        </p:sp>
        <p:sp>
          <p:nvSpPr>
            <p:cNvPr id="239" name="Freeform 42">
              <a:extLst>
                <a:ext uri="{FF2B5EF4-FFF2-40B4-BE49-F238E27FC236}">
                  <a16:creationId xmlns:a16="http://schemas.microsoft.com/office/drawing/2014/main" id="{9B77CB80-5E39-484C-970C-E6CAED4B6A51}"/>
                </a:ext>
              </a:extLst>
            </p:cNvPr>
            <p:cNvSpPr>
              <a:spLocks noEditPoints="1"/>
            </p:cNvSpPr>
            <p:nvPr/>
          </p:nvSpPr>
          <p:spPr bwMode="auto">
            <a:xfrm>
              <a:off x="4294125" y="5183026"/>
              <a:ext cx="436676" cy="143198"/>
            </a:xfrm>
            <a:custGeom>
              <a:avLst/>
              <a:gdLst>
                <a:gd name="T0" fmla="*/ 369 w 462"/>
                <a:gd name="T1" fmla="*/ 85 h 159"/>
                <a:gd name="T2" fmla="*/ 406 w 462"/>
                <a:gd name="T3" fmla="*/ 122 h 159"/>
                <a:gd name="T4" fmla="*/ 369 w 462"/>
                <a:gd name="T5" fmla="*/ 159 h 159"/>
                <a:gd name="T6" fmla="*/ 332 w 462"/>
                <a:gd name="T7" fmla="*/ 122 h 159"/>
                <a:gd name="T8" fmla="*/ 369 w 462"/>
                <a:gd name="T9" fmla="*/ 85 h 159"/>
                <a:gd name="T10" fmla="*/ 369 w 462"/>
                <a:gd name="T11" fmla="*/ 97 h 159"/>
                <a:gd name="T12" fmla="*/ 394 w 462"/>
                <a:gd name="T13" fmla="*/ 122 h 159"/>
                <a:gd name="T14" fmla="*/ 369 w 462"/>
                <a:gd name="T15" fmla="*/ 147 h 159"/>
                <a:gd name="T16" fmla="*/ 344 w 462"/>
                <a:gd name="T17" fmla="*/ 122 h 159"/>
                <a:gd name="T18" fmla="*/ 369 w 462"/>
                <a:gd name="T19" fmla="*/ 97 h 159"/>
                <a:gd name="T20" fmla="*/ 92 w 462"/>
                <a:gd name="T21" fmla="*/ 85 h 159"/>
                <a:gd name="T22" fmla="*/ 129 w 462"/>
                <a:gd name="T23" fmla="*/ 122 h 159"/>
                <a:gd name="T24" fmla="*/ 92 w 462"/>
                <a:gd name="T25" fmla="*/ 159 h 159"/>
                <a:gd name="T26" fmla="*/ 55 w 462"/>
                <a:gd name="T27" fmla="*/ 122 h 159"/>
                <a:gd name="T28" fmla="*/ 92 w 462"/>
                <a:gd name="T29" fmla="*/ 85 h 159"/>
                <a:gd name="T30" fmla="*/ 92 w 462"/>
                <a:gd name="T31" fmla="*/ 97 h 159"/>
                <a:gd name="T32" fmla="*/ 117 w 462"/>
                <a:gd name="T33" fmla="*/ 122 h 159"/>
                <a:gd name="T34" fmla="*/ 92 w 462"/>
                <a:gd name="T35" fmla="*/ 147 h 159"/>
                <a:gd name="T36" fmla="*/ 67 w 462"/>
                <a:gd name="T37" fmla="*/ 122 h 159"/>
                <a:gd name="T38" fmla="*/ 92 w 462"/>
                <a:gd name="T39" fmla="*/ 97 h 159"/>
                <a:gd name="T40" fmla="*/ 332 w 462"/>
                <a:gd name="T41" fmla="*/ 49 h 159"/>
                <a:gd name="T42" fmla="*/ 250 w 462"/>
                <a:gd name="T43" fmla="*/ 7 h 159"/>
                <a:gd name="T44" fmla="*/ 197 w 462"/>
                <a:gd name="T45" fmla="*/ 0 h 159"/>
                <a:gd name="T46" fmla="*/ 124 w 462"/>
                <a:gd name="T47" fmla="*/ 8 h 159"/>
                <a:gd name="T48" fmla="*/ 49 w 462"/>
                <a:gd name="T49" fmla="*/ 42 h 159"/>
                <a:gd name="T50" fmla="*/ 21 w 462"/>
                <a:gd name="T51" fmla="*/ 46 h 159"/>
                <a:gd name="T52" fmla="*/ 8 w 462"/>
                <a:gd name="T53" fmla="*/ 74 h 159"/>
                <a:gd name="T54" fmla="*/ 5 w 462"/>
                <a:gd name="T55" fmla="*/ 86 h 159"/>
                <a:gd name="T56" fmla="*/ 1 w 462"/>
                <a:gd name="T57" fmla="*/ 104 h 159"/>
                <a:gd name="T58" fmla="*/ 17 w 462"/>
                <a:gd name="T59" fmla="*/ 132 h 159"/>
                <a:gd name="T60" fmla="*/ 43 w 462"/>
                <a:gd name="T61" fmla="*/ 139 h 159"/>
                <a:gd name="T62" fmla="*/ 46 w 462"/>
                <a:gd name="T63" fmla="*/ 140 h 159"/>
                <a:gd name="T64" fmla="*/ 43 w 462"/>
                <a:gd name="T65" fmla="*/ 122 h 159"/>
                <a:gd name="T66" fmla="*/ 57 w 462"/>
                <a:gd name="T67" fmla="*/ 87 h 159"/>
                <a:gd name="T68" fmla="*/ 92 w 462"/>
                <a:gd name="T69" fmla="*/ 73 h 159"/>
                <a:gd name="T70" fmla="*/ 141 w 462"/>
                <a:gd name="T71" fmla="*/ 122 h 159"/>
                <a:gd name="T72" fmla="*/ 135 w 462"/>
                <a:gd name="T73" fmla="*/ 145 h 159"/>
                <a:gd name="T74" fmla="*/ 321 w 462"/>
                <a:gd name="T75" fmla="*/ 145 h 159"/>
                <a:gd name="T76" fmla="*/ 325 w 462"/>
                <a:gd name="T77" fmla="*/ 145 h 159"/>
                <a:gd name="T78" fmla="*/ 320 w 462"/>
                <a:gd name="T79" fmla="*/ 122 h 159"/>
                <a:gd name="T80" fmla="*/ 369 w 462"/>
                <a:gd name="T81" fmla="*/ 73 h 159"/>
                <a:gd name="T82" fmla="*/ 403 w 462"/>
                <a:gd name="T83" fmla="*/ 87 h 159"/>
                <a:gd name="T84" fmla="*/ 418 w 462"/>
                <a:gd name="T85" fmla="*/ 122 h 159"/>
                <a:gd name="T86" fmla="*/ 416 w 462"/>
                <a:gd name="T87" fmla="*/ 137 h 159"/>
                <a:gd name="T88" fmla="*/ 427 w 462"/>
                <a:gd name="T89" fmla="*/ 136 h 159"/>
                <a:gd name="T90" fmla="*/ 440 w 462"/>
                <a:gd name="T91" fmla="*/ 120 h 159"/>
                <a:gd name="T92" fmla="*/ 433 w 462"/>
                <a:gd name="T93" fmla="*/ 67 h 159"/>
                <a:gd name="T94" fmla="*/ 332 w 462"/>
                <a:gd name="T95" fmla="*/ 49 h 159"/>
                <a:gd name="T96" fmla="*/ 214 w 462"/>
                <a:gd name="T97" fmla="*/ 50 h 159"/>
                <a:gd name="T98" fmla="*/ 203 w 462"/>
                <a:gd name="T99" fmla="*/ 8 h 159"/>
                <a:gd name="T100" fmla="*/ 291 w 462"/>
                <a:gd name="T101" fmla="*/ 39 h 159"/>
                <a:gd name="T102" fmla="*/ 285 w 462"/>
                <a:gd name="T103" fmla="*/ 50 h 159"/>
                <a:gd name="T104" fmla="*/ 214 w 462"/>
                <a:gd name="T105" fmla="*/ 50 h 159"/>
                <a:gd name="T106" fmla="*/ 104 w 462"/>
                <a:gd name="T107" fmla="*/ 50 h 159"/>
                <a:gd name="T108" fmla="*/ 192 w 462"/>
                <a:gd name="T109" fmla="*/ 8 h 159"/>
                <a:gd name="T110" fmla="*/ 196 w 462"/>
                <a:gd name="T111" fmla="*/ 50 h 159"/>
                <a:gd name="T112" fmla="*/ 104 w 462"/>
                <a:gd name="T113" fmla="*/ 5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2" h="159">
                  <a:moveTo>
                    <a:pt x="369" y="85"/>
                  </a:moveTo>
                  <a:cubicBezTo>
                    <a:pt x="389" y="85"/>
                    <a:pt x="406" y="102"/>
                    <a:pt x="406" y="122"/>
                  </a:cubicBezTo>
                  <a:cubicBezTo>
                    <a:pt x="406" y="142"/>
                    <a:pt x="389" y="159"/>
                    <a:pt x="369" y="159"/>
                  </a:cubicBezTo>
                  <a:cubicBezTo>
                    <a:pt x="348" y="159"/>
                    <a:pt x="332" y="142"/>
                    <a:pt x="332" y="122"/>
                  </a:cubicBezTo>
                  <a:cubicBezTo>
                    <a:pt x="332" y="102"/>
                    <a:pt x="348" y="85"/>
                    <a:pt x="369" y="85"/>
                  </a:cubicBezTo>
                  <a:close/>
                  <a:moveTo>
                    <a:pt x="369" y="97"/>
                  </a:moveTo>
                  <a:cubicBezTo>
                    <a:pt x="383" y="97"/>
                    <a:pt x="394" y="108"/>
                    <a:pt x="394" y="122"/>
                  </a:cubicBezTo>
                  <a:cubicBezTo>
                    <a:pt x="394" y="136"/>
                    <a:pt x="383" y="147"/>
                    <a:pt x="369" y="147"/>
                  </a:cubicBezTo>
                  <a:cubicBezTo>
                    <a:pt x="355" y="147"/>
                    <a:pt x="344" y="136"/>
                    <a:pt x="344" y="122"/>
                  </a:cubicBezTo>
                  <a:cubicBezTo>
                    <a:pt x="344" y="108"/>
                    <a:pt x="355" y="97"/>
                    <a:pt x="369" y="97"/>
                  </a:cubicBezTo>
                  <a:close/>
                  <a:moveTo>
                    <a:pt x="92" y="85"/>
                  </a:moveTo>
                  <a:cubicBezTo>
                    <a:pt x="112" y="85"/>
                    <a:pt x="129" y="102"/>
                    <a:pt x="129" y="122"/>
                  </a:cubicBezTo>
                  <a:cubicBezTo>
                    <a:pt x="129" y="142"/>
                    <a:pt x="112" y="159"/>
                    <a:pt x="92" y="159"/>
                  </a:cubicBezTo>
                  <a:cubicBezTo>
                    <a:pt x="71" y="159"/>
                    <a:pt x="55" y="142"/>
                    <a:pt x="55" y="122"/>
                  </a:cubicBezTo>
                  <a:cubicBezTo>
                    <a:pt x="55" y="102"/>
                    <a:pt x="71" y="85"/>
                    <a:pt x="92" y="85"/>
                  </a:cubicBezTo>
                  <a:close/>
                  <a:moveTo>
                    <a:pt x="92" y="97"/>
                  </a:moveTo>
                  <a:cubicBezTo>
                    <a:pt x="106" y="97"/>
                    <a:pt x="117" y="108"/>
                    <a:pt x="117" y="122"/>
                  </a:cubicBezTo>
                  <a:cubicBezTo>
                    <a:pt x="117" y="136"/>
                    <a:pt x="106" y="147"/>
                    <a:pt x="92" y="147"/>
                  </a:cubicBezTo>
                  <a:cubicBezTo>
                    <a:pt x="78" y="147"/>
                    <a:pt x="67" y="136"/>
                    <a:pt x="67" y="122"/>
                  </a:cubicBezTo>
                  <a:cubicBezTo>
                    <a:pt x="67" y="108"/>
                    <a:pt x="78" y="97"/>
                    <a:pt x="92" y="97"/>
                  </a:cubicBezTo>
                  <a:close/>
                  <a:moveTo>
                    <a:pt x="332" y="49"/>
                  </a:moveTo>
                  <a:cubicBezTo>
                    <a:pt x="307" y="34"/>
                    <a:pt x="281" y="15"/>
                    <a:pt x="250" y="7"/>
                  </a:cubicBezTo>
                  <a:cubicBezTo>
                    <a:pt x="233" y="3"/>
                    <a:pt x="215" y="1"/>
                    <a:pt x="197" y="0"/>
                  </a:cubicBezTo>
                  <a:cubicBezTo>
                    <a:pt x="171" y="0"/>
                    <a:pt x="148" y="0"/>
                    <a:pt x="124" y="8"/>
                  </a:cubicBezTo>
                  <a:cubicBezTo>
                    <a:pt x="104" y="14"/>
                    <a:pt x="79" y="29"/>
                    <a:pt x="49" y="42"/>
                  </a:cubicBezTo>
                  <a:cubicBezTo>
                    <a:pt x="39" y="43"/>
                    <a:pt x="30" y="44"/>
                    <a:pt x="21" y="46"/>
                  </a:cubicBezTo>
                  <a:cubicBezTo>
                    <a:pt x="4" y="48"/>
                    <a:pt x="7" y="57"/>
                    <a:pt x="8" y="74"/>
                  </a:cubicBezTo>
                  <a:cubicBezTo>
                    <a:pt x="8" y="83"/>
                    <a:pt x="8" y="83"/>
                    <a:pt x="5" y="86"/>
                  </a:cubicBezTo>
                  <a:cubicBezTo>
                    <a:pt x="2" y="88"/>
                    <a:pt x="1" y="96"/>
                    <a:pt x="1" y="104"/>
                  </a:cubicBezTo>
                  <a:cubicBezTo>
                    <a:pt x="0" y="120"/>
                    <a:pt x="7" y="130"/>
                    <a:pt x="17" y="132"/>
                  </a:cubicBezTo>
                  <a:cubicBezTo>
                    <a:pt x="26" y="135"/>
                    <a:pt x="34" y="137"/>
                    <a:pt x="43" y="139"/>
                  </a:cubicBezTo>
                  <a:cubicBezTo>
                    <a:pt x="44" y="140"/>
                    <a:pt x="45" y="140"/>
                    <a:pt x="46" y="140"/>
                  </a:cubicBezTo>
                  <a:cubicBezTo>
                    <a:pt x="44" y="134"/>
                    <a:pt x="43" y="128"/>
                    <a:pt x="43" y="122"/>
                  </a:cubicBezTo>
                  <a:cubicBezTo>
                    <a:pt x="43" y="109"/>
                    <a:pt x="48" y="96"/>
                    <a:pt x="57" y="87"/>
                  </a:cubicBezTo>
                  <a:cubicBezTo>
                    <a:pt x="66" y="79"/>
                    <a:pt x="78" y="73"/>
                    <a:pt x="92" y="73"/>
                  </a:cubicBezTo>
                  <a:cubicBezTo>
                    <a:pt x="119" y="73"/>
                    <a:pt x="141" y="95"/>
                    <a:pt x="141" y="122"/>
                  </a:cubicBezTo>
                  <a:cubicBezTo>
                    <a:pt x="141" y="131"/>
                    <a:pt x="139" y="138"/>
                    <a:pt x="135" y="145"/>
                  </a:cubicBezTo>
                  <a:cubicBezTo>
                    <a:pt x="321" y="145"/>
                    <a:pt x="321" y="145"/>
                    <a:pt x="321" y="145"/>
                  </a:cubicBezTo>
                  <a:cubicBezTo>
                    <a:pt x="325" y="145"/>
                    <a:pt x="325" y="145"/>
                    <a:pt x="325" y="145"/>
                  </a:cubicBezTo>
                  <a:cubicBezTo>
                    <a:pt x="322" y="138"/>
                    <a:pt x="320" y="130"/>
                    <a:pt x="320" y="122"/>
                  </a:cubicBezTo>
                  <a:cubicBezTo>
                    <a:pt x="320" y="95"/>
                    <a:pt x="342" y="73"/>
                    <a:pt x="369" y="73"/>
                  </a:cubicBezTo>
                  <a:cubicBezTo>
                    <a:pt x="382" y="73"/>
                    <a:pt x="395" y="79"/>
                    <a:pt x="403" y="87"/>
                  </a:cubicBezTo>
                  <a:cubicBezTo>
                    <a:pt x="412" y="96"/>
                    <a:pt x="418" y="109"/>
                    <a:pt x="418" y="122"/>
                  </a:cubicBezTo>
                  <a:cubicBezTo>
                    <a:pt x="418" y="127"/>
                    <a:pt x="417" y="132"/>
                    <a:pt x="416" y="137"/>
                  </a:cubicBezTo>
                  <a:cubicBezTo>
                    <a:pt x="419" y="137"/>
                    <a:pt x="424" y="136"/>
                    <a:pt x="427" y="136"/>
                  </a:cubicBezTo>
                  <a:cubicBezTo>
                    <a:pt x="438" y="133"/>
                    <a:pt x="438" y="129"/>
                    <a:pt x="440" y="120"/>
                  </a:cubicBezTo>
                  <a:cubicBezTo>
                    <a:pt x="445" y="97"/>
                    <a:pt x="462" y="79"/>
                    <a:pt x="433" y="67"/>
                  </a:cubicBezTo>
                  <a:cubicBezTo>
                    <a:pt x="400" y="57"/>
                    <a:pt x="367" y="49"/>
                    <a:pt x="332" y="49"/>
                  </a:cubicBezTo>
                  <a:close/>
                  <a:moveTo>
                    <a:pt x="214" y="50"/>
                  </a:moveTo>
                  <a:cubicBezTo>
                    <a:pt x="212" y="38"/>
                    <a:pt x="208" y="20"/>
                    <a:pt x="203" y="8"/>
                  </a:cubicBezTo>
                  <a:cubicBezTo>
                    <a:pt x="248" y="8"/>
                    <a:pt x="270" y="26"/>
                    <a:pt x="291" y="39"/>
                  </a:cubicBezTo>
                  <a:cubicBezTo>
                    <a:pt x="283" y="42"/>
                    <a:pt x="284" y="46"/>
                    <a:pt x="285" y="50"/>
                  </a:cubicBezTo>
                  <a:cubicBezTo>
                    <a:pt x="261" y="50"/>
                    <a:pt x="238" y="51"/>
                    <a:pt x="214" y="50"/>
                  </a:cubicBezTo>
                  <a:close/>
                  <a:moveTo>
                    <a:pt x="104" y="50"/>
                  </a:moveTo>
                  <a:cubicBezTo>
                    <a:pt x="104" y="15"/>
                    <a:pt x="173" y="7"/>
                    <a:pt x="192" y="8"/>
                  </a:cubicBezTo>
                  <a:cubicBezTo>
                    <a:pt x="194" y="20"/>
                    <a:pt x="196" y="39"/>
                    <a:pt x="196" y="50"/>
                  </a:cubicBezTo>
                  <a:cubicBezTo>
                    <a:pt x="104" y="50"/>
                    <a:pt x="104" y="50"/>
                    <a:pt x="104" y="50"/>
                  </a:cubicBezTo>
                  <a:close/>
                </a:path>
              </a:pathLst>
            </a:custGeom>
            <a:solidFill>
              <a:schemeClr val="bg1">
                <a:lumMod val="95000"/>
              </a:schemeClr>
            </a:solidFill>
            <a:ln w="3175">
              <a:noFill/>
            </a:ln>
          </p:spPr>
          <p:txBody>
            <a:bodyPr vert="horz" wrap="square" lIns="91440" tIns="45720" rIns="91440" bIns="45720" numCol="1" anchor="t" anchorCtr="0" compatLnSpc="1">
              <a:prstTxWarp prst="textNoShape">
                <a:avLst/>
              </a:prstTxWarp>
            </a:bodyPr>
            <a:lstStyle/>
            <a:p>
              <a:endParaRPr lang="en-US" dirty="0"/>
            </a:p>
          </p:txBody>
        </p:sp>
        <p:sp>
          <p:nvSpPr>
            <p:cNvPr id="240" name="Freeform 42">
              <a:extLst>
                <a:ext uri="{FF2B5EF4-FFF2-40B4-BE49-F238E27FC236}">
                  <a16:creationId xmlns:a16="http://schemas.microsoft.com/office/drawing/2014/main" id="{AFA90C75-C353-D24E-BBC6-30850A95D33A}"/>
                </a:ext>
              </a:extLst>
            </p:cNvPr>
            <p:cNvSpPr>
              <a:spLocks noEditPoints="1"/>
            </p:cNvSpPr>
            <p:nvPr/>
          </p:nvSpPr>
          <p:spPr bwMode="auto">
            <a:xfrm>
              <a:off x="7315273" y="5167339"/>
              <a:ext cx="436676" cy="143198"/>
            </a:xfrm>
            <a:custGeom>
              <a:avLst/>
              <a:gdLst>
                <a:gd name="T0" fmla="*/ 369 w 462"/>
                <a:gd name="T1" fmla="*/ 85 h 159"/>
                <a:gd name="T2" fmla="*/ 406 w 462"/>
                <a:gd name="T3" fmla="*/ 122 h 159"/>
                <a:gd name="T4" fmla="*/ 369 w 462"/>
                <a:gd name="T5" fmla="*/ 159 h 159"/>
                <a:gd name="T6" fmla="*/ 332 w 462"/>
                <a:gd name="T7" fmla="*/ 122 h 159"/>
                <a:gd name="T8" fmla="*/ 369 w 462"/>
                <a:gd name="T9" fmla="*/ 85 h 159"/>
                <a:gd name="T10" fmla="*/ 369 w 462"/>
                <a:gd name="T11" fmla="*/ 97 h 159"/>
                <a:gd name="T12" fmla="*/ 394 w 462"/>
                <a:gd name="T13" fmla="*/ 122 h 159"/>
                <a:gd name="T14" fmla="*/ 369 w 462"/>
                <a:gd name="T15" fmla="*/ 147 h 159"/>
                <a:gd name="T16" fmla="*/ 344 w 462"/>
                <a:gd name="T17" fmla="*/ 122 h 159"/>
                <a:gd name="T18" fmla="*/ 369 w 462"/>
                <a:gd name="T19" fmla="*/ 97 h 159"/>
                <a:gd name="T20" fmla="*/ 92 w 462"/>
                <a:gd name="T21" fmla="*/ 85 h 159"/>
                <a:gd name="T22" fmla="*/ 129 w 462"/>
                <a:gd name="T23" fmla="*/ 122 h 159"/>
                <a:gd name="T24" fmla="*/ 92 w 462"/>
                <a:gd name="T25" fmla="*/ 159 h 159"/>
                <a:gd name="T26" fmla="*/ 55 w 462"/>
                <a:gd name="T27" fmla="*/ 122 h 159"/>
                <a:gd name="T28" fmla="*/ 92 w 462"/>
                <a:gd name="T29" fmla="*/ 85 h 159"/>
                <a:gd name="T30" fmla="*/ 92 w 462"/>
                <a:gd name="T31" fmla="*/ 97 h 159"/>
                <a:gd name="T32" fmla="*/ 117 w 462"/>
                <a:gd name="T33" fmla="*/ 122 h 159"/>
                <a:gd name="T34" fmla="*/ 92 w 462"/>
                <a:gd name="T35" fmla="*/ 147 h 159"/>
                <a:gd name="T36" fmla="*/ 67 w 462"/>
                <a:gd name="T37" fmla="*/ 122 h 159"/>
                <a:gd name="T38" fmla="*/ 92 w 462"/>
                <a:gd name="T39" fmla="*/ 97 h 159"/>
                <a:gd name="T40" fmla="*/ 332 w 462"/>
                <a:gd name="T41" fmla="*/ 49 h 159"/>
                <a:gd name="T42" fmla="*/ 250 w 462"/>
                <a:gd name="T43" fmla="*/ 7 h 159"/>
                <a:gd name="T44" fmla="*/ 197 w 462"/>
                <a:gd name="T45" fmla="*/ 0 h 159"/>
                <a:gd name="T46" fmla="*/ 124 w 462"/>
                <a:gd name="T47" fmla="*/ 8 h 159"/>
                <a:gd name="T48" fmla="*/ 49 w 462"/>
                <a:gd name="T49" fmla="*/ 42 h 159"/>
                <a:gd name="T50" fmla="*/ 21 w 462"/>
                <a:gd name="T51" fmla="*/ 46 h 159"/>
                <a:gd name="T52" fmla="*/ 8 w 462"/>
                <a:gd name="T53" fmla="*/ 74 h 159"/>
                <a:gd name="T54" fmla="*/ 5 w 462"/>
                <a:gd name="T55" fmla="*/ 86 h 159"/>
                <a:gd name="T56" fmla="*/ 1 w 462"/>
                <a:gd name="T57" fmla="*/ 104 h 159"/>
                <a:gd name="T58" fmla="*/ 17 w 462"/>
                <a:gd name="T59" fmla="*/ 132 h 159"/>
                <a:gd name="T60" fmla="*/ 43 w 462"/>
                <a:gd name="T61" fmla="*/ 139 h 159"/>
                <a:gd name="T62" fmla="*/ 46 w 462"/>
                <a:gd name="T63" fmla="*/ 140 h 159"/>
                <a:gd name="T64" fmla="*/ 43 w 462"/>
                <a:gd name="T65" fmla="*/ 122 h 159"/>
                <a:gd name="T66" fmla="*/ 57 w 462"/>
                <a:gd name="T67" fmla="*/ 87 h 159"/>
                <a:gd name="T68" fmla="*/ 92 w 462"/>
                <a:gd name="T69" fmla="*/ 73 h 159"/>
                <a:gd name="T70" fmla="*/ 141 w 462"/>
                <a:gd name="T71" fmla="*/ 122 h 159"/>
                <a:gd name="T72" fmla="*/ 135 w 462"/>
                <a:gd name="T73" fmla="*/ 145 h 159"/>
                <a:gd name="T74" fmla="*/ 321 w 462"/>
                <a:gd name="T75" fmla="*/ 145 h 159"/>
                <a:gd name="T76" fmla="*/ 325 w 462"/>
                <a:gd name="T77" fmla="*/ 145 h 159"/>
                <a:gd name="T78" fmla="*/ 320 w 462"/>
                <a:gd name="T79" fmla="*/ 122 h 159"/>
                <a:gd name="T80" fmla="*/ 369 w 462"/>
                <a:gd name="T81" fmla="*/ 73 h 159"/>
                <a:gd name="T82" fmla="*/ 403 w 462"/>
                <a:gd name="T83" fmla="*/ 87 h 159"/>
                <a:gd name="T84" fmla="*/ 418 w 462"/>
                <a:gd name="T85" fmla="*/ 122 h 159"/>
                <a:gd name="T86" fmla="*/ 416 w 462"/>
                <a:gd name="T87" fmla="*/ 137 h 159"/>
                <a:gd name="T88" fmla="*/ 427 w 462"/>
                <a:gd name="T89" fmla="*/ 136 h 159"/>
                <a:gd name="T90" fmla="*/ 440 w 462"/>
                <a:gd name="T91" fmla="*/ 120 h 159"/>
                <a:gd name="T92" fmla="*/ 433 w 462"/>
                <a:gd name="T93" fmla="*/ 67 h 159"/>
                <a:gd name="T94" fmla="*/ 332 w 462"/>
                <a:gd name="T95" fmla="*/ 49 h 159"/>
                <a:gd name="T96" fmla="*/ 214 w 462"/>
                <a:gd name="T97" fmla="*/ 50 h 159"/>
                <a:gd name="T98" fmla="*/ 203 w 462"/>
                <a:gd name="T99" fmla="*/ 8 h 159"/>
                <a:gd name="T100" fmla="*/ 291 w 462"/>
                <a:gd name="T101" fmla="*/ 39 h 159"/>
                <a:gd name="T102" fmla="*/ 285 w 462"/>
                <a:gd name="T103" fmla="*/ 50 h 159"/>
                <a:gd name="T104" fmla="*/ 214 w 462"/>
                <a:gd name="T105" fmla="*/ 50 h 159"/>
                <a:gd name="T106" fmla="*/ 104 w 462"/>
                <a:gd name="T107" fmla="*/ 50 h 159"/>
                <a:gd name="T108" fmla="*/ 192 w 462"/>
                <a:gd name="T109" fmla="*/ 8 h 159"/>
                <a:gd name="T110" fmla="*/ 196 w 462"/>
                <a:gd name="T111" fmla="*/ 50 h 159"/>
                <a:gd name="T112" fmla="*/ 104 w 462"/>
                <a:gd name="T113" fmla="*/ 5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2" h="159">
                  <a:moveTo>
                    <a:pt x="369" y="85"/>
                  </a:moveTo>
                  <a:cubicBezTo>
                    <a:pt x="389" y="85"/>
                    <a:pt x="406" y="102"/>
                    <a:pt x="406" y="122"/>
                  </a:cubicBezTo>
                  <a:cubicBezTo>
                    <a:pt x="406" y="142"/>
                    <a:pt x="389" y="159"/>
                    <a:pt x="369" y="159"/>
                  </a:cubicBezTo>
                  <a:cubicBezTo>
                    <a:pt x="348" y="159"/>
                    <a:pt x="332" y="142"/>
                    <a:pt x="332" y="122"/>
                  </a:cubicBezTo>
                  <a:cubicBezTo>
                    <a:pt x="332" y="102"/>
                    <a:pt x="348" y="85"/>
                    <a:pt x="369" y="85"/>
                  </a:cubicBezTo>
                  <a:close/>
                  <a:moveTo>
                    <a:pt x="369" y="97"/>
                  </a:moveTo>
                  <a:cubicBezTo>
                    <a:pt x="383" y="97"/>
                    <a:pt x="394" y="108"/>
                    <a:pt x="394" y="122"/>
                  </a:cubicBezTo>
                  <a:cubicBezTo>
                    <a:pt x="394" y="136"/>
                    <a:pt x="383" y="147"/>
                    <a:pt x="369" y="147"/>
                  </a:cubicBezTo>
                  <a:cubicBezTo>
                    <a:pt x="355" y="147"/>
                    <a:pt x="344" y="136"/>
                    <a:pt x="344" y="122"/>
                  </a:cubicBezTo>
                  <a:cubicBezTo>
                    <a:pt x="344" y="108"/>
                    <a:pt x="355" y="97"/>
                    <a:pt x="369" y="97"/>
                  </a:cubicBezTo>
                  <a:close/>
                  <a:moveTo>
                    <a:pt x="92" y="85"/>
                  </a:moveTo>
                  <a:cubicBezTo>
                    <a:pt x="112" y="85"/>
                    <a:pt x="129" y="102"/>
                    <a:pt x="129" y="122"/>
                  </a:cubicBezTo>
                  <a:cubicBezTo>
                    <a:pt x="129" y="142"/>
                    <a:pt x="112" y="159"/>
                    <a:pt x="92" y="159"/>
                  </a:cubicBezTo>
                  <a:cubicBezTo>
                    <a:pt x="71" y="159"/>
                    <a:pt x="55" y="142"/>
                    <a:pt x="55" y="122"/>
                  </a:cubicBezTo>
                  <a:cubicBezTo>
                    <a:pt x="55" y="102"/>
                    <a:pt x="71" y="85"/>
                    <a:pt x="92" y="85"/>
                  </a:cubicBezTo>
                  <a:close/>
                  <a:moveTo>
                    <a:pt x="92" y="97"/>
                  </a:moveTo>
                  <a:cubicBezTo>
                    <a:pt x="106" y="97"/>
                    <a:pt x="117" y="108"/>
                    <a:pt x="117" y="122"/>
                  </a:cubicBezTo>
                  <a:cubicBezTo>
                    <a:pt x="117" y="136"/>
                    <a:pt x="106" y="147"/>
                    <a:pt x="92" y="147"/>
                  </a:cubicBezTo>
                  <a:cubicBezTo>
                    <a:pt x="78" y="147"/>
                    <a:pt x="67" y="136"/>
                    <a:pt x="67" y="122"/>
                  </a:cubicBezTo>
                  <a:cubicBezTo>
                    <a:pt x="67" y="108"/>
                    <a:pt x="78" y="97"/>
                    <a:pt x="92" y="97"/>
                  </a:cubicBezTo>
                  <a:close/>
                  <a:moveTo>
                    <a:pt x="332" y="49"/>
                  </a:moveTo>
                  <a:cubicBezTo>
                    <a:pt x="307" y="34"/>
                    <a:pt x="281" y="15"/>
                    <a:pt x="250" y="7"/>
                  </a:cubicBezTo>
                  <a:cubicBezTo>
                    <a:pt x="233" y="3"/>
                    <a:pt x="215" y="1"/>
                    <a:pt x="197" y="0"/>
                  </a:cubicBezTo>
                  <a:cubicBezTo>
                    <a:pt x="171" y="0"/>
                    <a:pt x="148" y="0"/>
                    <a:pt x="124" y="8"/>
                  </a:cubicBezTo>
                  <a:cubicBezTo>
                    <a:pt x="104" y="14"/>
                    <a:pt x="79" y="29"/>
                    <a:pt x="49" y="42"/>
                  </a:cubicBezTo>
                  <a:cubicBezTo>
                    <a:pt x="39" y="43"/>
                    <a:pt x="30" y="44"/>
                    <a:pt x="21" y="46"/>
                  </a:cubicBezTo>
                  <a:cubicBezTo>
                    <a:pt x="4" y="48"/>
                    <a:pt x="7" y="57"/>
                    <a:pt x="8" y="74"/>
                  </a:cubicBezTo>
                  <a:cubicBezTo>
                    <a:pt x="8" y="83"/>
                    <a:pt x="8" y="83"/>
                    <a:pt x="5" y="86"/>
                  </a:cubicBezTo>
                  <a:cubicBezTo>
                    <a:pt x="2" y="88"/>
                    <a:pt x="1" y="96"/>
                    <a:pt x="1" y="104"/>
                  </a:cubicBezTo>
                  <a:cubicBezTo>
                    <a:pt x="0" y="120"/>
                    <a:pt x="7" y="130"/>
                    <a:pt x="17" y="132"/>
                  </a:cubicBezTo>
                  <a:cubicBezTo>
                    <a:pt x="26" y="135"/>
                    <a:pt x="34" y="137"/>
                    <a:pt x="43" y="139"/>
                  </a:cubicBezTo>
                  <a:cubicBezTo>
                    <a:pt x="44" y="140"/>
                    <a:pt x="45" y="140"/>
                    <a:pt x="46" y="140"/>
                  </a:cubicBezTo>
                  <a:cubicBezTo>
                    <a:pt x="44" y="134"/>
                    <a:pt x="43" y="128"/>
                    <a:pt x="43" y="122"/>
                  </a:cubicBezTo>
                  <a:cubicBezTo>
                    <a:pt x="43" y="109"/>
                    <a:pt x="48" y="96"/>
                    <a:pt x="57" y="87"/>
                  </a:cubicBezTo>
                  <a:cubicBezTo>
                    <a:pt x="66" y="79"/>
                    <a:pt x="78" y="73"/>
                    <a:pt x="92" y="73"/>
                  </a:cubicBezTo>
                  <a:cubicBezTo>
                    <a:pt x="119" y="73"/>
                    <a:pt x="141" y="95"/>
                    <a:pt x="141" y="122"/>
                  </a:cubicBezTo>
                  <a:cubicBezTo>
                    <a:pt x="141" y="131"/>
                    <a:pt x="139" y="138"/>
                    <a:pt x="135" y="145"/>
                  </a:cubicBezTo>
                  <a:cubicBezTo>
                    <a:pt x="321" y="145"/>
                    <a:pt x="321" y="145"/>
                    <a:pt x="321" y="145"/>
                  </a:cubicBezTo>
                  <a:cubicBezTo>
                    <a:pt x="325" y="145"/>
                    <a:pt x="325" y="145"/>
                    <a:pt x="325" y="145"/>
                  </a:cubicBezTo>
                  <a:cubicBezTo>
                    <a:pt x="322" y="138"/>
                    <a:pt x="320" y="130"/>
                    <a:pt x="320" y="122"/>
                  </a:cubicBezTo>
                  <a:cubicBezTo>
                    <a:pt x="320" y="95"/>
                    <a:pt x="342" y="73"/>
                    <a:pt x="369" y="73"/>
                  </a:cubicBezTo>
                  <a:cubicBezTo>
                    <a:pt x="382" y="73"/>
                    <a:pt x="395" y="79"/>
                    <a:pt x="403" y="87"/>
                  </a:cubicBezTo>
                  <a:cubicBezTo>
                    <a:pt x="412" y="96"/>
                    <a:pt x="418" y="109"/>
                    <a:pt x="418" y="122"/>
                  </a:cubicBezTo>
                  <a:cubicBezTo>
                    <a:pt x="418" y="127"/>
                    <a:pt x="417" y="132"/>
                    <a:pt x="416" y="137"/>
                  </a:cubicBezTo>
                  <a:cubicBezTo>
                    <a:pt x="419" y="137"/>
                    <a:pt x="424" y="136"/>
                    <a:pt x="427" y="136"/>
                  </a:cubicBezTo>
                  <a:cubicBezTo>
                    <a:pt x="438" y="133"/>
                    <a:pt x="438" y="129"/>
                    <a:pt x="440" y="120"/>
                  </a:cubicBezTo>
                  <a:cubicBezTo>
                    <a:pt x="445" y="97"/>
                    <a:pt x="462" y="79"/>
                    <a:pt x="433" y="67"/>
                  </a:cubicBezTo>
                  <a:cubicBezTo>
                    <a:pt x="400" y="57"/>
                    <a:pt x="367" y="49"/>
                    <a:pt x="332" y="49"/>
                  </a:cubicBezTo>
                  <a:close/>
                  <a:moveTo>
                    <a:pt x="214" y="50"/>
                  </a:moveTo>
                  <a:cubicBezTo>
                    <a:pt x="212" y="38"/>
                    <a:pt x="208" y="20"/>
                    <a:pt x="203" y="8"/>
                  </a:cubicBezTo>
                  <a:cubicBezTo>
                    <a:pt x="248" y="8"/>
                    <a:pt x="270" y="26"/>
                    <a:pt x="291" y="39"/>
                  </a:cubicBezTo>
                  <a:cubicBezTo>
                    <a:pt x="283" y="42"/>
                    <a:pt x="284" y="46"/>
                    <a:pt x="285" y="50"/>
                  </a:cubicBezTo>
                  <a:cubicBezTo>
                    <a:pt x="261" y="50"/>
                    <a:pt x="238" y="51"/>
                    <a:pt x="214" y="50"/>
                  </a:cubicBezTo>
                  <a:close/>
                  <a:moveTo>
                    <a:pt x="104" y="50"/>
                  </a:moveTo>
                  <a:cubicBezTo>
                    <a:pt x="104" y="15"/>
                    <a:pt x="173" y="7"/>
                    <a:pt x="192" y="8"/>
                  </a:cubicBezTo>
                  <a:cubicBezTo>
                    <a:pt x="194" y="20"/>
                    <a:pt x="196" y="39"/>
                    <a:pt x="196" y="50"/>
                  </a:cubicBezTo>
                  <a:cubicBezTo>
                    <a:pt x="104" y="50"/>
                    <a:pt x="104" y="50"/>
                    <a:pt x="104" y="50"/>
                  </a:cubicBezTo>
                  <a:close/>
                </a:path>
              </a:pathLst>
            </a:custGeom>
            <a:solidFill>
              <a:schemeClr val="bg1">
                <a:lumMod val="95000"/>
              </a:schemeClr>
            </a:solidFill>
            <a:ln w="3175">
              <a:noFill/>
            </a:ln>
          </p:spPr>
          <p:txBody>
            <a:bodyPr vert="horz" wrap="square" lIns="91440" tIns="45720" rIns="91440" bIns="45720"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881997436"/>
      </p:ext>
    </p:extLst>
  </p:cSld>
  <p:clrMapOvr>
    <a:masterClrMapping/>
  </p:clrMapOvr>
  <p:transition>
    <p:fade/>
  </p:transition>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6">
            <a:extLst>
              <a:ext uri="{FF2B5EF4-FFF2-40B4-BE49-F238E27FC236}">
                <a16:creationId xmlns:a16="http://schemas.microsoft.com/office/drawing/2014/main" id="{6660EBE9-B633-8A45-A644-BBCB59CD2AD9}"/>
              </a:ext>
            </a:extLst>
          </p:cNvPr>
          <p:cNvSpPr>
            <a:spLocks/>
          </p:cNvSpPr>
          <p:nvPr/>
        </p:nvSpPr>
        <p:spPr bwMode="auto">
          <a:xfrm>
            <a:off x="3203576" y="5511801"/>
            <a:ext cx="5029200" cy="979488"/>
          </a:xfrm>
          <a:custGeom>
            <a:avLst/>
            <a:gdLst>
              <a:gd name="T0" fmla="*/ 0 w 3168"/>
              <a:gd name="T1" fmla="*/ 0 h 617"/>
              <a:gd name="T2" fmla="*/ 450 w 3168"/>
              <a:gd name="T3" fmla="*/ 0 h 617"/>
              <a:gd name="T4" fmla="*/ 453 w 3168"/>
              <a:gd name="T5" fmla="*/ 34 h 617"/>
              <a:gd name="T6" fmla="*/ 464 w 3168"/>
              <a:gd name="T7" fmla="*/ 65 h 617"/>
              <a:gd name="T8" fmla="*/ 479 w 3168"/>
              <a:gd name="T9" fmla="*/ 93 h 617"/>
              <a:gd name="T10" fmla="*/ 499 w 3168"/>
              <a:gd name="T11" fmla="*/ 118 h 617"/>
              <a:gd name="T12" fmla="*/ 524 w 3168"/>
              <a:gd name="T13" fmla="*/ 139 h 617"/>
              <a:gd name="T14" fmla="*/ 553 w 3168"/>
              <a:gd name="T15" fmla="*/ 154 h 617"/>
              <a:gd name="T16" fmla="*/ 583 w 3168"/>
              <a:gd name="T17" fmla="*/ 163 h 617"/>
              <a:gd name="T18" fmla="*/ 617 w 3168"/>
              <a:gd name="T19" fmla="*/ 167 h 617"/>
              <a:gd name="T20" fmla="*/ 3019 w 3168"/>
              <a:gd name="T21" fmla="*/ 167 h 617"/>
              <a:gd name="T22" fmla="*/ 3168 w 3168"/>
              <a:gd name="T23" fmla="*/ 391 h 617"/>
              <a:gd name="T24" fmla="*/ 3019 w 3168"/>
              <a:gd name="T25" fmla="*/ 617 h 617"/>
              <a:gd name="T26" fmla="*/ 617 w 3168"/>
              <a:gd name="T27" fmla="*/ 617 h 617"/>
              <a:gd name="T28" fmla="*/ 551 w 3168"/>
              <a:gd name="T29" fmla="*/ 613 h 617"/>
              <a:gd name="T30" fmla="*/ 485 w 3168"/>
              <a:gd name="T31" fmla="*/ 603 h 617"/>
              <a:gd name="T32" fmla="*/ 423 w 3168"/>
              <a:gd name="T33" fmla="*/ 585 h 617"/>
              <a:gd name="T34" fmla="*/ 362 w 3168"/>
              <a:gd name="T35" fmla="*/ 562 h 617"/>
              <a:gd name="T36" fmla="*/ 306 w 3168"/>
              <a:gd name="T37" fmla="*/ 533 h 617"/>
              <a:gd name="T38" fmla="*/ 254 w 3168"/>
              <a:gd name="T39" fmla="*/ 498 h 617"/>
              <a:gd name="T40" fmla="*/ 204 w 3168"/>
              <a:gd name="T41" fmla="*/ 458 h 617"/>
              <a:gd name="T42" fmla="*/ 160 w 3168"/>
              <a:gd name="T43" fmla="*/ 414 h 617"/>
              <a:gd name="T44" fmla="*/ 119 w 3168"/>
              <a:gd name="T45" fmla="*/ 364 h 617"/>
              <a:gd name="T46" fmla="*/ 85 w 3168"/>
              <a:gd name="T47" fmla="*/ 311 h 617"/>
              <a:gd name="T48" fmla="*/ 55 w 3168"/>
              <a:gd name="T49" fmla="*/ 255 h 617"/>
              <a:gd name="T50" fmla="*/ 31 w 3168"/>
              <a:gd name="T51" fmla="*/ 195 h 617"/>
              <a:gd name="T52" fmla="*/ 15 w 3168"/>
              <a:gd name="T53" fmla="*/ 132 h 617"/>
              <a:gd name="T54" fmla="*/ 5 w 3168"/>
              <a:gd name="T55" fmla="*/ 68 h 617"/>
              <a:gd name="T56" fmla="*/ 0 w 3168"/>
              <a:gd name="T5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68" h="617">
                <a:moveTo>
                  <a:pt x="0" y="0"/>
                </a:moveTo>
                <a:lnTo>
                  <a:pt x="450" y="0"/>
                </a:lnTo>
                <a:lnTo>
                  <a:pt x="453" y="34"/>
                </a:lnTo>
                <a:lnTo>
                  <a:pt x="464" y="65"/>
                </a:lnTo>
                <a:lnTo>
                  <a:pt x="479" y="93"/>
                </a:lnTo>
                <a:lnTo>
                  <a:pt x="499" y="118"/>
                </a:lnTo>
                <a:lnTo>
                  <a:pt x="524" y="139"/>
                </a:lnTo>
                <a:lnTo>
                  <a:pt x="553" y="154"/>
                </a:lnTo>
                <a:lnTo>
                  <a:pt x="583" y="163"/>
                </a:lnTo>
                <a:lnTo>
                  <a:pt x="617" y="167"/>
                </a:lnTo>
                <a:lnTo>
                  <a:pt x="3019" y="167"/>
                </a:lnTo>
                <a:lnTo>
                  <a:pt x="3168" y="391"/>
                </a:lnTo>
                <a:lnTo>
                  <a:pt x="3019" y="617"/>
                </a:lnTo>
                <a:lnTo>
                  <a:pt x="617" y="617"/>
                </a:lnTo>
                <a:lnTo>
                  <a:pt x="551" y="613"/>
                </a:lnTo>
                <a:lnTo>
                  <a:pt x="485" y="603"/>
                </a:lnTo>
                <a:lnTo>
                  <a:pt x="423" y="585"/>
                </a:lnTo>
                <a:lnTo>
                  <a:pt x="362" y="562"/>
                </a:lnTo>
                <a:lnTo>
                  <a:pt x="306" y="533"/>
                </a:lnTo>
                <a:lnTo>
                  <a:pt x="254" y="498"/>
                </a:lnTo>
                <a:lnTo>
                  <a:pt x="204" y="458"/>
                </a:lnTo>
                <a:lnTo>
                  <a:pt x="160" y="414"/>
                </a:lnTo>
                <a:lnTo>
                  <a:pt x="119" y="364"/>
                </a:lnTo>
                <a:lnTo>
                  <a:pt x="85" y="311"/>
                </a:lnTo>
                <a:lnTo>
                  <a:pt x="55" y="255"/>
                </a:lnTo>
                <a:lnTo>
                  <a:pt x="31" y="195"/>
                </a:lnTo>
                <a:lnTo>
                  <a:pt x="15" y="132"/>
                </a:lnTo>
                <a:lnTo>
                  <a:pt x="5" y="68"/>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A6C560F0-5ABA-B348-B28B-2EC3EEFA33D3}"/>
              </a:ext>
            </a:extLst>
          </p:cNvPr>
          <p:cNvSpPr>
            <a:spLocks/>
          </p:cNvSpPr>
          <p:nvPr/>
        </p:nvSpPr>
        <p:spPr bwMode="auto">
          <a:xfrm>
            <a:off x="3203576" y="4267201"/>
            <a:ext cx="5772150" cy="1244600"/>
          </a:xfrm>
          <a:custGeom>
            <a:avLst/>
            <a:gdLst>
              <a:gd name="T0" fmla="*/ 3186 w 3636"/>
              <a:gd name="T1" fmla="*/ 0 h 784"/>
              <a:gd name="T2" fmla="*/ 3636 w 3636"/>
              <a:gd name="T3" fmla="*/ 0 h 784"/>
              <a:gd name="T4" fmla="*/ 3631 w 3636"/>
              <a:gd name="T5" fmla="*/ 67 h 784"/>
              <a:gd name="T6" fmla="*/ 3621 w 3636"/>
              <a:gd name="T7" fmla="*/ 133 h 784"/>
              <a:gd name="T8" fmla="*/ 3604 w 3636"/>
              <a:gd name="T9" fmla="*/ 194 h 784"/>
              <a:gd name="T10" fmla="*/ 3581 w 3636"/>
              <a:gd name="T11" fmla="*/ 254 h 784"/>
              <a:gd name="T12" fmla="*/ 3551 w 3636"/>
              <a:gd name="T13" fmla="*/ 311 h 784"/>
              <a:gd name="T14" fmla="*/ 3517 w 3636"/>
              <a:gd name="T15" fmla="*/ 364 h 784"/>
              <a:gd name="T16" fmla="*/ 3476 w 3636"/>
              <a:gd name="T17" fmla="*/ 413 h 784"/>
              <a:gd name="T18" fmla="*/ 3431 w 3636"/>
              <a:gd name="T19" fmla="*/ 458 h 784"/>
              <a:gd name="T20" fmla="*/ 3382 w 3636"/>
              <a:gd name="T21" fmla="*/ 497 h 784"/>
              <a:gd name="T22" fmla="*/ 3330 w 3636"/>
              <a:gd name="T23" fmla="*/ 532 h 784"/>
              <a:gd name="T24" fmla="*/ 3274 w 3636"/>
              <a:gd name="T25" fmla="*/ 562 h 784"/>
              <a:gd name="T26" fmla="*/ 3213 w 3636"/>
              <a:gd name="T27" fmla="*/ 585 h 784"/>
              <a:gd name="T28" fmla="*/ 3151 w 3636"/>
              <a:gd name="T29" fmla="*/ 603 h 784"/>
              <a:gd name="T30" fmla="*/ 3085 w 3636"/>
              <a:gd name="T31" fmla="*/ 613 h 784"/>
              <a:gd name="T32" fmla="*/ 3019 w 3636"/>
              <a:gd name="T33" fmla="*/ 617 h 784"/>
              <a:gd name="T34" fmla="*/ 617 w 3636"/>
              <a:gd name="T35" fmla="*/ 617 h 784"/>
              <a:gd name="T36" fmla="*/ 583 w 3636"/>
              <a:gd name="T37" fmla="*/ 620 h 784"/>
              <a:gd name="T38" fmla="*/ 553 w 3636"/>
              <a:gd name="T39" fmla="*/ 631 h 784"/>
              <a:gd name="T40" fmla="*/ 524 w 3636"/>
              <a:gd name="T41" fmla="*/ 646 h 784"/>
              <a:gd name="T42" fmla="*/ 499 w 3636"/>
              <a:gd name="T43" fmla="*/ 666 h 784"/>
              <a:gd name="T44" fmla="*/ 479 w 3636"/>
              <a:gd name="T45" fmla="*/ 690 h 784"/>
              <a:gd name="T46" fmla="*/ 464 w 3636"/>
              <a:gd name="T47" fmla="*/ 719 h 784"/>
              <a:gd name="T48" fmla="*/ 453 w 3636"/>
              <a:gd name="T49" fmla="*/ 750 h 784"/>
              <a:gd name="T50" fmla="*/ 450 w 3636"/>
              <a:gd name="T51" fmla="*/ 784 h 784"/>
              <a:gd name="T52" fmla="*/ 0 w 3636"/>
              <a:gd name="T53" fmla="*/ 784 h 784"/>
              <a:gd name="T54" fmla="*/ 5 w 3636"/>
              <a:gd name="T55" fmla="*/ 717 h 784"/>
              <a:gd name="T56" fmla="*/ 15 w 3636"/>
              <a:gd name="T57" fmla="*/ 652 h 784"/>
              <a:gd name="T58" fmla="*/ 31 w 3636"/>
              <a:gd name="T59" fmla="*/ 590 h 784"/>
              <a:gd name="T60" fmla="*/ 55 w 3636"/>
              <a:gd name="T61" fmla="*/ 529 h 784"/>
              <a:gd name="T62" fmla="*/ 85 w 3636"/>
              <a:gd name="T63" fmla="*/ 473 h 784"/>
              <a:gd name="T64" fmla="*/ 119 w 3636"/>
              <a:gd name="T65" fmla="*/ 420 h 784"/>
              <a:gd name="T66" fmla="*/ 160 w 3636"/>
              <a:gd name="T67" fmla="*/ 371 h 784"/>
              <a:gd name="T68" fmla="*/ 204 w 3636"/>
              <a:gd name="T69" fmla="*/ 327 h 784"/>
              <a:gd name="T70" fmla="*/ 254 w 3636"/>
              <a:gd name="T71" fmla="*/ 286 h 784"/>
              <a:gd name="T72" fmla="*/ 306 w 3636"/>
              <a:gd name="T73" fmla="*/ 252 h 784"/>
              <a:gd name="T74" fmla="*/ 362 w 3636"/>
              <a:gd name="T75" fmla="*/ 221 h 784"/>
              <a:gd name="T76" fmla="*/ 423 w 3636"/>
              <a:gd name="T77" fmla="*/ 198 h 784"/>
              <a:gd name="T78" fmla="*/ 485 w 3636"/>
              <a:gd name="T79" fmla="*/ 182 h 784"/>
              <a:gd name="T80" fmla="*/ 551 w 3636"/>
              <a:gd name="T81" fmla="*/ 171 h 784"/>
              <a:gd name="T82" fmla="*/ 617 w 3636"/>
              <a:gd name="T83" fmla="*/ 166 h 784"/>
              <a:gd name="T84" fmla="*/ 3019 w 3636"/>
              <a:gd name="T85" fmla="*/ 166 h 784"/>
              <a:gd name="T86" fmla="*/ 3053 w 3636"/>
              <a:gd name="T87" fmla="*/ 164 h 784"/>
              <a:gd name="T88" fmla="*/ 3083 w 3636"/>
              <a:gd name="T89" fmla="*/ 154 h 784"/>
              <a:gd name="T90" fmla="*/ 3112 w 3636"/>
              <a:gd name="T91" fmla="*/ 138 h 784"/>
              <a:gd name="T92" fmla="*/ 3137 w 3636"/>
              <a:gd name="T93" fmla="*/ 119 h 784"/>
              <a:gd name="T94" fmla="*/ 3157 w 3636"/>
              <a:gd name="T95" fmla="*/ 93 h 784"/>
              <a:gd name="T96" fmla="*/ 3172 w 3636"/>
              <a:gd name="T97" fmla="*/ 65 h 784"/>
              <a:gd name="T98" fmla="*/ 3182 w 3636"/>
              <a:gd name="T99" fmla="*/ 33 h 784"/>
              <a:gd name="T100" fmla="*/ 3186 w 3636"/>
              <a:gd name="T101" fmla="*/ 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36" h="784">
                <a:moveTo>
                  <a:pt x="3186" y="0"/>
                </a:moveTo>
                <a:lnTo>
                  <a:pt x="3636" y="0"/>
                </a:lnTo>
                <a:lnTo>
                  <a:pt x="3631" y="67"/>
                </a:lnTo>
                <a:lnTo>
                  <a:pt x="3621" y="133"/>
                </a:lnTo>
                <a:lnTo>
                  <a:pt x="3604" y="194"/>
                </a:lnTo>
                <a:lnTo>
                  <a:pt x="3581" y="254"/>
                </a:lnTo>
                <a:lnTo>
                  <a:pt x="3551" y="311"/>
                </a:lnTo>
                <a:lnTo>
                  <a:pt x="3517" y="364"/>
                </a:lnTo>
                <a:lnTo>
                  <a:pt x="3476" y="413"/>
                </a:lnTo>
                <a:lnTo>
                  <a:pt x="3431" y="458"/>
                </a:lnTo>
                <a:lnTo>
                  <a:pt x="3382" y="497"/>
                </a:lnTo>
                <a:lnTo>
                  <a:pt x="3330" y="532"/>
                </a:lnTo>
                <a:lnTo>
                  <a:pt x="3274" y="562"/>
                </a:lnTo>
                <a:lnTo>
                  <a:pt x="3213" y="585"/>
                </a:lnTo>
                <a:lnTo>
                  <a:pt x="3151" y="603"/>
                </a:lnTo>
                <a:lnTo>
                  <a:pt x="3085" y="613"/>
                </a:lnTo>
                <a:lnTo>
                  <a:pt x="3019" y="617"/>
                </a:lnTo>
                <a:lnTo>
                  <a:pt x="617" y="617"/>
                </a:lnTo>
                <a:lnTo>
                  <a:pt x="583" y="620"/>
                </a:lnTo>
                <a:lnTo>
                  <a:pt x="553" y="631"/>
                </a:lnTo>
                <a:lnTo>
                  <a:pt x="524" y="646"/>
                </a:lnTo>
                <a:lnTo>
                  <a:pt x="499" y="666"/>
                </a:lnTo>
                <a:lnTo>
                  <a:pt x="479" y="690"/>
                </a:lnTo>
                <a:lnTo>
                  <a:pt x="464" y="719"/>
                </a:lnTo>
                <a:lnTo>
                  <a:pt x="453" y="750"/>
                </a:lnTo>
                <a:lnTo>
                  <a:pt x="450" y="784"/>
                </a:lnTo>
                <a:lnTo>
                  <a:pt x="0" y="784"/>
                </a:lnTo>
                <a:lnTo>
                  <a:pt x="5" y="717"/>
                </a:lnTo>
                <a:lnTo>
                  <a:pt x="15" y="652"/>
                </a:lnTo>
                <a:lnTo>
                  <a:pt x="31" y="590"/>
                </a:lnTo>
                <a:lnTo>
                  <a:pt x="55" y="529"/>
                </a:lnTo>
                <a:lnTo>
                  <a:pt x="85" y="473"/>
                </a:lnTo>
                <a:lnTo>
                  <a:pt x="119" y="420"/>
                </a:lnTo>
                <a:lnTo>
                  <a:pt x="160" y="371"/>
                </a:lnTo>
                <a:lnTo>
                  <a:pt x="204" y="327"/>
                </a:lnTo>
                <a:lnTo>
                  <a:pt x="254" y="286"/>
                </a:lnTo>
                <a:lnTo>
                  <a:pt x="306" y="252"/>
                </a:lnTo>
                <a:lnTo>
                  <a:pt x="362" y="221"/>
                </a:lnTo>
                <a:lnTo>
                  <a:pt x="423" y="198"/>
                </a:lnTo>
                <a:lnTo>
                  <a:pt x="485" y="182"/>
                </a:lnTo>
                <a:lnTo>
                  <a:pt x="551" y="171"/>
                </a:lnTo>
                <a:lnTo>
                  <a:pt x="617" y="166"/>
                </a:lnTo>
                <a:lnTo>
                  <a:pt x="3019" y="166"/>
                </a:lnTo>
                <a:lnTo>
                  <a:pt x="3053" y="164"/>
                </a:lnTo>
                <a:lnTo>
                  <a:pt x="3083" y="154"/>
                </a:lnTo>
                <a:lnTo>
                  <a:pt x="3112" y="138"/>
                </a:lnTo>
                <a:lnTo>
                  <a:pt x="3137" y="119"/>
                </a:lnTo>
                <a:lnTo>
                  <a:pt x="3157" y="93"/>
                </a:lnTo>
                <a:lnTo>
                  <a:pt x="3172" y="65"/>
                </a:lnTo>
                <a:lnTo>
                  <a:pt x="3182" y="33"/>
                </a:lnTo>
                <a:lnTo>
                  <a:pt x="3186"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13FC7506-FADB-094D-B776-8AC160AA188D}"/>
              </a:ext>
            </a:extLst>
          </p:cNvPr>
          <p:cNvSpPr>
            <a:spLocks/>
          </p:cNvSpPr>
          <p:nvPr/>
        </p:nvSpPr>
        <p:spPr bwMode="auto">
          <a:xfrm>
            <a:off x="3203576" y="3022601"/>
            <a:ext cx="5772150" cy="1244600"/>
          </a:xfrm>
          <a:custGeom>
            <a:avLst/>
            <a:gdLst>
              <a:gd name="T0" fmla="*/ 0 w 3636"/>
              <a:gd name="T1" fmla="*/ 0 h 784"/>
              <a:gd name="T2" fmla="*/ 450 w 3636"/>
              <a:gd name="T3" fmla="*/ 0 h 784"/>
              <a:gd name="T4" fmla="*/ 453 w 3636"/>
              <a:gd name="T5" fmla="*/ 34 h 784"/>
              <a:gd name="T6" fmla="*/ 464 w 3636"/>
              <a:gd name="T7" fmla="*/ 65 h 784"/>
              <a:gd name="T8" fmla="*/ 479 w 3636"/>
              <a:gd name="T9" fmla="*/ 93 h 784"/>
              <a:gd name="T10" fmla="*/ 499 w 3636"/>
              <a:gd name="T11" fmla="*/ 118 h 784"/>
              <a:gd name="T12" fmla="*/ 524 w 3636"/>
              <a:gd name="T13" fmla="*/ 138 h 784"/>
              <a:gd name="T14" fmla="*/ 553 w 3636"/>
              <a:gd name="T15" fmla="*/ 154 h 784"/>
              <a:gd name="T16" fmla="*/ 583 w 3636"/>
              <a:gd name="T17" fmla="*/ 164 h 784"/>
              <a:gd name="T18" fmla="*/ 617 w 3636"/>
              <a:gd name="T19" fmla="*/ 167 h 784"/>
              <a:gd name="T20" fmla="*/ 3019 w 3636"/>
              <a:gd name="T21" fmla="*/ 167 h 784"/>
              <a:gd name="T22" fmla="*/ 3085 w 3636"/>
              <a:gd name="T23" fmla="*/ 171 h 784"/>
              <a:gd name="T24" fmla="*/ 3151 w 3636"/>
              <a:gd name="T25" fmla="*/ 181 h 784"/>
              <a:gd name="T26" fmla="*/ 3213 w 3636"/>
              <a:gd name="T27" fmla="*/ 199 h 784"/>
              <a:gd name="T28" fmla="*/ 3274 w 3636"/>
              <a:gd name="T29" fmla="*/ 222 h 784"/>
              <a:gd name="T30" fmla="*/ 3330 w 3636"/>
              <a:gd name="T31" fmla="*/ 251 h 784"/>
              <a:gd name="T32" fmla="*/ 3382 w 3636"/>
              <a:gd name="T33" fmla="*/ 286 h 784"/>
              <a:gd name="T34" fmla="*/ 3431 w 3636"/>
              <a:gd name="T35" fmla="*/ 326 h 784"/>
              <a:gd name="T36" fmla="*/ 3476 w 3636"/>
              <a:gd name="T37" fmla="*/ 371 h 784"/>
              <a:gd name="T38" fmla="*/ 3517 w 3636"/>
              <a:gd name="T39" fmla="*/ 420 h 784"/>
              <a:gd name="T40" fmla="*/ 3551 w 3636"/>
              <a:gd name="T41" fmla="*/ 472 h 784"/>
              <a:gd name="T42" fmla="*/ 3581 w 3636"/>
              <a:gd name="T43" fmla="*/ 530 h 784"/>
              <a:gd name="T44" fmla="*/ 3604 w 3636"/>
              <a:gd name="T45" fmla="*/ 589 h 784"/>
              <a:gd name="T46" fmla="*/ 3621 w 3636"/>
              <a:gd name="T47" fmla="*/ 652 h 784"/>
              <a:gd name="T48" fmla="*/ 3631 w 3636"/>
              <a:gd name="T49" fmla="*/ 717 h 784"/>
              <a:gd name="T50" fmla="*/ 3636 w 3636"/>
              <a:gd name="T51" fmla="*/ 784 h 784"/>
              <a:gd name="T52" fmla="*/ 3186 w 3636"/>
              <a:gd name="T53" fmla="*/ 784 h 784"/>
              <a:gd name="T54" fmla="*/ 3182 w 3636"/>
              <a:gd name="T55" fmla="*/ 751 h 784"/>
              <a:gd name="T56" fmla="*/ 3172 w 3636"/>
              <a:gd name="T57" fmla="*/ 719 h 784"/>
              <a:gd name="T58" fmla="*/ 3157 w 3636"/>
              <a:gd name="T59" fmla="*/ 691 h 784"/>
              <a:gd name="T60" fmla="*/ 3137 w 3636"/>
              <a:gd name="T61" fmla="*/ 666 h 784"/>
              <a:gd name="T62" fmla="*/ 3112 w 3636"/>
              <a:gd name="T63" fmla="*/ 645 h 784"/>
              <a:gd name="T64" fmla="*/ 3083 w 3636"/>
              <a:gd name="T65" fmla="*/ 630 h 784"/>
              <a:gd name="T66" fmla="*/ 3053 w 3636"/>
              <a:gd name="T67" fmla="*/ 621 h 784"/>
              <a:gd name="T68" fmla="*/ 3019 w 3636"/>
              <a:gd name="T69" fmla="*/ 617 h 784"/>
              <a:gd name="T70" fmla="*/ 617 w 3636"/>
              <a:gd name="T71" fmla="*/ 617 h 784"/>
              <a:gd name="T72" fmla="*/ 551 w 3636"/>
              <a:gd name="T73" fmla="*/ 614 h 784"/>
              <a:gd name="T74" fmla="*/ 485 w 3636"/>
              <a:gd name="T75" fmla="*/ 603 h 784"/>
              <a:gd name="T76" fmla="*/ 423 w 3636"/>
              <a:gd name="T77" fmla="*/ 586 h 784"/>
              <a:gd name="T78" fmla="*/ 362 w 3636"/>
              <a:gd name="T79" fmla="*/ 562 h 784"/>
              <a:gd name="T80" fmla="*/ 306 w 3636"/>
              <a:gd name="T81" fmla="*/ 533 h 784"/>
              <a:gd name="T82" fmla="*/ 254 w 3636"/>
              <a:gd name="T83" fmla="*/ 498 h 784"/>
              <a:gd name="T84" fmla="*/ 204 w 3636"/>
              <a:gd name="T85" fmla="*/ 458 h 784"/>
              <a:gd name="T86" fmla="*/ 160 w 3636"/>
              <a:gd name="T87" fmla="*/ 414 h 784"/>
              <a:gd name="T88" fmla="*/ 119 w 3636"/>
              <a:gd name="T89" fmla="*/ 365 h 784"/>
              <a:gd name="T90" fmla="*/ 85 w 3636"/>
              <a:gd name="T91" fmla="*/ 311 h 784"/>
              <a:gd name="T92" fmla="*/ 55 w 3636"/>
              <a:gd name="T93" fmla="*/ 255 h 784"/>
              <a:gd name="T94" fmla="*/ 31 w 3636"/>
              <a:gd name="T95" fmla="*/ 195 h 784"/>
              <a:gd name="T96" fmla="*/ 15 w 3636"/>
              <a:gd name="T97" fmla="*/ 132 h 784"/>
              <a:gd name="T98" fmla="*/ 5 w 3636"/>
              <a:gd name="T99" fmla="*/ 68 h 784"/>
              <a:gd name="T100" fmla="*/ 0 w 3636"/>
              <a:gd name="T101" fmla="*/ 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36" h="784">
                <a:moveTo>
                  <a:pt x="0" y="0"/>
                </a:moveTo>
                <a:lnTo>
                  <a:pt x="450" y="0"/>
                </a:lnTo>
                <a:lnTo>
                  <a:pt x="453" y="34"/>
                </a:lnTo>
                <a:lnTo>
                  <a:pt x="464" y="65"/>
                </a:lnTo>
                <a:lnTo>
                  <a:pt x="479" y="93"/>
                </a:lnTo>
                <a:lnTo>
                  <a:pt x="499" y="118"/>
                </a:lnTo>
                <a:lnTo>
                  <a:pt x="524" y="138"/>
                </a:lnTo>
                <a:lnTo>
                  <a:pt x="553" y="154"/>
                </a:lnTo>
                <a:lnTo>
                  <a:pt x="583" y="164"/>
                </a:lnTo>
                <a:lnTo>
                  <a:pt x="617" y="167"/>
                </a:lnTo>
                <a:lnTo>
                  <a:pt x="3019" y="167"/>
                </a:lnTo>
                <a:lnTo>
                  <a:pt x="3085" y="171"/>
                </a:lnTo>
                <a:lnTo>
                  <a:pt x="3151" y="181"/>
                </a:lnTo>
                <a:lnTo>
                  <a:pt x="3213" y="199"/>
                </a:lnTo>
                <a:lnTo>
                  <a:pt x="3274" y="222"/>
                </a:lnTo>
                <a:lnTo>
                  <a:pt x="3330" y="251"/>
                </a:lnTo>
                <a:lnTo>
                  <a:pt x="3382" y="286"/>
                </a:lnTo>
                <a:lnTo>
                  <a:pt x="3431" y="326"/>
                </a:lnTo>
                <a:lnTo>
                  <a:pt x="3476" y="371"/>
                </a:lnTo>
                <a:lnTo>
                  <a:pt x="3517" y="420"/>
                </a:lnTo>
                <a:lnTo>
                  <a:pt x="3551" y="472"/>
                </a:lnTo>
                <a:lnTo>
                  <a:pt x="3581" y="530"/>
                </a:lnTo>
                <a:lnTo>
                  <a:pt x="3604" y="589"/>
                </a:lnTo>
                <a:lnTo>
                  <a:pt x="3621" y="652"/>
                </a:lnTo>
                <a:lnTo>
                  <a:pt x="3631" y="717"/>
                </a:lnTo>
                <a:lnTo>
                  <a:pt x="3636" y="784"/>
                </a:lnTo>
                <a:lnTo>
                  <a:pt x="3186" y="784"/>
                </a:lnTo>
                <a:lnTo>
                  <a:pt x="3182" y="751"/>
                </a:lnTo>
                <a:lnTo>
                  <a:pt x="3172" y="719"/>
                </a:lnTo>
                <a:lnTo>
                  <a:pt x="3157" y="691"/>
                </a:lnTo>
                <a:lnTo>
                  <a:pt x="3137" y="666"/>
                </a:lnTo>
                <a:lnTo>
                  <a:pt x="3112" y="645"/>
                </a:lnTo>
                <a:lnTo>
                  <a:pt x="3083" y="630"/>
                </a:lnTo>
                <a:lnTo>
                  <a:pt x="3053" y="621"/>
                </a:lnTo>
                <a:lnTo>
                  <a:pt x="3019" y="617"/>
                </a:lnTo>
                <a:lnTo>
                  <a:pt x="617" y="617"/>
                </a:lnTo>
                <a:lnTo>
                  <a:pt x="551" y="614"/>
                </a:lnTo>
                <a:lnTo>
                  <a:pt x="485" y="603"/>
                </a:lnTo>
                <a:lnTo>
                  <a:pt x="423" y="586"/>
                </a:lnTo>
                <a:lnTo>
                  <a:pt x="362" y="562"/>
                </a:lnTo>
                <a:lnTo>
                  <a:pt x="306" y="533"/>
                </a:lnTo>
                <a:lnTo>
                  <a:pt x="254" y="498"/>
                </a:lnTo>
                <a:lnTo>
                  <a:pt x="204" y="458"/>
                </a:lnTo>
                <a:lnTo>
                  <a:pt x="160" y="414"/>
                </a:lnTo>
                <a:lnTo>
                  <a:pt x="119" y="365"/>
                </a:lnTo>
                <a:lnTo>
                  <a:pt x="85" y="311"/>
                </a:lnTo>
                <a:lnTo>
                  <a:pt x="55" y="255"/>
                </a:lnTo>
                <a:lnTo>
                  <a:pt x="31" y="195"/>
                </a:lnTo>
                <a:lnTo>
                  <a:pt x="15" y="132"/>
                </a:lnTo>
                <a:lnTo>
                  <a:pt x="5" y="68"/>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0B05C9D6-EE66-AF42-97E6-98DC0377D3B0}"/>
              </a:ext>
            </a:extLst>
          </p:cNvPr>
          <p:cNvSpPr>
            <a:spLocks/>
          </p:cNvSpPr>
          <p:nvPr/>
        </p:nvSpPr>
        <p:spPr bwMode="auto">
          <a:xfrm>
            <a:off x="3203576" y="1779589"/>
            <a:ext cx="5772150" cy="1243013"/>
          </a:xfrm>
          <a:custGeom>
            <a:avLst/>
            <a:gdLst>
              <a:gd name="T0" fmla="*/ 3186 w 3636"/>
              <a:gd name="T1" fmla="*/ 0 h 783"/>
              <a:gd name="T2" fmla="*/ 3636 w 3636"/>
              <a:gd name="T3" fmla="*/ 0 h 783"/>
              <a:gd name="T4" fmla="*/ 3631 w 3636"/>
              <a:gd name="T5" fmla="*/ 66 h 783"/>
              <a:gd name="T6" fmla="*/ 3621 w 3636"/>
              <a:gd name="T7" fmla="*/ 132 h 783"/>
              <a:gd name="T8" fmla="*/ 3604 w 3636"/>
              <a:gd name="T9" fmla="*/ 194 h 783"/>
              <a:gd name="T10" fmla="*/ 3581 w 3636"/>
              <a:gd name="T11" fmla="*/ 253 h 783"/>
              <a:gd name="T12" fmla="*/ 3551 w 3636"/>
              <a:gd name="T13" fmla="*/ 311 h 783"/>
              <a:gd name="T14" fmla="*/ 3517 w 3636"/>
              <a:gd name="T15" fmla="*/ 363 h 783"/>
              <a:gd name="T16" fmla="*/ 3476 w 3636"/>
              <a:gd name="T17" fmla="*/ 412 h 783"/>
              <a:gd name="T18" fmla="*/ 3431 w 3636"/>
              <a:gd name="T19" fmla="*/ 457 h 783"/>
              <a:gd name="T20" fmla="*/ 3382 w 3636"/>
              <a:gd name="T21" fmla="*/ 497 h 783"/>
              <a:gd name="T22" fmla="*/ 3330 w 3636"/>
              <a:gd name="T23" fmla="*/ 532 h 783"/>
              <a:gd name="T24" fmla="*/ 3274 w 3636"/>
              <a:gd name="T25" fmla="*/ 561 h 783"/>
              <a:gd name="T26" fmla="*/ 3213 w 3636"/>
              <a:gd name="T27" fmla="*/ 584 h 783"/>
              <a:gd name="T28" fmla="*/ 3151 w 3636"/>
              <a:gd name="T29" fmla="*/ 602 h 783"/>
              <a:gd name="T30" fmla="*/ 3085 w 3636"/>
              <a:gd name="T31" fmla="*/ 612 h 783"/>
              <a:gd name="T32" fmla="*/ 3019 w 3636"/>
              <a:gd name="T33" fmla="*/ 616 h 783"/>
              <a:gd name="T34" fmla="*/ 617 w 3636"/>
              <a:gd name="T35" fmla="*/ 616 h 783"/>
              <a:gd name="T36" fmla="*/ 583 w 3636"/>
              <a:gd name="T37" fmla="*/ 619 h 783"/>
              <a:gd name="T38" fmla="*/ 553 w 3636"/>
              <a:gd name="T39" fmla="*/ 630 h 783"/>
              <a:gd name="T40" fmla="*/ 524 w 3636"/>
              <a:gd name="T41" fmla="*/ 645 h 783"/>
              <a:gd name="T42" fmla="*/ 499 w 3636"/>
              <a:gd name="T43" fmla="*/ 665 h 783"/>
              <a:gd name="T44" fmla="*/ 479 w 3636"/>
              <a:gd name="T45" fmla="*/ 689 h 783"/>
              <a:gd name="T46" fmla="*/ 464 w 3636"/>
              <a:gd name="T47" fmla="*/ 719 h 783"/>
              <a:gd name="T48" fmla="*/ 453 w 3636"/>
              <a:gd name="T49" fmla="*/ 749 h 783"/>
              <a:gd name="T50" fmla="*/ 450 w 3636"/>
              <a:gd name="T51" fmla="*/ 783 h 783"/>
              <a:gd name="T52" fmla="*/ 0 w 3636"/>
              <a:gd name="T53" fmla="*/ 783 h 783"/>
              <a:gd name="T54" fmla="*/ 5 w 3636"/>
              <a:gd name="T55" fmla="*/ 716 h 783"/>
              <a:gd name="T56" fmla="*/ 15 w 3636"/>
              <a:gd name="T57" fmla="*/ 651 h 783"/>
              <a:gd name="T58" fmla="*/ 31 w 3636"/>
              <a:gd name="T59" fmla="*/ 588 h 783"/>
              <a:gd name="T60" fmla="*/ 55 w 3636"/>
              <a:gd name="T61" fmla="*/ 528 h 783"/>
              <a:gd name="T62" fmla="*/ 85 w 3636"/>
              <a:gd name="T63" fmla="*/ 472 h 783"/>
              <a:gd name="T64" fmla="*/ 119 w 3636"/>
              <a:gd name="T65" fmla="*/ 419 h 783"/>
              <a:gd name="T66" fmla="*/ 160 w 3636"/>
              <a:gd name="T67" fmla="*/ 370 h 783"/>
              <a:gd name="T68" fmla="*/ 204 w 3636"/>
              <a:gd name="T69" fmla="*/ 325 h 783"/>
              <a:gd name="T70" fmla="*/ 254 w 3636"/>
              <a:gd name="T71" fmla="*/ 285 h 783"/>
              <a:gd name="T72" fmla="*/ 306 w 3636"/>
              <a:gd name="T73" fmla="*/ 250 h 783"/>
              <a:gd name="T74" fmla="*/ 362 w 3636"/>
              <a:gd name="T75" fmla="*/ 221 h 783"/>
              <a:gd name="T76" fmla="*/ 423 w 3636"/>
              <a:gd name="T77" fmla="*/ 197 h 783"/>
              <a:gd name="T78" fmla="*/ 485 w 3636"/>
              <a:gd name="T79" fmla="*/ 181 h 783"/>
              <a:gd name="T80" fmla="*/ 551 w 3636"/>
              <a:gd name="T81" fmla="*/ 169 h 783"/>
              <a:gd name="T82" fmla="*/ 617 w 3636"/>
              <a:gd name="T83" fmla="*/ 166 h 783"/>
              <a:gd name="T84" fmla="*/ 3019 w 3636"/>
              <a:gd name="T85" fmla="*/ 166 h 783"/>
              <a:gd name="T86" fmla="*/ 3053 w 3636"/>
              <a:gd name="T87" fmla="*/ 162 h 783"/>
              <a:gd name="T88" fmla="*/ 3083 w 3636"/>
              <a:gd name="T89" fmla="*/ 153 h 783"/>
              <a:gd name="T90" fmla="*/ 3112 w 3636"/>
              <a:gd name="T91" fmla="*/ 138 h 783"/>
              <a:gd name="T92" fmla="*/ 3137 w 3636"/>
              <a:gd name="T93" fmla="*/ 117 h 783"/>
              <a:gd name="T94" fmla="*/ 3157 w 3636"/>
              <a:gd name="T95" fmla="*/ 92 h 783"/>
              <a:gd name="T96" fmla="*/ 3172 w 3636"/>
              <a:gd name="T97" fmla="*/ 64 h 783"/>
              <a:gd name="T98" fmla="*/ 3182 w 3636"/>
              <a:gd name="T99" fmla="*/ 32 h 783"/>
              <a:gd name="T100" fmla="*/ 3186 w 3636"/>
              <a:gd name="T101" fmla="*/ 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36" h="783">
                <a:moveTo>
                  <a:pt x="3186" y="0"/>
                </a:moveTo>
                <a:lnTo>
                  <a:pt x="3636" y="0"/>
                </a:lnTo>
                <a:lnTo>
                  <a:pt x="3631" y="66"/>
                </a:lnTo>
                <a:lnTo>
                  <a:pt x="3621" y="132"/>
                </a:lnTo>
                <a:lnTo>
                  <a:pt x="3604" y="194"/>
                </a:lnTo>
                <a:lnTo>
                  <a:pt x="3581" y="253"/>
                </a:lnTo>
                <a:lnTo>
                  <a:pt x="3551" y="311"/>
                </a:lnTo>
                <a:lnTo>
                  <a:pt x="3517" y="363"/>
                </a:lnTo>
                <a:lnTo>
                  <a:pt x="3476" y="412"/>
                </a:lnTo>
                <a:lnTo>
                  <a:pt x="3431" y="457"/>
                </a:lnTo>
                <a:lnTo>
                  <a:pt x="3382" y="497"/>
                </a:lnTo>
                <a:lnTo>
                  <a:pt x="3330" y="532"/>
                </a:lnTo>
                <a:lnTo>
                  <a:pt x="3274" y="561"/>
                </a:lnTo>
                <a:lnTo>
                  <a:pt x="3213" y="584"/>
                </a:lnTo>
                <a:lnTo>
                  <a:pt x="3151" y="602"/>
                </a:lnTo>
                <a:lnTo>
                  <a:pt x="3085" y="612"/>
                </a:lnTo>
                <a:lnTo>
                  <a:pt x="3019" y="616"/>
                </a:lnTo>
                <a:lnTo>
                  <a:pt x="617" y="616"/>
                </a:lnTo>
                <a:lnTo>
                  <a:pt x="583" y="619"/>
                </a:lnTo>
                <a:lnTo>
                  <a:pt x="553" y="630"/>
                </a:lnTo>
                <a:lnTo>
                  <a:pt x="524" y="645"/>
                </a:lnTo>
                <a:lnTo>
                  <a:pt x="499" y="665"/>
                </a:lnTo>
                <a:lnTo>
                  <a:pt x="479" y="689"/>
                </a:lnTo>
                <a:lnTo>
                  <a:pt x="464" y="719"/>
                </a:lnTo>
                <a:lnTo>
                  <a:pt x="453" y="749"/>
                </a:lnTo>
                <a:lnTo>
                  <a:pt x="450" y="783"/>
                </a:lnTo>
                <a:lnTo>
                  <a:pt x="0" y="783"/>
                </a:lnTo>
                <a:lnTo>
                  <a:pt x="5" y="716"/>
                </a:lnTo>
                <a:lnTo>
                  <a:pt x="15" y="651"/>
                </a:lnTo>
                <a:lnTo>
                  <a:pt x="31" y="588"/>
                </a:lnTo>
                <a:lnTo>
                  <a:pt x="55" y="528"/>
                </a:lnTo>
                <a:lnTo>
                  <a:pt x="85" y="472"/>
                </a:lnTo>
                <a:lnTo>
                  <a:pt x="119" y="419"/>
                </a:lnTo>
                <a:lnTo>
                  <a:pt x="160" y="370"/>
                </a:lnTo>
                <a:lnTo>
                  <a:pt x="204" y="325"/>
                </a:lnTo>
                <a:lnTo>
                  <a:pt x="254" y="285"/>
                </a:lnTo>
                <a:lnTo>
                  <a:pt x="306" y="250"/>
                </a:lnTo>
                <a:lnTo>
                  <a:pt x="362" y="221"/>
                </a:lnTo>
                <a:lnTo>
                  <a:pt x="423" y="197"/>
                </a:lnTo>
                <a:lnTo>
                  <a:pt x="485" y="181"/>
                </a:lnTo>
                <a:lnTo>
                  <a:pt x="551" y="169"/>
                </a:lnTo>
                <a:lnTo>
                  <a:pt x="617" y="166"/>
                </a:lnTo>
                <a:lnTo>
                  <a:pt x="3019" y="166"/>
                </a:lnTo>
                <a:lnTo>
                  <a:pt x="3053" y="162"/>
                </a:lnTo>
                <a:lnTo>
                  <a:pt x="3083" y="153"/>
                </a:lnTo>
                <a:lnTo>
                  <a:pt x="3112" y="138"/>
                </a:lnTo>
                <a:lnTo>
                  <a:pt x="3137" y="117"/>
                </a:lnTo>
                <a:lnTo>
                  <a:pt x="3157" y="92"/>
                </a:lnTo>
                <a:lnTo>
                  <a:pt x="3172" y="64"/>
                </a:lnTo>
                <a:lnTo>
                  <a:pt x="3182" y="32"/>
                </a:lnTo>
                <a:lnTo>
                  <a:pt x="3186"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C12D3620-F249-D54E-B44A-807E4FAF89E4}"/>
              </a:ext>
            </a:extLst>
          </p:cNvPr>
          <p:cNvSpPr>
            <a:spLocks/>
          </p:cNvSpPr>
          <p:nvPr/>
        </p:nvSpPr>
        <p:spPr bwMode="auto">
          <a:xfrm>
            <a:off x="4183064" y="798514"/>
            <a:ext cx="4792663" cy="981075"/>
          </a:xfrm>
          <a:custGeom>
            <a:avLst/>
            <a:gdLst>
              <a:gd name="T0" fmla="*/ 0 w 3019"/>
              <a:gd name="T1" fmla="*/ 0 h 618"/>
              <a:gd name="T2" fmla="*/ 2402 w 3019"/>
              <a:gd name="T3" fmla="*/ 0 h 618"/>
              <a:gd name="T4" fmla="*/ 2468 w 3019"/>
              <a:gd name="T5" fmla="*/ 4 h 618"/>
              <a:gd name="T6" fmla="*/ 2534 w 3019"/>
              <a:gd name="T7" fmla="*/ 14 h 618"/>
              <a:gd name="T8" fmla="*/ 2596 w 3019"/>
              <a:gd name="T9" fmla="*/ 32 h 618"/>
              <a:gd name="T10" fmla="*/ 2657 w 3019"/>
              <a:gd name="T11" fmla="*/ 55 h 618"/>
              <a:gd name="T12" fmla="*/ 2713 w 3019"/>
              <a:gd name="T13" fmla="*/ 85 h 618"/>
              <a:gd name="T14" fmla="*/ 2765 w 3019"/>
              <a:gd name="T15" fmla="*/ 120 h 618"/>
              <a:gd name="T16" fmla="*/ 2814 w 3019"/>
              <a:gd name="T17" fmla="*/ 159 h 618"/>
              <a:gd name="T18" fmla="*/ 2859 w 3019"/>
              <a:gd name="T19" fmla="*/ 204 h 618"/>
              <a:gd name="T20" fmla="*/ 2900 w 3019"/>
              <a:gd name="T21" fmla="*/ 253 h 618"/>
              <a:gd name="T22" fmla="*/ 2934 w 3019"/>
              <a:gd name="T23" fmla="*/ 306 h 618"/>
              <a:gd name="T24" fmla="*/ 2964 w 3019"/>
              <a:gd name="T25" fmla="*/ 363 h 618"/>
              <a:gd name="T26" fmla="*/ 2987 w 3019"/>
              <a:gd name="T27" fmla="*/ 422 h 618"/>
              <a:gd name="T28" fmla="*/ 3004 w 3019"/>
              <a:gd name="T29" fmla="*/ 484 h 618"/>
              <a:gd name="T30" fmla="*/ 3014 w 3019"/>
              <a:gd name="T31" fmla="*/ 550 h 618"/>
              <a:gd name="T32" fmla="*/ 3019 w 3019"/>
              <a:gd name="T33" fmla="*/ 618 h 618"/>
              <a:gd name="T34" fmla="*/ 2569 w 3019"/>
              <a:gd name="T35" fmla="*/ 618 h 618"/>
              <a:gd name="T36" fmla="*/ 2565 w 3019"/>
              <a:gd name="T37" fmla="*/ 584 h 618"/>
              <a:gd name="T38" fmla="*/ 2555 w 3019"/>
              <a:gd name="T39" fmla="*/ 552 h 618"/>
              <a:gd name="T40" fmla="*/ 2540 w 3019"/>
              <a:gd name="T41" fmla="*/ 524 h 618"/>
              <a:gd name="T42" fmla="*/ 2520 w 3019"/>
              <a:gd name="T43" fmla="*/ 500 h 618"/>
              <a:gd name="T44" fmla="*/ 2495 w 3019"/>
              <a:gd name="T45" fmla="*/ 479 h 618"/>
              <a:gd name="T46" fmla="*/ 2466 w 3019"/>
              <a:gd name="T47" fmla="*/ 463 h 618"/>
              <a:gd name="T48" fmla="*/ 2436 w 3019"/>
              <a:gd name="T49" fmla="*/ 454 h 618"/>
              <a:gd name="T50" fmla="*/ 2402 w 3019"/>
              <a:gd name="T51" fmla="*/ 450 h 618"/>
              <a:gd name="T52" fmla="*/ 0 w 3019"/>
              <a:gd name="T53" fmla="*/ 450 h 618"/>
              <a:gd name="T54" fmla="*/ 0 w 3019"/>
              <a:gd name="T55" fmla="*/ 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19" h="618">
                <a:moveTo>
                  <a:pt x="0" y="0"/>
                </a:moveTo>
                <a:lnTo>
                  <a:pt x="2402" y="0"/>
                </a:lnTo>
                <a:lnTo>
                  <a:pt x="2468" y="4"/>
                </a:lnTo>
                <a:lnTo>
                  <a:pt x="2534" y="14"/>
                </a:lnTo>
                <a:lnTo>
                  <a:pt x="2596" y="32"/>
                </a:lnTo>
                <a:lnTo>
                  <a:pt x="2657" y="55"/>
                </a:lnTo>
                <a:lnTo>
                  <a:pt x="2713" y="85"/>
                </a:lnTo>
                <a:lnTo>
                  <a:pt x="2765" y="120"/>
                </a:lnTo>
                <a:lnTo>
                  <a:pt x="2814" y="159"/>
                </a:lnTo>
                <a:lnTo>
                  <a:pt x="2859" y="204"/>
                </a:lnTo>
                <a:lnTo>
                  <a:pt x="2900" y="253"/>
                </a:lnTo>
                <a:lnTo>
                  <a:pt x="2934" y="306"/>
                </a:lnTo>
                <a:lnTo>
                  <a:pt x="2964" y="363"/>
                </a:lnTo>
                <a:lnTo>
                  <a:pt x="2987" y="422"/>
                </a:lnTo>
                <a:lnTo>
                  <a:pt x="3004" y="484"/>
                </a:lnTo>
                <a:lnTo>
                  <a:pt x="3014" y="550"/>
                </a:lnTo>
                <a:lnTo>
                  <a:pt x="3019" y="618"/>
                </a:lnTo>
                <a:lnTo>
                  <a:pt x="2569" y="618"/>
                </a:lnTo>
                <a:lnTo>
                  <a:pt x="2565" y="584"/>
                </a:lnTo>
                <a:lnTo>
                  <a:pt x="2555" y="552"/>
                </a:lnTo>
                <a:lnTo>
                  <a:pt x="2540" y="524"/>
                </a:lnTo>
                <a:lnTo>
                  <a:pt x="2520" y="500"/>
                </a:lnTo>
                <a:lnTo>
                  <a:pt x="2495" y="479"/>
                </a:lnTo>
                <a:lnTo>
                  <a:pt x="2466" y="463"/>
                </a:lnTo>
                <a:lnTo>
                  <a:pt x="2436" y="454"/>
                </a:lnTo>
                <a:lnTo>
                  <a:pt x="2402" y="450"/>
                </a:lnTo>
                <a:lnTo>
                  <a:pt x="0" y="450"/>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4B49FA39-92C5-204F-9DDF-E9647B515EC3}"/>
              </a:ext>
            </a:extLst>
          </p:cNvPr>
          <p:cNvSpPr>
            <a:spLocks/>
          </p:cNvSpPr>
          <p:nvPr/>
        </p:nvSpPr>
        <p:spPr bwMode="auto">
          <a:xfrm>
            <a:off x="8343901" y="1533526"/>
            <a:ext cx="490538" cy="488950"/>
          </a:xfrm>
          <a:custGeom>
            <a:avLst/>
            <a:gdLst>
              <a:gd name="T0" fmla="*/ 154 w 309"/>
              <a:gd name="T1" fmla="*/ 0 h 308"/>
              <a:gd name="T2" fmla="*/ 186 w 309"/>
              <a:gd name="T3" fmla="*/ 3 h 308"/>
              <a:gd name="T4" fmla="*/ 214 w 309"/>
              <a:gd name="T5" fmla="*/ 12 h 308"/>
              <a:gd name="T6" fmla="*/ 241 w 309"/>
              <a:gd name="T7" fmla="*/ 26 h 308"/>
              <a:gd name="T8" fmla="*/ 263 w 309"/>
              <a:gd name="T9" fmla="*/ 45 h 308"/>
              <a:gd name="T10" fmla="*/ 282 w 309"/>
              <a:gd name="T11" fmla="*/ 68 h 308"/>
              <a:gd name="T12" fmla="*/ 296 w 309"/>
              <a:gd name="T13" fmla="*/ 94 h 308"/>
              <a:gd name="T14" fmla="*/ 305 w 309"/>
              <a:gd name="T15" fmla="*/ 123 h 308"/>
              <a:gd name="T16" fmla="*/ 309 w 309"/>
              <a:gd name="T17" fmla="*/ 155 h 308"/>
              <a:gd name="T18" fmla="*/ 305 w 309"/>
              <a:gd name="T19" fmla="*/ 185 h 308"/>
              <a:gd name="T20" fmla="*/ 296 w 309"/>
              <a:gd name="T21" fmla="*/ 214 h 308"/>
              <a:gd name="T22" fmla="*/ 282 w 309"/>
              <a:gd name="T23" fmla="*/ 240 h 308"/>
              <a:gd name="T24" fmla="*/ 263 w 309"/>
              <a:gd name="T25" fmla="*/ 263 h 308"/>
              <a:gd name="T26" fmla="*/ 241 w 309"/>
              <a:gd name="T27" fmla="*/ 282 h 308"/>
              <a:gd name="T28" fmla="*/ 214 w 309"/>
              <a:gd name="T29" fmla="*/ 296 h 308"/>
              <a:gd name="T30" fmla="*/ 186 w 309"/>
              <a:gd name="T31" fmla="*/ 305 h 308"/>
              <a:gd name="T32" fmla="*/ 154 w 309"/>
              <a:gd name="T33" fmla="*/ 308 h 308"/>
              <a:gd name="T34" fmla="*/ 124 w 309"/>
              <a:gd name="T35" fmla="*/ 305 h 308"/>
              <a:gd name="T36" fmla="*/ 95 w 309"/>
              <a:gd name="T37" fmla="*/ 296 h 308"/>
              <a:gd name="T38" fmla="*/ 68 w 309"/>
              <a:gd name="T39" fmla="*/ 282 h 308"/>
              <a:gd name="T40" fmla="*/ 46 w 309"/>
              <a:gd name="T41" fmla="*/ 263 h 308"/>
              <a:gd name="T42" fmla="*/ 27 w 309"/>
              <a:gd name="T43" fmla="*/ 240 h 308"/>
              <a:gd name="T44" fmla="*/ 13 w 309"/>
              <a:gd name="T45" fmla="*/ 214 h 308"/>
              <a:gd name="T46" fmla="*/ 4 w 309"/>
              <a:gd name="T47" fmla="*/ 185 h 308"/>
              <a:gd name="T48" fmla="*/ 0 w 309"/>
              <a:gd name="T49" fmla="*/ 155 h 308"/>
              <a:gd name="T50" fmla="*/ 4 w 309"/>
              <a:gd name="T51" fmla="*/ 123 h 308"/>
              <a:gd name="T52" fmla="*/ 13 w 309"/>
              <a:gd name="T53" fmla="*/ 94 h 308"/>
              <a:gd name="T54" fmla="*/ 27 w 309"/>
              <a:gd name="T55" fmla="*/ 68 h 308"/>
              <a:gd name="T56" fmla="*/ 46 w 309"/>
              <a:gd name="T57" fmla="*/ 45 h 308"/>
              <a:gd name="T58" fmla="*/ 68 w 309"/>
              <a:gd name="T59" fmla="*/ 26 h 308"/>
              <a:gd name="T60" fmla="*/ 95 w 309"/>
              <a:gd name="T61" fmla="*/ 12 h 308"/>
              <a:gd name="T62" fmla="*/ 124 w 309"/>
              <a:gd name="T63" fmla="*/ 3 h 308"/>
              <a:gd name="T64" fmla="*/ 154 w 309"/>
              <a:gd name="T65"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9" h="308">
                <a:moveTo>
                  <a:pt x="154" y="0"/>
                </a:moveTo>
                <a:lnTo>
                  <a:pt x="186" y="3"/>
                </a:lnTo>
                <a:lnTo>
                  <a:pt x="214" y="12"/>
                </a:lnTo>
                <a:lnTo>
                  <a:pt x="241" y="26"/>
                </a:lnTo>
                <a:lnTo>
                  <a:pt x="263" y="45"/>
                </a:lnTo>
                <a:lnTo>
                  <a:pt x="282" y="68"/>
                </a:lnTo>
                <a:lnTo>
                  <a:pt x="296" y="94"/>
                </a:lnTo>
                <a:lnTo>
                  <a:pt x="305" y="123"/>
                </a:lnTo>
                <a:lnTo>
                  <a:pt x="309" y="155"/>
                </a:lnTo>
                <a:lnTo>
                  <a:pt x="305" y="185"/>
                </a:lnTo>
                <a:lnTo>
                  <a:pt x="296" y="214"/>
                </a:lnTo>
                <a:lnTo>
                  <a:pt x="282" y="240"/>
                </a:lnTo>
                <a:lnTo>
                  <a:pt x="263" y="263"/>
                </a:lnTo>
                <a:lnTo>
                  <a:pt x="241" y="282"/>
                </a:lnTo>
                <a:lnTo>
                  <a:pt x="214" y="296"/>
                </a:lnTo>
                <a:lnTo>
                  <a:pt x="186" y="305"/>
                </a:lnTo>
                <a:lnTo>
                  <a:pt x="154" y="308"/>
                </a:lnTo>
                <a:lnTo>
                  <a:pt x="124" y="305"/>
                </a:lnTo>
                <a:lnTo>
                  <a:pt x="95" y="296"/>
                </a:lnTo>
                <a:lnTo>
                  <a:pt x="68" y="282"/>
                </a:lnTo>
                <a:lnTo>
                  <a:pt x="46" y="263"/>
                </a:lnTo>
                <a:lnTo>
                  <a:pt x="27" y="240"/>
                </a:lnTo>
                <a:lnTo>
                  <a:pt x="13" y="214"/>
                </a:lnTo>
                <a:lnTo>
                  <a:pt x="4" y="185"/>
                </a:lnTo>
                <a:lnTo>
                  <a:pt x="0" y="155"/>
                </a:lnTo>
                <a:lnTo>
                  <a:pt x="4" y="123"/>
                </a:lnTo>
                <a:lnTo>
                  <a:pt x="13" y="94"/>
                </a:lnTo>
                <a:lnTo>
                  <a:pt x="27" y="68"/>
                </a:lnTo>
                <a:lnTo>
                  <a:pt x="46" y="45"/>
                </a:lnTo>
                <a:lnTo>
                  <a:pt x="68" y="26"/>
                </a:lnTo>
                <a:lnTo>
                  <a:pt x="95" y="12"/>
                </a:lnTo>
                <a:lnTo>
                  <a:pt x="124" y="3"/>
                </a:lnTo>
                <a:lnTo>
                  <a:pt x="154" y="0"/>
                </a:lnTo>
                <a:close/>
              </a:path>
            </a:pathLst>
          </a:custGeom>
          <a:solidFill>
            <a:schemeClr val="bg1"/>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000" b="1" dirty="0"/>
              <a:t>XX %</a:t>
            </a:r>
          </a:p>
        </p:txBody>
      </p:sp>
      <p:sp>
        <p:nvSpPr>
          <p:cNvPr id="16" name="Freeform 12">
            <a:extLst>
              <a:ext uri="{FF2B5EF4-FFF2-40B4-BE49-F238E27FC236}">
                <a16:creationId xmlns:a16="http://schemas.microsoft.com/office/drawing/2014/main" id="{F4A80509-4AA5-D54D-84F7-E51F889A16D7}"/>
              </a:ext>
            </a:extLst>
          </p:cNvPr>
          <p:cNvSpPr>
            <a:spLocks/>
          </p:cNvSpPr>
          <p:nvPr/>
        </p:nvSpPr>
        <p:spPr bwMode="auto">
          <a:xfrm>
            <a:off x="8343901" y="4022726"/>
            <a:ext cx="490538" cy="488950"/>
          </a:xfrm>
          <a:custGeom>
            <a:avLst/>
            <a:gdLst>
              <a:gd name="T0" fmla="*/ 154 w 309"/>
              <a:gd name="T1" fmla="*/ 0 h 308"/>
              <a:gd name="T2" fmla="*/ 186 w 309"/>
              <a:gd name="T3" fmla="*/ 4 h 308"/>
              <a:gd name="T4" fmla="*/ 214 w 309"/>
              <a:gd name="T5" fmla="*/ 12 h 308"/>
              <a:gd name="T6" fmla="*/ 241 w 309"/>
              <a:gd name="T7" fmla="*/ 26 h 308"/>
              <a:gd name="T8" fmla="*/ 263 w 309"/>
              <a:gd name="T9" fmla="*/ 45 h 308"/>
              <a:gd name="T10" fmla="*/ 282 w 309"/>
              <a:gd name="T11" fmla="*/ 68 h 308"/>
              <a:gd name="T12" fmla="*/ 296 w 309"/>
              <a:gd name="T13" fmla="*/ 94 h 308"/>
              <a:gd name="T14" fmla="*/ 305 w 309"/>
              <a:gd name="T15" fmla="*/ 123 h 308"/>
              <a:gd name="T16" fmla="*/ 309 w 309"/>
              <a:gd name="T17" fmla="*/ 154 h 308"/>
              <a:gd name="T18" fmla="*/ 305 w 309"/>
              <a:gd name="T19" fmla="*/ 185 h 308"/>
              <a:gd name="T20" fmla="*/ 296 w 309"/>
              <a:gd name="T21" fmla="*/ 214 h 308"/>
              <a:gd name="T22" fmla="*/ 282 w 309"/>
              <a:gd name="T23" fmla="*/ 240 h 308"/>
              <a:gd name="T24" fmla="*/ 263 w 309"/>
              <a:gd name="T25" fmla="*/ 263 h 308"/>
              <a:gd name="T26" fmla="*/ 241 w 309"/>
              <a:gd name="T27" fmla="*/ 282 h 308"/>
              <a:gd name="T28" fmla="*/ 214 w 309"/>
              <a:gd name="T29" fmla="*/ 296 h 308"/>
              <a:gd name="T30" fmla="*/ 186 w 309"/>
              <a:gd name="T31" fmla="*/ 305 h 308"/>
              <a:gd name="T32" fmla="*/ 154 w 309"/>
              <a:gd name="T33" fmla="*/ 308 h 308"/>
              <a:gd name="T34" fmla="*/ 124 w 309"/>
              <a:gd name="T35" fmla="*/ 305 h 308"/>
              <a:gd name="T36" fmla="*/ 95 w 309"/>
              <a:gd name="T37" fmla="*/ 296 h 308"/>
              <a:gd name="T38" fmla="*/ 68 w 309"/>
              <a:gd name="T39" fmla="*/ 282 h 308"/>
              <a:gd name="T40" fmla="*/ 46 w 309"/>
              <a:gd name="T41" fmla="*/ 263 h 308"/>
              <a:gd name="T42" fmla="*/ 27 w 309"/>
              <a:gd name="T43" fmla="*/ 240 h 308"/>
              <a:gd name="T44" fmla="*/ 13 w 309"/>
              <a:gd name="T45" fmla="*/ 214 h 308"/>
              <a:gd name="T46" fmla="*/ 4 w 309"/>
              <a:gd name="T47" fmla="*/ 185 h 308"/>
              <a:gd name="T48" fmla="*/ 0 w 309"/>
              <a:gd name="T49" fmla="*/ 154 h 308"/>
              <a:gd name="T50" fmla="*/ 4 w 309"/>
              <a:gd name="T51" fmla="*/ 123 h 308"/>
              <a:gd name="T52" fmla="*/ 13 w 309"/>
              <a:gd name="T53" fmla="*/ 94 h 308"/>
              <a:gd name="T54" fmla="*/ 27 w 309"/>
              <a:gd name="T55" fmla="*/ 68 h 308"/>
              <a:gd name="T56" fmla="*/ 46 w 309"/>
              <a:gd name="T57" fmla="*/ 45 h 308"/>
              <a:gd name="T58" fmla="*/ 68 w 309"/>
              <a:gd name="T59" fmla="*/ 26 h 308"/>
              <a:gd name="T60" fmla="*/ 95 w 309"/>
              <a:gd name="T61" fmla="*/ 12 h 308"/>
              <a:gd name="T62" fmla="*/ 124 w 309"/>
              <a:gd name="T63" fmla="*/ 4 h 308"/>
              <a:gd name="T64" fmla="*/ 154 w 309"/>
              <a:gd name="T65"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9" h="308">
                <a:moveTo>
                  <a:pt x="154" y="0"/>
                </a:moveTo>
                <a:lnTo>
                  <a:pt x="186" y="4"/>
                </a:lnTo>
                <a:lnTo>
                  <a:pt x="214" y="12"/>
                </a:lnTo>
                <a:lnTo>
                  <a:pt x="241" y="26"/>
                </a:lnTo>
                <a:lnTo>
                  <a:pt x="263" y="45"/>
                </a:lnTo>
                <a:lnTo>
                  <a:pt x="282" y="68"/>
                </a:lnTo>
                <a:lnTo>
                  <a:pt x="296" y="94"/>
                </a:lnTo>
                <a:lnTo>
                  <a:pt x="305" y="123"/>
                </a:lnTo>
                <a:lnTo>
                  <a:pt x="309" y="154"/>
                </a:lnTo>
                <a:lnTo>
                  <a:pt x="305" y="185"/>
                </a:lnTo>
                <a:lnTo>
                  <a:pt x="296" y="214"/>
                </a:lnTo>
                <a:lnTo>
                  <a:pt x="282" y="240"/>
                </a:lnTo>
                <a:lnTo>
                  <a:pt x="263" y="263"/>
                </a:lnTo>
                <a:lnTo>
                  <a:pt x="241" y="282"/>
                </a:lnTo>
                <a:lnTo>
                  <a:pt x="214" y="296"/>
                </a:lnTo>
                <a:lnTo>
                  <a:pt x="186" y="305"/>
                </a:lnTo>
                <a:lnTo>
                  <a:pt x="154" y="308"/>
                </a:lnTo>
                <a:lnTo>
                  <a:pt x="124" y="305"/>
                </a:lnTo>
                <a:lnTo>
                  <a:pt x="95" y="296"/>
                </a:lnTo>
                <a:lnTo>
                  <a:pt x="68" y="282"/>
                </a:lnTo>
                <a:lnTo>
                  <a:pt x="46" y="263"/>
                </a:lnTo>
                <a:lnTo>
                  <a:pt x="27" y="240"/>
                </a:lnTo>
                <a:lnTo>
                  <a:pt x="13" y="214"/>
                </a:lnTo>
                <a:lnTo>
                  <a:pt x="4" y="185"/>
                </a:lnTo>
                <a:lnTo>
                  <a:pt x="0" y="154"/>
                </a:lnTo>
                <a:lnTo>
                  <a:pt x="4" y="123"/>
                </a:lnTo>
                <a:lnTo>
                  <a:pt x="13" y="94"/>
                </a:lnTo>
                <a:lnTo>
                  <a:pt x="27" y="68"/>
                </a:lnTo>
                <a:lnTo>
                  <a:pt x="46" y="45"/>
                </a:lnTo>
                <a:lnTo>
                  <a:pt x="68" y="26"/>
                </a:lnTo>
                <a:lnTo>
                  <a:pt x="95" y="12"/>
                </a:lnTo>
                <a:lnTo>
                  <a:pt x="124" y="4"/>
                </a:lnTo>
                <a:lnTo>
                  <a:pt x="154" y="0"/>
                </a:lnTo>
                <a:close/>
              </a:path>
            </a:pathLst>
          </a:custGeom>
          <a:solidFill>
            <a:schemeClr val="bg1"/>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000" b="1" dirty="0"/>
              <a:t>XX %</a:t>
            </a:r>
          </a:p>
        </p:txBody>
      </p:sp>
      <p:sp>
        <p:nvSpPr>
          <p:cNvPr id="17" name="Freeform 13">
            <a:extLst>
              <a:ext uri="{FF2B5EF4-FFF2-40B4-BE49-F238E27FC236}">
                <a16:creationId xmlns:a16="http://schemas.microsoft.com/office/drawing/2014/main" id="{F882C4D2-4426-B148-90D0-083F6C809FA0}"/>
              </a:ext>
            </a:extLst>
          </p:cNvPr>
          <p:cNvSpPr>
            <a:spLocks/>
          </p:cNvSpPr>
          <p:nvPr/>
        </p:nvSpPr>
        <p:spPr bwMode="auto">
          <a:xfrm>
            <a:off x="3316288" y="2778126"/>
            <a:ext cx="490538" cy="488950"/>
          </a:xfrm>
          <a:custGeom>
            <a:avLst/>
            <a:gdLst>
              <a:gd name="T0" fmla="*/ 154 w 309"/>
              <a:gd name="T1" fmla="*/ 0 h 308"/>
              <a:gd name="T2" fmla="*/ 185 w 309"/>
              <a:gd name="T3" fmla="*/ 3 h 308"/>
              <a:gd name="T4" fmla="*/ 214 w 309"/>
              <a:gd name="T5" fmla="*/ 13 h 308"/>
              <a:gd name="T6" fmla="*/ 241 w 309"/>
              <a:gd name="T7" fmla="*/ 27 h 308"/>
              <a:gd name="T8" fmla="*/ 263 w 309"/>
              <a:gd name="T9" fmla="*/ 45 h 308"/>
              <a:gd name="T10" fmla="*/ 282 w 309"/>
              <a:gd name="T11" fmla="*/ 67 h 308"/>
              <a:gd name="T12" fmla="*/ 296 w 309"/>
              <a:gd name="T13" fmla="*/ 94 h 308"/>
              <a:gd name="T14" fmla="*/ 305 w 309"/>
              <a:gd name="T15" fmla="*/ 124 h 308"/>
              <a:gd name="T16" fmla="*/ 309 w 309"/>
              <a:gd name="T17" fmla="*/ 154 h 308"/>
              <a:gd name="T18" fmla="*/ 305 w 309"/>
              <a:gd name="T19" fmla="*/ 186 h 308"/>
              <a:gd name="T20" fmla="*/ 296 w 309"/>
              <a:gd name="T21" fmla="*/ 214 h 308"/>
              <a:gd name="T22" fmla="*/ 282 w 309"/>
              <a:gd name="T23" fmla="*/ 240 h 308"/>
              <a:gd name="T24" fmla="*/ 263 w 309"/>
              <a:gd name="T25" fmla="*/ 263 h 308"/>
              <a:gd name="T26" fmla="*/ 241 w 309"/>
              <a:gd name="T27" fmla="*/ 281 h 308"/>
              <a:gd name="T28" fmla="*/ 214 w 309"/>
              <a:gd name="T29" fmla="*/ 297 h 308"/>
              <a:gd name="T30" fmla="*/ 185 w 309"/>
              <a:gd name="T31" fmla="*/ 305 h 308"/>
              <a:gd name="T32" fmla="*/ 154 w 309"/>
              <a:gd name="T33" fmla="*/ 308 h 308"/>
              <a:gd name="T34" fmla="*/ 123 w 309"/>
              <a:gd name="T35" fmla="*/ 305 h 308"/>
              <a:gd name="T36" fmla="*/ 95 w 309"/>
              <a:gd name="T37" fmla="*/ 297 h 308"/>
              <a:gd name="T38" fmla="*/ 68 w 309"/>
              <a:gd name="T39" fmla="*/ 281 h 308"/>
              <a:gd name="T40" fmla="*/ 46 w 309"/>
              <a:gd name="T41" fmla="*/ 263 h 308"/>
              <a:gd name="T42" fmla="*/ 27 w 309"/>
              <a:gd name="T43" fmla="*/ 240 h 308"/>
              <a:gd name="T44" fmla="*/ 13 w 309"/>
              <a:gd name="T45" fmla="*/ 214 h 308"/>
              <a:gd name="T46" fmla="*/ 4 w 309"/>
              <a:gd name="T47" fmla="*/ 186 h 308"/>
              <a:gd name="T48" fmla="*/ 0 w 309"/>
              <a:gd name="T49" fmla="*/ 154 h 308"/>
              <a:gd name="T50" fmla="*/ 4 w 309"/>
              <a:gd name="T51" fmla="*/ 124 h 308"/>
              <a:gd name="T52" fmla="*/ 13 w 309"/>
              <a:gd name="T53" fmla="*/ 94 h 308"/>
              <a:gd name="T54" fmla="*/ 27 w 309"/>
              <a:gd name="T55" fmla="*/ 67 h 308"/>
              <a:gd name="T56" fmla="*/ 46 w 309"/>
              <a:gd name="T57" fmla="*/ 45 h 308"/>
              <a:gd name="T58" fmla="*/ 68 w 309"/>
              <a:gd name="T59" fmla="*/ 27 h 308"/>
              <a:gd name="T60" fmla="*/ 95 w 309"/>
              <a:gd name="T61" fmla="*/ 13 h 308"/>
              <a:gd name="T62" fmla="*/ 123 w 309"/>
              <a:gd name="T63" fmla="*/ 3 h 308"/>
              <a:gd name="T64" fmla="*/ 154 w 309"/>
              <a:gd name="T65"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9" h="308">
                <a:moveTo>
                  <a:pt x="154" y="0"/>
                </a:moveTo>
                <a:lnTo>
                  <a:pt x="185" y="3"/>
                </a:lnTo>
                <a:lnTo>
                  <a:pt x="214" y="13"/>
                </a:lnTo>
                <a:lnTo>
                  <a:pt x="241" y="27"/>
                </a:lnTo>
                <a:lnTo>
                  <a:pt x="263" y="45"/>
                </a:lnTo>
                <a:lnTo>
                  <a:pt x="282" y="67"/>
                </a:lnTo>
                <a:lnTo>
                  <a:pt x="296" y="94"/>
                </a:lnTo>
                <a:lnTo>
                  <a:pt x="305" y="124"/>
                </a:lnTo>
                <a:lnTo>
                  <a:pt x="309" y="154"/>
                </a:lnTo>
                <a:lnTo>
                  <a:pt x="305" y="186"/>
                </a:lnTo>
                <a:lnTo>
                  <a:pt x="296" y="214"/>
                </a:lnTo>
                <a:lnTo>
                  <a:pt x="282" y="240"/>
                </a:lnTo>
                <a:lnTo>
                  <a:pt x="263" y="263"/>
                </a:lnTo>
                <a:lnTo>
                  <a:pt x="241" y="281"/>
                </a:lnTo>
                <a:lnTo>
                  <a:pt x="214" y="297"/>
                </a:lnTo>
                <a:lnTo>
                  <a:pt x="185" y="305"/>
                </a:lnTo>
                <a:lnTo>
                  <a:pt x="154" y="308"/>
                </a:lnTo>
                <a:lnTo>
                  <a:pt x="123" y="305"/>
                </a:lnTo>
                <a:lnTo>
                  <a:pt x="95" y="297"/>
                </a:lnTo>
                <a:lnTo>
                  <a:pt x="68" y="281"/>
                </a:lnTo>
                <a:lnTo>
                  <a:pt x="46" y="263"/>
                </a:lnTo>
                <a:lnTo>
                  <a:pt x="27" y="240"/>
                </a:lnTo>
                <a:lnTo>
                  <a:pt x="13" y="214"/>
                </a:lnTo>
                <a:lnTo>
                  <a:pt x="4" y="186"/>
                </a:lnTo>
                <a:lnTo>
                  <a:pt x="0" y="154"/>
                </a:lnTo>
                <a:lnTo>
                  <a:pt x="4" y="124"/>
                </a:lnTo>
                <a:lnTo>
                  <a:pt x="13" y="94"/>
                </a:lnTo>
                <a:lnTo>
                  <a:pt x="27" y="67"/>
                </a:lnTo>
                <a:lnTo>
                  <a:pt x="46" y="45"/>
                </a:lnTo>
                <a:lnTo>
                  <a:pt x="68" y="27"/>
                </a:lnTo>
                <a:lnTo>
                  <a:pt x="95" y="13"/>
                </a:lnTo>
                <a:lnTo>
                  <a:pt x="123" y="3"/>
                </a:lnTo>
                <a:lnTo>
                  <a:pt x="154" y="0"/>
                </a:lnTo>
                <a:close/>
              </a:path>
            </a:pathLst>
          </a:custGeom>
          <a:solidFill>
            <a:schemeClr val="bg1"/>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000" b="1" dirty="0"/>
              <a:t>XX %</a:t>
            </a:r>
          </a:p>
        </p:txBody>
      </p:sp>
      <p:sp>
        <p:nvSpPr>
          <p:cNvPr id="18" name="Freeform 14">
            <a:extLst>
              <a:ext uri="{FF2B5EF4-FFF2-40B4-BE49-F238E27FC236}">
                <a16:creationId xmlns:a16="http://schemas.microsoft.com/office/drawing/2014/main" id="{805A1794-6CF5-A641-B0B2-8F999076FB1B}"/>
              </a:ext>
            </a:extLst>
          </p:cNvPr>
          <p:cNvSpPr>
            <a:spLocks/>
          </p:cNvSpPr>
          <p:nvPr/>
        </p:nvSpPr>
        <p:spPr bwMode="auto">
          <a:xfrm>
            <a:off x="3316288" y="5265738"/>
            <a:ext cx="490538" cy="490538"/>
          </a:xfrm>
          <a:custGeom>
            <a:avLst/>
            <a:gdLst>
              <a:gd name="T0" fmla="*/ 154 w 309"/>
              <a:gd name="T1" fmla="*/ 0 h 309"/>
              <a:gd name="T2" fmla="*/ 185 w 309"/>
              <a:gd name="T3" fmla="*/ 4 h 309"/>
              <a:gd name="T4" fmla="*/ 214 w 309"/>
              <a:gd name="T5" fmla="*/ 13 h 309"/>
              <a:gd name="T6" fmla="*/ 241 w 309"/>
              <a:gd name="T7" fmla="*/ 27 h 309"/>
              <a:gd name="T8" fmla="*/ 263 w 309"/>
              <a:gd name="T9" fmla="*/ 46 h 309"/>
              <a:gd name="T10" fmla="*/ 282 w 309"/>
              <a:gd name="T11" fmla="*/ 69 h 309"/>
              <a:gd name="T12" fmla="*/ 296 w 309"/>
              <a:gd name="T13" fmla="*/ 95 h 309"/>
              <a:gd name="T14" fmla="*/ 305 w 309"/>
              <a:gd name="T15" fmla="*/ 124 h 309"/>
              <a:gd name="T16" fmla="*/ 309 w 309"/>
              <a:gd name="T17" fmla="*/ 155 h 309"/>
              <a:gd name="T18" fmla="*/ 305 w 309"/>
              <a:gd name="T19" fmla="*/ 186 h 309"/>
              <a:gd name="T20" fmla="*/ 296 w 309"/>
              <a:gd name="T21" fmla="*/ 216 h 309"/>
              <a:gd name="T22" fmla="*/ 282 w 309"/>
              <a:gd name="T23" fmla="*/ 241 h 309"/>
              <a:gd name="T24" fmla="*/ 263 w 309"/>
              <a:gd name="T25" fmla="*/ 263 h 309"/>
              <a:gd name="T26" fmla="*/ 241 w 309"/>
              <a:gd name="T27" fmla="*/ 282 h 309"/>
              <a:gd name="T28" fmla="*/ 214 w 309"/>
              <a:gd name="T29" fmla="*/ 297 h 309"/>
              <a:gd name="T30" fmla="*/ 185 w 309"/>
              <a:gd name="T31" fmla="*/ 306 h 309"/>
              <a:gd name="T32" fmla="*/ 154 w 309"/>
              <a:gd name="T33" fmla="*/ 309 h 309"/>
              <a:gd name="T34" fmla="*/ 123 w 309"/>
              <a:gd name="T35" fmla="*/ 306 h 309"/>
              <a:gd name="T36" fmla="*/ 95 w 309"/>
              <a:gd name="T37" fmla="*/ 297 h 309"/>
              <a:gd name="T38" fmla="*/ 68 w 309"/>
              <a:gd name="T39" fmla="*/ 282 h 309"/>
              <a:gd name="T40" fmla="*/ 46 w 309"/>
              <a:gd name="T41" fmla="*/ 263 h 309"/>
              <a:gd name="T42" fmla="*/ 27 w 309"/>
              <a:gd name="T43" fmla="*/ 241 h 309"/>
              <a:gd name="T44" fmla="*/ 13 w 309"/>
              <a:gd name="T45" fmla="*/ 216 h 309"/>
              <a:gd name="T46" fmla="*/ 4 w 309"/>
              <a:gd name="T47" fmla="*/ 186 h 309"/>
              <a:gd name="T48" fmla="*/ 0 w 309"/>
              <a:gd name="T49" fmla="*/ 155 h 309"/>
              <a:gd name="T50" fmla="*/ 4 w 309"/>
              <a:gd name="T51" fmla="*/ 124 h 309"/>
              <a:gd name="T52" fmla="*/ 13 w 309"/>
              <a:gd name="T53" fmla="*/ 95 h 309"/>
              <a:gd name="T54" fmla="*/ 27 w 309"/>
              <a:gd name="T55" fmla="*/ 69 h 309"/>
              <a:gd name="T56" fmla="*/ 46 w 309"/>
              <a:gd name="T57" fmla="*/ 46 h 309"/>
              <a:gd name="T58" fmla="*/ 68 w 309"/>
              <a:gd name="T59" fmla="*/ 27 h 309"/>
              <a:gd name="T60" fmla="*/ 95 w 309"/>
              <a:gd name="T61" fmla="*/ 13 h 309"/>
              <a:gd name="T62" fmla="*/ 123 w 309"/>
              <a:gd name="T63" fmla="*/ 4 h 309"/>
              <a:gd name="T64" fmla="*/ 154 w 309"/>
              <a:gd name="T65"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9" h="309">
                <a:moveTo>
                  <a:pt x="154" y="0"/>
                </a:moveTo>
                <a:lnTo>
                  <a:pt x="185" y="4"/>
                </a:lnTo>
                <a:lnTo>
                  <a:pt x="214" y="13"/>
                </a:lnTo>
                <a:lnTo>
                  <a:pt x="241" y="27"/>
                </a:lnTo>
                <a:lnTo>
                  <a:pt x="263" y="46"/>
                </a:lnTo>
                <a:lnTo>
                  <a:pt x="282" y="69"/>
                </a:lnTo>
                <a:lnTo>
                  <a:pt x="296" y="95"/>
                </a:lnTo>
                <a:lnTo>
                  <a:pt x="305" y="124"/>
                </a:lnTo>
                <a:lnTo>
                  <a:pt x="309" y="155"/>
                </a:lnTo>
                <a:lnTo>
                  <a:pt x="305" y="186"/>
                </a:lnTo>
                <a:lnTo>
                  <a:pt x="296" y="216"/>
                </a:lnTo>
                <a:lnTo>
                  <a:pt x="282" y="241"/>
                </a:lnTo>
                <a:lnTo>
                  <a:pt x="263" y="263"/>
                </a:lnTo>
                <a:lnTo>
                  <a:pt x="241" y="282"/>
                </a:lnTo>
                <a:lnTo>
                  <a:pt x="214" y="297"/>
                </a:lnTo>
                <a:lnTo>
                  <a:pt x="185" y="306"/>
                </a:lnTo>
                <a:lnTo>
                  <a:pt x="154" y="309"/>
                </a:lnTo>
                <a:lnTo>
                  <a:pt x="123" y="306"/>
                </a:lnTo>
                <a:lnTo>
                  <a:pt x="95" y="297"/>
                </a:lnTo>
                <a:lnTo>
                  <a:pt x="68" y="282"/>
                </a:lnTo>
                <a:lnTo>
                  <a:pt x="46" y="263"/>
                </a:lnTo>
                <a:lnTo>
                  <a:pt x="27" y="241"/>
                </a:lnTo>
                <a:lnTo>
                  <a:pt x="13" y="216"/>
                </a:lnTo>
                <a:lnTo>
                  <a:pt x="4" y="186"/>
                </a:lnTo>
                <a:lnTo>
                  <a:pt x="0" y="155"/>
                </a:lnTo>
                <a:lnTo>
                  <a:pt x="4" y="124"/>
                </a:lnTo>
                <a:lnTo>
                  <a:pt x="13" y="95"/>
                </a:lnTo>
                <a:lnTo>
                  <a:pt x="27" y="69"/>
                </a:lnTo>
                <a:lnTo>
                  <a:pt x="46" y="46"/>
                </a:lnTo>
                <a:lnTo>
                  <a:pt x="68" y="27"/>
                </a:lnTo>
                <a:lnTo>
                  <a:pt x="95" y="13"/>
                </a:lnTo>
                <a:lnTo>
                  <a:pt x="123" y="4"/>
                </a:lnTo>
                <a:lnTo>
                  <a:pt x="154" y="0"/>
                </a:lnTo>
                <a:close/>
              </a:path>
            </a:pathLst>
          </a:custGeom>
          <a:solidFill>
            <a:schemeClr val="bg1"/>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000" b="1" dirty="0"/>
              <a:t>XX %</a:t>
            </a:r>
          </a:p>
        </p:txBody>
      </p:sp>
      <p:sp>
        <p:nvSpPr>
          <p:cNvPr id="19" name="Freeform 15">
            <a:extLst>
              <a:ext uri="{FF2B5EF4-FFF2-40B4-BE49-F238E27FC236}">
                <a16:creationId xmlns:a16="http://schemas.microsoft.com/office/drawing/2014/main" id="{8AE26DA1-1030-6B4B-BDB5-10E278A659D5}"/>
              </a:ext>
            </a:extLst>
          </p:cNvPr>
          <p:cNvSpPr>
            <a:spLocks/>
          </p:cNvSpPr>
          <p:nvPr/>
        </p:nvSpPr>
        <p:spPr bwMode="auto">
          <a:xfrm>
            <a:off x="3203576" y="798514"/>
            <a:ext cx="1250950" cy="714375"/>
          </a:xfrm>
          <a:custGeom>
            <a:avLst/>
            <a:gdLst>
              <a:gd name="T0" fmla="*/ 0 w 788"/>
              <a:gd name="T1" fmla="*/ 0 h 450"/>
              <a:gd name="T2" fmla="*/ 638 w 788"/>
              <a:gd name="T3" fmla="*/ 0 h 450"/>
              <a:gd name="T4" fmla="*/ 788 w 788"/>
              <a:gd name="T5" fmla="*/ 225 h 450"/>
              <a:gd name="T6" fmla="*/ 638 w 788"/>
              <a:gd name="T7" fmla="*/ 450 h 450"/>
              <a:gd name="T8" fmla="*/ 0 w 788"/>
              <a:gd name="T9" fmla="*/ 450 h 450"/>
              <a:gd name="T10" fmla="*/ 151 w 788"/>
              <a:gd name="T11" fmla="*/ 225 h 450"/>
              <a:gd name="T12" fmla="*/ 0 w 788"/>
              <a:gd name="T13" fmla="*/ 0 h 450"/>
            </a:gdLst>
            <a:ahLst/>
            <a:cxnLst>
              <a:cxn ang="0">
                <a:pos x="T0" y="T1"/>
              </a:cxn>
              <a:cxn ang="0">
                <a:pos x="T2" y="T3"/>
              </a:cxn>
              <a:cxn ang="0">
                <a:pos x="T4" y="T5"/>
              </a:cxn>
              <a:cxn ang="0">
                <a:pos x="T6" y="T7"/>
              </a:cxn>
              <a:cxn ang="0">
                <a:pos x="T8" y="T9"/>
              </a:cxn>
              <a:cxn ang="0">
                <a:pos x="T10" y="T11"/>
              </a:cxn>
              <a:cxn ang="0">
                <a:pos x="T12" y="T13"/>
              </a:cxn>
            </a:cxnLst>
            <a:rect l="0" t="0" r="r" b="b"/>
            <a:pathLst>
              <a:path w="788" h="450">
                <a:moveTo>
                  <a:pt x="0" y="0"/>
                </a:moveTo>
                <a:lnTo>
                  <a:pt x="638" y="0"/>
                </a:lnTo>
                <a:lnTo>
                  <a:pt x="788" y="225"/>
                </a:lnTo>
                <a:lnTo>
                  <a:pt x="638" y="450"/>
                </a:lnTo>
                <a:lnTo>
                  <a:pt x="0" y="450"/>
                </a:lnTo>
                <a:lnTo>
                  <a:pt x="151" y="225"/>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6">
            <a:extLst>
              <a:ext uri="{FF2B5EF4-FFF2-40B4-BE49-F238E27FC236}">
                <a16:creationId xmlns:a16="http://schemas.microsoft.com/office/drawing/2014/main" id="{A54EE80C-0125-B040-B69D-BD65BE8CC96C}"/>
              </a:ext>
            </a:extLst>
          </p:cNvPr>
          <p:cNvSpPr>
            <a:spLocks/>
          </p:cNvSpPr>
          <p:nvPr/>
        </p:nvSpPr>
        <p:spPr bwMode="auto">
          <a:xfrm>
            <a:off x="6070601" y="1619251"/>
            <a:ext cx="38100" cy="38100"/>
          </a:xfrm>
          <a:custGeom>
            <a:avLst/>
            <a:gdLst>
              <a:gd name="T0" fmla="*/ 12 w 24"/>
              <a:gd name="T1" fmla="*/ 0 h 24"/>
              <a:gd name="T2" fmla="*/ 15 w 24"/>
              <a:gd name="T3" fmla="*/ 0 h 24"/>
              <a:gd name="T4" fmla="*/ 19 w 24"/>
              <a:gd name="T5" fmla="*/ 2 h 24"/>
              <a:gd name="T6" fmla="*/ 21 w 24"/>
              <a:gd name="T7" fmla="*/ 5 h 24"/>
              <a:gd name="T8" fmla="*/ 22 w 24"/>
              <a:gd name="T9" fmla="*/ 8 h 24"/>
              <a:gd name="T10" fmla="*/ 24 w 24"/>
              <a:gd name="T11" fmla="*/ 12 h 24"/>
              <a:gd name="T12" fmla="*/ 22 w 24"/>
              <a:gd name="T13" fmla="*/ 15 h 24"/>
              <a:gd name="T14" fmla="*/ 21 w 24"/>
              <a:gd name="T15" fmla="*/ 19 h 24"/>
              <a:gd name="T16" fmla="*/ 19 w 24"/>
              <a:gd name="T17" fmla="*/ 21 h 24"/>
              <a:gd name="T18" fmla="*/ 15 w 24"/>
              <a:gd name="T19" fmla="*/ 22 h 24"/>
              <a:gd name="T20" fmla="*/ 12 w 24"/>
              <a:gd name="T21" fmla="*/ 24 h 24"/>
              <a:gd name="T22" fmla="*/ 8 w 24"/>
              <a:gd name="T23" fmla="*/ 22 h 24"/>
              <a:gd name="T24" fmla="*/ 5 w 24"/>
              <a:gd name="T25" fmla="*/ 21 h 24"/>
              <a:gd name="T26" fmla="*/ 3 w 24"/>
              <a:gd name="T27" fmla="*/ 19 h 24"/>
              <a:gd name="T28" fmla="*/ 1 w 24"/>
              <a:gd name="T29" fmla="*/ 15 h 24"/>
              <a:gd name="T30" fmla="*/ 0 w 24"/>
              <a:gd name="T31" fmla="*/ 12 h 24"/>
              <a:gd name="T32" fmla="*/ 1 w 24"/>
              <a:gd name="T33" fmla="*/ 8 h 24"/>
              <a:gd name="T34" fmla="*/ 3 w 24"/>
              <a:gd name="T35" fmla="*/ 5 h 24"/>
              <a:gd name="T36" fmla="*/ 5 w 24"/>
              <a:gd name="T37" fmla="*/ 2 h 24"/>
              <a:gd name="T38" fmla="*/ 8 w 24"/>
              <a:gd name="T39" fmla="*/ 0 h 24"/>
              <a:gd name="T40" fmla="*/ 12 w 24"/>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4">
                <a:moveTo>
                  <a:pt x="12" y="0"/>
                </a:moveTo>
                <a:lnTo>
                  <a:pt x="15" y="0"/>
                </a:lnTo>
                <a:lnTo>
                  <a:pt x="19" y="2"/>
                </a:lnTo>
                <a:lnTo>
                  <a:pt x="21" y="5"/>
                </a:lnTo>
                <a:lnTo>
                  <a:pt x="22" y="8"/>
                </a:lnTo>
                <a:lnTo>
                  <a:pt x="24" y="12"/>
                </a:lnTo>
                <a:lnTo>
                  <a:pt x="22" y="15"/>
                </a:lnTo>
                <a:lnTo>
                  <a:pt x="21" y="19"/>
                </a:lnTo>
                <a:lnTo>
                  <a:pt x="19" y="21"/>
                </a:lnTo>
                <a:lnTo>
                  <a:pt x="15" y="22"/>
                </a:lnTo>
                <a:lnTo>
                  <a:pt x="12" y="24"/>
                </a:lnTo>
                <a:lnTo>
                  <a:pt x="8" y="22"/>
                </a:lnTo>
                <a:lnTo>
                  <a:pt x="5" y="21"/>
                </a:lnTo>
                <a:lnTo>
                  <a:pt x="3" y="19"/>
                </a:lnTo>
                <a:lnTo>
                  <a:pt x="1" y="15"/>
                </a:lnTo>
                <a:lnTo>
                  <a:pt x="0" y="12"/>
                </a:lnTo>
                <a:lnTo>
                  <a:pt x="1" y="8"/>
                </a:lnTo>
                <a:lnTo>
                  <a:pt x="3" y="5"/>
                </a:lnTo>
                <a:lnTo>
                  <a:pt x="5" y="2"/>
                </a:lnTo>
                <a:lnTo>
                  <a:pt x="8" y="0"/>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7">
            <a:extLst>
              <a:ext uri="{FF2B5EF4-FFF2-40B4-BE49-F238E27FC236}">
                <a16:creationId xmlns:a16="http://schemas.microsoft.com/office/drawing/2014/main" id="{8C47369B-49FB-954B-A0FD-9563DE2E9780}"/>
              </a:ext>
            </a:extLst>
          </p:cNvPr>
          <p:cNvSpPr>
            <a:spLocks/>
          </p:cNvSpPr>
          <p:nvPr/>
        </p:nvSpPr>
        <p:spPr bwMode="auto">
          <a:xfrm>
            <a:off x="6070601" y="1900239"/>
            <a:ext cx="38100" cy="36513"/>
          </a:xfrm>
          <a:custGeom>
            <a:avLst/>
            <a:gdLst>
              <a:gd name="T0" fmla="*/ 12 w 24"/>
              <a:gd name="T1" fmla="*/ 0 h 23"/>
              <a:gd name="T2" fmla="*/ 15 w 24"/>
              <a:gd name="T3" fmla="*/ 1 h 23"/>
              <a:gd name="T4" fmla="*/ 19 w 24"/>
              <a:gd name="T5" fmla="*/ 2 h 23"/>
              <a:gd name="T6" fmla="*/ 21 w 24"/>
              <a:gd name="T7" fmla="*/ 4 h 23"/>
              <a:gd name="T8" fmla="*/ 22 w 24"/>
              <a:gd name="T9" fmla="*/ 8 h 23"/>
              <a:gd name="T10" fmla="*/ 24 w 24"/>
              <a:gd name="T11" fmla="*/ 11 h 23"/>
              <a:gd name="T12" fmla="*/ 22 w 24"/>
              <a:gd name="T13" fmla="*/ 16 h 23"/>
              <a:gd name="T14" fmla="*/ 21 w 24"/>
              <a:gd name="T15" fmla="*/ 18 h 23"/>
              <a:gd name="T16" fmla="*/ 19 w 24"/>
              <a:gd name="T17" fmla="*/ 21 h 23"/>
              <a:gd name="T18" fmla="*/ 15 w 24"/>
              <a:gd name="T19" fmla="*/ 23 h 23"/>
              <a:gd name="T20" fmla="*/ 12 w 24"/>
              <a:gd name="T21" fmla="*/ 23 h 23"/>
              <a:gd name="T22" fmla="*/ 8 w 24"/>
              <a:gd name="T23" fmla="*/ 23 h 23"/>
              <a:gd name="T24" fmla="*/ 5 w 24"/>
              <a:gd name="T25" fmla="*/ 21 h 23"/>
              <a:gd name="T26" fmla="*/ 3 w 24"/>
              <a:gd name="T27" fmla="*/ 18 h 23"/>
              <a:gd name="T28" fmla="*/ 1 w 24"/>
              <a:gd name="T29" fmla="*/ 16 h 23"/>
              <a:gd name="T30" fmla="*/ 0 w 24"/>
              <a:gd name="T31" fmla="*/ 11 h 23"/>
              <a:gd name="T32" fmla="*/ 1 w 24"/>
              <a:gd name="T33" fmla="*/ 8 h 23"/>
              <a:gd name="T34" fmla="*/ 3 w 24"/>
              <a:gd name="T35" fmla="*/ 4 h 23"/>
              <a:gd name="T36" fmla="*/ 5 w 24"/>
              <a:gd name="T37" fmla="*/ 2 h 23"/>
              <a:gd name="T38" fmla="*/ 8 w 24"/>
              <a:gd name="T39" fmla="*/ 1 h 23"/>
              <a:gd name="T40" fmla="*/ 12 w 2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3">
                <a:moveTo>
                  <a:pt x="12" y="0"/>
                </a:moveTo>
                <a:lnTo>
                  <a:pt x="15" y="1"/>
                </a:lnTo>
                <a:lnTo>
                  <a:pt x="19" y="2"/>
                </a:lnTo>
                <a:lnTo>
                  <a:pt x="21" y="4"/>
                </a:lnTo>
                <a:lnTo>
                  <a:pt x="22" y="8"/>
                </a:lnTo>
                <a:lnTo>
                  <a:pt x="24" y="11"/>
                </a:lnTo>
                <a:lnTo>
                  <a:pt x="22" y="16"/>
                </a:lnTo>
                <a:lnTo>
                  <a:pt x="21" y="18"/>
                </a:lnTo>
                <a:lnTo>
                  <a:pt x="19" y="21"/>
                </a:lnTo>
                <a:lnTo>
                  <a:pt x="15" y="23"/>
                </a:lnTo>
                <a:lnTo>
                  <a:pt x="12" y="23"/>
                </a:lnTo>
                <a:lnTo>
                  <a:pt x="8" y="23"/>
                </a:lnTo>
                <a:lnTo>
                  <a:pt x="5" y="21"/>
                </a:lnTo>
                <a:lnTo>
                  <a:pt x="3" y="18"/>
                </a:lnTo>
                <a:lnTo>
                  <a:pt x="1" y="16"/>
                </a:lnTo>
                <a:lnTo>
                  <a:pt x="0" y="11"/>
                </a:lnTo>
                <a:lnTo>
                  <a:pt x="1" y="8"/>
                </a:lnTo>
                <a:lnTo>
                  <a:pt x="3" y="4"/>
                </a:lnTo>
                <a:lnTo>
                  <a:pt x="5" y="2"/>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8">
            <a:extLst>
              <a:ext uri="{FF2B5EF4-FFF2-40B4-BE49-F238E27FC236}">
                <a16:creationId xmlns:a16="http://schemas.microsoft.com/office/drawing/2014/main" id="{EA2A079B-9378-DF4B-BC32-5C122E6BE697}"/>
              </a:ext>
            </a:extLst>
          </p:cNvPr>
          <p:cNvSpPr>
            <a:spLocks/>
          </p:cNvSpPr>
          <p:nvPr/>
        </p:nvSpPr>
        <p:spPr bwMode="auto">
          <a:xfrm>
            <a:off x="6054726" y="1743076"/>
            <a:ext cx="69850" cy="71438"/>
          </a:xfrm>
          <a:custGeom>
            <a:avLst/>
            <a:gdLst>
              <a:gd name="T0" fmla="*/ 22 w 44"/>
              <a:gd name="T1" fmla="*/ 0 h 45"/>
              <a:gd name="T2" fmla="*/ 34 w 44"/>
              <a:gd name="T3" fmla="*/ 3 h 45"/>
              <a:gd name="T4" fmla="*/ 41 w 44"/>
              <a:gd name="T5" fmla="*/ 11 h 45"/>
              <a:gd name="T6" fmla="*/ 44 w 44"/>
              <a:gd name="T7" fmla="*/ 23 h 45"/>
              <a:gd name="T8" fmla="*/ 41 w 44"/>
              <a:gd name="T9" fmla="*/ 33 h 45"/>
              <a:gd name="T10" fmla="*/ 34 w 44"/>
              <a:gd name="T11" fmla="*/ 41 h 45"/>
              <a:gd name="T12" fmla="*/ 22 w 44"/>
              <a:gd name="T13" fmla="*/ 45 h 45"/>
              <a:gd name="T14" fmla="*/ 10 w 44"/>
              <a:gd name="T15" fmla="*/ 41 h 45"/>
              <a:gd name="T16" fmla="*/ 3 w 44"/>
              <a:gd name="T17" fmla="*/ 33 h 45"/>
              <a:gd name="T18" fmla="*/ 0 w 44"/>
              <a:gd name="T19" fmla="*/ 23 h 45"/>
              <a:gd name="T20" fmla="*/ 3 w 44"/>
              <a:gd name="T21" fmla="*/ 11 h 45"/>
              <a:gd name="T22" fmla="*/ 10 w 44"/>
              <a:gd name="T23" fmla="*/ 3 h 45"/>
              <a:gd name="T24" fmla="*/ 22 w 44"/>
              <a:gd name="T2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5">
                <a:moveTo>
                  <a:pt x="22" y="0"/>
                </a:moveTo>
                <a:lnTo>
                  <a:pt x="34" y="3"/>
                </a:lnTo>
                <a:lnTo>
                  <a:pt x="41" y="11"/>
                </a:lnTo>
                <a:lnTo>
                  <a:pt x="44" y="23"/>
                </a:lnTo>
                <a:lnTo>
                  <a:pt x="41" y="33"/>
                </a:lnTo>
                <a:lnTo>
                  <a:pt x="34" y="41"/>
                </a:lnTo>
                <a:lnTo>
                  <a:pt x="22" y="45"/>
                </a:lnTo>
                <a:lnTo>
                  <a:pt x="10" y="41"/>
                </a:lnTo>
                <a:lnTo>
                  <a:pt x="3" y="33"/>
                </a:lnTo>
                <a:lnTo>
                  <a:pt x="0" y="23"/>
                </a:lnTo>
                <a:lnTo>
                  <a:pt x="3" y="11"/>
                </a:lnTo>
                <a:lnTo>
                  <a:pt x="10" y="3"/>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9">
            <a:extLst>
              <a:ext uri="{FF2B5EF4-FFF2-40B4-BE49-F238E27FC236}">
                <a16:creationId xmlns:a16="http://schemas.microsoft.com/office/drawing/2014/main" id="{344B273E-0018-D940-8A47-B69874C058FB}"/>
              </a:ext>
            </a:extLst>
          </p:cNvPr>
          <p:cNvSpPr>
            <a:spLocks/>
          </p:cNvSpPr>
          <p:nvPr/>
        </p:nvSpPr>
        <p:spPr bwMode="auto">
          <a:xfrm>
            <a:off x="6070601" y="2862263"/>
            <a:ext cx="38100" cy="38100"/>
          </a:xfrm>
          <a:custGeom>
            <a:avLst/>
            <a:gdLst>
              <a:gd name="T0" fmla="*/ 12 w 24"/>
              <a:gd name="T1" fmla="*/ 0 h 24"/>
              <a:gd name="T2" fmla="*/ 15 w 24"/>
              <a:gd name="T3" fmla="*/ 2 h 24"/>
              <a:gd name="T4" fmla="*/ 19 w 24"/>
              <a:gd name="T5" fmla="*/ 3 h 24"/>
              <a:gd name="T6" fmla="*/ 21 w 24"/>
              <a:gd name="T7" fmla="*/ 5 h 24"/>
              <a:gd name="T8" fmla="*/ 22 w 24"/>
              <a:gd name="T9" fmla="*/ 9 h 24"/>
              <a:gd name="T10" fmla="*/ 24 w 24"/>
              <a:gd name="T11" fmla="*/ 12 h 24"/>
              <a:gd name="T12" fmla="*/ 22 w 24"/>
              <a:gd name="T13" fmla="*/ 16 h 24"/>
              <a:gd name="T14" fmla="*/ 21 w 24"/>
              <a:gd name="T15" fmla="*/ 19 h 24"/>
              <a:gd name="T16" fmla="*/ 19 w 24"/>
              <a:gd name="T17" fmla="*/ 21 h 24"/>
              <a:gd name="T18" fmla="*/ 15 w 24"/>
              <a:gd name="T19" fmla="*/ 24 h 24"/>
              <a:gd name="T20" fmla="*/ 12 w 24"/>
              <a:gd name="T21" fmla="*/ 24 h 24"/>
              <a:gd name="T22" fmla="*/ 8 w 24"/>
              <a:gd name="T23" fmla="*/ 24 h 24"/>
              <a:gd name="T24" fmla="*/ 5 w 24"/>
              <a:gd name="T25" fmla="*/ 21 h 24"/>
              <a:gd name="T26" fmla="*/ 3 w 24"/>
              <a:gd name="T27" fmla="*/ 19 h 24"/>
              <a:gd name="T28" fmla="*/ 1 w 24"/>
              <a:gd name="T29" fmla="*/ 16 h 24"/>
              <a:gd name="T30" fmla="*/ 0 w 24"/>
              <a:gd name="T31" fmla="*/ 12 h 24"/>
              <a:gd name="T32" fmla="*/ 1 w 24"/>
              <a:gd name="T33" fmla="*/ 9 h 24"/>
              <a:gd name="T34" fmla="*/ 3 w 24"/>
              <a:gd name="T35" fmla="*/ 5 h 24"/>
              <a:gd name="T36" fmla="*/ 5 w 24"/>
              <a:gd name="T37" fmla="*/ 3 h 24"/>
              <a:gd name="T38" fmla="*/ 8 w 24"/>
              <a:gd name="T39" fmla="*/ 2 h 24"/>
              <a:gd name="T40" fmla="*/ 12 w 24"/>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4">
                <a:moveTo>
                  <a:pt x="12" y="0"/>
                </a:moveTo>
                <a:lnTo>
                  <a:pt x="15" y="2"/>
                </a:lnTo>
                <a:lnTo>
                  <a:pt x="19" y="3"/>
                </a:lnTo>
                <a:lnTo>
                  <a:pt x="21" y="5"/>
                </a:lnTo>
                <a:lnTo>
                  <a:pt x="22" y="9"/>
                </a:lnTo>
                <a:lnTo>
                  <a:pt x="24" y="12"/>
                </a:lnTo>
                <a:lnTo>
                  <a:pt x="22" y="16"/>
                </a:lnTo>
                <a:lnTo>
                  <a:pt x="21" y="19"/>
                </a:lnTo>
                <a:lnTo>
                  <a:pt x="19" y="21"/>
                </a:lnTo>
                <a:lnTo>
                  <a:pt x="15" y="24"/>
                </a:lnTo>
                <a:lnTo>
                  <a:pt x="12" y="24"/>
                </a:lnTo>
                <a:lnTo>
                  <a:pt x="8" y="24"/>
                </a:lnTo>
                <a:lnTo>
                  <a:pt x="5" y="21"/>
                </a:lnTo>
                <a:lnTo>
                  <a:pt x="3" y="19"/>
                </a:lnTo>
                <a:lnTo>
                  <a:pt x="1" y="16"/>
                </a:lnTo>
                <a:lnTo>
                  <a:pt x="0" y="12"/>
                </a:lnTo>
                <a:lnTo>
                  <a:pt x="1" y="9"/>
                </a:lnTo>
                <a:lnTo>
                  <a:pt x="3" y="5"/>
                </a:lnTo>
                <a:lnTo>
                  <a:pt x="5" y="3"/>
                </a:lnTo>
                <a:lnTo>
                  <a:pt x="8" y="2"/>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0">
            <a:extLst>
              <a:ext uri="{FF2B5EF4-FFF2-40B4-BE49-F238E27FC236}">
                <a16:creationId xmlns:a16="http://schemas.microsoft.com/office/drawing/2014/main" id="{5952274B-EF12-C840-B993-6D682C4A0FA7}"/>
              </a:ext>
            </a:extLst>
          </p:cNvPr>
          <p:cNvSpPr>
            <a:spLocks/>
          </p:cNvSpPr>
          <p:nvPr/>
        </p:nvSpPr>
        <p:spPr bwMode="auto">
          <a:xfrm>
            <a:off x="6070601" y="3144838"/>
            <a:ext cx="38100" cy="38100"/>
          </a:xfrm>
          <a:custGeom>
            <a:avLst/>
            <a:gdLst>
              <a:gd name="T0" fmla="*/ 12 w 24"/>
              <a:gd name="T1" fmla="*/ 0 h 24"/>
              <a:gd name="T2" fmla="*/ 15 w 24"/>
              <a:gd name="T3" fmla="*/ 0 h 24"/>
              <a:gd name="T4" fmla="*/ 19 w 24"/>
              <a:gd name="T5" fmla="*/ 2 h 24"/>
              <a:gd name="T6" fmla="*/ 21 w 24"/>
              <a:gd name="T7" fmla="*/ 5 h 24"/>
              <a:gd name="T8" fmla="*/ 22 w 24"/>
              <a:gd name="T9" fmla="*/ 8 h 24"/>
              <a:gd name="T10" fmla="*/ 24 w 24"/>
              <a:gd name="T11" fmla="*/ 12 h 24"/>
              <a:gd name="T12" fmla="*/ 22 w 24"/>
              <a:gd name="T13" fmla="*/ 15 h 24"/>
              <a:gd name="T14" fmla="*/ 21 w 24"/>
              <a:gd name="T15" fmla="*/ 19 h 24"/>
              <a:gd name="T16" fmla="*/ 19 w 24"/>
              <a:gd name="T17" fmla="*/ 21 h 24"/>
              <a:gd name="T18" fmla="*/ 15 w 24"/>
              <a:gd name="T19" fmla="*/ 22 h 24"/>
              <a:gd name="T20" fmla="*/ 12 w 24"/>
              <a:gd name="T21" fmla="*/ 24 h 24"/>
              <a:gd name="T22" fmla="*/ 8 w 24"/>
              <a:gd name="T23" fmla="*/ 22 h 24"/>
              <a:gd name="T24" fmla="*/ 5 w 24"/>
              <a:gd name="T25" fmla="*/ 21 h 24"/>
              <a:gd name="T26" fmla="*/ 3 w 24"/>
              <a:gd name="T27" fmla="*/ 19 h 24"/>
              <a:gd name="T28" fmla="*/ 1 w 24"/>
              <a:gd name="T29" fmla="*/ 15 h 24"/>
              <a:gd name="T30" fmla="*/ 0 w 24"/>
              <a:gd name="T31" fmla="*/ 12 h 24"/>
              <a:gd name="T32" fmla="*/ 1 w 24"/>
              <a:gd name="T33" fmla="*/ 8 h 24"/>
              <a:gd name="T34" fmla="*/ 3 w 24"/>
              <a:gd name="T35" fmla="*/ 5 h 24"/>
              <a:gd name="T36" fmla="*/ 5 w 24"/>
              <a:gd name="T37" fmla="*/ 2 h 24"/>
              <a:gd name="T38" fmla="*/ 8 w 24"/>
              <a:gd name="T39" fmla="*/ 0 h 24"/>
              <a:gd name="T40" fmla="*/ 12 w 24"/>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4">
                <a:moveTo>
                  <a:pt x="12" y="0"/>
                </a:moveTo>
                <a:lnTo>
                  <a:pt x="15" y="0"/>
                </a:lnTo>
                <a:lnTo>
                  <a:pt x="19" y="2"/>
                </a:lnTo>
                <a:lnTo>
                  <a:pt x="21" y="5"/>
                </a:lnTo>
                <a:lnTo>
                  <a:pt x="22" y="8"/>
                </a:lnTo>
                <a:lnTo>
                  <a:pt x="24" y="12"/>
                </a:lnTo>
                <a:lnTo>
                  <a:pt x="22" y="15"/>
                </a:lnTo>
                <a:lnTo>
                  <a:pt x="21" y="19"/>
                </a:lnTo>
                <a:lnTo>
                  <a:pt x="19" y="21"/>
                </a:lnTo>
                <a:lnTo>
                  <a:pt x="15" y="22"/>
                </a:lnTo>
                <a:lnTo>
                  <a:pt x="12" y="24"/>
                </a:lnTo>
                <a:lnTo>
                  <a:pt x="8" y="22"/>
                </a:lnTo>
                <a:lnTo>
                  <a:pt x="5" y="21"/>
                </a:lnTo>
                <a:lnTo>
                  <a:pt x="3" y="19"/>
                </a:lnTo>
                <a:lnTo>
                  <a:pt x="1" y="15"/>
                </a:lnTo>
                <a:lnTo>
                  <a:pt x="0" y="12"/>
                </a:lnTo>
                <a:lnTo>
                  <a:pt x="1" y="8"/>
                </a:lnTo>
                <a:lnTo>
                  <a:pt x="3" y="5"/>
                </a:lnTo>
                <a:lnTo>
                  <a:pt x="5" y="2"/>
                </a:lnTo>
                <a:lnTo>
                  <a:pt x="8" y="0"/>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1">
            <a:extLst>
              <a:ext uri="{FF2B5EF4-FFF2-40B4-BE49-F238E27FC236}">
                <a16:creationId xmlns:a16="http://schemas.microsoft.com/office/drawing/2014/main" id="{8CC31417-F726-AC4B-A512-69757C803B98}"/>
              </a:ext>
            </a:extLst>
          </p:cNvPr>
          <p:cNvSpPr>
            <a:spLocks/>
          </p:cNvSpPr>
          <p:nvPr/>
        </p:nvSpPr>
        <p:spPr bwMode="auto">
          <a:xfrm>
            <a:off x="6054726" y="2987676"/>
            <a:ext cx="69850" cy="69850"/>
          </a:xfrm>
          <a:custGeom>
            <a:avLst/>
            <a:gdLst>
              <a:gd name="T0" fmla="*/ 22 w 44"/>
              <a:gd name="T1" fmla="*/ 0 h 44"/>
              <a:gd name="T2" fmla="*/ 34 w 44"/>
              <a:gd name="T3" fmla="*/ 3 h 44"/>
              <a:gd name="T4" fmla="*/ 41 w 44"/>
              <a:gd name="T5" fmla="*/ 11 h 44"/>
              <a:gd name="T6" fmla="*/ 44 w 44"/>
              <a:gd name="T7" fmla="*/ 22 h 44"/>
              <a:gd name="T8" fmla="*/ 41 w 44"/>
              <a:gd name="T9" fmla="*/ 34 h 44"/>
              <a:gd name="T10" fmla="*/ 34 w 44"/>
              <a:gd name="T11" fmla="*/ 42 h 44"/>
              <a:gd name="T12" fmla="*/ 22 w 44"/>
              <a:gd name="T13" fmla="*/ 44 h 44"/>
              <a:gd name="T14" fmla="*/ 10 w 44"/>
              <a:gd name="T15" fmla="*/ 42 h 44"/>
              <a:gd name="T16" fmla="*/ 3 w 44"/>
              <a:gd name="T17" fmla="*/ 34 h 44"/>
              <a:gd name="T18" fmla="*/ 0 w 44"/>
              <a:gd name="T19" fmla="*/ 22 h 44"/>
              <a:gd name="T20" fmla="*/ 3 w 44"/>
              <a:gd name="T21" fmla="*/ 11 h 44"/>
              <a:gd name="T22" fmla="*/ 10 w 44"/>
              <a:gd name="T23" fmla="*/ 3 h 44"/>
              <a:gd name="T24" fmla="*/ 22 w 44"/>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4">
                <a:moveTo>
                  <a:pt x="22" y="0"/>
                </a:moveTo>
                <a:lnTo>
                  <a:pt x="34" y="3"/>
                </a:lnTo>
                <a:lnTo>
                  <a:pt x="41" y="11"/>
                </a:lnTo>
                <a:lnTo>
                  <a:pt x="44" y="22"/>
                </a:lnTo>
                <a:lnTo>
                  <a:pt x="41" y="34"/>
                </a:lnTo>
                <a:lnTo>
                  <a:pt x="34" y="42"/>
                </a:lnTo>
                <a:lnTo>
                  <a:pt x="22" y="44"/>
                </a:lnTo>
                <a:lnTo>
                  <a:pt x="10" y="42"/>
                </a:lnTo>
                <a:lnTo>
                  <a:pt x="3" y="34"/>
                </a:lnTo>
                <a:lnTo>
                  <a:pt x="0" y="22"/>
                </a:lnTo>
                <a:lnTo>
                  <a:pt x="3" y="11"/>
                </a:lnTo>
                <a:lnTo>
                  <a:pt x="10" y="3"/>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2">
            <a:extLst>
              <a:ext uri="{FF2B5EF4-FFF2-40B4-BE49-F238E27FC236}">
                <a16:creationId xmlns:a16="http://schemas.microsoft.com/office/drawing/2014/main" id="{39E5FA32-7711-8845-8C52-01ABF2CCB3A2}"/>
              </a:ext>
            </a:extLst>
          </p:cNvPr>
          <p:cNvSpPr>
            <a:spLocks/>
          </p:cNvSpPr>
          <p:nvPr/>
        </p:nvSpPr>
        <p:spPr bwMode="auto">
          <a:xfrm>
            <a:off x="6070601" y="4108452"/>
            <a:ext cx="38100" cy="36513"/>
          </a:xfrm>
          <a:custGeom>
            <a:avLst/>
            <a:gdLst>
              <a:gd name="T0" fmla="*/ 12 w 24"/>
              <a:gd name="T1" fmla="*/ 0 h 23"/>
              <a:gd name="T2" fmla="*/ 15 w 24"/>
              <a:gd name="T3" fmla="*/ 0 h 23"/>
              <a:gd name="T4" fmla="*/ 19 w 24"/>
              <a:gd name="T5" fmla="*/ 2 h 23"/>
              <a:gd name="T6" fmla="*/ 21 w 24"/>
              <a:gd name="T7" fmla="*/ 5 h 23"/>
              <a:gd name="T8" fmla="*/ 22 w 24"/>
              <a:gd name="T9" fmla="*/ 8 h 23"/>
              <a:gd name="T10" fmla="*/ 24 w 24"/>
              <a:gd name="T11" fmla="*/ 12 h 23"/>
              <a:gd name="T12" fmla="*/ 22 w 24"/>
              <a:gd name="T13" fmla="*/ 15 h 23"/>
              <a:gd name="T14" fmla="*/ 21 w 24"/>
              <a:gd name="T15" fmla="*/ 19 h 23"/>
              <a:gd name="T16" fmla="*/ 19 w 24"/>
              <a:gd name="T17" fmla="*/ 21 h 23"/>
              <a:gd name="T18" fmla="*/ 15 w 24"/>
              <a:gd name="T19" fmla="*/ 22 h 23"/>
              <a:gd name="T20" fmla="*/ 12 w 24"/>
              <a:gd name="T21" fmla="*/ 23 h 23"/>
              <a:gd name="T22" fmla="*/ 8 w 24"/>
              <a:gd name="T23" fmla="*/ 22 h 23"/>
              <a:gd name="T24" fmla="*/ 5 w 24"/>
              <a:gd name="T25" fmla="*/ 21 h 23"/>
              <a:gd name="T26" fmla="*/ 3 w 24"/>
              <a:gd name="T27" fmla="*/ 19 h 23"/>
              <a:gd name="T28" fmla="*/ 1 w 24"/>
              <a:gd name="T29" fmla="*/ 15 h 23"/>
              <a:gd name="T30" fmla="*/ 0 w 24"/>
              <a:gd name="T31" fmla="*/ 12 h 23"/>
              <a:gd name="T32" fmla="*/ 1 w 24"/>
              <a:gd name="T33" fmla="*/ 8 h 23"/>
              <a:gd name="T34" fmla="*/ 3 w 24"/>
              <a:gd name="T35" fmla="*/ 5 h 23"/>
              <a:gd name="T36" fmla="*/ 5 w 24"/>
              <a:gd name="T37" fmla="*/ 2 h 23"/>
              <a:gd name="T38" fmla="*/ 8 w 24"/>
              <a:gd name="T39" fmla="*/ 0 h 23"/>
              <a:gd name="T40" fmla="*/ 12 w 2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3">
                <a:moveTo>
                  <a:pt x="12" y="0"/>
                </a:moveTo>
                <a:lnTo>
                  <a:pt x="15" y="0"/>
                </a:lnTo>
                <a:lnTo>
                  <a:pt x="19" y="2"/>
                </a:lnTo>
                <a:lnTo>
                  <a:pt x="21" y="5"/>
                </a:lnTo>
                <a:lnTo>
                  <a:pt x="22" y="8"/>
                </a:lnTo>
                <a:lnTo>
                  <a:pt x="24" y="12"/>
                </a:lnTo>
                <a:lnTo>
                  <a:pt x="22" y="15"/>
                </a:lnTo>
                <a:lnTo>
                  <a:pt x="21" y="19"/>
                </a:lnTo>
                <a:lnTo>
                  <a:pt x="19" y="21"/>
                </a:lnTo>
                <a:lnTo>
                  <a:pt x="15" y="22"/>
                </a:lnTo>
                <a:lnTo>
                  <a:pt x="12" y="23"/>
                </a:lnTo>
                <a:lnTo>
                  <a:pt x="8" y="22"/>
                </a:lnTo>
                <a:lnTo>
                  <a:pt x="5" y="21"/>
                </a:lnTo>
                <a:lnTo>
                  <a:pt x="3" y="19"/>
                </a:lnTo>
                <a:lnTo>
                  <a:pt x="1" y="15"/>
                </a:lnTo>
                <a:lnTo>
                  <a:pt x="0" y="12"/>
                </a:lnTo>
                <a:lnTo>
                  <a:pt x="1" y="8"/>
                </a:lnTo>
                <a:lnTo>
                  <a:pt x="3" y="5"/>
                </a:lnTo>
                <a:lnTo>
                  <a:pt x="5" y="2"/>
                </a:lnTo>
                <a:lnTo>
                  <a:pt x="8" y="0"/>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3">
            <a:extLst>
              <a:ext uri="{FF2B5EF4-FFF2-40B4-BE49-F238E27FC236}">
                <a16:creationId xmlns:a16="http://schemas.microsoft.com/office/drawing/2014/main" id="{0DF9D537-11CD-C442-B73C-DFFD10BC43D5}"/>
              </a:ext>
            </a:extLst>
          </p:cNvPr>
          <p:cNvSpPr>
            <a:spLocks/>
          </p:cNvSpPr>
          <p:nvPr/>
        </p:nvSpPr>
        <p:spPr bwMode="auto">
          <a:xfrm>
            <a:off x="6070601" y="4387851"/>
            <a:ext cx="38100" cy="38100"/>
          </a:xfrm>
          <a:custGeom>
            <a:avLst/>
            <a:gdLst>
              <a:gd name="T0" fmla="*/ 12 w 24"/>
              <a:gd name="T1" fmla="*/ 0 h 24"/>
              <a:gd name="T2" fmla="*/ 15 w 24"/>
              <a:gd name="T3" fmla="*/ 2 h 24"/>
              <a:gd name="T4" fmla="*/ 19 w 24"/>
              <a:gd name="T5" fmla="*/ 3 h 24"/>
              <a:gd name="T6" fmla="*/ 21 w 24"/>
              <a:gd name="T7" fmla="*/ 6 h 24"/>
              <a:gd name="T8" fmla="*/ 22 w 24"/>
              <a:gd name="T9" fmla="*/ 9 h 24"/>
              <a:gd name="T10" fmla="*/ 24 w 24"/>
              <a:gd name="T11" fmla="*/ 12 h 24"/>
              <a:gd name="T12" fmla="*/ 22 w 24"/>
              <a:gd name="T13" fmla="*/ 17 h 24"/>
              <a:gd name="T14" fmla="*/ 21 w 24"/>
              <a:gd name="T15" fmla="*/ 19 h 24"/>
              <a:gd name="T16" fmla="*/ 19 w 24"/>
              <a:gd name="T17" fmla="*/ 23 h 24"/>
              <a:gd name="T18" fmla="*/ 15 w 24"/>
              <a:gd name="T19" fmla="*/ 24 h 24"/>
              <a:gd name="T20" fmla="*/ 12 w 24"/>
              <a:gd name="T21" fmla="*/ 24 h 24"/>
              <a:gd name="T22" fmla="*/ 8 w 24"/>
              <a:gd name="T23" fmla="*/ 24 h 24"/>
              <a:gd name="T24" fmla="*/ 5 w 24"/>
              <a:gd name="T25" fmla="*/ 23 h 24"/>
              <a:gd name="T26" fmla="*/ 3 w 24"/>
              <a:gd name="T27" fmla="*/ 19 h 24"/>
              <a:gd name="T28" fmla="*/ 1 w 24"/>
              <a:gd name="T29" fmla="*/ 17 h 24"/>
              <a:gd name="T30" fmla="*/ 0 w 24"/>
              <a:gd name="T31" fmla="*/ 12 h 24"/>
              <a:gd name="T32" fmla="*/ 1 w 24"/>
              <a:gd name="T33" fmla="*/ 9 h 24"/>
              <a:gd name="T34" fmla="*/ 3 w 24"/>
              <a:gd name="T35" fmla="*/ 6 h 24"/>
              <a:gd name="T36" fmla="*/ 5 w 24"/>
              <a:gd name="T37" fmla="*/ 3 h 24"/>
              <a:gd name="T38" fmla="*/ 8 w 24"/>
              <a:gd name="T39" fmla="*/ 2 h 24"/>
              <a:gd name="T40" fmla="*/ 12 w 24"/>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4">
                <a:moveTo>
                  <a:pt x="12" y="0"/>
                </a:moveTo>
                <a:lnTo>
                  <a:pt x="15" y="2"/>
                </a:lnTo>
                <a:lnTo>
                  <a:pt x="19" y="3"/>
                </a:lnTo>
                <a:lnTo>
                  <a:pt x="21" y="6"/>
                </a:lnTo>
                <a:lnTo>
                  <a:pt x="22" y="9"/>
                </a:lnTo>
                <a:lnTo>
                  <a:pt x="24" y="12"/>
                </a:lnTo>
                <a:lnTo>
                  <a:pt x="22" y="17"/>
                </a:lnTo>
                <a:lnTo>
                  <a:pt x="21" y="19"/>
                </a:lnTo>
                <a:lnTo>
                  <a:pt x="19" y="23"/>
                </a:lnTo>
                <a:lnTo>
                  <a:pt x="15" y="24"/>
                </a:lnTo>
                <a:lnTo>
                  <a:pt x="12" y="24"/>
                </a:lnTo>
                <a:lnTo>
                  <a:pt x="8" y="24"/>
                </a:lnTo>
                <a:lnTo>
                  <a:pt x="5" y="23"/>
                </a:lnTo>
                <a:lnTo>
                  <a:pt x="3" y="19"/>
                </a:lnTo>
                <a:lnTo>
                  <a:pt x="1" y="17"/>
                </a:lnTo>
                <a:lnTo>
                  <a:pt x="0" y="12"/>
                </a:lnTo>
                <a:lnTo>
                  <a:pt x="1" y="9"/>
                </a:lnTo>
                <a:lnTo>
                  <a:pt x="3" y="6"/>
                </a:lnTo>
                <a:lnTo>
                  <a:pt x="5" y="3"/>
                </a:lnTo>
                <a:lnTo>
                  <a:pt x="8" y="2"/>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4">
            <a:extLst>
              <a:ext uri="{FF2B5EF4-FFF2-40B4-BE49-F238E27FC236}">
                <a16:creationId xmlns:a16="http://schemas.microsoft.com/office/drawing/2014/main" id="{3F4EB7D0-A216-FA4E-9D57-40FE661C054E}"/>
              </a:ext>
            </a:extLst>
          </p:cNvPr>
          <p:cNvSpPr>
            <a:spLocks/>
          </p:cNvSpPr>
          <p:nvPr/>
        </p:nvSpPr>
        <p:spPr bwMode="auto">
          <a:xfrm>
            <a:off x="6054726" y="4232276"/>
            <a:ext cx="69850" cy="71438"/>
          </a:xfrm>
          <a:custGeom>
            <a:avLst/>
            <a:gdLst>
              <a:gd name="T0" fmla="*/ 22 w 44"/>
              <a:gd name="T1" fmla="*/ 0 h 45"/>
              <a:gd name="T2" fmla="*/ 34 w 44"/>
              <a:gd name="T3" fmla="*/ 3 h 45"/>
              <a:gd name="T4" fmla="*/ 41 w 44"/>
              <a:gd name="T5" fmla="*/ 11 h 45"/>
              <a:gd name="T6" fmla="*/ 44 w 44"/>
              <a:gd name="T7" fmla="*/ 22 h 45"/>
              <a:gd name="T8" fmla="*/ 41 w 44"/>
              <a:gd name="T9" fmla="*/ 33 h 45"/>
              <a:gd name="T10" fmla="*/ 34 w 44"/>
              <a:gd name="T11" fmla="*/ 41 h 45"/>
              <a:gd name="T12" fmla="*/ 22 w 44"/>
              <a:gd name="T13" fmla="*/ 45 h 45"/>
              <a:gd name="T14" fmla="*/ 10 w 44"/>
              <a:gd name="T15" fmla="*/ 41 h 45"/>
              <a:gd name="T16" fmla="*/ 3 w 44"/>
              <a:gd name="T17" fmla="*/ 33 h 45"/>
              <a:gd name="T18" fmla="*/ 0 w 44"/>
              <a:gd name="T19" fmla="*/ 22 h 45"/>
              <a:gd name="T20" fmla="*/ 3 w 44"/>
              <a:gd name="T21" fmla="*/ 11 h 45"/>
              <a:gd name="T22" fmla="*/ 10 w 44"/>
              <a:gd name="T23" fmla="*/ 3 h 45"/>
              <a:gd name="T24" fmla="*/ 22 w 44"/>
              <a:gd name="T2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5">
                <a:moveTo>
                  <a:pt x="22" y="0"/>
                </a:moveTo>
                <a:lnTo>
                  <a:pt x="34" y="3"/>
                </a:lnTo>
                <a:lnTo>
                  <a:pt x="41" y="11"/>
                </a:lnTo>
                <a:lnTo>
                  <a:pt x="44" y="22"/>
                </a:lnTo>
                <a:lnTo>
                  <a:pt x="41" y="33"/>
                </a:lnTo>
                <a:lnTo>
                  <a:pt x="34" y="41"/>
                </a:lnTo>
                <a:lnTo>
                  <a:pt x="22" y="45"/>
                </a:lnTo>
                <a:lnTo>
                  <a:pt x="10" y="41"/>
                </a:lnTo>
                <a:lnTo>
                  <a:pt x="3" y="33"/>
                </a:lnTo>
                <a:lnTo>
                  <a:pt x="0" y="22"/>
                </a:lnTo>
                <a:lnTo>
                  <a:pt x="3" y="11"/>
                </a:lnTo>
                <a:lnTo>
                  <a:pt x="10" y="3"/>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5">
            <a:extLst>
              <a:ext uri="{FF2B5EF4-FFF2-40B4-BE49-F238E27FC236}">
                <a16:creationId xmlns:a16="http://schemas.microsoft.com/office/drawing/2014/main" id="{9D2A554B-0616-5C41-81FF-61F130A39060}"/>
              </a:ext>
            </a:extLst>
          </p:cNvPr>
          <p:cNvSpPr>
            <a:spLocks/>
          </p:cNvSpPr>
          <p:nvPr/>
        </p:nvSpPr>
        <p:spPr bwMode="auto">
          <a:xfrm>
            <a:off x="6070601" y="5351463"/>
            <a:ext cx="38100" cy="38100"/>
          </a:xfrm>
          <a:custGeom>
            <a:avLst/>
            <a:gdLst>
              <a:gd name="T0" fmla="*/ 12 w 24"/>
              <a:gd name="T1" fmla="*/ 0 h 24"/>
              <a:gd name="T2" fmla="*/ 15 w 24"/>
              <a:gd name="T3" fmla="*/ 1 h 24"/>
              <a:gd name="T4" fmla="*/ 19 w 24"/>
              <a:gd name="T5" fmla="*/ 3 h 24"/>
              <a:gd name="T6" fmla="*/ 21 w 24"/>
              <a:gd name="T7" fmla="*/ 5 h 24"/>
              <a:gd name="T8" fmla="*/ 22 w 24"/>
              <a:gd name="T9" fmla="*/ 8 h 24"/>
              <a:gd name="T10" fmla="*/ 24 w 24"/>
              <a:gd name="T11" fmla="*/ 12 h 24"/>
              <a:gd name="T12" fmla="*/ 22 w 24"/>
              <a:gd name="T13" fmla="*/ 17 h 24"/>
              <a:gd name="T14" fmla="*/ 21 w 24"/>
              <a:gd name="T15" fmla="*/ 19 h 24"/>
              <a:gd name="T16" fmla="*/ 19 w 24"/>
              <a:gd name="T17" fmla="*/ 21 h 24"/>
              <a:gd name="T18" fmla="*/ 15 w 24"/>
              <a:gd name="T19" fmla="*/ 24 h 24"/>
              <a:gd name="T20" fmla="*/ 12 w 24"/>
              <a:gd name="T21" fmla="*/ 24 h 24"/>
              <a:gd name="T22" fmla="*/ 8 w 24"/>
              <a:gd name="T23" fmla="*/ 24 h 24"/>
              <a:gd name="T24" fmla="*/ 5 w 24"/>
              <a:gd name="T25" fmla="*/ 21 h 24"/>
              <a:gd name="T26" fmla="*/ 3 w 24"/>
              <a:gd name="T27" fmla="*/ 19 h 24"/>
              <a:gd name="T28" fmla="*/ 1 w 24"/>
              <a:gd name="T29" fmla="*/ 17 h 24"/>
              <a:gd name="T30" fmla="*/ 0 w 24"/>
              <a:gd name="T31" fmla="*/ 12 h 24"/>
              <a:gd name="T32" fmla="*/ 1 w 24"/>
              <a:gd name="T33" fmla="*/ 8 h 24"/>
              <a:gd name="T34" fmla="*/ 3 w 24"/>
              <a:gd name="T35" fmla="*/ 5 h 24"/>
              <a:gd name="T36" fmla="*/ 5 w 24"/>
              <a:gd name="T37" fmla="*/ 3 h 24"/>
              <a:gd name="T38" fmla="*/ 8 w 24"/>
              <a:gd name="T39" fmla="*/ 1 h 24"/>
              <a:gd name="T40" fmla="*/ 12 w 24"/>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4">
                <a:moveTo>
                  <a:pt x="12" y="0"/>
                </a:moveTo>
                <a:lnTo>
                  <a:pt x="15" y="1"/>
                </a:lnTo>
                <a:lnTo>
                  <a:pt x="19" y="3"/>
                </a:lnTo>
                <a:lnTo>
                  <a:pt x="21" y="5"/>
                </a:lnTo>
                <a:lnTo>
                  <a:pt x="22" y="8"/>
                </a:lnTo>
                <a:lnTo>
                  <a:pt x="24" y="12"/>
                </a:lnTo>
                <a:lnTo>
                  <a:pt x="22" y="17"/>
                </a:lnTo>
                <a:lnTo>
                  <a:pt x="21" y="19"/>
                </a:lnTo>
                <a:lnTo>
                  <a:pt x="19" y="21"/>
                </a:lnTo>
                <a:lnTo>
                  <a:pt x="15" y="24"/>
                </a:lnTo>
                <a:lnTo>
                  <a:pt x="12" y="24"/>
                </a:lnTo>
                <a:lnTo>
                  <a:pt x="8" y="24"/>
                </a:lnTo>
                <a:lnTo>
                  <a:pt x="5" y="21"/>
                </a:lnTo>
                <a:lnTo>
                  <a:pt x="3" y="19"/>
                </a:lnTo>
                <a:lnTo>
                  <a:pt x="1" y="17"/>
                </a:lnTo>
                <a:lnTo>
                  <a:pt x="0" y="12"/>
                </a:lnTo>
                <a:lnTo>
                  <a:pt x="1" y="8"/>
                </a:lnTo>
                <a:lnTo>
                  <a:pt x="3" y="5"/>
                </a:lnTo>
                <a:lnTo>
                  <a:pt x="5" y="3"/>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6">
            <a:extLst>
              <a:ext uri="{FF2B5EF4-FFF2-40B4-BE49-F238E27FC236}">
                <a16:creationId xmlns:a16="http://schemas.microsoft.com/office/drawing/2014/main" id="{C2F54E84-A6E3-1A4F-B94D-D9D35B3227A7}"/>
              </a:ext>
            </a:extLst>
          </p:cNvPr>
          <p:cNvSpPr>
            <a:spLocks/>
          </p:cNvSpPr>
          <p:nvPr/>
        </p:nvSpPr>
        <p:spPr bwMode="auto">
          <a:xfrm>
            <a:off x="6070601" y="5634039"/>
            <a:ext cx="38100" cy="36513"/>
          </a:xfrm>
          <a:custGeom>
            <a:avLst/>
            <a:gdLst>
              <a:gd name="T0" fmla="*/ 12 w 24"/>
              <a:gd name="T1" fmla="*/ 0 h 23"/>
              <a:gd name="T2" fmla="*/ 15 w 24"/>
              <a:gd name="T3" fmla="*/ 1 h 23"/>
              <a:gd name="T4" fmla="*/ 19 w 24"/>
              <a:gd name="T5" fmla="*/ 2 h 23"/>
              <a:gd name="T6" fmla="*/ 21 w 24"/>
              <a:gd name="T7" fmla="*/ 5 h 23"/>
              <a:gd name="T8" fmla="*/ 22 w 24"/>
              <a:gd name="T9" fmla="*/ 8 h 23"/>
              <a:gd name="T10" fmla="*/ 24 w 24"/>
              <a:gd name="T11" fmla="*/ 12 h 23"/>
              <a:gd name="T12" fmla="*/ 22 w 24"/>
              <a:gd name="T13" fmla="*/ 15 h 23"/>
              <a:gd name="T14" fmla="*/ 21 w 24"/>
              <a:gd name="T15" fmla="*/ 19 h 23"/>
              <a:gd name="T16" fmla="*/ 19 w 24"/>
              <a:gd name="T17" fmla="*/ 21 h 23"/>
              <a:gd name="T18" fmla="*/ 15 w 24"/>
              <a:gd name="T19" fmla="*/ 23 h 23"/>
              <a:gd name="T20" fmla="*/ 12 w 24"/>
              <a:gd name="T21" fmla="*/ 23 h 23"/>
              <a:gd name="T22" fmla="*/ 8 w 24"/>
              <a:gd name="T23" fmla="*/ 23 h 23"/>
              <a:gd name="T24" fmla="*/ 5 w 24"/>
              <a:gd name="T25" fmla="*/ 21 h 23"/>
              <a:gd name="T26" fmla="*/ 3 w 24"/>
              <a:gd name="T27" fmla="*/ 19 h 23"/>
              <a:gd name="T28" fmla="*/ 1 w 24"/>
              <a:gd name="T29" fmla="*/ 15 h 23"/>
              <a:gd name="T30" fmla="*/ 0 w 24"/>
              <a:gd name="T31" fmla="*/ 12 h 23"/>
              <a:gd name="T32" fmla="*/ 1 w 24"/>
              <a:gd name="T33" fmla="*/ 8 h 23"/>
              <a:gd name="T34" fmla="*/ 3 w 24"/>
              <a:gd name="T35" fmla="*/ 5 h 23"/>
              <a:gd name="T36" fmla="*/ 5 w 24"/>
              <a:gd name="T37" fmla="*/ 2 h 23"/>
              <a:gd name="T38" fmla="*/ 8 w 24"/>
              <a:gd name="T39" fmla="*/ 1 h 23"/>
              <a:gd name="T40" fmla="*/ 12 w 2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3">
                <a:moveTo>
                  <a:pt x="12" y="0"/>
                </a:moveTo>
                <a:lnTo>
                  <a:pt x="15" y="1"/>
                </a:lnTo>
                <a:lnTo>
                  <a:pt x="19" y="2"/>
                </a:lnTo>
                <a:lnTo>
                  <a:pt x="21" y="5"/>
                </a:lnTo>
                <a:lnTo>
                  <a:pt x="22" y="8"/>
                </a:lnTo>
                <a:lnTo>
                  <a:pt x="24" y="12"/>
                </a:lnTo>
                <a:lnTo>
                  <a:pt x="22" y="15"/>
                </a:lnTo>
                <a:lnTo>
                  <a:pt x="21" y="19"/>
                </a:lnTo>
                <a:lnTo>
                  <a:pt x="19" y="21"/>
                </a:lnTo>
                <a:lnTo>
                  <a:pt x="15" y="23"/>
                </a:lnTo>
                <a:lnTo>
                  <a:pt x="12" y="23"/>
                </a:lnTo>
                <a:lnTo>
                  <a:pt x="8" y="23"/>
                </a:lnTo>
                <a:lnTo>
                  <a:pt x="5" y="21"/>
                </a:lnTo>
                <a:lnTo>
                  <a:pt x="3" y="19"/>
                </a:lnTo>
                <a:lnTo>
                  <a:pt x="1" y="15"/>
                </a:lnTo>
                <a:lnTo>
                  <a:pt x="0" y="12"/>
                </a:lnTo>
                <a:lnTo>
                  <a:pt x="1" y="8"/>
                </a:lnTo>
                <a:lnTo>
                  <a:pt x="3" y="5"/>
                </a:lnTo>
                <a:lnTo>
                  <a:pt x="5" y="2"/>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27">
            <a:extLst>
              <a:ext uri="{FF2B5EF4-FFF2-40B4-BE49-F238E27FC236}">
                <a16:creationId xmlns:a16="http://schemas.microsoft.com/office/drawing/2014/main" id="{B6B6FC85-528B-FB4F-9D58-72EEFEADC598}"/>
              </a:ext>
            </a:extLst>
          </p:cNvPr>
          <p:cNvSpPr>
            <a:spLocks/>
          </p:cNvSpPr>
          <p:nvPr/>
        </p:nvSpPr>
        <p:spPr bwMode="auto">
          <a:xfrm>
            <a:off x="6054726" y="5476876"/>
            <a:ext cx="69850" cy="69850"/>
          </a:xfrm>
          <a:custGeom>
            <a:avLst/>
            <a:gdLst>
              <a:gd name="T0" fmla="*/ 22 w 44"/>
              <a:gd name="T1" fmla="*/ 0 h 44"/>
              <a:gd name="T2" fmla="*/ 34 w 44"/>
              <a:gd name="T3" fmla="*/ 3 h 44"/>
              <a:gd name="T4" fmla="*/ 41 w 44"/>
              <a:gd name="T5" fmla="*/ 11 h 44"/>
              <a:gd name="T6" fmla="*/ 44 w 44"/>
              <a:gd name="T7" fmla="*/ 22 h 44"/>
              <a:gd name="T8" fmla="*/ 41 w 44"/>
              <a:gd name="T9" fmla="*/ 33 h 44"/>
              <a:gd name="T10" fmla="*/ 34 w 44"/>
              <a:gd name="T11" fmla="*/ 42 h 44"/>
              <a:gd name="T12" fmla="*/ 22 w 44"/>
              <a:gd name="T13" fmla="*/ 44 h 44"/>
              <a:gd name="T14" fmla="*/ 10 w 44"/>
              <a:gd name="T15" fmla="*/ 42 h 44"/>
              <a:gd name="T16" fmla="*/ 3 w 44"/>
              <a:gd name="T17" fmla="*/ 33 h 44"/>
              <a:gd name="T18" fmla="*/ 0 w 44"/>
              <a:gd name="T19" fmla="*/ 22 h 44"/>
              <a:gd name="T20" fmla="*/ 3 w 44"/>
              <a:gd name="T21" fmla="*/ 11 h 44"/>
              <a:gd name="T22" fmla="*/ 10 w 44"/>
              <a:gd name="T23" fmla="*/ 3 h 44"/>
              <a:gd name="T24" fmla="*/ 22 w 44"/>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4">
                <a:moveTo>
                  <a:pt x="22" y="0"/>
                </a:moveTo>
                <a:lnTo>
                  <a:pt x="34" y="3"/>
                </a:lnTo>
                <a:lnTo>
                  <a:pt x="41" y="11"/>
                </a:lnTo>
                <a:lnTo>
                  <a:pt x="44" y="22"/>
                </a:lnTo>
                <a:lnTo>
                  <a:pt x="41" y="33"/>
                </a:lnTo>
                <a:lnTo>
                  <a:pt x="34" y="42"/>
                </a:lnTo>
                <a:lnTo>
                  <a:pt x="22" y="44"/>
                </a:lnTo>
                <a:lnTo>
                  <a:pt x="10" y="42"/>
                </a:lnTo>
                <a:lnTo>
                  <a:pt x="3" y="33"/>
                </a:lnTo>
                <a:lnTo>
                  <a:pt x="0" y="22"/>
                </a:lnTo>
                <a:lnTo>
                  <a:pt x="3" y="11"/>
                </a:lnTo>
                <a:lnTo>
                  <a:pt x="10" y="3"/>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8">
            <a:extLst>
              <a:ext uri="{FF2B5EF4-FFF2-40B4-BE49-F238E27FC236}">
                <a16:creationId xmlns:a16="http://schemas.microsoft.com/office/drawing/2014/main" id="{A3973829-53D1-1047-971E-EFBD39C28694}"/>
              </a:ext>
            </a:extLst>
          </p:cNvPr>
          <p:cNvSpPr>
            <a:spLocks/>
          </p:cNvSpPr>
          <p:nvPr/>
        </p:nvSpPr>
        <p:spPr bwMode="auto">
          <a:xfrm>
            <a:off x="6054726" y="369888"/>
            <a:ext cx="69850" cy="71438"/>
          </a:xfrm>
          <a:custGeom>
            <a:avLst/>
            <a:gdLst>
              <a:gd name="T0" fmla="*/ 22 w 44"/>
              <a:gd name="T1" fmla="*/ 0 h 45"/>
              <a:gd name="T2" fmla="*/ 34 w 44"/>
              <a:gd name="T3" fmla="*/ 4 h 45"/>
              <a:gd name="T4" fmla="*/ 41 w 44"/>
              <a:gd name="T5" fmla="*/ 12 h 45"/>
              <a:gd name="T6" fmla="*/ 44 w 44"/>
              <a:gd name="T7" fmla="*/ 23 h 45"/>
              <a:gd name="T8" fmla="*/ 41 w 44"/>
              <a:gd name="T9" fmla="*/ 34 h 45"/>
              <a:gd name="T10" fmla="*/ 34 w 44"/>
              <a:gd name="T11" fmla="*/ 42 h 45"/>
              <a:gd name="T12" fmla="*/ 22 w 44"/>
              <a:gd name="T13" fmla="*/ 45 h 45"/>
              <a:gd name="T14" fmla="*/ 10 w 44"/>
              <a:gd name="T15" fmla="*/ 42 h 45"/>
              <a:gd name="T16" fmla="*/ 3 w 44"/>
              <a:gd name="T17" fmla="*/ 34 h 45"/>
              <a:gd name="T18" fmla="*/ 0 w 44"/>
              <a:gd name="T19" fmla="*/ 23 h 45"/>
              <a:gd name="T20" fmla="*/ 3 w 44"/>
              <a:gd name="T21" fmla="*/ 12 h 45"/>
              <a:gd name="T22" fmla="*/ 10 w 44"/>
              <a:gd name="T23" fmla="*/ 4 h 45"/>
              <a:gd name="T24" fmla="*/ 22 w 44"/>
              <a:gd name="T2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5">
                <a:moveTo>
                  <a:pt x="22" y="0"/>
                </a:moveTo>
                <a:lnTo>
                  <a:pt x="34" y="4"/>
                </a:lnTo>
                <a:lnTo>
                  <a:pt x="41" y="12"/>
                </a:lnTo>
                <a:lnTo>
                  <a:pt x="44" y="23"/>
                </a:lnTo>
                <a:lnTo>
                  <a:pt x="41" y="34"/>
                </a:lnTo>
                <a:lnTo>
                  <a:pt x="34" y="42"/>
                </a:lnTo>
                <a:lnTo>
                  <a:pt x="22" y="45"/>
                </a:lnTo>
                <a:lnTo>
                  <a:pt x="10" y="42"/>
                </a:lnTo>
                <a:lnTo>
                  <a:pt x="3" y="34"/>
                </a:lnTo>
                <a:lnTo>
                  <a:pt x="0" y="23"/>
                </a:lnTo>
                <a:lnTo>
                  <a:pt x="3" y="12"/>
                </a:lnTo>
                <a:lnTo>
                  <a:pt x="10" y="4"/>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9">
            <a:extLst>
              <a:ext uri="{FF2B5EF4-FFF2-40B4-BE49-F238E27FC236}">
                <a16:creationId xmlns:a16="http://schemas.microsoft.com/office/drawing/2014/main" id="{8E745739-0252-734C-8B1B-E108F38FC2E2}"/>
              </a:ext>
            </a:extLst>
          </p:cNvPr>
          <p:cNvSpPr>
            <a:spLocks/>
          </p:cNvSpPr>
          <p:nvPr/>
        </p:nvSpPr>
        <p:spPr bwMode="auto">
          <a:xfrm>
            <a:off x="6070601" y="528639"/>
            <a:ext cx="38100" cy="36513"/>
          </a:xfrm>
          <a:custGeom>
            <a:avLst/>
            <a:gdLst>
              <a:gd name="T0" fmla="*/ 12 w 24"/>
              <a:gd name="T1" fmla="*/ 0 h 23"/>
              <a:gd name="T2" fmla="*/ 15 w 24"/>
              <a:gd name="T3" fmla="*/ 1 h 23"/>
              <a:gd name="T4" fmla="*/ 19 w 24"/>
              <a:gd name="T5" fmla="*/ 2 h 23"/>
              <a:gd name="T6" fmla="*/ 21 w 24"/>
              <a:gd name="T7" fmla="*/ 4 h 23"/>
              <a:gd name="T8" fmla="*/ 22 w 24"/>
              <a:gd name="T9" fmla="*/ 8 h 23"/>
              <a:gd name="T10" fmla="*/ 24 w 24"/>
              <a:gd name="T11" fmla="*/ 11 h 23"/>
              <a:gd name="T12" fmla="*/ 22 w 24"/>
              <a:gd name="T13" fmla="*/ 15 h 23"/>
              <a:gd name="T14" fmla="*/ 21 w 24"/>
              <a:gd name="T15" fmla="*/ 18 h 23"/>
              <a:gd name="T16" fmla="*/ 19 w 24"/>
              <a:gd name="T17" fmla="*/ 21 h 23"/>
              <a:gd name="T18" fmla="*/ 15 w 24"/>
              <a:gd name="T19" fmla="*/ 23 h 23"/>
              <a:gd name="T20" fmla="*/ 12 w 24"/>
              <a:gd name="T21" fmla="*/ 23 h 23"/>
              <a:gd name="T22" fmla="*/ 8 w 24"/>
              <a:gd name="T23" fmla="*/ 23 h 23"/>
              <a:gd name="T24" fmla="*/ 5 w 24"/>
              <a:gd name="T25" fmla="*/ 21 h 23"/>
              <a:gd name="T26" fmla="*/ 3 w 24"/>
              <a:gd name="T27" fmla="*/ 18 h 23"/>
              <a:gd name="T28" fmla="*/ 1 w 24"/>
              <a:gd name="T29" fmla="*/ 15 h 23"/>
              <a:gd name="T30" fmla="*/ 0 w 24"/>
              <a:gd name="T31" fmla="*/ 11 h 23"/>
              <a:gd name="T32" fmla="*/ 1 w 24"/>
              <a:gd name="T33" fmla="*/ 8 h 23"/>
              <a:gd name="T34" fmla="*/ 3 w 24"/>
              <a:gd name="T35" fmla="*/ 4 h 23"/>
              <a:gd name="T36" fmla="*/ 5 w 24"/>
              <a:gd name="T37" fmla="*/ 2 h 23"/>
              <a:gd name="T38" fmla="*/ 8 w 24"/>
              <a:gd name="T39" fmla="*/ 1 h 23"/>
              <a:gd name="T40" fmla="*/ 12 w 2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3">
                <a:moveTo>
                  <a:pt x="12" y="0"/>
                </a:moveTo>
                <a:lnTo>
                  <a:pt x="15" y="1"/>
                </a:lnTo>
                <a:lnTo>
                  <a:pt x="19" y="2"/>
                </a:lnTo>
                <a:lnTo>
                  <a:pt x="21" y="4"/>
                </a:lnTo>
                <a:lnTo>
                  <a:pt x="22" y="8"/>
                </a:lnTo>
                <a:lnTo>
                  <a:pt x="24" y="11"/>
                </a:lnTo>
                <a:lnTo>
                  <a:pt x="22" y="15"/>
                </a:lnTo>
                <a:lnTo>
                  <a:pt x="21" y="18"/>
                </a:lnTo>
                <a:lnTo>
                  <a:pt x="19" y="21"/>
                </a:lnTo>
                <a:lnTo>
                  <a:pt x="15" y="23"/>
                </a:lnTo>
                <a:lnTo>
                  <a:pt x="12" y="23"/>
                </a:lnTo>
                <a:lnTo>
                  <a:pt x="8" y="23"/>
                </a:lnTo>
                <a:lnTo>
                  <a:pt x="5" y="21"/>
                </a:lnTo>
                <a:lnTo>
                  <a:pt x="3" y="18"/>
                </a:lnTo>
                <a:lnTo>
                  <a:pt x="1" y="15"/>
                </a:lnTo>
                <a:lnTo>
                  <a:pt x="0" y="11"/>
                </a:lnTo>
                <a:lnTo>
                  <a:pt x="1" y="8"/>
                </a:lnTo>
                <a:lnTo>
                  <a:pt x="3" y="4"/>
                </a:lnTo>
                <a:lnTo>
                  <a:pt x="5" y="2"/>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30">
            <a:extLst>
              <a:ext uri="{FF2B5EF4-FFF2-40B4-BE49-F238E27FC236}">
                <a16:creationId xmlns:a16="http://schemas.microsoft.com/office/drawing/2014/main" id="{B08724A4-2BA5-8B44-8D75-59971A4ECF45}"/>
              </a:ext>
            </a:extLst>
          </p:cNvPr>
          <p:cNvSpPr>
            <a:spLocks/>
          </p:cNvSpPr>
          <p:nvPr/>
        </p:nvSpPr>
        <p:spPr bwMode="auto">
          <a:xfrm>
            <a:off x="6070601" y="669927"/>
            <a:ext cx="38100" cy="36513"/>
          </a:xfrm>
          <a:custGeom>
            <a:avLst/>
            <a:gdLst>
              <a:gd name="T0" fmla="*/ 12 w 24"/>
              <a:gd name="T1" fmla="*/ 0 h 23"/>
              <a:gd name="T2" fmla="*/ 15 w 24"/>
              <a:gd name="T3" fmla="*/ 1 h 23"/>
              <a:gd name="T4" fmla="*/ 19 w 24"/>
              <a:gd name="T5" fmla="*/ 2 h 23"/>
              <a:gd name="T6" fmla="*/ 21 w 24"/>
              <a:gd name="T7" fmla="*/ 4 h 23"/>
              <a:gd name="T8" fmla="*/ 22 w 24"/>
              <a:gd name="T9" fmla="*/ 8 h 23"/>
              <a:gd name="T10" fmla="*/ 24 w 24"/>
              <a:gd name="T11" fmla="*/ 11 h 23"/>
              <a:gd name="T12" fmla="*/ 22 w 24"/>
              <a:gd name="T13" fmla="*/ 15 h 23"/>
              <a:gd name="T14" fmla="*/ 21 w 24"/>
              <a:gd name="T15" fmla="*/ 18 h 23"/>
              <a:gd name="T16" fmla="*/ 19 w 24"/>
              <a:gd name="T17" fmla="*/ 21 h 23"/>
              <a:gd name="T18" fmla="*/ 15 w 24"/>
              <a:gd name="T19" fmla="*/ 22 h 23"/>
              <a:gd name="T20" fmla="*/ 12 w 24"/>
              <a:gd name="T21" fmla="*/ 23 h 23"/>
              <a:gd name="T22" fmla="*/ 8 w 24"/>
              <a:gd name="T23" fmla="*/ 22 h 23"/>
              <a:gd name="T24" fmla="*/ 5 w 24"/>
              <a:gd name="T25" fmla="*/ 21 h 23"/>
              <a:gd name="T26" fmla="*/ 3 w 24"/>
              <a:gd name="T27" fmla="*/ 18 h 23"/>
              <a:gd name="T28" fmla="*/ 1 w 24"/>
              <a:gd name="T29" fmla="*/ 15 h 23"/>
              <a:gd name="T30" fmla="*/ 0 w 24"/>
              <a:gd name="T31" fmla="*/ 11 h 23"/>
              <a:gd name="T32" fmla="*/ 1 w 24"/>
              <a:gd name="T33" fmla="*/ 8 h 23"/>
              <a:gd name="T34" fmla="*/ 3 w 24"/>
              <a:gd name="T35" fmla="*/ 4 h 23"/>
              <a:gd name="T36" fmla="*/ 5 w 24"/>
              <a:gd name="T37" fmla="*/ 2 h 23"/>
              <a:gd name="T38" fmla="*/ 8 w 24"/>
              <a:gd name="T39" fmla="*/ 1 h 23"/>
              <a:gd name="T40" fmla="*/ 12 w 2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3">
                <a:moveTo>
                  <a:pt x="12" y="0"/>
                </a:moveTo>
                <a:lnTo>
                  <a:pt x="15" y="1"/>
                </a:lnTo>
                <a:lnTo>
                  <a:pt x="19" y="2"/>
                </a:lnTo>
                <a:lnTo>
                  <a:pt x="21" y="4"/>
                </a:lnTo>
                <a:lnTo>
                  <a:pt x="22" y="8"/>
                </a:lnTo>
                <a:lnTo>
                  <a:pt x="24" y="11"/>
                </a:lnTo>
                <a:lnTo>
                  <a:pt x="22" y="15"/>
                </a:lnTo>
                <a:lnTo>
                  <a:pt x="21" y="18"/>
                </a:lnTo>
                <a:lnTo>
                  <a:pt x="19" y="21"/>
                </a:lnTo>
                <a:lnTo>
                  <a:pt x="15" y="22"/>
                </a:lnTo>
                <a:lnTo>
                  <a:pt x="12" y="23"/>
                </a:lnTo>
                <a:lnTo>
                  <a:pt x="8" y="22"/>
                </a:lnTo>
                <a:lnTo>
                  <a:pt x="5" y="21"/>
                </a:lnTo>
                <a:lnTo>
                  <a:pt x="3" y="18"/>
                </a:lnTo>
                <a:lnTo>
                  <a:pt x="1" y="15"/>
                </a:lnTo>
                <a:lnTo>
                  <a:pt x="0" y="11"/>
                </a:lnTo>
                <a:lnTo>
                  <a:pt x="1" y="8"/>
                </a:lnTo>
                <a:lnTo>
                  <a:pt x="3" y="4"/>
                </a:lnTo>
                <a:lnTo>
                  <a:pt x="5" y="2"/>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TextBox 34">
            <a:extLst>
              <a:ext uri="{FF2B5EF4-FFF2-40B4-BE49-F238E27FC236}">
                <a16:creationId xmlns:a16="http://schemas.microsoft.com/office/drawing/2014/main" id="{83ECF6F5-B831-5E4B-8921-FB65CCE83CF2}"/>
              </a:ext>
            </a:extLst>
          </p:cNvPr>
          <p:cNvSpPr txBox="1"/>
          <p:nvPr/>
        </p:nvSpPr>
        <p:spPr>
          <a:xfrm>
            <a:off x="3600451" y="1057275"/>
            <a:ext cx="371475" cy="215444"/>
          </a:xfrm>
          <a:prstGeom prst="rect">
            <a:avLst/>
          </a:prstGeom>
          <a:noFill/>
        </p:spPr>
        <p:txBody>
          <a:bodyPr vert="horz" wrap="square" lIns="0" tIns="0" rIns="0" bIns="0" rtlCol="0">
            <a:spAutoFit/>
          </a:bodyPr>
          <a:lstStyle/>
          <a:p>
            <a:pPr algn="ctr">
              <a:spcBef>
                <a:spcPts val="200"/>
              </a:spcBef>
              <a:buSzPct val="100000"/>
            </a:pPr>
            <a:r>
              <a:rPr lang="en-US" sz="1400" b="1" dirty="0">
                <a:solidFill>
                  <a:schemeClr val="bg1"/>
                </a:solidFill>
              </a:rPr>
              <a:t>Go</a:t>
            </a:r>
          </a:p>
        </p:txBody>
      </p:sp>
      <p:sp>
        <p:nvSpPr>
          <p:cNvPr id="36" name="TextBox 35">
            <a:extLst>
              <a:ext uri="{FF2B5EF4-FFF2-40B4-BE49-F238E27FC236}">
                <a16:creationId xmlns:a16="http://schemas.microsoft.com/office/drawing/2014/main" id="{2D49D949-C28E-304F-B51D-3CDB01ADB08E}"/>
              </a:ext>
            </a:extLst>
          </p:cNvPr>
          <p:cNvSpPr txBox="1"/>
          <p:nvPr/>
        </p:nvSpPr>
        <p:spPr>
          <a:xfrm>
            <a:off x="5600701" y="314325"/>
            <a:ext cx="371475" cy="153888"/>
          </a:xfrm>
          <a:prstGeom prst="rect">
            <a:avLst/>
          </a:prstGeom>
          <a:noFill/>
        </p:spPr>
        <p:txBody>
          <a:bodyPr vert="horz" wrap="square" lIns="0" tIns="0" rIns="0" bIns="0" rtlCol="0">
            <a:spAutoFit/>
          </a:bodyPr>
          <a:lstStyle/>
          <a:p>
            <a:pPr>
              <a:spcBef>
                <a:spcPts val="200"/>
              </a:spcBef>
              <a:buSzPct val="100000"/>
            </a:pPr>
            <a:r>
              <a:rPr lang="en-US" sz="1000" b="1" dirty="0"/>
              <a:t>Start</a:t>
            </a:r>
          </a:p>
        </p:txBody>
      </p:sp>
      <p:sp>
        <p:nvSpPr>
          <p:cNvPr id="37" name="TextBox 36">
            <a:extLst>
              <a:ext uri="{FF2B5EF4-FFF2-40B4-BE49-F238E27FC236}">
                <a16:creationId xmlns:a16="http://schemas.microsoft.com/office/drawing/2014/main" id="{5E1F00CF-EDC9-C14B-8CB4-3CA13DFDCFBC}"/>
              </a:ext>
            </a:extLst>
          </p:cNvPr>
          <p:cNvSpPr txBox="1"/>
          <p:nvPr/>
        </p:nvSpPr>
        <p:spPr>
          <a:xfrm>
            <a:off x="6257925" y="323850"/>
            <a:ext cx="1295400" cy="153888"/>
          </a:xfrm>
          <a:prstGeom prst="rect">
            <a:avLst/>
          </a:prstGeom>
          <a:noFill/>
        </p:spPr>
        <p:txBody>
          <a:bodyPr vert="horz" wrap="square" lIns="0" tIns="0" rIns="0" bIns="0" rtlCol="0">
            <a:spAutoFit/>
          </a:bodyPr>
          <a:lstStyle/>
          <a:p>
            <a:pPr>
              <a:spcBef>
                <a:spcPts val="200"/>
              </a:spcBef>
              <a:buSzPct val="100000"/>
            </a:pPr>
            <a:r>
              <a:rPr lang="en-US" sz="1000" b="1" dirty="0"/>
              <a:t>January 2016</a:t>
            </a:r>
          </a:p>
        </p:txBody>
      </p:sp>
      <p:sp>
        <p:nvSpPr>
          <p:cNvPr id="38" name="TextBox 37">
            <a:extLst>
              <a:ext uri="{FF2B5EF4-FFF2-40B4-BE49-F238E27FC236}">
                <a16:creationId xmlns:a16="http://schemas.microsoft.com/office/drawing/2014/main" id="{61325AC8-40AC-3F48-BD14-BB2BA8D5A24A}"/>
              </a:ext>
            </a:extLst>
          </p:cNvPr>
          <p:cNvSpPr txBox="1"/>
          <p:nvPr/>
        </p:nvSpPr>
        <p:spPr>
          <a:xfrm>
            <a:off x="4914900" y="1704975"/>
            <a:ext cx="1295400" cy="153888"/>
          </a:xfrm>
          <a:prstGeom prst="rect">
            <a:avLst/>
          </a:prstGeom>
          <a:noFill/>
        </p:spPr>
        <p:txBody>
          <a:bodyPr vert="horz" wrap="square" lIns="0" tIns="0" rIns="0" bIns="0" rtlCol="0">
            <a:spAutoFit/>
          </a:bodyPr>
          <a:lstStyle/>
          <a:p>
            <a:pPr>
              <a:spcBef>
                <a:spcPts val="200"/>
              </a:spcBef>
              <a:buSzPct val="100000"/>
            </a:pPr>
            <a:r>
              <a:rPr lang="en-US" sz="1000" b="1" dirty="0"/>
              <a:t>February 2016</a:t>
            </a:r>
          </a:p>
        </p:txBody>
      </p:sp>
      <p:sp>
        <p:nvSpPr>
          <p:cNvPr id="39" name="TextBox 38">
            <a:extLst>
              <a:ext uri="{FF2B5EF4-FFF2-40B4-BE49-F238E27FC236}">
                <a16:creationId xmlns:a16="http://schemas.microsoft.com/office/drawing/2014/main" id="{6F224C49-760C-A043-B10D-A9A9DB4C96EE}"/>
              </a:ext>
            </a:extLst>
          </p:cNvPr>
          <p:cNvSpPr txBox="1"/>
          <p:nvPr/>
        </p:nvSpPr>
        <p:spPr>
          <a:xfrm>
            <a:off x="6276975" y="2933700"/>
            <a:ext cx="1295400" cy="153888"/>
          </a:xfrm>
          <a:prstGeom prst="rect">
            <a:avLst/>
          </a:prstGeom>
          <a:noFill/>
        </p:spPr>
        <p:txBody>
          <a:bodyPr vert="horz" wrap="square" lIns="0" tIns="0" rIns="0" bIns="0" rtlCol="0">
            <a:spAutoFit/>
          </a:bodyPr>
          <a:lstStyle/>
          <a:p>
            <a:pPr>
              <a:spcBef>
                <a:spcPts val="200"/>
              </a:spcBef>
              <a:buSzPct val="100000"/>
            </a:pPr>
            <a:r>
              <a:rPr lang="en-US" sz="1000" b="1" dirty="0"/>
              <a:t>March 2016</a:t>
            </a:r>
          </a:p>
        </p:txBody>
      </p:sp>
      <p:sp>
        <p:nvSpPr>
          <p:cNvPr id="40" name="TextBox 39">
            <a:extLst>
              <a:ext uri="{FF2B5EF4-FFF2-40B4-BE49-F238E27FC236}">
                <a16:creationId xmlns:a16="http://schemas.microsoft.com/office/drawing/2014/main" id="{AA99DB84-C25B-7042-AA9E-83F0AE5AF8CA}"/>
              </a:ext>
            </a:extLst>
          </p:cNvPr>
          <p:cNvSpPr txBox="1"/>
          <p:nvPr/>
        </p:nvSpPr>
        <p:spPr>
          <a:xfrm>
            <a:off x="5210175" y="4191000"/>
            <a:ext cx="1295400" cy="153888"/>
          </a:xfrm>
          <a:prstGeom prst="rect">
            <a:avLst/>
          </a:prstGeom>
          <a:noFill/>
        </p:spPr>
        <p:txBody>
          <a:bodyPr vert="horz" wrap="square" lIns="0" tIns="0" rIns="0" bIns="0" rtlCol="0">
            <a:spAutoFit/>
          </a:bodyPr>
          <a:lstStyle/>
          <a:p>
            <a:pPr>
              <a:spcBef>
                <a:spcPts val="200"/>
              </a:spcBef>
              <a:buSzPct val="100000"/>
            </a:pPr>
            <a:r>
              <a:rPr lang="en-US" sz="1000" b="1" dirty="0"/>
              <a:t>April 2016</a:t>
            </a:r>
          </a:p>
        </p:txBody>
      </p:sp>
      <p:sp>
        <p:nvSpPr>
          <p:cNvPr id="41" name="TextBox 40">
            <a:extLst>
              <a:ext uri="{FF2B5EF4-FFF2-40B4-BE49-F238E27FC236}">
                <a16:creationId xmlns:a16="http://schemas.microsoft.com/office/drawing/2014/main" id="{A3B01B34-9850-3C44-96DB-5540BA1E66DB}"/>
              </a:ext>
            </a:extLst>
          </p:cNvPr>
          <p:cNvSpPr txBox="1"/>
          <p:nvPr/>
        </p:nvSpPr>
        <p:spPr>
          <a:xfrm>
            <a:off x="6276975" y="5438775"/>
            <a:ext cx="1295400" cy="153888"/>
          </a:xfrm>
          <a:prstGeom prst="rect">
            <a:avLst/>
          </a:prstGeom>
          <a:noFill/>
        </p:spPr>
        <p:txBody>
          <a:bodyPr vert="horz" wrap="square" lIns="0" tIns="0" rIns="0" bIns="0" rtlCol="0">
            <a:spAutoFit/>
          </a:bodyPr>
          <a:lstStyle/>
          <a:p>
            <a:pPr>
              <a:spcBef>
                <a:spcPts val="200"/>
              </a:spcBef>
              <a:buSzPct val="100000"/>
            </a:pPr>
            <a:r>
              <a:rPr lang="en-US" sz="1000" b="1" dirty="0"/>
              <a:t>May 2016</a:t>
            </a:r>
          </a:p>
        </p:txBody>
      </p:sp>
    </p:spTree>
    <p:custDataLst>
      <p:tags r:id="rId1"/>
    </p:custDataLst>
    <p:extLst>
      <p:ext uri="{BB962C8B-B14F-4D97-AF65-F5344CB8AC3E}">
        <p14:creationId xmlns:p14="http://schemas.microsoft.com/office/powerpoint/2010/main" val="97546988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536951" y="1714500"/>
            <a:ext cx="5483224" cy="4418110"/>
            <a:chOff x="2806700" y="792545"/>
            <a:chExt cx="6943725" cy="5594910"/>
          </a:xfrm>
        </p:grpSpPr>
        <p:sp>
          <p:nvSpPr>
            <p:cNvPr id="17" name="Freeform 6">
              <a:extLst>
                <a:ext uri="{FF2B5EF4-FFF2-40B4-BE49-F238E27FC236}">
                  <a16:creationId xmlns:a16="http://schemas.microsoft.com/office/drawing/2014/main" id="{4643F312-A981-0148-B80D-8573514D85C4}"/>
                </a:ext>
              </a:extLst>
            </p:cNvPr>
            <p:cNvSpPr>
              <a:spLocks/>
            </p:cNvSpPr>
            <p:nvPr/>
          </p:nvSpPr>
          <p:spPr bwMode="auto">
            <a:xfrm>
              <a:off x="7554175" y="2207909"/>
              <a:ext cx="1947793" cy="1823560"/>
            </a:xfrm>
            <a:custGeom>
              <a:avLst/>
              <a:gdLst>
                <a:gd name="T0" fmla="*/ 0 w 62"/>
                <a:gd name="T1" fmla="*/ 58 h 58"/>
                <a:gd name="T2" fmla="*/ 44 w 62"/>
                <a:gd name="T3" fmla="*/ 58 h 58"/>
                <a:gd name="T4" fmla="*/ 55 w 62"/>
                <a:gd name="T5" fmla="*/ 0 h 58"/>
              </a:gdLst>
              <a:ahLst/>
              <a:cxnLst>
                <a:cxn ang="0">
                  <a:pos x="T0" y="T1"/>
                </a:cxn>
                <a:cxn ang="0">
                  <a:pos x="T2" y="T3"/>
                </a:cxn>
                <a:cxn ang="0">
                  <a:pos x="T4" y="T5"/>
                </a:cxn>
              </a:cxnLst>
              <a:rect l="0" t="0" r="r" b="b"/>
              <a:pathLst>
                <a:path w="62" h="58">
                  <a:moveTo>
                    <a:pt x="0" y="58"/>
                  </a:moveTo>
                  <a:cubicBezTo>
                    <a:pt x="44" y="58"/>
                    <a:pt x="44" y="58"/>
                    <a:pt x="44" y="58"/>
                  </a:cubicBezTo>
                  <a:cubicBezTo>
                    <a:pt x="44" y="58"/>
                    <a:pt x="62" y="43"/>
                    <a:pt x="55" y="0"/>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3" name="Freeform 7">
              <a:extLst>
                <a:ext uri="{FF2B5EF4-FFF2-40B4-BE49-F238E27FC236}">
                  <a16:creationId xmlns:a16="http://schemas.microsoft.com/office/drawing/2014/main" id="{3780105F-4090-C846-ACAB-D1B9683BB861}"/>
                </a:ext>
              </a:extLst>
            </p:cNvPr>
            <p:cNvSpPr>
              <a:spLocks/>
            </p:cNvSpPr>
            <p:nvPr/>
          </p:nvSpPr>
          <p:spPr bwMode="auto">
            <a:xfrm>
              <a:off x="5255862" y="4563895"/>
              <a:ext cx="2045404" cy="1792500"/>
            </a:xfrm>
            <a:custGeom>
              <a:avLst/>
              <a:gdLst>
                <a:gd name="T0" fmla="*/ 0 w 65"/>
                <a:gd name="T1" fmla="*/ 0 h 57"/>
                <a:gd name="T2" fmla="*/ 0 w 65"/>
                <a:gd name="T3" fmla="*/ 46 h 57"/>
                <a:gd name="T4" fmla="*/ 65 w 65"/>
                <a:gd name="T5" fmla="*/ 40 h 57"/>
              </a:gdLst>
              <a:ahLst/>
              <a:cxnLst>
                <a:cxn ang="0">
                  <a:pos x="T0" y="T1"/>
                </a:cxn>
                <a:cxn ang="0">
                  <a:pos x="T2" y="T3"/>
                </a:cxn>
                <a:cxn ang="0">
                  <a:pos x="T4" y="T5"/>
                </a:cxn>
              </a:cxnLst>
              <a:rect l="0" t="0" r="r" b="b"/>
              <a:pathLst>
                <a:path w="65" h="57">
                  <a:moveTo>
                    <a:pt x="0" y="0"/>
                  </a:moveTo>
                  <a:cubicBezTo>
                    <a:pt x="0" y="46"/>
                    <a:pt x="0" y="46"/>
                    <a:pt x="0" y="46"/>
                  </a:cubicBezTo>
                  <a:cubicBezTo>
                    <a:pt x="0" y="46"/>
                    <a:pt x="28" y="57"/>
                    <a:pt x="65" y="40"/>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4" name="Freeform 8">
              <a:extLst>
                <a:ext uri="{FF2B5EF4-FFF2-40B4-BE49-F238E27FC236}">
                  <a16:creationId xmlns:a16="http://schemas.microsoft.com/office/drawing/2014/main" id="{8456890F-2552-B64F-9C26-4DA8BCF0D0D3}"/>
                </a:ext>
              </a:extLst>
            </p:cNvPr>
            <p:cNvSpPr>
              <a:spLocks/>
            </p:cNvSpPr>
            <p:nvPr/>
          </p:nvSpPr>
          <p:spPr bwMode="auto">
            <a:xfrm>
              <a:off x="3121720" y="792545"/>
              <a:ext cx="2200694" cy="2200694"/>
            </a:xfrm>
            <a:custGeom>
              <a:avLst/>
              <a:gdLst>
                <a:gd name="T0" fmla="*/ 0 w 70"/>
                <a:gd name="T1" fmla="*/ 70 h 70"/>
                <a:gd name="T2" fmla="*/ 70 w 70"/>
                <a:gd name="T3" fmla="*/ 0 h 70"/>
                <a:gd name="T4" fmla="*/ 70 w 70"/>
                <a:gd name="T5" fmla="*/ 13 h 70"/>
                <a:gd name="connsiteX0" fmla="*/ 0 w 10000"/>
                <a:gd name="connsiteY0" fmla="*/ 10000 h 10000"/>
                <a:gd name="connsiteX1" fmla="*/ 10000 w 10000"/>
                <a:gd name="connsiteY1" fmla="*/ 0 h 10000"/>
                <a:gd name="connsiteX2" fmla="*/ 10000 w 10000"/>
                <a:gd name="connsiteY2" fmla="*/ 2867 h 10000"/>
              </a:gdLst>
              <a:ahLst/>
              <a:cxnLst>
                <a:cxn ang="0">
                  <a:pos x="connsiteX0" y="connsiteY0"/>
                </a:cxn>
                <a:cxn ang="0">
                  <a:pos x="connsiteX1" y="connsiteY1"/>
                </a:cxn>
                <a:cxn ang="0">
                  <a:pos x="connsiteX2" y="connsiteY2"/>
                </a:cxn>
              </a:cxnLst>
              <a:rect l="l" t="t" r="r" b="b"/>
              <a:pathLst>
                <a:path w="10000" h="10000">
                  <a:moveTo>
                    <a:pt x="0" y="10000"/>
                  </a:moveTo>
                  <a:cubicBezTo>
                    <a:pt x="0" y="4571"/>
                    <a:pt x="4429" y="0"/>
                    <a:pt x="10000" y="0"/>
                  </a:cubicBezTo>
                  <a:lnTo>
                    <a:pt x="10000" y="2867"/>
                  </a:ln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5" name="Freeform 9">
              <a:extLst>
                <a:ext uri="{FF2B5EF4-FFF2-40B4-BE49-F238E27FC236}">
                  <a16:creationId xmlns:a16="http://schemas.microsoft.com/office/drawing/2014/main" id="{A53890DE-DC86-DE4C-BC36-5512B74F7121}"/>
                </a:ext>
              </a:extLst>
            </p:cNvPr>
            <p:cNvSpPr>
              <a:spLocks/>
            </p:cNvSpPr>
            <p:nvPr/>
          </p:nvSpPr>
          <p:spPr bwMode="auto">
            <a:xfrm>
              <a:off x="2806700" y="916780"/>
              <a:ext cx="1663832" cy="2329365"/>
            </a:xfrm>
            <a:custGeom>
              <a:avLst/>
              <a:gdLst>
                <a:gd name="T0" fmla="*/ 41 w 53"/>
                <a:gd name="T1" fmla="*/ 0 h 74"/>
                <a:gd name="T2" fmla="*/ 4 w 53"/>
                <a:gd name="T3" fmla="*/ 74 h 74"/>
                <a:gd name="T4" fmla="*/ 19 w 53"/>
                <a:gd name="T5" fmla="*/ 73 h 74"/>
                <a:gd name="T6" fmla="*/ 49 w 53"/>
                <a:gd name="T7" fmla="*/ 13 h 74"/>
                <a:gd name="T8" fmla="*/ 53 w 53"/>
                <a:gd name="T9" fmla="*/ 1 h 74"/>
                <a:gd name="T10" fmla="*/ 41 w 53"/>
                <a:gd name="T11" fmla="*/ 0 h 74"/>
              </a:gdLst>
              <a:ahLst/>
              <a:cxnLst>
                <a:cxn ang="0">
                  <a:pos x="T0" y="T1"/>
                </a:cxn>
                <a:cxn ang="0">
                  <a:pos x="T2" y="T3"/>
                </a:cxn>
                <a:cxn ang="0">
                  <a:pos x="T4" y="T5"/>
                </a:cxn>
                <a:cxn ang="0">
                  <a:pos x="T6" y="T7"/>
                </a:cxn>
                <a:cxn ang="0">
                  <a:pos x="T8" y="T9"/>
                </a:cxn>
                <a:cxn ang="0">
                  <a:pos x="T10" y="T11"/>
                </a:cxn>
              </a:cxnLst>
              <a:rect l="0" t="0" r="r" b="b"/>
              <a:pathLst>
                <a:path w="53" h="74">
                  <a:moveTo>
                    <a:pt x="41" y="0"/>
                  </a:moveTo>
                  <a:cubicBezTo>
                    <a:pt x="15" y="15"/>
                    <a:pt x="0" y="44"/>
                    <a:pt x="4" y="74"/>
                  </a:cubicBezTo>
                  <a:cubicBezTo>
                    <a:pt x="19" y="73"/>
                    <a:pt x="19" y="73"/>
                    <a:pt x="19" y="73"/>
                  </a:cubicBezTo>
                  <a:cubicBezTo>
                    <a:pt x="16" y="49"/>
                    <a:pt x="28" y="25"/>
                    <a:pt x="49" y="13"/>
                  </a:cubicBezTo>
                  <a:cubicBezTo>
                    <a:pt x="53" y="1"/>
                    <a:pt x="53" y="1"/>
                    <a:pt x="53" y="1"/>
                  </a:cubicBezTo>
                  <a:lnTo>
                    <a:pt x="41" y="0"/>
                  </a:lnTo>
                  <a:close/>
                </a:path>
              </a:pathLst>
            </a:custGeom>
            <a:solidFill>
              <a:srgbClr val="000000"/>
            </a:solidFill>
            <a:ln w="12700">
              <a:solidFill>
                <a:schemeClr val="bg1"/>
              </a:solid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6" name="Freeform 10">
              <a:extLst>
                <a:ext uri="{FF2B5EF4-FFF2-40B4-BE49-F238E27FC236}">
                  <a16:creationId xmlns:a16="http://schemas.microsoft.com/office/drawing/2014/main" id="{3BEF8D70-4493-994F-B987-FDADE0D5FC43}"/>
                </a:ext>
              </a:extLst>
            </p:cNvPr>
            <p:cNvSpPr>
              <a:spLocks/>
            </p:cNvSpPr>
            <p:nvPr/>
          </p:nvSpPr>
          <p:spPr bwMode="auto">
            <a:xfrm>
              <a:off x="2930935" y="2900071"/>
              <a:ext cx="1761444" cy="2387043"/>
            </a:xfrm>
            <a:custGeom>
              <a:avLst/>
              <a:gdLst>
                <a:gd name="T0" fmla="*/ 0 w 56"/>
                <a:gd name="T1" fmla="*/ 11 h 76"/>
                <a:gd name="T2" fmla="*/ 52 w 56"/>
                <a:gd name="T3" fmla="*/ 76 h 76"/>
                <a:gd name="T4" fmla="*/ 46 w 56"/>
                <a:gd name="T5" fmla="*/ 66 h 76"/>
                <a:gd name="T6" fmla="*/ 56 w 56"/>
                <a:gd name="T7" fmla="*/ 62 h 76"/>
                <a:gd name="T8" fmla="*/ 15 w 56"/>
                <a:gd name="T9" fmla="*/ 10 h 76"/>
                <a:gd name="T10" fmla="*/ 6 w 56"/>
                <a:gd name="T11" fmla="*/ 0 h 76"/>
                <a:gd name="T12" fmla="*/ 0 w 56"/>
                <a:gd name="T13" fmla="*/ 11 h 76"/>
              </a:gdLst>
              <a:ahLst/>
              <a:cxnLst>
                <a:cxn ang="0">
                  <a:pos x="T0" y="T1"/>
                </a:cxn>
                <a:cxn ang="0">
                  <a:pos x="T2" y="T3"/>
                </a:cxn>
                <a:cxn ang="0">
                  <a:pos x="T4" y="T5"/>
                </a:cxn>
                <a:cxn ang="0">
                  <a:pos x="T6" y="T7"/>
                </a:cxn>
                <a:cxn ang="0">
                  <a:pos x="T8" y="T9"/>
                </a:cxn>
                <a:cxn ang="0">
                  <a:pos x="T10" y="T11"/>
                </a:cxn>
                <a:cxn ang="0">
                  <a:pos x="T12" y="T13"/>
                </a:cxn>
              </a:cxnLst>
              <a:rect l="0" t="0" r="r" b="b"/>
              <a:pathLst>
                <a:path w="56" h="76">
                  <a:moveTo>
                    <a:pt x="0" y="11"/>
                  </a:moveTo>
                  <a:cubicBezTo>
                    <a:pt x="3" y="41"/>
                    <a:pt x="23" y="67"/>
                    <a:pt x="52" y="76"/>
                  </a:cubicBezTo>
                  <a:cubicBezTo>
                    <a:pt x="46" y="66"/>
                    <a:pt x="46" y="66"/>
                    <a:pt x="46" y="66"/>
                  </a:cubicBezTo>
                  <a:cubicBezTo>
                    <a:pt x="56" y="62"/>
                    <a:pt x="56" y="62"/>
                    <a:pt x="56" y="62"/>
                  </a:cubicBezTo>
                  <a:cubicBezTo>
                    <a:pt x="34" y="54"/>
                    <a:pt x="17" y="34"/>
                    <a:pt x="15" y="10"/>
                  </a:cubicBezTo>
                  <a:cubicBezTo>
                    <a:pt x="6" y="0"/>
                    <a:pt x="6" y="0"/>
                    <a:pt x="6" y="0"/>
                  </a:cubicBezTo>
                  <a:lnTo>
                    <a:pt x="0" y="11"/>
                  </a:lnTo>
                  <a:close/>
                </a:path>
              </a:pathLst>
            </a:custGeom>
            <a:solidFill>
              <a:srgbClr val="53565A"/>
            </a:solidFill>
            <a:ln w="12700">
              <a:solidFill>
                <a:schemeClr val="bg1"/>
              </a:solid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7" name="Freeform 11">
              <a:extLst>
                <a:ext uri="{FF2B5EF4-FFF2-40B4-BE49-F238E27FC236}">
                  <a16:creationId xmlns:a16="http://schemas.microsoft.com/office/drawing/2014/main" id="{AB423F47-7891-8E43-A6AA-D520F0F16EC4}"/>
                </a:ext>
              </a:extLst>
            </p:cNvPr>
            <p:cNvSpPr>
              <a:spLocks/>
            </p:cNvSpPr>
            <p:nvPr/>
          </p:nvSpPr>
          <p:spPr bwMode="auto">
            <a:xfrm>
              <a:off x="5823783" y="4847855"/>
              <a:ext cx="2577830" cy="1539600"/>
            </a:xfrm>
            <a:custGeom>
              <a:avLst/>
              <a:gdLst>
                <a:gd name="T0" fmla="*/ 9 w 82"/>
                <a:gd name="T1" fmla="*/ 46 h 49"/>
                <a:gd name="T2" fmla="*/ 82 w 82"/>
                <a:gd name="T3" fmla="*/ 7 h 49"/>
                <a:gd name="T4" fmla="*/ 71 w 82"/>
                <a:gd name="T5" fmla="*/ 9 h 49"/>
                <a:gd name="T6" fmla="*/ 69 w 82"/>
                <a:gd name="T7" fmla="*/ 0 h 49"/>
                <a:gd name="T8" fmla="*/ 10 w 82"/>
                <a:gd name="T9" fmla="*/ 31 h 49"/>
                <a:gd name="T10" fmla="*/ 0 w 82"/>
                <a:gd name="T11" fmla="*/ 38 h 49"/>
                <a:gd name="T12" fmla="*/ 9 w 82"/>
                <a:gd name="T13" fmla="*/ 46 h 49"/>
              </a:gdLst>
              <a:ahLst/>
              <a:cxnLst>
                <a:cxn ang="0">
                  <a:pos x="T0" y="T1"/>
                </a:cxn>
                <a:cxn ang="0">
                  <a:pos x="T2" y="T3"/>
                </a:cxn>
                <a:cxn ang="0">
                  <a:pos x="T4" y="T5"/>
                </a:cxn>
                <a:cxn ang="0">
                  <a:pos x="T6" y="T7"/>
                </a:cxn>
                <a:cxn ang="0">
                  <a:pos x="T8" y="T9"/>
                </a:cxn>
                <a:cxn ang="0">
                  <a:pos x="T10" y="T11"/>
                </a:cxn>
                <a:cxn ang="0">
                  <a:pos x="T12" y="T13"/>
                </a:cxn>
              </a:cxnLst>
              <a:rect l="0" t="0" r="r" b="b"/>
              <a:pathLst>
                <a:path w="82" h="49">
                  <a:moveTo>
                    <a:pt x="9" y="46"/>
                  </a:moveTo>
                  <a:cubicBezTo>
                    <a:pt x="39" y="49"/>
                    <a:pt x="68" y="34"/>
                    <a:pt x="82" y="7"/>
                  </a:cubicBezTo>
                  <a:cubicBezTo>
                    <a:pt x="71" y="9"/>
                    <a:pt x="71" y="9"/>
                    <a:pt x="71" y="9"/>
                  </a:cubicBezTo>
                  <a:cubicBezTo>
                    <a:pt x="69" y="0"/>
                    <a:pt x="69" y="0"/>
                    <a:pt x="69" y="0"/>
                  </a:cubicBezTo>
                  <a:cubicBezTo>
                    <a:pt x="57" y="21"/>
                    <a:pt x="34" y="33"/>
                    <a:pt x="10" y="31"/>
                  </a:cubicBezTo>
                  <a:cubicBezTo>
                    <a:pt x="0" y="38"/>
                    <a:pt x="0" y="38"/>
                    <a:pt x="0" y="38"/>
                  </a:cubicBezTo>
                  <a:lnTo>
                    <a:pt x="9" y="46"/>
                  </a:lnTo>
                  <a:close/>
                </a:path>
              </a:pathLst>
            </a:custGeom>
            <a:solidFill>
              <a:srgbClr val="000000"/>
            </a:solidFill>
            <a:ln w="12700">
              <a:solidFill>
                <a:schemeClr val="bg1"/>
              </a:solid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8" name="Freeform 12">
              <a:extLst>
                <a:ext uri="{FF2B5EF4-FFF2-40B4-BE49-F238E27FC236}">
                  <a16:creationId xmlns:a16="http://schemas.microsoft.com/office/drawing/2014/main" id="{4A31AB90-7E0F-C449-8143-D76CECE1414D}"/>
                </a:ext>
              </a:extLst>
            </p:cNvPr>
            <p:cNvSpPr>
              <a:spLocks/>
            </p:cNvSpPr>
            <p:nvPr/>
          </p:nvSpPr>
          <p:spPr bwMode="auto">
            <a:xfrm>
              <a:off x="8370553" y="823602"/>
              <a:ext cx="1379872" cy="2577830"/>
            </a:xfrm>
            <a:custGeom>
              <a:avLst/>
              <a:gdLst>
                <a:gd name="T0" fmla="*/ 13 w 44"/>
                <a:gd name="T1" fmla="*/ 1 h 82"/>
                <a:gd name="T2" fmla="*/ 35 w 44"/>
                <a:gd name="T3" fmla="*/ 82 h 82"/>
                <a:gd name="T4" fmla="*/ 30 w 44"/>
                <a:gd name="T5" fmla="*/ 71 h 82"/>
                <a:gd name="T6" fmla="*/ 20 w 44"/>
                <a:gd name="T7" fmla="*/ 77 h 82"/>
                <a:gd name="T8" fmla="*/ 3 w 44"/>
                <a:gd name="T9" fmla="*/ 13 h 82"/>
                <a:gd name="T10" fmla="*/ 0 w 44"/>
                <a:gd name="T11" fmla="*/ 0 h 82"/>
                <a:gd name="T12" fmla="*/ 13 w 44"/>
                <a:gd name="T13" fmla="*/ 1 h 82"/>
              </a:gdLst>
              <a:ahLst/>
              <a:cxnLst>
                <a:cxn ang="0">
                  <a:pos x="T0" y="T1"/>
                </a:cxn>
                <a:cxn ang="0">
                  <a:pos x="T2" y="T3"/>
                </a:cxn>
                <a:cxn ang="0">
                  <a:pos x="T4" y="T5"/>
                </a:cxn>
                <a:cxn ang="0">
                  <a:pos x="T6" y="T7"/>
                </a:cxn>
                <a:cxn ang="0">
                  <a:pos x="T8" y="T9"/>
                </a:cxn>
                <a:cxn ang="0">
                  <a:pos x="T10" y="T11"/>
                </a:cxn>
                <a:cxn ang="0">
                  <a:pos x="T12" y="T13"/>
                </a:cxn>
              </a:cxnLst>
              <a:rect l="0" t="0" r="r" b="b"/>
              <a:pathLst>
                <a:path w="44" h="82">
                  <a:moveTo>
                    <a:pt x="13" y="1"/>
                  </a:moveTo>
                  <a:cubicBezTo>
                    <a:pt x="35" y="22"/>
                    <a:pt x="44" y="53"/>
                    <a:pt x="35" y="82"/>
                  </a:cubicBezTo>
                  <a:cubicBezTo>
                    <a:pt x="30" y="71"/>
                    <a:pt x="30" y="71"/>
                    <a:pt x="30" y="71"/>
                  </a:cubicBezTo>
                  <a:cubicBezTo>
                    <a:pt x="20" y="77"/>
                    <a:pt x="20" y="77"/>
                    <a:pt x="20" y="77"/>
                  </a:cubicBezTo>
                  <a:cubicBezTo>
                    <a:pt x="28" y="54"/>
                    <a:pt x="21" y="29"/>
                    <a:pt x="3" y="13"/>
                  </a:cubicBezTo>
                  <a:cubicBezTo>
                    <a:pt x="0" y="0"/>
                    <a:pt x="0" y="0"/>
                    <a:pt x="0" y="0"/>
                  </a:cubicBezTo>
                  <a:lnTo>
                    <a:pt x="13" y="1"/>
                  </a:lnTo>
                  <a:close/>
                </a:path>
              </a:pathLst>
            </a:custGeom>
            <a:solidFill>
              <a:srgbClr val="000000"/>
            </a:solidFill>
            <a:ln w="12700">
              <a:solidFill>
                <a:schemeClr val="bg1"/>
              </a:solid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9" name="Freeform 13">
              <a:extLst>
                <a:ext uri="{FF2B5EF4-FFF2-40B4-BE49-F238E27FC236}">
                  <a16:creationId xmlns:a16="http://schemas.microsoft.com/office/drawing/2014/main" id="{204E2812-F171-4949-9F0C-A99E397B5A18}"/>
                </a:ext>
              </a:extLst>
            </p:cNvPr>
            <p:cNvSpPr>
              <a:spLocks/>
            </p:cNvSpPr>
            <p:nvPr/>
          </p:nvSpPr>
          <p:spPr bwMode="auto">
            <a:xfrm>
              <a:off x="4599206" y="1076505"/>
              <a:ext cx="3518449" cy="2355986"/>
            </a:xfrm>
            <a:custGeom>
              <a:avLst/>
              <a:gdLst>
                <a:gd name="T0" fmla="*/ 63 w 112"/>
                <a:gd name="T1" fmla="*/ 6 h 75"/>
                <a:gd name="T2" fmla="*/ 0 w 112"/>
                <a:gd name="T3" fmla="*/ 33 h 75"/>
                <a:gd name="T4" fmla="*/ 5 w 112"/>
                <a:gd name="T5" fmla="*/ 36 h 75"/>
                <a:gd name="T6" fmla="*/ 5 w 112"/>
                <a:gd name="T7" fmla="*/ 36 h 75"/>
                <a:gd name="T8" fmla="*/ 14 w 112"/>
                <a:gd name="T9" fmla="*/ 41 h 75"/>
                <a:gd name="T10" fmla="*/ 70 w 112"/>
                <a:gd name="T11" fmla="*/ 26 h 75"/>
                <a:gd name="T12" fmla="*/ 89 w 112"/>
                <a:gd name="T13" fmla="*/ 71 h 75"/>
                <a:gd name="T14" fmla="*/ 99 w 112"/>
                <a:gd name="T15" fmla="*/ 73 h 75"/>
                <a:gd name="T16" fmla="*/ 99 w 112"/>
                <a:gd name="T17" fmla="*/ 73 h 75"/>
                <a:gd name="T18" fmla="*/ 105 w 112"/>
                <a:gd name="T19" fmla="*/ 75 h 75"/>
                <a:gd name="T20" fmla="*/ 63 w 112"/>
                <a:gd name="T21" fmla="*/ 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75">
                  <a:moveTo>
                    <a:pt x="63" y="6"/>
                  </a:moveTo>
                  <a:cubicBezTo>
                    <a:pt x="38" y="0"/>
                    <a:pt x="13" y="11"/>
                    <a:pt x="0" y="33"/>
                  </a:cubicBezTo>
                  <a:cubicBezTo>
                    <a:pt x="5" y="36"/>
                    <a:pt x="5" y="36"/>
                    <a:pt x="5" y="36"/>
                  </a:cubicBezTo>
                  <a:cubicBezTo>
                    <a:pt x="5" y="36"/>
                    <a:pt x="5" y="36"/>
                    <a:pt x="5" y="36"/>
                  </a:cubicBezTo>
                  <a:cubicBezTo>
                    <a:pt x="14" y="41"/>
                    <a:pt x="14" y="41"/>
                    <a:pt x="14" y="41"/>
                  </a:cubicBezTo>
                  <a:cubicBezTo>
                    <a:pt x="25" y="21"/>
                    <a:pt x="50" y="15"/>
                    <a:pt x="70" y="26"/>
                  </a:cubicBezTo>
                  <a:cubicBezTo>
                    <a:pt x="85" y="35"/>
                    <a:pt x="93" y="53"/>
                    <a:pt x="89" y="71"/>
                  </a:cubicBezTo>
                  <a:cubicBezTo>
                    <a:pt x="99" y="73"/>
                    <a:pt x="99" y="73"/>
                    <a:pt x="99" y="73"/>
                  </a:cubicBezTo>
                  <a:cubicBezTo>
                    <a:pt x="99" y="73"/>
                    <a:pt x="99" y="73"/>
                    <a:pt x="99" y="73"/>
                  </a:cubicBezTo>
                  <a:cubicBezTo>
                    <a:pt x="105" y="75"/>
                    <a:pt x="105" y="75"/>
                    <a:pt x="105" y="75"/>
                  </a:cubicBezTo>
                  <a:cubicBezTo>
                    <a:pt x="112" y="44"/>
                    <a:pt x="93" y="13"/>
                    <a:pt x="63" y="6"/>
                  </a:cubicBezTo>
                  <a:close/>
                </a:path>
              </a:pathLst>
            </a:custGeom>
            <a:solidFill>
              <a:schemeClr val="accent1"/>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40" name="Freeform 14">
              <a:extLst>
                <a:ext uri="{FF2B5EF4-FFF2-40B4-BE49-F238E27FC236}">
                  <a16:creationId xmlns:a16="http://schemas.microsoft.com/office/drawing/2014/main" id="{02A4E8B8-E3B4-804E-9FA2-01C8A6CF9093}"/>
                </a:ext>
              </a:extLst>
            </p:cNvPr>
            <p:cNvSpPr>
              <a:spLocks/>
            </p:cNvSpPr>
            <p:nvPr/>
          </p:nvSpPr>
          <p:spPr bwMode="auto">
            <a:xfrm>
              <a:off x="6387265" y="3308256"/>
              <a:ext cx="1508540" cy="1446424"/>
            </a:xfrm>
            <a:custGeom>
              <a:avLst/>
              <a:gdLst>
                <a:gd name="T0" fmla="*/ 42 w 48"/>
                <a:gd name="T1" fmla="*/ 3 h 46"/>
                <a:gd name="T2" fmla="*/ 42 w 48"/>
                <a:gd name="T3" fmla="*/ 3 h 46"/>
                <a:gd name="T4" fmla="*/ 32 w 48"/>
                <a:gd name="T5" fmla="*/ 0 h 46"/>
                <a:gd name="T6" fmla="*/ 0 w 48"/>
                <a:gd name="T7" fmla="*/ 31 h 46"/>
                <a:gd name="T8" fmla="*/ 2 w 48"/>
                <a:gd name="T9" fmla="*/ 41 h 46"/>
                <a:gd name="T10" fmla="*/ 2 w 48"/>
                <a:gd name="T11" fmla="*/ 41 h 46"/>
                <a:gd name="T12" fmla="*/ 3 w 48"/>
                <a:gd name="T13" fmla="*/ 46 h 46"/>
                <a:gd name="T14" fmla="*/ 48 w 48"/>
                <a:gd name="T15" fmla="*/ 4 h 46"/>
                <a:gd name="T16" fmla="*/ 42 w 48"/>
                <a:gd name="T17"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42" y="3"/>
                  </a:moveTo>
                  <a:cubicBezTo>
                    <a:pt x="42" y="3"/>
                    <a:pt x="42" y="3"/>
                    <a:pt x="42" y="3"/>
                  </a:cubicBezTo>
                  <a:cubicBezTo>
                    <a:pt x="32" y="0"/>
                    <a:pt x="32" y="0"/>
                    <a:pt x="32" y="0"/>
                  </a:cubicBezTo>
                  <a:cubicBezTo>
                    <a:pt x="28" y="16"/>
                    <a:pt x="16" y="28"/>
                    <a:pt x="0" y="31"/>
                  </a:cubicBezTo>
                  <a:cubicBezTo>
                    <a:pt x="2" y="41"/>
                    <a:pt x="2" y="41"/>
                    <a:pt x="2" y="41"/>
                  </a:cubicBezTo>
                  <a:cubicBezTo>
                    <a:pt x="2" y="41"/>
                    <a:pt x="2" y="41"/>
                    <a:pt x="2" y="41"/>
                  </a:cubicBezTo>
                  <a:cubicBezTo>
                    <a:pt x="3" y="46"/>
                    <a:pt x="3" y="46"/>
                    <a:pt x="3" y="46"/>
                  </a:cubicBezTo>
                  <a:cubicBezTo>
                    <a:pt x="25" y="42"/>
                    <a:pt x="43" y="26"/>
                    <a:pt x="48" y="4"/>
                  </a:cubicBezTo>
                  <a:lnTo>
                    <a:pt x="42" y="3"/>
                  </a:lnTo>
                  <a:close/>
                </a:path>
              </a:pathLst>
            </a:custGeom>
            <a:solidFill>
              <a:schemeClr val="accent2"/>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41" name="Freeform 15">
              <a:extLst>
                <a:ext uri="{FF2B5EF4-FFF2-40B4-BE49-F238E27FC236}">
                  <a16:creationId xmlns:a16="http://schemas.microsoft.com/office/drawing/2014/main" id="{8A4C16BC-7AB3-A449-AF31-89A81AB79210}"/>
                </a:ext>
              </a:extLst>
            </p:cNvPr>
            <p:cNvSpPr>
              <a:spLocks/>
            </p:cNvSpPr>
            <p:nvPr/>
          </p:nvSpPr>
          <p:spPr bwMode="auto">
            <a:xfrm>
              <a:off x="4692376" y="3747511"/>
              <a:ext cx="1792500" cy="1162463"/>
            </a:xfrm>
            <a:custGeom>
              <a:avLst/>
              <a:gdLst>
                <a:gd name="T0" fmla="*/ 55 w 57"/>
                <a:gd name="T1" fmla="*/ 21 h 37"/>
                <a:gd name="T2" fmla="*/ 55 w 57"/>
                <a:gd name="T3" fmla="*/ 21 h 37"/>
                <a:gd name="T4" fmla="*/ 54 w 57"/>
                <a:gd name="T5" fmla="*/ 17 h 37"/>
                <a:gd name="T6" fmla="*/ 13 w 57"/>
                <a:gd name="T7" fmla="*/ 0 h 37"/>
                <a:gd name="T8" fmla="*/ 9 w 57"/>
                <a:gd name="T9" fmla="*/ 3 h 37"/>
                <a:gd name="T10" fmla="*/ 9 w 57"/>
                <a:gd name="T11" fmla="*/ 3 h 37"/>
                <a:gd name="T12" fmla="*/ 0 w 57"/>
                <a:gd name="T13" fmla="*/ 10 h 37"/>
                <a:gd name="T14" fmla="*/ 57 w 57"/>
                <a:gd name="T15" fmla="*/ 32 h 37"/>
                <a:gd name="T16" fmla="*/ 55 w 57"/>
                <a:gd name="T17"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7">
                  <a:moveTo>
                    <a:pt x="55" y="21"/>
                  </a:moveTo>
                  <a:cubicBezTo>
                    <a:pt x="55" y="21"/>
                    <a:pt x="55" y="21"/>
                    <a:pt x="55" y="21"/>
                  </a:cubicBezTo>
                  <a:cubicBezTo>
                    <a:pt x="54" y="17"/>
                    <a:pt x="54" y="17"/>
                    <a:pt x="54" y="17"/>
                  </a:cubicBezTo>
                  <a:cubicBezTo>
                    <a:pt x="38" y="20"/>
                    <a:pt x="22" y="13"/>
                    <a:pt x="13" y="0"/>
                  </a:cubicBezTo>
                  <a:cubicBezTo>
                    <a:pt x="9" y="3"/>
                    <a:pt x="9" y="3"/>
                    <a:pt x="9" y="3"/>
                  </a:cubicBezTo>
                  <a:cubicBezTo>
                    <a:pt x="9" y="3"/>
                    <a:pt x="9" y="3"/>
                    <a:pt x="9" y="3"/>
                  </a:cubicBezTo>
                  <a:cubicBezTo>
                    <a:pt x="0" y="10"/>
                    <a:pt x="0" y="10"/>
                    <a:pt x="0" y="10"/>
                  </a:cubicBezTo>
                  <a:cubicBezTo>
                    <a:pt x="13" y="28"/>
                    <a:pt x="35" y="37"/>
                    <a:pt x="57" y="32"/>
                  </a:cubicBezTo>
                  <a:lnTo>
                    <a:pt x="55" y="21"/>
                  </a:lnTo>
                  <a:close/>
                </a:path>
              </a:pathLst>
            </a:custGeom>
            <a:solidFill>
              <a:schemeClr val="accent3"/>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42" name="Freeform 16">
              <a:extLst>
                <a:ext uri="{FF2B5EF4-FFF2-40B4-BE49-F238E27FC236}">
                  <a16:creationId xmlns:a16="http://schemas.microsoft.com/office/drawing/2014/main" id="{A542099A-74F4-8841-9D0B-0BDBB0AEEEC7}"/>
                </a:ext>
              </a:extLst>
            </p:cNvPr>
            <p:cNvSpPr>
              <a:spLocks/>
            </p:cNvSpPr>
            <p:nvPr/>
          </p:nvSpPr>
          <p:spPr bwMode="auto">
            <a:xfrm>
              <a:off x="4253126" y="2114738"/>
              <a:ext cx="847446" cy="1947793"/>
            </a:xfrm>
            <a:custGeom>
              <a:avLst/>
              <a:gdLst>
                <a:gd name="T0" fmla="*/ 27 w 27"/>
                <a:gd name="T1" fmla="*/ 52 h 62"/>
                <a:gd name="T2" fmla="*/ 25 w 27"/>
                <a:gd name="T3" fmla="*/ 8 h 62"/>
                <a:gd name="T4" fmla="*/ 21 w 27"/>
                <a:gd name="T5" fmla="*/ 6 h 62"/>
                <a:gd name="T6" fmla="*/ 21 w 27"/>
                <a:gd name="T7" fmla="*/ 6 h 62"/>
                <a:gd name="T8" fmla="*/ 11 w 27"/>
                <a:gd name="T9" fmla="*/ 0 h 62"/>
                <a:gd name="T10" fmla="*/ 14 w 27"/>
                <a:gd name="T11" fmla="*/ 62 h 62"/>
                <a:gd name="T12" fmla="*/ 19 w 27"/>
                <a:gd name="T13" fmla="*/ 58 h 62"/>
                <a:gd name="T14" fmla="*/ 19 w 27"/>
                <a:gd name="T15" fmla="*/ 58 h 62"/>
                <a:gd name="T16" fmla="*/ 27 w 27"/>
                <a:gd name="T17"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62">
                  <a:moveTo>
                    <a:pt x="27" y="52"/>
                  </a:moveTo>
                  <a:cubicBezTo>
                    <a:pt x="18" y="39"/>
                    <a:pt x="17" y="22"/>
                    <a:pt x="25" y="8"/>
                  </a:cubicBezTo>
                  <a:cubicBezTo>
                    <a:pt x="21" y="6"/>
                    <a:pt x="21" y="6"/>
                    <a:pt x="21" y="6"/>
                  </a:cubicBezTo>
                  <a:cubicBezTo>
                    <a:pt x="21" y="6"/>
                    <a:pt x="21" y="6"/>
                    <a:pt x="21" y="6"/>
                  </a:cubicBezTo>
                  <a:cubicBezTo>
                    <a:pt x="11" y="0"/>
                    <a:pt x="11" y="0"/>
                    <a:pt x="11" y="0"/>
                  </a:cubicBezTo>
                  <a:cubicBezTo>
                    <a:pt x="0" y="19"/>
                    <a:pt x="1" y="43"/>
                    <a:pt x="14" y="62"/>
                  </a:cubicBezTo>
                  <a:cubicBezTo>
                    <a:pt x="19" y="58"/>
                    <a:pt x="19" y="58"/>
                    <a:pt x="19" y="58"/>
                  </a:cubicBezTo>
                  <a:cubicBezTo>
                    <a:pt x="19" y="58"/>
                    <a:pt x="19" y="58"/>
                    <a:pt x="19" y="58"/>
                  </a:cubicBezTo>
                  <a:lnTo>
                    <a:pt x="27" y="52"/>
                  </a:lnTo>
                  <a:close/>
                </a:path>
              </a:pathLst>
            </a:custGeom>
            <a:solidFill>
              <a:schemeClr val="accent4"/>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43" name="TextBox 42">
              <a:extLst>
                <a:ext uri="{FF2B5EF4-FFF2-40B4-BE49-F238E27FC236}">
                  <a16:creationId xmlns:a16="http://schemas.microsoft.com/office/drawing/2014/main" id="{69C7C829-5117-9044-AF7A-E06B44EBC397}"/>
                </a:ext>
              </a:extLst>
            </p:cNvPr>
            <p:cNvSpPr txBox="1"/>
            <p:nvPr/>
          </p:nvSpPr>
          <p:spPr>
            <a:xfrm rot="3488230">
              <a:off x="3097016" y="3519240"/>
              <a:ext cx="1502654" cy="879048"/>
            </a:xfrm>
            <a:prstGeom prst="rect">
              <a:avLst/>
            </a:prstGeom>
            <a:noFill/>
          </p:spPr>
          <p:txBody>
            <a:bodyPr spcFirstLastPara="1" wrap="none" lIns="0" tIns="0" rIns="0" bIns="0" numCol="1" rtlCol="0">
              <a:prstTxWarp prst="textArchDown">
                <a:avLst/>
              </a:prstTxWarp>
              <a:noAutofit/>
            </a:bodyPr>
            <a:lstStyle/>
            <a:p>
              <a:pPr algn="ctr" defTabSz="913686">
                <a:buSzPct val="100000"/>
              </a:pPr>
              <a:r>
                <a:rPr lang="en-US" sz="1300" b="1" dirty="0">
                  <a:solidFill>
                    <a:srgbClr val="FFFFFF"/>
                  </a:solidFill>
                </a:rPr>
                <a:t>Lorem ipsum</a:t>
              </a:r>
            </a:p>
          </p:txBody>
        </p:sp>
        <p:sp>
          <p:nvSpPr>
            <p:cNvPr id="44" name="TextBox 43">
              <a:extLst>
                <a:ext uri="{FF2B5EF4-FFF2-40B4-BE49-F238E27FC236}">
                  <a16:creationId xmlns:a16="http://schemas.microsoft.com/office/drawing/2014/main" id="{D513B6F5-D122-AF46-93B5-972321C0FDA4}"/>
                </a:ext>
              </a:extLst>
            </p:cNvPr>
            <p:cNvSpPr txBox="1"/>
            <p:nvPr/>
          </p:nvSpPr>
          <p:spPr>
            <a:xfrm rot="17799737">
              <a:off x="2997934" y="1590290"/>
              <a:ext cx="1861365" cy="1135043"/>
            </a:xfrm>
            <a:prstGeom prst="rect">
              <a:avLst/>
            </a:prstGeom>
            <a:noFill/>
          </p:spPr>
          <p:txBody>
            <a:bodyPr spcFirstLastPara="1" wrap="none" lIns="0" tIns="0" rIns="0" bIns="0" numCol="1" rtlCol="0">
              <a:prstTxWarp prst="textArchUp">
                <a:avLst/>
              </a:prstTxWarp>
              <a:noAutofit/>
            </a:bodyPr>
            <a:lstStyle/>
            <a:p>
              <a:pPr algn="ctr" defTabSz="913686">
                <a:buSzPct val="100000"/>
              </a:pPr>
              <a:r>
                <a:rPr lang="en-US" sz="1300" b="1" dirty="0">
                  <a:solidFill>
                    <a:srgbClr val="FFFFFF"/>
                  </a:solidFill>
                </a:rPr>
                <a:t>Lorem ipsum</a:t>
              </a:r>
            </a:p>
          </p:txBody>
        </p:sp>
        <p:sp>
          <p:nvSpPr>
            <p:cNvPr id="45" name="Isosceles Triangle 7167">
              <a:extLst>
                <a:ext uri="{FF2B5EF4-FFF2-40B4-BE49-F238E27FC236}">
                  <a16:creationId xmlns:a16="http://schemas.microsoft.com/office/drawing/2014/main" id="{0C1D09FB-44EF-AC4E-8FFE-15B20AA928F1}"/>
                </a:ext>
              </a:extLst>
            </p:cNvPr>
            <p:cNvSpPr/>
            <p:nvPr/>
          </p:nvSpPr>
          <p:spPr bwMode="gray">
            <a:xfrm rot="11632771">
              <a:off x="7335167" y="3345563"/>
              <a:ext cx="529024" cy="427960"/>
            </a:xfrm>
            <a:prstGeom prst="triangle">
              <a:avLst>
                <a:gd name="adj" fmla="val 57568"/>
              </a:avLst>
            </a:prstGeom>
            <a:solidFill>
              <a:schemeClr val="accent1"/>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46" name="Isosceles Triangle 135">
              <a:extLst>
                <a:ext uri="{FF2B5EF4-FFF2-40B4-BE49-F238E27FC236}">
                  <a16:creationId xmlns:a16="http://schemas.microsoft.com/office/drawing/2014/main" id="{3491A413-21C4-434D-A117-172CC434690C}"/>
                </a:ext>
              </a:extLst>
            </p:cNvPr>
            <p:cNvSpPr/>
            <p:nvPr/>
          </p:nvSpPr>
          <p:spPr bwMode="gray">
            <a:xfrm rot="15569433">
              <a:off x="5985570" y="4325902"/>
              <a:ext cx="479624" cy="459877"/>
            </a:xfrm>
            <a:prstGeom prst="triangle">
              <a:avLst>
                <a:gd name="adj" fmla="val 59184"/>
              </a:avLst>
            </a:prstGeom>
            <a:solidFill>
              <a:schemeClr val="accent2"/>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47" name="Isosceles Triangle 136">
              <a:extLst>
                <a:ext uri="{FF2B5EF4-FFF2-40B4-BE49-F238E27FC236}">
                  <a16:creationId xmlns:a16="http://schemas.microsoft.com/office/drawing/2014/main" id="{5903B362-0137-1749-9214-DA7CFF461CFF}"/>
                </a:ext>
              </a:extLst>
            </p:cNvPr>
            <p:cNvSpPr/>
            <p:nvPr/>
          </p:nvSpPr>
          <p:spPr bwMode="gray">
            <a:xfrm rot="19333200">
              <a:off x="4509883" y="3503573"/>
              <a:ext cx="508179" cy="459877"/>
            </a:xfrm>
            <a:prstGeom prst="triangle">
              <a:avLst>
                <a:gd name="adj" fmla="val 63517"/>
              </a:avLst>
            </a:prstGeom>
            <a:solidFill>
              <a:schemeClr val="accent3"/>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48" name="Isosceles Triangle 137">
              <a:extLst>
                <a:ext uri="{FF2B5EF4-FFF2-40B4-BE49-F238E27FC236}">
                  <a16:creationId xmlns:a16="http://schemas.microsoft.com/office/drawing/2014/main" id="{B83763F4-FD16-9743-A4A1-CB57ECDF77F9}"/>
                </a:ext>
              </a:extLst>
            </p:cNvPr>
            <p:cNvSpPr/>
            <p:nvPr/>
          </p:nvSpPr>
          <p:spPr bwMode="gray">
            <a:xfrm rot="1808849">
              <a:off x="4674996" y="1818191"/>
              <a:ext cx="508179" cy="459877"/>
            </a:xfrm>
            <a:prstGeom prst="triangle">
              <a:avLst>
                <a:gd name="adj" fmla="val 63517"/>
              </a:avLst>
            </a:prstGeom>
            <a:solidFill>
              <a:schemeClr val="accent4"/>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49" name="TextBox 48">
              <a:extLst>
                <a:ext uri="{FF2B5EF4-FFF2-40B4-BE49-F238E27FC236}">
                  <a16:creationId xmlns:a16="http://schemas.microsoft.com/office/drawing/2014/main" id="{D709184E-40B1-834E-B3FA-10D60CCFB239}"/>
                </a:ext>
              </a:extLst>
            </p:cNvPr>
            <p:cNvSpPr txBox="1"/>
            <p:nvPr/>
          </p:nvSpPr>
          <p:spPr>
            <a:xfrm rot="20171457">
              <a:off x="6124261" y="4967281"/>
              <a:ext cx="1864841" cy="879048"/>
            </a:xfrm>
            <a:prstGeom prst="rect">
              <a:avLst/>
            </a:prstGeom>
            <a:noFill/>
          </p:spPr>
          <p:txBody>
            <a:bodyPr spcFirstLastPara="1" wrap="none" lIns="0" tIns="0" rIns="0" bIns="0" numCol="1" rtlCol="0">
              <a:prstTxWarp prst="textArchDown">
                <a:avLst/>
              </a:prstTxWarp>
              <a:noAutofit/>
            </a:bodyPr>
            <a:lstStyle/>
            <a:p>
              <a:pPr algn="ctr" defTabSz="913686">
                <a:buSzPct val="100000"/>
              </a:pPr>
              <a:r>
                <a:rPr lang="en-US" sz="1300" b="1" dirty="0">
                  <a:solidFill>
                    <a:srgbClr val="FFFFFF"/>
                  </a:solidFill>
                </a:rPr>
                <a:t>Lorem ipsum</a:t>
              </a:r>
            </a:p>
          </p:txBody>
        </p:sp>
        <p:sp>
          <p:nvSpPr>
            <p:cNvPr id="50" name="TextBox 49">
              <a:extLst>
                <a:ext uri="{FF2B5EF4-FFF2-40B4-BE49-F238E27FC236}">
                  <a16:creationId xmlns:a16="http://schemas.microsoft.com/office/drawing/2014/main" id="{35545024-F46A-834D-99A7-875EFC8DC819}"/>
                </a:ext>
              </a:extLst>
            </p:cNvPr>
            <p:cNvSpPr txBox="1"/>
            <p:nvPr/>
          </p:nvSpPr>
          <p:spPr>
            <a:xfrm rot="15230144" flipH="1" flipV="1">
              <a:off x="7745152" y="1616085"/>
              <a:ext cx="1861365" cy="1135043"/>
            </a:xfrm>
            <a:prstGeom prst="rect">
              <a:avLst/>
            </a:prstGeom>
            <a:noFill/>
          </p:spPr>
          <p:txBody>
            <a:bodyPr spcFirstLastPara="1" wrap="none" lIns="0" tIns="0" rIns="0" bIns="0" numCol="1" rtlCol="0">
              <a:prstTxWarp prst="textArchUp">
                <a:avLst/>
              </a:prstTxWarp>
              <a:noAutofit/>
            </a:bodyPr>
            <a:lstStyle/>
            <a:p>
              <a:pPr algn="ctr" defTabSz="913686">
                <a:buSzPct val="100000"/>
              </a:pPr>
              <a:r>
                <a:rPr lang="en-US" sz="1300" b="1" dirty="0">
                  <a:solidFill>
                    <a:srgbClr val="FFFFFF"/>
                  </a:solidFill>
                </a:rPr>
                <a:t>Lorem ipsum</a:t>
              </a:r>
            </a:p>
          </p:txBody>
        </p:sp>
        <p:sp>
          <p:nvSpPr>
            <p:cNvPr id="51" name="TextBox 50">
              <a:extLst>
                <a:ext uri="{FF2B5EF4-FFF2-40B4-BE49-F238E27FC236}">
                  <a16:creationId xmlns:a16="http://schemas.microsoft.com/office/drawing/2014/main" id="{50F885D8-937C-034C-B8E8-65B19ECEB64B}"/>
                </a:ext>
              </a:extLst>
            </p:cNvPr>
            <p:cNvSpPr txBox="1"/>
            <p:nvPr/>
          </p:nvSpPr>
          <p:spPr>
            <a:xfrm rot="2107970">
              <a:off x="4578389" y="3439869"/>
              <a:ext cx="1864841" cy="879048"/>
            </a:xfrm>
            <a:prstGeom prst="rect">
              <a:avLst/>
            </a:prstGeom>
            <a:noFill/>
          </p:spPr>
          <p:txBody>
            <a:bodyPr spcFirstLastPara="1" wrap="none" lIns="0" tIns="0" rIns="0" bIns="0" numCol="1" rtlCol="0">
              <a:prstTxWarp prst="textArchDown">
                <a:avLst/>
              </a:prstTxWarp>
              <a:noAutofit/>
            </a:bodyPr>
            <a:lstStyle/>
            <a:p>
              <a:pPr algn="ctr" defTabSz="913686">
                <a:buSzPct val="100000"/>
              </a:pPr>
              <a:r>
                <a:rPr lang="en-US" sz="1300" b="1" dirty="0">
                  <a:solidFill>
                    <a:prstClr val="white"/>
                  </a:solidFill>
                </a:rPr>
                <a:t>Lorem ipsum</a:t>
              </a:r>
            </a:p>
          </p:txBody>
        </p:sp>
        <p:sp>
          <p:nvSpPr>
            <p:cNvPr id="52" name="TextBox 51">
              <a:extLst>
                <a:ext uri="{FF2B5EF4-FFF2-40B4-BE49-F238E27FC236}">
                  <a16:creationId xmlns:a16="http://schemas.microsoft.com/office/drawing/2014/main" id="{3515A0E8-FD3F-7546-8279-F21428D46EB5}"/>
                </a:ext>
              </a:extLst>
            </p:cNvPr>
            <p:cNvSpPr txBox="1"/>
            <p:nvPr/>
          </p:nvSpPr>
          <p:spPr>
            <a:xfrm rot="19616559">
              <a:off x="5898464" y="3430904"/>
              <a:ext cx="1864841" cy="879048"/>
            </a:xfrm>
            <a:prstGeom prst="rect">
              <a:avLst/>
            </a:prstGeom>
            <a:noFill/>
          </p:spPr>
          <p:txBody>
            <a:bodyPr spcFirstLastPara="1" wrap="none" lIns="0" tIns="0" rIns="0" bIns="0" numCol="1" rtlCol="0">
              <a:prstTxWarp prst="textArchDown">
                <a:avLst/>
              </a:prstTxWarp>
              <a:noAutofit/>
            </a:bodyPr>
            <a:lstStyle/>
            <a:p>
              <a:pPr algn="ctr" defTabSz="913686">
                <a:buSzPct val="100000"/>
              </a:pPr>
              <a:r>
                <a:rPr lang="en-US" sz="1300" b="1" dirty="0">
                  <a:solidFill>
                    <a:prstClr val="white"/>
                  </a:solidFill>
                </a:rPr>
                <a:t>Lorem ipsum</a:t>
              </a:r>
            </a:p>
          </p:txBody>
        </p:sp>
        <p:sp>
          <p:nvSpPr>
            <p:cNvPr id="53" name="TextBox 52">
              <a:extLst>
                <a:ext uri="{FF2B5EF4-FFF2-40B4-BE49-F238E27FC236}">
                  <a16:creationId xmlns:a16="http://schemas.microsoft.com/office/drawing/2014/main" id="{BC3A3241-479C-614B-88B2-4508ACCAD80E}"/>
                </a:ext>
              </a:extLst>
            </p:cNvPr>
            <p:cNvSpPr txBox="1"/>
            <p:nvPr/>
          </p:nvSpPr>
          <p:spPr>
            <a:xfrm rot="16800128">
              <a:off x="4129292" y="2475633"/>
              <a:ext cx="1864841" cy="879048"/>
            </a:xfrm>
            <a:prstGeom prst="rect">
              <a:avLst/>
            </a:prstGeom>
            <a:noFill/>
          </p:spPr>
          <p:txBody>
            <a:bodyPr spcFirstLastPara="1" wrap="none" lIns="0" tIns="0" rIns="0" bIns="0" numCol="1" rtlCol="0">
              <a:prstTxWarp prst="textArchUp">
                <a:avLst/>
              </a:prstTxWarp>
              <a:noAutofit/>
            </a:bodyPr>
            <a:lstStyle/>
            <a:p>
              <a:pPr algn="ctr" defTabSz="913686">
                <a:buSzPct val="100000"/>
              </a:pPr>
              <a:r>
                <a:rPr lang="en-US" sz="1300" b="1" dirty="0">
                  <a:solidFill>
                    <a:prstClr val="white"/>
                  </a:solidFill>
                </a:rPr>
                <a:t>Lorem ipsum</a:t>
              </a:r>
            </a:p>
          </p:txBody>
        </p:sp>
        <p:sp>
          <p:nvSpPr>
            <p:cNvPr id="54" name="TextBox 53">
              <a:extLst>
                <a:ext uri="{FF2B5EF4-FFF2-40B4-BE49-F238E27FC236}">
                  <a16:creationId xmlns:a16="http://schemas.microsoft.com/office/drawing/2014/main" id="{E7389F81-A94D-0E4A-86A5-83CE723A3DE8}"/>
                </a:ext>
              </a:extLst>
            </p:cNvPr>
            <p:cNvSpPr txBox="1"/>
            <p:nvPr/>
          </p:nvSpPr>
          <p:spPr>
            <a:xfrm rot="1013627">
              <a:off x="5593877" y="1570495"/>
              <a:ext cx="1864841" cy="879048"/>
            </a:xfrm>
            <a:prstGeom prst="rect">
              <a:avLst/>
            </a:prstGeom>
            <a:noFill/>
          </p:spPr>
          <p:txBody>
            <a:bodyPr spcFirstLastPara="1" wrap="none" lIns="0" tIns="0" rIns="0" bIns="0" numCol="1" rtlCol="0">
              <a:prstTxWarp prst="textArchUp">
                <a:avLst/>
              </a:prstTxWarp>
              <a:noAutofit/>
            </a:bodyPr>
            <a:lstStyle/>
            <a:p>
              <a:pPr algn="ctr" defTabSz="913686">
                <a:buSzPct val="100000"/>
              </a:pPr>
              <a:r>
                <a:rPr lang="en-US" sz="1300" b="1" dirty="0">
                  <a:solidFill>
                    <a:prstClr val="white"/>
                  </a:solidFill>
                </a:rPr>
                <a:t>Lorem ipsum</a:t>
              </a:r>
            </a:p>
          </p:txBody>
        </p:sp>
      </p:grpSp>
    </p:spTree>
    <p:custDataLst>
      <p:tags r:id="rId1"/>
    </p:custDataLst>
    <p:extLst>
      <p:ext uri="{BB962C8B-B14F-4D97-AF65-F5344CB8AC3E}">
        <p14:creationId xmlns:p14="http://schemas.microsoft.com/office/powerpoint/2010/main" val="1465216401"/>
      </p:ext>
    </p:extLst>
  </p:cSld>
  <p:clrMapOvr>
    <a:masterClrMapping/>
  </p:clrMapOvr>
  <p:transition>
    <p:fade/>
  </p:transition>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6530178-80B6-3845-950E-7A4F021182DF}"/>
              </a:ext>
            </a:extLst>
          </p:cNvPr>
          <p:cNvGrpSpPr/>
          <p:nvPr/>
        </p:nvGrpSpPr>
        <p:grpSpPr>
          <a:xfrm>
            <a:off x="650114" y="1215276"/>
            <a:ext cx="10621516" cy="4930021"/>
            <a:chOff x="1876425" y="2106216"/>
            <a:chExt cx="7833784" cy="3636084"/>
          </a:xfrm>
        </p:grpSpPr>
        <p:grpSp>
          <p:nvGrpSpPr>
            <p:cNvPr id="99" name="Group 98">
              <a:extLst>
                <a:ext uri="{FF2B5EF4-FFF2-40B4-BE49-F238E27FC236}">
                  <a16:creationId xmlns:a16="http://schemas.microsoft.com/office/drawing/2014/main" id="{E99ADC09-246F-5D4F-8345-A09D4E60F32E}"/>
                </a:ext>
              </a:extLst>
            </p:cNvPr>
            <p:cNvGrpSpPr/>
            <p:nvPr/>
          </p:nvGrpSpPr>
          <p:grpSpPr>
            <a:xfrm>
              <a:off x="5063479" y="4586861"/>
              <a:ext cx="656125" cy="676869"/>
              <a:chOff x="5434997" y="4712463"/>
              <a:chExt cx="604043" cy="902492"/>
            </a:xfrm>
          </p:grpSpPr>
          <p:sp>
            <p:nvSpPr>
              <p:cNvPr id="100" name="Rectangle: Top Corners Rounded 77">
                <a:extLst>
                  <a:ext uri="{FF2B5EF4-FFF2-40B4-BE49-F238E27FC236}">
                    <a16:creationId xmlns:a16="http://schemas.microsoft.com/office/drawing/2014/main" id="{B3749C5B-6300-F648-8090-25BA7FEA7EA7}"/>
                  </a:ext>
                </a:extLst>
              </p:cNvPr>
              <p:cNvSpPr/>
              <p:nvPr/>
            </p:nvSpPr>
            <p:spPr bwMode="gray">
              <a:xfrm>
                <a:off x="5434997" y="4712463"/>
                <a:ext cx="604043" cy="212232"/>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8</a:t>
                </a:r>
              </a:p>
            </p:txBody>
          </p:sp>
          <p:sp>
            <p:nvSpPr>
              <p:cNvPr id="101" name="Rectangle 100">
                <a:extLst>
                  <a:ext uri="{FF2B5EF4-FFF2-40B4-BE49-F238E27FC236}">
                    <a16:creationId xmlns:a16="http://schemas.microsoft.com/office/drawing/2014/main" id="{25E5236E-6006-8A41-903F-C66C0B551DF5}"/>
                  </a:ext>
                </a:extLst>
              </p:cNvPr>
              <p:cNvSpPr/>
              <p:nvPr/>
            </p:nvSpPr>
            <p:spPr bwMode="gray">
              <a:xfrm>
                <a:off x="5434997" y="4918320"/>
                <a:ext cx="604043" cy="696635"/>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02" name="Rectangle 101">
                <a:extLst>
                  <a:ext uri="{FF2B5EF4-FFF2-40B4-BE49-F238E27FC236}">
                    <a16:creationId xmlns:a16="http://schemas.microsoft.com/office/drawing/2014/main" id="{0DF3D0B0-2221-C14D-861C-8A75A553A829}"/>
                  </a:ext>
                </a:extLst>
              </p:cNvPr>
              <p:cNvSpPr/>
              <p:nvPr/>
            </p:nvSpPr>
            <p:spPr bwMode="gray">
              <a:xfrm>
                <a:off x="5455010" y="5122795"/>
                <a:ext cx="564017" cy="287686"/>
              </a:xfrm>
              <a:prstGeom prst="rect">
                <a:avLst/>
              </a:prstGeom>
            </p:spPr>
            <p:txBody>
              <a:bodyPr wrap="square" lIns="0" tIns="0" rIns="0" bIns="0" rtlCol="0" anchor="ctr" anchorCtr="0">
                <a:spAutoFit/>
              </a:bodyPr>
              <a:lstStyle/>
              <a:p>
                <a:pPr algn="ctr"/>
                <a:r>
                  <a:rPr lang="da-DK" sz="800" b="1" dirty="0"/>
                  <a:t>Lorem ipsum dolor sit ame</a:t>
                </a:r>
                <a:endParaRPr lang="en-US" sz="800" b="1" dirty="0"/>
              </a:p>
            </p:txBody>
          </p:sp>
        </p:grpSp>
        <p:grpSp>
          <p:nvGrpSpPr>
            <p:cNvPr id="103" name="Group 102">
              <a:extLst>
                <a:ext uri="{FF2B5EF4-FFF2-40B4-BE49-F238E27FC236}">
                  <a16:creationId xmlns:a16="http://schemas.microsoft.com/office/drawing/2014/main" id="{B3392B4F-4C48-8F49-9E59-F8476AEC7E0F}"/>
                </a:ext>
              </a:extLst>
            </p:cNvPr>
            <p:cNvGrpSpPr/>
            <p:nvPr/>
          </p:nvGrpSpPr>
          <p:grpSpPr>
            <a:xfrm>
              <a:off x="5848344" y="4586861"/>
              <a:ext cx="668128" cy="676869"/>
              <a:chOff x="5434997" y="4712463"/>
              <a:chExt cx="615093" cy="902492"/>
            </a:xfrm>
          </p:grpSpPr>
          <p:sp>
            <p:nvSpPr>
              <p:cNvPr id="104" name="Rectangle: Top Corners Rounded 90">
                <a:extLst>
                  <a:ext uri="{FF2B5EF4-FFF2-40B4-BE49-F238E27FC236}">
                    <a16:creationId xmlns:a16="http://schemas.microsoft.com/office/drawing/2014/main" id="{4CA12FBE-92EB-4342-B8A2-C84FC0A60A3E}"/>
                  </a:ext>
                </a:extLst>
              </p:cNvPr>
              <p:cNvSpPr/>
              <p:nvPr/>
            </p:nvSpPr>
            <p:spPr bwMode="gray">
              <a:xfrm>
                <a:off x="5434997" y="4712463"/>
                <a:ext cx="604043" cy="212232"/>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9</a:t>
                </a:r>
              </a:p>
            </p:txBody>
          </p:sp>
          <p:sp>
            <p:nvSpPr>
              <p:cNvPr id="105" name="Rectangle 104">
                <a:extLst>
                  <a:ext uri="{FF2B5EF4-FFF2-40B4-BE49-F238E27FC236}">
                    <a16:creationId xmlns:a16="http://schemas.microsoft.com/office/drawing/2014/main" id="{B8171115-F30E-0F44-B504-041C8C74C58F}"/>
                  </a:ext>
                </a:extLst>
              </p:cNvPr>
              <p:cNvSpPr/>
              <p:nvPr/>
            </p:nvSpPr>
            <p:spPr bwMode="gray">
              <a:xfrm>
                <a:off x="5434997" y="4918320"/>
                <a:ext cx="604043" cy="696635"/>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06" name="Rectangle 105">
                <a:extLst>
                  <a:ext uri="{FF2B5EF4-FFF2-40B4-BE49-F238E27FC236}">
                    <a16:creationId xmlns:a16="http://schemas.microsoft.com/office/drawing/2014/main" id="{77D5661C-C5F1-3049-BB97-8A37215E58FE}"/>
                  </a:ext>
                </a:extLst>
              </p:cNvPr>
              <p:cNvSpPr/>
              <p:nvPr/>
            </p:nvSpPr>
            <p:spPr bwMode="gray">
              <a:xfrm>
                <a:off x="5434997" y="5122795"/>
                <a:ext cx="615093" cy="287686"/>
              </a:xfrm>
              <a:prstGeom prst="rect">
                <a:avLst/>
              </a:prstGeom>
            </p:spPr>
            <p:txBody>
              <a:bodyPr wrap="square" lIns="0" tIns="0" rIns="0" bIns="0" rtlCol="0" anchor="ctr" anchorCtr="0">
                <a:spAutoFit/>
              </a:bodyPr>
              <a:lstStyle/>
              <a:p>
                <a:pPr algn="ctr"/>
                <a:r>
                  <a:rPr lang="da-DK" sz="800" b="1" dirty="0"/>
                  <a:t>Lorem ipsum dolor sit ame</a:t>
                </a:r>
                <a:endParaRPr lang="en-US" sz="800" b="1" dirty="0"/>
              </a:p>
            </p:txBody>
          </p:sp>
        </p:grpSp>
        <p:grpSp>
          <p:nvGrpSpPr>
            <p:cNvPr id="107" name="Group 106">
              <a:extLst>
                <a:ext uri="{FF2B5EF4-FFF2-40B4-BE49-F238E27FC236}">
                  <a16:creationId xmlns:a16="http://schemas.microsoft.com/office/drawing/2014/main" id="{0F40FEE6-ACCF-8746-9474-9DE37A903D5F}"/>
                </a:ext>
              </a:extLst>
            </p:cNvPr>
            <p:cNvGrpSpPr/>
            <p:nvPr/>
          </p:nvGrpSpPr>
          <p:grpSpPr>
            <a:xfrm>
              <a:off x="7665623" y="3391473"/>
              <a:ext cx="1884408" cy="676869"/>
              <a:chOff x="7890685" y="1837135"/>
              <a:chExt cx="2512543" cy="902492"/>
            </a:xfrm>
          </p:grpSpPr>
          <p:sp>
            <p:nvSpPr>
              <p:cNvPr id="108" name="Rectangle: Top Corners Rounded 35">
                <a:extLst>
                  <a:ext uri="{FF2B5EF4-FFF2-40B4-BE49-F238E27FC236}">
                    <a16:creationId xmlns:a16="http://schemas.microsoft.com/office/drawing/2014/main" id="{BFBA430B-C8D4-014F-813B-F4C6E69C60D9}"/>
                  </a:ext>
                </a:extLst>
              </p:cNvPr>
              <p:cNvSpPr/>
              <p:nvPr/>
            </p:nvSpPr>
            <p:spPr bwMode="gray">
              <a:xfrm>
                <a:off x="7890685" y="1837135"/>
                <a:ext cx="604043" cy="212232"/>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5</a:t>
                </a:r>
              </a:p>
            </p:txBody>
          </p:sp>
          <p:sp>
            <p:nvSpPr>
              <p:cNvPr id="109" name="Rectangle 108">
                <a:extLst>
                  <a:ext uri="{FF2B5EF4-FFF2-40B4-BE49-F238E27FC236}">
                    <a16:creationId xmlns:a16="http://schemas.microsoft.com/office/drawing/2014/main" id="{7B46DD6C-D0FD-0941-84F8-F6A4B8CB18A4}"/>
                  </a:ext>
                </a:extLst>
              </p:cNvPr>
              <p:cNvSpPr/>
              <p:nvPr/>
            </p:nvSpPr>
            <p:spPr bwMode="gray">
              <a:xfrm>
                <a:off x="7890685" y="2042992"/>
                <a:ext cx="604043" cy="696635"/>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10" name="Rectangle 109">
                <a:extLst>
                  <a:ext uri="{FF2B5EF4-FFF2-40B4-BE49-F238E27FC236}">
                    <a16:creationId xmlns:a16="http://schemas.microsoft.com/office/drawing/2014/main" id="{C60D4C98-A3F5-EC4E-B9A4-F7C0BBBC3D19}"/>
                  </a:ext>
                </a:extLst>
              </p:cNvPr>
              <p:cNvSpPr/>
              <p:nvPr/>
            </p:nvSpPr>
            <p:spPr bwMode="gray">
              <a:xfrm>
                <a:off x="8526685" y="2124224"/>
                <a:ext cx="434527" cy="197785"/>
              </a:xfrm>
              <a:prstGeom prst="rect">
                <a:avLst/>
              </a:prstGeom>
            </p:spPr>
            <p:txBody>
              <a:bodyPr wrap="none" lIns="0" tIns="0" rIns="0" bIns="0" rtlCol="0" anchor="ctr" anchorCtr="0">
                <a:spAutoFit/>
              </a:bodyPr>
              <a:lstStyle/>
              <a:p>
                <a:r>
                  <a:rPr lang="en-US" sz="1100" dirty="0">
                    <a:solidFill>
                      <a:srgbClr val="43B02A"/>
                    </a:solidFill>
                  </a:rPr>
                  <a:t>$4.0M</a:t>
                </a:r>
                <a:endParaRPr lang="en-US" sz="600" dirty="0">
                  <a:solidFill>
                    <a:srgbClr val="43B02A"/>
                  </a:solidFill>
                </a:endParaRPr>
              </a:p>
            </p:txBody>
          </p:sp>
          <p:grpSp>
            <p:nvGrpSpPr>
              <p:cNvPr id="111" name="Group 374">
                <a:extLst>
                  <a:ext uri="{FF2B5EF4-FFF2-40B4-BE49-F238E27FC236}">
                    <a16:creationId xmlns:a16="http://schemas.microsoft.com/office/drawing/2014/main" id="{5C049307-63F3-C44D-8C7D-1700E9F2211B}"/>
                  </a:ext>
                </a:extLst>
              </p:cNvPr>
              <p:cNvGrpSpPr>
                <a:grpSpLocks noChangeAspect="1"/>
              </p:cNvGrpSpPr>
              <p:nvPr/>
            </p:nvGrpSpPr>
            <p:grpSpPr bwMode="auto">
              <a:xfrm>
                <a:off x="8055546" y="2085958"/>
                <a:ext cx="274320" cy="274320"/>
                <a:chOff x="6996" y="1195"/>
                <a:chExt cx="340" cy="340"/>
              </a:xfrm>
              <a:solidFill>
                <a:srgbClr val="43B02A"/>
              </a:solidFill>
            </p:grpSpPr>
            <p:sp>
              <p:nvSpPr>
                <p:cNvPr id="116" name="Freeform 375">
                  <a:extLst>
                    <a:ext uri="{FF2B5EF4-FFF2-40B4-BE49-F238E27FC236}">
                      <a16:creationId xmlns:a16="http://schemas.microsoft.com/office/drawing/2014/main" id="{5D2CEDEC-03C5-6B4F-9A72-C4C07CEF1BA5}"/>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17" name="Freeform 376">
                  <a:extLst>
                    <a:ext uri="{FF2B5EF4-FFF2-40B4-BE49-F238E27FC236}">
                      <a16:creationId xmlns:a16="http://schemas.microsoft.com/office/drawing/2014/main" id="{69128BE5-4535-F741-8A2B-DBD08DA0E87F}"/>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18" name="Freeform 377">
                  <a:extLst>
                    <a:ext uri="{FF2B5EF4-FFF2-40B4-BE49-F238E27FC236}">
                      <a16:creationId xmlns:a16="http://schemas.microsoft.com/office/drawing/2014/main" id="{E7832832-CDE0-3546-8BEB-E59CAC3B22E5}"/>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grpSp>
          <p:sp>
            <p:nvSpPr>
              <p:cNvPr id="112" name="Freeform 756">
                <a:extLst>
                  <a:ext uri="{FF2B5EF4-FFF2-40B4-BE49-F238E27FC236}">
                    <a16:creationId xmlns:a16="http://schemas.microsoft.com/office/drawing/2014/main" id="{8803FB54-08A4-D243-A47E-CEFE58AA63EC}"/>
                  </a:ext>
                </a:extLst>
              </p:cNvPr>
              <p:cNvSpPr>
                <a:spLocks noChangeAspect="1" noEditPoints="1"/>
              </p:cNvSpPr>
              <p:nvPr/>
            </p:nvSpPr>
            <p:spPr bwMode="auto">
              <a:xfrm>
                <a:off x="8055546" y="2434506"/>
                <a:ext cx="274320" cy="27432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sz="1400" dirty="0"/>
              </a:p>
            </p:txBody>
          </p:sp>
          <p:sp>
            <p:nvSpPr>
              <p:cNvPr id="113" name="Rectangle 112">
                <a:extLst>
                  <a:ext uri="{FF2B5EF4-FFF2-40B4-BE49-F238E27FC236}">
                    <a16:creationId xmlns:a16="http://schemas.microsoft.com/office/drawing/2014/main" id="{C13D51A6-CAA6-9C41-823B-6C791685D6EE}"/>
                  </a:ext>
                </a:extLst>
              </p:cNvPr>
              <p:cNvSpPr/>
              <p:nvPr/>
            </p:nvSpPr>
            <p:spPr bwMode="gray">
              <a:xfrm>
                <a:off x="8526685" y="2472773"/>
                <a:ext cx="252850" cy="197785"/>
              </a:xfrm>
              <a:prstGeom prst="rect">
                <a:avLst/>
              </a:prstGeom>
            </p:spPr>
            <p:txBody>
              <a:bodyPr wrap="none" lIns="0" tIns="0" rIns="0" bIns="0" rtlCol="0" anchor="ctr" anchorCtr="0">
                <a:spAutoFit/>
              </a:bodyPr>
              <a:lstStyle/>
              <a:p>
                <a:r>
                  <a:rPr lang="en-US" sz="1100" dirty="0">
                    <a:solidFill>
                      <a:srgbClr val="00A3E0"/>
                    </a:solidFill>
                  </a:rPr>
                  <a:t>271</a:t>
                </a:r>
              </a:p>
            </p:txBody>
          </p:sp>
          <p:sp>
            <p:nvSpPr>
              <p:cNvPr id="114" name="Rectangle 113">
                <a:extLst>
                  <a:ext uri="{FF2B5EF4-FFF2-40B4-BE49-F238E27FC236}">
                    <a16:creationId xmlns:a16="http://schemas.microsoft.com/office/drawing/2014/main" id="{6E21899D-DEB7-0C47-94A3-BB35CCB7784D}"/>
                  </a:ext>
                </a:extLst>
              </p:cNvPr>
              <p:cNvSpPr/>
              <p:nvPr/>
            </p:nvSpPr>
            <p:spPr bwMode="gray">
              <a:xfrm>
                <a:off x="9101519" y="2151196"/>
                <a:ext cx="1301709" cy="143844"/>
              </a:xfrm>
              <a:prstGeom prst="rect">
                <a:avLst/>
              </a:prstGeom>
            </p:spPr>
            <p:txBody>
              <a:bodyPr wrap="none" lIns="0" tIns="0" rIns="0" bIns="0" rtlCol="0" anchor="ctr" anchorCtr="0">
                <a:spAutoFit/>
              </a:bodyPr>
              <a:lstStyle/>
              <a:p>
                <a:r>
                  <a:rPr lang="da-DK" sz="800" dirty="0"/>
                  <a:t>Lorem ipsum dolor sit ame</a:t>
                </a:r>
                <a:endParaRPr lang="en-US" sz="800" dirty="0"/>
              </a:p>
            </p:txBody>
          </p:sp>
          <p:sp>
            <p:nvSpPr>
              <p:cNvPr id="115" name="Rectangle 114">
                <a:extLst>
                  <a:ext uri="{FF2B5EF4-FFF2-40B4-BE49-F238E27FC236}">
                    <a16:creationId xmlns:a16="http://schemas.microsoft.com/office/drawing/2014/main" id="{C860ECF5-DCAF-6145-8B11-A07B2C41E7A0}"/>
                  </a:ext>
                </a:extLst>
              </p:cNvPr>
              <p:cNvSpPr/>
              <p:nvPr/>
            </p:nvSpPr>
            <p:spPr bwMode="gray">
              <a:xfrm>
                <a:off x="8891879" y="2504765"/>
                <a:ext cx="1301709" cy="143844"/>
              </a:xfrm>
              <a:prstGeom prst="rect">
                <a:avLst/>
              </a:prstGeom>
            </p:spPr>
            <p:txBody>
              <a:bodyPr wrap="none" lIns="0" tIns="0" rIns="0" bIns="0" rtlCol="0" anchor="b" anchorCtr="0">
                <a:spAutoFit/>
              </a:bodyPr>
              <a:lstStyle/>
              <a:p>
                <a:r>
                  <a:rPr lang="da-DK" sz="800" dirty="0"/>
                  <a:t>Lorem ipsum dolor sit ame</a:t>
                </a:r>
                <a:endParaRPr lang="en-US" sz="800" dirty="0"/>
              </a:p>
            </p:txBody>
          </p:sp>
        </p:grpSp>
        <p:grpSp>
          <p:nvGrpSpPr>
            <p:cNvPr id="119" name="Group 118">
              <a:extLst>
                <a:ext uri="{FF2B5EF4-FFF2-40B4-BE49-F238E27FC236}">
                  <a16:creationId xmlns:a16="http://schemas.microsoft.com/office/drawing/2014/main" id="{B48FB598-5A2D-A14C-98FB-772648C146B8}"/>
                </a:ext>
              </a:extLst>
            </p:cNvPr>
            <p:cNvGrpSpPr/>
            <p:nvPr/>
          </p:nvGrpSpPr>
          <p:grpSpPr>
            <a:xfrm>
              <a:off x="5600249" y="3391473"/>
              <a:ext cx="1884408" cy="676869"/>
              <a:chOff x="7890685" y="1837135"/>
              <a:chExt cx="2512543" cy="902492"/>
            </a:xfrm>
          </p:grpSpPr>
          <p:sp>
            <p:nvSpPr>
              <p:cNvPr id="120" name="Rectangle: Top Corners Rounded 47">
                <a:extLst>
                  <a:ext uri="{FF2B5EF4-FFF2-40B4-BE49-F238E27FC236}">
                    <a16:creationId xmlns:a16="http://schemas.microsoft.com/office/drawing/2014/main" id="{C707B331-FCCD-EB42-83F9-758CA2F366FC}"/>
                  </a:ext>
                </a:extLst>
              </p:cNvPr>
              <p:cNvSpPr/>
              <p:nvPr/>
            </p:nvSpPr>
            <p:spPr bwMode="gray">
              <a:xfrm>
                <a:off x="7890685" y="1837135"/>
                <a:ext cx="604043" cy="212232"/>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6</a:t>
                </a:r>
              </a:p>
            </p:txBody>
          </p:sp>
          <p:sp>
            <p:nvSpPr>
              <p:cNvPr id="121" name="Rectangle 120">
                <a:extLst>
                  <a:ext uri="{FF2B5EF4-FFF2-40B4-BE49-F238E27FC236}">
                    <a16:creationId xmlns:a16="http://schemas.microsoft.com/office/drawing/2014/main" id="{47DE0CD4-EBE7-3546-BA9A-62247CCCEFE7}"/>
                  </a:ext>
                </a:extLst>
              </p:cNvPr>
              <p:cNvSpPr/>
              <p:nvPr/>
            </p:nvSpPr>
            <p:spPr bwMode="gray">
              <a:xfrm>
                <a:off x="7890685" y="2042992"/>
                <a:ext cx="604043" cy="696635"/>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22" name="Rectangle 121">
                <a:extLst>
                  <a:ext uri="{FF2B5EF4-FFF2-40B4-BE49-F238E27FC236}">
                    <a16:creationId xmlns:a16="http://schemas.microsoft.com/office/drawing/2014/main" id="{7F1072A0-3E38-4349-B1DE-D67563A09773}"/>
                  </a:ext>
                </a:extLst>
              </p:cNvPr>
              <p:cNvSpPr/>
              <p:nvPr/>
            </p:nvSpPr>
            <p:spPr bwMode="gray">
              <a:xfrm>
                <a:off x="8526685" y="2124224"/>
                <a:ext cx="434527" cy="197785"/>
              </a:xfrm>
              <a:prstGeom prst="rect">
                <a:avLst/>
              </a:prstGeom>
            </p:spPr>
            <p:txBody>
              <a:bodyPr wrap="none" lIns="0" tIns="0" rIns="0" bIns="0" rtlCol="0" anchor="ctr" anchorCtr="0">
                <a:spAutoFit/>
              </a:bodyPr>
              <a:lstStyle/>
              <a:p>
                <a:r>
                  <a:rPr lang="en-US" sz="1100" dirty="0">
                    <a:solidFill>
                      <a:srgbClr val="43B02A"/>
                    </a:solidFill>
                  </a:rPr>
                  <a:t>$4.6M</a:t>
                </a:r>
                <a:endParaRPr lang="en-US" sz="600" dirty="0">
                  <a:solidFill>
                    <a:srgbClr val="43B02A"/>
                  </a:solidFill>
                </a:endParaRPr>
              </a:p>
            </p:txBody>
          </p:sp>
          <p:grpSp>
            <p:nvGrpSpPr>
              <p:cNvPr id="123" name="Group 374">
                <a:extLst>
                  <a:ext uri="{FF2B5EF4-FFF2-40B4-BE49-F238E27FC236}">
                    <a16:creationId xmlns:a16="http://schemas.microsoft.com/office/drawing/2014/main" id="{B5E90A3F-1707-BD40-946F-C456392A38CE}"/>
                  </a:ext>
                </a:extLst>
              </p:cNvPr>
              <p:cNvGrpSpPr>
                <a:grpSpLocks noChangeAspect="1"/>
              </p:cNvGrpSpPr>
              <p:nvPr/>
            </p:nvGrpSpPr>
            <p:grpSpPr bwMode="auto">
              <a:xfrm>
                <a:off x="8055546" y="2085958"/>
                <a:ext cx="274320" cy="274320"/>
                <a:chOff x="6996" y="1195"/>
                <a:chExt cx="340" cy="340"/>
              </a:xfrm>
              <a:solidFill>
                <a:srgbClr val="43B02A"/>
              </a:solidFill>
            </p:grpSpPr>
            <p:sp>
              <p:nvSpPr>
                <p:cNvPr id="128" name="Freeform 375">
                  <a:extLst>
                    <a:ext uri="{FF2B5EF4-FFF2-40B4-BE49-F238E27FC236}">
                      <a16:creationId xmlns:a16="http://schemas.microsoft.com/office/drawing/2014/main" id="{4052853F-5C48-D542-B75D-B5391E96D100}"/>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29" name="Freeform 376">
                  <a:extLst>
                    <a:ext uri="{FF2B5EF4-FFF2-40B4-BE49-F238E27FC236}">
                      <a16:creationId xmlns:a16="http://schemas.microsoft.com/office/drawing/2014/main" id="{F70FE821-B96E-774D-915A-9D0B1BF655E1}"/>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30" name="Freeform 377">
                  <a:extLst>
                    <a:ext uri="{FF2B5EF4-FFF2-40B4-BE49-F238E27FC236}">
                      <a16:creationId xmlns:a16="http://schemas.microsoft.com/office/drawing/2014/main" id="{C3CF5B79-18C5-C74D-AF26-75661F139717}"/>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grpSp>
          <p:sp>
            <p:nvSpPr>
              <p:cNvPr id="124" name="Freeform 756">
                <a:extLst>
                  <a:ext uri="{FF2B5EF4-FFF2-40B4-BE49-F238E27FC236}">
                    <a16:creationId xmlns:a16="http://schemas.microsoft.com/office/drawing/2014/main" id="{9F8D8730-BDD4-1D41-9AA9-962E1F2B74AE}"/>
                  </a:ext>
                </a:extLst>
              </p:cNvPr>
              <p:cNvSpPr>
                <a:spLocks noChangeAspect="1" noEditPoints="1"/>
              </p:cNvSpPr>
              <p:nvPr/>
            </p:nvSpPr>
            <p:spPr bwMode="auto">
              <a:xfrm>
                <a:off x="8055546" y="2434506"/>
                <a:ext cx="274320" cy="27432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sz="1400" dirty="0"/>
              </a:p>
            </p:txBody>
          </p:sp>
          <p:sp>
            <p:nvSpPr>
              <p:cNvPr id="125" name="Rectangle 124">
                <a:extLst>
                  <a:ext uri="{FF2B5EF4-FFF2-40B4-BE49-F238E27FC236}">
                    <a16:creationId xmlns:a16="http://schemas.microsoft.com/office/drawing/2014/main" id="{0CCB1EC7-8892-F845-B777-50C5EA3205F3}"/>
                  </a:ext>
                </a:extLst>
              </p:cNvPr>
              <p:cNvSpPr/>
              <p:nvPr/>
            </p:nvSpPr>
            <p:spPr bwMode="gray">
              <a:xfrm>
                <a:off x="8526685" y="2472773"/>
                <a:ext cx="252850" cy="197785"/>
              </a:xfrm>
              <a:prstGeom prst="rect">
                <a:avLst/>
              </a:prstGeom>
            </p:spPr>
            <p:txBody>
              <a:bodyPr wrap="none" lIns="0" tIns="0" rIns="0" bIns="0" rtlCol="0" anchor="ctr" anchorCtr="0">
                <a:spAutoFit/>
              </a:bodyPr>
              <a:lstStyle/>
              <a:p>
                <a:r>
                  <a:rPr lang="en-US" sz="1100" dirty="0">
                    <a:solidFill>
                      <a:srgbClr val="00A3E0"/>
                    </a:solidFill>
                  </a:rPr>
                  <a:t>397</a:t>
                </a:r>
              </a:p>
            </p:txBody>
          </p:sp>
          <p:sp>
            <p:nvSpPr>
              <p:cNvPr id="126" name="Rectangle 125">
                <a:extLst>
                  <a:ext uri="{FF2B5EF4-FFF2-40B4-BE49-F238E27FC236}">
                    <a16:creationId xmlns:a16="http://schemas.microsoft.com/office/drawing/2014/main" id="{C4BD14E4-9242-5F4B-88DC-6EF3C92C0EB9}"/>
                  </a:ext>
                </a:extLst>
              </p:cNvPr>
              <p:cNvSpPr/>
              <p:nvPr/>
            </p:nvSpPr>
            <p:spPr bwMode="gray">
              <a:xfrm>
                <a:off x="9101519" y="2151196"/>
                <a:ext cx="1301709" cy="143844"/>
              </a:xfrm>
              <a:prstGeom prst="rect">
                <a:avLst/>
              </a:prstGeom>
            </p:spPr>
            <p:txBody>
              <a:bodyPr wrap="none" lIns="0" tIns="0" rIns="0" bIns="0" rtlCol="0" anchor="ctr" anchorCtr="0">
                <a:spAutoFit/>
              </a:bodyPr>
              <a:lstStyle/>
              <a:p>
                <a:r>
                  <a:rPr lang="da-DK" sz="800" dirty="0"/>
                  <a:t>Lorem ipsum dolor sit ame</a:t>
                </a:r>
                <a:endParaRPr lang="en-US" sz="800" dirty="0"/>
              </a:p>
            </p:txBody>
          </p:sp>
          <p:sp>
            <p:nvSpPr>
              <p:cNvPr id="127" name="Rectangle 126">
                <a:extLst>
                  <a:ext uri="{FF2B5EF4-FFF2-40B4-BE49-F238E27FC236}">
                    <a16:creationId xmlns:a16="http://schemas.microsoft.com/office/drawing/2014/main" id="{8CC23751-1794-B44B-B416-D48F13A9F89B}"/>
                  </a:ext>
                </a:extLst>
              </p:cNvPr>
              <p:cNvSpPr/>
              <p:nvPr/>
            </p:nvSpPr>
            <p:spPr bwMode="gray">
              <a:xfrm>
                <a:off x="8891879" y="2504765"/>
                <a:ext cx="1301709" cy="143844"/>
              </a:xfrm>
              <a:prstGeom prst="rect">
                <a:avLst/>
              </a:prstGeom>
            </p:spPr>
            <p:txBody>
              <a:bodyPr wrap="none" lIns="0" tIns="0" rIns="0" bIns="0" rtlCol="0" anchor="b" anchorCtr="0">
                <a:spAutoFit/>
              </a:bodyPr>
              <a:lstStyle/>
              <a:p>
                <a:r>
                  <a:rPr lang="da-DK" sz="800" dirty="0"/>
                  <a:t>Lorem ipsum dolor sit ame</a:t>
                </a:r>
                <a:endParaRPr lang="en-US" sz="800" dirty="0"/>
              </a:p>
            </p:txBody>
          </p:sp>
        </p:grpSp>
        <p:sp>
          <p:nvSpPr>
            <p:cNvPr id="131" name="Freeform 85">
              <a:extLst>
                <a:ext uri="{FF2B5EF4-FFF2-40B4-BE49-F238E27FC236}">
                  <a16:creationId xmlns:a16="http://schemas.microsoft.com/office/drawing/2014/main" id="{2C77AAB3-271D-1E4B-ACDB-99F33B0E1CBF}"/>
                </a:ext>
              </a:extLst>
            </p:cNvPr>
            <p:cNvSpPr/>
            <p:nvPr/>
          </p:nvSpPr>
          <p:spPr bwMode="gray">
            <a:xfrm flipH="1" flipV="1">
              <a:off x="4570625" y="2955762"/>
              <a:ext cx="5139584" cy="2358035"/>
            </a:xfrm>
            <a:custGeom>
              <a:avLst/>
              <a:gdLst>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8000 w 8367265"/>
                <a:gd name="connsiteY0" fmla="*/ 0 h 3480621"/>
                <a:gd name="connsiteX1" fmla="*/ 7629845 w 8367265"/>
                <a:gd name="connsiteY1" fmla="*/ 0 h 3480621"/>
                <a:gd name="connsiteX2" fmla="*/ 8367265 w 8367265"/>
                <a:gd name="connsiteY2" fmla="*/ 737420 h 3480621"/>
                <a:gd name="connsiteX3" fmla="*/ 7472529 w 8367265"/>
                <a:gd name="connsiteY3" fmla="*/ 1632156 h 3480621"/>
                <a:gd name="connsiteX4" fmla="*/ 904581 w 8367265"/>
                <a:gd name="connsiteY4" fmla="*/ 1632156 h 3480621"/>
                <a:gd name="connsiteX5" fmla="*/ 13 w 8367265"/>
                <a:gd name="connsiteY5" fmla="*/ 2536724 h 3480621"/>
                <a:gd name="connsiteX6" fmla="*/ 943910 w 8367265"/>
                <a:gd name="connsiteY6" fmla="*/ 3480621 h 3480621"/>
                <a:gd name="connsiteX7" fmla="*/ 5152116 w 8367265"/>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99 w 8367364"/>
                <a:gd name="connsiteY0" fmla="*/ 0 h 3480621"/>
                <a:gd name="connsiteX1" fmla="*/ 7629944 w 8367364"/>
                <a:gd name="connsiteY1" fmla="*/ 0 h 3480621"/>
                <a:gd name="connsiteX2" fmla="*/ 8367364 w 8367364"/>
                <a:gd name="connsiteY2" fmla="*/ 737420 h 3480621"/>
                <a:gd name="connsiteX3" fmla="*/ 7472628 w 8367364"/>
                <a:gd name="connsiteY3" fmla="*/ 1632156 h 3480621"/>
                <a:gd name="connsiteX4" fmla="*/ 904680 w 8367364"/>
                <a:gd name="connsiteY4" fmla="*/ 1632156 h 3480621"/>
                <a:gd name="connsiteX5" fmla="*/ 112 w 8367364"/>
                <a:gd name="connsiteY5" fmla="*/ 2536724 h 3480621"/>
                <a:gd name="connsiteX6" fmla="*/ 944009 w 8367364"/>
                <a:gd name="connsiteY6" fmla="*/ 3480621 h 3480621"/>
                <a:gd name="connsiteX7" fmla="*/ 5152215 w 8367364"/>
                <a:gd name="connsiteY7" fmla="*/ 3480621 h 3480621"/>
                <a:gd name="connsiteX0" fmla="*/ 118217 w 8367482"/>
                <a:gd name="connsiteY0" fmla="*/ 0 h 3480621"/>
                <a:gd name="connsiteX1" fmla="*/ 7630062 w 8367482"/>
                <a:gd name="connsiteY1" fmla="*/ 0 h 3480621"/>
                <a:gd name="connsiteX2" fmla="*/ 8367482 w 8367482"/>
                <a:gd name="connsiteY2" fmla="*/ 737420 h 3480621"/>
                <a:gd name="connsiteX3" fmla="*/ 7472746 w 8367482"/>
                <a:gd name="connsiteY3" fmla="*/ 1632156 h 3480621"/>
                <a:gd name="connsiteX4" fmla="*/ 904798 w 8367482"/>
                <a:gd name="connsiteY4" fmla="*/ 1632156 h 3480621"/>
                <a:gd name="connsiteX5" fmla="*/ 230 w 8367482"/>
                <a:gd name="connsiteY5" fmla="*/ 2536724 h 3480621"/>
                <a:gd name="connsiteX6" fmla="*/ 944127 w 8367482"/>
                <a:gd name="connsiteY6" fmla="*/ 3480621 h 3480621"/>
                <a:gd name="connsiteX7" fmla="*/ 5152333 w 8367482"/>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762 w 8368027"/>
                <a:gd name="connsiteY0" fmla="*/ 0 h 3480621"/>
                <a:gd name="connsiteX1" fmla="*/ 7630607 w 8368027"/>
                <a:gd name="connsiteY1" fmla="*/ 0 h 3480621"/>
                <a:gd name="connsiteX2" fmla="*/ 8368027 w 8368027"/>
                <a:gd name="connsiteY2" fmla="*/ 737420 h 3480621"/>
                <a:gd name="connsiteX3" fmla="*/ 7473291 w 8368027"/>
                <a:gd name="connsiteY3" fmla="*/ 1632156 h 3480621"/>
                <a:gd name="connsiteX4" fmla="*/ 905343 w 8368027"/>
                <a:gd name="connsiteY4" fmla="*/ 1632156 h 3480621"/>
                <a:gd name="connsiteX5" fmla="*/ 775 w 8368027"/>
                <a:gd name="connsiteY5" fmla="*/ 2536724 h 3480621"/>
                <a:gd name="connsiteX6" fmla="*/ 944672 w 8368027"/>
                <a:gd name="connsiteY6" fmla="*/ 3480621 h 3480621"/>
                <a:gd name="connsiteX7" fmla="*/ 5152878 w 8368027"/>
                <a:gd name="connsiteY7" fmla="*/ 3480621 h 3480621"/>
                <a:gd name="connsiteX0" fmla="*/ 118250 w 8367515"/>
                <a:gd name="connsiteY0" fmla="*/ 0 h 3480621"/>
                <a:gd name="connsiteX1" fmla="*/ 7630095 w 8367515"/>
                <a:gd name="connsiteY1" fmla="*/ 0 h 3480621"/>
                <a:gd name="connsiteX2" fmla="*/ 8367515 w 8367515"/>
                <a:gd name="connsiteY2" fmla="*/ 737420 h 3480621"/>
                <a:gd name="connsiteX3" fmla="*/ 7472779 w 8367515"/>
                <a:gd name="connsiteY3" fmla="*/ 1632156 h 3480621"/>
                <a:gd name="connsiteX4" fmla="*/ 904831 w 8367515"/>
                <a:gd name="connsiteY4" fmla="*/ 1632156 h 3480621"/>
                <a:gd name="connsiteX5" fmla="*/ 263 w 8367515"/>
                <a:gd name="connsiteY5" fmla="*/ 2536724 h 3480621"/>
                <a:gd name="connsiteX6" fmla="*/ 944160 w 8367515"/>
                <a:gd name="connsiteY6" fmla="*/ 3480621 h 3480621"/>
                <a:gd name="connsiteX7" fmla="*/ 5152366 w 8367515"/>
                <a:gd name="connsiteY7" fmla="*/ 3480621 h 3480621"/>
                <a:gd name="connsiteX0" fmla="*/ 118200 w 8367465"/>
                <a:gd name="connsiteY0" fmla="*/ 0 h 3480621"/>
                <a:gd name="connsiteX1" fmla="*/ 7630045 w 8367465"/>
                <a:gd name="connsiteY1" fmla="*/ 0 h 3480621"/>
                <a:gd name="connsiteX2" fmla="*/ 8367465 w 8367465"/>
                <a:gd name="connsiteY2" fmla="*/ 737420 h 3480621"/>
                <a:gd name="connsiteX3" fmla="*/ 7472729 w 8367465"/>
                <a:gd name="connsiteY3" fmla="*/ 1632156 h 3480621"/>
                <a:gd name="connsiteX4" fmla="*/ 904781 w 8367465"/>
                <a:gd name="connsiteY4" fmla="*/ 1632156 h 3480621"/>
                <a:gd name="connsiteX5" fmla="*/ 213 w 8367465"/>
                <a:gd name="connsiteY5" fmla="*/ 2536724 h 3480621"/>
                <a:gd name="connsiteX6" fmla="*/ 944110 w 8367465"/>
                <a:gd name="connsiteY6" fmla="*/ 3480621 h 3480621"/>
                <a:gd name="connsiteX7" fmla="*/ 5152316 w 8367465"/>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5152341 w 8367490"/>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4142691 w 8367490"/>
                <a:gd name="connsiteY7" fmla="*/ 3480621 h 3480621"/>
                <a:gd name="connsiteX0" fmla="*/ 119282 w 8368547"/>
                <a:gd name="connsiteY0" fmla="*/ 0 h 3480621"/>
                <a:gd name="connsiteX1" fmla="*/ 7631127 w 8368547"/>
                <a:gd name="connsiteY1" fmla="*/ 0 h 3480621"/>
                <a:gd name="connsiteX2" fmla="*/ 8368547 w 8368547"/>
                <a:gd name="connsiteY2" fmla="*/ 737420 h 3480621"/>
                <a:gd name="connsiteX3" fmla="*/ 7473811 w 8368547"/>
                <a:gd name="connsiteY3" fmla="*/ 1632156 h 3480621"/>
                <a:gd name="connsiteX4" fmla="*/ 905863 w 8368547"/>
                <a:gd name="connsiteY4" fmla="*/ 1632156 h 3480621"/>
                <a:gd name="connsiteX5" fmla="*/ 1295 w 8368547"/>
                <a:gd name="connsiteY5" fmla="*/ 2536724 h 3480621"/>
                <a:gd name="connsiteX6" fmla="*/ 945192 w 8368547"/>
                <a:gd name="connsiteY6" fmla="*/ 3480621 h 3480621"/>
                <a:gd name="connsiteX7" fmla="*/ 4143748 w 8368547"/>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42512 w 836731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99662 w 8367311"/>
                <a:gd name="connsiteY7" fmla="*/ 3171749 h 3480621"/>
                <a:gd name="connsiteX0" fmla="*/ 118046 w 8367311"/>
                <a:gd name="connsiteY0" fmla="*/ 0 h 3206068"/>
                <a:gd name="connsiteX1" fmla="*/ 7629891 w 8367311"/>
                <a:gd name="connsiteY1" fmla="*/ 0 h 3206068"/>
                <a:gd name="connsiteX2" fmla="*/ 8367311 w 8367311"/>
                <a:gd name="connsiteY2" fmla="*/ 737420 h 3206068"/>
                <a:gd name="connsiteX3" fmla="*/ 7472575 w 8367311"/>
                <a:gd name="connsiteY3" fmla="*/ 1632156 h 3206068"/>
                <a:gd name="connsiteX4" fmla="*/ 904627 w 8367311"/>
                <a:gd name="connsiteY4" fmla="*/ 1632156 h 3206068"/>
                <a:gd name="connsiteX5" fmla="*/ 59 w 8367311"/>
                <a:gd name="connsiteY5" fmla="*/ 2536724 h 3206068"/>
                <a:gd name="connsiteX6" fmla="*/ 934431 w 8367311"/>
                <a:gd name="connsiteY6" fmla="*/ 3206068 h 3206068"/>
                <a:gd name="connsiteX7" fmla="*/ 4199662 w 8367311"/>
                <a:gd name="connsiteY7" fmla="*/ 3171749 h 3206068"/>
                <a:gd name="connsiteX0" fmla="*/ 118046 w 8367311"/>
                <a:gd name="connsiteY0" fmla="*/ 0 h 3213169"/>
                <a:gd name="connsiteX1" fmla="*/ 7629891 w 8367311"/>
                <a:gd name="connsiteY1" fmla="*/ 0 h 3213169"/>
                <a:gd name="connsiteX2" fmla="*/ 8367311 w 8367311"/>
                <a:gd name="connsiteY2" fmla="*/ 737420 h 3213169"/>
                <a:gd name="connsiteX3" fmla="*/ 7472575 w 8367311"/>
                <a:gd name="connsiteY3" fmla="*/ 1632156 h 3213169"/>
                <a:gd name="connsiteX4" fmla="*/ 904627 w 8367311"/>
                <a:gd name="connsiteY4" fmla="*/ 1632156 h 3213169"/>
                <a:gd name="connsiteX5" fmla="*/ 59 w 8367311"/>
                <a:gd name="connsiteY5" fmla="*/ 2536724 h 3213169"/>
                <a:gd name="connsiteX6" fmla="*/ 934431 w 8367311"/>
                <a:gd name="connsiteY6" fmla="*/ 3206068 h 3213169"/>
                <a:gd name="connsiteX7" fmla="*/ 4199662 w 8367311"/>
                <a:gd name="connsiteY7" fmla="*/ 3171749 h 3213169"/>
                <a:gd name="connsiteX0" fmla="*/ 118073 w 8367338"/>
                <a:gd name="connsiteY0" fmla="*/ 0 h 3213169"/>
                <a:gd name="connsiteX1" fmla="*/ 7629918 w 8367338"/>
                <a:gd name="connsiteY1" fmla="*/ 0 h 3213169"/>
                <a:gd name="connsiteX2" fmla="*/ 8367338 w 8367338"/>
                <a:gd name="connsiteY2" fmla="*/ 737420 h 3213169"/>
                <a:gd name="connsiteX3" fmla="*/ 7472602 w 8367338"/>
                <a:gd name="connsiteY3" fmla="*/ 1632156 h 3213169"/>
                <a:gd name="connsiteX4" fmla="*/ 904654 w 8367338"/>
                <a:gd name="connsiteY4" fmla="*/ 1632156 h 3213169"/>
                <a:gd name="connsiteX5" fmla="*/ 86 w 8367338"/>
                <a:gd name="connsiteY5" fmla="*/ 2536724 h 3213169"/>
                <a:gd name="connsiteX6" fmla="*/ 934458 w 8367338"/>
                <a:gd name="connsiteY6" fmla="*/ 3206068 h 3213169"/>
                <a:gd name="connsiteX7" fmla="*/ 4199689 w 8367338"/>
                <a:gd name="connsiteY7" fmla="*/ 3171749 h 3213169"/>
                <a:gd name="connsiteX0" fmla="*/ 118073 w 8367338"/>
                <a:gd name="connsiteY0" fmla="*/ 0 h 3210578"/>
                <a:gd name="connsiteX1" fmla="*/ 7629918 w 8367338"/>
                <a:gd name="connsiteY1" fmla="*/ 0 h 3210578"/>
                <a:gd name="connsiteX2" fmla="*/ 8367338 w 8367338"/>
                <a:gd name="connsiteY2" fmla="*/ 737420 h 3210578"/>
                <a:gd name="connsiteX3" fmla="*/ 7472602 w 8367338"/>
                <a:gd name="connsiteY3" fmla="*/ 1632156 h 3210578"/>
                <a:gd name="connsiteX4" fmla="*/ 904654 w 8367338"/>
                <a:gd name="connsiteY4" fmla="*/ 1632156 h 3210578"/>
                <a:gd name="connsiteX5" fmla="*/ 86 w 8367338"/>
                <a:gd name="connsiteY5" fmla="*/ 2322230 h 3210578"/>
                <a:gd name="connsiteX6" fmla="*/ 934458 w 8367338"/>
                <a:gd name="connsiteY6" fmla="*/ 3206068 h 3210578"/>
                <a:gd name="connsiteX7" fmla="*/ 4199689 w 8367338"/>
                <a:gd name="connsiteY7" fmla="*/ 3171749 h 321057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09 w 8367274"/>
                <a:gd name="connsiteY0" fmla="*/ 0 h 3214268"/>
                <a:gd name="connsiteX1" fmla="*/ 7629854 w 8367274"/>
                <a:gd name="connsiteY1" fmla="*/ 0 h 3214268"/>
                <a:gd name="connsiteX2" fmla="*/ 8367274 w 8367274"/>
                <a:gd name="connsiteY2" fmla="*/ 737420 h 3214268"/>
                <a:gd name="connsiteX3" fmla="*/ 7472538 w 8367274"/>
                <a:gd name="connsiteY3" fmla="*/ 1632156 h 3214268"/>
                <a:gd name="connsiteX4" fmla="*/ 904590 w 8367274"/>
                <a:gd name="connsiteY4" fmla="*/ 1632156 h 3214268"/>
                <a:gd name="connsiteX5" fmla="*/ 22 w 8367274"/>
                <a:gd name="connsiteY5" fmla="*/ 2322230 h 3214268"/>
                <a:gd name="connsiteX6" fmla="*/ 934394 w 8367274"/>
                <a:gd name="connsiteY6" fmla="*/ 3206068 h 3214268"/>
                <a:gd name="connsiteX7" fmla="*/ 4199625 w 8367274"/>
                <a:gd name="connsiteY7" fmla="*/ 3171749 h 32142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322230 h 3206068"/>
                <a:gd name="connsiteX6" fmla="*/ 934394 w 8367274"/>
                <a:gd name="connsiteY6" fmla="*/ 3206068 h 3206068"/>
                <a:gd name="connsiteX7" fmla="*/ 4199625 w 8367274"/>
                <a:gd name="connsiteY7" fmla="*/ 3171749 h 32060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485245 h 3206068"/>
                <a:gd name="connsiteX6" fmla="*/ 934394 w 8367274"/>
                <a:gd name="connsiteY6" fmla="*/ 3206068 h 3206068"/>
                <a:gd name="connsiteX7" fmla="*/ 4199625 w 8367274"/>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4180576 w 8348225"/>
                <a:gd name="connsiteY7" fmla="*/ 3171749 h 3206403"/>
                <a:gd name="connsiteX0" fmla="*/ 98960 w 8348225"/>
                <a:gd name="connsiteY0" fmla="*/ 0 h 3209377"/>
                <a:gd name="connsiteX1" fmla="*/ 7610805 w 8348225"/>
                <a:gd name="connsiteY1" fmla="*/ 0 h 3209377"/>
                <a:gd name="connsiteX2" fmla="*/ 8348225 w 8348225"/>
                <a:gd name="connsiteY2" fmla="*/ 737420 h 3209377"/>
                <a:gd name="connsiteX3" fmla="*/ 7453489 w 8348225"/>
                <a:gd name="connsiteY3" fmla="*/ 1632156 h 3209377"/>
                <a:gd name="connsiteX4" fmla="*/ 885541 w 8348225"/>
                <a:gd name="connsiteY4" fmla="*/ 1632156 h 3209377"/>
                <a:gd name="connsiteX5" fmla="*/ 23 w 8348225"/>
                <a:gd name="connsiteY5" fmla="*/ 2416607 h 3209377"/>
                <a:gd name="connsiteX6" fmla="*/ 915345 w 8348225"/>
                <a:gd name="connsiteY6" fmla="*/ 3206068 h 3209377"/>
                <a:gd name="connsiteX7" fmla="*/ 2613207 w 8348225"/>
                <a:gd name="connsiteY7" fmla="*/ 3206076 h 3209377"/>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5082451 w 8348225"/>
                <a:gd name="connsiteY7" fmla="*/ 3203422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5097923 w 8348225"/>
                <a:gd name="connsiteY7" fmla="*/ 3183994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5097923 w 8348225"/>
                <a:gd name="connsiteY7" fmla="*/ 3196946 h 3206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48225" h="3206403">
                  <a:moveTo>
                    <a:pt x="98960" y="0"/>
                  </a:moveTo>
                  <a:lnTo>
                    <a:pt x="7610805" y="0"/>
                  </a:lnTo>
                  <a:cubicBezTo>
                    <a:pt x="8053257" y="39330"/>
                    <a:pt x="8328560" y="294968"/>
                    <a:pt x="8348225" y="737420"/>
                  </a:cubicBezTo>
                  <a:cubicBezTo>
                    <a:pt x="8335115" y="1419124"/>
                    <a:pt x="7899218" y="1609214"/>
                    <a:pt x="7453489" y="1632156"/>
                  </a:cubicBezTo>
                  <a:lnTo>
                    <a:pt x="885541" y="1632156"/>
                  </a:lnTo>
                  <a:cubicBezTo>
                    <a:pt x="349273" y="1632636"/>
                    <a:pt x="-3254" y="1957768"/>
                    <a:pt x="23" y="2416607"/>
                  </a:cubicBezTo>
                  <a:cubicBezTo>
                    <a:pt x="37816" y="3105556"/>
                    <a:pt x="465212" y="3213396"/>
                    <a:pt x="915345" y="3206068"/>
                  </a:cubicBezTo>
                  <a:lnTo>
                    <a:pt x="5097923" y="3196946"/>
                  </a:lnTo>
                </a:path>
              </a:pathLst>
            </a:custGeom>
            <a:noFill/>
            <a:ln w="120650" algn="ctr">
              <a:solidFill>
                <a:schemeClr val="tx1"/>
              </a:solidFill>
              <a:miter lim="800000"/>
              <a:headEnd/>
              <a:tailEnd/>
            </a:ln>
          </p:spPr>
          <p:txBody>
            <a:bodyPr rtlCol="0" anchor="ctr"/>
            <a:lstStyle/>
            <a:p>
              <a:pPr algn="ctr"/>
              <a:endParaRPr lang="en-US" sz="1400" dirty="0"/>
            </a:p>
          </p:txBody>
        </p:sp>
        <p:cxnSp>
          <p:nvCxnSpPr>
            <p:cNvPr id="134" name="Straight Connector 133">
              <a:extLst>
                <a:ext uri="{FF2B5EF4-FFF2-40B4-BE49-F238E27FC236}">
                  <a16:creationId xmlns:a16="http://schemas.microsoft.com/office/drawing/2014/main" id="{6C1911D8-97B5-6346-9FA8-DB700284F17F}"/>
                </a:ext>
              </a:extLst>
            </p:cNvPr>
            <p:cNvCxnSpPr>
              <a:cxnSpLocks/>
            </p:cNvCxnSpPr>
            <p:nvPr/>
          </p:nvCxnSpPr>
          <p:spPr>
            <a:xfrm flipH="1">
              <a:off x="6613648" y="2106216"/>
              <a:ext cx="0" cy="869158"/>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5" name="Pentagon 327">
              <a:extLst>
                <a:ext uri="{FF2B5EF4-FFF2-40B4-BE49-F238E27FC236}">
                  <a16:creationId xmlns:a16="http://schemas.microsoft.com/office/drawing/2014/main" id="{B7A580E7-490F-5443-BE77-FC9B4D4CEDA5}"/>
                </a:ext>
              </a:extLst>
            </p:cNvPr>
            <p:cNvSpPr/>
            <p:nvPr/>
          </p:nvSpPr>
          <p:spPr bwMode="gray">
            <a:xfrm>
              <a:off x="6613649" y="2106217"/>
              <a:ext cx="778031" cy="326231"/>
            </a:xfrm>
            <a:prstGeom prst="homePlate">
              <a:avLst>
                <a:gd name="adj" fmla="val 20985"/>
              </a:avLst>
            </a:prstGeom>
            <a:solidFill>
              <a:schemeClr val="accent5"/>
            </a:solidFill>
            <a:ln w="19050" algn="ctr">
              <a:noFill/>
              <a:miter lim="800000"/>
              <a:headEnd/>
              <a:tailEnd/>
            </a:ln>
          </p:spPr>
          <p:txBody>
            <a:bodyPr wrap="square" lIns="0" tIns="0" rIns="0" bIns="0" rtlCol="0" anchor="ctr"/>
            <a:lstStyle/>
            <a:p>
              <a:pPr algn="ctr">
                <a:buFont typeface="Wingdings 2" pitchFamily="18" charset="2"/>
                <a:buNone/>
              </a:pPr>
              <a:r>
                <a:rPr lang="da-DK" sz="800" b="1" dirty="0">
                  <a:solidFill>
                    <a:schemeClr val="bg1"/>
                  </a:solidFill>
                </a:rPr>
                <a:t>Lorem ipsum dolor sit ame</a:t>
              </a:r>
              <a:endParaRPr lang="en-US" sz="800" b="1" dirty="0">
                <a:solidFill>
                  <a:schemeClr val="bg1"/>
                </a:solidFill>
              </a:endParaRPr>
            </a:p>
          </p:txBody>
        </p:sp>
        <p:sp>
          <p:nvSpPr>
            <p:cNvPr id="136" name="Oval 135">
              <a:extLst>
                <a:ext uri="{FF2B5EF4-FFF2-40B4-BE49-F238E27FC236}">
                  <a16:creationId xmlns:a16="http://schemas.microsoft.com/office/drawing/2014/main" id="{E4275ED3-A761-604F-B674-5D7F4B4A87ED}"/>
                </a:ext>
              </a:extLst>
            </p:cNvPr>
            <p:cNvSpPr/>
            <p:nvPr/>
          </p:nvSpPr>
          <p:spPr bwMode="gray">
            <a:xfrm>
              <a:off x="6540415" y="2894688"/>
              <a:ext cx="146468" cy="146468"/>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37" name="Oval 136">
              <a:extLst>
                <a:ext uri="{FF2B5EF4-FFF2-40B4-BE49-F238E27FC236}">
                  <a16:creationId xmlns:a16="http://schemas.microsoft.com/office/drawing/2014/main" id="{4A1A7942-180D-ED40-BFA5-FDC4B5DEA7E7}"/>
                </a:ext>
              </a:extLst>
            </p:cNvPr>
            <p:cNvSpPr/>
            <p:nvPr/>
          </p:nvSpPr>
          <p:spPr bwMode="gray">
            <a:xfrm>
              <a:off x="9560873" y="5229427"/>
              <a:ext cx="146468" cy="146468"/>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38" name="Flowchart: Merge 99">
              <a:extLst>
                <a:ext uri="{FF2B5EF4-FFF2-40B4-BE49-F238E27FC236}">
                  <a16:creationId xmlns:a16="http://schemas.microsoft.com/office/drawing/2014/main" id="{F0FEEDD1-3C0A-2F40-8E2C-412A3C390800}"/>
                </a:ext>
              </a:extLst>
            </p:cNvPr>
            <p:cNvSpPr/>
            <p:nvPr/>
          </p:nvSpPr>
          <p:spPr bwMode="gray">
            <a:xfrm rot="16200000" flipH="1">
              <a:off x="6339097" y="5237647"/>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39" name="Flowchart: Merge 100">
              <a:extLst>
                <a:ext uri="{FF2B5EF4-FFF2-40B4-BE49-F238E27FC236}">
                  <a16:creationId xmlns:a16="http://schemas.microsoft.com/office/drawing/2014/main" id="{81823C90-E217-8A49-B338-47048627CE7B}"/>
                </a:ext>
              </a:extLst>
            </p:cNvPr>
            <p:cNvSpPr/>
            <p:nvPr/>
          </p:nvSpPr>
          <p:spPr bwMode="gray">
            <a:xfrm rot="18869118">
              <a:off x="4682008" y="5138582"/>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0" name="Flowchart: Merge 101">
              <a:extLst>
                <a:ext uri="{FF2B5EF4-FFF2-40B4-BE49-F238E27FC236}">
                  <a16:creationId xmlns:a16="http://schemas.microsoft.com/office/drawing/2014/main" id="{3A29C556-8182-2544-9CC8-125A4E99D74F}"/>
                </a:ext>
              </a:extLst>
            </p:cNvPr>
            <p:cNvSpPr/>
            <p:nvPr/>
          </p:nvSpPr>
          <p:spPr bwMode="gray">
            <a:xfrm rot="3373395">
              <a:off x="4768504" y="4108522"/>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1" name="Flowchart: Merge 102">
              <a:extLst>
                <a:ext uri="{FF2B5EF4-FFF2-40B4-BE49-F238E27FC236}">
                  <a16:creationId xmlns:a16="http://schemas.microsoft.com/office/drawing/2014/main" id="{BB4CBCF1-48FF-134C-B9D2-FC5230D695AF}"/>
                </a:ext>
              </a:extLst>
            </p:cNvPr>
            <p:cNvSpPr/>
            <p:nvPr/>
          </p:nvSpPr>
          <p:spPr bwMode="gray">
            <a:xfrm rot="5400000" flipH="1">
              <a:off x="6381150" y="4038280"/>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2" name="Flowchart: Merge 103">
              <a:extLst>
                <a:ext uri="{FF2B5EF4-FFF2-40B4-BE49-F238E27FC236}">
                  <a16:creationId xmlns:a16="http://schemas.microsoft.com/office/drawing/2014/main" id="{ED98EB8C-347A-3643-9A09-01908DD8D5E0}"/>
                </a:ext>
              </a:extLst>
            </p:cNvPr>
            <p:cNvSpPr/>
            <p:nvPr/>
          </p:nvSpPr>
          <p:spPr bwMode="gray">
            <a:xfrm rot="5400000" flipH="1">
              <a:off x="7919014" y="4038280"/>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3" name="Flowchart: Merge 104">
              <a:extLst>
                <a:ext uri="{FF2B5EF4-FFF2-40B4-BE49-F238E27FC236}">
                  <a16:creationId xmlns:a16="http://schemas.microsoft.com/office/drawing/2014/main" id="{6B840CA1-29AE-834C-971A-77DC4627F755}"/>
                </a:ext>
              </a:extLst>
            </p:cNvPr>
            <p:cNvSpPr/>
            <p:nvPr/>
          </p:nvSpPr>
          <p:spPr bwMode="gray">
            <a:xfrm rot="2587378">
              <a:off x="9421217" y="3937844"/>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4" name="Flowchart: Merge 105">
              <a:extLst>
                <a:ext uri="{FF2B5EF4-FFF2-40B4-BE49-F238E27FC236}">
                  <a16:creationId xmlns:a16="http://schemas.microsoft.com/office/drawing/2014/main" id="{4135BB8D-DF6E-7341-9B3C-33ABD1260C92}"/>
                </a:ext>
              </a:extLst>
            </p:cNvPr>
            <p:cNvSpPr/>
            <p:nvPr/>
          </p:nvSpPr>
          <p:spPr bwMode="gray">
            <a:xfrm rot="17307109">
              <a:off x="9263340" y="2898326"/>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5" name="Rectangle 4">
              <a:extLst>
                <a:ext uri="{FF2B5EF4-FFF2-40B4-BE49-F238E27FC236}">
                  <a16:creationId xmlns:a16="http://schemas.microsoft.com/office/drawing/2014/main" id="{F99055AF-3740-DC41-83B5-088C1ACA4D98}"/>
                </a:ext>
              </a:extLst>
            </p:cNvPr>
            <p:cNvSpPr>
              <a:spLocks noChangeArrowheads="1"/>
            </p:cNvSpPr>
            <p:nvPr/>
          </p:nvSpPr>
          <p:spPr bwMode="auto">
            <a:xfrm>
              <a:off x="1876425" y="2138173"/>
              <a:ext cx="2728410" cy="1123777"/>
            </a:xfrm>
            <a:prstGeom prst="rect">
              <a:avLst/>
            </a:prstGeom>
            <a:solidFill>
              <a:schemeClr val="accent2"/>
            </a:solidFill>
            <a:ln w="12700" algn="ctr">
              <a:noFill/>
              <a:miter lim="800000"/>
              <a:headEnd/>
              <a:tailEnd/>
            </a:ln>
          </p:spPr>
          <p:txBody>
            <a:bodyPr wrap="square" lIns="68580" tIns="68580" rIns="68580" bIns="68580">
              <a:spAutoFit/>
            </a:bodyPr>
            <a:lstStyle/>
            <a:p>
              <a:pPr marL="128588" indent="-128588" defTabSz="571500">
                <a:spcAft>
                  <a:spcPts val="450"/>
                </a:spcAft>
                <a:buFont typeface="Arial" panose="020B0604020202020204" pitchFamily="34" charset="0"/>
                <a:buChar char="•"/>
              </a:pPr>
              <a:r>
                <a:rPr lang="da-DK" sz="1100" b="1" dirty="0">
                  <a:solidFill>
                    <a:schemeClr val="bg1"/>
                  </a:solidFill>
                  <a:ea typeface="ＭＳ Ｐゴシック" charset="-128"/>
                </a:rPr>
                <a:t>Lorem ipsum dolor sit ame</a:t>
              </a:r>
            </a:p>
            <a:p>
              <a:pPr marL="128588" indent="-128588" defTabSz="571500">
                <a:spcAft>
                  <a:spcPts val="450"/>
                </a:spcAft>
                <a:buFont typeface="Arial" panose="020B0604020202020204" pitchFamily="34" charset="0"/>
                <a:buChar char="•"/>
              </a:pPr>
              <a:r>
                <a:rPr lang="da-DK" sz="1100" dirty="0">
                  <a:solidFill>
                    <a:schemeClr val="bg1"/>
                  </a:solidFill>
                  <a:ea typeface="ＭＳ Ｐゴシック" charset="-128"/>
                </a:rPr>
                <a:t>Lorem ipsum dolor sit ame</a:t>
              </a:r>
            </a:p>
            <a:p>
              <a:pPr marL="128588" indent="-128588" defTabSz="571500">
                <a:spcAft>
                  <a:spcPts val="450"/>
                </a:spcAft>
                <a:buFont typeface="Arial" panose="020B0604020202020204" pitchFamily="34" charset="0"/>
                <a:buChar char="•"/>
              </a:pPr>
              <a:r>
                <a:rPr lang="da-DK" sz="1100" dirty="0">
                  <a:solidFill>
                    <a:schemeClr val="bg1"/>
                  </a:solidFill>
                  <a:ea typeface="ＭＳ Ｐゴシック" charset="-128"/>
                </a:rPr>
                <a:t>Lorem ipsum dolor sit ameLorem ipsum dolor sit ameLorem ipsum dolor sit ameLorem ipsum dolor sit ameLorem ipsum dolor sit ameLorem ipsum dolor sit ameLorem ipsum dolor sit ame</a:t>
              </a:r>
              <a:endParaRPr lang="en-US" sz="1100" dirty="0">
                <a:solidFill>
                  <a:schemeClr val="bg1"/>
                </a:solidFill>
                <a:ea typeface="ＭＳ Ｐゴシック" charset="-128"/>
              </a:endParaRPr>
            </a:p>
          </p:txBody>
        </p:sp>
        <p:grpSp>
          <p:nvGrpSpPr>
            <p:cNvPr id="146" name="Group 145">
              <a:extLst>
                <a:ext uri="{FF2B5EF4-FFF2-40B4-BE49-F238E27FC236}">
                  <a16:creationId xmlns:a16="http://schemas.microsoft.com/office/drawing/2014/main" id="{E13D498A-5044-2342-9A61-924D8A9E4955}"/>
                </a:ext>
              </a:extLst>
            </p:cNvPr>
            <p:cNvGrpSpPr/>
            <p:nvPr/>
          </p:nvGrpSpPr>
          <p:grpSpPr>
            <a:xfrm>
              <a:off x="7434872" y="2230636"/>
              <a:ext cx="1884408" cy="676869"/>
              <a:chOff x="7890685" y="1837135"/>
              <a:chExt cx="2512543" cy="902492"/>
            </a:xfrm>
          </p:grpSpPr>
          <p:sp>
            <p:nvSpPr>
              <p:cNvPr id="147" name="Rectangle: Top Corners Rounded 16">
                <a:extLst>
                  <a:ext uri="{FF2B5EF4-FFF2-40B4-BE49-F238E27FC236}">
                    <a16:creationId xmlns:a16="http://schemas.microsoft.com/office/drawing/2014/main" id="{7646117D-7E5A-2641-A528-0D3361D7D7A5}"/>
                  </a:ext>
                </a:extLst>
              </p:cNvPr>
              <p:cNvSpPr/>
              <p:nvPr/>
            </p:nvSpPr>
            <p:spPr bwMode="gray">
              <a:xfrm>
                <a:off x="7890685" y="1837135"/>
                <a:ext cx="604043" cy="212232"/>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4</a:t>
                </a:r>
              </a:p>
            </p:txBody>
          </p:sp>
          <p:sp>
            <p:nvSpPr>
              <p:cNvPr id="148" name="Rectangle 147">
                <a:extLst>
                  <a:ext uri="{FF2B5EF4-FFF2-40B4-BE49-F238E27FC236}">
                    <a16:creationId xmlns:a16="http://schemas.microsoft.com/office/drawing/2014/main" id="{4CFBB34D-771A-4B4A-B65B-829D09CA3FCF}"/>
                  </a:ext>
                </a:extLst>
              </p:cNvPr>
              <p:cNvSpPr/>
              <p:nvPr/>
            </p:nvSpPr>
            <p:spPr bwMode="gray">
              <a:xfrm>
                <a:off x="7890685" y="2042992"/>
                <a:ext cx="604043" cy="696635"/>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49" name="Rectangle 148">
                <a:extLst>
                  <a:ext uri="{FF2B5EF4-FFF2-40B4-BE49-F238E27FC236}">
                    <a16:creationId xmlns:a16="http://schemas.microsoft.com/office/drawing/2014/main" id="{8AFD84D8-093B-AB4C-9216-E45466F4BB68}"/>
                  </a:ext>
                </a:extLst>
              </p:cNvPr>
              <p:cNvSpPr/>
              <p:nvPr/>
            </p:nvSpPr>
            <p:spPr bwMode="gray">
              <a:xfrm>
                <a:off x="8526685" y="2124224"/>
                <a:ext cx="434527" cy="197785"/>
              </a:xfrm>
              <a:prstGeom prst="rect">
                <a:avLst/>
              </a:prstGeom>
            </p:spPr>
            <p:txBody>
              <a:bodyPr wrap="none" lIns="0" tIns="0" rIns="0" bIns="0" rtlCol="0" anchor="ctr" anchorCtr="0">
                <a:spAutoFit/>
              </a:bodyPr>
              <a:lstStyle/>
              <a:p>
                <a:r>
                  <a:rPr lang="en-US" sz="1100" dirty="0">
                    <a:solidFill>
                      <a:srgbClr val="43B02A"/>
                    </a:solidFill>
                  </a:rPr>
                  <a:t>$3.7M</a:t>
                </a:r>
                <a:endParaRPr lang="en-US" sz="600" dirty="0">
                  <a:solidFill>
                    <a:srgbClr val="43B02A"/>
                  </a:solidFill>
                </a:endParaRPr>
              </a:p>
            </p:txBody>
          </p:sp>
          <p:grpSp>
            <p:nvGrpSpPr>
              <p:cNvPr id="150" name="Group 374">
                <a:extLst>
                  <a:ext uri="{FF2B5EF4-FFF2-40B4-BE49-F238E27FC236}">
                    <a16:creationId xmlns:a16="http://schemas.microsoft.com/office/drawing/2014/main" id="{3A009A1C-BCED-BC4F-BC86-AE1E0DDAE92B}"/>
                  </a:ext>
                </a:extLst>
              </p:cNvPr>
              <p:cNvGrpSpPr>
                <a:grpSpLocks noChangeAspect="1"/>
              </p:cNvGrpSpPr>
              <p:nvPr/>
            </p:nvGrpSpPr>
            <p:grpSpPr bwMode="auto">
              <a:xfrm>
                <a:off x="8055546" y="2085958"/>
                <a:ext cx="274320" cy="274320"/>
                <a:chOff x="6996" y="1195"/>
                <a:chExt cx="340" cy="340"/>
              </a:xfrm>
              <a:solidFill>
                <a:srgbClr val="43B02A"/>
              </a:solidFill>
            </p:grpSpPr>
            <p:sp>
              <p:nvSpPr>
                <p:cNvPr id="155" name="Freeform 375">
                  <a:extLst>
                    <a:ext uri="{FF2B5EF4-FFF2-40B4-BE49-F238E27FC236}">
                      <a16:creationId xmlns:a16="http://schemas.microsoft.com/office/drawing/2014/main" id="{B4956FC1-1331-A647-927D-38C13B0D438B}"/>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56" name="Freeform 376">
                  <a:extLst>
                    <a:ext uri="{FF2B5EF4-FFF2-40B4-BE49-F238E27FC236}">
                      <a16:creationId xmlns:a16="http://schemas.microsoft.com/office/drawing/2014/main" id="{9129FAEB-C4C6-4C44-A619-E644BC0DB65A}"/>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57" name="Freeform 377">
                  <a:extLst>
                    <a:ext uri="{FF2B5EF4-FFF2-40B4-BE49-F238E27FC236}">
                      <a16:creationId xmlns:a16="http://schemas.microsoft.com/office/drawing/2014/main" id="{67DD0207-B1A5-AA4A-8ADD-31A6E83F7D40}"/>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grpSp>
          <p:sp>
            <p:nvSpPr>
              <p:cNvPr id="151" name="Freeform 756">
                <a:extLst>
                  <a:ext uri="{FF2B5EF4-FFF2-40B4-BE49-F238E27FC236}">
                    <a16:creationId xmlns:a16="http://schemas.microsoft.com/office/drawing/2014/main" id="{52718344-DC2B-5349-BD17-1D337198CCC7}"/>
                  </a:ext>
                </a:extLst>
              </p:cNvPr>
              <p:cNvSpPr>
                <a:spLocks noChangeAspect="1" noEditPoints="1"/>
              </p:cNvSpPr>
              <p:nvPr/>
            </p:nvSpPr>
            <p:spPr bwMode="auto">
              <a:xfrm>
                <a:off x="8055546" y="2434506"/>
                <a:ext cx="274320" cy="27432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sz="1400" dirty="0"/>
              </a:p>
            </p:txBody>
          </p:sp>
          <p:sp>
            <p:nvSpPr>
              <p:cNvPr id="152" name="Rectangle 151">
                <a:extLst>
                  <a:ext uri="{FF2B5EF4-FFF2-40B4-BE49-F238E27FC236}">
                    <a16:creationId xmlns:a16="http://schemas.microsoft.com/office/drawing/2014/main" id="{9D15E9B3-707F-8245-A3A7-7C510A2D6B5B}"/>
                  </a:ext>
                </a:extLst>
              </p:cNvPr>
              <p:cNvSpPr/>
              <p:nvPr/>
            </p:nvSpPr>
            <p:spPr bwMode="gray">
              <a:xfrm>
                <a:off x="8526685" y="2472773"/>
                <a:ext cx="252850" cy="197785"/>
              </a:xfrm>
              <a:prstGeom prst="rect">
                <a:avLst/>
              </a:prstGeom>
            </p:spPr>
            <p:txBody>
              <a:bodyPr wrap="none" lIns="0" tIns="0" rIns="0" bIns="0" rtlCol="0" anchor="ctr" anchorCtr="0">
                <a:spAutoFit/>
              </a:bodyPr>
              <a:lstStyle/>
              <a:p>
                <a:r>
                  <a:rPr lang="en-US" sz="1100" dirty="0">
                    <a:solidFill>
                      <a:srgbClr val="00A3E0"/>
                    </a:solidFill>
                  </a:rPr>
                  <a:t>265</a:t>
                </a:r>
              </a:p>
            </p:txBody>
          </p:sp>
          <p:sp>
            <p:nvSpPr>
              <p:cNvPr id="153" name="Rectangle 152">
                <a:extLst>
                  <a:ext uri="{FF2B5EF4-FFF2-40B4-BE49-F238E27FC236}">
                    <a16:creationId xmlns:a16="http://schemas.microsoft.com/office/drawing/2014/main" id="{8A8C383B-E28A-844E-AE00-EF4A208F7895}"/>
                  </a:ext>
                </a:extLst>
              </p:cNvPr>
              <p:cNvSpPr/>
              <p:nvPr/>
            </p:nvSpPr>
            <p:spPr bwMode="gray">
              <a:xfrm>
                <a:off x="9101519" y="2151196"/>
                <a:ext cx="1301709" cy="143844"/>
              </a:xfrm>
              <a:prstGeom prst="rect">
                <a:avLst/>
              </a:prstGeom>
            </p:spPr>
            <p:txBody>
              <a:bodyPr wrap="none" lIns="0" tIns="0" rIns="0" bIns="0" rtlCol="0" anchor="ctr" anchorCtr="0">
                <a:spAutoFit/>
              </a:bodyPr>
              <a:lstStyle/>
              <a:p>
                <a:r>
                  <a:rPr lang="da-DK" sz="800" dirty="0"/>
                  <a:t>Lorem ipsum dolor sit ame</a:t>
                </a:r>
                <a:endParaRPr lang="en-US" sz="800" dirty="0"/>
              </a:p>
            </p:txBody>
          </p:sp>
          <p:sp>
            <p:nvSpPr>
              <p:cNvPr id="154" name="Rectangle 153">
                <a:extLst>
                  <a:ext uri="{FF2B5EF4-FFF2-40B4-BE49-F238E27FC236}">
                    <a16:creationId xmlns:a16="http://schemas.microsoft.com/office/drawing/2014/main" id="{4032C727-1685-FD4A-88DA-5AF3FBA31D5D}"/>
                  </a:ext>
                </a:extLst>
              </p:cNvPr>
              <p:cNvSpPr/>
              <p:nvPr/>
            </p:nvSpPr>
            <p:spPr bwMode="gray">
              <a:xfrm>
                <a:off x="8891879" y="2504765"/>
                <a:ext cx="1301709" cy="143844"/>
              </a:xfrm>
              <a:prstGeom prst="rect">
                <a:avLst/>
              </a:prstGeom>
            </p:spPr>
            <p:txBody>
              <a:bodyPr wrap="none" lIns="0" tIns="0" rIns="0" bIns="0" rtlCol="0" anchor="b" anchorCtr="0">
                <a:spAutoFit/>
              </a:bodyPr>
              <a:lstStyle/>
              <a:p>
                <a:r>
                  <a:rPr lang="da-DK" sz="800" dirty="0"/>
                  <a:t>Lorem ipsum dolor sit ame</a:t>
                </a:r>
                <a:endParaRPr lang="en-US" sz="800" dirty="0"/>
              </a:p>
            </p:txBody>
          </p:sp>
        </p:grpSp>
        <p:sp>
          <p:nvSpPr>
            <p:cNvPr id="158" name="Rectangle: Top Corners Rounded 59">
              <a:extLst>
                <a:ext uri="{FF2B5EF4-FFF2-40B4-BE49-F238E27FC236}">
                  <a16:creationId xmlns:a16="http://schemas.microsoft.com/office/drawing/2014/main" id="{1A54A8D5-5B08-DC43-A995-00917E3000E0}"/>
                </a:ext>
              </a:extLst>
            </p:cNvPr>
            <p:cNvSpPr/>
            <p:nvPr/>
          </p:nvSpPr>
          <p:spPr bwMode="gray">
            <a:xfrm flipH="1">
              <a:off x="3989491" y="4363688"/>
              <a:ext cx="453032" cy="159174"/>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7</a:t>
              </a:r>
            </a:p>
          </p:txBody>
        </p:sp>
        <p:sp>
          <p:nvSpPr>
            <p:cNvPr id="159" name="Rectangle 158">
              <a:extLst>
                <a:ext uri="{FF2B5EF4-FFF2-40B4-BE49-F238E27FC236}">
                  <a16:creationId xmlns:a16="http://schemas.microsoft.com/office/drawing/2014/main" id="{3543EDD6-0E19-B347-BAF3-5B32D11B425E}"/>
                </a:ext>
              </a:extLst>
            </p:cNvPr>
            <p:cNvSpPr/>
            <p:nvPr/>
          </p:nvSpPr>
          <p:spPr bwMode="gray">
            <a:xfrm flipH="1">
              <a:off x="3989491" y="4518082"/>
              <a:ext cx="453032" cy="522476"/>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60" name="Rectangle 159">
              <a:extLst>
                <a:ext uri="{FF2B5EF4-FFF2-40B4-BE49-F238E27FC236}">
                  <a16:creationId xmlns:a16="http://schemas.microsoft.com/office/drawing/2014/main" id="{FD6BD7D4-CBFB-CF4C-8A44-D644FA51B940}"/>
                </a:ext>
              </a:extLst>
            </p:cNvPr>
            <p:cNvSpPr/>
            <p:nvPr/>
          </p:nvSpPr>
          <p:spPr bwMode="gray">
            <a:xfrm flipH="1">
              <a:off x="3547140" y="4579007"/>
              <a:ext cx="355867" cy="148338"/>
            </a:xfrm>
            <a:prstGeom prst="rect">
              <a:avLst/>
            </a:prstGeom>
          </p:spPr>
          <p:txBody>
            <a:bodyPr wrap="square" lIns="0" tIns="0" rIns="0" bIns="0" rtlCol="0" anchor="ctr" anchorCtr="0">
              <a:spAutoFit/>
            </a:bodyPr>
            <a:lstStyle/>
            <a:p>
              <a:r>
                <a:rPr lang="en-US" sz="1100" dirty="0">
                  <a:solidFill>
                    <a:srgbClr val="43B02A"/>
                  </a:solidFill>
                </a:rPr>
                <a:t>$4.8M</a:t>
              </a:r>
              <a:endParaRPr lang="en-US" sz="600" dirty="0">
                <a:solidFill>
                  <a:srgbClr val="43B02A"/>
                </a:solidFill>
              </a:endParaRPr>
            </a:p>
          </p:txBody>
        </p:sp>
        <p:grpSp>
          <p:nvGrpSpPr>
            <p:cNvPr id="161" name="Group 374">
              <a:extLst>
                <a:ext uri="{FF2B5EF4-FFF2-40B4-BE49-F238E27FC236}">
                  <a16:creationId xmlns:a16="http://schemas.microsoft.com/office/drawing/2014/main" id="{2E62891A-4E47-474A-9553-685955839E09}"/>
                </a:ext>
              </a:extLst>
            </p:cNvPr>
            <p:cNvGrpSpPr>
              <a:grpSpLocks noChangeAspect="1"/>
            </p:cNvGrpSpPr>
            <p:nvPr/>
          </p:nvGrpSpPr>
          <p:grpSpPr bwMode="auto">
            <a:xfrm>
              <a:off x="4113137" y="4550306"/>
              <a:ext cx="205740" cy="205740"/>
              <a:chOff x="6996" y="1195"/>
              <a:chExt cx="340" cy="340"/>
            </a:xfrm>
            <a:solidFill>
              <a:srgbClr val="43B02A"/>
            </a:solidFill>
          </p:grpSpPr>
          <p:sp>
            <p:nvSpPr>
              <p:cNvPr id="162" name="Freeform 375">
                <a:extLst>
                  <a:ext uri="{FF2B5EF4-FFF2-40B4-BE49-F238E27FC236}">
                    <a16:creationId xmlns:a16="http://schemas.microsoft.com/office/drawing/2014/main" id="{A103BD05-FC4B-8E42-9E37-15EF93477BEE}"/>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63" name="Freeform 376">
                <a:extLst>
                  <a:ext uri="{FF2B5EF4-FFF2-40B4-BE49-F238E27FC236}">
                    <a16:creationId xmlns:a16="http://schemas.microsoft.com/office/drawing/2014/main" id="{CB2CC470-C91D-1644-94B4-29846E0A2A17}"/>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64" name="Freeform 377">
                <a:extLst>
                  <a:ext uri="{FF2B5EF4-FFF2-40B4-BE49-F238E27FC236}">
                    <a16:creationId xmlns:a16="http://schemas.microsoft.com/office/drawing/2014/main" id="{815D08DB-848B-AF46-AC7C-0BB504B7AAE5}"/>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grpSp>
        <p:sp>
          <p:nvSpPr>
            <p:cNvPr id="165" name="Freeform 756">
              <a:extLst>
                <a:ext uri="{FF2B5EF4-FFF2-40B4-BE49-F238E27FC236}">
                  <a16:creationId xmlns:a16="http://schemas.microsoft.com/office/drawing/2014/main" id="{D99D703E-5216-FE4C-A133-0F1FC6FDCE5F}"/>
                </a:ext>
              </a:extLst>
            </p:cNvPr>
            <p:cNvSpPr>
              <a:spLocks noChangeAspect="1" noEditPoints="1"/>
            </p:cNvSpPr>
            <p:nvPr/>
          </p:nvSpPr>
          <p:spPr bwMode="auto">
            <a:xfrm>
              <a:off x="4113137" y="4811717"/>
              <a:ext cx="205740" cy="20574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sz="1400" dirty="0"/>
            </a:p>
          </p:txBody>
        </p:sp>
        <p:sp>
          <p:nvSpPr>
            <p:cNvPr id="166" name="Rectangle 165">
              <a:extLst>
                <a:ext uri="{FF2B5EF4-FFF2-40B4-BE49-F238E27FC236}">
                  <a16:creationId xmlns:a16="http://schemas.microsoft.com/office/drawing/2014/main" id="{06CB57CF-C80C-E04D-B2D0-8BDA658F0AA6}"/>
                </a:ext>
              </a:extLst>
            </p:cNvPr>
            <p:cNvSpPr/>
            <p:nvPr/>
          </p:nvSpPr>
          <p:spPr bwMode="gray">
            <a:xfrm flipH="1">
              <a:off x="3709442" y="4840419"/>
              <a:ext cx="206788" cy="148338"/>
            </a:xfrm>
            <a:prstGeom prst="rect">
              <a:avLst/>
            </a:prstGeom>
          </p:spPr>
          <p:txBody>
            <a:bodyPr wrap="square" lIns="0" tIns="0" rIns="0" bIns="0" rtlCol="0" anchor="ctr" anchorCtr="0">
              <a:spAutoFit/>
            </a:bodyPr>
            <a:lstStyle/>
            <a:p>
              <a:r>
                <a:rPr lang="en-US" sz="1100" dirty="0">
                  <a:solidFill>
                    <a:srgbClr val="00A3E0"/>
                  </a:solidFill>
                </a:rPr>
                <a:t>415</a:t>
              </a:r>
            </a:p>
          </p:txBody>
        </p:sp>
        <p:sp>
          <p:nvSpPr>
            <p:cNvPr id="167" name="Rectangle 166">
              <a:extLst>
                <a:ext uri="{FF2B5EF4-FFF2-40B4-BE49-F238E27FC236}">
                  <a16:creationId xmlns:a16="http://schemas.microsoft.com/office/drawing/2014/main" id="{E3C3728B-01C2-0846-A21F-E35685ACAD6F}"/>
                </a:ext>
              </a:extLst>
            </p:cNvPr>
            <p:cNvSpPr/>
            <p:nvPr/>
          </p:nvSpPr>
          <p:spPr bwMode="gray">
            <a:xfrm flipH="1">
              <a:off x="2487180" y="4599235"/>
              <a:ext cx="1047217" cy="107883"/>
            </a:xfrm>
            <a:prstGeom prst="rect">
              <a:avLst/>
            </a:prstGeom>
          </p:spPr>
          <p:txBody>
            <a:bodyPr wrap="square" lIns="0" tIns="0" rIns="0" bIns="0" rtlCol="0" anchor="ctr" anchorCtr="0">
              <a:spAutoFit/>
            </a:bodyPr>
            <a:lstStyle/>
            <a:p>
              <a:pPr algn="r"/>
              <a:r>
                <a:rPr lang="da-DK" sz="800" dirty="0"/>
                <a:t>Lorem ipsum dolor sit ame</a:t>
              </a:r>
              <a:endParaRPr lang="en-US" sz="800" dirty="0"/>
            </a:p>
          </p:txBody>
        </p:sp>
        <p:sp>
          <p:nvSpPr>
            <p:cNvPr id="168" name="Rectangle 167">
              <a:extLst>
                <a:ext uri="{FF2B5EF4-FFF2-40B4-BE49-F238E27FC236}">
                  <a16:creationId xmlns:a16="http://schemas.microsoft.com/office/drawing/2014/main" id="{FB4B11CB-AB8D-E545-A25F-2AB3AD309B56}"/>
                </a:ext>
              </a:extLst>
            </p:cNvPr>
            <p:cNvSpPr/>
            <p:nvPr/>
          </p:nvSpPr>
          <p:spPr bwMode="gray">
            <a:xfrm flipH="1">
              <a:off x="2524855" y="4864412"/>
              <a:ext cx="1166772" cy="107883"/>
            </a:xfrm>
            <a:prstGeom prst="rect">
              <a:avLst/>
            </a:prstGeom>
          </p:spPr>
          <p:txBody>
            <a:bodyPr wrap="square" lIns="0" tIns="0" rIns="0" bIns="0" rtlCol="0" anchor="b" anchorCtr="0">
              <a:spAutoFit/>
            </a:bodyPr>
            <a:lstStyle/>
            <a:p>
              <a:pPr algn="r"/>
              <a:r>
                <a:rPr lang="da-DK" sz="800" dirty="0"/>
                <a:t>Lorem ipsum dolor sit ame</a:t>
              </a:r>
              <a:endParaRPr lang="en-US" sz="800" dirty="0"/>
            </a:p>
          </p:txBody>
        </p:sp>
        <p:sp>
          <p:nvSpPr>
            <p:cNvPr id="169" name="Rectangle 168">
              <a:extLst>
                <a:ext uri="{FF2B5EF4-FFF2-40B4-BE49-F238E27FC236}">
                  <a16:creationId xmlns:a16="http://schemas.microsoft.com/office/drawing/2014/main" id="{8A67CDAE-B67F-1A4A-A42B-8113BAB12846}"/>
                </a:ext>
              </a:extLst>
            </p:cNvPr>
            <p:cNvSpPr/>
            <p:nvPr/>
          </p:nvSpPr>
          <p:spPr bwMode="gray">
            <a:xfrm>
              <a:off x="5299801" y="4345570"/>
              <a:ext cx="787075" cy="215765"/>
            </a:xfrm>
            <a:prstGeom prst="rect">
              <a:avLst/>
            </a:prstGeom>
          </p:spPr>
          <p:txBody>
            <a:bodyPr wrap="square" lIns="0" tIns="0" rIns="0" bIns="0" rtlCol="0" anchor="ctr" anchorCtr="0">
              <a:spAutoFit/>
            </a:bodyPr>
            <a:lstStyle/>
            <a:p>
              <a:r>
                <a:rPr lang="da-DK" sz="800" b="1" dirty="0"/>
                <a:t>Lorem ipsum dolor sit ame</a:t>
              </a:r>
              <a:endParaRPr lang="en-US" sz="800" b="1" dirty="0"/>
            </a:p>
          </p:txBody>
        </p:sp>
        <p:sp>
          <p:nvSpPr>
            <p:cNvPr id="170" name="TextBox 169">
              <a:extLst>
                <a:ext uri="{FF2B5EF4-FFF2-40B4-BE49-F238E27FC236}">
                  <a16:creationId xmlns:a16="http://schemas.microsoft.com/office/drawing/2014/main" id="{3267F1C1-88FE-4F4A-9E79-6945ABEDC8CC}"/>
                </a:ext>
              </a:extLst>
            </p:cNvPr>
            <p:cNvSpPr txBox="1"/>
            <p:nvPr/>
          </p:nvSpPr>
          <p:spPr>
            <a:xfrm>
              <a:off x="6722054" y="4235747"/>
              <a:ext cx="1332737" cy="881041"/>
            </a:xfrm>
            <a:prstGeom prst="rect">
              <a:avLst/>
            </a:prstGeom>
            <a:noFill/>
            <a:ln>
              <a:solidFill>
                <a:srgbClr val="00ABAB"/>
              </a:solidFill>
            </a:ln>
          </p:spPr>
          <p:txBody>
            <a:bodyPr wrap="square" lIns="68580" tIns="68580" rIns="68580" bIns="68580" rtlCol="0">
              <a:spAutoFit/>
            </a:bodyPr>
            <a:lstStyle/>
            <a:p>
              <a:pPr>
                <a:spcBef>
                  <a:spcPts val="225"/>
                </a:spcBef>
                <a:buSzPct val="100000"/>
              </a:pPr>
              <a:r>
                <a:rPr lang="da-DK" sz="800" b="1" dirty="0"/>
                <a:t>Lorem ipsum dolor sit ame</a:t>
              </a:r>
              <a:r>
                <a:rPr lang="en-US" sz="800" b="1" dirty="0"/>
                <a:t>:</a:t>
              </a:r>
            </a:p>
            <a:p>
              <a:pPr marL="85725" indent="-85725">
                <a:spcBef>
                  <a:spcPts val="225"/>
                </a:spcBef>
                <a:buSzPct val="100000"/>
                <a:buFont typeface="Arial" panose="020B0604020202020204" pitchFamily="34" charset="0"/>
                <a:buChar char="•"/>
              </a:pPr>
              <a:r>
                <a:rPr lang="da-DK" sz="800" dirty="0"/>
                <a:t>Lorem ipsum dolor sit ame</a:t>
              </a:r>
            </a:p>
            <a:p>
              <a:pPr marL="85725" indent="-85725">
                <a:spcBef>
                  <a:spcPts val="225"/>
                </a:spcBef>
                <a:buSzPct val="100000"/>
                <a:buFont typeface="Arial" panose="020B0604020202020204" pitchFamily="34" charset="0"/>
                <a:buChar char="•"/>
              </a:pPr>
              <a:r>
                <a:rPr lang="da-DK" sz="800" dirty="0"/>
                <a:t>Lorem ipsum dolor sit ame</a:t>
              </a:r>
            </a:p>
            <a:p>
              <a:pPr marL="85725" indent="-85725">
                <a:spcBef>
                  <a:spcPts val="225"/>
                </a:spcBef>
                <a:buSzPct val="100000"/>
                <a:buFont typeface="Arial" panose="020B0604020202020204" pitchFamily="34" charset="0"/>
                <a:buChar char="•"/>
              </a:pPr>
              <a:r>
                <a:rPr lang="da-DK" sz="800" dirty="0"/>
                <a:t>Lorem ipsum dolor sit ame</a:t>
              </a:r>
            </a:p>
            <a:p>
              <a:pPr marL="85725" indent="-85725">
                <a:spcBef>
                  <a:spcPts val="225"/>
                </a:spcBef>
                <a:buSzPct val="100000"/>
                <a:buFont typeface="Arial" panose="020B0604020202020204" pitchFamily="34" charset="0"/>
                <a:buChar char="•"/>
              </a:pPr>
              <a:r>
                <a:rPr lang="da-DK" sz="800" dirty="0"/>
                <a:t>Lorem ipsum dolor sit ame</a:t>
              </a:r>
            </a:p>
            <a:p>
              <a:pPr marL="85725" indent="-85725">
                <a:spcBef>
                  <a:spcPts val="225"/>
                </a:spcBef>
                <a:buSzPct val="100000"/>
                <a:buFont typeface="Arial" panose="020B0604020202020204" pitchFamily="34" charset="0"/>
                <a:buChar char="•"/>
              </a:pPr>
              <a:r>
                <a:rPr lang="da-DK" sz="800" dirty="0"/>
                <a:t>Lorem ipsum dolor sit ame</a:t>
              </a:r>
              <a:endParaRPr lang="en-US" sz="800" dirty="0"/>
            </a:p>
          </p:txBody>
        </p:sp>
        <p:sp>
          <p:nvSpPr>
            <p:cNvPr id="171" name="TextBox 170">
              <a:extLst>
                <a:ext uri="{FF2B5EF4-FFF2-40B4-BE49-F238E27FC236}">
                  <a16:creationId xmlns:a16="http://schemas.microsoft.com/office/drawing/2014/main" id="{75003379-8871-F149-8B14-DF7F94748AF6}"/>
                </a:ext>
              </a:extLst>
            </p:cNvPr>
            <p:cNvSpPr txBox="1"/>
            <p:nvPr/>
          </p:nvSpPr>
          <p:spPr>
            <a:xfrm>
              <a:off x="8465560" y="4235746"/>
              <a:ext cx="1045154" cy="975267"/>
            </a:xfrm>
            <a:prstGeom prst="rect">
              <a:avLst/>
            </a:prstGeom>
            <a:solidFill>
              <a:srgbClr val="00ABAB"/>
            </a:solidFill>
            <a:ln>
              <a:solidFill>
                <a:srgbClr val="00ABAB"/>
              </a:solidFill>
            </a:ln>
          </p:spPr>
          <p:txBody>
            <a:bodyPr wrap="square" lIns="34290" tIns="34290" rIns="34290" bIns="34290" rtlCol="0">
              <a:noAutofit/>
            </a:bodyPr>
            <a:lstStyle/>
            <a:p>
              <a:pPr>
                <a:spcBef>
                  <a:spcPts val="450"/>
                </a:spcBef>
                <a:buSzPct val="100000"/>
              </a:pPr>
              <a:r>
                <a:rPr lang="da-DK" sz="800" dirty="0">
                  <a:solidFill>
                    <a:schemeClr val="bg1"/>
                  </a:solidFill>
                </a:rPr>
                <a:t>Lorem ipsum dolor sit ameLorem ipsum dolor sit ameLorem ipsum dolor sit ameLorem ipsum dolor sit ameLorem ipsum dolor sit ameLorem ipsum dolor sit ame</a:t>
              </a:r>
              <a:endParaRPr lang="en-US" sz="800" dirty="0">
                <a:solidFill>
                  <a:schemeClr val="bg1"/>
                </a:solidFill>
              </a:endParaRPr>
            </a:p>
          </p:txBody>
        </p:sp>
        <p:sp>
          <p:nvSpPr>
            <p:cNvPr id="172" name="Freeform 429">
              <a:extLst>
                <a:ext uri="{FF2B5EF4-FFF2-40B4-BE49-F238E27FC236}">
                  <a16:creationId xmlns:a16="http://schemas.microsoft.com/office/drawing/2014/main" id="{7171CB03-137D-674F-AC53-F7E618735781}"/>
                </a:ext>
              </a:extLst>
            </p:cNvPr>
            <p:cNvSpPr>
              <a:spLocks noChangeAspect="1" noEditPoints="1"/>
            </p:cNvSpPr>
            <p:nvPr/>
          </p:nvSpPr>
          <p:spPr bwMode="auto">
            <a:xfrm>
              <a:off x="5048525" y="4350583"/>
              <a:ext cx="205740" cy="205740"/>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1400" dirty="0"/>
            </a:p>
          </p:txBody>
        </p:sp>
        <p:sp>
          <p:nvSpPr>
            <p:cNvPr id="173" name="Rectangle 172">
              <a:extLst>
                <a:ext uri="{FF2B5EF4-FFF2-40B4-BE49-F238E27FC236}">
                  <a16:creationId xmlns:a16="http://schemas.microsoft.com/office/drawing/2014/main" id="{A1BC7126-9CF6-8F4B-BE3A-BC2460C37595}"/>
                </a:ext>
              </a:extLst>
            </p:cNvPr>
            <p:cNvSpPr/>
            <p:nvPr/>
          </p:nvSpPr>
          <p:spPr>
            <a:xfrm>
              <a:off x="1876426" y="5418652"/>
              <a:ext cx="7649783" cy="323648"/>
            </a:xfrm>
            <a:prstGeom prst="rect">
              <a:avLst/>
            </a:prstGeom>
          </p:spPr>
          <p:txBody>
            <a:bodyPr wrap="square" lIns="0" tIns="0" rIns="0" bIns="0">
              <a:spAutoFit/>
            </a:bodyPr>
            <a:lstStyle/>
            <a:p>
              <a:r>
                <a:rPr lang="da-DK" sz="800" dirty="0"/>
                <a:t>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a:t>
              </a:r>
              <a:endParaRPr lang="en-US" sz="800" dirty="0"/>
            </a:p>
          </p:txBody>
        </p:sp>
      </p:grpSp>
    </p:spTree>
    <p:custDataLst>
      <p:tags r:id="rId1"/>
    </p:custDataLst>
    <p:extLst>
      <p:ext uri="{BB962C8B-B14F-4D97-AF65-F5344CB8AC3E}">
        <p14:creationId xmlns:p14="http://schemas.microsoft.com/office/powerpoint/2010/main" val="2195217534"/>
      </p:ext>
    </p:extLst>
  </p:cSld>
  <p:clrMapOvr>
    <a:masterClrMapping/>
  </p:clrMapOvr>
  <p:transition>
    <p:fade/>
  </p:transition>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 name="图片 3"/>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0" y="1409700"/>
            <a:ext cx="12192000" cy="5425126"/>
          </a:xfrm>
          <a:prstGeom prst="rect">
            <a:avLst/>
          </a:prstGeom>
          <a:solidFill>
            <a:srgbClr val="000000"/>
          </a:solidFill>
        </p:spPr>
      </p:pic>
      <p:grpSp>
        <p:nvGrpSpPr>
          <p:cNvPr id="30" name="组合 29"/>
          <p:cNvGrpSpPr/>
          <p:nvPr/>
        </p:nvGrpSpPr>
        <p:grpSpPr>
          <a:xfrm>
            <a:off x="1906246" y="2200389"/>
            <a:ext cx="1382870" cy="2876459"/>
            <a:chOff x="793750" y="2113321"/>
            <a:chExt cx="1322818" cy="2554287"/>
          </a:xfrm>
        </p:grpSpPr>
        <p:sp>
          <p:nvSpPr>
            <p:cNvPr id="12" name="AutoShape 3"/>
            <p:cNvSpPr>
              <a:spLocks noChangeAspect="1" noChangeArrowheads="1" noTextEdit="1"/>
            </p:cNvSpPr>
            <p:nvPr/>
          </p:nvSpPr>
          <p:spPr bwMode="auto">
            <a:xfrm>
              <a:off x="793750" y="2113321"/>
              <a:ext cx="13208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16" name="Freeform 5"/>
            <p:cNvSpPr>
              <a:spLocks/>
            </p:cNvSpPr>
            <p:nvPr/>
          </p:nvSpPr>
          <p:spPr bwMode="auto">
            <a:xfrm>
              <a:off x="1052513" y="4046896"/>
              <a:ext cx="103188" cy="619125"/>
            </a:xfrm>
            <a:custGeom>
              <a:avLst/>
              <a:gdLst>
                <a:gd name="T0" fmla="*/ 0 w 47"/>
                <a:gd name="T1" fmla="*/ 0 h 284"/>
                <a:gd name="T2" fmla="*/ 23 w 47"/>
                <a:gd name="T3" fmla="*/ 15 h 284"/>
                <a:gd name="T4" fmla="*/ 47 w 47"/>
                <a:gd name="T5" fmla="*/ 0 h 284"/>
                <a:gd name="T6" fmla="*/ 47 w 47"/>
                <a:gd name="T7" fmla="*/ 268 h 284"/>
                <a:gd name="T8" fmla="*/ 23 w 47"/>
                <a:gd name="T9" fmla="*/ 284 h 284"/>
                <a:gd name="T10" fmla="*/ 0 w 47"/>
                <a:gd name="T11" fmla="*/ 268 h 284"/>
                <a:gd name="T12" fmla="*/ 0 w 47"/>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47" h="284">
                  <a:moveTo>
                    <a:pt x="0" y="0"/>
                  </a:moveTo>
                  <a:cubicBezTo>
                    <a:pt x="0" y="8"/>
                    <a:pt x="11" y="15"/>
                    <a:pt x="23" y="15"/>
                  </a:cubicBezTo>
                  <a:cubicBezTo>
                    <a:pt x="36" y="15"/>
                    <a:pt x="47" y="8"/>
                    <a:pt x="47" y="0"/>
                  </a:cubicBezTo>
                  <a:cubicBezTo>
                    <a:pt x="47" y="268"/>
                    <a:pt x="47" y="268"/>
                    <a:pt x="47" y="268"/>
                  </a:cubicBezTo>
                  <a:cubicBezTo>
                    <a:pt x="47" y="277"/>
                    <a:pt x="36" y="284"/>
                    <a:pt x="23" y="284"/>
                  </a:cubicBezTo>
                  <a:cubicBezTo>
                    <a:pt x="11" y="284"/>
                    <a:pt x="0" y="277"/>
                    <a:pt x="0" y="268"/>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18" name="Oval 6"/>
            <p:cNvSpPr>
              <a:spLocks noChangeArrowheads="1"/>
            </p:cNvSpPr>
            <p:nvPr/>
          </p:nvSpPr>
          <p:spPr bwMode="auto">
            <a:xfrm>
              <a:off x="1052513" y="4011971"/>
              <a:ext cx="103188" cy="68262"/>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19" name="Freeform 7"/>
            <p:cNvSpPr>
              <a:spLocks/>
            </p:cNvSpPr>
            <p:nvPr/>
          </p:nvSpPr>
          <p:spPr bwMode="auto">
            <a:xfrm>
              <a:off x="1751013" y="4040546"/>
              <a:ext cx="101600" cy="531812"/>
            </a:xfrm>
            <a:custGeom>
              <a:avLst/>
              <a:gdLst>
                <a:gd name="T0" fmla="*/ 0 w 47"/>
                <a:gd name="T1" fmla="*/ 0 h 244"/>
                <a:gd name="T2" fmla="*/ 24 w 47"/>
                <a:gd name="T3" fmla="*/ 15 h 244"/>
                <a:gd name="T4" fmla="*/ 47 w 47"/>
                <a:gd name="T5" fmla="*/ 0 h 244"/>
                <a:gd name="T6" fmla="*/ 47 w 47"/>
                <a:gd name="T7" fmla="*/ 229 h 244"/>
                <a:gd name="T8" fmla="*/ 24 w 47"/>
                <a:gd name="T9" fmla="*/ 244 h 244"/>
                <a:gd name="T10" fmla="*/ 0 w 47"/>
                <a:gd name="T11" fmla="*/ 229 h 244"/>
                <a:gd name="T12" fmla="*/ 0 w 4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47" h="244">
                  <a:moveTo>
                    <a:pt x="0" y="0"/>
                  </a:moveTo>
                  <a:cubicBezTo>
                    <a:pt x="0" y="9"/>
                    <a:pt x="11" y="15"/>
                    <a:pt x="24" y="15"/>
                  </a:cubicBezTo>
                  <a:cubicBezTo>
                    <a:pt x="36" y="15"/>
                    <a:pt x="47" y="9"/>
                    <a:pt x="47" y="0"/>
                  </a:cubicBezTo>
                  <a:cubicBezTo>
                    <a:pt x="47" y="229"/>
                    <a:pt x="47" y="229"/>
                    <a:pt x="47" y="229"/>
                  </a:cubicBezTo>
                  <a:cubicBezTo>
                    <a:pt x="47" y="237"/>
                    <a:pt x="36" y="244"/>
                    <a:pt x="24" y="244"/>
                  </a:cubicBezTo>
                  <a:cubicBezTo>
                    <a:pt x="11" y="244"/>
                    <a:pt x="0" y="237"/>
                    <a:pt x="0" y="229"/>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0" name="Oval 8"/>
            <p:cNvSpPr>
              <a:spLocks noChangeArrowheads="1"/>
            </p:cNvSpPr>
            <p:nvPr/>
          </p:nvSpPr>
          <p:spPr bwMode="auto">
            <a:xfrm>
              <a:off x="1751013" y="4007208"/>
              <a:ext cx="101600" cy="65087"/>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5" name="Freeform 9"/>
            <p:cNvSpPr>
              <a:spLocks/>
            </p:cNvSpPr>
            <p:nvPr/>
          </p:nvSpPr>
          <p:spPr bwMode="auto">
            <a:xfrm>
              <a:off x="802118" y="2265095"/>
              <a:ext cx="1314450" cy="1967539"/>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solidFill>
              <a:schemeClr val="bg1"/>
            </a:solidFill>
            <a:ln>
              <a:noFill/>
            </a:ln>
          </p:spPr>
          <p:txBody>
            <a:bodyPr vert="horz" wrap="square" lIns="82953" tIns="41476" rIns="82953" bIns="41476" numCol="1" anchor="t" anchorCtr="0" compatLnSpc="1">
              <a:prstTxWarp prst="textNoShape">
                <a:avLst/>
              </a:prstTxWarp>
            </a:bodyPr>
            <a:lstStyle/>
            <a:p>
              <a:endParaRPr lang="zh-CN" altLang="en-US" sz="2613" dirty="0"/>
            </a:p>
          </p:txBody>
        </p:sp>
        <p:sp>
          <p:nvSpPr>
            <p:cNvPr id="26" name="Freeform 10"/>
            <p:cNvSpPr>
              <a:spLocks/>
            </p:cNvSpPr>
            <p:nvPr/>
          </p:nvSpPr>
          <p:spPr bwMode="auto">
            <a:xfrm>
              <a:off x="795338" y="2270483"/>
              <a:ext cx="1314450" cy="1962150"/>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 name="Freeform 12"/>
            <p:cNvSpPr>
              <a:spLocks/>
            </p:cNvSpPr>
            <p:nvPr/>
          </p:nvSpPr>
          <p:spPr bwMode="auto">
            <a:xfrm>
              <a:off x="1125538" y="4227871"/>
              <a:ext cx="17463" cy="411162"/>
            </a:xfrm>
            <a:custGeom>
              <a:avLst/>
              <a:gdLst>
                <a:gd name="T0" fmla="*/ 4 w 8"/>
                <a:gd name="T1" fmla="*/ 189 h 189"/>
                <a:gd name="T2" fmla="*/ 4 w 8"/>
                <a:gd name="T3" fmla="*/ 189 h 189"/>
                <a:gd name="T4" fmla="*/ 8 w 8"/>
                <a:gd name="T5" fmla="*/ 185 h 189"/>
                <a:gd name="T6" fmla="*/ 8 w 8"/>
                <a:gd name="T7" fmla="*/ 2 h 189"/>
                <a:gd name="T8" fmla="*/ 8 w 8"/>
                <a:gd name="T9" fmla="*/ 0 h 189"/>
                <a:gd name="T10" fmla="*/ 0 w 8"/>
                <a:gd name="T11" fmla="*/ 2 h 189"/>
                <a:gd name="T12" fmla="*/ 0 w 8"/>
                <a:gd name="T13" fmla="*/ 2 h 189"/>
                <a:gd name="T14" fmla="*/ 0 w 8"/>
                <a:gd name="T15" fmla="*/ 185 h 189"/>
                <a:gd name="T16" fmla="*/ 4 w 8"/>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9">
                  <a:moveTo>
                    <a:pt x="4" y="189"/>
                  </a:moveTo>
                  <a:cubicBezTo>
                    <a:pt x="4" y="189"/>
                    <a:pt x="4" y="189"/>
                    <a:pt x="4" y="189"/>
                  </a:cubicBezTo>
                  <a:cubicBezTo>
                    <a:pt x="6" y="189"/>
                    <a:pt x="8" y="187"/>
                    <a:pt x="8" y="185"/>
                  </a:cubicBezTo>
                  <a:cubicBezTo>
                    <a:pt x="8" y="2"/>
                    <a:pt x="8" y="2"/>
                    <a:pt x="8" y="2"/>
                  </a:cubicBezTo>
                  <a:cubicBezTo>
                    <a:pt x="8" y="0"/>
                    <a:pt x="8" y="0"/>
                    <a:pt x="8" y="0"/>
                  </a:cubicBezTo>
                  <a:cubicBezTo>
                    <a:pt x="0" y="2"/>
                    <a:pt x="0" y="2"/>
                    <a:pt x="0" y="2"/>
                  </a:cubicBezTo>
                  <a:cubicBezTo>
                    <a:pt x="0" y="2"/>
                    <a:pt x="0" y="2"/>
                    <a:pt x="0" y="2"/>
                  </a:cubicBezTo>
                  <a:cubicBezTo>
                    <a:pt x="0" y="185"/>
                    <a:pt x="0" y="185"/>
                    <a:pt x="0" y="185"/>
                  </a:cubicBezTo>
                  <a:cubicBezTo>
                    <a:pt x="0" y="187"/>
                    <a:pt x="2" y="189"/>
                    <a:pt x="4" y="18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9" name="Freeform 13"/>
            <p:cNvSpPr>
              <a:spLocks/>
            </p:cNvSpPr>
            <p:nvPr/>
          </p:nvSpPr>
          <p:spPr bwMode="auto">
            <a:xfrm>
              <a:off x="1822450" y="4173896"/>
              <a:ext cx="12700" cy="366712"/>
            </a:xfrm>
            <a:custGeom>
              <a:avLst/>
              <a:gdLst>
                <a:gd name="T0" fmla="*/ 3 w 6"/>
                <a:gd name="T1" fmla="*/ 169 h 169"/>
                <a:gd name="T2" fmla="*/ 3 w 6"/>
                <a:gd name="T3" fmla="*/ 169 h 169"/>
                <a:gd name="T4" fmla="*/ 6 w 6"/>
                <a:gd name="T5" fmla="*/ 166 h 169"/>
                <a:gd name="T6" fmla="*/ 6 w 6"/>
                <a:gd name="T7" fmla="*/ 1 h 169"/>
                <a:gd name="T8" fmla="*/ 6 w 6"/>
                <a:gd name="T9" fmla="*/ 0 h 169"/>
                <a:gd name="T10" fmla="*/ 0 w 6"/>
                <a:gd name="T11" fmla="*/ 1 h 169"/>
                <a:gd name="T12" fmla="*/ 0 w 6"/>
                <a:gd name="T13" fmla="*/ 1 h 169"/>
                <a:gd name="T14" fmla="*/ 0 w 6"/>
                <a:gd name="T15" fmla="*/ 166 h 169"/>
                <a:gd name="T16" fmla="*/ 3 w 6"/>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9">
                  <a:moveTo>
                    <a:pt x="3" y="169"/>
                  </a:moveTo>
                  <a:cubicBezTo>
                    <a:pt x="3" y="169"/>
                    <a:pt x="3" y="169"/>
                    <a:pt x="3" y="169"/>
                  </a:cubicBezTo>
                  <a:cubicBezTo>
                    <a:pt x="5" y="169"/>
                    <a:pt x="6" y="168"/>
                    <a:pt x="6" y="166"/>
                  </a:cubicBezTo>
                  <a:cubicBezTo>
                    <a:pt x="6" y="1"/>
                    <a:pt x="6" y="1"/>
                    <a:pt x="6" y="1"/>
                  </a:cubicBezTo>
                  <a:cubicBezTo>
                    <a:pt x="6" y="0"/>
                    <a:pt x="6" y="0"/>
                    <a:pt x="6" y="0"/>
                  </a:cubicBezTo>
                  <a:cubicBezTo>
                    <a:pt x="0" y="1"/>
                    <a:pt x="0" y="1"/>
                    <a:pt x="0" y="1"/>
                  </a:cubicBezTo>
                  <a:cubicBezTo>
                    <a:pt x="0" y="1"/>
                    <a:pt x="0" y="1"/>
                    <a:pt x="0" y="1"/>
                  </a:cubicBezTo>
                  <a:cubicBezTo>
                    <a:pt x="0" y="166"/>
                    <a:pt x="0" y="166"/>
                    <a:pt x="0" y="166"/>
                  </a:cubicBezTo>
                  <a:cubicBezTo>
                    <a:pt x="0" y="168"/>
                    <a:pt x="2" y="169"/>
                    <a:pt x="3" y="16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grpSp>
      <p:sp>
        <p:nvSpPr>
          <p:cNvPr id="208" name="矩形 207"/>
          <p:cNvSpPr/>
          <p:nvPr/>
        </p:nvSpPr>
        <p:spPr bwMode="gray">
          <a:xfrm>
            <a:off x="2180225" y="2647498"/>
            <a:ext cx="988825" cy="1504885"/>
          </a:xfrm>
          <a:prstGeom prst="rect">
            <a:avLst/>
          </a:prstGeom>
          <a:noFill/>
          <a:ln w="19050" algn="ctr">
            <a:noFill/>
            <a:miter lim="800000"/>
            <a:headEnd/>
            <a:tailEnd/>
          </a:ln>
        </p:spPr>
        <p:txBody>
          <a:bodyPr wrap="square" lIns="0" tIns="65317" rIns="65317" bIns="65317" rtlCol="0" anchor="t" anchorCtr="0"/>
          <a:lstStyle/>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endParaRPr lang="zh-CN" altLang="en-US" sz="725" dirty="0">
              <a:solidFill>
                <a:srgbClr val="000000"/>
              </a:solidFill>
            </a:endParaRPr>
          </a:p>
        </p:txBody>
      </p:sp>
      <p:grpSp>
        <p:nvGrpSpPr>
          <p:cNvPr id="279" name="组合 278"/>
          <p:cNvGrpSpPr/>
          <p:nvPr/>
        </p:nvGrpSpPr>
        <p:grpSpPr>
          <a:xfrm>
            <a:off x="4267788" y="1479908"/>
            <a:ext cx="1380760" cy="2084993"/>
            <a:chOff x="793750" y="2113321"/>
            <a:chExt cx="1320800" cy="2554287"/>
          </a:xfrm>
        </p:grpSpPr>
        <p:sp>
          <p:nvSpPr>
            <p:cNvPr id="280" name="AutoShape 3"/>
            <p:cNvSpPr>
              <a:spLocks noChangeAspect="1" noChangeArrowheads="1" noTextEdit="1"/>
            </p:cNvSpPr>
            <p:nvPr/>
          </p:nvSpPr>
          <p:spPr bwMode="auto">
            <a:xfrm>
              <a:off x="793750" y="2113321"/>
              <a:ext cx="13208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1" name="Freeform 5"/>
            <p:cNvSpPr>
              <a:spLocks/>
            </p:cNvSpPr>
            <p:nvPr/>
          </p:nvSpPr>
          <p:spPr bwMode="auto">
            <a:xfrm>
              <a:off x="1052513" y="4046896"/>
              <a:ext cx="103188" cy="619125"/>
            </a:xfrm>
            <a:custGeom>
              <a:avLst/>
              <a:gdLst>
                <a:gd name="T0" fmla="*/ 0 w 47"/>
                <a:gd name="T1" fmla="*/ 0 h 284"/>
                <a:gd name="T2" fmla="*/ 23 w 47"/>
                <a:gd name="T3" fmla="*/ 15 h 284"/>
                <a:gd name="T4" fmla="*/ 47 w 47"/>
                <a:gd name="T5" fmla="*/ 0 h 284"/>
                <a:gd name="T6" fmla="*/ 47 w 47"/>
                <a:gd name="T7" fmla="*/ 268 h 284"/>
                <a:gd name="T8" fmla="*/ 23 w 47"/>
                <a:gd name="T9" fmla="*/ 284 h 284"/>
                <a:gd name="T10" fmla="*/ 0 w 47"/>
                <a:gd name="T11" fmla="*/ 268 h 284"/>
                <a:gd name="T12" fmla="*/ 0 w 47"/>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47" h="284">
                  <a:moveTo>
                    <a:pt x="0" y="0"/>
                  </a:moveTo>
                  <a:cubicBezTo>
                    <a:pt x="0" y="8"/>
                    <a:pt x="11" y="15"/>
                    <a:pt x="23" y="15"/>
                  </a:cubicBezTo>
                  <a:cubicBezTo>
                    <a:pt x="36" y="15"/>
                    <a:pt x="47" y="8"/>
                    <a:pt x="47" y="0"/>
                  </a:cubicBezTo>
                  <a:cubicBezTo>
                    <a:pt x="47" y="268"/>
                    <a:pt x="47" y="268"/>
                    <a:pt x="47" y="268"/>
                  </a:cubicBezTo>
                  <a:cubicBezTo>
                    <a:pt x="47" y="277"/>
                    <a:pt x="36" y="284"/>
                    <a:pt x="23" y="284"/>
                  </a:cubicBezTo>
                  <a:cubicBezTo>
                    <a:pt x="11" y="284"/>
                    <a:pt x="0" y="277"/>
                    <a:pt x="0" y="268"/>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2" name="Oval 6"/>
            <p:cNvSpPr>
              <a:spLocks noChangeArrowheads="1"/>
            </p:cNvSpPr>
            <p:nvPr/>
          </p:nvSpPr>
          <p:spPr bwMode="auto">
            <a:xfrm>
              <a:off x="1052513" y="4011971"/>
              <a:ext cx="103188" cy="68262"/>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3" name="Freeform 7"/>
            <p:cNvSpPr>
              <a:spLocks/>
            </p:cNvSpPr>
            <p:nvPr/>
          </p:nvSpPr>
          <p:spPr bwMode="auto">
            <a:xfrm>
              <a:off x="1751013" y="4040546"/>
              <a:ext cx="101600" cy="531812"/>
            </a:xfrm>
            <a:custGeom>
              <a:avLst/>
              <a:gdLst>
                <a:gd name="T0" fmla="*/ 0 w 47"/>
                <a:gd name="T1" fmla="*/ 0 h 244"/>
                <a:gd name="T2" fmla="*/ 24 w 47"/>
                <a:gd name="T3" fmla="*/ 15 h 244"/>
                <a:gd name="T4" fmla="*/ 47 w 47"/>
                <a:gd name="T5" fmla="*/ 0 h 244"/>
                <a:gd name="T6" fmla="*/ 47 w 47"/>
                <a:gd name="T7" fmla="*/ 229 h 244"/>
                <a:gd name="T8" fmla="*/ 24 w 47"/>
                <a:gd name="T9" fmla="*/ 244 h 244"/>
                <a:gd name="T10" fmla="*/ 0 w 47"/>
                <a:gd name="T11" fmla="*/ 229 h 244"/>
                <a:gd name="T12" fmla="*/ 0 w 4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47" h="244">
                  <a:moveTo>
                    <a:pt x="0" y="0"/>
                  </a:moveTo>
                  <a:cubicBezTo>
                    <a:pt x="0" y="9"/>
                    <a:pt x="11" y="15"/>
                    <a:pt x="24" y="15"/>
                  </a:cubicBezTo>
                  <a:cubicBezTo>
                    <a:pt x="36" y="15"/>
                    <a:pt x="47" y="9"/>
                    <a:pt x="47" y="0"/>
                  </a:cubicBezTo>
                  <a:cubicBezTo>
                    <a:pt x="47" y="229"/>
                    <a:pt x="47" y="229"/>
                    <a:pt x="47" y="229"/>
                  </a:cubicBezTo>
                  <a:cubicBezTo>
                    <a:pt x="47" y="237"/>
                    <a:pt x="36" y="244"/>
                    <a:pt x="24" y="244"/>
                  </a:cubicBezTo>
                  <a:cubicBezTo>
                    <a:pt x="11" y="244"/>
                    <a:pt x="0" y="237"/>
                    <a:pt x="0" y="229"/>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4" name="Oval 8"/>
            <p:cNvSpPr>
              <a:spLocks noChangeArrowheads="1"/>
            </p:cNvSpPr>
            <p:nvPr/>
          </p:nvSpPr>
          <p:spPr bwMode="auto">
            <a:xfrm>
              <a:off x="1751013" y="4007208"/>
              <a:ext cx="101600" cy="65087"/>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5" name="Freeform 9"/>
            <p:cNvSpPr>
              <a:spLocks/>
            </p:cNvSpPr>
            <p:nvPr/>
          </p:nvSpPr>
          <p:spPr bwMode="auto">
            <a:xfrm>
              <a:off x="795338" y="2270483"/>
              <a:ext cx="1314450" cy="1962150"/>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solidFill>
              <a:schemeClr val="bg1"/>
            </a:solidFill>
            <a:ln>
              <a:noFill/>
            </a:ln>
          </p:spPr>
          <p:txBody>
            <a:bodyPr vert="horz" wrap="square" lIns="82953" tIns="41476" rIns="82953" bIns="41476" numCol="1" anchor="t" anchorCtr="0" compatLnSpc="1">
              <a:prstTxWarp prst="textNoShape">
                <a:avLst/>
              </a:prstTxWarp>
            </a:bodyPr>
            <a:lstStyle/>
            <a:p>
              <a:endParaRPr lang="zh-CN" altLang="en-US" sz="2613"/>
            </a:p>
          </p:txBody>
        </p:sp>
        <p:sp>
          <p:nvSpPr>
            <p:cNvPr id="286" name="Freeform 10"/>
            <p:cNvSpPr>
              <a:spLocks/>
            </p:cNvSpPr>
            <p:nvPr/>
          </p:nvSpPr>
          <p:spPr bwMode="auto">
            <a:xfrm>
              <a:off x="795338" y="2270483"/>
              <a:ext cx="1314450" cy="1962150"/>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8" name="Freeform 12"/>
            <p:cNvSpPr>
              <a:spLocks/>
            </p:cNvSpPr>
            <p:nvPr/>
          </p:nvSpPr>
          <p:spPr bwMode="auto">
            <a:xfrm>
              <a:off x="1125538" y="4227871"/>
              <a:ext cx="17463" cy="411162"/>
            </a:xfrm>
            <a:custGeom>
              <a:avLst/>
              <a:gdLst>
                <a:gd name="T0" fmla="*/ 4 w 8"/>
                <a:gd name="T1" fmla="*/ 189 h 189"/>
                <a:gd name="T2" fmla="*/ 4 w 8"/>
                <a:gd name="T3" fmla="*/ 189 h 189"/>
                <a:gd name="T4" fmla="*/ 8 w 8"/>
                <a:gd name="T5" fmla="*/ 185 h 189"/>
                <a:gd name="T6" fmla="*/ 8 w 8"/>
                <a:gd name="T7" fmla="*/ 2 h 189"/>
                <a:gd name="T8" fmla="*/ 8 w 8"/>
                <a:gd name="T9" fmla="*/ 0 h 189"/>
                <a:gd name="T10" fmla="*/ 0 w 8"/>
                <a:gd name="T11" fmla="*/ 2 h 189"/>
                <a:gd name="T12" fmla="*/ 0 w 8"/>
                <a:gd name="T13" fmla="*/ 2 h 189"/>
                <a:gd name="T14" fmla="*/ 0 w 8"/>
                <a:gd name="T15" fmla="*/ 185 h 189"/>
                <a:gd name="T16" fmla="*/ 4 w 8"/>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9">
                  <a:moveTo>
                    <a:pt x="4" y="189"/>
                  </a:moveTo>
                  <a:cubicBezTo>
                    <a:pt x="4" y="189"/>
                    <a:pt x="4" y="189"/>
                    <a:pt x="4" y="189"/>
                  </a:cubicBezTo>
                  <a:cubicBezTo>
                    <a:pt x="6" y="189"/>
                    <a:pt x="8" y="187"/>
                    <a:pt x="8" y="185"/>
                  </a:cubicBezTo>
                  <a:cubicBezTo>
                    <a:pt x="8" y="2"/>
                    <a:pt x="8" y="2"/>
                    <a:pt x="8" y="2"/>
                  </a:cubicBezTo>
                  <a:cubicBezTo>
                    <a:pt x="8" y="0"/>
                    <a:pt x="8" y="0"/>
                    <a:pt x="8" y="0"/>
                  </a:cubicBezTo>
                  <a:cubicBezTo>
                    <a:pt x="0" y="2"/>
                    <a:pt x="0" y="2"/>
                    <a:pt x="0" y="2"/>
                  </a:cubicBezTo>
                  <a:cubicBezTo>
                    <a:pt x="0" y="2"/>
                    <a:pt x="0" y="2"/>
                    <a:pt x="0" y="2"/>
                  </a:cubicBezTo>
                  <a:cubicBezTo>
                    <a:pt x="0" y="185"/>
                    <a:pt x="0" y="185"/>
                    <a:pt x="0" y="185"/>
                  </a:cubicBezTo>
                  <a:cubicBezTo>
                    <a:pt x="0" y="187"/>
                    <a:pt x="2" y="189"/>
                    <a:pt x="4" y="18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9" name="Freeform 13"/>
            <p:cNvSpPr>
              <a:spLocks/>
            </p:cNvSpPr>
            <p:nvPr/>
          </p:nvSpPr>
          <p:spPr bwMode="auto">
            <a:xfrm>
              <a:off x="1822450" y="4173896"/>
              <a:ext cx="12700" cy="366712"/>
            </a:xfrm>
            <a:custGeom>
              <a:avLst/>
              <a:gdLst>
                <a:gd name="T0" fmla="*/ 3 w 6"/>
                <a:gd name="T1" fmla="*/ 169 h 169"/>
                <a:gd name="T2" fmla="*/ 3 w 6"/>
                <a:gd name="T3" fmla="*/ 169 h 169"/>
                <a:gd name="T4" fmla="*/ 6 w 6"/>
                <a:gd name="T5" fmla="*/ 166 h 169"/>
                <a:gd name="T6" fmla="*/ 6 w 6"/>
                <a:gd name="T7" fmla="*/ 1 h 169"/>
                <a:gd name="T8" fmla="*/ 6 w 6"/>
                <a:gd name="T9" fmla="*/ 0 h 169"/>
                <a:gd name="T10" fmla="*/ 0 w 6"/>
                <a:gd name="T11" fmla="*/ 1 h 169"/>
                <a:gd name="T12" fmla="*/ 0 w 6"/>
                <a:gd name="T13" fmla="*/ 1 h 169"/>
                <a:gd name="T14" fmla="*/ 0 w 6"/>
                <a:gd name="T15" fmla="*/ 166 h 169"/>
                <a:gd name="T16" fmla="*/ 3 w 6"/>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9">
                  <a:moveTo>
                    <a:pt x="3" y="169"/>
                  </a:moveTo>
                  <a:cubicBezTo>
                    <a:pt x="3" y="169"/>
                    <a:pt x="3" y="169"/>
                    <a:pt x="3" y="169"/>
                  </a:cubicBezTo>
                  <a:cubicBezTo>
                    <a:pt x="5" y="169"/>
                    <a:pt x="6" y="168"/>
                    <a:pt x="6" y="166"/>
                  </a:cubicBezTo>
                  <a:cubicBezTo>
                    <a:pt x="6" y="1"/>
                    <a:pt x="6" y="1"/>
                    <a:pt x="6" y="1"/>
                  </a:cubicBezTo>
                  <a:cubicBezTo>
                    <a:pt x="6" y="0"/>
                    <a:pt x="6" y="0"/>
                    <a:pt x="6" y="0"/>
                  </a:cubicBezTo>
                  <a:cubicBezTo>
                    <a:pt x="0" y="1"/>
                    <a:pt x="0" y="1"/>
                    <a:pt x="0" y="1"/>
                  </a:cubicBezTo>
                  <a:cubicBezTo>
                    <a:pt x="0" y="1"/>
                    <a:pt x="0" y="1"/>
                    <a:pt x="0" y="1"/>
                  </a:cubicBezTo>
                  <a:cubicBezTo>
                    <a:pt x="0" y="166"/>
                    <a:pt x="0" y="166"/>
                    <a:pt x="0" y="166"/>
                  </a:cubicBezTo>
                  <a:cubicBezTo>
                    <a:pt x="0" y="168"/>
                    <a:pt x="2" y="169"/>
                    <a:pt x="3" y="16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grpSp>
      <p:sp>
        <p:nvSpPr>
          <p:cNvPr id="290" name="矩形 289"/>
          <p:cNvSpPr/>
          <p:nvPr/>
        </p:nvSpPr>
        <p:spPr bwMode="gray">
          <a:xfrm>
            <a:off x="4532947" y="1913284"/>
            <a:ext cx="782417" cy="357002"/>
          </a:xfrm>
          <a:prstGeom prst="rect">
            <a:avLst/>
          </a:prstGeom>
          <a:noFill/>
          <a:ln w="19050" algn="ctr">
            <a:noFill/>
            <a:miter lim="800000"/>
            <a:headEnd/>
            <a:tailEnd/>
          </a:ln>
        </p:spPr>
        <p:txBody>
          <a:bodyPr wrap="square" lIns="0" tIns="65317" rIns="65317" bIns="65317" rtlCol="0" anchor="t" anchorCtr="0"/>
          <a:lstStyle/>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endParaRPr lang="zh-CN" altLang="en-US" sz="725" dirty="0">
              <a:solidFill>
                <a:srgbClr val="000000"/>
              </a:solidFill>
            </a:endParaRPr>
          </a:p>
        </p:txBody>
      </p:sp>
      <p:grpSp>
        <p:nvGrpSpPr>
          <p:cNvPr id="294" name="组合 293"/>
          <p:cNvGrpSpPr/>
          <p:nvPr/>
        </p:nvGrpSpPr>
        <p:grpSpPr>
          <a:xfrm>
            <a:off x="6453742" y="3825231"/>
            <a:ext cx="1380760" cy="2842703"/>
            <a:chOff x="793750" y="2113321"/>
            <a:chExt cx="1320800" cy="2554287"/>
          </a:xfrm>
        </p:grpSpPr>
        <p:sp>
          <p:nvSpPr>
            <p:cNvPr id="295" name="AutoShape 3"/>
            <p:cNvSpPr>
              <a:spLocks noChangeAspect="1" noChangeArrowheads="1" noTextEdit="1"/>
            </p:cNvSpPr>
            <p:nvPr/>
          </p:nvSpPr>
          <p:spPr bwMode="auto">
            <a:xfrm>
              <a:off x="793750" y="2113321"/>
              <a:ext cx="13208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96" name="Freeform 5"/>
            <p:cNvSpPr>
              <a:spLocks/>
            </p:cNvSpPr>
            <p:nvPr/>
          </p:nvSpPr>
          <p:spPr bwMode="auto">
            <a:xfrm>
              <a:off x="1052513" y="4046896"/>
              <a:ext cx="103188" cy="619125"/>
            </a:xfrm>
            <a:custGeom>
              <a:avLst/>
              <a:gdLst>
                <a:gd name="T0" fmla="*/ 0 w 47"/>
                <a:gd name="T1" fmla="*/ 0 h 284"/>
                <a:gd name="T2" fmla="*/ 23 w 47"/>
                <a:gd name="T3" fmla="*/ 15 h 284"/>
                <a:gd name="T4" fmla="*/ 47 w 47"/>
                <a:gd name="T5" fmla="*/ 0 h 284"/>
                <a:gd name="T6" fmla="*/ 47 w 47"/>
                <a:gd name="T7" fmla="*/ 268 h 284"/>
                <a:gd name="T8" fmla="*/ 23 w 47"/>
                <a:gd name="T9" fmla="*/ 284 h 284"/>
                <a:gd name="T10" fmla="*/ 0 w 47"/>
                <a:gd name="T11" fmla="*/ 268 h 284"/>
                <a:gd name="T12" fmla="*/ 0 w 47"/>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47" h="284">
                  <a:moveTo>
                    <a:pt x="0" y="0"/>
                  </a:moveTo>
                  <a:cubicBezTo>
                    <a:pt x="0" y="8"/>
                    <a:pt x="11" y="15"/>
                    <a:pt x="23" y="15"/>
                  </a:cubicBezTo>
                  <a:cubicBezTo>
                    <a:pt x="36" y="15"/>
                    <a:pt x="47" y="8"/>
                    <a:pt x="47" y="0"/>
                  </a:cubicBezTo>
                  <a:cubicBezTo>
                    <a:pt x="47" y="268"/>
                    <a:pt x="47" y="268"/>
                    <a:pt x="47" y="268"/>
                  </a:cubicBezTo>
                  <a:cubicBezTo>
                    <a:pt x="47" y="277"/>
                    <a:pt x="36" y="284"/>
                    <a:pt x="23" y="284"/>
                  </a:cubicBezTo>
                  <a:cubicBezTo>
                    <a:pt x="11" y="284"/>
                    <a:pt x="0" y="277"/>
                    <a:pt x="0" y="268"/>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97" name="Oval 6"/>
            <p:cNvSpPr>
              <a:spLocks noChangeArrowheads="1"/>
            </p:cNvSpPr>
            <p:nvPr/>
          </p:nvSpPr>
          <p:spPr bwMode="auto">
            <a:xfrm>
              <a:off x="1052513" y="4011971"/>
              <a:ext cx="103188" cy="68262"/>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98" name="Freeform 7"/>
            <p:cNvSpPr>
              <a:spLocks/>
            </p:cNvSpPr>
            <p:nvPr/>
          </p:nvSpPr>
          <p:spPr bwMode="auto">
            <a:xfrm>
              <a:off x="1751013" y="4040546"/>
              <a:ext cx="101600" cy="531812"/>
            </a:xfrm>
            <a:custGeom>
              <a:avLst/>
              <a:gdLst>
                <a:gd name="T0" fmla="*/ 0 w 47"/>
                <a:gd name="T1" fmla="*/ 0 h 244"/>
                <a:gd name="T2" fmla="*/ 24 w 47"/>
                <a:gd name="T3" fmla="*/ 15 h 244"/>
                <a:gd name="T4" fmla="*/ 47 w 47"/>
                <a:gd name="T5" fmla="*/ 0 h 244"/>
                <a:gd name="T6" fmla="*/ 47 w 47"/>
                <a:gd name="T7" fmla="*/ 229 h 244"/>
                <a:gd name="T8" fmla="*/ 24 w 47"/>
                <a:gd name="T9" fmla="*/ 244 h 244"/>
                <a:gd name="T10" fmla="*/ 0 w 47"/>
                <a:gd name="T11" fmla="*/ 229 h 244"/>
                <a:gd name="T12" fmla="*/ 0 w 4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47" h="244">
                  <a:moveTo>
                    <a:pt x="0" y="0"/>
                  </a:moveTo>
                  <a:cubicBezTo>
                    <a:pt x="0" y="9"/>
                    <a:pt x="11" y="15"/>
                    <a:pt x="24" y="15"/>
                  </a:cubicBezTo>
                  <a:cubicBezTo>
                    <a:pt x="36" y="15"/>
                    <a:pt x="47" y="9"/>
                    <a:pt x="47" y="0"/>
                  </a:cubicBezTo>
                  <a:cubicBezTo>
                    <a:pt x="47" y="229"/>
                    <a:pt x="47" y="229"/>
                    <a:pt x="47" y="229"/>
                  </a:cubicBezTo>
                  <a:cubicBezTo>
                    <a:pt x="47" y="237"/>
                    <a:pt x="36" y="244"/>
                    <a:pt x="24" y="244"/>
                  </a:cubicBezTo>
                  <a:cubicBezTo>
                    <a:pt x="11" y="244"/>
                    <a:pt x="0" y="237"/>
                    <a:pt x="0" y="229"/>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99" name="Oval 8"/>
            <p:cNvSpPr>
              <a:spLocks noChangeArrowheads="1"/>
            </p:cNvSpPr>
            <p:nvPr/>
          </p:nvSpPr>
          <p:spPr bwMode="auto">
            <a:xfrm>
              <a:off x="1751013" y="4007208"/>
              <a:ext cx="101600" cy="65087"/>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00" name="Freeform 9"/>
            <p:cNvSpPr>
              <a:spLocks/>
            </p:cNvSpPr>
            <p:nvPr/>
          </p:nvSpPr>
          <p:spPr bwMode="auto">
            <a:xfrm>
              <a:off x="795338" y="2270483"/>
              <a:ext cx="1314450" cy="1962150"/>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solidFill>
              <a:schemeClr val="bg1"/>
            </a:solidFill>
            <a:ln>
              <a:noFill/>
            </a:ln>
          </p:spPr>
          <p:txBody>
            <a:bodyPr vert="horz" wrap="square" lIns="82953" tIns="41476" rIns="82953" bIns="41476" numCol="1" anchor="t" anchorCtr="0" compatLnSpc="1">
              <a:prstTxWarp prst="textNoShape">
                <a:avLst/>
              </a:prstTxWarp>
            </a:bodyPr>
            <a:lstStyle/>
            <a:p>
              <a:endParaRPr lang="zh-CN" altLang="en-US" sz="2613"/>
            </a:p>
          </p:txBody>
        </p:sp>
        <p:sp>
          <p:nvSpPr>
            <p:cNvPr id="301" name="Freeform 10"/>
            <p:cNvSpPr>
              <a:spLocks/>
            </p:cNvSpPr>
            <p:nvPr/>
          </p:nvSpPr>
          <p:spPr bwMode="auto">
            <a:xfrm>
              <a:off x="795338" y="2270483"/>
              <a:ext cx="1314450" cy="1962150"/>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03" name="Freeform 12"/>
            <p:cNvSpPr>
              <a:spLocks/>
            </p:cNvSpPr>
            <p:nvPr/>
          </p:nvSpPr>
          <p:spPr bwMode="auto">
            <a:xfrm>
              <a:off x="1125538" y="4227871"/>
              <a:ext cx="17463" cy="411162"/>
            </a:xfrm>
            <a:custGeom>
              <a:avLst/>
              <a:gdLst>
                <a:gd name="T0" fmla="*/ 4 w 8"/>
                <a:gd name="T1" fmla="*/ 189 h 189"/>
                <a:gd name="T2" fmla="*/ 4 w 8"/>
                <a:gd name="T3" fmla="*/ 189 h 189"/>
                <a:gd name="T4" fmla="*/ 8 w 8"/>
                <a:gd name="T5" fmla="*/ 185 h 189"/>
                <a:gd name="T6" fmla="*/ 8 w 8"/>
                <a:gd name="T7" fmla="*/ 2 h 189"/>
                <a:gd name="T8" fmla="*/ 8 w 8"/>
                <a:gd name="T9" fmla="*/ 0 h 189"/>
                <a:gd name="T10" fmla="*/ 0 w 8"/>
                <a:gd name="T11" fmla="*/ 2 h 189"/>
                <a:gd name="T12" fmla="*/ 0 w 8"/>
                <a:gd name="T13" fmla="*/ 2 h 189"/>
                <a:gd name="T14" fmla="*/ 0 w 8"/>
                <a:gd name="T15" fmla="*/ 185 h 189"/>
                <a:gd name="T16" fmla="*/ 4 w 8"/>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9">
                  <a:moveTo>
                    <a:pt x="4" y="189"/>
                  </a:moveTo>
                  <a:cubicBezTo>
                    <a:pt x="4" y="189"/>
                    <a:pt x="4" y="189"/>
                    <a:pt x="4" y="189"/>
                  </a:cubicBezTo>
                  <a:cubicBezTo>
                    <a:pt x="6" y="189"/>
                    <a:pt x="8" y="187"/>
                    <a:pt x="8" y="185"/>
                  </a:cubicBezTo>
                  <a:cubicBezTo>
                    <a:pt x="8" y="2"/>
                    <a:pt x="8" y="2"/>
                    <a:pt x="8" y="2"/>
                  </a:cubicBezTo>
                  <a:cubicBezTo>
                    <a:pt x="8" y="0"/>
                    <a:pt x="8" y="0"/>
                    <a:pt x="8" y="0"/>
                  </a:cubicBezTo>
                  <a:cubicBezTo>
                    <a:pt x="0" y="2"/>
                    <a:pt x="0" y="2"/>
                    <a:pt x="0" y="2"/>
                  </a:cubicBezTo>
                  <a:cubicBezTo>
                    <a:pt x="0" y="2"/>
                    <a:pt x="0" y="2"/>
                    <a:pt x="0" y="2"/>
                  </a:cubicBezTo>
                  <a:cubicBezTo>
                    <a:pt x="0" y="185"/>
                    <a:pt x="0" y="185"/>
                    <a:pt x="0" y="185"/>
                  </a:cubicBezTo>
                  <a:cubicBezTo>
                    <a:pt x="0" y="187"/>
                    <a:pt x="2" y="189"/>
                    <a:pt x="4" y="18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04" name="Freeform 13"/>
            <p:cNvSpPr>
              <a:spLocks/>
            </p:cNvSpPr>
            <p:nvPr/>
          </p:nvSpPr>
          <p:spPr bwMode="auto">
            <a:xfrm>
              <a:off x="1822450" y="4173896"/>
              <a:ext cx="12700" cy="366712"/>
            </a:xfrm>
            <a:custGeom>
              <a:avLst/>
              <a:gdLst>
                <a:gd name="T0" fmla="*/ 3 w 6"/>
                <a:gd name="T1" fmla="*/ 169 h 169"/>
                <a:gd name="T2" fmla="*/ 3 w 6"/>
                <a:gd name="T3" fmla="*/ 169 h 169"/>
                <a:gd name="T4" fmla="*/ 6 w 6"/>
                <a:gd name="T5" fmla="*/ 166 h 169"/>
                <a:gd name="T6" fmla="*/ 6 w 6"/>
                <a:gd name="T7" fmla="*/ 1 h 169"/>
                <a:gd name="T8" fmla="*/ 6 w 6"/>
                <a:gd name="T9" fmla="*/ 0 h 169"/>
                <a:gd name="T10" fmla="*/ 0 w 6"/>
                <a:gd name="T11" fmla="*/ 1 h 169"/>
                <a:gd name="T12" fmla="*/ 0 w 6"/>
                <a:gd name="T13" fmla="*/ 1 h 169"/>
                <a:gd name="T14" fmla="*/ 0 w 6"/>
                <a:gd name="T15" fmla="*/ 166 h 169"/>
                <a:gd name="T16" fmla="*/ 3 w 6"/>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9">
                  <a:moveTo>
                    <a:pt x="3" y="169"/>
                  </a:moveTo>
                  <a:cubicBezTo>
                    <a:pt x="3" y="169"/>
                    <a:pt x="3" y="169"/>
                    <a:pt x="3" y="169"/>
                  </a:cubicBezTo>
                  <a:cubicBezTo>
                    <a:pt x="5" y="169"/>
                    <a:pt x="6" y="168"/>
                    <a:pt x="6" y="166"/>
                  </a:cubicBezTo>
                  <a:cubicBezTo>
                    <a:pt x="6" y="1"/>
                    <a:pt x="6" y="1"/>
                    <a:pt x="6" y="1"/>
                  </a:cubicBezTo>
                  <a:cubicBezTo>
                    <a:pt x="6" y="0"/>
                    <a:pt x="6" y="0"/>
                    <a:pt x="6" y="0"/>
                  </a:cubicBezTo>
                  <a:cubicBezTo>
                    <a:pt x="0" y="1"/>
                    <a:pt x="0" y="1"/>
                    <a:pt x="0" y="1"/>
                  </a:cubicBezTo>
                  <a:cubicBezTo>
                    <a:pt x="0" y="1"/>
                    <a:pt x="0" y="1"/>
                    <a:pt x="0" y="1"/>
                  </a:cubicBezTo>
                  <a:cubicBezTo>
                    <a:pt x="0" y="166"/>
                    <a:pt x="0" y="166"/>
                    <a:pt x="0" y="166"/>
                  </a:cubicBezTo>
                  <a:cubicBezTo>
                    <a:pt x="0" y="168"/>
                    <a:pt x="2" y="169"/>
                    <a:pt x="3" y="16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grpSp>
      <p:sp>
        <p:nvSpPr>
          <p:cNvPr id="305" name="矩形 304"/>
          <p:cNvSpPr/>
          <p:nvPr/>
        </p:nvSpPr>
        <p:spPr bwMode="gray">
          <a:xfrm>
            <a:off x="6719212" y="4224904"/>
            <a:ext cx="988825" cy="1504885"/>
          </a:xfrm>
          <a:prstGeom prst="rect">
            <a:avLst/>
          </a:prstGeom>
          <a:noFill/>
          <a:ln w="19050" algn="ctr">
            <a:noFill/>
            <a:miter lim="800000"/>
            <a:headEnd/>
            <a:tailEnd/>
          </a:ln>
        </p:spPr>
        <p:txBody>
          <a:bodyPr wrap="square" lIns="0" tIns="65317" rIns="65317" bIns="65317" rtlCol="0" anchor="t" anchorCtr="0"/>
          <a:lstStyle/>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endParaRPr lang="zh-CN" altLang="en-US" sz="725" dirty="0">
              <a:solidFill>
                <a:srgbClr val="000000"/>
              </a:solidFill>
            </a:endParaRPr>
          </a:p>
        </p:txBody>
      </p:sp>
      <p:grpSp>
        <p:nvGrpSpPr>
          <p:cNvPr id="2" name="组合 1"/>
          <p:cNvGrpSpPr/>
          <p:nvPr/>
        </p:nvGrpSpPr>
        <p:grpSpPr>
          <a:xfrm>
            <a:off x="9007537" y="1500183"/>
            <a:ext cx="1380760" cy="2670243"/>
            <a:chOff x="11686126" y="2200268"/>
            <a:chExt cx="2025114" cy="3916356"/>
          </a:xfrm>
        </p:grpSpPr>
        <p:grpSp>
          <p:nvGrpSpPr>
            <p:cNvPr id="316" name="组合 315"/>
            <p:cNvGrpSpPr/>
            <p:nvPr/>
          </p:nvGrpSpPr>
          <p:grpSpPr>
            <a:xfrm>
              <a:off x="11686126" y="2200268"/>
              <a:ext cx="2025114" cy="3916356"/>
              <a:chOff x="793750" y="2113321"/>
              <a:chExt cx="1320800" cy="2554287"/>
            </a:xfrm>
          </p:grpSpPr>
          <p:sp>
            <p:nvSpPr>
              <p:cNvPr id="320" name="Freeform 7"/>
              <p:cNvSpPr>
                <a:spLocks/>
              </p:cNvSpPr>
              <p:nvPr/>
            </p:nvSpPr>
            <p:spPr bwMode="auto">
              <a:xfrm>
                <a:off x="1751013" y="4040546"/>
                <a:ext cx="101600" cy="531812"/>
              </a:xfrm>
              <a:custGeom>
                <a:avLst/>
                <a:gdLst>
                  <a:gd name="T0" fmla="*/ 0 w 47"/>
                  <a:gd name="T1" fmla="*/ 0 h 244"/>
                  <a:gd name="T2" fmla="*/ 24 w 47"/>
                  <a:gd name="T3" fmla="*/ 15 h 244"/>
                  <a:gd name="T4" fmla="*/ 47 w 47"/>
                  <a:gd name="T5" fmla="*/ 0 h 244"/>
                  <a:gd name="T6" fmla="*/ 47 w 47"/>
                  <a:gd name="T7" fmla="*/ 229 h 244"/>
                  <a:gd name="T8" fmla="*/ 24 w 47"/>
                  <a:gd name="T9" fmla="*/ 244 h 244"/>
                  <a:gd name="T10" fmla="*/ 0 w 47"/>
                  <a:gd name="T11" fmla="*/ 229 h 244"/>
                  <a:gd name="T12" fmla="*/ 0 w 4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47" h="244">
                    <a:moveTo>
                      <a:pt x="0" y="0"/>
                    </a:moveTo>
                    <a:cubicBezTo>
                      <a:pt x="0" y="9"/>
                      <a:pt x="11" y="15"/>
                      <a:pt x="24" y="15"/>
                    </a:cubicBezTo>
                    <a:cubicBezTo>
                      <a:pt x="36" y="15"/>
                      <a:pt x="47" y="9"/>
                      <a:pt x="47" y="0"/>
                    </a:cubicBezTo>
                    <a:cubicBezTo>
                      <a:pt x="47" y="229"/>
                      <a:pt x="47" y="229"/>
                      <a:pt x="47" y="229"/>
                    </a:cubicBezTo>
                    <a:cubicBezTo>
                      <a:pt x="47" y="237"/>
                      <a:pt x="36" y="244"/>
                      <a:pt x="24" y="244"/>
                    </a:cubicBezTo>
                    <a:cubicBezTo>
                      <a:pt x="11" y="244"/>
                      <a:pt x="0" y="237"/>
                      <a:pt x="0" y="229"/>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26" name="Freeform 13"/>
              <p:cNvSpPr>
                <a:spLocks/>
              </p:cNvSpPr>
              <p:nvPr/>
            </p:nvSpPr>
            <p:spPr bwMode="auto">
              <a:xfrm>
                <a:off x="1822450" y="4173896"/>
                <a:ext cx="12700" cy="366712"/>
              </a:xfrm>
              <a:custGeom>
                <a:avLst/>
                <a:gdLst>
                  <a:gd name="T0" fmla="*/ 3 w 6"/>
                  <a:gd name="T1" fmla="*/ 169 h 169"/>
                  <a:gd name="T2" fmla="*/ 3 w 6"/>
                  <a:gd name="T3" fmla="*/ 169 h 169"/>
                  <a:gd name="T4" fmla="*/ 6 w 6"/>
                  <a:gd name="T5" fmla="*/ 166 h 169"/>
                  <a:gd name="T6" fmla="*/ 6 w 6"/>
                  <a:gd name="T7" fmla="*/ 1 h 169"/>
                  <a:gd name="T8" fmla="*/ 6 w 6"/>
                  <a:gd name="T9" fmla="*/ 0 h 169"/>
                  <a:gd name="T10" fmla="*/ 0 w 6"/>
                  <a:gd name="T11" fmla="*/ 1 h 169"/>
                  <a:gd name="T12" fmla="*/ 0 w 6"/>
                  <a:gd name="T13" fmla="*/ 1 h 169"/>
                  <a:gd name="T14" fmla="*/ 0 w 6"/>
                  <a:gd name="T15" fmla="*/ 166 h 169"/>
                  <a:gd name="T16" fmla="*/ 3 w 6"/>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9">
                    <a:moveTo>
                      <a:pt x="3" y="169"/>
                    </a:moveTo>
                    <a:cubicBezTo>
                      <a:pt x="3" y="169"/>
                      <a:pt x="3" y="169"/>
                      <a:pt x="3" y="169"/>
                    </a:cubicBezTo>
                    <a:cubicBezTo>
                      <a:pt x="5" y="169"/>
                      <a:pt x="6" y="168"/>
                      <a:pt x="6" y="166"/>
                    </a:cubicBezTo>
                    <a:cubicBezTo>
                      <a:pt x="6" y="1"/>
                      <a:pt x="6" y="1"/>
                      <a:pt x="6" y="1"/>
                    </a:cubicBezTo>
                    <a:cubicBezTo>
                      <a:pt x="6" y="0"/>
                      <a:pt x="6" y="0"/>
                      <a:pt x="6" y="0"/>
                    </a:cubicBezTo>
                    <a:cubicBezTo>
                      <a:pt x="0" y="1"/>
                      <a:pt x="0" y="1"/>
                      <a:pt x="0" y="1"/>
                    </a:cubicBezTo>
                    <a:cubicBezTo>
                      <a:pt x="0" y="1"/>
                      <a:pt x="0" y="1"/>
                      <a:pt x="0" y="1"/>
                    </a:cubicBezTo>
                    <a:cubicBezTo>
                      <a:pt x="0" y="166"/>
                      <a:pt x="0" y="166"/>
                      <a:pt x="0" y="166"/>
                    </a:cubicBezTo>
                    <a:cubicBezTo>
                      <a:pt x="0" y="168"/>
                      <a:pt x="2" y="169"/>
                      <a:pt x="3" y="16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18" name="Freeform 5"/>
              <p:cNvSpPr>
                <a:spLocks/>
              </p:cNvSpPr>
              <p:nvPr/>
            </p:nvSpPr>
            <p:spPr bwMode="auto">
              <a:xfrm>
                <a:off x="1052513" y="4046896"/>
                <a:ext cx="103188" cy="619125"/>
              </a:xfrm>
              <a:custGeom>
                <a:avLst/>
                <a:gdLst>
                  <a:gd name="T0" fmla="*/ 0 w 47"/>
                  <a:gd name="T1" fmla="*/ 0 h 284"/>
                  <a:gd name="T2" fmla="*/ 23 w 47"/>
                  <a:gd name="T3" fmla="*/ 15 h 284"/>
                  <a:gd name="T4" fmla="*/ 47 w 47"/>
                  <a:gd name="T5" fmla="*/ 0 h 284"/>
                  <a:gd name="T6" fmla="*/ 47 w 47"/>
                  <a:gd name="T7" fmla="*/ 268 h 284"/>
                  <a:gd name="T8" fmla="*/ 23 w 47"/>
                  <a:gd name="T9" fmla="*/ 284 h 284"/>
                  <a:gd name="T10" fmla="*/ 0 w 47"/>
                  <a:gd name="T11" fmla="*/ 268 h 284"/>
                  <a:gd name="T12" fmla="*/ 0 w 47"/>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47" h="284">
                    <a:moveTo>
                      <a:pt x="0" y="0"/>
                    </a:moveTo>
                    <a:cubicBezTo>
                      <a:pt x="0" y="8"/>
                      <a:pt x="11" y="15"/>
                      <a:pt x="23" y="15"/>
                    </a:cubicBezTo>
                    <a:cubicBezTo>
                      <a:pt x="36" y="15"/>
                      <a:pt x="47" y="8"/>
                      <a:pt x="47" y="0"/>
                    </a:cubicBezTo>
                    <a:cubicBezTo>
                      <a:pt x="47" y="268"/>
                      <a:pt x="47" y="268"/>
                      <a:pt x="47" y="268"/>
                    </a:cubicBezTo>
                    <a:cubicBezTo>
                      <a:pt x="47" y="277"/>
                      <a:pt x="36" y="284"/>
                      <a:pt x="23" y="284"/>
                    </a:cubicBezTo>
                    <a:cubicBezTo>
                      <a:pt x="11" y="284"/>
                      <a:pt x="0" y="277"/>
                      <a:pt x="0" y="268"/>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25" name="Freeform 12"/>
              <p:cNvSpPr>
                <a:spLocks/>
              </p:cNvSpPr>
              <p:nvPr/>
            </p:nvSpPr>
            <p:spPr bwMode="auto">
              <a:xfrm>
                <a:off x="1125538" y="4227871"/>
                <a:ext cx="17463" cy="411162"/>
              </a:xfrm>
              <a:custGeom>
                <a:avLst/>
                <a:gdLst>
                  <a:gd name="T0" fmla="*/ 4 w 8"/>
                  <a:gd name="T1" fmla="*/ 189 h 189"/>
                  <a:gd name="T2" fmla="*/ 4 w 8"/>
                  <a:gd name="T3" fmla="*/ 189 h 189"/>
                  <a:gd name="T4" fmla="*/ 8 w 8"/>
                  <a:gd name="T5" fmla="*/ 185 h 189"/>
                  <a:gd name="T6" fmla="*/ 8 w 8"/>
                  <a:gd name="T7" fmla="*/ 2 h 189"/>
                  <a:gd name="T8" fmla="*/ 8 w 8"/>
                  <a:gd name="T9" fmla="*/ 0 h 189"/>
                  <a:gd name="T10" fmla="*/ 0 w 8"/>
                  <a:gd name="T11" fmla="*/ 2 h 189"/>
                  <a:gd name="T12" fmla="*/ 0 w 8"/>
                  <a:gd name="T13" fmla="*/ 2 h 189"/>
                  <a:gd name="T14" fmla="*/ 0 w 8"/>
                  <a:gd name="T15" fmla="*/ 185 h 189"/>
                  <a:gd name="T16" fmla="*/ 4 w 8"/>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9">
                    <a:moveTo>
                      <a:pt x="4" y="189"/>
                    </a:moveTo>
                    <a:cubicBezTo>
                      <a:pt x="4" y="189"/>
                      <a:pt x="4" y="189"/>
                      <a:pt x="4" y="189"/>
                    </a:cubicBezTo>
                    <a:cubicBezTo>
                      <a:pt x="6" y="189"/>
                      <a:pt x="8" y="187"/>
                      <a:pt x="8" y="185"/>
                    </a:cubicBezTo>
                    <a:cubicBezTo>
                      <a:pt x="8" y="2"/>
                      <a:pt x="8" y="2"/>
                      <a:pt x="8" y="2"/>
                    </a:cubicBezTo>
                    <a:cubicBezTo>
                      <a:pt x="8" y="0"/>
                      <a:pt x="8" y="0"/>
                      <a:pt x="8" y="0"/>
                    </a:cubicBezTo>
                    <a:cubicBezTo>
                      <a:pt x="0" y="2"/>
                      <a:pt x="0" y="2"/>
                      <a:pt x="0" y="2"/>
                    </a:cubicBezTo>
                    <a:cubicBezTo>
                      <a:pt x="0" y="2"/>
                      <a:pt x="0" y="2"/>
                      <a:pt x="0" y="2"/>
                    </a:cubicBezTo>
                    <a:cubicBezTo>
                      <a:pt x="0" y="185"/>
                      <a:pt x="0" y="185"/>
                      <a:pt x="0" y="185"/>
                    </a:cubicBezTo>
                    <a:cubicBezTo>
                      <a:pt x="0" y="187"/>
                      <a:pt x="2" y="189"/>
                      <a:pt x="4" y="18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17" name="AutoShape 3"/>
              <p:cNvSpPr>
                <a:spLocks noChangeAspect="1" noChangeArrowheads="1" noTextEdit="1"/>
              </p:cNvSpPr>
              <p:nvPr/>
            </p:nvSpPr>
            <p:spPr bwMode="auto">
              <a:xfrm>
                <a:off x="793750" y="2113321"/>
                <a:ext cx="13208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19" name="Oval 6"/>
              <p:cNvSpPr>
                <a:spLocks noChangeArrowheads="1"/>
              </p:cNvSpPr>
              <p:nvPr/>
            </p:nvSpPr>
            <p:spPr bwMode="auto">
              <a:xfrm>
                <a:off x="1052513" y="4011971"/>
                <a:ext cx="103188" cy="68262"/>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21" name="Oval 8"/>
              <p:cNvSpPr>
                <a:spLocks noChangeArrowheads="1"/>
              </p:cNvSpPr>
              <p:nvPr/>
            </p:nvSpPr>
            <p:spPr bwMode="auto">
              <a:xfrm>
                <a:off x="1751013" y="4007208"/>
                <a:ext cx="101600" cy="65087"/>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22" name="Freeform 9"/>
              <p:cNvSpPr>
                <a:spLocks/>
              </p:cNvSpPr>
              <p:nvPr/>
            </p:nvSpPr>
            <p:spPr bwMode="auto">
              <a:xfrm>
                <a:off x="795338" y="2270483"/>
                <a:ext cx="1314450" cy="2144352"/>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solidFill>
                <a:schemeClr val="bg1"/>
              </a:solidFill>
              <a:ln>
                <a:noFill/>
              </a:ln>
            </p:spPr>
            <p:txBody>
              <a:bodyPr vert="horz" wrap="square" lIns="82953" tIns="41476" rIns="82953" bIns="41476" numCol="1" anchor="t" anchorCtr="0" compatLnSpc="1">
                <a:prstTxWarp prst="textNoShape">
                  <a:avLst/>
                </a:prstTxWarp>
              </a:bodyPr>
              <a:lstStyle/>
              <a:p>
                <a:endParaRPr lang="zh-CN" altLang="en-US" sz="2613"/>
              </a:p>
            </p:txBody>
          </p:sp>
          <p:sp>
            <p:nvSpPr>
              <p:cNvPr id="323" name="Freeform 10"/>
              <p:cNvSpPr>
                <a:spLocks/>
              </p:cNvSpPr>
              <p:nvPr/>
            </p:nvSpPr>
            <p:spPr bwMode="auto">
              <a:xfrm>
                <a:off x="795338" y="2270483"/>
                <a:ext cx="1314450" cy="2144352"/>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zh-CN" altLang="en-US" sz="2613"/>
              </a:p>
            </p:txBody>
          </p:sp>
        </p:grpSp>
        <p:sp>
          <p:nvSpPr>
            <p:cNvPr id="327" name="矩形 326"/>
            <p:cNvSpPr/>
            <p:nvPr/>
          </p:nvSpPr>
          <p:spPr bwMode="gray">
            <a:xfrm>
              <a:off x="12059431" y="2819012"/>
              <a:ext cx="1526313" cy="2207164"/>
            </a:xfrm>
            <a:prstGeom prst="rect">
              <a:avLst/>
            </a:prstGeom>
            <a:noFill/>
            <a:ln w="19050" algn="ctr">
              <a:noFill/>
              <a:miter lim="800000"/>
              <a:headEnd/>
              <a:tailEnd/>
            </a:ln>
          </p:spPr>
          <p:txBody>
            <a:bodyPr wrap="square" lIns="0" tIns="65317" rIns="65317" bIns="65317" rtlCol="0" anchor="t" anchorCtr="0"/>
            <a:lstStyle/>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endParaRPr lang="zh-CN" altLang="en-US" sz="725" dirty="0">
                <a:solidFill>
                  <a:srgbClr val="000000"/>
                </a:solidFill>
              </a:endParaRPr>
            </a:p>
          </p:txBody>
        </p:sp>
      </p:grpSp>
      <p:sp>
        <p:nvSpPr>
          <p:cNvPr id="345" name="矩形 344"/>
          <p:cNvSpPr/>
          <p:nvPr/>
        </p:nvSpPr>
        <p:spPr bwMode="gray">
          <a:xfrm>
            <a:off x="4368441" y="2867371"/>
            <a:ext cx="800101" cy="231954"/>
          </a:xfrm>
          <a:prstGeom prst="rect">
            <a:avLst/>
          </a:prstGeom>
          <a:noFill/>
          <a:ln w="19050" algn="ctr">
            <a:noFill/>
            <a:miter lim="800000"/>
            <a:headEnd/>
            <a:tailEnd/>
          </a:ln>
        </p:spPr>
        <p:txBody>
          <a:bodyPr wrap="square" lIns="0" tIns="65317" rIns="65317" bIns="65317" rtlCol="0" anchor="t" anchorCtr="0"/>
          <a:lstStyle/>
          <a:p>
            <a:pPr>
              <a:lnSpc>
                <a:spcPct val="106000"/>
              </a:lnSpc>
              <a:spcAft>
                <a:spcPts val="272"/>
              </a:spcAft>
            </a:pPr>
            <a:r>
              <a:rPr lang="en-US" altLang="zh-CN" sz="955" b="1" dirty="0"/>
              <a:t>Notes</a:t>
            </a:r>
            <a:endParaRPr lang="zh-CN" altLang="en-US" sz="955" b="1" dirty="0"/>
          </a:p>
        </p:txBody>
      </p:sp>
      <p:sp>
        <p:nvSpPr>
          <p:cNvPr id="346" name="矩形 345"/>
          <p:cNvSpPr/>
          <p:nvPr/>
        </p:nvSpPr>
        <p:spPr bwMode="gray">
          <a:xfrm>
            <a:off x="1986990" y="4179343"/>
            <a:ext cx="1007886" cy="203454"/>
          </a:xfrm>
          <a:prstGeom prst="rect">
            <a:avLst/>
          </a:prstGeom>
          <a:noFill/>
          <a:ln w="19050" algn="ctr">
            <a:noFill/>
            <a:miter lim="800000"/>
            <a:headEnd/>
            <a:tailEnd/>
          </a:ln>
        </p:spPr>
        <p:txBody>
          <a:bodyPr wrap="square" lIns="0" tIns="65317" rIns="65317" bIns="65317" rtlCol="0" anchor="t" anchorCtr="0"/>
          <a:lstStyle/>
          <a:p>
            <a:pPr>
              <a:lnSpc>
                <a:spcPct val="106000"/>
              </a:lnSpc>
              <a:spcAft>
                <a:spcPts val="272"/>
              </a:spcAft>
            </a:pPr>
            <a:r>
              <a:rPr lang="en-US" altLang="zh-CN" sz="955" b="1" dirty="0"/>
              <a:t>Notes</a:t>
            </a:r>
            <a:endParaRPr lang="zh-CN" altLang="en-US" sz="955" b="1" dirty="0"/>
          </a:p>
        </p:txBody>
      </p:sp>
      <p:sp>
        <p:nvSpPr>
          <p:cNvPr id="347" name="矩形 346"/>
          <p:cNvSpPr/>
          <p:nvPr/>
        </p:nvSpPr>
        <p:spPr bwMode="gray">
          <a:xfrm>
            <a:off x="6520125" y="5815800"/>
            <a:ext cx="1003024" cy="284447"/>
          </a:xfrm>
          <a:prstGeom prst="rect">
            <a:avLst/>
          </a:prstGeom>
          <a:noFill/>
          <a:ln w="19050" algn="ctr">
            <a:noFill/>
            <a:miter lim="800000"/>
            <a:headEnd/>
            <a:tailEnd/>
          </a:ln>
        </p:spPr>
        <p:txBody>
          <a:bodyPr wrap="square" lIns="0" tIns="65317" rIns="65317" bIns="65317" rtlCol="0" anchor="t" anchorCtr="0"/>
          <a:lstStyle/>
          <a:p>
            <a:pPr>
              <a:lnSpc>
                <a:spcPct val="106000"/>
              </a:lnSpc>
              <a:spcAft>
                <a:spcPts val="272"/>
              </a:spcAft>
            </a:pPr>
            <a:r>
              <a:rPr lang="en-US" altLang="zh-CN" sz="955" b="1" dirty="0"/>
              <a:t>Notes</a:t>
            </a:r>
            <a:endParaRPr lang="zh-CN" altLang="en-US" sz="955" b="1" dirty="0"/>
          </a:p>
        </p:txBody>
      </p:sp>
      <p:sp>
        <p:nvSpPr>
          <p:cNvPr id="348" name="矩形 347"/>
          <p:cNvSpPr/>
          <p:nvPr/>
        </p:nvSpPr>
        <p:spPr bwMode="gray">
          <a:xfrm>
            <a:off x="9089414" y="3596001"/>
            <a:ext cx="859999" cy="226131"/>
          </a:xfrm>
          <a:prstGeom prst="rect">
            <a:avLst/>
          </a:prstGeom>
          <a:noFill/>
          <a:ln w="19050" algn="ctr">
            <a:noFill/>
            <a:miter lim="800000"/>
            <a:headEnd/>
            <a:tailEnd/>
          </a:ln>
        </p:spPr>
        <p:txBody>
          <a:bodyPr wrap="square" lIns="0" tIns="65317" rIns="65317" bIns="65317" rtlCol="0" anchor="t" anchorCtr="0"/>
          <a:lstStyle/>
          <a:p>
            <a:pPr>
              <a:lnSpc>
                <a:spcPct val="106000"/>
              </a:lnSpc>
              <a:spcAft>
                <a:spcPts val="272"/>
              </a:spcAft>
            </a:pPr>
            <a:r>
              <a:rPr lang="en-US" altLang="zh-CN" sz="955" b="1" dirty="0"/>
              <a:t>Notes</a:t>
            </a:r>
            <a:endParaRPr lang="zh-CN" altLang="en-US" sz="955" b="1" dirty="0"/>
          </a:p>
        </p:txBody>
      </p:sp>
      <p:grpSp>
        <p:nvGrpSpPr>
          <p:cNvPr id="349" name="Group 913"/>
          <p:cNvGrpSpPr>
            <a:grpSpLocks noChangeAspect="1"/>
          </p:cNvGrpSpPr>
          <p:nvPr/>
        </p:nvGrpSpPr>
        <p:grpSpPr bwMode="auto">
          <a:xfrm>
            <a:off x="2965757" y="4154373"/>
            <a:ext cx="264824" cy="264824"/>
            <a:chOff x="4563" y="3912"/>
            <a:chExt cx="340" cy="340"/>
          </a:xfrm>
          <a:solidFill>
            <a:schemeClr val="tx1"/>
          </a:solidFill>
        </p:grpSpPr>
        <p:sp>
          <p:nvSpPr>
            <p:cNvPr id="350" name="Freeform 914"/>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latin typeface="华文细黑" panose="02010600040101010101" pitchFamily="2" charset="-122"/>
                <a:ea typeface="华文细黑" panose="02010600040101010101" pitchFamily="2" charset="-122"/>
              </a:endParaRPr>
            </a:p>
          </p:txBody>
        </p:sp>
        <p:sp>
          <p:nvSpPr>
            <p:cNvPr id="351" name="Freeform 915"/>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latin typeface="华文细黑" panose="02010600040101010101" pitchFamily="2" charset="-122"/>
                <a:ea typeface="华文细黑" panose="02010600040101010101" pitchFamily="2" charset="-122"/>
              </a:endParaRPr>
            </a:p>
          </p:txBody>
        </p:sp>
      </p:grpSp>
      <p:grpSp>
        <p:nvGrpSpPr>
          <p:cNvPr id="352" name="Group 48"/>
          <p:cNvGrpSpPr>
            <a:grpSpLocks noChangeAspect="1"/>
          </p:cNvGrpSpPr>
          <p:nvPr/>
        </p:nvGrpSpPr>
        <p:grpSpPr bwMode="auto">
          <a:xfrm>
            <a:off x="7451071" y="5770635"/>
            <a:ext cx="261269" cy="261269"/>
            <a:chOff x="4277" y="1990"/>
            <a:chExt cx="340" cy="340"/>
          </a:xfrm>
          <a:solidFill>
            <a:schemeClr val="tx1"/>
          </a:solidFill>
        </p:grpSpPr>
        <p:sp>
          <p:nvSpPr>
            <p:cNvPr id="353"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latin typeface="华文细黑" panose="02010600040101010101" pitchFamily="2" charset="-122"/>
                <a:ea typeface="华文细黑" panose="02010600040101010101" pitchFamily="2" charset="-122"/>
              </a:endParaRPr>
            </a:p>
          </p:txBody>
        </p:sp>
        <p:sp>
          <p:nvSpPr>
            <p:cNvPr id="354"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latin typeface="华文细黑" panose="02010600040101010101" pitchFamily="2" charset="-122"/>
                <a:ea typeface="华文细黑" panose="02010600040101010101" pitchFamily="2" charset="-122"/>
              </a:endParaRPr>
            </a:p>
          </p:txBody>
        </p:sp>
      </p:grpSp>
      <p:grpSp>
        <p:nvGrpSpPr>
          <p:cNvPr id="355" name="Group 25"/>
          <p:cNvGrpSpPr>
            <a:grpSpLocks noChangeAspect="1"/>
          </p:cNvGrpSpPr>
          <p:nvPr/>
        </p:nvGrpSpPr>
        <p:grpSpPr>
          <a:xfrm>
            <a:off x="10039883" y="3514066"/>
            <a:ext cx="262848" cy="261269"/>
            <a:chOff x="6537910" y="4611206"/>
            <a:chExt cx="1849437" cy="1838325"/>
          </a:xfrm>
          <a:solidFill>
            <a:schemeClr val="tx1"/>
          </a:solidFill>
        </p:grpSpPr>
        <p:sp>
          <p:nvSpPr>
            <p:cNvPr id="356" name="Freeform 15"/>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57" name="Freeform 16"/>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58" name="Freeform 17"/>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59" name="Freeform 18"/>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60" name="Freeform 19"/>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61" name="Freeform 20"/>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62" name="Freeform 21"/>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grpSp>
      <p:grpSp>
        <p:nvGrpSpPr>
          <p:cNvPr id="363" name="Group 243"/>
          <p:cNvGrpSpPr>
            <a:grpSpLocks noChangeAspect="1"/>
          </p:cNvGrpSpPr>
          <p:nvPr/>
        </p:nvGrpSpPr>
        <p:grpSpPr bwMode="auto">
          <a:xfrm>
            <a:off x="5267534" y="2830898"/>
            <a:ext cx="261269" cy="261269"/>
            <a:chOff x="4256" y="720"/>
            <a:chExt cx="340" cy="340"/>
          </a:xfrm>
          <a:solidFill>
            <a:schemeClr val="tx1"/>
          </a:solidFill>
        </p:grpSpPr>
        <p:sp>
          <p:nvSpPr>
            <p:cNvPr id="364" name="Freeform 244"/>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p>
          </p:txBody>
        </p:sp>
        <p:sp>
          <p:nvSpPr>
            <p:cNvPr id="365" name="Freeform 245"/>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p>
          </p:txBody>
        </p:sp>
      </p:grpSp>
      <p:sp>
        <p:nvSpPr>
          <p:cNvPr id="375" name="矩形 374"/>
          <p:cNvSpPr/>
          <p:nvPr/>
        </p:nvSpPr>
        <p:spPr bwMode="gray">
          <a:xfrm>
            <a:off x="1211191" y="6237907"/>
            <a:ext cx="548137" cy="106248"/>
          </a:xfrm>
          <a:prstGeom prst="rect">
            <a:avLst/>
          </a:prstGeom>
          <a:noFill/>
          <a:ln w="19050" algn="ctr">
            <a:noFill/>
            <a:miter lim="800000"/>
            <a:headEnd/>
            <a:tailEnd/>
          </a:ln>
        </p:spPr>
        <p:txBody>
          <a:bodyPr wrap="square" lIns="0" tIns="0" rIns="0" bIns="0" rtlCol="0" anchor="ctr">
            <a:spAutoFit/>
          </a:bodyPr>
          <a:lstStyle/>
          <a:p>
            <a:pPr>
              <a:lnSpc>
                <a:spcPct val="106000"/>
              </a:lnSpc>
              <a:buFont typeface="Wingdings 2" pitchFamily="18" charset="2"/>
              <a:buNone/>
            </a:pPr>
            <a:r>
              <a:rPr lang="en-US" altLang="zh-CN" sz="680" b="1" dirty="0">
                <a:solidFill>
                  <a:schemeClr val="bg1"/>
                </a:solidFill>
              </a:rPr>
              <a:t>Lorem ipsum</a:t>
            </a:r>
            <a:endParaRPr lang="zh-CN" altLang="en-US" sz="680" dirty="0">
              <a:solidFill>
                <a:schemeClr val="bg1"/>
              </a:solidFill>
            </a:endParaRPr>
          </a:p>
        </p:txBody>
      </p:sp>
      <p:sp>
        <p:nvSpPr>
          <p:cNvPr id="376" name="椭圆 375"/>
          <p:cNvSpPr/>
          <p:nvPr/>
        </p:nvSpPr>
        <p:spPr bwMode="gray">
          <a:xfrm>
            <a:off x="1212956" y="6387246"/>
            <a:ext cx="81248" cy="81248"/>
          </a:xfrm>
          <a:prstGeom prst="ellipse">
            <a:avLst/>
          </a:prstGeom>
          <a:solidFill>
            <a:srgbClr val="86BC25"/>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zh-CN" altLang="en-US" sz="1452" b="1" dirty="0">
              <a:solidFill>
                <a:schemeClr val="bg1"/>
              </a:solidFill>
            </a:endParaRPr>
          </a:p>
        </p:txBody>
      </p:sp>
      <p:sp>
        <p:nvSpPr>
          <p:cNvPr id="377" name="矩形 376"/>
          <p:cNvSpPr/>
          <p:nvPr/>
        </p:nvSpPr>
        <p:spPr bwMode="gray">
          <a:xfrm>
            <a:off x="1320612" y="6374745"/>
            <a:ext cx="595930" cy="106248"/>
          </a:xfrm>
          <a:prstGeom prst="rect">
            <a:avLst/>
          </a:prstGeom>
          <a:noFill/>
          <a:ln w="19050" algn="ctr">
            <a:noFill/>
            <a:miter lim="800000"/>
            <a:headEnd/>
            <a:tailEnd/>
          </a:ln>
        </p:spPr>
        <p:txBody>
          <a:bodyPr wrap="square" lIns="0" tIns="0" rIns="0" bIns="0" rtlCol="0" anchor="ctr">
            <a:spAutoFit/>
          </a:bodyPr>
          <a:lstStyle/>
          <a:p>
            <a:pPr>
              <a:lnSpc>
                <a:spcPct val="106000"/>
              </a:lnSpc>
              <a:buFont typeface="Wingdings 2" pitchFamily="18" charset="2"/>
              <a:buNone/>
            </a:pPr>
            <a:r>
              <a:rPr lang="en-US" altLang="zh-CN" sz="680" dirty="0">
                <a:solidFill>
                  <a:schemeClr val="bg1"/>
                </a:solidFill>
              </a:rPr>
              <a:t>Lorem</a:t>
            </a:r>
            <a:endParaRPr lang="zh-CN" altLang="en-US" sz="680" dirty="0">
              <a:solidFill>
                <a:schemeClr val="bg1"/>
              </a:solidFill>
            </a:endParaRPr>
          </a:p>
        </p:txBody>
      </p:sp>
      <p:sp>
        <p:nvSpPr>
          <p:cNvPr id="378" name="椭圆 377"/>
          <p:cNvSpPr/>
          <p:nvPr/>
        </p:nvSpPr>
        <p:spPr bwMode="gray">
          <a:xfrm>
            <a:off x="1776789" y="6387246"/>
            <a:ext cx="81248" cy="81248"/>
          </a:xfrm>
          <a:prstGeom prst="ellipse">
            <a:avLst/>
          </a:prstGeom>
          <a:solidFill>
            <a:srgbClr val="C4D600"/>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zh-CN" altLang="en-US" sz="1452" b="1" dirty="0">
              <a:solidFill>
                <a:schemeClr val="bg1"/>
              </a:solidFill>
            </a:endParaRPr>
          </a:p>
        </p:txBody>
      </p:sp>
      <p:sp>
        <p:nvSpPr>
          <p:cNvPr id="379" name="矩形 378"/>
          <p:cNvSpPr/>
          <p:nvPr/>
        </p:nvSpPr>
        <p:spPr bwMode="gray">
          <a:xfrm>
            <a:off x="1884444" y="6374745"/>
            <a:ext cx="1030006" cy="106248"/>
          </a:xfrm>
          <a:prstGeom prst="rect">
            <a:avLst/>
          </a:prstGeom>
          <a:noFill/>
          <a:ln w="19050" algn="ctr">
            <a:noFill/>
            <a:miter lim="800000"/>
            <a:headEnd/>
            <a:tailEnd/>
          </a:ln>
        </p:spPr>
        <p:txBody>
          <a:bodyPr wrap="square" lIns="0" tIns="0" rIns="0" bIns="0" rtlCol="0" anchor="ctr">
            <a:spAutoFit/>
          </a:bodyPr>
          <a:lstStyle/>
          <a:p>
            <a:pPr>
              <a:lnSpc>
                <a:spcPct val="106000"/>
              </a:lnSpc>
              <a:buFont typeface="Wingdings 2" pitchFamily="18" charset="2"/>
              <a:buNone/>
            </a:pPr>
            <a:r>
              <a:rPr lang="en-US" altLang="zh-CN" sz="680" dirty="0">
                <a:solidFill>
                  <a:schemeClr val="bg1"/>
                </a:solidFill>
              </a:rPr>
              <a:t>Lorem ipsum</a:t>
            </a:r>
            <a:endParaRPr lang="zh-CN" altLang="en-US" sz="680" dirty="0">
              <a:solidFill>
                <a:schemeClr val="bg1"/>
              </a:solidFill>
            </a:endParaRPr>
          </a:p>
        </p:txBody>
      </p:sp>
      <p:sp>
        <p:nvSpPr>
          <p:cNvPr id="380" name="椭圆 379"/>
          <p:cNvSpPr/>
          <p:nvPr/>
        </p:nvSpPr>
        <p:spPr bwMode="gray">
          <a:xfrm>
            <a:off x="2994876" y="6387246"/>
            <a:ext cx="81248" cy="81248"/>
          </a:xfrm>
          <a:prstGeom prst="ellipse">
            <a:avLst/>
          </a:prstGeom>
          <a:solidFill>
            <a:srgbClr val="00A3E0"/>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zh-CN" altLang="en-US" sz="1452" b="1" dirty="0">
              <a:solidFill>
                <a:schemeClr val="bg1"/>
              </a:solidFill>
            </a:endParaRPr>
          </a:p>
        </p:txBody>
      </p:sp>
      <p:sp>
        <p:nvSpPr>
          <p:cNvPr id="381" name="矩形 380"/>
          <p:cNvSpPr/>
          <p:nvPr/>
        </p:nvSpPr>
        <p:spPr bwMode="gray">
          <a:xfrm>
            <a:off x="3111204" y="6374745"/>
            <a:ext cx="466109" cy="106248"/>
          </a:xfrm>
          <a:prstGeom prst="rect">
            <a:avLst/>
          </a:prstGeom>
          <a:noFill/>
          <a:ln w="19050" algn="ctr">
            <a:noFill/>
            <a:miter lim="800000"/>
            <a:headEnd/>
            <a:tailEnd/>
          </a:ln>
        </p:spPr>
        <p:txBody>
          <a:bodyPr wrap="square" lIns="0" tIns="0" rIns="0" bIns="0" rtlCol="0" anchor="ctr">
            <a:spAutoFit/>
          </a:bodyPr>
          <a:lstStyle/>
          <a:p>
            <a:pPr>
              <a:lnSpc>
                <a:spcPct val="106000"/>
              </a:lnSpc>
              <a:buFont typeface="Wingdings 2" pitchFamily="18" charset="2"/>
              <a:buNone/>
            </a:pPr>
            <a:r>
              <a:rPr lang="en-US" altLang="zh-CN" sz="680" dirty="0">
                <a:solidFill>
                  <a:schemeClr val="bg1"/>
                </a:solidFill>
              </a:rPr>
              <a:t>Lorem ipsum</a:t>
            </a:r>
            <a:endParaRPr lang="zh-CN" altLang="en-US" sz="680" dirty="0">
              <a:solidFill>
                <a:schemeClr val="bg1"/>
              </a:solidFill>
            </a:endParaRPr>
          </a:p>
        </p:txBody>
      </p:sp>
    </p:spTree>
    <p:custDataLst>
      <p:tags r:id="rId1"/>
    </p:custDataLst>
    <p:extLst>
      <p:ext uri="{BB962C8B-B14F-4D97-AF65-F5344CB8AC3E}">
        <p14:creationId xmlns:p14="http://schemas.microsoft.com/office/powerpoint/2010/main" val="2127685646"/>
      </p:ext>
    </p:extLst>
  </p:cSld>
  <p:clrMapOvr>
    <a:masterClrMapping/>
  </p:clrMapOvr>
  <p:transition>
    <p:fade/>
  </p:transition>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bwMode="auto">
          <a:xfrm>
            <a:off x="5175250" y="939800"/>
            <a:ext cx="1736725" cy="1404938"/>
            <a:chOff x="0" y="0"/>
            <a:chExt cx="1736725" cy="1404938"/>
          </a:xfrm>
        </p:grpSpPr>
        <p:sp>
          <p:nvSpPr>
            <p:cNvPr id="3" name="椭圆 7"/>
            <p:cNvSpPr>
              <a:spLocks noChangeArrowheads="1"/>
            </p:cNvSpPr>
            <p:nvPr/>
          </p:nvSpPr>
          <p:spPr bwMode="auto">
            <a:xfrm>
              <a:off x="193675" y="187325"/>
              <a:ext cx="1349375" cy="1090613"/>
            </a:xfrm>
            <a:prstGeom prst="hexagon">
              <a:avLst>
                <a:gd name="adj" fmla="val 25009"/>
                <a:gd name="vf" fmla="val 115470"/>
              </a:avLst>
            </a:prstGeom>
            <a:noFill/>
            <a:ln w="34925">
              <a:solidFill>
                <a:srgbClr val="43B02A"/>
              </a:solidFill>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4" name="椭圆 8"/>
            <p:cNvSpPr>
              <a:spLocks noChangeArrowheads="1"/>
            </p:cNvSpPr>
            <p:nvPr/>
          </p:nvSpPr>
          <p:spPr bwMode="auto">
            <a:xfrm>
              <a:off x="0" y="0"/>
              <a:ext cx="1736725" cy="1404938"/>
            </a:xfrm>
            <a:prstGeom prst="hexagon">
              <a:avLst>
                <a:gd name="adj" fmla="val 24986"/>
                <a:gd name="vf" fmla="val 115470"/>
              </a:avLst>
            </a:prstGeom>
            <a:noFill/>
            <a:ln w="22225">
              <a:solidFill>
                <a:srgbClr val="43B02A"/>
              </a:solidFill>
              <a:prstDash val="lgDash"/>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5" name="文本框 17"/>
            <p:cNvSpPr txBox="1">
              <a:spLocks noChangeArrowheads="1"/>
            </p:cNvSpPr>
            <p:nvPr/>
          </p:nvSpPr>
          <p:spPr bwMode="auto">
            <a:xfrm>
              <a:off x="238919" y="322328"/>
              <a:ext cx="1230312"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altLang="zh-CN" sz="2000" dirty="0">
                  <a:solidFill>
                    <a:schemeClr val="bg1"/>
                  </a:solidFill>
                  <a:latin typeface="+mn-ea"/>
                  <a:ea typeface="+mn-ea"/>
                </a:rPr>
                <a:t>Lorem ipsum</a:t>
              </a:r>
              <a:endParaRPr lang="zh-CN" altLang="en-US" sz="2000" dirty="0">
                <a:solidFill>
                  <a:schemeClr val="bg1"/>
                </a:solidFill>
                <a:latin typeface="+mn-ea"/>
                <a:ea typeface="+mn-ea"/>
              </a:endParaRPr>
            </a:p>
          </p:txBody>
        </p:sp>
      </p:grpSp>
      <p:grpSp>
        <p:nvGrpSpPr>
          <p:cNvPr id="6" name="组合 4"/>
          <p:cNvGrpSpPr/>
          <p:nvPr/>
        </p:nvGrpSpPr>
        <p:grpSpPr bwMode="auto">
          <a:xfrm>
            <a:off x="3557588" y="1300163"/>
            <a:ext cx="1765300" cy="149225"/>
            <a:chOff x="0" y="0"/>
            <a:chExt cx="1765300" cy="149225"/>
          </a:xfrm>
          <a:solidFill>
            <a:srgbClr val="86BC25"/>
          </a:solidFill>
        </p:grpSpPr>
        <p:cxnSp>
          <p:nvCxnSpPr>
            <p:cNvPr id="7" name="直接连接符 21"/>
            <p:cNvCxnSpPr>
              <a:cxnSpLocks noChangeShapeType="1"/>
            </p:cNvCxnSpPr>
            <p:nvPr/>
          </p:nvCxnSpPr>
          <p:spPr bwMode="auto">
            <a:xfrm>
              <a:off x="76200" y="74612"/>
              <a:ext cx="1689100" cy="0"/>
            </a:xfrm>
            <a:prstGeom prst="line">
              <a:avLst/>
            </a:prstGeom>
            <a:grpFill/>
            <a:ln w="15875">
              <a:solidFill>
                <a:srgbClr val="86BC25"/>
              </a:solidFill>
              <a:round/>
            </a:ln>
          </p:spPr>
        </p:cxnSp>
        <p:sp>
          <p:nvSpPr>
            <p:cNvPr id="8" name="椭圆 28"/>
            <p:cNvSpPr>
              <a:spLocks noChangeArrowheads="1"/>
            </p:cNvSpPr>
            <p:nvPr/>
          </p:nvSpPr>
          <p:spPr bwMode="auto">
            <a:xfrm>
              <a:off x="0" y="0"/>
              <a:ext cx="150812" cy="149225"/>
            </a:xfrm>
            <a:prstGeom prst="ellipse">
              <a:avLst/>
            </a:prstGeom>
            <a:grpFill/>
            <a:ln w="9525">
              <a:solidFill>
                <a:srgbClr val="86BC25"/>
              </a:solidFill>
              <a:round/>
            </a:ln>
          </p:spPr>
          <p:txBody>
            <a:bodyPr anchor="ctr"/>
            <a:lstStyle/>
            <a:p>
              <a:pPr algn="ctr" eaLnBrk="1" hangingPunct="1"/>
              <a:endParaRPr lang="zh-CN" altLang="en-US">
                <a:solidFill>
                  <a:schemeClr val="bg1"/>
                </a:solidFill>
              </a:endParaRPr>
            </a:p>
          </p:txBody>
        </p:sp>
      </p:grpSp>
      <p:sp>
        <p:nvSpPr>
          <p:cNvPr id="9" name="文本框 43"/>
          <p:cNvSpPr txBox="1">
            <a:spLocks noChangeArrowheads="1"/>
          </p:cNvSpPr>
          <p:nvPr/>
        </p:nvSpPr>
        <p:spPr bwMode="auto">
          <a:xfrm>
            <a:off x="1203325" y="1171575"/>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dirty="0">
                <a:solidFill>
                  <a:schemeClr val="bg1"/>
                </a:solidFill>
                <a:latin typeface="+mn-lt"/>
              </a:rPr>
              <a:t>Enter the text here, </a:t>
            </a:r>
          </a:p>
          <a:p>
            <a:pPr eaLnBrk="1" hangingPunct="1"/>
            <a:r>
              <a:rPr lang="en-US" altLang="zh-CN" sz="1600" dirty="0">
                <a:solidFill>
                  <a:schemeClr val="bg1"/>
                </a:solidFill>
                <a:latin typeface="+mn-lt"/>
              </a:rPr>
              <a:t>All the text is editable.</a:t>
            </a:r>
            <a:endParaRPr lang="zh-CN" altLang="en-US" sz="1600" dirty="0">
              <a:solidFill>
                <a:schemeClr val="bg1"/>
              </a:solidFill>
              <a:latin typeface="+mn-lt"/>
              <a:ea typeface="微软雅黑" panose="020B0503020204020204" pitchFamily="34" charset="-122"/>
            </a:endParaRPr>
          </a:p>
        </p:txBody>
      </p:sp>
      <p:grpSp>
        <p:nvGrpSpPr>
          <p:cNvPr id="11" name="组合 5"/>
          <p:cNvGrpSpPr/>
          <p:nvPr/>
        </p:nvGrpSpPr>
        <p:grpSpPr bwMode="auto">
          <a:xfrm>
            <a:off x="6770688" y="1909763"/>
            <a:ext cx="1704975" cy="149225"/>
            <a:chOff x="0" y="0"/>
            <a:chExt cx="1704975" cy="149225"/>
          </a:xfrm>
          <a:solidFill>
            <a:srgbClr val="86BC25"/>
          </a:solidFill>
        </p:grpSpPr>
        <p:cxnSp>
          <p:nvCxnSpPr>
            <p:cNvPr id="12" name="直接连接符 21"/>
            <p:cNvCxnSpPr>
              <a:cxnSpLocks noChangeShapeType="1"/>
            </p:cNvCxnSpPr>
            <p:nvPr/>
          </p:nvCxnSpPr>
          <p:spPr bwMode="auto">
            <a:xfrm>
              <a:off x="0" y="74612"/>
              <a:ext cx="1690687" cy="0"/>
            </a:xfrm>
            <a:prstGeom prst="line">
              <a:avLst/>
            </a:prstGeom>
            <a:grpFill/>
            <a:ln w="15875">
              <a:solidFill>
                <a:srgbClr val="86BC25"/>
              </a:solidFill>
              <a:round/>
            </a:ln>
          </p:spPr>
        </p:cxnSp>
        <p:sp>
          <p:nvSpPr>
            <p:cNvPr id="13" name="椭圆 28"/>
            <p:cNvSpPr>
              <a:spLocks noChangeArrowheads="1"/>
            </p:cNvSpPr>
            <p:nvPr/>
          </p:nvSpPr>
          <p:spPr bwMode="auto">
            <a:xfrm>
              <a:off x="1554162" y="0"/>
              <a:ext cx="150813" cy="149225"/>
            </a:xfrm>
            <a:prstGeom prst="ellipse">
              <a:avLst/>
            </a:prstGeom>
            <a:grpFill/>
            <a:ln w="9525">
              <a:solidFill>
                <a:srgbClr val="86BC25"/>
              </a:solidFill>
              <a:round/>
            </a:ln>
          </p:spPr>
          <p:txBody>
            <a:bodyPr anchor="ctr"/>
            <a:lstStyle/>
            <a:p>
              <a:pPr algn="ctr" eaLnBrk="1" hangingPunct="1"/>
              <a:endParaRPr lang="zh-CN" altLang="en-US">
                <a:solidFill>
                  <a:schemeClr val="bg1"/>
                </a:solidFill>
              </a:endParaRPr>
            </a:p>
          </p:txBody>
        </p:sp>
      </p:grpSp>
      <p:sp>
        <p:nvSpPr>
          <p:cNvPr id="14" name="文本框 43"/>
          <p:cNvSpPr txBox="1">
            <a:spLocks noChangeArrowheads="1"/>
          </p:cNvSpPr>
          <p:nvPr/>
        </p:nvSpPr>
        <p:spPr bwMode="auto">
          <a:xfrm>
            <a:off x="1203325" y="1736725"/>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dirty="0">
                <a:solidFill>
                  <a:schemeClr val="bg1"/>
                </a:solidFill>
                <a:latin typeface="+mn-lt"/>
              </a:rPr>
              <a:t>Enter the text here, </a:t>
            </a:r>
          </a:p>
          <a:p>
            <a:pPr eaLnBrk="1" hangingPunct="1"/>
            <a:r>
              <a:rPr lang="en-US" altLang="zh-CN" sz="1600" dirty="0">
                <a:solidFill>
                  <a:schemeClr val="bg1"/>
                </a:solidFill>
                <a:latin typeface="+mn-lt"/>
              </a:rPr>
              <a:t>All the text is editable.</a:t>
            </a:r>
            <a:endParaRPr lang="zh-CN" altLang="en-US" sz="1600" dirty="0">
              <a:solidFill>
                <a:schemeClr val="bg1"/>
              </a:solidFill>
              <a:latin typeface="+mn-lt"/>
              <a:ea typeface="微软雅黑" panose="020B0503020204020204" pitchFamily="34" charset="-122"/>
            </a:endParaRPr>
          </a:p>
        </p:txBody>
      </p:sp>
      <p:sp>
        <p:nvSpPr>
          <p:cNvPr id="15" name="文本框 43"/>
          <p:cNvSpPr txBox="1">
            <a:spLocks noChangeArrowheads="1"/>
          </p:cNvSpPr>
          <p:nvPr/>
        </p:nvSpPr>
        <p:spPr bwMode="auto">
          <a:xfrm>
            <a:off x="8529638" y="1720850"/>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sp>
        <p:nvSpPr>
          <p:cNvPr id="16" name="文本框 43"/>
          <p:cNvSpPr txBox="1">
            <a:spLocks noChangeArrowheads="1"/>
          </p:cNvSpPr>
          <p:nvPr/>
        </p:nvSpPr>
        <p:spPr bwMode="auto">
          <a:xfrm>
            <a:off x="8529638" y="2286000"/>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grpSp>
        <p:nvGrpSpPr>
          <p:cNvPr id="17" name="组合 6"/>
          <p:cNvGrpSpPr/>
          <p:nvPr/>
        </p:nvGrpSpPr>
        <p:grpSpPr bwMode="auto">
          <a:xfrm>
            <a:off x="3557588" y="2854325"/>
            <a:ext cx="1765300" cy="150813"/>
            <a:chOff x="0" y="0"/>
            <a:chExt cx="1765300" cy="150813"/>
          </a:xfrm>
          <a:solidFill>
            <a:srgbClr val="00ABAB"/>
          </a:solidFill>
        </p:grpSpPr>
        <p:cxnSp>
          <p:nvCxnSpPr>
            <p:cNvPr id="18" name="直接连接符 21"/>
            <p:cNvCxnSpPr>
              <a:cxnSpLocks noChangeShapeType="1"/>
            </p:cNvCxnSpPr>
            <p:nvPr/>
          </p:nvCxnSpPr>
          <p:spPr bwMode="auto">
            <a:xfrm>
              <a:off x="76200" y="74613"/>
              <a:ext cx="1689100" cy="0"/>
            </a:xfrm>
            <a:prstGeom prst="line">
              <a:avLst/>
            </a:prstGeom>
            <a:grpFill/>
            <a:ln w="15875">
              <a:solidFill>
                <a:srgbClr val="00ABAB"/>
              </a:solidFill>
              <a:round/>
            </a:ln>
          </p:spPr>
        </p:cxnSp>
        <p:sp>
          <p:nvSpPr>
            <p:cNvPr id="19" name="椭圆 28"/>
            <p:cNvSpPr>
              <a:spLocks noChangeArrowheads="1"/>
            </p:cNvSpPr>
            <p:nvPr/>
          </p:nvSpPr>
          <p:spPr bwMode="auto">
            <a:xfrm>
              <a:off x="0" y="0"/>
              <a:ext cx="150812" cy="150813"/>
            </a:xfrm>
            <a:prstGeom prst="ellipse">
              <a:avLst/>
            </a:prstGeom>
            <a:grpFill/>
            <a:ln w="9525">
              <a:solidFill>
                <a:srgbClr val="00ABAB"/>
              </a:solidFill>
              <a:round/>
            </a:ln>
          </p:spPr>
          <p:txBody>
            <a:bodyPr anchor="ctr"/>
            <a:lstStyle/>
            <a:p>
              <a:pPr algn="ctr" eaLnBrk="1" hangingPunct="1"/>
              <a:endParaRPr lang="zh-CN" altLang="en-US">
                <a:solidFill>
                  <a:schemeClr val="bg1"/>
                </a:solidFill>
              </a:endParaRPr>
            </a:p>
          </p:txBody>
        </p:sp>
      </p:grpSp>
      <p:sp>
        <p:nvSpPr>
          <p:cNvPr id="20" name="文本框 43"/>
          <p:cNvSpPr txBox="1">
            <a:spLocks noChangeArrowheads="1"/>
          </p:cNvSpPr>
          <p:nvPr/>
        </p:nvSpPr>
        <p:spPr bwMode="auto">
          <a:xfrm>
            <a:off x="1203325" y="2725738"/>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sp>
        <p:nvSpPr>
          <p:cNvPr id="21" name="文本框 43"/>
          <p:cNvSpPr txBox="1">
            <a:spLocks noChangeArrowheads="1"/>
          </p:cNvSpPr>
          <p:nvPr/>
        </p:nvSpPr>
        <p:spPr bwMode="auto">
          <a:xfrm>
            <a:off x="1203325" y="3290888"/>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rPr>
              <a:t>Enter the text here, </a:t>
            </a:r>
          </a:p>
          <a:p>
            <a:pPr eaLnBrk="1" hangingPunct="1"/>
            <a:r>
              <a:rPr lang="en-US" altLang="zh-CN" sz="1600">
                <a:solidFill>
                  <a:schemeClr val="bg1"/>
                </a:solidFill>
              </a:rPr>
              <a:t>All the text is editable.</a:t>
            </a:r>
            <a:endParaRPr lang="zh-CN" altLang="en-US" sz="1600">
              <a:solidFill>
                <a:schemeClr val="bg1"/>
              </a:solidFill>
              <a:latin typeface="微软雅黑" panose="020B0503020204020204" pitchFamily="34" charset="-122"/>
              <a:ea typeface="微软雅黑" panose="020B0503020204020204" pitchFamily="34" charset="-122"/>
            </a:endParaRPr>
          </a:p>
        </p:txBody>
      </p:sp>
      <p:grpSp>
        <p:nvGrpSpPr>
          <p:cNvPr id="22" name="组合 8"/>
          <p:cNvGrpSpPr/>
          <p:nvPr/>
        </p:nvGrpSpPr>
        <p:grpSpPr bwMode="auto">
          <a:xfrm>
            <a:off x="3557588" y="4484688"/>
            <a:ext cx="1765300" cy="149225"/>
            <a:chOff x="0" y="0"/>
            <a:chExt cx="1765300" cy="149225"/>
          </a:xfrm>
          <a:solidFill>
            <a:srgbClr val="62B5E5"/>
          </a:solidFill>
        </p:grpSpPr>
        <p:cxnSp>
          <p:nvCxnSpPr>
            <p:cNvPr id="23" name="直接连接符 21"/>
            <p:cNvCxnSpPr>
              <a:cxnSpLocks noChangeShapeType="1"/>
            </p:cNvCxnSpPr>
            <p:nvPr/>
          </p:nvCxnSpPr>
          <p:spPr bwMode="auto">
            <a:xfrm>
              <a:off x="76200" y="74612"/>
              <a:ext cx="1689100" cy="0"/>
            </a:xfrm>
            <a:prstGeom prst="line">
              <a:avLst/>
            </a:prstGeom>
            <a:grpFill/>
            <a:ln w="15875">
              <a:solidFill>
                <a:srgbClr val="62B5E5"/>
              </a:solidFill>
              <a:round/>
            </a:ln>
          </p:spPr>
        </p:cxnSp>
        <p:sp>
          <p:nvSpPr>
            <p:cNvPr id="24" name="椭圆 28"/>
            <p:cNvSpPr>
              <a:spLocks noChangeArrowheads="1"/>
            </p:cNvSpPr>
            <p:nvPr/>
          </p:nvSpPr>
          <p:spPr bwMode="auto">
            <a:xfrm>
              <a:off x="0" y="0"/>
              <a:ext cx="150812" cy="149225"/>
            </a:xfrm>
            <a:prstGeom prst="ellipse">
              <a:avLst/>
            </a:prstGeom>
            <a:grpFill/>
            <a:ln w="9525">
              <a:solidFill>
                <a:srgbClr val="62B5E5"/>
              </a:solidFill>
              <a:round/>
            </a:ln>
          </p:spPr>
          <p:txBody>
            <a:bodyPr anchor="ctr"/>
            <a:lstStyle/>
            <a:p>
              <a:pPr algn="ctr" eaLnBrk="1" hangingPunct="1"/>
              <a:endParaRPr lang="zh-CN" altLang="en-US">
                <a:solidFill>
                  <a:schemeClr val="bg1"/>
                </a:solidFill>
              </a:endParaRPr>
            </a:p>
          </p:txBody>
        </p:sp>
      </p:grpSp>
      <p:sp>
        <p:nvSpPr>
          <p:cNvPr id="25" name="文本框 43"/>
          <p:cNvSpPr txBox="1">
            <a:spLocks noChangeArrowheads="1"/>
          </p:cNvSpPr>
          <p:nvPr/>
        </p:nvSpPr>
        <p:spPr bwMode="auto">
          <a:xfrm>
            <a:off x="1203325" y="4356100"/>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sp>
        <p:nvSpPr>
          <p:cNvPr id="26" name="文本框 43"/>
          <p:cNvSpPr txBox="1">
            <a:spLocks noChangeArrowheads="1"/>
          </p:cNvSpPr>
          <p:nvPr/>
        </p:nvSpPr>
        <p:spPr bwMode="auto">
          <a:xfrm>
            <a:off x="1203325" y="4921250"/>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rPr>
              <a:t>Enter the text here, </a:t>
            </a:r>
          </a:p>
          <a:p>
            <a:pPr eaLnBrk="1" hangingPunct="1"/>
            <a:r>
              <a:rPr lang="en-US" altLang="zh-CN" sz="1600">
                <a:solidFill>
                  <a:schemeClr val="bg1"/>
                </a:solidFill>
              </a:rPr>
              <a:t>All the text is editable.</a:t>
            </a:r>
            <a:endParaRPr lang="zh-CN" altLang="en-US" sz="1600">
              <a:solidFill>
                <a:schemeClr val="bg1"/>
              </a:solidFill>
              <a:latin typeface="微软雅黑" panose="020B0503020204020204" pitchFamily="34" charset="-122"/>
              <a:ea typeface="微软雅黑" panose="020B0503020204020204" pitchFamily="34" charset="-122"/>
            </a:endParaRPr>
          </a:p>
        </p:txBody>
      </p:sp>
      <p:grpSp>
        <p:nvGrpSpPr>
          <p:cNvPr id="27" name="组合 7"/>
          <p:cNvGrpSpPr/>
          <p:nvPr/>
        </p:nvGrpSpPr>
        <p:grpSpPr bwMode="auto">
          <a:xfrm>
            <a:off x="6770688" y="3571875"/>
            <a:ext cx="1704975" cy="149225"/>
            <a:chOff x="0" y="0"/>
            <a:chExt cx="1704975" cy="149225"/>
          </a:xfrm>
          <a:solidFill>
            <a:srgbClr val="00ABAB"/>
          </a:solidFill>
        </p:grpSpPr>
        <p:cxnSp>
          <p:nvCxnSpPr>
            <p:cNvPr id="28" name="直接连接符 21"/>
            <p:cNvCxnSpPr>
              <a:cxnSpLocks noChangeShapeType="1"/>
            </p:cNvCxnSpPr>
            <p:nvPr/>
          </p:nvCxnSpPr>
          <p:spPr bwMode="auto">
            <a:xfrm>
              <a:off x="0" y="74613"/>
              <a:ext cx="1690687" cy="0"/>
            </a:xfrm>
            <a:prstGeom prst="line">
              <a:avLst/>
            </a:prstGeom>
            <a:grpFill/>
            <a:ln w="15875">
              <a:solidFill>
                <a:srgbClr val="00ABAB"/>
              </a:solidFill>
              <a:round/>
            </a:ln>
          </p:spPr>
        </p:cxnSp>
        <p:sp>
          <p:nvSpPr>
            <p:cNvPr id="29" name="椭圆 28"/>
            <p:cNvSpPr>
              <a:spLocks noChangeArrowheads="1"/>
            </p:cNvSpPr>
            <p:nvPr/>
          </p:nvSpPr>
          <p:spPr bwMode="auto">
            <a:xfrm>
              <a:off x="1554162" y="0"/>
              <a:ext cx="150813" cy="149225"/>
            </a:xfrm>
            <a:prstGeom prst="ellipse">
              <a:avLst/>
            </a:prstGeom>
            <a:grpFill/>
            <a:ln w="9525">
              <a:solidFill>
                <a:srgbClr val="00ABAB"/>
              </a:solidFill>
              <a:round/>
            </a:ln>
          </p:spPr>
          <p:txBody>
            <a:bodyPr anchor="ctr"/>
            <a:lstStyle/>
            <a:p>
              <a:pPr algn="ctr" eaLnBrk="1" hangingPunct="1"/>
              <a:endParaRPr lang="zh-CN" altLang="en-US">
                <a:solidFill>
                  <a:schemeClr val="bg1"/>
                </a:solidFill>
              </a:endParaRPr>
            </a:p>
          </p:txBody>
        </p:sp>
      </p:grpSp>
      <p:sp>
        <p:nvSpPr>
          <p:cNvPr id="30" name="文本框 43"/>
          <p:cNvSpPr txBox="1">
            <a:spLocks noChangeArrowheads="1"/>
          </p:cNvSpPr>
          <p:nvPr/>
        </p:nvSpPr>
        <p:spPr bwMode="auto">
          <a:xfrm>
            <a:off x="8529638" y="3382963"/>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sp>
        <p:nvSpPr>
          <p:cNvPr id="31" name="文本框 43"/>
          <p:cNvSpPr txBox="1">
            <a:spLocks noChangeArrowheads="1"/>
          </p:cNvSpPr>
          <p:nvPr/>
        </p:nvSpPr>
        <p:spPr bwMode="auto">
          <a:xfrm>
            <a:off x="8529638" y="3948113"/>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grpSp>
        <p:nvGrpSpPr>
          <p:cNvPr id="32" name="组合 9"/>
          <p:cNvGrpSpPr/>
          <p:nvPr/>
        </p:nvGrpSpPr>
        <p:grpSpPr bwMode="auto">
          <a:xfrm>
            <a:off x="6770688" y="5143500"/>
            <a:ext cx="1704975" cy="149225"/>
            <a:chOff x="0" y="0"/>
            <a:chExt cx="1704975" cy="149225"/>
          </a:xfrm>
          <a:solidFill>
            <a:srgbClr val="62B5E5"/>
          </a:solidFill>
        </p:grpSpPr>
        <p:cxnSp>
          <p:nvCxnSpPr>
            <p:cNvPr id="33" name="直接连接符 21"/>
            <p:cNvCxnSpPr>
              <a:cxnSpLocks noChangeShapeType="1"/>
            </p:cNvCxnSpPr>
            <p:nvPr/>
          </p:nvCxnSpPr>
          <p:spPr bwMode="auto">
            <a:xfrm>
              <a:off x="0" y="74613"/>
              <a:ext cx="1690687" cy="0"/>
            </a:xfrm>
            <a:prstGeom prst="line">
              <a:avLst/>
            </a:prstGeom>
            <a:grpFill/>
            <a:ln w="15875">
              <a:solidFill>
                <a:srgbClr val="62B5E5"/>
              </a:solidFill>
              <a:round/>
            </a:ln>
          </p:spPr>
        </p:cxnSp>
        <p:sp>
          <p:nvSpPr>
            <p:cNvPr id="34" name="椭圆 28"/>
            <p:cNvSpPr>
              <a:spLocks noChangeArrowheads="1"/>
            </p:cNvSpPr>
            <p:nvPr/>
          </p:nvSpPr>
          <p:spPr bwMode="auto">
            <a:xfrm>
              <a:off x="1554162" y="0"/>
              <a:ext cx="150813" cy="149225"/>
            </a:xfrm>
            <a:prstGeom prst="ellipse">
              <a:avLst/>
            </a:prstGeom>
            <a:grpFill/>
            <a:ln w="9525">
              <a:solidFill>
                <a:srgbClr val="62B5E5"/>
              </a:solidFill>
              <a:round/>
            </a:ln>
          </p:spPr>
          <p:txBody>
            <a:bodyPr anchor="ctr"/>
            <a:lstStyle/>
            <a:p>
              <a:pPr algn="ctr" eaLnBrk="1" hangingPunct="1"/>
              <a:endParaRPr lang="zh-CN" altLang="en-US">
                <a:solidFill>
                  <a:schemeClr val="bg1"/>
                </a:solidFill>
              </a:endParaRPr>
            </a:p>
          </p:txBody>
        </p:sp>
      </p:grpSp>
      <p:sp>
        <p:nvSpPr>
          <p:cNvPr id="35" name="文本框 43"/>
          <p:cNvSpPr txBox="1">
            <a:spLocks noChangeArrowheads="1"/>
          </p:cNvSpPr>
          <p:nvPr/>
        </p:nvSpPr>
        <p:spPr bwMode="auto">
          <a:xfrm>
            <a:off x="8529638" y="4954588"/>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sp>
        <p:nvSpPr>
          <p:cNvPr id="36" name="文本框 43"/>
          <p:cNvSpPr txBox="1">
            <a:spLocks noChangeArrowheads="1"/>
          </p:cNvSpPr>
          <p:nvPr/>
        </p:nvSpPr>
        <p:spPr bwMode="auto">
          <a:xfrm>
            <a:off x="8529638" y="5519738"/>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grpSp>
        <p:nvGrpSpPr>
          <p:cNvPr id="37" name="组合 2"/>
          <p:cNvGrpSpPr/>
          <p:nvPr/>
        </p:nvGrpSpPr>
        <p:grpSpPr bwMode="auto">
          <a:xfrm>
            <a:off x="5192713" y="2590800"/>
            <a:ext cx="1701800" cy="1376363"/>
            <a:chOff x="0" y="0"/>
            <a:chExt cx="1701800" cy="1376363"/>
          </a:xfrm>
        </p:grpSpPr>
        <p:sp>
          <p:nvSpPr>
            <p:cNvPr id="38" name="椭圆 11"/>
            <p:cNvSpPr>
              <a:spLocks noChangeArrowheads="1"/>
            </p:cNvSpPr>
            <p:nvPr/>
          </p:nvSpPr>
          <p:spPr bwMode="auto">
            <a:xfrm>
              <a:off x="190500" y="153988"/>
              <a:ext cx="1320800" cy="1068387"/>
            </a:xfrm>
            <a:prstGeom prst="hexagon">
              <a:avLst>
                <a:gd name="adj" fmla="val 24988"/>
                <a:gd name="vf" fmla="val 115470"/>
              </a:avLst>
            </a:prstGeom>
            <a:noFill/>
            <a:ln w="34925">
              <a:solidFill>
                <a:srgbClr val="0097A9"/>
              </a:solidFill>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39" name="椭圆 12"/>
            <p:cNvSpPr>
              <a:spLocks noChangeArrowheads="1"/>
            </p:cNvSpPr>
            <p:nvPr/>
          </p:nvSpPr>
          <p:spPr bwMode="auto">
            <a:xfrm>
              <a:off x="0" y="0"/>
              <a:ext cx="1701800" cy="1376363"/>
            </a:xfrm>
            <a:prstGeom prst="hexagon">
              <a:avLst>
                <a:gd name="adj" fmla="val 24992"/>
                <a:gd name="vf" fmla="val 115470"/>
              </a:avLst>
            </a:prstGeom>
            <a:noFill/>
            <a:ln w="22225">
              <a:solidFill>
                <a:srgbClr val="0097A9"/>
              </a:solidFill>
              <a:prstDash val="lgDash"/>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40" name="文本框 17"/>
            <p:cNvSpPr txBox="1">
              <a:spLocks noChangeArrowheads="1"/>
            </p:cNvSpPr>
            <p:nvPr/>
          </p:nvSpPr>
          <p:spPr bwMode="auto">
            <a:xfrm>
              <a:off x="231776" y="391528"/>
              <a:ext cx="1230312"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altLang="zh-CN" sz="2000" dirty="0">
                  <a:solidFill>
                    <a:schemeClr val="bg1"/>
                  </a:solidFill>
                  <a:latin typeface="+mn-ea"/>
                  <a:ea typeface="+mn-ea"/>
                </a:rPr>
                <a:t>Lorem ipsum</a:t>
              </a:r>
              <a:endParaRPr lang="zh-CN" altLang="en-US" sz="2000" dirty="0">
                <a:solidFill>
                  <a:schemeClr val="bg1"/>
                </a:solidFill>
                <a:latin typeface="+mn-ea"/>
                <a:ea typeface="+mn-ea"/>
              </a:endParaRPr>
            </a:p>
          </p:txBody>
        </p:sp>
      </p:grpSp>
      <p:grpSp>
        <p:nvGrpSpPr>
          <p:cNvPr id="41" name="组合 3"/>
          <p:cNvGrpSpPr/>
          <p:nvPr/>
        </p:nvGrpSpPr>
        <p:grpSpPr bwMode="auto">
          <a:xfrm>
            <a:off x="5205413" y="4246563"/>
            <a:ext cx="1657350" cy="1339850"/>
            <a:chOff x="0" y="0"/>
            <a:chExt cx="1657350" cy="1339850"/>
          </a:xfrm>
        </p:grpSpPr>
        <p:sp>
          <p:nvSpPr>
            <p:cNvPr id="42" name="椭圆 15"/>
            <p:cNvSpPr>
              <a:spLocks noChangeArrowheads="1"/>
            </p:cNvSpPr>
            <p:nvPr/>
          </p:nvSpPr>
          <p:spPr bwMode="auto">
            <a:xfrm>
              <a:off x="0" y="0"/>
              <a:ext cx="1657350" cy="1339850"/>
            </a:xfrm>
            <a:prstGeom prst="hexagon">
              <a:avLst>
                <a:gd name="adj" fmla="val 25003"/>
                <a:gd name="vf" fmla="val 115470"/>
              </a:avLst>
            </a:prstGeom>
            <a:noFill/>
            <a:ln w="22225">
              <a:solidFill>
                <a:srgbClr val="00A3E0"/>
              </a:solidFill>
              <a:prstDash val="lgDash"/>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43" name="椭圆 11"/>
            <p:cNvSpPr>
              <a:spLocks noChangeArrowheads="1"/>
            </p:cNvSpPr>
            <p:nvPr/>
          </p:nvSpPr>
          <p:spPr bwMode="auto">
            <a:xfrm>
              <a:off x="177800" y="142875"/>
              <a:ext cx="1320800" cy="1069975"/>
            </a:xfrm>
            <a:prstGeom prst="hexagon">
              <a:avLst>
                <a:gd name="adj" fmla="val 24951"/>
                <a:gd name="vf" fmla="val 115470"/>
              </a:avLst>
            </a:prstGeom>
            <a:noFill/>
            <a:ln w="34925">
              <a:solidFill>
                <a:srgbClr val="00A3E0"/>
              </a:solidFill>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44" name="文本框 17"/>
            <p:cNvSpPr txBox="1">
              <a:spLocks noChangeArrowheads="1"/>
            </p:cNvSpPr>
            <p:nvPr/>
          </p:nvSpPr>
          <p:spPr bwMode="auto">
            <a:xfrm>
              <a:off x="242094" y="354082"/>
              <a:ext cx="1230312"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altLang="zh-CN" sz="2000" dirty="0">
                  <a:solidFill>
                    <a:schemeClr val="bg1"/>
                  </a:solidFill>
                  <a:latin typeface="+mn-ea"/>
                  <a:ea typeface="+mn-ea"/>
                </a:rPr>
                <a:t>Lorem ipsum</a:t>
              </a:r>
              <a:endParaRPr lang="zh-CN" altLang="en-US" sz="2000" dirty="0">
                <a:solidFill>
                  <a:schemeClr val="bg1"/>
                </a:solidFill>
                <a:latin typeface="+mn-ea"/>
                <a:ea typeface="+mn-ea"/>
              </a:endParaRPr>
            </a:p>
          </p:txBody>
        </p:sp>
      </p:grpSp>
    </p:spTree>
    <p:custDataLst>
      <p:tags r:id="rId1"/>
    </p:custDataLst>
    <p:extLst>
      <p:ext uri="{BB962C8B-B14F-4D97-AF65-F5344CB8AC3E}">
        <p14:creationId xmlns:p14="http://schemas.microsoft.com/office/powerpoint/2010/main" val="3102957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right)">
                                      <p:cBhvr>
                                        <p:cTn id="11" dur="250"/>
                                        <p:tgtEl>
                                          <p:spTgt spid="6"/>
                                        </p:tgtEl>
                                      </p:cBhvr>
                                    </p:animEffect>
                                  </p:childTnLst>
                                </p:cTn>
                              </p:par>
                              <p:par>
                                <p:cTn id="12" presetID="22" presetClass="entr" presetSubtype="8" fill="hold"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wipe(left)">
                                      <p:cBhvr>
                                        <p:cTn id="14" dur="250"/>
                                        <p:tgtEl>
                                          <p:spTgt spid="11"/>
                                        </p:tgtEl>
                                      </p:cBhvr>
                                    </p:animEffect>
                                  </p:childTnLst>
                                </p:cTn>
                              </p:par>
                            </p:childTnLst>
                          </p:cTn>
                        </p:par>
                        <p:par>
                          <p:cTn id="15" fill="hold">
                            <p:stCondLst>
                              <p:cond delay="750"/>
                            </p:stCondLst>
                            <p:childTnLst>
                              <p:par>
                                <p:cTn id="16" presetID="22" presetClass="entr" presetSubtype="1" fill="hold" grpId="0" nodeType="afterEffect">
                                  <p:stCondLst>
                                    <p:cond delay="0"/>
                                  </p:stCondLst>
                                  <p:childTnLst>
                                    <p:set>
                                      <p:cBhvr>
                                        <p:cTn id="17" dur="1" fill="hold">
                                          <p:stCondLst>
                                            <p:cond delay="0"/>
                                          </p:stCondLst>
                                        </p:cTn>
                                        <p:tgtEl>
                                          <p:spTgt spid="9">
                                            <p:txEl>
                                              <p:pRg st="0" end="0"/>
                                            </p:txEl>
                                          </p:spTgt>
                                        </p:tgtEl>
                                        <p:attrNameLst>
                                          <p:attrName>style.visibility</p:attrName>
                                        </p:attrNameLst>
                                      </p:cBhvr>
                                      <p:to>
                                        <p:strVal val="visible"/>
                                      </p:to>
                                    </p:set>
                                    <p:animEffect transition="in" filter="wipe(up)">
                                      <p:cBhvr>
                                        <p:cTn id="18" dur="250"/>
                                        <p:tgtEl>
                                          <p:spTgt spid="9">
                                            <p:txEl>
                                              <p:pRg st="0" end="0"/>
                                            </p:txEl>
                                          </p:spTgt>
                                        </p:tgtEl>
                                      </p:cBhvr>
                                    </p:animEffect>
                                  </p:childTnLst>
                                </p:cTn>
                              </p:par>
                            </p:childTnLst>
                          </p:cTn>
                        </p:par>
                        <p:par>
                          <p:cTn id="19" fill="hold">
                            <p:stCondLst>
                              <p:cond delay="1000"/>
                            </p:stCondLst>
                            <p:childTnLst>
                              <p:par>
                                <p:cTn id="20" presetID="22" presetClass="entr" presetSubtype="1" fill="hold" grpId="0" nodeType="afterEffect">
                                  <p:stCondLst>
                                    <p:cond delay="0"/>
                                  </p:stCondLst>
                                  <p:childTnLst>
                                    <p:set>
                                      <p:cBhvr>
                                        <p:cTn id="21" dur="1" fill="hold">
                                          <p:stCondLst>
                                            <p:cond delay="0"/>
                                          </p:stCondLst>
                                        </p:cTn>
                                        <p:tgtEl>
                                          <p:spTgt spid="9">
                                            <p:txEl>
                                              <p:pRg st="1" end="1"/>
                                            </p:txEl>
                                          </p:spTgt>
                                        </p:tgtEl>
                                        <p:attrNameLst>
                                          <p:attrName>style.visibility</p:attrName>
                                        </p:attrNameLst>
                                      </p:cBhvr>
                                      <p:to>
                                        <p:strVal val="visible"/>
                                      </p:to>
                                    </p:set>
                                    <p:animEffect transition="in" filter="wipe(up)">
                                      <p:cBhvr>
                                        <p:cTn id="22" dur="250"/>
                                        <p:tgtEl>
                                          <p:spTgt spid="9">
                                            <p:txEl>
                                              <p:pRg st="1" end="1"/>
                                            </p:txEl>
                                          </p:spTgt>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14">
                                            <p:txEl>
                                              <p:pRg st="0" end="0"/>
                                            </p:txEl>
                                          </p:spTgt>
                                        </p:tgtEl>
                                        <p:attrNameLst>
                                          <p:attrName>style.visibility</p:attrName>
                                        </p:attrNameLst>
                                      </p:cBhvr>
                                      <p:to>
                                        <p:strVal val="visible"/>
                                      </p:to>
                                    </p:set>
                                    <p:animEffect transition="in" filter="wipe(up)">
                                      <p:cBhvr>
                                        <p:cTn id="25" dur="250"/>
                                        <p:tgtEl>
                                          <p:spTgt spid="14">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grpId="0" nodeType="clickEffect">
                                  <p:stCondLst>
                                    <p:cond delay="0"/>
                                  </p:stCondLst>
                                  <p:childTnLst>
                                    <p:set>
                                      <p:cBhvr>
                                        <p:cTn id="29" dur="1" fill="hold">
                                          <p:stCondLst>
                                            <p:cond delay="0"/>
                                          </p:stCondLst>
                                        </p:cTn>
                                        <p:tgtEl>
                                          <p:spTgt spid="14">
                                            <p:txEl>
                                              <p:pRg st="1" end="1"/>
                                            </p:txEl>
                                          </p:spTgt>
                                        </p:tgtEl>
                                        <p:attrNameLst>
                                          <p:attrName>style.visibility</p:attrName>
                                        </p:attrNameLst>
                                      </p:cBhvr>
                                      <p:to>
                                        <p:strVal val="visible"/>
                                      </p:to>
                                    </p:set>
                                    <p:animEffect transition="in" filter="wipe(up)">
                                      <p:cBhvr>
                                        <p:cTn id="30" dur="250"/>
                                        <p:tgtEl>
                                          <p:spTgt spid="14">
                                            <p:txEl>
                                              <p:pRg st="1" end="1"/>
                                            </p:txEl>
                                          </p:spTgt>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15">
                                            <p:txEl>
                                              <p:pRg st="0" end="0"/>
                                            </p:txEl>
                                          </p:spTgt>
                                        </p:tgtEl>
                                        <p:attrNameLst>
                                          <p:attrName>style.visibility</p:attrName>
                                        </p:attrNameLst>
                                      </p:cBhvr>
                                      <p:to>
                                        <p:strVal val="visible"/>
                                      </p:to>
                                    </p:set>
                                    <p:animEffect transition="in" filter="wipe(up)">
                                      <p:cBhvr>
                                        <p:cTn id="33" dur="250"/>
                                        <p:tgtEl>
                                          <p:spTgt spid="15">
                                            <p:txEl>
                                              <p:pRg st="0" end="0"/>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grpId="0" nodeType="clickEffect">
                                  <p:stCondLst>
                                    <p:cond delay="0"/>
                                  </p:stCondLst>
                                  <p:childTnLst>
                                    <p:set>
                                      <p:cBhvr>
                                        <p:cTn id="37" dur="1" fill="hold">
                                          <p:stCondLst>
                                            <p:cond delay="0"/>
                                          </p:stCondLst>
                                        </p:cTn>
                                        <p:tgtEl>
                                          <p:spTgt spid="15">
                                            <p:txEl>
                                              <p:pRg st="1" end="1"/>
                                            </p:txEl>
                                          </p:spTgt>
                                        </p:tgtEl>
                                        <p:attrNameLst>
                                          <p:attrName>style.visibility</p:attrName>
                                        </p:attrNameLst>
                                      </p:cBhvr>
                                      <p:to>
                                        <p:strVal val="visible"/>
                                      </p:to>
                                    </p:set>
                                    <p:animEffect transition="in" filter="wipe(up)">
                                      <p:cBhvr>
                                        <p:cTn id="38" dur="250"/>
                                        <p:tgtEl>
                                          <p:spTgt spid="15">
                                            <p:txEl>
                                              <p:pRg st="1" end="1"/>
                                            </p:txEl>
                                          </p:spTgt>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6">
                                            <p:txEl>
                                              <p:pRg st="0" end="0"/>
                                            </p:txEl>
                                          </p:spTgt>
                                        </p:tgtEl>
                                        <p:attrNameLst>
                                          <p:attrName>style.visibility</p:attrName>
                                        </p:attrNameLst>
                                      </p:cBhvr>
                                      <p:to>
                                        <p:strVal val="visible"/>
                                      </p:to>
                                    </p:set>
                                    <p:animEffect transition="in" filter="wipe(up)">
                                      <p:cBhvr>
                                        <p:cTn id="41" dur="250"/>
                                        <p:tgtEl>
                                          <p:spTgt spid="16">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6">
                                            <p:txEl>
                                              <p:pRg st="1" end="1"/>
                                            </p:txEl>
                                          </p:spTgt>
                                        </p:tgtEl>
                                        <p:attrNameLst>
                                          <p:attrName>style.visibility</p:attrName>
                                        </p:attrNameLst>
                                      </p:cBhvr>
                                      <p:to>
                                        <p:strVal val="visible"/>
                                      </p:to>
                                    </p:set>
                                    <p:animEffect transition="in" filter="wipe(up)">
                                      <p:cBhvr>
                                        <p:cTn id="46" dur="250"/>
                                        <p:tgtEl>
                                          <p:spTgt spid="16">
                                            <p:txEl>
                                              <p:pRg st="1" end="1"/>
                                            </p:txEl>
                                          </p:spTgt>
                                        </p:tgtEl>
                                      </p:cBhvr>
                                    </p:animEffect>
                                  </p:childTnLst>
                                </p:cTn>
                              </p:par>
                            </p:childTnLst>
                          </p:cTn>
                        </p:par>
                        <p:par>
                          <p:cTn id="47" fill="hold">
                            <p:stCondLst>
                              <p:cond delay="250"/>
                            </p:stCondLst>
                            <p:childTnLst>
                              <p:par>
                                <p:cTn id="48" presetID="16" presetClass="entr" presetSubtype="37" fill="hold"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barn(outVertical)">
                                      <p:cBhvr>
                                        <p:cTn id="50" dur="500"/>
                                        <p:tgtEl>
                                          <p:spTgt spid="37"/>
                                        </p:tgtEl>
                                      </p:cBhvr>
                                    </p:animEffect>
                                  </p:childTnLst>
                                </p:cTn>
                              </p:par>
                            </p:childTnLst>
                          </p:cTn>
                        </p:par>
                        <p:par>
                          <p:cTn id="51" fill="hold">
                            <p:stCondLst>
                              <p:cond delay="750"/>
                            </p:stCondLst>
                            <p:childTnLst>
                              <p:par>
                                <p:cTn id="52" presetID="22" presetClass="entr" presetSubtype="2" fill="hold" nodeType="afterEffect">
                                  <p:stCondLst>
                                    <p:cond delay="0"/>
                                  </p:stCondLst>
                                  <p:childTnLst>
                                    <p:set>
                                      <p:cBhvr>
                                        <p:cTn id="53" dur="1" fill="hold">
                                          <p:stCondLst>
                                            <p:cond delay="0"/>
                                          </p:stCondLst>
                                        </p:cTn>
                                        <p:tgtEl>
                                          <p:spTgt spid="17"/>
                                        </p:tgtEl>
                                        <p:attrNameLst>
                                          <p:attrName>style.visibility</p:attrName>
                                        </p:attrNameLst>
                                      </p:cBhvr>
                                      <p:to>
                                        <p:strVal val="visible"/>
                                      </p:to>
                                    </p:set>
                                    <p:animEffect transition="in" filter="wipe(right)">
                                      <p:cBhvr>
                                        <p:cTn id="54" dur="250"/>
                                        <p:tgtEl>
                                          <p:spTgt spid="17"/>
                                        </p:tgtEl>
                                      </p:cBhvr>
                                    </p:animEffect>
                                  </p:childTnLst>
                                </p:cTn>
                              </p:par>
                              <p:par>
                                <p:cTn id="55" presetID="22" presetClass="entr" presetSubtype="8" fill="hold" nodeType="with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wipe(left)">
                                      <p:cBhvr>
                                        <p:cTn id="57" dur="250"/>
                                        <p:tgtEl>
                                          <p:spTgt spid="27"/>
                                        </p:tgtEl>
                                      </p:cBhvr>
                                    </p:animEffect>
                                  </p:childTnLst>
                                </p:cTn>
                              </p:par>
                              <p:par>
                                <p:cTn id="58" presetID="22" presetClass="entr" presetSubtype="1" fill="hold" grpId="0" nodeType="withEffect">
                                  <p:stCondLst>
                                    <p:cond delay="0"/>
                                  </p:stCondLst>
                                  <p:childTnLst>
                                    <p:set>
                                      <p:cBhvr>
                                        <p:cTn id="59" dur="1" fill="hold">
                                          <p:stCondLst>
                                            <p:cond delay="0"/>
                                          </p:stCondLst>
                                        </p:cTn>
                                        <p:tgtEl>
                                          <p:spTgt spid="20">
                                            <p:txEl>
                                              <p:pRg st="0" end="0"/>
                                            </p:txEl>
                                          </p:spTgt>
                                        </p:tgtEl>
                                        <p:attrNameLst>
                                          <p:attrName>style.visibility</p:attrName>
                                        </p:attrNameLst>
                                      </p:cBhvr>
                                      <p:to>
                                        <p:strVal val="visible"/>
                                      </p:to>
                                    </p:set>
                                    <p:animEffect transition="in" filter="wipe(up)">
                                      <p:cBhvr>
                                        <p:cTn id="60" dur="250"/>
                                        <p:tgtEl>
                                          <p:spTgt spid="20">
                                            <p:txEl>
                                              <p:pRg st="0" end="0"/>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1" fill="hold" grpId="0" nodeType="clickEffect">
                                  <p:stCondLst>
                                    <p:cond delay="0"/>
                                  </p:stCondLst>
                                  <p:childTnLst>
                                    <p:set>
                                      <p:cBhvr>
                                        <p:cTn id="64" dur="1" fill="hold">
                                          <p:stCondLst>
                                            <p:cond delay="0"/>
                                          </p:stCondLst>
                                        </p:cTn>
                                        <p:tgtEl>
                                          <p:spTgt spid="20">
                                            <p:txEl>
                                              <p:pRg st="1" end="1"/>
                                            </p:txEl>
                                          </p:spTgt>
                                        </p:tgtEl>
                                        <p:attrNameLst>
                                          <p:attrName>style.visibility</p:attrName>
                                        </p:attrNameLst>
                                      </p:cBhvr>
                                      <p:to>
                                        <p:strVal val="visible"/>
                                      </p:to>
                                    </p:set>
                                    <p:animEffect transition="in" filter="wipe(up)">
                                      <p:cBhvr>
                                        <p:cTn id="65" dur="250"/>
                                        <p:tgtEl>
                                          <p:spTgt spid="20">
                                            <p:txEl>
                                              <p:pRg st="1" end="1"/>
                                            </p:txEl>
                                          </p:spTgt>
                                        </p:tgtEl>
                                      </p:cBhvr>
                                    </p:animEffect>
                                  </p:childTnLst>
                                </p:cTn>
                              </p:par>
                              <p:par>
                                <p:cTn id="66" presetID="22" presetClass="entr" presetSubtype="1" fill="hold" grpId="0" nodeType="withEffect">
                                  <p:stCondLst>
                                    <p:cond delay="0"/>
                                  </p:stCondLst>
                                  <p:childTnLst>
                                    <p:set>
                                      <p:cBhvr>
                                        <p:cTn id="67" dur="1" fill="hold">
                                          <p:stCondLst>
                                            <p:cond delay="0"/>
                                          </p:stCondLst>
                                        </p:cTn>
                                        <p:tgtEl>
                                          <p:spTgt spid="21">
                                            <p:txEl>
                                              <p:pRg st="0" end="0"/>
                                            </p:txEl>
                                          </p:spTgt>
                                        </p:tgtEl>
                                        <p:attrNameLst>
                                          <p:attrName>style.visibility</p:attrName>
                                        </p:attrNameLst>
                                      </p:cBhvr>
                                      <p:to>
                                        <p:strVal val="visible"/>
                                      </p:to>
                                    </p:set>
                                    <p:animEffect transition="in" filter="wipe(up)">
                                      <p:cBhvr>
                                        <p:cTn id="68" dur="250"/>
                                        <p:tgtEl>
                                          <p:spTgt spid="21">
                                            <p:txEl>
                                              <p:pRg st="0" end="0"/>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1" fill="hold" grpId="0" nodeType="clickEffect">
                                  <p:stCondLst>
                                    <p:cond delay="0"/>
                                  </p:stCondLst>
                                  <p:childTnLst>
                                    <p:set>
                                      <p:cBhvr>
                                        <p:cTn id="72" dur="1" fill="hold">
                                          <p:stCondLst>
                                            <p:cond delay="0"/>
                                          </p:stCondLst>
                                        </p:cTn>
                                        <p:tgtEl>
                                          <p:spTgt spid="21">
                                            <p:txEl>
                                              <p:pRg st="1" end="1"/>
                                            </p:txEl>
                                          </p:spTgt>
                                        </p:tgtEl>
                                        <p:attrNameLst>
                                          <p:attrName>style.visibility</p:attrName>
                                        </p:attrNameLst>
                                      </p:cBhvr>
                                      <p:to>
                                        <p:strVal val="visible"/>
                                      </p:to>
                                    </p:set>
                                    <p:animEffect transition="in" filter="wipe(up)">
                                      <p:cBhvr>
                                        <p:cTn id="73" dur="250"/>
                                        <p:tgtEl>
                                          <p:spTgt spid="21">
                                            <p:txEl>
                                              <p:pRg st="1" end="1"/>
                                            </p:txEl>
                                          </p:spTgt>
                                        </p:tgtEl>
                                      </p:cBhvr>
                                    </p:animEffect>
                                  </p:childTnLst>
                                </p:cTn>
                              </p:par>
                              <p:par>
                                <p:cTn id="74" presetID="22" presetClass="entr" presetSubtype="1" fill="hold" grpId="0" nodeType="withEffect">
                                  <p:stCondLst>
                                    <p:cond delay="0"/>
                                  </p:stCondLst>
                                  <p:childTnLst>
                                    <p:set>
                                      <p:cBhvr>
                                        <p:cTn id="75" dur="1" fill="hold">
                                          <p:stCondLst>
                                            <p:cond delay="0"/>
                                          </p:stCondLst>
                                        </p:cTn>
                                        <p:tgtEl>
                                          <p:spTgt spid="30">
                                            <p:txEl>
                                              <p:pRg st="0" end="0"/>
                                            </p:txEl>
                                          </p:spTgt>
                                        </p:tgtEl>
                                        <p:attrNameLst>
                                          <p:attrName>style.visibility</p:attrName>
                                        </p:attrNameLst>
                                      </p:cBhvr>
                                      <p:to>
                                        <p:strVal val="visible"/>
                                      </p:to>
                                    </p:set>
                                    <p:animEffect transition="in" filter="wipe(up)">
                                      <p:cBhvr>
                                        <p:cTn id="76" dur="250"/>
                                        <p:tgtEl>
                                          <p:spTgt spid="30">
                                            <p:txEl>
                                              <p:pRg st="0" end="0"/>
                                            </p:txEl>
                                          </p:spTgt>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1" fill="hold" grpId="0" nodeType="clickEffect">
                                  <p:stCondLst>
                                    <p:cond delay="0"/>
                                  </p:stCondLst>
                                  <p:childTnLst>
                                    <p:set>
                                      <p:cBhvr>
                                        <p:cTn id="80" dur="1" fill="hold">
                                          <p:stCondLst>
                                            <p:cond delay="0"/>
                                          </p:stCondLst>
                                        </p:cTn>
                                        <p:tgtEl>
                                          <p:spTgt spid="30">
                                            <p:txEl>
                                              <p:pRg st="1" end="1"/>
                                            </p:txEl>
                                          </p:spTgt>
                                        </p:tgtEl>
                                        <p:attrNameLst>
                                          <p:attrName>style.visibility</p:attrName>
                                        </p:attrNameLst>
                                      </p:cBhvr>
                                      <p:to>
                                        <p:strVal val="visible"/>
                                      </p:to>
                                    </p:set>
                                    <p:animEffect transition="in" filter="wipe(up)">
                                      <p:cBhvr>
                                        <p:cTn id="81" dur="250"/>
                                        <p:tgtEl>
                                          <p:spTgt spid="30">
                                            <p:txEl>
                                              <p:pRg st="1" end="1"/>
                                            </p:txEl>
                                          </p:spTgt>
                                        </p:tgtEl>
                                      </p:cBhvr>
                                    </p:animEffect>
                                  </p:childTnLst>
                                </p:cTn>
                              </p:par>
                              <p:par>
                                <p:cTn id="82" presetID="22" presetClass="entr" presetSubtype="1" fill="hold" grpId="0" nodeType="withEffect">
                                  <p:stCondLst>
                                    <p:cond delay="0"/>
                                  </p:stCondLst>
                                  <p:childTnLst>
                                    <p:set>
                                      <p:cBhvr>
                                        <p:cTn id="83" dur="1" fill="hold">
                                          <p:stCondLst>
                                            <p:cond delay="0"/>
                                          </p:stCondLst>
                                        </p:cTn>
                                        <p:tgtEl>
                                          <p:spTgt spid="31">
                                            <p:txEl>
                                              <p:pRg st="0" end="0"/>
                                            </p:txEl>
                                          </p:spTgt>
                                        </p:tgtEl>
                                        <p:attrNameLst>
                                          <p:attrName>style.visibility</p:attrName>
                                        </p:attrNameLst>
                                      </p:cBhvr>
                                      <p:to>
                                        <p:strVal val="visible"/>
                                      </p:to>
                                    </p:set>
                                    <p:animEffect transition="in" filter="wipe(up)">
                                      <p:cBhvr>
                                        <p:cTn id="84" dur="250"/>
                                        <p:tgtEl>
                                          <p:spTgt spid="31">
                                            <p:txEl>
                                              <p:pRg st="0" end="0"/>
                                            </p:txEl>
                                          </p:spTgt>
                                        </p:tgtEl>
                                      </p:cBhvr>
                                    </p:animEffect>
                                  </p:childTnLst>
                                </p:cTn>
                              </p:par>
                            </p:childTnLst>
                          </p:cTn>
                        </p:par>
                      </p:childTnLst>
                    </p:cTn>
                  </p:par>
                  <p:par>
                    <p:cTn id="85" fill="hold">
                      <p:stCondLst>
                        <p:cond delay="indefinite"/>
                      </p:stCondLst>
                      <p:childTnLst>
                        <p:par>
                          <p:cTn id="86" fill="hold">
                            <p:stCondLst>
                              <p:cond delay="0"/>
                            </p:stCondLst>
                            <p:childTnLst>
                              <p:par>
                                <p:cTn id="87" presetID="22" presetClass="entr" presetSubtype="1" fill="hold" grpId="0" nodeType="clickEffect">
                                  <p:stCondLst>
                                    <p:cond delay="0"/>
                                  </p:stCondLst>
                                  <p:childTnLst>
                                    <p:set>
                                      <p:cBhvr>
                                        <p:cTn id="88" dur="1" fill="hold">
                                          <p:stCondLst>
                                            <p:cond delay="0"/>
                                          </p:stCondLst>
                                        </p:cTn>
                                        <p:tgtEl>
                                          <p:spTgt spid="31">
                                            <p:txEl>
                                              <p:pRg st="1" end="1"/>
                                            </p:txEl>
                                          </p:spTgt>
                                        </p:tgtEl>
                                        <p:attrNameLst>
                                          <p:attrName>style.visibility</p:attrName>
                                        </p:attrNameLst>
                                      </p:cBhvr>
                                      <p:to>
                                        <p:strVal val="visible"/>
                                      </p:to>
                                    </p:set>
                                    <p:animEffect transition="in" filter="wipe(up)">
                                      <p:cBhvr>
                                        <p:cTn id="89" dur="250"/>
                                        <p:tgtEl>
                                          <p:spTgt spid="31">
                                            <p:txEl>
                                              <p:pRg st="1" end="1"/>
                                            </p:txEl>
                                          </p:spTgt>
                                        </p:tgtEl>
                                      </p:cBhvr>
                                    </p:animEffect>
                                  </p:childTnLst>
                                </p:cTn>
                              </p:par>
                            </p:childTnLst>
                          </p:cTn>
                        </p:par>
                        <p:par>
                          <p:cTn id="90" fill="hold">
                            <p:stCondLst>
                              <p:cond delay="250"/>
                            </p:stCondLst>
                            <p:childTnLst>
                              <p:par>
                                <p:cTn id="91" presetID="16" presetClass="entr" presetSubtype="37" fill="hold" nodeType="afterEffect">
                                  <p:stCondLst>
                                    <p:cond delay="0"/>
                                  </p:stCondLst>
                                  <p:childTnLst>
                                    <p:set>
                                      <p:cBhvr>
                                        <p:cTn id="92" dur="1" fill="hold">
                                          <p:stCondLst>
                                            <p:cond delay="0"/>
                                          </p:stCondLst>
                                        </p:cTn>
                                        <p:tgtEl>
                                          <p:spTgt spid="41"/>
                                        </p:tgtEl>
                                        <p:attrNameLst>
                                          <p:attrName>style.visibility</p:attrName>
                                        </p:attrNameLst>
                                      </p:cBhvr>
                                      <p:to>
                                        <p:strVal val="visible"/>
                                      </p:to>
                                    </p:set>
                                    <p:animEffect transition="in" filter="barn(outVertical)">
                                      <p:cBhvr>
                                        <p:cTn id="93" dur="500"/>
                                        <p:tgtEl>
                                          <p:spTgt spid="41"/>
                                        </p:tgtEl>
                                      </p:cBhvr>
                                    </p:animEffect>
                                  </p:childTnLst>
                                </p:cTn>
                              </p:par>
                            </p:childTnLst>
                          </p:cTn>
                        </p:par>
                        <p:par>
                          <p:cTn id="94" fill="hold">
                            <p:stCondLst>
                              <p:cond delay="750"/>
                            </p:stCondLst>
                            <p:childTnLst>
                              <p:par>
                                <p:cTn id="95" presetID="22" presetClass="entr" presetSubtype="2" fill="hold" nodeType="afterEffect">
                                  <p:stCondLst>
                                    <p:cond delay="0"/>
                                  </p:stCondLst>
                                  <p:childTnLst>
                                    <p:set>
                                      <p:cBhvr>
                                        <p:cTn id="96" dur="1" fill="hold">
                                          <p:stCondLst>
                                            <p:cond delay="0"/>
                                          </p:stCondLst>
                                        </p:cTn>
                                        <p:tgtEl>
                                          <p:spTgt spid="22"/>
                                        </p:tgtEl>
                                        <p:attrNameLst>
                                          <p:attrName>style.visibility</p:attrName>
                                        </p:attrNameLst>
                                      </p:cBhvr>
                                      <p:to>
                                        <p:strVal val="visible"/>
                                      </p:to>
                                    </p:set>
                                    <p:animEffect transition="in" filter="wipe(right)">
                                      <p:cBhvr>
                                        <p:cTn id="97" dur="250"/>
                                        <p:tgtEl>
                                          <p:spTgt spid="22"/>
                                        </p:tgtEl>
                                      </p:cBhvr>
                                    </p:animEffect>
                                  </p:childTnLst>
                                </p:cTn>
                              </p:par>
                              <p:par>
                                <p:cTn id="98" presetID="22" presetClass="entr" presetSubtype="8" fill="hold" nodeType="withEffect">
                                  <p:stCondLst>
                                    <p:cond delay="0"/>
                                  </p:stCondLst>
                                  <p:childTnLst>
                                    <p:set>
                                      <p:cBhvr>
                                        <p:cTn id="99" dur="1" fill="hold">
                                          <p:stCondLst>
                                            <p:cond delay="0"/>
                                          </p:stCondLst>
                                        </p:cTn>
                                        <p:tgtEl>
                                          <p:spTgt spid="32"/>
                                        </p:tgtEl>
                                        <p:attrNameLst>
                                          <p:attrName>style.visibility</p:attrName>
                                        </p:attrNameLst>
                                      </p:cBhvr>
                                      <p:to>
                                        <p:strVal val="visible"/>
                                      </p:to>
                                    </p:set>
                                    <p:animEffect transition="in" filter="wipe(left)">
                                      <p:cBhvr>
                                        <p:cTn id="100" dur="250"/>
                                        <p:tgtEl>
                                          <p:spTgt spid="32"/>
                                        </p:tgtEl>
                                      </p:cBhvr>
                                    </p:animEffect>
                                  </p:childTnLst>
                                </p:cTn>
                              </p:par>
                              <p:par>
                                <p:cTn id="101" presetID="22" presetClass="entr" presetSubtype="1" fill="hold" grpId="0" nodeType="withEffect">
                                  <p:stCondLst>
                                    <p:cond delay="0"/>
                                  </p:stCondLst>
                                  <p:childTnLst>
                                    <p:set>
                                      <p:cBhvr>
                                        <p:cTn id="102" dur="1" fill="hold">
                                          <p:stCondLst>
                                            <p:cond delay="0"/>
                                          </p:stCondLst>
                                        </p:cTn>
                                        <p:tgtEl>
                                          <p:spTgt spid="25">
                                            <p:txEl>
                                              <p:pRg st="0" end="0"/>
                                            </p:txEl>
                                          </p:spTgt>
                                        </p:tgtEl>
                                        <p:attrNameLst>
                                          <p:attrName>style.visibility</p:attrName>
                                        </p:attrNameLst>
                                      </p:cBhvr>
                                      <p:to>
                                        <p:strVal val="visible"/>
                                      </p:to>
                                    </p:set>
                                    <p:animEffect transition="in" filter="wipe(up)">
                                      <p:cBhvr>
                                        <p:cTn id="103" dur="250"/>
                                        <p:tgtEl>
                                          <p:spTgt spid="25">
                                            <p:txEl>
                                              <p:pRg st="0" end="0"/>
                                            </p:txEl>
                                          </p:spTgt>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1" fill="hold" grpId="0" nodeType="clickEffect">
                                  <p:stCondLst>
                                    <p:cond delay="0"/>
                                  </p:stCondLst>
                                  <p:childTnLst>
                                    <p:set>
                                      <p:cBhvr>
                                        <p:cTn id="107" dur="1" fill="hold">
                                          <p:stCondLst>
                                            <p:cond delay="0"/>
                                          </p:stCondLst>
                                        </p:cTn>
                                        <p:tgtEl>
                                          <p:spTgt spid="25">
                                            <p:txEl>
                                              <p:pRg st="1" end="1"/>
                                            </p:txEl>
                                          </p:spTgt>
                                        </p:tgtEl>
                                        <p:attrNameLst>
                                          <p:attrName>style.visibility</p:attrName>
                                        </p:attrNameLst>
                                      </p:cBhvr>
                                      <p:to>
                                        <p:strVal val="visible"/>
                                      </p:to>
                                    </p:set>
                                    <p:animEffect transition="in" filter="wipe(up)">
                                      <p:cBhvr>
                                        <p:cTn id="108" dur="250"/>
                                        <p:tgtEl>
                                          <p:spTgt spid="25">
                                            <p:txEl>
                                              <p:pRg st="1" end="1"/>
                                            </p:txEl>
                                          </p:spTgt>
                                        </p:tgtEl>
                                      </p:cBhvr>
                                    </p:animEffect>
                                  </p:childTnLst>
                                </p:cTn>
                              </p:par>
                              <p:par>
                                <p:cTn id="109" presetID="22" presetClass="entr" presetSubtype="1" fill="hold" grpId="0" nodeType="withEffect">
                                  <p:stCondLst>
                                    <p:cond delay="0"/>
                                  </p:stCondLst>
                                  <p:childTnLst>
                                    <p:set>
                                      <p:cBhvr>
                                        <p:cTn id="110" dur="1" fill="hold">
                                          <p:stCondLst>
                                            <p:cond delay="0"/>
                                          </p:stCondLst>
                                        </p:cTn>
                                        <p:tgtEl>
                                          <p:spTgt spid="26">
                                            <p:txEl>
                                              <p:pRg st="0" end="0"/>
                                            </p:txEl>
                                          </p:spTgt>
                                        </p:tgtEl>
                                        <p:attrNameLst>
                                          <p:attrName>style.visibility</p:attrName>
                                        </p:attrNameLst>
                                      </p:cBhvr>
                                      <p:to>
                                        <p:strVal val="visible"/>
                                      </p:to>
                                    </p:set>
                                    <p:animEffect transition="in" filter="wipe(up)">
                                      <p:cBhvr>
                                        <p:cTn id="111" dur="250"/>
                                        <p:tgtEl>
                                          <p:spTgt spid="26">
                                            <p:txEl>
                                              <p:pRg st="0" end="0"/>
                                            </p:txEl>
                                          </p:spTgt>
                                        </p:tgtEl>
                                      </p:cBhvr>
                                    </p:animEffect>
                                  </p:childTnLst>
                                </p:cTn>
                              </p:par>
                            </p:childTnLst>
                          </p:cTn>
                        </p:par>
                      </p:childTnLst>
                    </p:cTn>
                  </p:par>
                  <p:par>
                    <p:cTn id="112" fill="hold">
                      <p:stCondLst>
                        <p:cond delay="indefinite"/>
                      </p:stCondLst>
                      <p:childTnLst>
                        <p:par>
                          <p:cTn id="113" fill="hold">
                            <p:stCondLst>
                              <p:cond delay="0"/>
                            </p:stCondLst>
                            <p:childTnLst>
                              <p:par>
                                <p:cTn id="114" presetID="22" presetClass="entr" presetSubtype="1" fill="hold" grpId="0" nodeType="clickEffect">
                                  <p:stCondLst>
                                    <p:cond delay="0"/>
                                  </p:stCondLst>
                                  <p:childTnLst>
                                    <p:set>
                                      <p:cBhvr>
                                        <p:cTn id="115" dur="1" fill="hold">
                                          <p:stCondLst>
                                            <p:cond delay="0"/>
                                          </p:stCondLst>
                                        </p:cTn>
                                        <p:tgtEl>
                                          <p:spTgt spid="26">
                                            <p:txEl>
                                              <p:pRg st="1" end="1"/>
                                            </p:txEl>
                                          </p:spTgt>
                                        </p:tgtEl>
                                        <p:attrNameLst>
                                          <p:attrName>style.visibility</p:attrName>
                                        </p:attrNameLst>
                                      </p:cBhvr>
                                      <p:to>
                                        <p:strVal val="visible"/>
                                      </p:to>
                                    </p:set>
                                    <p:animEffect transition="in" filter="wipe(up)">
                                      <p:cBhvr>
                                        <p:cTn id="116" dur="250"/>
                                        <p:tgtEl>
                                          <p:spTgt spid="26">
                                            <p:txEl>
                                              <p:pRg st="1" end="1"/>
                                            </p:txEl>
                                          </p:spTgt>
                                        </p:tgtEl>
                                      </p:cBhvr>
                                    </p:animEffect>
                                  </p:childTnLst>
                                </p:cTn>
                              </p:par>
                              <p:par>
                                <p:cTn id="117" presetID="22" presetClass="entr" presetSubtype="1" fill="hold" grpId="0" nodeType="withEffect">
                                  <p:stCondLst>
                                    <p:cond delay="0"/>
                                  </p:stCondLst>
                                  <p:childTnLst>
                                    <p:set>
                                      <p:cBhvr>
                                        <p:cTn id="118" dur="1" fill="hold">
                                          <p:stCondLst>
                                            <p:cond delay="0"/>
                                          </p:stCondLst>
                                        </p:cTn>
                                        <p:tgtEl>
                                          <p:spTgt spid="35">
                                            <p:txEl>
                                              <p:pRg st="0" end="0"/>
                                            </p:txEl>
                                          </p:spTgt>
                                        </p:tgtEl>
                                        <p:attrNameLst>
                                          <p:attrName>style.visibility</p:attrName>
                                        </p:attrNameLst>
                                      </p:cBhvr>
                                      <p:to>
                                        <p:strVal val="visible"/>
                                      </p:to>
                                    </p:set>
                                    <p:animEffect transition="in" filter="wipe(up)">
                                      <p:cBhvr>
                                        <p:cTn id="119" dur="250"/>
                                        <p:tgtEl>
                                          <p:spTgt spid="35">
                                            <p:txEl>
                                              <p:pRg st="0" end="0"/>
                                            </p:txEl>
                                          </p:spTgt>
                                        </p:tgtEl>
                                      </p:cBhvr>
                                    </p:animEffect>
                                  </p:childTnLst>
                                </p:cTn>
                              </p:par>
                            </p:childTnLst>
                          </p:cTn>
                        </p:par>
                      </p:childTnLst>
                    </p:cTn>
                  </p:par>
                  <p:par>
                    <p:cTn id="120" fill="hold">
                      <p:stCondLst>
                        <p:cond delay="indefinite"/>
                      </p:stCondLst>
                      <p:childTnLst>
                        <p:par>
                          <p:cTn id="121" fill="hold">
                            <p:stCondLst>
                              <p:cond delay="0"/>
                            </p:stCondLst>
                            <p:childTnLst>
                              <p:par>
                                <p:cTn id="122" presetID="22" presetClass="entr" presetSubtype="1" fill="hold" grpId="0" nodeType="clickEffect">
                                  <p:stCondLst>
                                    <p:cond delay="0"/>
                                  </p:stCondLst>
                                  <p:childTnLst>
                                    <p:set>
                                      <p:cBhvr>
                                        <p:cTn id="123" dur="1" fill="hold">
                                          <p:stCondLst>
                                            <p:cond delay="0"/>
                                          </p:stCondLst>
                                        </p:cTn>
                                        <p:tgtEl>
                                          <p:spTgt spid="35">
                                            <p:txEl>
                                              <p:pRg st="1" end="1"/>
                                            </p:txEl>
                                          </p:spTgt>
                                        </p:tgtEl>
                                        <p:attrNameLst>
                                          <p:attrName>style.visibility</p:attrName>
                                        </p:attrNameLst>
                                      </p:cBhvr>
                                      <p:to>
                                        <p:strVal val="visible"/>
                                      </p:to>
                                    </p:set>
                                    <p:animEffect transition="in" filter="wipe(up)">
                                      <p:cBhvr>
                                        <p:cTn id="124" dur="250"/>
                                        <p:tgtEl>
                                          <p:spTgt spid="35">
                                            <p:txEl>
                                              <p:pRg st="1" end="1"/>
                                            </p:txEl>
                                          </p:spTgt>
                                        </p:tgtEl>
                                      </p:cBhvr>
                                    </p:animEffect>
                                  </p:childTnLst>
                                </p:cTn>
                              </p:par>
                              <p:par>
                                <p:cTn id="125" presetID="22" presetClass="entr" presetSubtype="1" fill="hold" grpId="0" nodeType="withEffect">
                                  <p:stCondLst>
                                    <p:cond delay="0"/>
                                  </p:stCondLst>
                                  <p:childTnLst>
                                    <p:set>
                                      <p:cBhvr>
                                        <p:cTn id="126" dur="1" fill="hold">
                                          <p:stCondLst>
                                            <p:cond delay="0"/>
                                          </p:stCondLst>
                                        </p:cTn>
                                        <p:tgtEl>
                                          <p:spTgt spid="36">
                                            <p:txEl>
                                              <p:pRg st="0" end="0"/>
                                            </p:txEl>
                                          </p:spTgt>
                                        </p:tgtEl>
                                        <p:attrNameLst>
                                          <p:attrName>style.visibility</p:attrName>
                                        </p:attrNameLst>
                                      </p:cBhvr>
                                      <p:to>
                                        <p:strVal val="visible"/>
                                      </p:to>
                                    </p:set>
                                    <p:animEffect transition="in" filter="wipe(up)">
                                      <p:cBhvr>
                                        <p:cTn id="127" dur="250"/>
                                        <p:tgtEl>
                                          <p:spTgt spid="36">
                                            <p:txEl>
                                              <p:pRg st="0" end="0"/>
                                            </p:txEl>
                                          </p:spTgt>
                                        </p:tgtEl>
                                      </p:cBhvr>
                                    </p:animEffect>
                                  </p:childTnLst>
                                </p:cTn>
                              </p:par>
                            </p:childTnLst>
                          </p:cTn>
                        </p:par>
                      </p:childTnLst>
                    </p:cTn>
                  </p:par>
                  <p:par>
                    <p:cTn id="128" fill="hold">
                      <p:stCondLst>
                        <p:cond delay="indefinite"/>
                      </p:stCondLst>
                      <p:childTnLst>
                        <p:par>
                          <p:cTn id="129" fill="hold">
                            <p:stCondLst>
                              <p:cond delay="0"/>
                            </p:stCondLst>
                            <p:childTnLst>
                              <p:par>
                                <p:cTn id="130" presetID="22" presetClass="entr" presetSubtype="1" fill="hold" grpId="0" nodeType="clickEffect">
                                  <p:stCondLst>
                                    <p:cond delay="0"/>
                                  </p:stCondLst>
                                  <p:childTnLst>
                                    <p:set>
                                      <p:cBhvr>
                                        <p:cTn id="131" dur="1" fill="hold">
                                          <p:stCondLst>
                                            <p:cond delay="0"/>
                                          </p:stCondLst>
                                        </p:cTn>
                                        <p:tgtEl>
                                          <p:spTgt spid="36">
                                            <p:txEl>
                                              <p:pRg st="1" end="1"/>
                                            </p:txEl>
                                          </p:spTgt>
                                        </p:tgtEl>
                                        <p:attrNameLst>
                                          <p:attrName>style.visibility</p:attrName>
                                        </p:attrNameLst>
                                      </p:cBhvr>
                                      <p:to>
                                        <p:strVal val="visible"/>
                                      </p:to>
                                    </p:set>
                                    <p:animEffect transition="in" filter="wipe(up)">
                                      <p:cBhvr>
                                        <p:cTn id="132" dur="250"/>
                                        <p:tgtEl>
                                          <p:spTgt spid="3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autoUpdateAnimBg="0"/>
      <p:bldP spid="14" grpId="0" build="p" autoUpdateAnimBg="0"/>
      <p:bldP spid="15" grpId="0" build="p" autoUpdateAnimBg="0"/>
      <p:bldP spid="16" grpId="0" build="p" autoUpdateAnimBg="0"/>
      <p:bldP spid="20" grpId="0" build="p" autoUpdateAnimBg="0"/>
      <p:bldP spid="21" grpId="0" build="p" autoUpdateAnimBg="0"/>
      <p:bldP spid="25" grpId="0" build="p" autoUpdateAnimBg="0"/>
      <p:bldP spid="26" grpId="0" build="p" autoUpdateAnimBg="0"/>
      <p:bldP spid="30" grpId="0" build="p" autoUpdateAnimBg="0"/>
      <p:bldP spid="31" grpId="0" build="p" autoUpdateAnimBg="0"/>
      <p:bldP spid="35" grpId="0" build="p" autoUpdateAnimBg="0"/>
      <p:bldP spid="36" grpId="0" build="p" autoUpdateAnimBg="0"/>
    </p:bldLst>
  </p:timing>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5"/>
          <p:cNvSpPr>
            <a:spLocks noChangeArrowheads="1"/>
          </p:cNvSpPr>
          <p:nvPr/>
        </p:nvSpPr>
        <p:spPr bwMode="auto">
          <a:xfrm>
            <a:off x="9021763" y="2338388"/>
            <a:ext cx="2068512" cy="2068512"/>
          </a:xfrm>
          <a:prstGeom prst="ellipse">
            <a:avLst/>
          </a:prstGeom>
          <a:noFill/>
          <a:ln w="25400">
            <a:solidFill>
              <a:srgbClr val="97999B"/>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solidFill>
                <a:srgbClr val="FFFFFF"/>
              </a:solidFill>
              <a:latin typeface="+mn-lt"/>
              <a:ea typeface="+mn-ea"/>
              <a:sym typeface="Arial" panose="020B0604020202020204" pitchFamily="34" charset="0"/>
            </a:endParaRPr>
          </a:p>
        </p:txBody>
      </p:sp>
      <p:sp>
        <p:nvSpPr>
          <p:cNvPr id="3" name="Oval 10"/>
          <p:cNvSpPr>
            <a:spLocks noChangeArrowheads="1"/>
          </p:cNvSpPr>
          <p:nvPr/>
        </p:nvSpPr>
        <p:spPr bwMode="auto">
          <a:xfrm>
            <a:off x="7016750" y="1576388"/>
            <a:ext cx="2068513" cy="2068512"/>
          </a:xfrm>
          <a:prstGeom prst="ellipse">
            <a:avLst/>
          </a:prstGeom>
          <a:noFill/>
          <a:ln w="25400">
            <a:solidFill>
              <a:srgbClr val="86BC25"/>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solidFill>
                <a:srgbClr val="FFFFFF"/>
              </a:solidFill>
              <a:latin typeface="+mn-lt"/>
              <a:ea typeface="+mn-ea"/>
              <a:sym typeface="Arial" panose="020B0604020202020204" pitchFamily="34" charset="0"/>
            </a:endParaRPr>
          </a:p>
        </p:txBody>
      </p:sp>
      <p:sp>
        <p:nvSpPr>
          <p:cNvPr id="4" name="Oval 15"/>
          <p:cNvSpPr>
            <a:spLocks noChangeArrowheads="1"/>
          </p:cNvSpPr>
          <p:nvPr/>
        </p:nvSpPr>
        <p:spPr bwMode="auto">
          <a:xfrm>
            <a:off x="5003800" y="2290763"/>
            <a:ext cx="2068513" cy="2068512"/>
          </a:xfrm>
          <a:prstGeom prst="ellipse">
            <a:avLst/>
          </a:prstGeom>
          <a:noFill/>
          <a:ln w="25400">
            <a:solidFill>
              <a:srgbClr val="C4D600"/>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solidFill>
                <a:srgbClr val="FFFFFF"/>
              </a:solidFill>
              <a:latin typeface="+mn-lt"/>
              <a:ea typeface="+mn-ea"/>
              <a:sym typeface="Arial" panose="020B0604020202020204" pitchFamily="34" charset="0"/>
            </a:endParaRPr>
          </a:p>
        </p:txBody>
      </p:sp>
      <p:sp>
        <p:nvSpPr>
          <p:cNvPr id="5" name="Oval 20"/>
          <p:cNvSpPr>
            <a:spLocks noChangeArrowheads="1"/>
          </p:cNvSpPr>
          <p:nvPr/>
        </p:nvSpPr>
        <p:spPr bwMode="auto">
          <a:xfrm>
            <a:off x="3001963" y="1541463"/>
            <a:ext cx="2068512" cy="2068512"/>
          </a:xfrm>
          <a:prstGeom prst="ellipse">
            <a:avLst/>
          </a:prstGeom>
          <a:noFill/>
          <a:ln w="25400">
            <a:solidFill>
              <a:srgbClr val="43B02A"/>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solidFill>
                <a:srgbClr val="FFFFFF"/>
              </a:solidFill>
              <a:latin typeface="+mn-lt"/>
              <a:ea typeface="+mn-ea"/>
              <a:sym typeface="Arial" panose="020B0604020202020204" pitchFamily="34" charset="0"/>
            </a:endParaRPr>
          </a:p>
        </p:txBody>
      </p:sp>
      <p:sp>
        <p:nvSpPr>
          <p:cNvPr id="6" name="Oval 25"/>
          <p:cNvSpPr>
            <a:spLocks noChangeArrowheads="1"/>
          </p:cNvSpPr>
          <p:nvPr/>
        </p:nvSpPr>
        <p:spPr bwMode="auto">
          <a:xfrm>
            <a:off x="1125538" y="2589213"/>
            <a:ext cx="2068512" cy="2068512"/>
          </a:xfrm>
          <a:prstGeom prst="ellipse">
            <a:avLst/>
          </a:prstGeom>
          <a:noFill/>
          <a:ln w="25400">
            <a:solidFill>
              <a:srgbClr val="009A44"/>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solidFill>
                <a:srgbClr val="FFFFFF"/>
              </a:solidFill>
              <a:latin typeface="+mn-lt"/>
              <a:ea typeface="+mn-ea"/>
              <a:sym typeface="Arial" panose="020B0604020202020204" pitchFamily="34" charset="0"/>
            </a:endParaRPr>
          </a:p>
        </p:txBody>
      </p:sp>
      <p:cxnSp>
        <p:nvCxnSpPr>
          <p:cNvPr id="7" name="Straight Connector 30"/>
          <p:cNvCxnSpPr>
            <a:cxnSpLocks noChangeShapeType="1"/>
          </p:cNvCxnSpPr>
          <p:nvPr/>
        </p:nvCxnSpPr>
        <p:spPr bwMode="auto">
          <a:xfrm>
            <a:off x="76200" y="6115050"/>
            <a:ext cx="12069763" cy="1588"/>
          </a:xfrm>
          <a:prstGeom prst="line">
            <a:avLst/>
          </a:prstGeom>
          <a:noFill/>
          <a:ln w="12700">
            <a:solidFill>
              <a:schemeClr val="bg1"/>
            </a:solidFill>
            <a:prstDash val="sysDot"/>
            <a:round/>
            <a:headEnd/>
            <a:tailEnd/>
          </a:ln>
          <a:extLst>
            <a:ext uri="{909E8E84-426E-40DD-AFC4-6F175D3DCCD1}">
              <a14:hiddenFill xmlns:a14="http://schemas.microsoft.com/office/drawing/2010/main">
                <a:noFill/>
              </a14:hiddenFill>
            </a:ext>
          </a:extLst>
        </p:spPr>
      </p:cxnSp>
      <p:sp>
        <p:nvSpPr>
          <p:cNvPr id="8" name="任意多边形 12"/>
          <p:cNvSpPr>
            <a:spLocks noChangeArrowheads="1"/>
          </p:cNvSpPr>
          <p:nvPr/>
        </p:nvSpPr>
        <p:spPr bwMode="auto">
          <a:xfrm>
            <a:off x="3630613" y="3333750"/>
            <a:ext cx="811212" cy="2916238"/>
          </a:xfrm>
          <a:custGeom>
            <a:avLst/>
            <a:gdLst>
              <a:gd name="T0" fmla="*/ 405898 w 811214"/>
              <a:gd name="T1" fmla="*/ 2648181 h 2916313"/>
              <a:gd name="T2" fmla="*/ 539964 w 811214"/>
              <a:gd name="T3" fmla="*/ 2782247 h 2916313"/>
              <a:gd name="T4" fmla="*/ 405898 w 811214"/>
              <a:gd name="T5" fmla="*/ 2916313 h 2916313"/>
              <a:gd name="T6" fmla="*/ 271832 w 811214"/>
              <a:gd name="T7" fmla="*/ 2782247 h 2916313"/>
              <a:gd name="T8" fmla="*/ 405898 w 811214"/>
              <a:gd name="T9" fmla="*/ 2648181 h 2916313"/>
              <a:gd name="T10" fmla="*/ 405607 w 811214"/>
              <a:gd name="T11" fmla="*/ 0 h 2916313"/>
              <a:gd name="T12" fmla="*/ 811214 w 811214"/>
              <a:gd name="T13" fmla="*/ 405607 h 2916313"/>
              <a:gd name="T14" fmla="*/ 563488 w 811214"/>
              <a:gd name="T15" fmla="*/ 779340 h 2916313"/>
              <a:gd name="T16" fmla="*/ 456199 w 811214"/>
              <a:gd name="T17" fmla="*/ 801000 h 2916313"/>
              <a:gd name="T18" fmla="*/ 405607 w 811214"/>
              <a:gd name="T19" fmla="*/ 2622314 h 2916313"/>
              <a:gd name="T20" fmla="*/ 355015 w 811214"/>
              <a:gd name="T21" fmla="*/ 801000 h 2916313"/>
              <a:gd name="T22" fmla="*/ 247726 w 811214"/>
              <a:gd name="T23" fmla="*/ 779340 h 2916313"/>
              <a:gd name="T24" fmla="*/ 0 w 811214"/>
              <a:gd name="T25" fmla="*/ 405607 h 2916313"/>
              <a:gd name="T26" fmla="*/ 405607 w 811214"/>
              <a:gd name="T27" fmla="*/ 0 h 2916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916313">
                <a:moveTo>
                  <a:pt x="405898" y="2648181"/>
                </a:moveTo>
                <a:cubicBezTo>
                  <a:pt x="479941" y="2648181"/>
                  <a:pt x="539964" y="2708204"/>
                  <a:pt x="539964" y="2782247"/>
                </a:cubicBezTo>
                <a:cubicBezTo>
                  <a:pt x="539964" y="2856290"/>
                  <a:pt x="479941" y="2916313"/>
                  <a:pt x="405898" y="2916313"/>
                </a:cubicBezTo>
                <a:cubicBezTo>
                  <a:pt x="331855" y="2916313"/>
                  <a:pt x="271832" y="2856290"/>
                  <a:pt x="271832" y="2782247"/>
                </a:cubicBezTo>
                <a:cubicBezTo>
                  <a:pt x="271832" y="2708204"/>
                  <a:pt x="331855" y="2648181"/>
                  <a:pt x="405898" y="2648181"/>
                </a:cubicBezTo>
                <a:close/>
                <a:moveTo>
                  <a:pt x="405607" y="0"/>
                </a:moveTo>
                <a:cubicBezTo>
                  <a:pt x="629618" y="0"/>
                  <a:pt x="811214" y="181596"/>
                  <a:pt x="811214" y="405607"/>
                </a:cubicBezTo>
                <a:cubicBezTo>
                  <a:pt x="811214" y="573615"/>
                  <a:pt x="709067" y="717765"/>
                  <a:pt x="563488" y="779340"/>
                </a:cubicBezTo>
                <a:lnTo>
                  <a:pt x="456199" y="801000"/>
                </a:lnTo>
                <a:lnTo>
                  <a:pt x="405607" y="2622314"/>
                </a:lnTo>
                <a:lnTo>
                  <a:pt x="355015" y="801000"/>
                </a:lnTo>
                <a:lnTo>
                  <a:pt x="247726" y="779340"/>
                </a:lnTo>
                <a:cubicBezTo>
                  <a:pt x="102148" y="717765"/>
                  <a:pt x="0" y="573615"/>
                  <a:pt x="0" y="405607"/>
                </a:cubicBezTo>
                <a:cubicBezTo>
                  <a:pt x="0" y="181596"/>
                  <a:pt x="181596" y="0"/>
                  <a:pt x="405607" y="0"/>
                </a:cubicBezTo>
                <a:close/>
              </a:path>
            </a:pathLst>
          </a:custGeom>
          <a:solidFill>
            <a:srgbClr val="43B02A"/>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9" name="任意多边形 13"/>
          <p:cNvSpPr>
            <a:spLocks noChangeArrowheads="1"/>
          </p:cNvSpPr>
          <p:nvPr/>
        </p:nvSpPr>
        <p:spPr bwMode="auto">
          <a:xfrm>
            <a:off x="1754188" y="4402138"/>
            <a:ext cx="811212" cy="1847850"/>
          </a:xfrm>
          <a:custGeom>
            <a:avLst/>
            <a:gdLst>
              <a:gd name="T0" fmla="*/ 393224 w 811214"/>
              <a:gd name="T1" fmla="*/ 1580390 h 1848522"/>
              <a:gd name="T2" fmla="*/ 527290 w 811214"/>
              <a:gd name="T3" fmla="*/ 1714456 h 1848522"/>
              <a:gd name="T4" fmla="*/ 393224 w 811214"/>
              <a:gd name="T5" fmla="*/ 1848522 h 1848522"/>
              <a:gd name="T6" fmla="*/ 259158 w 811214"/>
              <a:gd name="T7" fmla="*/ 1714456 h 1848522"/>
              <a:gd name="T8" fmla="*/ 393224 w 811214"/>
              <a:gd name="T9" fmla="*/ 1580390 h 1848522"/>
              <a:gd name="T10" fmla="*/ 405607 w 811214"/>
              <a:gd name="T11" fmla="*/ 0 h 1848522"/>
              <a:gd name="T12" fmla="*/ 811214 w 811214"/>
              <a:gd name="T13" fmla="*/ 405606 h 1848522"/>
              <a:gd name="T14" fmla="*/ 487351 w 811214"/>
              <a:gd name="T15" fmla="*/ 802972 h 1848522"/>
              <a:gd name="T16" fmla="*/ 445590 w 811214"/>
              <a:gd name="T17" fmla="*/ 807182 h 1848522"/>
              <a:gd name="T18" fmla="*/ 405607 w 811214"/>
              <a:gd name="T19" fmla="*/ 1574843 h 1848522"/>
              <a:gd name="T20" fmla="*/ 365625 w 811214"/>
              <a:gd name="T21" fmla="*/ 807182 h 1848522"/>
              <a:gd name="T22" fmla="*/ 323863 w 811214"/>
              <a:gd name="T23" fmla="*/ 802972 h 1848522"/>
              <a:gd name="T24" fmla="*/ 0 w 811214"/>
              <a:gd name="T25" fmla="*/ 405606 h 1848522"/>
              <a:gd name="T26" fmla="*/ 405607 w 811214"/>
              <a:gd name="T27" fmla="*/ 0 h 1848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1848522">
                <a:moveTo>
                  <a:pt x="393224" y="1580390"/>
                </a:moveTo>
                <a:cubicBezTo>
                  <a:pt x="467267" y="1580390"/>
                  <a:pt x="527290" y="1640413"/>
                  <a:pt x="527290" y="1714456"/>
                </a:cubicBezTo>
                <a:cubicBezTo>
                  <a:pt x="527290" y="1788499"/>
                  <a:pt x="467267" y="1848522"/>
                  <a:pt x="393224" y="1848522"/>
                </a:cubicBezTo>
                <a:cubicBezTo>
                  <a:pt x="319181" y="1848522"/>
                  <a:pt x="259158" y="1788499"/>
                  <a:pt x="259158" y="1714456"/>
                </a:cubicBezTo>
                <a:cubicBezTo>
                  <a:pt x="259158" y="1640413"/>
                  <a:pt x="319181" y="1580390"/>
                  <a:pt x="393224" y="1580390"/>
                </a:cubicBezTo>
                <a:close/>
                <a:moveTo>
                  <a:pt x="405607" y="0"/>
                </a:moveTo>
                <a:cubicBezTo>
                  <a:pt x="629618" y="0"/>
                  <a:pt x="811214" y="181596"/>
                  <a:pt x="811214" y="405606"/>
                </a:cubicBezTo>
                <a:cubicBezTo>
                  <a:pt x="811214" y="601615"/>
                  <a:pt x="672180" y="765151"/>
                  <a:pt x="487351" y="802972"/>
                </a:cubicBezTo>
                <a:lnTo>
                  <a:pt x="445590" y="807182"/>
                </a:lnTo>
                <a:lnTo>
                  <a:pt x="405607" y="1574843"/>
                </a:lnTo>
                <a:lnTo>
                  <a:pt x="365625" y="807182"/>
                </a:lnTo>
                <a:lnTo>
                  <a:pt x="323863" y="802972"/>
                </a:lnTo>
                <a:cubicBezTo>
                  <a:pt x="139035" y="765151"/>
                  <a:pt x="0" y="601615"/>
                  <a:pt x="0" y="405606"/>
                </a:cubicBezTo>
                <a:cubicBezTo>
                  <a:pt x="0" y="181596"/>
                  <a:pt x="181596" y="0"/>
                  <a:pt x="405607" y="0"/>
                </a:cubicBezTo>
                <a:close/>
              </a:path>
            </a:pathLst>
          </a:custGeom>
          <a:solidFill>
            <a:srgbClr val="009A44"/>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10" name="任意多边形 14"/>
          <p:cNvSpPr>
            <a:spLocks noChangeArrowheads="1"/>
          </p:cNvSpPr>
          <p:nvPr/>
        </p:nvSpPr>
        <p:spPr bwMode="auto">
          <a:xfrm>
            <a:off x="5632450" y="4159250"/>
            <a:ext cx="811213" cy="2090738"/>
          </a:xfrm>
          <a:custGeom>
            <a:avLst/>
            <a:gdLst>
              <a:gd name="T0" fmla="*/ 405898 w 811214"/>
              <a:gd name="T1" fmla="*/ 1823754 h 2091886"/>
              <a:gd name="T2" fmla="*/ 539964 w 811214"/>
              <a:gd name="T3" fmla="*/ 1957820 h 2091886"/>
              <a:gd name="T4" fmla="*/ 405898 w 811214"/>
              <a:gd name="T5" fmla="*/ 2091886 h 2091886"/>
              <a:gd name="T6" fmla="*/ 271832 w 811214"/>
              <a:gd name="T7" fmla="*/ 1957820 h 2091886"/>
              <a:gd name="T8" fmla="*/ 405898 w 811214"/>
              <a:gd name="T9" fmla="*/ 1823754 h 2091886"/>
              <a:gd name="T10" fmla="*/ 405607 w 811214"/>
              <a:gd name="T11" fmla="*/ 0 h 2091886"/>
              <a:gd name="T12" fmla="*/ 811214 w 811214"/>
              <a:gd name="T13" fmla="*/ 405606 h 2091886"/>
              <a:gd name="T14" fmla="*/ 487351 w 811214"/>
              <a:gd name="T15" fmla="*/ 802972 h 2091886"/>
              <a:gd name="T16" fmla="*/ 455836 w 811214"/>
              <a:gd name="T17" fmla="*/ 806149 h 2091886"/>
              <a:gd name="T18" fmla="*/ 405607 w 811214"/>
              <a:gd name="T19" fmla="*/ 1770540 h 2091886"/>
              <a:gd name="T20" fmla="*/ 355378 w 811214"/>
              <a:gd name="T21" fmla="*/ 806149 h 2091886"/>
              <a:gd name="T22" fmla="*/ 323863 w 811214"/>
              <a:gd name="T23" fmla="*/ 802972 h 2091886"/>
              <a:gd name="T24" fmla="*/ 0 w 811214"/>
              <a:gd name="T25" fmla="*/ 405606 h 2091886"/>
              <a:gd name="T26" fmla="*/ 405607 w 811214"/>
              <a:gd name="T27" fmla="*/ 0 h 2091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091886">
                <a:moveTo>
                  <a:pt x="405898" y="1823754"/>
                </a:moveTo>
                <a:cubicBezTo>
                  <a:pt x="479941" y="1823754"/>
                  <a:pt x="539964" y="1883777"/>
                  <a:pt x="539964" y="1957820"/>
                </a:cubicBezTo>
                <a:cubicBezTo>
                  <a:pt x="539964" y="2031863"/>
                  <a:pt x="479941" y="2091886"/>
                  <a:pt x="405898" y="2091886"/>
                </a:cubicBezTo>
                <a:cubicBezTo>
                  <a:pt x="331855" y="2091886"/>
                  <a:pt x="271832" y="2031863"/>
                  <a:pt x="271832" y="1957820"/>
                </a:cubicBezTo>
                <a:cubicBezTo>
                  <a:pt x="271832" y="1883777"/>
                  <a:pt x="331855" y="1823754"/>
                  <a:pt x="405898" y="1823754"/>
                </a:cubicBezTo>
                <a:close/>
                <a:moveTo>
                  <a:pt x="405607" y="0"/>
                </a:moveTo>
                <a:cubicBezTo>
                  <a:pt x="629618" y="0"/>
                  <a:pt x="811214" y="181596"/>
                  <a:pt x="811214" y="405606"/>
                </a:cubicBezTo>
                <a:cubicBezTo>
                  <a:pt x="811214" y="601615"/>
                  <a:pt x="672180" y="765151"/>
                  <a:pt x="487351" y="802972"/>
                </a:cubicBezTo>
                <a:lnTo>
                  <a:pt x="455836" y="806149"/>
                </a:lnTo>
                <a:lnTo>
                  <a:pt x="405607" y="1770540"/>
                </a:lnTo>
                <a:lnTo>
                  <a:pt x="355378" y="806149"/>
                </a:lnTo>
                <a:lnTo>
                  <a:pt x="323863" y="802972"/>
                </a:lnTo>
                <a:cubicBezTo>
                  <a:pt x="139035" y="765151"/>
                  <a:pt x="0" y="601615"/>
                  <a:pt x="0" y="405606"/>
                </a:cubicBezTo>
                <a:cubicBezTo>
                  <a:pt x="0" y="181596"/>
                  <a:pt x="181596" y="0"/>
                  <a:pt x="405607" y="0"/>
                </a:cubicBezTo>
                <a:close/>
              </a:path>
            </a:pathLst>
          </a:custGeom>
          <a:solidFill>
            <a:srgbClr val="C4D600"/>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11" name="任意多边形 15"/>
          <p:cNvSpPr>
            <a:spLocks noChangeArrowheads="1"/>
          </p:cNvSpPr>
          <p:nvPr/>
        </p:nvSpPr>
        <p:spPr bwMode="auto">
          <a:xfrm>
            <a:off x="7645400" y="3333750"/>
            <a:ext cx="811213" cy="2916238"/>
          </a:xfrm>
          <a:custGeom>
            <a:avLst/>
            <a:gdLst>
              <a:gd name="T0" fmla="*/ 395758 w 811214"/>
              <a:gd name="T1" fmla="*/ 2648181 h 2916313"/>
              <a:gd name="T2" fmla="*/ 529824 w 811214"/>
              <a:gd name="T3" fmla="*/ 2782247 h 2916313"/>
              <a:gd name="T4" fmla="*/ 395758 w 811214"/>
              <a:gd name="T5" fmla="*/ 2916313 h 2916313"/>
              <a:gd name="T6" fmla="*/ 261692 w 811214"/>
              <a:gd name="T7" fmla="*/ 2782247 h 2916313"/>
              <a:gd name="T8" fmla="*/ 395758 w 811214"/>
              <a:gd name="T9" fmla="*/ 2648181 h 2916313"/>
              <a:gd name="T10" fmla="*/ 405607 w 811214"/>
              <a:gd name="T11" fmla="*/ 0 h 2916313"/>
              <a:gd name="T12" fmla="*/ 811214 w 811214"/>
              <a:gd name="T13" fmla="*/ 405607 h 2916313"/>
              <a:gd name="T14" fmla="*/ 563488 w 811214"/>
              <a:gd name="T15" fmla="*/ 779340 h 2916313"/>
              <a:gd name="T16" fmla="*/ 455088 w 811214"/>
              <a:gd name="T17" fmla="*/ 801225 h 2916313"/>
              <a:gd name="T18" fmla="*/ 405605 w 811214"/>
              <a:gd name="T19" fmla="*/ 2582584 h 2916313"/>
              <a:gd name="T20" fmla="*/ 356123 w 811214"/>
              <a:gd name="T21" fmla="*/ 801224 h 2916313"/>
              <a:gd name="T22" fmla="*/ 247727 w 811214"/>
              <a:gd name="T23" fmla="*/ 779340 h 2916313"/>
              <a:gd name="T24" fmla="*/ 0 w 811214"/>
              <a:gd name="T25" fmla="*/ 405607 h 2916313"/>
              <a:gd name="T26" fmla="*/ 405607 w 811214"/>
              <a:gd name="T27" fmla="*/ 0 h 2916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916313">
                <a:moveTo>
                  <a:pt x="395758" y="2648181"/>
                </a:moveTo>
                <a:cubicBezTo>
                  <a:pt x="469801" y="2648181"/>
                  <a:pt x="529824" y="2708204"/>
                  <a:pt x="529824" y="2782247"/>
                </a:cubicBezTo>
                <a:cubicBezTo>
                  <a:pt x="529824" y="2856290"/>
                  <a:pt x="469801" y="2916313"/>
                  <a:pt x="395758" y="2916313"/>
                </a:cubicBezTo>
                <a:cubicBezTo>
                  <a:pt x="321715" y="2916313"/>
                  <a:pt x="261692" y="2856290"/>
                  <a:pt x="261692" y="2782247"/>
                </a:cubicBezTo>
                <a:cubicBezTo>
                  <a:pt x="261692" y="2708204"/>
                  <a:pt x="321715" y="2648181"/>
                  <a:pt x="395758" y="2648181"/>
                </a:cubicBezTo>
                <a:close/>
                <a:moveTo>
                  <a:pt x="405607" y="0"/>
                </a:moveTo>
                <a:cubicBezTo>
                  <a:pt x="629618" y="0"/>
                  <a:pt x="811214" y="181596"/>
                  <a:pt x="811214" y="405607"/>
                </a:cubicBezTo>
                <a:cubicBezTo>
                  <a:pt x="811214" y="573615"/>
                  <a:pt x="709067" y="717765"/>
                  <a:pt x="563488" y="779340"/>
                </a:cubicBezTo>
                <a:lnTo>
                  <a:pt x="455088" y="801225"/>
                </a:lnTo>
                <a:lnTo>
                  <a:pt x="405605" y="2582584"/>
                </a:lnTo>
                <a:lnTo>
                  <a:pt x="356123" y="801224"/>
                </a:lnTo>
                <a:lnTo>
                  <a:pt x="247727" y="779340"/>
                </a:lnTo>
                <a:cubicBezTo>
                  <a:pt x="102148" y="717765"/>
                  <a:pt x="0" y="573615"/>
                  <a:pt x="0" y="405607"/>
                </a:cubicBezTo>
                <a:cubicBezTo>
                  <a:pt x="0" y="181596"/>
                  <a:pt x="181596" y="0"/>
                  <a:pt x="405607" y="0"/>
                </a:cubicBezTo>
                <a:close/>
              </a:path>
            </a:pathLst>
          </a:custGeom>
          <a:solidFill>
            <a:srgbClr val="86BC25"/>
          </a:solidFill>
          <a:ln w="9525">
            <a:solidFill>
              <a:srgbClr val="000000"/>
            </a:solidFill>
            <a:round/>
            <a:headEnd/>
            <a:tailEnd/>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12" name="任意多边形 16"/>
          <p:cNvSpPr>
            <a:spLocks noChangeArrowheads="1"/>
          </p:cNvSpPr>
          <p:nvPr/>
        </p:nvSpPr>
        <p:spPr bwMode="auto">
          <a:xfrm>
            <a:off x="9650413" y="4159250"/>
            <a:ext cx="811212" cy="2090738"/>
          </a:xfrm>
          <a:custGeom>
            <a:avLst/>
            <a:gdLst>
              <a:gd name="T0" fmla="*/ 418574 w 811214"/>
              <a:gd name="T1" fmla="*/ 1823754 h 2091886"/>
              <a:gd name="T2" fmla="*/ 552640 w 811214"/>
              <a:gd name="T3" fmla="*/ 1957820 h 2091886"/>
              <a:gd name="T4" fmla="*/ 418574 w 811214"/>
              <a:gd name="T5" fmla="*/ 2091886 h 2091886"/>
              <a:gd name="T6" fmla="*/ 284508 w 811214"/>
              <a:gd name="T7" fmla="*/ 1957820 h 2091886"/>
              <a:gd name="T8" fmla="*/ 418574 w 811214"/>
              <a:gd name="T9" fmla="*/ 1823754 h 2091886"/>
              <a:gd name="T10" fmla="*/ 405607 w 811214"/>
              <a:gd name="T11" fmla="*/ 0 h 2091886"/>
              <a:gd name="T12" fmla="*/ 811214 w 811214"/>
              <a:gd name="T13" fmla="*/ 405606 h 2091886"/>
              <a:gd name="T14" fmla="*/ 487351 w 811214"/>
              <a:gd name="T15" fmla="*/ 802972 h 2091886"/>
              <a:gd name="T16" fmla="*/ 455836 w 811214"/>
              <a:gd name="T17" fmla="*/ 806149 h 2091886"/>
              <a:gd name="T18" fmla="*/ 405607 w 811214"/>
              <a:gd name="T19" fmla="*/ 1770540 h 2091886"/>
              <a:gd name="T20" fmla="*/ 355378 w 811214"/>
              <a:gd name="T21" fmla="*/ 806149 h 2091886"/>
              <a:gd name="T22" fmla="*/ 323863 w 811214"/>
              <a:gd name="T23" fmla="*/ 802972 h 2091886"/>
              <a:gd name="T24" fmla="*/ 0 w 811214"/>
              <a:gd name="T25" fmla="*/ 405606 h 2091886"/>
              <a:gd name="T26" fmla="*/ 405607 w 811214"/>
              <a:gd name="T27" fmla="*/ 0 h 2091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091886">
                <a:moveTo>
                  <a:pt x="418574" y="1823754"/>
                </a:moveTo>
                <a:cubicBezTo>
                  <a:pt x="492617" y="1823754"/>
                  <a:pt x="552640" y="1883777"/>
                  <a:pt x="552640" y="1957820"/>
                </a:cubicBezTo>
                <a:cubicBezTo>
                  <a:pt x="552640" y="2031863"/>
                  <a:pt x="492617" y="2091886"/>
                  <a:pt x="418574" y="2091886"/>
                </a:cubicBezTo>
                <a:cubicBezTo>
                  <a:pt x="344531" y="2091886"/>
                  <a:pt x="284508" y="2031863"/>
                  <a:pt x="284508" y="1957820"/>
                </a:cubicBezTo>
                <a:cubicBezTo>
                  <a:pt x="284508" y="1883777"/>
                  <a:pt x="344531" y="1823754"/>
                  <a:pt x="418574" y="1823754"/>
                </a:cubicBezTo>
                <a:close/>
                <a:moveTo>
                  <a:pt x="405607" y="0"/>
                </a:moveTo>
                <a:cubicBezTo>
                  <a:pt x="629618" y="0"/>
                  <a:pt x="811214" y="181596"/>
                  <a:pt x="811214" y="405606"/>
                </a:cubicBezTo>
                <a:cubicBezTo>
                  <a:pt x="811214" y="601615"/>
                  <a:pt x="672180" y="765151"/>
                  <a:pt x="487351" y="802972"/>
                </a:cubicBezTo>
                <a:lnTo>
                  <a:pt x="455836" y="806149"/>
                </a:lnTo>
                <a:lnTo>
                  <a:pt x="405607" y="1770540"/>
                </a:lnTo>
                <a:lnTo>
                  <a:pt x="355378" y="806149"/>
                </a:lnTo>
                <a:lnTo>
                  <a:pt x="323863" y="802972"/>
                </a:lnTo>
                <a:cubicBezTo>
                  <a:pt x="139034" y="765151"/>
                  <a:pt x="0" y="601615"/>
                  <a:pt x="0" y="405606"/>
                </a:cubicBezTo>
                <a:cubicBezTo>
                  <a:pt x="0" y="181596"/>
                  <a:pt x="181596" y="0"/>
                  <a:pt x="405607" y="0"/>
                </a:cubicBezTo>
                <a:close/>
              </a:path>
            </a:pathLst>
          </a:custGeom>
          <a:solidFill>
            <a:srgbClr val="A7A8AA"/>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13" name="TextBox 13"/>
          <p:cNvSpPr txBox="1">
            <a:spLocks noChangeArrowheads="1"/>
          </p:cNvSpPr>
          <p:nvPr/>
        </p:nvSpPr>
        <p:spPr bwMode="auto">
          <a:xfrm>
            <a:off x="1019175" y="2794011"/>
            <a:ext cx="233838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olidFill>
                  <a:schemeClr val="bg1"/>
                </a:solidFill>
                <a:sym typeface="Arial" panose="020B0604020202020204" pitchFamily="34" charset="0"/>
              </a:rPr>
              <a:t>This is dummy </a:t>
            </a:r>
          </a:p>
        </p:txBody>
      </p:sp>
      <p:sp>
        <p:nvSpPr>
          <p:cNvPr id="14" name="TextBox 13"/>
          <p:cNvSpPr txBox="1">
            <a:spLocks noChangeArrowheads="1"/>
          </p:cNvSpPr>
          <p:nvPr/>
        </p:nvSpPr>
        <p:spPr bwMode="auto">
          <a:xfrm>
            <a:off x="1366838" y="3079761"/>
            <a:ext cx="16478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sz="1400" dirty="0">
                <a:solidFill>
                  <a:schemeClr val="bg1"/>
                </a:solidFill>
                <a:ea typeface="Verdana" panose="020B0604030504040204" pitchFamily="34" charset="0"/>
                <a:cs typeface="Verdana" panose="020B0604030504040204" pitchFamily="34" charset="0"/>
              </a:rPr>
              <a:t>This is dummy text it is not here to be read. The is just text to show where you could insert text. </a:t>
            </a:r>
          </a:p>
        </p:txBody>
      </p:sp>
      <p:sp>
        <p:nvSpPr>
          <p:cNvPr id="15" name="TextBox 13"/>
          <p:cNvSpPr txBox="1">
            <a:spLocks noChangeArrowheads="1"/>
          </p:cNvSpPr>
          <p:nvPr/>
        </p:nvSpPr>
        <p:spPr bwMode="auto">
          <a:xfrm>
            <a:off x="2873375" y="1911350"/>
            <a:ext cx="233838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olidFill>
                  <a:schemeClr val="bg1"/>
                </a:solidFill>
                <a:latin typeface="+mn-lt"/>
                <a:ea typeface="+mn-ea"/>
                <a:sym typeface="Arial" panose="020B0604020202020204" pitchFamily="34" charset="0"/>
              </a:rPr>
              <a:t>This is dummy </a:t>
            </a:r>
          </a:p>
        </p:txBody>
      </p:sp>
      <p:sp>
        <p:nvSpPr>
          <p:cNvPr id="16" name="TextBox 13"/>
          <p:cNvSpPr txBox="1">
            <a:spLocks noChangeArrowheads="1"/>
          </p:cNvSpPr>
          <p:nvPr/>
        </p:nvSpPr>
        <p:spPr bwMode="auto">
          <a:xfrm>
            <a:off x="3221038" y="2197100"/>
            <a:ext cx="16478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sz="1400" dirty="0">
                <a:solidFill>
                  <a:schemeClr val="bg1"/>
                </a:solidFill>
                <a:ea typeface="Verdana" panose="020B0604030504040204" pitchFamily="34" charset="0"/>
                <a:cs typeface="Verdana" panose="020B0604030504040204" pitchFamily="34" charset="0"/>
              </a:rPr>
              <a:t>This is dummy text it is not here to be read. The is just text to show where you could insert text. </a:t>
            </a:r>
          </a:p>
        </p:txBody>
      </p:sp>
      <p:sp>
        <p:nvSpPr>
          <p:cNvPr id="17" name="TextBox 13"/>
          <p:cNvSpPr txBox="1">
            <a:spLocks noChangeArrowheads="1"/>
          </p:cNvSpPr>
          <p:nvPr/>
        </p:nvSpPr>
        <p:spPr bwMode="auto">
          <a:xfrm>
            <a:off x="4960938" y="2725738"/>
            <a:ext cx="233838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olidFill>
                  <a:schemeClr val="bg1"/>
                </a:solidFill>
                <a:sym typeface="Arial" panose="020B0604020202020204" pitchFamily="34" charset="0"/>
              </a:rPr>
              <a:t>This is dummy </a:t>
            </a:r>
          </a:p>
        </p:txBody>
      </p:sp>
      <p:sp>
        <p:nvSpPr>
          <p:cNvPr id="18" name="TextBox 13"/>
          <p:cNvSpPr txBox="1">
            <a:spLocks noChangeArrowheads="1"/>
          </p:cNvSpPr>
          <p:nvPr/>
        </p:nvSpPr>
        <p:spPr bwMode="auto">
          <a:xfrm>
            <a:off x="5308600" y="3011488"/>
            <a:ext cx="16478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sz="1400" dirty="0">
                <a:solidFill>
                  <a:schemeClr val="bg1"/>
                </a:solidFill>
                <a:ea typeface="Verdana" panose="020B0604030504040204" pitchFamily="34" charset="0"/>
                <a:cs typeface="Verdana" panose="020B0604030504040204" pitchFamily="34" charset="0"/>
              </a:rPr>
              <a:t>This is dummy text it is not here to be read. The is just text to show where you could insert text. </a:t>
            </a:r>
          </a:p>
        </p:txBody>
      </p:sp>
      <p:sp>
        <p:nvSpPr>
          <p:cNvPr id="19" name="TextBox 13"/>
          <p:cNvSpPr txBox="1">
            <a:spLocks noChangeArrowheads="1"/>
          </p:cNvSpPr>
          <p:nvPr/>
        </p:nvSpPr>
        <p:spPr bwMode="auto">
          <a:xfrm>
            <a:off x="6870700" y="1916113"/>
            <a:ext cx="233838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olidFill>
                  <a:schemeClr val="bg1"/>
                </a:solidFill>
                <a:sym typeface="Arial" panose="020B0604020202020204" pitchFamily="34" charset="0"/>
              </a:rPr>
              <a:t>This is dummy </a:t>
            </a:r>
          </a:p>
        </p:txBody>
      </p:sp>
      <p:sp>
        <p:nvSpPr>
          <p:cNvPr id="20" name="TextBox 13"/>
          <p:cNvSpPr txBox="1">
            <a:spLocks noChangeArrowheads="1"/>
          </p:cNvSpPr>
          <p:nvPr/>
        </p:nvSpPr>
        <p:spPr bwMode="auto">
          <a:xfrm>
            <a:off x="7218363" y="2201863"/>
            <a:ext cx="16478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sz="1400" dirty="0">
                <a:solidFill>
                  <a:schemeClr val="bg1"/>
                </a:solidFill>
                <a:ea typeface="Verdana" panose="020B0604030504040204" pitchFamily="34" charset="0"/>
                <a:cs typeface="Verdana" panose="020B0604030504040204" pitchFamily="34" charset="0"/>
              </a:rPr>
              <a:t>This is dummy text it is not here to be read. The is just text to show where you could insert text. </a:t>
            </a:r>
          </a:p>
        </p:txBody>
      </p:sp>
      <p:sp>
        <p:nvSpPr>
          <p:cNvPr id="21" name="TextBox 13"/>
          <p:cNvSpPr txBox="1">
            <a:spLocks noChangeArrowheads="1"/>
          </p:cNvSpPr>
          <p:nvPr/>
        </p:nvSpPr>
        <p:spPr bwMode="auto">
          <a:xfrm>
            <a:off x="8950325" y="2725738"/>
            <a:ext cx="233838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olidFill>
                  <a:schemeClr val="bg1"/>
                </a:solidFill>
                <a:sym typeface="Arial" panose="020B0604020202020204" pitchFamily="34" charset="0"/>
              </a:rPr>
              <a:t>This is dummy </a:t>
            </a:r>
          </a:p>
        </p:txBody>
      </p:sp>
      <p:sp>
        <p:nvSpPr>
          <p:cNvPr id="22" name="TextBox 13"/>
          <p:cNvSpPr txBox="1">
            <a:spLocks noChangeArrowheads="1"/>
          </p:cNvSpPr>
          <p:nvPr/>
        </p:nvSpPr>
        <p:spPr bwMode="auto">
          <a:xfrm>
            <a:off x="9297987" y="3011488"/>
            <a:ext cx="16478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sz="1400" dirty="0">
                <a:solidFill>
                  <a:schemeClr val="bg1"/>
                </a:solidFill>
                <a:ea typeface="Verdana" panose="020B0604030504040204" pitchFamily="34" charset="0"/>
                <a:cs typeface="Verdana" panose="020B0604030504040204" pitchFamily="34" charset="0"/>
              </a:rPr>
              <a:t>This is dummy text it is not here to be read. The is just text to show where you could insert text. </a:t>
            </a:r>
          </a:p>
        </p:txBody>
      </p:sp>
      <p:sp>
        <p:nvSpPr>
          <p:cNvPr id="23" name="TextBox 13"/>
          <p:cNvSpPr txBox="1">
            <a:spLocks noChangeArrowheads="1"/>
          </p:cNvSpPr>
          <p:nvPr/>
        </p:nvSpPr>
        <p:spPr bwMode="auto">
          <a:xfrm>
            <a:off x="1677988" y="4654550"/>
            <a:ext cx="96361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dirty="0">
                <a:latin typeface="+mn-lt"/>
                <a:ea typeface="+mn-ea"/>
                <a:sym typeface="Arial" panose="020B0604020202020204" pitchFamily="34" charset="0"/>
              </a:rPr>
              <a:t>01</a:t>
            </a:r>
          </a:p>
        </p:txBody>
      </p:sp>
      <p:sp>
        <p:nvSpPr>
          <p:cNvPr id="24" name="TextBox 13"/>
          <p:cNvSpPr txBox="1">
            <a:spLocks noChangeArrowheads="1"/>
          </p:cNvSpPr>
          <p:nvPr/>
        </p:nvSpPr>
        <p:spPr bwMode="auto">
          <a:xfrm>
            <a:off x="5588000" y="4386263"/>
            <a:ext cx="9652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a:latin typeface="+mn-lt"/>
                <a:ea typeface="+mn-ea"/>
                <a:sym typeface="Arial" panose="020B0604020202020204" pitchFamily="34" charset="0"/>
              </a:rPr>
              <a:t>03</a:t>
            </a:r>
          </a:p>
        </p:txBody>
      </p:sp>
      <p:sp>
        <p:nvSpPr>
          <p:cNvPr id="25" name="TextBox 13"/>
          <p:cNvSpPr txBox="1">
            <a:spLocks noChangeArrowheads="1"/>
          </p:cNvSpPr>
          <p:nvPr/>
        </p:nvSpPr>
        <p:spPr bwMode="auto">
          <a:xfrm>
            <a:off x="9586913" y="4410075"/>
            <a:ext cx="965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dirty="0">
                <a:latin typeface="+mn-lt"/>
                <a:ea typeface="+mn-ea"/>
                <a:sym typeface="Arial" panose="020B0604020202020204" pitchFamily="34" charset="0"/>
              </a:rPr>
              <a:t>05</a:t>
            </a:r>
          </a:p>
        </p:txBody>
      </p:sp>
      <p:sp>
        <p:nvSpPr>
          <p:cNvPr id="26" name="TextBox 13"/>
          <p:cNvSpPr txBox="1">
            <a:spLocks noChangeArrowheads="1"/>
          </p:cNvSpPr>
          <p:nvPr/>
        </p:nvSpPr>
        <p:spPr bwMode="auto">
          <a:xfrm>
            <a:off x="7575550" y="3551238"/>
            <a:ext cx="9636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a:latin typeface="+mn-lt"/>
                <a:ea typeface="+mn-ea"/>
                <a:sym typeface="Arial" panose="020B0604020202020204" pitchFamily="34" charset="0"/>
              </a:rPr>
              <a:t>04</a:t>
            </a:r>
          </a:p>
        </p:txBody>
      </p:sp>
      <p:sp>
        <p:nvSpPr>
          <p:cNvPr id="27" name="TextBox 13"/>
          <p:cNvSpPr txBox="1">
            <a:spLocks noChangeArrowheads="1"/>
          </p:cNvSpPr>
          <p:nvPr/>
        </p:nvSpPr>
        <p:spPr bwMode="auto">
          <a:xfrm>
            <a:off x="3548063" y="3551238"/>
            <a:ext cx="9636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a:latin typeface="+mn-lt"/>
                <a:ea typeface="+mn-ea"/>
                <a:sym typeface="Arial" panose="020B0604020202020204" pitchFamily="34" charset="0"/>
              </a:rPr>
              <a:t>02</a:t>
            </a:r>
          </a:p>
        </p:txBody>
      </p:sp>
    </p:spTree>
    <p:custDataLst>
      <p:tags r:id="rId1"/>
    </p:custDataLst>
    <p:extLst>
      <p:ext uri="{BB962C8B-B14F-4D97-AF65-F5344CB8AC3E}">
        <p14:creationId xmlns:p14="http://schemas.microsoft.com/office/powerpoint/2010/main" val="2266837495"/>
      </p:ext>
    </p:extLst>
  </p:cSld>
  <p:clrMapOvr>
    <a:masterClrMapping/>
  </p:clrMapOvr>
  <p:transition>
    <p:fade/>
  </p:transition>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3">
            <a:extLst>
              <a:ext uri="{FF2B5EF4-FFF2-40B4-BE49-F238E27FC236}">
                <a16:creationId xmlns:a16="http://schemas.microsoft.com/office/drawing/2014/main" id="{84B53944-9B59-4349-93FD-974CE7E715D5}"/>
              </a:ext>
            </a:extLst>
          </p:cNvPr>
          <p:cNvCxnSpPr/>
          <p:nvPr/>
        </p:nvCxnSpPr>
        <p:spPr>
          <a:xfrm>
            <a:off x="469900" y="3573706"/>
            <a:ext cx="11252200" cy="0"/>
          </a:xfrm>
          <a:prstGeom prst="line">
            <a:avLst/>
          </a:prstGeom>
          <a:ln w="19050">
            <a:solidFill>
              <a:srgbClr val="97999B"/>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11" name="Text Box 10">
            <a:extLst>
              <a:ext uri="{FF2B5EF4-FFF2-40B4-BE49-F238E27FC236}">
                <a16:creationId xmlns:a16="http://schemas.microsoft.com/office/drawing/2014/main" id="{2C85B5B4-3DAD-4664-B718-58F8809EC0F8}"/>
              </a:ext>
            </a:extLst>
          </p:cNvPr>
          <p:cNvSpPr txBox="1">
            <a:spLocks noChangeArrowheads="1"/>
          </p:cNvSpPr>
          <p:nvPr/>
        </p:nvSpPr>
        <p:spPr bwMode="auto">
          <a:xfrm>
            <a:off x="949518" y="3907421"/>
            <a:ext cx="1445950" cy="207749"/>
          </a:xfrm>
          <a:prstGeom prst="rect">
            <a:avLst/>
          </a:prstGeom>
          <a:noFill/>
          <a:ln w="9525">
            <a:noFill/>
            <a:miter lim="800000"/>
            <a:headEnd/>
            <a:tailEnd/>
          </a:ln>
        </p:spPr>
        <p:txBody>
          <a:bodyPr wrap="square" lIns="45720" tIns="22860" rIns="45720" bIns="22860">
            <a:spAutoFit/>
          </a:bodyPr>
          <a:lstStyle/>
          <a:p>
            <a:pPr algn="ctr" defTabSz="1088232"/>
            <a:r>
              <a:rPr lang="en-US" sz="1050" b="1" dirty="0" err="1">
                <a:solidFill>
                  <a:srgbClr val="86BC25"/>
                </a:solidFill>
                <a:latin typeface="Open Sans" pitchFamily="34" charset="0"/>
                <a:ea typeface="Open Sans" pitchFamily="34" charset="0"/>
                <a:cs typeface="Open Sans" pitchFamily="34" charset="0"/>
              </a:rPr>
              <a:t>xxxxxx</a:t>
            </a:r>
            <a:endParaRPr lang="en-US" sz="800" b="1" dirty="0">
              <a:solidFill>
                <a:srgbClr val="86BC25"/>
              </a:solidFill>
              <a:latin typeface="Open Sans" pitchFamily="34" charset="0"/>
              <a:ea typeface="Open Sans" pitchFamily="34" charset="0"/>
              <a:cs typeface="Open Sans" pitchFamily="34" charset="0"/>
            </a:endParaRPr>
          </a:p>
        </p:txBody>
      </p:sp>
      <p:grpSp>
        <p:nvGrpSpPr>
          <p:cNvPr id="12" name="Group 14">
            <a:extLst>
              <a:ext uri="{FF2B5EF4-FFF2-40B4-BE49-F238E27FC236}">
                <a16:creationId xmlns:a16="http://schemas.microsoft.com/office/drawing/2014/main" id="{5EA7B3AF-0CFA-4607-A2FF-2FD73D12A6FD}"/>
              </a:ext>
            </a:extLst>
          </p:cNvPr>
          <p:cNvGrpSpPr/>
          <p:nvPr/>
        </p:nvGrpSpPr>
        <p:grpSpPr>
          <a:xfrm flipV="1">
            <a:off x="1672493" y="1700213"/>
            <a:ext cx="1873493" cy="1451957"/>
            <a:chOff x="1066800" y="781050"/>
            <a:chExt cx="1524000" cy="1181100"/>
          </a:xfrm>
          <a:solidFill>
            <a:schemeClr val="accent1"/>
          </a:solidFill>
        </p:grpSpPr>
        <p:sp>
          <p:nvSpPr>
            <p:cNvPr id="13" name="Rounded Rectangle 11">
              <a:extLst>
                <a:ext uri="{FF2B5EF4-FFF2-40B4-BE49-F238E27FC236}">
                  <a16:creationId xmlns:a16="http://schemas.microsoft.com/office/drawing/2014/main" id="{49907EE5-14E0-4417-9B8D-0DE0982C9C5F}"/>
                </a:ext>
              </a:extLst>
            </p:cNvPr>
            <p:cNvSpPr/>
            <p:nvPr/>
          </p:nvSpPr>
          <p:spPr>
            <a:xfrm>
              <a:off x="1066800" y="1123950"/>
              <a:ext cx="1524000" cy="838200"/>
            </a:xfrm>
            <a:prstGeom prst="roundRect">
              <a:avLst>
                <a:gd name="adj" fmla="val 109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ight Triangle 12">
              <a:extLst>
                <a:ext uri="{FF2B5EF4-FFF2-40B4-BE49-F238E27FC236}">
                  <a16:creationId xmlns:a16="http://schemas.microsoft.com/office/drawing/2014/main" id="{28B0D8FF-7E19-4584-8265-E23BE763E860}"/>
                </a:ext>
              </a:extLst>
            </p:cNvPr>
            <p:cNvSpPr/>
            <p:nvPr/>
          </p:nvSpPr>
          <p:spPr>
            <a:xfrm>
              <a:off x="1066800" y="781050"/>
              <a:ext cx="228600" cy="4191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Group 15">
            <a:extLst>
              <a:ext uri="{FF2B5EF4-FFF2-40B4-BE49-F238E27FC236}">
                <a16:creationId xmlns:a16="http://schemas.microsoft.com/office/drawing/2014/main" id="{9762DFB4-F6D1-46CA-816A-47F2C2DFF100}"/>
              </a:ext>
            </a:extLst>
          </p:cNvPr>
          <p:cNvGrpSpPr/>
          <p:nvPr/>
        </p:nvGrpSpPr>
        <p:grpSpPr>
          <a:xfrm>
            <a:off x="3360240" y="4203795"/>
            <a:ext cx="1873493" cy="1451957"/>
            <a:chOff x="1066800" y="781050"/>
            <a:chExt cx="1524000" cy="1181100"/>
          </a:xfrm>
          <a:solidFill>
            <a:srgbClr val="009A44"/>
          </a:solidFill>
        </p:grpSpPr>
        <p:sp>
          <p:nvSpPr>
            <p:cNvPr id="16" name="Rounded Rectangle 16">
              <a:extLst>
                <a:ext uri="{FF2B5EF4-FFF2-40B4-BE49-F238E27FC236}">
                  <a16:creationId xmlns:a16="http://schemas.microsoft.com/office/drawing/2014/main" id="{9548A9EB-E8FD-4B00-A7A5-FF50DBE50227}"/>
                </a:ext>
              </a:extLst>
            </p:cNvPr>
            <p:cNvSpPr/>
            <p:nvPr/>
          </p:nvSpPr>
          <p:spPr>
            <a:xfrm>
              <a:off x="1066800" y="1123950"/>
              <a:ext cx="1524000" cy="838200"/>
            </a:xfrm>
            <a:prstGeom prst="roundRect">
              <a:avLst>
                <a:gd name="adj" fmla="val 109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Triangle 17">
              <a:extLst>
                <a:ext uri="{FF2B5EF4-FFF2-40B4-BE49-F238E27FC236}">
                  <a16:creationId xmlns:a16="http://schemas.microsoft.com/office/drawing/2014/main" id="{F806F4DF-74F7-465B-B08B-32A970F82E44}"/>
                </a:ext>
              </a:extLst>
            </p:cNvPr>
            <p:cNvSpPr/>
            <p:nvPr/>
          </p:nvSpPr>
          <p:spPr>
            <a:xfrm>
              <a:off x="1066800" y="781050"/>
              <a:ext cx="228600" cy="4191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 name="Group 18">
            <a:extLst>
              <a:ext uri="{FF2B5EF4-FFF2-40B4-BE49-F238E27FC236}">
                <a16:creationId xmlns:a16="http://schemas.microsoft.com/office/drawing/2014/main" id="{0C7F02BA-ABC1-4FB4-AB01-4D1938E41DF1}"/>
              </a:ext>
            </a:extLst>
          </p:cNvPr>
          <p:cNvGrpSpPr/>
          <p:nvPr/>
        </p:nvGrpSpPr>
        <p:grpSpPr>
          <a:xfrm>
            <a:off x="7202503" y="4203795"/>
            <a:ext cx="1873493" cy="1451957"/>
            <a:chOff x="1066800" y="781050"/>
            <a:chExt cx="1524000" cy="1181100"/>
          </a:xfrm>
          <a:solidFill>
            <a:srgbClr val="C4D600"/>
          </a:solidFill>
        </p:grpSpPr>
        <p:sp>
          <p:nvSpPr>
            <p:cNvPr id="19" name="Rounded Rectangle 19">
              <a:extLst>
                <a:ext uri="{FF2B5EF4-FFF2-40B4-BE49-F238E27FC236}">
                  <a16:creationId xmlns:a16="http://schemas.microsoft.com/office/drawing/2014/main" id="{530DC8DD-B3DE-4695-98A9-4A308DE9907F}"/>
                </a:ext>
              </a:extLst>
            </p:cNvPr>
            <p:cNvSpPr/>
            <p:nvPr/>
          </p:nvSpPr>
          <p:spPr>
            <a:xfrm>
              <a:off x="1066800" y="1123950"/>
              <a:ext cx="1524000" cy="838200"/>
            </a:xfrm>
            <a:prstGeom prst="roundRect">
              <a:avLst>
                <a:gd name="adj" fmla="val 109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20">
              <a:extLst>
                <a:ext uri="{FF2B5EF4-FFF2-40B4-BE49-F238E27FC236}">
                  <a16:creationId xmlns:a16="http://schemas.microsoft.com/office/drawing/2014/main" id="{1172428F-FAD2-4D81-BA84-7A0871EE900B}"/>
                </a:ext>
              </a:extLst>
            </p:cNvPr>
            <p:cNvSpPr/>
            <p:nvPr/>
          </p:nvSpPr>
          <p:spPr>
            <a:xfrm>
              <a:off x="1066800" y="781050"/>
              <a:ext cx="228600" cy="4191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1">
            <a:extLst>
              <a:ext uri="{FF2B5EF4-FFF2-40B4-BE49-F238E27FC236}">
                <a16:creationId xmlns:a16="http://schemas.microsoft.com/office/drawing/2014/main" id="{2220973D-FD29-43FE-8526-E8E68470785E}"/>
              </a:ext>
            </a:extLst>
          </p:cNvPr>
          <p:cNvGrpSpPr/>
          <p:nvPr/>
        </p:nvGrpSpPr>
        <p:grpSpPr>
          <a:xfrm flipV="1">
            <a:off x="5329011" y="1700213"/>
            <a:ext cx="1873493" cy="1451957"/>
            <a:chOff x="1066800" y="781050"/>
            <a:chExt cx="1524000" cy="1181100"/>
          </a:xfrm>
          <a:solidFill>
            <a:srgbClr val="00A3E0"/>
          </a:solidFill>
        </p:grpSpPr>
        <p:sp>
          <p:nvSpPr>
            <p:cNvPr id="22" name="Rounded Rectangle 22">
              <a:extLst>
                <a:ext uri="{FF2B5EF4-FFF2-40B4-BE49-F238E27FC236}">
                  <a16:creationId xmlns:a16="http://schemas.microsoft.com/office/drawing/2014/main" id="{147CA6E8-7794-4766-BFFD-50E901B81CD7}"/>
                </a:ext>
              </a:extLst>
            </p:cNvPr>
            <p:cNvSpPr/>
            <p:nvPr/>
          </p:nvSpPr>
          <p:spPr>
            <a:xfrm>
              <a:off x="1066800" y="1123950"/>
              <a:ext cx="1524000" cy="838200"/>
            </a:xfrm>
            <a:prstGeom prst="roundRect">
              <a:avLst>
                <a:gd name="adj" fmla="val 109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ight Triangle 23">
              <a:extLst>
                <a:ext uri="{FF2B5EF4-FFF2-40B4-BE49-F238E27FC236}">
                  <a16:creationId xmlns:a16="http://schemas.microsoft.com/office/drawing/2014/main" id="{8867DC7B-F24D-4DD8-BB7F-C3B85135A3E3}"/>
                </a:ext>
              </a:extLst>
            </p:cNvPr>
            <p:cNvSpPr/>
            <p:nvPr/>
          </p:nvSpPr>
          <p:spPr>
            <a:xfrm>
              <a:off x="1066800" y="781050"/>
              <a:ext cx="228600" cy="4191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Group 24">
            <a:extLst>
              <a:ext uri="{FF2B5EF4-FFF2-40B4-BE49-F238E27FC236}">
                <a16:creationId xmlns:a16="http://schemas.microsoft.com/office/drawing/2014/main" id="{BE7278A4-2E45-402F-83D5-4969FC1E31C5}"/>
              </a:ext>
            </a:extLst>
          </p:cNvPr>
          <p:cNvGrpSpPr/>
          <p:nvPr/>
        </p:nvGrpSpPr>
        <p:grpSpPr>
          <a:xfrm flipV="1">
            <a:off x="8982321" y="1700213"/>
            <a:ext cx="1873493" cy="1451957"/>
            <a:chOff x="1066800" y="781050"/>
            <a:chExt cx="1524000" cy="1181100"/>
          </a:xfrm>
          <a:solidFill>
            <a:srgbClr val="007680"/>
          </a:solidFill>
        </p:grpSpPr>
        <p:sp>
          <p:nvSpPr>
            <p:cNvPr id="25" name="Rounded Rectangle 25">
              <a:extLst>
                <a:ext uri="{FF2B5EF4-FFF2-40B4-BE49-F238E27FC236}">
                  <a16:creationId xmlns:a16="http://schemas.microsoft.com/office/drawing/2014/main" id="{2129F502-0575-423E-928C-DD6FC43E413F}"/>
                </a:ext>
              </a:extLst>
            </p:cNvPr>
            <p:cNvSpPr/>
            <p:nvPr/>
          </p:nvSpPr>
          <p:spPr>
            <a:xfrm>
              <a:off x="1066800" y="1123950"/>
              <a:ext cx="1524000" cy="838200"/>
            </a:xfrm>
            <a:prstGeom prst="roundRect">
              <a:avLst>
                <a:gd name="adj" fmla="val 109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ight Triangle 26">
              <a:extLst>
                <a:ext uri="{FF2B5EF4-FFF2-40B4-BE49-F238E27FC236}">
                  <a16:creationId xmlns:a16="http://schemas.microsoft.com/office/drawing/2014/main" id="{6EBFE4D3-E490-4ABB-A005-76DC92F2D620}"/>
                </a:ext>
              </a:extLst>
            </p:cNvPr>
            <p:cNvSpPr/>
            <p:nvPr/>
          </p:nvSpPr>
          <p:spPr>
            <a:xfrm>
              <a:off x="1066800" y="781050"/>
              <a:ext cx="228600" cy="4191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Text Box 10">
            <a:extLst>
              <a:ext uri="{FF2B5EF4-FFF2-40B4-BE49-F238E27FC236}">
                <a16:creationId xmlns:a16="http://schemas.microsoft.com/office/drawing/2014/main" id="{92855511-C3A8-46A8-A9E7-D7D0C5008307}"/>
              </a:ext>
            </a:extLst>
          </p:cNvPr>
          <p:cNvSpPr txBox="1">
            <a:spLocks noChangeArrowheads="1"/>
          </p:cNvSpPr>
          <p:nvPr/>
        </p:nvSpPr>
        <p:spPr bwMode="auto">
          <a:xfrm>
            <a:off x="1708320" y="1828750"/>
            <a:ext cx="1801838" cy="72327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chemeClr val="bg1"/>
                </a:solidFill>
                <a:latin typeface="Open Sans" pitchFamily="34" charset="0"/>
                <a:ea typeface="Open Sans" pitchFamily="34" charset="0"/>
                <a:cs typeface="Open Sans" pitchFamily="34" charset="0"/>
              </a:rPr>
              <a:t>XXXXXXX</a:t>
            </a:r>
            <a:endParaRPr lang="en-US" altLang="zh-CN" sz="1600" b="1"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a:t>
            </a:r>
            <a:endParaRPr lang="en-US" altLang="zh-CN" sz="1200"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xxxxxxxx</a:t>
            </a:r>
            <a:endParaRPr lang="en-US" altLang="zh-CN" sz="1200" dirty="0">
              <a:solidFill>
                <a:schemeClr val="bg1"/>
              </a:solidFill>
              <a:latin typeface="Open Sans" pitchFamily="34" charset="0"/>
              <a:ea typeface="Open Sans" pitchFamily="34" charset="0"/>
              <a:cs typeface="Open Sans" pitchFamily="34" charset="0"/>
            </a:endParaRPr>
          </a:p>
        </p:txBody>
      </p:sp>
      <p:sp>
        <p:nvSpPr>
          <p:cNvPr id="29" name="Text Box 10">
            <a:extLst>
              <a:ext uri="{FF2B5EF4-FFF2-40B4-BE49-F238E27FC236}">
                <a16:creationId xmlns:a16="http://schemas.microsoft.com/office/drawing/2014/main" id="{921406ED-1447-4F1F-B573-07435F33BB02}"/>
              </a:ext>
            </a:extLst>
          </p:cNvPr>
          <p:cNvSpPr txBox="1">
            <a:spLocks noChangeArrowheads="1"/>
          </p:cNvSpPr>
          <p:nvPr/>
        </p:nvSpPr>
        <p:spPr bwMode="auto">
          <a:xfrm>
            <a:off x="3396068" y="4743265"/>
            <a:ext cx="1801838" cy="72327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chemeClr val="bg1"/>
                </a:solidFill>
                <a:latin typeface="Open Sans" pitchFamily="34" charset="0"/>
                <a:ea typeface="Open Sans" pitchFamily="34" charset="0"/>
                <a:cs typeface="Open Sans" pitchFamily="34" charset="0"/>
              </a:rPr>
              <a:t>XXXXX</a:t>
            </a:r>
            <a:endParaRPr lang="en-US" altLang="zh-CN" sz="1600" b="1"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xxxxxxxx</a:t>
            </a:r>
            <a:endParaRPr lang="en-US" altLang="zh-CN" sz="1200"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xx</a:t>
            </a:r>
            <a:endParaRPr lang="en-US" altLang="zh-CN" sz="1200" dirty="0">
              <a:solidFill>
                <a:schemeClr val="bg1"/>
              </a:solidFill>
              <a:latin typeface="Open Sans" pitchFamily="34" charset="0"/>
              <a:ea typeface="Open Sans" pitchFamily="34" charset="0"/>
              <a:cs typeface="Open Sans" pitchFamily="34" charset="0"/>
            </a:endParaRPr>
          </a:p>
        </p:txBody>
      </p:sp>
      <p:sp>
        <p:nvSpPr>
          <p:cNvPr id="30" name="Text Box 10">
            <a:extLst>
              <a:ext uri="{FF2B5EF4-FFF2-40B4-BE49-F238E27FC236}">
                <a16:creationId xmlns:a16="http://schemas.microsoft.com/office/drawing/2014/main" id="{5C861724-CCED-47B8-B651-18BCAF160045}"/>
              </a:ext>
            </a:extLst>
          </p:cNvPr>
          <p:cNvSpPr txBox="1">
            <a:spLocks noChangeArrowheads="1"/>
          </p:cNvSpPr>
          <p:nvPr/>
        </p:nvSpPr>
        <p:spPr bwMode="auto">
          <a:xfrm>
            <a:off x="7238331" y="4743265"/>
            <a:ext cx="1801838" cy="72327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chemeClr val="bg1"/>
                </a:solidFill>
                <a:latin typeface="Open Sans" pitchFamily="34" charset="0"/>
                <a:ea typeface="Open Sans" pitchFamily="34" charset="0"/>
                <a:cs typeface="Open Sans" pitchFamily="34" charset="0"/>
              </a:rPr>
              <a:t>XXXX</a:t>
            </a:r>
            <a:endParaRPr lang="en-US" altLang="zh-CN" sz="1600" b="1"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a:t>
            </a:r>
            <a:endParaRPr lang="en-US" altLang="zh-CN" sz="1200"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xxxxxx</a:t>
            </a:r>
            <a:endParaRPr lang="en-US" altLang="zh-CN" sz="1200" dirty="0">
              <a:solidFill>
                <a:schemeClr val="bg1"/>
              </a:solidFill>
              <a:latin typeface="Open Sans" pitchFamily="34" charset="0"/>
              <a:ea typeface="Open Sans" pitchFamily="34" charset="0"/>
              <a:cs typeface="Open Sans" pitchFamily="34" charset="0"/>
            </a:endParaRPr>
          </a:p>
        </p:txBody>
      </p:sp>
      <p:sp>
        <p:nvSpPr>
          <p:cNvPr id="31" name="Text Box 10">
            <a:extLst>
              <a:ext uri="{FF2B5EF4-FFF2-40B4-BE49-F238E27FC236}">
                <a16:creationId xmlns:a16="http://schemas.microsoft.com/office/drawing/2014/main" id="{7E24F11E-A4B7-4A78-8B78-7AC51D683D63}"/>
              </a:ext>
            </a:extLst>
          </p:cNvPr>
          <p:cNvSpPr txBox="1">
            <a:spLocks noChangeArrowheads="1"/>
          </p:cNvSpPr>
          <p:nvPr/>
        </p:nvSpPr>
        <p:spPr bwMode="auto">
          <a:xfrm>
            <a:off x="5364838" y="1828750"/>
            <a:ext cx="1801838" cy="72327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chemeClr val="bg1"/>
                </a:solidFill>
                <a:latin typeface="Open Sans" pitchFamily="34" charset="0"/>
                <a:ea typeface="Open Sans" pitchFamily="34" charset="0"/>
                <a:cs typeface="Open Sans" pitchFamily="34" charset="0"/>
              </a:rPr>
              <a:t>XXXX</a:t>
            </a:r>
            <a:endParaRPr lang="en-US" altLang="zh-CN" sz="1600" b="1"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a:t>
            </a:r>
            <a:endParaRPr lang="en-US" altLang="zh-CN" sz="1200"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a:t>
            </a:r>
            <a:endParaRPr lang="en-US" altLang="zh-CN" sz="1200" dirty="0">
              <a:solidFill>
                <a:schemeClr val="bg1"/>
              </a:solidFill>
              <a:latin typeface="Open Sans" pitchFamily="34" charset="0"/>
              <a:ea typeface="Open Sans" pitchFamily="34" charset="0"/>
              <a:cs typeface="Open Sans" pitchFamily="34" charset="0"/>
            </a:endParaRPr>
          </a:p>
        </p:txBody>
      </p:sp>
      <p:sp>
        <p:nvSpPr>
          <p:cNvPr id="32" name="Text Box 10">
            <a:extLst>
              <a:ext uri="{FF2B5EF4-FFF2-40B4-BE49-F238E27FC236}">
                <a16:creationId xmlns:a16="http://schemas.microsoft.com/office/drawing/2014/main" id="{0C5C0AE4-88D9-40CE-8E48-B8D6BA4B6911}"/>
              </a:ext>
            </a:extLst>
          </p:cNvPr>
          <p:cNvSpPr txBox="1">
            <a:spLocks noChangeArrowheads="1"/>
          </p:cNvSpPr>
          <p:nvPr/>
        </p:nvSpPr>
        <p:spPr bwMode="auto">
          <a:xfrm>
            <a:off x="9029159" y="1828750"/>
            <a:ext cx="1801838" cy="72327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chemeClr val="bg1"/>
                </a:solidFill>
                <a:latin typeface="Open Sans" pitchFamily="34" charset="0"/>
                <a:ea typeface="Open Sans" pitchFamily="34" charset="0"/>
                <a:cs typeface="Open Sans" pitchFamily="34" charset="0"/>
              </a:rPr>
              <a:t>XXXX</a:t>
            </a:r>
            <a:endParaRPr lang="en-US" altLang="zh-CN" sz="1600" b="1"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a:t>
            </a:r>
            <a:endParaRPr lang="en-US" altLang="zh-CN" sz="1200"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xxxxxxxx</a:t>
            </a:r>
            <a:endParaRPr lang="en-US" altLang="zh-CN" sz="1200" dirty="0">
              <a:solidFill>
                <a:schemeClr val="bg1"/>
              </a:solidFill>
              <a:latin typeface="Open Sans" pitchFamily="34" charset="0"/>
              <a:ea typeface="Open Sans" pitchFamily="34" charset="0"/>
              <a:cs typeface="Open Sans" pitchFamily="34" charset="0"/>
            </a:endParaRPr>
          </a:p>
        </p:txBody>
      </p:sp>
      <p:sp>
        <p:nvSpPr>
          <p:cNvPr id="33" name="Text Box 10">
            <a:extLst>
              <a:ext uri="{FF2B5EF4-FFF2-40B4-BE49-F238E27FC236}">
                <a16:creationId xmlns:a16="http://schemas.microsoft.com/office/drawing/2014/main" id="{D75C8343-EE84-4749-ADD9-5DEDB88ED7AE}"/>
              </a:ext>
            </a:extLst>
          </p:cNvPr>
          <p:cNvSpPr txBox="1">
            <a:spLocks noChangeArrowheads="1"/>
          </p:cNvSpPr>
          <p:nvPr/>
        </p:nvSpPr>
        <p:spPr bwMode="auto">
          <a:xfrm>
            <a:off x="2729336" y="3907421"/>
            <a:ext cx="1445950"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rgbClr val="86BC25"/>
                </a:solidFill>
                <a:latin typeface="Open Sans" pitchFamily="34" charset="0"/>
                <a:ea typeface="Open Sans" pitchFamily="34" charset="0"/>
                <a:cs typeface="Open Sans" pitchFamily="34" charset="0"/>
              </a:rPr>
              <a:t>xxxxxxxx</a:t>
            </a:r>
            <a:endParaRPr lang="en-US" altLang="zh-CN" sz="800" b="1" dirty="0">
              <a:solidFill>
                <a:srgbClr val="86BC25"/>
              </a:solidFill>
              <a:latin typeface="Open Sans" pitchFamily="34" charset="0"/>
              <a:ea typeface="Open Sans" pitchFamily="34" charset="0"/>
              <a:cs typeface="Open Sans" pitchFamily="34" charset="0"/>
            </a:endParaRPr>
          </a:p>
        </p:txBody>
      </p:sp>
      <p:sp>
        <p:nvSpPr>
          <p:cNvPr id="34" name="Text Box 10">
            <a:extLst>
              <a:ext uri="{FF2B5EF4-FFF2-40B4-BE49-F238E27FC236}">
                <a16:creationId xmlns:a16="http://schemas.microsoft.com/office/drawing/2014/main" id="{898C1B60-4F9F-46FA-B007-54BCE9D76BE3}"/>
              </a:ext>
            </a:extLst>
          </p:cNvPr>
          <p:cNvSpPr txBox="1">
            <a:spLocks noChangeArrowheads="1"/>
          </p:cNvSpPr>
          <p:nvPr/>
        </p:nvSpPr>
        <p:spPr bwMode="auto">
          <a:xfrm>
            <a:off x="4606036" y="3907421"/>
            <a:ext cx="1445950"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rgbClr val="86BC25"/>
                </a:solidFill>
                <a:latin typeface="Open Sans" pitchFamily="34" charset="0"/>
                <a:ea typeface="Open Sans" pitchFamily="34" charset="0"/>
                <a:cs typeface="Open Sans" pitchFamily="34" charset="0"/>
              </a:rPr>
              <a:t>xxxxxxxxxxx</a:t>
            </a:r>
            <a:endParaRPr lang="en-US" altLang="zh-CN" sz="800" b="1" dirty="0">
              <a:solidFill>
                <a:srgbClr val="86BC25"/>
              </a:solidFill>
              <a:latin typeface="Open Sans" pitchFamily="34" charset="0"/>
              <a:ea typeface="Open Sans" pitchFamily="34" charset="0"/>
              <a:cs typeface="Open Sans" pitchFamily="34" charset="0"/>
            </a:endParaRPr>
          </a:p>
        </p:txBody>
      </p:sp>
      <p:sp>
        <p:nvSpPr>
          <p:cNvPr id="35" name="Text Box 10">
            <a:extLst>
              <a:ext uri="{FF2B5EF4-FFF2-40B4-BE49-F238E27FC236}">
                <a16:creationId xmlns:a16="http://schemas.microsoft.com/office/drawing/2014/main" id="{B3211A0C-AF98-45EC-B1D0-0BA1290D2442}"/>
              </a:ext>
            </a:extLst>
          </p:cNvPr>
          <p:cNvSpPr txBox="1">
            <a:spLocks noChangeArrowheads="1"/>
          </p:cNvSpPr>
          <p:nvPr/>
        </p:nvSpPr>
        <p:spPr bwMode="auto">
          <a:xfrm>
            <a:off x="6476321" y="3907421"/>
            <a:ext cx="1445950"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rgbClr val="86BC25"/>
                </a:solidFill>
                <a:latin typeface="Open Sans" pitchFamily="34" charset="0"/>
                <a:ea typeface="Open Sans" pitchFamily="34" charset="0"/>
                <a:cs typeface="Open Sans" pitchFamily="34" charset="0"/>
              </a:rPr>
              <a:t>xxxxxxx</a:t>
            </a:r>
            <a:endParaRPr lang="en-US" altLang="zh-CN" sz="800" b="1" dirty="0">
              <a:solidFill>
                <a:srgbClr val="86BC25"/>
              </a:solidFill>
              <a:latin typeface="Open Sans" pitchFamily="34" charset="0"/>
              <a:ea typeface="Open Sans" pitchFamily="34" charset="0"/>
              <a:cs typeface="Open Sans" pitchFamily="34" charset="0"/>
            </a:endParaRPr>
          </a:p>
        </p:txBody>
      </p:sp>
      <p:sp>
        <p:nvSpPr>
          <p:cNvPr id="36" name="Text Box 10">
            <a:extLst>
              <a:ext uri="{FF2B5EF4-FFF2-40B4-BE49-F238E27FC236}">
                <a16:creationId xmlns:a16="http://schemas.microsoft.com/office/drawing/2014/main" id="{E729C9E4-45D5-471F-B074-F33AE64ACDF0}"/>
              </a:ext>
            </a:extLst>
          </p:cNvPr>
          <p:cNvSpPr txBox="1">
            <a:spLocks noChangeArrowheads="1"/>
          </p:cNvSpPr>
          <p:nvPr/>
        </p:nvSpPr>
        <p:spPr bwMode="auto">
          <a:xfrm>
            <a:off x="8259346" y="3907421"/>
            <a:ext cx="1445950"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rgbClr val="86BC25"/>
                </a:solidFill>
                <a:latin typeface="Open Sans" pitchFamily="34" charset="0"/>
                <a:ea typeface="Open Sans" pitchFamily="34" charset="0"/>
                <a:cs typeface="Open Sans" pitchFamily="34" charset="0"/>
              </a:rPr>
              <a:t>xxxxx</a:t>
            </a:r>
            <a:endParaRPr lang="en-US" altLang="zh-CN" sz="800" b="1" dirty="0">
              <a:solidFill>
                <a:srgbClr val="86BC25"/>
              </a:solidFill>
              <a:latin typeface="Open Sans" pitchFamily="34" charset="0"/>
              <a:ea typeface="Open Sans" pitchFamily="34" charset="0"/>
              <a:cs typeface="Open Sans" pitchFamily="34" charset="0"/>
            </a:endParaRPr>
          </a:p>
        </p:txBody>
      </p:sp>
      <p:grpSp>
        <p:nvGrpSpPr>
          <p:cNvPr id="8" name="Group 7"/>
          <p:cNvGrpSpPr/>
          <p:nvPr/>
        </p:nvGrpSpPr>
        <p:grpSpPr>
          <a:xfrm>
            <a:off x="8623441" y="3243275"/>
            <a:ext cx="639904" cy="640080"/>
            <a:chOff x="8623441" y="3243275"/>
            <a:chExt cx="639904" cy="640080"/>
          </a:xfrm>
        </p:grpSpPr>
        <p:sp>
          <p:nvSpPr>
            <p:cNvPr id="40" name="Oval 39"/>
            <p:cNvSpPr/>
            <p:nvPr/>
          </p:nvSpPr>
          <p:spPr bwMode="gray">
            <a:xfrm>
              <a:off x="8661527" y="3281450"/>
              <a:ext cx="563732" cy="56373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Freeform 37">
              <a:extLst>
                <a:ext uri="{FF2B5EF4-FFF2-40B4-BE49-F238E27FC236}">
                  <a16:creationId xmlns:a16="http://schemas.microsoft.com/office/drawing/2014/main" id="{2AEBA64F-42D4-4E59-BE82-8CC149FF356B}"/>
                </a:ext>
              </a:extLst>
            </p:cNvPr>
            <p:cNvSpPr>
              <a:spLocks noChangeAspect="1" noEditPoints="1"/>
            </p:cNvSpPr>
            <p:nvPr/>
          </p:nvSpPr>
          <p:spPr bwMode="auto">
            <a:xfrm>
              <a:off x="8623441" y="3243275"/>
              <a:ext cx="639904" cy="640080"/>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7" name="Group 6"/>
          <p:cNvGrpSpPr/>
          <p:nvPr/>
        </p:nvGrpSpPr>
        <p:grpSpPr>
          <a:xfrm>
            <a:off x="6833642" y="3243275"/>
            <a:ext cx="640080" cy="640080"/>
            <a:chOff x="6833642" y="3243275"/>
            <a:chExt cx="640080" cy="640080"/>
          </a:xfrm>
        </p:grpSpPr>
        <p:sp>
          <p:nvSpPr>
            <p:cNvPr id="39" name="Oval 38"/>
            <p:cNvSpPr/>
            <p:nvPr/>
          </p:nvSpPr>
          <p:spPr bwMode="gray">
            <a:xfrm>
              <a:off x="6871816" y="3281450"/>
              <a:ext cx="563732" cy="56373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Freeform 430">
              <a:extLst>
                <a:ext uri="{FF2B5EF4-FFF2-40B4-BE49-F238E27FC236}">
                  <a16:creationId xmlns:a16="http://schemas.microsoft.com/office/drawing/2014/main" id="{F88FDDA4-FA09-4DC9-9D54-DE9B6301291A}"/>
                </a:ext>
              </a:extLst>
            </p:cNvPr>
            <p:cNvSpPr>
              <a:spLocks noChangeAspect="1" noEditPoints="1"/>
            </p:cNvSpPr>
            <p:nvPr/>
          </p:nvSpPr>
          <p:spPr bwMode="auto">
            <a:xfrm>
              <a:off x="6833642" y="3243275"/>
              <a:ext cx="640080" cy="64008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6" name="Group 5"/>
          <p:cNvGrpSpPr/>
          <p:nvPr/>
        </p:nvGrpSpPr>
        <p:grpSpPr>
          <a:xfrm>
            <a:off x="4969061" y="3243275"/>
            <a:ext cx="640080" cy="640080"/>
            <a:chOff x="4969061" y="3243275"/>
            <a:chExt cx="640080" cy="640080"/>
          </a:xfrm>
        </p:grpSpPr>
        <p:sp>
          <p:nvSpPr>
            <p:cNvPr id="38" name="Oval 37"/>
            <p:cNvSpPr/>
            <p:nvPr/>
          </p:nvSpPr>
          <p:spPr bwMode="gray">
            <a:xfrm>
              <a:off x="5007235" y="3281450"/>
              <a:ext cx="563732" cy="56373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Freeform 980">
              <a:extLst>
                <a:ext uri="{FF2B5EF4-FFF2-40B4-BE49-F238E27FC236}">
                  <a16:creationId xmlns:a16="http://schemas.microsoft.com/office/drawing/2014/main" id="{402268DD-14D1-44F2-A270-108070BDAF5C}"/>
                </a:ext>
              </a:extLst>
            </p:cNvPr>
            <p:cNvSpPr>
              <a:spLocks noChangeAspect="1" noEditPoints="1"/>
            </p:cNvSpPr>
            <p:nvPr/>
          </p:nvSpPr>
          <p:spPr bwMode="auto">
            <a:xfrm>
              <a:off x="4969061" y="3243275"/>
              <a:ext cx="640080" cy="640080"/>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4" name="Group 3"/>
          <p:cNvGrpSpPr/>
          <p:nvPr/>
        </p:nvGrpSpPr>
        <p:grpSpPr>
          <a:xfrm>
            <a:off x="3008640" y="3243275"/>
            <a:ext cx="640080" cy="640080"/>
            <a:chOff x="3008640" y="3243275"/>
            <a:chExt cx="640080" cy="640080"/>
          </a:xfrm>
        </p:grpSpPr>
        <p:sp>
          <p:nvSpPr>
            <p:cNvPr id="37" name="Oval 36"/>
            <p:cNvSpPr/>
            <p:nvPr/>
          </p:nvSpPr>
          <p:spPr bwMode="gray">
            <a:xfrm>
              <a:off x="3046814" y="3281450"/>
              <a:ext cx="563732" cy="56373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Freeform 803">
              <a:extLst>
                <a:ext uri="{FF2B5EF4-FFF2-40B4-BE49-F238E27FC236}">
                  <a16:creationId xmlns:a16="http://schemas.microsoft.com/office/drawing/2014/main" id="{0F0169E3-AD55-4D35-ADA0-7124C28C698E}"/>
                </a:ext>
              </a:extLst>
            </p:cNvPr>
            <p:cNvSpPr>
              <a:spLocks noChangeAspect="1" noEditPoints="1"/>
            </p:cNvSpPr>
            <p:nvPr/>
          </p:nvSpPr>
          <p:spPr bwMode="auto">
            <a:xfrm>
              <a:off x="3008640" y="3243275"/>
              <a:ext cx="640080" cy="6400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0 w 512"/>
                <a:gd name="T11" fmla="*/ 412 h 512"/>
                <a:gd name="T12" fmla="*/ 288 w 512"/>
                <a:gd name="T13" fmla="*/ 412 h 512"/>
                <a:gd name="T14" fmla="*/ 277 w 512"/>
                <a:gd name="T15" fmla="*/ 404 h 512"/>
                <a:gd name="T16" fmla="*/ 285 w 512"/>
                <a:gd name="T17" fmla="*/ 391 h 512"/>
                <a:gd name="T18" fmla="*/ 346 w 512"/>
                <a:gd name="T19" fmla="*/ 361 h 512"/>
                <a:gd name="T20" fmla="*/ 316 w 512"/>
                <a:gd name="T21" fmla="*/ 331 h 512"/>
                <a:gd name="T22" fmla="*/ 256 w 512"/>
                <a:gd name="T23" fmla="*/ 352 h 512"/>
                <a:gd name="T24" fmla="*/ 167 w 512"/>
                <a:gd name="T25" fmla="*/ 292 h 512"/>
                <a:gd name="T26" fmla="*/ 173 w 512"/>
                <a:gd name="T27" fmla="*/ 278 h 512"/>
                <a:gd name="T28" fmla="*/ 186 w 512"/>
                <a:gd name="T29" fmla="*/ 284 h 512"/>
                <a:gd name="T30" fmla="*/ 256 w 512"/>
                <a:gd name="T31" fmla="*/ 330 h 512"/>
                <a:gd name="T32" fmla="*/ 330 w 512"/>
                <a:gd name="T33" fmla="*/ 256 h 512"/>
                <a:gd name="T34" fmla="*/ 256 w 512"/>
                <a:gd name="T35" fmla="*/ 181 h 512"/>
                <a:gd name="T36" fmla="*/ 186 w 512"/>
                <a:gd name="T37" fmla="*/ 228 h 512"/>
                <a:gd name="T38" fmla="*/ 173 w 512"/>
                <a:gd name="T39" fmla="*/ 234 h 512"/>
                <a:gd name="T40" fmla="*/ 167 w 512"/>
                <a:gd name="T41" fmla="*/ 220 h 512"/>
                <a:gd name="T42" fmla="*/ 245 w 512"/>
                <a:gd name="T43" fmla="*/ 160 h 512"/>
                <a:gd name="T44" fmla="*/ 245 w 512"/>
                <a:gd name="T45" fmla="*/ 118 h 512"/>
                <a:gd name="T46" fmla="*/ 117 w 512"/>
                <a:gd name="T47" fmla="*/ 256 h 512"/>
                <a:gd name="T48" fmla="*/ 226 w 512"/>
                <a:gd name="T49" fmla="*/ 391 h 512"/>
                <a:gd name="T50" fmla="*/ 234 w 512"/>
                <a:gd name="T51" fmla="*/ 404 h 512"/>
                <a:gd name="T52" fmla="*/ 224 w 512"/>
                <a:gd name="T53" fmla="*/ 412 h 512"/>
                <a:gd name="T54" fmla="*/ 221 w 512"/>
                <a:gd name="T55" fmla="*/ 412 h 512"/>
                <a:gd name="T56" fmla="*/ 96 w 512"/>
                <a:gd name="T57" fmla="*/ 256 h 512"/>
                <a:gd name="T58" fmla="*/ 256 w 512"/>
                <a:gd name="T59" fmla="*/ 96 h 512"/>
                <a:gd name="T60" fmla="*/ 324 w 512"/>
                <a:gd name="T61" fmla="*/ 111 h 512"/>
                <a:gd name="T62" fmla="*/ 329 w 512"/>
                <a:gd name="T63" fmla="*/ 125 h 512"/>
                <a:gd name="T64" fmla="*/ 315 w 512"/>
                <a:gd name="T65" fmla="*/ 130 h 512"/>
                <a:gd name="T66" fmla="*/ 266 w 512"/>
                <a:gd name="T67" fmla="*/ 118 h 512"/>
                <a:gd name="T68" fmla="*/ 266 w 512"/>
                <a:gd name="T69" fmla="*/ 160 h 512"/>
                <a:gd name="T70" fmla="*/ 352 w 512"/>
                <a:gd name="T71" fmla="*/ 256 h 512"/>
                <a:gd name="T72" fmla="*/ 331 w 512"/>
                <a:gd name="T73" fmla="*/ 316 h 512"/>
                <a:gd name="T74" fmla="*/ 361 w 512"/>
                <a:gd name="T75" fmla="*/ 346 h 512"/>
                <a:gd name="T76" fmla="*/ 394 w 512"/>
                <a:gd name="T77" fmla="*/ 256 h 512"/>
                <a:gd name="T78" fmla="*/ 362 w 512"/>
                <a:gd name="T79" fmla="*/ 167 h 512"/>
                <a:gd name="T80" fmla="*/ 363 w 512"/>
                <a:gd name="T81" fmla="*/ 151 h 512"/>
                <a:gd name="T82" fmla="*/ 378 w 512"/>
                <a:gd name="T83" fmla="*/ 153 h 512"/>
                <a:gd name="T84" fmla="*/ 416 w 512"/>
                <a:gd name="T85" fmla="*/ 256 h 512"/>
                <a:gd name="T86" fmla="*/ 290 w 512"/>
                <a:gd name="T87" fmla="*/ 412 h 512"/>
                <a:gd name="T88" fmla="*/ 213 w 512"/>
                <a:gd name="T89" fmla="*/ 256 h 512"/>
                <a:gd name="T90" fmla="*/ 256 w 512"/>
                <a:gd name="T91" fmla="*/ 213 h 512"/>
                <a:gd name="T92" fmla="*/ 298 w 512"/>
                <a:gd name="T93" fmla="*/ 256 h 512"/>
                <a:gd name="T94" fmla="*/ 256 w 512"/>
                <a:gd name="T95" fmla="*/ 298 h 512"/>
                <a:gd name="T96" fmla="*/ 213 w 512"/>
                <a:gd name="T97" fmla="*/ 256 h 512"/>
                <a:gd name="T98" fmla="*/ 256 w 512"/>
                <a:gd name="T99" fmla="*/ 277 h 512"/>
                <a:gd name="T100" fmla="*/ 234 w 512"/>
                <a:gd name="T101" fmla="*/ 256 h 512"/>
                <a:gd name="T102" fmla="*/ 256 w 512"/>
                <a:gd name="T103" fmla="*/ 234 h 512"/>
                <a:gd name="T104" fmla="*/ 277 w 512"/>
                <a:gd name="T105" fmla="*/ 256 h 512"/>
                <a:gd name="T106" fmla="*/ 256 w 512"/>
                <a:gd name="T107"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0" y="412"/>
                  </a:moveTo>
                  <a:cubicBezTo>
                    <a:pt x="289" y="412"/>
                    <a:pt x="288" y="412"/>
                    <a:pt x="288" y="412"/>
                  </a:cubicBezTo>
                  <a:cubicBezTo>
                    <a:pt x="283" y="412"/>
                    <a:pt x="278" y="409"/>
                    <a:pt x="277" y="404"/>
                  </a:cubicBezTo>
                  <a:cubicBezTo>
                    <a:pt x="276" y="398"/>
                    <a:pt x="280" y="392"/>
                    <a:pt x="285" y="391"/>
                  </a:cubicBezTo>
                  <a:cubicBezTo>
                    <a:pt x="308" y="386"/>
                    <a:pt x="329" y="375"/>
                    <a:pt x="346" y="361"/>
                  </a:cubicBezTo>
                  <a:cubicBezTo>
                    <a:pt x="316" y="331"/>
                    <a:pt x="316" y="331"/>
                    <a:pt x="316" y="331"/>
                  </a:cubicBezTo>
                  <a:cubicBezTo>
                    <a:pt x="299" y="344"/>
                    <a:pt x="278" y="352"/>
                    <a:pt x="256" y="352"/>
                  </a:cubicBezTo>
                  <a:cubicBezTo>
                    <a:pt x="216" y="352"/>
                    <a:pt x="181" y="328"/>
                    <a:pt x="167" y="292"/>
                  </a:cubicBezTo>
                  <a:cubicBezTo>
                    <a:pt x="164" y="286"/>
                    <a:pt x="167" y="280"/>
                    <a:pt x="173" y="278"/>
                  </a:cubicBezTo>
                  <a:cubicBezTo>
                    <a:pt x="178" y="276"/>
                    <a:pt x="184" y="278"/>
                    <a:pt x="186" y="284"/>
                  </a:cubicBezTo>
                  <a:cubicBezTo>
                    <a:pt x="198" y="312"/>
                    <a:pt x="225" y="330"/>
                    <a:pt x="256" y="330"/>
                  </a:cubicBezTo>
                  <a:cubicBezTo>
                    <a:pt x="297" y="330"/>
                    <a:pt x="330" y="297"/>
                    <a:pt x="330" y="256"/>
                  </a:cubicBezTo>
                  <a:cubicBezTo>
                    <a:pt x="330" y="214"/>
                    <a:pt x="297" y="181"/>
                    <a:pt x="256" y="181"/>
                  </a:cubicBezTo>
                  <a:cubicBezTo>
                    <a:pt x="225" y="181"/>
                    <a:pt x="198" y="199"/>
                    <a:pt x="186" y="228"/>
                  </a:cubicBezTo>
                  <a:cubicBezTo>
                    <a:pt x="184" y="233"/>
                    <a:pt x="178" y="236"/>
                    <a:pt x="173" y="234"/>
                  </a:cubicBezTo>
                  <a:cubicBezTo>
                    <a:pt x="167" y="231"/>
                    <a:pt x="164" y="225"/>
                    <a:pt x="167" y="220"/>
                  </a:cubicBezTo>
                  <a:cubicBezTo>
                    <a:pt x="180" y="187"/>
                    <a:pt x="210" y="164"/>
                    <a:pt x="245" y="160"/>
                  </a:cubicBezTo>
                  <a:cubicBezTo>
                    <a:pt x="245" y="118"/>
                    <a:pt x="245" y="118"/>
                    <a:pt x="245" y="118"/>
                  </a:cubicBezTo>
                  <a:cubicBezTo>
                    <a:pt x="174" y="123"/>
                    <a:pt x="117" y="183"/>
                    <a:pt x="117" y="256"/>
                  </a:cubicBezTo>
                  <a:cubicBezTo>
                    <a:pt x="117" y="320"/>
                    <a:pt x="163" y="377"/>
                    <a:pt x="226" y="391"/>
                  </a:cubicBezTo>
                  <a:cubicBezTo>
                    <a:pt x="232" y="392"/>
                    <a:pt x="235" y="398"/>
                    <a:pt x="234" y="404"/>
                  </a:cubicBezTo>
                  <a:cubicBezTo>
                    <a:pt x="233" y="409"/>
                    <a:pt x="229" y="412"/>
                    <a:pt x="224" y="412"/>
                  </a:cubicBezTo>
                  <a:cubicBezTo>
                    <a:pt x="223" y="412"/>
                    <a:pt x="222" y="412"/>
                    <a:pt x="221" y="412"/>
                  </a:cubicBezTo>
                  <a:cubicBezTo>
                    <a:pt x="149" y="396"/>
                    <a:pt x="96" y="330"/>
                    <a:pt x="96" y="256"/>
                  </a:cubicBezTo>
                  <a:cubicBezTo>
                    <a:pt x="96" y="167"/>
                    <a:pt x="167" y="96"/>
                    <a:pt x="256" y="96"/>
                  </a:cubicBezTo>
                  <a:cubicBezTo>
                    <a:pt x="280" y="96"/>
                    <a:pt x="303" y="101"/>
                    <a:pt x="324" y="111"/>
                  </a:cubicBezTo>
                  <a:cubicBezTo>
                    <a:pt x="330" y="114"/>
                    <a:pt x="332" y="120"/>
                    <a:pt x="329" y="125"/>
                  </a:cubicBezTo>
                  <a:cubicBezTo>
                    <a:pt x="327" y="131"/>
                    <a:pt x="320" y="133"/>
                    <a:pt x="315" y="130"/>
                  </a:cubicBezTo>
                  <a:cubicBezTo>
                    <a:pt x="300" y="123"/>
                    <a:pt x="283" y="119"/>
                    <a:pt x="266" y="118"/>
                  </a:cubicBezTo>
                  <a:cubicBezTo>
                    <a:pt x="266" y="160"/>
                    <a:pt x="266" y="160"/>
                    <a:pt x="266" y="160"/>
                  </a:cubicBezTo>
                  <a:cubicBezTo>
                    <a:pt x="314" y="166"/>
                    <a:pt x="352" y="206"/>
                    <a:pt x="352" y="256"/>
                  </a:cubicBezTo>
                  <a:cubicBezTo>
                    <a:pt x="352" y="278"/>
                    <a:pt x="344" y="299"/>
                    <a:pt x="331" y="316"/>
                  </a:cubicBezTo>
                  <a:cubicBezTo>
                    <a:pt x="361" y="346"/>
                    <a:pt x="361" y="346"/>
                    <a:pt x="361" y="346"/>
                  </a:cubicBezTo>
                  <a:cubicBezTo>
                    <a:pt x="382" y="321"/>
                    <a:pt x="394" y="289"/>
                    <a:pt x="394" y="256"/>
                  </a:cubicBezTo>
                  <a:cubicBezTo>
                    <a:pt x="394" y="223"/>
                    <a:pt x="383" y="191"/>
                    <a:pt x="362" y="167"/>
                  </a:cubicBezTo>
                  <a:cubicBezTo>
                    <a:pt x="358" y="162"/>
                    <a:pt x="359" y="155"/>
                    <a:pt x="363" y="151"/>
                  </a:cubicBezTo>
                  <a:cubicBezTo>
                    <a:pt x="368" y="148"/>
                    <a:pt x="374" y="148"/>
                    <a:pt x="378" y="153"/>
                  </a:cubicBezTo>
                  <a:cubicBezTo>
                    <a:pt x="402" y="182"/>
                    <a:pt x="416" y="218"/>
                    <a:pt x="416" y="256"/>
                  </a:cubicBezTo>
                  <a:cubicBezTo>
                    <a:pt x="416" y="330"/>
                    <a:pt x="363" y="396"/>
                    <a:pt x="290" y="412"/>
                  </a:cubicBezTo>
                  <a:close/>
                  <a:moveTo>
                    <a:pt x="213" y="256"/>
                  </a:moveTo>
                  <a:cubicBezTo>
                    <a:pt x="213" y="232"/>
                    <a:pt x="232" y="213"/>
                    <a:pt x="256" y="213"/>
                  </a:cubicBezTo>
                  <a:cubicBezTo>
                    <a:pt x="279" y="213"/>
                    <a:pt x="298" y="232"/>
                    <a:pt x="298" y="256"/>
                  </a:cubicBezTo>
                  <a:cubicBezTo>
                    <a:pt x="298" y="279"/>
                    <a:pt x="279" y="298"/>
                    <a:pt x="256" y="298"/>
                  </a:cubicBezTo>
                  <a:cubicBezTo>
                    <a:pt x="232" y="298"/>
                    <a:pt x="213" y="279"/>
                    <a:pt x="213" y="256"/>
                  </a:cubicBezTo>
                  <a:close/>
                  <a:moveTo>
                    <a:pt x="256" y="277"/>
                  </a:moveTo>
                  <a:cubicBezTo>
                    <a:pt x="244" y="277"/>
                    <a:pt x="234" y="267"/>
                    <a:pt x="234" y="256"/>
                  </a:cubicBezTo>
                  <a:cubicBezTo>
                    <a:pt x="234" y="244"/>
                    <a:pt x="244" y="234"/>
                    <a:pt x="256" y="234"/>
                  </a:cubicBezTo>
                  <a:cubicBezTo>
                    <a:pt x="267" y="234"/>
                    <a:pt x="277" y="244"/>
                    <a:pt x="277" y="256"/>
                  </a:cubicBezTo>
                  <a:cubicBezTo>
                    <a:pt x="277" y="267"/>
                    <a:pt x="267" y="277"/>
                    <a:pt x="256" y="277"/>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3" name="Group 2"/>
          <p:cNvGrpSpPr/>
          <p:nvPr/>
        </p:nvGrpSpPr>
        <p:grpSpPr>
          <a:xfrm>
            <a:off x="1310281" y="3242915"/>
            <a:ext cx="638920" cy="640800"/>
            <a:chOff x="1310281" y="3242915"/>
            <a:chExt cx="638920" cy="640800"/>
          </a:xfrm>
          <a:solidFill>
            <a:schemeClr val="accent1"/>
          </a:solidFill>
        </p:grpSpPr>
        <p:sp>
          <p:nvSpPr>
            <p:cNvPr id="2" name="Oval 1"/>
            <p:cNvSpPr/>
            <p:nvPr/>
          </p:nvSpPr>
          <p:spPr bwMode="gray">
            <a:xfrm>
              <a:off x="1347875" y="3281450"/>
              <a:ext cx="563732" cy="56373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Freeform 477">
              <a:extLst>
                <a:ext uri="{FF2B5EF4-FFF2-40B4-BE49-F238E27FC236}">
                  <a16:creationId xmlns:a16="http://schemas.microsoft.com/office/drawing/2014/main" id="{631F1CED-5150-4C19-9EBE-19E79D53B965}"/>
                </a:ext>
              </a:extLst>
            </p:cNvPr>
            <p:cNvSpPr>
              <a:spLocks noChangeAspect="1" noEditPoints="1"/>
            </p:cNvSpPr>
            <p:nvPr/>
          </p:nvSpPr>
          <p:spPr bwMode="auto">
            <a:xfrm>
              <a:off x="1310281" y="3242915"/>
              <a:ext cx="638920" cy="640800"/>
            </a:xfrm>
            <a:custGeom>
              <a:avLst/>
              <a:gdLst>
                <a:gd name="T0" fmla="*/ 202 w 512"/>
                <a:gd name="T1" fmla="*/ 170 h 512"/>
                <a:gd name="T2" fmla="*/ 309 w 512"/>
                <a:gd name="T3" fmla="*/ 170 h 512"/>
                <a:gd name="T4" fmla="*/ 309 w 512"/>
                <a:gd name="T5" fmla="*/ 213 h 512"/>
                <a:gd name="T6" fmla="*/ 202 w 512"/>
                <a:gd name="T7" fmla="*/ 213 h 512"/>
                <a:gd name="T8" fmla="*/ 202 w 512"/>
                <a:gd name="T9" fmla="*/ 170 h 512"/>
                <a:gd name="T10" fmla="*/ 202 w 512"/>
                <a:gd name="T11" fmla="*/ 341 h 512"/>
                <a:gd name="T12" fmla="*/ 309 w 512"/>
                <a:gd name="T13" fmla="*/ 341 h 512"/>
                <a:gd name="T14" fmla="*/ 309 w 512"/>
                <a:gd name="T15" fmla="*/ 298 h 512"/>
                <a:gd name="T16" fmla="*/ 202 w 512"/>
                <a:gd name="T17" fmla="*/ 298 h 512"/>
                <a:gd name="T18" fmla="*/ 202 w 512"/>
                <a:gd name="T19" fmla="*/ 341 h 512"/>
                <a:gd name="T20" fmla="*/ 202 w 512"/>
                <a:gd name="T21" fmla="*/ 277 h 512"/>
                <a:gd name="T22" fmla="*/ 309 w 512"/>
                <a:gd name="T23" fmla="*/ 277 h 512"/>
                <a:gd name="T24" fmla="*/ 309 w 512"/>
                <a:gd name="T25" fmla="*/ 234 h 512"/>
                <a:gd name="T26" fmla="*/ 202 w 512"/>
                <a:gd name="T27" fmla="*/ 234 h 512"/>
                <a:gd name="T28" fmla="*/ 202 w 512"/>
                <a:gd name="T29" fmla="*/ 27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106 h 512"/>
                <a:gd name="T42" fmla="*/ 320 w 512"/>
                <a:gd name="T43" fmla="*/ 96 h 512"/>
                <a:gd name="T44" fmla="*/ 309 w 512"/>
                <a:gd name="T45" fmla="*/ 106 h 512"/>
                <a:gd name="T46" fmla="*/ 309 w 512"/>
                <a:gd name="T47" fmla="*/ 149 h 512"/>
                <a:gd name="T48" fmla="*/ 202 w 512"/>
                <a:gd name="T49" fmla="*/ 149 h 512"/>
                <a:gd name="T50" fmla="*/ 202 w 512"/>
                <a:gd name="T51" fmla="*/ 106 h 512"/>
                <a:gd name="T52" fmla="*/ 192 w 512"/>
                <a:gd name="T53" fmla="*/ 96 h 512"/>
                <a:gd name="T54" fmla="*/ 181 w 512"/>
                <a:gd name="T55" fmla="*/ 106 h 512"/>
                <a:gd name="T56" fmla="*/ 181 w 512"/>
                <a:gd name="T57" fmla="*/ 405 h 512"/>
                <a:gd name="T58" fmla="*/ 192 w 512"/>
                <a:gd name="T59" fmla="*/ 416 h 512"/>
                <a:gd name="T60" fmla="*/ 202 w 512"/>
                <a:gd name="T61" fmla="*/ 405 h 512"/>
                <a:gd name="T62" fmla="*/ 202 w 512"/>
                <a:gd name="T63" fmla="*/ 362 h 512"/>
                <a:gd name="T64" fmla="*/ 309 w 512"/>
                <a:gd name="T65" fmla="*/ 362 h 512"/>
                <a:gd name="T66" fmla="*/ 309 w 512"/>
                <a:gd name="T67" fmla="*/ 405 h 512"/>
                <a:gd name="T68" fmla="*/ 320 w 512"/>
                <a:gd name="T69" fmla="*/ 416 h 512"/>
                <a:gd name="T70" fmla="*/ 330 w 512"/>
                <a:gd name="T71" fmla="*/ 405 h 512"/>
                <a:gd name="T72" fmla="*/ 330 w 512"/>
                <a:gd name="T73"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02" y="170"/>
                  </a:moveTo>
                  <a:cubicBezTo>
                    <a:pt x="309" y="170"/>
                    <a:pt x="309" y="170"/>
                    <a:pt x="309" y="170"/>
                  </a:cubicBezTo>
                  <a:cubicBezTo>
                    <a:pt x="309" y="213"/>
                    <a:pt x="309" y="213"/>
                    <a:pt x="309" y="213"/>
                  </a:cubicBezTo>
                  <a:cubicBezTo>
                    <a:pt x="202" y="213"/>
                    <a:pt x="202" y="213"/>
                    <a:pt x="202" y="213"/>
                  </a:cubicBezTo>
                  <a:lnTo>
                    <a:pt x="202" y="170"/>
                  </a:lnTo>
                  <a:close/>
                  <a:moveTo>
                    <a:pt x="202" y="341"/>
                  </a:moveTo>
                  <a:cubicBezTo>
                    <a:pt x="309" y="341"/>
                    <a:pt x="309" y="341"/>
                    <a:pt x="309" y="341"/>
                  </a:cubicBezTo>
                  <a:cubicBezTo>
                    <a:pt x="309" y="298"/>
                    <a:pt x="309" y="298"/>
                    <a:pt x="309" y="298"/>
                  </a:cubicBezTo>
                  <a:cubicBezTo>
                    <a:pt x="202" y="298"/>
                    <a:pt x="202" y="298"/>
                    <a:pt x="202" y="298"/>
                  </a:cubicBezTo>
                  <a:lnTo>
                    <a:pt x="202" y="341"/>
                  </a:lnTo>
                  <a:close/>
                  <a:moveTo>
                    <a:pt x="202" y="277"/>
                  </a:moveTo>
                  <a:cubicBezTo>
                    <a:pt x="309" y="277"/>
                    <a:pt x="309" y="277"/>
                    <a:pt x="309" y="277"/>
                  </a:cubicBezTo>
                  <a:cubicBezTo>
                    <a:pt x="309" y="234"/>
                    <a:pt x="309" y="234"/>
                    <a:pt x="309" y="234"/>
                  </a:cubicBezTo>
                  <a:cubicBezTo>
                    <a:pt x="202" y="234"/>
                    <a:pt x="202" y="234"/>
                    <a:pt x="202" y="234"/>
                  </a:cubicBezTo>
                  <a:lnTo>
                    <a:pt x="202" y="2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06"/>
                  </a:moveTo>
                  <a:cubicBezTo>
                    <a:pt x="330" y="100"/>
                    <a:pt x="326" y="96"/>
                    <a:pt x="320" y="96"/>
                  </a:cubicBezTo>
                  <a:cubicBezTo>
                    <a:pt x="314" y="96"/>
                    <a:pt x="309" y="100"/>
                    <a:pt x="309" y="106"/>
                  </a:cubicBezTo>
                  <a:cubicBezTo>
                    <a:pt x="309" y="149"/>
                    <a:pt x="309" y="149"/>
                    <a:pt x="309" y="149"/>
                  </a:cubicBezTo>
                  <a:cubicBezTo>
                    <a:pt x="202" y="149"/>
                    <a:pt x="202" y="149"/>
                    <a:pt x="202" y="149"/>
                  </a:cubicBezTo>
                  <a:cubicBezTo>
                    <a:pt x="202" y="106"/>
                    <a:pt x="202" y="106"/>
                    <a:pt x="202" y="106"/>
                  </a:cubicBezTo>
                  <a:cubicBezTo>
                    <a:pt x="202" y="100"/>
                    <a:pt x="198" y="96"/>
                    <a:pt x="192" y="96"/>
                  </a:cubicBezTo>
                  <a:cubicBezTo>
                    <a:pt x="186" y="96"/>
                    <a:pt x="181" y="100"/>
                    <a:pt x="181" y="106"/>
                  </a:cubicBezTo>
                  <a:cubicBezTo>
                    <a:pt x="181" y="405"/>
                    <a:pt x="181" y="405"/>
                    <a:pt x="181" y="405"/>
                  </a:cubicBezTo>
                  <a:cubicBezTo>
                    <a:pt x="181" y="411"/>
                    <a:pt x="186" y="416"/>
                    <a:pt x="192" y="416"/>
                  </a:cubicBezTo>
                  <a:cubicBezTo>
                    <a:pt x="198" y="416"/>
                    <a:pt x="202" y="411"/>
                    <a:pt x="202" y="405"/>
                  </a:cubicBezTo>
                  <a:cubicBezTo>
                    <a:pt x="202" y="362"/>
                    <a:pt x="202" y="362"/>
                    <a:pt x="202" y="362"/>
                  </a:cubicBezTo>
                  <a:cubicBezTo>
                    <a:pt x="309" y="362"/>
                    <a:pt x="309" y="362"/>
                    <a:pt x="309" y="362"/>
                  </a:cubicBezTo>
                  <a:cubicBezTo>
                    <a:pt x="309" y="405"/>
                    <a:pt x="309" y="405"/>
                    <a:pt x="309" y="405"/>
                  </a:cubicBezTo>
                  <a:cubicBezTo>
                    <a:pt x="309" y="411"/>
                    <a:pt x="314" y="416"/>
                    <a:pt x="320" y="416"/>
                  </a:cubicBezTo>
                  <a:cubicBezTo>
                    <a:pt x="326" y="416"/>
                    <a:pt x="330" y="411"/>
                    <a:pt x="330" y="405"/>
                  </a:cubicBezTo>
                  <a:lnTo>
                    <a:pt x="330" y="106"/>
                  </a:ln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spTree>
    <p:custDataLst>
      <p:tags r:id="rId1"/>
    </p:custDataLst>
    <p:extLst>
      <p:ext uri="{BB962C8B-B14F-4D97-AF65-F5344CB8AC3E}">
        <p14:creationId xmlns:p14="http://schemas.microsoft.com/office/powerpoint/2010/main" val="2419031801"/>
      </p:ext>
    </p:extLst>
  </p:cSld>
  <p:clrMapOvr>
    <a:masterClrMapping/>
  </p:clrMapOvr>
  <p:transition>
    <p:fade/>
  </p:transition>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9" name="Straight Connector 118">
            <a:extLst>
              <a:ext uri="{FF2B5EF4-FFF2-40B4-BE49-F238E27FC236}">
                <a16:creationId xmlns:a16="http://schemas.microsoft.com/office/drawing/2014/main" id="{7EFA82FE-6635-4D3B-9002-E51E499C3FFD}"/>
              </a:ext>
            </a:extLst>
          </p:cNvPr>
          <p:cNvCxnSpPr>
            <a:cxnSpLocks/>
            <a:stCxn id="126" idx="2"/>
          </p:cNvCxnSpPr>
          <p:nvPr/>
        </p:nvCxnSpPr>
        <p:spPr>
          <a:xfrm>
            <a:off x="3753176" y="4404225"/>
            <a:ext cx="3653822" cy="196"/>
          </a:xfrm>
          <a:prstGeom prst="line">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415145D3-2EEC-4E80-834B-F2C06C62BEA1}"/>
              </a:ext>
            </a:extLst>
          </p:cNvPr>
          <p:cNvSpPr/>
          <p:nvPr/>
        </p:nvSpPr>
        <p:spPr bwMode="gray">
          <a:xfrm>
            <a:off x="2446029" y="1020856"/>
            <a:ext cx="2486447" cy="1219508"/>
          </a:xfrm>
          <a:prstGeom prst="rect">
            <a:avLst/>
          </a:prstGeom>
          <a:noFill/>
          <a:ln w="12700" algn="ctr">
            <a:noFill/>
            <a:miter lim="800000"/>
            <a:headEnd/>
            <a:tailEnd/>
          </a:ln>
        </p:spPr>
        <p:txBody>
          <a:bodyPr wrap="square" lIns="0" tIns="0" rIns="0" bIns="0" rtlCol="0" anchor="t"/>
          <a:lstStyle/>
          <a:p>
            <a:pPr>
              <a:spcAft>
                <a:spcPts val="1200"/>
              </a:spcAft>
            </a:pPr>
            <a:r>
              <a:rPr lang="da-DK" sz="1400" dirty="0">
                <a:solidFill>
                  <a:schemeClr val="bg1"/>
                </a:solidFill>
              </a:rPr>
              <a:t>Lorem ipsum dolor sit ame </a:t>
            </a:r>
            <a:r>
              <a:rPr lang="da-DK" sz="1400" dirty="0">
                <a:solidFill>
                  <a:schemeClr val="accent1"/>
                </a:solidFill>
              </a:rPr>
              <a:t>Lorem ipsum dolor sit ame</a:t>
            </a:r>
            <a:r>
              <a:rPr lang="en-GB" sz="1400" dirty="0">
                <a:solidFill>
                  <a:schemeClr val="bg1"/>
                </a:solidFill>
              </a:rPr>
              <a:t> </a:t>
            </a:r>
            <a:r>
              <a:rPr lang="da-DK" sz="1400" dirty="0">
                <a:solidFill>
                  <a:schemeClr val="bg1"/>
                </a:solidFill>
              </a:rPr>
              <a:t>Lorem ipsum dolor sit ameLorem ipsum dolor sit ameLorem ipsum dolor sit ame</a:t>
            </a:r>
            <a:endParaRPr lang="en-GB" sz="1400" dirty="0">
              <a:solidFill>
                <a:schemeClr val="bg1"/>
              </a:solidFill>
            </a:endParaRPr>
          </a:p>
        </p:txBody>
      </p:sp>
      <p:sp>
        <p:nvSpPr>
          <p:cNvPr id="121" name="Rectangle 120">
            <a:extLst>
              <a:ext uri="{FF2B5EF4-FFF2-40B4-BE49-F238E27FC236}">
                <a16:creationId xmlns:a16="http://schemas.microsoft.com/office/drawing/2014/main" id="{2F857E55-365F-4FF7-8C71-EDC84D25309A}"/>
              </a:ext>
            </a:extLst>
          </p:cNvPr>
          <p:cNvSpPr/>
          <p:nvPr/>
        </p:nvSpPr>
        <p:spPr bwMode="gray">
          <a:xfrm>
            <a:off x="6720749" y="1647435"/>
            <a:ext cx="2127061" cy="1284444"/>
          </a:xfrm>
          <a:prstGeom prst="rect">
            <a:avLst/>
          </a:prstGeom>
          <a:noFill/>
          <a:ln w="12700" algn="ctr">
            <a:noFill/>
            <a:miter lim="800000"/>
            <a:headEnd/>
            <a:tailEnd/>
          </a:ln>
        </p:spPr>
        <p:txBody>
          <a:bodyPr wrap="square" lIns="0" tIns="0" rIns="0" bIns="0" rtlCol="0" anchor="t"/>
          <a:lstStyle/>
          <a:p>
            <a:pPr>
              <a:spcAft>
                <a:spcPts val="1200"/>
              </a:spcAft>
            </a:pPr>
            <a:r>
              <a:rPr lang="da-DK" sz="1400" dirty="0">
                <a:solidFill>
                  <a:schemeClr val="bg1"/>
                </a:solidFill>
              </a:rPr>
              <a:t>Lorem ipsum dolor sit ame </a:t>
            </a:r>
            <a:r>
              <a:rPr lang="da-DK" sz="1400" dirty="0">
                <a:solidFill>
                  <a:schemeClr val="accent1"/>
                </a:solidFill>
              </a:rPr>
              <a:t>Lorem ipsum dolor sit ame</a:t>
            </a:r>
            <a:r>
              <a:rPr lang="en-GB" sz="1400" dirty="0">
                <a:solidFill>
                  <a:schemeClr val="bg1"/>
                </a:solidFill>
              </a:rPr>
              <a:t> </a:t>
            </a:r>
            <a:r>
              <a:rPr lang="da-DK" sz="1400" dirty="0">
                <a:solidFill>
                  <a:schemeClr val="bg1"/>
                </a:solidFill>
              </a:rPr>
              <a:t>Lorem ipsum dolor sit ameLorem ipsum dolor sit ameLorem ipsum dolor</a:t>
            </a:r>
            <a:endParaRPr lang="en-GB" sz="1400" dirty="0">
              <a:solidFill>
                <a:schemeClr val="bg1"/>
              </a:solidFill>
            </a:endParaRPr>
          </a:p>
        </p:txBody>
      </p:sp>
      <p:sp>
        <p:nvSpPr>
          <p:cNvPr id="122" name="Rectangle 121">
            <a:extLst>
              <a:ext uri="{FF2B5EF4-FFF2-40B4-BE49-F238E27FC236}">
                <a16:creationId xmlns:a16="http://schemas.microsoft.com/office/drawing/2014/main" id="{06297590-A86F-47EC-BAFA-454DB8B4FC95}"/>
              </a:ext>
            </a:extLst>
          </p:cNvPr>
          <p:cNvSpPr/>
          <p:nvPr/>
        </p:nvSpPr>
        <p:spPr bwMode="gray">
          <a:xfrm>
            <a:off x="1680530" y="4646145"/>
            <a:ext cx="2074871" cy="1218649"/>
          </a:xfrm>
          <a:prstGeom prst="rect">
            <a:avLst/>
          </a:prstGeom>
          <a:noFill/>
          <a:ln w="12700" algn="ctr">
            <a:noFill/>
            <a:miter lim="800000"/>
            <a:headEnd/>
            <a:tailEnd/>
          </a:ln>
        </p:spPr>
        <p:txBody>
          <a:bodyPr wrap="square" lIns="0" tIns="0" rIns="0" bIns="0" rtlCol="0" anchor="t"/>
          <a:lstStyle/>
          <a:p>
            <a:pPr>
              <a:spcAft>
                <a:spcPts val="1200"/>
              </a:spcAft>
            </a:pPr>
            <a:r>
              <a:rPr lang="da-DK" sz="1400" dirty="0">
                <a:solidFill>
                  <a:schemeClr val="bg1"/>
                </a:solidFill>
              </a:rPr>
              <a:t>Lorem ipsum dolor sit ame </a:t>
            </a:r>
            <a:r>
              <a:rPr lang="da-DK" sz="1400" dirty="0">
                <a:solidFill>
                  <a:schemeClr val="accent1"/>
                </a:solidFill>
              </a:rPr>
              <a:t>Lorem ipsum dolor sit ame</a:t>
            </a:r>
            <a:r>
              <a:rPr lang="en-GB" sz="1400" dirty="0">
                <a:solidFill>
                  <a:schemeClr val="bg1"/>
                </a:solidFill>
              </a:rPr>
              <a:t> </a:t>
            </a:r>
            <a:r>
              <a:rPr lang="da-DK" sz="1400" dirty="0">
                <a:solidFill>
                  <a:schemeClr val="bg1"/>
                </a:solidFill>
              </a:rPr>
              <a:t>Lorem ipsum dolor sit ameLorem ipsum dolor</a:t>
            </a:r>
            <a:endParaRPr lang="en-GB" sz="1400" dirty="0">
              <a:solidFill>
                <a:schemeClr val="bg1"/>
              </a:solidFill>
            </a:endParaRPr>
          </a:p>
        </p:txBody>
      </p:sp>
      <p:sp>
        <p:nvSpPr>
          <p:cNvPr id="123" name="Rectangle 122">
            <a:extLst>
              <a:ext uri="{FF2B5EF4-FFF2-40B4-BE49-F238E27FC236}">
                <a16:creationId xmlns:a16="http://schemas.microsoft.com/office/drawing/2014/main" id="{9BD10200-D651-4FC9-B430-ACF764848C1C}"/>
              </a:ext>
            </a:extLst>
          </p:cNvPr>
          <p:cNvSpPr/>
          <p:nvPr/>
        </p:nvSpPr>
        <p:spPr bwMode="gray">
          <a:xfrm>
            <a:off x="7933278" y="3900092"/>
            <a:ext cx="2020910" cy="1370433"/>
          </a:xfrm>
          <a:prstGeom prst="rect">
            <a:avLst/>
          </a:prstGeom>
          <a:noFill/>
          <a:ln w="12700" algn="ctr">
            <a:noFill/>
            <a:miter lim="800000"/>
            <a:headEnd/>
            <a:tailEnd/>
          </a:ln>
        </p:spPr>
        <p:txBody>
          <a:bodyPr wrap="square" lIns="0" tIns="0" rIns="0" bIns="0" rtlCol="0" anchor="t"/>
          <a:lstStyle/>
          <a:p>
            <a:pPr>
              <a:spcAft>
                <a:spcPts val="1200"/>
              </a:spcAft>
            </a:pPr>
            <a:r>
              <a:rPr lang="da-DK" sz="1400" dirty="0">
                <a:solidFill>
                  <a:schemeClr val="bg1"/>
                </a:solidFill>
              </a:rPr>
              <a:t>Lorem ipsum dolor sit ame </a:t>
            </a:r>
            <a:r>
              <a:rPr lang="da-DK" sz="1400" dirty="0">
                <a:solidFill>
                  <a:schemeClr val="accent1"/>
                </a:solidFill>
              </a:rPr>
              <a:t>Lorem ipsum dolor sit ame</a:t>
            </a:r>
            <a:r>
              <a:rPr lang="en-GB" sz="1400" dirty="0">
                <a:solidFill>
                  <a:schemeClr val="bg1"/>
                </a:solidFill>
              </a:rPr>
              <a:t> </a:t>
            </a:r>
            <a:r>
              <a:rPr lang="da-DK" sz="1400" dirty="0">
                <a:solidFill>
                  <a:schemeClr val="bg1"/>
                </a:solidFill>
              </a:rPr>
              <a:t>Lorem ipsum dolor sit ameLorem ipsum dolor</a:t>
            </a:r>
            <a:endParaRPr lang="en-GB" sz="1400" dirty="0">
              <a:solidFill>
                <a:schemeClr val="bg1"/>
              </a:solidFill>
            </a:endParaRPr>
          </a:p>
        </p:txBody>
      </p:sp>
      <p:cxnSp>
        <p:nvCxnSpPr>
          <p:cNvPr id="124" name="Straight Connector 123">
            <a:extLst>
              <a:ext uri="{FF2B5EF4-FFF2-40B4-BE49-F238E27FC236}">
                <a16:creationId xmlns:a16="http://schemas.microsoft.com/office/drawing/2014/main" id="{8DF1F98F-548C-42E6-A226-0591D39FAACF}"/>
              </a:ext>
            </a:extLst>
          </p:cNvPr>
          <p:cNvCxnSpPr>
            <a:cxnSpLocks/>
            <a:endCxn id="125" idx="0"/>
          </p:cNvCxnSpPr>
          <p:nvPr/>
        </p:nvCxnSpPr>
        <p:spPr>
          <a:xfrm>
            <a:off x="1934396" y="2504004"/>
            <a:ext cx="3941861" cy="0"/>
          </a:xfrm>
          <a:prstGeom prst="line">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cxnSp>
      <p:sp>
        <p:nvSpPr>
          <p:cNvPr id="125" name="Arc 124">
            <a:extLst>
              <a:ext uri="{FF2B5EF4-FFF2-40B4-BE49-F238E27FC236}">
                <a16:creationId xmlns:a16="http://schemas.microsoft.com/office/drawing/2014/main" id="{9C5BD8D6-AFAF-4330-9C93-2EF1649D4717}"/>
              </a:ext>
            </a:extLst>
          </p:cNvPr>
          <p:cNvSpPr/>
          <p:nvPr/>
        </p:nvSpPr>
        <p:spPr>
          <a:xfrm>
            <a:off x="5401753" y="2504004"/>
            <a:ext cx="949009" cy="949009"/>
          </a:xfrm>
          <a:prstGeom prst="arc">
            <a:avLst>
              <a:gd name="adj1" fmla="val 16200000"/>
              <a:gd name="adj2" fmla="val 5639214"/>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6" name="Arc 125">
            <a:extLst>
              <a:ext uri="{FF2B5EF4-FFF2-40B4-BE49-F238E27FC236}">
                <a16:creationId xmlns:a16="http://schemas.microsoft.com/office/drawing/2014/main" id="{42D44D48-8068-4FD4-ADDE-B14E736A40F3}"/>
              </a:ext>
            </a:extLst>
          </p:cNvPr>
          <p:cNvSpPr/>
          <p:nvPr/>
        </p:nvSpPr>
        <p:spPr>
          <a:xfrm flipH="1">
            <a:off x="3265037" y="3455413"/>
            <a:ext cx="949009" cy="949009"/>
          </a:xfrm>
          <a:prstGeom prst="arc">
            <a:avLst>
              <a:gd name="adj1" fmla="val 16200000"/>
              <a:gd name="adj2" fmla="val 5498798"/>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27" name="Straight Connector 126">
            <a:extLst>
              <a:ext uri="{FF2B5EF4-FFF2-40B4-BE49-F238E27FC236}">
                <a16:creationId xmlns:a16="http://schemas.microsoft.com/office/drawing/2014/main" id="{91C8B7F3-8C12-4A11-9052-200E41D67BFD}"/>
              </a:ext>
            </a:extLst>
          </p:cNvPr>
          <p:cNvCxnSpPr>
            <a:cxnSpLocks/>
          </p:cNvCxnSpPr>
          <p:nvPr/>
        </p:nvCxnSpPr>
        <p:spPr>
          <a:xfrm>
            <a:off x="3744641" y="3460822"/>
            <a:ext cx="2092578" cy="0"/>
          </a:xfrm>
          <a:prstGeom prst="line">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0352539C-C4F8-426C-B45C-FED534E07BC2}"/>
              </a:ext>
            </a:extLst>
          </p:cNvPr>
          <p:cNvGrpSpPr/>
          <p:nvPr/>
        </p:nvGrpSpPr>
        <p:grpSpPr>
          <a:xfrm>
            <a:off x="1741943" y="1875328"/>
            <a:ext cx="492807" cy="780062"/>
            <a:chOff x="997866" y="2157611"/>
            <a:chExt cx="352732" cy="558338"/>
          </a:xfrm>
        </p:grpSpPr>
        <p:sp>
          <p:nvSpPr>
            <p:cNvPr id="133" name="Oval 132">
              <a:extLst>
                <a:ext uri="{FF2B5EF4-FFF2-40B4-BE49-F238E27FC236}">
                  <a16:creationId xmlns:a16="http://schemas.microsoft.com/office/drawing/2014/main" id="{9AB9B2A1-D776-4CAE-880B-9243A63D6154}"/>
                </a:ext>
              </a:extLst>
            </p:cNvPr>
            <p:cNvSpPr/>
            <p:nvPr/>
          </p:nvSpPr>
          <p:spPr bwMode="gray">
            <a:xfrm>
              <a:off x="1046782" y="2461047"/>
              <a:ext cx="254902" cy="25490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4" name="Oval 133">
              <a:extLst>
                <a:ext uri="{FF2B5EF4-FFF2-40B4-BE49-F238E27FC236}">
                  <a16:creationId xmlns:a16="http://schemas.microsoft.com/office/drawing/2014/main" id="{D2613258-D442-4732-99AF-222FE253A0BD}"/>
                </a:ext>
              </a:extLst>
            </p:cNvPr>
            <p:cNvSpPr/>
            <p:nvPr/>
          </p:nvSpPr>
          <p:spPr bwMode="gray">
            <a:xfrm>
              <a:off x="1095096" y="2509361"/>
              <a:ext cx="158274" cy="158274"/>
            </a:xfrm>
            <a:prstGeom prst="ellipse">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5" name="Teardrop 134">
              <a:extLst>
                <a:ext uri="{FF2B5EF4-FFF2-40B4-BE49-F238E27FC236}">
                  <a16:creationId xmlns:a16="http://schemas.microsoft.com/office/drawing/2014/main" id="{69FDBFCB-6D20-400D-92EF-D4C6122B4567}"/>
                </a:ext>
              </a:extLst>
            </p:cNvPr>
            <p:cNvSpPr/>
            <p:nvPr/>
          </p:nvSpPr>
          <p:spPr bwMode="gray">
            <a:xfrm rot="8100000">
              <a:off x="997866" y="2157611"/>
              <a:ext cx="352732" cy="352732"/>
            </a:xfrm>
            <a:prstGeom prst="teardrop">
              <a:avLst/>
            </a:prstGeom>
            <a:solidFill>
              <a:schemeClr val="tx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137" name="Group 136">
            <a:extLst>
              <a:ext uri="{FF2B5EF4-FFF2-40B4-BE49-F238E27FC236}">
                <a16:creationId xmlns:a16="http://schemas.microsoft.com/office/drawing/2014/main" id="{968EEC05-6E44-471C-8176-B3C68825BE35}"/>
              </a:ext>
            </a:extLst>
          </p:cNvPr>
          <p:cNvGrpSpPr/>
          <p:nvPr/>
        </p:nvGrpSpPr>
        <p:grpSpPr>
          <a:xfrm>
            <a:off x="6033374" y="2118405"/>
            <a:ext cx="492807" cy="780062"/>
            <a:chOff x="997866" y="2157611"/>
            <a:chExt cx="352732" cy="558338"/>
          </a:xfrm>
        </p:grpSpPr>
        <p:sp>
          <p:nvSpPr>
            <p:cNvPr id="141" name="Oval 140">
              <a:extLst>
                <a:ext uri="{FF2B5EF4-FFF2-40B4-BE49-F238E27FC236}">
                  <a16:creationId xmlns:a16="http://schemas.microsoft.com/office/drawing/2014/main" id="{D21E1BDF-1140-4AFB-8A52-FD8B545B37F1}"/>
                </a:ext>
              </a:extLst>
            </p:cNvPr>
            <p:cNvSpPr/>
            <p:nvPr/>
          </p:nvSpPr>
          <p:spPr bwMode="gray">
            <a:xfrm>
              <a:off x="1046782" y="2461047"/>
              <a:ext cx="254902" cy="25490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2" name="Oval 141">
              <a:extLst>
                <a:ext uri="{FF2B5EF4-FFF2-40B4-BE49-F238E27FC236}">
                  <a16:creationId xmlns:a16="http://schemas.microsoft.com/office/drawing/2014/main" id="{DA51E63B-CF17-4DDF-B407-09B43C54C8D0}"/>
                </a:ext>
              </a:extLst>
            </p:cNvPr>
            <p:cNvSpPr/>
            <p:nvPr/>
          </p:nvSpPr>
          <p:spPr bwMode="gray">
            <a:xfrm>
              <a:off x="1095096" y="2509361"/>
              <a:ext cx="158274" cy="158274"/>
            </a:xfrm>
            <a:prstGeom prst="ellipse">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3" name="Teardrop 142">
              <a:extLst>
                <a:ext uri="{FF2B5EF4-FFF2-40B4-BE49-F238E27FC236}">
                  <a16:creationId xmlns:a16="http://schemas.microsoft.com/office/drawing/2014/main" id="{4531D0A8-40DC-4349-837C-408D52850195}"/>
                </a:ext>
              </a:extLst>
            </p:cNvPr>
            <p:cNvSpPr/>
            <p:nvPr/>
          </p:nvSpPr>
          <p:spPr bwMode="gray">
            <a:xfrm rot="8100000">
              <a:off x="997866" y="2157611"/>
              <a:ext cx="352732" cy="352732"/>
            </a:xfrm>
            <a:prstGeom prst="teardrop">
              <a:avLst/>
            </a:prstGeom>
            <a:solidFill>
              <a:schemeClr val="tx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145" name="Group 144">
            <a:extLst>
              <a:ext uri="{FF2B5EF4-FFF2-40B4-BE49-F238E27FC236}">
                <a16:creationId xmlns:a16="http://schemas.microsoft.com/office/drawing/2014/main" id="{50F98386-1BA3-49C5-986B-941DE757EB66}"/>
              </a:ext>
            </a:extLst>
          </p:cNvPr>
          <p:cNvGrpSpPr/>
          <p:nvPr/>
        </p:nvGrpSpPr>
        <p:grpSpPr>
          <a:xfrm>
            <a:off x="3107010" y="3438480"/>
            <a:ext cx="492807" cy="780062"/>
            <a:chOff x="997866" y="2157611"/>
            <a:chExt cx="352732" cy="558338"/>
          </a:xfrm>
        </p:grpSpPr>
        <p:sp>
          <p:nvSpPr>
            <p:cNvPr id="149" name="Oval 148">
              <a:extLst>
                <a:ext uri="{FF2B5EF4-FFF2-40B4-BE49-F238E27FC236}">
                  <a16:creationId xmlns:a16="http://schemas.microsoft.com/office/drawing/2014/main" id="{6B910047-DFDB-47B1-97D0-94FD27299789}"/>
                </a:ext>
              </a:extLst>
            </p:cNvPr>
            <p:cNvSpPr/>
            <p:nvPr/>
          </p:nvSpPr>
          <p:spPr bwMode="gray">
            <a:xfrm>
              <a:off x="1046782" y="2461047"/>
              <a:ext cx="254902" cy="25490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0" name="Oval 149">
              <a:extLst>
                <a:ext uri="{FF2B5EF4-FFF2-40B4-BE49-F238E27FC236}">
                  <a16:creationId xmlns:a16="http://schemas.microsoft.com/office/drawing/2014/main" id="{AAFE57FC-586B-47E1-AC59-FB6FC1C5A525}"/>
                </a:ext>
              </a:extLst>
            </p:cNvPr>
            <p:cNvSpPr/>
            <p:nvPr/>
          </p:nvSpPr>
          <p:spPr bwMode="gray">
            <a:xfrm>
              <a:off x="1095096" y="2509361"/>
              <a:ext cx="158274" cy="158274"/>
            </a:xfrm>
            <a:prstGeom prst="ellipse">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1" name="Teardrop 150">
              <a:extLst>
                <a:ext uri="{FF2B5EF4-FFF2-40B4-BE49-F238E27FC236}">
                  <a16:creationId xmlns:a16="http://schemas.microsoft.com/office/drawing/2014/main" id="{B746576A-440D-49DB-9AF5-76C4DA6431E0}"/>
                </a:ext>
              </a:extLst>
            </p:cNvPr>
            <p:cNvSpPr/>
            <p:nvPr/>
          </p:nvSpPr>
          <p:spPr bwMode="gray">
            <a:xfrm rot="8100000">
              <a:off x="997866" y="2157611"/>
              <a:ext cx="352732" cy="352732"/>
            </a:xfrm>
            <a:prstGeom prst="teardrop">
              <a:avLst/>
            </a:prstGeom>
            <a:solidFill>
              <a:schemeClr val="tx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153" name="Group 152">
            <a:extLst>
              <a:ext uri="{FF2B5EF4-FFF2-40B4-BE49-F238E27FC236}">
                <a16:creationId xmlns:a16="http://schemas.microsoft.com/office/drawing/2014/main" id="{4690B147-44FA-42AB-98FF-96ECE4463600}"/>
              </a:ext>
            </a:extLst>
          </p:cNvPr>
          <p:cNvGrpSpPr/>
          <p:nvPr/>
        </p:nvGrpSpPr>
        <p:grpSpPr>
          <a:xfrm>
            <a:off x="7137031" y="3763282"/>
            <a:ext cx="492807" cy="780062"/>
            <a:chOff x="997866" y="2157611"/>
            <a:chExt cx="352732" cy="558338"/>
          </a:xfrm>
        </p:grpSpPr>
        <p:sp>
          <p:nvSpPr>
            <p:cNvPr id="157" name="Oval 156">
              <a:extLst>
                <a:ext uri="{FF2B5EF4-FFF2-40B4-BE49-F238E27FC236}">
                  <a16:creationId xmlns:a16="http://schemas.microsoft.com/office/drawing/2014/main" id="{29596421-B4D8-4A23-A559-7DAA3B4B6099}"/>
                </a:ext>
              </a:extLst>
            </p:cNvPr>
            <p:cNvSpPr/>
            <p:nvPr/>
          </p:nvSpPr>
          <p:spPr bwMode="gray">
            <a:xfrm>
              <a:off x="1046782" y="2461047"/>
              <a:ext cx="254902" cy="25490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8" name="Oval 157">
              <a:extLst>
                <a:ext uri="{FF2B5EF4-FFF2-40B4-BE49-F238E27FC236}">
                  <a16:creationId xmlns:a16="http://schemas.microsoft.com/office/drawing/2014/main" id="{FC0E3768-3C8E-4832-9525-58C5460C710F}"/>
                </a:ext>
              </a:extLst>
            </p:cNvPr>
            <p:cNvSpPr/>
            <p:nvPr/>
          </p:nvSpPr>
          <p:spPr bwMode="gray">
            <a:xfrm>
              <a:off x="1095096" y="2509361"/>
              <a:ext cx="158274" cy="158274"/>
            </a:xfrm>
            <a:prstGeom prst="ellipse">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9" name="Teardrop 158">
              <a:extLst>
                <a:ext uri="{FF2B5EF4-FFF2-40B4-BE49-F238E27FC236}">
                  <a16:creationId xmlns:a16="http://schemas.microsoft.com/office/drawing/2014/main" id="{E8BC842F-1310-47D3-AF51-2146CABC93A0}"/>
                </a:ext>
              </a:extLst>
            </p:cNvPr>
            <p:cNvSpPr/>
            <p:nvPr/>
          </p:nvSpPr>
          <p:spPr bwMode="gray">
            <a:xfrm rot="8100000">
              <a:off x="997866" y="2157611"/>
              <a:ext cx="352732" cy="352732"/>
            </a:xfrm>
            <a:prstGeom prst="teardrop">
              <a:avLst/>
            </a:prstGeom>
            <a:solidFill>
              <a:schemeClr val="tx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cxnSp>
        <p:nvCxnSpPr>
          <p:cNvPr id="160" name="Straight Connector 159">
            <a:extLst>
              <a:ext uri="{FF2B5EF4-FFF2-40B4-BE49-F238E27FC236}">
                <a16:creationId xmlns:a16="http://schemas.microsoft.com/office/drawing/2014/main" id="{CE4FC306-3CB8-4042-9A49-82B9C5D32D4A}"/>
              </a:ext>
            </a:extLst>
          </p:cNvPr>
          <p:cNvCxnSpPr/>
          <p:nvPr/>
        </p:nvCxnSpPr>
        <p:spPr>
          <a:xfrm>
            <a:off x="2446029" y="898424"/>
            <a:ext cx="228730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AF5352B0-4B36-4E14-BE52-1DE8D48D98DE}"/>
              </a:ext>
            </a:extLst>
          </p:cNvPr>
          <p:cNvCxnSpPr>
            <a:cxnSpLocks/>
          </p:cNvCxnSpPr>
          <p:nvPr/>
        </p:nvCxnSpPr>
        <p:spPr>
          <a:xfrm>
            <a:off x="6681101" y="1516813"/>
            <a:ext cx="228730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BEFDCF62-6639-45F7-B1B6-920FFE0FC665}"/>
              </a:ext>
            </a:extLst>
          </p:cNvPr>
          <p:cNvCxnSpPr>
            <a:cxnSpLocks/>
          </p:cNvCxnSpPr>
          <p:nvPr/>
        </p:nvCxnSpPr>
        <p:spPr>
          <a:xfrm>
            <a:off x="7922233" y="3763282"/>
            <a:ext cx="209227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C0380864-73C5-437F-AEF8-ADE07E82A866}"/>
              </a:ext>
            </a:extLst>
          </p:cNvPr>
          <p:cNvCxnSpPr>
            <a:cxnSpLocks/>
          </p:cNvCxnSpPr>
          <p:nvPr/>
        </p:nvCxnSpPr>
        <p:spPr>
          <a:xfrm>
            <a:off x="1680530" y="5959576"/>
            <a:ext cx="209227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105">
            <a:extLst>
              <a:ext uri="{FF2B5EF4-FFF2-40B4-BE49-F238E27FC236}">
                <a16:creationId xmlns:a16="http://schemas.microsoft.com/office/drawing/2014/main" id="{C173A560-2506-4123-AE93-B0CD0FB80BF4}"/>
              </a:ext>
            </a:extLst>
          </p:cNvPr>
          <p:cNvSpPr>
            <a:spLocks noChangeAspect="1" noEditPoints="1"/>
          </p:cNvSpPr>
          <p:nvPr/>
        </p:nvSpPr>
        <p:spPr bwMode="auto">
          <a:xfrm>
            <a:off x="1814386" y="1949044"/>
            <a:ext cx="352025" cy="35212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49" name="Freeform 105">
            <a:extLst>
              <a:ext uri="{FF2B5EF4-FFF2-40B4-BE49-F238E27FC236}">
                <a16:creationId xmlns:a16="http://schemas.microsoft.com/office/drawing/2014/main" id="{C173A560-2506-4123-AE93-B0CD0FB80BF4}"/>
              </a:ext>
            </a:extLst>
          </p:cNvPr>
          <p:cNvSpPr>
            <a:spLocks noChangeAspect="1" noEditPoints="1"/>
          </p:cNvSpPr>
          <p:nvPr/>
        </p:nvSpPr>
        <p:spPr bwMode="auto">
          <a:xfrm>
            <a:off x="6106925" y="2182409"/>
            <a:ext cx="352025" cy="35212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50" name="Freeform 105">
            <a:extLst>
              <a:ext uri="{FF2B5EF4-FFF2-40B4-BE49-F238E27FC236}">
                <a16:creationId xmlns:a16="http://schemas.microsoft.com/office/drawing/2014/main" id="{C173A560-2506-4123-AE93-B0CD0FB80BF4}"/>
              </a:ext>
            </a:extLst>
          </p:cNvPr>
          <p:cNvSpPr>
            <a:spLocks noChangeAspect="1" noEditPoints="1"/>
          </p:cNvSpPr>
          <p:nvPr/>
        </p:nvSpPr>
        <p:spPr bwMode="auto">
          <a:xfrm>
            <a:off x="3174775" y="3500474"/>
            <a:ext cx="352025" cy="35212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51" name="Freeform 105">
            <a:extLst>
              <a:ext uri="{FF2B5EF4-FFF2-40B4-BE49-F238E27FC236}">
                <a16:creationId xmlns:a16="http://schemas.microsoft.com/office/drawing/2014/main" id="{C173A560-2506-4123-AE93-B0CD0FB80BF4}"/>
              </a:ext>
            </a:extLst>
          </p:cNvPr>
          <p:cNvSpPr>
            <a:spLocks noChangeAspect="1" noEditPoints="1"/>
          </p:cNvSpPr>
          <p:nvPr/>
        </p:nvSpPr>
        <p:spPr bwMode="auto">
          <a:xfrm>
            <a:off x="7205372" y="3825965"/>
            <a:ext cx="352025" cy="35212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72477" tIns="36238" rIns="72477" bIns="36238" numCol="1" anchor="t" anchorCtr="0" compatLnSpc="1">
            <a:prstTxWarp prst="textNoShape">
              <a:avLst/>
            </a:prstTxWarp>
          </a:bodyPr>
          <a:lstStyle/>
          <a:p>
            <a:endParaRPr lang="en-GB" sz="1427" dirty="0"/>
          </a:p>
        </p:txBody>
      </p:sp>
    </p:spTree>
    <p:custDataLst>
      <p:tags r:id="rId1"/>
    </p:custDataLst>
    <p:extLst>
      <p:ext uri="{BB962C8B-B14F-4D97-AF65-F5344CB8AC3E}">
        <p14:creationId xmlns:p14="http://schemas.microsoft.com/office/powerpoint/2010/main" val="198945687"/>
      </p:ext>
    </p:extLst>
  </p:cSld>
  <p:clrMapOvr>
    <a:masterClrMapping/>
  </p:clrMapOvr>
  <p:transition>
    <p:fade/>
  </p:transition>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标题 88"/>
          <p:cNvSpPr>
            <a:spLocks noGrp="1"/>
          </p:cNvSpPr>
          <p:nvPr>
            <p:ph type="title" idx="4294967295"/>
          </p:nvPr>
        </p:nvSpPr>
        <p:spPr>
          <a:xfrm>
            <a:off x="0" y="403225"/>
            <a:ext cx="11252200" cy="333375"/>
          </a:xfrm>
        </p:spPr>
        <p:txBody>
          <a:bodyPr/>
          <a:lstStyle/>
          <a:p>
            <a:r>
              <a:rPr lang="en-US" dirty="0"/>
              <a:t>Brainstorm Project Phases</a:t>
            </a:r>
          </a:p>
        </p:txBody>
      </p:sp>
      <p:grpSp>
        <p:nvGrpSpPr>
          <p:cNvPr id="92" name="Group 3"/>
          <p:cNvGrpSpPr/>
          <p:nvPr/>
        </p:nvGrpSpPr>
        <p:grpSpPr>
          <a:xfrm>
            <a:off x="708422" y="2201935"/>
            <a:ext cx="765741" cy="3347147"/>
            <a:chOff x="2806117" y="639735"/>
            <a:chExt cx="996636" cy="4356419"/>
          </a:xfrm>
          <a:solidFill>
            <a:srgbClr val="046A38"/>
          </a:solidFill>
        </p:grpSpPr>
        <p:sp>
          <p:nvSpPr>
            <p:cNvPr id="93" name="Teardrop 6"/>
            <p:cNvSpPr/>
            <p:nvPr/>
          </p:nvSpPr>
          <p:spPr>
            <a:xfrm rot="8081975">
              <a:off x="3196961" y="639735"/>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4" name="Straight Connector 8"/>
            <p:cNvCxnSpPr/>
            <p:nvPr/>
          </p:nvCxnSpPr>
          <p:spPr>
            <a:xfrm>
              <a:off x="3304434" y="875034"/>
              <a:ext cx="0" cy="3055974"/>
            </a:xfrm>
            <a:prstGeom prst="line">
              <a:avLst/>
            </a:prstGeom>
            <a:grpFill/>
            <a:ln w="47625">
              <a:solidFill>
                <a:srgbClr val="046A38"/>
              </a:solidFill>
            </a:ln>
          </p:spPr>
          <p:style>
            <a:lnRef idx="1">
              <a:schemeClr val="accent1"/>
            </a:lnRef>
            <a:fillRef idx="0">
              <a:schemeClr val="accent1"/>
            </a:fillRef>
            <a:effectRef idx="0">
              <a:schemeClr val="accent1"/>
            </a:effectRef>
            <a:fontRef idx="minor">
              <a:schemeClr val="tx1"/>
            </a:fontRef>
          </p:style>
        </p:cxnSp>
        <p:sp>
          <p:nvSpPr>
            <p:cNvPr id="95" name="Teardrop 10"/>
            <p:cNvSpPr/>
            <p:nvPr/>
          </p:nvSpPr>
          <p:spPr>
            <a:xfrm rot="19020000">
              <a:off x="2806117" y="3999518"/>
              <a:ext cx="996636" cy="996636"/>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6" name="Chevron 11"/>
          <p:cNvSpPr/>
          <p:nvPr/>
        </p:nvSpPr>
        <p:spPr>
          <a:xfrm>
            <a:off x="476511" y="1704729"/>
            <a:ext cx="1325982" cy="411117"/>
          </a:xfrm>
          <a:prstGeom prst="chevron">
            <a:avLst>
              <a:gd name="adj" fmla="val 24968"/>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FFFFFF"/>
                </a:solidFill>
              </a:rPr>
              <a:t>Lorem ipsum </a:t>
            </a:r>
          </a:p>
        </p:txBody>
      </p:sp>
      <p:sp>
        <p:nvSpPr>
          <p:cNvPr id="97" name="Chevron 11"/>
          <p:cNvSpPr/>
          <p:nvPr/>
        </p:nvSpPr>
        <p:spPr>
          <a:xfrm>
            <a:off x="1890175" y="1704729"/>
            <a:ext cx="1325982" cy="411117"/>
          </a:xfrm>
          <a:prstGeom prst="chevron">
            <a:avLst>
              <a:gd name="adj" fmla="val 24968"/>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FFFFFF"/>
                </a:solidFill>
              </a:rPr>
              <a:t>Lorem ipsum </a:t>
            </a:r>
          </a:p>
        </p:txBody>
      </p:sp>
      <p:sp>
        <p:nvSpPr>
          <p:cNvPr id="98" name="Chevron 11"/>
          <p:cNvSpPr/>
          <p:nvPr/>
        </p:nvSpPr>
        <p:spPr>
          <a:xfrm>
            <a:off x="3303840" y="1704729"/>
            <a:ext cx="1325982" cy="411117"/>
          </a:xfrm>
          <a:prstGeom prst="chevron">
            <a:avLst>
              <a:gd name="adj" fmla="val 24968"/>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99" name="Chevron 11"/>
          <p:cNvSpPr/>
          <p:nvPr/>
        </p:nvSpPr>
        <p:spPr>
          <a:xfrm>
            <a:off x="4717504" y="1704729"/>
            <a:ext cx="1325982" cy="411117"/>
          </a:xfrm>
          <a:prstGeom prst="chevron">
            <a:avLst>
              <a:gd name="adj" fmla="val 2496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100" name="Chevron 11"/>
          <p:cNvSpPr/>
          <p:nvPr/>
        </p:nvSpPr>
        <p:spPr>
          <a:xfrm>
            <a:off x="6131169" y="1704729"/>
            <a:ext cx="1325982" cy="411117"/>
          </a:xfrm>
          <a:prstGeom prst="chevron">
            <a:avLst>
              <a:gd name="adj" fmla="val 24968"/>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101" name="Chevron 11"/>
          <p:cNvSpPr/>
          <p:nvPr/>
        </p:nvSpPr>
        <p:spPr>
          <a:xfrm>
            <a:off x="7544833" y="1704729"/>
            <a:ext cx="1325982" cy="411117"/>
          </a:xfrm>
          <a:prstGeom prst="chevron">
            <a:avLst>
              <a:gd name="adj" fmla="val 24968"/>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102" name="Chevron 11"/>
          <p:cNvSpPr/>
          <p:nvPr/>
        </p:nvSpPr>
        <p:spPr>
          <a:xfrm>
            <a:off x="8958498" y="1704729"/>
            <a:ext cx="1325982" cy="411117"/>
          </a:xfrm>
          <a:prstGeom prst="chevron">
            <a:avLst>
              <a:gd name="adj" fmla="val 24968"/>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103" name="Chevron 11"/>
          <p:cNvSpPr/>
          <p:nvPr/>
        </p:nvSpPr>
        <p:spPr>
          <a:xfrm>
            <a:off x="10372164" y="1704729"/>
            <a:ext cx="1325982" cy="411117"/>
          </a:xfrm>
          <a:prstGeom prst="chevron">
            <a:avLst>
              <a:gd name="adj" fmla="val 24968"/>
            </a:avLst>
          </a:pr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104" name="Freeform 26"/>
          <p:cNvSpPr>
            <a:spLocks noChangeAspect="1" noEditPoints="1"/>
          </p:cNvSpPr>
          <p:nvPr/>
        </p:nvSpPr>
        <p:spPr bwMode="auto">
          <a:xfrm>
            <a:off x="872180" y="4931175"/>
            <a:ext cx="451363" cy="451363"/>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05" name="椭圆 104"/>
          <p:cNvSpPr/>
          <p:nvPr/>
        </p:nvSpPr>
        <p:spPr bwMode="gray">
          <a:xfrm>
            <a:off x="795650" y="4854645"/>
            <a:ext cx="604422" cy="604422"/>
          </a:xfrm>
          <a:prstGeom prst="ellipse">
            <a:avLst/>
          </a:prstGeom>
          <a:noFill/>
          <a:ln w="127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06" name="组合 105"/>
          <p:cNvGrpSpPr/>
          <p:nvPr/>
        </p:nvGrpSpPr>
        <p:grpSpPr>
          <a:xfrm>
            <a:off x="9192205" y="2201935"/>
            <a:ext cx="765741" cy="3347147"/>
            <a:chOff x="7483090" y="2111919"/>
            <a:chExt cx="623689" cy="2726221"/>
          </a:xfrm>
        </p:grpSpPr>
        <p:grpSp>
          <p:nvGrpSpPr>
            <p:cNvPr id="107" name="Group 3"/>
            <p:cNvGrpSpPr/>
            <p:nvPr/>
          </p:nvGrpSpPr>
          <p:grpSpPr>
            <a:xfrm>
              <a:off x="7483090" y="2111919"/>
              <a:ext cx="623689" cy="2726221"/>
              <a:chOff x="2806117" y="639735"/>
              <a:chExt cx="996636" cy="4356419"/>
            </a:xfrm>
            <a:solidFill>
              <a:srgbClr val="005587"/>
            </a:solidFill>
          </p:grpSpPr>
          <p:sp>
            <p:nvSpPr>
              <p:cNvPr id="110" name="Teardrop 6"/>
              <p:cNvSpPr/>
              <p:nvPr/>
            </p:nvSpPr>
            <p:spPr>
              <a:xfrm rot="8081975">
                <a:off x="3196961" y="639735"/>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Connector 8"/>
              <p:cNvCxnSpPr/>
              <p:nvPr/>
            </p:nvCxnSpPr>
            <p:spPr>
              <a:xfrm>
                <a:off x="3304434" y="875034"/>
                <a:ext cx="0" cy="3055974"/>
              </a:xfrm>
              <a:prstGeom prst="line">
                <a:avLst/>
              </a:prstGeom>
              <a:grpFill/>
              <a:ln w="47625">
                <a:solidFill>
                  <a:srgbClr val="005587"/>
                </a:solidFill>
              </a:ln>
            </p:spPr>
            <p:style>
              <a:lnRef idx="1">
                <a:schemeClr val="accent1"/>
              </a:lnRef>
              <a:fillRef idx="0">
                <a:schemeClr val="accent1"/>
              </a:fillRef>
              <a:effectRef idx="0">
                <a:schemeClr val="accent1"/>
              </a:effectRef>
              <a:fontRef idx="minor">
                <a:schemeClr val="tx1"/>
              </a:fontRef>
            </p:style>
          </p:cxnSp>
          <p:sp>
            <p:nvSpPr>
              <p:cNvPr id="112" name="Teardrop 10"/>
              <p:cNvSpPr/>
              <p:nvPr/>
            </p:nvSpPr>
            <p:spPr>
              <a:xfrm rot="19020000">
                <a:off x="2806117" y="3999518"/>
                <a:ext cx="996636" cy="996636"/>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8" name="Freeform 96"/>
            <p:cNvSpPr>
              <a:spLocks noChangeAspect="1" noEditPoints="1"/>
            </p:cNvSpPr>
            <p:nvPr/>
          </p:nvSpPr>
          <p:spPr bwMode="auto">
            <a:xfrm>
              <a:off x="7611413" y="4340685"/>
              <a:ext cx="367041" cy="367041"/>
            </a:xfrm>
            <a:custGeom>
              <a:avLst/>
              <a:gdLst>
                <a:gd name="T0" fmla="*/ 340 w 512"/>
                <a:gd name="T1" fmla="*/ 232 h 512"/>
                <a:gd name="T2" fmla="*/ 258 w 512"/>
                <a:gd name="T3" fmla="*/ 315 h 512"/>
                <a:gd name="T4" fmla="*/ 175 w 512"/>
                <a:gd name="T5" fmla="*/ 232 h 512"/>
                <a:gd name="T6" fmla="*/ 258 w 512"/>
                <a:gd name="T7" fmla="*/ 150 h 512"/>
                <a:gd name="T8" fmla="*/ 340 w 512"/>
                <a:gd name="T9" fmla="*/ 23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55 w 512"/>
                <a:gd name="T21" fmla="*/ 320 h 512"/>
                <a:gd name="T22" fmla="*/ 340 w 512"/>
                <a:gd name="T23" fmla="*/ 319 h 512"/>
                <a:gd name="T24" fmla="*/ 258 w 512"/>
                <a:gd name="T25" fmla="*/ 352 h 512"/>
                <a:gd name="T26" fmla="*/ 138 w 512"/>
                <a:gd name="T27" fmla="*/ 232 h 512"/>
                <a:gd name="T28" fmla="*/ 171 w 512"/>
                <a:gd name="T29" fmla="*/ 150 h 512"/>
                <a:gd name="T30" fmla="*/ 170 w 512"/>
                <a:gd name="T31" fmla="*/ 135 h 512"/>
                <a:gd name="T32" fmla="*/ 155 w 512"/>
                <a:gd name="T33" fmla="*/ 136 h 512"/>
                <a:gd name="T34" fmla="*/ 117 w 512"/>
                <a:gd name="T35" fmla="*/ 232 h 512"/>
                <a:gd name="T36" fmla="*/ 245 w 512"/>
                <a:gd name="T37" fmla="*/ 372 h 512"/>
                <a:gd name="T38" fmla="*/ 245 w 512"/>
                <a:gd name="T39" fmla="*/ 394 h 512"/>
                <a:gd name="T40" fmla="*/ 192 w 512"/>
                <a:gd name="T41" fmla="*/ 394 h 512"/>
                <a:gd name="T42" fmla="*/ 181 w 512"/>
                <a:gd name="T43" fmla="*/ 405 h 512"/>
                <a:gd name="T44" fmla="*/ 192 w 512"/>
                <a:gd name="T45" fmla="*/ 416 h 512"/>
                <a:gd name="T46" fmla="*/ 320 w 512"/>
                <a:gd name="T47" fmla="*/ 416 h 512"/>
                <a:gd name="T48" fmla="*/ 330 w 512"/>
                <a:gd name="T49" fmla="*/ 405 h 512"/>
                <a:gd name="T50" fmla="*/ 320 w 512"/>
                <a:gd name="T51" fmla="*/ 394 h 512"/>
                <a:gd name="T52" fmla="*/ 266 w 512"/>
                <a:gd name="T53" fmla="*/ 394 h 512"/>
                <a:gd name="T54" fmla="*/ 266 w 512"/>
                <a:gd name="T55" fmla="*/ 373 h 512"/>
                <a:gd name="T56" fmla="*/ 354 w 512"/>
                <a:gd name="T57" fmla="*/ 335 h 512"/>
                <a:gd name="T58" fmla="*/ 355 w 512"/>
                <a:gd name="T59" fmla="*/ 320 h 512"/>
                <a:gd name="T60" fmla="*/ 362 w 512"/>
                <a:gd name="T61" fmla="*/ 232 h 512"/>
                <a:gd name="T62" fmla="*/ 258 w 512"/>
                <a:gd name="T63" fmla="*/ 128 h 512"/>
                <a:gd name="T64" fmla="*/ 154 w 512"/>
                <a:gd name="T65" fmla="*/ 232 h 512"/>
                <a:gd name="T66" fmla="*/ 258 w 512"/>
                <a:gd name="T67" fmla="*/ 336 h 512"/>
                <a:gd name="T68" fmla="*/ 362 w 512"/>
                <a:gd name="T69" fmla="*/ 2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40" y="232"/>
                  </a:moveTo>
                  <a:cubicBezTo>
                    <a:pt x="340" y="278"/>
                    <a:pt x="303" y="315"/>
                    <a:pt x="258" y="315"/>
                  </a:cubicBezTo>
                  <a:cubicBezTo>
                    <a:pt x="212" y="315"/>
                    <a:pt x="175" y="278"/>
                    <a:pt x="175" y="232"/>
                  </a:cubicBezTo>
                  <a:cubicBezTo>
                    <a:pt x="175" y="187"/>
                    <a:pt x="212" y="150"/>
                    <a:pt x="258" y="150"/>
                  </a:cubicBezTo>
                  <a:cubicBezTo>
                    <a:pt x="303" y="150"/>
                    <a:pt x="340" y="187"/>
                    <a:pt x="340" y="23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5" y="320"/>
                  </a:moveTo>
                  <a:cubicBezTo>
                    <a:pt x="351" y="315"/>
                    <a:pt x="344" y="315"/>
                    <a:pt x="340" y="319"/>
                  </a:cubicBezTo>
                  <a:cubicBezTo>
                    <a:pt x="317" y="340"/>
                    <a:pt x="288" y="352"/>
                    <a:pt x="258" y="352"/>
                  </a:cubicBezTo>
                  <a:cubicBezTo>
                    <a:pt x="192" y="352"/>
                    <a:pt x="138" y="298"/>
                    <a:pt x="138" y="232"/>
                  </a:cubicBezTo>
                  <a:cubicBezTo>
                    <a:pt x="138" y="202"/>
                    <a:pt x="150" y="173"/>
                    <a:pt x="171" y="150"/>
                  </a:cubicBezTo>
                  <a:cubicBezTo>
                    <a:pt x="175" y="146"/>
                    <a:pt x="175" y="139"/>
                    <a:pt x="170" y="135"/>
                  </a:cubicBezTo>
                  <a:cubicBezTo>
                    <a:pt x="166" y="131"/>
                    <a:pt x="159" y="132"/>
                    <a:pt x="155" y="136"/>
                  </a:cubicBezTo>
                  <a:cubicBezTo>
                    <a:pt x="131" y="162"/>
                    <a:pt x="117" y="196"/>
                    <a:pt x="117" y="232"/>
                  </a:cubicBezTo>
                  <a:cubicBezTo>
                    <a:pt x="117" y="306"/>
                    <a:pt x="173" y="366"/>
                    <a:pt x="245" y="372"/>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373"/>
                    <a:pt x="266" y="373"/>
                    <a:pt x="266" y="373"/>
                  </a:cubicBezTo>
                  <a:cubicBezTo>
                    <a:pt x="299" y="371"/>
                    <a:pt x="330" y="357"/>
                    <a:pt x="354" y="335"/>
                  </a:cubicBezTo>
                  <a:cubicBezTo>
                    <a:pt x="358" y="331"/>
                    <a:pt x="359" y="324"/>
                    <a:pt x="355" y="320"/>
                  </a:cubicBezTo>
                  <a:close/>
                  <a:moveTo>
                    <a:pt x="362" y="232"/>
                  </a:moveTo>
                  <a:cubicBezTo>
                    <a:pt x="362" y="175"/>
                    <a:pt x="315" y="128"/>
                    <a:pt x="258" y="128"/>
                  </a:cubicBezTo>
                  <a:cubicBezTo>
                    <a:pt x="200" y="128"/>
                    <a:pt x="154" y="175"/>
                    <a:pt x="154" y="232"/>
                  </a:cubicBezTo>
                  <a:cubicBezTo>
                    <a:pt x="154" y="290"/>
                    <a:pt x="200" y="336"/>
                    <a:pt x="258" y="336"/>
                  </a:cubicBezTo>
                  <a:cubicBezTo>
                    <a:pt x="315" y="336"/>
                    <a:pt x="362" y="290"/>
                    <a:pt x="362" y="232"/>
                  </a:cubicBezTo>
                  <a:close/>
                </a:path>
              </a:pathLst>
            </a:custGeom>
            <a:solidFill>
              <a:srgbClr val="62B5E5"/>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09" name="椭圆 108"/>
            <p:cNvSpPr/>
            <p:nvPr/>
          </p:nvSpPr>
          <p:spPr bwMode="gray">
            <a:xfrm>
              <a:off x="7548785" y="4280147"/>
              <a:ext cx="492296" cy="492296"/>
            </a:xfrm>
            <a:prstGeom prst="ellipse">
              <a:avLst/>
            </a:prstGeom>
            <a:noFill/>
            <a:ln w="12700" algn="ctr">
              <a:solidFill>
                <a:srgbClr val="62B5E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13" name="组合 112"/>
          <p:cNvGrpSpPr/>
          <p:nvPr/>
        </p:nvGrpSpPr>
        <p:grpSpPr>
          <a:xfrm>
            <a:off x="7777377" y="2201935"/>
            <a:ext cx="765741" cy="1939945"/>
            <a:chOff x="6331570" y="2111919"/>
            <a:chExt cx="623689" cy="1580068"/>
          </a:xfrm>
        </p:grpSpPr>
        <p:grpSp>
          <p:nvGrpSpPr>
            <p:cNvPr id="114" name="Group 53"/>
            <p:cNvGrpSpPr/>
            <p:nvPr/>
          </p:nvGrpSpPr>
          <p:grpSpPr>
            <a:xfrm>
              <a:off x="6331570" y="2111919"/>
              <a:ext cx="623689" cy="1580068"/>
              <a:chOff x="10298904" y="639735"/>
              <a:chExt cx="996636" cy="2524902"/>
            </a:xfrm>
            <a:solidFill>
              <a:srgbClr val="00A3E0"/>
            </a:solidFill>
          </p:grpSpPr>
          <p:sp>
            <p:nvSpPr>
              <p:cNvPr id="118" name="Teardrop 27"/>
              <p:cNvSpPr/>
              <p:nvPr/>
            </p:nvSpPr>
            <p:spPr>
              <a:xfrm rot="8081975">
                <a:off x="10689748" y="639735"/>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9" name="Straight Connector 28"/>
              <p:cNvCxnSpPr/>
              <p:nvPr/>
            </p:nvCxnSpPr>
            <p:spPr>
              <a:xfrm>
                <a:off x="10797221" y="875035"/>
                <a:ext cx="0" cy="1249980"/>
              </a:xfrm>
              <a:prstGeom prst="line">
                <a:avLst/>
              </a:prstGeom>
              <a:grpFill/>
              <a:ln w="47625">
                <a:solidFill>
                  <a:srgbClr val="00A3E0"/>
                </a:solidFill>
              </a:ln>
            </p:spPr>
            <p:style>
              <a:lnRef idx="1">
                <a:schemeClr val="accent1"/>
              </a:lnRef>
              <a:fillRef idx="0">
                <a:schemeClr val="accent1"/>
              </a:fillRef>
              <a:effectRef idx="0">
                <a:schemeClr val="accent1"/>
              </a:effectRef>
              <a:fontRef idx="minor">
                <a:schemeClr val="tx1"/>
              </a:fontRef>
            </p:style>
          </p:cxnSp>
          <p:sp>
            <p:nvSpPr>
              <p:cNvPr id="120" name="Teardrop 29"/>
              <p:cNvSpPr/>
              <p:nvPr/>
            </p:nvSpPr>
            <p:spPr>
              <a:xfrm rot="19020000">
                <a:off x="10298904" y="2168000"/>
                <a:ext cx="996636" cy="996637"/>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组合 114"/>
            <p:cNvGrpSpPr/>
            <p:nvPr/>
          </p:nvGrpSpPr>
          <p:grpSpPr>
            <a:xfrm>
              <a:off x="6397266" y="3135484"/>
              <a:ext cx="492296" cy="492296"/>
              <a:chOff x="6397266" y="3135484"/>
              <a:chExt cx="492296" cy="492296"/>
            </a:xfrm>
          </p:grpSpPr>
          <p:sp>
            <p:nvSpPr>
              <p:cNvPr id="116" name="Freeform 974"/>
              <p:cNvSpPr>
                <a:spLocks noChangeAspect="1" noEditPoints="1"/>
              </p:cNvSpPr>
              <p:nvPr/>
            </p:nvSpPr>
            <p:spPr bwMode="auto">
              <a:xfrm>
                <a:off x="6459894" y="3196321"/>
                <a:ext cx="367041" cy="367041"/>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rgbClr val="A0DCFF"/>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17" name="椭圆 116"/>
              <p:cNvSpPr/>
              <p:nvPr/>
            </p:nvSpPr>
            <p:spPr bwMode="gray">
              <a:xfrm>
                <a:off x="6397266" y="3135484"/>
                <a:ext cx="492296" cy="492296"/>
              </a:xfrm>
              <a:prstGeom prst="ellipse">
                <a:avLst/>
              </a:prstGeom>
              <a:noFill/>
              <a:ln w="12700" algn="ctr">
                <a:solidFill>
                  <a:srgbClr val="A0DC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21" name="组合 120"/>
          <p:cNvGrpSpPr/>
          <p:nvPr/>
        </p:nvGrpSpPr>
        <p:grpSpPr>
          <a:xfrm>
            <a:off x="10604961" y="2201935"/>
            <a:ext cx="765741" cy="2803088"/>
            <a:chOff x="8634611" y="2111919"/>
            <a:chExt cx="623689" cy="2283090"/>
          </a:xfrm>
        </p:grpSpPr>
        <p:grpSp>
          <p:nvGrpSpPr>
            <p:cNvPr id="122" name="Group 7"/>
            <p:cNvGrpSpPr/>
            <p:nvPr/>
          </p:nvGrpSpPr>
          <p:grpSpPr>
            <a:xfrm>
              <a:off x="8634611" y="2111919"/>
              <a:ext cx="623689" cy="2283090"/>
              <a:chOff x="4663114" y="639734"/>
              <a:chExt cx="996636" cy="3648309"/>
            </a:xfrm>
            <a:solidFill>
              <a:srgbClr val="012169"/>
            </a:solidFill>
          </p:grpSpPr>
          <p:sp>
            <p:nvSpPr>
              <p:cNvPr id="125" name="Teardrop 15"/>
              <p:cNvSpPr/>
              <p:nvPr/>
            </p:nvSpPr>
            <p:spPr>
              <a:xfrm rot="8081975">
                <a:off x="5053958" y="639734"/>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Connector 16"/>
              <p:cNvCxnSpPr/>
              <p:nvPr/>
            </p:nvCxnSpPr>
            <p:spPr>
              <a:xfrm>
                <a:off x="5161431" y="875033"/>
                <a:ext cx="0" cy="2757088"/>
              </a:xfrm>
              <a:prstGeom prst="line">
                <a:avLst/>
              </a:prstGeom>
              <a:grpFill/>
              <a:ln w="47625">
                <a:solidFill>
                  <a:srgbClr val="012169"/>
                </a:solidFill>
              </a:ln>
            </p:spPr>
            <p:style>
              <a:lnRef idx="1">
                <a:schemeClr val="accent1"/>
              </a:lnRef>
              <a:fillRef idx="0">
                <a:schemeClr val="accent1"/>
              </a:fillRef>
              <a:effectRef idx="0">
                <a:schemeClr val="accent1"/>
              </a:effectRef>
              <a:fontRef idx="minor">
                <a:schemeClr val="tx1"/>
              </a:fontRef>
            </p:style>
          </p:cxnSp>
          <p:sp>
            <p:nvSpPr>
              <p:cNvPr id="127" name="Teardrop 17"/>
              <p:cNvSpPr/>
              <p:nvPr/>
            </p:nvSpPr>
            <p:spPr>
              <a:xfrm rot="19020000">
                <a:off x="4663114" y="3291407"/>
                <a:ext cx="996636" cy="996636"/>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3" name="Freeform 723"/>
            <p:cNvSpPr>
              <a:spLocks noChangeAspect="1" noEditPoints="1"/>
            </p:cNvSpPr>
            <p:nvPr/>
          </p:nvSpPr>
          <p:spPr bwMode="auto">
            <a:xfrm>
              <a:off x="8762463" y="3900329"/>
              <a:ext cx="367982" cy="367982"/>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24" name="椭圆 123"/>
            <p:cNvSpPr/>
            <p:nvPr/>
          </p:nvSpPr>
          <p:spPr bwMode="gray">
            <a:xfrm>
              <a:off x="8700304" y="3838172"/>
              <a:ext cx="492296" cy="492296"/>
            </a:xfrm>
            <a:prstGeom prst="ellipse">
              <a:avLst/>
            </a:prstGeom>
            <a:noFill/>
            <a:ln w="1270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28" name="组合 127"/>
          <p:cNvGrpSpPr/>
          <p:nvPr/>
        </p:nvGrpSpPr>
        <p:grpSpPr>
          <a:xfrm>
            <a:off x="2122213" y="2201935"/>
            <a:ext cx="765741" cy="2803088"/>
            <a:chOff x="1725490" y="2111919"/>
            <a:chExt cx="623689" cy="2283090"/>
          </a:xfrm>
        </p:grpSpPr>
        <p:grpSp>
          <p:nvGrpSpPr>
            <p:cNvPr id="129" name="Group 7"/>
            <p:cNvGrpSpPr/>
            <p:nvPr/>
          </p:nvGrpSpPr>
          <p:grpSpPr>
            <a:xfrm>
              <a:off x="1725490" y="2111919"/>
              <a:ext cx="623689" cy="2283090"/>
              <a:chOff x="4663114" y="639734"/>
              <a:chExt cx="996636" cy="3648309"/>
            </a:xfrm>
            <a:solidFill>
              <a:srgbClr val="009A44"/>
            </a:solidFill>
          </p:grpSpPr>
          <p:sp>
            <p:nvSpPr>
              <p:cNvPr id="133" name="Teardrop 15"/>
              <p:cNvSpPr/>
              <p:nvPr/>
            </p:nvSpPr>
            <p:spPr>
              <a:xfrm rot="8081975">
                <a:off x="5053958" y="639734"/>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4" name="Straight Connector 16"/>
              <p:cNvCxnSpPr/>
              <p:nvPr/>
            </p:nvCxnSpPr>
            <p:spPr>
              <a:xfrm>
                <a:off x="5161431" y="875033"/>
                <a:ext cx="0" cy="2757088"/>
              </a:xfrm>
              <a:prstGeom prst="line">
                <a:avLst/>
              </a:prstGeom>
              <a:grpFill/>
              <a:ln w="47625">
                <a:solidFill>
                  <a:srgbClr val="009A44"/>
                </a:solidFill>
              </a:ln>
            </p:spPr>
            <p:style>
              <a:lnRef idx="1">
                <a:schemeClr val="accent1"/>
              </a:lnRef>
              <a:fillRef idx="0">
                <a:schemeClr val="accent1"/>
              </a:fillRef>
              <a:effectRef idx="0">
                <a:schemeClr val="accent1"/>
              </a:effectRef>
              <a:fontRef idx="minor">
                <a:schemeClr val="tx1"/>
              </a:fontRef>
            </p:style>
          </p:cxnSp>
          <p:sp>
            <p:nvSpPr>
              <p:cNvPr id="135" name="Teardrop 17"/>
              <p:cNvSpPr/>
              <p:nvPr/>
            </p:nvSpPr>
            <p:spPr>
              <a:xfrm rot="19020000">
                <a:off x="4663114" y="3291407"/>
                <a:ext cx="996636" cy="996636"/>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0" name="组合 129"/>
            <p:cNvGrpSpPr/>
            <p:nvPr/>
          </p:nvGrpSpPr>
          <p:grpSpPr>
            <a:xfrm>
              <a:off x="1791186" y="3838172"/>
              <a:ext cx="492296" cy="492296"/>
              <a:chOff x="3077703" y="5370754"/>
              <a:chExt cx="492296" cy="492296"/>
            </a:xfrm>
          </p:grpSpPr>
          <p:sp>
            <p:nvSpPr>
              <p:cNvPr id="131" name="Freeform 346"/>
              <p:cNvSpPr>
                <a:spLocks noChangeAspect="1" noEditPoints="1"/>
              </p:cNvSpPr>
              <p:nvPr/>
            </p:nvSpPr>
            <p:spPr bwMode="auto">
              <a:xfrm>
                <a:off x="3140036" y="5433087"/>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32" name="椭圆 131"/>
              <p:cNvSpPr/>
              <p:nvPr/>
            </p:nvSpPr>
            <p:spPr bwMode="gray">
              <a:xfrm>
                <a:off x="3077703" y="5370754"/>
                <a:ext cx="492296" cy="492296"/>
              </a:xfrm>
              <a:prstGeom prst="ellipse">
                <a:avLst/>
              </a:prstGeom>
              <a:noFill/>
              <a:ln w="127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36" name="组合 135"/>
          <p:cNvGrpSpPr/>
          <p:nvPr/>
        </p:nvGrpSpPr>
        <p:grpSpPr>
          <a:xfrm>
            <a:off x="6363586" y="2201935"/>
            <a:ext cx="765741" cy="3422556"/>
            <a:chOff x="5180050" y="2111919"/>
            <a:chExt cx="623689" cy="2787641"/>
          </a:xfrm>
        </p:grpSpPr>
        <p:grpSp>
          <p:nvGrpSpPr>
            <p:cNvPr id="137" name="组合 136"/>
            <p:cNvGrpSpPr/>
            <p:nvPr/>
          </p:nvGrpSpPr>
          <p:grpSpPr>
            <a:xfrm>
              <a:off x="5180050" y="2111919"/>
              <a:ext cx="623689" cy="2787641"/>
              <a:chOff x="5180050" y="2111919"/>
              <a:chExt cx="623689" cy="2787641"/>
            </a:xfrm>
          </p:grpSpPr>
          <p:grpSp>
            <p:nvGrpSpPr>
              <p:cNvPr id="139" name="Group 52"/>
              <p:cNvGrpSpPr/>
              <p:nvPr/>
            </p:nvGrpSpPr>
            <p:grpSpPr>
              <a:xfrm>
                <a:off x="5180050" y="2111919"/>
                <a:ext cx="623689" cy="2787641"/>
                <a:chOff x="8693675" y="639734"/>
                <a:chExt cx="996636" cy="4454567"/>
              </a:xfrm>
              <a:solidFill>
                <a:srgbClr val="00ABAB"/>
              </a:solidFill>
            </p:grpSpPr>
            <p:sp>
              <p:nvSpPr>
                <p:cNvPr id="141" name="Teardrop 23"/>
                <p:cNvSpPr/>
                <p:nvPr/>
              </p:nvSpPr>
              <p:spPr>
                <a:xfrm rot="8081975">
                  <a:off x="9084519" y="639734"/>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2" name="Straight Connector 24"/>
                <p:cNvCxnSpPr/>
                <p:nvPr/>
              </p:nvCxnSpPr>
              <p:spPr>
                <a:xfrm>
                  <a:off x="9191992" y="875034"/>
                  <a:ext cx="0" cy="3426511"/>
                </a:xfrm>
                <a:prstGeom prst="line">
                  <a:avLst/>
                </a:prstGeom>
                <a:grpFill/>
                <a:ln w="47625">
                  <a:solidFill>
                    <a:srgbClr val="00ABAB"/>
                  </a:solidFill>
                </a:ln>
              </p:spPr>
              <p:style>
                <a:lnRef idx="1">
                  <a:schemeClr val="accent1"/>
                </a:lnRef>
                <a:fillRef idx="0">
                  <a:schemeClr val="accent1"/>
                </a:fillRef>
                <a:effectRef idx="0">
                  <a:schemeClr val="accent1"/>
                </a:effectRef>
                <a:fontRef idx="minor">
                  <a:schemeClr val="tx1"/>
                </a:fontRef>
              </p:style>
            </p:cxnSp>
            <p:sp>
              <p:nvSpPr>
                <p:cNvPr id="143" name="Teardrop 25"/>
                <p:cNvSpPr/>
                <p:nvPr/>
              </p:nvSpPr>
              <p:spPr>
                <a:xfrm rot="19020000">
                  <a:off x="8693675" y="4097665"/>
                  <a:ext cx="996636" cy="996636"/>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0" name="椭圆 139"/>
              <p:cNvSpPr/>
              <p:nvPr/>
            </p:nvSpPr>
            <p:spPr bwMode="gray">
              <a:xfrm>
                <a:off x="5245745" y="4338088"/>
                <a:ext cx="492296" cy="492296"/>
              </a:xfrm>
              <a:prstGeom prst="ellipse">
                <a:avLst/>
              </a:prstGeom>
              <a:noFill/>
              <a:ln w="12700" algn="ctr">
                <a:solidFill>
                  <a:srgbClr val="9DD4C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38" name="Freeform 768"/>
            <p:cNvSpPr>
              <a:spLocks noChangeAspect="1" noEditPoints="1"/>
            </p:cNvSpPr>
            <p:nvPr/>
          </p:nvSpPr>
          <p:spPr bwMode="auto">
            <a:xfrm>
              <a:off x="5308374" y="4402664"/>
              <a:ext cx="367041" cy="367041"/>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grpSp>
        <p:nvGrpSpPr>
          <p:cNvPr id="144" name="组合 143"/>
          <p:cNvGrpSpPr/>
          <p:nvPr/>
        </p:nvGrpSpPr>
        <p:grpSpPr>
          <a:xfrm>
            <a:off x="3536004" y="2201935"/>
            <a:ext cx="765741" cy="1939945"/>
            <a:chOff x="2877010" y="2111919"/>
            <a:chExt cx="623689" cy="1580068"/>
          </a:xfrm>
        </p:grpSpPr>
        <p:grpSp>
          <p:nvGrpSpPr>
            <p:cNvPr id="145" name="Group 9"/>
            <p:cNvGrpSpPr/>
            <p:nvPr/>
          </p:nvGrpSpPr>
          <p:grpSpPr>
            <a:xfrm>
              <a:off x="2877010" y="2111919"/>
              <a:ext cx="623689" cy="1580068"/>
              <a:chOff x="5407649" y="639735"/>
              <a:chExt cx="996636" cy="2524902"/>
            </a:xfrm>
            <a:solidFill>
              <a:srgbClr val="43B02A"/>
            </a:solidFill>
          </p:grpSpPr>
          <p:sp>
            <p:nvSpPr>
              <p:cNvPr id="149" name="Teardrop 11"/>
              <p:cNvSpPr/>
              <p:nvPr/>
            </p:nvSpPr>
            <p:spPr>
              <a:xfrm rot="8081975">
                <a:off x="5798493" y="639735"/>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0" name="Straight Connector 12"/>
              <p:cNvCxnSpPr/>
              <p:nvPr/>
            </p:nvCxnSpPr>
            <p:spPr>
              <a:xfrm>
                <a:off x="5905966" y="875035"/>
                <a:ext cx="0" cy="1249980"/>
              </a:xfrm>
              <a:prstGeom prst="line">
                <a:avLst/>
              </a:prstGeom>
              <a:grpFill/>
              <a:ln w="47625">
                <a:solidFill>
                  <a:srgbClr val="43B02A"/>
                </a:solidFill>
              </a:ln>
            </p:spPr>
            <p:style>
              <a:lnRef idx="1">
                <a:schemeClr val="accent1"/>
              </a:lnRef>
              <a:fillRef idx="0">
                <a:schemeClr val="accent1"/>
              </a:fillRef>
              <a:effectRef idx="0">
                <a:schemeClr val="accent1"/>
              </a:effectRef>
              <a:fontRef idx="minor">
                <a:schemeClr val="tx1"/>
              </a:fontRef>
            </p:style>
          </p:cxnSp>
          <p:sp>
            <p:nvSpPr>
              <p:cNvPr id="151" name="Teardrop 13"/>
              <p:cNvSpPr/>
              <p:nvPr/>
            </p:nvSpPr>
            <p:spPr>
              <a:xfrm rot="19020000">
                <a:off x="5407649" y="2168000"/>
                <a:ext cx="996636" cy="996637"/>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6" name="组合 145"/>
            <p:cNvGrpSpPr/>
            <p:nvPr/>
          </p:nvGrpSpPr>
          <p:grpSpPr>
            <a:xfrm>
              <a:off x="2942706" y="3137092"/>
              <a:ext cx="492296" cy="492296"/>
              <a:chOff x="2890154" y="5270341"/>
              <a:chExt cx="492296" cy="492296"/>
            </a:xfrm>
          </p:grpSpPr>
          <p:sp>
            <p:nvSpPr>
              <p:cNvPr id="147" name="椭圆 146"/>
              <p:cNvSpPr/>
              <p:nvPr/>
            </p:nvSpPr>
            <p:spPr bwMode="gray">
              <a:xfrm>
                <a:off x="2890154" y="5270341"/>
                <a:ext cx="492296" cy="492296"/>
              </a:xfrm>
              <a:prstGeom prst="ellipse">
                <a:avLst/>
              </a:prstGeom>
              <a:noFill/>
              <a:ln w="1270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8" name="Freeform 469"/>
              <p:cNvSpPr>
                <a:spLocks noChangeAspect="1" noEditPoints="1"/>
              </p:cNvSpPr>
              <p:nvPr/>
            </p:nvSpPr>
            <p:spPr bwMode="auto">
              <a:xfrm>
                <a:off x="2951792" y="5331979"/>
                <a:ext cx="369021" cy="369021"/>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grpSp>
      <p:sp>
        <p:nvSpPr>
          <p:cNvPr id="160" name="Teardrop 19"/>
          <p:cNvSpPr/>
          <p:nvPr/>
        </p:nvSpPr>
        <p:spPr>
          <a:xfrm rot="8081975">
            <a:off x="5250091" y="2201935"/>
            <a:ext cx="165148" cy="165149"/>
          </a:xfrm>
          <a:prstGeom prst="teardrop">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1" name="Straight Connector 20"/>
          <p:cNvCxnSpPr/>
          <p:nvPr/>
        </p:nvCxnSpPr>
        <p:spPr>
          <a:xfrm>
            <a:off x="5332665" y="2382722"/>
            <a:ext cx="0" cy="3889359"/>
          </a:xfrm>
          <a:prstGeom prst="line">
            <a:avLst/>
          </a:prstGeom>
          <a:solidFill>
            <a:srgbClr val="86BC25"/>
          </a:solidFill>
          <a:ln w="47625">
            <a:solidFill>
              <a:srgbClr val="86BC25"/>
            </a:solidFill>
          </a:ln>
        </p:spPr>
        <p:style>
          <a:lnRef idx="1">
            <a:schemeClr val="accent1"/>
          </a:lnRef>
          <a:fillRef idx="0">
            <a:schemeClr val="accent1"/>
          </a:fillRef>
          <a:effectRef idx="0">
            <a:schemeClr val="accent1"/>
          </a:effectRef>
          <a:fontRef idx="minor">
            <a:schemeClr val="tx1"/>
          </a:fontRef>
        </p:style>
      </p:cxnSp>
      <p:sp>
        <p:nvSpPr>
          <p:cNvPr id="162" name="Teardrop 21"/>
          <p:cNvSpPr/>
          <p:nvPr/>
        </p:nvSpPr>
        <p:spPr>
          <a:xfrm rot="19020000">
            <a:off x="4949795" y="5526591"/>
            <a:ext cx="765741" cy="765740"/>
          </a:xfrm>
          <a:prstGeom prst="teardrop">
            <a:avLst>
              <a:gd name="adj" fmla="val 92503"/>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椭圆 158"/>
          <p:cNvSpPr/>
          <p:nvPr/>
        </p:nvSpPr>
        <p:spPr bwMode="gray">
          <a:xfrm>
            <a:off x="5030453" y="5608871"/>
            <a:ext cx="604422" cy="604422"/>
          </a:xfrm>
          <a:prstGeom prst="ellipse">
            <a:avLst/>
          </a:prstGeom>
          <a:noFill/>
          <a:ln w="12700"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54" name="Group 887"/>
          <p:cNvGrpSpPr>
            <a:grpSpLocks noChangeAspect="1"/>
          </p:cNvGrpSpPr>
          <p:nvPr/>
        </p:nvGrpSpPr>
        <p:grpSpPr bwMode="auto">
          <a:xfrm>
            <a:off x="5107346" y="5684140"/>
            <a:ext cx="450639" cy="450638"/>
            <a:chOff x="3302" y="3789"/>
            <a:chExt cx="340" cy="340"/>
          </a:xfrm>
          <a:solidFill>
            <a:srgbClr val="FFFFFF"/>
          </a:solidFill>
        </p:grpSpPr>
        <p:sp>
          <p:nvSpPr>
            <p:cNvPr id="155" name="Rectangle 888"/>
            <p:cNvSpPr>
              <a:spLocks noChangeArrowheads="1"/>
            </p:cNvSpPr>
            <p:nvPr/>
          </p:nvSpPr>
          <p:spPr bwMode="auto">
            <a:xfrm>
              <a:off x="3443" y="3889"/>
              <a:ext cx="58" cy="106"/>
            </a:xfrm>
            <a:prstGeom prst="rect">
              <a:avLst/>
            </a:prstGeom>
            <a:grpFill/>
            <a:ln>
              <a:noFill/>
            </a:ln>
            <a:extLst>
              <a:ext uri="{91240B29-F687-4f45-9708-019B960494DF}">
                <a14:hiddenLine xmlns:a14="http://schemas.microsoft.com/office/drawing/2010/main" xmlns:p14="http://schemas.microsoft.com/office/powerpoint/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56" name="Freeform 889"/>
            <p:cNvSpPr>
              <a:spLocks noEditPoints="1"/>
            </p:cNvSpPr>
            <p:nvPr/>
          </p:nvSpPr>
          <p:spPr bwMode="auto">
            <a:xfrm>
              <a:off x="3422" y="3867"/>
              <a:ext cx="100" cy="184"/>
            </a:xfrm>
            <a:custGeom>
              <a:avLst/>
              <a:gdLst>
                <a:gd name="T0" fmla="*/ 148 w 150"/>
                <a:gd name="T1" fmla="*/ 0 h 277"/>
                <a:gd name="T2" fmla="*/ 2 w 150"/>
                <a:gd name="T3" fmla="*/ 0 h 277"/>
                <a:gd name="T4" fmla="*/ 0 w 150"/>
                <a:gd name="T5" fmla="*/ 0 h 277"/>
                <a:gd name="T6" fmla="*/ 0 w 150"/>
                <a:gd name="T7" fmla="*/ 277 h 277"/>
                <a:gd name="T8" fmla="*/ 0 w 150"/>
                <a:gd name="T9" fmla="*/ 277 h 277"/>
                <a:gd name="T10" fmla="*/ 2 w 150"/>
                <a:gd name="T11" fmla="*/ 277 h 277"/>
                <a:gd name="T12" fmla="*/ 148 w 150"/>
                <a:gd name="T13" fmla="*/ 277 h 277"/>
                <a:gd name="T14" fmla="*/ 150 w 150"/>
                <a:gd name="T15" fmla="*/ 276 h 277"/>
                <a:gd name="T16" fmla="*/ 150 w 150"/>
                <a:gd name="T17" fmla="*/ 0 h 277"/>
                <a:gd name="T18" fmla="*/ 148 w 150"/>
                <a:gd name="T19" fmla="*/ 0 h 277"/>
                <a:gd name="T20" fmla="*/ 75 w 150"/>
                <a:gd name="T21" fmla="*/ 256 h 277"/>
                <a:gd name="T22" fmla="*/ 64 w 150"/>
                <a:gd name="T23" fmla="*/ 245 h 277"/>
                <a:gd name="T24" fmla="*/ 75 w 150"/>
                <a:gd name="T25" fmla="*/ 234 h 277"/>
                <a:gd name="T26" fmla="*/ 86 w 150"/>
                <a:gd name="T27" fmla="*/ 245 h 277"/>
                <a:gd name="T28" fmla="*/ 75 w 150"/>
                <a:gd name="T29" fmla="*/ 256 h 277"/>
                <a:gd name="T30" fmla="*/ 139 w 150"/>
                <a:gd name="T31" fmla="*/ 202 h 277"/>
                <a:gd name="T32" fmla="*/ 128 w 150"/>
                <a:gd name="T33" fmla="*/ 213 h 277"/>
                <a:gd name="T34" fmla="*/ 22 w 150"/>
                <a:gd name="T35" fmla="*/ 213 h 277"/>
                <a:gd name="T36" fmla="*/ 11 w 150"/>
                <a:gd name="T37" fmla="*/ 202 h 277"/>
                <a:gd name="T38" fmla="*/ 11 w 150"/>
                <a:gd name="T39" fmla="*/ 21 h 277"/>
                <a:gd name="T40" fmla="*/ 22 w 150"/>
                <a:gd name="T41" fmla="*/ 10 h 277"/>
                <a:gd name="T42" fmla="*/ 128 w 150"/>
                <a:gd name="T43" fmla="*/ 10 h 277"/>
                <a:gd name="T44" fmla="*/ 139 w 150"/>
                <a:gd name="T45" fmla="*/ 21 h 277"/>
                <a:gd name="T46" fmla="*/ 139 w 150"/>
                <a:gd name="T4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77">
                  <a:moveTo>
                    <a:pt x="148" y="0"/>
                  </a:moveTo>
                  <a:cubicBezTo>
                    <a:pt x="2" y="0"/>
                    <a:pt x="2" y="0"/>
                    <a:pt x="2" y="0"/>
                  </a:cubicBezTo>
                  <a:cubicBezTo>
                    <a:pt x="1" y="0"/>
                    <a:pt x="0" y="0"/>
                    <a:pt x="0" y="0"/>
                  </a:cubicBezTo>
                  <a:cubicBezTo>
                    <a:pt x="0" y="277"/>
                    <a:pt x="0" y="277"/>
                    <a:pt x="0" y="277"/>
                  </a:cubicBezTo>
                  <a:cubicBezTo>
                    <a:pt x="0" y="277"/>
                    <a:pt x="0" y="277"/>
                    <a:pt x="0" y="277"/>
                  </a:cubicBezTo>
                  <a:cubicBezTo>
                    <a:pt x="1" y="277"/>
                    <a:pt x="1" y="277"/>
                    <a:pt x="2" y="277"/>
                  </a:cubicBezTo>
                  <a:cubicBezTo>
                    <a:pt x="148" y="277"/>
                    <a:pt x="148" y="277"/>
                    <a:pt x="148" y="277"/>
                  </a:cubicBezTo>
                  <a:cubicBezTo>
                    <a:pt x="149" y="277"/>
                    <a:pt x="150" y="277"/>
                    <a:pt x="150" y="276"/>
                  </a:cubicBezTo>
                  <a:cubicBezTo>
                    <a:pt x="150" y="0"/>
                    <a:pt x="150" y="0"/>
                    <a:pt x="150" y="0"/>
                  </a:cubicBezTo>
                  <a:cubicBezTo>
                    <a:pt x="150" y="0"/>
                    <a:pt x="149" y="0"/>
                    <a:pt x="148" y="0"/>
                  </a:cubicBezTo>
                  <a:close/>
                  <a:moveTo>
                    <a:pt x="75" y="256"/>
                  </a:moveTo>
                  <a:cubicBezTo>
                    <a:pt x="69" y="256"/>
                    <a:pt x="64" y="251"/>
                    <a:pt x="64" y="245"/>
                  </a:cubicBezTo>
                  <a:cubicBezTo>
                    <a:pt x="64" y="239"/>
                    <a:pt x="69" y="234"/>
                    <a:pt x="75" y="234"/>
                  </a:cubicBezTo>
                  <a:cubicBezTo>
                    <a:pt x="81" y="234"/>
                    <a:pt x="86" y="239"/>
                    <a:pt x="86" y="245"/>
                  </a:cubicBezTo>
                  <a:cubicBezTo>
                    <a:pt x="86" y="251"/>
                    <a:pt x="81" y="256"/>
                    <a:pt x="75" y="256"/>
                  </a:cubicBezTo>
                  <a:close/>
                  <a:moveTo>
                    <a:pt x="139" y="202"/>
                  </a:moveTo>
                  <a:cubicBezTo>
                    <a:pt x="139" y="208"/>
                    <a:pt x="134" y="213"/>
                    <a:pt x="128" y="213"/>
                  </a:cubicBezTo>
                  <a:cubicBezTo>
                    <a:pt x="22" y="213"/>
                    <a:pt x="22" y="213"/>
                    <a:pt x="22" y="213"/>
                  </a:cubicBezTo>
                  <a:cubicBezTo>
                    <a:pt x="16" y="213"/>
                    <a:pt x="11" y="208"/>
                    <a:pt x="11" y="202"/>
                  </a:cubicBezTo>
                  <a:cubicBezTo>
                    <a:pt x="11" y="21"/>
                    <a:pt x="11" y="21"/>
                    <a:pt x="11" y="21"/>
                  </a:cubicBezTo>
                  <a:cubicBezTo>
                    <a:pt x="11" y="15"/>
                    <a:pt x="16" y="10"/>
                    <a:pt x="22" y="10"/>
                  </a:cubicBezTo>
                  <a:cubicBezTo>
                    <a:pt x="128" y="10"/>
                    <a:pt x="128" y="10"/>
                    <a:pt x="128" y="10"/>
                  </a:cubicBezTo>
                  <a:cubicBezTo>
                    <a:pt x="134" y="10"/>
                    <a:pt x="139" y="15"/>
                    <a:pt x="139" y="21"/>
                  </a:cubicBezTo>
                  <a:lnTo>
                    <a:pt x="139" y="20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57" name="Freeform 890"/>
            <p:cNvSpPr>
              <a:spLocks noEditPoints="1"/>
            </p:cNvSpPr>
            <p:nvPr/>
          </p:nvSpPr>
          <p:spPr bwMode="auto">
            <a:xfrm>
              <a:off x="3302" y="378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95 h 512"/>
                <a:gd name="T12" fmla="*/ 329 w 512"/>
                <a:gd name="T13" fmla="*/ 416 h 512"/>
                <a:gd name="T14" fmla="*/ 183 w 512"/>
                <a:gd name="T15" fmla="*/ 416 h 512"/>
                <a:gd name="T16" fmla="*/ 160 w 512"/>
                <a:gd name="T17" fmla="*/ 395 h 512"/>
                <a:gd name="T18" fmla="*/ 160 w 512"/>
                <a:gd name="T19" fmla="*/ 118 h 512"/>
                <a:gd name="T20" fmla="*/ 183 w 512"/>
                <a:gd name="T21" fmla="*/ 96 h 512"/>
                <a:gd name="T22" fmla="*/ 329 w 512"/>
                <a:gd name="T23" fmla="*/ 96 h 512"/>
                <a:gd name="T24" fmla="*/ 352 w 512"/>
                <a:gd name="T25" fmla="*/ 118 h 512"/>
                <a:gd name="T26" fmla="*/ 352 w 512"/>
                <a:gd name="T27"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395"/>
                  </a:moveTo>
                  <a:cubicBezTo>
                    <a:pt x="352" y="407"/>
                    <a:pt x="342" y="416"/>
                    <a:pt x="329" y="416"/>
                  </a:cubicBezTo>
                  <a:cubicBezTo>
                    <a:pt x="183" y="416"/>
                    <a:pt x="183" y="416"/>
                    <a:pt x="183" y="416"/>
                  </a:cubicBezTo>
                  <a:cubicBezTo>
                    <a:pt x="170" y="416"/>
                    <a:pt x="160" y="407"/>
                    <a:pt x="160" y="395"/>
                  </a:cubicBezTo>
                  <a:cubicBezTo>
                    <a:pt x="160" y="118"/>
                    <a:pt x="160" y="118"/>
                    <a:pt x="160" y="118"/>
                  </a:cubicBezTo>
                  <a:cubicBezTo>
                    <a:pt x="160" y="106"/>
                    <a:pt x="170" y="96"/>
                    <a:pt x="183" y="96"/>
                  </a:cubicBezTo>
                  <a:cubicBezTo>
                    <a:pt x="329" y="96"/>
                    <a:pt x="329" y="96"/>
                    <a:pt x="329" y="96"/>
                  </a:cubicBezTo>
                  <a:cubicBezTo>
                    <a:pt x="342" y="96"/>
                    <a:pt x="352" y="106"/>
                    <a:pt x="352" y="118"/>
                  </a:cubicBezTo>
                  <a:lnTo>
                    <a:pt x="352" y="395"/>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
        <p:nvSpPr>
          <p:cNvPr id="163" name="矩形 162"/>
          <p:cNvSpPr/>
          <p:nvPr/>
        </p:nvSpPr>
        <p:spPr>
          <a:xfrm>
            <a:off x="316235" y="5575339"/>
            <a:ext cx="1517807" cy="551090"/>
          </a:xfrm>
          <a:prstGeom prst="rect">
            <a:avLst/>
          </a:prstGeom>
          <a:solidFill>
            <a:srgbClr val="000000"/>
          </a:solidFill>
        </p:spPr>
        <p:txBody>
          <a:bodyPr wrap="square" lIns="90000" tIns="90000" rIns="90000" bIns="90000" anchor="t" anchorCtr="0">
            <a:sp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4" name="矩形 163"/>
          <p:cNvSpPr/>
          <p:nvPr/>
        </p:nvSpPr>
        <p:spPr>
          <a:xfrm>
            <a:off x="1787585" y="2960482"/>
            <a:ext cx="1437848" cy="735756"/>
          </a:xfrm>
          <a:prstGeom prst="rect">
            <a:avLst/>
          </a:prstGeom>
          <a:solidFill>
            <a:srgbClr val="000000"/>
          </a:solidFill>
        </p:spPr>
        <p:txBody>
          <a:bodyPr wrap="square" lIns="90000" tIns="90000" rIns="90000" bIns="90000" anchor="t" anchorCtr="0">
            <a:no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5" name="矩形 164"/>
          <p:cNvSpPr/>
          <p:nvPr/>
        </p:nvSpPr>
        <p:spPr>
          <a:xfrm>
            <a:off x="3228849" y="4158563"/>
            <a:ext cx="1380712" cy="574996"/>
          </a:xfrm>
          <a:prstGeom prst="rect">
            <a:avLst/>
          </a:prstGeom>
          <a:solidFill>
            <a:srgbClr val="000000"/>
          </a:solidFill>
        </p:spPr>
        <p:txBody>
          <a:bodyPr wrap="square" lIns="90000" tIns="90000" rIns="90000" bIns="90000" anchor="t" anchorCtr="0">
            <a:no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6" name="矩形 165"/>
          <p:cNvSpPr/>
          <p:nvPr/>
        </p:nvSpPr>
        <p:spPr>
          <a:xfrm>
            <a:off x="4612960" y="2960482"/>
            <a:ext cx="1437848" cy="735756"/>
          </a:xfrm>
          <a:prstGeom prst="rect">
            <a:avLst/>
          </a:prstGeom>
          <a:solidFill>
            <a:srgbClr val="000000"/>
          </a:solidFill>
        </p:spPr>
        <p:txBody>
          <a:bodyPr wrap="square" lIns="90000" tIns="90000" rIns="90000" bIns="90000" anchor="t" anchorCtr="0">
            <a:no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7" name="矩形 166"/>
          <p:cNvSpPr/>
          <p:nvPr/>
        </p:nvSpPr>
        <p:spPr>
          <a:xfrm>
            <a:off x="6028658" y="5643511"/>
            <a:ext cx="1437848" cy="551090"/>
          </a:xfrm>
          <a:prstGeom prst="rect">
            <a:avLst/>
          </a:prstGeom>
          <a:solidFill>
            <a:srgbClr val="000000"/>
          </a:solidFill>
        </p:spPr>
        <p:txBody>
          <a:bodyPr wrap="square" lIns="90000" tIns="90000" rIns="90000" bIns="90000" anchor="ctr" anchorCtr="1">
            <a:sp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8" name="矩形 167"/>
          <p:cNvSpPr/>
          <p:nvPr/>
        </p:nvSpPr>
        <p:spPr>
          <a:xfrm>
            <a:off x="7378150" y="4161342"/>
            <a:ext cx="1553478" cy="955391"/>
          </a:xfrm>
          <a:prstGeom prst="rect">
            <a:avLst/>
          </a:prstGeom>
          <a:solidFill>
            <a:srgbClr val="000000"/>
          </a:solidFill>
        </p:spPr>
        <p:txBody>
          <a:bodyPr wrap="square" lIns="90000" tIns="90000" rIns="90000" bIns="90000" anchor="t" anchorCtr="0">
            <a:no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9" name="矩形 168"/>
          <p:cNvSpPr/>
          <p:nvPr/>
        </p:nvSpPr>
        <p:spPr>
          <a:xfrm>
            <a:off x="8798335" y="2960482"/>
            <a:ext cx="1553478" cy="564080"/>
          </a:xfrm>
          <a:prstGeom prst="rect">
            <a:avLst/>
          </a:prstGeom>
          <a:solidFill>
            <a:srgbClr val="000000"/>
          </a:solidFill>
        </p:spPr>
        <p:txBody>
          <a:bodyPr wrap="square" lIns="90000" tIns="90000" rIns="90000" bIns="90000" anchor="t" anchorCtr="0">
            <a:no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70" name="矩形 169"/>
          <p:cNvSpPr/>
          <p:nvPr/>
        </p:nvSpPr>
        <p:spPr>
          <a:xfrm>
            <a:off x="10211088" y="5033133"/>
            <a:ext cx="1553478" cy="551090"/>
          </a:xfrm>
          <a:prstGeom prst="rect">
            <a:avLst/>
          </a:prstGeom>
          <a:solidFill>
            <a:srgbClr val="000000"/>
          </a:solidFill>
        </p:spPr>
        <p:txBody>
          <a:bodyPr wrap="square" lIns="90000" tIns="90000" rIns="90000" bIns="90000" anchor="t" anchorCtr="0">
            <a:sp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Tree>
    <p:custDataLst>
      <p:tags r:id="rId1"/>
    </p:custDataLst>
    <p:extLst>
      <p:ext uri="{BB962C8B-B14F-4D97-AF65-F5344CB8AC3E}">
        <p14:creationId xmlns:p14="http://schemas.microsoft.com/office/powerpoint/2010/main" val="1500615181"/>
      </p:ext>
    </p:extLst>
  </p:cSld>
  <p:clrMapOvr>
    <a:masterClrMapping/>
  </p:clrMapOvr>
  <p:transition>
    <p:fade/>
  </p:transition>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914400" y="347663"/>
            <a:ext cx="11277600" cy="698500"/>
          </a:xfrm>
        </p:spPr>
        <p:txBody>
          <a:bodyPr/>
          <a:lstStyle/>
          <a:p>
            <a:r>
              <a:rPr lang="en-US" dirty="0"/>
              <a:t>Notes</a:t>
            </a:r>
          </a:p>
        </p:txBody>
      </p:sp>
      <p:sp>
        <p:nvSpPr>
          <p:cNvPr id="55" name="Content Placeholder 2"/>
          <p:cNvSpPr>
            <a:spLocks noGrp="1"/>
          </p:cNvSpPr>
          <p:nvPr>
            <p:ph sz="quarter" idx="4294967295"/>
          </p:nvPr>
        </p:nvSpPr>
        <p:spPr>
          <a:xfrm>
            <a:off x="877410" y="4111625"/>
            <a:ext cx="1846263" cy="1098550"/>
          </a:xfrm>
          <a:prstGeom prst="rect">
            <a:avLst/>
          </a:prstGeom>
        </p:spPr>
        <p:txBody>
          <a:bodyPr lIns="0" tIns="0" rIns="0" bIns="0"/>
          <a:lstStyle/>
          <a:p>
            <a:pPr algn="ctr">
              <a:spcAft>
                <a:spcPts val="0"/>
              </a:spcAft>
            </a:pPr>
            <a:r>
              <a:rPr lang="en-US" b="1" noProof="0" dirty="0">
                <a:solidFill>
                  <a:schemeClr val="accent4"/>
                </a:solidFill>
              </a:rPr>
              <a:t>Title Bold </a:t>
            </a:r>
          </a:p>
          <a:p>
            <a:pPr algn="ctr"/>
            <a:r>
              <a:rPr lang="en-US" noProof="0" dirty="0"/>
              <a:t>this is dummy text it is not here to be read it is here to show how this document will look</a:t>
            </a:r>
          </a:p>
        </p:txBody>
      </p:sp>
      <p:sp>
        <p:nvSpPr>
          <p:cNvPr id="57" name="Content Placeholder 2"/>
          <p:cNvSpPr>
            <a:spLocks noGrp="1"/>
          </p:cNvSpPr>
          <p:nvPr>
            <p:ph sz="quarter" idx="4294967295"/>
          </p:nvPr>
        </p:nvSpPr>
        <p:spPr>
          <a:xfrm>
            <a:off x="3027230" y="4111625"/>
            <a:ext cx="1846263" cy="1098550"/>
          </a:xfrm>
          <a:prstGeom prst="rect">
            <a:avLst/>
          </a:prstGeom>
        </p:spPr>
        <p:txBody>
          <a:bodyPr lIns="0" tIns="0" rIns="0" bIns="0"/>
          <a:lstStyle/>
          <a:p>
            <a:pPr algn="ctr">
              <a:spcAft>
                <a:spcPts val="0"/>
              </a:spcAft>
            </a:pPr>
            <a:r>
              <a:rPr lang="en-US" b="1" noProof="0" dirty="0">
                <a:solidFill>
                  <a:srgbClr val="0076A8"/>
                </a:solidFill>
              </a:rPr>
              <a:t>Title Bold </a:t>
            </a:r>
          </a:p>
          <a:p>
            <a:pPr algn="ctr"/>
            <a:r>
              <a:rPr lang="en-US" noProof="0" dirty="0"/>
              <a:t>this is dummy text it is not here to be read it is here to show how this document will look</a:t>
            </a:r>
          </a:p>
        </p:txBody>
      </p:sp>
      <p:sp>
        <p:nvSpPr>
          <p:cNvPr id="58" name="Content Placeholder 2"/>
          <p:cNvSpPr>
            <a:spLocks noGrp="1"/>
          </p:cNvSpPr>
          <p:nvPr>
            <p:ph sz="quarter" idx="4294967295"/>
          </p:nvPr>
        </p:nvSpPr>
        <p:spPr>
          <a:xfrm>
            <a:off x="5149215" y="4111625"/>
            <a:ext cx="1847850" cy="1098550"/>
          </a:xfrm>
          <a:prstGeom prst="rect">
            <a:avLst/>
          </a:prstGeom>
        </p:spPr>
        <p:txBody>
          <a:bodyPr lIns="0" tIns="0" rIns="0" bIns="0"/>
          <a:lstStyle/>
          <a:p>
            <a:pPr algn="ctr">
              <a:spcAft>
                <a:spcPts val="0"/>
              </a:spcAft>
            </a:pPr>
            <a:r>
              <a:rPr lang="en-US" b="1" noProof="0" dirty="0">
                <a:solidFill>
                  <a:srgbClr val="6FC2B4"/>
                </a:solidFill>
              </a:rPr>
              <a:t>Title Bold </a:t>
            </a:r>
          </a:p>
          <a:p>
            <a:pPr algn="ctr"/>
            <a:r>
              <a:rPr lang="en-US" noProof="0" dirty="0"/>
              <a:t>this is dummy text it is not here to be read it is here to show how this document will look</a:t>
            </a:r>
          </a:p>
        </p:txBody>
      </p:sp>
      <p:sp>
        <p:nvSpPr>
          <p:cNvPr id="59" name="Content Placeholder 2"/>
          <p:cNvSpPr>
            <a:spLocks noGrp="1"/>
          </p:cNvSpPr>
          <p:nvPr>
            <p:ph sz="quarter" idx="4294967295"/>
          </p:nvPr>
        </p:nvSpPr>
        <p:spPr>
          <a:xfrm>
            <a:off x="7318505" y="4111625"/>
            <a:ext cx="1846262" cy="1098550"/>
          </a:xfrm>
          <a:prstGeom prst="rect">
            <a:avLst/>
          </a:prstGeom>
        </p:spPr>
        <p:txBody>
          <a:bodyPr lIns="0" tIns="0" rIns="0" bIns="0"/>
          <a:lstStyle/>
          <a:p>
            <a:pPr algn="ctr">
              <a:spcAft>
                <a:spcPts val="0"/>
              </a:spcAft>
            </a:pPr>
            <a:r>
              <a:rPr lang="en-US" b="1" noProof="0" dirty="0">
                <a:solidFill>
                  <a:srgbClr val="43B02A"/>
                </a:solidFill>
              </a:rPr>
              <a:t>Title Bold </a:t>
            </a:r>
          </a:p>
          <a:p>
            <a:pPr algn="ctr"/>
            <a:r>
              <a:rPr lang="en-US" noProof="0" dirty="0"/>
              <a:t>this is dummy text it is not here to be read it is here to show how this document will look</a:t>
            </a:r>
          </a:p>
        </p:txBody>
      </p:sp>
      <p:sp>
        <p:nvSpPr>
          <p:cNvPr id="60" name="Content Placeholder 2"/>
          <p:cNvSpPr>
            <a:spLocks noGrp="1"/>
          </p:cNvSpPr>
          <p:nvPr>
            <p:ph sz="quarter" idx="4294967295"/>
          </p:nvPr>
        </p:nvSpPr>
        <p:spPr>
          <a:xfrm>
            <a:off x="9464142" y="4111625"/>
            <a:ext cx="1846262" cy="1098550"/>
          </a:xfrm>
          <a:prstGeom prst="rect">
            <a:avLst/>
          </a:prstGeom>
        </p:spPr>
        <p:txBody>
          <a:bodyPr lIns="0" tIns="0" rIns="0" bIns="0"/>
          <a:lstStyle/>
          <a:p>
            <a:pPr algn="ctr">
              <a:spcAft>
                <a:spcPts val="0"/>
              </a:spcAft>
            </a:pPr>
            <a:r>
              <a:rPr lang="en-US" b="1" noProof="0" dirty="0">
                <a:solidFill>
                  <a:schemeClr val="accent1"/>
                </a:solidFill>
              </a:rPr>
              <a:t>Title Bold </a:t>
            </a:r>
          </a:p>
          <a:p>
            <a:pPr algn="ctr"/>
            <a:r>
              <a:rPr lang="en-US" noProof="0" dirty="0"/>
              <a:t>this is dummy text it is not here to be read it is here to show how this document will look</a:t>
            </a:r>
          </a:p>
        </p:txBody>
      </p:sp>
      <p:cxnSp>
        <p:nvCxnSpPr>
          <p:cNvPr id="39" name="Straight Connector 38"/>
          <p:cNvCxnSpPr/>
          <p:nvPr/>
        </p:nvCxnSpPr>
        <p:spPr>
          <a:xfrm>
            <a:off x="2318841"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470194"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621547"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772900"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70346"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0898533"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14" name="Freeform 13"/>
          <p:cNvSpPr/>
          <p:nvPr/>
        </p:nvSpPr>
        <p:spPr bwMode="gray">
          <a:xfrm>
            <a:off x="1075920" y="2094817"/>
            <a:ext cx="1457610" cy="964549"/>
          </a:xfrm>
          <a:custGeom>
            <a:avLst/>
            <a:gdLst>
              <a:gd name="connsiteX0" fmla="*/ 42392 w 1457610"/>
              <a:gd name="connsiteY0" fmla="*/ 0 h 964549"/>
              <a:gd name="connsiteX1" fmla="*/ 1415218 w 1457610"/>
              <a:gd name="connsiteY1" fmla="*/ 0 h 964549"/>
              <a:gd name="connsiteX2" fmla="*/ 1442803 w 1457610"/>
              <a:gd name="connsiteY2" fmla="*/ 88864 h 964549"/>
              <a:gd name="connsiteX3" fmla="*/ 1457610 w 1457610"/>
              <a:gd name="connsiteY3" fmla="*/ 235744 h 964549"/>
              <a:gd name="connsiteX4" fmla="*/ 728805 w 1457610"/>
              <a:gd name="connsiteY4" fmla="*/ 964549 h 964549"/>
              <a:gd name="connsiteX5" fmla="*/ 0 w 1457610"/>
              <a:gd name="connsiteY5" fmla="*/ 235744 h 964549"/>
              <a:gd name="connsiteX6" fmla="*/ 14807 w 1457610"/>
              <a:gd name="connsiteY6" fmla="*/ 88864 h 964549"/>
              <a:gd name="connsiteX7" fmla="*/ 42392 w 1457610"/>
              <a:gd name="connsiteY7" fmla="*/ 0 h 96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610" h="964549">
                <a:moveTo>
                  <a:pt x="42392" y="0"/>
                </a:moveTo>
                <a:lnTo>
                  <a:pt x="1415218" y="0"/>
                </a:lnTo>
                <a:lnTo>
                  <a:pt x="1442803" y="88864"/>
                </a:lnTo>
                <a:cubicBezTo>
                  <a:pt x="1452512" y="136308"/>
                  <a:pt x="1457610" y="185431"/>
                  <a:pt x="1457610" y="235744"/>
                </a:cubicBezTo>
                <a:cubicBezTo>
                  <a:pt x="1457610" y="638252"/>
                  <a:pt x="1131313" y="964549"/>
                  <a:pt x="728805" y="964549"/>
                </a:cubicBezTo>
                <a:cubicBezTo>
                  <a:pt x="326297" y="964549"/>
                  <a:pt x="0" y="638252"/>
                  <a:pt x="0" y="235744"/>
                </a:cubicBezTo>
                <a:cubicBezTo>
                  <a:pt x="0" y="185431"/>
                  <a:pt x="5098" y="136308"/>
                  <a:pt x="14807" y="88864"/>
                </a:cubicBezTo>
                <a:lnTo>
                  <a:pt x="42392" y="0"/>
                </a:lnTo>
                <a:close/>
              </a:path>
            </a:pathLst>
          </a:custGeom>
          <a:solidFill>
            <a:schemeClr val="bg1"/>
          </a:solid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Freeform 8"/>
          <p:cNvSpPr/>
          <p:nvPr/>
        </p:nvSpPr>
        <p:spPr bwMode="gray">
          <a:xfrm>
            <a:off x="1128037" y="2597636"/>
            <a:ext cx="1353376" cy="46173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16</a:t>
            </a:r>
          </a:p>
        </p:txBody>
      </p:sp>
      <p:sp>
        <p:nvSpPr>
          <p:cNvPr id="10" name="Rectangle 9"/>
          <p:cNvSpPr/>
          <p:nvPr/>
        </p:nvSpPr>
        <p:spPr bwMode="gray">
          <a:xfrm>
            <a:off x="1781866" y="3106988"/>
            <a:ext cx="45719" cy="471488"/>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 name="Freeform 18"/>
          <p:cNvSpPr/>
          <p:nvPr/>
        </p:nvSpPr>
        <p:spPr bwMode="gray">
          <a:xfrm>
            <a:off x="3221557" y="2094817"/>
            <a:ext cx="1457610" cy="964549"/>
          </a:xfrm>
          <a:custGeom>
            <a:avLst/>
            <a:gdLst>
              <a:gd name="connsiteX0" fmla="*/ 42392 w 1457610"/>
              <a:gd name="connsiteY0" fmla="*/ 0 h 964549"/>
              <a:gd name="connsiteX1" fmla="*/ 1415218 w 1457610"/>
              <a:gd name="connsiteY1" fmla="*/ 0 h 964549"/>
              <a:gd name="connsiteX2" fmla="*/ 1442803 w 1457610"/>
              <a:gd name="connsiteY2" fmla="*/ 88864 h 964549"/>
              <a:gd name="connsiteX3" fmla="*/ 1457610 w 1457610"/>
              <a:gd name="connsiteY3" fmla="*/ 235744 h 964549"/>
              <a:gd name="connsiteX4" fmla="*/ 728805 w 1457610"/>
              <a:gd name="connsiteY4" fmla="*/ 964549 h 964549"/>
              <a:gd name="connsiteX5" fmla="*/ 0 w 1457610"/>
              <a:gd name="connsiteY5" fmla="*/ 235744 h 964549"/>
              <a:gd name="connsiteX6" fmla="*/ 14807 w 1457610"/>
              <a:gd name="connsiteY6" fmla="*/ 88864 h 964549"/>
              <a:gd name="connsiteX7" fmla="*/ 42392 w 1457610"/>
              <a:gd name="connsiteY7" fmla="*/ 0 h 96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610" h="964549">
                <a:moveTo>
                  <a:pt x="42392" y="0"/>
                </a:moveTo>
                <a:lnTo>
                  <a:pt x="1415218" y="0"/>
                </a:lnTo>
                <a:lnTo>
                  <a:pt x="1442803" y="88864"/>
                </a:lnTo>
                <a:cubicBezTo>
                  <a:pt x="1452512" y="136308"/>
                  <a:pt x="1457610" y="185431"/>
                  <a:pt x="1457610" y="235744"/>
                </a:cubicBezTo>
                <a:cubicBezTo>
                  <a:pt x="1457610" y="638252"/>
                  <a:pt x="1131313" y="964549"/>
                  <a:pt x="728805" y="964549"/>
                </a:cubicBezTo>
                <a:cubicBezTo>
                  <a:pt x="326297" y="964549"/>
                  <a:pt x="0" y="638252"/>
                  <a:pt x="0" y="235744"/>
                </a:cubicBezTo>
                <a:cubicBezTo>
                  <a:pt x="0" y="185431"/>
                  <a:pt x="5098" y="136308"/>
                  <a:pt x="14807" y="88864"/>
                </a:cubicBezTo>
                <a:lnTo>
                  <a:pt x="42392" y="0"/>
                </a:lnTo>
                <a:close/>
              </a:path>
            </a:pathLst>
          </a:custGeom>
          <a:solidFill>
            <a:schemeClr val="bg1"/>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 name="Freeform 19"/>
          <p:cNvSpPr/>
          <p:nvPr/>
        </p:nvSpPr>
        <p:spPr bwMode="gray">
          <a:xfrm>
            <a:off x="3273674" y="2597636"/>
            <a:ext cx="1353376" cy="46173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17</a:t>
            </a:r>
          </a:p>
        </p:txBody>
      </p:sp>
      <p:sp>
        <p:nvSpPr>
          <p:cNvPr id="21" name="Rectangle 20"/>
          <p:cNvSpPr/>
          <p:nvPr/>
        </p:nvSpPr>
        <p:spPr bwMode="gray">
          <a:xfrm>
            <a:off x="3927503" y="3106988"/>
            <a:ext cx="45719" cy="471488"/>
          </a:xfrm>
          <a:prstGeom prst="rect">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Freeform 23"/>
          <p:cNvSpPr/>
          <p:nvPr/>
        </p:nvSpPr>
        <p:spPr bwMode="gray">
          <a:xfrm>
            <a:off x="5367194" y="2094817"/>
            <a:ext cx="1457610" cy="964549"/>
          </a:xfrm>
          <a:custGeom>
            <a:avLst/>
            <a:gdLst>
              <a:gd name="connsiteX0" fmla="*/ 42392 w 1457610"/>
              <a:gd name="connsiteY0" fmla="*/ 0 h 964549"/>
              <a:gd name="connsiteX1" fmla="*/ 1415218 w 1457610"/>
              <a:gd name="connsiteY1" fmla="*/ 0 h 964549"/>
              <a:gd name="connsiteX2" fmla="*/ 1442803 w 1457610"/>
              <a:gd name="connsiteY2" fmla="*/ 88864 h 964549"/>
              <a:gd name="connsiteX3" fmla="*/ 1457610 w 1457610"/>
              <a:gd name="connsiteY3" fmla="*/ 235744 h 964549"/>
              <a:gd name="connsiteX4" fmla="*/ 728805 w 1457610"/>
              <a:gd name="connsiteY4" fmla="*/ 964549 h 964549"/>
              <a:gd name="connsiteX5" fmla="*/ 0 w 1457610"/>
              <a:gd name="connsiteY5" fmla="*/ 235744 h 964549"/>
              <a:gd name="connsiteX6" fmla="*/ 14807 w 1457610"/>
              <a:gd name="connsiteY6" fmla="*/ 88864 h 964549"/>
              <a:gd name="connsiteX7" fmla="*/ 42392 w 1457610"/>
              <a:gd name="connsiteY7" fmla="*/ 0 h 96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610" h="964549">
                <a:moveTo>
                  <a:pt x="42392" y="0"/>
                </a:moveTo>
                <a:lnTo>
                  <a:pt x="1415218" y="0"/>
                </a:lnTo>
                <a:lnTo>
                  <a:pt x="1442803" y="88864"/>
                </a:lnTo>
                <a:cubicBezTo>
                  <a:pt x="1452512" y="136308"/>
                  <a:pt x="1457610" y="185431"/>
                  <a:pt x="1457610" y="235744"/>
                </a:cubicBezTo>
                <a:cubicBezTo>
                  <a:pt x="1457610" y="638252"/>
                  <a:pt x="1131313" y="964549"/>
                  <a:pt x="728805" y="964549"/>
                </a:cubicBezTo>
                <a:cubicBezTo>
                  <a:pt x="326297" y="964549"/>
                  <a:pt x="0" y="638252"/>
                  <a:pt x="0" y="235744"/>
                </a:cubicBezTo>
                <a:cubicBezTo>
                  <a:pt x="0" y="185431"/>
                  <a:pt x="5098" y="136308"/>
                  <a:pt x="14807" y="88864"/>
                </a:cubicBezTo>
                <a:lnTo>
                  <a:pt x="42392" y="0"/>
                </a:lnTo>
                <a:close/>
              </a:path>
            </a:pathLst>
          </a:custGeom>
          <a:solidFill>
            <a:schemeClr val="bg1"/>
          </a:solidFill>
          <a:ln w="19050"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 name="Freeform 24"/>
          <p:cNvSpPr/>
          <p:nvPr/>
        </p:nvSpPr>
        <p:spPr bwMode="gray">
          <a:xfrm>
            <a:off x="5419311" y="2597636"/>
            <a:ext cx="1353376" cy="46173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18</a:t>
            </a:r>
          </a:p>
        </p:txBody>
      </p:sp>
      <p:sp>
        <p:nvSpPr>
          <p:cNvPr id="26" name="Rectangle 25"/>
          <p:cNvSpPr/>
          <p:nvPr/>
        </p:nvSpPr>
        <p:spPr bwMode="gray">
          <a:xfrm>
            <a:off x="6073140" y="3106988"/>
            <a:ext cx="45719" cy="471488"/>
          </a:xfrm>
          <a:prstGeom prst="rect">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Freeform 28"/>
          <p:cNvSpPr/>
          <p:nvPr/>
        </p:nvSpPr>
        <p:spPr bwMode="gray">
          <a:xfrm>
            <a:off x="7512831" y="2094817"/>
            <a:ext cx="1457610" cy="964549"/>
          </a:xfrm>
          <a:custGeom>
            <a:avLst/>
            <a:gdLst>
              <a:gd name="connsiteX0" fmla="*/ 42392 w 1457610"/>
              <a:gd name="connsiteY0" fmla="*/ 0 h 964549"/>
              <a:gd name="connsiteX1" fmla="*/ 1415218 w 1457610"/>
              <a:gd name="connsiteY1" fmla="*/ 0 h 964549"/>
              <a:gd name="connsiteX2" fmla="*/ 1442803 w 1457610"/>
              <a:gd name="connsiteY2" fmla="*/ 88864 h 964549"/>
              <a:gd name="connsiteX3" fmla="*/ 1457610 w 1457610"/>
              <a:gd name="connsiteY3" fmla="*/ 235744 h 964549"/>
              <a:gd name="connsiteX4" fmla="*/ 728805 w 1457610"/>
              <a:gd name="connsiteY4" fmla="*/ 964549 h 964549"/>
              <a:gd name="connsiteX5" fmla="*/ 0 w 1457610"/>
              <a:gd name="connsiteY5" fmla="*/ 235744 h 964549"/>
              <a:gd name="connsiteX6" fmla="*/ 14807 w 1457610"/>
              <a:gd name="connsiteY6" fmla="*/ 88864 h 964549"/>
              <a:gd name="connsiteX7" fmla="*/ 42392 w 1457610"/>
              <a:gd name="connsiteY7" fmla="*/ 0 h 96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610" h="964549">
                <a:moveTo>
                  <a:pt x="42392" y="0"/>
                </a:moveTo>
                <a:lnTo>
                  <a:pt x="1415218" y="0"/>
                </a:lnTo>
                <a:lnTo>
                  <a:pt x="1442803" y="88864"/>
                </a:lnTo>
                <a:cubicBezTo>
                  <a:pt x="1452512" y="136308"/>
                  <a:pt x="1457610" y="185431"/>
                  <a:pt x="1457610" y="235744"/>
                </a:cubicBezTo>
                <a:cubicBezTo>
                  <a:pt x="1457610" y="638252"/>
                  <a:pt x="1131313" y="964549"/>
                  <a:pt x="728805" y="964549"/>
                </a:cubicBezTo>
                <a:cubicBezTo>
                  <a:pt x="326297" y="964549"/>
                  <a:pt x="0" y="638252"/>
                  <a:pt x="0" y="235744"/>
                </a:cubicBezTo>
                <a:cubicBezTo>
                  <a:pt x="0" y="185431"/>
                  <a:pt x="5098" y="136308"/>
                  <a:pt x="14807" y="88864"/>
                </a:cubicBezTo>
                <a:lnTo>
                  <a:pt x="42392" y="0"/>
                </a:lnTo>
                <a:close/>
              </a:path>
            </a:pathLst>
          </a:custGeom>
          <a:solidFill>
            <a:schemeClr val="bg1"/>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Freeform 29"/>
          <p:cNvSpPr/>
          <p:nvPr/>
        </p:nvSpPr>
        <p:spPr bwMode="gray">
          <a:xfrm>
            <a:off x="7564948" y="2597636"/>
            <a:ext cx="1353376" cy="46173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19</a:t>
            </a:r>
          </a:p>
        </p:txBody>
      </p:sp>
      <p:sp>
        <p:nvSpPr>
          <p:cNvPr id="31" name="Rectangle 30"/>
          <p:cNvSpPr/>
          <p:nvPr/>
        </p:nvSpPr>
        <p:spPr bwMode="gray">
          <a:xfrm>
            <a:off x="8218777" y="3106988"/>
            <a:ext cx="45719" cy="471488"/>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4" name="Freeform 33"/>
          <p:cNvSpPr/>
          <p:nvPr/>
        </p:nvSpPr>
        <p:spPr bwMode="gray">
          <a:xfrm>
            <a:off x="9658468" y="2094817"/>
            <a:ext cx="1457610" cy="964549"/>
          </a:xfrm>
          <a:custGeom>
            <a:avLst/>
            <a:gdLst>
              <a:gd name="connsiteX0" fmla="*/ 42392 w 1457610"/>
              <a:gd name="connsiteY0" fmla="*/ 0 h 964549"/>
              <a:gd name="connsiteX1" fmla="*/ 1415218 w 1457610"/>
              <a:gd name="connsiteY1" fmla="*/ 0 h 964549"/>
              <a:gd name="connsiteX2" fmla="*/ 1442803 w 1457610"/>
              <a:gd name="connsiteY2" fmla="*/ 88864 h 964549"/>
              <a:gd name="connsiteX3" fmla="*/ 1457610 w 1457610"/>
              <a:gd name="connsiteY3" fmla="*/ 235744 h 964549"/>
              <a:gd name="connsiteX4" fmla="*/ 728805 w 1457610"/>
              <a:gd name="connsiteY4" fmla="*/ 964549 h 964549"/>
              <a:gd name="connsiteX5" fmla="*/ 0 w 1457610"/>
              <a:gd name="connsiteY5" fmla="*/ 235744 h 964549"/>
              <a:gd name="connsiteX6" fmla="*/ 14807 w 1457610"/>
              <a:gd name="connsiteY6" fmla="*/ 88864 h 964549"/>
              <a:gd name="connsiteX7" fmla="*/ 42392 w 1457610"/>
              <a:gd name="connsiteY7" fmla="*/ 0 h 96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610" h="964549">
                <a:moveTo>
                  <a:pt x="42392" y="0"/>
                </a:moveTo>
                <a:lnTo>
                  <a:pt x="1415218" y="0"/>
                </a:lnTo>
                <a:lnTo>
                  <a:pt x="1442803" y="88864"/>
                </a:lnTo>
                <a:cubicBezTo>
                  <a:pt x="1452512" y="136308"/>
                  <a:pt x="1457610" y="185431"/>
                  <a:pt x="1457610" y="235744"/>
                </a:cubicBezTo>
                <a:cubicBezTo>
                  <a:pt x="1457610" y="638252"/>
                  <a:pt x="1131313" y="964549"/>
                  <a:pt x="728805" y="964549"/>
                </a:cubicBezTo>
                <a:cubicBezTo>
                  <a:pt x="326297" y="964549"/>
                  <a:pt x="0" y="638252"/>
                  <a:pt x="0" y="235744"/>
                </a:cubicBezTo>
                <a:cubicBezTo>
                  <a:pt x="0" y="185431"/>
                  <a:pt x="5098" y="136308"/>
                  <a:pt x="14807" y="88864"/>
                </a:cubicBezTo>
                <a:lnTo>
                  <a:pt x="42392" y="0"/>
                </a:lnTo>
                <a:close/>
              </a:path>
            </a:pathLst>
          </a:cu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5" name="Freeform 34"/>
          <p:cNvSpPr/>
          <p:nvPr/>
        </p:nvSpPr>
        <p:spPr bwMode="gray">
          <a:xfrm>
            <a:off x="9710585" y="2597636"/>
            <a:ext cx="1353376" cy="46173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20</a:t>
            </a:r>
          </a:p>
        </p:txBody>
      </p:sp>
      <p:sp>
        <p:nvSpPr>
          <p:cNvPr id="36" name="Rectangle 35"/>
          <p:cNvSpPr/>
          <p:nvPr/>
        </p:nvSpPr>
        <p:spPr bwMode="gray">
          <a:xfrm>
            <a:off x="10364414" y="3106988"/>
            <a:ext cx="45719" cy="471488"/>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Freeform 45"/>
          <p:cNvSpPr/>
          <p:nvPr/>
        </p:nvSpPr>
        <p:spPr bwMode="gray">
          <a:xfrm rot="10800000">
            <a:off x="1502354" y="3592397"/>
            <a:ext cx="604742" cy="20632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7" name="Freeform 46"/>
          <p:cNvSpPr/>
          <p:nvPr/>
        </p:nvSpPr>
        <p:spPr bwMode="gray">
          <a:xfrm rot="10800000">
            <a:off x="3647991" y="3592397"/>
            <a:ext cx="604742" cy="20632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Freeform 47"/>
          <p:cNvSpPr/>
          <p:nvPr/>
        </p:nvSpPr>
        <p:spPr bwMode="gray">
          <a:xfrm rot="10800000">
            <a:off x="5793628" y="3592397"/>
            <a:ext cx="604742" cy="20632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Freeform 48"/>
          <p:cNvSpPr/>
          <p:nvPr/>
        </p:nvSpPr>
        <p:spPr bwMode="gray">
          <a:xfrm rot="10800000">
            <a:off x="7939265" y="3592397"/>
            <a:ext cx="604742" cy="20632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Freeform 49"/>
          <p:cNvSpPr/>
          <p:nvPr/>
        </p:nvSpPr>
        <p:spPr bwMode="gray">
          <a:xfrm rot="10800000">
            <a:off x="10084902" y="3592397"/>
            <a:ext cx="604742" cy="20632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custDataLst>
      <p:tags r:id="rId1"/>
    </p:custDataLst>
    <p:extLst>
      <p:ext uri="{BB962C8B-B14F-4D97-AF65-F5344CB8AC3E}">
        <p14:creationId xmlns:p14="http://schemas.microsoft.com/office/powerpoint/2010/main" val="1018804137"/>
      </p:ext>
    </p:extLst>
  </p:cSld>
  <p:clrMapOvr>
    <a:masterClrMapping/>
  </p:clrMapOvr>
  <p:transition>
    <p:fade/>
  </p:transition>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文本框 106"/>
          <p:cNvSpPr txBox="1"/>
          <p:nvPr/>
        </p:nvSpPr>
        <p:spPr>
          <a:xfrm>
            <a:off x="1909479" y="382913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00A3E0"/>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cxnSp>
        <p:nvCxnSpPr>
          <p:cNvPr id="39" name="直接连接符 38"/>
          <p:cNvCxnSpPr>
            <a:endCxn id="65" idx="2"/>
          </p:cNvCxnSpPr>
          <p:nvPr/>
        </p:nvCxnSpPr>
        <p:spPr>
          <a:xfrm flipV="1">
            <a:off x="2477332" y="3268645"/>
            <a:ext cx="1731785" cy="5871"/>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cxnSp>
        <p:nvCxnSpPr>
          <p:cNvPr id="113" name="直接连接符 112"/>
          <p:cNvCxnSpPr>
            <a:stCxn id="65" idx="6"/>
            <a:endCxn id="66" idx="2"/>
          </p:cNvCxnSpPr>
          <p:nvPr/>
        </p:nvCxnSpPr>
        <p:spPr>
          <a:xfrm flipV="1">
            <a:off x="4343596" y="3265722"/>
            <a:ext cx="1693886" cy="2922"/>
          </a:xfrm>
          <a:prstGeom prst="line">
            <a:avLst/>
          </a:prstGeom>
          <a:ln w="28575" cap="rnd">
            <a:solidFill>
              <a:srgbClr val="005587"/>
            </a:solidFill>
            <a:prstDash val="sysDot"/>
          </a:ln>
        </p:spPr>
        <p:style>
          <a:lnRef idx="1">
            <a:schemeClr val="accent1"/>
          </a:lnRef>
          <a:fillRef idx="0">
            <a:schemeClr val="accent1"/>
          </a:fillRef>
          <a:effectRef idx="0">
            <a:schemeClr val="accent1"/>
          </a:effectRef>
          <a:fontRef idx="minor">
            <a:schemeClr val="tx1"/>
          </a:fontRef>
        </p:style>
      </p:cxnSp>
      <p:cxnSp>
        <p:nvCxnSpPr>
          <p:cNvPr id="115" name="直接连接符 114"/>
          <p:cNvCxnSpPr>
            <a:stCxn id="66" idx="6"/>
            <a:endCxn id="67" idx="2"/>
          </p:cNvCxnSpPr>
          <p:nvPr/>
        </p:nvCxnSpPr>
        <p:spPr>
          <a:xfrm flipV="1">
            <a:off x="6171962" y="3252598"/>
            <a:ext cx="1693886" cy="13125"/>
          </a:xfrm>
          <a:prstGeom prst="line">
            <a:avLst/>
          </a:prstGeom>
          <a:ln w="28575" cap="rnd">
            <a:solidFill>
              <a:srgbClr val="A7A8AA"/>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1948318" y="2010796"/>
            <a:ext cx="999347" cy="1736135"/>
            <a:chOff x="805641" y="2127593"/>
            <a:chExt cx="999347" cy="1736135"/>
          </a:xfrm>
        </p:grpSpPr>
        <p:sp>
          <p:nvSpPr>
            <p:cNvPr id="74" name="椭圆 73"/>
            <p:cNvSpPr/>
            <p:nvPr/>
          </p:nvSpPr>
          <p:spPr bwMode="gray">
            <a:xfrm>
              <a:off x="805641" y="2127593"/>
              <a:ext cx="999347" cy="999347"/>
            </a:xfrm>
            <a:prstGeom prst="ellipse">
              <a:avLst/>
            </a:prstGeom>
            <a:solidFill>
              <a:schemeClr val="bg1"/>
            </a:solidFill>
            <a:ln w="95250" cmpd="thickThin"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3" name="文本框 92"/>
            <p:cNvSpPr txBox="1"/>
            <p:nvPr/>
          </p:nvSpPr>
          <p:spPr>
            <a:xfrm>
              <a:off x="971033" y="2372395"/>
              <a:ext cx="668563" cy="538609"/>
            </a:xfrm>
            <a:prstGeom prst="rect">
              <a:avLst/>
            </a:prstGeom>
            <a:noFill/>
          </p:spPr>
          <p:txBody>
            <a:bodyPr vert="horz" wrap="square" lIns="0" tIns="0" rIns="0" bIns="0" rtlCol="0">
              <a:spAutoFit/>
            </a:bodyPr>
            <a:lstStyle/>
            <a:p>
              <a:pPr algn="ctr">
                <a:buSzPct val="100000"/>
              </a:pPr>
              <a:r>
                <a:rPr lang="en-US" sz="2400" dirty="0">
                  <a:solidFill>
                    <a:srgbClr val="00A3E0"/>
                  </a:solidFill>
                </a:rPr>
                <a:t>01</a:t>
              </a:r>
            </a:p>
            <a:p>
              <a:pPr algn="ctr">
                <a:buSzPct val="100000"/>
              </a:pPr>
              <a:r>
                <a:rPr lang="en-US" sz="1050" dirty="0">
                  <a:solidFill>
                    <a:srgbClr val="00A3E0"/>
                  </a:solidFill>
                </a:rPr>
                <a:t>STEP</a:t>
              </a:r>
            </a:p>
          </p:txBody>
        </p:sp>
        <p:cxnSp>
          <p:nvCxnSpPr>
            <p:cNvPr id="117" name="直接连接符 116"/>
            <p:cNvCxnSpPr/>
            <p:nvPr/>
          </p:nvCxnSpPr>
          <p:spPr>
            <a:xfrm flipH="1">
              <a:off x="1305314" y="3357494"/>
              <a:ext cx="1" cy="506234"/>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bwMode="gray">
            <a:xfrm flipV="1">
              <a:off x="1236734" y="3137898"/>
              <a:ext cx="137160" cy="143135"/>
            </a:xfrm>
            <a:prstGeom prst="triangl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椭圆 14"/>
            <p:cNvSpPr/>
            <p:nvPr/>
          </p:nvSpPr>
          <p:spPr bwMode="gray">
            <a:xfrm>
              <a:off x="1238074" y="3332753"/>
              <a:ext cx="134480" cy="134480"/>
            </a:xfrm>
            <a:prstGeom prst="ellipse">
              <a:avLst/>
            </a:prstGeom>
            <a:solidFill>
              <a:schemeClr val="bg1"/>
            </a:solidFill>
            <a:ln w="19050" cmpd="sng" algn="ctr">
              <a:solidFill>
                <a:srgbClr val="00A3E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9" name="组合 8"/>
          <p:cNvGrpSpPr/>
          <p:nvPr/>
        </p:nvGrpSpPr>
        <p:grpSpPr>
          <a:xfrm>
            <a:off x="3776684" y="2010796"/>
            <a:ext cx="999347" cy="1746609"/>
            <a:chOff x="2889486" y="2138551"/>
            <a:chExt cx="999347" cy="1746609"/>
          </a:xfrm>
        </p:grpSpPr>
        <p:sp>
          <p:nvSpPr>
            <p:cNvPr id="76" name="椭圆 75"/>
            <p:cNvSpPr/>
            <p:nvPr/>
          </p:nvSpPr>
          <p:spPr bwMode="gray">
            <a:xfrm>
              <a:off x="2889486" y="2138551"/>
              <a:ext cx="999347" cy="999347"/>
            </a:xfrm>
            <a:prstGeom prst="ellipse">
              <a:avLst/>
            </a:prstGeom>
            <a:noFill/>
            <a:ln w="95250" cmpd="thickThin"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4" name="文本框 93"/>
            <p:cNvSpPr txBox="1"/>
            <p:nvPr/>
          </p:nvSpPr>
          <p:spPr>
            <a:xfrm>
              <a:off x="3054878" y="2372395"/>
              <a:ext cx="668563" cy="538609"/>
            </a:xfrm>
            <a:prstGeom prst="rect">
              <a:avLst/>
            </a:prstGeom>
            <a:noFill/>
          </p:spPr>
          <p:txBody>
            <a:bodyPr vert="horz" wrap="square" lIns="0" tIns="0" rIns="0" bIns="0" rtlCol="0">
              <a:spAutoFit/>
            </a:bodyPr>
            <a:lstStyle/>
            <a:p>
              <a:pPr algn="ctr">
                <a:buSzPct val="100000"/>
              </a:pPr>
              <a:r>
                <a:rPr lang="en-US" sz="2400" dirty="0">
                  <a:solidFill>
                    <a:srgbClr val="0076A8"/>
                  </a:solidFill>
                </a:rPr>
                <a:t>02</a:t>
              </a:r>
            </a:p>
            <a:p>
              <a:pPr algn="ctr">
                <a:buSzPct val="100000"/>
              </a:pPr>
              <a:r>
                <a:rPr lang="en-US" sz="1050" dirty="0">
                  <a:solidFill>
                    <a:srgbClr val="0076A8"/>
                  </a:solidFill>
                </a:rPr>
                <a:t>STEP</a:t>
              </a:r>
            </a:p>
          </p:txBody>
        </p:sp>
        <p:cxnSp>
          <p:nvCxnSpPr>
            <p:cNvPr id="119" name="直接连接符 118"/>
            <p:cNvCxnSpPr/>
            <p:nvPr/>
          </p:nvCxnSpPr>
          <p:spPr>
            <a:xfrm flipH="1">
              <a:off x="3389159" y="3378926"/>
              <a:ext cx="1" cy="506234"/>
            </a:xfrm>
            <a:prstGeom prst="line">
              <a:avLst/>
            </a:prstGeom>
            <a:ln w="28575" cap="rnd">
              <a:solidFill>
                <a:srgbClr val="005587"/>
              </a:solidFill>
              <a:prstDash val="sysDot"/>
            </a:ln>
          </p:spPr>
          <p:style>
            <a:lnRef idx="1">
              <a:schemeClr val="accent1"/>
            </a:lnRef>
            <a:fillRef idx="0">
              <a:schemeClr val="accent1"/>
            </a:fillRef>
            <a:effectRef idx="0">
              <a:schemeClr val="accent1"/>
            </a:effectRef>
            <a:fontRef idx="minor">
              <a:schemeClr val="tx1"/>
            </a:fontRef>
          </p:style>
        </p:cxnSp>
        <p:sp>
          <p:nvSpPr>
            <p:cNvPr id="65" name="椭圆 64"/>
            <p:cNvSpPr/>
            <p:nvPr/>
          </p:nvSpPr>
          <p:spPr bwMode="gray">
            <a:xfrm>
              <a:off x="3321919" y="3329160"/>
              <a:ext cx="134480" cy="134480"/>
            </a:xfrm>
            <a:prstGeom prst="ellipse">
              <a:avLst/>
            </a:prstGeom>
            <a:solidFill>
              <a:schemeClr val="bg1"/>
            </a:solidFill>
            <a:ln w="19050" cmpd="sng" algn="ctr">
              <a:solidFill>
                <a:srgbClr val="005587"/>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3" name="等腰三角形 72"/>
            <p:cNvSpPr/>
            <p:nvPr/>
          </p:nvSpPr>
          <p:spPr bwMode="gray">
            <a:xfrm flipV="1">
              <a:off x="3320579" y="3137898"/>
              <a:ext cx="137160" cy="143135"/>
            </a:xfrm>
            <a:prstGeom prst="triangle">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0" name="组合 9"/>
          <p:cNvGrpSpPr/>
          <p:nvPr/>
        </p:nvGrpSpPr>
        <p:grpSpPr>
          <a:xfrm>
            <a:off x="5605050" y="2010795"/>
            <a:ext cx="999347" cy="1725178"/>
            <a:chOff x="5116282" y="2138551"/>
            <a:chExt cx="999347" cy="1725178"/>
          </a:xfrm>
        </p:grpSpPr>
        <p:sp>
          <p:nvSpPr>
            <p:cNvPr id="78" name="椭圆 77"/>
            <p:cNvSpPr/>
            <p:nvPr/>
          </p:nvSpPr>
          <p:spPr bwMode="gray">
            <a:xfrm>
              <a:off x="5116282" y="2138551"/>
              <a:ext cx="999347" cy="999347"/>
            </a:xfrm>
            <a:prstGeom prst="ellipse">
              <a:avLst/>
            </a:prstGeom>
            <a:noFill/>
            <a:ln w="95250" cmpd="thickThin"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5" name="文本框 94"/>
            <p:cNvSpPr txBox="1"/>
            <p:nvPr/>
          </p:nvSpPr>
          <p:spPr>
            <a:xfrm>
              <a:off x="5281674" y="2372395"/>
              <a:ext cx="668563" cy="538609"/>
            </a:xfrm>
            <a:prstGeom prst="rect">
              <a:avLst/>
            </a:prstGeom>
            <a:noFill/>
          </p:spPr>
          <p:txBody>
            <a:bodyPr vert="horz" wrap="square" lIns="0" tIns="0" rIns="0" bIns="0" rtlCol="0">
              <a:spAutoFit/>
            </a:bodyPr>
            <a:lstStyle/>
            <a:p>
              <a:pPr algn="ctr">
                <a:buSzPct val="100000"/>
              </a:pPr>
              <a:r>
                <a:rPr lang="en-US" sz="2400" dirty="0">
                  <a:solidFill>
                    <a:srgbClr val="97999B"/>
                  </a:solidFill>
                </a:rPr>
                <a:t>03</a:t>
              </a:r>
            </a:p>
            <a:p>
              <a:pPr algn="ctr">
                <a:buSzPct val="100000"/>
              </a:pPr>
              <a:r>
                <a:rPr lang="en-US" sz="1050" dirty="0">
                  <a:solidFill>
                    <a:srgbClr val="97999B"/>
                  </a:solidFill>
                </a:rPr>
                <a:t>STEP</a:t>
              </a:r>
            </a:p>
          </p:txBody>
        </p:sp>
        <p:cxnSp>
          <p:nvCxnSpPr>
            <p:cNvPr id="121" name="直接连接符 120"/>
            <p:cNvCxnSpPr/>
            <p:nvPr/>
          </p:nvCxnSpPr>
          <p:spPr>
            <a:xfrm>
              <a:off x="5615955" y="3357495"/>
              <a:ext cx="0" cy="506234"/>
            </a:xfrm>
            <a:prstGeom prst="line">
              <a:avLst/>
            </a:prstGeom>
            <a:ln w="28575" cap="rnd">
              <a:solidFill>
                <a:srgbClr val="A7A8AA"/>
              </a:solidFill>
              <a:prstDash val="sysDot"/>
            </a:ln>
          </p:spPr>
          <p:style>
            <a:lnRef idx="1">
              <a:schemeClr val="accent1"/>
            </a:lnRef>
            <a:fillRef idx="0">
              <a:schemeClr val="accent1"/>
            </a:fillRef>
            <a:effectRef idx="0">
              <a:schemeClr val="accent1"/>
            </a:effectRef>
            <a:fontRef idx="minor">
              <a:schemeClr val="tx1"/>
            </a:fontRef>
          </p:style>
        </p:cxnSp>
        <p:sp>
          <p:nvSpPr>
            <p:cNvPr id="66" name="椭圆 65"/>
            <p:cNvSpPr/>
            <p:nvPr/>
          </p:nvSpPr>
          <p:spPr bwMode="gray">
            <a:xfrm>
              <a:off x="5548715" y="3326238"/>
              <a:ext cx="134480" cy="134480"/>
            </a:xfrm>
            <a:prstGeom prst="ellipse">
              <a:avLst/>
            </a:prstGeom>
            <a:solidFill>
              <a:schemeClr val="bg1"/>
            </a:solidFill>
            <a:ln w="19050" cmpd="sng" algn="ctr">
              <a:solidFill>
                <a:srgbClr val="A7A8AA"/>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5" name="等腰三角形 74"/>
            <p:cNvSpPr/>
            <p:nvPr/>
          </p:nvSpPr>
          <p:spPr bwMode="gray">
            <a:xfrm flipV="1">
              <a:off x="5547375" y="3137898"/>
              <a:ext cx="137160" cy="143135"/>
            </a:xfrm>
            <a:prstGeom prst="triangle">
              <a:avLst/>
            </a:prstGeom>
            <a:solidFill>
              <a:srgbClr val="A7A8AA"/>
            </a:solidFill>
            <a:ln w="19050"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2" name="组合 11"/>
          <p:cNvGrpSpPr/>
          <p:nvPr/>
        </p:nvGrpSpPr>
        <p:grpSpPr>
          <a:xfrm>
            <a:off x="7433416" y="2010795"/>
            <a:ext cx="999347" cy="1746608"/>
            <a:chOff x="7342563" y="2138551"/>
            <a:chExt cx="999347" cy="1746608"/>
          </a:xfrm>
        </p:grpSpPr>
        <p:sp>
          <p:nvSpPr>
            <p:cNvPr id="86" name="椭圆 85"/>
            <p:cNvSpPr/>
            <p:nvPr/>
          </p:nvSpPr>
          <p:spPr bwMode="gray">
            <a:xfrm>
              <a:off x="7342563" y="2138551"/>
              <a:ext cx="999347" cy="999347"/>
            </a:xfrm>
            <a:prstGeom prst="ellipse">
              <a:avLst/>
            </a:prstGeom>
            <a:noFill/>
            <a:ln w="95250" cmpd="thickThin"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6" name="文本框 95"/>
            <p:cNvSpPr txBox="1"/>
            <p:nvPr/>
          </p:nvSpPr>
          <p:spPr>
            <a:xfrm>
              <a:off x="7507955" y="2383506"/>
              <a:ext cx="668563" cy="538609"/>
            </a:xfrm>
            <a:prstGeom prst="rect">
              <a:avLst/>
            </a:prstGeom>
            <a:noFill/>
          </p:spPr>
          <p:txBody>
            <a:bodyPr vert="horz" wrap="square" lIns="0" tIns="0" rIns="0" bIns="0" rtlCol="0">
              <a:spAutoFit/>
            </a:bodyPr>
            <a:lstStyle/>
            <a:p>
              <a:pPr algn="ctr">
                <a:buSzPct val="100000"/>
              </a:pPr>
              <a:r>
                <a:rPr lang="en-US" sz="2400" dirty="0">
                  <a:solidFill>
                    <a:schemeClr val="accent1"/>
                  </a:solidFill>
                </a:rPr>
                <a:t>04</a:t>
              </a:r>
            </a:p>
            <a:p>
              <a:pPr algn="ctr">
                <a:buSzPct val="100000"/>
              </a:pPr>
              <a:r>
                <a:rPr lang="en-US" sz="1050" dirty="0">
                  <a:solidFill>
                    <a:schemeClr val="accent1"/>
                  </a:solidFill>
                </a:rPr>
                <a:t>STEP</a:t>
              </a:r>
            </a:p>
          </p:txBody>
        </p:sp>
        <p:cxnSp>
          <p:nvCxnSpPr>
            <p:cNvPr id="172" name="直接连接符 171"/>
            <p:cNvCxnSpPr/>
            <p:nvPr/>
          </p:nvCxnSpPr>
          <p:spPr>
            <a:xfrm>
              <a:off x="7842236" y="3378925"/>
              <a:ext cx="0" cy="506234"/>
            </a:xfrm>
            <a:prstGeom prst="line">
              <a:avLst/>
            </a:prstGeom>
            <a:ln w="28575" cap="rnd">
              <a:solidFill>
                <a:srgbClr val="86BC25"/>
              </a:solidFill>
              <a:prstDash val="sysDot"/>
            </a:ln>
          </p:spPr>
          <p:style>
            <a:lnRef idx="1">
              <a:schemeClr val="accent1"/>
            </a:lnRef>
            <a:fillRef idx="0">
              <a:schemeClr val="accent1"/>
            </a:fillRef>
            <a:effectRef idx="0">
              <a:schemeClr val="accent1"/>
            </a:effectRef>
            <a:fontRef idx="minor">
              <a:schemeClr val="tx1"/>
            </a:fontRef>
          </p:style>
        </p:cxnSp>
        <p:sp>
          <p:nvSpPr>
            <p:cNvPr id="67" name="椭圆 66"/>
            <p:cNvSpPr/>
            <p:nvPr/>
          </p:nvSpPr>
          <p:spPr bwMode="gray">
            <a:xfrm>
              <a:off x="7774996" y="3313113"/>
              <a:ext cx="134480" cy="134480"/>
            </a:xfrm>
            <a:prstGeom prst="ellipse">
              <a:avLst/>
            </a:prstGeom>
            <a:solidFill>
              <a:schemeClr val="bg1"/>
            </a:solidFill>
            <a:ln w="19050" cmpd="sng" algn="ctr">
              <a:solidFill>
                <a:srgbClr val="86BC25"/>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7" name="等腰三角形 76"/>
            <p:cNvSpPr/>
            <p:nvPr/>
          </p:nvSpPr>
          <p:spPr bwMode="gray">
            <a:xfrm flipV="1">
              <a:off x="7773656" y="3137898"/>
              <a:ext cx="137160" cy="143135"/>
            </a:xfrm>
            <a:prstGeom prst="triangl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8" name="组合 67"/>
          <p:cNvGrpSpPr/>
          <p:nvPr/>
        </p:nvGrpSpPr>
        <p:grpSpPr>
          <a:xfrm>
            <a:off x="9261784" y="2010795"/>
            <a:ext cx="999347" cy="1746608"/>
            <a:chOff x="7342563" y="2138551"/>
            <a:chExt cx="999347" cy="1746608"/>
          </a:xfrm>
        </p:grpSpPr>
        <p:sp>
          <p:nvSpPr>
            <p:cNvPr id="69" name="椭圆 68"/>
            <p:cNvSpPr/>
            <p:nvPr/>
          </p:nvSpPr>
          <p:spPr bwMode="gray">
            <a:xfrm>
              <a:off x="7342563" y="2138551"/>
              <a:ext cx="999347" cy="999347"/>
            </a:xfrm>
            <a:prstGeom prst="ellipse">
              <a:avLst/>
            </a:prstGeom>
            <a:noFill/>
            <a:ln w="95250" cmpd="thickThin"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0" name="文本框 69"/>
            <p:cNvSpPr txBox="1"/>
            <p:nvPr/>
          </p:nvSpPr>
          <p:spPr>
            <a:xfrm>
              <a:off x="7507955" y="2383506"/>
              <a:ext cx="668563" cy="538609"/>
            </a:xfrm>
            <a:prstGeom prst="rect">
              <a:avLst/>
            </a:prstGeom>
            <a:noFill/>
          </p:spPr>
          <p:txBody>
            <a:bodyPr vert="horz" wrap="square" lIns="0" tIns="0" rIns="0" bIns="0" rtlCol="0">
              <a:spAutoFit/>
            </a:bodyPr>
            <a:lstStyle/>
            <a:p>
              <a:pPr algn="ctr">
                <a:buSzPct val="100000"/>
              </a:pPr>
              <a:r>
                <a:rPr lang="en-US" sz="2400" dirty="0">
                  <a:solidFill>
                    <a:srgbClr val="43B02A"/>
                  </a:solidFill>
                </a:rPr>
                <a:t>05</a:t>
              </a:r>
            </a:p>
            <a:p>
              <a:pPr algn="ctr">
                <a:buSzPct val="100000"/>
              </a:pPr>
              <a:r>
                <a:rPr lang="en-US" sz="1050" dirty="0">
                  <a:solidFill>
                    <a:srgbClr val="43B02A"/>
                  </a:solidFill>
                </a:rPr>
                <a:t>STEP</a:t>
              </a:r>
            </a:p>
          </p:txBody>
        </p:sp>
        <p:cxnSp>
          <p:nvCxnSpPr>
            <p:cNvPr id="83" name="直接连接符 82"/>
            <p:cNvCxnSpPr/>
            <p:nvPr/>
          </p:nvCxnSpPr>
          <p:spPr>
            <a:xfrm>
              <a:off x="7842236" y="3378925"/>
              <a:ext cx="0" cy="506234"/>
            </a:xfrm>
            <a:prstGeom prst="line">
              <a:avLst/>
            </a:prstGeom>
            <a:ln w="28575" cap="rnd">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84" name="椭圆 83"/>
            <p:cNvSpPr/>
            <p:nvPr/>
          </p:nvSpPr>
          <p:spPr bwMode="gray">
            <a:xfrm>
              <a:off x="7774996" y="3313113"/>
              <a:ext cx="134480" cy="134480"/>
            </a:xfrm>
            <a:prstGeom prst="ellipse">
              <a:avLst/>
            </a:prstGeom>
            <a:solidFill>
              <a:schemeClr val="bg1"/>
            </a:solidFill>
            <a:ln w="19050" cmpd="sng" algn="ctr">
              <a:solidFill>
                <a:srgbClr val="43B02A"/>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5" name="等腰三角形 84"/>
            <p:cNvSpPr/>
            <p:nvPr/>
          </p:nvSpPr>
          <p:spPr bwMode="gray">
            <a:xfrm flipV="1">
              <a:off x="7773656" y="3137898"/>
              <a:ext cx="137160" cy="143135"/>
            </a:xfrm>
            <a:prstGeom prst="triangl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cxnSp>
        <p:nvCxnSpPr>
          <p:cNvPr id="87" name="直接连接符 86"/>
          <p:cNvCxnSpPr>
            <a:stCxn id="67" idx="6"/>
            <a:endCxn id="84" idx="2"/>
          </p:cNvCxnSpPr>
          <p:nvPr/>
        </p:nvCxnSpPr>
        <p:spPr>
          <a:xfrm>
            <a:off x="8000328" y="3252597"/>
            <a:ext cx="1693888" cy="0"/>
          </a:xfrm>
          <a:prstGeom prst="line">
            <a:avLst/>
          </a:prstGeom>
          <a:ln w="28575" cap="rnd">
            <a:solidFill>
              <a:srgbClr val="86BC25"/>
            </a:solidFill>
            <a:prstDash val="sysDot"/>
          </a:ln>
        </p:spPr>
        <p:style>
          <a:lnRef idx="1">
            <a:schemeClr val="accent1"/>
          </a:lnRef>
          <a:fillRef idx="0">
            <a:schemeClr val="accent1"/>
          </a:fillRef>
          <a:effectRef idx="0">
            <a:schemeClr val="accent1"/>
          </a:effectRef>
          <a:fontRef idx="minor">
            <a:schemeClr val="tx1"/>
          </a:fontRef>
        </p:style>
      </p:cxnSp>
      <p:sp>
        <p:nvSpPr>
          <p:cNvPr id="89" name="文本框 88"/>
          <p:cNvSpPr txBox="1"/>
          <p:nvPr/>
        </p:nvSpPr>
        <p:spPr>
          <a:xfrm>
            <a:off x="3693868" y="382913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005587"/>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90" name="文本框 89"/>
          <p:cNvSpPr txBox="1"/>
          <p:nvPr/>
        </p:nvSpPr>
        <p:spPr>
          <a:xfrm>
            <a:off x="5478257" y="382913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A7A8AA"/>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91" name="文本框 90"/>
          <p:cNvSpPr txBox="1"/>
          <p:nvPr/>
        </p:nvSpPr>
        <p:spPr>
          <a:xfrm>
            <a:off x="7262646" y="382913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1"/>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92" name="文本框 91"/>
          <p:cNvSpPr txBox="1"/>
          <p:nvPr/>
        </p:nvSpPr>
        <p:spPr>
          <a:xfrm>
            <a:off x="9047035" y="382913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43B02A"/>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Tree>
    <p:custDataLst>
      <p:tags r:id="rId1"/>
    </p:custDataLst>
    <p:extLst>
      <p:ext uri="{BB962C8B-B14F-4D97-AF65-F5344CB8AC3E}">
        <p14:creationId xmlns:p14="http://schemas.microsoft.com/office/powerpoint/2010/main" val="3656142487"/>
      </p:ext>
    </p:extLst>
  </p:cSld>
  <p:clrMapOvr>
    <a:masterClrMapping/>
  </p:clrMapOvr>
  <p:transition>
    <p:fade/>
  </p:transition>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1932936" y="1739312"/>
            <a:ext cx="8339064" cy="2825986"/>
            <a:chOff x="614026" y="2027603"/>
            <a:chExt cx="7915949" cy="2682599"/>
          </a:xfrm>
        </p:grpSpPr>
        <p:sp>
          <p:nvSpPr>
            <p:cNvPr id="47" name="梯形 46"/>
            <p:cNvSpPr/>
            <p:nvPr/>
          </p:nvSpPr>
          <p:spPr bwMode="gray">
            <a:xfrm flipV="1">
              <a:off x="2939640" y="3961061"/>
              <a:ext cx="92557" cy="215281"/>
            </a:xfrm>
            <a:prstGeom prst="trapezoid">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梯形 51"/>
            <p:cNvSpPr/>
            <p:nvPr/>
          </p:nvSpPr>
          <p:spPr bwMode="gray">
            <a:xfrm flipV="1">
              <a:off x="6130404" y="3961061"/>
              <a:ext cx="92557" cy="215281"/>
            </a:xfrm>
            <a:prstGeom prst="trapezoid">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梯形 42"/>
            <p:cNvSpPr/>
            <p:nvPr/>
          </p:nvSpPr>
          <p:spPr bwMode="gray">
            <a:xfrm>
              <a:off x="7693064" y="2584307"/>
              <a:ext cx="92557" cy="215281"/>
            </a:xfrm>
            <a:prstGeom prst="trapezoid">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9" name="梯形 38"/>
            <p:cNvSpPr/>
            <p:nvPr/>
          </p:nvSpPr>
          <p:spPr bwMode="gray">
            <a:xfrm>
              <a:off x="4520903" y="2584307"/>
              <a:ext cx="92557" cy="215281"/>
            </a:xfrm>
            <a:prstGeom prst="trapezoid">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 name="椭圆 19"/>
            <p:cNvSpPr/>
            <p:nvPr/>
          </p:nvSpPr>
          <p:spPr bwMode="gray">
            <a:xfrm>
              <a:off x="826827" y="2796124"/>
              <a:ext cx="1154545" cy="1154545"/>
            </a:xfrm>
            <a:prstGeom prst="ellipse">
              <a:avLst/>
            </a:prstGeom>
            <a:solidFill>
              <a:schemeClr val="bg1"/>
            </a:solidFill>
            <a:ln w="57150"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 name="椭圆 40"/>
            <p:cNvSpPr/>
            <p:nvPr/>
          </p:nvSpPr>
          <p:spPr bwMode="gray">
            <a:xfrm>
              <a:off x="614026" y="2582765"/>
              <a:ext cx="1581264" cy="1581264"/>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790632 w 1581264"/>
                <a:gd name="connsiteY0" fmla="*/ 1581264 h 1672704"/>
                <a:gd name="connsiteX1" fmla="*/ 0 w 1581264"/>
                <a:gd name="connsiteY1" fmla="*/ 790632 h 1672704"/>
                <a:gd name="connsiteX2" fmla="*/ 790632 w 1581264"/>
                <a:gd name="connsiteY2" fmla="*/ 0 h 1672704"/>
                <a:gd name="connsiteX3" fmla="*/ 1581264 w 1581264"/>
                <a:gd name="connsiteY3" fmla="*/ 790632 h 1672704"/>
                <a:gd name="connsiteX4" fmla="*/ 882072 w 1581264"/>
                <a:gd name="connsiteY4" fmla="*/ 1672704 h 1672704"/>
                <a:gd name="connsiteX0" fmla="*/ 790632 w 1581264"/>
                <a:gd name="connsiteY0" fmla="*/ 1581264 h 1581264"/>
                <a:gd name="connsiteX1" fmla="*/ 0 w 1581264"/>
                <a:gd name="connsiteY1" fmla="*/ 790632 h 1581264"/>
                <a:gd name="connsiteX2" fmla="*/ 790632 w 1581264"/>
                <a:gd name="connsiteY2" fmla="*/ 0 h 1581264"/>
                <a:gd name="connsiteX3" fmla="*/ 1581264 w 1581264"/>
                <a:gd name="connsiteY3" fmla="*/ 790632 h 1581264"/>
              </a:gdLst>
              <a:ahLst/>
              <a:cxnLst>
                <a:cxn ang="0">
                  <a:pos x="connsiteX0" y="connsiteY0"/>
                </a:cxn>
                <a:cxn ang="0">
                  <a:pos x="connsiteX1" y="connsiteY1"/>
                </a:cxn>
                <a:cxn ang="0">
                  <a:pos x="connsiteX2" y="connsiteY2"/>
                </a:cxn>
                <a:cxn ang="0">
                  <a:pos x="connsiteX3" y="connsiteY3"/>
                </a:cxn>
              </a:cxnLst>
              <a:rect l="l" t="t" r="r" b="b"/>
              <a:pathLst>
                <a:path w="1581264" h="1581264">
                  <a:moveTo>
                    <a:pt x="790632" y="1581264"/>
                  </a:moveTo>
                  <a:cubicBezTo>
                    <a:pt x="353978" y="1581264"/>
                    <a:pt x="0" y="1227286"/>
                    <a:pt x="0" y="790632"/>
                  </a:cubicBezTo>
                  <a:cubicBezTo>
                    <a:pt x="0" y="353978"/>
                    <a:pt x="353978" y="0"/>
                    <a:pt x="790632" y="0"/>
                  </a:cubicBezTo>
                  <a:cubicBezTo>
                    <a:pt x="1227286" y="0"/>
                    <a:pt x="1581264" y="353978"/>
                    <a:pt x="1581264" y="790632"/>
                  </a:cubicBezTo>
                </a:path>
              </a:pathLst>
            </a:custGeom>
            <a:noFill/>
            <a:ln w="28575" cap="rnd" algn="ctr">
              <a:solidFill>
                <a:srgbClr val="005587"/>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 name="椭圆 21"/>
            <p:cNvSpPr/>
            <p:nvPr/>
          </p:nvSpPr>
          <p:spPr bwMode="gray">
            <a:xfrm>
              <a:off x="2408284" y="2796124"/>
              <a:ext cx="1154545" cy="1154545"/>
            </a:xfrm>
            <a:prstGeom prst="ellipse">
              <a:avLst/>
            </a:prstGeom>
            <a:noFill/>
            <a:ln w="57150" algn="ctr">
              <a:solidFill>
                <a:srgbClr val="75787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 name="椭圆 60"/>
            <p:cNvSpPr/>
            <p:nvPr/>
          </p:nvSpPr>
          <p:spPr bwMode="gray">
            <a:xfrm flipV="1">
              <a:off x="2195288" y="3373397"/>
              <a:ext cx="1581264" cy="790632"/>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91440 w 1581264"/>
                <a:gd name="connsiteY4" fmla="*/ 88207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0" fmla="*/ 0 w 1581264"/>
                <a:gd name="connsiteY0" fmla="*/ 790632 h 790632"/>
                <a:gd name="connsiteX1" fmla="*/ 790632 w 1581264"/>
                <a:gd name="connsiteY1" fmla="*/ 0 h 790632"/>
                <a:gd name="connsiteX2" fmla="*/ 1581264 w 1581264"/>
                <a:gd name="connsiteY2" fmla="*/ 790632 h 790632"/>
              </a:gdLst>
              <a:ahLst/>
              <a:cxnLst>
                <a:cxn ang="0">
                  <a:pos x="connsiteX0" y="connsiteY0"/>
                </a:cxn>
                <a:cxn ang="0">
                  <a:pos x="connsiteX1" y="connsiteY1"/>
                </a:cxn>
                <a:cxn ang="0">
                  <a:pos x="connsiteX2" y="connsiteY2"/>
                </a:cxn>
              </a:cxnLst>
              <a:rect l="l" t="t" r="r" b="b"/>
              <a:pathLst>
                <a:path w="1581264" h="790632">
                  <a:moveTo>
                    <a:pt x="0" y="790632"/>
                  </a:moveTo>
                  <a:cubicBezTo>
                    <a:pt x="0" y="353978"/>
                    <a:pt x="353978" y="0"/>
                    <a:pt x="790632" y="0"/>
                  </a:cubicBezTo>
                  <a:cubicBezTo>
                    <a:pt x="1227286" y="0"/>
                    <a:pt x="1581264" y="353978"/>
                    <a:pt x="1581264" y="790632"/>
                  </a:cubicBezTo>
                </a:path>
              </a:pathLst>
            </a:custGeom>
            <a:noFill/>
            <a:ln w="28575" cap="rnd" algn="ctr">
              <a:solidFill>
                <a:srgbClr val="75787B"/>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椭圆 23"/>
            <p:cNvSpPr/>
            <p:nvPr/>
          </p:nvSpPr>
          <p:spPr bwMode="gray">
            <a:xfrm>
              <a:off x="3990273" y="2796124"/>
              <a:ext cx="1154545" cy="1154545"/>
            </a:xfrm>
            <a:prstGeom prst="ellipse">
              <a:avLst/>
            </a:prstGeom>
            <a:noFill/>
            <a:ln w="571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 name="椭圆 64"/>
            <p:cNvSpPr/>
            <p:nvPr/>
          </p:nvSpPr>
          <p:spPr bwMode="gray">
            <a:xfrm>
              <a:off x="3776550" y="2582765"/>
              <a:ext cx="1581264" cy="790632"/>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790632 w 1581264"/>
                <a:gd name="connsiteY0" fmla="*/ 1581264 h 1672704"/>
                <a:gd name="connsiteX1" fmla="*/ 0 w 1581264"/>
                <a:gd name="connsiteY1" fmla="*/ 790632 h 1672704"/>
                <a:gd name="connsiteX2" fmla="*/ 790632 w 1581264"/>
                <a:gd name="connsiteY2" fmla="*/ 0 h 1672704"/>
                <a:gd name="connsiteX3" fmla="*/ 1581264 w 1581264"/>
                <a:gd name="connsiteY3" fmla="*/ 790632 h 1672704"/>
                <a:gd name="connsiteX4" fmla="*/ 882072 w 1581264"/>
                <a:gd name="connsiteY4" fmla="*/ 1672704 h 1672704"/>
                <a:gd name="connsiteX0" fmla="*/ 790632 w 1581264"/>
                <a:gd name="connsiteY0" fmla="*/ 1581264 h 1581264"/>
                <a:gd name="connsiteX1" fmla="*/ 0 w 1581264"/>
                <a:gd name="connsiteY1" fmla="*/ 790632 h 1581264"/>
                <a:gd name="connsiteX2" fmla="*/ 790632 w 1581264"/>
                <a:gd name="connsiteY2" fmla="*/ 0 h 1581264"/>
                <a:gd name="connsiteX3" fmla="*/ 1581264 w 1581264"/>
                <a:gd name="connsiteY3" fmla="*/ 790632 h 1581264"/>
                <a:gd name="connsiteX0" fmla="*/ 0 w 1581264"/>
                <a:gd name="connsiteY0" fmla="*/ 790632 h 790632"/>
                <a:gd name="connsiteX1" fmla="*/ 790632 w 1581264"/>
                <a:gd name="connsiteY1" fmla="*/ 0 h 790632"/>
                <a:gd name="connsiteX2" fmla="*/ 1581264 w 1581264"/>
                <a:gd name="connsiteY2" fmla="*/ 790632 h 790632"/>
              </a:gdLst>
              <a:ahLst/>
              <a:cxnLst>
                <a:cxn ang="0">
                  <a:pos x="connsiteX0" y="connsiteY0"/>
                </a:cxn>
                <a:cxn ang="0">
                  <a:pos x="connsiteX1" y="connsiteY1"/>
                </a:cxn>
                <a:cxn ang="0">
                  <a:pos x="connsiteX2" y="connsiteY2"/>
                </a:cxn>
              </a:cxnLst>
              <a:rect l="l" t="t" r="r" b="b"/>
              <a:pathLst>
                <a:path w="1581264" h="790632">
                  <a:moveTo>
                    <a:pt x="0" y="790632"/>
                  </a:moveTo>
                  <a:cubicBezTo>
                    <a:pt x="0" y="353978"/>
                    <a:pt x="353978" y="0"/>
                    <a:pt x="790632" y="0"/>
                  </a:cubicBezTo>
                  <a:cubicBezTo>
                    <a:pt x="1227286" y="0"/>
                    <a:pt x="1581264" y="353978"/>
                    <a:pt x="1581264" y="790632"/>
                  </a:cubicBezTo>
                </a:path>
              </a:pathLst>
            </a:custGeom>
            <a:noFill/>
            <a:ln w="28575" cap="rnd" algn="ctr">
              <a:solidFill>
                <a:srgbClr val="43B02A"/>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椭圆 25"/>
            <p:cNvSpPr/>
            <p:nvPr/>
          </p:nvSpPr>
          <p:spPr bwMode="gray">
            <a:xfrm flipV="1">
              <a:off x="7162070" y="2807235"/>
              <a:ext cx="1154545" cy="1154545"/>
            </a:xfrm>
            <a:prstGeom prst="ellipse">
              <a:avLst/>
            </a:prstGeom>
            <a:noFill/>
            <a:ln w="57150" algn="ctr">
              <a:solidFill>
                <a:srgbClr val="00ABA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 name="椭圆 67"/>
            <p:cNvSpPr/>
            <p:nvPr/>
          </p:nvSpPr>
          <p:spPr bwMode="gray">
            <a:xfrm>
              <a:off x="6948711" y="2593876"/>
              <a:ext cx="1581264" cy="1581264"/>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91440 w 1581264"/>
                <a:gd name="connsiteY4" fmla="*/ 88207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Lst>
              <a:ahLst/>
              <a:cxnLst>
                <a:cxn ang="0">
                  <a:pos x="connsiteX0" y="connsiteY0"/>
                </a:cxn>
                <a:cxn ang="0">
                  <a:pos x="connsiteX1" y="connsiteY1"/>
                </a:cxn>
                <a:cxn ang="0">
                  <a:pos x="connsiteX2" y="connsiteY2"/>
                </a:cxn>
                <a:cxn ang="0">
                  <a:pos x="connsiteX3" y="connsiteY3"/>
                </a:cxn>
              </a:cxnLst>
              <a:rect l="l" t="t" r="r" b="b"/>
              <a:pathLst>
                <a:path w="1581264" h="1581264">
                  <a:moveTo>
                    <a:pt x="0" y="790632"/>
                  </a:moveTo>
                  <a:cubicBezTo>
                    <a:pt x="0" y="353978"/>
                    <a:pt x="353978" y="0"/>
                    <a:pt x="790632" y="0"/>
                  </a:cubicBezTo>
                  <a:cubicBezTo>
                    <a:pt x="1227286" y="0"/>
                    <a:pt x="1581264" y="353978"/>
                    <a:pt x="1581264" y="790632"/>
                  </a:cubicBezTo>
                  <a:cubicBezTo>
                    <a:pt x="1581264" y="1227286"/>
                    <a:pt x="1227286" y="1581264"/>
                    <a:pt x="790632" y="1581264"/>
                  </a:cubicBezTo>
                </a:path>
              </a:pathLst>
            </a:custGeom>
            <a:noFill/>
            <a:ln w="28575" cap="rnd" algn="ctr">
              <a:solidFill>
                <a:srgbClr val="00ABAB"/>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等腰三角形 27"/>
            <p:cNvSpPr/>
            <p:nvPr/>
          </p:nvSpPr>
          <p:spPr bwMode="gray">
            <a:xfrm rot="16200000">
              <a:off x="1341407" y="4100612"/>
              <a:ext cx="126501" cy="126501"/>
            </a:xfrm>
            <a:prstGeom prst="triangl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1" name="椭圆 30"/>
            <p:cNvSpPr/>
            <p:nvPr/>
          </p:nvSpPr>
          <p:spPr bwMode="gray">
            <a:xfrm>
              <a:off x="5597841" y="2807235"/>
              <a:ext cx="1154545" cy="1154545"/>
            </a:xfrm>
            <a:prstGeom prst="ellipse">
              <a:avLst/>
            </a:prstGeom>
            <a:noFill/>
            <a:ln w="57150"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2" name="椭圆 60"/>
            <p:cNvSpPr/>
            <p:nvPr/>
          </p:nvSpPr>
          <p:spPr bwMode="gray">
            <a:xfrm flipV="1">
              <a:off x="5357812" y="3384508"/>
              <a:ext cx="1581264" cy="790632"/>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91440 w 1581264"/>
                <a:gd name="connsiteY4" fmla="*/ 88207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0" fmla="*/ 0 w 1581264"/>
                <a:gd name="connsiteY0" fmla="*/ 790632 h 790632"/>
                <a:gd name="connsiteX1" fmla="*/ 790632 w 1581264"/>
                <a:gd name="connsiteY1" fmla="*/ 0 h 790632"/>
                <a:gd name="connsiteX2" fmla="*/ 1581264 w 1581264"/>
                <a:gd name="connsiteY2" fmla="*/ 790632 h 790632"/>
              </a:gdLst>
              <a:ahLst/>
              <a:cxnLst>
                <a:cxn ang="0">
                  <a:pos x="connsiteX0" y="connsiteY0"/>
                </a:cxn>
                <a:cxn ang="0">
                  <a:pos x="connsiteX1" y="connsiteY1"/>
                </a:cxn>
                <a:cxn ang="0">
                  <a:pos x="connsiteX2" y="connsiteY2"/>
                </a:cxn>
              </a:cxnLst>
              <a:rect l="l" t="t" r="r" b="b"/>
              <a:pathLst>
                <a:path w="1581264" h="790632">
                  <a:moveTo>
                    <a:pt x="0" y="790632"/>
                  </a:moveTo>
                  <a:cubicBezTo>
                    <a:pt x="0" y="353978"/>
                    <a:pt x="353978" y="0"/>
                    <a:pt x="790632" y="0"/>
                  </a:cubicBezTo>
                  <a:cubicBezTo>
                    <a:pt x="1227286" y="0"/>
                    <a:pt x="1581264" y="353978"/>
                    <a:pt x="1581264" y="790632"/>
                  </a:cubicBezTo>
                </a:path>
              </a:pathLst>
            </a:custGeom>
            <a:noFill/>
            <a:ln w="28575" cap="rnd" algn="ctr">
              <a:solidFill>
                <a:srgbClr val="6FC2B4"/>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椭圆 39"/>
            <p:cNvSpPr/>
            <p:nvPr/>
          </p:nvSpPr>
          <p:spPr bwMode="gray">
            <a:xfrm>
              <a:off x="4520903" y="2538029"/>
              <a:ext cx="92557" cy="92557"/>
            </a:xfrm>
            <a:prstGeom prst="ellipse">
              <a:avLst/>
            </a:prstGeom>
            <a:solidFill>
              <a:schemeClr val="bg1"/>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椭圆 43"/>
            <p:cNvSpPr/>
            <p:nvPr/>
          </p:nvSpPr>
          <p:spPr bwMode="gray">
            <a:xfrm>
              <a:off x="7693064" y="2538029"/>
              <a:ext cx="92557" cy="92557"/>
            </a:xfrm>
            <a:prstGeom prst="ellipse">
              <a:avLst/>
            </a:prstGeom>
            <a:solidFill>
              <a:schemeClr val="bg1"/>
            </a:solidFill>
            <a:ln w="19050" algn="ctr">
              <a:solidFill>
                <a:srgbClr val="00ABA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椭圆 47"/>
            <p:cNvSpPr/>
            <p:nvPr/>
          </p:nvSpPr>
          <p:spPr bwMode="gray">
            <a:xfrm flipV="1">
              <a:off x="2939640" y="4130063"/>
              <a:ext cx="92557" cy="92557"/>
            </a:xfrm>
            <a:prstGeom prst="ellipse">
              <a:avLst/>
            </a:prstGeom>
            <a:solidFill>
              <a:schemeClr val="bg1"/>
            </a:solidFill>
            <a:ln w="19050" algn="ctr">
              <a:solidFill>
                <a:srgbClr val="75787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椭圆 52"/>
            <p:cNvSpPr/>
            <p:nvPr/>
          </p:nvSpPr>
          <p:spPr bwMode="gray">
            <a:xfrm flipV="1">
              <a:off x="6130404" y="4130063"/>
              <a:ext cx="92557" cy="92557"/>
            </a:xfrm>
            <a:prstGeom prst="ellipse">
              <a:avLst/>
            </a:prstGeom>
            <a:solidFill>
              <a:schemeClr val="bg1"/>
            </a:solidFill>
            <a:ln w="19050"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矩形 6"/>
            <p:cNvSpPr/>
            <p:nvPr/>
          </p:nvSpPr>
          <p:spPr bwMode="gray">
            <a:xfrm>
              <a:off x="7722371" y="4130063"/>
              <a:ext cx="97050" cy="97050"/>
            </a:xfrm>
            <a:prstGeom prst="rect">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文本框 7"/>
            <p:cNvSpPr txBox="1"/>
            <p:nvPr/>
          </p:nvSpPr>
          <p:spPr>
            <a:xfrm>
              <a:off x="1017904" y="3188730"/>
              <a:ext cx="772391" cy="350593"/>
            </a:xfrm>
            <a:prstGeom prst="rect">
              <a:avLst/>
            </a:prstGeom>
            <a:noFill/>
          </p:spPr>
          <p:txBody>
            <a:bodyPr vert="horz" wrap="square" lIns="0" tIns="0" rIns="0" bIns="0" rtlCol="0">
              <a:spAutoFit/>
            </a:bodyPr>
            <a:lstStyle/>
            <a:p>
              <a:pPr algn="ctr">
                <a:buSzPct val="100000"/>
              </a:pPr>
              <a:r>
                <a:rPr lang="en-US" sz="1200" b="1" dirty="0"/>
                <a:t>Lorem ipsum</a:t>
              </a:r>
            </a:p>
          </p:txBody>
        </p:sp>
        <p:sp>
          <p:nvSpPr>
            <p:cNvPr id="58" name="文本框 57"/>
            <p:cNvSpPr txBox="1"/>
            <p:nvPr/>
          </p:nvSpPr>
          <p:spPr>
            <a:xfrm>
              <a:off x="4115910" y="3188730"/>
              <a:ext cx="946242" cy="350593"/>
            </a:xfrm>
            <a:prstGeom prst="rect">
              <a:avLst/>
            </a:prstGeom>
            <a:noFill/>
          </p:spPr>
          <p:txBody>
            <a:bodyPr vert="horz" wrap="square" lIns="0" tIns="0" rIns="0" bIns="0" rtlCol="0">
              <a:spAutoFit/>
            </a:bodyPr>
            <a:lstStyle/>
            <a:p>
              <a:pPr algn="ctr">
                <a:spcBef>
                  <a:spcPts val="200"/>
                </a:spcBef>
                <a:buSzPct val="100000"/>
              </a:pPr>
              <a:r>
                <a:rPr lang="en-US" sz="1200" b="1" dirty="0"/>
                <a:t>Lorem ipsum</a:t>
              </a:r>
            </a:p>
          </p:txBody>
        </p:sp>
        <p:sp>
          <p:nvSpPr>
            <p:cNvPr id="61" name="文本框 60"/>
            <p:cNvSpPr txBox="1"/>
            <p:nvPr/>
          </p:nvSpPr>
          <p:spPr>
            <a:xfrm>
              <a:off x="7366282" y="3188730"/>
              <a:ext cx="746120" cy="350593"/>
            </a:xfrm>
            <a:prstGeom prst="rect">
              <a:avLst/>
            </a:prstGeom>
            <a:noFill/>
          </p:spPr>
          <p:txBody>
            <a:bodyPr vert="horz" wrap="square" lIns="0" tIns="0" rIns="0" bIns="0" rtlCol="0">
              <a:spAutoFit/>
            </a:bodyPr>
            <a:lstStyle/>
            <a:p>
              <a:pPr algn="ctr">
                <a:spcBef>
                  <a:spcPts val="200"/>
                </a:spcBef>
                <a:buSzPct val="100000"/>
              </a:pPr>
              <a:r>
                <a:rPr lang="en-US" sz="1200" b="1" dirty="0"/>
                <a:t>Lorem ipsum</a:t>
              </a:r>
            </a:p>
          </p:txBody>
        </p:sp>
        <p:sp>
          <p:nvSpPr>
            <p:cNvPr id="62" name="文本框 61"/>
            <p:cNvSpPr txBox="1"/>
            <p:nvPr/>
          </p:nvSpPr>
          <p:spPr>
            <a:xfrm>
              <a:off x="2456014" y="3188730"/>
              <a:ext cx="1080612" cy="350593"/>
            </a:xfrm>
            <a:prstGeom prst="rect">
              <a:avLst/>
            </a:prstGeom>
            <a:noFill/>
          </p:spPr>
          <p:txBody>
            <a:bodyPr vert="horz" wrap="square" lIns="0" tIns="0" rIns="0" bIns="0" rtlCol="0">
              <a:spAutoFit/>
            </a:bodyPr>
            <a:lstStyle/>
            <a:p>
              <a:pPr algn="ctr">
                <a:spcBef>
                  <a:spcPts val="200"/>
                </a:spcBef>
                <a:buSzPct val="100000"/>
              </a:pPr>
              <a:r>
                <a:rPr lang="en-US" sz="1200" b="1" dirty="0"/>
                <a:t>Lorem </a:t>
              </a:r>
              <a:br>
                <a:rPr lang="en-US" sz="1200" b="1" dirty="0"/>
              </a:br>
              <a:r>
                <a:rPr lang="en-US" sz="1200" b="1" dirty="0"/>
                <a:t>ipsum</a:t>
              </a:r>
            </a:p>
          </p:txBody>
        </p:sp>
        <p:sp>
          <p:nvSpPr>
            <p:cNvPr id="63" name="文本框 62"/>
            <p:cNvSpPr txBox="1"/>
            <p:nvPr/>
          </p:nvSpPr>
          <p:spPr>
            <a:xfrm>
              <a:off x="5772888" y="3188730"/>
              <a:ext cx="804451" cy="350593"/>
            </a:xfrm>
            <a:prstGeom prst="rect">
              <a:avLst/>
            </a:prstGeom>
            <a:noFill/>
          </p:spPr>
          <p:txBody>
            <a:bodyPr vert="horz" wrap="square" lIns="0" tIns="0" rIns="0" bIns="0" rtlCol="0">
              <a:spAutoFit/>
            </a:bodyPr>
            <a:lstStyle/>
            <a:p>
              <a:pPr algn="ctr">
                <a:spcBef>
                  <a:spcPts val="200"/>
                </a:spcBef>
                <a:buSzPct val="100000"/>
              </a:pPr>
              <a:r>
                <a:rPr lang="en-US" sz="1200" b="1" dirty="0"/>
                <a:t>Lorem ipsum</a:t>
              </a:r>
            </a:p>
          </p:txBody>
        </p:sp>
        <p:sp>
          <p:nvSpPr>
            <p:cNvPr id="10" name="泪滴形 9"/>
            <p:cNvSpPr/>
            <p:nvPr/>
          </p:nvSpPr>
          <p:spPr bwMode="gray">
            <a:xfrm rot="8100000">
              <a:off x="1248391" y="2027603"/>
              <a:ext cx="311417" cy="311417"/>
            </a:xfrm>
            <a:prstGeom prst="teardrop">
              <a:avLst>
                <a:gd name="adj" fmla="val 120833"/>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45" name="文本框 44"/>
            <p:cNvSpPr txBox="1"/>
            <p:nvPr/>
          </p:nvSpPr>
          <p:spPr>
            <a:xfrm>
              <a:off x="1294602" y="2090978"/>
              <a:ext cx="218993" cy="175296"/>
            </a:xfrm>
            <a:prstGeom prst="rect">
              <a:avLst/>
            </a:prstGeom>
            <a:noFill/>
          </p:spPr>
          <p:txBody>
            <a:bodyPr vert="horz" wrap="square" lIns="0" tIns="0" rIns="0" bIns="0" rtlCol="0">
              <a:spAutoFit/>
            </a:bodyPr>
            <a:lstStyle/>
            <a:p>
              <a:pPr algn="ctr">
                <a:spcBef>
                  <a:spcPts val="200"/>
                </a:spcBef>
                <a:buSzPct val="100000"/>
              </a:pPr>
              <a:r>
                <a:rPr lang="en-US" sz="1200" dirty="0">
                  <a:solidFill>
                    <a:srgbClr val="FFFFFF"/>
                  </a:solidFill>
                </a:rPr>
                <a:t>01</a:t>
              </a:r>
            </a:p>
          </p:txBody>
        </p:sp>
        <p:grpSp>
          <p:nvGrpSpPr>
            <p:cNvPr id="6" name="组合 5"/>
            <p:cNvGrpSpPr/>
            <p:nvPr/>
          </p:nvGrpSpPr>
          <p:grpSpPr>
            <a:xfrm>
              <a:off x="1358379" y="2538029"/>
              <a:ext cx="92557" cy="261559"/>
              <a:chOff x="1462613" y="2198686"/>
              <a:chExt cx="92557" cy="261559"/>
            </a:xfrm>
            <a:solidFill>
              <a:srgbClr val="005587"/>
            </a:solidFill>
          </p:grpSpPr>
          <p:sp>
            <p:nvSpPr>
              <p:cNvPr id="5" name="梯形 4"/>
              <p:cNvSpPr/>
              <p:nvPr/>
            </p:nvSpPr>
            <p:spPr bwMode="gray">
              <a:xfrm>
                <a:off x="1462613" y="2244964"/>
                <a:ext cx="92557" cy="215281"/>
              </a:xfrm>
              <a:prstGeom prst="trapezoid">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椭圆 28"/>
              <p:cNvSpPr/>
              <p:nvPr/>
            </p:nvSpPr>
            <p:spPr bwMode="gray">
              <a:xfrm>
                <a:off x="1462613" y="2198686"/>
                <a:ext cx="92557" cy="92557"/>
              </a:xfrm>
              <a:prstGeom prst="ellipse">
                <a:avLst/>
              </a:prstGeom>
              <a:solidFill>
                <a:srgbClr val="FFFFFF"/>
              </a:solidFill>
              <a:ln w="19050"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4" name="泪滴形 53"/>
            <p:cNvSpPr/>
            <p:nvPr/>
          </p:nvSpPr>
          <p:spPr bwMode="gray">
            <a:xfrm rot="13500000" flipV="1">
              <a:off x="2825731" y="4398784"/>
              <a:ext cx="311417" cy="311417"/>
            </a:xfrm>
            <a:prstGeom prst="teardrop">
              <a:avLst>
                <a:gd name="adj" fmla="val 120833"/>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55" name="文本框 54"/>
            <p:cNvSpPr txBox="1"/>
            <p:nvPr/>
          </p:nvSpPr>
          <p:spPr>
            <a:xfrm>
              <a:off x="2871942" y="4462159"/>
              <a:ext cx="218993" cy="175296"/>
            </a:xfrm>
            <a:prstGeom prst="rect">
              <a:avLst/>
            </a:prstGeom>
            <a:noFill/>
          </p:spPr>
          <p:txBody>
            <a:bodyPr vert="horz" wrap="square" lIns="0" tIns="0" rIns="0" bIns="0" rtlCol="0">
              <a:spAutoFit/>
            </a:bodyPr>
            <a:lstStyle/>
            <a:p>
              <a:pPr algn="ctr">
                <a:spcBef>
                  <a:spcPts val="200"/>
                </a:spcBef>
                <a:buSzPct val="100000"/>
              </a:pPr>
              <a:r>
                <a:rPr lang="en-US" sz="1200" dirty="0">
                  <a:solidFill>
                    <a:srgbClr val="FFFFFF"/>
                  </a:solidFill>
                </a:rPr>
                <a:t>02</a:t>
              </a:r>
            </a:p>
          </p:txBody>
        </p:sp>
        <p:sp>
          <p:nvSpPr>
            <p:cNvPr id="56" name="泪滴形 55"/>
            <p:cNvSpPr/>
            <p:nvPr/>
          </p:nvSpPr>
          <p:spPr bwMode="gray">
            <a:xfrm rot="8100000">
              <a:off x="4416291" y="2057989"/>
              <a:ext cx="311417" cy="311417"/>
            </a:xfrm>
            <a:prstGeom prst="teardrop">
              <a:avLst>
                <a:gd name="adj" fmla="val 120833"/>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57" name="文本框 56"/>
            <p:cNvSpPr txBox="1"/>
            <p:nvPr/>
          </p:nvSpPr>
          <p:spPr>
            <a:xfrm>
              <a:off x="4462502" y="2121364"/>
              <a:ext cx="218993" cy="175296"/>
            </a:xfrm>
            <a:prstGeom prst="rect">
              <a:avLst/>
            </a:prstGeom>
            <a:noFill/>
          </p:spPr>
          <p:txBody>
            <a:bodyPr vert="horz" wrap="square" lIns="0" tIns="0" rIns="0" bIns="0" rtlCol="0">
              <a:spAutoFit/>
            </a:bodyPr>
            <a:lstStyle/>
            <a:p>
              <a:pPr algn="ctr">
                <a:spcBef>
                  <a:spcPts val="200"/>
                </a:spcBef>
                <a:buSzPct val="100000"/>
              </a:pPr>
              <a:r>
                <a:rPr lang="en-US" sz="1200" dirty="0">
                  <a:solidFill>
                    <a:srgbClr val="FFFFFF"/>
                  </a:solidFill>
                </a:rPr>
                <a:t>03</a:t>
              </a:r>
            </a:p>
          </p:txBody>
        </p:sp>
        <p:sp>
          <p:nvSpPr>
            <p:cNvPr id="59" name="泪滴形 58"/>
            <p:cNvSpPr/>
            <p:nvPr/>
          </p:nvSpPr>
          <p:spPr bwMode="gray">
            <a:xfrm rot="8100000">
              <a:off x="7584191" y="2057990"/>
              <a:ext cx="311417" cy="311417"/>
            </a:xfrm>
            <a:prstGeom prst="teardrop">
              <a:avLst>
                <a:gd name="adj" fmla="val 120833"/>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65" name="文本框 64"/>
            <p:cNvSpPr txBox="1"/>
            <p:nvPr/>
          </p:nvSpPr>
          <p:spPr>
            <a:xfrm>
              <a:off x="7630402" y="2121365"/>
              <a:ext cx="218993" cy="175296"/>
            </a:xfrm>
            <a:prstGeom prst="rect">
              <a:avLst/>
            </a:prstGeom>
            <a:noFill/>
          </p:spPr>
          <p:txBody>
            <a:bodyPr vert="horz" wrap="square" lIns="0" tIns="0" rIns="0" bIns="0" rtlCol="0">
              <a:spAutoFit/>
            </a:bodyPr>
            <a:lstStyle/>
            <a:p>
              <a:pPr algn="ctr">
                <a:spcBef>
                  <a:spcPts val="200"/>
                </a:spcBef>
                <a:buSzPct val="100000"/>
              </a:pPr>
              <a:r>
                <a:rPr lang="en-US" sz="1200" dirty="0">
                  <a:solidFill>
                    <a:srgbClr val="FFFFFF"/>
                  </a:solidFill>
                </a:rPr>
                <a:t>05</a:t>
              </a:r>
            </a:p>
          </p:txBody>
        </p:sp>
        <p:sp>
          <p:nvSpPr>
            <p:cNvPr id="68" name="泪滴形 67"/>
            <p:cNvSpPr/>
            <p:nvPr/>
          </p:nvSpPr>
          <p:spPr bwMode="gray">
            <a:xfrm rot="13500000" flipV="1">
              <a:off x="6028437" y="4398785"/>
              <a:ext cx="311417" cy="311417"/>
            </a:xfrm>
            <a:prstGeom prst="teardrop">
              <a:avLst>
                <a:gd name="adj" fmla="val 120833"/>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69" name="文本框 68"/>
            <p:cNvSpPr txBox="1"/>
            <p:nvPr/>
          </p:nvSpPr>
          <p:spPr>
            <a:xfrm>
              <a:off x="6074648" y="4462160"/>
              <a:ext cx="218993" cy="175296"/>
            </a:xfrm>
            <a:prstGeom prst="rect">
              <a:avLst/>
            </a:prstGeom>
            <a:noFill/>
          </p:spPr>
          <p:txBody>
            <a:bodyPr vert="horz" wrap="square" lIns="0" tIns="0" rIns="0" bIns="0" rtlCol="0">
              <a:spAutoFit/>
            </a:bodyPr>
            <a:lstStyle/>
            <a:p>
              <a:pPr algn="ctr">
                <a:spcBef>
                  <a:spcPts val="200"/>
                </a:spcBef>
                <a:buSzPct val="100000"/>
              </a:pPr>
              <a:r>
                <a:rPr lang="en-US" sz="1200" dirty="0">
                  <a:solidFill>
                    <a:srgbClr val="FFFFFF"/>
                  </a:solidFill>
                </a:rPr>
                <a:t>04</a:t>
              </a:r>
            </a:p>
          </p:txBody>
        </p:sp>
      </p:grpSp>
    </p:spTree>
    <p:custDataLst>
      <p:tags r:id="rId1"/>
    </p:custDataLst>
    <p:extLst>
      <p:ext uri="{BB962C8B-B14F-4D97-AF65-F5344CB8AC3E}">
        <p14:creationId xmlns:p14="http://schemas.microsoft.com/office/powerpoint/2010/main" val="129525280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4435147" y="1714500"/>
            <a:ext cx="3321707" cy="3726090"/>
            <a:chOff x="4435147" y="2332045"/>
            <a:chExt cx="3321707" cy="3726090"/>
          </a:xfrm>
        </p:grpSpPr>
        <p:sp>
          <p:nvSpPr>
            <p:cNvPr id="4" name="Isosceles Triangle 3"/>
            <p:cNvSpPr/>
            <p:nvPr/>
          </p:nvSpPr>
          <p:spPr bwMode="gray">
            <a:xfrm>
              <a:off x="5092701" y="3385658"/>
              <a:ext cx="2006600" cy="1729826"/>
            </a:xfrm>
            <a:prstGeom prst="triangle">
              <a:avLst/>
            </a:prstGeom>
            <a:solidFill>
              <a:srgbClr val="86BC25"/>
            </a:solidFill>
            <a:ln w="12700" algn="ctr">
              <a:solidFill>
                <a:schemeClr val="bg1"/>
              </a:solid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sp>
          <p:nvSpPr>
            <p:cNvPr id="36" name="Oval 35">
              <a:extLst>
                <a:ext uri="{FF2B5EF4-FFF2-40B4-BE49-F238E27FC236}">
                  <a16:creationId xmlns:a16="http://schemas.microsoft.com/office/drawing/2014/main" id="{366CBA11-E43B-F34B-963D-2516884CE389}"/>
                </a:ext>
              </a:extLst>
            </p:cNvPr>
            <p:cNvSpPr/>
            <p:nvPr/>
          </p:nvSpPr>
          <p:spPr bwMode="gray">
            <a:xfrm>
              <a:off x="5128595" y="3583166"/>
              <a:ext cx="1934811" cy="1934811"/>
            </a:xfrm>
            <a:prstGeom prst="ellipse">
              <a:avLst/>
            </a:prstGeom>
            <a:solidFill>
              <a:schemeClr val="accent3"/>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sp>
          <p:nvSpPr>
            <p:cNvPr id="37" name="Freeform 85">
              <a:extLst>
                <a:ext uri="{FF2B5EF4-FFF2-40B4-BE49-F238E27FC236}">
                  <a16:creationId xmlns:a16="http://schemas.microsoft.com/office/drawing/2014/main" id="{F733403E-4D30-784C-89E5-CCB9640B6316}"/>
                </a:ext>
              </a:extLst>
            </p:cNvPr>
            <p:cNvSpPr>
              <a:spLocks noEditPoints="1"/>
            </p:cNvSpPr>
            <p:nvPr/>
          </p:nvSpPr>
          <p:spPr bwMode="auto">
            <a:xfrm>
              <a:off x="5486816" y="3911358"/>
              <a:ext cx="1254246" cy="1278415"/>
            </a:xfrm>
            <a:custGeom>
              <a:avLst/>
              <a:gdLst>
                <a:gd name="T0" fmla="*/ 345 w 501"/>
                <a:gd name="T1" fmla="*/ 361 h 500"/>
                <a:gd name="T2" fmla="*/ 250 w 501"/>
                <a:gd name="T3" fmla="*/ 500 h 500"/>
                <a:gd name="T4" fmla="*/ 364 w 501"/>
                <a:gd name="T5" fmla="*/ 399 h 500"/>
                <a:gd name="T6" fmla="*/ 345 w 501"/>
                <a:gd name="T7" fmla="*/ 361 h 500"/>
                <a:gd name="T8" fmla="*/ 418 w 501"/>
                <a:gd name="T9" fmla="*/ 65 h 500"/>
                <a:gd name="T10" fmla="*/ 305 w 501"/>
                <a:gd name="T11" fmla="*/ 99 h 500"/>
                <a:gd name="T12" fmla="*/ 380 w 501"/>
                <a:gd name="T13" fmla="*/ 266 h 500"/>
                <a:gd name="T14" fmla="*/ 498 w 501"/>
                <a:gd name="T15" fmla="*/ 285 h 500"/>
                <a:gd name="T16" fmla="*/ 418 w 501"/>
                <a:gd name="T17" fmla="*/ 65 h 500"/>
                <a:gd name="T18" fmla="*/ 318 w 501"/>
                <a:gd name="T19" fmla="*/ 332 h 500"/>
                <a:gd name="T20" fmla="*/ 122 w 501"/>
                <a:gd name="T21" fmla="*/ 273 h 500"/>
                <a:gd name="T22" fmla="*/ 68 w 501"/>
                <a:gd name="T23" fmla="*/ 421 h 500"/>
                <a:gd name="T24" fmla="*/ 318 w 501"/>
                <a:gd name="T25" fmla="*/ 332 h 500"/>
                <a:gd name="T26" fmla="*/ 400 w 501"/>
                <a:gd name="T27" fmla="*/ 368 h 500"/>
                <a:gd name="T28" fmla="*/ 398 w 501"/>
                <a:gd name="T29" fmla="*/ 452 h 500"/>
                <a:gd name="T30" fmla="*/ 430 w 501"/>
                <a:gd name="T31" fmla="*/ 336 h 500"/>
                <a:gd name="T32" fmla="*/ 331 w 501"/>
                <a:gd name="T33" fmla="*/ 297 h 500"/>
                <a:gd name="T34" fmla="*/ 345 w 501"/>
                <a:gd name="T35" fmla="*/ 279 h 500"/>
                <a:gd name="T36" fmla="*/ 251 w 501"/>
                <a:gd name="T37" fmla="*/ 152 h 500"/>
                <a:gd name="T38" fmla="*/ 167 w 501"/>
                <a:gd name="T39" fmla="*/ 191 h 500"/>
                <a:gd name="T40" fmla="*/ 173 w 501"/>
                <a:gd name="T41" fmla="*/ 235 h 500"/>
                <a:gd name="T42" fmla="*/ 251 w 501"/>
                <a:gd name="T43" fmla="*/ 46 h 500"/>
                <a:gd name="T44" fmla="*/ 288 w 501"/>
                <a:gd name="T45" fmla="*/ 60 h 500"/>
                <a:gd name="T46" fmla="*/ 250 w 501"/>
                <a:gd name="T47" fmla="*/ 0 h 500"/>
                <a:gd name="T48" fmla="*/ 224 w 501"/>
                <a:gd name="T49" fmla="*/ 53 h 500"/>
                <a:gd name="T50" fmla="*/ 69 w 501"/>
                <a:gd name="T51" fmla="*/ 219 h 500"/>
                <a:gd name="T52" fmla="*/ 73 w 501"/>
                <a:gd name="T53" fmla="*/ 198 h 500"/>
                <a:gd name="T54" fmla="*/ 0 w 501"/>
                <a:gd name="T55" fmla="*/ 250 h 500"/>
                <a:gd name="T56" fmla="*/ 80 w 501"/>
                <a:gd name="T57" fmla="*/ 252 h 500"/>
                <a:gd name="T58" fmla="*/ 122 w 501"/>
                <a:gd name="T59" fmla="*/ 166 h 500"/>
                <a:gd name="T60" fmla="*/ 138 w 501"/>
                <a:gd name="T61" fmla="*/ 169 h 500"/>
                <a:gd name="T62" fmla="*/ 198 w 501"/>
                <a:gd name="T63" fmla="*/ 99 h 500"/>
                <a:gd name="T64" fmla="*/ 119 w 501"/>
                <a:gd name="T65" fmla="*/ 37 h 500"/>
                <a:gd name="T66" fmla="*/ 99 w 501"/>
                <a:gd name="T67" fmla="*/ 17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1" h="500">
                  <a:moveTo>
                    <a:pt x="345" y="361"/>
                  </a:moveTo>
                  <a:lnTo>
                    <a:pt x="345" y="361"/>
                  </a:lnTo>
                  <a:cubicBezTo>
                    <a:pt x="282" y="391"/>
                    <a:pt x="228" y="437"/>
                    <a:pt x="190" y="493"/>
                  </a:cubicBezTo>
                  <a:cubicBezTo>
                    <a:pt x="209" y="498"/>
                    <a:pt x="229" y="500"/>
                    <a:pt x="250" y="500"/>
                  </a:cubicBezTo>
                  <a:cubicBezTo>
                    <a:pt x="288" y="500"/>
                    <a:pt x="324" y="492"/>
                    <a:pt x="356" y="477"/>
                  </a:cubicBezTo>
                  <a:cubicBezTo>
                    <a:pt x="361" y="452"/>
                    <a:pt x="364" y="426"/>
                    <a:pt x="364" y="399"/>
                  </a:cubicBezTo>
                  <a:cubicBezTo>
                    <a:pt x="364" y="389"/>
                    <a:pt x="363" y="380"/>
                    <a:pt x="363" y="370"/>
                  </a:cubicBezTo>
                  <a:cubicBezTo>
                    <a:pt x="356" y="368"/>
                    <a:pt x="350" y="365"/>
                    <a:pt x="345" y="361"/>
                  </a:cubicBezTo>
                  <a:close/>
                  <a:moveTo>
                    <a:pt x="418" y="65"/>
                  </a:moveTo>
                  <a:lnTo>
                    <a:pt x="418" y="65"/>
                  </a:lnTo>
                  <a:cubicBezTo>
                    <a:pt x="378" y="69"/>
                    <a:pt x="340" y="79"/>
                    <a:pt x="304" y="94"/>
                  </a:cubicBezTo>
                  <a:cubicBezTo>
                    <a:pt x="305" y="96"/>
                    <a:pt x="305" y="97"/>
                    <a:pt x="305" y="99"/>
                  </a:cubicBezTo>
                  <a:cubicBezTo>
                    <a:pt x="305" y="108"/>
                    <a:pt x="303" y="115"/>
                    <a:pt x="299" y="123"/>
                  </a:cubicBezTo>
                  <a:cubicBezTo>
                    <a:pt x="335" y="164"/>
                    <a:pt x="362" y="213"/>
                    <a:pt x="380" y="266"/>
                  </a:cubicBezTo>
                  <a:cubicBezTo>
                    <a:pt x="402" y="267"/>
                    <a:pt x="420" y="280"/>
                    <a:pt x="428" y="299"/>
                  </a:cubicBezTo>
                  <a:cubicBezTo>
                    <a:pt x="452" y="296"/>
                    <a:pt x="476" y="292"/>
                    <a:pt x="498" y="285"/>
                  </a:cubicBezTo>
                  <a:cubicBezTo>
                    <a:pt x="500" y="274"/>
                    <a:pt x="501" y="262"/>
                    <a:pt x="501" y="250"/>
                  </a:cubicBezTo>
                  <a:cubicBezTo>
                    <a:pt x="501" y="177"/>
                    <a:pt x="469" y="111"/>
                    <a:pt x="418" y="65"/>
                  </a:cubicBezTo>
                  <a:close/>
                  <a:moveTo>
                    <a:pt x="318" y="332"/>
                  </a:moveTo>
                  <a:lnTo>
                    <a:pt x="318" y="332"/>
                  </a:lnTo>
                  <a:cubicBezTo>
                    <a:pt x="257" y="322"/>
                    <a:pt x="199" y="299"/>
                    <a:pt x="150" y="265"/>
                  </a:cubicBezTo>
                  <a:cubicBezTo>
                    <a:pt x="142" y="270"/>
                    <a:pt x="132" y="273"/>
                    <a:pt x="122" y="273"/>
                  </a:cubicBezTo>
                  <a:cubicBezTo>
                    <a:pt x="118" y="273"/>
                    <a:pt x="115" y="272"/>
                    <a:pt x="111" y="272"/>
                  </a:cubicBezTo>
                  <a:cubicBezTo>
                    <a:pt x="87" y="317"/>
                    <a:pt x="72" y="367"/>
                    <a:pt x="68" y="421"/>
                  </a:cubicBezTo>
                  <a:cubicBezTo>
                    <a:pt x="91" y="446"/>
                    <a:pt x="120" y="467"/>
                    <a:pt x="153" y="481"/>
                  </a:cubicBezTo>
                  <a:cubicBezTo>
                    <a:pt x="194" y="418"/>
                    <a:pt x="250" y="367"/>
                    <a:pt x="318" y="332"/>
                  </a:cubicBezTo>
                  <a:close/>
                  <a:moveTo>
                    <a:pt x="400" y="368"/>
                  </a:moveTo>
                  <a:lnTo>
                    <a:pt x="400" y="368"/>
                  </a:lnTo>
                  <a:cubicBezTo>
                    <a:pt x="401" y="379"/>
                    <a:pt x="401" y="389"/>
                    <a:pt x="401" y="399"/>
                  </a:cubicBezTo>
                  <a:cubicBezTo>
                    <a:pt x="401" y="417"/>
                    <a:pt x="400" y="435"/>
                    <a:pt x="398" y="452"/>
                  </a:cubicBezTo>
                  <a:cubicBezTo>
                    <a:pt x="440" y="421"/>
                    <a:pt x="473" y="377"/>
                    <a:pt x="489" y="326"/>
                  </a:cubicBezTo>
                  <a:cubicBezTo>
                    <a:pt x="470" y="331"/>
                    <a:pt x="450" y="334"/>
                    <a:pt x="430" y="336"/>
                  </a:cubicBezTo>
                  <a:cubicBezTo>
                    <a:pt x="425" y="351"/>
                    <a:pt x="414" y="362"/>
                    <a:pt x="400" y="368"/>
                  </a:cubicBezTo>
                  <a:close/>
                  <a:moveTo>
                    <a:pt x="331" y="297"/>
                  </a:moveTo>
                  <a:lnTo>
                    <a:pt x="331" y="297"/>
                  </a:lnTo>
                  <a:cubicBezTo>
                    <a:pt x="334" y="290"/>
                    <a:pt x="339" y="284"/>
                    <a:pt x="345" y="279"/>
                  </a:cubicBezTo>
                  <a:cubicBezTo>
                    <a:pt x="329" y="230"/>
                    <a:pt x="304" y="186"/>
                    <a:pt x="272" y="148"/>
                  </a:cubicBezTo>
                  <a:cubicBezTo>
                    <a:pt x="266" y="151"/>
                    <a:pt x="259" y="152"/>
                    <a:pt x="251" y="152"/>
                  </a:cubicBezTo>
                  <a:cubicBezTo>
                    <a:pt x="240" y="152"/>
                    <a:pt x="229" y="149"/>
                    <a:pt x="220" y="142"/>
                  </a:cubicBezTo>
                  <a:cubicBezTo>
                    <a:pt x="201" y="157"/>
                    <a:pt x="183" y="174"/>
                    <a:pt x="167" y="191"/>
                  </a:cubicBezTo>
                  <a:cubicBezTo>
                    <a:pt x="172" y="200"/>
                    <a:pt x="175" y="209"/>
                    <a:pt x="175" y="219"/>
                  </a:cubicBezTo>
                  <a:cubicBezTo>
                    <a:pt x="175" y="225"/>
                    <a:pt x="174" y="230"/>
                    <a:pt x="173" y="235"/>
                  </a:cubicBezTo>
                  <a:cubicBezTo>
                    <a:pt x="219" y="267"/>
                    <a:pt x="273" y="288"/>
                    <a:pt x="331" y="297"/>
                  </a:cubicBezTo>
                  <a:close/>
                  <a:moveTo>
                    <a:pt x="251" y="46"/>
                  </a:moveTo>
                  <a:lnTo>
                    <a:pt x="251" y="46"/>
                  </a:lnTo>
                  <a:cubicBezTo>
                    <a:pt x="265" y="46"/>
                    <a:pt x="278" y="51"/>
                    <a:pt x="288" y="60"/>
                  </a:cubicBezTo>
                  <a:cubicBezTo>
                    <a:pt x="315" y="48"/>
                    <a:pt x="345" y="39"/>
                    <a:pt x="375" y="33"/>
                  </a:cubicBezTo>
                  <a:cubicBezTo>
                    <a:pt x="338" y="12"/>
                    <a:pt x="296" y="0"/>
                    <a:pt x="250" y="0"/>
                  </a:cubicBezTo>
                  <a:cubicBezTo>
                    <a:pt x="219" y="0"/>
                    <a:pt x="190" y="6"/>
                    <a:pt x="162" y="16"/>
                  </a:cubicBezTo>
                  <a:cubicBezTo>
                    <a:pt x="184" y="27"/>
                    <a:pt x="205" y="39"/>
                    <a:pt x="224" y="53"/>
                  </a:cubicBezTo>
                  <a:cubicBezTo>
                    <a:pt x="232" y="49"/>
                    <a:pt x="242" y="46"/>
                    <a:pt x="251" y="46"/>
                  </a:cubicBezTo>
                  <a:close/>
                  <a:moveTo>
                    <a:pt x="69" y="219"/>
                  </a:moveTo>
                  <a:lnTo>
                    <a:pt x="69" y="219"/>
                  </a:lnTo>
                  <a:cubicBezTo>
                    <a:pt x="69" y="212"/>
                    <a:pt x="70" y="205"/>
                    <a:pt x="73" y="198"/>
                  </a:cubicBezTo>
                  <a:cubicBezTo>
                    <a:pt x="56" y="180"/>
                    <a:pt x="40" y="159"/>
                    <a:pt x="27" y="138"/>
                  </a:cubicBezTo>
                  <a:cubicBezTo>
                    <a:pt x="10" y="172"/>
                    <a:pt x="0" y="210"/>
                    <a:pt x="0" y="250"/>
                  </a:cubicBezTo>
                  <a:cubicBezTo>
                    <a:pt x="0" y="297"/>
                    <a:pt x="13" y="341"/>
                    <a:pt x="35" y="378"/>
                  </a:cubicBezTo>
                  <a:cubicBezTo>
                    <a:pt x="43" y="333"/>
                    <a:pt x="59" y="291"/>
                    <a:pt x="80" y="252"/>
                  </a:cubicBezTo>
                  <a:cubicBezTo>
                    <a:pt x="73" y="243"/>
                    <a:pt x="69" y="232"/>
                    <a:pt x="69" y="219"/>
                  </a:cubicBezTo>
                  <a:close/>
                  <a:moveTo>
                    <a:pt x="122" y="166"/>
                  </a:moveTo>
                  <a:lnTo>
                    <a:pt x="122" y="166"/>
                  </a:lnTo>
                  <a:cubicBezTo>
                    <a:pt x="127" y="166"/>
                    <a:pt x="133" y="167"/>
                    <a:pt x="138" y="169"/>
                  </a:cubicBezTo>
                  <a:cubicBezTo>
                    <a:pt x="156" y="148"/>
                    <a:pt x="177" y="129"/>
                    <a:pt x="200" y="112"/>
                  </a:cubicBezTo>
                  <a:cubicBezTo>
                    <a:pt x="199" y="108"/>
                    <a:pt x="198" y="103"/>
                    <a:pt x="198" y="99"/>
                  </a:cubicBezTo>
                  <a:cubicBezTo>
                    <a:pt x="198" y="93"/>
                    <a:pt x="199" y="88"/>
                    <a:pt x="201" y="82"/>
                  </a:cubicBezTo>
                  <a:cubicBezTo>
                    <a:pt x="176" y="64"/>
                    <a:pt x="148" y="49"/>
                    <a:pt x="119" y="37"/>
                  </a:cubicBezTo>
                  <a:cubicBezTo>
                    <a:pt x="92" y="54"/>
                    <a:pt x="68" y="76"/>
                    <a:pt x="49" y="102"/>
                  </a:cubicBezTo>
                  <a:cubicBezTo>
                    <a:pt x="63" y="127"/>
                    <a:pt x="80" y="150"/>
                    <a:pt x="99" y="172"/>
                  </a:cubicBezTo>
                  <a:cubicBezTo>
                    <a:pt x="106" y="168"/>
                    <a:pt x="114" y="166"/>
                    <a:pt x="122" y="166"/>
                  </a:cubicBezTo>
                  <a:close/>
                </a:path>
              </a:pathLst>
            </a:custGeom>
            <a:noFill/>
            <a:ln w="12700">
              <a:solidFill>
                <a:schemeClr val="lt1">
                  <a:hueOff val="0"/>
                  <a:satOff val="0"/>
                  <a:lumOff val="0"/>
                </a:schemeClr>
              </a:solidFill>
              <a:prstDash val="solid"/>
              <a:round/>
              <a:headEnd/>
              <a:tailEnd/>
            </a:ln>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grpSp>
          <p:nvGrpSpPr>
            <p:cNvPr id="2" name="Group 1"/>
            <p:cNvGrpSpPr/>
            <p:nvPr/>
          </p:nvGrpSpPr>
          <p:grpSpPr>
            <a:xfrm>
              <a:off x="5128591" y="3605613"/>
              <a:ext cx="1934818" cy="1912356"/>
              <a:chOff x="5150476" y="3605613"/>
              <a:chExt cx="1934818" cy="1912356"/>
            </a:xfrm>
          </p:grpSpPr>
          <p:sp>
            <p:nvSpPr>
              <p:cNvPr id="38" name="TextBox 37">
                <a:extLst>
                  <a:ext uri="{FF2B5EF4-FFF2-40B4-BE49-F238E27FC236}">
                    <a16:creationId xmlns:a16="http://schemas.microsoft.com/office/drawing/2014/main" id="{66E65810-8A76-F14B-9CC2-5AAE9B5DF18E}"/>
                  </a:ext>
                </a:extLst>
              </p:cNvPr>
              <p:cNvSpPr txBox="1"/>
              <p:nvPr/>
            </p:nvSpPr>
            <p:spPr>
              <a:xfrm>
                <a:off x="5156991" y="3757467"/>
                <a:ext cx="1928303" cy="1760502"/>
              </a:xfrm>
              <a:prstGeom prst="rect">
                <a:avLst/>
              </a:prstGeom>
              <a:noFill/>
            </p:spPr>
            <p:txBody>
              <a:bodyPr spcFirstLastPara="1" wrap="square" lIns="0" tIns="0" rIns="0" bIns="0" numCol="1" rtlCol="0">
                <a:prstTxWarp prst="textArchUp">
                  <a:avLst/>
                </a:prstTxWarp>
                <a:spAutoFit/>
              </a:bodyPr>
              <a:lstStyle/>
              <a:p>
                <a:pPr algn="ctr" defTabSz="913686"/>
                <a:r>
                  <a:rPr lang="en-US" sz="1300" b="1" dirty="0">
                    <a:solidFill>
                      <a:prstClr val="white"/>
                    </a:solidFill>
                  </a:rPr>
                  <a:t>Lorem ipsum</a:t>
                </a:r>
                <a:endParaRPr lang="en-US" sz="1300" dirty="0">
                  <a:solidFill>
                    <a:srgbClr val="313131"/>
                  </a:solidFill>
                </a:endParaRPr>
              </a:p>
            </p:txBody>
          </p:sp>
          <p:sp>
            <p:nvSpPr>
              <p:cNvPr id="39" name="TextBox 38">
                <a:extLst>
                  <a:ext uri="{FF2B5EF4-FFF2-40B4-BE49-F238E27FC236}">
                    <a16:creationId xmlns:a16="http://schemas.microsoft.com/office/drawing/2014/main" id="{8FD24307-D069-0E4D-A24C-555ADBEA05DD}"/>
                  </a:ext>
                </a:extLst>
              </p:cNvPr>
              <p:cNvSpPr txBox="1"/>
              <p:nvPr/>
            </p:nvSpPr>
            <p:spPr>
              <a:xfrm>
                <a:off x="5150476" y="3605613"/>
                <a:ext cx="1922610" cy="1760501"/>
              </a:xfrm>
              <a:prstGeom prst="rect">
                <a:avLst/>
              </a:prstGeom>
              <a:noFill/>
            </p:spPr>
            <p:txBody>
              <a:bodyPr spcFirstLastPara="1" wrap="square" lIns="0" tIns="0" rIns="0" bIns="0" numCol="1" rtlCol="0">
                <a:prstTxWarp prst="textArchDown">
                  <a:avLst>
                    <a:gd name="adj" fmla="val 21578344"/>
                  </a:avLst>
                </a:prstTxWarp>
                <a:spAutoFit/>
              </a:bodyPr>
              <a:lstStyle/>
              <a:p>
                <a:pPr algn="ctr" defTabSz="913686"/>
                <a:r>
                  <a:rPr lang="en-US" sz="1300" b="1" dirty="0">
                    <a:solidFill>
                      <a:prstClr val="white"/>
                    </a:solidFill>
                  </a:rPr>
                  <a:t>Lorem ipsum</a:t>
                </a:r>
                <a:endParaRPr lang="en-US" sz="1300" dirty="0">
                  <a:solidFill>
                    <a:srgbClr val="313131"/>
                  </a:solidFill>
                </a:endParaRPr>
              </a:p>
            </p:txBody>
          </p:sp>
        </p:grpSp>
        <p:sp>
          <p:nvSpPr>
            <p:cNvPr id="42" name="Freeform 41">
              <a:extLst>
                <a:ext uri="{FF2B5EF4-FFF2-40B4-BE49-F238E27FC236}">
                  <a16:creationId xmlns:a16="http://schemas.microsoft.com/office/drawing/2014/main" id="{E8BB12EF-FD49-5B42-B5C1-7A64AD1A0303}"/>
                </a:ext>
              </a:extLst>
            </p:cNvPr>
            <p:cNvSpPr/>
            <p:nvPr/>
          </p:nvSpPr>
          <p:spPr>
            <a:xfrm>
              <a:off x="5923392" y="2949003"/>
              <a:ext cx="345217" cy="345217"/>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rgbClr val="FFFFFF"/>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sp>
          <p:nvSpPr>
            <p:cNvPr id="44" name="Isosceles Triangle 43">
              <a:extLst>
                <a:ext uri="{FF2B5EF4-FFF2-40B4-BE49-F238E27FC236}">
                  <a16:creationId xmlns:a16="http://schemas.microsoft.com/office/drawing/2014/main" id="{401B0939-8AB5-9642-915C-F14EAEE8A7FE}"/>
                </a:ext>
              </a:extLst>
            </p:cNvPr>
            <p:cNvSpPr/>
            <p:nvPr/>
          </p:nvSpPr>
          <p:spPr bwMode="gray">
            <a:xfrm>
              <a:off x="6042025" y="3192241"/>
              <a:ext cx="107950" cy="71025"/>
            </a:xfrm>
            <a:prstGeom prst="triangle">
              <a:avLst/>
            </a:prstGeom>
            <a:solidFill>
              <a:schemeClr val="tx2"/>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grpSp>
          <p:nvGrpSpPr>
            <p:cNvPr id="11" name="Group 10"/>
            <p:cNvGrpSpPr/>
            <p:nvPr/>
          </p:nvGrpSpPr>
          <p:grpSpPr>
            <a:xfrm>
              <a:off x="4435147" y="5070769"/>
              <a:ext cx="661771" cy="975591"/>
              <a:chOff x="4435147" y="5070769"/>
              <a:chExt cx="661771" cy="975591"/>
            </a:xfrm>
          </p:grpSpPr>
          <p:sp>
            <p:nvSpPr>
              <p:cNvPr id="41" name="Freeform 40">
                <a:extLst>
                  <a:ext uri="{FF2B5EF4-FFF2-40B4-BE49-F238E27FC236}">
                    <a16:creationId xmlns:a16="http://schemas.microsoft.com/office/drawing/2014/main" id="{E472EBD7-68DF-5E49-AB32-22D33088221C}"/>
                  </a:ext>
                </a:extLst>
              </p:cNvPr>
              <p:cNvSpPr/>
              <p:nvPr/>
            </p:nvSpPr>
            <p:spPr>
              <a:xfrm>
                <a:off x="4435147" y="5384589"/>
                <a:ext cx="661771" cy="661771"/>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chemeClr val="tx1">
                  <a:lumMod val="75000"/>
                  <a:lumOff val="25000"/>
                </a:schemeClr>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sp>
            <p:nvSpPr>
              <p:cNvPr id="43" name="Freeform 42">
                <a:extLst>
                  <a:ext uri="{FF2B5EF4-FFF2-40B4-BE49-F238E27FC236}">
                    <a16:creationId xmlns:a16="http://schemas.microsoft.com/office/drawing/2014/main" id="{29CB546D-D95F-4F43-BAB3-F38BCF28AFFC}"/>
                  </a:ext>
                </a:extLst>
              </p:cNvPr>
              <p:cNvSpPr/>
              <p:nvPr/>
            </p:nvSpPr>
            <p:spPr>
              <a:xfrm>
                <a:off x="4593424" y="5070769"/>
                <a:ext cx="345217" cy="345217"/>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rgbClr val="FFFFFF"/>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sp>
            <p:nvSpPr>
              <p:cNvPr id="45" name="Isosceles Triangle 44">
                <a:extLst>
                  <a:ext uri="{FF2B5EF4-FFF2-40B4-BE49-F238E27FC236}">
                    <a16:creationId xmlns:a16="http://schemas.microsoft.com/office/drawing/2014/main" id="{778DBB02-3344-9244-8338-37F3FCB98B86}"/>
                  </a:ext>
                </a:extLst>
              </p:cNvPr>
              <p:cNvSpPr/>
              <p:nvPr/>
            </p:nvSpPr>
            <p:spPr bwMode="gray">
              <a:xfrm flipV="1">
                <a:off x="4712057" y="5317636"/>
                <a:ext cx="107950" cy="71025"/>
              </a:xfrm>
              <a:prstGeom prst="triangle">
                <a:avLst/>
              </a:prstGeom>
              <a:solidFill>
                <a:schemeClr val="tx2"/>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grpSp>
        <p:grpSp>
          <p:nvGrpSpPr>
            <p:cNvPr id="12" name="Group 11"/>
            <p:cNvGrpSpPr/>
            <p:nvPr/>
          </p:nvGrpSpPr>
          <p:grpSpPr>
            <a:xfrm>
              <a:off x="7095083" y="5070769"/>
              <a:ext cx="661771" cy="987366"/>
              <a:chOff x="7095083" y="5070769"/>
              <a:chExt cx="661771" cy="987366"/>
            </a:xfrm>
          </p:grpSpPr>
          <p:sp>
            <p:nvSpPr>
              <p:cNvPr id="40" name="Freeform 39">
                <a:extLst>
                  <a:ext uri="{FF2B5EF4-FFF2-40B4-BE49-F238E27FC236}">
                    <a16:creationId xmlns:a16="http://schemas.microsoft.com/office/drawing/2014/main" id="{BFCB6C00-5A1F-2D47-955B-CF9D4AC94D4D}"/>
                  </a:ext>
                </a:extLst>
              </p:cNvPr>
              <p:cNvSpPr/>
              <p:nvPr/>
            </p:nvSpPr>
            <p:spPr>
              <a:xfrm>
                <a:off x="7095083" y="5396364"/>
                <a:ext cx="661771" cy="661771"/>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chemeClr val="tx1">
                  <a:lumMod val="75000"/>
                  <a:lumOff val="25000"/>
                </a:schemeClr>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sp>
            <p:nvSpPr>
              <p:cNvPr id="46" name="Freeform 45">
                <a:extLst>
                  <a:ext uri="{FF2B5EF4-FFF2-40B4-BE49-F238E27FC236}">
                    <a16:creationId xmlns:a16="http://schemas.microsoft.com/office/drawing/2014/main" id="{09CA51B4-FED1-1045-ACF5-0DA2EE06188E}"/>
                  </a:ext>
                </a:extLst>
              </p:cNvPr>
              <p:cNvSpPr/>
              <p:nvPr/>
            </p:nvSpPr>
            <p:spPr>
              <a:xfrm>
                <a:off x="7253360" y="5070769"/>
                <a:ext cx="345217" cy="345217"/>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rgbClr val="FFFFFF"/>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sp>
            <p:nvSpPr>
              <p:cNvPr id="47" name="Isosceles Triangle 46">
                <a:extLst>
                  <a:ext uri="{FF2B5EF4-FFF2-40B4-BE49-F238E27FC236}">
                    <a16:creationId xmlns:a16="http://schemas.microsoft.com/office/drawing/2014/main" id="{8C94EB98-0074-5D4F-B459-7F5E3358F983}"/>
                  </a:ext>
                </a:extLst>
              </p:cNvPr>
              <p:cNvSpPr/>
              <p:nvPr/>
            </p:nvSpPr>
            <p:spPr bwMode="gray">
              <a:xfrm>
                <a:off x="7371993" y="5317636"/>
                <a:ext cx="107950" cy="71025"/>
              </a:xfrm>
              <a:prstGeom prst="triangle">
                <a:avLst/>
              </a:prstGeom>
              <a:solidFill>
                <a:schemeClr val="tx2"/>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grpSp>
        <p:sp>
          <p:nvSpPr>
            <p:cNvPr id="48" name="Freeform 47">
              <a:extLst>
                <a:ext uri="{FF2B5EF4-FFF2-40B4-BE49-F238E27FC236}">
                  <a16:creationId xmlns:a16="http://schemas.microsoft.com/office/drawing/2014/main" id="{1B2D658F-40EE-324C-B44D-775CE2662606}"/>
                </a:ext>
              </a:extLst>
            </p:cNvPr>
            <p:cNvSpPr/>
            <p:nvPr/>
          </p:nvSpPr>
          <p:spPr>
            <a:xfrm>
              <a:off x="5765115" y="2332045"/>
              <a:ext cx="661771" cy="661771"/>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chemeClr val="tx1">
                <a:lumMod val="75000"/>
                <a:lumOff val="25000"/>
              </a:schemeClr>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grpSp>
      <p:sp>
        <p:nvSpPr>
          <p:cNvPr id="24" name="TextBox 36">
            <a:extLst>
              <a:ext uri="{FF2B5EF4-FFF2-40B4-BE49-F238E27FC236}">
                <a16:creationId xmlns:a16="http://schemas.microsoft.com/office/drawing/2014/main" id="{1538FDA5-D5FE-4A37-87A0-19E7CF8AB975}"/>
              </a:ext>
            </a:extLst>
          </p:cNvPr>
          <p:cNvSpPr txBox="1"/>
          <p:nvPr/>
        </p:nvSpPr>
        <p:spPr>
          <a:xfrm>
            <a:off x="439737" y="4025328"/>
            <a:ext cx="1997245" cy="307777"/>
          </a:xfrm>
          <a:prstGeom prst="rect">
            <a:avLst/>
          </a:prstGeom>
          <a:noFill/>
        </p:spPr>
        <p:txBody>
          <a:bodyPr wrap="square" rtlCol="0">
            <a:spAutoFit/>
          </a:bodyPr>
          <a:lstStyle/>
          <a:p>
            <a:r>
              <a:rPr lang="en-US" sz="1400" b="1" dirty="0">
                <a:solidFill>
                  <a:prstClr val="white"/>
                </a:solidFill>
                <a:cs typeface="Lato" panose="020F0502020204030203" pitchFamily="34" charset="0"/>
              </a:rPr>
              <a:t>Option 3</a:t>
            </a:r>
            <a:endParaRPr lang="id-ID" sz="1400" b="1" dirty="0">
              <a:solidFill>
                <a:prstClr val="white"/>
              </a:solidFill>
              <a:cs typeface="Lato" panose="020F0502020204030203" pitchFamily="34" charset="0"/>
            </a:endParaRPr>
          </a:p>
        </p:txBody>
      </p:sp>
      <p:sp>
        <p:nvSpPr>
          <p:cNvPr id="25" name="Rectangle 37">
            <a:extLst>
              <a:ext uri="{FF2B5EF4-FFF2-40B4-BE49-F238E27FC236}">
                <a16:creationId xmlns:a16="http://schemas.microsoft.com/office/drawing/2014/main" id="{EE6AF999-0011-47F3-A590-217CAE6F19B4}"/>
              </a:ext>
            </a:extLst>
          </p:cNvPr>
          <p:cNvSpPr/>
          <p:nvPr/>
        </p:nvSpPr>
        <p:spPr>
          <a:xfrm>
            <a:off x="439737" y="4278738"/>
            <a:ext cx="2690229" cy="692497"/>
          </a:xfrm>
          <a:prstGeom prst="rect">
            <a:avLst/>
          </a:prstGeom>
        </p:spPr>
        <p:txBody>
          <a:bodyPr wrap="square">
            <a:spAutoFit/>
          </a:bodyPr>
          <a:lstStyle/>
          <a:p>
            <a:r>
              <a:rPr lang="en-US" sz="1300" dirty="0">
                <a:solidFill>
                  <a:srgbClr val="FFFFFF"/>
                </a:solidFill>
              </a:rPr>
              <a:t>this is dummy text it is not here to be read it is here to show how this document will look</a:t>
            </a:r>
          </a:p>
        </p:txBody>
      </p:sp>
      <p:cxnSp>
        <p:nvCxnSpPr>
          <p:cNvPr id="26" name="Straight Connector 50">
            <a:extLst>
              <a:ext uri="{FF2B5EF4-FFF2-40B4-BE49-F238E27FC236}">
                <a16:creationId xmlns:a16="http://schemas.microsoft.com/office/drawing/2014/main" id="{725ACF94-940C-42A3-BEDF-23CE15A73925}"/>
              </a:ext>
            </a:extLst>
          </p:cNvPr>
          <p:cNvCxnSpPr>
            <a:cxnSpLocks/>
          </p:cNvCxnSpPr>
          <p:nvPr/>
        </p:nvCxnSpPr>
        <p:spPr>
          <a:xfrm>
            <a:off x="542925" y="5091280"/>
            <a:ext cx="3892222" cy="0"/>
          </a:xfrm>
          <a:prstGeom prst="line">
            <a:avLst/>
          </a:prstGeom>
          <a:ln w="9525">
            <a:solidFill>
              <a:srgbClr val="53565A"/>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7" name="TextBox 32">
            <a:extLst>
              <a:ext uri="{FF2B5EF4-FFF2-40B4-BE49-F238E27FC236}">
                <a16:creationId xmlns:a16="http://schemas.microsoft.com/office/drawing/2014/main" id="{39B406E5-EA6F-4575-85E4-183E8E5BED4D}"/>
              </a:ext>
            </a:extLst>
          </p:cNvPr>
          <p:cNvSpPr txBox="1"/>
          <p:nvPr/>
        </p:nvSpPr>
        <p:spPr>
          <a:xfrm>
            <a:off x="8943028" y="1841297"/>
            <a:ext cx="1997245" cy="307777"/>
          </a:xfrm>
          <a:prstGeom prst="rect">
            <a:avLst/>
          </a:prstGeom>
          <a:noFill/>
        </p:spPr>
        <p:txBody>
          <a:bodyPr wrap="square" rtlCol="0">
            <a:spAutoFit/>
          </a:bodyPr>
          <a:lstStyle/>
          <a:p>
            <a:r>
              <a:rPr lang="en-US" sz="1400" b="1" dirty="0">
                <a:solidFill>
                  <a:srgbClr val="FFFFFF"/>
                </a:solidFill>
                <a:cs typeface="Lato" panose="020F0502020204030203" pitchFamily="34" charset="0"/>
              </a:rPr>
              <a:t>Option 1</a:t>
            </a:r>
            <a:endParaRPr lang="id-ID" sz="1400" b="1" dirty="0">
              <a:solidFill>
                <a:srgbClr val="FFFFFF"/>
              </a:solidFill>
              <a:cs typeface="Lato" panose="020F0502020204030203" pitchFamily="34" charset="0"/>
            </a:endParaRPr>
          </a:p>
        </p:txBody>
      </p:sp>
      <p:sp>
        <p:nvSpPr>
          <p:cNvPr id="28" name="Rectangle 33">
            <a:extLst>
              <a:ext uri="{FF2B5EF4-FFF2-40B4-BE49-F238E27FC236}">
                <a16:creationId xmlns:a16="http://schemas.microsoft.com/office/drawing/2014/main" id="{396FB08D-5118-4132-B566-57F06D2AC65E}"/>
              </a:ext>
            </a:extLst>
          </p:cNvPr>
          <p:cNvSpPr/>
          <p:nvPr/>
        </p:nvSpPr>
        <p:spPr>
          <a:xfrm>
            <a:off x="8943028" y="2059882"/>
            <a:ext cx="2774162" cy="692497"/>
          </a:xfrm>
          <a:prstGeom prst="rect">
            <a:avLst/>
          </a:prstGeom>
        </p:spPr>
        <p:txBody>
          <a:bodyPr wrap="square">
            <a:spAutoFit/>
          </a:bodyPr>
          <a:lstStyle/>
          <a:p>
            <a:r>
              <a:rPr lang="en-US" sz="1300" dirty="0">
                <a:solidFill>
                  <a:srgbClr val="FFFFFF"/>
                </a:solidFill>
              </a:rPr>
              <a:t>this is dummy text it is not here to be read it is here to show how this document will look</a:t>
            </a:r>
          </a:p>
        </p:txBody>
      </p:sp>
      <p:sp>
        <p:nvSpPr>
          <p:cNvPr id="29" name="TextBox 34">
            <a:extLst>
              <a:ext uri="{FF2B5EF4-FFF2-40B4-BE49-F238E27FC236}">
                <a16:creationId xmlns:a16="http://schemas.microsoft.com/office/drawing/2014/main" id="{7F703FAA-ABC6-4380-823F-AEC38B176449}"/>
              </a:ext>
            </a:extLst>
          </p:cNvPr>
          <p:cNvSpPr txBox="1"/>
          <p:nvPr/>
        </p:nvSpPr>
        <p:spPr>
          <a:xfrm>
            <a:off x="8943028" y="3772194"/>
            <a:ext cx="1997245" cy="307777"/>
          </a:xfrm>
          <a:prstGeom prst="rect">
            <a:avLst/>
          </a:prstGeom>
          <a:noFill/>
        </p:spPr>
        <p:txBody>
          <a:bodyPr wrap="square" rtlCol="0">
            <a:spAutoFit/>
          </a:bodyPr>
          <a:lstStyle/>
          <a:p>
            <a:r>
              <a:rPr lang="en-US" sz="1400" b="1" dirty="0">
                <a:solidFill>
                  <a:srgbClr val="FFFFFF"/>
                </a:solidFill>
                <a:cs typeface="Lato" panose="020F0502020204030203" pitchFamily="34" charset="0"/>
              </a:rPr>
              <a:t>Option 2</a:t>
            </a:r>
            <a:endParaRPr lang="id-ID" sz="1400" b="1" dirty="0">
              <a:solidFill>
                <a:srgbClr val="FFFFFF"/>
              </a:solidFill>
              <a:cs typeface="Lato" panose="020F0502020204030203" pitchFamily="34" charset="0"/>
            </a:endParaRPr>
          </a:p>
        </p:txBody>
      </p:sp>
      <p:sp>
        <p:nvSpPr>
          <p:cNvPr id="30" name="Rectangle 35">
            <a:extLst>
              <a:ext uri="{FF2B5EF4-FFF2-40B4-BE49-F238E27FC236}">
                <a16:creationId xmlns:a16="http://schemas.microsoft.com/office/drawing/2014/main" id="{C7D18A27-4223-49A5-92E6-75B9484ADEF9}"/>
              </a:ext>
            </a:extLst>
          </p:cNvPr>
          <p:cNvSpPr/>
          <p:nvPr/>
        </p:nvSpPr>
        <p:spPr>
          <a:xfrm>
            <a:off x="8943028" y="4025328"/>
            <a:ext cx="2774162" cy="692497"/>
          </a:xfrm>
          <a:prstGeom prst="rect">
            <a:avLst/>
          </a:prstGeom>
        </p:spPr>
        <p:txBody>
          <a:bodyPr wrap="square">
            <a:spAutoFit/>
          </a:bodyPr>
          <a:lstStyle/>
          <a:p>
            <a:r>
              <a:rPr lang="en-US" sz="1300" dirty="0">
                <a:solidFill>
                  <a:srgbClr val="FFFFFF"/>
                </a:solidFill>
              </a:rPr>
              <a:t>this is dummy text it is not here to be read it is here to show how this document will look</a:t>
            </a:r>
          </a:p>
        </p:txBody>
      </p:sp>
      <p:cxnSp>
        <p:nvCxnSpPr>
          <p:cNvPr id="33" name="Straight Connector 41">
            <a:extLst>
              <a:ext uri="{FF2B5EF4-FFF2-40B4-BE49-F238E27FC236}">
                <a16:creationId xmlns:a16="http://schemas.microsoft.com/office/drawing/2014/main" id="{9E635A66-2C87-4DCF-B612-A28348D27555}"/>
              </a:ext>
            </a:extLst>
          </p:cNvPr>
          <p:cNvCxnSpPr/>
          <p:nvPr/>
        </p:nvCxnSpPr>
        <p:spPr>
          <a:xfrm flipH="1">
            <a:off x="6426886" y="1995186"/>
            <a:ext cx="2289410" cy="0"/>
          </a:xfrm>
          <a:prstGeom prst="line">
            <a:avLst/>
          </a:prstGeom>
          <a:ln w="9525">
            <a:solidFill>
              <a:srgbClr val="53565A"/>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35" name="Group 46">
            <a:extLst>
              <a:ext uri="{FF2B5EF4-FFF2-40B4-BE49-F238E27FC236}">
                <a16:creationId xmlns:a16="http://schemas.microsoft.com/office/drawing/2014/main" id="{3F234395-5002-4464-AB46-B0F06AAED7FC}"/>
              </a:ext>
            </a:extLst>
          </p:cNvPr>
          <p:cNvGrpSpPr/>
          <p:nvPr/>
        </p:nvGrpSpPr>
        <p:grpSpPr>
          <a:xfrm rot="10800000">
            <a:off x="7752635" y="3993204"/>
            <a:ext cx="963661" cy="1158048"/>
            <a:chOff x="7007309" y="2507226"/>
            <a:chExt cx="1708988" cy="604684"/>
          </a:xfrm>
        </p:grpSpPr>
        <p:cxnSp>
          <p:nvCxnSpPr>
            <p:cNvPr id="49" name="Straight Connector 47">
              <a:extLst>
                <a:ext uri="{FF2B5EF4-FFF2-40B4-BE49-F238E27FC236}">
                  <a16:creationId xmlns:a16="http://schemas.microsoft.com/office/drawing/2014/main" id="{19DF948B-5D5A-4B04-B721-71F2D53FA646}"/>
                </a:ext>
              </a:extLst>
            </p:cNvPr>
            <p:cNvCxnSpPr/>
            <p:nvPr/>
          </p:nvCxnSpPr>
          <p:spPr>
            <a:xfrm flipH="1">
              <a:off x="7007309" y="2507226"/>
              <a:ext cx="1708988" cy="0"/>
            </a:xfrm>
            <a:prstGeom prst="line">
              <a:avLst/>
            </a:prstGeom>
            <a:ln w="9525">
              <a:solidFill>
                <a:srgbClr val="53565A"/>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50" name="Straight Connector 48">
              <a:extLst>
                <a:ext uri="{FF2B5EF4-FFF2-40B4-BE49-F238E27FC236}">
                  <a16:creationId xmlns:a16="http://schemas.microsoft.com/office/drawing/2014/main" id="{E04023A4-0194-4B9F-8616-0089B557A2AE}"/>
                </a:ext>
              </a:extLst>
            </p:cNvPr>
            <p:cNvCxnSpPr>
              <a:cxnSpLocks/>
            </p:cNvCxnSpPr>
            <p:nvPr/>
          </p:nvCxnSpPr>
          <p:spPr>
            <a:xfrm>
              <a:off x="7007309" y="2507226"/>
              <a:ext cx="0" cy="604684"/>
            </a:xfrm>
            <a:prstGeom prst="line">
              <a:avLst/>
            </a:prstGeom>
            <a:ln w="9525">
              <a:solidFill>
                <a:srgbClr val="53565A"/>
              </a:solidFill>
              <a:prstDash val="dash"/>
              <a:tailEnd type="ova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8369543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750" fill="hold"/>
                                        <p:tgtEl>
                                          <p:spTgt spid="24"/>
                                        </p:tgtEl>
                                        <p:attrNameLst>
                                          <p:attrName>ppt_x</p:attrName>
                                        </p:attrNameLst>
                                      </p:cBhvr>
                                      <p:tavLst>
                                        <p:tav tm="0">
                                          <p:val>
                                            <p:strVal val="#ppt_x"/>
                                          </p:val>
                                        </p:tav>
                                        <p:tav tm="100000">
                                          <p:val>
                                            <p:strVal val="#ppt_x"/>
                                          </p:val>
                                        </p:tav>
                                      </p:tavLst>
                                    </p:anim>
                                    <p:anim calcmode="lin" valueType="num">
                                      <p:cBhvr additive="base">
                                        <p:cTn id="8" dur="750" fill="hold"/>
                                        <p:tgtEl>
                                          <p:spTgt spid="24"/>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750" fill="hold"/>
                                        <p:tgtEl>
                                          <p:spTgt spid="25"/>
                                        </p:tgtEl>
                                        <p:attrNameLst>
                                          <p:attrName>ppt_x</p:attrName>
                                        </p:attrNameLst>
                                      </p:cBhvr>
                                      <p:tavLst>
                                        <p:tav tm="0">
                                          <p:val>
                                            <p:strVal val="#ppt_x"/>
                                          </p:val>
                                        </p:tav>
                                        <p:tav tm="100000">
                                          <p:val>
                                            <p:strVal val="#ppt_x"/>
                                          </p:val>
                                        </p:tav>
                                      </p:tavLst>
                                    </p:anim>
                                    <p:anim calcmode="lin" valueType="num">
                                      <p:cBhvr additive="base">
                                        <p:cTn id="12" dur="750" fill="hold"/>
                                        <p:tgtEl>
                                          <p:spTgt spid="25"/>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750" fill="hold"/>
                                        <p:tgtEl>
                                          <p:spTgt spid="26"/>
                                        </p:tgtEl>
                                        <p:attrNameLst>
                                          <p:attrName>ppt_x</p:attrName>
                                        </p:attrNameLst>
                                      </p:cBhvr>
                                      <p:tavLst>
                                        <p:tav tm="0">
                                          <p:val>
                                            <p:strVal val="#ppt_x"/>
                                          </p:val>
                                        </p:tav>
                                        <p:tav tm="100000">
                                          <p:val>
                                            <p:strVal val="#ppt_x"/>
                                          </p:val>
                                        </p:tav>
                                      </p:tavLst>
                                    </p:anim>
                                    <p:anim calcmode="lin" valueType="num">
                                      <p:cBhvr additive="base">
                                        <p:cTn id="16" dur="75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50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750" fill="hold"/>
                                        <p:tgtEl>
                                          <p:spTgt spid="27"/>
                                        </p:tgtEl>
                                        <p:attrNameLst>
                                          <p:attrName>ppt_x</p:attrName>
                                        </p:attrNameLst>
                                      </p:cBhvr>
                                      <p:tavLst>
                                        <p:tav tm="0">
                                          <p:val>
                                            <p:strVal val="#ppt_x"/>
                                          </p:val>
                                        </p:tav>
                                        <p:tav tm="100000">
                                          <p:val>
                                            <p:strVal val="#ppt_x"/>
                                          </p:val>
                                        </p:tav>
                                      </p:tavLst>
                                    </p:anim>
                                    <p:anim calcmode="lin" valueType="num">
                                      <p:cBhvr additive="base">
                                        <p:cTn id="20" dur="750" fill="hold"/>
                                        <p:tgtEl>
                                          <p:spTgt spid="27"/>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50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750" fill="hold"/>
                                        <p:tgtEl>
                                          <p:spTgt spid="28"/>
                                        </p:tgtEl>
                                        <p:attrNameLst>
                                          <p:attrName>ppt_x</p:attrName>
                                        </p:attrNameLst>
                                      </p:cBhvr>
                                      <p:tavLst>
                                        <p:tav tm="0">
                                          <p:val>
                                            <p:strVal val="#ppt_x"/>
                                          </p:val>
                                        </p:tav>
                                        <p:tav tm="100000">
                                          <p:val>
                                            <p:strVal val="#ppt_x"/>
                                          </p:val>
                                        </p:tav>
                                      </p:tavLst>
                                    </p:anim>
                                    <p:anim calcmode="lin" valueType="num">
                                      <p:cBhvr additive="base">
                                        <p:cTn id="24" dur="750" fill="hold"/>
                                        <p:tgtEl>
                                          <p:spTgt spid="28"/>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750"/>
                                  </p:stCondLst>
                                  <p:childTnLst>
                                    <p:set>
                                      <p:cBhvr>
                                        <p:cTn id="26" dur="1" fill="hold">
                                          <p:stCondLst>
                                            <p:cond delay="0"/>
                                          </p:stCondLst>
                                        </p:cTn>
                                        <p:tgtEl>
                                          <p:spTgt spid="29"/>
                                        </p:tgtEl>
                                        <p:attrNameLst>
                                          <p:attrName>style.visibility</p:attrName>
                                        </p:attrNameLst>
                                      </p:cBhvr>
                                      <p:to>
                                        <p:strVal val="visible"/>
                                      </p:to>
                                    </p:set>
                                    <p:anim calcmode="lin" valueType="num">
                                      <p:cBhvr additive="base">
                                        <p:cTn id="27" dur="750" fill="hold"/>
                                        <p:tgtEl>
                                          <p:spTgt spid="29"/>
                                        </p:tgtEl>
                                        <p:attrNameLst>
                                          <p:attrName>ppt_x</p:attrName>
                                        </p:attrNameLst>
                                      </p:cBhvr>
                                      <p:tavLst>
                                        <p:tav tm="0">
                                          <p:val>
                                            <p:strVal val="#ppt_x"/>
                                          </p:val>
                                        </p:tav>
                                        <p:tav tm="100000">
                                          <p:val>
                                            <p:strVal val="#ppt_x"/>
                                          </p:val>
                                        </p:tav>
                                      </p:tavLst>
                                    </p:anim>
                                    <p:anim calcmode="lin" valueType="num">
                                      <p:cBhvr additive="base">
                                        <p:cTn id="28" dur="750" fill="hold"/>
                                        <p:tgtEl>
                                          <p:spTgt spid="29"/>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75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750" fill="hold"/>
                                        <p:tgtEl>
                                          <p:spTgt spid="30"/>
                                        </p:tgtEl>
                                        <p:attrNameLst>
                                          <p:attrName>ppt_x</p:attrName>
                                        </p:attrNameLst>
                                      </p:cBhvr>
                                      <p:tavLst>
                                        <p:tav tm="0">
                                          <p:val>
                                            <p:strVal val="#ppt_x"/>
                                          </p:val>
                                        </p:tav>
                                        <p:tav tm="100000">
                                          <p:val>
                                            <p:strVal val="#ppt_x"/>
                                          </p:val>
                                        </p:tav>
                                      </p:tavLst>
                                    </p:anim>
                                    <p:anim calcmode="lin" valueType="num">
                                      <p:cBhvr additive="base">
                                        <p:cTn id="32" dur="750" fill="hold"/>
                                        <p:tgtEl>
                                          <p:spTgt spid="30"/>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750"/>
                                  </p:stCondLst>
                                  <p:childTnLst>
                                    <p:set>
                                      <p:cBhvr>
                                        <p:cTn id="34" dur="1" fill="hold">
                                          <p:stCondLst>
                                            <p:cond delay="0"/>
                                          </p:stCondLst>
                                        </p:cTn>
                                        <p:tgtEl>
                                          <p:spTgt spid="35"/>
                                        </p:tgtEl>
                                        <p:attrNameLst>
                                          <p:attrName>style.visibility</p:attrName>
                                        </p:attrNameLst>
                                      </p:cBhvr>
                                      <p:to>
                                        <p:strVal val="visible"/>
                                      </p:to>
                                    </p:set>
                                    <p:anim calcmode="lin" valueType="num">
                                      <p:cBhvr additive="base">
                                        <p:cTn id="35" dur="750" fill="hold"/>
                                        <p:tgtEl>
                                          <p:spTgt spid="35"/>
                                        </p:tgtEl>
                                        <p:attrNameLst>
                                          <p:attrName>ppt_x</p:attrName>
                                        </p:attrNameLst>
                                      </p:cBhvr>
                                      <p:tavLst>
                                        <p:tav tm="0">
                                          <p:val>
                                            <p:strVal val="#ppt_x"/>
                                          </p:val>
                                        </p:tav>
                                        <p:tav tm="100000">
                                          <p:val>
                                            <p:strVal val="#ppt_x"/>
                                          </p:val>
                                        </p:tav>
                                      </p:tavLst>
                                    </p:anim>
                                    <p:anim calcmode="lin" valueType="num">
                                      <p:cBhvr additive="base">
                                        <p:cTn id="36" dur="750" fill="hold"/>
                                        <p:tgtEl>
                                          <p:spTgt spid="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7" grpId="0"/>
      <p:bldP spid="28" grpId="0"/>
      <p:bldP spid="29" grpId="0"/>
      <p:bldP spid="30" grpId="0"/>
    </p:bld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直接连接符 41"/>
          <p:cNvCxnSpPr>
            <a:stCxn id="138" idx="0"/>
            <a:endCxn id="139" idx="3"/>
          </p:cNvCxnSpPr>
          <p:nvPr/>
        </p:nvCxnSpPr>
        <p:spPr>
          <a:xfrm>
            <a:off x="2029218" y="2233831"/>
            <a:ext cx="8158924" cy="7719"/>
          </a:xfrm>
          <a:prstGeom prst="line">
            <a:avLst/>
          </a:prstGeom>
          <a:ln w="28575" cap="rnd">
            <a:solidFill>
              <a:srgbClr val="63666A"/>
            </a:solidFill>
            <a:prstDash val="sysDot"/>
          </a:ln>
        </p:spPr>
        <p:style>
          <a:lnRef idx="1">
            <a:schemeClr val="accent1"/>
          </a:lnRef>
          <a:fillRef idx="0">
            <a:schemeClr val="accent1"/>
          </a:fillRef>
          <a:effectRef idx="0">
            <a:schemeClr val="accent1"/>
          </a:effectRef>
          <a:fontRef idx="minor">
            <a:schemeClr val="tx1"/>
          </a:fontRef>
        </p:style>
      </p:cxnSp>
      <p:cxnSp>
        <p:nvCxnSpPr>
          <p:cNvPr id="117" name="直接连接符 116"/>
          <p:cNvCxnSpPr/>
          <p:nvPr/>
        </p:nvCxnSpPr>
        <p:spPr>
          <a:xfrm flipH="1">
            <a:off x="2788590" y="4386966"/>
            <a:ext cx="1" cy="506234"/>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bwMode="gray">
          <a:xfrm flipV="1">
            <a:off x="2720009" y="4167371"/>
            <a:ext cx="137160" cy="143135"/>
          </a:xfrm>
          <a:prstGeom prst="triangl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椭圆 14"/>
          <p:cNvSpPr/>
          <p:nvPr/>
        </p:nvSpPr>
        <p:spPr bwMode="gray">
          <a:xfrm>
            <a:off x="2721349" y="4362225"/>
            <a:ext cx="134480" cy="134480"/>
          </a:xfrm>
          <a:prstGeom prst="ellipse">
            <a:avLst/>
          </a:prstGeom>
          <a:solidFill>
            <a:schemeClr val="bg1"/>
          </a:solidFill>
          <a:ln w="19050" cmpd="sng" algn="ctr">
            <a:solidFill>
              <a:srgbClr val="00A3E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45" name="直接连接符 44"/>
          <p:cNvCxnSpPr>
            <a:endCxn id="61" idx="0"/>
          </p:cNvCxnSpPr>
          <p:nvPr/>
        </p:nvCxnSpPr>
        <p:spPr>
          <a:xfrm flipH="1">
            <a:off x="2788589" y="1973035"/>
            <a:ext cx="2" cy="1295026"/>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grpSp>
        <p:nvGrpSpPr>
          <p:cNvPr id="5" name="组合 4"/>
          <p:cNvGrpSpPr/>
          <p:nvPr/>
        </p:nvGrpSpPr>
        <p:grpSpPr>
          <a:xfrm>
            <a:off x="2510830" y="1956072"/>
            <a:ext cx="555521" cy="555521"/>
            <a:chOff x="687785" y="760980"/>
            <a:chExt cx="555521" cy="555521"/>
          </a:xfrm>
        </p:grpSpPr>
        <p:sp>
          <p:nvSpPr>
            <p:cNvPr id="58" name="椭圆 57"/>
            <p:cNvSpPr/>
            <p:nvPr/>
          </p:nvSpPr>
          <p:spPr bwMode="gray">
            <a:xfrm>
              <a:off x="687785" y="760980"/>
              <a:ext cx="555521" cy="555521"/>
            </a:xfrm>
            <a:prstGeom prst="ellipse">
              <a:avLst/>
            </a:prstGeom>
            <a:solidFill>
              <a:schemeClr val="bg1"/>
            </a:solidFill>
            <a:ln w="25400" cmpd="sng"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4" name="椭圆 73"/>
            <p:cNvSpPr/>
            <p:nvPr/>
          </p:nvSpPr>
          <p:spPr bwMode="gray">
            <a:xfrm>
              <a:off x="736895" y="810090"/>
              <a:ext cx="457300" cy="457300"/>
            </a:xfrm>
            <a:prstGeom prst="ellipse">
              <a:avLst/>
            </a:prstGeom>
            <a:solidFill>
              <a:srgbClr val="00A3E0"/>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3" name="文本框 92"/>
            <p:cNvSpPr txBox="1"/>
            <p:nvPr/>
          </p:nvSpPr>
          <p:spPr>
            <a:xfrm>
              <a:off x="820016" y="854074"/>
              <a:ext cx="291059" cy="369332"/>
            </a:xfrm>
            <a:prstGeom prst="rect">
              <a:avLst/>
            </a:prstGeom>
            <a:noFill/>
          </p:spPr>
          <p:txBody>
            <a:bodyPr vert="horz" wrap="square" lIns="0" tIns="0" rIns="0" bIns="0" rtlCol="0">
              <a:spAutoFit/>
            </a:bodyPr>
            <a:lstStyle/>
            <a:p>
              <a:pPr algn="ctr">
                <a:buSzPct val="100000"/>
              </a:pPr>
              <a:r>
                <a:rPr lang="en-US" altLang="zh-CN" sz="2400" dirty="0">
                  <a:solidFill>
                    <a:schemeClr val="bg1"/>
                  </a:solidFill>
                </a:rPr>
                <a:t>1</a:t>
              </a:r>
              <a:endParaRPr lang="en-US" sz="1050" dirty="0">
                <a:solidFill>
                  <a:schemeClr val="bg1"/>
                </a:solidFill>
              </a:endParaRPr>
            </a:p>
          </p:txBody>
        </p:sp>
      </p:grpSp>
      <p:grpSp>
        <p:nvGrpSpPr>
          <p:cNvPr id="60" name="组合 59"/>
          <p:cNvGrpSpPr/>
          <p:nvPr/>
        </p:nvGrpSpPr>
        <p:grpSpPr>
          <a:xfrm>
            <a:off x="1900238" y="3268061"/>
            <a:ext cx="1776702" cy="1776702"/>
            <a:chOff x="687785" y="760980"/>
            <a:chExt cx="555521" cy="555521"/>
          </a:xfrm>
        </p:grpSpPr>
        <p:sp>
          <p:nvSpPr>
            <p:cNvPr id="61" name="椭圆 60"/>
            <p:cNvSpPr/>
            <p:nvPr/>
          </p:nvSpPr>
          <p:spPr bwMode="gray">
            <a:xfrm>
              <a:off x="687785" y="760980"/>
              <a:ext cx="555521" cy="555521"/>
            </a:xfrm>
            <a:prstGeom prst="ellipse">
              <a:avLst/>
            </a:prstGeom>
            <a:solidFill>
              <a:srgbClr val="00A3E0"/>
            </a:solidFill>
            <a:ln w="25400"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椭圆 61"/>
            <p:cNvSpPr/>
            <p:nvPr/>
          </p:nvSpPr>
          <p:spPr bwMode="gray">
            <a:xfrm>
              <a:off x="728113" y="801308"/>
              <a:ext cx="474866" cy="474866"/>
            </a:xfrm>
            <a:prstGeom prst="ellipse">
              <a:avLst/>
            </a:prstGeom>
            <a:solidFill>
              <a:schemeClr val="bg1"/>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65" name="椭圆 64"/>
          <p:cNvSpPr/>
          <p:nvPr/>
        </p:nvSpPr>
        <p:spPr bwMode="gray">
          <a:xfrm>
            <a:off x="2742785" y="3288547"/>
            <a:ext cx="91611" cy="91611"/>
          </a:xfrm>
          <a:prstGeom prst="ellipse">
            <a:avLst/>
          </a:prstGeom>
          <a:solidFill>
            <a:schemeClr val="bg1"/>
          </a:solidFill>
          <a:ln w="19050" cmpd="sng" algn="ctr">
            <a:no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7" name="文本框 106"/>
          <p:cNvSpPr txBox="1"/>
          <p:nvPr/>
        </p:nvSpPr>
        <p:spPr>
          <a:xfrm>
            <a:off x="2170116" y="3823745"/>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00A3E0"/>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cxnSp>
        <p:nvCxnSpPr>
          <p:cNvPr id="72" name="直接连接符 71"/>
          <p:cNvCxnSpPr/>
          <p:nvPr/>
        </p:nvCxnSpPr>
        <p:spPr>
          <a:xfrm flipH="1">
            <a:off x="4985950" y="5393962"/>
            <a:ext cx="1" cy="506234"/>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sp>
        <p:nvSpPr>
          <p:cNvPr id="79" name="等腰三角形 78"/>
          <p:cNvSpPr/>
          <p:nvPr/>
        </p:nvSpPr>
        <p:spPr bwMode="gray">
          <a:xfrm flipV="1">
            <a:off x="4917369" y="5174367"/>
            <a:ext cx="137160" cy="143135"/>
          </a:xfrm>
          <a:prstGeom prst="triangl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0" name="椭圆 79"/>
          <p:cNvSpPr/>
          <p:nvPr/>
        </p:nvSpPr>
        <p:spPr bwMode="gray">
          <a:xfrm>
            <a:off x="4918709" y="5369221"/>
            <a:ext cx="134480" cy="134480"/>
          </a:xfrm>
          <a:prstGeom prst="ellipse">
            <a:avLst/>
          </a:prstGeom>
          <a:solidFill>
            <a:schemeClr val="bg1"/>
          </a:solidFill>
          <a:ln w="19050" cmpd="sng" algn="ctr">
            <a:solidFill>
              <a:srgbClr val="00A3E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81" name="直接连接符 80"/>
          <p:cNvCxnSpPr>
            <a:endCxn id="97" idx="0"/>
          </p:cNvCxnSpPr>
          <p:nvPr/>
        </p:nvCxnSpPr>
        <p:spPr>
          <a:xfrm flipH="1">
            <a:off x="4985951" y="2528620"/>
            <a:ext cx="1" cy="1766923"/>
          </a:xfrm>
          <a:prstGeom prst="line">
            <a:avLst/>
          </a:prstGeom>
          <a:ln w="28575" cap="rnd">
            <a:solidFill>
              <a:srgbClr val="005587"/>
            </a:solidFill>
            <a:prstDash val="sysDot"/>
          </a:ln>
        </p:spPr>
        <p:style>
          <a:lnRef idx="1">
            <a:schemeClr val="accent1"/>
          </a:lnRef>
          <a:fillRef idx="0">
            <a:schemeClr val="accent1"/>
          </a:fillRef>
          <a:effectRef idx="0">
            <a:schemeClr val="accent1"/>
          </a:effectRef>
          <a:fontRef idx="minor">
            <a:schemeClr val="tx1"/>
          </a:fontRef>
        </p:style>
      </p:cxnSp>
      <p:grpSp>
        <p:nvGrpSpPr>
          <p:cNvPr id="82" name="组合 81"/>
          <p:cNvGrpSpPr/>
          <p:nvPr/>
        </p:nvGrpSpPr>
        <p:grpSpPr>
          <a:xfrm>
            <a:off x="4708190" y="1956072"/>
            <a:ext cx="555521" cy="555521"/>
            <a:chOff x="687785" y="760980"/>
            <a:chExt cx="555521" cy="555521"/>
          </a:xfrm>
        </p:grpSpPr>
        <p:sp>
          <p:nvSpPr>
            <p:cNvPr id="101" name="椭圆 100"/>
            <p:cNvSpPr/>
            <p:nvPr/>
          </p:nvSpPr>
          <p:spPr bwMode="gray">
            <a:xfrm>
              <a:off x="687785" y="760980"/>
              <a:ext cx="555521" cy="555521"/>
            </a:xfrm>
            <a:prstGeom prst="ellipse">
              <a:avLst/>
            </a:prstGeom>
            <a:solidFill>
              <a:schemeClr val="bg1"/>
            </a:solidFill>
            <a:ln w="25400" cmpd="sng"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椭圆 101"/>
            <p:cNvSpPr/>
            <p:nvPr/>
          </p:nvSpPr>
          <p:spPr bwMode="gray">
            <a:xfrm>
              <a:off x="736895" y="810090"/>
              <a:ext cx="457300" cy="457300"/>
            </a:xfrm>
            <a:prstGeom prst="ellipse">
              <a:avLst/>
            </a:prstGeom>
            <a:solidFill>
              <a:srgbClr val="005587"/>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3" name="文本框 102"/>
            <p:cNvSpPr txBox="1"/>
            <p:nvPr/>
          </p:nvSpPr>
          <p:spPr>
            <a:xfrm>
              <a:off x="820016" y="854074"/>
              <a:ext cx="291059" cy="369332"/>
            </a:xfrm>
            <a:prstGeom prst="rect">
              <a:avLst/>
            </a:prstGeom>
            <a:noFill/>
          </p:spPr>
          <p:txBody>
            <a:bodyPr vert="horz" wrap="square" lIns="0" tIns="0" rIns="0" bIns="0" rtlCol="0">
              <a:spAutoFit/>
            </a:bodyPr>
            <a:lstStyle/>
            <a:p>
              <a:pPr algn="ctr">
                <a:buSzPct val="100000"/>
              </a:pPr>
              <a:r>
                <a:rPr lang="en-US" altLang="zh-CN" sz="2400" dirty="0">
                  <a:solidFill>
                    <a:schemeClr val="bg1"/>
                  </a:solidFill>
                </a:rPr>
                <a:t>2</a:t>
              </a:r>
              <a:endParaRPr lang="en-US" sz="1050" dirty="0">
                <a:solidFill>
                  <a:schemeClr val="bg1"/>
                </a:solidFill>
              </a:endParaRPr>
            </a:p>
          </p:txBody>
        </p:sp>
      </p:grpSp>
      <p:grpSp>
        <p:nvGrpSpPr>
          <p:cNvPr id="88" name="组合 87"/>
          <p:cNvGrpSpPr/>
          <p:nvPr/>
        </p:nvGrpSpPr>
        <p:grpSpPr>
          <a:xfrm>
            <a:off x="4097598" y="4275057"/>
            <a:ext cx="1776702" cy="1776702"/>
            <a:chOff x="687785" y="760980"/>
            <a:chExt cx="555521" cy="555521"/>
          </a:xfrm>
        </p:grpSpPr>
        <p:sp>
          <p:nvSpPr>
            <p:cNvPr id="99" name="椭圆 98"/>
            <p:cNvSpPr/>
            <p:nvPr/>
          </p:nvSpPr>
          <p:spPr bwMode="gray">
            <a:xfrm>
              <a:off x="687785" y="760980"/>
              <a:ext cx="555521" cy="555521"/>
            </a:xfrm>
            <a:prstGeom prst="ellipse">
              <a:avLst/>
            </a:prstGeom>
            <a:solidFill>
              <a:srgbClr val="005587"/>
            </a:solidFill>
            <a:ln w="25400"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0" name="椭圆 99"/>
            <p:cNvSpPr/>
            <p:nvPr/>
          </p:nvSpPr>
          <p:spPr bwMode="gray">
            <a:xfrm>
              <a:off x="728113" y="801308"/>
              <a:ext cx="474866" cy="474866"/>
            </a:xfrm>
            <a:prstGeom prst="ellipse">
              <a:avLst/>
            </a:prstGeom>
            <a:solidFill>
              <a:schemeClr val="bg1"/>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97" name="椭圆 96"/>
          <p:cNvSpPr/>
          <p:nvPr/>
        </p:nvSpPr>
        <p:spPr bwMode="gray">
          <a:xfrm>
            <a:off x="4940145" y="4295543"/>
            <a:ext cx="91611" cy="91611"/>
          </a:xfrm>
          <a:prstGeom prst="ellipse">
            <a:avLst/>
          </a:prstGeom>
          <a:solidFill>
            <a:schemeClr val="bg1"/>
          </a:solidFill>
          <a:ln w="19050" cmpd="sng" algn="ctr">
            <a:no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8" name="文本框 97"/>
          <p:cNvSpPr txBox="1"/>
          <p:nvPr/>
        </p:nvSpPr>
        <p:spPr>
          <a:xfrm>
            <a:off x="4367476" y="4830741"/>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005587"/>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cxnSp>
        <p:nvCxnSpPr>
          <p:cNvPr id="105" name="直接连接符 104"/>
          <p:cNvCxnSpPr/>
          <p:nvPr/>
        </p:nvCxnSpPr>
        <p:spPr>
          <a:xfrm flipH="1">
            <a:off x="7183310" y="4305944"/>
            <a:ext cx="1" cy="506234"/>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sp>
        <p:nvSpPr>
          <p:cNvPr id="106" name="等腰三角形 105"/>
          <p:cNvSpPr/>
          <p:nvPr/>
        </p:nvSpPr>
        <p:spPr bwMode="gray">
          <a:xfrm flipV="1">
            <a:off x="7114729" y="4086349"/>
            <a:ext cx="137160" cy="143135"/>
          </a:xfrm>
          <a:prstGeom prst="triangl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8" name="椭圆 107"/>
          <p:cNvSpPr/>
          <p:nvPr/>
        </p:nvSpPr>
        <p:spPr bwMode="gray">
          <a:xfrm>
            <a:off x="7116069" y="4281203"/>
            <a:ext cx="134480" cy="134480"/>
          </a:xfrm>
          <a:prstGeom prst="ellipse">
            <a:avLst/>
          </a:prstGeom>
          <a:solidFill>
            <a:schemeClr val="bg1"/>
          </a:solidFill>
          <a:ln w="19050" cmpd="sng" algn="ctr">
            <a:solidFill>
              <a:srgbClr val="00A3E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09" name="直接连接符 108"/>
          <p:cNvCxnSpPr>
            <a:stCxn id="120" idx="4"/>
            <a:endCxn id="116" idx="0"/>
          </p:cNvCxnSpPr>
          <p:nvPr/>
        </p:nvCxnSpPr>
        <p:spPr>
          <a:xfrm flipH="1">
            <a:off x="7183310" y="2511593"/>
            <a:ext cx="1" cy="675447"/>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110" name="组合 109"/>
          <p:cNvGrpSpPr/>
          <p:nvPr/>
        </p:nvGrpSpPr>
        <p:grpSpPr>
          <a:xfrm>
            <a:off x="6905550" y="1956072"/>
            <a:ext cx="555521" cy="555521"/>
            <a:chOff x="687785" y="760980"/>
            <a:chExt cx="555521" cy="555521"/>
          </a:xfrm>
        </p:grpSpPr>
        <p:sp>
          <p:nvSpPr>
            <p:cNvPr id="120" name="椭圆 119"/>
            <p:cNvSpPr/>
            <p:nvPr/>
          </p:nvSpPr>
          <p:spPr bwMode="gray">
            <a:xfrm>
              <a:off x="687785" y="760980"/>
              <a:ext cx="555521" cy="555521"/>
            </a:xfrm>
            <a:prstGeom prst="ellipse">
              <a:avLst/>
            </a:prstGeom>
            <a:solidFill>
              <a:schemeClr val="bg1"/>
            </a:solidFill>
            <a:ln w="25400" cmpd="sng"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2" name="椭圆 121"/>
            <p:cNvSpPr/>
            <p:nvPr/>
          </p:nvSpPr>
          <p:spPr bwMode="gray">
            <a:xfrm>
              <a:off x="736895" y="810090"/>
              <a:ext cx="457300" cy="457300"/>
            </a:xfrm>
            <a:prstGeom prst="ellipse">
              <a:avLst/>
            </a:prstGeom>
            <a:solidFill>
              <a:schemeClr val="accent1"/>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3" name="文本框 122"/>
            <p:cNvSpPr txBox="1"/>
            <p:nvPr/>
          </p:nvSpPr>
          <p:spPr>
            <a:xfrm>
              <a:off x="820016" y="854074"/>
              <a:ext cx="291059" cy="369332"/>
            </a:xfrm>
            <a:prstGeom prst="rect">
              <a:avLst/>
            </a:prstGeom>
            <a:noFill/>
          </p:spPr>
          <p:txBody>
            <a:bodyPr vert="horz" wrap="square" lIns="0" tIns="0" rIns="0" bIns="0" rtlCol="0">
              <a:spAutoFit/>
            </a:bodyPr>
            <a:lstStyle/>
            <a:p>
              <a:pPr algn="ctr">
                <a:buSzPct val="100000"/>
              </a:pPr>
              <a:r>
                <a:rPr lang="en-US" altLang="zh-CN" sz="2400" dirty="0">
                  <a:solidFill>
                    <a:schemeClr val="bg1"/>
                  </a:solidFill>
                </a:rPr>
                <a:t>3</a:t>
              </a:r>
              <a:endParaRPr lang="en-US" sz="1050" dirty="0">
                <a:solidFill>
                  <a:schemeClr val="bg1"/>
                </a:solidFill>
              </a:endParaRPr>
            </a:p>
          </p:txBody>
        </p:sp>
      </p:grpSp>
      <p:grpSp>
        <p:nvGrpSpPr>
          <p:cNvPr id="111" name="组合 110"/>
          <p:cNvGrpSpPr/>
          <p:nvPr/>
        </p:nvGrpSpPr>
        <p:grpSpPr>
          <a:xfrm>
            <a:off x="6294958" y="3187039"/>
            <a:ext cx="1776702" cy="1776702"/>
            <a:chOff x="687785" y="760980"/>
            <a:chExt cx="555521" cy="555521"/>
          </a:xfrm>
        </p:grpSpPr>
        <p:sp>
          <p:nvSpPr>
            <p:cNvPr id="116" name="椭圆 115"/>
            <p:cNvSpPr/>
            <p:nvPr/>
          </p:nvSpPr>
          <p:spPr bwMode="gray">
            <a:xfrm>
              <a:off x="687785" y="760980"/>
              <a:ext cx="555521" cy="555521"/>
            </a:xfrm>
            <a:prstGeom prst="ellipse">
              <a:avLst/>
            </a:prstGeom>
            <a:solidFill>
              <a:schemeClr val="accent1"/>
            </a:solidFill>
            <a:ln w="25400"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8" name="椭圆 117"/>
            <p:cNvSpPr/>
            <p:nvPr/>
          </p:nvSpPr>
          <p:spPr bwMode="gray">
            <a:xfrm>
              <a:off x="728113" y="801308"/>
              <a:ext cx="474866" cy="474866"/>
            </a:xfrm>
            <a:prstGeom prst="ellipse">
              <a:avLst/>
            </a:prstGeom>
            <a:solidFill>
              <a:schemeClr val="bg1"/>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12" name="椭圆 111"/>
          <p:cNvSpPr/>
          <p:nvPr/>
        </p:nvSpPr>
        <p:spPr bwMode="gray">
          <a:xfrm>
            <a:off x="7137505" y="3207525"/>
            <a:ext cx="91611" cy="91611"/>
          </a:xfrm>
          <a:prstGeom prst="ellipse">
            <a:avLst/>
          </a:prstGeom>
          <a:solidFill>
            <a:schemeClr val="bg1"/>
          </a:solidFill>
          <a:ln w="19050" cmpd="sng" algn="ctr">
            <a:no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4" name="文本框 113"/>
          <p:cNvSpPr txBox="1"/>
          <p:nvPr/>
        </p:nvSpPr>
        <p:spPr>
          <a:xfrm>
            <a:off x="6564836" y="3742723"/>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1"/>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cxnSp>
        <p:nvCxnSpPr>
          <p:cNvPr id="125" name="直接连接符 124"/>
          <p:cNvCxnSpPr/>
          <p:nvPr/>
        </p:nvCxnSpPr>
        <p:spPr>
          <a:xfrm flipH="1">
            <a:off x="9380671" y="5069873"/>
            <a:ext cx="1" cy="506234"/>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sp>
        <p:nvSpPr>
          <p:cNvPr id="126" name="等腰三角形 125"/>
          <p:cNvSpPr/>
          <p:nvPr/>
        </p:nvSpPr>
        <p:spPr bwMode="gray">
          <a:xfrm flipV="1">
            <a:off x="9312090" y="4850278"/>
            <a:ext cx="137160" cy="143135"/>
          </a:xfrm>
          <a:prstGeom prst="triangl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7" name="椭圆 126"/>
          <p:cNvSpPr/>
          <p:nvPr/>
        </p:nvSpPr>
        <p:spPr bwMode="gray">
          <a:xfrm>
            <a:off x="9313430" y="5045132"/>
            <a:ext cx="134480" cy="134480"/>
          </a:xfrm>
          <a:prstGeom prst="ellipse">
            <a:avLst/>
          </a:prstGeom>
          <a:solidFill>
            <a:schemeClr val="bg1"/>
          </a:solidFill>
          <a:ln w="19050" cmpd="sng" algn="ctr">
            <a:solidFill>
              <a:srgbClr val="00A3E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28" name="直接连接符 127"/>
          <p:cNvCxnSpPr>
            <a:stCxn id="135" idx="4"/>
            <a:endCxn id="133" idx="0"/>
          </p:cNvCxnSpPr>
          <p:nvPr/>
        </p:nvCxnSpPr>
        <p:spPr>
          <a:xfrm flipH="1">
            <a:off x="9380671" y="2511592"/>
            <a:ext cx="1" cy="1439376"/>
          </a:xfrm>
          <a:prstGeom prst="line">
            <a:avLst/>
          </a:prstGeom>
          <a:ln w="28575" cap="rnd">
            <a:solidFill>
              <a:srgbClr val="97999B"/>
            </a:solidFill>
            <a:prstDash val="sysDot"/>
          </a:ln>
        </p:spPr>
        <p:style>
          <a:lnRef idx="1">
            <a:schemeClr val="accent1"/>
          </a:lnRef>
          <a:fillRef idx="0">
            <a:schemeClr val="accent1"/>
          </a:fillRef>
          <a:effectRef idx="0">
            <a:schemeClr val="accent1"/>
          </a:effectRef>
          <a:fontRef idx="minor">
            <a:schemeClr val="tx1"/>
          </a:fontRef>
        </p:style>
      </p:cxnSp>
      <p:grpSp>
        <p:nvGrpSpPr>
          <p:cNvPr id="129" name="组合 128"/>
          <p:cNvGrpSpPr/>
          <p:nvPr/>
        </p:nvGrpSpPr>
        <p:grpSpPr>
          <a:xfrm>
            <a:off x="9102911" y="1956072"/>
            <a:ext cx="555521" cy="555521"/>
            <a:chOff x="687785" y="760980"/>
            <a:chExt cx="555521" cy="555521"/>
          </a:xfrm>
        </p:grpSpPr>
        <p:sp>
          <p:nvSpPr>
            <p:cNvPr id="135" name="椭圆 134"/>
            <p:cNvSpPr/>
            <p:nvPr/>
          </p:nvSpPr>
          <p:spPr bwMode="gray">
            <a:xfrm>
              <a:off x="687785" y="760980"/>
              <a:ext cx="555521" cy="555521"/>
            </a:xfrm>
            <a:prstGeom prst="ellipse">
              <a:avLst/>
            </a:prstGeom>
            <a:solidFill>
              <a:schemeClr val="bg1"/>
            </a:solidFill>
            <a:ln w="25400" cmpd="sng"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6" name="椭圆 135"/>
            <p:cNvSpPr/>
            <p:nvPr/>
          </p:nvSpPr>
          <p:spPr bwMode="gray">
            <a:xfrm>
              <a:off x="736895" y="810090"/>
              <a:ext cx="457300" cy="457300"/>
            </a:xfrm>
            <a:prstGeom prst="ellipse">
              <a:avLst/>
            </a:prstGeom>
            <a:solidFill>
              <a:srgbClr val="97999B"/>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7" name="文本框 136"/>
            <p:cNvSpPr txBox="1"/>
            <p:nvPr/>
          </p:nvSpPr>
          <p:spPr>
            <a:xfrm>
              <a:off x="820016" y="854074"/>
              <a:ext cx="291059" cy="369332"/>
            </a:xfrm>
            <a:prstGeom prst="rect">
              <a:avLst/>
            </a:prstGeom>
            <a:noFill/>
          </p:spPr>
          <p:txBody>
            <a:bodyPr vert="horz" wrap="square" lIns="0" tIns="0" rIns="0" bIns="0" rtlCol="0">
              <a:spAutoFit/>
            </a:bodyPr>
            <a:lstStyle/>
            <a:p>
              <a:pPr algn="ctr">
                <a:buSzPct val="100000"/>
              </a:pPr>
              <a:r>
                <a:rPr lang="en-US" altLang="zh-CN" sz="2400" dirty="0">
                  <a:solidFill>
                    <a:schemeClr val="bg1"/>
                  </a:solidFill>
                </a:rPr>
                <a:t>4</a:t>
              </a:r>
              <a:endParaRPr lang="en-US" sz="1050" dirty="0">
                <a:solidFill>
                  <a:schemeClr val="bg1"/>
                </a:solidFill>
              </a:endParaRPr>
            </a:p>
          </p:txBody>
        </p:sp>
      </p:grpSp>
      <p:grpSp>
        <p:nvGrpSpPr>
          <p:cNvPr id="130" name="组合 129"/>
          <p:cNvGrpSpPr/>
          <p:nvPr/>
        </p:nvGrpSpPr>
        <p:grpSpPr>
          <a:xfrm>
            <a:off x="8492319" y="3950968"/>
            <a:ext cx="1776702" cy="1776702"/>
            <a:chOff x="687785" y="760980"/>
            <a:chExt cx="555521" cy="555521"/>
          </a:xfrm>
        </p:grpSpPr>
        <p:sp>
          <p:nvSpPr>
            <p:cNvPr id="133" name="椭圆 132"/>
            <p:cNvSpPr/>
            <p:nvPr/>
          </p:nvSpPr>
          <p:spPr bwMode="gray">
            <a:xfrm>
              <a:off x="687785" y="760980"/>
              <a:ext cx="555521" cy="555521"/>
            </a:xfrm>
            <a:prstGeom prst="ellipse">
              <a:avLst/>
            </a:prstGeom>
            <a:solidFill>
              <a:srgbClr val="97999B"/>
            </a:solidFill>
            <a:ln w="25400"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4" name="椭圆 133"/>
            <p:cNvSpPr/>
            <p:nvPr/>
          </p:nvSpPr>
          <p:spPr bwMode="gray">
            <a:xfrm>
              <a:off x="728113" y="801308"/>
              <a:ext cx="474866" cy="474866"/>
            </a:xfrm>
            <a:prstGeom prst="ellipse">
              <a:avLst/>
            </a:prstGeom>
            <a:solidFill>
              <a:schemeClr val="bg1"/>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31" name="椭圆 130"/>
          <p:cNvSpPr/>
          <p:nvPr/>
        </p:nvSpPr>
        <p:spPr bwMode="gray">
          <a:xfrm>
            <a:off x="9334866" y="3971454"/>
            <a:ext cx="91611" cy="91611"/>
          </a:xfrm>
          <a:prstGeom prst="ellipse">
            <a:avLst/>
          </a:prstGeom>
          <a:solidFill>
            <a:schemeClr val="bg1"/>
          </a:solidFill>
          <a:ln w="19050" cmpd="sng" algn="ctr">
            <a:no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2" name="文本框 131"/>
          <p:cNvSpPr txBox="1"/>
          <p:nvPr/>
        </p:nvSpPr>
        <p:spPr>
          <a:xfrm>
            <a:off x="8762197" y="4506652"/>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97999B"/>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138" name="等腰三角形 137"/>
          <p:cNvSpPr/>
          <p:nvPr/>
        </p:nvSpPr>
        <p:spPr bwMode="gray">
          <a:xfrm rot="5400000" flipH="1">
            <a:off x="1895956" y="2167200"/>
            <a:ext cx="133263" cy="133263"/>
          </a:xfrm>
          <a:prstGeom prst="triangle">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9" name="等腰三角形 138"/>
          <p:cNvSpPr/>
          <p:nvPr/>
        </p:nvSpPr>
        <p:spPr bwMode="gray">
          <a:xfrm rot="5400000" flipH="1">
            <a:off x="10188143" y="2174919"/>
            <a:ext cx="133263" cy="133263"/>
          </a:xfrm>
          <a:prstGeom prst="triangle">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custDataLst>
      <p:tags r:id="rId1"/>
    </p:custDataLst>
    <p:extLst>
      <p:ext uri="{BB962C8B-B14F-4D97-AF65-F5344CB8AC3E}">
        <p14:creationId xmlns:p14="http://schemas.microsoft.com/office/powerpoint/2010/main" val="2605234722"/>
      </p:ext>
    </p:extLst>
  </p:cSld>
  <p:clrMapOvr>
    <a:masterClrMapping/>
  </p:clrMapOvr>
  <p:transition>
    <p:fade/>
  </p:transition>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Content Placeholder 2"/>
          <p:cNvSpPr>
            <a:spLocks noGrp="1"/>
          </p:cNvSpPr>
          <p:nvPr>
            <p:ph sz="quarter" idx="4294967295"/>
          </p:nvPr>
        </p:nvSpPr>
        <p:spPr>
          <a:xfrm>
            <a:off x="1748234" y="4449763"/>
            <a:ext cx="1846263" cy="1098550"/>
          </a:xfrm>
          <a:prstGeom prst="rect">
            <a:avLst/>
          </a:prstGeom>
        </p:spPr>
        <p:txBody>
          <a:bodyPr lIns="0" tIns="0" rIns="0" bIns="0"/>
          <a:lstStyle/>
          <a:p>
            <a:pPr algn="ctr">
              <a:spcAft>
                <a:spcPts val="0"/>
              </a:spcAft>
            </a:pPr>
            <a:r>
              <a:rPr lang="en-US" b="1" noProof="0" dirty="0">
                <a:solidFill>
                  <a:schemeClr val="accent4"/>
                </a:solidFill>
              </a:rPr>
              <a:t>Title Bold </a:t>
            </a:r>
          </a:p>
          <a:p>
            <a:pPr algn="ctr"/>
            <a:r>
              <a:rPr lang="en-US" noProof="0" dirty="0"/>
              <a:t>this is dummy text it is not here to be read it is here to show how this document will look</a:t>
            </a:r>
          </a:p>
        </p:txBody>
      </p:sp>
      <p:sp>
        <p:nvSpPr>
          <p:cNvPr id="50" name="Content Placeholder 2"/>
          <p:cNvSpPr>
            <a:spLocks noGrp="1"/>
          </p:cNvSpPr>
          <p:nvPr>
            <p:ph sz="quarter" idx="4294967295"/>
          </p:nvPr>
        </p:nvSpPr>
        <p:spPr>
          <a:xfrm>
            <a:off x="8537177" y="4449763"/>
            <a:ext cx="1846263" cy="1098550"/>
          </a:xfrm>
          <a:prstGeom prst="rect">
            <a:avLst/>
          </a:prstGeom>
        </p:spPr>
        <p:txBody>
          <a:bodyPr lIns="0" tIns="0" rIns="0" bIns="0"/>
          <a:lstStyle/>
          <a:p>
            <a:pPr algn="ctr">
              <a:spcAft>
                <a:spcPts val="0"/>
              </a:spcAft>
            </a:pPr>
            <a:r>
              <a:rPr lang="en-US" b="1" noProof="0" dirty="0">
                <a:solidFill>
                  <a:schemeClr val="accent2"/>
                </a:solidFill>
              </a:rPr>
              <a:t>Title Bold </a:t>
            </a:r>
          </a:p>
          <a:p>
            <a:pPr algn="ctr"/>
            <a:r>
              <a:rPr lang="en-US" noProof="0" dirty="0"/>
              <a:t>this is dummy text it is not here to be read it is here to show how this document will look</a:t>
            </a:r>
          </a:p>
        </p:txBody>
      </p:sp>
      <p:sp>
        <p:nvSpPr>
          <p:cNvPr id="51" name="Content Placeholder 2"/>
          <p:cNvSpPr>
            <a:spLocks noGrp="1"/>
          </p:cNvSpPr>
          <p:nvPr>
            <p:ph sz="quarter" idx="4294967295"/>
          </p:nvPr>
        </p:nvSpPr>
        <p:spPr>
          <a:xfrm>
            <a:off x="6274196" y="4449763"/>
            <a:ext cx="1846262" cy="1098550"/>
          </a:xfrm>
          <a:prstGeom prst="rect">
            <a:avLst/>
          </a:prstGeom>
        </p:spPr>
        <p:txBody>
          <a:bodyPr lIns="0" tIns="0" rIns="0" bIns="0"/>
          <a:lstStyle/>
          <a:p>
            <a:pPr algn="ctr">
              <a:spcAft>
                <a:spcPts val="0"/>
              </a:spcAft>
            </a:pPr>
            <a:r>
              <a:rPr lang="en-US" b="1" noProof="0" dirty="0">
                <a:solidFill>
                  <a:schemeClr val="accent1"/>
                </a:solidFill>
              </a:rPr>
              <a:t>Title Bold </a:t>
            </a:r>
          </a:p>
          <a:p>
            <a:pPr algn="ctr"/>
            <a:r>
              <a:rPr lang="en-US" noProof="0" dirty="0"/>
              <a:t>this is dummy text it is not here to be read it is here to show how this document will look</a:t>
            </a:r>
          </a:p>
        </p:txBody>
      </p:sp>
      <p:sp>
        <p:nvSpPr>
          <p:cNvPr id="52" name="Content Placeholder 2"/>
          <p:cNvSpPr>
            <a:spLocks noGrp="1"/>
          </p:cNvSpPr>
          <p:nvPr>
            <p:ph sz="quarter" idx="4294967295"/>
          </p:nvPr>
        </p:nvSpPr>
        <p:spPr>
          <a:xfrm>
            <a:off x="4011216" y="4449763"/>
            <a:ext cx="1846262" cy="1098550"/>
          </a:xfrm>
          <a:prstGeom prst="rect">
            <a:avLst/>
          </a:prstGeom>
        </p:spPr>
        <p:txBody>
          <a:bodyPr lIns="0" tIns="0" rIns="0" bIns="0"/>
          <a:lstStyle/>
          <a:p>
            <a:pPr algn="ctr">
              <a:spcAft>
                <a:spcPts val="0"/>
              </a:spcAft>
            </a:pPr>
            <a:r>
              <a:rPr lang="en-US" b="1" noProof="0" dirty="0">
                <a:solidFill>
                  <a:srgbClr val="43B02A"/>
                </a:solidFill>
              </a:rPr>
              <a:t>Title Bold </a:t>
            </a:r>
          </a:p>
          <a:p>
            <a:pPr algn="ctr"/>
            <a:r>
              <a:rPr lang="en-US" noProof="0" dirty="0"/>
              <a:t>this is dummy text it is not here to be read it is here to show how this document will look</a:t>
            </a:r>
          </a:p>
        </p:txBody>
      </p:sp>
      <p:grpSp>
        <p:nvGrpSpPr>
          <p:cNvPr id="37" name="Group 36"/>
          <p:cNvGrpSpPr/>
          <p:nvPr/>
        </p:nvGrpSpPr>
        <p:grpSpPr>
          <a:xfrm>
            <a:off x="1840310" y="1876425"/>
            <a:ext cx="1662112" cy="2338060"/>
            <a:chOff x="1852613" y="1876425"/>
            <a:chExt cx="1662112" cy="2338060"/>
          </a:xfrm>
        </p:grpSpPr>
        <p:sp>
          <p:nvSpPr>
            <p:cNvPr id="4" name="Oval 3"/>
            <p:cNvSpPr/>
            <p:nvPr/>
          </p:nvSpPr>
          <p:spPr bwMode="gray">
            <a:xfrm>
              <a:off x="1852613" y="1876425"/>
              <a:ext cx="1662112" cy="1662112"/>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p:cNvSpPr/>
            <p:nvPr/>
          </p:nvSpPr>
          <p:spPr bwMode="gray">
            <a:xfrm>
              <a:off x="2064544" y="2088356"/>
              <a:ext cx="1238250" cy="123825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4"/>
                  </a:solidFill>
                </a:rPr>
                <a:t>Lorem</a:t>
              </a:r>
            </a:p>
          </p:txBody>
        </p:sp>
        <p:sp>
          <p:nvSpPr>
            <p:cNvPr id="5" name="Isosceles Triangle 4"/>
            <p:cNvSpPr/>
            <p:nvPr/>
          </p:nvSpPr>
          <p:spPr bwMode="gray">
            <a:xfrm rot="10800000">
              <a:off x="2440782" y="3795713"/>
              <a:ext cx="485775" cy="418772"/>
            </a:xfrm>
            <a:prstGeom prst="triangl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8" name="Group 37"/>
          <p:cNvGrpSpPr/>
          <p:nvPr/>
        </p:nvGrpSpPr>
        <p:grpSpPr>
          <a:xfrm>
            <a:off x="4103291" y="1876425"/>
            <a:ext cx="1662112" cy="2338060"/>
            <a:chOff x="4119563" y="1876425"/>
            <a:chExt cx="1662112" cy="2338060"/>
          </a:xfrm>
        </p:grpSpPr>
        <p:sp>
          <p:nvSpPr>
            <p:cNvPr id="10" name="Oval 9"/>
            <p:cNvSpPr/>
            <p:nvPr/>
          </p:nvSpPr>
          <p:spPr bwMode="gray">
            <a:xfrm>
              <a:off x="4119563" y="1876425"/>
              <a:ext cx="1662112" cy="1662112"/>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Oval 10"/>
            <p:cNvSpPr/>
            <p:nvPr/>
          </p:nvSpPr>
          <p:spPr bwMode="gray">
            <a:xfrm>
              <a:off x="4331494" y="2088356"/>
              <a:ext cx="1238250" cy="123825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3"/>
                  </a:solidFill>
                </a:rPr>
                <a:t>Lorem</a:t>
              </a:r>
            </a:p>
          </p:txBody>
        </p:sp>
        <p:sp>
          <p:nvSpPr>
            <p:cNvPr id="12" name="Isosceles Triangle 11"/>
            <p:cNvSpPr/>
            <p:nvPr/>
          </p:nvSpPr>
          <p:spPr bwMode="gray">
            <a:xfrm rot="10800000">
              <a:off x="4707732" y="3795713"/>
              <a:ext cx="485775" cy="418772"/>
            </a:xfrm>
            <a:prstGeom prst="triangl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9" name="Group 38"/>
          <p:cNvGrpSpPr/>
          <p:nvPr/>
        </p:nvGrpSpPr>
        <p:grpSpPr>
          <a:xfrm>
            <a:off x="6366272" y="1876425"/>
            <a:ext cx="1662112" cy="2338060"/>
            <a:chOff x="6415088" y="1876425"/>
            <a:chExt cx="1662112" cy="2338060"/>
          </a:xfrm>
        </p:grpSpPr>
        <p:sp>
          <p:nvSpPr>
            <p:cNvPr id="14" name="Oval 13"/>
            <p:cNvSpPr/>
            <p:nvPr/>
          </p:nvSpPr>
          <p:spPr bwMode="gray">
            <a:xfrm>
              <a:off x="6415088" y="1876425"/>
              <a:ext cx="1662112" cy="166211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Oval 14"/>
            <p:cNvSpPr/>
            <p:nvPr/>
          </p:nvSpPr>
          <p:spPr bwMode="gray">
            <a:xfrm>
              <a:off x="6627019" y="2088356"/>
              <a:ext cx="1238250" cy="123825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1"/>
                  </a:solidFill>
                </a:rPr>
                <a:t>Lorem</a:t>
              </a:r>
            </a:p>
          </p:txBody>
        </p:sp>
        <p:sp>
          <p:nvSpPr>
            <p:cNvPr id="16" name="Isosceles Triangle 15"/>
            <p:cNvSpPr/>
            <p:nvPr/>
          </p:nvSpPr>
          <p:spPr bwMode="gray">
            <a:xfrm rot="10800000">
              <a:off x="7003257" y="3795713"/>
              <a:ext cx="485775" cy="418772"/>
            </a:xfrm>
            <a:prstGeom prst="triangl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40" name="Group 39"/>
          <p:cNvGrpSpPr/>
          <p:nvPr/>
        </p:nvGrpSpPr>
        <p:grpSpPr>
          <a:xfrm>
            <a:off x="8629253" y="1876425"/>
            <a:ext cx="1662112" cy="2338060"/>
            <a:chOff x="8667751" y="1876425"/>
            <a:chExt cx="1662112" cy="2338060"/>
          </a:xfrm>
        </p:grpSpPr>
        <p:sp>
          <p:nvSpPr>
            <p:cNvPr id="29" name="Oval 28"/>
            <p:cNvSpPr/>
            <p:nvPr/>
          </p:nvSpPr>
          <p:spPr bwMode="gray">
            <a:xfrm>
              <a:off x="8667751" y="1876425"/>
              <a:ext cx="1662112" cy="1662112"/>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Oval 29"/>
            <p:cNvSpPr/>
            <p:nvPr/>
          </p:nvSpPr>
          <p:spPr bwMode="gray">
            <a:xfrm>
              <a:off x="8879682" y="2088356"/>
              <a:ext cx="1238250" cy="123825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2"/>
                  </a:solidFill>
                </a:rPr>
                <a:t>Lorem</a:t>
              </a:r>
            </a:p>
          </p:txBody>
        </p:sp>
        <p:sp>
          <p:nvSpPr>
            <p:cNvPr id="31" name="Isosceles Triangle 30"/>
            <p:cNvSpPr/>
            <p:nvPr/>
          </p:nvSpPr>
          <p:spPr bwMode="gray">
            <a:xfrm rot="10800000">
              <a:off x="9255920" y="3795713"/>
              <a:ext cx="485775" cy="418772"/>
            </a:xfrm>
            <a:prstGeom prst="triangl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33" name="Rectangle 32"/>
          <p:cNvSpPr/>
          <p:nvPr/>
        </p:nvSpPr>
        <p:spPr bwMode="gray">
          <a:xfrm>
            <a:off x="469900" y="3394470"/>
            <a:ext cx="3332957" cy="166688"/>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4" name="Rectangle 33"/>
          <p:cNvSpPr/>
          <p:nvPr/>
        </p:nvSpPr>
        <p:spPr bwMode="gray">
          <a:xfrm>
            <a:off x="3802857" y="3394470"/>
            <a:ext cx="2262981" cy="166688"/>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5" name="Rectangle 34"/>
          <p:cNvSpPr/>
          <p:nvPr/>
        </p:nvSpPr>
        <p:spPr bwMode="gray">
          <a:xfrm>
            <a:off x="6065838" y="3394470"/>
            <a:ext cx="2262981" cy="166688"/>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6" name="Rectangle 35"/>
          <p:cNvSpPr/>
          <p:nvPr/>
        </p:nvSpPr>
        <p:spPr bwMode="gray">
          <a:xfrm>
            <a:off x="8328818" y="3394470"/>
            <a:ext cx="3393282" cy="166688"/>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custDataLst>
      <p:tags r:id="rId1"/>
    </p:custDataLst>
    <p:extLst>
      <p:ext uri="{BB962C8B-B14F-4D97-AF65-F5344CB8AC3E}">
        <p14:creationId xmlns:p14="http://schemas.microsoft.com/office/powerpoint/2010/main" val="674996256"/>
      </p:ext>
    </p:extLst>
  </p:cSld>
  <p:clrMapOvr>
    <a:masterClrMapping/>
  </p:clrMapOvr>
  <p:transition>
    <p:fade/>
  </p:transition>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1890713" y="5781676"/>
            <a:ext cx="836771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ardrop 2"/>
          <p:cNvSpPr/>
          <p:nvPr/>
        </p:nvSpPr>
        <p:spPr bwMode="gray">
          <a:xfrm rot="8100000">
            <a:off x="1900239" y="1181102"/>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26" name="Teardrop 2"/>
          <p:cNvSpPr/>
          <p:nvPr/>
        </p:nvSpPr>
        <p:spPr bwMode="gray">
          <a:xfrm rot="8100000">
            <a:off x="3226836" y="2676547"/>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44" name="Teardrop 2"/>
          <p:cNvSpPr/>
          <p:nvPr/>
        </p:nvSpPr>
        <p:spPr bwMode="gray">
          <a:xfrm rot="8100000">
            <a:off x="8533225" y="2676547"/>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51" name="Teardrop 2"/>
          <p:cNvSpPr/>
          <p:nvPr/>
        </p:nvSpPr>
        <p:spPr bwMode="gray">
          <a:xfrm rot="8100000">
            <a:off x="4553433" y="1181102"/>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56" name="Teardrop 2"/>
          <p:cNvSpPr/>
          <p:nvPr/>
        </p:nvSpPr>
        <p:spPr bwMode="gray">
          <a:xfrm rot="8100000">
            <a:off x="7206627" y="1181102"/>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4" name="Oval 3"/>
          <p:cNvSpPr/>
          <p:nvPr/>
        </p:nvSpPr>
        <p:spPr bwMode="gray">
          <a:xfrm>
            <a:off x="2702007" y="5706404"/>
            <a:ext cx="156235" cy="15623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19" name="Straight Connector 18"/>
          <p:cNvCxnSpPr/>
          <p:nvPr/>
        </p:nvCxnSpPr>
        <p:spPr>
          <a:xfrm flipH="1" flipV="1">
            <a:off x="2780124" y="2961668"/>
            <a:ext cx="1" cy="274473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Oval 21"/>
          <p:cNvSpPr/>
          <p:nvPr/>
        </p:nvSpPr>
        <p:spPr bwMode="gray">
          <a:xfrm>
            <a:off x="1980229" y="1254160"/>
            <a:ext cx="1599791" cy="1599791"/>
          </a:xfrm>
          <a:prstGeom prst="ellipse">
            <a:avLst/>
          </a:prstGeom>
          <a:solidFill>
            <a:srgbClr val="FFFFFF"/>
          </a:solidFill>
          <a:ln w="19050" algn="ctr">
            <a:noFill/>
            <a:miter lim="800000"/>
            <a:headEnd/>
            <a:tailEnd/>
          </a:ln>
        </p:spPr>
        <p:txBody>
          <a:bodyPr wrap="square" lIns="88900" tIns="182880" rIns="88900" bIns="88900" rtlCol="0" anchor="t"/>
          <a:lstStyle/>
          <a:p>
            <a:pPr algn="ctr">
              <a:lnSpc>
                <a:spcPct val="106000"/>
              </a:lnSpc>
              <a:buFont typeface="Wingdings 2" pitchFamily="18" charset="2"/>
              <a:buNone/>
            </a:pPr>
            <a:r>
              <a:rPr lang="en-GB" sz="1200" dirty="0"/>
              <a:t>Lorem ipsum </a:t>
            </a:r>
          </a:p>
        </p:txBody>
      </p:sp>
      <p:grpSp>
        <p:nvGrpSpPr>
          <p:cNvPr id="77" name="Group 683"/>
          <p:cNvGrpSpPr>
            <a:grpSpLocks noChangeAspect="1"/>
          </p:cNvGrpSpPr>
          <p:nvPr/>
        </p:nvGrpSpPr>
        <p:grpSpPr bwMode="auto">
          <a:xfrm>
            <a:off x="2557708" y="2143187"/>
            <a:ext cx="444833" cy="444833"/>
            <a:chOff x="377" y="2771"/>
            <a:chExt cx="340" cy="340"/>
          </a:xfrm>
          <a:solidFill>
            <a:schemeClr val="accent1"/>
          </a:solidFill>
        </p:grpSpPr>
        <p:sp>
          <p:nvSpPr>
            <p:cNvPr id="78" name="Freeform 684"/>
            <p:cNvSpPr>
              <a:spLocks noEditPoints="1"/>
            </p:cNvSpPr>
            <p:nvPr/>
          </p:nvSpPr>
          <p:spPr bwMode="auto">
            <a:xfrm>
              <a:off x="377"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685"/>
            <p:cNvSpPr>
              <a:spLocks noEditPoints="1"/>
            </p:cNvSpPr>
            <p:nvPr/>
          </p:nvSpPr>
          <p:spPr bwMode="auto">
            <a:xfrm>
              <a:off x="440" y="2863"/>
              <a:ext cx="185" cy="184"/>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9" name="Teardrop 2"/>
          <p:cNvSpPr/>
          <p:nvPr/>
        </p:nvSpPr>
        <p:spPr bwMode="gray">
          <a:xfrm rot="8100000">
            <a:off x="5880030" y="2676546"/>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40" name="Oval 39"/>
          <p:cNvSpPr/>
          <p:nvPr/>
        </p:nvSpPr>
        <p:spPr bwMode="gray">
          <a:xfrm>
            <a:off x="6681798" y="5706403"/>
            <a:ext cx="156235" cy="156235"/>
          </a:xfrm>
          <a:prstGeom prst="ellipse">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41" name="Straight Connector 40"/>
          <p:cNvCxnSpPr/>
          <p:nvPr/>
        </p:nvCxnSpPr>
        <p:spPr>
          <a:xfrm flipV="1">
            <a:off x="6759915" y="4140125"/>
            <a:ext cx="0" cy="1566278"/>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42" name="Oval 41"/>
          <p:cNvSpPr/>
          <p:nvPr/>
        </p:nvSpPr>
        <p:spPr bwMode="gray">
          <a:xfrm>
            <a:off x="5960020" y="2749604"/>
            <a:ext cx="1599791" cy="1599791"/>
          </a:xfrm>
          <a:prstGeom prst="ellipse">
            <a:avLst/>
          </a:prstGeom>
          <a:solidFill>
            <a:schemeClr val="bg1"/>
          </a:solidFill>
          <a:ln w="19050" algn="ctr">
            <a:noFill/>
            <a:miter lim="800000"/>
            <a:headEnd/>
            <a:tailEnd/>
          </a:ln>
        </p:spPr>
        <p:txBody>
          <a:bodyPr wrap="none" lIns="0" tIns="182880" rIns="0" bIns="0" rtlCol="0" anchor="t"/>
          <a:lstStyle/>
          <a:p>
            <a:pPr algn="ctr">
              <a:lnSpc>
                <a:spcPct val="106000"/>
              </a:lnSpc>
              <a:buFont typeface="Wingdings 2" pitchFamily="18" charset="2"/>
              <a:buNone/>
            </a:pPr>
            <a:r>
              <a:rPr lang="en-GB" sz="1200" dirty="0"/>
              <a:t>Lorem ipsum </a:t>
            </a:r>
          </a:p>
        </p:txBody>
      </p:sp>
      <p:grpSp>
        <p:nvGrpSpPr>
          <p:cNvPr id="80" name="Group 186"/>
          <p:cNvGrpSpPr>
            <a:grpSpLocks noChangeAspect="1"/>
          </p:cNvGrpSpPr>
          <p:nvPr/>
        </p:nvGrpSpPr>
        <p:grpSpPr bwMode="auto">
          <a:xfrm>
            <a:off x="6536658" y="3675150"/>
            <a:ext cx="446515" cy="446515"/>
            <a:chOff x="6560" y="394"/>
            <a:chExt cx="340" cy="340"/>
          </a:xfrm>
          <a:solidFill>
            <a:srgbClr val="012169"/>
          </a:solidFill>
        </p:grpSpPr>
        <p:sp>
          <p:nvSpPr>
            <p:cNvPr id="81" name="Freeform 187"/>
            <p:cNvSpPr>
              <a:spLocks noEditPoints="1"/>
            </p:cNvSpPr>
            <p:nvPr/>
          </p:nvSpPr>
          <p:spPr bwMode="auto">
            <a:xfrm>
              <a:off x="6560"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188"/>
            <p:cNvSpPr>
              <a:spLocks noEditPoints="1"/>
            </p:cNvSpPr>
            <p:nvPr/>
          </p:nvSpPr>
          <p:spPr bwMode="auto">
            <a:xfrm>
              <a:off x="6623" y="471"/>
              <a:ext cx="185" cy="185"/>
            </a:xfrm>
            <a:custGeom>
              <a:avLst/>
              <a:gdLst>
                <a:gd name="T0" fmla="*/ 273 w 278"/>
                <a:gd name="T1" fmla="*/ 3 h 278"/>
                <a:gd name="T2" fmla="*/ 262 w 278"/>
                <a:gd name="T3" fmla="*/ 2 h 278"/>
                <a:gd name="T4" fmla="*/ 6 w 278"/>
                <a:gd name="T5" fmla="*/ 152 h 278"/>
                <a:gd name="T6" fmla="*/ 1 w 278"/>
                <a:gd name="T7" fmla="*/ 162 h 278"/>
                <a:gd name="T8" fmla="*/ 7 w 278"/>
                <a:gd name="T9" fmla="*/ 171 h 278"/>
                <a:gd name="T10" fmla="*/ 89 w 278"/>
                <a:gd name="T11" fmla="*/ 204 h 278"/>
                <a:gd name="T12" fmla="*/ 108 w 278"/>
                <a:gd name="T13" fmla="*/ 271 h 278"/>
                <a:gd name="T14" fmla="*/ 117 w 278"/>
                <a:gd name="T15" fmla="*/ 278 h 278"/>
                <a:gd name="T16" fmla="*/ 118 w 278"/>
                <a:gd name="T17" fmla="*/ 278 h 278"/>
                <a:gd name="T18" fmla="*/ 127 w 278"/>
                <a:gd name="T19" fmla="*/ 274 h 278"/>
                <a:gd name="T20" fmla="*/ 127 w 278"/>
                <a:gd name="T21" fmla="*/ 274 h 278"/>
                <a:gd name="T22" fmla="*/ 157 w 278"/>
                <a:gd name="T23" fmla="*/ 232 h 278"/>
                <a:gd name="T24" fmla="*/ 242 w 278"/>
                <a:gd name="T25" fmla="*/ 267 h 278"/>
                <a:gd name="T26" fmla="*/ 246 w 278"/>
                <a:gd name="T27" fmla="*/ 268 h 278"/>
                <a:gd name="T28" fmla="*/ 252 w 278"/>
                <a:gd name="T29" fmla="*/ 266 h 278"/>
                <a:gd name="T30" fmla="*/ 257 w 278"/>
                <a:gd name="T31" fmla="*/ 258 h 278"/>
                <a:gd name="T32" fmla="*/ 278 w 278"/>
                <a:gd name="T33" fmla="*/ 13 h 278"/>
                <a:gd name="T34" fmla="*/ 273 w 278"/>
                <a:gd name="T35" fmla="*/ 3 h 278"/>
                <a:gd name="T36" fmla="*/ 92 w 278"/>
                <a:gd name="T37" fmla="*/ 182 h 278"/>
                <a:gd name="T38" fmla="*/ 35 w 278"/>
                <a:gd name="T39" fmla="*/ 159 h 278"/>
                <a:gd name="T40" fmla="*/ 209 w 278"/>
                <a:gd name="T41" fmla="*/ 58 h 278"/>
                <a:gd name="T42" fmla="*/ 92 w 278"/>
                <a:gd name="T43" fmla="*/ 182 h 278"/>
                <a:gd name="T44" fmla="*/ 199 w 278"/>
                <a:gd name="T45" fmla="*/ 100 h 278"/>
                <a:gd name="T46" fmla="*/ 130 w 278"/>
                <a:gd name="T47" fmla="*/ 209 h 278"/>
                <a:gd name="T48" fmla="*/ 129 w 278"/>
                <a:gd name="T49" fmla="*/ 210 h 278"/>
                <a:gd name="T50" fmla="*/ 120 w 278"/>
                <a:gd name="T51" fmla="*/ 235 h 278"/>
                <a:gd name="T52" fmla="*/ 109 w 278"/>
                <a:gd name="T53" fmla="*/ 196 h 278"/>
                <a:gd name="T54" fmla="*/ 199 w 278"/>
                <a:gd name="T55" fmla="*/ 100 h 278"/>
                <a:gd name="T56" fmla="*/ 237 w 278"/>
                <a:gd name="T57" fmla="*/ 242 h 278"/>
                <a:gd name="T58" fmla="*/ 156 w 278"/>
                <a:gd name="T59" fmla="*/ 209 h 278"/>
                <a:gd name="T60" fmla="*/ 253 w 278"/>
                <a:gd name="T61" fmla="*/ 54 h 278"/>
                <a:gd name="T62" fmla="*/ 237 w 278"/>
                <a:gd name="T6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8" h="278">
                  <a:moveTo>
                    <a:pt x="273" y="3"/>
                  </a:moveTo>
                  <a:cubicBezTo>
                    <a:pt x="270" y="1"/>
                    <a:pt x="265" y="0"/>
                    <a:pt x="262" y="2"/>
                  </a:cubicBezTo>
                  <a:cubicBezTo>
                    <a:pt x="6" y="152"/>
                    <a:pt x="6" y="152"/>
                    <a:pt x="6" y="152"/>
                  </a:cubicBezTo>
                  <a:cubicBezTo>
                    <a:pt x="2" y="154"/>
                    <a:pt x="0" y="158"/>
                    <a:pt x="1" y="162"/>
                  </a:cubicBezTo>
                  <a:cubicBezTo>
                    <a:pt x="1" y="166"/>
                    <a:pt x="4" y="169"/>
                    <a:pt x="7" y="171"/>
                  </a:cubicBezTo>
                  <a:cubicBezTo>
                    <a:pt x="89" y="204"/>
                    <a:pt x="89" y="204"/>
                    <a:pt x="89" y="204"/>
                  </a:cubicBezTo>
                  <a:cubicBezTo>
                    <a:pt x="108" y="271"/>
                    <a:pt x="108" y="271"/>
                    <a:pt x="108" y="271"/>
                  </a:cubicBezTo>
                  <a:cubicBezTo>
                    <a:pt x="109" y="275"/>
                    <a:pt x="113" y="278"/>
                    <a:pt x="117" y="278"/>
                  </a:cubicBezTo>
                  <a:cubicBezTo>
                    <a:pt x="118" y="278"/>
                    <a:pt x="118" y="278"/>
                    <a:pt x="118" y="278"/>
                  </a:cubicBezTo>
                  <a:cubicBezTo>
                    <a:pt x="121" y="278"/>
                    <a:pt x="125" y="277"/>
                    <a:pt x="127" y="274"/>
                  </a:cubicBezTo>
                  <a:cubicBezTo>
                    <a:pt x="127" y="274"/>
                    <a:pt x="127" y="274"/>
                    <a:pt x="127" y="274"/>
                  </a:cubicBezTo>
                  <a:cubicBezTo>
                    <a:pt x="157" y="232"/>
                    <a:pt x="157" y="232"/>
                    <a:pt x="157" y="232"/>
                  </a:cubicBezTo>
                  <a:cubicBezTo>
                    <a:pt x="242" y="267"/>
                    <a:pt x="242" y="267"/>
                    <a:pt x="242" y="267"/>
                  </a:cubicBezTo>
                  <a:cubicBezTo>
                    <a:pt x="243" y="267"/>
                    <a:pt x="245" y="268"/>
                    <a:pt x="246" y="268"/>
                  </a:cubicBezTo>
                  <a:cubicBezTo>
                    <a:pt x="248" y="268"/>
                    <a:pt x="250" y="267"/>
                    <a:pt x="252" y="266"/>
                  </a:cubicBezTo>
                  <a:cubicBezTo>
                    <a:pt x="254" y="264"/>
                    <a:pt x="256" y="261"/>
                    <a:pt x="257" y="258"/>
                  </a:cubicBezTo>
                  <a:cubicBezTo>
                    <a:pt x="278" y="13"/>
                    <a:pt x="278" y="13"/>
                    <a:pt x="278" y="13"/>
                  </a:cubicBezTo>
                  <a:cubicBezTo>
                    <a:pt x="278" y="9"/>
                    <a:pt x="276" y="5"/>
                    <a:pt x="273" y="3"/>
                  </a:cubicBezTo>
                  <a:close/>
                  <a:moveTo>
                    <a:pt x="92" y="182"/>
                  </a:moveTo>
                  <a:cubicBezTo>
                    <a:pt x="35" y="159"/>
                    <a:pt x="35" y="159"/>
                    <a:pt x="35" y="159"/>
                  </a:cubicBezTo>
                  <a:cubicBezTo>
                    <a:pt x="209" y="58"/>
                    <a:pt x="209" y="58"/>
                    <a:pt x="209" y="58"/>
                  </a:cubicBezTo>
                  <a:lnTo>
                    <a:pt x="92" y="182"/>
                  </a:lnTo>
                  <a:close/>
                  <a:moveTo>
                    <a:pt x="199" y="100"/>
                  </a:moveTo>
                  <a:cubicBezTo>
                    <a:pt x="130" y="209"/>
                    <a:pt x="130" y="209"/>
                    <a:pt x="130" y="209"/>
                  </a:cubicBezTo>
                  <a:cubicBezTo>
                    <a:pt x="130" y="209"/>
                    <a:pt x="130" y="210"/>
                    <a:pt x="129" y="210"/>
                  </a:cubicBezTo>
                  <a:cubicBezTo>
                    <a:pt x="120" y="235"/>
                    <a:pt x="120" y="235"/>
                    <a:pt x="120" y="235"/>
                  </a:cubicBezTo>
                  <a:cubicBezTo>
                    <a:pt x="109" y="196"/>
                    <a:pt x="109" y="196"/>
                    <a:pt x="109" y="196"/>
                  </a:cubicBezTo>
                  <a:lnTo>
                    <a:pt x="199" y="100"/>
                  </a:lnTo>
                  <a:close/>
                  <a:moveTo>
                    <a:pt x="237" y="242"/>
                  </a:moveTo>
                  <a:cubicBezTo>
                    <a:pt x="156" y="209"/>
                    <a:pt x="156" y="209"/>
                    <a:pt x="156" y="209"/>
                  </a:cubicBezTo>
                  <a:cubicBezTo>
                    <a:pt x="253" y="54"/>
                    <a:pt x="253" y="54"/>
                    <a:pt x="253" y="54"/>
                  </a:cubicBezTo>
                  <a:lnTo>
                    <a:pt x="237" y="24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7" name="Oval 56"/>
          <p:cNvSpPr/>
          <p:nvPr/>
        </p:nvSpPr>
        <p:spPr bwMode="gray">
          <a:xfrm>
            <a:off x="8008395" y="5706404"/>
            <a:ext cx="156235" cy="156235"/>
          </a:xfrm>
          <a:prstGeom prst="ellipse">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58" name="Straight Connector 57"/>
          <p:cNvCxnSpPr/>
          <p:nvPr/>
        </p:nvCxnSpPr>
        <p:spPr>
          <a:xfrm flipH="1" flipV="1">
            <a:off x="8086512" y="2961668"/>
            <a:ext cx="1" cy="2744736"/>
          </a:xfrm>
          <a:prstGeom prst="line">
            <a:avLst/>
          </a:prstGeom>
          <a:ln w="28575">
            <a:solidFill>
              <a:srgbClr val="97999B"/>
            </a:solidFill>
          </a:ln>
        </p:spPr>
        <p:style>
          <a:lnRef idx="1">
            <a:schemeClr val="accent1"/>
          </a:lnRef>
          <a:fillRef idx="0">
            <a:schemeClr val="accent1"/>
          </a:fillRef>
          <a:effectRef idx="0">
            <a:schemeClr val="accent1"/>
          </a:effectRef>
          <a:fontRef idx="minor">
            <a:schemeClr val="tx1"/>
          </a:fontRef>
        </p:style>
      </p:cxnSp>
      <p:sp>
        <p:nvSpPr>
          <p:cNvPr id="59" name="Oval 58"/>
          <p:cNvSpPr/>
          <p:nvPr/>
        </p:nvSpPr>
        <p:spPr bwMode="gray">
          <a:xfrm>
            <a:off x="7286617" y="1254160"/>
            <a:ext cx="1599791" cy="1599791"/>
          </a:xfrm>
          <a:prstGeom prst="ellipse">
            <a:avLst/>
          </a:prstGeom>
          <a:solidFill>
            <a:schemeClr val="bg1"/>
          </a:solidFill>
          <a:ln w="19050" algn="ctr">
            <a:noFill/>
            <a:miter lim="800000"/>
            <a:headEnd/>
            <a:tailEnd/>
          </a:ln>
        </p:spPr>
        <p:txBody>
          <a:bodyPr wrap="none" lIns="88900" tIns="182880" rIns="88900" bIns="88900" rtlCol="0" anchor="t"/>
          <a:lstStyle/>
          <a:p>
            <a:pPr algn="ctr">
              <a:lnSpc>
                <a:spcPct val="106000"/>
              </a:lnSpc>
              <a:buFont typeface="Wingdings 2" pitchFamily="18" charset="2"/>
              <a:buNone/>
            </a:pPr>
            <a:r>
              <a:rPr lang="en-GB" sz="1200" dirty="0"/>
              <a:t>Lorem ipsum </a:t>
            </a:r>
          </a:p>
        </p:txBody>
      </p:sp>
      <p:grpSp>
        <p:nvGrpSpPr>
          <p:cNvPr id="83" name="Group 309"/>
          <p:cNvGrpSpPr>
            <a:grpSpLocks noChangeAspect="1"/>
          </p:cNvGrpSpPr>
          <p:nvPr/>
        </p:nvGrpSpPr>
        <p:grpSpPr bwMode="auto">
          <a:xfrm>
            <a:off x="7862598" y="2142346"/>
            <a:ext cx="447829" cy="446515"/>
            <a:chOff x="6585" y="1193"/>
            <a:chExt cx="341" cy="340"/>
          </a:xfrm>
          <a:solidFill>
            <a:srgbClr val="97999B"/>
          </a:solidFill>
        </p:grpSpPr>
        <p:sp>
          <p:nvSpPr>
            <p:cNvPr id="84"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5" name="Oval 44"/>
          <p:cNvSpPr/>
          <p:nvPr/>
        </p:nvSpPr>
        <p:spPr bwMode="gray">
          <a:xfrm>
            <a:off x="9334992" y="5706403"/>
            <a:ext cx="156235" cy="156235"/>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46" name="Straight Connector 45"/>
          <p:cNvCxnSpPr/>
          <p:nvPr/>
        </p:nvCxnSpPr>
        <p:spPr>
          <a:xfrm flipV="1">
            <a:off x="9413109" y="4140125"/>
            <a:ext cx="1" cy="156627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47" name="Oval 46"/>
          <p:cNvSpPr/>
          <p:nvPr/>
        </p:nvSpPr>
        <p:spPr bwMode="gray">
          <a:xfrm>
            <a:off x="8613214" y="2749604"/>
            <a:ext cx="1599791" cy="1599791"/>
          </a:xfrm>
          <a:prstGeom prst="ellipse">
            <a:avLst/>
          </a:prstGeom>
          <a:solidFill>
            <a:schemeClr val="bg1"/>
          </a:solidFill>
          <a:ln w="19050" algn="ctr">
            <a:noFill/>
            <a:miter lim="800000"/>
            <a:headEnd/>
            <a:tailEnd/>
          </a:ln>
        </p:spPr>
        <p:txBody>
          <a:bodyPr wrap="none" lIns="0" tIns="182880" rIns="0" bIns="88900" rtlCol="0" anchor="t"/>
          <a:lstStyle/>
          <a:p>
            <a:pPr algn="ctr">
              <a:lnSpc>
                <a:spcPct val="106000"/>
              </a:lnSpc>
              <a:buFont typeface="Wingdings 2" pitchFamily="18" charset="2"/>
              <a:buNone/>
            </a:pPr>
            <a:r>
              <a:rPr lang="en-US" sz="1200" dirty="0"/>
              <a:t>Lorem ipsum </a:t>
            </a:r>
          </a:p>
        </p:txBody>
      </p:sp>
      <p:grpSp>
        <p:nvGrpSpPr>
          <p:cNvPr id="86" name="Group 432"/>
          <p:cNvGrpSpPr>
            <a:grpSpLocks noChangeAspect="1"/>
          </p:cNvGrpSpPr>
          <p:nvPr/>
        </p:nvGrpSpPr>
        <p:grpSpPr bwMode="auto">
          <a:xfrm>
            <a:off x="9189455" y="3674096"/>
            <a:ext cx="447308" cy="448623"/>
            <a:chOff x="3505" y="1546"/>
            <a:chExt cx="340" cy="341"/>
          </a:xfrm>
          <a:solidFill>
            <a:schemeClr val="accent5"/>
          </a:solidFill>
        </p:grpSpPr>
        <p:sp>
          <p:nvSpPr>
            <p:cNvPr id="87"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 name="Oval 27"/>
          <p:cNvSpPr/>
          <p:nvPr/>
        </p:nvSpPr>
        <p:spPr bwMode="gray">
          <a:xfrm>
            <a:off x="4028603" y="5706403"/>
            <a:ext cx="156235" cy="156235"/>
          </a:xfrm>
          <a:prstGeom prst="ellips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29" name="Straight Connector 28"/>
          <p:cNvCxnSpPr/>
          <p:nvPr/>
        </p:nvCxnSpPr>
        <p:spPr>
          <a:xfrm flipV="1">
            <a:off x="4106720" y="4140125"/>
            <a:ext cx="1" cy="1566278"/>
          </a:xfrm>
          <a:prstGeom prst="line">
            <a:avLst/>
          </a:prstGeom>
          <a:ln w="28575">
            <a:solidFill>
              <a:srgbClr val="00A3E0"/>
            </a:solidFill>
          </a:ln>
        </p:spPr>
        <p:style>
          <a:lnRef idx="1">
            <a:schemeClr val="accent1"/>
          </a:lnRef>
          <a:fillRef idx="0">
            <a:schemeClr val="accent1"/>
          </a:fillRef>
          <a:effectRef idx="0">
            <a:schemeClr val="accent1"/>
          </a:effectRef>
          <a:fontRef idx="minor">
            <a:schemeClr val="tx1"/>
          </a:fontRef>
        </p:style>
      </p:cxnSp>
      <p:sp>
        <p:nvSpPr>
          <p:cNvPr id="30" name="Oval 29"/>
          <p:cNvSpPr/>
          <p:nvPr/>
        </p:nvSpPr>
        <p:spPr bwMode="gray">
          <a:xfrm>
            <a:off x="3306825" y="2749604"/>
            <a:ext cx="1599791" cy="1599791"/>
          </a:xfrm>
          <a:prstGeom prst="ellipse">
            <a:avLst/>
          </a:prstGeom>
          <a:solidFill>
            <a:schemeClr val="bg1"/>
          </a:solidFill>
          <a:ln w="19050" algn="ctr">
            <a:noFill/>
            <a:miter lim="800000"/>
            <a:headEnd/>
            <a:tailEnd/>
          </a:ln>
        </p:spPr>
        <p:txBody>
          <a:bodyPr wrap="square" lIns="88900" tIns="182880" rIns="88900" bIns="88900" rtlCol="0" anchor="t"/>
          <a:lstStyle/>
          <a:p>
            <a:pPr algn="ctr">
              <a:lnSpc>
                <a:spcPct val="106000"/>
              </a:lnSpc>
              <a:buFont typeface="Wingdings 2" pitchFamily="18" charset="2"/>
              <a:buNone/>
            </a:pPr>
            <a:r>
              <a:rPr lang="en-GB" sz="1200" dirty="0"/>
              <a:t>Lorem ipsum </a:t>
            </a:r>
          </a:p>
        </p:txBody>
      </p:sp>
      <p:grpSp>
        <p:nvGrpSpPr>
          <p:cNvPr id="89" name="Group 144"/>
          <p:cNvGrpSpPr>
            <a:grpSpLocks noChangeAspect="1"/>
          </p:cNvGrpSpPr>
          <p:nvPr/>
        </p:nvGrpSpPr>
        <p:grpSpPr bwMode="auto">
          <a:xfrm>
            <a:off x="3884304" y="3675991"/>
            <a:ext cx="444833" cy="444833"/>
            <a:chOff x="2963" y="1300"/>
            <a:chExt cx="340" cy="340"/>
          </a:xfrm>
          <a:solidFill>
            <a:srgbClr val="00A3E0"/>
          </a:solidFill>
        </p:grpSpPr>
        <p:sp>
          <p:nvSpPr>
            <p:cNvPr id="90" name="Freeform 145"/>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146"/>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2" name="Oval 51"/>
          <p:cNvSpPr/>
          <p:nvPr/>
        </p:nvSpPr>
        <p:spPr bwMode="gray">
          <a:xfrm>
            <a:off x="5355201" y="5706404"/>
            <a:ext cx="156235" cy="156235"/>
          </a:xfrm>
          <a:prstGeom prst="ellipse">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53" name="Straight Connector 52"/>
          <p:cNvCxnSpPr/>
          <p:nvPr/>
        </p:nvCxnSpPr>
        <p:spPr>
          <a:xfrm flipH="1" flipV="1">
            <a:off x="5433318" y="2961668"/>
            <a:ext cx="1" cy="2744736"/>
          </a:xfrm>
          <a:prstGeom prst="line">
            <a:avLst/>
          </a:prstGeom>
          <a:ln w="28575">
            <a:solidFill>
              <a:srgbClr val="009A44"/>
            </a:solidFill>
          </a:ln>
        </p:spPr>
        <p:style>
          <a:lnRef idx="1">
            <a:schemeClr val="accent1"/>
          </a:lnRef>
          <a:fillRef idx="0">
            <a:schemeClr val="accent1"/>
          </a:fillRef>
          <a:effectRef idx="0">
            <a:schemeClr val="accent1"/>
          </a:effectRef>
          <a:fontRef idx="minor">
            <a:schemeClr val="tx1"/>
          </a:fontRef>
        </p:style>
      </p:cxnSp>
      <p:sp>
        <p:nvSpPr>
          <p:cNvPr id="54" name="Oval 53"/>
          <p:cNvSpPr/>
          <p:nvPr/>
        </p:nvSpPr>
        <p:spPr bwMode="gray">
          <a:xfrm>
            <a:off x="4633423" y="1254160"/>
            <a:ext cx="1599791" cy="1599791"/>
          </a:xfrm>
          <a:prstGeom prst="ellipse">
            <a:avLst/>
          </a:prstGeom>
          <a:solidFill>
            <a:schemeClr val="bg1"/>
          </a:solidFill>
          <a:ln w="19050" algn="ctr">
            <a:noFill/>
            <a:miter lim="800000"/>
            <a:headEnd/>
            <a:tailEnd/>
          </a:ln>
        </p:spPr>
        <p:txBody>
          <a:bodyPr wrap="none" lIns="88900" tIns="182880" rIns="88900" bIns="88900" rtlCol="0" anchor="t"/>
          <a:lstStyle/>
          <a:p>
            <a:pPr algn="ctr">
              <a:lnSpc>
                <a:spcPct val="106000"/>
              </a:lnSpc>
              <a:buFont typeface="Wingdings 2" pitchFamily="18" charset="2"/>
              <a:buNone/>
            </a:pPr>
            <a:r>
              <a:rPr lang="en-GB" sz="1200" dirty="0"/>
              <a:t>Lorem ipsum </a:t>
            </a:r>
          </a:p>
        </p:txBody>
      </p:sp>
      <p:grpSp>
        <p:nvGrpSpPr>
          <p:cNvPr id="92" name="Group 763"/>
          <p:cNvGrpSpPr>
            <a:grpSpLocks noChangeAspect="1"/>
          </p:cNvGrpSpPr>
          <p:nvPr/>
        </p:nvGrpSpPr>
        <p:grpSpPr bwMode="auto">
          <a:xfrm>
            <a:off x="5210035" y="2142974"/>
            <a:ext cx="446567" cy="445258"/>
            <a:chOff x="3203" y="3365"/>
            <a:chExt cx="341" cy="340"/>
          </a:xfrm>
          <a:solidFill>
            <a:srgbClr val="009A44"/>
          </a:solidFill>
        </p:grpSpPr>
        <p:sp>
          <p:nvSpPr>
            <p:cNvPr id="93" name="Freeform 764"/>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765"/>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ustDataLst>
      <p:tags r:id="rId1"/>
    </p:custDataLst>
    <p:extLst>
      <p:ext uri="{BB962C8B-B14F-4D97-AF65-F5344CB8AC3E}">
        <p14:creationId xmlns:p14="http://schemas.microsoft.com/office/powerpoint/2010/main" val="402994921"/>
      </p:ext>
    </p:extLst>
  </p:cSld>
  <p:clrMapOvr>
    <a:masterClrMapping/>
  </p:clrMapOvr>
  <p:transition>
    <p:fade/>
  </p:transition>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2191685" y="1491456"/>
            <a:ext cx="7699375" cy="3830638"/>
            <a:chOff x="1413" y="1017"/>
            <a:chExt cx="4850" cy="2413"/>
          </a:xfrm>
        </p:grpSpPr>
        <p:sp>
          <p:nvSpPr>
            <p:cNvPr id="7" name="Oval 5"/>
            <p:cNvSpPr>
              <a:spLocks noChangeArrowheads="1"/>
            </p:cNvSpPr>
            <p:nvPr/>
          </p:nvSpPr>
          <p:spPr bwMode="auto">
            <a:xfrm>
              <a:off x="2108" y="2506"/>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6"/>
            <p:cNvSpPr>
              <a:spLocks noChangeArrowheads="1"/>
            </p:cNvSpPr>
            <p:nvPr/>
          </p:nvSpPr>
          <p:spPr bwMode="auto">
            <a:xfrm>
              <a:off x="1867" y="2596"/>
              <a:ext cx="14" cy="754"/>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Oval 7"/>
            <p:cNvSpPr>
              <a:spLocks noChangeArrowheads="1"/>
            </p:cNvSpPr>
            <p:nvPr/>
          </p:nvSpPr>
          <p:spPr bwMode="auto">
            <a:xfrm>
              <a:off x="3668" y="2506"/>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8"/>
            <p:cNvSpPr>
              <a:spLocks noChangeArrowheads="1"/>
            </p:cNvSpPr>
            <p:nvPr/>
          </p:nvSpPr>
          <p:spPr bwMode="auto">
            <a:xfrm>
              <a:off x="3431" y="2596"/>
              <a:ext cx="14" cy="754"/>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Oval 9"/>
            <p:cNvSpPr>
              <a:spLocks noChangeArrowheads="1"/>
            </p:cNvSpPr>
            <p:nvPr/>
          </p:nvSpPr>
          <p:spPr bwMode="auto">
            <a:xfrm>
              <a:off x="2618" y="1311"/>
              <a:ext cx="81"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10"/>
            <p:cNvSpPr>
              <a:spLocks noChangeArrowheads="1"/>
            </p:cNvSpPr>
            <p:nvPr/>
          </p:nvSpPr>
          <p:spPr bwMode="auto">
            <a:xfrm>
              <a:off x="2651" y="1353"/>
              <a:ext cx="14" cy="503"/>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Oval 11"/>
            <p:cNvSpPr>
              <a:spLocks noChangeArrowheads="1"/>
            </p:cNvSpPr>
            <p:nvPr/>
          </p:nvSpPr>
          <p:spPr bwMode="auto">
            <a:xfrm>
              <a:off x="4202" y="1297"/>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2"/>
            <p:cNvSpPr>
              <a:spLocks noChangeArrowheads="1"/>
            </p:cNvSpPr>
            <p:nvPr/>
          </p:nvSpPr>
          <p:spPr bwMode="auto">
            <a:xfrm>
              <a:off x="4235" y="1334"/>
              <a:ext cx="14" cy="508"/>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Oval 13"/>
            <p:cNvSpPr>
              <a:spLocks noChangeArrowheads="1"/>
            </p:cNvSpPr>
            <p:nvPr/>
          </p:nvSpPr>
          <p:spPr bwMode="auto">
            <a:xfrm>
              <a:off x="5766" y="1311"/>
              <a:ext cx="81"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4"/>
            <p:cNvSpPr>
              <a:spLocks noChangeArrowheads="1"/>
            </p:cNvSpPr>
            <p:nvPr/>
          </p:nvSpPr>
          <p:spPr bwMode="auto">
            <a:xfrm>
              <a:off x="5799" y="1353"/>
              <a:ext cx="14" cy="503"/>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Oval 15"/>
            <p:cNvSpPr>
              <a:spLocks noChangeArrowheads="1"/>
            </p:cNvSpPr>
            <p:nvPr/>
          </p:nvSpPr>
          <p:spPr bwMode="auto">
            <a:xfrm>
              <a:off x="5251" y="2506"/>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6"/>
            <p:cNvSpPr>
              <a:spLocks noChangeArrowheads="1"/>
            </p:cNvSpPr>
            <p:nvPr/>
          </p:nvSpPr>
          <p:spPr bwMode="auto">
            <a:xfrm>
              <a:off x="5015" y="2596"/>
              <a:ext cx="14" cy="754"/>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Oval 17"/>
            <p:cNvSpPr>
              <a:spLocks noChangeArrowheads="1"/>
            </p:cNvSpPr>
            <p:nvPr/>
          </p:nvSpPr>
          <p:spPr bwMode="auto">
            <a:xfrm>
              <a:off x="1834" y="1017"/>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8"/>
            <p:cNvSpPr>
              <a:spLocks noChangeArrowheads="1"/>
            </p:cNvSpPr>
            <p:nvPr/>
          </p:nvSpPr>
          <p:spPr bwMode="auto">
            <a:xfrm>
              <a:off x="1867" y="1059"/>
              <a:ext cx="14" cy="797"/>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9"/>
            <p:cNvSpPr>
              <a:spLocks noChangeArrowheads="1"/>
            </p:cNvSpPr>
            <p:nvPr/>
          </p:nvSpPr>
          <p:spPr bwMode="auto">
            <a:xfrm>
              <a:off x="3431" y="1353"/>
              <a:ext cx="14" cy="503"/>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20"/>
            <p:cNvSpPr>
              <a:spLocks noChangeArrowheads="1"/>
            </p:cNvSpPr>
            <p:nvPr/>
          </p:nvSpPr>
          <p:spPr bwMode="auto">
            <a:xfrm>
              <a:off x="3398" y="1036"/>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1"/>
            <p:cNvSpPr>
              <a:spLocks noChangeArrowheads="1"/>
            </p:cNvSpPr>
            <p:nvPr/>
          </p:nvSpPr>
          <p:spPr bwMode="auto">
            <a:xfrm>
              <a:off x="3431" y="1078"/>
              <a:ext cx="14" cy="778"/>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p:cNvSpPr>
              <a:spLocks/>
            </p:cNvSpPr>
            <p:nvPr/>
          </p:nvSpPr>
          <p:spPr bwMode="auto">
            <a:xfrm>
              <a:off x="3431" y="1078"/>
              <a:ext cx="14" cy="778"/>
            </a:xfrm>
            <a:custGeom>
              <a:avLst/>
              <a:gdLst>
                <a:gd name="T0" fmla="*/ 0 w 14"/>
                <a:gd name="T1" fmla="*/ 778 h 778"/>
                <a:gd name="T2" fmla="*/ 0 w 14"/>
                <a:gd name="T3" fmla="*/ 0 h 778"/>
                <a:gd name="T4" fmla="*/ 14 w 14"/>
                <a:gd name="T5" fmla="*/ 0 h 778"/>
                <a:gd name="T6" fmla="*/ 14 w 14"/>
                <a:gd name="T7" fmla="*/ 778 h 778"/>
              </a:gdLst>
              <a:ahLst/>
              <a:cxnLst>
                <a:cxn ang="0">
                  <a:pos x="T0" y="T1"/>
                </a:cxn>
                <a:cxn ang="0">
                  <a:pos x="T2" y="T3"/>
                </a:cxn>
                <a:cxn ang="0">
                  <a:pos x="T4" y="T5"/>
                </a:cxn>
                <a:cxn ang="0">
                  <a:pos x="T6" y="T7"/>
                </a:cxn>
              </a:cxnLst>
              <a:rect l="0" t="0" r="r" b="b"/>
              <a:pathLst>
                <a:path w="14" h="778">
                  <a:moveTo>
                    <a:pt x="0" y="778"/>
                  </a:moveTo>
                  <a:lnTo>
                    <a:pt x="0" y="0"/>
                  </a:lnTo>
                  <a:lnTo>
                    <a:pt x="14" y="0"/>
                  </a:lnTo>
                  <a:lnTo>
                    <a:pt x="14" y="7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Oval 23"/>
            <p:cNvSpPr>
              <a:spLocks noChangeArrowheads="1"/>
            </p:cNvSpPr>
            <p:nvPr/>
          </p:nvSpPr>
          <p:spPr bwMode="auto">
            <a:xfrm>
              <a:off x="2618" y="3041"/>
              <a:ext cx="81" cy="76"/>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4"/>
            <p:cNvSpPr>
              <a:spLocks noChangeArrowheads="1"/>
            </p:cNvSpPr>
            <p:nvPr/>
          </p:nvSpPr>
          <p:spPr bwMode="auto">
            <a:xfrm>
              <a:off x="2651" y="2572"/>
              <a:ext cx="14" cy="507"/>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25"/>
            <p:cNvSpPr>
              <a:spLocks noChangeArrowheads="1"/>
            </p:cNvSpPr>
            <p:nvPr/>
          </p:nvSpPr>
          <p:spPr bwMode="auto">
            <a:xfrm>
              <a:off x="4202" y="3041"/>
              <a:ext cx="80" cy="76"/>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6"/>
            <p:cNvSpPr>
              <a:spLocks noChangeArrowheads="1"/>
            </p:cNvSpPr>
            <p:nvPr/>
          </p:nvSpPr>
          <p:spPr bwMode="auto">
            <a:xfrm>
              <a:off x="4235" y="2572"/>
              <a:ext cx="14" cy="507"/>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Oval 27"/>
            <p:cNvSpPr>
              <a:spLocks noChangeArrowheads="1"/>
            </p:cNvSpPr>
            <p:nvPr/>
          </p:nvSpPr>
          <p:spPr bwMode="auto">
            <a:xfrm>
              <a:off x="5766" y="3041"/>
              <a:ext cx="81" cy="76"/>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8"/>
            <p:cNvSpPr>
              <a:spLocks noChangeArrowheads="1"/>
            </p:cNvSpPr>
            <p:nvPr/>
          </p:nvSpPr>
          <p:spPr bwMode="auto">
            <a:xfrm>
              <a:off x="5799" y="2572"/>
              <a:ext cx="14" cy="507"/>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29"/>
            <p:cNvSpPr>
              <a:spLocks noChangeArrowheads="1"/>
            </p:cNvSpPr>
            <p:nvPr/>
          </p:nvSpPr>
          <p:spPr bwMode="auto">
            <a:xfrm>
              <a:off x="4982" y="1055"/>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30"/>
            <p:cNvSpPr>
              <a:spLocks noChangeArrowheads="1"/>
            </p:cNvSpPr>
            <p:nvPr/>
          </p:nvSpPr>
          <p:spPr bwMode="auto">
            <a:xfrm>
              <a:off x="1834" y="3312"/>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31"/>
            <p:cNvSpPr>
              <a:spLocks noChangeArrowheads="1"/>
            </p:cNvSpPr>
            <p:nvPr/>
          </p:nvSpPr>
          <p:spPr bwMode="auto">
            <a:xfrm>
              <a:off x="3398" y="3331"/>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32"/>
            <p:cNvSpPr>
              <a:spLocks noChangeArrowheads="1"/>
            </p:cNvSpPr>
            <p:nvPr/>
          </p:nvSpPr>
          <p:spPr bwMode="auto">
            <a:xfrm>
              <a:off x="4982" y="3350"/>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3"/>
            <p:cNvSpPr>
              <a:spLocks noChangeArrowheads="1"/>
            </p:cNvSpPr>
            <p:nvPr/>
          </p:nvSpPr>
          <p:spPr bwMode="auto">
            <a:xfrm>
              <a:off x="5015" y="1093"/>
              <a:ext cx="14" cy="692"/>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4"/>
            <p:cNvSpPr>
              <a:spLocks/>
            </p:cNvSpPr>
            <p:nvPr/>
          </p:nvSpPr>
          <p:spPr bwMode="auto">
            <a:xfrm>
              <a:off x="1413" y="1742"/>
              <a:ext cx="4850" cy="930"/>
            </a:xfrm>
            <a:custGeom>
              <a:avLst/>
              <a:gdLst>
                <a:gd name="T0" fmla="*/ 929 w 1026"/>
                <a:gd name="T1" fmla="*/ 0 h 196"/>
                <a:gd name="T2" fmla="*/ 831 w 1026"/>
                <a:gd name="T3" fmla="*/ 98 h 196"/>
                <a:gd name="T4" fmla="*/ 831 w 1026"/>
                <a:gd name="T5" fmla="*/ 98 h 196"/>
                <a:gd name="T6" fmla="*/ 762 w 1026"/>
                <a:gd name="T7" fmla="*/ 166 h 196"/>
                <a:gd name="T8" fmla="*/ 694 w 1026"/>
                <a:gd name="T9" fmla="*/ 98 h 196"/>
                <a:gd name="T10" fmla="*/ 694 w 1026"/>
                <a:gd name="T11" fmla="*/ 98 h 196"/>
                <a:gd name="T12" fmla="*/ 596 w 1026"/>
                <a:gd name="T13" fmla="*/ 0 h 196"/>
                <a:gd name="T14" fmla="*/ 499 w 1026"/>
                <a:gd name="T15" fmla="*/ 98 h 196"/>
                <a:gd name="T16" fmla="*/ 499 w 1026"/>
                <a:gd name="T17" fmla="*/ 98 h 196"/>
                <a:gd name="T18" fmla="*/ 430 w 1026"/>
                <a:gd name="T19" fmla="*/ 166 h 196"/>
                <a:gd name="T20" fmla="*/ 362 w 1026"/>
                <a:gd name="T21" fmla="*/ 98 h 196"/>
                <a:gd name="T22" fmla="*/ 362 w 1026"/>
                <a:gd name="T23" fmla="*/ 98 h 196"/>
                <a:gd name="T24" fmla="*/ 264 w 1026"/>
                <a:gd name="T25" fmla="*/ 0 h 196"/>
                <a:gd name="T26" fmla="*/ 167 w 1026"/>
                <a:gd name="T27" fmla="*/ 98 h 196"/>
                <a:gd name="T28" fmla="*/ 166 w 1026"/>
                <a:gd name="T29" fmla="*/ 98 h 196"/>
                <a:gd name="T30" fmla="*/ 98 w 1026"/>
                <a:gd name="T31" fmla="*/ 166 h 196"/>
                <a:gd name="T32" fmla="*/ 30 w 1026"/>
                <a:gd name="T33" fmla="*/ 98 h 196"/>
                <a:gd name="T34" fmla="*/ 0 w 1026"/>
                <a:gd name="T35" fmla="*/ 98 h 196"/>
                <a:gd name="T36" fmla="*/ 98 w 1026"/>
                <a:gd name="T37" fmla="*/ 196 h 196"/>
                <a:gd name="T38" fmla="*/ 196 w 1026"/>
                <a:gd name="T39" fmla="*/ 98 h 196"/>
                <a:gd name="T40" fmla="*/ 196 w 1026"/>
                <a:gd name="T41" fmla="*/ 98 h 196"/>
                <a:gd name="T42" fmla="*/ 264 w 1026"/>
                <a:gd name="T43" fmla="*/ 30 h 196"/>
                <a:gd name="T44" fmla="*/ 333 w 1026"/>
                <a:gd name="T45" fmla="*/ 98 h 196"/>
                <a:gd name="T46" fmla="*/ 333 w 1026"/>
                <a:gd name="T47" fmla="*/ 98 h 196"/>
                <a:gd name="T48" fmla="*/ 430 w 1026"/>
                <a:gd name="T49" fmla="*/ 196 h 196"/>
                <a:gd name="T50" fmla="*/ 528 w 1026"/>
                <a:gd name="T51" fmla="*/ 98 h 196"/>
                <a:gd name="T52" fmla="*/ 528 w 1026"/>
                <a:gd name="T53" fmla="*/ 98 h 196"/>
                <a:gd name="T54" fmla="*/ 596 w 1026"/>
                <a:gd name="T55" fmla="*/ 30 h 196"/>
                <a:gd name="T56" fmla="*/ 665 w 1026"/>
                <a:gd name="T57" fmla="*/ 98 h 196"/>
                <a:gd name="T58" fmla="*/ 665 w 1026"/>
                <a:gd name="T59" fmla="*/ 98 h 196"/>
                <a:gd name="T60" fmla="*/ 762 w 1026"/>
                <a:gd name="T61" fmla="*/ 196 h 196"/>
                <a:gd name="T62" fmla="*/ 860 w 1026"/>
                <a:gd name="T63" fmla="*/ 98 h 196"/>
                <a:gd name="T64" fmla="*/ 860 w 1026"/>
                <a:gd name="T65" fmla="*/ 98 h 196"/>
                <a:gd name="T66" fmla="*/ 929 w 1026"/>
                <a:gd name="T67" fmla="*/ 30 h 196"/>
                <a:gd name="T68" fmla="*/ 997 w 1026"/>
                <a:gd name="T69" fmla="*/ 98 h 196"/>
                <a:gd name="T70" fmla="*/ 1026 w 1026"/>
                <a:gd name="T71" fmla="*/ 98 h 196"/>
                <a:gd name="T72" fmla="*/ 929 w 1026"/>
                <a:gd name="T73"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6" h="196">
                  <a:moveTo>
                    <a:pt x="929" y="0"/>
                  </a:moveTo>
                  <a:cubicBezTo>
                    <a:pt x="875" y="0"/>
                    <a:pt x="831" y="44"/>
                    <a:pt x="831" y="98"/>
                  </a:cubicBezTo>
                  <a:cubicBezTo>
                    <a:pt x="831" y="98"/>
                    <a:pt x="831" y="98"/>
                    <a:pt x="831" y="98"/>
                  </a:cubicBezTo>
                  <a:cubicBezTo>
                    <a:pt x="831" y="136"/>
                    <a:pt x="800" y="166"/>
                    <a:pt x="762" y="166"/>
                  </a:cubicBezTo>
                  <a:cubicBezTo>
                    <a:pt x="725" y="166"/>
                    <a:pt x="694" y="136"/>
                    <a:pt x="694" y="98"/>
                  </a:cubicBezTo>
                  <a:cubicBezTo>
                    <a:pt x="694" y="98"/>
                    <a:pt x="694" y="98"/>
                    <a:pt x="694" y="98"/>
                  </a:cubicBezTo>
                  <a:cubicBezTo>
                    <a:pt x="694" y="44"/>
                    <a:pt x="650" y="0"/>
                    <a:pt x="596" y="0"/>
                  </a:cubicBezTo>
                  <a:cubicBezTo>
                    <a:pt x="543" y="0"/>
                    <a:pt x="499" y="44"/>
                    <a:pt x="499" y="98"/>
                  </a:cubicBezTo>
                  <a:cubicBezTo>
                    <a:pt x="499" y="98"/>
                    <a:pt x="499" y="98"/>
                    <a:pt x="499" y="98"/>
                  </a:cubicBezTo>
                  <a:cubicBezTo>
                    <a:pt x="499" y="136"/>
                    <a:pt x="468" y="166"/>
                    <a:pt x="430" y="166"/>
                  </a:cubicBezTo>
                  <a:cubicBezTo>
                    <a:pt x="393" y="166"/>
                    <a:pt x="362" y="136"/>
                    <a:pt x="362" y="98"/>
                  </a:cubicBezTo>
                  <a:cubicBezTo>
                    <a:pt x="362" y="98"/>
                    <a:pt x="362" y="98"/>
                    <a:pt x="362" y="98"/>
                  </a:cubicBezTo>
                  <a:cubicBezTo>
                    <a:pt x="362" y="44"/>
                    <a:pt x="318" y="0"/>
                    <a:pt x="264" y="0"/>
                  </a:cubicBezTo>
                  <a:cubicBezTo>
                    <a:pt x="210" y="0"/>
                    <a:pt x="167" y="44"/>
                    <a:pt x="167" y="98"/>
                  </a:cubicBezTo>
                  <a:cubicBezTo>
                    <a:pt x="166" y="98"/>
                    <a:pt x="166" y="98"/>
                    <a:pt x="166" y="98"/>
                  </a:cubicBezTo>
                  <a:cubicBezTo>
                    <a:pt x="166" y="136"/>
                    <a:pt x="136" y="166"/>
                    <a:pt x="98" y="166"/>
                  </a:cubicBezTo>
                  <a:cubicBezTo>
                    <a:pt x="61" y="166"/>
                    <a:pt x="30" y="136"/>
                    <a:pt x="30" y="98"/>
                  </a:cubicBezTo>
                  <a:cubicBezTo>
                    <a:pt x="0" y="98"/>
                    <a:pt x="0" y="98"/>
                    <a:pt x="0" y="98"/>
                  </a:cubicBezTo>
                  <a:cubicBezTo>
                    <a:pt x="0" y="152"/>
                    <a:pt x="44" y="196"/>
                    <a:pt x="98" y="196"/>
                  </a:cubicBezTo>
                  <a:cubicBezTo>
                    <a:pt x="152" y="196"/>
                    <a:pt x="196" y="152"/>
                    <a:pt x="196" y="98"/>
                  </a:cubicBezTo>
                  <a:cubicBezTo>
                    <a:pt x="196" y="98"/>
                    <a:pt x="196" y="98"/>
                    <a:pt x="196" y="98"/>
                  </a:cubicBezTo>
                  <a:cubicBezTo>
                    <a:pt x="196" y="61"/>
                    <a:pt x="227" y="30"/>
                    <a:pt x="264" y="30"/>
                  </a:cubicBezTo>
                  <a:cubicBezTo>
                    <a:pt x="302" y="30"/>
                    <a:pt x="333" y="61"/>
                    <a:pt x="333" y="98"/>
                  </a:cubicBezTo>
                  <a:cubicBezTo>
                    <a:pt x="333" y="98"/>
                    <a:pt x="333" y="98"/>
                    <a:pt x="333" y="98"/>
                  </a:cubicBezTo>
                  <a:cubicBezTo>
                    <a:pt x="333" y="152"/>
                    <a:pt x="377" y="196"/>
                    <a:pt x="430" y="196"/>
                  </a:cubicBezTo>
                  <a:cubicBezTo>
                    <a:pt x="484" y="196"/>
                    <a:pt x="528" y="152"/>
                    <a:pt x="528" y="98"/>
                  </a:cubicBezTo>
                  <a:cubicBezTo>
                    <a:pt x="528" y="98"/>
                    <a:pt x="528" y="98"/>
                    <a:pt x="528" y="98"/>
                  </a:cubicBezTo>
                  <a:cubicBezTo>
                    <a:pt x="528" y="61"/>
                    <a:pt x="559" y="30"/>
                    <a:pt x="596" y="30"/>
                  </a:cubicBezTo>
                  <a:cubicBezTo>
                    <a:pt x="634" y="30"/>
                    <a:pt x="665" y="61"/>
                    <a:pt x="665" y="98"/>
                  </a:cubicBezTo>
                  <a:cubicBezTo>
                    <a:pt x="665" y="98"/>
                    <a:pt x="665" y="98"/>
                    <a:pt x="665" y="98"/>
                  </a:cubicBezTo>
                  <a:cubicBezTo>
                    <a:pt x="665" y="152"/>
                    <a:pt x="709" y="196"/>
                    <a:pt x="762" y="196"/>
                  </a:cubicBezTo>
                  <a:cubicBezTo>
                    <a:pt x="816" y="196"/>
                    <a:pt x="860" y="152"/>
                    <a:pt x="860" y="98"/>
                  </a:cubicBezTo>
                  <a:cubicBezTo>
                    <a:pt x="860" y="98"/>
                    <a:pt x="860" y="98"/>
                    <a:pt x="860" y="98"/>
                  </a:cubicBezTo>
                  <a:cubicBezTo>
                    <a:pt x="860" y="61"/>
                    <a:pt x="891" y="30"/>
                    <a:pt x="929" y="30"/>
                  </a:cubicBezTo>
                  <a:cubicBezTo>
                    <a:pt x="966" y="30"/>
                    <a:pt x="997" y="61"/>
                    <a:pt x="997" y="98"/>
                  </a:cubicBezTo>
                  <a:cubicBezTo>
                    <a:pt x="1026" y="98"/>
                    <a:pt x="1026" y="98"/>
                    <a:pt x="1026" y="98"/>
                  </a:cubicBezTo>
                  <a:cubicBezTo>
                    <a:pt x="1026" y="44"/>
                    <a:pt x="982" y="0"/>
                    <a:pt x="929"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5"/>
            <p:cNvSpPr>
              <a:spLocks/>
            </p:cNvSpPr>
            <p:nvPr/>
          </p:nvSpPr>
          <p:spPr bwMode="auto">
            <a:xfrm>
              <a:off x="1413" y="1742"/>
              <a:ext cx="4850" cy="930"/>
            </a:xfrm>
            <a:custGeom>
              <a:avLst/>
              <a:gdLst>
                <a:gd name="T0" fmla="*/ 997 w 1026"/>
                <a:gd name="T1" fmla="*/ 98 h 196"/>
                <a:gd name="T2" fmla="*/ 929 w 1026"/>
                <a:gd name="T3" fmla="*/ 166 h 196"/>
                <a:gd name="T4" fmla="*/ 860 w 1026"/>
                <a:gd name="T5" fmla="*/ 98 h 196"/>
                <a:gd name="T6" fmla="*/ 860 w 1026"/>
                <a:gd name="T7" fmla="*/ 98 h 196"/>
                <a:gd name="T8" fmla="*/ 762 w 1026"/>
                <a:gd name="T9" fmla="*/ 0 h 196"/>
                <a:gd name="T10" fmla="*/ 665 w 1026"/>
                <a:gd name="T11" fmla="*/ 98 h 196"/>
                <a:gd name="T12" fmla="*/ 596 w 1026"/>
                <a:gd name="T13" fmla="*/ 166 h 196"/>
                <a:gd name="T14" fmla="*/ 528 w 1026"/>
                <a:gd name="T15" fmla="*/ 98 h 196"/>
                <a:gd name="T16" fmla="*/ 528 w 1026"/>
                <a:gd name="T17" fmla="*/ 98 h 196"/>
                <a:gd name="T18" fmla="*/ 430 w 1026"/>
                <a:gd name="T19" fmla="*/ 0 h 196"/>
                <a:gd name="T20" fmla="*/ 333 w 1026"/>
                <a:gd name="T21" fmla="*/ 98 h 196"/>
                <a:gd name="T22" fmla="*/ 333 w 1026"/>
                <a:gd name="T23" fmla="*/ 98 h 196"/>
                <a:gd name="T24" fmla="*/ 264 w 1026"/>
                <a:gd name="T25" fmla="*/ 166 h 196"/>
                <a:gd name="T26" fmla="*/ 196 w 1026"/>
                <a:gd name="T27" fmla="*/ 98 h 196"/>
                <a:gd name="T28" fmla="*/ 196 w 1026"/>
                <a:gd name="T29" fmla="*/ 98 h 196"/>
                <a:gd name="T30" fmla="*/ 98 w 1026"/>
                <a:gd name="T31" fmla="*/ 0 h 196"/>
                <a:gd name="T32" fmla="*/ 0 w 1026"/>
                <a:gd name="T33" fmla="*/ 98 h 196"/>
                <a:gd name="T34" fmla="*/ 30 w 1026"/>
                <a:gd name="T35" fmla="*/ 98 h 196"/>
                <a:gd name="T36" fmla="*/ 98 w 1026"/>
                <a:gd name="T37" fmla="*/ 30 h 196"/>
                <a:gd name="T38" fmla="*/ 166 w 1026"/>
                <a:gd name="T39" fmla="*/ 98 h 196"/>
                <a:gd name="T40" fmla="*/ 167 w 1026"/>
                <a:gd name="T41" fmla="*/ 98 h 196"/>
                <a:gd name="T42" fmla="*/ 264 w 1026"/>
                <a:gd name="T43" fmla="*/ 196 h 196"/>
                <a:gd name="T44" fmla="*/ 362 w 1026"/>
                <a:gd name="T45" fmla="*/ 98 h 196"/>
                <a:gd name="T46" fmla="*/ 362 w 1026"/>
                <a:gd name="T47" fmla="*/ 98 h 196"/>
                <a:gd name="T48" fmla="*/ 430 w 1026"/>
                <a:gd name="T49" fmla="*/ 30 h 196"/>
                <a:gd name="T50" fmla="*/ 499 w 1026"/>
                <a:gd name="T51" fmla="*/ 98 h 196"/>
                <a:gd name="T52" fmla="*/ 499 w 1026"/>
                <a:gd name="T53" fmla="*/ 98 h 196"/>
                <a:gd name="T54" fmla="*/ 596 w 1026"/>
                <a:gd name="T55" fmla="*/ 196 h 196"/>
                <a:gd name="T56" fmla="*/ 694 w 1026"/>
                <a:gd name="T57" fmla="*/ 98 h 196"/>
                <a:gd name="T58" fmla="*/ 694 w 1026"/>
                <a:gd name="T59" fmla="*/ 98 h 196"/>
                <a:gd name="T60" fmla="*/ 762 w 1026"/>
                <a:gd name="T61" fmla="*/ 30 h 196"/>
                <a:gd name="T62" fmla="*/ 831 w 1026"/>
                <a:gd name="T63" fmla="*/ 98 h 196"/>
                <a:gd name="T64" fmla="*/ 831 w 1026"/>
                <a:gd name="T65" fmla="*/ 98 h 196"/>
                <a:gd name="T66" fmla="*/ 929 w 1026"/>
                <a:gd name="T67" fmla="*/ 196 h 196"/>
                <a:gd name="T68" fmla="*/ 1026 w 1026"/>
                <a:gd name="T69" fmla="*/ 98 h 196"/>
                <a:gd name="T70" fmla="*/ 997 w 1026"/>
                <a:gd name="T71" fmla="*/ 9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6" h="196">
                  <a:moveTo>
                    <a:pt x="997" y="98"/>
                  </a:moveTo>
                  <a:cubicBezTo>
                    <a:pt x="997" y="136"/>
                    <a:pt x="966" y="166"/>
                    <a:pt x="929" y="166"/>
                  </a:cubicBezTo>
                  <a:cubicBezTo>
                    <a:pt x="891" y="166"/>
                    <a:pt x="860" y="136"/>
                    <a:pt x="860" y="98"/>
                  </a:cubicBezTo>
                  <a:cubicBezTo>
                    <a:pt x="860" y="98"/>
                    <a:pt x="860" y="98"/>
                    <a:pt x="860" y="98"/>
                  </a:cubicBezTo>
                  <a:cubicBezTo>
                    <a:pt x="860" y="44"/>
                    <a:pt x="816" y="0"/>
                    <a:pt x="762" y="0"/>
                  </a:cubicBezTo>
                  <a:cubicBezTo>
                    <a:pt x="709" y="0"/>
                    <a:pt x="665" y="44"/>
                    <a:pt x="665" y="98"/>
                  </a:cubicBezTo>
                  <a:cubicBezTo>
                    <a:pt x="665" y="136"/>
                    <a:pt x="634" y="166"/>
                    <a:pt x="596" y="166"/>
                  </a:cubicBezTo>
                  <a:cubicBezTo>
                    <a:pt x="559" y="166"/>
                    <a:pt x="528" y="136"/>
                    <a:pt x="528" y="98"/>
                  </a:cubicBezTo>
                  <a:cubicBezTo>
                    <a:pt x="528" y="98"/>
                    <a:pt x="528" y="98"/>
                    <a:pt x="528" y="98"/>
                  </a:cubicBezTo>
                  <a:cubicBezTo>
                    <a:pt x="528" y="44"/>
                    <a:pt x="484" y="0"/>
                    <a:pt x="430" y="0"/>
                  </a:cubicBezTo>
                  <a:cubicBezTo>
                    <a:pt x="376" y="0"/>
                    <a:pt x="333" y="44"/>
                    <a:pt x="333" y="98"/>
                  </a:cubicBezTo>
                  <a:cubicBezTo>
                    <a:pt x="333" y="98"/>
                    <a:pt x="333" y="98"/>
                    <a:pt x="333" y="98"/>
                  </a:cubicBezTo>
                  <a:cubicBezTo>
                    <a:pt x="333" y="136"/>
                    <a:pt x="302" y="166"/>
                    <a:pt x="264" y="166"/>
                  </a:cubicBezTo>
                  <a:cubicBezTo>
                    <a:pt x="227" y="166"/>
                    <a:pt x="196" y="136"/>
                    <a:pt x="196" y="98"/>
                  </a:cubicBezTo>
                  <a:cubicBezTo>
                    <a:pt x="196" y="98"/>
                    <a:pt x="196" y="98"/>
                    <a:pt x="196" y="98"/>
                  </a:cubicBezTo>
                  <a:cubicBezTo>
                    <a:pt x="196" y="44"/>
                    <a:pt x="152" y="0"/>
                    <a:pt x="98" y="0"/>
                  </a:cubicBezTo>
                  <a:cubicBezTo>
                    <a:pt x="44" y="0"/>
                    <a:pt x="0" y="44"/>
                    <a:pt x="0" y="98"/>
                  </a:cubicBezTo>
                  <a:cubicBezTo>
                    <a:pt x="30" y="98"/>
                    <a:pt x="30" y="98"/>
                    <a:pt x="30" y="98"/>
                  </a:cubicBezTo>
                  <a:cubicBezTo>
                    <a:pt x="30" y="61"/>
                    <a:pt x="61" y="30"/>
                    <a:pt x="98" y="30"/>
                  </a:cubicBezTo>
                  <a:cubicBezTo>
                    <a:pt x="136" y="30"/>
                    <a:pt x="166" y="61"/>
                    <a:pt x="166" y="98"/>
                  </a:cubicBezTo>
                  <a:cubicBezTo>
                    <a:pt x="167" y="98"/>
                    <a:pt x="167" y="98"/>
                    <a:pt x="167" y="98"/>
                  </a:cubicBezTo>
                  <a:cubicBezTo>
                    <a:pt x="167" y="152"/>
                    <a:pt x="210" y="196"/>
                    <a:pt x="264" y="196"/>
                  </a:cubicBezTo>
                  <a:cubicBezTo>
                    <a:pt x="318" y="196"/>
                    <a:pt x="362" y="152"/>
                    <a:pt x="362" y="98"/>
                  </a:cubicBezTo>
                  <a:cubicBezTo>
                    <a:pt x="362" y="98"/>
                    <a:pt x="362" y="98"/>
                    <a:pt x="362" y="98"/>
                  </a:cubicBezTo>
                  <a:cubicBezTo>
                    <a:pt x="362" y="61"/>
                    <a:pt x="393" y="30"/>
                    <a:pt x="430" y="30"/>
                  </a:cubicBezTo>
                  <a:cubicBezTo>
                    <a:pt x="468" y="30"/>
                    <a:pt x="499" y="61"/>
                    <a:pt x="499" y="98"/>
                  </a:cubicBezTo>
                  <a:cubicBezTo>
                    <a:pt x="499" y="98"/>
                    <a:pt x="499" y="98"/>
                    <a:pt x="499" y="98"/>
                  </a:cubicBezTo>
                  <a:cubicBezTo>
                    <a:pt x="499" y="152"/>
                    <a:pt x="543" y="196"/>
                    <a:pt x="596" y="196"/>
                  </a:cubicBezTo>
                  <a:cubicBezTo>
                    <a:pt x="650" y="196"/>
                    <a:pt x="694" y="152"/>
                    <a:pt x="694" y="98"/>
                  </a:cubicBezTo>
                  <a:cubicBezTo>
                    <a:pt x="694" y="98"/>
                    <a:pt x="694" y="98"/>
                    <a:pt x="694" y="98"/>
                  </a:cubicBezTo>
                  <a:cubicBezTo>
                    <a:pt x="694" y="61"/>
                    <a:pt x="725" y="30"/>
                    <a:pt x="762" y="30"/>
                  </a:cubicBezTo>
                  <a:cubicBezTo>
                    <a:pt x="800" y="30"/>
                    <a:pt x="831" y="61"/>
                    <a:pt x="831" y="98"/>
                  </a:cubicBezTo>
                  <a:cubicBezTo>
                    <a:pt x="831" y="98"/>
                    <a:pt x="831" y="98"/>
                    <a:pt x="831" y="98"/>
                  </a:cubicBezTo>
                  <a:cubicBezTo>
                    <a:pt x="831" y="152"/>
                    <a:pt x="875" y="196"/>
                    <a:pt x="929" y="196"/>
                  </a:cubicBezTo>
                  <a:cubicBezTo>
                    <a:pt x="982" y="196"/>
                    <a:pt x="1026" y="152"/>
                    <a:pt x="1026" y="98"/>
                  </a:cubicBezTo>
                  <a:lnTo>
                    <a:pt x="997" y="9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6"/>
            <p:cNvSpPr>
              <a:spLocks noEditPoints="1"/>
            </p:cNvSpPr>
            <p:nvPr/>
          </p:nvSpPr>
          <p:spPr bwMode="auto">
            <a:xfrm>
              <a:off x="1682" y="2013"/>
              <a:ext cx="388" cy="388"/>
            </a:xfrm>
            <a:custGeom>
              <a:avLst/>
              <a:gdLst>
                <a:gd name="T0" fmla="*/ 52 w 82"/>
                <a:gd name="T1" fmla="*/ 46 h 82"/>
                <a:gd name="T2" fmla="*/ 50 w 82"/>
                <a:gd name="T3" fmla="*/ 48 h 82"/>
                <a:gd name="T4" fmla="*/ 43 w 82"/>
                <a:gd name="T5" fmla="*/ 48 h 82"/>
                <a:gd name="T6" fmla="*/ 43 w 82"/>
                <a:gd name="T7" fmla="*/ 55 h 82"/>
                <a:gd name="T8" fmla="*/ 41 w 82"/>
                <a:gd name="T9" fmla="*/ 57 h 82"/>
                <a:gd name="T10" fmla="*/ 39 w 82"/>
                <a:gd name="T11" fmla="*/ 55 h 82"/>
                <a:gd name="T12" fmla="*/ 39 w 82"/>
                <a:gd name="T13" fmla="*/ 48 h 82"/>
                <a:gd name="T14" fmla="*/ 33 w 82"/>
                <a:gd name="T15" fmla="*/ 48 h 82"/>
                <a:gd name="T16" fmla="*/ 31 w 82"/>
                <a:gd name="T17" fmla="*/ 46 h 82"/>
                <a:gd name="T18" fmla="*/ 33 w 82"/>
                <a:gd name="T19" fmla="*/ 45 h 82"/>
                <a:gd name="T20" fmla="*/ 39 w 82"/>
                <a:gd name="T21" fmla="*/ 45 h 82"/>
                <a:gd name="T22" fmla="*/ 39 w 82"/>
                <a:gd name="T23" fmla="*/ 38 h 82"/>
                <a:gd name="T24" fmla="*/ 41 w 82"/>
                <a:gd name="T25" fmla="*/ 36 h 82"/>
                <a:gd name="T26" fmla="*/ 43 w 82"/>
                <a:gd name="T27" fmla="*/ 38 h 82"/>
                <a:gd name="T28" fmla="*/ 43 w 82"/>
                <a:gd name="T29" fmla="*/ 45 h 82"/>
                <a:gd name="T30" fmla="*/ 50 w 82"/>
                <a:gd name="T31" fmla="*/ 45 h 82"/>
                <a:gd name="T32" fmla="*/ 52 w 82"/>
                <a:gd name="T33" fmla="*/ 46 h 82"/>
                <a:gd name="T34" fmla="*/ 45 w 82"/>
                <a:gd name="T35" fmla="*/ 29 h 82"/>
                <a:gd name="T36" fmla="*/ 45 w 82"/>
                <a:gd name="T37" fmla="*/ 19 h 82"/>
                <a:gd name="T38" fmla="*/ 26 w 82"/>
                <a:gd name="T39" fmla="*/ 19 h 82"/>
                <a:gd name="T40" fmla="*/ 26 w 82"/>
                <a:gd name="T41" fmla="*/ 63 h 82"/>
                <a:gd name="T42" fmla="*/ 57 w 82"/>
                <a:gd name="T43" fmla="*/ 63 h 82"/>
                <a:gd name="T44" fmla="*/ 57 w 82"/>
                <a:gd name="T45" fmla="*/ 31 h 82"/>
                <a:gd name="T46" fmla="*/ 46 w 82"/>
                <a:gd name="T47" fmla="*/ 31 h 82"/>
                <a:gd name="T48" fmla="*/ 45 w 82"/>
                <a:gd name="T49" fmla="*/ 29 h 82"/>
                <a:gd name="T50" fmla="*/ 54 w 82"/>
                <a:gd name="T51" fmla="*/ 27 h 82"/>
                <a:gd name="T52" fmla="*/ 48 w 82"/>
                <a:gd name="T53" fmla="*/ 27 h 82"/>
                <a:gd name="T54" fmla="*/ 48 w 82"/>
                <a:gd name="T55" fmla="*/ 21 h 82"/>
                <a:gd name="T56" fmla="*/ 54 w 82"/>
                <a:gd name="T57" fmla="*/ 27 h 82"/>
                <a:gd name="T58" fmla="*/ 60 w 82"/>
                <a:gd name="T59" fmla="*/ 29 h 82"/>
                <a:gd name="T60" fmla="*/ 60 w 82"/>
                <a:gd name="T61" fmla="*/ 65 h 82"/>
                <a:gd name="T62" fmla="*/ 58 w 82"/>
                <a:gd name="T63" fmla="*/ 67 h 82"/>
                <a:gd name="T64" fmla="*/ 24 w 82"/>
                <a:gd name="T65" fmla="*/ 67 h 82"/>
                <a:gd name="T66" fmla="*/ 22 w 82"/>
                <a:gd name="T67" fmla="*/ 65 h 82"/>
                <a:gd name="T68" fmla="*/ 22 w 82"/>
                <a:gd name="T69" fmla="*/ 17 h 82"/>
                <a:gd name="T70" fmla="*/ 24 w 82"/>
                <a:gd name="T71" fmla="*/ 15 h 82"/>
                <a:gd name="T72" fmla="*/ 46 w 82"/>
                <a:gd name="T73" fmla="*/ 15 h 82"/>
                <a:gd name="T74" fmla="*/ 48 w 82"/>
                <a:gd name="T75" fmla="*/ 16 h 82"/>
                <a:gd name="T76" fmla="*/ 48 w 82"/>
                <a:gd name="T77" fmla="*/ 16 h 82"/>
                <a:gd name="T78" fmla="*/ 48 w 82"/>
                <a:gd name="T79" fmla="*/ 16 h 82"/>
                <a:gd name="T80" fmla="*/ 60 w 82"/>
                <a:gd name="T81" fmla="*/ 28 h 82"/>
                <a:gd name="T82" fmla="*/ 60 w 82"/>
                <a:gd name="T83" fmla="*/ 28 h 82"/>
                <a:gd name="T84" fmla="*/ 60 w 82"/>
                <a:gd name="T85" fmla="*/ 29 h 82"/>
                <a:gd name="T86" fmla="*/ 41 w 82"/>
                <a:gd name="T87" fmla="*/ 0 h 82"/>
                <a:gd name="T88" fmla="*/ 0 w 82"/>
                <a:gd name="T89" fmla="*/ 41 h 82"/>
                <a:gd name="T90" fmla="*/ 41 w 82"/>
                <a:gd name="T91" fmla="*/ 82 h 82"/>
                <a:gd name="T92" fmla="*/ 82 w 82"/>
                <a:gd name="T93" fmla="*/ 41 h 82"/>
                <a:gd name="T94" fmla="*/ 41 w 82"/>
                <a:gd name="T9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 h="82">
                  <a:moveTo>
                    <a:pt x="52" y="46"/>
                  </a:moveTo>
                  <a:cubicBezTo>
                    <a:pt x="52" y="47"/>
                    <a:pt x="51" y="48"/>
                    <a:pt x="50" y="48"/>
                  </a:cubicBezTo>
                  <a:cubicBezTo>
                    <a:pt x="43" y="48"/>
                    <a:pt x="43" y="48"/>
                    <a:pt x="43" y="48"/>
                  </a:cubicBezTo>
                  <a:cubicBezTo>
                    <a:pt x="43" y="55"/>
                    <a:pt x="43" y="55"/>
                    <a:pt x="43" y="55"/>
                  </a:cubicBezTo>
                  <a:cubicBezTo>
                    <a:pt x="43" y="56"/>
                    <a:pt x="42" y="57"/>
                    <a:pt x="41" y="57"/>
                  </a:cubicBezTo>
                  <a:cubicBezTo>
                    <a:pt x="40" y="57"/>
                    <a:pt x="39" y="56"/>
                    <a:pt x="39" y="55"/>
                  </a:cubicBezTo>
                  <a:cubicBezTo>
                    <a:pt x="39" y="48"/>
                    <a:pt x="39" y="48"/>
                    <a:pt x="39" y="48"/>
                  </a:cubicBezTo>
                  <a:cubicBezTo>
                    <a:pt x="33" y="48"/>
                    <a:pt x="33" y="48"/>
                    <a:pt x="33" y="48"/>
                  </a:cubicBezTo>
                  <a:cubicBezTo>
                    <a:pt x="32" y="48"/>
                    <a:pt x="31" y="47"/>
                    <a:pt x="31" y="46"/>
                  </a:cubicBezTo>
                  <a:cubicBezTo>
                    <a:pt x="31" y="45"/>
                    <a:pt x="32" y="45"/>
                    <a:pt x="33" y="45"/>
                  </a:cubicBezTo>
                  <a:cubicBezTo>
                    <a:pt x="39" y="45"/>
                    <a:pt x="39" y="45"/>
                    <a:pt x="39" y="45"/>
                  </a:cubicBezTo>
                  <a:cubicBezTo>
                    <a:pt x="39" y="38"/>
                    <a:pt x="39" y="38"/>
                    <a:pt x="39" y="38"/>
                  </a:cubicBezTo>
                  <a:cubicBezTo>
                    <a:pt x="39" y="37"/>
                    <a:pt x="40" y="36"/>
                    <a:pt x="41" y="36"/>
                  </a:cubicBezTo>
                  <a:cubicBezTo>
                    <a:pt x="42" y="36"/>
                    <a:pt x="43" y="37"/>
                    <a:pt x="43" y="38"/>
                  </a:cubicBezTo>
                  <a:cubicBezTo>
                    <a:pt x="43" y="45"/>
                    <a:pt x="43" y="45"/>
                    <a:pt x="43" y="45"/>
                  </a:cubicBezTo>
                  <a:cubicBezTo>
                    <a:pt x="50" y="45"/>
                    <a:pt x="50" y="45"/>
                    <a:pt x="50" y="45"/>
                  </a:cubicBezTo>
                  <a:cubicBezTo>
                    <a:pt x="51" y="45"/>
                    <a:pt x="52" y="45"/>
                    <a:pt x="52" y="46"/>
                  </a:cubicBezTo>
                  <a:moveTo>
                    <a:pt x="45" y="29"/>
                  </a:moveTo>
                  <a:cubicBezTo>
                    <a:pt x="45" y="19"/>
                    <a:pt x="45" y="19"/>
                    <a:pt x="45" y="19"/>
                  </a:cubicBezTo>
                  <a:cubicBezTo>
                    <a:pt x="26" y="19"/>
                    <a:pt x="26" y="19"/>
                    <a:pt x="26" y="19"/>
                  </a:cubicBezTo>
                  <a:cubicBezTo>
                    <a:pt x="26" y="63"/>
                    <a:pt x="26" y="63"/>
                    <a:pt x="26" y="63"/>
                  </a:cubicBezTo>
                  <a:cubicBezTo>
                    <a:pt x="57" y="63"/>
                    <a:pt x="57" y="63"/>
                    <a:pt x="57" y="63"/>
                  </a:cubicBezTo>
                  <a:cubicBezTo>
                    <a:pt x="57" y="31"/>
                    <a:pt x="57" y="31"/>
                    <a:pt x="57" y="31"/>
                  </a:cubicBezTo>
                  <a:cubicBezTo>
                    <a:pt x="46" y="31"/>
                    <a:pt x="46" y="31"/>
                    <a:pt x="46" y="31"/>
                  </a:cubicBezTo>
                  <a:cubicBezTo>
                    <a:pt x="45" y="31"/>
                    <a:pt x="45" y="30"/>
                    <a:pt x="45" y="29"/>
                  </a:cubicBezTo>
                  <a:moveTo>
                    <a:pt x="54" y="27"/>
                  </a:moveTo>
                  <a:cubicBezTo>
                    <a:pt x="48" y="27"/>
                    <a:pt x="48" y="27"/>
                    <a:pt x="48" y="27"/>
                  </a:cubicBezTo>
                  <a:cubicBezTo>
                    <a:pt x="48" y="21"/>
                    <a:pt x="48" y="21"/>
                    <a:pt x="48" y="21"/>
                  </a:cubicBezTo>
                  <a:lnTo>
                    <a:pt x="54" y="27"/>
                  </a:lnTo>
                  <a:close/>
                  <a:moveTo>
                    <a:pt x="60" y="29"/>
                  </a:moveTo>
                  <a:cubicBezTo>
                    <a:pt x="60" y="65"/>
                    <a:pt x="60" y="65"/>
                    <a:pt x="60" y="65"/>
                  </a:cubicBezTo>
                  <a:cubicBezTo>
                    <a:pt x="60" y="66"/>
                    <a:pt x="59" y="67"/>
                    <a:pt x="58" y="67"/>
                  </a:cubicBezTo>
                  <a:cubicBezTo>
                    <a:pt x="24" y="67"/>
                    <a:pt x="24" y="67"/>
                    <a:pt x="24" y="67"/>
                  </a:cubicBezTo>
                  <a:cubicBezTo>
                    <a:pt x="23" y="67"/>
                    <a:pt x="22" y="66"/>
                    <a:pt x="22" y="65"/>
                  </a:cubicBezTo>
                  <a:cubicBezTo>
                    <a:pt x="22" y="17"/>
                    <a:pt x="22" y="17"/>
                    <a:pt x="22" y="17"/>
                  </a:cubicBezTo>
                  <a:cubicBezTo>
                    <a:pt x="22" y="16"/>
                    <a:pt x="23" y="15"/>
                    <a:pt x="24" y="15"/>
                  </a:cubicBezTo>
                  <a:cubicBezTo>
                    <a:pt x="46" y="15"/>
                    <a:pt x="46" y="15"/>
                    <a:pt x="46" y="15"/>
                  </a:cubicBezTo>
                  <a:cubicBezTo>
                    <a:pt x="47" y="15"/>
                    <a:pt x="47" y="15"/>
                    <a:pt x="48" y="16"/>
                  </a:cubicBezTo>
                  <a:cubicBezTo>
                    <a:pt x="48" y="16"/>
                    <a:pt x="48" y="16"/>
                    <a:pt x="48" y="16"/>
                  </a:cubicBezTo>
                  <a:cubicBezTo>
                    <a:pt x="48" y="16"/>
                    <a:pt x="48" y="16"/>
                    <a:pt x="48" y="16"/>
                  </a:cubicBezTo>
                  <a:cubicBezTo>
                    <a:pt x="60" y="28"/>
                    <a:pt x="60" y="28"/>
                    <a:pt x="60" y="28"/>
                  </a:cubicBezTo>
                  <a:cubicBezTo>
                    <a:pt x="60" y="28"/>
                    <a:pt x="60" y="28"/>
                    <a:pt x="60" y="28"/>
                  </a:cubicBezTo>
                  <a:cubicBezTo>
                    <a:pt x="60" y="29"/>
                    <a:pt x="60" y="29"/>
                    <a:pt x="60" y="29"/>
                  </a:cubicBezTo>
                  <a:close/>
                  <a:moveTo>
                    <a:pt x="41" y="0"/>
                  </a:moveTo>
                  <a:cubicBezTo>
                    <a:pt x="18" y="0"/>
                    <a:pt x="0" y="18"/>
                    <a:pt x="0" y="41"/>
                  </a:cubicBezTo>
                  <a:cubicBezTo>
                    <a:pt x="0" y="64"/>
                    <a:pt x="18" y="82"/>
                    <a:pt x="41" y="82"/>
                  </a:cubicBezTo>
                  <a:cubicBezTo>
                    <a:pt x="64" y="82"/>
                    <a:pt x="82" y="64"/>
                    <a:pt x="82" y="41"/>
                  </a:cubicBezTo>
                  <a:cubicBezTo>
                    <a:pt x="82" y="18"/>
                    <a:pt x="64" y="0"/>
                    <a:pt x="41"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7"/>
            <p:cNvSpPr>
              <a:spLocks noEditPoints="1"/>
            </p:cNvSpPr>
            <p:nvPr/>
          </p:nvSpPr>
          <p:spPr bwMode="auto">
            <a:xfrm>
              <a:off x="4036" y="2013"/>
              <a:ext cx="393" cy="388"/>
            </a:xfrm>
            <a:custGeom>
              <a:avLst/>
              <a:gdLst>
                <a:gd name="T0" fmla="*/ 66 w 83"/>
                <a:gd name="T1" fmla="*/ 60 h 82"/>
                <a:gd name="T2" fmla="*/ 17 w 83"/>
                <a:gd name="T3" fmla="*/ 60 h 82"/>
                <a:gd name="T4" fmla="*/ 16 w 83"/>
                <a:gd name="T5" fmla="*/ 58 h 82"/>
                <a:gd name="T6" fmla="*/ 16 w 83"/>
                <a:gd name="T7" fmla="*/ 24 h 82"/>
                <a:gd name="T8" fmla="*/ 17 w 83"/>
                <a:gd name="T9" fmla="*/ 22 h 82"/>
                <a:gd name="T10" fmla="*/ 19 w 83"/>
                <a:gd name="T11" fmla="*/ 24 h 82"/>
                <a:gd name="T12" fmla="*/ 19 w 83"/>
                <a:gd name="T13" fmla="*/ 57 h 82"/>
                <a:gd name="T14" fmla="*/ 66 w 83"/>
                <a:gd name="T15" fmla="*/ 57 h 82"/>
                <a:gd name="T16" fmla="*/ 67 w 83"/>
                <a:gd name="T17" fmla="*/ 58 h 82"/>
                <a:gd name="T18" fmla="*/ 66 w 83"/>
                <a:gd name="T19" fmla="*/ 60 h 82"/>
                <a:gd name="T20" fmla="*/ 23 w 83"/>
                <a:gd name="T21" fmla="*/ 45 h 82"/>
                <a:gd name="T22" fmla="*/ 24 w 83"/>
                <a:gd name="T23" fmla="*/ 43 h 82"/>
                <a:gd name="T24" fmla="*/ 26 w 83"/>
                <a:gd name="T25" fmla="*/ 45 h 82"/>
                <a:gd name="T26" fmla="*/ 26 w 83"/>
                <a:gd name="T27" fmla="*/ 51 h 82"/>
                <a:gd name="T28" fmla="*/ 24 w 83"/>
                <a:gd name="T29" fmla="*/ 53 h 82"/>
                <a:gd name="T30" fmla="*/ 23 w 83"/>
                <a:gd name="T31" fmla="*/ 51 h 82"/>
                <a:gd name="T32" fmla="*/ 23 w 83"/>
                <a:gd name="T33" fmla="*/ 45 h 82"/>
                <a:gd name="T34" fmla="*/ 29 w 83"/>
                <a:gd name="T35" fmla="*/ 39 h 82"/>
                <a:gd name="T36" fmla="*/ 31 w 83"/>
                <a:gd name="T37" fmla="*/ 38 h 82"/>
                <a:gd name="T38" fmla="*/ 33 w 83"/>
                <a:gd name="T39" fmla="*/ 39 h 82"/>
                <a:gd name="T40" fmla="*/ 33 w 83"/>
                <a:gd name="T41" fmla="*/ 51 h 82"/>
                <a:gd name="T42" fmla="*/ 31 w 83"/>
                <a:gd name="T43" fmla="*/ 53 h 82"/>
                <a:gd name="T44" fmla="*/ 29 w 83"/>
                <a:gd name="T45" fmla="*/ 51 h 82"/>
                <a:gd name="T46" fmla="*/ 29 w 83"/>
                <a:gd name="T47" fmla="*/ 39 h 82"/>
                <a:gd name="T48" fmla="*/ 36 w 83"/>
                <a:gd name="T49" fmla="*/ 24 h 82"/>
                <a:gd name="T50" fmla="*/ 38 w 83"/>
                <a:gd name="T51" fmla="*/ 22 h 82"/>
                <a:gd name="T52" fmla="*/ 40 w 83"/>
                <a:gd name="T53" fmla="*/ 24 h 82"/>
                <a:gd name="T54" fmla="*/ 40 w 83"/>
                <a:gd name="T55" fmla="*/ 51 h 82"/>
                <a:gd name="T56" fmla="*/ 38 w 83"/>
                <a:gd name="T57" fmla="*/ 53 h 82"/>
                <a:gd name="T58" fmla="*/ 36 w 83"/>
                <a:gd name="T59" fmla="*/ 51 h 82"/>
                <a:gd name="T60" fmla="*/ 36 w 83"/>
                <a:gd name="T61" fmla="*/ 24 h 82"/>
                <a:gd name="T62" fmla="*/ 43 w 83"/>
                <a:gd name="T63" fmla="*/ 32 h 82"/>
                <a:gd name="T64" fmla="*/ 45 w 83"/>
                <a:gd name="T65" fmla="*/ 31 h 82"/>
                <a:gd name="T66" fmla="*/ 47 w 83"/>
                <a:gd name="T67" fmla="*/ 32 h 82"/>
                <a:gd name="T68" fmla="*/ 47 w 83"/>
                <a:gd name="T69" fmla="*/ 51 h 82"/>
                <a:gd name="T70" fmla="*/ 45 w 83"/>
                <a:gd name="T71" fmla="*/ 53 h 82"/>
                <a:gd name="T72" fmla="*/ 43 w 83"/>
                <a:gd name="T73" fmla="*/ 51 h 82"/>
                <a:gd name="T74" fmla="*/ 43 w 83"/>
                <a:gd name="T75" fmla="*/ 32 h 82"/>
                <a:gd name="T76" fmla="*/ 50 w 83"/>
                <a:gd name="T77" fmla="*/ 27 h 82"/>
                <a:gd name="T78" fmla="*/ 52 w 83"/>
                <a:gd name="T79" fmla="*/ 26 h 82"/>
                <a:gd name="T80" fmla="*/ 54 w 83"/>
                <a:gd name="T81" fmla="*/ 27 h 82"/>
                <a:gd name="T82" fmla="*/ 54 w 83"/>
                <a:gd name="T83" fmla="*/ 51 h 82"/>
                <a:gd name="T84" fmla="*/ 52 w 83"/>
                <a:gd name="T85" fmla="*/ 53 h 82"/>
                <a:gd name="T86" fmla="*/ 50 w 83"/>
                <a:gd name="T87" fmla="*/ 51 h 82"/>
                <a:gd name="T88" fmla="*/ 50 w 83"/>
                <a:gd name="T89" fmla="*/ 27 h 82"/>
                <a:gd name="T90" fmla="*/ 57 w 83"/>
                <a:gd name="T91" fmla="*/ 41 h 82"/>
                <a:gd name="T92" fmla="*/ 59 w 83"/>
                <a:gd name="T93" fmla="*/ 39 h 82"/>
                <a:gd name="T94" fmla="*/ 60 w 83"/>
                <a:gd name="T95" fmla="*/ 41 h 82"/>
                <a:gd name="T96" fmla="*/ 60 w 83"/>
                <a:gd name="T97" fmla="*/ 51 h 82"/>
                <a:gd name="T98" fmla="*/ 59 w 83"/>
                <a:gd name="T99" fmla="*/ 53 h 82"/>
                <a:gd name="T100" fmla="*/ 57 w 83"/>
                <a:gd name="T101" fmla="*/ 51 h 82"/>
                <a:gd name="T102" fmla="*/ 57 w 83"/>
                <a:gd name="T103" fmla="*/ 41 h 82"/>
                <a:gd name="T104" fmla="*/ 42 w 83"/>
                <a:gd name="T105" fmla="*/ 0 h 82"/>
                <a:gd name="T106" fmla="*/ 0 w 83"/>
                <a:gd name="T107" fmla="*/ 41 h 82"/>
                <a:gd name="T108" fmla="*/ 42 w 83"/>
                <a:gd name="T109" fmla="*/ 82 h 82"/>
                <a:gd name="T110" fmla="*/ 83 w 83"/>
                <a:gd name="T111" fmla="*/ 41 h 82"/>
                <a:gd name="T112" fmla="*/ 42 w 83"/>
                <a:gd name="T11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82">
                  <a:moveTo>
                    <a:pt x="66" y="60"/>
                  </a:moveTo>
                  <a:cubicBezTo>
                    <a:pt x="17" y="60"/>
                    <a:pt x="17" y="60"/>
                    <a:pt x="17" y="60"/>
                  </a:cubicBezTo>
                  <a:cubicBezTo>
                    <a:pt x="16" y="60"/>
                    <a:pt x="16" y="59"/>
                    <a:pt x="16" y="58"/>
                  </a:cubicBezTo>
                  <a:cubicBezTo>
                    <a:pt x="16" y="24"/>
                    <a:pt x="16" y="24"/>
                    <a:pt x="16" y="24"/>
                  </a:cubicBezTo>
                  <a:cubicBezTo>
                    <a:pt x="16" y="23"/>
                    <a:pt x="16" y="22"/>
                    <a:pt x="17" y="22"/>
                  </a:cubicBezTo>
                  <a:cubicBezTo>
                    <a:pt x="18" y="22"/>
                    <a:pt x="19" y="23"/>
                    <a:pt x="19" y="24"/>
                  </a:cubicBezTo>
                  <a:cubicBezTo>
                    <a:pt x="19" y="57"/>
                    <a:pt x="19" y="57"/>
                    <a:pt x="19" y="57"/>
                  </a:cubicBezTo>
                  <a:cubicBezTo>
                    <a:pt x="66" y="57"/>
                    <a:pt x="66" y="57"/>
                    <a:pt x="66" y="57"/>
                  </a:cubicBezTo>
                  <a:cubicBezTo>
                    <a:pt x="67" y="57"/>
                    <a:pt x="67" y="57"/>
                    <a:pt x="67" y="58"/>
                  </a:cubicBezTo>
                  <a:cubicBezTo>
                    <a:pt x="67" y="59"/>
                    <a:pt x="67" y="60"/>
                    <a:pt x="66" y="60"/>
                  </a:cubicBezTo>
                  <a:moveTo>
                    <a:pt x="23" y="45"/>
                  </a:moveTo>
                  <a:cubicBezTo>
                    <a:pt x="23" y="44"/>
                    <a:pt x="23" y="43"/>
                    <a:pt x="24" y="43"/>
                  </a:cubicBezTo>
                  <a:cubicBezTo>
                    <a:pt x="25" y="43"/>
                    <a:pt x="26" y="44"/>
                    <a:pt x="26" y="45"/>
                  </a:cubicBezTo>
                  <a:cubicBezTo>
                    <a:pt x="26" y="51"/>
                    <a:pt x="26" y="51"/>
                    <a:pt x="26" y="51"/>
                  </a:cubicBezTo>
                  <a:cubicBezTo>
                    <a:pt x="26" y="52"/>
                    <a:pt x="25" y="53"/>
                    <a:pt x="24" y="53"/>
                  </a:cubicBezTo>
                  <a:cubicBezTo>
                    <a:pt x="23" y="53"/>
                    <a:pt x="23" y="52"/>
                    <a:pt x="23" y="51"/>
                  </a:cubicBezTo>
                  <a:lnTo>
                    <a:pt x="23" y="45"/>
                  </a:lnTo>
                  <a:close/>
                  <a:moveTo>
                    <a:pt x="29" y="39"/>
                  </a:moveTo>
                  <a:cubicBezTo>
                    <a:pt x="29" y="38"/>
                    <a:pt x="30" y="38"/>
                    <a:pt x="31" y="38"/>
                  </a:cubicBezTo>
                  <a:cubicBezTo>
                    <a:pt x="32" y="38"/>
                    <a:pt x="33" y="38"/>
                    <a:pt x="33" y="39"/>
                  </a:cubicBezTo>
                  <a:cubicBezTo>
                    <a:pt x="33" y="51"/>
                    <a:pt x="33" y="51"/>
                    <a:pt x="33" y="51"/>
                  </a:cubicBezTo>
                  <a:cubicBezTo>
                    <a:pt x="33" y="52"/>
                    <a:pt x="32" y="53"/>
                    <a:pt x="31" y="53"/>
                  </a:cubicBezTo>
                  <a:cubicBezTo>
                    <a:pt x="30" y="53"/>
                    <a:pt x="29" y="52"/>
                    <a:pt x="29" y="51"/>
                  </a:cubicBezTo>
                  <a:lnTo>
                    <a:pt x="29" y="39"/>
                  </a:lnTo>
                  <a:close/>
                  <a:moveTo>
                    <a:pt x="36" y="24"/>
                  </a:moveTo>
                  <a:cubicBezTo>
                    <a:pt x="36" y="23"/>
                    <a:pt x="37" y="22"/>
                    <a:pt x="38" y="22"/>
                  </a:cubicBezTo>
                  <a:cubicBezTo>
                    <a:pt x="39" y="22"/>
                    <a:pt x="40" y="23"/>
                    <a:pt x="40" y="24"/>
                  </a:cubicBezTo>
                  <a:cubicBezTo>
                    <a:pt x="40" y="51"/>
                    <a:pt x="40" y="51"/>
                    <a:pt x="40" y="51"/>
                  </a:cubicBezTo>
                  <a:cubicBezTo>
                    <a:pt x="40" y="52"/>
                    <a:pt x="39" y="53"/>
                    <a:pt x="38" y="53"/>
                  </a:cubicBezTo>
                  <a:cubicBezTo>
                    <a:pt x="37" y="53"/>
                    <a:pt x="36" y="52"/>
                    <a:pt x="36" y="51"/>
                  </a:cubicBezTo>
                  <a:lnTo>
                    <a:pt x="36" y="24"/>
                  </a:lnTo>
                  <a:close/>
                  <a:moveTo>
                    <a:pt x="43" y="32"/>
                  </a:moveTo>
                  <a:cubicBezTo>
                    <a:pt x="43" y="32"/>
                    <a:pt x="44" y="31"/>
                    <a:pt x="45" y="31"/>
                  </a:cubicBezTo>
                  <a:cubicBezTo>
                    <a:pt x="46" y="31"/>
                    <a:pt x="47" y="32"/>
                    <a:pt x="47" y="32"/>
                  </a:cubicBezTo>
                  <a:cubicBezTo>
                    <a:pt x="47" y="51"/>
                    <a:pt x="47" y="51"/>
                    <a:pt x="47" y="51"/>
                  </a:cubicBezTo>
                  <a:cubicBezTo>
                    <a:pt x="47" y="52"/>
                    <a:pt x="46" y="53"/>
                    <a:pt x="45" y="53"/>
                  </a:cubicBezTo>
                  <a:cubicBezTo>
                    <a:pt x="44" y="53"/>
                    <a:pt x="43" y="52"/>
                    <a:pt x="43" y="51"/>
                  </a:cubicBezTo>
                  <a:lnTo>
                    <a:pt x="43" y="32"/>
                  </a:lnTo>
                  <a:close/>
                  <a:moveTo>
                    <a:pt x="50" y="27"/>
                  </a:moveTo>
                  <a:cubicBezTo>
                    <a:pt x="50" y="26"/>
                    <a:pt x="51" y="26"/>
                    <a:pt x="52" y="26"/>
                  </a:cubicBezTo>
                  <a:cubicBezTo>
                    <a:pt x="53" y="26"/>
                    <a:pt x="54" y="26"/>
                    <a:pt x="54" y="27"/>
                  </a:cubicBezTo>
                  <a:cubicBezTo>
                    <a:pt x="54" y="51"/>
                    <a:pt x="54" y="51"/>
                    <a:pt x="54" y="51"/>
                  </a:cubicBezTo>
                  <a:cubicBezTo>
                    <a:pt x="54" y="52"/>
                    <a:pt x="53" y="53"/>
                    <a:pt x="52" y="53"/>
                  </a:cubicBezTo>
                  <a:cubicBezTo>
                    <a:pt x="51" y="53"/>
                    <a:pt x="50" y="52"/>
                    <a:pt x="50" y="51"/>
                  </a:cubicBezTo>
                  <a:lnTo>
                    <a:pt x="50" y="27"/>
                  </a:lnTo>
                  <a:close/>
                  <a:moveTo>
                    <a:pt x="57" y="41"/>
                  </a:moveTo>
                  <a:cubicBezTo>
                    <a:pt x="57" y="40"/>
                    <a:pt x="58" y="39"/>
                    <a:pt x="59" y="39"/>
                  </a:cubicBezTo>
                  <a:cubicBezTo>
                    <a:pt x="60" y="39"/>
                    <a:pt x="60" y="40"/>
                    <a:pt x="60" y="41"/>
                  </a:cubicBezTo>
                  <a:cubicBezTo>
                    <a:pt x="60" y="51"/>
                    <a:pt x="60" y="51"/>
                    <a:pt x="60" y="51"/>
                  </a:cubicBezTo>
                  <a:cubicBezTo>
                    <a:pt x="60" y="52"/>
                    <a:pt x="60" y="53"/>
                    <a:pt x="59" y="53"/>
                  </a:cubicBezTo>
                  <a:cubicBezTo>
                    <a:pt x="58" y="53"/>
                    <a:pt x="57" y="52"/>
                    <a:pt x="57" y="51"/>
                  </a:cubicBezTo>
                  <a:lnTo>
                    <a:pt x="57" y="41"/>
                  </a:lnTo>
                  <a:close/>
                  <a:moveTo>
                    <a:pt x="42" y="0"/>
                  </a:moveTo>
                  <a:cubicBezTo>
                    <a:pt x="19" y="0"/>
                    <a:pt x="0" y="18"/>
                    <a:pt x="0" y="41"/>
                  </a:cubicBezTo>
                  <a:cubicBezTo>
                    <a:pt x="0" y="64"/>
                    <a:pt x="19" y="82"/>
                    <a:pt x="42" y="82"/>
                  </a:cubicBezTo>
                  <a:cubicBezTo>
                    <a:pt x="64" y="82"/>
                    <a:pt x="83" y="64"/>
                    <a:pt x="83" y="41"/>
                  </a:cubicBezTo>
                  <a:cubicBezTo>
                    <a:pt x="83" y="18"/>
                    <a:pt x="64" y="0"/>
                    <a:pt x="42"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8"/>
            <p:cNvSpPr>
              <a:spLocks noEditPoints="1"/>
            </p:cNvSpPr>
            <p:nvPr/>
          </p:nvSpPr>
          <p:spPr bwMode="auto">
            <a:xfrm>
              <a:off x="2467" y="2013"/>
              <a:ext cx="392" cy="388"/>
            </a:xfrm>
            <a:custGeom>
              <a:avLst/>
              <a:gdLst>
                <a:gd name="T0" fmla="*/ 58 w 83"/>
                <a:gd name="T1" fmla="*/ 67 h 82"/>
                <a:gd name="T2" fmla="*/ 57 w 83"/>
                <a:gd name="T3" fmla="*/ 64 h 82"/>
                <a:gd name="T4" fmla="*/ 58 w 83"/>
                <a:gd name="T5" fmla="*/ 48 h 82"/>
                <a:gd name="T6" fmla="*/ 55 w 83"/>
                <a:gd name="T7" fmla="*/ 48 h 82"/>
                <a:gd name="T8" fmla="*/ 53 w 83"/>
                <a:gd name="T9" fmla="*/ 50 h 82"/>
                <a:gd name="T10" fmla="*/ 53 w 83"/>
                <a:gd name="T11" fmla="*/ 50 h 82"/>
                <a:gd name="T12" fmla="*/ 52 w 83"/>
                <a:gd name="T13" fmla="*/ 46 h 82"/>
                <a:gd name="T14" fmla="*/ 48 w 83"/>
                <a:gd name="T15" fmla="*/ 46 h 82"/>
                <a:gd name="T16" fmla="*/ 47 w 83"/>
                <a:gd name="T17" fmla="*/ 50 h 82"/>
                <a:gd name="T18" fmla="*/ 45 w 83"/>
                <a:gd name="T19" fmla="*/ 43 h 82"/>
                <a:gd name="T20" fmla="*/ 41 w 83"/>
                <a:gd name="T21" fmla="*/ 43 h 82"/>
                <a:gd name="T22" fmla="*/ 40 w 83"/>
                <a:gd name="T23" fmla="*/ 50 h 82"/>
                <a:gd name="T24" fmla="*/ 38 w 83"/>
                <a:gd name="T25" fmla="*/ 34 h 82"/>
                <a:gd name="T26" fmla="*/ 35 w 83"/>
                <a:gd name="T27" fmla="*/ 34 h 82"/>
                <a:gd name="T28" fmla="*/ 34 w 83"/>
                <a:gd name="T29" fmla="*/ 56 h 82"/>
                <a:gd name="T30" fmla="*/ 26 w 83"/>
                <a:gd name="T31" fmla="*/ 47 h 82"/>
                <a:gd name="T32" fmla="*/ 24 w 83"/>
                <a:gd name="T33" fmla="*/ 46 h 82"/>
                <a:gd name="T34" fmla="*/ 24 w 83"/>
                <a:gd name="T35" fmla="*/ 49 h 82"/>
                <a:gd name="T36" fmla="*/ 34 w 83"/>
                <a:gd name="T37" fmla="*/ 66 h 82"/>
                <a:gd name="T38" fmla="*/ 31 w 83"/>
                <a:gd name="T39" fmla="*/ 66 h 82"/>
                <a:gd name="T40" fmla="*/ 23 w 83"/>
                <a:gd name="T41" fmla="*/ 43 h 82"/>
                <a:gd name="T42" fmla="*/ 30 w 83"/>
                <a:gd name="T43" fmla="*/ 45 h 82"/>
                <a:gd name="T44" fmla="*/ 31 w 83"/>
                <a:gd name="T45" fmla="*/ 34 h 82"/>
                <a:gd name="T46" fmla="*/ 41 w 83"/>
                <a:gd name="T47" fmla="*/ 34 h 82"/>
                <a:gd name="T48" fmla="*/ 43 w 83"/>
                <a:gd name="T49" fmla="*/ 38 h 82"/>
                <a:gd name="T50" fmla="*/ 50 w 83"/>
                <a:gd name="T51" fmla="*/ 41 h 82"/>
                <a:gd name="T52" fmla="*/ 57 w 83"/>
                <a:gd name="T53" fmla="*/ 43 h 82"/>
                <a:gd name="T54" fmla="*/ 62 w 83"/>
                <a:gd name="T55" fmla="*/ 55 h 82"/>
                <a:gd name="T56" fmla="*/ 28 w 83"/>
                <a:gd name="T57" fmla="*/ 36 h 82"/>
                <a:gd name="T58" fmla="*/ 26 w 83"/>
                <a:gd name="T59" fmla="*/ 38 h 82"/>
                <a:gd name="T60" fmla="*/ 24 w 83"/>
                <a:gd name="T61" fmla="*/ 34 h 82"/>
                <a:gd name="T62" fmla="*/ 48 w 83"/>
                <a:gd name="T63" fmla="*/ 32 h 82"/>
                <a:gd name="T64" fmla="*/ 45 w 83"/>
                <a:gd name="T65" fmla="*/ 33 h 82"/>
                <a:gd name="T66" fmla="*/ 28 w 83"/>
                <a:gd name="T67" fmla="*/ 34 h 82"/>
                <a:gd name="T68" fmla="*/ 19 w 83"/>
                <a:gd name="T69" fmla="*/ 39 h 82"/>
                <a:gd name="T70" fmla="*/ 17 w 83"/>
                <a:gd name="T71" fmla="*/ 34 h 82"/>
                <a:gd name="T72" fmla="*/ 55 w 83"/>
                <a:gd name="T73" fmla="*/ 34 h 82"/>
                <a:gd name="T74" fmla="*/ 53 w 83"/>
                <a:gd name="T75" fmla="*/ 37 h 82"/>
                <a:gd name="T76" fmla="*/ 52 w 83"/>
                <a:gd name="T77" fmla="*/ 34 h 82"/>
                <a:gd name="T78" fmla="*/ 21 w 83"/>
                <a:gd name="T79" fmla="*/ 34 h 82"/>
                <a:gd name="T80" fmla="*/ 20 w 83"/>
                <a:gd name="T81" fmla="*/ 39 h 82"/>
                <a:gd name="T82" fmla="*/ 41 w 83"/>
                <a:gd name="T83" fmla="*/ 0 h 82"/>
                <a:gd name="T84" fmla="*/ 41 w 83"/>
                <a:gd name="T85" fmla="*/ 82 h 82"/>
                <a:gd name="T86" fmla="*/ 41 w 83"/>
                <a:gd name="T8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 h="82">
                  <a:moveTo>
                    <a:pt x="60" y="66"/>
                  </a:moveTo>
                  <a:cubicBezTo>
                    <a:pt x="59" y="67"/>
                    <a:pt x="59" y="67"/>
                    <a:pt x="58" y="67"/>
                  </a:cubicBezTo>
                  <a:cubicBezTo>
                    <a:pt x="58" y="67"/>
                    <a:pt x="57" y="67"/>
                    <a:pt x="57" y="67"/>
                  </a:cubicBezTo>
                  <a:cubicBezTo>
                    <a:pt x="56" y="66"/>
                    <a:pt x="56" y="65"/>
                    <a:pt x="57" y="64"/>
                  </a:cubicBezTo>
                  <a:cubicBezTo>
                    <a:pt x="59" y="60"/>
                    <a:pt x="58" y="55"/>
                    <a:pt x="58" y="55"/>
                  </a:cubicBezTo>
                  <a:cubicBezTo>
                    <a:pt x="58" y="48"/>
                    <a:pt x="58" y="48"/>
                    <a:pt x="58" y="48"/>
                  </a:cubicBezTo>
                  <a:cubicBezTo>
                    <a:pt x="58" y="47"/>
                    <a:pt x="58" y="46"/>
                    <a:pt x="57" y="46"/>
                  </a:cubicBezTo>
                  <a:cubicBezTo>
                    <a:pt x="56" y="46"/>
                    <a:pt x="55" y="47"/>
                    <a:pt x="55" y="48"/>
                  </a:cubicBezTo>
                  <a:cubicBezTo>
                    <a:pt x="55" y="48"/>
                    <a:pt x="55" y="48"/>
                    <a:pt x="55" y="48"/>
                  </a:cubicBezTo>
                  <a:cubicBezTo>
                    <a:pt x="55" y="49"/>
                    <a:pt x="54" y="50"/>
                    <a:pt x="53" y="50"/>
                  </a:cubicBezTo>
                  <a:cubicBezTo>
                    <a:pt x="53" y="50"/>
                    <a:pt x="53" y="50"/>
                    <a:pt x="53" y="50"/>
                  </a:cubicBezTo>
                  <a:cubicBezTo>
                    <a:pt x="53" y="50"/>
                    <a:pt x="53" y="50"/>
                    <a:pt x="53" y="50"/>
                  </a:cubicBezTo>
                  <a:cubicBezTo>
                    <a:pt x="52" y="50"/>
                    <a:pt x="52" y="49"/>
                    <a:pt x="52" y="48"/>
                  </a:cubicBezTo>
                  <a:cubicBezTo>
                    <a:pt x="52" y="46"/>
                    <a:pt x="52" y="46"/>
                    <a:pt x="52" y="46"/>
                  </a:cubicBezTo>
                  <a:cubicBezTo>
                    <a:pt x="52" y="45"/>
                    <a:pt x="51" y="45"/>
                    <a:pt x="50" y="45"/>
                  </a:cubicBezTo>
                  <a:cubicBezTo>
                    <a:pt x="49" y="45"/>
                    <a:pt x="48" y="45"/>
                    <a:pt x="48" y="46"/>
                  </a:cubicBezTo>
                  <a:cubicBezTo>
                    <a:pt x="48" y="48"/>
                    <a:pt x="48" y="48"/>
                    <a:pt x="48" y="48"/>
                  </a:cubicBezTo>
                  <a:cubicBezTo>
                    <a:pt x="48" y="49"/>
                    <a:pt x="47" y="50"/>
                    <a:pt x="47" y="50"/>
                  </a:cubicBezTo>
                  <a:cubicBezTo>
                    <a:pt x="46" y="50"/>
                    <a:pt x="45" y="49"/>
                    <a:pt x="45" y="48"/>
                  </a:cubicBezTo>
                  <a:cubicBezTo>
                    <a:pt x="45" y="43"/>
                    <a:pt x="45" y="43"/>
                    <a:pt x="45" y="43"/>
                  </a:cubicBezTo>
                  <a:cubicBezTo>
                    <a:pt x="45" y="42"/>
                    <a:pt x="44" y="41"/>
                    <a:pt x="43" y="41"/>
                  </a:cubicBezTo>
                  <a:cubicBezTo>
                    <a:pt x="42" y="41"/>
                    <a:pt x="41" y="42"/>
                    <a:pt x="41" y="43"/>
                  </a:cubicBezTo>
                  <a:cubicBezTo>
                    <a:pt x="41" y="48"/>
                    <a:pt x="41" y="48"/>
                    <a:pt x="41" y="48"/>
                  </a:cubicBezTo>
                  <a:cubicBezTo>
                    <a:pt x="41" y="49"/>
                    <a:pt x="41" y="50"/>
                    <a:pt x="40" y="50"/>
                  </a:cubicBezTo>
                  <a:cubicBezTo>
                    <a:pt x="39" y="50"/>
                    <a:pt x="38" y="49"/>
                    <a:pt x="38" y="48"/>
                  </a:cubicBezTo>
                  <a:cubicBezTo>
                    <a:pt x="38" y="34"/>
                    <a:pt x="38" y="34"/>
                    <a:pt x="38" y="34"/>
                  </a:cubicBezTo>
                  <a:cubicBezTo>
                    <a:pt x="38" y="33"/>
                    <a:pt x="37" y="32"/>
                    <a:pt x="36" y="32"/>
                  </a:cubicBezTo>
                  <a:cubicBezTo>
                    <a:pt x="35" y="32"/>
                    <a:pt x="35" y="33"/>
                    <a:pt x="35" y="34"/>
                  </a:cubicBezTo>
                  <a:cubicBezTo>
                    <a:pt x="35" y="55"/>
                    <a:pt x="35" y="55"/>
                    <a:pt x="35" y="55"/>
                  </a:cubicBezTo>
                  <a:cubicBezTo>
                    <a:pt x="35" y="55"/>
                    <a:pt x="34" y="56"/>
                    <a:pt x="34" y="56"/>
                  </a:cubicBezTo>
                  <a:cubicBezTo>
                    <a:pt x="33" y="57"/>
                    <a:pt x="32" y="57"/>
                    <a:pt x="32" y="56"/>
                  </a:cubicBezTo>
                  <a:cubicBezTo>
                    <a:pt x="29" y="54"/>
                    <a:pt x="27" y="48"/>
                    <a:pt x="26" y="47"/>
                  </a:cubicBezTo>
                  <a:cubicBezTo>
                    <a:pt x="26" y="47"/>
                    <a:pt x="26" y="46"/>
                    <a:pt x="26" y="46"/>
                  </a:cubicBezTo>
                  <a:cubicBezTo>
                    <a:pt x="25" y="46"/>
                    <a:pt x="25" y="46"/>
                    <a:pt x="24" y="46"/>
                  </a:cubicBezTo>
                  <a:cubicBezTo>
                    <a:pt x="24" y="47"/>
                    <a:pt x="24" y="48"/>
                    <a:pt x="24" y="49"/>
                  </a:cubicBezTo>
                  <a:cubicBezTo>
                    <a:pt x="24" y="49"/>
                    <a:pt x="24" y="49"/>
                    <a:pt x="24" y="49"/>
                  </a:cubicBezTo>
                  <a:cubicBezTo>
                    <a:pt x="24" y="49"/>
                    <a:pt x="28" y="59"/>
                    <a:pt x="33" y="64"/>
                  </a:cubicBezTo>
                  <a:cubicBezTo>
                    <a:pt x="34" y="64"/>
                    <a:pt x="34" y="66"/>
                    <a:pt x="34" y="66"/>
                  </a:cubicBezTo>
                  <a:cubicBezTo>
                    <a:pt x="33" y="67"/>
                    <a:pt x="33" y="67"/>
                    <a:pt x="32" y="67"/>
                  </a:cubicBezTo>
                  <a:cubicBezTo>
                    <a:pt x="32" y="67"/>
                    <a:pt x="31" y="67"/>
                    <a:pt x="31" y="66"/>
                  </a:cubicBezTo>
                  <a:cubicBezTo>
                    <a:pt x="25" y="61"/>
                    <a:pt x="21" y="51"/>
                    <a:pt x="21" y="50"/>
                  </a:cubicBezTo>
                  <a:cubicBezTo>
                    <a:pt x="20" y="48"/>
                    <a:pt x="20" y="44"/>
                    <a:pt x="23" y="43"/>
                  </a:cubicBezTo>
                  <a:cubicBezTo>
                    <a:pt x="24" y="43"/>
                    <a:pt x="25" y="42"/>
                    <a:pt x="27" y="43"/>
                  </a:cubicBezTo>
                  <a:cubicBezTo>
                    <a:pt x="28" y="43"/>
                    <a:pt x="29" y="44"/>
                    <a:pt x="30" y="45"/>
                  </a:cubicBezTo>
                  <a:cubicBezTo>
                    <a:pt x="30" y="46"/>
                    <a:pt x="31" y="48"/>
                    <a:pt x="31" y="49"/>
                  </a:cubicBezTo>
                  <a:cubicBezTo>
                    <a:pt x="31" y="34"/>
                    <a:pt x="31" y="34"/>
                    <a:pt x="31" y="34"/>
                  </a:cubicBezTo>
                  <a:cubicBezTo>
                    <a:pt x="31" y="31"/>
                    <a:pt x="33" y="29"/>
                    <a:pt x="36" y="29"/>
                  </a:cubicBezTo>
                  <a:cubicBezTo>
                    <a:pt x="39" y="29"/>
                    <a:pt x="41" y="31"/>
                    <a:pt x="41" y="34"/>
                  </a:cubicBezTo>
                  <a:cubicBezTo>
                    <a:pt x="41" y="38"/>
                    <a:pt x="41" y="38"/>
                    <a:pt x="41" y="38"/>
                  </a:cubicBezTo>
                  <a:cubicBezTo>
                    <a:pt x="42" y="38"/>
                    <a:pt x="42" y="38"/>
                    <a:pt x="43" y="38"/>
                  </a:cubicBezTo>
                  <a:cubicBezTo>
                    <a:pt x="45" y="38"/>
                    <a:pt x="47" y="39"/>
                    <a:pt x="48" y="41"/>
                  </a:cubicBezTo>
                  <a:cubicBezTo>
                    <a:pt x="49" y="41"/>
                    <a:pt x="49" y="41"/>
                    <a:pt x="50" y="41"/>
                  </a:cubicBezTo>
                  <a:cubicBezTo>
                    <a:pt x="52" y="41"/>
                    <a:pt x="53" y="42"/>
                    <a:pt x="54" y="43"/>
                  </a:cubicBezTo>
                  <a:cubicBezTo>
                    <a:pt x="55" y="43"/>
                    <a:pt x="56" y="43"/>
                    <a:pt x="57" y="43"/>
                  </a:cubicBezTo>
                  <a:cubicBezTo>
                    <a:pt x="60" y="43"/>
                    <a:pt x="62" y="45"/>
                    <a:pt x="62" y="48"/>
                  </a:cubicBezTo>
                  <a:cubicBezTo>
                    <a:pt x="62" y="55"/>
                    <a:pt x="62" y="55"/>
                    <a:pt x="62" y="55"/>
                  </a:cubicBezTo>
                  <a:cubicBezTo>
                    <a:pt x="62" y="55"/>
                    <a:pt x="62" y="61"/>
                    <a:pt x="60" y="66"/>
                  </a:cubicBezTo>
                  <a:moveTo>
                    <a:pt x="28" y="36"/>
                  </a:moveTo>
                  <a:cubicBezTo>
                    <a:pt x="28" y="37"/>
                    <a:pt x="27" y="37"/>
                    <a:pt x="26" y="38"/>
                  </a:cubicBezTo>
                  <a:cubicBezTo>
                    <a:pt x="26" y="38"/>
                    <a:pt x="26" y="38"/>
                    <a:pt x="26" y="38"/>
                  </a:cubicBezTo>
                  <a:cubicBezTo>
                    <a:pt x="25" y="38"/>
                    <a:pt x="25" y="37"/>
                    <a:pt x="24" y="36"/>
                  </a:cubicBezTo>
                  <a:cubicBezTo>
                    <a:pt x="24" y="36"/>
                    <a:pt x="24" y="35"/>
                    <a:pt x="24" y="34"/>
                  </a:cubicBezTo>
                  <a:cubicBezTo>
                    <a:pt x="24" y="28"/>
                    <a:pt x="30" y="22"/>
                    <a:pt x="36" y="22"/>
                  </a:cubicBezTo>
                  <a:cubicBezTo>
                    <a:pt x="42" y="22"/>
                    <a:pt x="47" y="26"/>
                    <a:pt x="48" y="32"/>
                  </a:cubicBezTo>
                  <a:cubicBezTo>
                    <a:pt x="48" y="33"/>
                    <a:pt x="48" y="34"/>
                    <a:pt x="47" y="34"/>
                  </a:cubicBezTo>
                  <a:cubicBezTo>
                    <a:pt x="46" y="34"/>
                    <a:pt x="45" y="34"/>
                    <a:pt x="45" y="33"/>
                  </a:cubicBezTo>
                  <a:cubicBezTo>
                    <a:pt x="44" y="29"/>
                    <a:pt x="41" y="26"/>
                    <a:pt x="36" y="26"/>
                  </a:cubicBezTo>
                  <a:cubicBezTo>
                    <a:pt x="32" y="26"/>
                    <a:pt x="28" y="29"/>
                    <a:pt x="28" y="34"/>
                  </a:cubicBezTo>
                  <a:cubicBezTo>
                    <a:pt x="28" y="35"/>
                    <a:pt x="28" y="35"/>
                    <a:pt x="28" y="36"/>
                  </a:cubicBezTo>
                  <a:moveTo>
                    <a:pt x="19" y="39"/>
                  </a:moveTo>
                  <a:cubicBezTo>
                    <a:pt x="18" y="39"/>
                    <a:pt x="18" y="38"/>
                    <a:pt x="18" y="37"/>
                  </a:cubicBezTo>
                  <a:cubicBezTo>
                    <a:pt x="17" y="36"/>
                    <a:pt x="17" y="35"/>
                    <a:pt x="17" y="34"/>
                  </a:cubicBezTo>
                  <a:cubicBezTo>
                    <a:pt x="17" y="24"/>
                    <a:pt x="26" y="15"/>
                    <a:pt x="36" y="15"/>
                  </a:cubicBezTo>
                  <a:cubicBezTo>
                    <a:pt x="47" y="15"/>
                    <a:pt x="55" y="24"/>
                    <a:pt x="55" y="34"/>
                  </a:cubicBezTo>
                  <a:cubicBezTo>
                    <a:pt x="55" y="35"/>
                    <a:pt x="55" y="35"/>
                    <a:pt x="55" y="35"/>
                  </a:cubicBezTo>
                  <a:cubicBezTo>
                    <a:pt x="55" y="36"/>
                    <a:pt x="54" y="37"/>
                    <a:pt x="53" y="37"/>
                  </a:cubicBezTo>
                  <a:cubicBezTo>
                    <a:pt x="52" y="37"/>
                    <a:pt x="52" y="36"/>
                    <a:pt x="52" y="35"/>
                  </a:cubicBezTo>
                  <a:cubicBezTo>
                    <a:pt x="52" y="35"/>
                    <a:pt x="52" y="35"/>
                    <a:pt x="52" y="34"/>
                  </a:cubicBezTo>
                  <a:cubicBezTo>
                    <a:pt x="52" y="26"/>
                    <a:pt x="45" y="19"/>
                    <a:pt x="36" y="19"/>
                  </a:cubicBezTo>
                  <a:cubicBezTo>
                    <a:pt x="28" y="19"/>
                    <a:pt x="21" y="26"/>
                    <a:pt x="21" y="34"/>
                  </a:cubicBezTo>
                  <a:cubicBezTo>
                    <a:pt x="21" y="35"/>
                    <a:pt x="21" y="36"/>
                    <a:pt x="21" y="37"/>
                  </a:cubicBezTo>
                  <a:cubicBezTo>
                    <a:pt x="21" y="38"/>
                    <a:pt x="21" y="39"/>
                    <a:pt x="20" y="39"/>
                  </a:cubicBezTo>
                  <a:cubicBezTo>
                    <a:pt x="19" y="39"/>
                    <a:pt x="19" y="39"/>
                    <a:pt x="19" y="39"/>
                  </a:cubicBezTo>
                  <a:moveTo>
                    <a:pt x="41" y="0"/>
                  </a:moveTo>
                  <a:cubicBezTo>
                    <a:pt x="19" y="0"/>
                    <a:pt x="0" y="18"/>
                    <a:pt x="0" y="41"/>
                  </a:cubicBezTo>
                  <a:cubicBezTo>
                    <a:pt x="0" y="64"/>
                    <a:pt x="19" y="82"/>
                    <a:pt x="41" y="82"/>
                  </a:cubicBezTo>
                  <a:cubicBezTo>
                    <a:pt x="64" y="82"/>
                    <a:pt x="83" y="64"/>
                    <a:pt x="83" y="41"/>
                  </a:cubicBezTo>
                  <a:cubicBezTo>
                    <a:pt x="83" y="18"/>
                    <a:pt x="64" y="0"/>
                    <a:pt x="41"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9"/>
            <p:cNvSpPr>
              <a:spLocks noEditPoints="1"/>
            </p:cNvSpPr>
            <p:nvPr/>
          </p:nvSpPr>
          <p:spPr bwMode="auto">
            <a:xfrm>
              <a:off x="4821" y="2013"/>
              <a:ext cx="392" cy="388"/>
            </a:xfrm>
            <a:custGeom>
              <a:avLst/>
              <a:gdLst>
                <a:gd name="T0" fmla="*/ 64 w 83"/>
                <a:gd name="T1" fmla="*/ 55 h 82"/>
                <a:gd name="T2" fmla="*/ 57 w 83"/>
                <a:gd name="T3" fmla="*/ 51 h 82"/>
                <a:gd name="T4" fmla="*/ 67 w 83"/>
                <a:gd name="T5" fmla="*/ 50 h 82"/>
                <a:gd name="T6" fmla="*/ 62 w 83"/>
                <a:gd name="T7" fmla="*/ 48 h 82"/>
                <a:gd name="T8" fmla="*/ 60 w 83"/>
                <a:gd name="T9" fmla="*/ 36 h 82"/>
                <a:gd name="T10" fmla="*/ 43 w 83"/>
                <a:gd name="T11" fmla="*/ 27 h 82"/>
                <a:gd name="T12" fmla="*/ 48 w 83"/>
                <a:gd name="T13" fmla="*/ 26 h 82"/>
                <a:gd name="T14" fmla="*/ 47 w 83"/>
                <a:gd name="T15" fmla="*/ 15 h 82"/>
                <a:gd name="T16" fmla="*/ 35 w 83"/>
                <a:gd name="T17" fmla="*/ 17 h 82"/>
                <a:gd name="T18" fmla="*/ 36 w 83"/>
                <a:gd name="T19" fmla="*/ 27 h 82"/>
                <a:gd name="T20" fmla="*/ 40 w 83"/>
                <a:gd name="T21" fmla="*/ 36 h 82"/>
                <a:gd name="T22" fmla="*/ 21 w 83"/>
                <a:gd name="T23" fmla="*/ 38 h 82"/>
                <a:gd name="T24" fmla="*/ 17 w 83"/>
                <a:gd name="T25" fmla="*/ 48 h 82"/>
                <a:gd name="T26" fmla="*/ 16 w 83"/>
                <a:gd name="T27" fmla="*/ 57 h 82"/>
                <a:gd name="T28" fmla="*/ 28 w 83"/>
                <a:gd name="T29" fmla="*/ 58 h 82"/>
                <a:gd name="T30" fmla="*/ 29 w 83"/>
                <a:gd name="T31" fmla="*/ 50 h 82"/>
                <a:gd name="T32" fmla="*/ 24 w 83"/>
                <a:gd name="T33" fmla="*/ 48 h 82"/>
                <a:gd name="T34" fmla="*/ 40 w 83"/>
                <a:gd name="T35" fmla="*/ 39 h 82"/>
                <a:gd name="T36" fmla="*/ 36 w 83"/>
                <a:gd name="T37" fmla="*/ 48 h 82"/>
                <a:gd name="T38" fmla="*/ 35 w 83"/>
                <a:gd name="T39" fmla="*/ 57 h 82"/>
                <a:gd name="T40" fmla="*/ 47 w 83"/>
                <a:gd name="T41" fmla="*/ 58 h 82"/>
                <a:gd name="T42" fmla="*/ 48 w 83"/>
                <a:gd name="T43" fmla="*/ 50 h 82"/>
                <a:gd name="T44" fmla="*/ 43 w 83"/>
                <a:gd name="T45" fmla="*/ 48 h 82"/>
                <a:gd name="T46" fmla="*/ 59 w 83"/>
                <a:gd name="T47" fmla="*/ 39 h 82"/>
                <a:gd name="T48" fmla="*/ 55 w 83"/>
                <a:gd name="T49" fmla="*/ 48 h 82"/>
                <a:gd name="T50" fmla="*/ 53 w 83"/>
                <a:gd name="T51" fmla="*/ 57 h 82"/>
                <a:gd name="T52" fmla="*/ 66 w 83"/>
                <a:gd name="T53" fmla="*/ 58 h 82"/>
                <a:gd name="T54" fmla="*/ 67 w 83"/>
                <a:gd name="T55" fmla="*/ 50 h 82"/>
                <a:gd name="T56" fmla="*/ 41 w 83"/>
                <a:gd name="T57" fmla="*/ 82 h 82"/>
                <a:gd name="T58" fmla="*/ 41 w 83"/>
                <a:gd name="T59" fmla="*/ 0 h 82"/>
                <a:gd name="T60" fmla="*/ 19 w 83"/>
                <a:gd name="T61" fmla="*/ 55 h 82"/>
                <a:gd name="T62" fmla="*/ 26 w 83"/>
                <a:gd name="T63" fmla="*/ 51 h 82"/>
                <a:gd name="T64" fmla="*/ 19 w 83"/>
                <a:gd name="T65" fmla="*/ 55 h 82"/>
                <a:gd name="T66" fmla="*/ 45 w 83"/>
                <a:gd name="T67" fmla="*/ 55 h 82"/>
                <a:gd name="T68" fmla="*/ 38 w 83"/>
                <a:gd name="T69" fmla="*/ 51 h 82"/>
                <a:gd name="T70" fmla="*/ 45 w 83"/>
                <a:gd name="T71" fmla="*/ 24 h 82"/>
                <a:gd name="T72" fmla="*/ 38 w 83"/>
                <a:gd name="T73" fmla="*/ 19 h 82"/>
                <a:gd name="T74" fmla="*/ 45 w 83"/>
                <a:gd name="T75" fmla="*/ 2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82">
                  <a:moveTo>
                    <a:pt x="57" y="55"/>
                  </a:moveTo>
                  <a:cubicBezTo>
                    <a:pt x="64" y="55"/>
                    <a:pt x="64" y="55"/>
                    <a:pt x="64" y="55"/>
                  </a:cubicBezTo>
                  <a:cubicBezTo>
                    <a:pt x="64" y="51"/>
                    <a:pt x="64" y="51"/>
                    <a:pt x="64" y="51"/>
                  </a:cubicBezTo>
                  <a:cubicBezTo>
                    <a:pt x="57" y="51"/>
                    <a:pt x="57" y="51"/>
                    <a:pt x="57" y="51"/>
                  </a:cubicBezTo>
                  <a:lnTo>
                    <a:pt x="57" y="55"/>
                  </a:lnTo>
                  <a:close/>
                  <a:moveTo>
                    <a:pt x="67" y="50"/>
                  </a:moveTo>
                  <a:cubicBezTo>
                    <a:pt x="67" y="49"/>
                    <a:pt x="66" y="48"/>
                    <a:pt x="66" y="48"/>
                  </a:cubicBezTo>
                  <a:cubicBezTo>
                    <a:pt x="62" y="48"/>
                    <a:pt x="62" y="48"/>
                    <a:pt x="62" y="48"/>
                  </a:cubicBezTo>
                  <a:cubicBezTo>
                    <a:pt x="62" y="38"/>
                    <a:pt x="62" y="38"/>
                    <a:pt x="62" y="38"/>
                  </a:cubicBezTo>
                  <a:cubicBezTo>
                    <a:pt x="62" y="37"/>
                    <a:pt x="61" y="36"/>
                    <a:pt x="60" y="36"/>
                  </a:cubicBezTo>
                  <a:cubicBezTo>
                    <a:pt x="43" y="36"/>
                    <a:pt x="43" y="36"/>
                    <a:pt x="43" y="36"/>
                  </a:cubicBezTo>
                  <a:cubicBezTo>
                    <a:pt x="43" y="27"/>
                    <a:pt x="43" y="27"/>
                    <a:pt x="43" y="27"/>
                  </a:cubicBezTo>
                  <a:cubicBezTo>
                    <a:pt x="47" y="27"/>
                    <a:pt x="47" y="27"/>
                    <a:pt x="47" y="27"/>
                  </a:cubicBezTo>
                  <a:cubicBezTo>
                    <a:pt x="48" y="27"/>
                    <a:pt x="48" y="27"/>
                    <a:pt x="48" y="26"/>
                  </a:cubicBezTo>
                  <a:cubicBezTo>
                    <a:pt x="48" y="17"/>
                    <a:pt x="48" y="17"/>
                    <a:pt x="48" y="17"/>
                  </a:cubicBezTo>
                  <a:cubicBezTo>
                    <a:pt x="48" y="16"/>
                    <a:pt x="48" y="15"/>
                    <a:pt x="47" y="15"/>
                  </a:cubicBezTo>
                  <a:cubicBezTo>
                    <a:pt x="36" y="15"/>
                    <a:pt x="36" y="15"/>
                    <a:pt x="36" y="15"/>
                  </a:cubicBezTo>
                  <a:cubicBezTo>
                    <a:pt x="35" y="15"/>
                    <a:pt x="35" y="16"/>
                    <a:pt x="35" y="17"/>
                  </a:cubicBezTo>
                  <a:cubicBezTo>
                    <a:pt x="35" y="26"/>
                    <a:pt x="35" y="26"/>
                    <a:pt x="35" y="26"/>
                  </a:cubicBezTo>
                  <a:cubicBezTo>
                    <a:pt x="35" y="27"/>
                    <a:pt x="35" y="27"/>
                    <a:pt x="36" y="27"/>
                  </a:cubicBezTo>
                  <a:cubicBezTo>
                    <a:pt x="40" y="27"/>
                    <a:pt x="40" y="27"/>
                    <a:pt x="40" y="27"/>
                  </a:cubicBezTo>
                  <a:cubicBezTo>
                    <a:pt x="40" y="36"/>
                    <a:pt x="40" y="36"/>
                    <a:pt x="40" y="36"/>
                  </a:cubicBezTo>
                  <a:cubicBezTo>
                    <a:pt x="23" y="36"/>
                    <a:pt x="23" y="36"/>
                    <a:pt x="23" y="36"/>
                  </a:cubicBezTo>
                  <a:cubicBezTo>
                    <a:pt x="22" y="36"/>
                    <a:pt x="21" y="37"/>
                    <a:pt x="21" y="38"/>
                  </a:cubicBezTo>
                  <a:cubicBezTo>
                    <a:pt x="21" y="48"/>
                    <a:pt x="21" y="48"/>
                    <a:pt x="21" y="48"/>
                  </a:cubicBezTo>
                  <a:cubicBezTo>
                    <a:pt x="17" y="48"/>
                    <a:pt x="17" y="48"/>
                    <a:pt x="17" y="48"/>
                  </a:cubicBezTo>
                  <a:cubicBezTo>
                    <a:pt x="16" y="48"/>
                    <a:pt x="16" y="49"/>
                    <a:pt x="16" y="50"/>
                  </a:cubicBezTo>
                  <a:cubicBezTo>
                    <a:pt x="16" y="57"/>
                    <a:pt x="16" y="57"/>
                    <a:pt x="16" y="57"/>
                  </a:cubicBezTo>
                  <a:cubicBezTo>
                    <a:pt x="16" y="57"/>
                    <a:pt x="16" y="58"/>
                    <a:pt x="17" y="58"/>
                  </a:cubicBezTo>
                  <a:cubicBezTo>
                    <a:pt x="28" y="58"/>
                    <a:pt x="28" y="58"/>
                    <a:pt x="28" y="58"/>
                  </a:cubicBezTo>
                  <a:cubicBezTo>
                    <a:pt x="29" y="58"/>
                    <a:pt x="29" y="57"/>
                    <a:pt x="29" y="57"/>
                  </a:cubicBezTo>
                  <a:cubicBezTo>
                    <a:pt x="29" y="50"/>
                    <a:pt x="29" y="50"/>
                    <a:pt x="29" y="50"/>
                  </a:cubicBezTo>
                  <a:cubicBezTo>
                    <a:pt x="29" y="49"/>
                    <a:pt x="29" y="48"/>
                    <a:pt x="28" y="48"/>
                  </a:cubicBezTo>
                  <a:cubicBezTo>
                    <a:pt x="24" y="48"/>
                    <a:pt x="24" y="48"/>
                    <a:pt x="24" y="48"/>
                  </a:cubicBezTo>
                  <a:cubicBezTo>
                    <a:pt x="24" y="39"/>
                    <a:pt x="24" y="39"/>
                    <a:pt x="24" y="39"/>
                  </a:cubicBezTo>
                  <a:cubicBezTo>
                    <a:pt x="40" y="39"/>
                    <a:pt x="40" y="39"/>
                    <a:pt x="40" y="39"/>
                  </a:cubicBezTo>
                  <a:cubicBezTo>
                    <a:pt x="40" y="48"/>
                    <a:pt x="40" y="48"/>
                    <a:pt x="40" y="48"/>
                  </a:cubicBezTo>
                  <a:cubicBezTo>
                    <a:pt x="36" y="48"/>
                    <a:pt x="36" y="48"/>
                    <a:pt x="36" y="48"/>
                  </a:cubicBezTo>
                  <a:cubicBezTo>
                    <a:pt x="35" y="48"/>
                    <a:pt x="35" y="49"/>
                    <a:pt x="35" y="50"/>
                  </a:cubicBezTo>
                  <a:cubicBezTo>
                    <a:pt x="35" y="57"/>
                    <a:pt x="35" y="57"/>
                    <a:pt x="35" y="57"/>
                  </a:cubicBezTo>
                  <a:cubicBezTo>
                    <a:pt x="35" y="57"/>
                    <a:pt x="35" y="58"/>
                    <a:pt x="36" y="58"/>
                  </a:cubicBezTo>
                  <a:cubicBezTo>
                    <a:pt x="47" y="58"/>
                    <a:pt x="47" y="58"/>
                    <a:pt x="47" y="58"/>
                  </a:cubicBezTo>
                  <a:cubicBezTo>
                    <a:pt x="48" y="58"/>
                    <a:pt x="48" y="57"/>
                    <a:pt x="48" y="57"/>
                  </a:cubicBezTo>
                  <a:cubicBezTo>
                    <a:pt x="48" y="50"/>
                    <a:pt x="48" y="50"/>
                    <a:pt x="48" y="50"/>
                  </a:cubicBezTo>
                  <a:cubicBezTo>
                    <a:pt x="48" y="49"/>
                    <a:pt x="48" y="48"/>
                    <a:pt x="47" y="48"/>
                  </a:cubicBezTo>
                  <a:cubicBezTo>
                    <a:pt x="43" y="48"/>
                    <a:pt x="43" y="48"/>
                    <a:pt x="43" y="48"/>
                  </a:cubicBezTo>
                  <a:cubicBezTo>
                    <a:pt x="43" y="39"/>
                    <a:pt x="43" y="39"/>
                    <a:pt x="43" y="39"/>
                  </a:cubicBezTo>
                  <a:cubicBezTo>
                    <a:pt x="59" y="39"/>
                    <a:pt x="59" y="39"/>
                    <a:pt x="59" y="39"/>
                  </a:cubicBezTo>
                  <a:cubicBezTo>
                    <a:pt x="59" y="48"/>
                    <a:pt x="59" y="48"/>
                    <a:pt x="59" y="48"/>
                  </a:cubicBezTo>
                  <a:cubicBezTo>
                    <a:pt x="55" y="48"/>
                    <a:pt x="55" y="48"/>
                    <a:pt x="55" y="48"/>
                  </a:cubicBezTo>
                  <a:cubicBezTo>
                    <a:pt x="54" y="48"/>
                    <a:pt x="53" y="49"/>
                    <a:pt x="53" y="50"/>
                  </a:cubicBezTo>
                  <a:cubicBezTo>
                    <a:pt x="53" y="57"/>
                    <a:pt x="53" y="57"/>
                    <a:pt x="53" y="57"/>
                  </a:cubicBezTo>
                  <a:cubicBezTo>
                    <a:pt x="53" y="57"/>
                    <a:pt x="54" y="58"/>
                    <a:pt x="55" y="58"/>
                  </a:cubicBezTo>
                  <a:cubicBezTo>
                    <a:pt x="66" y="58"/>
                    <a:pt x="66" y="58"/>
                    <a:pt x="66" y="58"/>
                  </a:cubicBezTo>
                  <a:cubicBezTo>
                    <a:pt x="66" y="58"/>
                    <a:pt x="67" y="57"/>
                    <a:pt x="67" y="57"/>
                  </a:cubicBezTo>
                  <a:lnTo>
                    <a:pt x="67" y="50"/>
                  </a:lnTo>
                  <a:close/>
                  <a:moveTo>
                    <a:pt x="83" y="41"/>
                  </a:moveTo>
                  <a:cubicBezTo>
                    <a:pt x="83" y="64"/>
                    <a:pt x="64" y="82"/>
                    <a:pt x="41" y="82"/>
                  </a:cubicBezTo>
                  <a:cubicBezTo>
                    <a:pt x="19" y="82"/>
                    <a:pt x="0" y="64"/>
                    <a:pt x="0" y="41"/>
                  </a:cubicBezTo>
                  <a:cubicBezTo>
                    <a:pt x="0" y="18"/>
                    <a:pt x="19" y="0"/>
                    <a:pt x="41" y="0"/>
                  </a:cubicBezTo>
                  <a:cubicBezTo>
                    <a:pt x="64" y="0"/>
                    <a:pt x="83" y="18"/>
                    <a:pt x="83" y="41"/>
                  </a:cubicBezTo>
                  <a:moveTo>
                    <a:pt x="19" y="55"/>
                  </a:moveTo>
                  <a:cubicBezTo>
                    <a:pt x="26" y="55"/>
                    <a:pt x="26" y="55"/>
                    <a:pt x="26" y="55"/>
                  </a:cubicBezTo>
                  <a:cubicBezTo>
                    <a:pt x="26" y="51"/>
                    <a:pt x="26" y="51"/>
                    <a:pt x="26" y="51"/>
                  </a:cubicBezTo>
                  <a:cubicBezTo>
                    <a:pt x="19" y="51"/>
                    <a:pt x="19" y="51"/>
                    <a:pt x="19" y="51"/>
                  </a:cubicBezTo>
                  <a:lnTo>
                    <a:pt x="19" y="55"/>
                  </a:lnTo>
                  <a:close/>
                  <a:moveTo>
                    <a:pt x="38" y="55"/>
                  </a:moveTo>
                  <a:cubicBezTo>
                    <a:pt x="45" y="55"/>
                    <a:pt x="45" y="55"/>
                    <a:pt x="45" y="55"/>
                  </a:cubicBezTo>
                  <a:cubicBezTo>
                    <a:pt x="45" y="51"/>
                    <a:pt x="45" y="51"/>
                    <a:pt x="45" y="51"/>
                  </a:cubicBezTo>
                  <a:cubicBezTo>
                    <a:pt x="38" y="51"/>
                    <a:pt x="38" y="51"/>
                    <a:pt x="38" y="51"/>
                  </a:cubicBezTo>
                  <a:lnTo>
                    <a:pt x="38" y="55"/>
                  </a:lnTo>
                  <a:close/>
                  <a:moveTo>
                    <a:pt x="45" y="24"/>
                  </a:moveTo>
                  <a:cubicBezTo>
                    <a:pt x="38" y="24"/>
                    <a:pt x="38" y="24"/>
                    <a:pt x="38" y="24"/>
                  </a:cubicBezTo>
                  <a:cubicBezTo>
                    <a:pt x="38" y="19"/>
                    <a:pt x="38" y="19"/>
                    <a:pt x="38" y="19"/>
                  </a:cubicBezTo>
                  <a:cubicBezTo>
                    <a:pt x="45" y="19"/>
                    <a:pt x="45" y="19"/>
                    <a:pt x="45" y="19"/>
                  </a:cubicBezTo>
                  <a:lnTo>
                    <a:pt x="45" y="2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0"/>
            <p:cNvSpPr>
              <a:spLocks noEditPoints="1"/>
            </p:cNvSpPr>
            <p:nvPr/>
          </p:nvSpPr>
          <p:spPr bwMode="auto">
            <a:xfrm>
              <a:off x="3252" y="2013"/>
              <a:ext cx="392" cy="388"/>
            </a:xfrm>
            <a:custGeom>
              <a:avLst/>
              <a:gdLst>
                <a:gd name="T0" fmla="*/ 59 w 83"/>
                <a:gd name="T1" fmla="*/ 15 h 82"/>
                <a:gd name="T2" fmla="*/ 23 w 83"/>
                <a:gd name="T3" fmla="*/ 17 h 82"/>
                <a:gd name="T4" fmla="*/ 24 w 83"/>
                <a:gd name="T5" fmla="*/ 67 h 82"/>
                <a:gd name="T6" fmla="*/ 60 w 83"/>
                <a:gd name="T7" fmla="*/ 65 h 82"/>
                <a:gd name="T8" fmla="*/ 83 w 83"/>
                <a:gd name="T9" fmla="*/ 41 h 82"/>
                <a:gd name="T10" fmla="*/ 0 w 83"/>
                <a:gd name="T11" fmla="*/ 41 h 82"/>
                <a:gd name="T12" fmla="*/ 83 w 83"/>
                <a:gd name="T13" fmla="*/ 41 h 82"/>
                <a:gd name="T14" fmla="*/ 31 w 83"/>
                <a:gd name="T15" fmla="*/ 60 h 82"/>
                <a:gd name="T16" fmla="*/ 31 w 83"/>
                <a:gd name="T17" fmla="*/ 57 h 82"/>
                <a:gd name="T18" fmla="*/ 29 w 83"/>
                <a:gd name="T19" fmla="*/ 51 h 82"/>
                <a:gd name="T20" fmla="*/ 33 w 83"/>
                <a:gd name="T21" fmla="*/ 51 h 82"/>
                <a:gd name="T22" fmla="*/ 29 w 83"/>
                <a:gd name="T23" fmla="*/ 51 h 82"/>
                <a:gd name="T24" fmla="*/ 31 w 83"/>
                <a:gd name="T25" fmla="*/ 46 h 82"/>
                <a:gd name="T26" fmla="*/ 31 w 83"/>
                <a:gd name="T27" fmla="*/ 43 h 82"/>
                <a:gd name="T28" fmla="*/ 29 w 83"/>
                <a:gd name="T29" fmla="*/ 38 h 82"/>
                <a:gd name="T30" fmla="*/ 33 w 83"/>
                <a:gd name="T31" fmla="*/ 38 h 82"/>
                <a:gd name="T32" fmla="*/ 29 w 83"/>
                <a:gd name="T33" fmla="*/ 38 h 82"/>
                <a:gd name="T34" fmla="*/ 31 w 83"/>
                <a:gd name="T35" fmla="*/ 32 h 82"/>
                <a:gd name="T36" fmla="*/ 53 w 83"/>
                <a:gd name="T37" fmla="*/ 31 h 82"/>
                <a:gd name="T38" fmla="*/ 52 w 83"/>
                <a:gd name="T39" fmla="*/ 22 h 82"/>
                <a:gd name="T40" fmla="*/ 29 w 83"/>
                <a:gd name="T41" fmla="*/ 24 h 82"/>
                <a:gd name="T42" fmla="*/ 53 w 83"/>
                <a:gd name="T43" fmla="*/ 38 h 82"/>
                <a:gd name="T44" fmla="*/ 50 w 83"/>
                <a:gd name="T45" fmla="*/ 38 h 82"/>
                <a:gd name="T46" fmla="*/ 53 w 83"/>
                <a:gd name="T47" fmla="*/ 38 h 82"/>
                <a:gd name="T48" fmla="*/ 52 w 83"/>
                <a:gd name="T49" fmla="*/ 43 h 82"/>
                <a:gd name="T50" fmla="*/ 52 w 83"/>
                <a:gd name="T51" fmla="*/ 46 h 82"/>
                <a:gd name="T52" fmla="*/ 53 w 83"/>
                <a:gd name="T53" fmla="*/ 51 h 82"/>
                <a:gd name="T54" fmla="*/ 50 w 83"/>
                <a:gd name="T55" fmla="*/ 51 h 82"/>
                <a:gd name="T56" fmla="*/ 52 w 83"/>
                <a:gd name="T57" fmla="*/ 60 h 82"/>
                <a:gd name="T58" fmla="*/ 53 w 83"/>
                <a:gd name="T59" fmla="*/ 51 h 82"/>
                <a:gd name="T60" fmla="*/ 45 w 83"/>
                <a:gd name="T61" fmla="*/ 36 h 82"/>
                <a:gd name="T62" fmla="*/ 45 w 83"/>
                <a:gd name="T63" fmla="*/ 39 h 82"/>
                <a:gd name="T64" fmla="*/ 47 w 83"/>
                <a:gd name="T65" fmla="*/ 45 h 82"/>
                <a:gd name="T66" fmla="*/ 43 w 83"/>
                <a:gd name="T67" fmla="*/ 45 h 82"/>
                <a:gd name="T68" fmla="*/ 47 w 83"/>
                <a:gd name="T69" fmla="*/ 45 h 82"/>
                <a:gd name="T70" fmla="*/ 45 w 83"/>
                <a:gd name="T71" fmla="*/ 50 h 82"/>
                <a:gd name="T72" fmla="*/ 45 w 83"/>
                <a:gd name="T73" fmla="*/ 53 h 82"/>
                <a:gd name="T74" fmla="*/ 47 w 83"/>
                <a:gd name="T75" fmla="*/ 58 h 82"/>
                <a:gd name="T76" fmla="*/ 43 w 83"/>
                <a:gd name="T77" fmla="*/ 58 h 82"/>
                <a:gd name="T78" fmla="*/ 47 w 83"/>
                <a:gd name="T79" fmla="*/ 58 h 82"/>
                <a:gd name="T80" fmla="*/ 38 w 83"/>
                <a:gd name="T81" fmla="*/ 36 h 82"/>
                <a:gd name="T82" fmla="*/ 38 w 83"/>
                <a:gd name="T83" fmla="*/ 39 h 82"/>
                <a:gd name="T84" fmla="*/ 40 w 83"/>
                <a:gd name="T85" fmla="*/ 45 h 82"/>
                <a:gd name="T86" fmla="*/ 36 w 83"/>
                <a:gd name="T87" fmla="*/ 45 h 82"/>
                <a:gd name="T88" fmla="*/ 40 w 83"/>
                <a:gd name="T89" fmla="*/ 45 h 82"/>
                <a:gd name="T90" fmla="*/ 38 w 83"/>
                <a:gd name="T91" fmla="*/ 50 h 82"/>
                <a:gd name="T92" fmla="*/ 38 w 83"/>
                <a:gd name="T93" fmla="*/ 53 h 82"/>
                <a:gd name="T94" fmla="*/ 40 w 83"/>
                <a:gd name="T95" fmla="*/ 58 h 82"/>
                <a:gd name="T96" fmla="*/ 36 w 83"/>
                <a:gd name="T97" fmla="*/ 58 h 82"/>
                <a:gd name="T98" fmla="*/ 40 w 83"/>
                <a:gd name="T99" fmla="*/ 58 h 82"/>
                <a:gd name="T100" fmla="*/ 57 w 83"/>
                <a:gd name="T101" fmla="*/ 19 h 82"/>
                <a:gd name="T102" fmla="*/ 26 w 83"/>
                <a:gd name="T103" fmla="*/ 63 h 82"/>
                <a:gd name="T104" fmla="*/ 50 w 83"/>
                <a:gd name="T105" fmla="*/ 29 h 82"/>
                <a:gd name="T106" fmla="*/ 33 w 83"/>
                <a:gd name="T107" fmla="*/ 26 h 82"/>
                <a:gd name="T108" fmla="*/ 50 w 83"/>
                <a:gd name="T109" fmla="*/ 2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82">
                  <a:moveTo>
                    <a:pt x="60" y="17"/>
                  </a:moveTo>
                  <a:cubicBezTo>
                    <a:pt x="60" y="16"/>
                    <a:pt x="60" y="15"/>
                    <a:pt x="59" y="15"/>
                  </a:cubicBezTo>
                  <a:cubicBezTo>
                    <a:pt x="24" y="15"/>
                    <a:pt x="24" y="15"/>
                    <a:pt x="24" y="15"/>
                  </a:cubicBezTo>
                  <a:cubicBezTo>
                    <a:pt x="23" y="15"/>
                    <a:pt x="23" y="16"/>
                    <a:pt x="23" y="17"/>
                  </a:cubicBezTo>
                  <a:cubicBezTo>
                    <a:pt x="23" y="65"/>
                    <a:pt x="23" y="65"/>
                    <a:pt x="23" y="65"/>
                  </a:cubicBezTo>
                  <a:cubicBezTo>
                    <a:pt x="23" y="66"/>
                    <a:pt x="23" y="67"/>
                    <a:pt x="24" y="67"/>
                  </a:cubicBezTo>
                  <a:cubicBezTo>
                    <a:pt x="59" y="67"/>
                    <a:pt x="59" y="67"/>
                    <a:pt x="59" y="67"/>
                  </a:cubicBezTo>
                  <a:cubicBezTo>
                    <a:pt x="60" y="67"/>
                    <a:pt x="60" y="66"/>
                    <a:pt x="60" y="65"/>
                  </a:cubicBezTo>
                  <a:lnTo>
                    <a:pt x="60" y="17"/>
                  </a:lnTo>
                  <a:close/>
                  <a:moveTo>
                    <a:pt x="83" y="41"/>
                  </a:moveTo>
                  <a:cubicBezTo>
                    <a:pt x="83" y="64"/>
                    <a:pt x="64" y="82"/>
                    <a:pt x="41" y="82"/>
                  </a:cubicBezTo>
                  <a:cubicBezTo>
                    <a:pt x="19" y="82"/>
                    <a:pt x="0" y="64"/>
                    <a:pt x="0" y="41"/>
                  </a:cubicBezTo>
                  <a:cubicBezTo>
                    <a:pt x="0" y="18"/>
                    <a:pt x="19" y="0"/>
                    <a:pt x="41" y="0"/>
                  </a:cubicBezTo>
                  <a:cubicBezTo>
                    <a:pt x="64" y="0"/>
                    <a:pt x="83" y="18"/>
                    <a:pt x="83" y="41"/>
                  </a:cubicBezTo>
                  <a:moveTo>
                    <a:pt x="29" y="58"/>
                  </a:moveTo>
                  <a:cubicBezTo>
                    <a:pt x="29" y="59"/>
                    <a:pt x="30" y="60"/>
                    <a:pt x="31" y="60"/>
                  </a:cubicBezTo>
                  <a:cubicBezTo>
                    <a:pt x="32" y="60"/>
                    <a:pt x="33" y="59"/>
                    <a:pt x="33" y="58"/>
                  </a:cubicBezTo>
                  <a:cubicBezTo>
                    <a:pt x="33" y="57"/>
                    <a:pt x="32" y="57"/>
                    <a:pt x="31" y="57"/>
                  </a:cubicBezTo>
                  <a:cubicBezTo>
                    <a:pt x="30" y="57"/>
                    <a:pt x="29" y="57"/>
                    <a:pt x="29" y="58"/>
                  </a:cubicBezTo>
                  <a:moveTo>
                    <a:pt x="29" y="51"/>
                  </a:moveTo>
                  <a:cubicBezTo>
                    <a:pt x="29" y="52"/>
                    <a:pt x="30" y="53"/>
                    <a:pt x="31" y="53"/>
                  </a:cubicBezTo>
                  <a:cubicBezTo>
                    <a:pt x="32" y="53"/>
                    <a:pt x="33" y="52"/>
                    <a:pt x="33" y="51"/>
                  </a:cubicBezTo>
                  <a:cubicBezTo>
                    <a:pt x="33" y="50"/>
                    <a:pt x="32" y="50"/>
                    <a:pt x="31" y="50"/>
                  </a:cubicBezTo>
                  <a:cubicBezTo>
                    <a:pt x="30" y="50"/>
                    <a:pt x="29" y="50"/>
                    <a:pt x="29" y="51"/>
                  </a:cubicBezTo>
                  <a:moveTo>
                    <a:pt x="29" y="45"/>
                  </a:moveTo>
                  <a:cubicBezTo>
                    <a:pt x="29" y="45"/>
                    <a:pt x="30" y="46"/>
                    <a:pt x="31" y="46"/>
                  </a:cubicBezTo>
                  <a:cubicBezTo>
                    <a:pt x="32" y="46"/>
                    <a:pt x="33" y="45"/>
                    <a:pt x="33" y="45"/>
                  </a:cubicBezTo>
                  <a:cubicBezTo>
                    <a:pt x="33" y="44"/>
                    <a:pt x="32" y="43"/>
                    <a:pt x="31" y="43"/>
                  </a:cubicBezTo>
                  <a:cubicBezTo>
                    <a:pt x="30" y="43"/>
                    <a:pt x="29" y="44"/>
                    <a:pt x="29" y="45"/>
                  </a:cubicBezTo>
                  <a:moveTo>
                    <a:pt x="29" y="38"/>
                  </a:moveTo>
                  <a:cubicBezTo>
                    <a:pt x="29" y="39"/>
                    <a:pt x="30" y="39"/>
                    <a:pt x="31" y="39"/>
                  </a:cubicBezTo>
                  <a:cubicBezTo>
                    <a:pt x="32" y="39"/>
                    <a:pt x="33" y="39"/>
                    <a:pt x="33" y="38"/>
                  </a:cubicBezTo>
                  <a:cubicBezTo>
                    <a:pt x="33" y="37"/>
                    <a:pt x="32" y="36"/>
                    <a:pt x="31" y="36"/>
                  </a:cubicBezTo>
                  <a:cubicBezTo>
                    <a:pt x="30" y="36"/>
                    <a:pt x="29" y="37"/>
                    <a:pt x="29" y="38"/>
                  </a:cubicBezTo>
                  <a:moveTo>
                    <a:pt x="29" y="31"/>
                  </a:moveTo>
                  <a:cubicBezTo>
                    <a:pt x="29" y="32"/>
                    <a:pt x="30" y="32"/>
                    <a:pt x="31" y="32"/>
                  </a:cubicBezTo>
                  <a:cubicBezTo>
                    <a:pt x="52" y="32"/>
                    <a:pt x="52" y="32"/>
                    <a:pt x="52" y="32"/>
                  </a:cubicBezTo>
                  <a:cubicBezTo>
                    <a:pt x="53" y="32"/>
                    <a:pt x="53" y="32"/>
                    <a:pt x="53" y="31"/>
                  </a:cubicBezTo>
                  <a:cubicBezTo>
                    <a:pt x="53" y="24"/>
                    <a:pt x="53" y="24"/>
                    <a:pt x="53" y="24"/>
                  </a:cubicBezTo>
                  <a:cubicBezTo>
                    <a:pt x="53" y="23"/>
                    <a:pt x="53" y="22"/>
                    <a:pt x="52" y="22"/>
                  </a:cubicBezTo>
                  <a:cubicBezTo>
                    <a:pt x="31" y="22"/>
                    <a:pt x="31" y="22"/>
                    <a:pt x="31" y="22"/>
                  </a:cubicBezTo>
                  <a:cubicBezTo>
                    <a:pt x="30" y="22"/>
                    <a:pt x="29" y="23"/>
                    <a:pt x="29" y="24"/>
                  </a:cubicBezTo>
                  <a:lnTo>
                    <a:pt x="29" y="31"/>
                  </a:lnTo>
                  <a:close/>
                  <a:moveTo>
                    <a:pt x="53" y="38"/>
                  </a:moveTo>
                  <a:cubicBezTo>
                    <a:pt x="53" y="37"/>
                    <a:pt x="53" y="36"/>
                    <a:pt x="52" y="36"/>
                  </a:cubicBezTo>
                  <a:cubicBezTo>
                    <a:pt x="51" y="36"/>
                    <a:pt x="50" y="37"/>
                    <a:pt x="50" y="38"/>
                  </a:cubicBezTo>
                  <a:cubicBezTo>
                    <a:pt x="50" y="39"/>
                    <a:pt x="51" y="39"/>
                    <a:pt x="52" y="39"/>
                  </a:cubicBezTo>
                  <a:cubicBezTo>
                    <a:pt x="53" y="39"/>
                    <a:pt x="53" y="39"/>
                    <a:pt x="53" y="38"/>
                  </a:cubicBezTo>
                  <a:moveTo>
                    <a:pt x="53" y="45"/>
                  </a:moveTo>
                  <a:cubicBezTo>
                    <a:pt x="53" y="44"/>
                    <a:pt x="53" y="43"/>
                    <a:pt x="52" y="43"/>
                  </a:cubicBezTo>
                  <a:cubicBezTo>
                    <a:pt x="51" y="43"/>
                    <a:pt x="50" y="44"/>
                    <a:pt x="50" y="45"/>
                  </a:cubicBezTo>
                  <a:cubicBezTo>
                    <a:pt x="50" y="45"/>
                    <a:pt x="51" y="46"/>
                    <a:pt x="52" y="46"/>
                  </a:cubicBezTo>
                  <a:cubicBezTo>
                    <a:pt x="53" y="46"/>
                    <a:pt x="53" y="45"/>
                    <a:pt x="53" y="45"/>
                  </a:cubicBezTo>
                  <a:moveTo>
                    <a:pt x="53" y="51"/>
                  </a:moveTo>
                  <a:cubicBezTo>
                    <a:pt x="53" y="50"/>
                    <a:pt x="53" y="50"/>
                    <a:pt x="52" y="50"/>
                  </a:cubicBezTo>
                  <a:cubicBezTo>
                    <a:pt x="51" y="50"/>
                    <a:pt x="50" y="50"/>
                    <a:pt x="50" y="51"/>
                  </a:cubicBezTo>
                  <a:cubicBezTo>
                    <a:pt x="50" y="58"/>
                    <a:pt x="50" y="58"/>
                    <a:pt x="50" y="58"/>
                  </a:cubicBezTo>
                  <a:cubicBezTo>
                    <a:pt x="50" y="59"/>
                    <a:pt x="51" y="60"/>
                    <a:pt x="52" y="60"/>
                  </a:cubicBezTo>
                  <a:cubicBezTo>
                    <a:pt x="53" y="60"/>
                    <a:pt x="53" y="59"/>
                    <a:pt x="53" y="58"/>
                  </a:cubicBezTo>
                  <a:lnTo>
                    <a:pt x="53" y="51"/>
                  </a:lnTo>
                  <a:close/>
                  <a:moveTo>
                    <a:pt x="47" y="38"/>
                  </a:moveTo>
                  <a:cubicBezTo>
                    <a:pt x="47" y="37"/>
                    <a:pt x="46" y="36"/>
                    <a:pt x="45" y="36"/>
                  </a:cubicBezTo>
                  <a:cubicBezTo>
                    <a:pt x="44" y="36"/>
                    <a:pt x="43" y="37"/>
                    <a:pt x="43" y="38"/>
                  </a:cubicBezTo>
                  <a:cubicBezTo>
                    <a:pt x="43" y="39"/>
                    <a:pt x="44" y="39"/>
                    <a:pt x="45" y="39"/>
                  </a:cubicBezTo>
                  <a:cubicBezTo>
                    <a:pt x="46" y="39"/>
                    <a:pt x="47" y="39"/>
                    <a:pt x="47" y="38"/>
                  </a:cubicBezTo>
                  <a:moveTo>
                    <a:pt x="47" y="45"/>
                  </a:moveTo>
                  <a:cubicBezTo>
                    <a:pt x="47" y="44"/>
                    <a:pt x="46" y="43"/>
                    <a:pt x="45" y="43"/>
                  </a:cubicBezTo>
                  <a:cubicBezTo>
                    <a:pt x="44" y="43"/>
                    <a:pt x="43" y="44"/>
                    <a:pt x="43" y="45"/>
                  </a:cubicBezTo>
                  <a:cubicBezTo>
                    <a:pt x="43" y="45"/>
                    <a:pt x="44" y="46"/>
                    <a:pt x="45" y="46"/>
                  </a:cubicBezTo>
                  <a:cubicBezTo>
                    <a:pt x="46" y="46"/>
                    <a:pt x="47" y="45"/>
                    <a:pt x="47" y="45"/>
                  </a:cubicBezTo>
                  <a:moveTo>
                    <a:pt x="47" y="51"/>
                  </a:moveTo>
                  <a:cubicBezTo>
                    <a:pt x="47" y="50"/>
                    <a:pt x="46" y="50"/>
                    <a:pt x="45" y="50"/>
                  </a:cubicBezTo>
                  <a:cubicBezTo>
                    <a:pt x="44" y="50"/>
                    <a:pt x="43" y="50"/>
                    <a:pt x="43" y="51"/>
                  </a:cubicBezTo>
                  <a:cubicBezTo>
                    <a:pt x="43" y="52"/>
                    <a:pt x="44" y="53"/>
                    <a:pt x="45" y="53"/>
                  </a:cubicBezTo>
                  <a:cubicBezTo>
                    <a:pt x="46" y="53"/>
                    <a:pt x="47" y="52"/>
                    <a:pt x="47" y="51"/>
                  </a:cubicBezTo>
                  <a:moveTo>
                    <a:pt x="47" y="58"/>
                  </a:moveTo>
                  <a:cubicBezTo>
                    <a:pt x="47" y="57"/>
                    <a:pt x="46" y="57"/>
                    <a:pt x="45" y="57"/>
                  </a:cubicBezTo>
                  <a:cubicBezTo>
                    <a:pt x="44" y="57"/>
                    <a:pt x="43" y="57"/>
                    <a:pt x="43" y="58"/>
                  </a:cubicBezTo>
                  <a:cubicBezTo>
                    <a:pt x="43" y="59"/>
                    <a:pt x="44" y="60"/>
                    <a:pt x="45" y="60"/>
                  </a:cubicBezTo>
                  <a:cubicBezTo>
                    <a:pt x="46" y="60"/>
                    <a:pt x="47" y="59"/>
                    <a:pt x="47" y="58"/>
                  </a:cubicBezTo>
                  <a:moveTo>
                    <a:pt x="40" y="38"/>
                  </a:moveTo>
                  <a:cubicBezTo>
                    <a:pt x="40" y="37"/>
                    <a:pt x="39" y="36"/>
                    <a:pt x="38" y="36"/>
                  </a:cubicBezTo>
                  <a:cubicBezTo>
                    <a:pt x="37" y="36"/>
                    <a:pt x="36" y="37"/>
                    <a:pt x="36" y="38"/>
                  </a:cubicBezTo>
                  <a:cubicBezTo>
                    <a:pt x="36" y="39"/>
                    <a:pt x="37" y="39"/>
                    <a:pt x="38" y="39"/>
                  </a:cubicBezTo>
                  <a:cubicBezTo>
                    <a:pt x="39" y="39"/>
                    <a:pt x="40" y="39"/>
                    <a:pt x="40" y="38"/>
                  </a:cubicBezTo>
                  <a:moveTo>
                    <a:pt x="40" y="45"/>
                  </a:moveTo>
                  <a:cubicBezTo>
                    <a:pt x="40" y="44"/>
                    <a:pt x="39" y="43"/>
                    <a:pt x="38" y="43"/>
                  </a:cubicBezTo>
                  <a:cubicBezTo>
                    <a:pt x="37" y="43"/>
                    <a:pt x="36" y="44"/>
                    <a:pt x="36" y="45"/>
                  </a:cubicBezTo>
                  <a:cubicBezTo>
                    <a:pt x="36" y="45"/>
                    <a:pt x="37" y="46"/>
                    <a:pt x="38" y="46"/>
                  </a:cubicBezTo>
                  <a:cubicBezTo>
                    <a:pt x="39" y="46"/>
                    <a:pt x="40" y="45"/>
                    <a:pt x="40" y="45"/>
                  </a:cubicBezTo>
                  <a:moveTo>
                    <a:pt x="40" y="51"/>
                  </a:moveTo>
                  <a:cubicBezTo>
                    <a:pt x="40" y="50"/>
                    <a:pt x="39" y="50"/>
                    <a:pt x="38" y="50"/>
                  </a:cubicBezTo>
                  <a:cubicBezTo>
                    <a:pt x="37" y="50"/>
                    <a:pt x="36" y="50"/>
                    <a:pt x="36" y="51"/>
                  </a:cubicBezTo>
                  <a:cubicBezTo>
                    <a:pt x="36" y="52"/>
                    <a:pt x="37" y="53"/>
                    <a:pt x="38" y="53"/>
                  </a:cubicBezTo>
                  <a:cubicBezTo>
                    <a:pt x="39" y="53"/>
                    <a:pt x="40" y="52"/>
                    <a:pt x="40" y="51"/>
                  </a:cubicBezTo>
                  <a:moveTo>
                    <a:pt x="40" y="58"/>
                  </a:moveTo>
                  <a:cubicBezTo>
                    <a:pt x="40" y="57"/>
                    <a:pt x="39" y="57"/>
                    <a:pt x="38" y="57"/>
                  </a:cubicBezTo>
                  <a:cubicBezTo>
                    <a:pt x="37" y="57"/>
                    <a:pt x="36" y="57"/>
                    <a:pt x="36" y="58"/>
                  </a:cubicBezTo>
                  <a:cubicBezTo>
                    <a:pt x="36" y="59"/>
                    <a:pt x="37" y="60"/>
                    <a:pt x="38" y="60"/>
                  </a:cubicBezTo>
                  <a:cubicBezTo>
                    <a:pt x="39" y="60"/>
                    <a:pt x="40" y="59"/>
                    <a:pt x="40" y="58"/>
                  </a:cubicBezTo>
                  <a:moveTo>
                    <a:pt x="26" y="19"/>
                  </a:moveTo>
                  <a:cubicBezTo>
                    <a:pt x="57" y="19"/>
                    <a:pt x="57" y="19"/>
                    <a:pt x="57" y="19"/>
                  </a:cubicBezTo>
                  <a:cubicBezTo>
                    <a:pt x="57" y="63"/>
                    <a:pt x="57" y="63"/>
                    <a:pt x="57" y="63"/>
                  </a:cubicBezTo>
                  <a:cubicBezTo>
                    <a:pt x="26" y="63"/>
                    <a:pt x="26" y="63"/>
                    <a:pt x="26" y="63"/>
                  </a:cubicBezTo>
                  <a:lnTo>
                    <a:pt x="26" y="19"/>
                  </a:lnTo>
                  <a:close/>
                  <a:moveTo>
                    <a:pt x="50" y="29"/>
                  </a:moveTo>
                  <a:cubicBezTo>
                    <a:pt x="33" y="29"/>
                    <a:pt x="33" y="29"/>
                    <a:pt x="33" y="29"/>
                  </a:cubicBezTo>
                  <a:cubicBezTo>
                    <a:pt x="33" y="26"/>
                    <a:pt x="33" y="26"/>
                    <a:pt x="33" y="26"/>
                  </a:cubicBezTo>
                  <a:cubicBezTo>
                    <a:pt x="50" y="26"/>
                    <a:pt x="50" y="26"/>
                    <a:pt x="50" y="26"/>
                  </a:cubicBezTo>
                  <a:lnTo>
                    <a:pt x="50" y="2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1"/>
            <p:cNvSpPr>
              <a:spLocks noEditPoints="1"/>
            </p:cNvSpPr>
            <p:nvPr/>
          </p:nvSpPr>
          <p:spPr bwMode="auto">
            <a:xfrm>
              <a:off x="5587" y="2013"/>
              <a:ext cx="430" cy="388"/>
            </a:xfrm>
            <a:custGeom>
              <a:avLst/>
              <a:gdLst>
                <a:gd name="T0" fmla="*/ 68 w 91"/>
                <a:gd name="T1" fmla="*/ 36 h 82"/>
                <a:gd name="T2" fmla="*/ 66 w 91"/>
                <a:gd name="T3" fmla="*/ 34 h 82"/>
                <a:gd name="T4" fmla="*/ 49 w 91"/>
                <a:gd name="T5" fmla="*/ 34 h 82"/>
                <a:gd name="T6" fmla="*/ 62 w 91"/>
                <a:gd name="T7" fmla="*/ 24 h 82"/>
                <a:gd name="T8" fmla="*/ 59 w 91"/>
                <a:gd name="T9" fmla="*/ 28 h 82"/>
                <a:gd name="T10" fmla="*/ 60 w 91"/>
                <a:gd name="T11" fmla="*/ 30 h 82"/>
                <a:gd name="T12" fmla="*/ 61 w 91"/>
                <a:gd name="T13" fmla="*/ 31 h 82"/>
                <a:gd name="T14" fmla="*/ 62 w 91"/>
                <a:gd name="T15" fmla="*/ 30 h 82"/>
                <a:gd name="T16" fmla="*/ 67 w 91"/>
                <a:gd name="T17" fmla="*/ 23 h 82"/>
                <a:gd name="T18" fmla="*/ 67 w 91"/>
                <a:gd name="T19" fmla="*/ 21 h 82"/>
                <a:gd name="T20" fmla="*/ 60 w 91"/>
                <a:gd name="T21" fmla="*/ 16 h 82"/>
                <a:gd name="T22" fmla="*/ 58 w 91"/>
                <a:gd name="T23" fmla="*/ 16 h 82"/>
                <a:gd name="T24" fmla="*/ 58 w 91"/>
                <a:gd name="T25" fmla="*/ 18 h 82"/>
                <a:gd name="T26" fmla="*/ 61 w 91"/>
                <a:gd name="T27" fmla="*/ 21 h 82"/>
                <a:gd name="T28" fmla="*/ 45 w 91"/>
                <a:gd name="T29" fmla="*/ 34 h 82"/>
                <a:gd name="T30" fmla="*/ 40 w 91"/>
                <a:gd name="T31" fmla="*/ 34 h 82"/>
                <a:gd name="T32" fmla="*/ 38 w 91"/>
                <a:gd name="T33" fmla="*/ 31 h 82"/>
                <a:gd name="T34" fmla="*/ 36 w 91"/>
                <a:gd name="T35" fmla="*/ 31 h 82"/>
                <a:gd name="T36" fmla="*/ 25 w 91"/>
                <a:gd name="T37" fmla="*/ 31 h 82"/>
                <a:gd name="T38" fmla="*/ 23 w 91"/>
                <a:gd name="T39" fmla="*/ 32 h 82"/>
                <a:gd name="T40" fmla="*/ 23 w 91"/>
                <a:gd name="T41" fmla="*/ 62 h 82"/>
                <a:gd name="T42" fmla="*/ 25 w 91"/>
                <a:gd name="T43" fmla="*/ 63 h 82"/>
                <a:gd name="T44" fmla="*/ 66 w 91"/>
                <a:gd name="T45" fmla="*/ 63 h 82"/>
                <a:gd name="T46" fmla="*/ 68 w 91"/>
                <a:gd name="T47" fmla="*/ 62 h 82"/>
                <a:gd name="T48" fmla="*/ 68 w 91"/>
                <a:gd name="T49" fmla="*/ 36 h 82"/>
                <a:gd name="T50" fmla="*/ 75 w 91"/>
                <a:gd name="T51" fmla="*/ 70 h 82"/>
                <a:gd name="T52" fmla="*/ 46 w 91"/>
                <a:gd name="T53" fmla="*/ 82 h 82"/>
                <a:gd name="T54" fmla="*/ 16 w 91"/>
                <a:gd name="T55" fmla="*/ 70 h 82"/>
                <a:gd name="T56" fmla="*/ 16 w 91"/>
                <a:gd name="T57" fmla="*/ 12 h 82"/>
                <a:gd name="T58" fmla="*/ 46 w 91"/>
                <a:gd name="T59" fmla="*/ 0 h 82"/>
                <a:gd name="T60" fmla="*/ 75 w 91"/>
                <a:gd name="T61" fmla="*/ 12 h 82"/>
                <a:gd name="T62" fmla="*/ 75 w 91"/>
                <a:gd name="T63" fmla="*/ 70 h 82"/>
                <a:gd name="T64" fmla="*/ 48 w 91"/>
                <a:gd name="T65" fmla="*/ 38 h 82"/>
                <a:gd name="T66" fmla="*/ 64 w 91"/>
                <a:gd name="T67" fmla="*/ 38 h 82"/>
                <a:gd name="T68" fmla="*/ 64 w 91"/>
                <a:gd name="T69" fmla="*/ 60 h 82"/>
                <a:gd name="T70" fmla="*/ 27 w 91"/>
                <a:gd name="T71" fmla="*/ 60 h 82"/>
                <a:gd name="T72" fmla="*/ 27 w 91"/>
                <a:gd name="T73" fmla="*/ 34 h 82"/>
                <a:gd name="T74" fmla="*/ 35 w 91"/>
                <a:gd name="T75" fmla="*/ 34 h 82"/>
                <a:gd name="T76" fmla="*/ 38 w 91"/>
                <a:gd name="T77" fmla="*/ 37 h 82"/>
                <a:gd name="T78" fmla="*/ 39 w 91"/>
                <a:gd name="T79" fmla="*/ 38 h 82"/>
                <a:gd name="T80" fmla="*/ 45 w 91"/>
                <a:gd name="T81" fmla="*/ 38 h 82"/>
                <a:gd name="T82" fmla="*/ 44 w 91"/>
                <a:gd name="T83" fmla="*/ 46 h 82"/>
                <a:gd name="T84" fmla="*/ 46 w 91"/>
                <a:gd name="T85" fmla="*/ 48 h 82"/>
                <a:gd name="T86" fmla="*/ 47 w 91"/>
                <a:gd name="T87" fmla="*/ 46 h 82"/>
                <a:gd name="T88" fmla="*/ 48 w 91"/>
                <a:gd name="T89"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1" h="82">
                  <a:moveTo>
                    <a:pt x="68" y="36"/>
                  </a:moveTo>
                  <a:cubicBezTo>
                    <a:pt x="68" y="35"/>
                    <a:pt x="67" y="34"/>
                    <a:pt x="66" y="34"/>
                  </a:cubicBezTo>
                  <a:cubicBezTo>
                    <a:pt x="49" y="34"/>
                    <a:pt x="49" y="34"/>
                    <a:pt x="49" y="34"/>
                  </a:cubicBezTo>
                  <a:cubicBezTo>
                    <a:pt x="51" y="28"/>
                    <a:pt x="56" y="25"/>
                    <a:pt x="62" y="24"/>
                  </a:cubicBezTo>
                  <a:cubicBezTo>
                    <a:pt x="59" y="28"/>
                    <a:pt x="59" y="28"/>
                    <a:pt x="59" y="28"/>
                  </a:cubicBezTo>
                  <a:cubicBezTo>
                    <a:pt x="59" y="29"/>
                    <a:pt x="59" y="30"/>
                    <a:pt x="60" y="30"/>
                  </a:cubicBezTo>
                  <a:cubicBezTo>
                    <a:pt x="60" y="31"/>
                    <a:pt x="60" y="31"/>
                    <a:pt x="61" y="31"/>
                  </a:cubicBezTo>
                  <a:cubicBezTo>
                    <a:pt x="61" y="31"/>
                    <a:pt x="62" y="30"/>
                    <a:pt x="62" y="30"/>
                  </a:cubicBezTo>
                  <a:cubicBezTo>
                    <a:pt x="67" y="23"/>
                    <a:pt x="67" y="23"/>
                    <a:pt x="67" y="23"/>
                  </a:cubicBezTo>
                  <a:cubicBezTo>
                    <a:pt x="68" y="22"/>
                    <a:pt x="68" y="21"/>
                    <a:pt x="67" y="21"/>
                  </a:cubicBezTo>
                  <a:cubicBezTo>
                    <a:pt x="60" y="16"/>
                    <a:pt x="60" y="16"/>
                    <a:pt x="60" y="16"/>
                  </a:cubicBezTo>
                  <a:cubicBezTo>
                    <a:pt x="60" y="15"/>
                    <a:pt x="59" y="15"/>
                    <a:pt x="58" y="16"/>
                  </a:cubicBezTo>
                  <a:cubicBezTo>
                    <a:pt x="57" y="17"/>
                    <a:pt x="58" y="18"/>
                    <a:pt x="58" y="18"/>
                  </a:cubicBezTo>
                  <a:cubicBezTo>
                    <a:pt x="61" y="21"/>
                    <a:pt x="61" y="21"/>
                    <a:pt x="61" y="21"/>
                  </a:cubicBezTo>
                  <a:cubicBezTo>
                    <a:pt x="53" y="22"/>
                    <a:pt x="48" y="26"/>
                    <a:pt x="45" y="34"/>
                  </a:cubicBezTo>
                  <a:cubicBezTo>
                    <a:pt x="40" y="34"/>
                    <a:pt x="40" y="34"/>
                    <a:pt x="40" y="34"/>
                  </a:cubicBezTo>
                  <a:cubicBezTo>
                    <a:pt x="38" y="31"/>
                    <a:pt x="38" y="31"/>
                    <a:pt x="38" y="31"/>
                  </a:cubicBezTo>
                  <a:cubicBezTo>
                    <a:pt x="37" y="31"/>
                    <a:pt x="37" y="31"/>
                    <a:pt x="36" y="31"/>
                  </a:cubicBezTo>
                  <a:cubicBezTo>
                    <a:pt x="25" y="31"/>
                    <a:pt x="25" y="31"/>
                    <a:pt x="25" y="31"/>
                  </a:cubicBezTo>
                  <a:cubicBezTo>
                    <a:pt x="24" y="31"/>
                    <a:pt x="23" y="32"/>
                    <a:pt x="23" y="32"/>
                  </a:cubicBezTo>
                  <a:cubicBezTo>
                    <a:pt x="23" y="62"/>
                    <a:pt x="23" y="62"/>
                    <a:pt x="23" y="62"/>
                  </a:cubicBezTo>
                  <a:cubicBezTo>
                    <a:pt x="23" y="63"/>
                    <a:pt x="24" y="63"/>
                    <a:pt x="25" y="63"/>
                  </a:cubicBezTo>
                  <a:cubicBezTo>
                    <a:pt x="66" y="63"/>
                    <a:pt x="66" y="63"/>
                    <a:pt x="66" y="63"/>
                  </a:cubicBezTo>
                  <a:cubicBezTo>
                    <a:pt x="67" y="63"/>
                    <a:pt x="68" y="63"/>
                    <a:pt x="68" y="62"/>
                  </a:cubicBezTo>
                  <a:lnTo>
                    <a:pt x="68" y="36"/>
                  </a:lnTo>
                  <a:close/>
                  <a:moveTo>
                    <a:pt x="75" y="70"/>
                  </a:moveTo>
                  <a:cubicBezTo>
                    <a:pt x="67" y="78"/>
                    <a:pt x="56" y="82"/>
                    <a:pt x="46" y="82"/>
                  </a:cubicBezTo>
                  <a:cubicBezTo>
                    <a:pt x="35" y="82"/>
                    <a:pt x="24" y="78"/>
                    <a:pt x="16" y="70"/>
                  </a:cubicBezTo>
                  <a:cubicBezTo>
                    <a:pt x="0" y="54"/>
                    <a:pt x="0" y="28"/>
                    <a:pt x="16" y="12"/>
                  </a:cubicBezTo>
                  <a:cubicBezTo>
                    <a:pt x="24" y="4"/>
                    <a:pt x="35" y="0"/>
                    <a:pt x="46" y="0"/>
                  </a:cubicBezTo>
                  <a:cubicBezTo>
                    <a:pt x="56" y="0"/>
                    <a:pt x="67" y="4"/>
                    <a:pt x="75" y="12"/>
                  </a:cubicBezTo>
                  <a:cubicBezTo>
                    <a:pt x="91" y="28"/>
                    <a:pt x="91" y="54"/>
                    <a:pt x="75" y="70"/>
                  </a:cubicBezTo>
                  <a:moveTo>
                    <a:pt x="48" y="38"/>
                  </a:moveTo>
                  <a:cubicBezTo>
                    <a:pt x="64" y="38"/>
                    <a:pt x="64" y="38"/>
                    <a:pt x="64" y="38"/>
                  </a:cubicBezTo>
                  <a:cubicBezTo>
                    <a:pt x="64" y="60"/>
                    <a:pt x="64" y="60"/>
                    <a:pt x="64" y="60"/>
                  </a:cubicBezTo>
                  <a:cubicBezTo>
                    <a:pt x="27" y="60"/>
                    <a:pt x="27" y="60"/>
                    <a:pt x="27" y="60"/>
                  </a:cubicBezTo>
                  <a:cubicBezTo>
                    <a:pt x="27" y="34"/>
                    <a:pt x="27" y="34"/>
                    <a:pt x="27" y="34"/>
                  </a:cubicBezTo>
                  <a:cubicBezTo>
                    <a:pt x="35" y="34"/>
                    <a:pt x="35" y="34"/>
                    <a:pt x="35" y="34"/>
                  </a:cubicBezTo>
                  <a:cubicBezTo>
                    <a:pt x="38" y="37"/>
                    <a:pt x="38" y="37"/>
                    <a:pt x="38" y="37"/>
                  </a:cubicBezTo>
                  <a:cubicBezTo>
                    <a:pt x="38" y="37"/>
                    <a:pt x="39" y="38"/>
                    <a:pt x="39" y="38"/>
                  </a:cubicBezTo>
                  <a:cubicBezTo>
                    <a:pt x="45" y="38"/>
                    <a:pt x="45" y="38"/>
                    <a:pt x="45" y="38"/>
                  </a:cubicBezTo>
                  <a:cubicBezTo>
                    <a:pt x="44" y="40"/>
                    <a:pt x="44" y="43"/>
                    <a:pt x="44" y="46"/>
                  </a:cubicBezTo>
                  <a:cubicBezTo>
                    <a:pt x="44" y="47"/>
                    <a:pt x="45" y="48"/>
                    <a:pt x="46" y="48"/>
                  </a:cubicBezTo>
                  <a:cubicBezTo>
                    <a:pt x="46" y="48"/>
                    <a:pt x="47" y="47"/>
                    <a:pt x="47" y="46"/>
                  </a:cubicBezTo>
                  <a:cubicBezTo>
                    <a:pt x="47" y="43"/>
                    <a:pt x="48" y="40"/>
                    <a:pt x="48" y="38"/>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4" name="文本框 106"/>
          <p:cNvSpPr txBox="1"/>
          <p:nvPr/>
        </p:nvSpPr>
        <p:spPr>
          <a:xfrm>
            <a:off x="2359677" y="5443625"/>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5" name="文本框 106"/>
          <p:cNvSpPr txBox="1"/>
          <p:nvPr/>
        </p:nvSpPr>
        <p:spPr>
          <a:xfrm>
            <a:off x="4831415" y="5443625"/>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6" name="文本框 106"/>
          <p:cNvSpPr txBox="1"/>
          <p:nvPr/>
        </p:nvSpPr>
        <p:spPr>
          <a:xfrm>
            <a:off x="7346015" y="5443625"/>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7" name="文本框 106"/>
          <p:cNvSpPr txBox="1"/>
          <p:nvPr/>
        </p:nvSpPr>
        <p:spPr>
          <a:xfrm>
            <a:off x="8612840" y="1061690"/>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8" name="文本框 106"/>
          <p:cNvSpPr txBox="1"/>
          <p:nvPr/>
        </p:nvSpPr>
        <p:spPr>
          <a:xfrm>
            <a:off x="6150628" y="1061690"/>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9" name="文本框 106"/>
          <p:cNvSpPr txBox="1"/>
          <p:nvPr/>
        </p:nvSpPr>
        <p:spPr>
          <a:xfrm>
            <a:off x="3560156" y="1061690"/>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0" name="文本框 106"/>
          <p:cNvSpPr txBox="1"/>
          <p:nvPr/>
        </p:nvSpPr>
        <p:spPr>
          <a:xfrm>
            <a:off x="2348565" y="504031"/>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1" name="文本框 106"/>
          <p:cNvSpPr txBox="1"/>
          <p:nvPr/>
        </p:nvSpPr>
        <p:spPr>
          <a:xfrm>
            <a:off x="4831415" y="504031"/>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2" name="文本框 106"/>
          <p:cNvSpPr txBox="1"/>
          <p:nvPr/>
        </p:nvSpPr>
        <p:spPr>
          <a:xfrm>
            <a:off x="7342840" y="504031"/>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3" name="文本框 106"/>
          <p:cNvSpPr txBox="1"/>
          <p:nvPr/>
        </p:nvSpPr>
        <p:spPr>
          <a:xfrm>
            <a:off x="8599854" y="5059363"/>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4" name="文本框 106"/>
          <p:cNvSpPr txBox="1"/>
          <p:nvPr/>
        </p:nvSpPr>
        <p:spPr>
          <a:xfrm>
            <a:off x="6129990" y="5059363"/>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5" name="文本框 106"/>
          <p:cNvSpPr txBox="1"/>
          <p:nvPr/>
        </p:nvSpPr>
        <p:spPr>
          <a:xfrm>
            <a:off x="3583639" y="5059363"/>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Tree>
    <p:custDataLst>
      <p:tags r:id="rId1"/>
    </p:custDataLst>
    <p:extLst>
      <p:ext uri="{BB962C8B-B14F-4D97-AF65-F5344CB8AC3E}">
        <p14:creationId xmlns:p14="http://schemas.microsoft.com/office/powerpoint/2010/main" val="3295416539"/>
      </p:ext>
    </p:extLst>
  </p:cSld>
  <p:clrMapOvr>
    <a:masterClrMapping/>
  </p:clrMapOvr>
  <p:transition>
    <p:fade/>
  </p:transition>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8CFA88AC-F5DD-7B4B-A933-AC49EE6C54B9}"/>
              </a:ext>
            </a:extLst>
          </p:cNvPr>
          <p:cNvSpPr>
            <a:spLocks/>
          </p:cNvSpPr>
          <p:nvPr/>
        </p:nvSpPr>
        <p:spPr bwMode="auto">
          <a:xfrm>
            <a:off x="1524000" y="737259"/>
            <a:ext cx="2903538" cy="2165350"/>
          </a:xfrm>
          <a:custGeom>
            <a:avLst/>
            <a:gdLst>
              <a:gd name="T0" fmla="*/ 0 w 180"/>
              <a:gd name="T1" fmla="*/ 81 h 134"/>
              <a:gd name="T2" fmla="*/ 58 w 180"/>
              <a:gd name="T3" fmla="*/ 24 h 134"/>
              <a:gd name="T4" fmla="*/ 105 w 180"/>
              <a:gd name="T5" fmla="*/ 1 h 134"/>
              <a:gd name="T6" fmla="*/ 156 w 180"/>
              <a:gd name="T7" fmla="*/ 18 h 134"/>
              <a:gd name="T8" fmla="*/ 179 w 180"/>
              <a:gd name="T9" fmla="*/ 61 h 134"/>
              <a:gd name="T10" fmla="*/ 180 w 180"/>
              <a:gd name="T11" fmla="*/ 71 h 134"/>
              <a:gd name="T12" fmla="*/ 139 w 180"/>
              <a:gd name="T13" fmla="*/ 134 h 134"/>
              <a:gd name="T14" fmla="*/ 134 w 180"/>
              <a:gd name="T15" fmla="*/ 124 h 134"/>
              <a:gd name="T16" fmla="*/ 149 w 180"/>
              <a:gd name="T17" fmla="*/ 27 h 134"/>
              <a:gd name="T18" fmla="*/ 106 w 180"/>
              <a:gd name="T19" fmla="*/ 12 h 134"/>
              <a:gd name="T20" fmla="*/ 66 w 180"/>
              <a:gd name="T21" fmla="*/ 32 h 134"/>
              <a:gd name="T22" fmla="*/ 0 w 180"/>
              <a:gd name="T23" fmla="*/ 97 h 134"/>
              <a:gd name="T24" fmla="*/ 0 w 180"/>
              <a:gd name="T25" fmla="*/ 8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4">
                <a:moveTo>
                  <a:pt x="0" y="81"/>
                </a:moveTo>
                <a:cubicBezTo>
                  <a:pt x="58" y="24"/>
                  <a:pt x="58" y="24"/>
                  <a:pt x="58" y="24"/>
                </a:cubicBezTo>
                <a:cubicBezTo>
                  <a:pt x="70" y="12"/>
                  <a:pt x="87" y="2"/>
                  <a:pt x="105" y="1"/>
                </a:cubicBezTo>
                <a:cubicBezTo>
                  <a:pt x="124" y="0"/>
                  <a:pt x="142" y="6"/>
                  <a:pt x="156" y="18"/>
                </a:cubicBezTo>
                <a:cubicBezTo>
                  <a:pt x="168" y="29"/>
                  <a:pt x="177" y="44"/>
                  <a:pt x="179" y="61"/>
                </a:cubicBezTo>
                <a:cubicBezTo>
                  <a:pt x="179" y="65"/>
                  <a:pt x="180" y="68"/>
                  <a:pt x="180" y="71"/>
                </a:cubicBezTo>
                <a:cubicBezTo>
                  <a:pt x="179" y="98"/>
                  <a:pt x="164" y="123"/>
                  <a:pt x="139" y="134"/>
                </a:cubicBezTo>
                <a:cubicBezTo>
                  <a:pt x="134" y="124"/>
                  <a:pt x="134" y="124"/>
                  <a:pt x="134" y="124"/>
                </a:cubicBezTo>
                <a:cubicBezTo>
                  <a:pt x="173" y="106"/>
                  <a:pt x="180" y="55"/>
                  <a:pt x="149" y="27"/>
                </a:cubicBezTo>
                <a:cubicBezTo>
                  <a:pt x="137" y="17"/>
                  <a:pt x="122" y="11"/>
                  <a:pt x="106" y="12"/>
                </a:cubicBezTo>
                <a:cubicBezTo>
                  <a:pt x="90" y="13"/>
                  <a:pt x="77" y="21"/>
                  <a:pt x="66" y="32"/>
                </a:cubicBezTo>
                <a:cubicBezTo>
                  <a:pt x="0" y="97"/>
                  <a:pt x="0" y="97"/>
                  <a:pt x="0" y="97"/>
                </a:cubicBezTo>
                <a:cubicBezTo>
                  <a:pt x="0" y="81"/>
                  <a:pt x="0" y="81"/>
                  <a:pt x="0" y="81"/>
                </a:cubicBezTo>
                <a:close/>
              </a:path>
            </a:pathLst>
          </a:custGeom>
          <a:no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23" name="Freeform 7">
            <a:extLst>
              <a:ext uri="{FF2B5EF4-FFF2-40B4-BE49-F238E27FC236}">
                <a16:creationId xmlns:a16="http://schemas.microsoft.com/office/drawing/2014/main" id="{B6343183-77C8-AA48-801D-43C2BB3FFD7F}"/>
              </a:ext>
            </a:extLst>
          </p:cNvPr>
          <p:cNvSpPr>
            <a:spLocks/>
          </p:cNvSpPr>
          <p:nvPr/>
        </p:nvSpPr>
        <p:spPr bwMode="auto">
          <a:xfrm>
            <a:off x="7764463" y="640423"/>
            <a:ext cx="2903538" cy="2262187"/>
          </a:xfrm>
          <a:custGeom>
            <a:avLst/>
            <a:gdLst>
              <a:gd name="T0" fmla="*/ 42 w 180"/>
              <a:gd name="T1" fmla="*/ 140 h 140"/>
              <a:gd name="T2" fmla="*/ 2 w 180"/>
              <a:gd name="T3" fmla="*/ 81 h 140"/>
              <a:gd name="T4" fmla="*/ 19 w 180"/>
              <a:gd name="T5" fmla="*/ 30 h 140"/>
              <a:gd name="T6" fmla="*/ 97 w 180"/>
              <a:gd name="T7" fmla="*/ 12 h 140"/>
              <a:gd name="T8" fmla="*/ 124 w 180"/>
              <a:gd name="T9" fmla="*/ 30 h 140"/>
              <a:gd name="T10" fmla="*/ 180 w 180"/>
              <a:gd name="T11" fmla="*/ 86 h 140"/>
              <a:gd name="T12" fmla="*/ 180 w 180"/>
              <a:gd name="T13" fmla="*/ 102 h 140"/>
              <a:gd name="T14" fmla="*/ 116 w 180"/>
              <a:gd name="T15" fmla="*/ 38 h 140"/>
              <a:gd name="T16" fmla="*/ 68 w 180"/>
              <a:gd name="T17" fmla="*/ 18 h 140"/>
              <a:gd name="T18" fmla="*/ 28 w 180"/>
              <a:gd name="T19" fmla="*/ 37 h 140"/>
              <a:gd name="T20" fmla="*/ 23 w 180"/>
              <a:gd name="T21" fmla="*/ 109 h 140"/>
              <a:gd name="T22" fmla="*/ 46 w 180"/>
              <a:gd name="T23" fmla="*/ 130 h 140"/>
              <a:gd name="T24" fmla="*/ 42 w 180"/>
              <a:gd name="T25"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40">
                <a:moveTo>
                  <a:pt x="42" y="140"/>
                </a:moveTo>
                <a:cubicBezTo>
                  <a:pt x="19" y="129"/>
                  <a:pt x="3" y="106"/>
                  <a:pt x="2" y="81"/>
                </a:cubicBezTo>
                <a:cubicBezTo>
                  <a:pt x="0" y="61"/>
                  <a:pt x="7" y="43"/>
                  <a:pt x="19" y="30"/>
                </a:cubicBezTo>
                <a:cubicBezTo>
                  <a:pt x="38" y="8"/>
                  <a:pt x="70" y="0"/>
                  <a:pt x="97" y="12"/>
                </a:cubicBezTo>
                <a:cubicBezTo>
                  <a:pt x="107" y="16"/>
                  <a:pt x="116" y="22"/>
                  <a:pt x="124" y="30"/>
                </a:cubicBezTo>
                <a:cubicBezTo>
                  <a:pt x="180" y="86"/>
                  <a:pt x="180" y="86"/>
                  <a:pt x="180" y="86"/>
                </a:cubicBezTo>
                <a:cubicBezTo>
                  <a:pt x="180" y="102"/>
                  <a:pt x="180" y="102"/>
                  <a:pt x="180" y="102"/>
                </a:cubicBezTo>
                <a:cubicBezTo>
                  <a:pt x="116" y="38"/>
                  <a:pt x="116" y="38"/>
                  <a:pt x="116" y="38"/>
                </a:cubicBezTo>
                <a:cubicBezTo>
                  <a:pt x="103" y="25"/>
                  <a:pt x="87" y="17"/>
                  <a:pt x="68" y="18"/>
                </a:cubicBezTo>
                <a:cubicBezTo>
                  <a:pt x="52" y="19"/>
                  <a:pt x="38" y="26"/>
                  <a:pt x="28" y="37"/>
                </a:cubicBezTo>
                <a:cubicBezTo>
                  <a:pt x="10" y="57"/>
                  <a:pt x="8" y="87"/>
                  <a:pt x="23" y="109"/>
                </a:cubicBezTo>
                <a:cubicBezTo>
                  <a:pt x="29" y="118"/>
                  <a:pt x="37" y="125"/>
                  <a:pt x="46" y="130"/>
                </a:cubicBezTo>
                <a:cubicBezTo>
                  <a:pt x="42" y="140"/>
                  <a:pt x="42" y="140"/>
                  <a:pt x="42" y="140"/>
                </a:cubicBezTo>
                <a:close/>
              </a:path>
            </a:pathLst>
          </a:custGeom>
          <a:noFill/>
          <a:ln>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24" name="Freeform 8">
            <a:extLst>
              <a:ext uri="{FF2B5EF4-FFF2-40B4-BE49-F238E27FC236}">
                <a16:creationId xmlns:a16="http://schemas.microsoft.com/office/drawing/2014/main" id="{ED6E5B5E-EFDA-5242-9AED-19FCDE303D1A}"/>
              </a:ext>
            </a:extLst>
          </p:cNvPr>
          <p:cNvSpPr>
            <a:spLocks/>
          </p:cNvSpPr>
          <p:nvPr/>
        </p:nvSpPr>
        <p:spPr bwMode="auto">
          <a:xfrm>
            <a:off x="6991351" y="2740685"/>
            <a:ext cx="2386013" cy="2390775"/>
          </a:xfrm>
          <a:custGeom>
            <a:avLst/>
            <a:gdLst>
              <a:gd name="T0" fmla="*/ 10 w 148"/>
              <a:gd name="T1" fmla="*/ 85 h 148"/>
              <a:gd name="T2" fmla="*/ 109 w 148"/>
              <a:gd name="T3" fmla="*/ 102 h 148"/>
              <a:gd name="T4" fmla="*/ 91 w 148"/>
              <a:gd name="T5" fmla="*/ 10 h 148"/>
              <a:gd name="T6" fmla="*/ 90 w 148"/>
              <a:gd name="T7" fmla="*/ 10 h 148"/>
              <a:gd name="T8" fmla="*/ 94 w 148"/>
              <a:gd name="T9" fmla="*/ 0 h 148"/>
              <a:gd name="T10" fmla="*/ 95 w 148"/>
              <a:gd name="T11" fmla="*/ 0 h 148"/>
              <a:gd name="T12" fmla="*/ 117 w 148"/>
              <a:gd name="T13" fmla="*/ 109 h 148"/>
              <a:gd name="T14" fmla="*/ 0 w 148"/>
              <a:gd name="T15" fmla="*/ 89 h 148"/>
              <a:gd name="T16" fmla="*/ 10 w 148"/>
              <a:gd name="T17" fmla="*/ 8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48">
                <a:moveTo>
                  <a:pt x="10" y="85"/>
                </a:moveTo>
                <a:cubicBezTo>
                  <a:pt x="26" y="125"/>
                  <a:pt x="80" y="135"/>
                  <a:pt x="109" y="102"/>
                </a:cubicBezTo>
                <a:cubicBezTo>
                  <a:pt x="134" y="73"/>
                  <a:pt x="125" y="27"/>
                  <a:pt x="91" y="10"/>
                </a:cubicBezTo>
                <a:cubicBezTo>
                  <a:pt x="90" y="10"/>
                  <a:pt x="90" y="10"/>
                  <a:pt x="90" y="10"/>
                </a:cubicBezTo>
                <a:cubicBezTo>
                  <a:pt x="94" y="0"/>
                  <a:pt x="94" y="0"/>
                  <a:pt x="94" y="0"/>
                </a:cubicBezTo>
                <a:cubicBezTo>
                  <a:pt x="95" y="0"/>
                  <a:pt x="95" y="0"/>
                  <a:pt x="95" y="0"/>
                </a:cubicBezTo>
                <a:cubicBezTo>
                  <a:pt x="137" y="20"/>
                  <a:pt x="148" y="75"/>
                  <a:pt x="117" y="109"/>
                </a:cubicBezTo>
                <a:cubicBezTo>
                  <a:pt x="82" y="148"/>
                  <a:pt x="19" y="137"/>
                  <a:pt x="0" y="89"/>
                </a:cubicBezTo>
                <a:cubicBezTo>
                  <a:pt x="10" y="85"/>
                  <a:pt x="10" y="85"/>
                  <a:pt x="10" y="85"/>
                </a:cubicBezTo>
                <a:close/>
              </a:path>
            </a:pathLst>
          </a:custGeom>
          <a:noFill/>
          <a:ln>
            <a:solidFill>
              <a:schemeClr val="accent4"/>
            </a:solidFill>
          </a:ln>
        </p:spPr>
        <p:txBody>
          <a:bodyPr vert="horz" wrap="square" lIns="91440" tIns="45720" rIns="91440" bIns="45720" numCol="1" anchor="t" anchorCtr="0" compatLnSpc="1">
            <a:prstTxWarp prst="textNoShape">
              <a:avLst/>
            </a:prstTxWarp>
          </a:bodyPr>
          <a:lstStyle/>
          <a:p>
            <a:endParaRPr lang="en-US" dirty="0"/>
          </a:p>
        </p:txBody>
      </p:sp>
      <p:sp>
        <p:nvSpPr>
          <p:cNvPr id="25" name="Freeform 9">
            <a:extLst>
              <a:ext uri="{FF2B5EF4-FFF2-40B4-BE49-F238E27FC236}">
                <a16:creationId xmlns:a16="http://schemas.microsoft.com/office/drawing/2014/main" id="{FEC0D639-F557-D542-A28A-F2DB95044FF7}"/>
              </a:ext>
            </a:extLst>
          </p:cNvPr>
          <p:cNvSpPr>
            <a:spLocks/>
          </p:cNvSpPr>
          <p:nvPr/>
        </p:nvSpPr>
        <p:spPr bwMode="auto">
          <a:xfrm>
            <a:off x="5056188" y="3193122"/>
            <a:ext cx="2095500" cy="985837"/>
          </a:xfrm>
          <a:custGeom>
            <a:avLst/>
            <a:gdLst>
              <a:gd name="T0" fmla="*/ 0 w 130"/>
              <a:gd name="T1" fmla="*/ 57 h 61"/>
              <a:gd name="T2" fmla="*/ 103 w 130"/>
              <a:gd name="T3" fmla="*/ 24 h 61"/>
              <a:gd name="T4" fmla="*/ 130 w 130"/>
              <a:gd name="T5" fmla="*/ 57 h 61"/>
              <a:gd name="T6" fmla="*/ 130 w 130"/>
              <a:gd name="T7" fmla="*/ 57 h 61"/>
              <a:gd name="T8" fmla="*/ 120 w 130"/>
              <a:gd name="T9" fmla="*/ 61 h 61"/>
              <a:gd name="T10" fmla="*/ 120 w 130"/>
              <a:gd name="T11" fmla="*/ 61 h 61"/>
              <a:gd name="T12" fmla="*/ 30 w 130"/>
              <a:gd name="T13" fmla="*/ 35 h 61"/>
              <a:gd name="T14" fmla="*/ 10 w 130"/>
              <a:gd name="T15" fmla="*/ 61 h 61"/>
              <a:gd name="T16" fmla="*/ 0 w 130"/>
              <a:gd name="T17" fmla="*/ 5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61">
                <a:moveTo>
                  <a:pt x="0" y="57"/>
                </a:moveTo>
                <a:cubicBezTo>
                  <a:pt x="16" y="16"/>
                  <a:pt x="66" y="0"/>
                  <a:pt x="103" y="24"/>
                </a:cubicBezTo>
                <a:cubicBezTo>
                  <a:pt x="115" y="31"/>
                  <a:pt x="125" y="43"/>
                  <a:pt x="130" y="57"/>
                </a:cubicBezTo>
                <a:cubicBezTo>
                  <a:pt x="130" y="57"/>
                  <a:pt x="130" y="57"/>
                  <a:pt x="130" y="57"/>
                </a:cubicBezTo>
                <a:cubicBezTo>
                  <a:pt x="120" y="61"/>
                  <a:pt x="120" y="61"/>
                  <a:pt x="120" y="61"/>
                </a:cubicBezTo>
                <a:cubicBezTo>
                  <a:pt x="120" y="61"/>
                  <a:pt x="120" y="61"/>
                  <a:pt x="120" y="61"/>
                </a:cubicBezTo>
                <a:cubicBezTo>
                  <a:pt x="105" y="25"/>
                  <a:pt x="62" y="13"/>
                  <a:pt x="30" y="35"/>
                </a:cubicBezTo>
                <a:cubicBezTo>
                  <a:pt x="21" y="42"/>
                  <a:pt x="14" y="51"/>
                  <a:pt x="10" y="61"/>
                </a:cubicBezTo>
                <a:cubicBezTo>
                  <a:pt x="0" y="57"/>
                  <a:pt x="0" y="57"/>
                  <a:pt x="0" y="57"/>
                </a:cubicBezTo>
                <a:close/>
              </a:path>
            </a:pathLst>
          </a:custGeom>
          <a:noFill/>
          <a:ln>
            <a:solidFill>
              <a:schemeClr val="accent3"/>
            </a:solidFill>
          </a:ln>
        </p:spPr>
        <p:txBody>
          <a:bodyPr vert="horz" wrap="square" lIns="91440" tIns="45720" rIns="91440" bIns="45720" numCol="1" anchor="t" anchorCtr="0" compatLnSpc="1">
            <a:prstTxWarp prst="textNoShape">
              <a:avLst/>
            </a:prstTxWarp>
          </a:bodyPr>
          <a:lstStyle/>
          <a:p>
            <a:endParaRPr lang="en-US" dirty="0"/>
          </a:p>
        </p:txBody>
      </p:sp>
      <p:sp>
        <p:nvSpPr>
          <p:cNvPr id="26" name="Freeform 10">
            <a:extLst>
              <a:ext uri="{FF2B5EF4-FFF2-40B4-BE49-F238E27FC236}">
                <a16:creationId xmlns:a16="http://schemas.microsoft.com/office/drawing/2014/main" id="{8512FDDA-266C-FC46-8650-EAE26E2A20B2}"/>
              </a:ext>
            </a:extLst>
          </p:cNvPr>
          <p:cNvSpPr>
            <a:spLocks/>
          </p:cNvSpPr>
          <p:nvPr/>
        </p:nvSpPr>
        <p:spPr bwMode="auto">
          <a:xfrm>
            <a:off x="3040064" y="2740684"/>
            <a:ext cx="2176463" cy="2163762"/>
          </a:xfrm>
          <a:custGeom>
            <a:avLst/>
            <a:gdLst>
              <a:gd name="T0" fmla="*/ 45 w 135"/>
              <a:gd name="T1" fmla="*/ 10 h 134"/>
              <a:gd name="T2" fmla="*/ 45 w 135"/>
              <a:gd name="T3" fmla="*/ 10 h 134"/>
              <a:gd name="T4" fmla="*/ 31 w 135"/>
              <a:gd name="T5" fmla="*/ 107 h 134"/>
              <a:gd name="T6" fmla="*/ 125 w 135"/>
              <a:gd name="T7" fmla="*/ 85 h 134"/>
              <a:gd name="T8" fmla="*/ 125 w 135"/>
              <a:gd name="T9" fmla="*/ 85 h 134"/>
              <a:gd name="T10" fmla="*/ 135 w 135"/>
              <a:gd name="T11" fmla="*/ 89 h 134"/>
              <a:gd name="T12" fmla="*/ 135 w 135"/>
              <a:gd name="T13" fmla="*/ 89 h 134"/>
              <a:gd name="T14" fmla="*/ 82 w 135"/>
              <a:gd name="T15" fmla="*/ 132 h 134"/>
              <a:gd name="T16" fmla="*/ 66 w 135"/>
              <a:gd name="T17" fmla="*/ 133 h 134"/>
              <a:gd name="T18" fmla="*/ 24 w 135"/>
              <a:gd name="T19" fmla="*/ 116 h 134"/>
              <a:gd name="T20" fmla="*/ 1 w 135"/>
              <a:gd name="T21" fmla="*/ 73 h 134"/>
              <a:gd name="T22" fmla="*/ 0 w 135"/>
              <a:gd name="T23" fmla="*/ 63 h 134"/>
              <a:gd name="T24" fmla="*/ 40 w 135"/>
              <a:gd name="T25" fmla="*/ 0 h 134"/>
              <a:gd name="T26" fmla="*/ 40 w 135"/>
              <a:gd name="T27" fmla="*/ 0 h 134"/>
              <a:gd name="T28" fmla="*/ 45 w 135"/>
              <a:gd name="T29" fmla="*/ 1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34">
                <a:moveTo>
                  <a:pt x="45" y="10"/>
                </a:moveTo>
                <a:cubicBezTo>
                  <a:pt x="45" y="10"/>
                  <a:pt x="45" y="10"/>
                  <a:pt x="45" y="10"/>
                </a:cubicBezTo>
                <a:cubicBezTo>
                  <a:pt x="6" y="28"/>
                  <a:pt x="0" y="80"/>
                  <a:pt x="31" y="107"/>
                </a:cubicBezTo>
                <a:cubicBezTo>
                  <a:pt x="61" y="134"/>
                  <a:pt x="110" y="123"/>
                  <a:pt x="125" y="85"/>
                </a:cubicBezTo>
                <a:cubicBezTo>
                  <a:pt x="125" y="85"/>
                  <a:pt x="125" y="85"/>
                  <a:pt x="125" y="85"/>
                </a:cubicBezTo>
                <a:cubicBezTo>
                  <a:pt x="135" y="89"/>
                  <a:pt x="135" y="89"/>
                  <a:pt x="135" y="89"/>
                </a:cubicBezTo>
                <a:cubicBezTo>
                  <a:pt x="135" y="89"/>
                  <a:pt x="135" y="89"/>
                  <a:pt x="135" y="89"/>
                </a:cubicBezTo>
                <a:cubicBezTo>
                  <a:pt x="126" y="112"/>
                  <a:pt x="106" y="128"/>
                  <a:pt x="82" y="132"/>
                </a:cubicBezTo>
                <a:cubicBezTo>
                  <a:pt x="77" y="133"/>
                  <a:pt x="72" y="133"/>
                  <a:pt x="66" y="133"/>
                </a:cubicBezTo>
                <a:cubicBezTo>
                  <a:pt x="50" y="132"/>
                  <a:pt x="35" y="126"/>
                  <a:pt x="24" y="116"/>
                </a:cubicBezTo>
                <a:cubicBezTo>
                  <a:pt x="11" y="105"/>
                  <a:pt x="3" y="90"/>
                  <a:pt x="1" y="73"/>
                </a:cubicBezTo>
                <a:cubicBezTo>
                  <a:pt x="0" y="70"/>
                  <a:pt x="0" y="67"/>
                  <a:pt x="0" y="63"/>
                </a:cubicBezTo>
                <a:cubicBezTo>
                  <a:pt x="0" y="36"/>
                  <a:pt x="16" y="11"/>
                  <a:pt x="40" y="0"/>
                </a:cubicBezTo>
                <a:cubicBezTo>
                  <a:pt x="40" y="0"/>
                  <a:pt x="40" y="0"/>
                  <a:pt x="40" y="0"/>
                </a:cubicBezTo>
                <a:cubicBezTo>
                  <a:pt x="45" y="10"/>
                  <a:pt x="45" y="10"/>
                  <a:pt x="45" y="10"/>
                </a:cubicBezTo>
                <a:close/>
              </a:path>
            </a:pathLst>
          </a:custGeom>
          <a:noFill/>
          <a:ln>
            <a:solidFill>
              <a:schemeClr val="accent2"/>
            </a:solidFill>
          </a:ln>
        </p:spPr>
        <p:txBody>
          <a:bodyPr vert="horz" wrap="square" lIns="91440" tIns="45720" rIns="91440" bIns="45720" numCol="1" anchor="t" anchorCtr="0" compatLnSpc="1">
            <a:prstTxWarp prst="textNoShape">
              <a:avLst/>
            </a:prstTxWarp>
          </a:bodyPr>
          <a:lstStyle/>
          <a:p>
            <a:endParaRPr lang="en-US" dirty="0"/>
          </a:p>
        </p:txBody>
      </p:sp>
      <p:sp>
        <p:nvSpPr>
          <p:cNvPr id="27" name="Oval 11">
            <a:extLst>
              <a:ext uri="{FF2B5EF4-FFF2-40B4-BE49-F238E27FC236}">
                <a16:creationId xmlns:a16="http://schemas.microsoft.com/office/drawing/2014/main" id="{2F2A7C69-4E47-6E40-934B-2C5AF96AEF37}"/>
              </a:ext>
            </a:extLst>
          </p:cNvPr>
          <p:cNvSpPr>
            <a:spLocks noChangeArrowheads="1"/>
          </p:cNvSpPr>
          <p:nvPr/>
        </p:nvSpPr>
        <p:spPr bwMode="auto">
          <a:xfrm>
            <a:off x="2620964" y="1173821"/>
            <a:ext cx="1419225" cy="1420812"/>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28" name="Oval 12">
            <a:extLst>
              <a:ext uri="{FF2B5EF4-FFF2-40B4-BE49-F238E27FC236}">
                <a16:creationId xmlns:a16="http://schemas.microsoft.com/office/drawing/2014/main" id="{22C8AF66-2462-ED48-A835-A2A112916CC2}"/>
              </a:ext>
            </a:extLst>
          </p:cNvPr>
          <p:cNvSpPr>
            <a:spLocks noChangeArrowheads="1"/>
          </p:cNvSpPr>
          <p:nvPr/>
        </p:nvSpPr>
        <p:spPr bwMode="auto">
          <a:xfrm>
            <a:off x="3459164" y="3047071"/>
            <a:ext cx="1419225" cy="1422400"/>
          </a:xfrm>
          <a:prstGeom prst="ellipse">
            <a:avLst/>
          </a:pr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Oval 13">
            <a:extLst>
              <a:ext uri="{FF2B5EF4-FFF2-40B4-BE49-F238E27FC236}">
                <a16:creationId xmlns:a16="http://schemas.microsoft.com/office/drawing/2014/main" id="{B11C92C3-BC9B-F841-B4E2-E512444CC87D}"/>
              </a:ext>
            </a:extLst>
          </p:cNvPr>
          <p:cNvSpPr>
            <a:spLocks noChangeArrowheads="1"/>
          </p:cNvSpPr>
          <p:nvPr/>
        </p:nvSpPr>
        <p:spPr bwMode="auto">
          <a:xfrm>
            <a:off x="7329489" y="3047071"/>
            <a:ext cx="1419225" cy="1422400"/>
          </a:xfrm>
          <a:prstGeom prst="ellipse">
            <a:avLst/>
          </a:prstGeom>
          <a:noFill/>
          <a:ln>
            <a:solidFill>
              <a:schemeClr val="accent4"/>
            </a:solidFill>
          </a:ln>
        </p:spPr>
        <p:txBody>
          <a:bodyPr vert="horz" wrap="square" lIns="91440" tIns="45720" rIns="91440" bIns="45720" numCol="1" anchor="t" anchorCtr="0" compatLnSpc="1">
            <a:prstTxWarp prst="textNoShape">
              <a:avLst/>
            </a:prstTxWarp>
          </a:bodyPr>
          <a:lstStyle/>
          <a:p>
            <a:endParaRPr lang="en-US" dirty="0"/>
          </a:p>
        </p:txBody>
      </p:sp>
      <p:sp>
        <p:nvSpPr>
          <p:cNvPr id="30" name="Oval 14">
            <a:extLst>
              <a:ext uri="{FF2B5EF4-FFF2-40B4-BE49-F238E27FC236}">
                <a16:creationId xmlns:a16="http://schemas.microsoft.com/office/drawing/2014/main" id="{888A3D3A-456E-5E48-AF14-285C789AF91A}"/>
              </a:ext>
            </a:extLst>
          </p:cNvPr>
          <p:cNvSpPr>
            <a:spLocks noChangeArrowheads="1"/>
          </p:cNvSpPr>
          <p:nvPr/>
        </p:nvSpPr>
        <p:spPr bwMode="auto">
          <a:xfrm>
            <a:off x="5394326" y="3823359"/>
            <a:ext cx="1419225" cy="1420812"/>
          </a:xfrm>
          <a:prstGeom prst="ellipse">
            <a:avLst/>
          </a:prstGeom>
          <a:noFill/>
          <a:ln>
            <a:solidFill>
              <a:schemeClr val="accent3"/>
            </a:solidFill>
          </a:ln>
        </p:spPr>
        <p:txBody>
          <a:bodyPr vert="horz" wrap="square" lIns="91440" tIns="45720" rIns="91440" bIns="45720" numCol="1" anchor="t" anchorCtr="0" compatLnSpc="1">
            <a:prstTxWarp prst="textNoShape">
              <a:avLst/>
            </a:prstTxWarp>
          </a:bodyPr>
          <a:lstStyle/>
          <a:p>
            <a:endParaRPr lang="en-US" dirty="0"/>
          </a:p>
        </p:txBody>
      </p:sp>
      <p:sp>
        <p:nvSpPr>
          <p:cNvPr id="31" name="Oval 15">
            <a:extLst>
              <a:ext uri="{FF2B5EF4-FFF2-40B4-BE49-F238E27FC236}">
                <a16:creationId xmlns:a16="http://schemas.microsoft.com/office/drawing/2014/main" id="{CF4C0800-645E-D241-B46D-83EEF5F18E07}"/>
              </a:ext>
            </a:extLst>
          </p:cNvPr>
          <p:cNvSpPr>
            <a:spLocks noChangeArrowheads="1"/>
          </p:cNvSpPr>
          <p:nvPr/>
        </p:nvSpPr>
        <p:spPr bwMode="auto">
          <a:xfrm>
            <a:off x="8248650" y="1173822"/>
            <a:ext cx="1403350" cy="1404937"/>
          </a:xfrm>
          <a:prstGeom prst="ellipse">
            <a:avLst/>
          </a:prstGeom>
          <a:noFill/>
          <a:ln>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32" name="Oval 16">
            <a:extLst>
              <a:ext uri="{FF2B5EF4-FFF2-40B4-BE49-F238E27FC236}">
                <a16:creationId xmlns:a16="http://schemas.microsoft.com/office/drawing/2014/main" id="{9046764F-8A43-474C-BCBC-16ED44EC72D8}"/>
              </a:ext>
            </a:extLst>
          </p:cNvPr>
          <p:cNvSpPr>
            <a:spLocks noChangeArrowheads="1"/>
          </p:cNvSpPr>
          <p:nvPr/>
        </p:nvSpPr>
        <p:spPr bwMode="auto">
          <a:xfrm>
            <a:off x="2717800" y="1270660"/>
            <a:ext cx="1225550" cy="122713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algn="ctr"/>
            <a:r>
              <a:rPr lang="en-US" sz="1400" b="1" dirty="0">
                <a:solidFill>
                  <a:schemeClr val="bg1"/>
                </a:solidFill>
              </a:rPr>
              <a:t>Day 1</a:t>
            </a:r>
          </a:p>
        </p:txBody>
      </p:sp>
      <p:sp>
        <p:nvSpPr>
          <p:cNvPr id="33" name="Oval 17">
            <a:extLst>
              <a:ext uri="{FF2B5EF4-FFF2-40B4-BE49-F238E27FC236}">
                <a16:creationId xmlns:a16="http://schemas.microsoft.com/office/drawing/2014/main" id="{CA531066-0035-6840-8637-6E24AD8D8AF8}"/>
              </a:ext>
            </a:extLst>
          </p:cNvPr>
          <p:cNvSpPr>
            <a:spLocks noChangeArrowheads="1"/>
          </p:cNvSpPr>
          <p:nvPr/>
        </p:nvSpPr>
        <p:spPr bwMode="auto">
          <a:xfrm>
            <a:off x="3556000" y="3143910"/>
            <a:ext cx="1225550" cy="1228725"/>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algn="ctr"/>
            <a:r>
              <a:rPr lang="en-US" sz="1400" b="1" dirty="0">
                <a:solidFill>
                  <a:schemeClr val="bg1"/>
                </a:solidFill>
              </a:rPr>
              <a:t>Day 2</a:t>
            </a:r>
          </a:p>
        </p:txBody>
      </p:sp>
      <p:sp>
        <p:nvSpPr>
          <p:cNvPr id="34" name="Oval 18">
            <a:extLst>
              <a:ext uri="{FF2B5EF4-FFF2-40B4-BE49-F238E27FC236}">
                <a16:creationId xmlns:a16="http://schemas.microsoft.com/office/drawing/2014/main" id="{219FCDF7-748E-0443-A91F-8F8D6F53818D}"/>
              </a:ext>
            </a:extLst>
          </p:cNvPr>
          <p:cNvSpPr>
            <a:spLocks noChangeArrowheads="1"/>
          </p:cNvSpPr>
          <p:nvPr/>
        </p:nvSpPr>
        <p:spPr bwMode="auto">
          <a:xfrm>
            <a:off x="7426325" y="3143910"/>
            <a:ext cx="1225550" cy="1228725"/>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pPr algn="ctr"/>
            <a:r>
              <a:rPr lang="en-US" sz="1400" b="1" dirty="0">
                <a:solidFill>
                  <a:schemeClr val="bg1"/>
                </a:solidFill>
              </a:rPr>
              <a:t>Day 4</a:t>
            </a:r>
          </a:p>
        </p:txBody>
      </p:sp>
      <p:sp>
        <p:nvSpPr>
          <p:cNvPr id="35" name="Oval 19">
            <a:extLst>
              <a:ext uri="{FF2B5EF4-FFF2-40B4-BE49-F238E27FC236}">
                <a16:creationId xmlns:a16="http://schemas.microsoft.com/office/drawing/2014/main" id="{FE316474-FE3A-6741-B4C9-EAE28FB9D10A}"/>
              </a:ext>
            </a:extLst>
          </p:cNvPr>
          <p:cNvSpPr>
            <a:spLocks noChangeArrowheads="1"/>
          </p:cNvSpPr>
          <p:nvPr/>
        </p:nvSpPr>
        <p:spPr bwMode="auto">
          <a:xfrm>
            <a:off x="5491163" y="3920197"/>
            <a:ext cx="1225550" cy="1227137"/>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algn="ctr"/>
            <a:r>
              <a:rPr lang="en-US" sz="1400" b="1" dirty="0">
                <a:solidFill>
                  <a:schemeClr val="bg1"/>
                </a:solidFill>
              </a:rPr>
              <a:t>Day 3</a:t>
            </a:r>
          </a:p>
        </p:txBody>
      </p:sp>
      <p:sp>
        <p:nvSpPr>
          <p:cNvPr id="36" name="Oval 20">
            <a:extLst>
              <a:ext uri="{FF2B5EF4-FFF2-40B4-BE49-F238E27FC236}">
                <a16:creationId xmlns:a16="http://schemas.microsoft.com/office/drawing/2014/main" id="{C5B375B8-1130-FB43-9931-1957AF20513A}"/>
              </a:ext>
            </a:extLst>
          </p:cNvPr>
          <p:cNvSpPr>
            <a:spLocks noChangeArrowheads="1"/>
          </p:cNvSpPr>
          <p:nvPr/>
        </p:nvSpPr>
        <p:spPr bwMode="auto">
          <a:xfrm>
            <a:off x="8329614" y="1254785"/>
            <a:ext cx="1241425" cy="1227137"/>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pPr algn="ctr"/>
            <a:r>
              <a:rPr lang="en-US" sz="1400" b="1" dirty="0">
                <a:solidFill>
                  <a:schemeClr val="bg1"/>
                </a:solidFill>
              </a:rPr>
              <a:t>Day 5</a:t>
            </a:r>
          </a:p>
        </p:txBody>
      </p:sp>
      <p:sp>
        <p:nvSpPr>
          <p:cNvPr id="37" name="Freeform 21">
            <a:extLst>
              <a:ext uri="{FF2B5EF4-FFF2-40B4-BE49-F238E27FC236}">
                <a16:creationId xmlns:a16="http://schemas.microsoft.com/office/drawing/2014/main" id="{AE029656-BEBA-1A4C-9EEC-E996E74E0579}"/>
              </a:ext>
            </a:extLst>
          </p:cNvPr>
          <p:cNvSpPr>
            <a:spLocks/>
          </p:cNvSpPr>
          <p:nvPr/>
        </p:nvSpPr>
        <p:spPr bwMode="auto">
          <a:xfrm>
            <a:off x="3668713" y="2708935"/>
            <a:ext cx="128588" cy="225425"/>
          </a:xfrm>
          <a:custGeom>
            <a:avLst/>
            <a:gdLst>
              <a:gd name="T0" fmla="*/ 81 w 81"/>
              <a:gd name="T1" fmla="*/ 132 h 142"/>
              <a:gd name="T2" fmla="*/ 21 w 81"/>
              <a:gd name="T3" fmla="*/ 0 h 142"/>
              <a:gd name="T4" fmla="*/ 0 w 81"/>
              <a:gd name="T5" fmla="*/ 10 h 142"/>
              <a:gd name="T6" fmla="*/ 61 w 81"/>
              <a:gd name="T7" fmla="*/ 142 h 142"/>
              <a:gd name="T8" fmla="*/ 81 w 81"/>
              <a:gd name="T9" fmla="*/ 132 h 142"/>
              <a:gd name="T10" fmla="*/ 81 w 81"/>
              <a:gd name="T11" fmla="*/ 132 h 142"/>
            </a:gdLst>
            <a:ahLst/>
            <a:cxnLst>
              <a:cxn ang="0">
                <a:pos x="T0" y="T1"/>
              </a:cxn>
              <a:cxn ang="0">
                <a:pos x="T2" y="T3"/>
              </a:cxn>
              <a:cxn ang="0">
                <a:pos x="T4" y="T5"/>
              </a:cxn>
              <a:cxn ang="0">
                <a:pos x="T6" y="T7"/>
              </a:cxn>
              <a:cxn ang="0">
                <a:pos x="T8" y="T9"/>
              </a:cxn>
              <a:cxn ang="0">
                <a:pos x="T10" y="T11"/>
              </a:cxn>
            </a:cxnLst>
            <a:rect l="0" t="0" r="r" b="b"/>
            <a:pathLst>
              <a:path w="81" h="142">
                <a:moveTo>
                  <a:pt x="81" y="132"/>
                </a:moveTo>
                <a:lnTo>
                  <a:pt x="21" y="0"/>
                </a:lnTo>
                <a:lnTo>
                  <a:pt x="0" y="10"/>
                </a:lnTo>
                <a:lnTo>
                  <a:pt x="61" y="142"/>
                </a:lnTo>
                <a:lnTo>
                  <a:pt x="81" y="132"/>
                </a:lnTo>
                <a:lnTo>
                  <a:pt x="81" y="132"/>
                </a:lnTo>
                <a:close/>
              </a:path>
            </a:pathLst>
          </a:cu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2">
            <a:extLst>
              <a:ext uri="{FF2B5EF4-FFF2-40B4-BE49-F238E27FC236}">
                <a16:creationId xmlns:a16="http://schemas.microsoft.com/office/drawing/2014/main" id="{2440FE06-1415-D642-918B-F1657A45D902}"/>
              </a:ext>
            </a:extLst>
          </p:cNvPr>
          <p:cNvSpPr>
            <a:spLocks/>
          </p:cNvSpPr>
          <p:nvPr/>
        </p:nvSpPr>
        <p:spPr bwMode="auto">
          <a:xfrm>
            <a:off x="5024439" y="4082122"/>
            <a:ext cx="225425" cy="128587"/>
          </a:xfrm>
          <a:custGeom>
            <a:avLst/>
            <a:gdLst>
              <a:gd name="T0" fmla="*/ 142 w 142"/>
              <a:gd name="T1" fmla="*/ 50 h 81"/>
              <a:gd name="T2" fmla="*/ 10 w 142"/>
              <a:gd name="T3" fmla="*/ 0 h 81"/>
              <a:gd name="T4" fmla="*/ 0 w 142"/>
              <a:gd name="T5" fmla="*/ 20 h 81"/>
              <a:gd name="T6" fmla="*/ 132 w 142"/>
              <a:gd name="T7" fmla="*/ 81 h 81"/>
              <a:gd name="T8" fmla="*/ 142 w 142"/>
              <a:gd name="T9" fmla="*/ 50 h 81"/>
              <a:gd name="T10" fmla="*/ 142 w 142"/>
              <a:gd name="T11" fmla="*/ 50 h 81"/>
            </a:gdLst>
            <a:ahLst/>
            <a:cxnLst>
              <a:cxn ang="0">
                <a:pos x="T0" y="T1"/>
              </a:cxn>
              <a:cxn ang="0">
                <a:pos x="T2" y="T3"/>
              </a:cxn>
              <a:cxn ang="0">
                <a:pos x="T4" y="T5"/>
              </a:cxn>
              <a:cxn ang="0">
                <a:pos x="T6" y="T7"/>
              </a:cxn>
              <a:cxn ang="0">
                <a:pos x="T8" y="T9"/>
              </a:cxn>
              <a:cxn ang="0">
                <a:pos x="T10" y="T11"/>
              </a:cxn>
            </a:cxnLst>
            <a:rect l="0" t="0" r="r" b="b"/>
            <a:pathLst>
              <a:path w="142" h="81">
                <a:moveTo>
                  <a:pt x="142" y="50"/>
                </a:moveTo>
                <a:lnTo>
                  <a:pt x="10" y="0"/>
                </a:lnTo>
                <a:lnTo>
                  <a:pt x="0" y="20"/>
                </a:lnTo>
                <a:lnTo>
                  <a:pt x="132" y="81"/>
                </a:lnTo>
                <a:lnTo>
                  <a:pt x="142" y="50"/>
                </a:lnTo>
                <a:lnTo>
                  <a:pt x="142" y="50"/>
                </a:lnTo>
                <a:close/>
              </a:path>
            </a:pathLst>
          </a:cu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23">
            <a:extLst>
              <a:ext uri="{FF2B5EF4-FFF2-40B4-BE49-F238E27FC236}">
                <a16:creationId xmlns:a16="http://schemas.microsoft.com/office/drawing/2014/main" id="{35363A3F-948D-784F-9E15-57F57D3D00C1}"/>
              </a:ext>
            </a:extLst>
          </p:cNvPr>
          <p:cNvSpPr>
            <a:spLocks/>
          </p:cNvSpPr>
          <p:nvPr/>
        </p:nvSpPr>
        <p:spPr bwMode="auto">
          <a:xfrm>
            <a:off x="6959601" y="4082122"/>
            <a:ext cx="225425" cy="128587"/>
          </a:xfrm>
          <a:custGeom>
            <a:avLst/>
            <a:gdLst>
              <a:gd name="T0" fmla="*/ 10 w 142"/>
              <a:gd name="T1" fmla="*/ 81 h 81"/>
              <a:gd name="T2" fmla="*/ 142 w 142"/>
              <a:gd name="T3" fmla="*/ 20 h 81"/>
              <a:gd name="T4" fmla="*/ 132 w 142"/>
              <a:gd name="T5" fmla="*/ 0 h 81"/>
              <a:gd name="T6" fmla="*/ 0 w 142"/>
              <a:gd name="T7" fmla="*/ 50 h 81"/>
              <a:gd name="T8" fmla="*/ 10 w 142"/>
              <a:gd name="T9" fmla="*/ 81 h 81"/>
              <a:gd name="T10" fmla="*/ 10 w 142"/>
              <a:gd name="T11" fmla="*/ 81 h 81"/>
            </a:gdLst>
            <a:ahLst/>
            <a:cxnLst>
              <a:cxn ang="0">
                <a:pos x="T0" y="T1"/>
              </a:cxn>
              <a:cxn ang="0">
                <a:pos x="T2" y="T3"/>
              </a:cxn>
              <a:cxn ang="0">
                <a:pos x="T4" y="T5"/>
              </a:cxn>
              <a:cxn ang="0">
                <a:pos x="T6" y="T7"/>
              </a:cxn>
              <a:cxn ang="0">
                <a:pos x="T8" y="T9"/>
              </a:cxn>
              <a:cxn ang="0">
                <a:pos x="T10" y="T11"/>
              </a:cxn>
            </a:cxnLst>
            <a:rect l="0" t="0" r="r" b="b"/>
            <a:pathLst>
              <a:path w="142" h="81">
                <a:moveTo>
                  <a:pt x="10" y="81"/>
                </a:moveTo>
                <a:lnTo>
                  <a:pt x="142" y="20"/>
                </a:lnTo>
                <a:lnTo>
                  <a:pt x="132" y="0"/>
                </a:lnTo>
                <a:lnTo>
                  <a:pt x="0" y="50"/>
                </a:lnTo>
                <a:lnTo>
                  <a:pt x="10" y="81"/>
                </a:lnTo>
                <a:lnTo>
                  <a:pt x="10" y="81"/>
                </a:lnTo>
                <a:close/>
              </a:path>
            </a:pathLst>
          </a:cu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4">
            <a:extLst>
              <a:ext uri="{FF2B5EF4-FFF2-40B4-BE49-F238E27FC236}">
                <a16:creationId xmlns:a16="http://schemas.microsoft.com/office/drawing/2014/main" id="{717F8AB9-5F66-934F-A55E-6D7A50104104}"/>
              </a:ext>
            </a:extLst>
          </p:cNvPr>
          <p:cNvSpPr>
            <a:spLocks/>
          </p:cNvSpPr>
          <p:nvPr/>
        </p:nvSpPr>
        <p:spPr bwMode="auto">
          <a:xfrm>
            <a:off x="8410575" y="2708935"/>
            <a:ext cx="128588" cy="225425"/>
          </a:xfrm>
          <a:custGeom>
            <a:avLst/>
            <a:gdLst>
              <a:gd name="T0" fmla="*/ 20 w 81"/>
              <a:gd name="T1" fmla="*/ 142 h 142"/>
              <a:gd name="T2" fmla="*/ 81 w 81"/>
              <a:gd name="T3" fmla="*/ 10 h 142"/>
              <a:gd name="T4" fmla="*/ 61 w 81"/>
              <a:gd name="T5" fmla="*/ 0 h 142"/>
              <a:gd name="T6" fmla="*/ 0 w 81"/>
              <a:gd name="T7" fmla="*/ 132 h 142"/>
              <a:gd name="T8" fmla="*/ 20 w 81"/>
              <a:gd name="T9" fmla="*/ 142 h 142"/>
              <a:gd name="T10" fmla="*/ 20 w 81"/>
              <a:gd name="T11" fmla="*/ 142 h 142"/>
            </a:gdLst>
            <a:ahLst/>
            <a:cxnLst>
              <a:cxn ang="0">
                <a:pos x="T0" y="T1"/>
              </a:cxn>
              <a:cxn ang="0">
                <a:pos x="T2" y="T3"/>
              </a:cxn>
              <a:cxn ang="0">
                <a:pos x="T4" y="T5"/>
              </a:cxn>
              <a:cxn ang="0">
                <a:pos x="T6" y="T7"/>
              </a:cxn>
              <a:cxn ang="0">
                <a:pos x="T8" y="T9"/>
              </a:cxn>
              <a:cxn ang="0">
                <a:pos x="T10" y="T11"/>
              </a:cxn>
            </a:cxnLst>
            <a:rect l="0" t="0" r="r" b="b"/>
            <a:pathLst>
              <a:path w="81" h="142">
                <a:moveTo>
                  <a:pt x="20" y="142"/>
                </a:moveTo>
                <a:lnTo>
                  <a:pt x="81" y="10"/>
                </a:lnTo>
                <a:lnTo>
                  <a:pt x="61" y="0"/>
                </a:lnTo>
                <a:lnTo>
                  <a:pt x="0" y="132"/>
                </a:lnTo>
                <a:lnTo>
                  <a:pt x="20" y="142"/>
                </a:lnTo>
                <a:lnTo>
                  <a:pt x="20" y="142"/>
                </a:lnTo>
                <a:close/>
              </a:path>
            </a:pathLst>
          </a:cu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42">
            <a:extLst>
              <a:ext uri="{FF2B5EF4-FFF2-40B4-BE49-F238E27FC236}">
                <a16:creationId xmlns:a16="http://schemas.microsoft.com/office/drawing/2014/main" id="{DBA9DCBD-D7FC-D54A-BDEF-30581FAD4B7E}"/>
              </a:ext>
            </a:extLst>
          </p:cNvPr>
          <p:cNvSpPr/>
          <p:nvPr/>
        </p:nvSpPr>
        <p:spPr>
          <a:xfrm>
            <a:off x="1902619" y="2480815"/>
            <a:ext cx="927894" cy="846386"/>
          </a:xfrm>
          <a:prstGeom prst="rect">
            <a:avLst/>
          </a:prstGeom>
        </p:spPr>
        <p:txBody>
          <a:bodyPr wrap="square" lIns="0" tIns="0" rIns="0" bIns="0">
            <a:spAutoFit/>
          </a:bodyPr>
          <a:lstStyle/>
          <a:p>
            <a:r>
              <a:rPr lang="en-US" sz="1100" dirty="0"/>
              <a:t>Lorem ipsum Lorem ipsum Lorem ipsum Lorem ipsum Lorem ipsum </a:t>
            </a:r>
          </a:p>
        </p:txBody>
      </p:sp>
      <p:sp>
        <p:nvSpPr>
          <p:cNvPr id="44" name="Rectangle 43">
            <a:extLst>
              <a:ext uri="{FF2B5EF4-FFF2-40B4-BE49-F238E27FC236}">
                <a16:creationId xmlns:a16="http://schemas.microsoft.com/office/drawing/2014/main" id="{9D5B486D-3FB3-5D4E-9D9A-BCECDF56864C}"/>
              </a:ext>
            </a:extLst>
          </p:cNvPr>
          <p:cNvSpPr/>
          <p:nvPr/>
        </p:nvSpPr>
        <p:spPr>
          <a:xfrm>
            <a:off x="4677676" y="2540345"/>
            <a:ext cx="1227852" cy="677108"/>
          </a:xfrm>
          <a:prstGeom prst="rect">
            <a:avLst/>
          </a:prstGeom>
        </p:spPr>
        <p:txBody>
          <a:bodyPr wrap="square" lIns="0" tIns="0" rIns="0" bIns="0">
            <a:spAutoFit/>
          </a:bodyPr>
          <a:lstStyle/>
          <a:p>
            <a:r>
              <a:rPr lang="en-US" sz="1100" dirty="0"/>
              <a:t>Lorem ipsum Lorem ipsum Lorem ipsum Lorem ipsum Lorem ipsum </a:t>
            </a:r>
          </a:p>
        </p:txBody>
      </p:sp>
      <p:sp>
        <p:nvSpPr>
          <p:cNvPr id="45" name="Rectangle 44">
            <a:extLst>
              <a:ext uri="{FF2B5EF4-FFF2-40B4-BE49-F238E27FC236}">
                <a16:creationId xmlns:a16="http://schemas.microsoft.com/office/drawing/2014/main" id="{1F54B1A9-578D-5641-B12B-BC8026227AFE}"/>
              </a:ext>
            </a:extLst>
          </p:cNvPr>
          <p:cNvSpPr/>
          <p:nvPr/>
        </p:nvSpPr>
        <p:spPr>
          <a:xfrm>
            <a:off x="4781550" y="5342237"/>
            <a:ext cx="2784414" cy="677108"/>
          </a:xfrm>
          <a:prstGeom prst="rect">
            <a:avLst/>
          </a:prstGeom>
        </p:spPr>
        <p:txBody>
          <a:bodyPr wrap="square" lIns="0" tIns="0" rIns="0" bIns="0">
            <a:spAutoFit/>
          </a:bodyPr>
          <a:lstStyle/>
          <a:p>
            <a:r>
              <a:rPr lang="en-US" sz="1100" dirty="0"/>
              <a:t>Lorem ipsum Lorem ipsum Lorem ipsum Lorem ipsum Lorem ipsum Lorem ipsum Lorem ipsum Lorem ipsum Lorem ipsum Lorem ipsum Lorem ipsum Lorem ipsum Lorem ipsum </a:t>
            </a:r>
          </a:p>
        </p:txBody>
      </p:sp>
      <p:sp>
        <p:nvSpPr>
          <p:cNvPr id="46" name="Rectangle 45">
            <a:extLst>
              <a:ext uri="{FF2B5EF4-FFF2-40B4-BE49-F238E27FC236}">
                <a16:creationId xmlns:a16="http://schemas.microsoft.com/office/drawing/2014/main" id="{FD1D77B0-95FA-9449-9706-D626F2EE56F7}"/>
              </a:ext>
            </a:extLst>
          </p:cNvPr>
          <p:cNvSpPr/>
          <p:nvPr/>
        </p:nvSpPr>
        <p:spPr>
          <a:xfrm>
            <a:off x="6435040" y="2475987"/>
            <a:ext cx="1374923" cy="507831"/>
          </a:xfrm>
          <a:prstGeom prst="rect">
            <a:avLst/>
          </a:prstGeom>
        </p:spPr>
        <p:txBody>
          <a:bodyPr wrap="square" lIns="0" tIns="0" rIns="0" bIns="0">
            <a:spAutoFit/>
          </a:bodyPr>
          <a:lstStyle/>
          <a:p>
            <a:r>
              <a:rPr lang="en-US" sz="1100" dirty="0"/>
              <a:t>Lorem ipsum Lorem ipsum Lorem ipsum Lorem ipsum </a:t>
            </a:r>
          </a:p>
        </p:txBody>
      </p:sp>
      <p:sp>
        <p:nvSpPr>
          <p:cNvPr id="47" name="Rectangle 46">
            <a:extLst>
              <a:ext uri="{FF2B5EF4-FFF2-40B4-BE49-F238E27FC236}">
                <a16:creationId xmlns:a16="http://schemas.microsoft.com/office/drawing/2014/main" id="{F1534622-66E8-C64E-BC51-FAB744D1CE8A}"/>
              </a:ext>
            </a:extLst>
          </p:cNvPr>
          <p:cNvSpPr/>
          <p:nvPr/>
        </p:nvSpPr>
        <p:spPr>
          <a:xfrm>
            <a:off x="9385317" y="2537175"/>
            <a:ext cx="1141221" cy="507831"/>
          </a:xfrm>
          <a:prstGeom prst="rect">
            <a:avLst/>
          </a:prstGeom>
        </p:spPr>
        <p:txBody>
          <a:bodyPr wrap="square" lIns="0" tIns="0" rIns="0" bIns="0">
            <a:spAutoFit/>
          </a:bodyPr>
          <a:lstStyle/>
          <a:p>
            <a:r>
              <a:rPr lang="en-US" sz="1100" dirty="0"/>
              <a:t>Lorem ipsum Lorem ipsum Lorem ipsum Lorem ipsum </a:t>
            </a:r>
          </a:p>
        </p:txBody>
      </p:sp>
      <p:grpSp>
        <p:nvGrpSpPr>
          <p:cNvPr id="48" name="Group 669">
            <a:extLst>
              <a:ext uri="{FF2B5EF4-FFF2-40B4-BE49-F238E27FC236}">
                <a16:creationId xmlns:a16="http://schemas.microsoft.com/office/drawing/2014/main" id="{70052BD1-3594-D741-99E8-EEDC718E9133}"/>
              </a:ext>
            </a:extLst>
          </p:cNvPr>
          <p:cNvGrpSpPr>
            <a:grpSpLocks noChangeAspect="1"/>
          </p:cNvGrpSpPr>
          <p:nvPr/>
        </p:nvGrpSpPr>
        <p:grpSpPr bwMode="auto">
          <a:xfrm>
            <a:off x="3111119" y="1838761"/>
            <a:ext cx="438912" cy="438912"/>
            <a:chOff x="1910" y="2326"/>
            <a:chExt cx="340" cy="340"/>
          </a:xfrm>
          <a:solidFill>
            <a:schemeClr val="bg1"/>
          </a:solidFill>
        </p:grpSpPr>
        <p:sp>
          <p:nvSpPr>
            <p:cNvPr id="49" name="Freeform 670">
              <a:extLst>
                <a:ext uri="{FF2B5EF4-FFF2-40B4-BE49-F238E27FC236}">
                  <a16:creationId xmlns:a16="http://schemas.microsoft.com/office/drawing/2014/main" id="{71216C02-4D7A-1C47-B6FF-21144CFF7DC4}"/>
                </a:ext>
              </a:extLst>
            </p:cNvPr>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671">
              <a:extLst>
                <a:ext uri="{FF2B5EF4-FFF2-40B4-BE49-F238E27FC236}">
                  <a16:creationId xmlns:a16="http://schemas.microsoft.com/office/drawing/2014/main" id="{9C328904-42A4-F94B-A1A8-D80204C676A8}"/>
                </a:ext>
              </a:extLst>
            </p:cNvPr>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1" name="Group 844">
            <a:extLst>
              <a:ext uri="{FF2B5EF4-FFF2-40B4-BE49-F238E27FC236}">
                <a16:creationId xmlns:a16="http://schemas.microsoft.com/office/drawing/2014/main" id="{3D3FA3F8-0A96-C041-B3DA-87EFA1F4FEC3}"/>
              </a:ext>
            </a:extLst>
          </p:cNvPr>
          <p:cNvGrpSpPr>
            <a:grpSpLocks noChangeAspect="1"/>
          </p:cNvGrpSpPr>
          <p:nvPr/>
        </p:nvGrpSpPr>
        <p:grpSpPr bwMode="auto">
          <a:xfrm>
            <a:off x="3949319" y="3707502"/>
            <a:ext cx="438912" cy="438912"/>
            <a:chOff x="4857" y="3821"/>
            <a:chExt cx="340" cy="340"/>
          </a:xfrm>
          <a:solidFill>
            <a:schemeClr val="bg1"/>
          </a:solidFill>
        </p:grpSpPr>
        <p:sp>
          <p:nvSpPr>
            <p:cNvPr id="52" name="Freeform 845">
              <a:extLst>
                <a:ext uri="{FF2B5EF4-FFF2-40B4-BE49-F238E27FC236}">
                  <a16:creationId xmlns:a16="http://schemas.microsoft.com/office/drawing/2014/main" id="{D4453106-39C8-0A4B-8102-A80897CC6CEE}"/>
                </a:ext>
              </a:extLst>
            </p:cNvPr>
            <p:cNvSpPr>
              <a:spLocks noEditPoints="1"/>
            </p:cNvSpPr>
            <p:nvPr/>
          </p:nvSpPr>
          <p:spPr bwMode="auto">
            <a:xfrm>
              <a:off x="4857" y="3821"/>
              <a:ext cx="340" cy="340"/>
            </a:xfrm>
            <a:custGeom>
              <a:avLst/>
              <a:gdLst>
                <a:gd name="T0" fmla="*/ 256 w 512"/>
                <a:gd name="T1" fmla="*/ 21 h 512"/>
                <a:gd name="T2" fmla="*/ 21 w 512"/>
                <a:gd name="T3" fmla="*/ 256 h 512"/>
                <a:gd name="T4" fmla="*/ 256 w 512"/>
                <a:gd name="T5" fmla="*/ 490 h 512"/>
                <a:gd name="T6" fmla="*/ 490 w 512"/>
                <a:gd name="T7" fmla="*/ 256 h 512"/>
                <a:gd name="T8" fmla="*/ 256 w 512"/>
                <a:gd name="T9" fmla="*/ 21 h 512"/>
                <a:gd name="T10" fmla="*/ 256 w 512"/>
                <a:gd name="T11" fmla="*/ 0 h 512"/>
                <a:gd name="T12" fmla="*/ 512 w 512"/>
                <a:gd name="T13" fmla="*/ 256 h 512"/>
                <a:gd name="T14" fmla="*/ 256 w 512"/>
                <a:gd name="T15" fmla="*/ 512 h 512"/>
                <a:gd name="T16" fmla="*/ 0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126" y="21"/>
                    <a:pt x="21" y="126"/>
                    <a:pt x="21" y="256"/>
                  </a:cubicBezTo>
                  <a:cubicBezTo>
                    <a:pt x="21" y="385"/>
                    <a:pt x="126" y="490"/>
                    <a:pt x="256" y="490"/>
                  </a:cubicBezTo>
                  <a:cubicBezTo>
                    <a:pt x="385" y="490"/>
                    <a:pt x="490" y="385"/>
                    <a:pt x="490" y="256"/>
                  </a:cubicBezTo>
                  <a:cubicBezTo>
                    <a:pt x="490" y="126"/>
                    <a:pt x="385" y="21"/>
                    <a:pt x="256" y="21"/>
                  </a:cubicBezTo>
                  <a:moveTo>
                    <a:pt x="256" y="0"/>
                  </a:moveTo>
                  <a:cubicBezTo>
                    <a:pt x="397" y="0"/>
                    <a:pt x="512" y="114"/>
                    <a:pt x="512" y="256"/>
                  </a:cubicBezTo>
                  <a:cubicBezTo>
                    <a:pt x="512" y="397"/>
                    <a:pt x="397" y="512"/>
                    <a:pt x="256" y="512"/>
                  </a:cubicBezTo>
                  <a:cubicBezTo>
                    <a:pt x="114" y="512"/>
                    <a:pt x="0" y="397"/>
                    <a:pt x="0" y="256"/>
                  </a:cubicBezTo>
                  <a:cubicBezTo>
                    <a:pt x="0" y="114"/>
                    <a:pt x="114"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846">
              <a:extLst>
                <a:ext uri="{FF2B5EF4-FFF2-40B4-BE49-F238E27FC236}">
                  <a16:creationId xmlns:a16="http://schemas.microsoft.com/office/drawing/2014/main" id="{5929F5A9-873B-E940-8F88-2A0ADEBE71C9}"/>
                </a:ext>
              </a:extLst>
            </p:cNvPr>
            <p:cNvSpPr>
              <a:spLocks noEditPoints="1"/>
            </p:cNvSpPr>
            <p:nvPr/>
          </p:nvSpPr>
          <p:spPr bwMode="auto">
            <a:xfrm>
              <a:off x="4921" y="3899"/>
              <a:ext cx="212" cy="170"/>
            </a:xfrm>
            <a:custGeom>
              <a:avLst/>
              <a:gdLst>
                <a:gd name="T0" fmla="*/ 64 w 320"/>
                <a:gd name="T1" fmla="*/ 171 h 256"/>
                <a:gd name="T2" fmla="*/ 64 w 320"/>
                <a:gd name="T3" fmla="*/ 128 h 256"/>
                <a:gd name="T4" fmla="*/ 256 w 320"/>
                <a:gd name="T5" fmla="*/ 128 h 256"/>
                <a:gd name="T6" fmla="*/ 256 w 320"/>
                <a:gd name="T7" fmla="*/ 171 h 256"/>
                <a:gd name="T8" fmla="*/ 256 w 320"/>
                <a:gd name="T9" fmla="*/ 128 h 256"/>
                <a:gd name="T10" fmla="*/ 309 w 320"/>
                <a:gd name="T11" fmla="*/ 202 h 256"/>
                <a:gd name="T12" fmla="*/ 298 w 320"/>
                <a:gd name="T13" fmla="*/ 256 h 256"/>
                <a:gd name="T14" fmla="*/ 234 w 320"/>
                <a:gd name="T15" fmla="*/ 245 h 256"/>
                <a:gd name="T16" fmla="*/ 165 w 320"/>
                <a:gd name="T17" fmla="*/ 224 h 256"/>
                <a:gd name="T18" fmla="*/ 85 w 320"/>
                <a:gd name="T19" fmla="*/ 245 h 256"/>
                <a:gd name="T20" fmla="*/ 21 w 320"/>
                <a:gd name="T21" fmla="*/ 256 h 256"/>
                <a:gd name="T22" fmla="*/ 10 w 320"/>
                <a:gd name="T23" fmla="*/ 203 h 256"/>
                <a:gd name="T24" fmla="*/ 10 w 320"/>
                <a:gd name="T25" fmla="*/ 203 h 256"/>
                <a:gd name="T26" fmla="*/ 10 w 320"/>
                <a:gd name="T27" fmla="*/ 203 h 256"/>
                <a:gd name="T28" fmla="*/ 10 w 320"/>
                <a:gd name="T29" fmla="*/ 199 h 256"/>
                <a:gd name="T30" fmla="*/ 0 w 320"/>
                <a:gd name="T31" fmla="*/ 181 h 256"/>
                <a:gd name="T32" fmla="*/ 44 w 320"/>
                <a:gd name="T33" fmla="*/ 88 h 256"/>
                <a:gd name="T34" fmla="*/ 32 w 320"/>
                <a:gd name="T35" fmla="*/ 85 h 256"/>
                <a:gd name="T36" fmla="*/ 32 w 320"/>
                <a:gd name="T37" fmla="*/ 64 h 256"/>
                <a:gd name="T38" fmla="*/ 64 w 320"/>
                <a:gd name="T39" fmla="*/ 29 h 256"/>
                <a:gd name="T40" fmla="*/ 106 w 320"/>
                <a:gd name="T41" fmla="*/ 0 h 256"/>
                <a:gd name="T42" fmla="*/ 254 w 320"/>
                <a:gd name="T43" fmla="*/ 27 h 256"/>
                <a:gd name="T44" fmla="*/ 267 w 320"/>
                <a:gd name="T45" fmla="*/ 64 h 256"/>
                <a:gd name="T46" fmla="*/ 298 w 320"/>
                <a:gd name="T47" fmla="*/ 75 h 256"/>
                <a:gd name="T48" fmla="*/ 274 w 320"/>
                <a:gd name="T49" fmla="*/ 85 h 256"/>
                <a:gd name="T50" fmla="*/ 320 w 320"/>
                <a:gd name="T51" fmla="*/ 149 h 256"/>
                <a:gd name="T52" fmla="*/ 316 w 320"/>
                <a:gd name="T53" fmla="*/ 194 h 256"/>
                <a:gd name="T54" fmla="*/ 252 w 320"/>
                <a:gd name="T55" fmla="*/ 85 h 256"/>
                <a:gd name="T56" fmla="*/ 213 w 320"/>
                <a:gd name="T57" fmla="*/ 21 h 256"/>
                <a:gd name="T58" fmla="*/ 84 w 320"/>
                <a:gd name="T59" fmla="*/ 36 h 256"/>
                <a:gd name="T60" fmla="*/ 64 w 320"/>
                <a:gd name="T61" fmla="*/ 217 h 256"/>
                <a:gd name="T62" fmla="*/ 32 w 320"/>
                <a:gd name="T63" fmla="*/ 235 h 256"/>
                <a:gd name="T64" fmla="*/ 64 w 320"/>
                <a:gd name="T65" fmla="*/ 217 h 256"/>
                <a:gd name="T66" fmla="*/ 298 w 320"/>
                <a:gd name="T67" fmla="*/ 183 h 256"/>
                <a:gd name="T68" fmla="*/ 298 w 320"/>
                <a:gd name="T69" fmla="*/ 149 h 256"/>
                <a:gd name="T70" fmla="*/ 62 w 320"/>
                <a:gd name="T71" fmla="*/ 107 h 256"/>
                <a:gd name="T72" fmla="*/ 21 w 320"/>
                <a:gd name="T73" fmla="*/ 180 h 256"/>
                <a:gd name="T74" fmla="*/ 288 w 320"/>
                <a:gd name="T75" fmla="*/ 212 h 256"/>
                <a:gd name="T76" fmla="*/ 256 w 320"/>
                <a:gd name="T77" fmla="*/ 235 h 256"/>
                <a:gd name="T78" fmla="*/ 288 w 320"/>
                <a:gd name="T79" fmla="*/ 212 h 256"/>
                <a:gd name="T80" fmla="*/ 128 w 320"/>
                <a:gd name="T81" fmla="*/ 139 h 256"/>
                <a:gd name="T82" fmla="*/ 128 w 320"/>
                <a:gd name="T83" fmla="*/ 160 h 256"/>
                <a:gd name="T84" fmla="*/ 202 w 320"/>
                <a:gd name="T85"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85" y="149"/>
                  </a:moveTo>
                  <a:cubicBezTo>
                    <a:pt x="85" y="161"/>
                    <a:pt x="75" y="171"/>
                    <a:pt x="64" y="171"/>
                  </a:cubicBezTo>
                  <a:cubicBezTo>
                    <a:pt x="52" y="171"/>
                    <a:pt x="42" y="161"/>
                    <a:pt x="42" y="149"/>
                  </a:cubicBezTo>
                  <a:cubicBezTo>
                    <a:pt x="42" y="138"/>
                    <a:pt x="52" y="128"/>
                    <a:pt x="64" y="128"/>
                  </a:cubicBezTo>
                  <a:cubicBezTo>
                    <a:pt x="75" y="128"/>
                    <a:pt x="85" y="138"/>
                    <a:pt x="85" y="149"/>
                  </a:cubicBezTo>
                  <a:close/>
                  <a:moveTo>
                    <a:pt x="256" y="128"/>
                  </a:moveTo>
                  <a:cubicBezTo>
                    <a:pt x="244" y="128"/>
                    <a:pt x="234" y="138"/>
                    <a:pt x="234" y="149"/>
                  </a:cubicBezTo>
                  <a:cubicBezTo>
                    <a:pt x="234" y="161"/>
                    <a:pt x="244" y="171"/>
                    <a:pt x="256" y="171"/>
                  </a:cubicBezTo>
                  <a:cubicBezTo>
                    <a:pt x="267" y="171"/>
                    <a:pt x="277" y="161"/>
                    <a:pt x="277" y="149"/>
                  </a:cubicBezTo>
                  <a:cubicBezTo>
                    <a:pt x="277" y="138"/>
                    <a:pt x="267" y="128"/>
                    <a:pt x="256" y="128"/>
                  </a:cubicBezTo>
                  <a:close/>
                  <a:moveTo>
                    <a:pt x="316" y="194"/>
                  </a:moveTo>
                  <a:cubicBezTo>
                    <a:pt x="314" y="197"/>
                    <a:pt x="312" y="199"/>
                    <a:pt x="309" y="202"/>
                  </a:cubicBezTo>
                  <a:cubicBezTo>
                    <a:pt x="309" y="202"/>
                    <a:pt x="309" y="245"/>
                    <a:pt x="309" y="245"/>
                  </a:cubicBezTo>
                  <a:cubicBezTo>
                    <a:pt x="309" y="251"/>
                    <a:pt x="304" y="256"/>
                    <a:pt x="298" y="256"/>
                  </a:cubicBezTo>
                  <a:cubicBezTo>
                    <a:pt x="245" y="256"/>
                    <a:pt x="245" y="256"/>
                    <a:pt x="245" y="256"/>
                  </a:cubicBezTo>
                  <a:cubicBezTo>
                    <a:pt x="239" y="256"/>
                    <a:pt x="234" y="251"/>
                    <a:pt x="234" y="245"/>
                  </a:cubicBezTo>
                  <a:cubicBezTo>
                    <a:pt x="234" y="221"/>
                    <a:pt x="234" y="221"/>
                    <a:pt x="234" y="221"/>
                  </a:cubicBezTo>
                  <a:cubicBezTo>
                    <a:pt x="215" y="223"/>
                    <a:pt x="192" y="224"/>
                    <a:pt x="165" y="224"/>
                  </a:cubicBezTo>
                  <a:cubicBezTo>
                    <a:pt x="134" y="224"/>
                    <a:pt x="107" y="223"/>
                    <a:pt x="85" y="220"/>
                  </a:cubicBezTo>
                  <a:cubicBezTo>
                    <a:pt x="85" y="245"/>
                    <a:pt x="85" y="245"/>
                    <a:pt x="85" y="245"/>
                  </a:cubicBezTo>
                  <a:cubicBezTo>
                    <a:pt x="85" y="251"/>
                    <a:pt x="80" y="256"/>
                    <a:pt x="74" y="256"/>
                  </a:cubicBezTo>
                  <a:cubicBezTo>
                    <a:pt x="21" y="256"/>
                    <a:pt x="21" y="256"/>
                    <a:pt x="21" y="256"/>
                  </a:cubicBezTo>
                  <a:cubicBezTo>
                    <a:pt x="15" y="256"/>
                    <a:pt x="10" y="251"/>
                    <a:pt x="10" y="245"/>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199"/>
                    <a:pt x="10" y="199"/>
                    <a:pt x="10" y="199"/>
                  </a:cubicBezTo>
                  <a:cubicBezTo>
                    <a:pt x="10" y="199"/>
                    <a:pt x="7" y="197"/>
                    <a:pt x="6" y="195"/>
                  </a:cubicBezTo>
                  <a:cubicBezTo>
                    <a:pt x="0" y="189"/>
                    <a:pt x="0" y="183"/>
                    <a:pt x="0" y="181"/>
                  </a:cubicBezTo>
                  <a:cubicBezTo>
                    <a:pt x="0" y="149"/>
                    <a:pt x="0" y="149"/>
                    <a:pt x="0" y="149"/>
                  </a:cubicBezTo>
                  <a:cubicBezTo>
                    <a:pt x="0" y="120"/>
                    <a:pt x="19" y="96"/>
                    <a:pt x="44" y="88"/>
                  </a:cubicBezTo>
                  <a:cubicBezTo>
                    <a:pt x="45" y="85"/>
                    <a:pt x="45" y="85"/>
                    <a:pt x="45" y="85"/>
                  </a:cubicBezTo>
                  <a:cubicBezTo>
                    <a:pt x="32" y="85"/>
                    <a:pt x="32" y="85"/>
                    <a:pt x="32" y="85"/>
                  </a:cubicBezTo>
                  <a:cubicBezTo>
                    <a:pt x="26" y="85"/>
                    <a:pt x="21" y="81"/>
                    <a:pt x="21" y="75"/>
                  </a:cubicBezTo>
                  <a:cubicBezTo>
                    <a:pt x="21" y="69"/>
                    <a:pt x="26" y="64"/>
                    <a:pt x="32" y="64"/>
                  </a:cubicBezTo>
                  <a:cubicBezTo>
                    <a:pt x="52" y="64"/>
                    <a:pt x="52" y="64"/>
                    <a:pt x="52" y="64"/>
                  </a:cubicBezTo>
                  <a:cubicBezTo>
                    <a:pt x="64" y="29"/>
                    <a:pt x="64" y="29"/>
                    <a:pt x="64" y="29"/>
                  </a:cubicBezTo>
                  <a:cubicBezTo>
                    <a:pt x="64" y="28"/>
                    <a:pt x="65" y="28"/>
                    <a:pt x="65" y="27"/>
                  </a:cubicBezTo>
                  <a:cubicBezTo>
                    <a:pt x="65" y="26"/>
                    <a:pt x="80" y="0"/>
                    <a:pt x="106" y="0"/>
                  </a:cubicBezTo>
                  <a:cubicBezTo>
                    <a:pt x="213" y="0"/>
                    <a:pt x="213" y="0"/>
                    <a:pt x="213" y="0"/>
                  </a:cubicBezTo>
                  <a:cubicBezTo>
                    <a:pt x="240" y="0"/>
                    <a:pt x="254" y="26"/>
                    <a:pt x="254" y="27"/>
                  </a:cubicBezTo>
                  <a:cubicBezTo>
                    <a:pt x="255" y="28"/>
                    <a:pt x="255" y="28"/>
                    <a:pt x="255" y="29"/>
                  </a:cubicBezTo>
                  <a:cubicBezTo>
                    <a:pt x="267" y="64"/>
                    <a:pt x="267" y="64"/>
                    <a:pt x="267" y="64"/>
                  </a:cubicBezTo>
                  <a:cubicBezTo>
                    <a:pt x="288" y="64"/>
                    <a:pt x="288" y="64"/>
                    <a:pt x="288" y="64"/>
                  </a:cubicBezTo>
                  <a:cubicBezTo>
                    <a:pt x="294" y="64"/>
                    <a:pt x="298" y="69"/>
                    <a:pt x="298" y="75"/>
                  </a:cubicBezTo>
                  <a:cubicBezTo>
                    <a:pt x="298" y="81"/>
                    <a:pt x="294" y="85"/>
                    <a:pt x="288" y="85"/>
                  </a:cubicBezTo>
                  <a:cubicBezTo>
                    <a:pt x="274" y="85"/>
                    <a:pt x="274" y="85"/>
                    <a:pt x="274" y="85"/>
                  </a:cubicBezTo>
                  <a:cubicBezTo>
                    <a:pt x="275" y="88"/>
                    <a:pt x="275" y="88"/>
                    <a:pt x="275" y="88"/>
                  </a:cubicBezTo>
                  <a:cubicBezTo>
                    <a:pt x="301" y="96"/>
                    <a:pt x="320" y="120"/>
                    <a:pt x="320" y="149"/>
                  </a:cubicBezTo>
                  <a:cubicBezTo>
                    <a:pt x="320" y="180"/>
                    <a:pt x="320" y="180"/>
                    <a:pt x="320" y="180"/>
                  </a:cubicBezTo>
                  <a:cubicBezTo>
                    <a:pt x="320" y="184"/>
                    <a:pt x="320" y="189"/>
                    <a:pt x="316" y="194"/>
                  </a:cubicBezTo>
                  <a:close/>
                  <a:moveTo>
                    <a:pt x="68" y="85"/>
                  </a:moveTo>
                  <a:cubicBezTo>
                    <a:pt x="252" y="85"/>
                    <a:pt x="252" y="85"/>
                    <a:pt x="252" y="85"/>
                  </a:cubicBezTo>
                  <a:cubicBezTo>
                    <a:pt x="235" y="36"/>
                    <a:pt x="235" y="36"/>
                    <a:pt x="235" y="36"/>
                  </a:cubicBezTo>
                  <a:cubicBezTo>
                    <a:pt x="233" y="34"/>
                    <a:pt x="225" y="21"/>
                    <a:pt x="213" y="21"/>
                  </a:cubicBezTo>
                  <a:cubicBezTo>
                    <a:pt x="106" y="21"/>
                    <a:pt x="106" y="21"/>
                    <a:pt x="106" y="21"/>
                  </a:cubicBezTo>
                  <a:cubicBezTo>
                    <a:pt x="94" y="21"/>
                    <a:pt x="86" y="33"/>
                    <a:pt x="84" y="36"/>
                  </a:cubicBezTo>
                  <a:lnTo>
                    <a:pt x="68" y="85"/>
                  </a:lnTo>
                  <a:close/>
                  <a:moveTo>
                    <a:pt x="64" y="217"/>
                  </a:moveTo>
                  <a:cubicBezTo>
                    <a:pt x="51" y="215"/>
                    <a:pt x="41" y="213"/>
                    <a:pt x="32" y="210"/>
                  </a:cubicBezTo>
                  <a:cubicBezTo>
                    <a:pt x="32" y="235"/>
                    <a:pt x="32" y="235"/>
                    <a:pt x="32" y="235"/>
                  </a:cubicBezTo>
                  <a:cubicBezTo>
                    <a:pt x="64" y="235"/>
                    <a:pt x="64" y="235"/>
                    <a:pt x="64" y="235"/>
                  </a:cubicBezTo>
                  <a:lnTo>
                    <a:pt x="64" y="217"/>
                  </a:lnTo>
                  <a:close/>
                  <a:moveTo>
                    <a:pt x="165" y="203"/>
                  </a:moveTo>
                  <a:cubicBezTo>
                    <a:pt x="278" y="203"/>
                    <a:pt x="296" y="185"/>
                    <a:pt x="298" y="183"/>
                  </a:cubicBezTo>
                  <a:cubicBezTo>
                    <a:pt x="298" y="182"/>
                    <a:pt x="298" y="182"/>
                    <a:pt x="298" y="181"/>
                  </a:cubicBezTo>
                  <a:cubicBezTo>
                    <a:pt x="298" y="149"/>
                    <a:pt x="298" y="149"/>
                    <a:pt x="298" y="149"/>
                  </a:cubicBezTo>
                  <a:cubicBezTo>
                    <a:pt x="298" y="126"/>
                    <a:pt x="280" y="107"/>
                    <a:pt x="258" y="107"/>
                  </a:cubicBezTo>
                  <a:cubicBezTo>
                    <a:pt x="62" y="107"/>
                    <a:pt x="62" y="107"/>
                    <a:pt x="62" y="107"/>
                  </a:cubicBezTo>
                  <a:cubicBezTo>
                    <a:pt x="39" y="107"/>
                    <a:pt x="21" y="126"/>
                    <a:pt x="21" y="149"/>
                  </a:cubicBezTo>
                  <a:cubicBezTo>
                    <a:pt x="21" y="180"/>
                    <a:pt x="21" y="180"/>
                    <a:pt x="21" y="180"/>
                  </a:cubicBezTo>
                  <a:cubicBezTo>
                    <a:pt x="23" y="183"/>
                    <a:pt x="43" y="203"/>
                    <a:pt x="165" y="203"/>
                  </a:cubicBezTo>
                  <a:close/>
                  <a:moveTo>
                    <a:pt x="288" y="212"/>
                  </a:moveTo>
                  <a:cubicBezTo>
                    <a:pt x="279" y="215"/>
                    <a:pt x="268" y="217"/>
                    <a:pt x="256" y="219"/>
                  </a:cubicBezTo>
                  <a:cubicBezTo>
                    <a:pt x="256" y="235"/>
                    <a:pt x="256" y="235"/>
                    <a:pt x="256" y="235"/>
                  </a:cubicBezTo>
                  <a:cubicBezTo>
                    <a:pt x="288" y="235"/>
                    <a:pt x="288" y="235"/>
                    <a:pt x="288" y="235"/>
                  </a:cubicBezTo>
                  <a:lnTo>
                    <a:pt x="288" y="212"/>
                  </a:lnTo>
                  <a:close/>
                  <a:moveTo>
                    <a:pt x="192" y="139"/>
                  </a:moveTo>
                  <a:cubicBezTo>
                    <a:pt x="128" y="139"/>
                    <a:pt x="128" y="139"/>
                    <a:pt x="128" y="139"/>
                  </a:cubicBezTo>
                  <a:cubicBezTo>
                    <a:pt x="122" y="139"/>
                    <a:pt x="117" y="143"/>
                    <a:pt x="117" y="149"/>
                  </a:cubicBezTo>
                  <a:cubicBezTo>
                    <a:pt x="117" y="155"/>
                    <a:pt x="122" y="160"/>
                    <a:pt x="128" y="160"/>
                  </a:cubicBezTo>
                  <a:cubicBezTo>
                    <a:pt x="192" y="160"/>
                    <a:pt x="192" y="160"/>
                    <a:pt x="192" y="160"/>
                  </a:cubicBezTo>
                  <a:cubicBezTo>
                    <a:pt x="198" y="160"/>
                    <a:pt x="202" y="155"/>
                    <a:pt x="202" y="149"/>
                  </a:cubicBezTo>
                  <a:cubicBezTo>
                    <a:pt x="202" y="143"/>
                    <a:pt x="198" y="139"/>
                    <a:pt x="192" y="13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4" name="Group 996">
            <a:extLst>
              <a:ext uri="{FF2B5EF4-FFF2-40B4-BE49-F238E27FC236}">
                <a16:creationId xmlns:a16="http://schemas.microsoft.com/office/drawing/2014/main" id="{F93B6C2C-3385-ED4D-9EA8-7EE5E944DD4F}"/>
              </a:ext>
            </a:extLst>
          </p:cNvPr>
          <p:cNvGrpSpPr>
            <a:grpSpLocks noChangeAspect="1"/>
          </p:cNvGrpSpPr>
          <p:nvPr/>
        </p:nvGrpSpPr>
        <p:grpSpPr bwMode="auto">
          <a:xfrm>
            <a:off x="5885126" y="4504841"/>
            <a:ext cx="437624" cy="438912"/>
            <a:chOff x="3482" y="3998"/>
            <a:chExt cx="340" cy="341"/>
          </a:xfrm>
          <a:solidFill>
            <a:schemeClr val="bg1"/>
          </a:solidFill>
        </p:grpSpPr>
        <p:sp>
          <p:nvSpPr>
            <p:cNvPr id="55" name="Freeform 997">
              <a:extLst>
                <a:ext uri="{FF2B5EF4-FFF2-40B4-BE49-F238E27FC236}">
                  <a16:creationId xmlns:a16="http://schemas.microsoft.com/office/drawing/2014/main" id="{EF340062-D1A7-5B4A-93D4-D5647BB933F3}"/>
                </a:ext>
              </a:extLst>
            </p:cNvPr>
            <p:cNvSpPr>
              <a:spLocks noEditPoints="1"/>
            </p:cNvSpPr>
            <p:nvPr/>
          </p:nvSpPr>
          <p:spPr bwMode="auto">
            <a:xfrm>
              <a:off x="3482" y="399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998">
              <a:extLst>
                <a:ext uri="{FF2B5EF4-FFF2-40B4-BE49-F238E27FC236}">
                  <a16:creationId xmlns:a16="http://schemas.microsoft.com/office/drawing/2014/main" id="{B3AFBFC8-32F1-5143-B56E-80902CD64004}"/>
                </a:ext>
              </a:extLst>
            </p:cNvPr>
            <p:cNvSpPr>
              <a:spLocks noEditPoints="1"/>
            </p:cNvSpPr>
            <p:nvPr/>
          </p:nvSpPr>
          <p:spPr bwMode="auto">
            <a:xfrm>
              <a:off x="3546" y="4090"/>
              <a:ext cx="212" cy="156"/>
            </a:xfrm>
            <a:custGeom>
              <a:avLst/>
              <a:gdLst>
                <a:gd name="T0" fmla="*/ 96 w 320"/>
                <a:gd name="T1" fmla="*/ 43 h 235"/>
                <a:gd name="T2" fmla="*/ 85 w 320"/>
                <a:gd name="T3" fmla="*/ 139 h 235"/>
                <a:gd name="T4" fmla="*/ 160 w 320"/>
                <a:gd name="T5" fmla="*/ 150 h 235"/>
                <a:gd name="T6" fmla="*/ 170 w 320"/>
                <a:gd name="T7" fmla="*/ 54 h 235"/>
                <a:gd name="T8" fmla="*/ 149 w 320"/>
                <a:gd name="T9" fmla="*/ 128 h 235"/>
                <a:gd name="T10" fmla="*/ 106 w 320"/>
                <a:gd name="T11" fmla="*/ 64 h 235"/>
                <a:gd name="T12" fmla="*/ 149 w 320"/>
                <a:gd name="T13" fmla="*/ 128 h 235"/>
                <a:gd name="T14" fmla="*/ 266 w 320"/>
                <a:gd name="T15" fmla="*/ 64 h 235"/>
                <a:gd name="T16" fmla="*/ 192 w 320"/>
                <a:gd name="T17" fmla="*/ 54 h 235"/>
                <a:gd name="T18" fmla="*/ 266 w 320"/>
                <a:gd name="T19" fmla="*/ 43 h 235"/>
                <a:gd name="T20" fmla="*/ 277 w 320"/>
                <a:gd name="T21" fmla="*/ 96 h 235"/>
                <a:gd name="T22" fmla="*/ 202 w 320"/>
                <a:gd name="T23" fmla="*/ 107 h 235"/>
                <a:gd name="T24" fmla="*/ 202 w 320"/>
                <a:gd name="T25" fmla="*/ 86 h 235"/>
                <a:gd name="T26" fmla="*/ 277 w 320"/>
                <a:gd name="T27" fmla="*/ 96 h 235"/>
                <a:gd name="T28" fmla="*/ 266 w 320"/>
                <a:gd name="T29" fmla="*/ 150 h 235"/>
                <a:gd name="T30" fmla="*/ 192 w 320"/>
                <a:gd name="T31" fmla="*/ 139 h 235"/>
                <a:gd name="T32" fmla="*/ 266 w 320"/>
                <a:gd name="T33" fmla="*/ 128 h 235"/>
                <a:gd name="T34" fmla="*/ 277 w 320"/>
                <a:gd name="T35" fmla="*/ 182 h 235"/>
                <a:gd name="T36" fmla="*/ 202 w 320"/>
                <a:gd name="T37" fmla="*/ 192 h 235"/>
                <a:gd name="T38" fmla="*/ 202 w 320"/>
                <a:gd name="T39" fmla="*/ 171 h 235"/>
                <a:gd name="T40" fmla="*/ 277 w 320"/>
                <a:gd name="T41" fmla="*/ 182 h 235"/>
                <a:gd name="T42" fmla="*/ 160 w 320"/>
                <a:gd name="T43" fmla="*/ 192 h 235"/>
                <a:gd name="T44" fmla="*/ 85 w 320"/>
                <a:gd name="T45" fmla="*/ 182 h 235"/>
                <a:gd name="T46" fmla="*/ 160 w 320"/>
                <a:gd name="T47" fmla="*/ 171 h 235"/>
                <a:gd name="T48" fmla="*/ 309 w 320"/>
                <a:gd name="T49" fmla="*/ 0 h 235"/>
                <a:gd name="T50" fmla="*/ 42 w 320"/>
                <a:gd name="T51" fmla="*/ 11 h 235"/>
                <a:gd name="T52" fmla="*/ 32 w 320"/>
                <a:gd name="T53" fmla="*/ 214 h 235"/>
                <a:gd name="T54" fmla="*/ 21 w 320"/>
                <a:gd name="T55" fmla="*/ 11 h 235"/>
                <a:gd name="T56" fmla="*/ 0 w 320"/>
                <a:gd name="T57" fmla="*/ 11 h 235"/>
                <a:gd name="T58" fmla="*/ 32 w 320"/>
                <a:gd name="T59" fmla="*/ 235 h 235"/>
                <a:gd name="T60" fmla="*/ 320 w 320"/>
                <a:gd name="T61" fmla="*/ 203 h 235"/>
                <a:gd name="T62" fmla="*/ 309 w 320"/>
                <a:gd name="T63" fmla="*/ 0 h 235"/>
                <a:gd name="T64" fmla="*/ 288 w 320"/>
                <a:gd name="T65" fmla="*/ 214 h 235"/>
                <a:gd name="T66" fmla="*/ 64 w 320"/>
                <a:gd name="T67" fmla="*/ 203 h 235"/>
                <a:gd name="T68" fmla="*/ 298 w 320"/>
                <a:gd name="T69"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35">
                  <a:moveTo>
                    <a:pt x="160" y="43"/>
                  </a:moveTo>
                  <a:cubicBezTo>
                    <a:pt x="96" y="43"/>
                    <a:pt x="96" y="43"/>
                    <a:pt x="96" y="43"/>
                  </a:cubicBezTo>
                  <a:cubicBezTo>
                    <a:pt x="90" y="43"/>
                    <a:pt x="85" y="48"/>
                    <a:pt x="85" y="54"/>
                  </a:cubicBezTo>
                  <a:cubicBezTo>
                    <a:pt x="85" y="139"/>
                    <a:pt x="85" y="139"/>
                    <a:pt x="85" y="139"/>
                  </a:cubicBezTo>
                  <a:cubicBezTo>
                    <a:pt x="85" y="145"/>
                    <a:pt x="90" y="150"/>
                    <a:pt x="96" y="150"/>
                  </a:cubicBezTo>
                  <a:cubicBezTo>
                    <a:pt x="160" y="150"/>
                    <a:pt x="160" y="150"/>
                    <a:pt x="160" y="150"/>
                  </a:cubicBezTo>
                  <a:cubicBezTo>
                    <a:pt x="166" y="150"/>
                    <a:pt x="170" y="145"/>
                    <a:pt x="170" y="139"/>
                  </a:cubicBezTo>
                  <a:cubicBezTo>
                    <a:pt x="170" y="54"/>
                    <a:pt x="170" y="54"/>
                    <a:pt x="170" y="54"/>
                  </a:cubicBezTo>
                  <a:cubicBezTo>
                    <a:pt x="170" y="48"/>
                    <a:pt x="166" y="43"/>
                    <a:pt x="160" y="43"/>
                  </a:cubicBezTo>
                  <a:close/>
                  <a:moveTo>
                    <a:pt x="149" y="128"/>
                  </a:moveTo>
                  <a:cubicBezTo>
                    <a:pt x="106" y="128"/>
                    <a:pt x="106" y="128"/>
                    <a:pt x="106" y="128"/>
                  </a:cubicBezTo>
                  <a:cubicBezTo>
                    <a:pt x="106" y="64"/>
                    <a:pt x="106" y="64"/>
                    <a:pt x="106" y="64"/>
                  </a:cubicBezTo>
                  <a:cubicBezTo>
                    <a:pt x="149" y="64"/>
                    <a:pt x="149" y="64"/>
                    <a:pt x="149" y="64"/>
                  </a:cubicBezTo>
                  <a:lnTo>
                    <a:pt x="149" y="128"/>
                  </a:lnTo>
                  <a:close/>
                  <a:moveTo>
                    <a:pt x="277" y="54"/>
                  </a:moveTo>
                  <a:cubicBezTo>
                    <a:pt x="277" y="60"/>
                    <a:pt x="272" y="64"/>
                    <a:pt x="266" y="64"/>
                  </a:cubicBezTo>
                  <a:cubicBezTo>
                    <a:pt x="202" y="64"/>
                    <a:pt x="202" y="64"/>
                    <a:pt x="202" y="64"/>
                  </a:cubicBezTo>
                  <a:cubicBezTo>
                    <a:pt x="196" y="64"/>
                    <a:pt x="192" y="60"/>
                    <a:pt x="192" y="54"/>
                  </a:cubicBezTo>
                  <a:cubicBezTo>
                    <a:pt x="192" y="48"/>
                    <a:pt x="196" y="43"/>
                    <a:pt x="202" y="43"/>
                  </a:cubicBezTo>
                  <a:cubicBezTo>
                    <a:pt x="266" y="43"/>
                    <a:pt x="266" y="43"/>
                    <a:pt x="266" y="43"/>
                  </a:cubicBezTo>
                  <a:cubicBezTo>
                    <a:pt x="272" y="43"/>
                    <a:pt x="277" y="48"/>
                    <a:pt x="277" y="54"/>
                  </a:cubicBezTo>
                  <a:close/>
                  <a:moveTo>
                    <a:pt x="277" y="96"/>
                  </a:moveTo>
                  <a:cubicBezTo>
                    <a:pt x="277" y="102"/>
                    <a:pt x="272" y="107"/>
                    <a:pt x="266" y="107"/>
                  </a:cubicBezTo>
                  <a:cubicBezTo>
                    <a:pt x="202" y="107"/>
                    <a:pt x="202" y="107"/>
                    <a:pt x="202" y="107"/>
                  </a:cubicBezTo>
                  <a:cubicBezTo>
                    <a:pt x="196" y="107"/>
                    <a:pt x="192" y="102"/>
                    <a:pt x="192" y="96"/>
                  </a:cubicBezTo>
                  <a:cubicBezTo>
                    <a:pt x="192" y="90"/>
                    <a:pt x="196" y="86"/>
                    <a:pt x="202" y="86"/>
                  </a:cubicBezTo>
                  <a:cubicBezTo>
                    <a:pt x="266" y="86"/>
                    <a:pt x="266" y="86"/>
                    <a:pt x="266" y="86"/>
                  </a:cubicBezTo>
                  <a:cubicBezTo>
                    <a:pt x="272" y="86"/>
                    <a:pt x="277" y="90"/>
                    <a:pt x="277" y="96"/>
                  </a:cubicBezTo>
                  <a:close/>
                  <a:moveTo>
                    <a:pt x="277" y="139"/>
                  </a:moveTo>
                  <a:cubicBezTo>
                    <a:pt x="277" y="145"/>
                    <a:pt x="272" y="150"/>
                    <a:pt x="266" y="150"/>
                  </a:cubicBezTo>
                  <a:cubicBezTo>
                    <a:pt x="202" y="150"/>
                    <a:pt x="202" y="150"/>
                    <a:pt x="202" y="150"/>
                  </a:cubicBezTo>
                  <a:cubicBezTo>
                    <a:pt x="196" y="150"/>
                    <a:pt x="192" y="145"/>
                    <a:pt x="192" y="139"/>
                  </a:cubicBezTo>
                  <a:cubicBezTo>
                    <a:pt x="192" y="133"/>
                    <a:pt x="196" y="128"/>
                    <a:pt x="202" y="128"/>
                  </a:cubicBezTo>
                  <a:cubicBezTo>
                    <a:pt x="266" y="128"/>
                    <a:pt x="266" y="128"/>
                    <a:pt x="266" y="128"/>
                  </a:cubicBezTo>
                  <a:cubicBezTo>
                    <a:pt x="272" y="128"/>
                    <a:pt x="277" y="133"/>
                    <a:pt x="277" y="139"/>
                  </a:cubicBezTo>
                  <a:close/>
                  <a:moveTo>
                    <a:pt x="277" y="182"/>
                  </a:moveTo>
                  <a:cubicBezTo>
                    <a:pt x="277" y="188"/>
                    <a:pt x="272" y="192"/>
                    <a:pt x="266" y="192"/>
                  </a:cubicBezTo>
                  <a:cubicBezTo>
                    <a:pt x="202" y="192"/>
                    <a:pt x="202" y="192"/>
                    <a:pt x="202" y="192"/>
                  </a:cubicBezTo>
                  <a:cubicBezTo>
                    <a:pt x="196" y="192"/>
                    <a:pt x="192" y="188"/>
                    <a:pt x="192" y="182"/>
                  </a:cubicBezTo>
                  <a:cubicBezTo>
                    <a:pt x="192" y="176"/>
                    <a:pt x="196" y="171"/>
                    <a:pt x="202" y="171"/>
                  </a:cubicBezTo>
                  <a:cubicBezTo>
                    <a:pt x="266" y="171"/>
                    <a:pt x="266" y="171"/>
                    <a:pt x="266" y="171"/>
                  </a:cubicBezTo>
                  <a:cubicBezTo>
                    <a:pt x="272" y="171"/>
                    <a:pt x="277" y="176"/>
                    <a:pt x="277" y="182"/>
                  </a:cubicBezTo>
                  <a:close/>
                  <a:moveTo>
                    <a:pt x="170" y="182"/>
                  </a:moveTo>
                  <a:cubicBezTo>
                    <a:pt x="170" y="188"/>
                    <a:pt x="166" y="192"/>
                    <a:pt x="160" y="192"/>
                  </a:cubicBezTo>
                  <a:cubicBezTo>
                    <a:pt x="96" y="192"/>
                    <a:pt x="96" y="192"/>
                    <a:pt x="96" y="192"/>
                  </a:cubicBezTo>
                  <a:cubicBezTo>
                    <a:pt x="90" y="192"/>
                    <a:pt x="85" y="188"/>
                    <a:pt x="85" y="182"/>
                  </a:cubicBezTo>
                  <a:cubicBezTo>
                    <a:pt x="85" y="176"/>
                    <a:pt x="90" y="171"/>
                    <a:pt x="96" y="171"/>
                  </a:cubicBezTo>
                  <a:cubicBezTo>
                    <a:pt x="160" y="171"/>
                    <a:pt x="160" y="171"/>
                    <a:pt x="160" y="171"/>
                  </a:cubicBezTo>
                  <a:cubicBezTo>
                    <a:pt x="166" y="171"/>
                    <a:pt x="170" y="176"/>
                    <a:pt x="170" y="182"/>
                  </a:cubicBezTo>
                  <a:close/>
                  <a:moveTo>
                    <a:pt x="309" y="0"/>
                  </a:moveTo>
                  <a:cubicBezTo>
                    <a:pt x="53" y="0"/>
                    <a:pt x="53" y="0"/>
                    <a:pt x="53" y="0"/>
                  </a:cubicBezTo>
                  <a:cubicBezTo>
                    <a:pt x="47" y="0"/>
                    <a:pt x="42" y="5"/>
                    <a:pt x="42" y="11"/>
                  </a:cubicBezTo>
                  <a:cubicBezTo>
                    <a:pt x="42" y="203"/>
                    <a:pt x="42" y="203"/>
                    <a:pt x="42" y="203"/>
                  </a:cubicBezTo>
                  <a:cubicBezTo>
                    <a:pt x="42" y="209"/>
                    <a:pt x="38" y="214"/>
                    <a:pt x="32" y="214"/>
                  </a:cubicBezTo>
                  <a:cubicBezTo>
                    <a:pt x="26" y="214"/>
                    <a:pt x="21" y="209"/>
                    <a:pt x="21" y="203"/>
                  </a:cubicBezTo>
                  <a:cubicBezTo>
                    <a:pt x="21" y="11"/>
                    <a:pt x="21" y="11"/>
                    <a:pt x="21" y="11"/>
                  </a:cubicBezTo>
                  <a:cubicBezTo>
                    <a:pt x="21" y="5"/>
                    <a:pt x="16" y="0"/>
                    <a:pt x="10" y="0"/>
                  </a:cubicBezTo>
                  <a:cubicBezTo>
                    <a:pt x="4" y="0"/>
                    <a:pt x="0" y="5"/>
                    <a:pt x="0" y="11"/>
                  </a:cubicBezTo>
                  <a:cubicBezTo>
                    <a:pt x="0" y="203"/>
                    <a:pt x="0" y="203"/>
                    <a:pt x="0" y="203"/>
                  </a:cubicBezTo>
                  <a:cubicBezTo>
                    <a:pt x="0" y="221"/>
                    <a:pt x="14" y="235"/>
                    <a:pt x="32" y="235"/>
                  </a:cubicBezTo>
                  <a:cubicBezTo>
                    <a:pt x="288" y="235"/>
                    <a:pt x="288" y="235"/>
                    <a:pt x="288" y="235"/>
                  </a:cubicBezTo>
                  <a:cubicBezTo>
                    <a:pt x="305" y="235"/>
                    <a:pt x="320" y="221"/>
                    <a:pt x="320" y="203"/>
                  </a:cubicBezTo>
                  <a:cubicBezTo>
                    <a:pt x="320" y="11"/>
                    <a:pt x="320" y="11"/>
                    <a:pt x="320" y="11"/>
                  </a:cubicBezTo>
                  <a:cubicBezTo>
                    <a:pt x="320" y="5"/>
                    <a:pt x="315" y="0"/>
                    <a:pt x="309" y="0"/>
                  </a:cubicBezTo>
                  <a:close/>
                  <a:moveTo>
                    <a:pt x="298" y="203"/>
                  </a:moveTo>
                  <a:cubicBezTo>
                    <a:pt x="298" y="209"/>
                    <a:pt x="294" y="214"/>
                    <a:pt x="288" y="214"/>
                  </a:cubicBezTo>
                  <a:cubicBezTo>
                    <a:pt x="62" y="214"/>
                    <a:pt x="62" y="214"/>
                    <a:pt x="62" y="214"/>
                  </a:cubicBezTo>
                  <a:cubicBezTo>
                    <a:pt x="63" y="210"/>
                    <a:pt x="64" y="207"/>
                    <a:pt x="64" y="203"/>
                  </a:cubicBezTo>
                  <a:cubicBezTo>
                    <a:pt x="64" y="22"/>
                    <a:pt x="64" y="22"/>
                    <a:pt x="64" y="22"/>
                  </a:cubicBezTo>
                  <a:cubicBezTo>
                    <a:pt x="298" y="22"/>
                    <a:pt x="298" y="22"/>
                    <a:pt x="298" y="22"/>
                  </a:cubicBezTo>
                  <a:lnTo>
                    <a:pt x="298" y="20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7" name="Group 740">
            <a:extLst>
              <a:ext uri="{FF2B5EF4-FFF2-40B4-BE49-F238E27FC236}">
                <a16:creationId xmlns:a16="http://schemas.microsoft.com/office/drawing/2014/main" id="{38C2C828-27F2-3C45-8E17-F638AF8C1F5C}"/>
              </a:ext>
            </a:extLst>
          </p:cNvPr>
          <p:cNvGrpSpPr>
            <a:grpSpLocks noChangeAspect="1"/>
          </p:cNvGrpSpPr>
          <p:nvPr/>
        </p:nvGrpSpPr>
        <p:grpSpPr bwMode="auto">
          <a:xfrm>
            <a:off x="7820289" y="3716615"/>
            <a:ext cx="437625" cy="438912"/>
            <a:chOff x="4293" y="2651"/>
            <a:chExt cx="340" cy="341"/>
          </a:xfrm>
          <a:solidFill>
            <a:schemeClr val="bg1"/>
          </a:solidFill>
        </p:grpSpPr>
        <p:sp>
          <p:nvSpPr>
            <p:cNvPr id="58" name="Freeform 741">
              <a:extLst>
                <a:ext uri="{FF2B5EF4-FFF2-40B4-BE49-F238E27FC236}">
                  <a16:creationId xmlns:a16="http://schemas.microsoft.com/office/drawing/2014/main" id="{282D5A0E-B355-3641-A5F0-F7537510A49F}"/>
                </a:ext>
              </a:extLst>
            </p:cNvPr>
            <p:cNvSpPr>
              <a:spLocks noEditPoints="1"/>
            </p:cNvSpPr>
            <p:nvPr/>
          </p:nvSpPr>
          <p:spPr bwMode="auto">
            <a:xfrm>
              <a:off x="4293" y="26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742">
              <a:extLst>
                <a:ext uri="{FF2B5EF4-FFF2-40B4-BE49-F238E27FC236}">
                  <a16:creationId xmlns:a16="http://schemas.microsoft.com/office/drawing/2014/main" id="{9663B755-CD22-F449-B913-F038F27A9EC0}"/>
                </a:ext>
              </a:extLst>
            </p:cNvPr>
            <p:cNvSpPr>
              <a:spLocks noEditPoints="1"/>
            </p:cNvSpPr>
            <p:nvPr/>
          </p:nvSpPr>
          <p:spPr bwMode="auto">
            <a:xfrm>
              <a:off x="4357" y="2743"/>
              <a:ext cx="212" cy="156"/>
            </a:xfrm>
            <a:custGeom>
              <a:avLst/>
              <a:gdLst>
                <a:gd name="T0" fmla="*/ 224 w 320"/>
                <a:gd name="T1" fmla="*/ 235 h 235"/>
                <a:gd name="T2" fmla="*/ 10 w 320"/>
                <a:gd name="T3" fmla="*/ 235 h 235"/>
                <a:gd name="T4" fmla="*/ 0 w 320"/>
                <a:gd name="T5" fmla="*/ 224 h 235"/>
                <a:gd name="T6" fmla="*/ 0 w 320"/>
                <a:gd name="T7" fmla="*/ 11 h 235"/>
                <a:gd name="T8" fmla="*/ 10 w 320"/>
                <a:gd name="T9" fmla="*/ 0 h 235"/>
                <a:gd name="T10" fmla="*/ 224 w 320"/>
                <a:gd name="T11" fmla="*/ 0 h 235"/>
                <a:gd name="T12" fmla="*/ 234 w 320"/>
                <a:gd name="T13" fmla="*/ 11 h 235"/>
                <a:gd name="T14" fmla="*/ 234 w 320"/>
                <a:gd name="T15" fmla="*/ 58 h 235"/>
                <a:gd name="T16" fmla="*/ 304 w 320"/>
                <a:gd name="T17" fmla="*/ 23 h 235"/>
                <a:gd name="T18" fmla="*/ 315 w 320"/>
                <a:gd name="T19" fmla="*/ 23 h 235"/>
                <a:gd name="T20" fmla="*/ 320 w 320"/>
                <a:gd name="T21" fmla="*/ 32 h 235"/>
                <a:gd name="T22" fmla="*/ 320 w 320"/>
                <a:gd name="T23" fmla="*/ 203 h 235"/>
                <a:gd name="T24" fmla="*/ 315 w 320"/>
                <a:gd name="T25" fmla="*/ 212 h 235"/>
                <a:gd name="T26" fmla="*/ 304 w 320"/>
                <a:gd name="T27" fmla="*/ 213 h 235"/>
                <a:gd name="T28" fmla="*/ 234 w 320"/>
                <a:gd name="T29" fmla="*/ 178 h 235"/>
                <a:gd name="T30" fmla="*/ 234 w 320"/>
                <a:gd name="T31" fmla="*/ 224 h 235"/>
                <a:gd name="T32" fmla="*/ 224 w 320"/>
                <a:gd name="T33" fmla="*/ 235 h 235"/>
                <a:gd name="T34" fmla="*/ 21 w 320"/>
                <a:gd name="T35" fmla="*/ 214 h 235"/>
                <a:gd name="T36" fmla="*/ 213 w 320"/>
                <a:gd name="T37" fmla="*/ 214 h 235"/>
                <a:gd name="T38" fmla="*/ 213 w 320"/>
                <a:gd name="T39" fmla="*/ 160 h 235"/>
                <a:gd name="T40" fmla="*/ 218 w 320"/>
                <a:gd name="T41" fmla="*/ 151 h 235"/>
                <a:gd name="T42" fmla="*/ 228 w 320"/>
                <a:gd name="T43" fmla="*/ 151 h 235"/>
                <a:gd name="T44" fmla="*/ 298 w 320"/>
                <a:gd name="T45" fmla="*/ 186 h 235"/>
                <a:gd name="T46" fmla="*/ 298 w 320"/>
                <a:gd name="T47" fmla="*/ 50 h 235"/>
                <a:gd name="T48" fmla="*/ 228 w 320"/>
                <a:gd name="T49" fmla="*/ 85 h 235"/>
                <a:gd name="T50" fmla="*/ 218 w 320"/>
                <a:gd name="T51" fmla="*/ 84 h 235"/>
                <a:gd name="T52" fmla="*/ 213 w 320"/>
                <a:gd name="T53" fmla="*/ 75 h 235"/>
                <a:gd name="T54" fmla="*/ 213 w 320"/>
                <a:gd name="T55" fmla="*/ 22 h 235"/>
                <a:gd name="T56" fmla="*/ 21 w 320"/>
                <a:gd name="T57" fmla="*/ 22 h 235"/>
                <a:gd name="T58" fmla="*/ 21 w 320"/>
                <a:gd name="T5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235">
                  <a:moveTo>
                    <a:pt x="224" y="235"/>
                  </a:moveTo>
                  <a:cubicBezTo>
                    <a:pt x="10" y="235"/>
                    <a:pt x="10" y="235"/>
                    <a:pt x="10" y="235"/>
                  </a:cubicBezTo>
                  <a:cubicBezTo>
                    <a:pt x="4" y="235"/>
                    <a:pt x="0" y="230"/>
                    <a:pt x="0" y="224"/>
                  </a:cubicBezTo>
                  <a:cubicBezTo>
                    <a:pt x="0" y="11"/>
                    <a:pt x="0" y="11"/>
                    <a:pt x="0" y="11"/>
                  </a:cubicBezTo>
                  <a:cubicBezTo>
                    <a:pt x="0" y="5"/>
                    <a:pt x="4" y="0"/>
                    <a:pt x="10" y="0"/>
                  </a:cubicBezTo>
                  <a:cubicBezTo>
                    <a:pt x="224" y="0"/>
                    <a:pt x="224" y="0"/>
                    <a:pt x="224" y="0"/>
                  </a:cubicBezTo>
                  <a:cubicBezTo>
                    <a:pt x="230" y="0"/>
                    <a:pt x="234" y="5"/>
                    <a:pt x="234" y="11"/>
                  </a:cubicBezTo>
                  <a:cubicBezTo>
                    <a:pt x="234" y="58"/>
                    <a:pt x="234" y="58"/>
                    <a:pt x="234" y="58"/>
                  </a:cubicBezTo>
                  <a:cubicBezTo>
                    <a:pt x="304" y="23"/>
                    <a:pt x="304" y="23"/>
                    <a:pt x="304" y="23"/>
                  </a:cubicBezTo>
                  <a:cubicBezTo>
                    <a:pt x="308" y="21"/>
                    <a:pt x="311" y="21"/>
                    <a:pt x="315" y="23"/>
                  </a:cubicBezTo>
                  <a:cubicBezTo>
                    <a:pt x="318" y="25"/>
                    <a:pt x="320" y="29"/>
                    <a:pt x="320" y="32"/>
                  </a:cubicBezTo>
                  <a:cubicBezTo>
                    <a:pt x="320" y="203"/>
                    <a:pt x="320" y="203"/>
                    <a:pt x="320" y="203"/>
                  </a:cubicBezTo>
                  <a:cubicBezTo>
                    <a:pt x="320" y="207"/>
                    <a:pt x="318" y="210"/>
                    <a:pt x="315" y="212"/>
                  </a:cubicBezTo>
                  <a:cubicBezTo>
                    <a:pt x="311" y="214"/>
                    <a:pt x="308" y="214"/>
                    <a:pt x="304" y="213"/>
                  </a:cubicBezTo>
                  <a:cubicBezTo>
                    <a:pt x="234" y="178"/>
                    <a:pt x="234" y="178"/>
                    <a:pt x="234" y="178"/>
                  </a:cubicBezTo>
                  <a:cubicBezTo>
                    <a:pt x="234" y="224"/>
                    <a:pt x="234" y="224"/>
                    <a:pt x="234" y="224"/>
                  </a:cubicBezTo>
                  <a:cubicBezTo>
                    <a:pt x="234" y="230"/>
                    <a:pt x="230" y="235"/>
                    <a:pt x="224" y="235"/>
                  </a:cubicBezTo>
                  <a:close/>
                  <a:moveTo>
                    <a:pt x="21" y="214"/>
                  </a:moveTo>
                  <a:cubicBezTo>
                    <a:pt x="213" y="214"/>
                    <a:pt x="213" y="214"/>
                    <a:pt x="213" y="214"/>
                  </a:cubicBezTo>
                  <a:cubicBezTo>
                    <a:pt x="213" y="160"/>
                    <a:pt x="213" y="160"/>
                    <a:pt x="213" y="160"/>
                  </a:cubicBezTo>
                  <a:cubicBezTo>
                    <a:pt x="213" y="157"/>
                    <a:pt x="215" y="153"/>
                    <a:pt x="218" y="151"/>
                  </a:cubicBezTo>
                  <a:cubicBezTo>
                    <a:pt x="221" y="149"/>
                    <a:pt x="225" y="149"/>
                    <a:pt x="228" y="151"/>
                  </a:cubicBezTo>
                  <a:cubicBezTo>
                    <a:pt x="298" y="186"/>
                    <a:pt x="298" y="186"/>
                    <a:pt x="298" y="186"/>
                  </a:cubicBezTo>
                  <a:cubicBezTo>
                    <a:pt x="298" y="50"/>
                    <a:pt x="298" y="50"/>
                    <a:pt x="298" y="50"/>
                  </a:cubicBezTo>
                  <a:cubicBezTo>
                    <a:pt x="228" y="85"/>
                    <a:pt x="228" y="85"/>
                    <a:pt x="228" y="85"/>
                  </a:cubicBezTo>
                  <a:cubicBezTo>
                    <a:pt x="225" y="86"/>
                    <a:pt x="221" y="86"/>
                    <a:pt x="218" y="84"/>
                  </a:cubicBezTo>
                  <a:cubicBezTo>
                    <a:pt x="215" y="82"/>
                    <a:pt x="213" y="79"/>
                    <a:pt x="213" y="75"/>
                  </a:cubicBezTo>
                  <a:cubicBezTo>
                    <a:pt x="213" y="22"/>
                    <a:pt x="213" y="22"/>
                    <a:pt x="213" y="22"/>
                  </a:cubicBezTo>
                  <a:cubicBezTo>
                    <a:pt x="21" y="22"/>
                    <a:pt x="21" y="22"/>
                    <a:pt x="21" y="22"/>
                  </a:cubicBezTo>
                  <a:lnTo>
                    <a:pt x="21" y="214"/>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0" name="Group 360">
            <a:extLst>
              <a:ext uri="{FF2B5EF4-FFF2-40B4-BE49-F238E27FC236}">
                <a16:creationId xmlns:a16="http://schemas.microsoft.com/office/drawing/2014/main" id="{678B9280-525F-8341-8182-5FD001EDEF21}"/>
              </a:ext>
            </a:extLst>
          </p:cNvPr>
          <p:cNvGrpSpPr>
            <a:grpSpLocks noChangeAspect="1"/>
          </p:cNvGrpSpPr>
          <p:nvPr/>
        </p:nvGrpSpPr>
        <p:grpSpPr bwMode="auto">
          <a:xfrm>
            <a:off x="8730225" y="1819934"/>
            <a:ext cx="440203" cy="438912"/>
            <a:chOff x="1935" y="1199"/>
            <a:chExt cx="341" cy="340"/>
          </a:xfrm>
          <a:solidFill>
            <a:schemeClr val="bg1"/>
          </a:solidFill>
        </p:grpSpPr>
        <p:sp>
          <p:nvSpPr>
            <p:cNvPr id="61" name="Freeform 361">
              <a:extLst>
                <a:ext uri="{FF2B5EF4-FFF2-40B4-BE49-F238E27FC236}">
                  <a16:creationId xmlns:a16="http://schemas.microsoft.com/office/drawing/2014/main" id="{B311373B-B0DF-764F-A80A-FFEFC8A2101F}"/>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362">
              <a:extLst>
                <a:ext uri="{FF2B5EF4-FFF2-40B4-BE49-F238E27FC236}">
                  <a16:creationId xmlns:a16="http://schemas.microsoft.com/office/drawing/2014/main" id="{D64AD35D-A5FF-7040-A7B9-7611CA92DED8}"/>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ustDataLst>
      <p:tags r:id="rId1"/>
    </p:custDataLst>
    <p:extLst>
      <p:ext uri="{BB962C8B-B14F-4D97-AF65-F5344CB8AC3E}">
        <p14:creationId xmlns:p14="http://schemas.microsoft.com/office/powerpoint/2010/main" val="1239047999"/>
      </p:ext>
    </p:extLst>
  </p:cSld>
  <p:clrMapOvr>
    <a:masterClrMapping/>
  </p:clrMapOvr>
  <p:transition>
    <p:fade/>
  </p:transition>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0" name="Freeform 45"/>
          <p:cNvSpPr>
            <a:spLocks/>
          </p:cNvSpPr>
          <p:nvPr/>
        </p:nvSpPr>
        <p:spPr bwMode="auto">
          <a:xfrm>
            <a:off x="6350" y="1547092"/>
            <a:ext cx="11274099" cy="2314575"/>
          </a:xfrm>
          <a:custGeom>
            <a:avLst/>
            <a:gdLst>
              <a:gd name="T0" fmla="*/ 5937 w 5937"/>
              <a:gd name="T1" fmla="*/ 0 h 1194"/>
              <a:gd name="T2" fmla="*/ 5906 w 5937"/>
              <a:gd name="T3" fmla="*/ 33 h 1194"/>
              <a:gd name="T4" fmla="*/ 5823 w 5937"/>
              <a:gd name="T5" fmla="*/ 112 h 1194"/>
              <a:gd name="T6" fmla="*/ 5613 w 5937"/>
              <a:gd name="T7" fmla="*/ 159 h 1194"/>
              <a:gd name="T8" fmla="*/ 4192 w 5937"/>
              <a:gd name="T9" fmla="*/ 159 h 1194"/>
              <a:gd name="T10" fmla="*/ 4033 w 5937"/>
              <a:gd name="T11" fmla="*/ 317 h 1194"/>
              <a:gd name="T12" fmla="*/ 4033 w 5937"/>
              <a:gd name="T13" fmla="*/ 1035 h 1194"/>
              <a:gd name="T14" fmla="*/ 3874 w 5937"/>
              <a:gd name="T15" fmla="*/ 1194 h 1194"/>
              <a:gd name="T16" fmla="*/ 390 w 5937"/>
              <a:gd name="T17" fmla="*/ 1194 h 1194"/>
              <a:gd name="T18" fmla="*/ 231 w 5937"/>
              <a:gd name="T19" fmla="*/ 1041 h 1194"/>
              <a:gd name="T20" fmla="*/ 116 w 5937"/>
              <a:gd name="T21" fmla="*/ 888 h 1194"/>
              <a:gd name="T22" fmla="*/ 0 w 5937"/>
              <a:gd name="T23" fmla="*/ 888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37" h="1194">
                <a:moveTo>
                  <a:pt x="5937" y="0"/>
                </a:moveTo>
                <a:cubicBezTo>
                  <a:pt x="5937" y="0"/>
                  <a:pt x="5923" y="15"/>
                  <a:pt x="5906" y="33"/>
                </a:cubicBezTo>
                <a:cubicBezTo>
                  <a:pt x="5888" y="51"/>
                  <a:pt x="5851" y="87"/>
                  <a:pt x="5823" y="112"/>
                </a:cubicBezTo>
                <a:cubicBezTo>
                  <a:pt x="5794" y="138"/>
                  <a:pt x="5700" y="159"/>
                  <a:pt x="5613" y="159"/>
                </a:cubicBezTo>
                <a:cubicBezTo>
                  <a:pt x="4192" y="159"/>
                  <a:pt x="4192" y="159"/>
                  <a:pt x="4192" y="159"/>
                </a:cubicBezTo>
                <a:cubicBezTo>
                  <a:pt x="4104" y="159"/>
                  <a:pt x="4033" y="230"/>
                  <a:pt x="4033" y="317"/>
                </a:cubicBezTo>
                <a:cubicBezTo>
                  <a:pt x="4033" y="1035"/>
                  <a:pt x="4033" y="1035"/>
                  <a:pt x="4033" y="1035"/>
                </a:cubicBezTo>
                <a:cubicBezTo>
                  <a:pt x="4033" y="1123"/>
                  <a:pt x="3961" y="1194"/>
                  <a:pt x="3874" y="1194"/>
                </a:cubicBezTo>
                <a:cubicBezTo>
                  <a:pt x="390" y="1194"/>
                  <a:pt x="390" y="1194"/>
                  <a:pt x="390" y="1194"/>
                </a:cubicBezTo>
                <a:cubicBezTo>
                  <a:pt x="302" y="1194"/>
                  <a:pt x="231" y="1125"/>
                  <a:pt x="231" y="1041"/>
                </a:cubicBezTo>
                <a:cubicBezTo>
                  <a:pt x="231" y="957"/>
                  <a:pt x="179" y="888"/>
                  <a:pt x="116" y="888"/>
                </a:cubicBezTo>
                <a:cubicBezTo>
                  <a:pt x="52" y="888"/>
                  <a:pt x="0" y="888"/>
                  <a:pt x="0" y="888"/>
                </a:cubicBezTo>
              </a:path>
            </a:pathLst>
          </a:custGeom>
          <a:noFill/>
          <a:ln w="19050" cap="rnd">
            <a:solidFill>
              <a:srgbClr val="2318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9" name="AutoShape 43"/>
          <p:cNvSpPr>
            <a:spLocks noChangeAspect="1" noChangeArrowheads="1" noTextEdit="1"/>
          </p:cNvSpPr>
          <p:nvPr/>
        </p:nvSpPr>
        <p:spPr bwMode="auto">
          <a:xfrm>
            <a:off x="0" y="983529"/>
            <a:ext cx="12118975" cy="288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4"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667" b="1" dirty="0">
              <a:solidFill>
                <a:schemeClr val="tx1"/>
              </a:solidFill>
              <a:latin typeface="Arial" panose="020B0604020202020204" pitchFamily="34" charset="0"/>
              <a:ea typeface="Microsoft YaHei" panose="020B0503020204020204" pitchFamily="34" charset="-122"/>
              <a:cs typeface="+mj-cs"/>
              <a:sym typeface="Arial" panose="020B0604020202020204" pitchFamily="34" charset="0"/>
            </a:endParaRPr>
          </a:p>
        </p:txBody>
      </p:sp>
      <p:sp>
        <p:nvSpPr>
          <p:cNvPr id="8" name="Rectangle 7"/>
          <p:cNvSpPr/>
          <p:nvPr/>
        </p:nvSpPr>
        <p:spPr>
          <a:xfrm>
            <a:off x="469901" y="4062707"/>
            <a:ext cx="1465579" cy="986369"/>
          </a:xfrm>
          <a:prstGeom prst="rect">
            <a:avLst/>
          </a:prstGeom>
          <a:solidFill>
            <a:srgbClr val="86BC25"/>
          </a:solid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a:t>
            </a:r>
            <a:endParaRPr lang="en-US" sz="1100" dirty="0">
              <a:solidFill>
                <a:schemeClr val="bg1"/>
              </a:solidFill>
            </a:endParaRPr>
          </a:p>
        </p:txBody>
      </p:sp>
      <p:sp>
        <p:nvSpPr>
          <p:cNvPr id="9" name="Rectangle 8"/>
          <p:cNvSpPr/>
          <p:nvPr/>
        </p:nvSpPr>
        <p:spPr>
          <a:xfrm>
            <a:off x="1996104" y="4062707"/>
            <a:ext cx="1689184" cy="986369"/>
          </a:xfrm>
          <a:prstGeom prst="rect">
            <a:avLst/>
          </a:prstGeom>
          <a:solidFill>
            <a:srgbClr val="C4D600"/>
          </a:solid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a:t>
            </a:r>
            <a:endParaRPr lang="en-US" sz="1100" dirty="0">
              <a:solidFill>
                <a:schemeClr val="bg1"/>
              </a:solidFill>
            </a:endParaRPr>
          </a:p>
        </p:txBody>
      </p:sp>
      <p:sp>
        <p:nvSpPr>
          <p:cNvPr id="10" name="Rectangle 9"/>
          <p:cNvSpPr/>
          <p:nvPr/>
        </p:nvSpPr>
        <p:spPr>
          <a:xfrm>
            <a:off x="3745912" y="4062454"/>
            <a:ext cx="2244317" cy="989837"/>
          </a:xfrm>
          <a:prstGeom prst="rect">
            <a:avLst/>
          </a:prstGeom>
          <a:solidFill>
            <a:srgbClr val="43B02A"/>
          </a:solid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a:t>
            </a:r>
            <a:endParaRPr lang="en-US" sz="1100" dirty="0">
              <a:solidFill>
                <a:schemeClr val="bg1"/>
              </a:solidFill>
            </a:endParaRPr>
          </a:p>
        </p:txBody>
      </p:sp>
      <p:sp>
        <p:nvSpPr>
          <p:cNvPr id="11" name="Rectangle 10"/>
          <p:cNvSpPr/>
          <p:nvPr/>
        </p:nvSpPr>
        <p:spPr>
          <a:xfrm>
            <a:off x="6050852" y="4062707"/>
            <a:ext cx="1821751" cy="986369"/>
          </a:xfrm>
          <a:prstGeom prst="rect">
            <a:avLst/>
          </a:prstGeom>
          <a:solidFill>
            <a:srgbClr val="00ABAB"/>
          </a:solid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a:t>
            </a:r>
            <a:endParaRPr lang="en-US" sz="1100" dirty="0">
              <a:solidFill>
                <a:schemeClr val="bg1"/>
              </a:solidFill>
            </a:endParaRPr>
          </a:p>
        </p:txBody>
      </p:sp>
      <p:sp>
        <p:nvSpPr>
          <p:cNvPr id="12" name="Rectangle 11"/>
          <p:cNvSpPr/>
          <p:nvPr/>
        </p:nvSpPr>
        <p:spPr>
          <a:xfrm>
            <a:off x="8039054" y="2071503"/>
            <a:ext cx="1557066" cy="1304889"/>
          </a:xfrm>
          <a:prstGeom prst="rect">
            <a:avLst/>
          </a:prstGeom>
          <a:solidFill>
            <a:srgbClr val="62B5E5"/>
          </a:solidFill>
          <a:ln w="254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xxxx</a:t>
            </a:r>
            <a:endParaRPr lang="en-US" sz="1100" b="1" dirty="0">
              <a:solidFill>
                <a:schemeClr val="bg1"/>
              </a:solidFill>
            </a:endParaRPr>
          </a:p>
          <a:p>
            <a:pPr algn="ctr"/>
            <a:r>
              <a:rPr lang="en-US" sz="1100" b="1" dirty="0" err="1">
                <a:solidFill>
                  <a:schemeClr val="bg1"/>
                </a:solidFill>
              </a:rPr>
              <a:t>Xxxxxxxxxxxxx</a:t>
            </a:r>
            <a:endParaRPr lang="en-US" sz="1100" b="1" dirty="0">
              <a:solidFill>
                <a:schemeClr val="bg1"/>
              </a:solidFill>
            </a:endParaRPr>
          </a:p>
          <a:p>
            <a:pPr algn="ctr"/>
            <a:r>
              <a:rPr lang="en-US" sz="1100" b="1" dirty="0" err="1">
                <a:solidFill>
                  <a:schemeClr val="bg1"/>
                </a:solidFill>
              </a:rPr>
              <a:t>xxxxxxxxxx</a:t>
            </a:r>
            <a:endParaRPr lang="en-US" sz="1100" dirty="0">
              <a:solidFill>
                <a:schemeClr val="bg1"/>
              </a:solidFill>
            </a:endParaRPr>
          </a:p>
        </p:txBody>
      </p:sp>
      <p:sp>
        <p:nvSpPr>
          <p:cNvPr id="13" name="Rectangle 12"/>
          <p:cNvSpPr/>
          <p:nvPr/>
        </p:nvSpPr>
        <p:spPr>
          <a:xfrm>
            <a:off x="9722168" y="2062077"/>
            <a:ext cx="1635760" cy="1304889"/>
          </a:xfrm>
          <a:prstGeom prst="rect">
            <a:avLst/>
          </a:prstGeom>
          <a:solidFill>
            <a:srgbClr val="00A3E0"/>
          </a:solidFill>
          <a:ln w="254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xxxx</a:t>
            </a:r>
            <a:endParaRPr lang="en-US" sz="1100" b="1" dirty="0">
              <a:solidFill>
                <a:schemeClr val="bg1"/>
              </a:solidFill>
            </a:endParaRPr>
          </a:p>
          <a:p>
            <a:pPr algn="ctr"/>
            <a:r>
              <a:rPr lang="en-US" sz="1100" b="1" dirty="0" err="1">
                <a:solidFill>
                  <a:schemeClr val="bg1"/>
                </a:solidFill>
              </a:rPr>
              <a:t>Xxxxxxxxxxxxx</a:t>
            </a:r>
            <a:endParaRPr lang="en-US" sz="1100" b="1" dirty="0">
              <a:solidFill>
                <a:schemeClr val="bg1"/>
              </a:solidFill>
            </a:endParaRPr>
          </a:p>
          <a:p>
            <a:pPr algn="ctr"/>
            <a:r>
              <a:rPr lang="en-US" sz="1100" b="1" dirty="0" err="1">
                <a:solidFill>
                  <a:schemeClr val="bg1"/>
                </a:solidFill>
              </a:rPr>
              <a:t>xxxxxxxxxx</a:t>
            </a:r>
            <a:endParaRPr lang="en-US" sz="1100" dirty="0">
              <a:solidFill>
                <a:schemeClr val="bg1"/>
              </a:solidFill>
            </a:endParaRPr>
          </a:p>
        </p:txBody>
      </p:sp>
      <p:grpSp>
        <p:nvGrpSpPr>
          <p:cNvPr id="232" name="Group 402"/>
          <p:cNvGrpSpPr/>
          <p:nvPr/>
        </p:nvGrpSpPr>
        <p:grpSpPr>
          <a:xfrm>
            <a:off x="1016333" y="3210454"/>
            <a:ext cx="298597" cy="526688"/>
            <a:chOff x="376239" y="1700214"/>
            <a:chExt cx="358766" cy="632820"/>
          </a:xfrm>
        </p:grpSpPr>
        <p:grpSp>
          <p:nvGrpSpPr>
            <p:cNvPr id="233" name="Group 403"/>
            <p:cNvGrpSpPr/>
            <p:nvPr/>
          </p:nvGrpSpPr>
          <p:grpSpPr>
            <a:xfrm>
              <a:off x="376239" y="1700214"/>
              <a:ext cx="358766" cy="632820"/>
              <a:chOff x="1323975" y="1319213"/>
              <a:chExt cx="766763" cy="1354137"/>
            </a:xfrm>
          </p:grpSpPr>
          <p:sp>
            <p:nvSpPr>
              <p:cNvPr id="240"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a:p>
            </p:txBody>
          </p:sp>
          <p:sp>
            <p:nvSpPr>
              <p:cNvPr id="241"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242" name="Oval 7"/>
              <p:cNvSpPr>
                <a:spLocks noChangeArrowheads="1"/>
              </p:cNvSpPr>
              <p:nvPr/>
            </p:nvSpPr>
            <p:spPr bwMode="auto">
              <a:xfrm>
                <a:off x="1392238" y="1387475"/>
                <a:ext cx="630238" cy="6334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4" name="Group 775"/>
            <p:cNvGrpSpPr>
              <a:grpSpLocks noChangeAspect="1"/>
            </p:cNvGrpSpPr>
            <p:nvPr/>
          </p:nvGrpSpPr>
          <p:grpSpPr bwMode="auto">
            <a:xfrm>
              <a:off x="431474" y="1752337"/>
              <a:ext cx="254928" cy="254927"/>
              <a:chOff x="2237" y="3306"/>
              <a:chExt cx="340" cy="340"/>
            </a:xfrm>
            <a:solidFill>
              <a:srgbClr val="86BC25"/>
            </a:solidFill>
          </p:grpSpPr>
          <p:sp>
            <p:nvSpPr>
              <p:cNvPr id="238"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solid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9"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solidFill>
                <a:schemeClr val="accent1"/>
              </a:solid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726" name="组合 725"/>
          <p:cNvGrpSpPr/>
          <p:nvPr/>
        </p:nvGrpSpPr>
        <p:grpSpPr>
          <a:xfrm>
            <a:off x="2713918" y="3210454"/>
            <a:ext cx="298597" cy="526688"/>
            <a:chOff x="2829057" y="4351232"/>
            <a:chExt cx="358766" cy="632820"/>
          </a:xfrm>
        </p:grpSpPr>
        <p:grpSp>
          <p:nvGrpSpPr>
            <p:cNvPr id="244" name="Group 414"/>
            <p:cNvGrpSpPr/>
            <p:nvPr/>
          </p:nvGrpSpPr>
          <p:grpSpPr>
            <a:xfrm>
              <a:off x="2829057" y="4351232"/>
              <a:ext cx="358766" cy="632820"/>
              <a:chOff x="1323975" y="1319213"/>
              <a:chExt cx="766763" cy="1354137"/>
            </a:xfrm>
          </p:grpSpPr>
          <p:sp>
            <p:nvSpPr>
              <p:cNvPr id="251"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252"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253" name="Oval 7"/>
              <p:cNvSpPr>
                <a:spLocks noChangeArrowheads="1"/>
              </p:cNvSpPr>
              <p:nvPr/>
            </p:nvSpPr>
            <p:spPr bwMode="auto">
              <a:xfrm>
                <a:off x="1392238" y="1387474"/>
                <a:ext cx="630237" cy="6334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5" name="Group 775"/>
            <p:cNvGrpSpPr>
              <a:grpSpLocks noChangeAspect="1"/>
            </p:cNvGrpSpPr>
            <p:nvPr/>
          </p:nvGrpSpPr>
          <p:grpSpPr bwMode="auto">
            <a:xfrm>
              <a:off x="2885281" y="4403807"/>
              <a:ext cx="254928" cy="254927"/>
              <a:chOff x="2237" y="3306"/>
              <a:chExt cx="340" cy="340"/>
            </a:xfrm>
            <a:solidFill>
              <a:schemeClr val="accent1"/>
            </a:solidFill>
          </p:grpSpPr>
          <p:sp>
            <p:nvSpPr>
              <p:cNvPr id="249"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0"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grp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50" name="组合 349"/>
          <p:cNvGrpSpPr/>
          <p:nvPr/>
        </p:nvGrpSpPr>
        <p:grpSpPr>
          <a:xfrm>
            <a:off x="4745458" y="3210454"/>
            <a:ext cx="298597" cy="526688"/>
            <a:chOff x="6228707" y="4412897"/>
            <a:chExt cx="358766" cy="632820"/>
          </a:xfrm>
        </p:grpSpPr>
        <p:grpSp>
          <p:nvGrpSpPr>
            <p:cNvPr id="255" name="Group 425"/>
            <p:cNvGrpSpPr/>
            <p:nvPr/>
          </p:nvGrpSpPr>
          <p:grpSpPr>
            <a:xfrm>
              <a:off x="6228707" y="4412897"/>
              <a:ext cx="358766" cy="632820"/>
              <a:chOff x="1323975" y="1319213"/>
              <a:chExt cx="766763" cy="1354137"/>
            </a:xfrm>
          </p:grpSpPr>
          <p:sp>
            <p:nvSpPr>
              <p:cNvPr id="262"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rgbClr val="2C5234"/>
              </a:solidFill>
              <a:ln>
                <a:noFill/>
              </a:ln>
            </p:spPr>
            <p:txBody>
              <a:bodyPr vert="horz" wrap="square" lIns="91440" tIns="45720" rIns="91440" bIns="45720" numCol="1" anchor="t" anchorCtr="0" compatLnSpc="1">
                <a:prstTxWarp prst="textNoShape">
                  <a:avLst/>
                </a:prstTxWarp>
              </a:bodyPr>
              <a:lstStyle/>
              <a:p>
                <a:endParaRPr lang="en-GB"/>
              </a:p>
            </p:txBody>
          </p:sp>
          <p:sp>
            <p:nvSpPr>
              <p:cNvPr id="263"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264" name="Oval 7"/>
              <p:cNvSpPr>
                <a:spLocks noChangeArrowheads="1"/>
              </p:cNvSpPr>
              <p:nvPr/>
            </p:nvSpPr>
            <p:spPr bwMode="auto">
              <a:xfrm>
                <a:off x="1392238" y="1387475"/>
                <a:ext cx="630238" cy="6334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6" name="Group 775"/>
            <p:cNvGrpSpPr>
              <a:grpSpLocks noChangeAspect="1"/>
            </p:cNvGrpSpPr>
            <p:nvPr/>
          </p:nvGrpSpPr>
          <p:grpSpPr bwMode="auto">
            <a:xfrm>
              <a:off x="6283942" y="4465020"/>
              <a:ext cx="254928" cy="254927"/>
              <a:chOff x="2237" y="3306"/>
              <a:chExt cx="340" cy="340"/>
            </a:xfrm>
            <a:solidFill>
              <a:srgbClr val="86BC25"/>
            </a:solidFill>
          </p:grpSpPr>
          <p:sp>
            <p:nvSpPr>
              <p:cNvPr id="260"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3B02A"/>
              </a:solid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solidFill>
                <a:srgbClr val="43B02A"/>
              </a:solid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91" name="Group 402"/>
          <p:cNvGrpSpPr/>
          <p:nvPr/>
        </p:nvGrpSpPr>
        <p:grpSpPr>
          <a:xfrm>
            <a:off x="6774581" y="3210454"/>
            <a:ext cx="298597" cy="526688"/>
            <a:chOff x="376239" y="1700214"/>
            <a:chExt cx="358766" cy="632820"/>
          </a:xfrm>
        </p:grpSpPr>
        <p:grpSp>
          <p:nvGrpSpPr>
            <p:cNvPr id="292" name="Group 403"/>
            <p:cNvGrpSpPr/>
            <p:nvPr/>
          </p:nvGrpSpPr>
          <p:grpSpPr>
            <a:xfrm>
              <a:off x="376239" y="1700214"/>
              <a:ext cx="358766" cy="632820"/>
              <a:chOff x="1323975" y="1319213"/>
              <a:chExt cx="766763" cy="1354137"/>
            </a:xfrm>
          </p:grpSpPr>
          <p:sp>
            <p:nvSpPr>
              <p:cNvPr id="296"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GB"/>
              </a:p>
            </p:txBody>
          </p:sp>
          <p:sp>
            <p:nvSpPr>
              <p:cNvPr id="297"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endParaRPr lang="en-GB"/>
              </a:p>
            </p:txBody>
          </p:sp>
          <p:sp>
            <p:nvSpPr>
              <p:cNvPr id="298" name="Oval 7"/>
              <p:cNvSpPr>
                <a:spLocks noChangeArrowheads="1"/>
              </p:cNvSpPr>
              <p:nvPr/>
            </p:nvSpPr>
            <p:spPr bwMode="auto">
              <a:xfrm>
                <a:off x="1392238" y="1387475"/>
                <a:ext cx="630238" cy="6334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3" name="Group 775"/>
            <p:cNvGrpSpPr>
              <a:grpSpLocks noChangeAspect="1"/>
            </p:cNvGrpSpPr>
            <p:nvPr/>
          </p:nvGrpSpPr>
          <p:grpSpPr bwMode="auto">
            <a:xfrm>
              <a:off x="431474" y="1752337"/>
              <a:ext cx="254928" cy="254927"/>
              <a:chOff x="2237" y="3306"/>
              <a:chExt cx="340" cy="340"/>
            </a:xfrm>
            <a:solidFill>
              <a:srgbClr val="86BC25"/>
            </a:solidFill>
          </p:grpSpPr>
          <p:sp>
            <p:nvSpPr>
              <p:cNvPr id="294"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solidFill>
                <a:srgbClr val="00ABAB"/>
              </a:solid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99" name="Group 402"/>
          <p:cNvGrpSpPr/>
          <p:nvPr/>
        </p:nvGrpSpPr>
        <p:grpSpPr>
          <a:xfrm>
            <a:off x="8653779" y="1206353"/>
            <a:ext cx="298597" cy="526688"/>
            <a:chOff x="376239" y="1700214"/>
            <a:chExt cx="358766" cy="632820"/>
          </a:xfrm>
        </p:grpSpPr>
        <p:grpSp>
          <p:nvGrpSpPr>
            <p:cNvPr id="300" name="Group 403"/>
            <p:cNvGrpSpPr/>
            <p:nvPr/>
          </p:nvGrpSpPr>
          <p:grpSpPr>
            <a:xfrm>
              <a:off x="376239" y="1700214"/>
              <a:ext cx="358766" cy="632820"/>
              <a:chOff x="1323975" y="1319213"/>
              <a:chExt cx="766763" cy="1354137"/>
            </a:xfrm>
          </p:grpSpPr>
          <p:sp>
            <p:nvSpPr>
              <p:cNvPr id="304"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endParaRPr lang="en-GB"/>
              </a:p>
            </p:txBody>
          </p:sp>
          <p:sp>
            <p:nvSpPr>
              <p:cNvPr id="305"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rgbClr val="62B5E5"/>
              </a:solidFill>
              <a:ln>
                <a:noFill/>
              </a:ln>
            </p:spPr>
            <p:txBody>
              <a:bodyPr vert="horz" wrap="square" lIns="91440" tIns="45720" rIns="91440" bIns="45720" numCol="1" anchor="t" anchorCtr="0" compatLnSpc="1">
                <a:prstTxWarp prst="textNoShape">
                  <a:avLst/>
                </a:prstTxWarp>
              </a:bodyPr>
              <a:lstStyle/>
              <a:p>
                <a:endParaRPr lang="en-GB"/>
              </a:p>
            </p:txBody>
          </p:sp>
          <p:sp>
            <p:nvSpPr>
              <p:cNvPr id="306" name="Oval 7"/>
              <p:cNvSpPr>
                <a:spLocks noChangeArrowheads="1"/>
              </p:cNvSpPr>
              <p:nvPr/>
            </p:nvSpPr>
            <p:spPr bwMode="auto">
              <a:xfrm>
                <a:off x="1392238" y="1387475"/>
                <a:ext cx="630238" cy="6334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1" name="Group 775"/>
            <p:cNvGrpSpPr>
              <a:grpSpLocks noChangeAspect="1"/>
            </p:cNvGrpSpPr>
            <p:nvPr/>
          </p:nvGrpSpPr>
          <p:grpSpPr bwMode="auto">
            <a:xfrm>
              <a:off x="431474" y="1752337"/>
              <a:ext cx="254928" cy="254927"/>
              <a:chOff x="2237" y="3306"/>
              <a:chExt cx="340" cy="340"/>
            </a:xfrm>
            <a:solidFill>
              <a:srgbClr val="86BC25"/>
            </a:solidFill>
          </p:grpSpPr>
          <p:sp>
            <p:nvSpPr>
              <p:cNvPr id="302"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2B5E5"/>
              </a:solid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solidFill>
                <a:srgbClr val="62B5E5"/>
              </a:solid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07" name="Group 402"/>
          <p:cNvGrpSpPr/>
          <p:nvPr/>
        </p:nvGrpSpPr>
        <p:grpSpPr>
          <a:xfrm>
            <a:off x="10384644" y="1206353"/>
            <a:ext cx="298597" cy="526688"/>
            <a:chOff x="376239" y="1700214"/>
            <a:chExt cx="358766" cy="632820"/>
          </a:xfrm>
        </p:grpSpPr>
        <p:grpSp>
          <p:nvGrpSpPr>
            <p:cNvPr id="308" name="Group 403"/>
            <p:cNvGrpSpPr/>
            <p:nvPr/>
          </p:nvGrpSpPr>
          <p:grpSpPr>
            <a:xfrm>
              <a:off x="376239" y="1700214"/>
              <a:ext cx="358766" cy="632820"/>
              <a:chOff x="1323975" y="1319213"/>
              <a:chExt cx="766763" cy="1354137"/>
            </a:xfrm>
          </p:grpSpPr>
          <p:sp>
            <p:nvSpPr>
              <p:cNvPr id="312"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rgbClr val="005587"/>
              </a:solidFill>
              <a:ln>
                <a:noFill/>
              </a:ln>
            </p:spPr>
            <p:txBody>
              <a:bodyPr vert="horz" wrap="square" lIns="91440" tIns="45720" rIns="91440" bIns="45720" numCol="1" anchor="t" anchorCtr="0" compatLnSpc="1">
                <a:prstTxWarp prst="textNoShape">
                  <a:avLst/>
                </a:prstTxWarp>
              </a:bodyPr>
              <a:lstStyle/>
              <a:p>
                <a:endParaRPr lang="en-GB"/>
              </a:p>
            </p:txBody>
          </p:sp>
          <p:sp>
            <p:nvSpPr>
              <p:cNvPr id="313"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a:p>
            </p:txBody>
          </p:sp>
          <p:sp>
            <p:nvSpPr>
              <p:cNvPr id="314" name="Oval 7"/>
              <p:cNvSpPr>
                <a:spLocks noChangeArrowheads="1"/>
              </p:cNvSpPr>
              <p:nvPr/>
            </p:nvSpPr>
            <p:spPr bwMode="auto">
              <a:xfrm>
                <a:off x="1392238" y="1387475"/>
                <a:ext cx="630238" cy="6334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9" name="Group 775"/>
            <p:cNvGrpSpPr>
              <a:grpSpLocks noChangeAspect="1"/>
            </p:cNvGrpSpPr>
            <p:nvPr/>
          </p:nvGrpSpPr>
          <p:grpSpPr bwMode="auto">
            <a:xfrm>
              <a:off x="431474" y="1752337"/>
              <a:ext cx="254928" cy="254927"/>
              <a:chOff x="2237" y="3306"/>
              <a:chExt cx="340" cy="340"/>
            </a:xfrm>
            <a:solidFill>
              <a:srgbClr val="86BC25"/>
            </a:solidFill>
          </p:grpSpPr>
          <p:sp>
            <p:nvSpPr>
              <p:cNvPr id="310"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3E0"/>
              </a:solid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1"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solidFill>
                <a:srgbClr val="00A3E0"/>
              </a:solid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56" name="组合 355"/>
          <p:cNvGrpSpPr/>
          <p:nvPr/>
        </p:nvGrpSpPr>
        <p:grpSpPr>
          <a:xfrm flipH="1">
            <a:off x="1874292" y="3802330"/>
            <a:ext cx="244474" cy="125413"/>
            <a:chOff x="1829408" y="5335410"/>
            <a:chExt cx="244474" cy="125413"/>
          </a:xfrm>
          <a:solidFill>
            <a:srgbClr val="D0D0CE"/>
          </a:solidFill>
        </p:grpSpPr>
        <p:sp>
          <p:nvSpPr>
            <p:cNvPr id="354"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solidFill>
              <a:srgbClr val="86BC25"/>
            </a:solid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57" name="组合 356"/>
          <p:cNvGrpSpPr/>
          <p:nvPr/>
        </p:nvGrpSpPr>
        <p:grpSpPr>
          <a:xfrm flipH="1">
            <a:off x="3616581" y="3802330"/>
            <a:ext cx="244474" cy="125413"/>
            <a:chOff x="1829408" y="5335410"/>
            <a:chExt cx="244474" cy="125413"/>
          </a:xfrm>
          <a:solidFill>
            <a:srgbClr val="D0D0CE"/>
          </a:solidFill>
        </p:grpSpPr>
        <p:sp>
          <p:nvSpPr>
            <p:cNvPr id="358"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solidFill>
              <a:srgbClr val="C4D600"/>
            </a:solid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60" name="组合 359"/>
          <p:cNvGrpSpPr/>
          <p:nvPr/>
        </p:nvGrpSpPr>
        <p:grpSpPr>
          <a:xfrm flipH="1">
            <a:off x="5925186" y="3802330"/>
            <a:ext cx="244474" cy="125413"/>
            <a:chOff x="1829408" y="5335410"/>
            <a:chExt cx="244474" cy="125413"/>
          </a:xfrm>
          <a:solidFill>
            <a:srgbClr val="D0D0CE"/>
          </a:solidFill>
        </p:grpSpPr>
        <p:sp>
          <p:nvSpPr>
            <p:cNvPr id="361"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solidFill>
              <a:srgbClr val="43B02A"/>
            </a:solid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63" name="组合 362"/>
          <p:cNvGrpSpPr/>
          <p:nvPr/>
        </p:nvGrpSpPr>
        <p:grpSpPr>
          <a:xfrm flipH="1">
            <a:off x="7848601" y="1797601"/>
            <a:ext cx="244474" cy="125413"/>
            <a:chOff x="1829408" y="5335410"/>
            <a:chExt cx="244474" cy="125413"/>
          </a:xfrm>
          <a:solidFill>
            <a:srgbClr val="D0D0CE"/>
          </a:solidFill>
        </p:grpSpPr>
        <p:sp>
          <p:nvSpPr>
            <p:cNvPr id="364"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solidFill>
              <a:srgbClr val="00ABAB"/>
            </a:solid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66" name="组合 365"/>
          <p:cNvGrpSpPr/>
          <p:nvPr/>
        </p:nvGrpSpPr>
        <p:grpSpPr>
          <a:xfrm flipH="1">
            <a:off x="9574214" y="1797601"/>
            <a:ext cx="244474" cy="125413"/>
            <a:chOff x="1829408" y="5335410"/>
            <a:chExt cx="244474" cy="125413"/>
          </a:xfrm>
          <a:solidFill>
            <a:srgbClr val="D0D0CE"/>
          </a:solidFill>
        </p:grpSpPr>
        <p:sp>
          <p:nvSpPr>
            <p:cNvPr id="367"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solidFill>
              <a:srgbClr val="62B5E5"/>
            </a:solid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69" name="Oval 116"/>
          <p:cNvSpPr/>
          <p:nvPr/>
        </p:nvSpPr>
        <p:spPr bwMode="gray">
          <a:xfrm>
            <a:off x="1086169" y="3795068"/>
            <a:ext cx="143784" cy="143784"/>
          </a:xfrm>
          <a:prstGeom prst="ellipse">
            <a:avLst/>
          </a:prstGeom>
          <a:solidFill>
            <a:srgbClr val="86BC25"/>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0" name="Oval 116"/>
          <p:cNvSpPr/>
          <p:nvPr/>
        </p:nvSpPr>
        <p:spPr bwMode="gray">
          <a:xfrm>
            <a:off x="2791862" y="3795068"/>
            <a:ext cx="143784" cy="143784"/>
          </a:xfrm>
          <a:prstGeom prst="ellipse">
            <a:avLst/>
          </a:prstGeom>
          <a:solidFill>
            <a:srgbClr val="C4D600"/>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1" name="Oval 116"/>
          <p:cNvSpPr/>
          <p:nvPr/>
        </p:nvSpPr>
        <p:spPr bwMode="gray">
          <a:xfrm>
            <a:off x="4830917" y="3795068"/>
            <a:ext cx="143784" cy="143784"/>
          </a:xfrm>
          <a:prstGeom prst="ellipse">
            <a:avLst/>
          </a:prstGeom>
          <a:solidFill>
            <a:srgbClr val="43B02A"/>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2" name="Oval 116"/>
          <p:cNvSpPr/>
          <p:nvPr/>
        </p:nvSpPr>
        <p:spPr bwMode="gray">
          <a:xfrm>
            <a:off x="6862974" y="3795068"/>
            <a:ext cx="143784" cy="143784"/>
          </a:xfrm>
          <a:prstGeom prst="ellipse">
            <a:avLst/>
          </a:prstGeom>
          <a:solidFill>
            <a:srgbClr val="00ABAB"/>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380" name="组合 379"/>
          <p:cNvGrpSpPr/>
          <p:nvPr/>
        </p:nvGrpSpPr>
        <p:grpSpPr>
          <a:xfrm flipH="1">
            <a:off x="0" y="3192730"/>
            <a:ext cx="244474" cy="125413"/>
            <a:chOff x="1829408" y="5335410"/>
            <a:chExt cx="244474" cy="125413"/>
          </a:xfrm>
          <a:solidFill>
            <a:srgbClr val="D0D0CE"/>
          </a:solidFill>
        </p:grpSpPr>
        <p:sp>
          <p:nvSpPr>
            <p:cNvPr id="381"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2"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96" name="Oval 116"/>
          <p:cNvSpPr/>
          <p:nvPr/>
        </p:nvSpPr>
        <p:spPr bwMode="gray">
          <a:xfrm>
            <a:off x="8730705" y="1786806"/>
            <a:ext cx="143784" cy="143784"/>
          </a:xfrm>
          <a:prstGeom prst="ellipse">
            <a:avLst/>
          </a:prstGeom>
          <a:solidFill>
            <a:srgbClr val="62B5E5"/>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97" name="Oval 116"/>
          <p:cNvSpPr/>
          <p:nvPr/>
        </p:nvSpPr>
        <p:spPr bwMode="gray">
          <a:xfrm>
            <a:off x="10465026" y="1786806"/>
            <a:ext cx="143784" cy="143784"/>
          </a:xfrm>
          <a:prstGeom prst="ellipse">
            <a:avLst/>
          </a:prstGeom>
          <a:solidFill>
            <a:srgbClr val="00A3E0"/>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721" name="组合 720"/>
          <p:cNvGrpSpPr/>
          <p:nvPr/>
        </p:nvGrpSpPr>
        <p:grpSpPr>
          <a:xfrm>
            <a:off x="11111782" y="686503"/>
            <a:ext cx="1017446" cy="989249"/>
            <a:chOff x="11420475" y="2236788"/>
            <a:chExt cx="687388" cy="668338"/>
          </a:xfrm>
        </p:grpSpPr>
        <p:sp>
          <p:nvSpPr>
            <p:cNvPr id="701" name="Freeform 46"/>
            <p:cNvSpPr>
              <a:spLocks/>
            </p:cNvSpPr>
            <p:nvPr/>
          </p:nvSpPr>
          <p:spPr bwMode="auto">
            <a:xfrm>
              <a:off x="11704638" y="2300288"/>
              <a:ext cx="34925" cy="36513"/>
            </a:xfrm>
            <a:custGeom>
              <a:avLst/>
              <a:gdLst>
                <a:gd name="T0" fmla="*/ 15 w 18"/>
                <a:gd name="T1" fmla="*/ 15 h 19"/>
                <a:gd name="T2" fmla="*/ 3 w 18"/>
                <a:gd name="T3" fmla="*/ 15 h 19"/>
                <a:gd name="T4" fmla="*/ 3 w 18"/>
                <a:gd name="T5" fmla="*/ 4 h 19"/>
                <a:gd name="T6" fmla="*/ 15 w 18"/>
                <a:gd name="T7" fmla="*/ 4 h 19"/>
                <a:gd name="T8" fmla="*/ 15 w 18"/>
                <a:gd name="T9" fmla="*/ 15 h 19"/>
              </a:gdLst>
              <a:ahLst/>
              <a:cxnLst>
                <a:cxn ang="0">
                  <a:pos x="T0" y="T1"/>
                </a:cxn>
                <a:cxn ang="0">
                  <a:pos x="T2" y="T3"/>
                </a:cxn>
                <a:cxn ang="0">
                  <a:pos x="T4" y="T5"/>
                </a:cxn>
                <a:cxn ang="0">
                  <a:pos x="T6" y="T7"/>
                </a:cxn>
                <a:cxn ang="0">
                  <a:pos x="T8" y="T9"/>
                </a:cxn>
              </a:cxnLst>
              <a:rect l="0" t="0" r="r" b="b"/>
              <a:pathLst>
                <a:path w="18" h="19">
                  <a:moveTo>
                    <a:pt x="15" y="15"/>
                  </a:moveTo>
                  <a:cubicBezTo>
                    <a:pt x="12" y="19"/>
                    <a:pt x="6" y="19"/>
                    <a:pt x="3" y="15"/>
                  </a:cubicBezTo>
                  <a:cubicBezTo>
                    <a:pt x="0" y="12"/>
                    <a:pt x="0" y="7"/>
                    <a:pt x="3" y="4"/>
                  </a:cubicBezTo>
                  <a:cubicBezTo>
                    <a:pt x="6" y="0"/>
                    <a:pt x="12" y="0"/>
                    <a:pt x="15" y="4"/>
                  </a:cubicBezTo>
                  <a:cubicBezTo>
                    <a:pt x="18" y="7"/>
                    <a:pt x="18" y="12"/>
                    <a:pt x="15" y="15"/>
                  </a:cubicBezTo>
                  <a:close/>
                </a:path>
              </a:pathLst>
            </a:custGeom>
            <a:noFill/>
            <a:ln w="19050" cap="flat">
              <a:solidFill>
                <a:srgbClr val="23181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2" name="Freeform 47"/>
            <p:cNvSpPr>
              <a:spLocks/>
            </p:cNvSpPr>
            <p:nvPr/>
          </p:nvSpPr>
          <p:spPr bwMode="auto">
            <a:xfrm>
              <a:off x="11626850" y="2403476"/>
              <a:ext cx="39688" cy="36513"/>
            </a:xfrm>
            <a:custGeom>
              <a:avLst/>
              <a:gdLst>
                <a:gd name="T0" fmla="*/ 12 w 25"/>
                <a:gd name="T1" fmla="*/ 0 h 23"/>
                <a:gd name="T2" fmla="*/ 16 w 25"/>
                <a:gd name="T3" fmla="*/ 7 h 23"/>
                <a:gd name="T4" fmla="*/ 25 w 25"/>
                <a:gd name="T5" fmla="*/ 8 h 23"/>
                <a:gd name="T6" fmla="*/ 19 w 25"/>
                <a:gd name="T7" fmla="*/ 14 h 23"/>
                <a:gd name="T8" fmla="*/ 20 w 25"/>
                <a:gd name="T9" fmla="*/ 23 h 23"/>
                <a:gd name="T10" fmla="*/ 12 w 25"/>
                <a:gd name="T11" fmla="*/ 19 h 23"/>
                <a:gd name="T12" fmla="*/ 5 w 25"/>
                <a:gd name="T13" fmla="*/ 23 h 23"/>
                <a:gd name="T14" fmla="*/ 6 w 25"/>
                <a:gd name="T15" fmla="*/ 14 h 23"/>
                <a:gd name="T16" fmla="*/ 0 w 25"/>
                <a:gd name="T17" fmla="*/ 8 h 23"/>
                <a:gd name="T18" fmla="*/ 9 w 25"/>
                <a:gd name="T19" fmla="*/ 7 h 23"/>
                <a:gd name="T20" fmla="*/ 12 w 25"/>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3">
                  <a:moveTo>
                    <a:pt x="12" y="0"/>
                  </a:moveTo>
                  <a:lnTo>
                    <a:pt x="16" y="7"/>
                  </a:lnTo>
                  <a:lnTo>
                    <a:pt x="25" y="8"/>
                  </a:lnTo>
                  <a:lnTo>
                    <a:pt x="19" y="14"/>
                  </a:lnTo>
                  <a:lnTo>
                    <a:pt x="20" y="23"/>
                  </a:lnTo>
                  <a:lnTo>
                    <a:pt x="12" y="19"/>
                  </a:lnTo>
                  <a:lnTo>
                    <a:pt x="5" y="23"/>
                  </a:lnTo>
                  <a:lnTo>
                    <a:pt x="6" y="14"/>
                  </a:lnTo>
                  <a:lnTo>
                    <a:pt x="0" y="8"/>
                  </a:lnTo>
                  <a:lnTo>
                    <a:pt x="9" y="7"/>
                  </a:lnTo>
                  <a:lnTo>
                    <a:pt x="12"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48"/>
            <p:cNvSpPr>
              <a:spLocks/>
            </p:cNvSpPr>
            <p:nvPr/>
          </p:nvSpPr>
          <p:spPr bwMode="auto">
            <a:xfrm>
              <a:off x="12003088" y="2589213"/>
              <a:ext cx="38100" cy="34925"/>
            </a:xfrm>
            <a:custGeom>
              <a:avLst/>
              <a:gdLst>
                <a:gd name="T0" fmla="*/ 12 w 24"/>
                <a:gd name="T1" fmla="*/ 0 h 22"/>
                <a:gd name="T2" fmla="*/ 15 w 24"/>
                <a:gd name="T3" fmla="*/ 7 h 22"/>
                <a:gd name="T4" fmla="*/ 24 w 24"/>
                <a:gd name="T5" fmla="*/ 8 h 22"/>
                <a:gd name="T6" fmla="*/ 18 w 24"/>
                <a:gd name="T7" fmla="*/ 13 h 22"/>
                <a:gd name="T8" fmla="*/ 19 w 24"/>
                <a:gd name="T9" fmla="*/ 22 h 22"/>
                <a:gd name="T10" fmla="*/ 12 w 24"/>
                <a:gd name="T11" fmla="*/ 18 h 22"/>
                <a:gd name="T12" fmla="*/ 4 w 24"/>
                <a:gd name="T13" fmla="*/ 22 h 22"/>
                <a:gd name="T14" fmla="*/ 6 w 24"/>
                <a:gd name="T15" fmla="*/ 13 h 22"/>
                <a:gd name="T16" fmla="*/ 0 w 24"/>
                <a:gd name="T17" fmla="*/ 8 h 22"/>
                <a:gd name="T18" fmla="*/ 8 w 24"/>
                <a:gd name="T19" fmla="*/ 7 h 22"/>
                <a:gd name="T20" fmla="*/ 12 w 24"/>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2">
                  <a:moveTo>
                    <a:pt x="12" y="0"/>
                  </a:moveTo>
                  <a:lnTo>
                    <a:pt x="15" y="7"/>
                  </a:lnTo>
                  <a:lnTo>
                    <a:pt x="24" y="8"/>
                  </a:lnTo>
                  <a:lnTo>
                    <a:pt x="18" y="13"/>
                  </a:lnTo>
                  <a:lnTo>
                    <a:pt x="19" y="22"/>
                  </a:lnTo>
                  <a:lnTo>
                    <a:pt x="12" y="18"/>
                  </a:lnTo>
                  <a:lnTo>
                    <a:pt x="4" y="22"/>
                  </a:lnTo>
                  <a:lnTo>
                    <a:pt x="6" y="13"/>
                  </a:lnTo>
                  <a:lnTo>
                    <a:pt x="0" y="8"/>
                  </a:lnTo>
                  <a:lnTo>
                    <a:pt x="8" y="7"/>
                  </a:lnTo>
                  <a:lnTo>
                    <a:pt x="12"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49"/>
            <p:cNvSpPr>
              <a:spLocks/>
            </p:cNvSpPr>
            <p:nvPr/>
          </p:nvSpPr>
          <p:spPr bwMode="auto">
            <a:xfrm>
              <a:off x="11420475" y="2706688"/>
              <a:ext cx="95250" cy="87313"/>
            </a:xfrm>
            <a:custGeom>
              <a:avLst/>
              <a:gdLst>
                <a:gd name="T0" fmla="*/ 60 w 60"/>
                <a:gd name="T1" fmla="*/ 0 h 55"/>
                <a:gd name="T2" fmla="*/ 0 w 60"/>
                <a:gd name="T3" fmla="*/ 55 h 55"/>
                <a:gd name="T4" fmla="*/ 60 w 60"/>
                <a:gd name="T5" fmla="*/ 0 h 55"/>
              </a:gdLst>
              <a:ahLst/>
              <a:cxnLst>
                <a:cxn ang="0">
                  <a:pos x="T0" y="T1"/>
                </a:cxn>
                <a:cxn ang="0">
                  <a:pos x="T2" y="T3"/>
                </a:cxn>
                <a:cxn ang="0">
                  <a:pos x="T4" y="T5"/>
                </a:cxn>
              </a:cxnLst>
              <a:rect l="0" t="0" r="r" b="b"/>
              <a:pathLst>
                <a:path w="60" h="55">
                  <a:moveTo>
                    <a:pt x="60" y="0"/>
                  </a:moveTo>
                  <a:lnTo>
                    <a:pt x="0" y="55"/>
                  </a:lnTo>
                  <a:lnTo>
                    <a:pt x="60" y="0"/>
                  </a:lnTo>
                  <a:close/>
                </a:path>
              </a:pathLst>
            </a:custGeom>
            <a:solidFill>
              <a:srgbClr val="F1D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Line 50"/>
            <p:cNvSpPr>
              <a:spLocks noChangeShapeType="1"/>
            </p:cNvSpPr>
            <p:nvPr/>
          </p:nvSpPr>
          <p:spPr bwMode="auto">
            <a:xfrm flipH="1">
              <a:off x="11420475" y="2706688"/>
              <a:ext cx="95250" cy="87313"/>
            </a:xfrm>
            <a:prstGeom prst="line">
              <a:avLst/>
            </a:prstGeom>
            <a:noFill/>
            <a:ln w="19050" cap="rnd">
              <a:solidFill>
                <a:srgbClr val="23181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6" name="Freeform 51"/>
            <p:cNvSpPr>
              <a:spLocks/>
            </p:cNvSpPr>
            <p:nvPr/>
          </p:nvSpPr>
          <p:spPr bwMode="auto">
            <a:xfrm>
              <a:off x="11561763" y="2827338"/>
              <a:ext cx="74613" cy="77788"/>
            </a:xfrm>
            <a:custGeom>
              <a:avLst/>
              <a:gdLst>
                <a:gd name="T0" fmla="*/ 47 w 47"/>
                <a:gd name="T1" fmla="*/ 0 h 49"/>
                <a:gd name="T2" fmla="*/ 0 w 47"/>
                <a:gd name="T3" fmla="*/ 49 h 49"/>
                <a:gd name="T4" fmla="*/ 47 w 47"/>
                <a:gd name="T5" fmla="*/ 0 h 49"/>
              </a:gdLst>
              <a:ahLst/>
              <a:cxnLst>
                <a:cxn ang="0">
                  <a:pos x="T0" y="T1"/>
                </a:cxn>
                <a:cxn ang="0">
                  <a:pos x="T2" y="T3"/>
                </a:cxn>
                <a:cxn ang="0">
                  <a:pos x="T4" y="T5"/>
                </a:cxn>
              </a:cxnLst>
              <a:rect l="0" t="0" r="r" b="b"/>
              <a:pathLst>
                <a:path w="47" h="49">
                  <a:moveTo>
                    <a:pt x="47" y="0"/>
                  </a:moveTo>
                  <a:lnTo>
                    <a:pt x="0" y="49"/>
                  </a:lnTo>
                  <a:lnTo>
                    <a:pt x="47" y="0"/>
                  </a:lnTo>
                  <a:close/>
                </a:path>
              </a:pathLst>
            </a:custGeom>
            <a:solidFill>
              <a:srgbClr val="F1D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Line 52"/>
            <p:cNvSpPr>
              <a:spLocks noChangeShapeType="1"/>
            </p:cNvSpPr>
            <p:nvPr/>
          </p:nvSpPr>
          <p:spPr bwMode="auto">
            <a:xfrm flipH="1">
              <a:off x="11561763" y="2827338"/>
              <a:ext cx="74613" cy="77788"/>
            </a:xfrm>
            <a:prstGeom prst="line">
              <a:avLst/>
            </a:prstGeom>
            <a:noFill/>
            <a:ln w="19050" cap="rnd">
              <a:solidFill>
                <a:srgbClr val="23181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8" name="Freeform 53"/>
            <p:cNvSpPr>
              <a:spLocks/>
            </p:cNvSpPr>
            <p:nvPr/>
          </p:nvSpPr>
          <p:spPr bwMode="auto">
            <a:xfrm>
              <a:off x="11458575" y="2492376"/>
              <a:ext cx="219075" cy="147638"/>
            </a:xfrm>
            <a:custGeom>
              <a:avLst/>
              <a:gdLst>
                <a:gd name="T0" fmla="*/ 107 w 113"/>
                <a:gd name="T1" fmla="*/ 0 h 76"/>
                <a:gd name="T2" fmla="*/ 54 w 113"/>
                <a:gd name="T3" fmla="*/ 0 h 76"/>
                <a:gd name="T4" fmla="*/ 51 w 113"/>
                <a:gd name="T5" fmla="*/ 2 h 76"/>
                <a:gd name="T6" fmla="*/ 4 w 113"/>
                <a:gd name="T7" fmla="*/ 36 h 76"/>
                <a:gd name="T8" fmla="*/ 3 w 113"/>
                <a:gd name="T9" fmla="*/ 46 h 76"/>
                <a:gd name="T10" fmla="*/ 61 w 113"/>
                <a:gd name="T11" fmla="*/ 75 h 76"/>
                <a:gd name="T12" fmla="*/ 69 w 113"/>
                <a:gd name="T13" fmla="*/ 72 h 76"/>
                <a:gd name="T14" fmla="*/ 111 w 113"/>
                <a:gd name="T15" fmla="*/ 8 h 76"/>
                <a:gd name="T16" fmla="*/ 107 w 113"/>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76">
                  <a:moveTo>
                    <a:pt x="107" y="0"/>
                  </a:moveTo>
                  <a:cubicBezTo>
                    <a:pt x="54" y="0"/>
                    <a:pt x="54" y="0"/>
                    <a:pt x="54" y="0"/>
                  </a:cubicBezTo>
                  <a:cubicBezTo>
                    <a:pt x="53" y="0"/>
                    <a:pt x="52" y="1"/>
                    <a:pt x="51" y="2"/>
                  </a:cubicBezTo>
                  <a:cubicBezTo>
                    <a:pt x="4" y="36"/>
                    <a:pt x="4" y="36"/>
                    <a:pt x="4" y="36"/>
                  </a:cubicBezTo>
                  <a:cubicBezTo>
                    <a:pt x="0" y="39"/>
                    <a:pt x="0" y="44"/>
                    <a:pt x="3" y="46"/>
                  </a:cubicBezTo>
                  <a:cubicBezTo>
                    <a:pt x="61" y="75"/>
                    <a:pt x="61" y="75"/>
                    <a:pt x="61" y="75"/>
                  </a:cubicBezTo>
                  <a:cubicBezTo>
                    <a:pt x="64" y="76"/>
                    <a:pt x="67" y="75"/>
                    <a:pt x="69" y="72"/>
                  </a:cubicBezTo>
                  <a:cubicBezTo>
                    <a:pt x="111" y="8"/>
                    <a:pt x="111" y="8"/>
                    <a:pt x="111" y="8"/>
                  </a:cubicBezTo>
                  <a:cubicBezTo>
                    <a:pt x="113" y="4"/>
                    <a:pt x="111" y="0"/>
                    <a:pt x="107" y="0"/>
                  </a:cubicBezTo>
                  <a:close/>
                </a:path>
              </a:pathLst>
            </a:custGeom>
            <a:solidFill>
              <a:srgbClr val="6FC2B4"/>
            </a:solidFill>
            <a:ln w="1905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9" name="Freeform 54"/>
            <p:cNvSpPr>
              <a:spLocks/>
            </p:cNvSpPr>
            <p:nvPr/>
          </p:nvSpPr>
          <p:spPr bwMode="auto">
            <a:xfrm>
              <a:off x="11706225" y="2667001"/>
              <a:ext cx="147638" cy="220663"/>
            </a:xfrm>
            <a:custGeom>
              <a:avLst/>
              <a:gdLst>
                <a:gd name="T0" fmla="*/ 76 w 76"/>
                <a:gd name="T1" fmla="*/ 7 h 114"/>
                <a:gd name="T2" fmla="*/ 75 w 76"/>
                <a:gd name="T3" fmla="*/ 59 h 114"/>
                <a:gd name="T4" fmla="*/ 74 w 76"/>
                <a:gd name="T5" fmla="*/ 63 h 114"/>
                <a:gd name="T6" fmla="*/ 39 w 76"/>
                <a:gd name="T7" fmla="*/ 110 h 114"/>
                <a:gd name="T8" fmla="*/ 29 w 76"/>
                <a:gd name="T9" fmla="*/ 110 h 114"/>
                <a:gd name="T10" fmla="*/ 1 w 76"/>
                <a:gd name="T11" fmla="*/ 52 h 114"/>
                <a:gd name="T12" fmla="*/ 4 w 76"/>
                <a:gd name="T13" fmla="*/ 44 h 114"/>
                <a:gd name="T14" fmla="*/ 67 w 76"/>
                <a:gd name="T15" fmla="*/ 3 h 114"/>
                <a:gd name="T16" fmla="*/ 76 w 76"/>
                <a:gd name="T17"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14">
                  <a:moveTo>
                    <a:pt x="76" y="7"/>
                  </a:moveTo>
                  <a:cubicBezTo>
                    <a:pt x="75" y="59"/>
                    <a:pt x="75" y="59"/>
                    <a:pt x="75" y="59"/>
                  </a:cubicBezTo>
                  <a:cubicBezTo>
                    <a:pt x="75" y="60"/>
                    <a:pt x="75" y="62"/>
                    <a:pt x="74" y="63"/>
                  </a:cubicBezTo>
                  <a:cubicBezTo>
                    <a:pt x="39" y="110"/>
                    <a:pt x="39" y="110"/>
                    <a:pt x="39" y="110"/>
                  </a:cubicBezTo>
                  <a:cubicBezTo>
                    <a:pt x="36" y="113"/>
                    <a:pt x="31" y="114"/>
                    <a:pt x="29" y="110"/>
                  </a:cubicBezTo>
                  <a:cubicBezTo>
                    <a:pt x="1" y="52"/>
                    <a:pt x="1" y="52"/>
                    <a:pt x="1" y="52"/>
                  </a:cubicBezTo>
                  <a:cubicBezTo>
                    <a:pt x="0" y="50"/>
                    <a:pt x="1" y="46"/>
                    <a:pt x="4" y="44"/>
                  </a:cubicBezTo>
                  <a:cubicBezTo>
                    <a:pt x="67" y="3"/>
                    <a:pt x="67" y="3"/>
                    <a:pt x="67" y="3"/>
                  </a:cubicBezTo>
                  <a:cubicBezTo>
                    <a:pt x="71" y="0"/>
                    <a:pt x="76" y="2"/>
                    <a:pt x="76" y="7"/>
                  </a:cubicBezTo>
                  <a:close/>
                </a:path>
              </a:pathLst>
            </a:custGeom>
            <a:solidFill>
              <a:srgbClr val="6FC2B4"/>
            </a:solidFill>
            <a:ln w="1905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0" name="Freeform 55"/>
            <p:cNvSpPr>
              <a:spLocks/>
            </p:cNvSpPr>
            <p:nvPr/>
          </p:nvSpPr>
          <p:spPr bwMode="auto">
            <a:xfrm>
              <a:off x="11553825" y="2649538"/>
              <a:ext cx="141288" cy="141288"/>
            </a:xfrm>
            <a:custGeom>
              <a:avLst/>
              <a:gdLst>
                <a:gd name="T0" fmla="*/ 54 w 73"/>
                <a:gd name="T1" fmla="*/ 69 h 73"/>
                <a:gd name="T2" fmla="*/ 4 w 73"/>
                <a:gd name="T3" fmla="*/ 19 h 73"/>
                <a:gd name="T4" fmla="*/ 4 w 73"/>
                <a:gd name="T5" fmla="*/ 4 h 73"/>
                <a:gd name="T6" fmla="*/ 4 w 73"/>
                <a:gd name="T7" fmla="*/ 4 h 73"/>
                <a:gd name="T8" fmla="*/ 19 w 73"/>
                <a:gd name="T9" fmla="*/ 4 h 73"/>
                <a:gd name="T10" fmla="*/ 69 w 73"/>
                <a:gd name="T11" fmla="*/ 54 h 73"/>
                <a:gd name="T12" fmla="*/ 69 w 73"/>
                <a:gd name="T13" fmla="*/ 69 h 73"/>
                <a:gd name="T14" fmla="*/ 69 w 73"/>
                <a:gd name="T15" fmla="*/ 69 h 73"/>
                <a:gd name="T16" fmla="*/ 54 w 73"/>
                <a:gd name="T17" fmla="*/ 6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3">
                  <a:moveTo>
                    <a:pt x="54" y="69"/>
                  </a:moveTo>
                  <a:cubicBezTo>
                    <a:pt x="4" y="19"/>
                    <a:pt x="4" y="19"/>
                    <a:pt x="4" y="19"/>
                  </a:cubicBezTo>
                  <a:cubicBezTo>
                    <a:pt x="0" y="15"/>
                    <a:pt x="0" y="9"/>
                    <a:pt x="4" y="4"/>
                  </a:cubicBezTo>
                  <a:cubicBezTo>
                    <a:pt x="4" y="4"/>
                    <a:pt x="4" y="4"/>
                    <a:pt x="4" y="4"/>
                  </a:cubicBezTo>
                  <a:cubicBezTo>
                    <a:pt x="8" y="0"/>
                    <a:pt x="15" y="0"/>
                    <a:pt x="19" y="4"/>
                  </a:cubicBezTo>
                  <a:cubicBezTo>
                    <a:pt x="69" y="54"/>
                    <a:pt x="69" y="54"/>
                    <a:pt x="69" y="54"/>
                  </a:cubicBezTo>
                  <a:cubicBezTo>
                    <a:pt x="73" y="58"/>
                    <a:pt x="73" y="65"/>
                    <a:pt x="69" y="69"/>
                  </a:cubicBezTo>
                  <a:cubicBezTo>
                    <a:pt x="69" y="69"/>
                    <a:pt x="69" y="69"/>
                    <a:pt x="69" y="69"/>
                  </a:cubicBezTo>
                  <a:cubicBezTo>
                    <a:pt x="65" y="73"/>
                    <a:pt x="58" y="73"/>
                    <a:pt x="54" y="69"/>
                  </a:cubicBezTo>
                  <a:close/>
                </a:path>
              </a:pathLst>
            </a:custGeom>
            <a:solidFill>
              <a:srgbClr val="00A3E0"/>
            </a:solidFill>
            <a:ln w="1905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1" name="Freeform 56"/>
            <p:cNvSpPr>
              <a:spLocks/>
            </p:cNvSpPr>
            <p:nvPr/>
          </p:nvSpPr>
          <p:spPr bwMode="auto">
            <a:xfrm>
              <a:off x="11576050" y="2236788"/>
              <a:ext cx="531813" cy="530225"/>
            </a:xfrm>
            <a:custGeom>
              <a:avLst/>
              <a:gdLst>
                <a:gd name="T0" fmla="*/ 253 w 273"/>
                <a:gd name="T1" fmla="*/ 98 h 274"/>
                <a:gd name="T2" fmla="*/ 273 w 273"/>
                <a:gd name="T3" fmla="*/ 8 h 274"/>
                <a:gd name="T4" fmla="*/ 265 w 273"/>
                <a:gd name="T5" fmla="*/ 1 h 274"/>
                <a:gd name="T6" fmla="*/ 176 w 273"/>
                <a:gd name="T7" fmla="*/ 21 h 274"/>
                <a:gd name="T8" fmla="*/ 83 w 273"/>
                <a:gd name="T9" fmla="*/ 78 h 274"/>
                <a:gd name="T10" fmla="*/ 6 w 273"/>
                <a:gd name="T11" fmla="*/ 191 h 274"/>
                <a:gd name="T12" fmla="*/ 1 w 273"/>
                <a:gd name="T13" fmla="*/ 207 h 274"/>
                <a:gd name="T14" fmla="*/ 3 w 273"/>
                <a:gd name="T15" fmla="*/ 213 h 274"/>
                <a:gd name="T16" fmla="*/ 62 w 273"/>
                <a:gd name="T17" fmla="*/ 272 h 274"/>
                <a:gd name="T18" fmla="*/ 68 w 273"/>
                <a:gd name="T19" fmla="*/ 274 h 274"/>
                <a:gd name="T20" fmla="*/ 84 w 273"/>
                <a:gd name="T21" fmla="*/ 269 h 274"/>
                <a:gd name="T22" fmla="*/ 195 w 273"/>
                <a:gd name="T23" fmla="*/ 190 h 274"/>
                <a:gd name="T24" fmla="*/ 253 w 273"/>
                <a:gd name="T25" fmla="*/ 98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274">
                  <a:moveTo>
                    <a:pt x="253" y="98"/>
                  </a:moveTo>
                  <a:cubicBezTo>
                    <a:pt x="267" y="59"/>
                    <a:pt x="272" y="24"/>
                    <a:pt x="273" y="8"/>
                  </a:cubicBezTo>
                  <a:cubicBezTo>
                    <a:pt x="273" y="4"/>
                    <a:pt x="270" y="0"/>
                    <a:pt x="265" y="1"/>
                  </a:cubicBezTo>
                  <a:cubicBezTo>
                    <a:pt x="250" y="2"/>
                    <a:pt x="215" y="7"/>
                    <a:pt x="176" y="21"/>
                  </a:cubicBezTo>
                  <a:cubicBezTo>
                    <a:pt x="145" y="33"/>
                    <a:pt x="111" y="50"/>
                    <a:pt x="83" y="78"/>
                  </a:cubicBezTo>
                  <a:cubicBezTo>
                    <a:pt x="46" y="116"/>
                    <a:pt x="19" y="156"/>
                    <a:pt x="6" y="191"/>
                  </a:cubicBezTo>
                  <a:cubicBezTo>
                    <a:pt x="4" y="196"/>
                    <a:pt x="2" y="201"/>
                    <a:pt x="1" y="207"/>
                  </a:cubicBezTo>
                  <a:cubicBezTo>
                    <a:pt x="0" y="209"/>
                    <a:pt x="1" y="211"/>
                    <a:pt x="3" y="213"/>
                  </a:cubicBezTo>
                  <a:cubicBezTo>
                    <a:pt x="62" y="272"/>
                    <a:pt x="62" y="272"/>
                    <a:pt x="62" y="272"/>
                  </a:cubicBezTo>
                  <a:cubicBezTo>
                    <a:pt x="63" y="274"/>
                    <a:pt x="66" y="274"/>
                    <a:pt x="68" y="274"/>
                  </a:cubicBezTo>
                  <a:cubicBezTo>
                    <a:pt x="73" y="272"/>
                    <a:pt x="78" y="271"/>
                    <a:pt x="84" y="269"/>
                  </a:cubicBezTo>
                  <a:cubicBezTo>
                    <a:pt x="118" y="255"/>
                    <a:pt x="158" y="228"/>
                    <a:pt x="195" y="190"/>
                  </a:cubicBezTo>
                  <a:cubicBezTo>
                    <a:pt x="223" y="162"/>
                    <a:pt x="241" y="129"/>
                    <a:pt x="253" y="98"/>
                  </a:cubicBezTo>
                  <a:close/>
                </a:path>
              </a:pathLst>
            </a:custGeom>
            <a:solidFill>
              <a:schemeClr val="bg1"/>
            </a:solidFill>
            <a:ln w="1905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2" name="Freeform 57"/>
            <p:cNvSpPr>
              <a:spLocks/>
            </p:cNvSpPr>
            <p:nvPr/>
          </p:nvSpPr>
          <p:spPr bwMode="auto">
            <a:xfrm>
              <a:off x="11817350" y="2359026"/>
              <a:ext cx="169863" cy="169863"/>
            </a:xfrm>
            <a:custGeom>
              <a:avLst/>
              <a:gdLst>
                <a:gd name="T0" fmla="*/ 72 w 87"/>
                <a:gd name="T1" fmla="*/ 72 h 88"/>
                <a:gd name="T2" fmla="*/ 15 w 87"/>
                <a:gd name="T3" fmla="*/ 72 h 88"/>
                <a:gd name="T4" fmla="*/ 15 w 87"/>
                <a:gd name="T5" fmla="*/ 16 h 88"/>
                <a:gd name="T6" fmla="*/ 72 w 87"/>
                <a:gd name="T7" fmla="*/ 16 h 88"/>
                <a:gd name="T8" fmla="*/ 72 w 87"/>
                <a:gd name="T9" fmla="*/ 72 h 88"/>
              </a:gdLst>
              <a:ahLst/>
              <a:cxnLst>
                <a:cxn ang="0">
                  <a:pos x="T0" y="T1"/>
                </a:cxn>
                <a:cxn ang="0">
                  <a:pos x="T2" y="T3"/>
                </a:cxn>
                <a:cxn ang="0">
                  <a:pos x="T4" y="T5"/>
                </a:cxn>
                <a:cxn ang="0">
                  <a:pos x="T6" y="T7"/>
                </a:cxn>
                <a:cxn ang="0">
                  <a:pos x="T8" y="T9"/>
                </a:cxn>
              </a:cxnLst>
              <a:rect l="0" t="0" r="r" b="b"/>
              <a:pathLst>
                <a:path w="87" h="88">
                  <a:moveTo>
                    <a:pt x="72" y="72"/>
                  </a:moveTo>
                  <a:cubicBezTo>
                    <a:pt x="56" y="88"/>
                    <a:pt x="31" y="88"/>
                    <a:pt x="15" y="72"/>
                  </a:cubicBezTo>
                  <a:cubicBezTo>
                    <a:pt x="0" y="57"/>
                    <a:pt x="0" y="31"/>
                    <a:pt x="15" y="16"/>
                  </a:cubicBezTo>
                  <a:cubicBezTo>
                    <a:pt x="31" y="0"/>
                    <a:pt x="56" y="0"/>
                    <a:pt x="72" y="16"/>
                  </a:cubicBezTo>
                  <a:cubicBezTo>
                    <a:pt x="87" y="31"/>
                    <a:pt x="87" y="57"/>
                    <a:pt x="72" y="72"/>
                  </a:cubicBezTo>
                  <a:close/>
                </a:path>
              </a:pathLst>
            </a:custGeom>
            <a:solidFill>
              <a:srgbClr val="A0DCFF"/>
            </a:solidFill>
            <a:ln w="19050" cap="rnd">
              <a:solidFill>
                <a:srgbClr val="23181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3" name="Freeform 58"/>
            <p:cNvSpPr>
              <a:spLocks/>
            </p:cNvSpPr>
            <p:nvPr/>
          </p:nvSpPr>
          <p:spPr bwMode="auto">
            <a:xfrm>
              <a:off x="12030075" y="2251076"/>
              <a:ext cx="61913" cy="65088"/>
            </a:xfrm>
            <a:custGeom>
              <a:avLst/>
              <a:gdLst>
                <a:gd name="T0" fmla="*/ 32 w 32"/>
                <a:gd name="T1" fmla="*/ 33 h 33"/>
                <a:gd name="T2" fmla="*/ 12 w 32"/>
                <a:gd name="T3" fmla="*/ 21 h 33"/>
                <a:gd name="T4" fmla="*/ 0 w 32"/>
                <a:gd name="T5" fmla="*/ 0 h 33"/>
              </a:gdLst>
              <a:ahLst/>
              <a:cxnLst>
                <a:cxn ang="0">
                  <a:pos x="T0" y="T1"/>
                </a:cxn>
                <a:cxn ang="0">
                  <a:pos x="T2" y="T3"/>
                </a:cxn>
                <a:cxn ang="0">
                  <a:pos x="T4" y="T5"/>
                </a:cxn>
              </a:cxnLst>
              <a:rect l="0" t="0" r="r" b="b"/>
              <a:pathLst>
                <a:path w="32" h="33">
                  <a:moveTo>
                    <a:pt x="32" y="33"/>
                  </a:moveTo>
                  <a:cubicBezTo>
                    <a:pt x="26" y="31"/>
                    <a:pt x="18" y="27"/>
                    <a:pt x="12" y="21"/>
                  </a:cubicBezTo>
                  <a:cubicBezTo>
                    <a:pt x="5" y="14"/>
                    <a:pt x="1" y="7"/>
                    <a:pt x="0" y="0"/>
                  </a:cubicBezTo>
                </a:path>
              </a:pathLst>
            </a:custGeom>
            <a:solidFill>
              <a:srgbClr val="49B894"/>
            </a:solidFill>
            <a:ln w="1905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4" name="Freeform 59"/>
            <p:cNvSpPr>
              <a:spLocks/>
            </p:cNvSpPr>
            <p:nvPr/>
          </p:nvSpPr>
          <p:spPr bwMode="auto">
            <a:xfrm>
              <a:off x="12030075" y="2251076"/>
              <a:ext cx="61913" cy="65088"/>
            </a:xfrm>
            <a:custGeom>
              <a:avLst/>
              <a:gdLst>
                <a:gd name="T0" fmla="*/ 32 w 32"/>
                <a:gd name="T1" fmla="*/ 33 h 33"/>
                <a:gd name="T2" fmla="*/ 12 w 32"/>
                <a:gd name="T3" fmla="*/ 21 h 33"/>
                <a:gd name="T4" fmla="*/ 0 w 32"/>
                <a:gd name="T5" fmla="*/ 0 h 33"/>
              </a:gdLst>
              <a:ahLst/>
              <a:cxnLst>
                <a:cxn ang="0">
                  <a:pos x="T0" y="T1"/>
                </a:cxn>
                <a:cxn ang="0">
                  <a:pos x="T2" y="T3"/>
                </a:cxn>
                <a:cxn ang="0">
                  <a:pos x="T4" y="T5"/>
                </a:cxn>
              </a:cxnLst>
              <a:rect l="0" t="0" r="r" b="b"/>
              <a:pathLst>
                <a:path w="32" h="33">
                  <a:moveTo>
                    <a:pt x="32" y="33"/>
                  </a:moveTo>
                  <a:cubicBezTo>
                    <a:pt x="26" y="31"/>
                    <a:pt x="18" y="27"/>
                    <a:pt x="12" y="21"/>
                  </a:cubicBezTo>
                  <a:cubicBezTo>
                    <a:pt x="5" y="14"/>
                    <a:pt x="1" y="7"/>
                    <a:pt x="0" y="0"/>
                  </a:cubicBezTo>
                </a:path>
              </a:pathLst>
            </a:custGeom>
            <a:noFill/>
            <a:ln w="19050" cap="flat">
              <a:solidFill>
                <a:srgbClr val="23181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5" name="Freeform 60"/>
            <p:cNvSpPr>
              <a:spLocks/>
            </p:cNvSpPr>
            <p:nvPr/>
          </p:nvSpPr>
          <p:spPr bwMode="auto">
            <a:xfrm>
              <a:off x="11583988" y="2674938"/>
              <a:ext cx="85725" cy="84138"/>
            </a:xfrm>
            <a:custGeom>
              <a:avLst/>
              <a:gdLst>
                <a:gd name="T0" fmla="*/ 42 w 44"/>
                <a:gd name="T1" fmla="*/ 2 h 44"/>
                <a:gd name="T2" fmla="*/ 42 w 44"/>
                <a:gd name="T3" fmla="*/ 2 h 44"/>
                <a:gd name="T4" fmla="*/ 42 w 44"/>
                <a:gd name="T5" fmla="*/ 10 h 44"/>
                <a:gd name="T6" fmla="*/ 10 w 44"/>
                <a:gd name="T7" fmla="*/ 41 h 44"/>
                <a:gd name="T8" fmla="*/ 2 w 44"/>
                <a:gd name="T9" fmla="*/ 41 h 44"/>
                <a:gd name="T10" fmla="*/ 2 w 44"/>
                <a:gd name="T11" fmla="*/ 41 h 44"/>
                <a:gd name="T12" fmla="*/ 2 w 44"/>
                <a:gd name="T13" fmla="*/ 33 h 44"/>
                <a:gd name="T14" fmla="*/ 34 w 44"/>
                <a:gd name="T15" fmla="*/ 2 h 44"/>
                <a:gd name="T16" fmla="*/ 42 w 44"/>
                <a:gd name="T17"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2" y="2"/>
                  </a:moveTo>
                  <a:cubicBezTo>
                    <a:pt x="42" y="2"/>
                    <a:pt x="42" y="2"/>
                    <a:pt x="42" y="2"/>
                  </a:cubicBezTo>
                  <a:cubicBezTo>
                    <a:pt x="44" y="4"/>
                    <a:pt x="44" y="8"/>
                    <a:pt x="42" y="10"/>
                  </a:cubicBezTo>
                  <a:cubicBezTo>
                    <a:pt x="10" y="41"/>
                    <a:pt x="10" y="41"/>
                    <a:pt x="10" y="41"/>
                  </a:cubicBezTo>
                  <a:cubicBezTo>
                    <a:pt x="8" y="44"/>
                    <a:pt x="4" y="44"/>
                    <a:pt x="2" y="41"/>
                  </a:cubicBezTo>
                  <a:cubicBezTo>
                    <a:pt x="2" y="41"/>
                    <a:pt x="2" y="41"/>
                    <a:pt x="2" y="41"/>
                  </a:cubicBezTo>
                  <a:cubicBezTo>
                    <a:pt x="0" y="39"/>
                    <a:pt x="0" y="36"/>
                    <a:pt x="2" y="33"/>
                  </a:cubicBezTo>
                  <a:cubicBezTo>
                    <a:pt x="34" y="2"/>
                    <a:pt x="34" y="2"/>
                    <a:pt x="34" y="2"/>
                  </a:cubicBezTo>
                  <a:cubicBezTo>
                    <a:pt x="36" y="0"/>
                    <a:pt x="39" y="0"/>
                    <a:pt x="42" y="2"/>
                  </a:cubicBezTo>
                  <a:close/>
                </a:path>
              </a:pathLst>
            </a:custGeom>
            <a:solidFill>
              <a:srgbClr val="FFFFFF"/>
            </a:solidFill>
            <a:ln w="1270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6" name="Freeform 61"/>
            <p:cNvSpPr>
              <a:spLocks/>
            </p:cNvSpPr>
            <p:nvPr/>
          </p:nvSpPr>
          <p:spPr bwMode="auto">
            <a:xfrm>
              <a:off x="11864975" y="2317751"/>
              <a:ext cx="19050" cy="11113"/>
            </a:xfrm>
            <a:custGeom>
              <a:avLst/>
              <a:gdLst>
                <a:gd name="T0" fmla="*/ 10 w 10"/>
                <a:gd name="T1" fmla="*/ 0 h 6"/>
                <a:gd name="T2" fmla="*/ 0 w 10"/>
                <a:gd name="T3" fmla="*/ 6 h 6"/>
              </a:gdLst>
              <a:ahLst/>
              <a:cxnLst>
                <a:cxn ang="0">
                  <a:pos x="T0" y="T1"/>
                </a:cxn>
                <a:cxn ang="0">
                  <a:pos x="T2" y="T3"/>
                </a:cxn>
              </a:cxnLst>
              <a:rect l="0" t="0" r="r" b="b"/>
              <a:pathLst>
                <a:path w="10" h="6">
                  <a:moveTo>
                    <a:pt x="10" y="0"/>
                  </a:moveTo>
                  <a:cubicBezTo>
                    <a:pt x="6" y="2"/>
                    <a:pt x="3" y="4"/>
                    <a:pt x="0" y="6"/>
                  </a:cubicBezTo>
                </a:path>
              </a:pathLst>
            </a:custGeom>
            <a:solidFill>
              <a:srgbClr val="FFFFFF"/>
            </a:solidFill>
            <a:ln w="12700" cap="rnd">
              <a:solidFill>
                <a:srgbClr val="23181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7" name="Freeform 62"/>
            <p:cNvSpPr>
              <a:spLocks/>
            </p:cNvSpPr>
            <p:nvPr/>
          </p:nvSpPr>
          <p:spPr bwMode="auto">
            <a:xfrm>
              <a:off x="11864975" y="2317751"/>
              <a:ext cx="19050" cy="11113"/>
            </a:xfrm>
            <a:custGeom>
              <a:avLst/>
              <a:gdLst>
                <a:gd name="T0" fmla="*/ 10 w 10"/>
                <a:gd name="T1" fmla="*/ 0 h 6"/>
                <a:gd name="T2" fmla="*/ 0 w 10"/>
                <a:gd name="T3" fmla="*/ 6 h 6"/>
              </a:gdLst>
              <a:ahLst/>
              <a:cxnLst>
                <a:cxn ang="0">
                  <a:pos x="T0" y="T1"/>
                </a:cxn>
                <a:cxn ang="0">
                  <a:pos x="T2" y="T3"/>
                </a:cxn>
              </a:cxnLst>
              <a:rect l="0" t="0" r="r" b="b"/>
              <a:pathLst>
                <a:path w="10" h="6">
                  <a:moveTo>
                    <a:pt x="10" y="0"/>
                  </a:moveTo>
                  <a:cubicBezTo>
                    <a:pt x="6" y="2"/>
                    <a:pt x="3" y="4"/>
                    <a:pt x="0" y="6"/>
                  </a:cubicBezTo>
                </a:path>
              </a:pathLst>
            </a:custGeom>
            <a:noFill/>
            <a:ln w="12700" cap="rnd">
              <a:solidFill>
                <a:srgbClr val="2318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8" name="Freeform 63"/>
            <p:cNvSpPr>
              <a:spLocks/>
            </p:cNvSpPr>
            <p:nvPr/>
          </p:nvSpPr>
          <p:spPr bwMode="auto">
            <a:xfrm>
              <a:off x="11901488" y="2289176"/>
              <a:ext cx="58738" cy="20638"/>
            </a:xfrm>
            <a:custGeom>
              <a:avLst/>
              <a:gdLst>
                <a:gd name="T0" fmla="*/ 30 w 30"/>
                <a:gd name="T1" fmla="*/ 0 h 11"/>
                <a:gd name="T2" fmla="*/ 0 w 30"/>
                <a:gd name="T3" fmla="*/ 11 h 11"/>
              </a:gdLst>
              <a:ahLst/>
              <a:cxnLst>
                <a:cxn ang="0">
                  <a:pos x="T0" y="T1"/>
                </a:cxn>
                <a:cxn ang="0">
                  <a:pos x="T2" y="T3"/>
                </a:cxn>
              </a:cxnLst>
              <a:rect l="0" t="0" r="r" b="b"/>
              <a:pathLst>
                <a:path w="30" h="11">
                  <a:moveTo>
                    <a:pt x="30" y="0"/>
                  </a:moveTo>
                  <a:cubicBezTo>
                    <a:pt x="21" y="3"/>
                    <a:pt x="10" y="6"/>
                    <a:pt x="0" y="11"/>
                  </a:cubicBezTo>
                </a:path>
              </a:pathLst>
            </a:custGeom>
            <a:solidFill>
              <a:srgbClr val="FFFFFF"/>
            </a:solidFill>
            <a:ln w="12700" cap="rnd">
              <a:solidFill>
                <a:srgbClr val="23181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9" name="Freeform 64"/>
            <p:cNvSpPr>
              <a:spLocks/>
            </p:cNvSpPr>
            <p:nvPr/>
          </p:nvSpPr>
          <p:spPr bwMode="auto">
            <a:xfrm>
              <a:off x="11901488" y="2289176"/>
              <a:ext cx="58738" cy="20638"/>
            </a:xfrm>
            <a:custGeom>
              <a:avLst/>
              <a:gdLst>
                <a:gd name="T0" fmla="*/ 30 w 30"/>
                <a:gd name="T1" fmla="*/ 0 h 11"/>
                <a:gd name="T2" fmla="*/ 0 w 30"/>
                <a:gd name="T3" fmla="*/ 11 h 11"/>
              </a:gdLst>
              <a:ahLst/>
              <a:cxnLst>
                <a:cxn ang="0">
                  <a:pos x="T0" y="T1"/>
                </a:cxn>
                <a:cxn ang="0">
                  <a:pos x="T2" y="T3"/>
                </a:cxn>
              </a:cxnLst>
              <a:rect l="0" t="0" r="r" b="b"/>
              <a:pathLst>
                <a:path w="30" h="11">
                  <a:moveTo>
                    <a:pt x="30" y="0"/>
                  </a:moveTo>
                  <a:cubicBezTo>
                    <a:pt x="21" y="3"/>
                    <a:pt x="10" y="6"/>
                    <a:pt x="0" y="11"/>
                  </a:cubicBezTo>
                </a:path>
              </a:pathLst>
            </a:custGeom>
            <a:noFill/>
            <a:ln w="12700" cap="rnd">
              <a:solidFill>
                <a:srgbClr val="2318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725" name="Freeform 381"/>
          <p:cNvSpPr>
            <a:spLocks noEditPoints="1"/>
          </p:cNvSpPr>
          <p:nvPr/>
        </p:nvSpPr>
        <p:spPr bwMode="auto">
          <a:xfrm rot="2716097">
            <a:off x="11790955" y="908389"/>
            <a:ext cx="73282" cy="16210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solidFill>
            <a:schemeClr val="tx1"/>
          </a:solidFill>
          <a:ln>
            <a:noFill/>
          </a:ln>
          <a:extLst>
            <a:ext uri="{91240B29-F687-4f45-9708-019B960494DF}">
              <a14:hiddenLine xmlns:a14="http://schemas.microsoft.com/office/drawing/2010/main" xmlns:p14="http://schemas.microsoft.com/office/powerpoint/2010/main" xmlns:v="urn:schemas-microsoft-com:vml" xmlns:mc="http://schemas.openxmlformats.org/markup-compatibility/2006"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837844623"/>
      </p:ext>
    </p:extLst>
  </p:cSld>
  <p:clrMapOvr>
    <a:masterClrMapping/>
  </p:clrMapOvr>
  <p:transition>
    <p:fade/>
  </p:transition>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BA62904-1736-4684-8FD9-A68965EBBDAC}"/>
              </a:ext>
            </a:extLst>
          </p:cNvPr>
          <p:cNvSpPr/>
          <p:nvPr/>
        </p:nvSpPr>
        <p:spPr>
          <a:xfrm>
            <a:off x="9326489" y="5141461"/>
            <a:ext cx="1987557" cy="36564"/>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5" name="Rectangle 4">
            <a:extLst>
              <a:ext uri="{FF2B5EF4-FFF2-40B4-BE49-F238E27FC236}">
                <a16:creationId xmlns:a16="http://schemas.microsoft.com/office/drawing/2014/main" id="{5387F27F-0581-4D75-9370-2D4F122C6541}"/>
              </a:ext>
            </a:extLst>
          </p:cNvPr>
          <p:cNvSpPr/>
          <p:nvPr/>
        </p:nvSpPr>
        <p:spPr>
          <a:xfrm rot="12338109">
            <a:off x="8164687" y="4864263"/>
            <a:ext cx="1174465" cy="36564"/>
          </a:xfrm>
          <a:prstGeom prst="rect">
            <a:avLst/>
          </a:prstGeom>
          <a:solidFill>
            <a:srgbClr val="046A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6" name="Rectangle 5">
            <a:extLst>
              <a:ext uri="{FF2B5EF4-FFF2-40B4-BE49-F238E27FC236}">
                <a16:creationId xmlns:a16="http://schemas.microsoft.com/office/drawing/2014/main" id="{70E9E688-6347-430A-A940-7B376E7B85E5}"/>
              </a:ext>
            </a:extLst>
          </p:cNvPr>
          <p:cNvSpPr/>
          <p:nvPr/>
        </p:nvSpPr>
        <p:spPr bwMode="gray">
          <a:xfrm>
            <a:off x="469900" y="1168100"/>
            <a:ext cx="356617" cy="1183218"/>
          </a:xfrm>
          <a:prstGeom prst="rect">
            <a:avLst/>
          </a:prstGeom>
          <a:solidFill>
            <a:srgbClr val="86BC25"/>
          </a:solidFill>
          <a:ln w="19050" algn="ctr">
            <a:noFill/>
            <a:miter lim="800000"/>
            <a:headEnd/>
            <a:tailEnd/>
          </a:ln>
        </p:spPr>
        <p:txBody>
          <a:bodyPr vert="vert270" wrap="square" lIns="0" tIns="45720" rIns="0" bIns="45720" rtlCol="0" anchor="ctr"/>
          <a:lstStyle/>
          <a:p>
            <a:pPr lvl="0" algn="ctr" defTabSz="914400">
              <a:defRPr/>
            </a:pPr>
            <a:r>
              <a:rPr lang="en-US" sz="900" dirty="0">
                <a:solidFill>
                  <a:schemeClr val="bg1"/>
                </a:solidFill>
              </a:rPr>
              <a:t>template</a:t>
            </a:r>
          </a:p>
        </p:txBody>
      </p:sp>
      <p:sp>
        <p:nvSpPr>
          <p:cNvPr id="7" name="Rectangle 6">
            <a:extLst>
              <a:ext uri="{FF2B5EF4-FFF2-40B4-BE49-F238E27FC236}">
                <a16:creationId xmlns:a16="http://schemas.microsoft.com/office/drawing/2014/main" id="{309D47FD-5570-46A9-8991-D6DDD00C8AFB}"/>
              </a:ext>
            </a:extLst>
          </p:cNvPr>
          <p:cNvSpPr/>
          <p:nvPr/>
        </p:nvSpPr>
        <p:spPr bwMode="gray">
          <a:xfrm>
            <a:off x="470634" y="2397036"/>
            <a:ext cx="356617" cy="1186339"/>
          </a:xfrm>
          <a:prstGeom prst="rect">
            <a:avLst/>
          </a:prstGeom>
          <a:solidFill>
            <a:srgbClr val="00ABAB"/>
          </a:solidFill>
          <a:ln w="19050" algn="ctr">
            <a:noFill/>
            <a:miter lim="800000"/>
            <a:headEnd/>
            <a:tailEnd/>
          </a:ln>
        </p:spPr>
        <p:txBody>
          <a:bodyPr vert="vert270" wrap="square" lIns="0" tIns="45720" rIns="0" bIns="45720" rtlCol="0" anchor="ctr"/>
          <a:lstStyle/>
          <a:p>
            <a:pPr lvl="0" algn="ctr" defTabSz="914400">
              <a:defRPr/>
            </a:pPr>
            <a:r>
              <a:rPr lang="en-US" sz="900" dirty="0">
                <a:solidFill>
                  <a:schemeClr val="bg1"/>
                </a:solidFill>
              </a:rPr>
              <a:t>template</a:t>
            </a:r>
          </a:p>
        </p:txBody>
      </p:sp>
      <p:sp>
        <p:nvSpPr>
          <p:cNvPr id="8" name="Rectangle 7">
            <a:extLst>
              <a:ext uri="{FF2B5EF4-FFF2-40B4-BE49-F238E27FC236}">
                <a16:creationId xmlns:a16="http://schemas.microsoft.com/office/drawing/2014/main" id="{EFC57442-9BB3-47F1-B690-4A18F80F7A6F}"/>
              </a:ext>
            </a:extLst>
          </p:cNvPr>
          <p:cNvSpPr/>
          <p:nvPr/>
        </p:nvSpPr>
        <p:spPr bwMode="gray">
          <a:xfrm>
            <a:off x="470634" y="3632176"/>
            <a:ext cx="356617" cy="1183218"/>
          </a:xfrm>
          <a:prstGeom prst="rect">
            <a:avLst/>
          </a:prstGeom>
          <a:solidFill>
            <a:srgbClr val="046A38"/>
          </a:solidFill>
          <a:ln w="19050" algn="ctr">
            <a:noFill/>
            <a:miter lim="800000"/>
            <a:headEnd/>
            <a:tailEnd/>
          </a:ln>
        </p:spPr>
        <p:txBody>
          <a:bodyPr vert="vert270" wrap="square" lIns="0" tIns="45720" rIns="0" bIns="45720" rtlCol="0" anchor="ctr"/>
          <a:lstStyle/>
          <a:p>
            <a:pPr lvl="0" algn="ctr" defTabSz="914400">
              <a:defRPr/>
            </a:pPr>
            <a:r>
              <a:rPr lang="en-US" sz="900" dirty="0">
                <a:solidFill>
                  <a:schemeClr val="bg1"/>
                </a:solidFill>
              </a:rPr>
              <a:t>template</a:t>
            </a:r>
          </a:p>
        </p:txBody>
      </p:sp>
      <p:cxnSp>
        <p:nvCxnSpPr>
          <p:cNvPr id="9" name="Straight Connector 8">
            <a:extLst>
              <a:ext uri="{FF2B5EF4-FFF2-40B4-BE49-F238E27FC236}">
                <a16:creationId xmlns:a16="http://schemas.microsoft.com/office/drawing/2014/main" id="{34AE2CE0-57BE-41B4-80B2-5C39E2EB415E}"/>
              </a:ext>
            </a:extLst>
          </p:cNvPr>
          <p:cNvCxnSpPr/>
          <p:nvPr/>
        </p:nvCxnSpPr>
        <p:spPr>
          <a:xfrm>
            <a:off x="858142" y="2355951"/>
            <a:ext cx="103081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C9B9601-4226-4EA8-8762-D3521BD028C7}"/>
              </a:ext>
            </a:extLst>
          </p:cNvPr>
          <p:cNvCxnSpPr/>
          <p:nvPr/>
        </p:nvCxnSpPr>
        <p:spPr>
          <a:xfrm>
            <a:off x="909597" y="3612311"/>
            <a:ext cx="103081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C86E2E8-1149-4800-85E8-32EABE7AF93F}"/>
              </a:ext>
            </a:extLst>
          </p:cNvPr>
          <p:cNvCxnSpPr/>
          <p:nvPr/>
        </p:nvCxnSpPr>
        <p:spPr>
          <a:xfrm>
            <a:off x="857642" y="4819905"/>
            <a:ext cx="103081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3942913-9902-419A-BFBB-C257AAD04D90}"/>
              </a:ext>
            </a:extLst>
          </p:cNvPr>
          <p:cNvCxnSpPr>
            <a:cxnSpLocks/>
          </p:cNvCxnSpPr>
          <p:nvPr/>
        </p:nvCxnSpPr>
        <p:spPr>
          <a:xfrm>
            <a:off x="857642" y="1148814"/>
            <a:ext cx="10306006" cy="4"/>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A0D2A5B6-F9C9-406B-A57C-4F5C14F2E0D6}"/>
              </a:ext>
            </a:extLst>
          </p:cNvPr>
          <p:cNvSpPr/>
          <p:nvPr/>
        </p:nvSpPr>
        <p:spPr>
          <a:xfrm>
            <a:off x="1703789" y="1703530"/>
            <a:ext cx="201963" cy="177696"/>
          </a:xfrm>
          <a:prstGeom prst="ellipse">
            <a:avLst/>
          </a:prstGeom>
          <a:solidFill>
            <a:schemeClr val="bg1"/>
          </a:solidFill>
          <a:ln w="38100">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19" name="Rectangle 18">
            <a:extLst>
              <a:ext uri="{FF2B5EF4-FFF2-40B4-BE49-F238E27FC236}">
                <a16:creationId xmlns:a16="http://schemas.microsoft.com/office/drawing/2014/main" id="{775D18E0-99E2-4237-8FDF-D861FEA136E1}"/>
              </a:ext>
            </a:extLst>
          </p:cNvPr>
          <p:cNvSpPr/>
          <p:nvPr/>
        </p:nvSpPr>
        <p:spPr>
          <a:xfrm>
            <a:off x="1299181" y="1311917"/>
            <a:ext cx="1282209" cy="138499"/>
          </a:xfrm>
          <a:prstGeom prst="rect">
            <a:avLst/>
          </a:prstGeom>
        </p:spPr>
        <p:txBody>
          <a:bodyPr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mn-ea"/>
                <a:cs typeface="+mn-cs"/>
              </a:rPr>
              <a:t>template</a:t>
            </a:r>
          </a:p>
        </p:txBody>
      </p:sp>
      <p:sp>
        <p:nvSpPr>
          <p:cNvPr id="20" name="Rectangle 19">
            <a:extLst>
              <a:ext uri="{FF2B5EF4-FFF2-40B4-BE49-F238E27FC236}">
                <a16:creationId xmlns:a16="http://schemas.microsoft.com/office/drawing/2014/main" id="{4CD52264-3DC2-4EFA-AC8C-574A3F5779FD}"/>
              </a:ext>
            </a:extLst>
          </p:cNvPr>
          <p:cNvSpPr/>
          <p:nvPr/>
        </p:nvSpPr>
        <p:spPr>
          <a:xfrm rot="3999725">
            <a:off x="4163259" y="2340123"/>
            <a:ext cx="1167649" cy="45171"/>
          </a:xfrm>
          <a:prstGeom prst="rect">
            <a:avLst/>
          </a:prstGeom>
          <a:solidFill>
            <a:srgbClr val="86BC2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21" name="Rectangle 20">
            <a:extLst>
              <a:ext uri="{FF2B5EF4-FFF2-40B4-BE49-F238E27FC236}">
                <a16:creationId xmlns:a16="http://schemas.microsoft.com/office/drawing/2014/main" id="{772D4F10-D582-40E8-AF0F-1586E30F1F83}"/>
              </a:ext>
            </a:extLst>
          </p:cNvPr>
          <p:cNvSpPr/>
          <p:nvPr/>
        </p:nvSpPr>
        <p:spPr>
          <a:xfrm>
            <a:off x="1919294" y="1765491"/>
            <a:ext cx="2529618" cy="39549"/>
          </a:xfrm>
          <a:prstGeom prst="rect">
            <a:avLst/>
          </a:prstGeom>
          <a:solidFill>
            <a:srgbClr val="86BC2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22" name="Rectangle 21">
            <a:extLst>
              <a:ext uri="{FF2B5EF4-FFF2-40B4-BE49-F238E27FC236}">
                <a16:creationId xmlns:a16="http://schemas.microsoft.com/office/drawing/2014/main" id="{51837130-310A-4E3B-9F5C-F5852B529F9E}"/>
              </a:ext>
            </a:extLst>
          </p:cNvPr>
          <p:cNvSpPr/>
          <p:nvPr/>
        </p:nvSpPr>
        <p:spPr>
          <a:xfrm>
            <a:off x="2708954" y="1381166"/>
            <a:ext cx="906664"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23" name="Rectangle 22">
            <a:extLst>
              <a:ext uri="{FF2B5EF4-FFF2-40B4-BE49-F238E27FC236}">
                <a16:creationId xmlns:a16="http://schemas.microsoft.com/office/drawing/2014/main" id="{89D08695-0B61-45EF-83CE-F14F9C60E7CB}"/>
              </a:ext>
            </a:extLst>
          </p:cNvPr>
          <p:cNvSpPr/>
          <p:nvPr/>
        </p:nvSpPr>
        <p:spPr>
          <a:xfrm rot="4016019">
            <a:off x="4617397" y="2199307"/>
            <a:ext cx="94143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24" name="Rectangle 23">
            <a:extLst>
              <a:ext uri="{FF2B5EF4-FFF2-40B4-BE49-F238E27FC236}">
                <a16:creationId xmlns:a16="http://schemas.microsoft.com/office/drawing/2014/main" id="{0C8F1179-534D-4672-A2F7-FC0643770B01}"/>
              </a:ext>
            </a:extLst>
          </p:cNvPr>
          <p:cNvSpPr/>
          <p:nvPr/>
        </p:nvSpPr>
        <p:spPr>
          <a:xfrm rot="8428904">
            <a:off x="1166514" y="2960165"/>
            <a:ext cx="3655366" cy="49742"/>
          </a:xfrm>
          <a:prstGeom prst="rect">
            <a:avLst/>
          </a:prstGeom>
          <a:solidFill>
            <a:srgbClr val="86BC2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25" name="Rounded Rectangle 185">
            <a:extLst>
              <a:ext uri="{FF2B5EF4-FFF2-40B4-BE49-F238E27FC236}">
                <a16:creationId xmlns:a16="http://schemas.microsoft.com/office/drawing/2014/main" id="{8EF4A838-B8AE-49B8-A2CF-C2A3C307AB18}"/>
              </a:ext>
            </a:extLst>
          </p:cNvPr>
          <p:cNvSpPr/>
          <p:nvPr/>
        </p:nvSpPr>
        <p:spPr>
          <a:xfrm>
            <a:off x="4909049" y="2788301"/>
            <a:ext cx="201963" cy="177696"/>
          </a:xfrm>
          <a:prstGeom prst="roundRect">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26" name="Rectangle 25">
            <a:extLst>
              <a:ext uri="{FF2B5EF4-FFF2-40B4-BE49-F238E27FC236}">
                <a16:creationId xmlns:a16="http://schemas.microsoft.com/office/drawing/2014/main" id="{61159896-B401-4C89-913F-DAD9296D338D}"/>
              </a:ext>
            </a:extLst>
          </p:cNvPr>
          <p:cNvSpPr/>
          <p:nvPr/>
        </p:nvSpPr>
        <p:spPr>
          <a:xfrm rot="19107254">
            <a:off x="2248628" y="2622363"/>
            <a:ext cx="1193075"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27" name="Rectangle 26">
            <a:extLst>
              <a:ext uri="{FF2B5EF4-FFF2-40B4-BE49-F238E27FC236}">
                <a16:creationId xmlns:a16="http://schemas.microsoft.com/office/drawing/2014/main" id="{801B03F6-AA67-4D97-B787-E5BC3A20D013}"/>
              </a:ext>
            </a:extLst>
          </p:cNvPr>
          <p:cNvSpPr/>
          <p:nvPr/>
        </p:nvSpPr>
        <p:spPr>
          <a:xfrm>
            <a:off x="5114453" y="2870838"/>
            <a:ext cx="5601296" cy="39549"/>
          </a:xfrm>
          <a:prstGeom prst="rect">
            <a:avLst/>
          </a:prstGeom>
          <a:solidFill>
            <a:srgbClr val="00A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28" name="Rectangle 27">
            <a:extLst>
              <a:ext uri="{FF2B5EF4-FFF2-40B4-BE49-F238E27FC236}">
                <a16:creationId xmlns:a16="http://schemas.microsoft.com/office/drawing/2014/main" id="{294B98C4-0406-4939-BCBC-063EDAED21D7}"/>
              </a:ext>
            </a:extLst>
          </p:cNvPr>
          <p:cNvSpPr/>
          <p:nvPr/>
        </p:nvSpPr>
        <p:spPr>
          <a:xfrm>
            <a:off x="3969091" y="3186305"/>
            <a:ext cx="1568144"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29" name="Straight Arrow Connector 28">
            <a:extLst>
              <a:ext uri="{FF2B5EF4-FFF2-40B4-BE49-F238E27FC236}">
                <a16:creationId xmlns:a16="http://schemas.microsoft.com/office/drawing/2014/main" id="{511BA44C-1872-4537-9D33-FF3B1708EA02}"/>
              </a:ext>
            </a:extLst>
          </p:cNvPr>
          <p:cNvCxnSpPr>
            <a:cxnSpLocks/>
          </p:cNvCxnSpPr>
          <p:nvPr/>
        </p:nvCxnSpPr>
        <p:spPr>
          <a:xfrm>
            <a:off x="4736417" y="2031245"/>
            <a:ext cx="203489" cy="457724"/>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3079A27-B08A-4D77-A859-68EB3D9D4D83}"/>
              </a:ext>
            </a:extLst>
          </p:cNvPr>
          <p:cNvCxnSpPr>
            <a:cxnSpLocks/>
          </p:cNvCxnSpPr>
          <p:nvPr/>
        </p:nvCxnSpPr>
        <p:spPr>
          <a:xfrm flipH="1">
            <a:off x="2804160" y="2572493"/>
            <a:ext cx="483534" cy="431052"/>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9CDEC56-7B54-4671-B6BF-D41AE0B1FF93}"/>
              </a:ext>
            </a:extLst>
          </p:cNvPr>
          <p:cNvCxnSpPr/>
          <p:nvPr/>
        </p:nvCxnSpPr>
        <p:spPr>
          <a:xfrm>
            <a:off x="5373130" y="2785042"/>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BCF4BC7-CC10-4371-A5C9-E019D205A30A}"/>
              </a:ext>
            </a:extLst>
          </p:cNvPr>
          <p:cNvCxnSpPr/>
          <p:nvPr/>
        </p:nvCxnSpPr>
        <p:spPr>
          <a:xfrm>
            <a:off x="2562404" y="1875744"/>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8282645A-FD91-45E8-9E08-C0A3FE99487F}"/>
              </a:ext>
            </a:extLst>
          </p:cNvPr>
          <p:cNvSpPr/>
          <p:nvPr/>
        </p:nvSpPr>
        <p:spPr>
          <a:xfrm rot="7370807">
            <a:off x="8752135" y="4004006"/>
            <a:ext cx="2646672" cy="45900"/>
          </a:xfrm>
          <a:prstGeom prst="rect">
            <a:avLst/>
          </a:prstGeom>
          <a:solidFill>
            <a:srgbClr val="00A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cxnSp>
        <p:nvCxnSpPr>
          <p:cNvPr id="35" name="Straight Arrow Connector 34">
            <a:extLst>
              <a:ext uri="{FF2B5EF4-FFF2-40B4-BE49-F238E27FC236}">
                <a16:creationId xmlns:a16="http://schemas.microsoft.com/office/drawing/2014/main" id="{1776D2D5-43BC-4D9F-94B9-3C1B6C7572B6}"/>
              </a:ext>
            </a:extLst>
          </p:cNvPr>
          <p:cNvCxnSpPr/>
          <p:nvPr/>
        </p:nvCxnSpPr>
        <p:spPr>
          <a:xfrm flipH="1">
            <a:off x="9825090" y="3779212"/>
            <a:ext cx="260792" cy="38833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6" name="Rounded Rectangle 191">
            <a:extLst>
              <a:ext uri="{FF2B5EF4-FFF2-40B4-BE49-F238E27FC236}">
                <a16:creationId xmlns:a16="http://schemas.microsoft.com/office/drawing/2014/main" id="{3629C9E6-34E6-4336-A125-E91BE5F1919F}"/>
              </a:ext>
            </a:extLst>
          </p:cNvPr>
          <p:cNvSpPr/>
          <p:nvPr/>
        </p:nvSpPr>
        <p:spPr>
          <a:xfrm>
            <a:off x="10685644" y="2778803"/>
            <a:ext cx="201963" cy="177696"/>
          </a:xfrm>
          <a:prstGeom prst="roundRect">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37" name="Rectangle 36">
            <a:extLst>
              <a:ext uri="{FF2B5EF4-FFF2-40B4-BE49-F238E27FC236}">
                <a16:creationId xmlns:a16="http://schemas.microsoft.com/office/drawing/2014/main" id="{EC49E835-E3DF-46A8-A580-F46D491B5F6E}"/>
              </a:ext>
            </a:extLst>
          </p:cNvPr>
          <p:cNvSpPr/>
          <p:nvPr/>
        </p:nvSpPr>
        <p:spPr>
          <a:xfrm>
            <a:off x="1534736" y="4190042"/>
            <a:ext cx="7498510" cy="36564"/>
          </a:xfrm>
          <a:prstGeom prst="rect">
            <a:avLst/>
          </a:prstGeom>
          <a:solidFill>
            <a:srgbClr val="046A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38" name="Oval 37">
            <a:extLst>
              <a:ext uri="{FF2B5EF4-FFF2-40B4-BE49-F238E27FC236}">
                <a16:creationId xmlns:a16="http://schemas.microsoft.com/office/drawing/2014/main" id="{1D99358E-C798-4B65-B7AA-EA385B5CF2DF}"/>
              </a:ext>
            </a:extLst>
          </p:cNvPr>
          <p:cNvSpPr/>
          <p:nvPr/>
        </p:nvSpPr>
        <p:spPr>
          <a:xfrm>
            <a:off x="1399358" y="4116141"/>
            <a:ext cx="186721" cy="164286"/>
          </a:xfrm>
          <a:prstGeom prst="ellipse">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39" name="Rectangle 38">
            <a:extLst>
              <a:ext uri="{FF2B5EF4-FFF2-40B4-BE49-F238E27FC236}">
                <a16:creationId xmlns:a16="http://schemas.microsoft.com/office/drawing/2014/main" id="{0A2FADC5-910E-4D5E-B394-AA430B018D68}"/>
              </a:ext>
            </a:extLst>
          </p:cNvPr>
          <p:cNvSpPr/>
          <p:nvPr/>
        </p:nvSpPr>
        <p:spPr>
          <a:xfrm>
            <a:off x="1354496" y="4495380"/>
            <a:ext cx="105904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44" name="Straight Arrow Connector 43">
            <a:extLst>
              <a:ext uri="{FF2B5EF4-FFF2-40B4-BE49-F238E27FC236}">
                <a16:creationId xmlns:a16="http://schemas.microsoft.com/office/drawing/2014/main" id="{E8CA2E89-7BD2-4525-ABA3-26E379AE87FA}"/>
              </a:ext>
            </a:extLst>
          </p:cNvPr>
          <p:cNvCxnSpPr/>
          <p:nvPr/>
        </p:nvCxnSpPr>
        <p:spPr>
          <a:xfrm>
            <a:off x="7764648" y="2778803"/>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759CD657-143C-4C20-AD48-29E241025F2A}"/>
              </a:ext>
            </a:extLst>
          </p:cNvPr>
          <p:cNvSpPr/>
          <p:nvPr/>
        </p:nvSpPr>
        <p:spPr>
          <a:xfrm>
            <a:off x="4347554" y="1699884"/>
            <a:ext cx="201963" cy="177696"/>
          </a:xfrm>
          <a:prstGeom prst="ellipse">
            <a:avLst/>
          </a:prstGeom>
          <a:solidFill>
            <a:schemeClr val="bg1"/>
          </a:solidFill>
          <a:ln w="38100">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46" name="Rectangle 45">
            <a:extLst>
              <a:ext uri="{FF2B5EF4-FFF2-40B4-BE49-F238E27FC236}">
                <a16:creationId xmlns:a16="http://schemas.microsoft.com/office/drawing/2014/main" id="{51837130-310A-4E3B-9F5C-F5852B529F9E}"/>
              </a:ext>
            </a:extLst>
          </p:cNvPr>
          <p:cNvSpPr/>
          <p:nvPr/>
        </p:nvSpPr>
        <p:spPr>
          <a:xfrm>
            <a:off x="4074762" y="1381166"/>
            <a:ext cx="1185493"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47" name="Rounded Rectangle 191">
            <a:extLst>
              <a:ext uri="{FF2B5EF4-FFF2-40B4-BE49-F238E27FC236}">
                <a16:creationId xmlns:a16="http://schemas.microsoft.com/office/drawing/2014/main" id="{3629C9E6-34E6-4336-A125-E91BE5F1919F}"/>
              </a:ext>
            </a:extLst>
          </p:cNvPr>
          <p:cNvSpPr/>
          <p:nvPr/>
        </p:nvSpPr>
        <p:spPr>
          <a:xfrm>
            <a:off x="2999826" y="1701838"/>
            <a:ext cx="201963" cy="177696"/>
          </a:xfrm>
          <a:prstGeom prst="roundRect">
            <a:avLst/>
          </a:prstGeom>
          <a:solidFill>
            <a:schemeClr val="bg1"/>
          </a:solidFill>
          <a:ln w="38100">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48" name="Rectangle 47">
            <a:extLst>
              <a:ext uri="{FF2B5EF4-FFF2-40B4-BE49-F238E27FC236}">
                <a16:creationId xmlns:a16="http://schemas.microsoft.com/office/drawing/2014/main" id="{E5747E6A-5622-41C7-A45C-43AF9DCAEF78}"/>
              </a:ext>
            </a:extLst>
          </p:cNvPr>
          <p:cNvSpPr/>
          <p:nvPr/>
        </p:nvSpPr>
        <p:spPr bwMode="gray">
          <a:xfrm>
            <a:off x="469900" y="4858379"/>
            <a:ext cx="347634" cy="840517"/>
          </a:xfrm>
          <a:prstGeom prst="rect">
            <a:avLst/>
          </a:prstGeom>
          <a:solidFill>
            <a:schemeClr val="bg1">
              <a:lumMod val="50000"/>
            </a:schemeClr>
          </a:solidFill>
          <a:ln w="19050" algn="ctr">
            <a:noFill/>
            <a:miter lim="800000"/>
            <a:headEnd/>
            <a:tailEnd/>
          </a:ln>
        </p:spPr>
        <p:txBody>
          <a:bodyPr vert="vert270" wrap="square" lIns="0" tIns="45720" rIns="0" bIns="45720" rtlCol="0" anchor="ctr"/>
          <a:lstStyle/>
          <a:p>
            <a:pPr lvl="0" algn="ctr" defTabSz="914400">
              <a:defRPr/>
            </a:pPr>
            <a:r>
              <a:rPr lang="en-US" sz="900" dirty="0">
                <a:solidFill>
                  <a:schemeClr val="bg1"/>
                </a:solidFill>
              </a:rPr>
              <a:t>template</a:t>
            </a:r>
          </a:p>
        </p:txBody>
      </p:sp>
      <p:cxnSp>
        <p:nvCxnSpPr>
          <p:cNvPr id="49" name="Straight Connector 48">
            <a:extLst>
              <a:ext uri="{FF2B5EF4-FFF2-40B4-BE49-F238E27FC236}">
                <a16:creationId xmlns:a16="http://schemas.microsoft.com/office/drawing/2014/main" id="{D996A35A-EB4B-4C8D-9A7F-BA47BC5E6671}"/>
              </a:ext>
            </a:extLst>
          </p:cNvPr>
          <p:cNvCxnSpPr/>
          <p:nvPr/>
        </p:nvCxnSpPr>
        <p:spPr>
          <a:xfrm>
            <a:off x="857642" y="5682033"/>
            <a:ext cx="103081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294B98C4-0406-4939-BCBC-063EDAED21D7}"/>
              </a:ext>
            </a:extLst>
          </p:cNvPr>
          <p:cNvSpPr/>
          <p:nvPr/>
        </p:nvSpPr>
        <p:spPr>
          <a:xfrm>
            <a:off x="5669863" y="3186305"/>
            <a:ext cx="91846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51" name="Rounded Rectangle 185">
            <a:extLst>
              <a:ext uri="{FF2B5EF4-FFF2-40B4-BE49-F238E27FC236}">
                <a16:creationId xmlns:a16="http://schemas.microsoft.com/office/drawing/2014/main" id="{8EF4A838-B8AE-49B8-A2CF-C2A3C307AB18}"/>
              </a:ext>
            </a:extLst>
          </p:cNvPr>
          <p:cNvSpPr/>
          <p:nvPr/>
        </p:nvSpPr>
        <p:spPr>
          <a:xfrm>
            <a:off x="6035576" y="2791218"/>
            <a:ext cx="201963" cy="177696"/>
          </a:xfrm>
          <a:prstGeom prst="roundRect">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52" name="Oval 51">
            <a:extLst>
              <a:ext uri="{FF2B5EF4-FFF2-40B4-BE49-F238E27FC236}">
                <a16:creationId xmlns:a16="http://schemas.microsoft.com/office/drawing/2014/main" id="{A0D2A5B6-F9C9-406B-A57C-4F5C14F2E0D6}"/>
              </a:ext>
            </a:extLst>
          </p:cNvPr>
          <p:cNvSpPr/>
          <p:nvPr/>
        </p:nvSpPr>
        <p:spPr>
          <a:xfrm>
            <a:off x="7220980" y="2802779"/>
            <a:ext cx="201963" cy="177696"/>
          </a:xfrm>
          <a:prstGeom prst="ellipse">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53" name="Rectangle 52">
            <a:extLst>
              <a:ext uri="{FF2B5EF4-FFF2-40B4-BE49-F238E27FC236}">
                <a16:creationId xmlns:a16="http://schemas.microsoft.com/office/drawing/2014/main" id="{294B98C4-0406-4939-BCBC-063EDAED21D7}"/>
              </a:ext>
            </a:extLst>
          </p:cNvPr>
          <p:cNvSpPr/>
          <p:nvPr/>
        </p:nvSpPr>
        <p:spPr>
          <a:xfrm>
            <a:off x="6737397" y="3186305"/>
            <a:ext cx="105457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54" name="Rectangle 53">
            <a:extLst>
              <a:ext uri="{FF2B5EF4-FFF2-40B4-BE49-F238E27FC236}">
                <a16:creationId xmlns:a16="http://schemas.microsoft.com/office/drawing/2014/main" id="{294B98C4-0406-4939-BCBC-063EDAED21D7}"/>
              </a:ext>
            </a:extLst>
          </p:cNvPr>
          <p:cNvSpPr/>
          <p:nvPr/>
        </p:nvSpPr>
        <p:spPr>
          <a:xfrm>
            <a:off x="10264520" y="2473694"/>
            <a:ext cx="105457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55" name="Straight Arrow Connector 54">
            <a:extLst>
              <a:ext uri="{FF2B5EF4-FFF2-40B4-BE49-F238E27FC236}">
                <a16:creationId xmlns:a16="http://schemas.microsoft.com/office/drawing/2014/main" id="{E8CA2E89-7BD2-4525-ABA3-26E379AE87FA}"/>
              </a:ext>
            </a:extLst>
          </p:cNvPr>
          <p:cNvCxnSpPr/>
          <p:nvPr/>
        </p:nvCxnSpPr>
        <p:spPr>
          <a:xfrm>
            <a:off x="6534390" y="2778803"/>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294B98C4-0406-4939-BCBC-063EDAED21D7}"/>
              </a:ext>
            </a:extLst>
          </p:cNvPr>
          <p:cNvSpPr/>
          <p:nvPr/>
        </p:nvSpPr>
        <p:spPr>
          <a:xfrm>
            <a:off x="2300505" y="3767306"/>
            <a:ext cx="1041577"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57" name="Rounded Rectangle 185">
            <a:extLst>
              <a:ext uri="{FF2B5EF4-FFF2-40B4-BE49-F238E27FC236}">
                <a16:creationId xmlns:a16="http://schemas.microsoft.com/office/drawing/2014/main" id="{8EF4A838-B8AE-49B8-A2CF-C2A3C307AB18}"/>
              </a:ext>
            </a:extLst>
          </p:cNvPr>
          <p:cNvSpPr/>
          <p:nvPr/>
        </p:nvSpPr>
        <p:spPr>
          <a:xfrm>
            <a:off x="2459481" y="4113456"/>
            <a:ext cx="201963" cy="177696"/>
          </a:xfrm>
          <a:prstGeom prst="ellipse">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58" name="Rounded Rectangle 57">
            <a:extLst>
              <a:ext uri="{FF2B5EF4-FFF2-40B4-BE49-F238E27FC236}">
                <a16:creationId xmlns:a16="http://schemas.microsoft.com/office/drawing/2014/main" id="{A0D2A5B6-F9C9-406B-A57C-4F5C14F2E0D6}"/>
              </a:ext>
            </a:extLst>
          </p:cNvPr>
          <p:cNvSpPr/>
          <p:nvPr/>
        </p:nvSpPr>
        <p:spPr>
          <a:xfrm>
            <a:off x="3562663" y="4125018"/>
            <a:ext cx="201963" cy="177696"/>
          </a:xfrm>
          <a:prstGeom prst="roundRect">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59" name="Rectangle 58">
            <a:extLst>
              <a:ext uri="{FF2B5EF4-FFF2-40B4-BE49-F238E27FC236}">
                <a16:creationId xmlns:a16="http://schemas.microsoft.com/office/drawing/2014/main" id="{294B98C4-0406-4939-BCBC-063EDAED21D7}"/>
              </a:ext>
            </a:extLst>
          </p:cNvPr>
          <p:cNvSpPr/>
          <p:nvPr/>
        </p:nvSpPr>
        <p:spPr>
          <a:xfrm>
            <a:off x="3310554" y="3698056"/>
            <a:ext cx="807709"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60" name="Rounded Rectangle 185">
            <a:extLst>
              <a:ext uri="{FF2B5EF4-FFF2-40B4-BE49-F238E27FC236}">
                <a16:creationId xmlns:a16="http://schemas.microsoft.com/office/drawing/2014/main" id="{8EF4A838-B8AE-49B8-A2CF-C2A3C307AB18}"/>
              </a:ext>
            </a:extLst>
          </p:cNvPr>
          <p:cNvSpPr/>
          <p:nvPr/>
        </p:nvSpPr>
        <p:spPr>
          <a:xfrm>
            <a:off x="4692222" y="4116141"/>
            <a:ext cx="201963" cy="177696"/>
          </a:xfrm>
          <a:prstGeom prst="ellipse">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61" name="Rectangle 60">
            <a:extLst>
              <a:ext uri="{FF2B5EF4-FFF2-40B4-BE49-F238E27FC236}">
                <a16:creationId xmlns:a16="http://schemas.microsoft.com/office/drawing/2014/main" id="{294B98C4-0406-4939-BCBC-063EDAED21D7}"/>
              </a:ext>
            </a:extLst>
          </p:cNvPr>
          <p:cNvSpPr/>
          <p:nvPr/>
        </p:nvSpPr>
        <p:spPr>
          <a:xfrm>
            <a:off x="4352364" y="3767306"/>
            <a:ext cx="105457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62" name="Rounded Rectangle 185">
            <a:extLst>
              <a:ext uri="{FF2B5EF4-FFF2-40B4-BE49-F238E27FC236}">
                <a16:creationId xmlns:a16="http://schemas.microsoft.com/office/drawing/2014/main" id="{8EF4A838-B8AE-49B8-A2CF-C2A3C307AB18}"/>
              </a:ext>
            </a:extLst>
          </p:cNvPr>
          <p:cNvSpPr/>
          <p:nvPr/>
        </p:nvSpPr>
        <p:spPr>
          <a:xfrm>
            <a:off x="5847862" y="4118211"/>
            <a:ext cx="201963" cy="177696"/>
          </a:xfrm>
          <a:prstGeom prst="ellipse">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63" name="Rectangle 62">
            <a:extLst>
              <a:ext uri="{FF2B5EF4-FFF2-40B4-BE49-F238E27FC236}">
                <a16:creationId xmlns:a16="http://schemas.microsoft.com/office/drawing/2014/main" id="{294B98C4-0406-4939-BCBC-063EDAED21D7}"/>
              </a:ext>
            </a:extLst>
          </p:cNvPr>
          <p:cNvSpPr/>
          <p:nvPr/>
        </p:nvSpPr>
        <p:spPr>
          <a:xfrm>
            <a:off x="5534483" y="3698056"/>
            <a:ext cx="956061"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64" name="Rounded Rectangle 63">
            <a:extLst>
              <a:ext uri="{FF2B5EF4-FFF2-40B4-BE49-F238E27FC236}">
                <a16:creationId xmlns:a16="http://schemas.microsoft.com/office/drawing/2014/main" id="{A0D2A5B6-F9C9-406B-A57C-4F5C14F2E0D6}"/>
              </a:ext>
            </a:extLst>
          </p:cNvPr>
          <p:cNvSpPr/>
          <p:nvPr/>
        </p:nvSpPr>
        <p:spPr>
          <a:xfrm>
            <a:off x="7003870" y="4126866"/>
            <a:ext cx="201963" cy="177696"/>
          </a:xfrm>
          <a:prstGeom prst="roundRect">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65" name="Rectangle 64">
            <a:extLst>
              <a:ext uri="{FF2B5EF4-FFF2-40B4-BE49-F238E27FC236}">
                <a16:creationId xmlns:a16="http://schemas.microsoft.com/office/drawing/2014/main" id="{294B98C4-0406-4939-BCBC-063EDAED21D7}"/>
              </a:ext>
            </a:extLst>
          </p:cNvPr>
          <p:cNvSpPr/>
          <p:nvPr/>
        </p:nvSpPr>
        <p:spPr>
          <a:xfrm>
            <a:off x="6594295" y="3628807"/>
            <a:ext cx="1175361"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66" name="Oval 65">
            <a:extLst>
              <a:ext uri="{FF2B5EF4-FFF2-40B4-BE49-F238E27FC236}">
                <a16:creationId xmlns:a16="http://schemas.microsoft.com/office/drawing/2014/main" id="{5D94650F-F653-4C19-9292-19B897B0CB1D}"/>
              </a:ext>
            </a:extLst>
          </p:cNvPr>
          <p:cNvSpPr/>
          <p:nvPr/>
        </p:nvSpPr>
        <p:spPr>
          <a:xfrm>
            <a:off x="8207746" y="4141048"/>
            <a:ext cx="186721" cy="164286"/>
          </a:xfrm>
          <a:prstGeom prst="ellipse">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67" name="Rectangle 66">
            <a:extLst>
              <a:ext uri="{FF2B5EF4-FFF2-40B4-BE49-F238E27FC236}">
                <a16:creationId xmlns:a16="http://schemas.microsoft.com/office/drawing/2014/main" id="{294B98C4-0406-4939-BCBC-063EDAED21D7}"/>
              </a:ext>
            </a:extLst>
          </p:cNvPr>
          <p:cNvSpPr/>
          <p:nvPr/>
        </p:nvSpPr>
        <p:spPr>
          <a:xfrm>
            <a:off x="7812494" y="3767306"/>
            <a:ext cx="1046049"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68" name="Rectangle 67">
            <a:extLst>
              <a:ext uri="{FF2B5EF4-FFF2-40B4-BE49-F238E27FC236}">
                <a16:creationId xmlns:a16="http://schemas.microsoft.com/office/drawing/2014/main" id="{5387F27F-0581-4D75-9370-2D4F122C6541}"/>
              </a:ext>
            </a:extLst>
          </p:cNvPr>
          <p:cNvSpPr/>
          <p:nvPr/>
        </p:nvSpPr>
        <p:spPr>
          <a:xfrm rot="20338300">
            <a:off x="8174972" y="4403145"/>
            <a:ext cx="993778" cy="36564"/>
          </a:xfrm>
          <a:prstGeom prst="rect">
            <a:avLst/>
          </a:prstGeom>
          <a:solidFill>
            <a:srgbClr val="046A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69" name="Rounded Rectangle 68">
            <a:extLst>
              <a:ext uri="{FF2B5EF4-FFF2-40B4-BE49-F238E27FC236}">
                <a16:creationId xmlns:a16="http://schemas.microsoft.com/office/drawing/2014/main" id="{C49402BA-561E-44E1-9917-38CC662B695F}"/>
              </a:ext>
            </a:extLst>
          </p:cNvPr>
          <p:cNvSpPr/>
          <p:nvPr/>
        </p:nvSpPr>
        <p:spPr>
          <a:xfrm>
            <a:off x="8059889" y="4517933"/>
            <a:ext cx="186721" cy="164286"/>
          </a:xfrm>
          <a:prstGeom prst="roundRect">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70" name="Rectangle 69">
            <a:extLst>
              <a:ext uri="{FF2B5EF4-FFF2-40B4-BE49-F238E27FC236}">
                <a16:creationId xmlns:a16="http://schemas.microsoft.com/office/drawing/2014/main" id="{294B98C4-0406-4939-BCBC-063EDAED21D7}"/>
              </a:ext>
            </a:extLst>
          </p:cNvPr>
          <p:cNvSpPr/>
          <p:nvPr/>
        </p:nvSpPr>
        <p:spPr>
          <a:xfrm>
            <a:off x="6645908" y="4502055"/>
            <a:ext cx="1391338"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71" name="Rounded Rectangle 191">
            <a:extLst>
              <a:ext uri="{FF2B5EF4-FFF2-40B4-BE49-F238E27FC236}">
                <a16:creationId xmlns:a16="http://schemas.microsoft.com/office/drawing/2014/main" id="{3629C9E6-34E6-4336-A125-E91BE5F1919F}"/>
              </a:ext>
            </a:extLst>
          </p:cNvPr>
          <p:cNvSpPr/>
          <p:nvPr/>
        </p:nvSpPr>
        <p:spPr>
          <a:xfrm>
            <a:off x="8384104" y="2815338"/>
            <a:ext cx="201963" cy="177696"/>
          </a:xfrm>
          <a:prstGeom prst="roundRect">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72" name="Rectangle 71">
            <a:extLst>
              <a:ext uri="{FF2B5EF4-FFF2-40B4-BE49-F238E27FC236}">
                <a16:creationId xmlns:a16="http://schemas.microsoft.com/office/drawing/2014/main" id="{294B98C4-0406-4939-BCBC-063EDAED21D7}"/>
              </a:ext>
            </a:extLst>
          </p:cNvPr>
          <p:cNvSpPr/>
          <p:nvPr/>
        </p:nvSpPr>
        <p:spPr>
          <a:xfrm>
            <a:off x="8078706" y="3186305"/>
            <a:ext cx="105457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73" name="Oval 72">
            <a:extLst>
              <a:ext uri="{FF2B5EF4-FFF2-40B4-BE49-F238E27FC236}">
                <a16:creationId xmlns:a16="http://schemas.microsoft.com/office/drawing/2014/main" id="{A0D2A5B6-F9C9-406B-A57C-4F5C14F2E0D6}"/>
              </a:ext>
            </a:extLst>
          </p:cNvPr>
          <p:cNvSpPr/>
          <p:nvPr/>
        </p:nvSpPr>
        <p:spPr>
          <a:xfrm>
            <a:off x="9645884" y="2804888"/>
            <a:ext cx="201963" cy="177696"/>
          </a:xfrm>
          <a:prstGeom prst="ellipse">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74" name="Rectangle 73">
            <a:extLst>
              <a:ext uri="{FF2B5EF4-FFF2-40B4-BE49-F238E27FC236}">
                <a16:creationId xmlns:a16="http://schemas.microsoft.com/office/drawing/2014/main" id="{294B98C4-0406-4939-BCBC-063EDAED21D7}"/>
              </a:ext>
            </a:extLst>
          </p:cNvPr>
          <p:cNvSpPr/>
          <p:nvPr/>
        </p:nvSpPr>
        <p:spPr>
          <a:xfrm>
            <a:off x="9162300" y="3186305"/>
            <a:ext cx="105457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75" name="Straight Arrow Connector 74">
            <a:extLst>
              <a:ext uri="{FF2B5EF4-FFF2-40B4-BE49-F238E27FC236}">
                <a16:creationId xmlns:a16="http://schemas.microsoft.com/office/drawing/2014/main" id="{E8CA2E89-7BD2-4525-ABA3-26E379AE87FA}"/>
              </a:ext>
            </a:extLst>
          </p:cNvPr>
          <p:cNvCxnSpPr/>
          <p:nvPr/>
        </p:nvCxnSpPr>
        <p:spPr>
          <a:xfrm>
            <a:off x="8982027" y="2772583"/>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E8CA2E89-7BD2-4525-ABA3-26E379AE87FA}"/>
              </a:ext>
            </a:extLst>
          </p:cNvPr>
          <p:cNvCxnSpPr/>
          <p:nvPr/>
        </p:nvCxnSpPr>
        <p:spPr>
          <a:xfrm>
            <a:off x="9934631" y="2775232"/>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C270E420-5B6A-4AFB-97AD-CC8DD0E6F550}"/>
              </a:ext>
            </a:extLst>
          </p:cNvPr>
          <p:cNvSpPr/>
          <p:nvPr/>
        </p:nvSpPr>
        <p:spPr>
          <a:xfrm>
            <a:off x="8617229" y="5430841"/>
            <a:ext cx="1136227"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78" name="Rectangle 77">
            <a:extLst>
              <a:ext uri="{FF2B5EF4-FFF2-40B4-BE49-F238E27FC236}">
                <a16:creationId xmlns:a16="http://schemas.microsoft.com/office/drawing/2014/main" id="{721F7665-F484-4698-B81F-E82A4F6F3298}"/>
              </a:ext>
            </a:extLst>
          </p:cNvPr>
          <p:cNvSpPr/>
          <p:nvPr/>
        </p:nvSpPr>
        <p:spPr>
          <a:xfrm>
            <a:off x="9733218" y="5430841"/>
            <a:ext cx="953428"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79" name="Straight Arrow Connector 78">
            <a:extLst>
              <a:ext uri="{FF2B5EF4-FFF2-40B4-BE49-F238E27FC236}">
                <a16:creationId xmlns:a16="http://schemas.microsoft.com/office/drawing/2014/main" id="{1EA70B8B-85CE-4BAA-82F2-E102C094329E}"/>
              </a:ext>
            </a:extLst>
          </p:cNvPr>
          <p:cNvCxnSpPr/>
          <p:nvPr/>
        </p:nvCxnSpPr>
        <p:spPr>
          <a:xfrm>
            <a:off x="9562865" y="5023343"/>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0" name="Rounded Rectangle 185">
            <a:extLst>
              <a:ext uri="{FF2B5EF4-FFF2-40B4-BE49-F238E27FC236}">
                <a16:creationId xmlns:a16="http://schemas.microsoft.com/office/drawing/2014/main" id="{8EF4A838-B8AE-49B8-A2CF-C2A3C307AB18}"/>
              </a:ext>
            </a:extLst>
          </p:cNvPr>
          <p:cNvSpPr/>
          <p:nvPr/>
        </p:nvSpPr>
        <p:spPr>
          <a:xfrm>
            <a:off x="9251351" y="5080263"/>
            <a:ext cx="201963" cy="177696"/>
          </a:xfrm>
          <a:prstGeom prst="roundRect">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D0D0CE"/>
                </a:solidFill>
                <a:effectLst/>
                <a:uLnTx/>
                <a:uFillTx/>
                <a:ea typeface="+mn-ea"/>
                <a:cs typeface="+mn-cs"/>
              </a:rPr>
              <a:t>v</a:t>
            </a:r>
          </a:p>
        </p:txBody>
      </p:sp>
      <p:sp>
        <p:nvSpPr>
          <p:cNvPr id="81" name="Rounded Rectangle 185">
            <a:extLst>
              <a:ext uri="{FF2B5EF4-FFF2-40B4-BE49-F238E27FC236}">
                <a16:creationId xmlns:a16="http://schemas.microsoft.com/office/drawing/2014/main" id="{8EF4A838-B8AE-49B8-A2CF-C2A3C307AB18}"/>
              </a:ext>
            </a:extLst>
          </p:cNvPr>
          <p:cNvSpPr/>
          <p:nvPr/>
        </p:nvSpPr>
        <p:spPr>
          <a:xfrm>
            <a:off x="10070401" y="5068366"/>
            <a:ext cx="201963" cy="177696"/>
          </a:xfrm>
          <a:prstGeom prst="roundRect">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D0D0CE"/>
                </a:solidFill>
                <a:effectLst/>
                <a:uLnTx/>
                <a:uFillTx/>
                <a:ea typeface="+mn-ea"/>
                <a:cs typeface="+mn-cs"/>
              </a:rPr>
              <a:t>v</a:t>
            </a:r>
          </a:p>
        </p:txBody>
      </p:sp>
      <p:sp>
        <p:nvSpPr>
          <p:cNvPr id="82" name="Rounded Rectangle 185">
            <a:extLst>
              <a:ext uri="{FF2B5EF4-FFF2-40B4-BE49-F238E27FC236}">
                <a16:creationId xmlns:a16="http://schemas.microsoft.com/office/drawing/2014/main" id="{8EF4A838-B8AE-49B8-A2CF-C2A3C307AB18}"/>
              </a:ext>
            </a:extLst>
          </p:cNvPr>
          <p:cNvSpPr/>
          <p:nvPr/>
        </p:nvSpPr>
        <p:spPr>
          <a:xfrm>
            <a:off x="11144309" y="5070895"/>
            <a:ext cx="201963" cy="177696"/>
          </a:xfrm>
          <a:prstGeom prst="roundRect">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D0D0CE"/>
                </a:solidFill>
                <a:effectLst/>
                <a:uLnTx/>
                <a:uFillTx/>
                <a:ea typeface="+mn-ea"/>
                <a:cs typeface="+mn-cs"/>
              </a:rPr>
              <a:t>v</a:t>
            </a:r>
          </a:p>
        </p:txBody>
      </p:sp>
      <p:sp>
        <p:nvSpPr>
          <p:cNvPr id="83" name="Rectangle 82">
            <a:extLst>
              <a:ext uri="{FF2B5EF4-FFF2-40B4-BE49-F238E27FC236}">
                <a16:creationId xmlns:a16="http://schemas.microsoft.com/office/drawing/2014/main" id="{721F7665-F484-4698-B81F-E82A4F6F3298}"/>
              </a:ext>
            </a:extLst>
          </p:cNvPr>
          <p:cNvSpPr/>
          <p:nvPr/>
        </p:nvSpPr>
        <p:spPr>
          <a:xfrm>
            <a:off x="10804232" y="5430841"/>
            <a:ext cx="953428"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84" name="Straight Arrow Connector 83">
            <a:extLst>
              <a:ext uri="{FF2B5EF4-FFF2-40B4-BE49-F238E27FC236}">
                <a16:creationId xmlns:a16="http://schemas.microsoft.com/office/drawing/2014/main" id="{1EA70B8B-85CE-4BAA-82F2-E102C094329E}"/>
              </a:ext>
            </a:extLst>
          </p:cNvPr>
          <p:cNvCxnSpPr/>
          <p:nvPr/>
        </p:nvCxnSpPr>
        <p:spPr>
          <a:xfrm>
            <a:off x="10558995" y="5026923"/>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C9CDEC56-7B54-4671-B6BF-D41AE0B1FF93}"/>
              </a:ext>
            </a:extLst>
          </p:cNvPr>
          <p:cNvCxnSpPr/>
          <p:nvPr/>
        </p:nvCxnSpPr>
        <p:spPr>
          <a:xfrm>
            <a:off x="2885672" y="4331529"/>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E8CA2E89-7BD2-4525-ABA3-26E379AE87FA}"/>
              </a:ext>
            </a:extLst>
          </p:cNvPr>
          <p:cNvCxnSpPr/>
          <p:nvPr/>
        </p:nvCxnSpPr>
        <p:spPr>
          <a:xfrm>
            <a:off x="5277190" y="4325290"/>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E8CA2E89-7BD2-4525-ABA3-26E379AE87FA}"/>
              </a:ext>
            </a:extLst>
          </p:cNvPr>
          <p:cNvCxnSpPr/>
          <p:nvPr/>
        </p:nvCxnSpPr>
        <p:spPr>
          <a:xfrm>
            <a:off x="4046933" y="4325290"/>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E8CA2E89-7BD2-4525-ABA3-26E379AE87FA}"/>
              </a:ext>
            </a:extLst>
          </p:cNvPr>
          <p:cNvCxnSpPr/>
          <p:nvPr/>
        </p:nvCxnSpPr>
        <p:spPr>
          <a:xfrm>
            <a:off x="6476718" y="4331529"/>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E8CA2E89-7BD2-4525-ABA3-26E379AE87FA}"/>
              </a:ext>
            </a:extLst>
          </p:cNvPr>
          <p:cNvCxnSpPr/>
          <p:nvPr/>
        </p:nvCxnSpPr>
        <p:spPr>
          <a:xfrm>
            <a:off x="7640718" y="4334456"/>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E8CA2E89-7BD2-4525-ABA3-26E379AE87FA}"/>
              </a:ext>
            </a:extLst>
          </p:cNvPr>
          <p:cNvCxnSpPr/>
          <p:nvPr/>
        </p:nvCxnSpPr>
        <p:spPr>
          <a:xfrm flipH="1">
            <a:off x="8634552" y="4420588"/>
            <a:ext cx="422818" cy="16145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E8CA2E89-7BD2-4525-ABA3-26E379AE87FA}"/>
              </a:ext>
            </a:extLst>
          </p:cNvPr>
          <p:cNvCxnSpPr/>
          <p:nvPr/>
        </p:nvCxnSpPr>
        <p:spPr>
          <a:xfrm>
            <a:off x="8385365" y="4855452"/>
            <a:ext cx="537654" cy="286009"/>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2" name="Rounded Rectangle 185">
            <a:extLst>
              <a:ext uri="{FF2B5EF4-FFF2-40B4-BE49-F238E27FC236}">
                <a16:creationId xmlns:a16="http://schemas.microsoft.com/office/drawing/2014/main" id="{8EF4A838-B8AE-49B8-A2CF-C2A3C307AB18}"/>
              </a:ext>
            </a:extLst>
          </p:cNvPr>
          <p:cNvSpPr/>
          <p:nvPr/>
        </p:nvSpPr>
        <p:spPr>
          <a:xfrm>
            <a:off x="9024242" y="4122015"/>
            <a:ext cx="201963" cy="177696"/>
          </a:xfrm>
          <a:prstGeom prst="roundRect">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93" name="Rectangle 92">
            <a:extLst>
              <a:ext uri="{FF2B5EF4-FFF2-40B4-BE49-F238E27FC236}">
                <a16:creationId xmlns:a16="http://schemas.microsoft.com/office/drawing/2014/main" id="{294B98C4-0406-4939-BCBC-063EDAED21D7}"/>
              </a:ext>
            </a:extLst>
          </p:cNvPr>
          <p:cNvSpPr/>
          <p:nvPr/>
        </p:nvSpPr>
        <p:spPr>
          <a:xfrm>
            <a:off x="8876029" y="3628807"/>
            <a:ext cx="1046049"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Tree>
    <p:custDataLst>
      <p:tags r:id="rId1"/>
    </p:custDataLst>
    <p:extLst>
      <p:ext uri="{BB962C8B-B14F-4D97-AF65-F5344CB8AC3E}">
        <p14:creationId xmlns:p14="http://schemas.microsoft.com/office/powerpoint/2010/main" val="187558420"/>
      </p:ext>
    </p:extLst>
  </p:cSld>
  <p:clrMapOvr>
    <a:masterClrMapping/>
  </p:clrMapOvr>
  <p:transition>
    <p:fade/>
  </p:transition>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598005-F63C-4C5F-8C54-660BF60FE6DB}"/>
              </a:ext>
            </a:extLst>
          </p:cNvPr>
          <p:cNvGrpSpPr/>
          <p:nvPr/>
        </p:nvGrpSpPr>
        <p:grpSpPr>
          <a:xfrm>
            <a:off x="803111" y="762000"/>
            <a:ext cx="10505054" cy="4927600"/>
            <a:chOff x="1900238" y="1798572"/>
            <a:chExt cx="8388540" cy="3934808"/>
          </a:xfrm>
        </p:grpSpPr>
        <p:sp>
          <p:nvSpPr>
            <p:cNvPr id="31" name="Rectangle 30"/>
            <p:cNvSpPr/>
            <p:nvPr/>
          </p:nvSpPr>
          <p:spPr bwMode="gray">
            <a:xfrm>
              <a:off x="8873366" y="2448778"/>
              <a:ext cx="1326099" cy="898984"/>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dirty="0">
                  <a:solidFill>
                    <a:schemeClr val="bg1"/>
                  </a:solidFill>
                </a:rPr>
                <a:t>Lorem ipsum </a:t>
              </a:r>
              <a:r>
                <a:rPr lang="en-GB" sz="1200" dirty="0" err="1">
                  <a:solidFill>
                    <a:schemeClr val="bg1"/>
                  </a:solidFill>
                </a:rPr>
                <a:t>dolor</a:t>
              </a:r>
              <a:r>
                <a:rPr lang="en-GB" sz="1200" dirty="0">
                  <a:solidFill>
                    <a:schemeClr val="bg1"/>
                  </a:solidFill>
                </a:rPr>
                <a:t> sit </a:t>
              </a:r>
              <a:r>
                <a:rPr lang="en-GB" sz="1200" dirty="0" err="1">
                  <a:solidFill>
                    <a:schemeClr val="bg1"/>
                  </a:solidFill>
                </a:rPr>
                <a:t>amet</a:t>
              </a:r>
              <a:r>
                <a:rPr lang="en-GB" sz="1200" dirty="0">
                  <a:solidFill>
                    <a:schemeClr val="bg1"/>
                  </a:solidFill>
                </a:rPr>
                <a:t>, </a:t>
              </a:r>
              <a:r>
                <a:rPr lang="en-GB" sz="1200" dirty="0" err="1">
                  <a:solidFill>
                    <a:schemeClr val="bg1"/>
                  </a:solidFill>
                </a:rPr>
                <a:t>consectetur</a:t>
              </a:r>
              <a:r>
                <a:rPr lang="en-GB" sz="1200" dirty="0">
                  <a:solidFill>
                    <a:schemeClr val="bg1"/>
                  </a:solidFill>
                </a:rPr>
                <a:t> a</a:t>
              </a:r>
            </a:p>
          </p:txBody>
        </p:sp>
        <p:grpSp>
          <p:nvGrpSpPr>
            <p:cNvPr id="39" name="Group 38"/>
            <p:cNvGrpSpPr/>
            <p:nvPr/>
          </p:nvGrpSpPr>
          <p:grpSpPr>
            <a:xfrm>
              <a:off x="1900238" y="3976255"/>
              <a:ext cx="8388540" cy="165478"/>
              <a:chOff x="381000" y="3758522"/>
              <a:chExt cx="8388540" cy="165478"/>
            </a:xfrm>
          </p:grpSpPr>
          <p:cxnSp>
            <p:nvCxnSpPr>
              <p:cNvPr id="13" name="Straight Connector 12"/>
              <p:cNvCxnSpPr/>
              <p:nvPr/>
            </p:nvCxnSpPr>
            <p:spPr>
              <a:xfrm>
                <a:off x="451485" y="3841261"/>
                <a:ext cx="8246745"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bwMode="gray">
              <a:xfrm>
                <a:off x="8604062" y="3758522"/>
                <a:ext cx="165478" cy="165478"/>
              </a:xfrm>
              <a:prstGeom prst="ellipse">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38" name="Oval 37"/>
              <p:cNvSpPr/>
              <p:nvPr/>
            </p:nvSpPr>
            <p:spPr bwMode="gray">
              <a:xfrm>
                <a:off x="381000" y="3758522"/>
                <a:ext cx="165478" cy="165478"/>
              </a:xfrm>
              <a:prstGeom prst="ellipse">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sp>
          <p:nvSpPr>
            <p:cNvPr id="8" name="Rectangle 7"/>
            <p:cNvSpPr/>
            <p:nvPr/>
          </p:nvSpPr>
          <p:spPr bwMode="gray">
            <a:xfrm>
              <a:off x="2306972" y="5410201"/>
              <a:ext cx="1227273" cy="323179"/>
            </a:xfrm>
            <a:prstGeom prst="rect">
              <a:avLst/>
            </a:prstGeom>
            <a:noFill/>
            <a:ln w="38100" algn="ctr">
              <a:noFill/>
              <a:miter lim="800000"/>
              <a:headEnd/>
              <a:tailEnd/>
            </a:ln>
          </p:spPr>
          <p:txBody>
            <a:bodyPr wrap="square" lIns="27000" tIns="27000" rIns="27000" bIns="27000" rtlCol="0" anchor="t"/>
            <a:lstStyle/>
            <a:p>
              <a:pPr algn="ctr" defTabSz="914378">
                <a:lnSpc>
                  <a:spcPct val="106000"/>
                </a:lnSpc>
              </a:pPr>
              <a:r>
                <a:rPr lang="en-GB" sz="1100" dirty="0"/>
                <a:t>Lorem ipsum </a:t>
              </a:r>
            </a:p>
          </p:txBody>
        </p:sp>
        <p:cxnSp>
          <p:nvCxnSpPr>
            <p:cNvPr id="21" name="Straight Connector 20"/>
            <p:cNvCxnSpPr>
              <a:stCxn id="44" idx="4"/>
              <a:endCxn id="54" idx="0"/>
            </p:cNvCxnSpPr>
            <p:nvPr/>
          </p:nvCxnSpPr>
          <p:spPr>
            <a:xfrm flipH="1">
              <a:off x="2920608" y="4309268"/>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Oval 43"/>
            <p:cNvSpPr/>
            <p:nvPr/>
          </p:nvSpPr>
          <p:spPr bwMode="gray">
            <a:xfrm>
              <a:off x="2668196" y="3804443"/>
              <a:ext cx="504825" cy="50482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4" name="Oval 53"/>
            <p:cNvSpPr/>
            <p:nvPr/>
          </p:nvSpPr>
          <p:spPr bwMode="gray">
            <a:xfrm>
              <a:off x="2842453" y="5201994"/>
              <a:ext cx="156308" cy="156308"/>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8" name="Rectangle 57"/>
            <p:cNvSpPr/>
            <p:nvPr/>
          </p:nvSpPr>
          <p:spPr bwMode="gray">
            <a:xfrm>
              <a:off x="4414987" y="5410201"/>
              <a:ext cx="1227273" cy="323179"/>
            </a:xfrm>
            <a:prstGeom prst="rect">
              <a:avLst/>
            </a:prstGeom>
            <a:noFill/>
            <a:ln w="38100" algn="ctr">
              <a:noFill/>
              <a:miter lim="800000"/>
              <a:headEnd/>
              <a:tailEnd/>
            </a:ln>
          </p:spPr>
          <p:txBody>
            <a:bodyPr wrap="square" lIns="27000" tIns="27000" rIns="27000" bIns="27000" rtlCol="0" anchor="t"/>
            <a:lstStyle/>
            <a:p>
              <a:pPr algn="ctr" defTabSz="914378">
                <a:lnSpc>
                  <a:spcPct val="106000"/>
                </a:lnSpc>
              </a:pPr>
              <a:r>
                <a:rPr lang="en-GB" sz="1100" dirty="0"/>
                <a:t>Lorem ipsum </a:t>
              </a:r>
            </a:p>
          </p:txBody>
        </p:sp>
        <p:cxnSp>
          <p:nvCxnSpPr>
            <p:cNvPr id="59" name="Straight Connector 58"/>
            <p:cNvCxnSpPr>
              <a:stCxn id="60" idx="4"/>
              <a:endCxn id="61" idx="0"/>
            </p:cNvCxnSpPr>
            <p:nvPr/>
          </p:nvCxnSpPr>
          <p:spPr>
            <a:xfrm flipH="1">
              <a:off x="5028623" y="4309268"/>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60" name="Oval 59"/>
            <p:cNvSpPr/>
            <p:nvPr/>
          </p:nvSpPr>
          <p:spPr bwMode="gray">
            <a:xfrm>
              <a:off x="4776211" y="3804443"/>
              <a:ext cx="504825" cy="504825"/>
            </a:xfrm>
            <a:prstGeom prst="ellipse">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1" name="Oval 60"/>
            <p:cNvSpPr/>
            <p:nvPr/>
          </p:nvSpPr>
          <p:spPr bwMode="gray">
            <a:xfrm>
              <a:off x="4950468" y="5201994"/>
              <a:ext cx="156308" cy="156308"/>
            </a:xfrm>
            <a:prstGeom prst="ellipse">
              <a:avLst/>
            </a:prstGeom>
            <a:solidFill>
              <a:schemeClr val="bg1"/>
            </a:solid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3" name="Rectangle 62"/>
            <p:cNvSpPr/>
            <p:nvPr/>
          </p:nvSpPr>
          <p:spPr bwMode="gray">
            <a:xfrm>
              <a:off x="6500331" y="5410201"/>
              <a:ext cx="1227273" cy="323179"/>
            </a:xfrm>
            <a:prstGeom prst="rect">
              <a:avLst/>
            </a:prstGeom>
            <a:noFill/>
            <a:ln w="38100" algn="ctr">
              <a:noFill/>
              <a:miter lim="800000"/>
              <a:headEnd/>
              <a:tailEnd/>
            </a:ln>
          </p:spPr>
          <p:txBody>
            <a:bodyPr wrap="square" lIns="27000" tIns="27000" rIns="27000" bIns="27000" rtlCol="0" anchor="t"/>
            <a:lstStyle/>
            <a:p>
              <a:pPr algn="ctr" defTabSz="914378">
                <a:lnSpc>
                  <a:spcPct val="106000"/>
                </a:lnSpc>
              </a:pPr>
              <a:r>
                <a:rPr lang="en-GB" sz="1100" dirty="0"/>
                <a:t>Lorem ipsum </a:t>
              </a:r>
            </a:p>
          </p:txBody>
        </p:sp>
        <p:cxnSp>
          <p:nvCxnSpPr>
            <p:cNvPr id="64" name="Straight Connector 63"/>
            <p:cNvCxnSpPr>
              <a:stCxn id="65" idx="4"/>
              <a:endCxn id="66" idx="0"/>
            </p:cNvCxnSpPr>
            <p:nvPr/>
          </p:nvCxnSpPr>
          <p:spPr>
            <a:xfrm flipH="1">
              <a:off x="7136638" y="4309268"/>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gray">
            <a:xfrm>
              <a:off x="6884226" y="3804443"/>
              <a:ext cx="504825" cy="504825"/>
            </a:xfrm>
            <a:prstGeom prst="ellipse">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6" name="Oval 65"/>
            <p:cNvSpPr/>
            <p:nvPr/>
          </p:nvSpPr>
          <p:spPr bwMode="gray">
            <a:xfrm>
              <a:off x="7058483" y="5201994"/>
              <a:ext cx="156308" cy="156308"/>
            </a:xfrm>
            <a:prstGeom prst="ellipse">
              <a:avLst/>
            </a:prstGeom>
            <a:solidFill>
              <a:schemeClr val="bg1"/>
            </a:solidFill>
            <a:ln w="1905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8" name="Rectangle 67"/>
            <p:cNvSpPr/>
            <p:nvPr/>
          </p:nvSpPr>
          <p:spPr bwMode="gray">
            <a:xfrm>
              <a:off x="8546980" y="5410201"/>
              <a:ext cx="1350000" cy="323179"/>
            </a:xfrm>
            <a:prstGeom prst="rect">
              <a:avLst/>
            </a:prstGeom>
            <a:noFill/>
            <a:ln w="38100" algn="ctr">
              <a:noFill/>
              <a:miter lim="800000"/>
              <a:headEnd/>
              <a:tailEnd/>
            </a:ln>
          </p:spPr>
          <p:txBody>
            <a:bodyPr wrap="square" lIns="27000" tIns="27000" rIns="27000" bIns="27000" rtlCol="0" anchor="t"/>
            <a:lstStyle/>
            <a:p>
              <a:pPr algn="ctr" defTabSz="914378">
                <a:lnSpc>
                  <a:spcPct val="106000"/>
                </a:lnSpc>
              </a:pPr>
              <a:r>
                <a:rPr lang="en-GB" sz="1100" dirty="0"/>
                <a:t>Lorem ipsum </a:t>
              </a:r>
            </a:p>
          </p:txBody>
        </p:sp>
        <p:cxnSp>
          <p:nvCxnSpPr>
            <p:cNvPr id="69" name="Straight Connector 68"/>
            <p:cNvCxnSpPr>
              <a:stCxn id="70" idx="4"/>
              <a:endCxn id="71" idx="0"/>
            </p:cNvCxnSpPr>
            <p:nvPr/>
          </p:nvCxnSpPr>
          <p:spPr>
            <a:xfrm flipH="1">
              <a:off x="9244652" y="4309268"/>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70" name="Oval 69"/>
            <p:cNvSpPr/>
            <p:nvPr/>
          </p:nvSpPr>
          <p:spPr bwMode="gray">
            <a:xfrm>
              <a:off x="8992240" y="3804443"/>
              <a:ext cx="504825" cy="504825"/>
            </a:xfrm>
            <a:prstGeom prst="ellipse">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1" name="Oval 70"/>
            <p:cNvSpPr/>
            <p:nvPr/>
          </p:nvSpPr>
          <p:spPr bwMode="gray">
            <a:xfrm>
              <a:off x="9166497" y="5201994"/>
              <a:ext cx="156308" cy="156308"/>
            </a:xfrm>
            <a:prstGeom prst="ellipse">
              <a:avLst/>
            </a:prstGeom>
            <a:solidFill>
              <a:schemeClr val="bg1"/>
            </a:solidFill>
            <a:ln w="1905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3" name="Rectangle 72"/>
            <p:cNvSpPr/>
            <p:nvPr/>
          </p:nvSpPr>
          <p:spPr bwMode="gray">
            <a:xfrm>
              <a:off x="3373216" y="2362201"/>
              <a:ext cx="1227273" cy="323179"/>
            </a:xfrm>
            <a:prstGeom prst="rect">
              <a:avLst/>
            </a:prstGeom>
            <a:noFill/>
            <a:ln w="38100" algn="ctr">
              <a:noFill/>
              <a:miter lim="800000"/>
              <a:headEnd/>
              <a:tailEnd/>
            </a:ln>
          </p:spPr>
          <p:txBody>
            <a:bodyPr wrap="square" lIns="27000" tIns="27000" rIns="27000" bIns="27000" rtlCol="0" anchor="b"/>
            <a:lstStyle/>
            <a:p>
              <a:pPr algn="ctr" defTabSz="914378">
                <a:lnSpc>
                  <a:spcPct val="106000"/>
                </a:lnSpc>
              </a:pPr>
              <a:r>
                <a:rPr lang="en-GB" sz="1100" dirty="0"/>
                <a:t>Lorem ipsum </a:t>
              </a:r>
            </a:p>
          </p:txBody>
        </p:sp>
        <p:cxnSp>
          <p:nvCxnSpPr>
            <p:cNvPr id="74" name="Straight Connector 73"/>
            <p:cNvCxnSpPr>
              <a:stCxn id="75" idx="4"/>
              <a:endCxn id="76" idx="0"/>
            </p:cNvCxnSpPr>
            <p:nvPr/>
          </p:nvCxnSpPr>
          <p:spPr>
            <a:xfrm flipH="1" flipV="1">
              <a:off x="3986852" y="2911716"/>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Oval 74"/>
            <p:cNvSpPr/>
            <p:nvPr/>
          </p:nvSpPr>
          <p:spPr bwMode="gray">
            <a:xfrm flipV="1">
              <a:off x="3734440" y="3804443"/>
              <a:ext cx="504825" cy="504825"/>
            </a:xfrm>
            <a:prstGeom prst="ellips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6" name="Oval 75"/>
            <p:cNvSpPr/>
            <p:nvPr/>
          </p:nvSpPr>
          <p:spPr bwMode="gray">
            <a:xfrm flipV="1">
              <a:off x="3908697" y="2755407"/>
              <a:ext cx="156308" cy="156308"/>
            </a:xfrm>
            <a:prstGeom prst="ellipse">
              <a:avLst/>
            </a:prstGeom>
            <a:solidFill>
              <a:schemeClr val="bg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8" name="Rectangle 77"/>
            <p:cNvSpPr/>
            <p:nvPr/>
          </p:nvSpPr>
          <p:spPr bwMode="gray">
            <a:xfrm>
              <a:off x="5481231" y="2362201"/>
              <a:ext cx="1227273" cy="323179"/>
            </a:xfrm>
            <a:prstGeom prst="rect">
              <a:avLst/>
            </a:prstGeom>
            <a:noFill/>
            <a:ln w="38100" algn="ctr">
              <a:noFill/>
              <a:miter lim="800000"/>
              <a:headEnd/>
              <a:tailEnd/>
            </a:ln>
          </p:spPr>
          <p:txBody>
            <a:bodyPr wrap="square" lIns="27000" tIns="27000" rIns="27000" bIns="27000" rtlCol="0" anchor="b"/>
            <a:lstStyle/>
            <a:p>
              <a:pPr algn="ctr" defTabSz="914378">
                <a:lnSpc>
                  <a:spcPct val="106000"/>
                </a:lnSpc>
              </a:pPr>
              <a:r>
                <a:rPr lang="en-GB" sz="1100" dirty="0"/>
                <a:t>Lorem ipsum </a:t>
              </a:r>
            </a:p>
          </p:txBody>
        </p:sp>
        <p:cxnSp>
          <p:nvCxnSpPr>
            <p:cNvPr id="79" name="Straight Connector 78"/>
            <p:cNvCxnSpPr>
              <a:stCxn id="80" idx="4"/>
              <a:endCxn id="81" idx="0"/>
            </p:cNvCxnSpPr>
            <p:nvPr/>
          </p:nvCxnSpPr>
          <p:spPr>
            <a:xfrm flipH="1" flipV="1">
              <a:off x="6094867" y="2911716"/>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80" name="Oval 79"/>
            <p:cNvSpPr/>
            <p:nvPr/>
          </p:nvSpPr>
          <p:spPr bwMode="gray">
            <a:xfrm flipV="1">
              <a:off x="5842455" y="3804443"/>
              <a:ext cx="504825" cy="504825"/>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81" name="Oval 80"/>
            <p:cNvSpPr/>
            <p:nvPr/>
          </p:nvSpPr>
          <p:spPr bwMode="gray">
            <a:xfrm flipV="1">
              <a:off x="6016712" y="2755407"/>
              <a:ext cx="156308" cy="156308"/>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83" name="Rectangle 82"/>
            <p:cNvSpPr/>
            <p:nvPr/>
          </p:nvSpPr>
          <p:spPr bwMode="gray">
            <a:xfrm>
              <a:off x="7460380" y="2362201"/>
              <a:ext cx="1485000" cy="323179"/>
            </a:xfrm>
            <a:prstGeom prst="rect">
              <a:avLst/>
            </a:prstGeom>
            <a:noFill/>
            <a:ln w="38100" algn="ctr">
              <a:noFill/>
              <a:miter lim="800000"/>
              <a:headEnd/>
              <a:tailEnd/>
            </a:ln>
          </p:spPr>
          <p:txBody>
            <a:bodyPr wrap="square" lIns="27000" tIns="27000" rIns="27000" bIns="27000" rtlCol="0" anchor="b"/>
            <a:lstStyle/>
            <a:p>
              <a:pPr algn="ctr" defTabSz="914378">
                <a:lnSpc>
                  <a:spcPct val="106000"/>
                </a:lnSpc>
              </a:pPr>
              <a:r>
                <a:rPr lang="en-GB" sz="1100" dirty="0"/>
                <a:t>Lorem ipsum </a:t>
              </a:r>
            </a:p>
          </p:txBody>
        </p:sp>
        <p:cxnSp>
          <p:nvCxnSpPr>
            <p:cNvPr id="84" name="Straight Connector 83"/>
            <p:cNvCxnSpPr>
              <a:stCxn id="85" idx="4"/>
              <a:endCxn id="86" idx="0"/>
            </p:cNvCxnSpPr>
            <p:nvPr/>
          </p:nvCxnSpPr>
          <p:spPr>
            <a:xfrm flipH="1" flipV="1">
              <a:off x="8202881" y="2911716"/>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85" name="Oval 84"/>
            <p:cNvSpPr/>
            <p:nvPr/>
          </p:nvSpPr>
          <p:spPr bwMode="gray">
            <a:xfrm flipV="1">
              <a:off x="7950469" y="3804443"/>
              <a:ext cx="504825" cy="504825"/>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86" name="Oval 85"/>
            <p:cNvSpPr/>
            <p:nvPr/>
          </p:nvSpPr>
          <p:spPr bwMode="gray">
            <a:xfrm flipV="1">
              <a:off x="8124726" y="2755407"/>
              <a:ext cx="156308" cy="156308"/>
            </a:xfrm>
            <a:prstGeom prst="ellipse">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130" name="Group 597"/>
            <p:cNvGrpSpPr>
              <a:grpSpLocks noChangeAspect="1"/>
            </p:cNvGrpSpPr>
            <p:nvPr/>
          </p:nvGrpSpPr>
          <p:grpSpPr bwMode="auto">
            <a:xfrm>
              <a:off x="3802791" y="3873335"/>
              <a:ext cx="368120" cy="367041"/>
              <a:chOff x="2745" y="2621"/>
              <a:chExt cx="341" cy="340"/>
            </a:xfrm>
            <a:solidFill>
              <a:schemeClr val="bg1"/>
            </a:solidFill>
          </p:grpSpPr>
          <p:sp>
            <p:nvSpPr>
              <p:cNvPr id="131" name="Freeform 598"/>
              <p:cNvSpPr>
                <a:spLocks noEditPoints="1"/>
              </p:cNvSpPr>
              <p:nvPr/>
            </p:nvSpPr>
            <p:spPr bwMode="auto">
              <a:xfrm>
                <a:off x="2824" y="2700"/>
                <a:ext cx="183" cy="181"/>
              </a:xfrm>
              <a:custGeom>
                <a:avLst/>
                <a:gdLst>
                  <a:gd name="T0" fmla="*/ 137 w 274"/>
                  <a:gd name="T1" fmla="*/ 197 h 273"/>
                  <a:gd name="T2" fmla="*/ 137 w 274"/>
                  <a:gd name="T3" fmla="*/ 212 h 273"/>
                  <a:gd name="T4" fmla="*/ 91 w 274"/>
                  <a:gd name="T5" fmla="*/ 257 h 273"/>
                  <a:gd name="T6" fmla="*/ 55 w 274"/>
                  <a:gd name="T7" fmla="*/ 273 h 273"/>
                  <a:gd name="T8" fmla="*/ 53 w 274"/>
                  <a:gd name="T9" fmla="*/ 273 h 273"/>
                  <a:gd name="T10" fmla="*/ 16 w 274"/>
                  <a:gd name="T11" fmla="*/ 257 h 273"/>
                  <a:gd name="T12" fmla="*/ 0 w 274"/>
                  <a:gd name="T13" fmla="*/ 219 h 273"/>
                  <a:gd name="T14" fmla="*/ 16 w 274"/>
                  <a:gd name="T15" fmla="*/ 182 h 273"/>
                  <a:gd name="T16" fmla="*/ 84 w 274"/>
                  <a:gd name="T17" fmla="*/ 114 h 273"/>
                  <a:gd name="T18" fmla="*/ 120 w 274"/>
                  <a:gd name="T19" fmla="*/ 98 h 273"/>
                  <a:gd name="T20" fmla="*/ 159 w 274"/>
                  <a:gd name="T21" fmla="*/ 114 h 273"/>
                  <a:gd name="T22" fmla="*/ 159 w 274"/>
                  <a:gd name="T23" fmla="*/ 129 h 273"/>
                  <a:gd name="T24" fmla="*/ 144 w 274"/>
                  <a:gd name="T25" fmla="*/ 129 h 273"/>
                  <a:gd name="T26" fmla="*/ 121 w 274"/>
                  <a:gd name="T27" fmla="*/ 119 h 273"/>
                  <a:gd name="T28" fmla="*/ 99 w 274"/>
                  <a:gd name="T29" fmla="*/ 129 h 273"/>
                  <a:gd name="T30" fmla="*/ 31 w 274"/>
                  <a:gd name="T31" fmla="*/ 197 h 273"/>
                  <a:gd name="T32" fmla="*/ 21 w 274"/>
                  <a:gd name="T33" fmla="*/ 219 h 273"/>
                  <a:gd name="T34" fmla="*/ 31 w 274"/>
                  <a:gd name="T35" fmla="*/ 242 h 273"/>
                  <a:gd name="T36" fmla="*/ 54 w 274"/>
                  <a:gd name="T37" fmla="*/ 252 h 273"/>
                  <a:gd name="T38" fmla="*/ 76 w 274"/>
                  <a:gd name="T39" fmla="*/ 242 h 273"/>
                  <a:gd name="T40" fmla="*/ 122 w 274"/>
                  <a:gd name="T41" fmla="*/ 197 h 273"/>
                  <a:gd name="T42" fmla="*/ 137 w 274"/>
                  <a:gd name="T43" fmla="*/ 197 h 273"/>
                  <a:gd name="T44" fmla="*/ 257 w 274"/>
                  <a:gd name="T45" fmla="*/ 16 h 273"/>
                  <a:gd name="T46" fmla="*/ 219 w 274"/>
                  <a:gd name="T47" fmla="*/ 0 h 273"/>
                  <a:gd name="T48" fmla="*/ 182 w 274"/>
                  <a:gd name="T49" fmla="*/ 16 h 273"/>
                  <a:gd name="T50" fmla="*/ 137 w 274"/>
                  <a:gd name="T51" fmla="*/ 61 h 273"/>
                  <a:gd name="T52" fmla="*/ 137 w 274"/>
                  <a:gd name="T53" fmla="*/ 76 h 273"/>
                  <a:gd name="T54" fmla="*/ 152 w 274"/>
                  <a:gd name="T55" fmla="*/ 76 h 273"/>
                  <a:gd name="T56" fmla="*/ 197 w 274"/>
                  <a:gd name="T57" fmla="*/ 31 h 273"/>
                  <a:gd name="T58" fmla="*/ 219 w 274"/>
                  <a:gd name="T59" fmla="*/ 21 h 273"/>
                  <a:gd name="T60" fmla="*/ 242 w 274"/>
                  <a:gd name="T61" fmla="*/ 31 h 273"/>
                  <a:gd name="T62" fmla="*/ 252 w 274"/>
                  <a:gd name="T63" fmla="*/ 54 h 273"/>
                  <a:gd name="T64" fmla="*/ 242 w 274"/>
                  <a:gd name="T65" fmla="*/ 76 h 273"/>
                  <a:gd name="T66" fmla="*/ 174 w 274"/>
                  <a:gd name="T67" fmla="*/ 144 h 273"/>
                  <a:gd name="T68" fmla="*/ 152 w 274"/>
                  <a:gd name="T69" fmla="*/ 154 h 273"/>
                  <a:gd name="T70" fmla="*/ 129 w 274"/>
                  <a:gd name="T71" fmla="*/ 144 h 273"/>
                  <a:gd name="T72" fmla="*/ 114 w 274"/>
                  <a:gd name="T73" fmla="*/ 144 h 273"/>
                  <a:gd name="T74" fmla="*/ 114 w 274"/>
                  <a:gd name="T75" fmla="*/ 159 h 273"/>
                  <a:gd name="T76" fmla="*/ 152 w 274"/>
                  <a:gd name="T77" fmla="*/ 175 h 273"/>
                  <a:gd name="T78" fmla="*/ 153 w 274"/>
                  <a:gd name="T79" fmla="*/ 175 h 273"/>
                  <a:gd name="T80" fmla="*/ 189 w 274"/>
                  <a:gd name="T81" fmla="*/ 159 h 273"/>
                  <a:gd name="T82" fmla="*/ 257 w 274"/>
                  <a:gd name="T83" fmla="*/ 91 h 273"/>
                  <a:gd name="T84" fmla="*/ 273 w 274"/>
                  <a:gd name="T85" fmla="*/ 55 h 273"/>
                  <a:gd name="T86" fmla="*/ 257 w 274"/>
                  <a:gd name="T87" fmla="*/ 1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 h="273">
                    <a:moveTo>
                      <a:pt x="137" y="197"/>
                    </a:moveTo>
                    <a:cubicBezTo>
                      <a:pt x="141" y="201"/>
                      <a:pt x="141" y="208"/>
                      <a:pt x="137" y="212"/>
                    </a:cubicBezTo>
                    <a:cubicBezTo>
                      <a:pt x="91" y="257"/>
                      <a:pt x="91" y="257"/>
                      <a:pt x="91" y="257"/>
                    </a:cubicBezTo>
                    <a:cubicBezTo>
                      <a:pt x="81" y="267"/>
                      <a:pt x="68" y="273"/>
                      <a:pt x="55" y="273"/>
                    </a:cubicBezTo>
                    <a:cubicBezTo>
                      <a:pt x="54" y="273"/>
                      <a:pt x="54" y="273"/>
                      <a:pt x="53" y="273"/>
                    </a:cubicBezTo>
                    <a:cubicBezTo>
                      <a:pt x="40" y="273"/>
                      <a:pt x="26" y="268"/>
                      <a:pt x="16" y="257"/>
                    </a:cubicBezTo>
                    <a:cubicBezTo>
                      <a:pt x="5" y="247"/>
                      <a:pt x="0" y="233"/>
                      <a:pt x="0" y="219"/>
                    </a:cubicBezTo>
                    <a:cubicBezTo>
                      <a:pt x="0" y="205"/>
                      <a:pt x="6" y="192"/>
                      <a:pt x="16" y="182"/>
                    </a:cubicBezTo>
                    <a:cubicBezTo>
                      <a:pt x="84" y="114"/>
                      <a:pt x="84" y="114"/>
                      <a:pt x="84" y="114"/>
                    </a:cubicBezTo>
                    <a:cubicBezTo>
                      <a:pt x="94" y="104"/>
                      <a:pt x="107" y="98"/>
                      <a:pt x="120" y="98"/>
                    </a:cubicBezTo>
                    <a:cubicBezTo>
                      <a:pt x="135" y="98"/>
                      <a:pt x="149" y="103"/>
                      <a:pt x="159" y="114"/>
                    </a:cubicBezTo>
                    <a:cubicBezTo>
                      <a:pt x="163" y="118"/>
                      <a:pt x="163" y="125"/>
                      <a:pt x="159" y="129"/>
                    </a:cubicBezTo>
                    <a:cubicBezTo>
                      <a:pt x="155" y="133"/>
                      <a:pt x="148" y="133"/>
                      <a:pt x="144" y="129"/>
                    </a:cubicBezTo>
                    <a:cubicBezTo>
                      <a:pt x="138" y="123"/>
                      <a:pt x="130" y="119"/>
                      <a:pt x="121" y="119"/>
                    </a:cubicBezTo>
                    <a:cubicBezTo>
                      <a:pt x="113" y="120"/>
                      <a:pt x="105" y="123"/>
                      <a:pt x="99" y="129"/>
                    </a:cubicBezTo>
                    <a:cubicBezTo>
                      <a:pt x="31" y="197"/>
                      <a:pt x="31" y="197"/>
                      <a:pt x="31" y="197"/>
                    </a:cubicBezTo>
                    <a:cubicBezTo>
                      <a:pt x="25" y="203"/>
                      <a:pt x="22" y="211"/>
                      <a:pt x="21" y="219"/>
                    </a:cubicBezTo>
                    <a:cubicBezTo>
                      <a:pt x="21" y="228"/>
                      <a:pt x="24" y="236"/>
                      <a:pt x="31" y="242"/>
                    </a:cubicBezTo>
                    <a:cubicBezTo>
                      <a:pt x="38" y="249"/>
                      <a:pt x="46" y="252"/>
                      <a:pt x="54" y="252"/>
                    </a:cubicBezTo>
                    <a:cubicBezTo>
                      <a:pt x="62" y="252"/>
                      <a:pt x="70" y="248"/>
                      <a:pt x="76" y="242"/>
                    </a:cubicBezTo>
                    <a:cubicBezTo>
                      <a:pt x="122" y="197"/>
                      <a:pt x="122" y="197"/>
                      <a:pt x="122" y="197"/>
                    </a:cubicBezTo>
                    <a:cubicBezTo>
                      <a:pt x="126" y="193"/>
                      <a:pt x="133" y="193"/>
                      <a:pt x="137" y="197"/>
                    </a:cubicBezTo>
                    <a:close/>
                    <a:moveTo>
                      <a:pt x="257" y="16"/>
                    </a:move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cubicBezTo>
                      <a:pt x="257" y="91"/>
                      <a:pt x="257" y="91"/>
                      <a:pt x="257" y="91"/>
                    </a:cubicBezTo>
                    <a:cubicBezTo>
                      <a:pt x="267" y="81"/>
                      <a:pt x="273" y="68"/>
                      <a:pt x="273" y="55"/>
                    </a:cubicBezTo>
                    <a:cubicBezTo>
                      <a:pt x="274" y="40"/>
                      <a:pt x="268" y="27"/>
                      <a:pt x="257" y="1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599"/>
              <p:cNvSpPr>
                <a:spLocks noEditPoints="1"/>
              </p:cNvSpPr>
              <p:nvPr/>
            </p:nvSpPr>
            <p:spPr bwMode="auto">
              <a:xfrm>
                <a:off x="2745" y="26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3" name="Group 186"/>
            <p:cNvGrpSpPr>
              <a:grpSpLocks noChangeAspect="1"/>
            </p:cNvGrpSpPr>
            <p:nvPr/>
          </p:nvGrpSpPr>
          <p:grpSpPr bwMode="auto">
            <a:xfrm>
              <a:off x="9060142" y="3872345"/>
              <a:ext cx="369021" cy="369021"/>
              <a:chOff x="6560" y="394"/>
              <a:chExt cx="340" cy="340"/>
            </a:xfrm>
            <a:solidFill>
              <a:schemeClr val="bg1"/>
            </a:solidFill>
          </p:grpSpPr>
          <p:sp>
            <p:nvSpPr>
              <p:cNvPr id="134" name="Freeform 187"/>
              <p:cNvSpPr>
                <a:spLocks noEditPoints="1"/>
              </p:cNvSpPr>
              <p:nvPr/>
            </p:nvSpPr>
            <p:spPr bwMode="auto">
              <a:xfrm>
                <a:off x="6560"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188"/>
              <p:cNvSpPr>
                <a:spLocks noEditPoints="1"/>
              </p:cNvSpPr>
              <p:nvPr/>
            </p:nvSpPr>
            <p:spPr bwMode="auto">
              <a:xfrm>
                <a:off x="6623" y="471"/>
                <a:ext cx="185" cy="185"/>
              </a:xfrm>
              <a:custGeom>
                <a:avLst/>
                <a:gdLst>
                  <a:gd name="T0" fmla="*/ 273 w 278"/>
                  <a:gd name="T1" fmla="*/ 3 h 278"/>
                  <a:gd name="T2" fmla="*/ 262 w 278"/>
                  <a:gd name="T3" fmla="*/ 2 h 278"/>
                  <a:gd name="T4" fmla="*/ 6 w 278"/>
                  <a:gd name="T5" fmla="*/ 152 h 278"/>
                  <a:gd name="T6" fmla="*/ 1 w 278"/>
                  <a:gd name="T7" fmla="*/ 162 h 278"/>
                  <a:gd name="T8" fmla="*/ 7 w 278"/>
                  <a:gd name="T9" fmla="*/ 171 h 278"/>
                  <a:gd name="T10" fmla="*/ 89 w 278"/>
                  <a:gd name="T11" fmla="*/ 204 h 278"/>
                  <a:gd name="T12" fmla="*/ 108 w 278"/>
                  <a:gd name="T13" fmla="*/ 271 h 278"/>
                  <a:gd name="T14" fmla="*/ 117 w 278"/>
                  <a:gd name="T15" fmla="*/ 278 h 278"/>
                  <a:gd name="T16" fmla="*/ 118 w 278"/>
                  <a:gd name="T17" fmla="*/ 278 h 278"/>
                  <a:gd name="T18" fmla="*/ 127 w 278"/>
                  <a:gd name="T19" fmla="*/ 274 h 278"/>
                  <a:gd name="T20" fmla="*/ 127 w 278"/>
                  <a:gd name="T21" fmla="*/ 274 h 278"/>
                  <a:gd name="T22" fmla="*/ 157 w 278"/>
                  <a:gd name="T23" fmla="*/ 232 h 278"/>
                  <a:gd name="T24" fmla="*/ 242 w 278"/>
                  <a:gd name="T25" fmla="*/ 267 h 278"/>
                  <a:gd name="T26" fmla="*/ 246 w 278"/>
                  <a:gd name="T27" fmla="*/ 268 h 278"/>
                  <a:gd name="T28" fmla="*/ 252 w 278"/>
                  <a:gd name="T29" fmla="*/ 266 h 278"/>
                  <a:gd name="T30" fmla="*/ 257 w 278"/>
                  <a:gd name="T31" fmla="*/ 258 h 278"/>
                  <a:gd name="T32" fmla="*/ 278 w 278"/>
                  <a:gd name="T33" fmla="*/ 13 h 278"/>
                  <a:gd name="T34" fmla="*/ 273 w 278"/>
                  <a:gd name="T35" fmla="*/ 3 h 278"/>
                  <a:gd name="T36" fmla="*/ 92 w 278"/>
                  <a:gd name="T37" fmla="*/ 182 h 278"/>
                  <a:gd name="T38" fmla="*/ 35 w 278"/>
                  <a:gd name="T39" fmla="*/ 159 h 278"/>
                  <a:gd name="T40" fmla="*/ 209 w 278"/>
                  <a:gd name="T41" fmla="*/ 58 h 278"/>
                  <a:gd name="T42" fmla="*/ 92 w 278"/>
                  <a:gd name="T43" fmla="*/ 182 h 278"/>
                  <a:gd name="T44" fmla="*/ 199 w 278"/>
                  <a:gd name="T45" fmla="*/ 100 h 278"/>
                  <a:gd name="T46" fmla="*/ 130 w 278"/>
                  <a:gd name="T47" fmla="*/ 209 h 278"/>
                  <a:gd name="T48" fmla="*/ 129 w 278"/>
                  <a:gd name="T49" fmla="*/ 210 h 278"/>
                  <a:gd name="T50" fmla="*/ 120 w 278"/>
                  <a:gd name="T51" fmla="*/ 235 h 278"/>
                  <a:gd name="T52" fmla="*/ 109 w 278"/>
                  <a:gd name="T53" fmla="*/ 196 h 278"/>
                  <a:gd name="T54" fmla="*/ 199 w 278"/>
                  <a:gd name="T55" fmla="*/ 100 h 278"/>
                  <a:gd name="T56" fmla="*/ 237 w 278"/>
                  <a:gd name="T57" fmla="*/ 242 h 278"/>
                  <a:gd name="T58" fmla="*/ 156 w 278"/>
                  <a:gd name="T59" fmla="*/ 209 h 278"/>
                  <a:gd name="T60" fmla="*/ 253 w 278"/>
                  <a:gd name="T61" fmla="*/ 54 h 278"/>
                  <a:gd name="T62" fmla="*/ 237 w 278"/>
                  <a:gd name="T6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8" h="278">
                    <a:moveTo>
                      <a:pt x="273" y="3"/>
                    </a:moveTo>
                    <a:cubicBezTo>
                      <a:pt x="270" y="1"/>
                      <a:pt x="265" y="0"/>
                      <a:pt x="262" y="2"/>
                    </a:cubicBezTo>
                    <a:cubicBezTo>
                      <a:pt x="6" y="152"/>
                      <a:pt x="6" y="152"/>
                      <a:pt x="6" y="152"/>
                    </a:cubicBezTo>
                    <a:cubicBezTo>
                      <a:pt x="2" y="154"/>
                      <a:pt x="0" y="158"/>
                      <a:pt x="1" y="162"/>
                    </a:cubicBezTo>
                    <a:cubicBezTo>
                      <a:pt x="1" y="166"/>
                      <a:pt x="4" y="169"/>
                      <a:pt x="7" y="171"/>
                    </a:cubicBezTo>
                    <a:cubicBezTo>
                      <a:pt x="89" y="204"/>
                      <a:pt x="89" y="204"/>
                      <a:pt x="89" y="204"/>
                    </a:cubicBezTo>
                    <a:cubicBezTo>
                      <a:pt x="108" y="271"/>
                      <a:pt x="108" y="271"/>
                      <a:pt x="108" y="271"/>
                    </a:cubicBezTo>
                    <a:cubicBezTo>
                      <a:pt x="109" y="275"/>
                      <a:pt x="113" y="278"/>
                      <a:pt x="117" y="278"/>
                    </a:cubicBezTo>
                    <a:cubicBezTo>
                      <a:pt x="118" y="278"/>
                      <a:pt x="118" y="278"/>
                      <a:pt x="118" y="278"/>
                    </a:cubicBezTo>
                    <a:cubicBezTo>
                      <a:pt x="121" y="278"/>
                      <a:pt x="125" y="277"/>
                      <a:pt x="127" y="274"/>
                    </a:cubicBezTo>
                    <a:cubicBezTo>
                      <a:pt x="127" y="274"/>
                      <a:pt x="127" y="274"/>
                      <a:pt x="127" y="274"/>
                    </a:cubicBezTo>
                    <a:cubicBezTo>
                      <a:pt x="157" y="232"/>
                      <a:pt x="157" y="232"/>
                      <a:pt x="157" y="232"/>
                    </a:cubicBezTo>
                    <a:cubicBezTo>
                      <a:pt x="242" y="267"/>
                      <a:pt x="242" y="267"/>
                      <a:pt x="242" y="267"/>
                    </a:cubicBezTo>
                    <a:cubicBezTo>
                      <a:pt x="243" y="267"/>
                      <a:pt x="245" y="268"/>
                      <a:pt x="246" y="268"/>
                    </a:cubicBezTo>
                    <a:cubicBezTo>
                      <a:pt x="248" y="268"/>
                      <a:pt x="250" y="267"/>
                      <a:pt x="252" y="266"/>
                    </a:cubicBezTo>
                    <a:cubicBezTo>
                      <a:pt x="254" y="264"/>
                      <a:pt x="256" y="261"/>
                      <a:pt x="257" y="258"/>
                    </a:cubicBezTo>
                    <a:cubicBezTo>
                      <a:pt x="278" y="13"/>
                      <a:pt x="278" y="13"/>
                      <a:pt x="278" y="13"/>
                    </a:cubicBezTo>
                    <a:cubicBezTo>
                      <a:pt x="278" y="9"/>
                      <a:pt x="276" y="5"/>
                      <a:pt x="273" y="3"/>
                    </a:cubicBezTo>
                    <a:close/>
                    <a:moveTo>
                      <a:pt x="92" y="182"/>
                    </a:moveTo>
                    <a:cubicBezTo>
                      <a:pt x="35" y="159"/>
                      <a:pt x="35" y="159"/>
                      <a:pt x="35" y="159"/>
                    </a:cubicBezTo>
                    <a:cubicBezTo>
                      <a:pt x="209" y="58"/>
                      <a:pt x="209" y="58"/>
                      <a:pt x="209" y="58"/>
                    </a:cubicBezTo>
                    <a:lnTo>
                      <a:pt x="92" y="182"/>
                    </a:lnTo>
                    <a:close/>
                    <a:moveTo>
                      <a:pt x="199" y="100"/>
                    </a:moveTo>
                    <a:cubicBezTo>
                      <a:pt x="130" y="209"/>
                      <a:pt x="130" y="209"/>
                      <a:pt x="130" y="209"/>
                    </a:cubicBezTo>
                    <a:cubicBezTo>
                      <a:pt x="130" y="209"/>
                      <a:pt x="130" y="210"/>
                      <a:pt x="129" y="210"/>
                    </a:cubicBezTo>
                    <a:cubicBezTo>
                      <a:pt x="120" y="235"/>
                      <a:pt x="120" y="235"/>
                      <a:pt x="120" y="235"/>
                    </a:cubicBezTo>
                    <a:cubicBezTo>
                      <a:pt x="109" y="196"/>
                      <a:pt x="109" y="196"/>
                      <a:pt x="109" y="196"/>
                    </a:cubicBezTo>
                    <a:lnTo>
                      <a:pt x="199" y="100"/>
                    </a:lnTo>
                    <a:close/>
                    <a:moveTo>
                      <a:pt x="237" y="242"/>
                    </a:moveTo>
                    <a:cubicBezTo>
                      <a:pt x="156" y="209"/>
                      <a:pt x="156" y="209"/>
                      <a:pt x="156" y="209"/>
                    </a:cubicBezTo>
                    <a:cubicBezTo>
                      <a:pt x="253" y="54"/>
                      <a:pt x="253" y="54"/>
                      <a:pt x="253" y="54"/>
                    </a:cubicBezTo>
                    <a:lnTo>
                      <a:pt x="237" y="24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6" name="Group 244"/>
            <p:cNvGrpSpPr>
              <a:grpSpLocks noChangeAspect="1"/>
            </p:cNvGrpSpPr>
            <p:nvPr/>
          </p:nvGrpSpPr>
          <p:grpSpPr bwMode="auto">
            <a:xfrm>
              <a:off x="6952823" y="3873040"/>
              <a:ext cx="367631" cy="367631"/>
              <a:chOff x="4646" y="1397"/>
              <a:chExt cx="340" cy="340"/>
            </a:xfrm>
            <a:solidFill>
              <a:schemeClr val="bg1"/>
            </a:solidFill>
          </p:grpSpPr>
          <p:sp>
            <p:nvSpPr>
              <p:cNvPr id="137" name="Freeform 245"/>
              <p:cNvSpPr>
                <a:spLocks noEditPoints="1"/>
              </p:cNvSpPr>
              <p:nvPr/>
            </p:nvSpPr>
            <p:spPr bwMode="auto">
              <a:xfrm>
                <a:off x="4646" y="13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246"/>
              <p:cNvSpPr>
                <a:spLocks noEditPoints="1"/>
              </p:cNvSpPr>
              <p:nvPr/>
            </p:nvSpPr>
            <p:spPr bwMode="auto">
              <a:xfrm>
                <a:off x="4738" y="146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9" name="Group 932"/>
            <p:cNvGrpSpPr>
              <a:grpSpLocks noChangeAspect="1"/>
            </p:cNvGrpSpPr>
            <p:nvPr/>
          </p:nvGrpSpPr>
          <p:grpSpPr bwMode="auto">
            <a:xfrm>
              <a:off x="2737088" y="3873335"/>
              <a:ext cx="367041" cy="367041"/>
              <a:chOff x="5795" y="3560"/>
              <a:chExt cx="340" cy="340"/>
            </a:xfrm>
            <a:solidFill>
              <a:schemeClr val="bg1"/>
            </a:solidFill>
          </p:grpSpPr>
          <p:sp>
            <p:nvSpPr>
              <p:cNvPr id="140"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2" name="Group 508"/>
            <p:cNvGrpSpPr>
              <a:grpSpLocks noChangeAspect="1"/>
            </p:cNvGrpSpPr>
            <p:nvPr/>
          </p:nvGrpSpPr>
          <p:grpSpPr bwMode="auto">
            <a:xfrm>
              <a:off x="5911347" y="3873335"/>
              <a:ext cx="367041" cy="367041"/>
              <a:chOff x="3297" y="2398"/>
              <a:chExt cx="340" cy="340"/>
            </a:xfrm>
            <a:solidFill>
              <a:schemeClr val="bg1"/>
            </a:solidFill>
          </p:grpSpPr>
          <p:sp>
            <p:nvSpPr>
              <p:cNvPr id="143" name="Freeform 509"/>
              <p:cNvSpPr>
                <a:spLocks noEditPoints="1"/>
              </p:cNvSpPr>
              <p:nvPr/>
            </p:nvSpPr>
            <p:spPr bwMode="auto">
              <a:xfrm>
                <a:off x="3361" y="2462"/>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98 w 320"/>
                  <a:gd name="T11" fmla="*/ 160 h 320"/>
                  <a:gd name="T12" fmla="*/ 297 w 320"/>
                  <a:gd name="T13" fmla="*/ 179 h 320"/>
                  <a:gd name="T14" fmla="*/ 244 w 320"/>
                  <a:gd name="T15" fmla="*/ 172 h 320"/>
                  <a:gd name="T16" fmla="*/ 245 w 320"/>
                  <a:gd name="T17" fmla="*/ 160 h 320"/>
                  <a:gd name="T18" fmla="*/ 244 w 320"/>
                  <a:gd name="T19" fmla="*/ 148 h 320"/>
                  <a:gd name="T20" fmla="*/ 297 w 320"/>
                  <a:gd name="T21" fmla="*/ 140 h 320"/>
                  <a:gd name="T22" fmla="*/ 298 w 320"/>
                  <a:gd name="T23" fmla="*/ 160 h 320"/>
                  <a:gd name="T24" fmla="*/ 292 w 320"/>
                  <a:gd name="T25" fmla="*/ 119 h 320"/>
                  <a:gd name="T26" fmla="*/ 238 w 320"/>
                  <a:gd name="T27" fmla="*/ 127 h 320"/>
                  <a:gd name="T28" fmla="*/ 192 w 320"/>
                  <a:gd name="T29" fmla="*/ 81 h 320"/>
                  <a:gd name="T30" fmla="*/ 200 w 320"/>
                  <a:gd name="T31" fmla="*/ 27 h 320"/>
                  <a:gd name="T32" fmla="*/ 292 w 320"/>
                  <a:gd name="T33" fmla="*/ 119 h 320"/>
                  <a:gd name="T34" fmla="*/ 160 w 320"/>
                  <a:gd name="T35" fmla="*/ 224 h 320"/>
                  <a:gd name="T36" fmla="*/ 96 w 320"/>
                  <a:gd name="T37" fmla="*/ 160 h 320"/>
                  <a:gd name="T38" fmla="*/ 160 w 320"/>
                  <a:gd name="T39" fmla="*/ 96 h 320"/>
                  <a:gd name="T40" fmla="*/ 224 w 320"/>
                  <a:gd name="T41" fmla="*/ 160 h 320"/>
                  <a:gd name="T42" fmla="*/ 160 w 320"/>
                  <a:gd name="T43" fmla="*/ 224 h 320"/>
                  <a:gd name="T44" fmla="*/ 179 w 320"/>
                  <a:gd name="T45" fmla="*/ 23 h 320"/>
                  <a:gd name="T46" fmla="*/ 172 w 320"/>
                  <a:gd name="T47" fmla="*/ 75 h 320"/>
                  <a:gd name="T48" fmla="*/ 160 w 320"/>
                  <a:gd name="T49" fmla="*/ 74 h 320"/>
                  <a:gd name="T50" fmla="*/ 148 w 320"/>
                  <a:gd name="T51" fmla="*/ 75 h 320"/>
                  <a:gd name="T52" fmla="*/ 140 w 320"/>
                  <a:gd name="T53" fmla="*/ 23 h 320"/>
                  <a:gd name="T54" fmla="*/ 160 w 320"/>
                  <a:gd name="T55" fmla="*/ 21 h 320"/>
                  <a:gd name="T56" fmla="*/ 179 w 320"/>
                  <a:gd name="T57" fmla="*/ 23 h 320"/>
                  <a:gd name="T58" fmla="*/ 119 w 320"/>
                  <a:gd name="T59" fmla="*/ 27 h 320"/>
                  <a:gd name="T60" fmla="*/ 127 w 320"/>
                  <a:gd name="T61" fmla="*/ 81 h 320"/>
                  <a:gd name="T62" fmla="*/ 81 w 320"/>
                  <a:gd name="T63" fmla="*/ 127 h 320"/>
                  <a:gd name="T64" fmla="*/ 27 w 320"/>
                  <a:gd name="T65" fmla="*/ 119 h 320"/>
                  <a:gd name="T66" fmla="*/ 119 w 320"/>
                  <a:gd name="T67" fmla="*/ 27 h 320"/>
                  <a:gd name="T68" fmla="*/ 21 w 320"/>
                  <a:gd name="T69" fmla="*/ 160 h 320"/>
                  <a:gd name="T70" fmla="*/ 23 w 320"/>
                  <a:gd name="T71" fmla="*/ 140 h 320"/>
                  <a:gd name="T72" fmla="*/ 75 w 320"/>
                  <a:gd name="T73" fmla="*/ 148 h 320"/>
                  <a:gd name="T74" fmla="*/ 74 w 320"/>
                  <a:gd name="T75" fmla="*/ 160 h 320"/>
                  <a:gd name="T76" fmla="*/ 75 w 320"/>
                  <a:gd name="T77" fmla="*/ 172 h 320"/>
                  <a:gd name="T78" fmla="*/ 23 w 320"/>
                  <a:gd name="T79" fmla="*/ 179 h 320"/>
                  <a:gd name="T80" fmla="*/ 21 w 320"/>
                  <a:gd name="T81" fmla="*/ 160 h 320"/>
                  <a:gd name="T82" fmla="*/ 27 w 320"/>
                  <a:gd name="T83" fmla="*/ 200 h 320"/>
                  <a:gd name="T84" fmla="*/ 81 w 320"/>
                  <a:gd name="T85" fmla="*/ 192 h 320"/>
                  <a:gd name="T86" fmla="*/ 127 w 320"/>
                  <a:gd name="T87" fmla="*/ 238 h 320"/>
                  <a:gd name="T88" fmla="*/ 119 w 320"/>
                  <a:gd name="T89" fmla="*/ 292 h 320"/>
                  <a:gd name="T90" fmla="*/ 27 w 320"/>
                  <a:gd name="T91" fmla="*/ 200 h 320"/>
                  <a:gd name="T92" fmla="*/ 140 w 320"/>
                  <a:gd name="T93" fmla="*/ 297 h 320"/>
                  <a:gd name="T94" fmla="*/ 148 w 320"/>
                  <a:gd name="T95" fmla="*/ 244 h 320"/>
                  <a:gd name="T96" fmla="*/ 160 w 320"/>
                  <a:gd name="T97" fmla="*/ 245 h 320"/>
                  <a:gd name="T98" fmla="*/ 172 w 320"/>
                  <a:gd name="T99" fmla="*/ 244 h 320"/>
                  <a:gd name="T100" fmla="*/ 179 w 320"/>
                  <a:gd name="T101" fmla="*/ 297 h 320"/>
                  <a:gd name="T102" fmla="*/ 160 w 320"/>
                  <a:gd name="T103" fmla="*/ 298 h 320"/>
                  <a:gd name="T104" fmla="*/ 140 w 320"/>
                  <a:gd name="T105" fmla="*/ 297 h 320"/>
                  <a:gd name="T106" fmla="*/ 200 w 320"/>
                  <a:gd name="T107" fmla="*/ 292 h 320"/>
                  <a:gd name="T108" fmla="*/ 192 w 320"/>
                  <a:gd name="T109" fmla="*/ 238 h 320"/>
                  <a:gd name="T110" fmla="*/ 238 w 320"/>
                  <a:gd name="T111" fmla="*/ 192 h 320"/>
                  <a:gd name="T112" fmla="*/ 292 w 320"/>
                  <a:gd name="T113" fmla="*/ 200 h 320"/>
                  <a:gd name="T114" fmla="*/ 200 w 320"/>
                  <a:gd name="T115"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98" y="160"/>
                    </a:moveTo>
                    <a:cubicBezTo>
                      <a:pt x="298" y="166"/>
                      <a:pt x="298" y="173"/>
                      <a:pt x="297" y="179"/>
                    </a:cubicBezTo>
                    <a:cubicBezTo>
                      <a:pt x="244" y="172"/>
                      <a:pt x="244" y="172"/>
                      <a:pt x="244" y="172"/>
                    </a:cubicBezTo>
                    <a:cubicBezTo>
                      <a:pt x="245" y="168"/>
                      <a:pt x="245" y="164"/>
                      <a:pt x="245" y="160"/>
                    </a:cubicBezTo>
                    <a:cubicBezTo>
                      <a:pt x="245" y="156"/>
                      <a:pt x="245" y="152"/>
                      <a:pt x="244" y="148"/>
                    </a:cubicBezTo>
                    <a:cubicBezTo>
                      <a:pt x="297" y="140"/>
                      <a:pt x="297" y="140"/>
                      <a:pt x="297" y="140"/>
                    </a:cubicBezTo>
                    <a:cubicBezTo>
                      <a:pt x="298" y="147"/>
                      <a:pt x="298" y="153"/>
                      <a:pt x="298" y="160"/>
                    </a:cubicBezTo>
                    <a:close/>
                    <a:moveTo>
                      <a:pt x="292" y="119"/>
                    </a:moveTo>
                    <a:cubicBezTo>
                      <a:pt x="238" y="127"/>
                      <a:pt x="238" y="127"/>
                      <a:pt x="238" y="127"/>
                    </a:cubicBezTo>
                    <a:cubicBezTo>
                      <a:pt x="230" y="106"/>
                      <a:pt x="213" y="90"/>
                      <a:pt x="192" y="81"/>
                    </a:cubicBezTo>
                    <a:cubicBezTo>
                      <a:pt x="200" y="27"/>
                      <a:pt x="200" y="27"/>
                      <a:pt x="200" y="27"/>
                    </a:cubicBezTo>
                    <a:cubicBezTo>
                      <a:pt x="244" y="40"/>
                      <a:pt x="279" y="75"/>
                      <a:pt x="292" y="119"/>
                    </a:cubicBezTo>
                    <a:close/>
                    <a:moveTo>
                      <a:pt x="160" y="224"/>
                    </a:moveTo>
                    <a:cubicBezTo>
                      <a:pt x="124" y="224"/>
                      <a:pt x="96" y="195"/>
                      <a:pt x="96" y="160"/>
                    </a:cubicBezTo>
                    <a:cubicBezTo>
                      <a:pt x="96" y="124"/>
                      <a:pt x="124" y="96"/>
                      <a:pt x="160" y="96"/>
                    </a:cubicBezTo>
                    <a:cubicBezTo>
                      <a:pt x="195" y="96"/>
                      <a:pt x="224" y="124"/>
                      <a:pt x="224" y="160"/>
                    </a:cubicBezTo>
                    <a:cubicBezTo>
                      <a:pt x="224" y="195"/>
                      <a:pt x="195" y="224"/>
                      <a:pt x="160" y="224"/>
                    </a:cubicBezTo>
                    <a:close/>
                    <a:moveTo>
                      <a:pt x="179" y="23"/>
                    </a:moveTo>
                    <a:cubicBezTo>
                      <a:pt x="172" y="75"/>
                      <a:pt x="172" y="75"/>
                      <a:pt x="172" y="75"/>
                    </a:cubicBezTo>
                    <a:cubicBezTo>
                      <a:pt x="168" y="75"/>
                      <a:pt x="164" y="74"/>
                      <a:pt x="160" y="74"/>
                    </a:cubicBezTo>
                    <a:cubicBezTo>
                      <a:pt x="156" y="74"/>
                      <a:pt x="152" y="75"/>
                      <a:pt x="148" y="75"/>
                    </a:cubicBezTo>
                    <a:cubicBezTo>
                      <a:pt x="140" y="23"/>
                      <a:pt x="140" y="23"/>
                      <a:pt x="140" y="23"/>
                    </a:cubicBezTo>
                    <a:cubicBezTo>
                      <a:pt x="147" y="22"/>
                      <a:pt x="153" y="21"/>
                      <a:pt x="160" y="21"/>
                    </a:cubicBezTo>
                    <a:cubicBezTo>
                      <a:pt x="166" y="21"/>
                      <a:pt x="173" y="22"/>
                      <a:pt x="179" y="23"/>
                    </a:cubicBezTo>
                    <a:close/>
                    <a:moveTo>
                      <a:pt x="119" y="27"/>
                    </a:moveTo>
                    <a:cubicBezTo>
                      <a:pt x="127" y="81"/>
                      <a:pt x="127" y="81"/>
                      <a:pt x="127" y="81"/>
                    </a:cubicBezTo>
                    <a:cubicBezTo>
                      <a:pt x="106" y="90"/>
                      <a:pt x="90" y="106"/>
                      <a:pt x="81" y="127"/>
                    </a:cubicBezTo>
                    <a:cubicBezTo>
                      <a:pt x="27" y="119"/>
                      <a:pt x="27" y="119"/>
                      <a:pt x="27" y="119"/>
                    </a:cubicBezTo>
                    <a:cubicBezTo>
                      <a:pt x="40" y="75"/>
                      <a:pt x="75" y="40"/>
                      <a:pt x="119" y="27"/>
                    </a:cubicBezTo>
                    <a:close/>
                    <a:moveTo>
                      <a:pt x="21" y="160"/>
                    </a:moveTo>
                    <a:cubicBezTo>
                      <a:pt x="21" y="153"/>
                      <a:pt x="22" y="147"/>
                      <a:pt x="23" y="140"/>
                    </a:cubicBezTo>
                    <a:cubicBezTo>
                      <a:pt x="75" y="148"/>
                      <a:pt x="75" y="148"/>
                      <a:pt x="75" y="148"/>
                    </a:cubicBezTo>
                    <a:cubicBezTo>
                      <a:pt x="75" y="152"/>
                      <a:pt x="74" y="156"/>
                      <a:pt x="74" y="160"/>
                    </a:cubicBezTo>
                    <a:cubicBezTo>
                      <a:pt x="74" y="164"/>
                      <a:pt x="75" y="168"/>
                      <a:pt x="75" y="172"/>
                    </a:cubicBezTo>
                    <a:cubicBezTo>
                      <a:pt x="23" y="179"/>
                      <a:pt x="23" y="179"/>
                      <a:pt x="23" y="179"/>
                    </a:cubicBezTo>
                    <a:cubicBezTo>
                      <a:pt x="22" y="173"/>
                      <a:pt x="21" y="166"/>
                      <a:pt x="21" y="160"/>
                    </a:cubicBezTo>
                    <a:close/>
                    <a:moveTo>
                      <a:pt x="27" y="200"/>
                    </a:moveTo>
                    <a:cubicBezTo>
                      <a:pt x="81" y="192"/>
                      <a:pt x="81" y="192"/>
                      <a:pt x="81" y="192"/>
                    </a:cubicBezTo>
                    <a:cubicBezTo>
                      <a:pt x="90" y="213"/>
                      <a:pt x="106" y="230"/>
                      <a:pt x="127" y="238"/>
                    </a:cubicBezTo>
                    <a:cubicBezTo>
                      <a:pt x="119" y="292"/>
                      <a:pt x="119" y="292"/>
                      <a:pt x="119" y="292"/>
                    </a:cubicBezTo>
                    <a:cubicBezTo>
                      <a:pt x="75" y="279"/>
                      <a:pt x="40" y="244"/>
                      <a:pt x="27" y="200"/>
                    </a:cubicBezTo>
                    <a:close/>
                    <a:moveTo>
                      <a:pt x="140" y="297"/>
                    </a:moveTo>
                    <a:cubicBezTo>
                      <a:pt x="148" y="244"/>
                      <a:pt x="148" y="244"/>
                      <a:pt x="148" y="244"/>
                    </a:cubicBezTo>
                    <a:cubicBezTo>
                      <a:pt x="152" y="245"/>
                      <a:pt x="156" y="245"/>
                      <a:pt x="160" y="245"/>
                    </a:cubicBezTo>
                    <a:cubicBezTo>
                      <a:pt x="164" y="245"/>
                      <a:pt x="168" y="245"/>
                      <a:pt x="172" y="244"/>
                    </a:cubicBezTo>
                    <a:cubicBezTo>
                      <a:pt x="179" y="297"/>
                      <a:pt x="179" y="297"/>
                      <a:pt x="179" y="297"/>
                    </a:cubicBezTo>
                    <a:cubicBezTo>
                      <a:pt x="173" y="298"/>
                      <a:pt x="166" y="298"/>
                      <a:pt x="160" y="298"/>
                    </a:cubicBezTo>
                    <a:cubicBezTo>
                      <a:pt x="153" y="298"/>
                      <a:pt x="147" y="298"/>
                      <a:pt x="140" y="297"/>
                    </a:cubicBezTo>
                    <a:close/>
                    <a:moveTo>
                      <a:pt x="200" y="292"/>
                    </a:moveTo>
                    <a:cubicBezTo>
                      <a:pt x="192" y="238"/>
                      <a:pt x="192" y="238"/>
                      <a:pt x="192" y="238"/>
                    </a:cubicBezTo>
                    <a:cubicBezTo>
                      <a:pt x="213" y="230"/>
                      <a:pt x="230" y="213"/>
                      <a:pt x="238" y="192"/>
                    </a:cubicBezTo>
                    <a:cubicBezTo>
                      <a:pt x="292" y="200"/>
                      <a:pt x="292" y="200"/>
                      <a:pt x="292" y="200"/>
                    </a:cubicBezTo>
                    <a:cubicBezTo>
                      <a:pt x="279" y="244"/>
                      <a:pt x="244" y="279"/>
                      <a:pt x="200" y="29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510"/>
              <p:cNvSpPr>
                <a:spLocks noEditPoints="1"/>
              </p:cNvSpPr>
              <p:nvPr/>
            </p:nvSpPr>
            <p:spPr bwMode="auto">
              <a:xfrm>
                <a:off x="3297" y="23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5" name="Group 480"/>
            <p:cNvGrpSpPr>
              <a:grpSpLocks noChangeAspect="1"/>
            </p:cNvGrpSpPr>
            <p:nvPr/>
          </p:nvGrpSpPr>
          <p:grpSpPr bwMode="auto">
            <a:xfrm>
              <a:off x="8019361" y="3873335"/>
              <a:ext cx="367041" cy="367041"/>
              <a:chOff x="1027" y="2077"/>
              <a:chExt cx="340" cy="340"/>
            </a:xfrm>
            <a:solidFill>
              <a:schemeClr val="bg1"/>
            </a:solidFill>
          </p:grpSpPr>
          <p:sp>
            <p:nvSpPr>
              <p:cNvPr id="146" name="Freeform 481"/>
              <p:cNvSpPr>
                <a:spLocks noEditPoints="1"/>
              </p:cNvSpPr>
              <p:nvPr/>
            </p:nvSpPr>
            <p:spPr bwMode="auto">
              <a:xfrm>
                <a:off x="1147" y="2141"/>
                <a:ext cx="99" cy="212"/>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482"/>
              <p:cNvSpPr>
                <a:spLocks noEditPoints="1"/>
              </p:cNvSpPr>
              <p:nvPr/>
            </p:nvSpPr>
            <p:spPr bwMode="auto">
              <a:xfrm>
                <a:off x="1027" y="20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1" name="Group 545"/>
            <p:cNvGrpSpPr>
              <a:grpSpLocks noChangeAspect="1"/>
            </p:cNvGrpSpPr>
            <p:nvPr/>
          </p:nvGrpSpPr>
          <p:grpSpPr bwMode="auto">
            <a:xfrm>
              <a:off x="4844113" y="3872345"/>
              <a:ext cx="369021" cy="369021"/>
              <a:chOff x="1885" y="1944"/>
              <a:chExt cx="340" cy="340"/>
            </a:xfrm>
            <a:solidFill>
              <a:schemeClr val="bg1"/>
            </a:solidFill>
          </p:grpSpPr>
          <p:sp>
            <p:nvSpPr>
              <p:cNvPr id="152"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5" name="Chevron 154"/>
            <p:cNvSpPr/>
            <p:nvPr/>
          </p:nvSpPr>
          <p:spPr bwMode="gray">
            <a:xfrm>
              <a:off x="10179256" y="4017350"/>
              <a:ext cx="70385" cy="85166"/>
            </a:xfrm>
            <a:prstGeom prst="chevron">
              <a:avLst>
                <a:gd name="adj" fmla="val 61184"/>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6" name="Chevron 155"/>
            <p:cNvSpPr/>
            <p:nvPr/>
          </p:nvSpPr>
          <p:spPr bwMode="gray">
            <a:xfrm flipH="1">
              <a:off x="1943578" y="4020208"/>
              <a:ext cx="70385" cy="85166"/>
            </a:xfrm>
            <a:prstGeom prst="chevron">
              <a:avLst>
                <a:gd name="adj" fmla="val 61184"/>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69" name="Isosceles Triangle 168"/>
            <p:cNvSpPr/>
            <p:nvPr/>
          </p:nvSpPr>
          <p:spPr bwMode="gray">
            <a:xfrm rot="10800000">
              <a:off x="6027503" y="2312324"/>
              <a:ext cx="151415" cy="121681"/>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70" name="Isosceles Triangle 169"/>
            <p:cNvSpPr/>
            <p:nvPr/>
          </p:nvSpPr>
          <p:spPr bwMode="gray">
            <a:xfrm rot="10800000">
              <a:off x="8089810" y="2312324"/>
              <a:ext cx="151415" cy="121681"/>
            </a:xfrm>
            <a:prstGeom prst="triangl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72" name="Rectangle 171"/>
            <p:cNvSpPr/>
            <p:nvPr/>
          </p:nvSpPr>
          <p:spPr bwMode="gray">
            <a:xfrm>
              <a:off x="5816390" y="1798572"/>
              <a:ext cx="2769388" cy="51387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dirty="0">
                  <a:solidFill>
                    <a:schemeClr val="bg1"/>
                  </a:solidFill>
                </a:rPr>
                <a:t>Lorem ipsum </a:t>
              </a:r>
              <a:r>
                <a:rPr lang="en-GB" sz="1200" dirty="0" err="1">
                  <a:solidFill>
                    <a:schemeClr val="bg1"/>
                  </a:solidFill>
                </a:rPr>
                <a:t>dolor</a:t>
              </a:r>
              <a:r>
                <a:rPr lang="en-GB" sz="1200" dirty="0">
                  <a:solidFill>
                    <a:schemeClr val="bg1"/>
                  </a:solidFill>
                </a:rPr>
                <a:t> sit </a:t>
              </a:r>
              <a:r>
                <a:rPr lang="en-GB" sz="1200" dirty="0" err="1">
                  <a:solidFill>
                    <a:schemeClr val="bg1"/>
                  </a:solidFill>
                </a:rPr>
                <a:t>amet</a:t>
              </a:r>
              <a:r>
                <a:rPr lang="en-GB" sz="1200" dirty="0">
                  <a:solidFill>
                    <a:schemeClr val="bg1"/>
                  </a:solidFill>
                </a:rPr>
                <a:t>, </a:t>
              </a:r>
              <a:r>
                <a:rPr lang="en-GB" sz="1200" dirty="0" err="1">
                  <a:solidFill>
                    <a:schemeClr val="bg1"/>
                  </a:solidFill>
                </a:rPr>
                <a:t>coLorem</a:t>
              </a:r>
              <a:r>
                <a:rPr lang="en-GB" sz="1200" dirty="0">
                  <a:solidFill>
                    <a:schemeClr val="bg1"/>
                  </a:solidFill>
                </a:rPr>
                <a:t> ipsum </a:t>
              </a:r>
              <a:r>
                <a:rPr lang="en-GB" sz="1200" dirty="0" err="1">
                  <a:solidFill>
                    <a:schemeClr val="bg1"/>
                  </a:solidFill>
                </a:rPr>
                <a:t>dolor</a:t>
              </a:r>
              <a:r>
                <a:rPr lang="en-GB" sz="1200" dirty="0">
                  <a:solidFill>
                    <a:schemeClr val="bg1"/>
                  </a:solidFill>
                </a:rPr>
                <a:t> sit </a:t>
              </a:r>
              <a:r>
                <a:rPr lang="en-GB" sz="1200" dirty="0" err="1">
                  <a:solidFill>
                    <a:schemeClr val="bg1"/>
                  </a:solidFill>
                </a:rPr>
                <a:t>amet</a:t>
              </a:r>
              <a:r>
                <a:rPr lang="en-GB" sz="1200" dirty="0">
                  <a:solidFill>
                    <a:schemeClr val="bg1"/>
                  </a:solidFill>
                </a:rPr>
                <a:t>, </a:t>
              </a:r>
              <a:r>
                <a:rPr lang="en-GB" sz="1200" dirty="0" err="1">
                  <a:solidFill>
                    <a:schemeClr val="bg1"/>
                  </a:solidFill>
                </a:rPr>
                <a:t>consectetur</a:t>
              </a:r>
              <a:r>
                <a:rPr lang="en-GB" sz="1200" dirty="0">
                  <a:solidFill>
                    <a:schemeClr val="bg1"/>
                  </a:solidFill>
                </a:rPr>
                <a:t> aa</a:t>
              </a:r>
            </a:p>
          </p:txBody>
        </p:sp>
        <p:sp>
          <p:nvSpPr>
            <p:cNvPr id="174" name="Isosceles Triangle 173"/>
            <p:cNvSpPr/>
            <p:nvPr/>
          </p:nvSpPr>
          <p:spPr bwMode="gray">
            <a:xfrm rot="16200000">
              <a:off x="8737459" y="2516363"/>
              <a:ext cx="151415" cy="121681"/>
            </a:xfrm>
            <a:prstGeom prst="triangl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200">
                <a:solidFill>
                  <a:schemeClr val="bg1"/>
                </a:solidFill>
              </a:endParaRPr>
            </a:p>
          </p:txBody>
        </p:sp>
      </p:grpSp>
    </p:spTree>
    <p:custDataLst>
      <p:tags r:id="rId1"/>
    </p:custDataLst>
    <p:extLst>
      <p:ext uri="{BB962C8B-B14F-4D97-AF65-F5344CB8AC3E}">
        <p14:creationId xmlns:p14="http://schemas.microsoft.com/office/powerpoint/2010/main" val="2350236689"/>
      </p:ext>
    </p:extLst>
  </p:cSld>
  <p:clrMapOvr>
    <a:masterClrMapping/>
  </p:clrMapOvr>
  <p:transition>
    <p:fade/>
  </p:transition>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rc 6"/>
          <p:cNvSpPr/>
          <p:nvPr/>
        </p:nvSpPr>
        <p:spPr>
          <a:xfrm rot="21317012" flipV="1">
            <a:off x="-2926602" y="-337150"/>
            <a:ext cx="12537253" cy="5148790"/>
          </a:xfrm>
          <a:prstGeom prst="arc">
            <a:avLst>
              <a:gd name="adj1" fmla="val 14347148"/>
              <a:gd name="adj2" fmla="val 20997126"/>
            </a:avLst>
          </a:prstGeom>
          <a:ln>
            <a:solidFill>
              <a:srgbClr val="63666A"/>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nvGrpSpPr>
          <p:cNvPr id="2" name="Group 1">
            <a:extLst>
              <a:ext uri="{FF2B5EF4-FFF2-40B4-BE49-F238E27FC236}">
                <a16:creationId xmlns:a16="http://schemas.microsoft.com/office/drawing/2014/main" id="{E797A93C-8C4D-472F-8FE6-4B3251508C4B}"/>
              </a:ext>
            </a:extLst>
          </p:cNvPr>
          <p:cNvGrpSpPr/>
          <p:nvPr/>
        </p:nvGrpSpPr>
        <p:grpSpPr>
          <a:xfrm>
            <a:off x="1239135" y="1020019"/>
            <a:ext cx="9898765" cy="4723172"/>
            <a:chOff x="1900238" y="1665288"/>
            <a:chExt cx="8391525" cy="4003996"/>
          </a:xfrm>
        </p:grpSpPr>
        <p:sp>
          <p:nvSpPr>
            <p:cNvPr id="89" name="Rectangle 88"/>
            <p:cNvSpPr/>
            <p:nvPr/>
          </p:nvSpPr>
          <p:spPr bwMode="gray">
            <a:xfrm>
              <a:off x="2559304" y="5261256"/>
              <a:ext cx="7202280" cy="150527"/>
            </a:xfrm>
            <a:prstGeom prst="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3" name="TextBox 2"/>
            <p:cNvSpPr txBox="1"/>
            <p:nvPr/>
          </p:nvSpPr>
          <p:spPr>
            <a:xfrm>
              <a:off x="1900238" y="1700196"/>
              <a:ext cx="2159994" cy="554176"/>
            </a:xfrm>
            <a:prstGeom prst="roundRect">
              <a:avLst>
                <a:gd name="adj" fmla="val 2978"/>
              </a:avLst>
            </a:prstGeom>
            <a:solidFill>
              <a:schemeClr val="accent2"/>
            </a:solidFill>
          </p:spPr>
          <p:txBody>
            <a:bodyPr wrap="square" lIns="88900" tIns="88900" rIns="88900" bIns="88900" rtlCol="0">
              <a:spAutoFit/>
            </a:bodyPr>
            <a:lstStyle/>
            <a:p>
              <a:pPr algn="ctr">
                <a:spcAft>
                  <a:spcPts val="1000"/>
                </a:spcAft>
                <a:buSzPct val="100000"/>
              </a:pPr>
              <a:r>
                <a:rPr lang="en-GB" sz="1200" dirty="0">
                  <a:solidFill>
                    <a:schemeClr val="bg1"/>
                  </a:solidFill>
                </a:rPr>
                <a:t>Lorem ipsum </a:t>
              </a:r>
              <a:r>
                <a:rPr lang="en-GB" sz="1200" dirty="0" err="1">
                  <a:solidFill>
                    <a:schemeClr val="bg1"/>
                  </a:solidFill>
                </a:rPr>
                <a:t>dolor</a:t>
              </a:r>
              <a:r>
                <a:rPr lang="en-GB" sz="1200" dirty="0">
                  <a:solidFill>
                    <a:schemeClr val="bg1"/>
                  </a:solidFill>
                </a:rPr>
                <a:t> sit </a:t>
              </a:r>
              <a:r>
                <a:rPr lang="en-GB" sz="1200" dirty="0" err="1">
                  <a:solidFill>
                    <a:schemeClr val="bg1"/>
                  </a:solidFill>
                </a:rPr>
                <a:t>amet</a:t>
              </a:r>
              <a:r>
                <a:rPr lang="en-GB" sz="1200" dirty="0">
                  <a:solidFill>
                    <a:schemeClr val="bg1"/>
                  </a:solidFill>
                </a:rPr>
                <a:t>, </a:t>
              </a:r>
              <a:r>
                <a:rPr lang="en-GB" sz="1200" dirty="0" err="1">
                  <a:solidFill>
                    <a:schemeClr val="bg1"/>
                  </a:solidFill>
                </a:rPr>
                <a:t>consectetur</a:t>
              </a:r>
              <a:r>
                <a:rPr lang="en-GB" sz="1200" dirty="0">
                  <a:solidFill>
                    <a:schemeClr val="bg1"/>
                  </a:solidFill>
                </a:rPr>
                <a:t> a</a:t>
              </a:r>
            </a:p>
          </p:txBody>
        </p:sp>
        <p:grpSp>
          <p:nvGrpSpPr>
            <p:cNvPr id="12" name="Group 11"/>
            <p:cNvGrpSpPr/>
            <p:nvPr/>
          </p:nvGrpSpPr>
          <p:grpSpPr>
            <a:xfrm>
              <a:off x="1966129" y="4652370"/>
              <a:ext cx="670560" cy="782764"/>
              <a:chOff x="1005522" y="4084320"/>
              <a:chExt cx="670560" cy="782764"/>
            </a:xfrm>
          </p:grpSpPr>
          <p:sp>
            <p:nvSpPr>
              <p:cNvPr id="8" name="Oval 7"/>
              <p:cNvSpPr/>
              <p:nvPr/>
            </p:nvSpPr>
            <p:spPr bwMode="gray">
              <a:xfrm>
                <a:off x="1005522" y="4661344"/>
                <a:ext cx="670560" cy="205740"/>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1" name="Oval 10"/>
              <p:cNvSpPr/>
              <p:nvPr/>
            </p:nvSpPr>
            <p:spPr bwMode="gray">
              <a:xfrm>
                <a:off x="1223288" y="4723434"/>
                <a:ext cx="235028" cy="72111"/>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9" name="Teardrop 8"/>
              <p:cNvSpPr/>
              <p:nvPr/>
            </p:nvSpPr>
            <p:spPr bwMode="gray">
              <a:xfrm rot="8100000">
                <a:off x="1059180" y="4084320"/>
                <a:ext cx="563245" cy="563245"/>
              </a:xfrm>
              <a:prstGeom prst="teardrop">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0" name="Oval 9"/>
              <p:cNvSpPr/>
              <p:nvPr/>
            </p:nvSpPr>
            <p:spPr bwMode="gray">
              <a:xfrm>
                <a:off x="1108056" y="4133195"/>
                <a:ext cx="465492" cy="465492"/>
              </a:xfrm>
              <a:prstGeom prst="ellipse">
                <a:avLst/>
              </a:prstGeom>
              <a:solidFill>
                <a:schemeClr val="bg1"/>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1050" b="1">
                    <a:solidFill>
                      <a:sysClr val="windowText" lastClr="000000"/>
                    </a:solidFill>
                  </a:rPr>
                  <a:t>USI</a:t>
                </a:r>
                <a:endParaRPr lang="en-GB" sz="1050" b="1" err="1">
                  <a:solidFill>
                    <a:sysClr val="windowText" lastClr="000000"/>
                  </a:solidFill>
                </a:endParaRPr>
              </a:p>
            </p:txBody>
          </p:sp>
        </p:grpSp>
        <p:grpSp>
          <p:nvGrpSpPr>
            <p:cNvPr id="13" name="Group 12"/>
            <p:cNvGrpSpPr/>
            <p:nvPr/>
          </p:nvGrpSpPr>
          <p:grpSpPr>
            <a:xfrm>
              <a:off x="9621203" y="4652370"/>
              <a:ext cx="670560" cy="782764"/>
              <a:chOff x="1005522" y="4084320"/>
              <a:chExt cx="670560" cy="782764"/>
            </a:xfrm>
          </p:grpSpPr>
          <p:sp>
            <p:nvSpPr>
              <p:cNvPr id="14" name="Oval 13"/>
              <p:cNvSpPr/>
              <p:nvPr/>
            </p:nvSpPr>
            <p:spPr bwMode="gray">
              <a:xfrm>
                <a:off x="1005522" y="4661344"/>
                <a:ext cx="670560" cy="205740"/>
              </a:xfrm>
              <a:prstGeom prst="ellipse">
                <a:avLst/>
              </a:prstGeom>
              <a:solidFill>
                <a:schemeClr val="bg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5" name="Oval 14"/>
              <p:cNvSpPr/>
              <p:nvPr/>
            </p:nvSpPr>
            <p:spPr bwMode="gray">
              <a:xfrm>
                <a:off x="1223288" y="4723434"/>
                <a:ext cx="235028" cy="72111"/>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6" name="Teardrop 15"/>
              <p:cNvSpPr/>
              <p:nvPr/>
            </p:nvSpPr>
            <p:spPr bwMode="gray">
              <a:xfrm rot="8100000">
                <a:off x="1059180" y="4084320"/>
                <a:ext cx="563245" cy="563245"/>
              </a:xfrm>
              <a:prstGeom prst="teardrop">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7" name="Oval 16"/>
              <p:cNvSpPr/>
              <p:nvPr/>
            </p:nvSpPr>
            <p:spPr bwMode="gray">
              <a:xfrm>
                <a:off x="1108056" y="4133195"/>
                <a:ext cx="465492" cy="465492"/>
              </a:xfrm>
              <a:prstGeom prst="ellipse">
                <a:avLst/>
              </a:prstGeom>
              <a:solidFill>
                <a:schemeClr val="bg1"/>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1050" b="1">
                    <a:solidFill>
                      <a:sysClr val="windowText" lastClr="000000"/>
                    </a:solidFill>
                  </a:rPr>
                  <a:t>UK</a:t>
                </a:r>
                <a:endParaRPr lang="en-GB" sz="1050" b="1" err="1">
                  <a:solidFill>
                    <a:sysClr val="windowText" lastClr="000000"/>
                  </a:solidFill>
                </a:endParaRPr>
              </a:p>
            </p:txBody>
          </p:sp>
        </p:grpSp>
        <p:cxnSp>
          <p:nvCxnSpPr>
            <p:cNvPr id="5" name="Straight Connector 4"/>
            <p:cNvCxnSpPr>
              <a:stCxn id="8" idx="6"/>
            </p:cNvCxnSpPr>
            <p:nvPr/>
          </p:nvCxnSpPr>
          <p:spPr>
            <a:xfrm flipV="1">
              <a:off x="2636689" y="5327540"/>
              <a:ext cx="6984514" cy="4724"/>
            </a:xfrm>
            <a:prstGeom prst="line">
              <a:avLst/>
            </a:prstGeom>
            <a:ln>
              <a:solidFill>
                <a:schemeClr val="bg1"/>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216142" y="5484618"/>
              <a:ext cx="307777" cy="184666"/>
            </a:xfrm>
            <a:prstGeom prst="rect">
              <a:avLst/>
            </a:prstGeom>
            <a:noFill/>
          </p:spPr>
          <p:txBody>
            <a:bodyPr wrap="none" lIns="0" tIns="0" rIns="0" bIns="0" rtlCol="0">
              <a:spAutoFit/>
            </a:bodyPr>
            <a:lstStyle/>
            <a:p>
              <a:pPr algn="ctr">
                <a:spcAft>
                  <a:spcPts val="1000"/>
                </a:spcAft>
                <a:buSzPct val="100000"/>
              </a:pPr>
              <a:r>
                <a:rPr lang="en-US" sz="1200" b="1"/>
                <a:t>FY14</a:t>
              </a:r>
              <a:endParaRPr lang="en-GB" sz="1200" b="1" err="1"/>
            </a:p>
          </p:txBody>
        </p:sp>
        <p:sp>
          <p:nvSpPr>
            <p:cNvPr id="41" name="TextBox 40"/>
            <p:cNvSpPr txBox="1"/>
            <p:nvPr/>
          </p:nvSpPr>
          <p:spPr>
            <a:xfrm>
              <a:off x="4357508" y="5484618"/>
              <a:ext cx="307777" cy="184666"/>
            </a:xfrm>
            <a:prstGeom prst="rect">
              <a:avLst/>
            </a:prstGeom>
            <a:noFill/>
          </p:spPr>
          <p:txBody>
            <a:bodyPr wrap="none" lIns="0" tIns="0" rIns="0" bIns="0" rtlCol="0">
              <a:spAutoFit/>
            </a:bodyPr>
            <a:lstStyle/>
            <a:p>
              <a:pPr algn="ctr">
                <a:spcAft>
                  <a:spcPts val="1000"/>
                </a:spcAft>
                <a:buSzPct val="100000"/>
              </a:pPr>
              <a:r>
                <a:rPr lang="en-US" sz="1200" b="1"/>
                <a:t>FY15</a:t>
              </a:r>
              <a:endParaRPr lang="en-GB" sz="1200" b="1" err="1"/>
            </a:p>
          </p:txBody>
        </p:sp>
        <p:sp>
          <p:nvSpPr>
            <p:cNvPr id="43" name="TextBox 42"/>
            <p:cNvSpPr txBox="1"/>
            <p:nvPr/>
          </p:nvSpPr>
          <p:spPr>
            <a:xfrm>
              <a:off x="5439652" y="5484618"/>
              <a:ext cx="307777" cy="184666"/>
            </a:xfrm>
            <a:prstGeom prst="rect">
              <a:avLst/>
            </a:prstGeom>
            <a:noFill/>
          </p:spPr>
          <p:txBody>
            <a:bodyPr wrap="none" lIns="0" tIns="0" rIns="0" bIns="0" rtlCol="0">
              <a:spAutoFit/>
            </a:bodyPr>
            <a:lstStyle/>
            <a:p>
              <a:pPr algn="ctr">
                <a:spcAft>
                  <a:spcPts val="1000"/>
                </a:spcAft>
                <a:buSzPct val="100000"/>
              </a:pPr>
              <a:r>
                <a:rPr lang="en-US" sz="1200" b="1"/>
                <a:t>FY16</a:t>
              </a:r>
              <a:endParaRPr lang="en-GB" sz="1200" b="1" err="1"/>
            </a:p>
          </p:txBody>
        </p:sp>
        <p:sp>
          <p:nvSpPr>
            <p:cNvPr id="44" name="TextBox 43"/>
            <p:cNvSpPr txBox="1"/>
            <p:nvPr/>
          </p:nvSpPr>
          <p:spPr>
            <a:xfrm>
              <a:off x="6521796" y="5484618"/>
              <a:ext cx="307777" cy="184666"/>
            </a:xfrm>
            <a:prstGeom prst="rect">
              <a:avLst/>
            </a:prstGeom>
            <a:noFill/>
          </p:spPr>
          <p:txBody>
            <a:bodyPr wrap="none" lIns="0" tIns="0" rIns="0" bIns="0" rtlCol="0">
              <a:spAutoFit/>
            </a:bodyPr>
            <a:lstStyle/>
            <a:p>
              <a:pPr algn="ctr">
                <a:spcAft>
                  <a:spcPts val="1000"/>
                </a:spcAft>
                <a:buSzPct val="100000"/>
              </a:pPr>
              <a:r>
                <a:rPr lang="en-US" sz="1200" b="1"/>
                <a:t>FY17</a:t>
              </a:r>
              <a:endParaRPr lang="en-GB" sz="1200" b="1" err="1"/>
            </a:p>
          </p:txBody>
        </p:sp>
        <p:sp>
          <p:nvSpPr>
            <p:cNvPr id="42" name="Freeform 41"/>
            <p:cNvSpPr/>
            <p:nvPr/>
          </p:nvSpPr>
          <p:spPr bwMode="gray">
            <a:xfrm rot="2850135">
              <a:off x="8574796" y="2221386"/>
              <a:ext cx="907466" cy="1058141"/>
            </a:xfrm>
            <a:custGeom>
              <a:avLst/>
              <a:gdLst>
                <a:gd name="connsiteX0" fmla="*/ 746760 w 1752600"/>
                <a:gd name="connsiteY0" fmla="*/ 754380 h 1874520"/>
                <a:gd name="connsiteX1" fmla="*/ 746760 w 1752600"/>
                <a:gd name="connsiteY1" fmla="*/ 243840 h 1874520"/>
                <a:gd name="connsiteX2" fmla="*/ 868680 w 1752600"/>
                <a:gd name="connsiteY2" fmla="*/ 0 h 1874520"/>
                <a:gd name="connsiteX3" fmla="*/ 1005840 w 1752600"/>
                <a:gd name="connsiteY3" fmla="*/ 274320 h 1874520"/>
                <a:gd name="connsiteX4" fmla="*/ 1021080 w 1752600"/>
                <a:gd name="connsiteY4" fmla="*/ 762000 h 1874520"/>
                <a:gd name="connsiteX5" fmla="*/ 1752600 w 1752600"/>
                <a:gd name="connsiteY5" fmla="*/ 1158240 h 1874520"/>
                <a:gd name="connsiteX6" fmla="*/ 1744980 w 1752600"/>
                <a:gd name="connsiteY6" fmla="*/ 1325880 h 1874520"/>
                <a:gd name="connsiteX7" fmla="*/ 1005840 w 1752600"/>
                <a:gd name="connsiteY7" fmla="*/ 1112520 h 1874520"/>
                <a:gd name="connsiteX8" fmla="*/ 1005840 w 1752600"/>
                <a:gd name="connsiteY8" fmla="*/ 1546860 h 1874520"/>
                <a:gd name="connsiteX9" fmla="*/ 1318260 w 1752600"/>
                <a:gd name="connsiteY9" fmla="*/ 1699260 h 1874520"/>
                <a:gd name="connsiteX10" fmla="*/ 1318260 w 1752600"/>
                <a:gd name="connsiteY10" fmla="*/ 1874520 h 1874520"/>
                <a:gd name="connsiteX11" fmla="*/ 883920 w 1752600"/>
                <a:gd name="connsiteY11" fmla="*/ 1775460 h 1874520"/>
                <a:gd name="connsiteX12" fmla="*/ 464820 w 1752600"/>
                <a:gd name="connsiteY12" fmla="*/ 1874520 h 1874520"/>
                <a:gd name="connsiteX13" fmla="*/ 464820 w 1752600"/>
                <a:gd name="connsiteY13" fmla="*/ 1706880 h 1874520"/>
                <a:gd name="connsiteX14" fmla="*/ 754380 w 1752600"/>
                <a:gd name="connsiteY14" fmla="*/ 1554480 h 1874520"/>
                <a:gd name="connsiteX15" fmla="*/ 754380 w 1752600"/>
                <a:gd name="connsiteY15" fmla="*/ 1120140 h 1874520"/>
                <a:gd name="connsiteX16" fmla="*/ 0 w 1752600"/>
                <a:gd name="connsiteY16" fmla="*/ 1356360 h 1874520"/>
                <a:gd name="connsiteX17" fmla="*/ 0 w 1752600"/>
                <a:gd name="connsiteY17" fmla="*/ 1158240 h 1874520"/>
                <a:gd name="connsiteX18" fmla="*/ 746760 w 1752600"/>
                <a:gd name="connsiteY18" fmla="*/ 754380 h 1874520"/>
                <a:gd name="connsiteX0" fmla="*/ 746760 w 1752600"/>
                <a:gd name="connsiteY0" fmla="*/ 754380 h 1874520"/>
                <a:gd name="connsiteX1" fmla="*/ 746760 w 1752600"/>
                <a:gd name="connsiteY1" fmla="*/ 243840 h 1874520"/>
                <a:gd name="connsiteX2" fmla="*/ 868680 w 1752600"/>
                <a:gd name="connsiteY2" fmla="*/ 0 h 1874520"/>
                <a:gd name="connsiteX3" fmla="*/ 1013460 w 1752600"/>
                <a:gd name="connsiteY3" fmla="*/ 259080 h 1874520"/>
                <a:gd name="connsiteX4" fmla="*/ 1021080 w 1752600"/>
                <a:gd name="connsiteY4" fmla="*/ 762000 h 1874520"/>
                <a:gd name="connsiteX5" fmla="*/ 1752600 w 1752600"/>
                <a:gd name="connsiteY5" fmla="*/ 1158240 h 1874520"/>
                <a:gd name="connsiteX6" fmla="*/ 1744980 w 1752600"/>
                <a:gd name="connsiteY6" fmla="*/ 1325880 h 1874520"/>
                <a:gd name="connsiteX7" fmla="*/ 1005840 w 1752600"/>
                <a:gd name="connsiteY7" fmla="*/ 1112520 h 1874520"/>
                <a:gd name="connsiteX8" fmla="*/ 1005840 w 1752600"/>
                <a:gd name="connsiteY8" fmla="*/ 1546860 h 1874520"/>
                <a:gd name="connsiteX9" fmla="*/ 1318260 w 1752600"/>
                <a:gd name="connsiteY9" fmla="*/ 1699260 h 1874520"/>
                <a:gd name="connsiteX10" fmla="*/ 1318260 w 1752600"/>
                <a:gd name="connsiteY10" fmla="*/ 1874520 h 1874520"/>
                <a:gd name="connsiteX11" fmla="*/ 883920 w 1752600"/>
                <a:gd name="connsiteY11" fmla="*/ 1775460 h 1874520"/>
                <a:gd name="connsiteX12" fmla="*/ 464820 w 1752600"/>
                <a:gd name="connsiteY12" fmla="*/ 1874520 h 1874520"/>
                <a:gd name="connsiteX13" fmla="*/ 464820 w 1752600"/>
                <a:gd name="connsiteY13" fmla="*/ 1706880 h 1874520"/>
                <a:gd name="connsiteX14" fmla="*/ 754380 w 1752600"/>
                <a:gd name="connsiteY14" fmla="*/ 1554480 h 1874520"/>
                <a:gd name="connsiteX15" fmla="*/ 754380 w 1752600"/>
                <a:gd name="connsiteY15" fmla="*/ 1120140 h 1874520"/>
                <a:gd name="connsiteX16" fmla="*/ 0 w 1752600"/>
                <a:gd name="connsiteY16" fmla="*/ 1356360 h 1874520"/>
                <a:gd name="connsiteX17" fmla="*/ 0 w 1752600"/>
                <a:gd name="connsiteY17" fmla="*/ 1158240 h 1874520"/>
                <a:gd name="connsiteX18" fmla="*/ 746760 w 1752600"/>
                <a:gd name="connsiteY18" fmla="*/ 754380 h 1874520"/>
                <a:gd name="connsiteX0" fmla="*/ 746760 w 1752600"/>
                <a:gd name="connsiteY0" fmla="*/ 754419 h 1874559"/>
                <a:gd name="connsiteX1" fmla="*/ 746760 w 1752600"/>
                <a:gd name="connsiteY1" fmla="*/ 243879 h 1874559"/>
                <a:gd name="connsiteX2" fmla="*/ 868680 w 1752600"/>
                <a:gd name="connsiteY2" fmla="*/ 39 h 1874559"/>
                <a:gd name="connsiteX3" fmla="*/ 1013460 w 1752600"/>
                <a:gd name="connsiteY3" fmla="*/ 259119 h 1874559"/>
                <a:gd name="connsiteX4" fmla="*/ 1021080 w 1752600"/>
                <a:gd name="connsiteY4" fmla="*/ 762039 h 1874559"/>
                <a:gd name="connsiteX5" fmla="*/ 1752600 w 1752600"/>
                <a:gd name="connsiteY5" fmla="*/ 1158279 h 1874559"/>
                <a:gd name="connsiteX6" fmla="*/ 1744980 w 1752600"/>
                <a:gd name="connsiteY6" fmla="*/ 1325919 h 1874559"/>
                <a:gd name="connsiteX7" fmla="*/ 1005840 w 1752600"/>
                <a:gd name="connsiteY7" fmla="*/ 1112559 h 1874559"/>
                <a:gd name="connsiteX8" fmla="*/ 1005840 w 1752600"/>
                <a:gd name="connsiteY8" fmla="*/ 1546899 h 1874559"/>
                <a:gd name="connsiteX9" fmla="*/ 1318260 w 1752600"/>
                <a:gd name="connsiteY9" fmla="*/ 1699299 h 1874559"/>
                <a:gd name="connsiteX10" fmla="*/ 1318260 w 1752600"/>
                <a:gd name="connsiteY10" fmla="*/ 1874559 h 1874559"/>
                <a:gd name="connsiteX11" fmla="*/ 883920 w 1752600"/>
                <a:gd name="connsiteY11" fmla="*/ 1775499 h 1874559"/>
                <a:gd name="connsiteX12" fmla="*/ 464820 w 1752600"/>
                <a:gd name="connsiteY12" fmla="*/ 1874559 h 1874559"/>
                <a:gd name="connsiteX13" fmla="*/ 464820 w 1752600"/>
                <a:gd name="connsiteY13" fmla="*/ 1706919 h 1874559"/>
                <a:gd name="connsiteX14" fmla="*/ 754380 w 1752600"/>
                <a:gd name="connsiteY14" fmla="*/ 1554519 h 1874559"/>
                <a:gd name="connsiteX15" fmla="*/ 754380 w 1752600"/>
                <a:gd name="connsiteY15" fmla="*/ 1120179 h 1874559"/>
                <a:gd name="connsiteX16" fmla="*/ 0 w 1752600"/>
                <a:gd name="connsiteY16" fmla="*/ 1356399 h 1874559"/>
                <a:gd name="connsiteX17" fmla="*/ 0 w 1752600"/>
                <a:gd name="connsiteY17" fmla="*/ 1158279 h 1874559"/>
                <a:gd name="connsiteX18" fmla="*/ 746760 w 1752600"/>
                <a:gd name="connsiteY18" fmla="*/ 754419 h 1874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52600" h="1874559">
                  <a:moveTo>
                    <a:pt x="746760" y="754419"/>
                  </a:moveTo>
                  <a:lnTo>
                    <a:pt x="746760" y="243879"/>
                  </a:lnTo>
                  <a:cubicBezTo>
                    <a:pt x="767080" y="118149"/>
                    <a:pt x="824230" y="-2501"/>
                    <a:pt x="868680" y="39"/>
                  </a:cubicBezTo>
                  <a:cubicBezTo>
                    <a:pt x="913130" y="2579"/>
                    <a:pt x="988060" y="132119"/>
                    <a:pt x="1013460" y="259119"/>
                  </a:cubicBezTo>
                  <a:lnTo>
                    <a:pt x="1021080" y="762039"/>
                  </a:lnTo>
                  <a:lnTo>
                    <a:pt x="1752600" y="1158279"/>
                  </a:lnTo>
                  <a:lnTo>
                    <a:pt x="1744980" y="1325919"/>
                  </a:lnTo>
                  <a:lnTo>
                    <a:pt x="1005840" y="1112559"/>
                  </a:lnTo>
                  <a:lnTo>
                    <a:pt x="1005840" y="1546899"/>
                  </a:lnTo>
                  <a:lnTo>
                    <a:pt x="1318260" y="1699299"/>
                  </a:lnTo>
                  <a:lnTo>
                    <a:pt x="1318260" y="1874559"/>
                  </a:lnTo>
                  <a:lnTo>
                    <a:pt x="883920" y="1775499"/>
                  </a:lnTo>
                  <a:lnTo>
                    <a:pt x="464820" y="1874559"/>
                  </a:lnTo>
                  <a:lnTo>
                    <a:pt x="464820" y="1706919"/>
                  </a:lnTo>
                  <a:lnTo>
                    <a:pt x="754380" y="1554519"/>
                  </a:lnTo>
                  <a:lnTo>
                    <a:pt x="754380" y="1120179"/>
                  </a:lnTo>
                  <a:lnTo>
                    <a:pt x="0" y="1356399"/>
                  </a:lnTo>
                  <a:lnTo>
                    <a:pt x="0" y="1158279"/>
                  </a:lnTo>
                  <a:lnTo>
                    <a:pt x="746760" y="754419"/>
                  </a:lnTo>
                  <a:close/>
                </a:path>
              </a:pathLst>
            </a:cu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61" name="TextBox 60"/>
            <p:cNvSpPr txBox="1"/>
            <p:nvPr/>
          </p:nvSpPr>
          <p:spPr>
            <a:xfrm>
              <a:off x="7603941" y="5484618"/>
              <a:ext cx="307777" cy="184666"/>
            </a:xfrm>
            <a:prstGeom prst="rect">
              <a:avLst/>
            </a:prstGeom>
            <a:noFill/>
          </p:spPr>
          <p:txBody>
            <a:bodyPr wrap="none" lIns="0" tIns="0" rIns="0" bIns="0" rtlCol="0">
              <a:spAutoFit/>
            </a:bodyPr>
            <a:lstStyle/>
            <a:p>
              <a:pPr algn="ctr">
                <a:spcAft>
                  <a:spcPts val="1000"/>
                </a:spcAft>
                <a:buSzPct val="100000"/>
              </a:pPr>
              <a:r>
                <a:rPr lang="en-US" sz="1200" b="1"/>
                <a:t>FY18</a:t>
              </a:r>
              <a:endParaRPr lang="en-GB" sz="1200" b="1" err="1"/>
            </a:p>
          </p:txBody>
        </p:sp>
        <p:sp>
          <p:nvSpPr>
            <p:cNvPr id="79" name="Chevron 78"/>
            <p:cNvSpPr/>
            <p:nvPr/>
          </p:nvSpPr>
          <p:spPr bwMode="gray">
            <a:xfrm>
              <a:off x="5508925" y="5279909"/>
              <a:ext cx="110013" cy="100012"/>
            </a:xfrm>
            <a:prstGeom prst="chevron">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80" name="Chevron 79"/>
            <p:cNvSpPr/>
            <p:nvPr/>
          </p:nvSpPr>
          <p:spPr bwMode="gray">
            <a:xfrm>
              <a:off x="7702824" y="5279909"/>
              <a:ext cx="110013" cy="100012"/>
            </a:xfrm>
            <a:prstGeom prst="chevron">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81" name="Chevron 80"/>
            <p:cNvSpPr/>
            <p:nvPr/>
          </p:nvSpPr>
          <p:spPr bwMode="gray">
            <a:xfrm>
              <a:off x="6605875" y="5279909"/>
              <a:ext cx="110013" cy="100012"/>
            </a:xfrm>
            <a:prstGeom prst="chevron">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82" name="Chevron 81"/>
            <p:cNvSpPr/>
            <p:nvPr/>
          </p:nvSpPr>
          <p:spPr bwMode="gray">
            <a:xfrm>
              <a:off x="4411975" y="5279909"/>
              <a:ext cx="110013" cy="100012"/>
            </a:xfrm>
            <a:prstGeom prst="chevron">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83" name="Chevron 82"/>
            <p:cNvSpPr/>
            <p:nvPr/>
          </p:nvSpPr>
          <p:spPr bwMode="gray">
            <a:xfrm>
              <a:off x="3315025" y="5279909"/>
              <a:ext cx="110013" cy="100012"/>
            </a:xfrm>
            <a:prstGeom prst="chevron">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91" name="Straight Connector 90"/>
            <p:cNvCxnSpPr>
              <a:stCxn id="28" idx="1"/>
            </p:cNvCxnSpPr>
            <p:nvPr/>
          </p:nvCxnSpPr>
          <p:spPr>
            <a:xfrm flipH="1">
              <a:off x="3363067" y="4384346"/>
              <a:ext cx="0" cy="924795"/>
            </a:xfrm>
            <a:prstGeom prst="line">
              <a:avLst/>
            </a:prstGeom>
            <a:ln>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481507" y="3891868"/>
              <a:ext cx="0" cy="1417272"/>
            </a:xfrm>
            <a:prstGeom prst="line">
              <a:avLst/>
            </a:prstGeom>
            <a:ln>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5577275" y="3226850"/>
              <a:ext cx="0" cy="2082290"/>
            </a:xfrm>
            <a:prstGeom prst="line">
              <a:avLst/>
            </a:prstGeom>
            <a:ln>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6673044" y="2690302"/>
              <a:ext cx="0" cy="2618839"/>
            </a:xfrm>
            <a:prstGeom prst="line">
              <a:avLst/>
            </a:prstGeom>
            <a:ln>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7753698" y="2214208"/>
              <a:ext cx="0" cy="3094932"/>
            </a:xfrm>
            <a:prstGeom prst="line">
              <a:avLst/>
            </a:prstGeom>
            <a:ln>
              <a:solidFill>
                <a:srgbClr val="63666A"/>
              </a:solidFill>
            </a:ln>
          </p:spPr>
          <p:style>
            <a:lnRef idx="1">
              <a:schemeClr val="accent1"/>
            </a:lnRef>
            <a:fillRef idx="0">
              <a:schemeClr val="accent1"/>
            </a:fillRef>
            <a:effectRef idx="0">
              <a:schemeClr val="accent1"/>
            </a:effectRef>
            <a:fontRef idx="minor">
              <a:schemeClr val="tx1"/>
            </a:fontRef>
          </p:style>
        </p:cxnSp>
        <p:sp>
          <p:nvSpPr>
            <p:cNvPr id="28" name="Cloud 27"/>
            <p:cNvSpPr/>
            <p:nvPr/>
          </p:nvSpPr>
          <p:spPr bwMode="gray">
            <a:xfrm>
              <a:off x="2993228" y="3790618"/>
              <a:ext cx="748106" cy="594360"/>
            </a:xfrm>
            <a:prstGeom prst="cloud">
              <a:avLst/>
            </a:prstGeom>
            <a:solidFill>
              <a:schemeClr val="bg1">
                <a:lumMod val="95000"/>
              </a:schemeClr>
            </a:solidFill>
            <a:ln w="1270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2</a:t>
              </a:r>
              <a:endParaRPr lang="en-GB" sz="1600" b="1" err="1"/>
            </a:p>
          </p:txBody>
        </p:sp>
        <p:sp>
          <p:nvSpPr>
            <p:cNvPr id="46" name="Cloud 45"/>
            <p:cNvSpPr/>
            <p:nvPr/>
          </p:nvSpPr>
          <p:spPr bwMode="gray">
            <a:xfrm>
              <a:off x="4137342" y="3345789"/>
              <a:ext cx="748106" cy="594360"/>
            </a:xfrm>
            <a:prstGeom prst="cloud">
              <a:avLst/>
            </a:prstGeom>
            <a:solidFill>
              <a:schemeClr val="bg1">
                <a:lumMod val="95000"/>
              </a:schemeClr>
            </a:solidFill>
            <a:ln w="1270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8</a:t>
              </a:r>
              <a:endParaRPr lang="en-GB" sz="1600" b="1" err="1"/>
            </a:p>
          </p:txBody>
        </p:sp>
        <p:sp>
          <p:nvSpPr>
            <p:cNvPr id="57" name="Cloud 56"/>
            <p:cNvSpPr/>
            <p:nvPr/>
          </p:nvSpPr>
          <p:spPr bwMode="gray">
            <a:xfrm>
              <a:off x="5219486" y="2700820"/>
              <a:ext cx="748106" cy="594360"/>
            </a:xfrm>
            <a:prstGeom prst="cloud">
              <a:avLst/>
            </a:prstGeom>
            <a:solidFill>
              <a:schemeClr val="bg1">
                <a:lumMod val="95000"/>
              </a:schemeClr>
            </a:solidFill>
            <a:ln w="1270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18</a:t>
              </a:r>
              <a:endParaRPr lang="en-GB" sz="1600" b="1" err="1"/>
            </a:p>
          </p:txBody>
        </p:sp>
        <p:sp>
          <p:nvSpPr>
            <p:cNvPr id="58" name="Cloud 57"/>
            <p:cNvSpPr/>
            <p:nvPr/>
          </p:nvSpPr>
          <p:spPr bwMode="gray">
            <a:xfrm>
              <a:off x="6301630" y="2129443"/>
              <a:ext cx="748106" cy="594360"/>
            </a:xfrm>
            <a:prstGeom prst="cloud">
              <a:avLst/>
            </a:prstGeom>
            <a:solidFill>
              <a:schemeClr val="bg1">
                <a:lumMod val="95000"/>
              </a:schemeClr>
            </a:solidFill>
            <a:ln w="1270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35</a:t>
              </a:r>
              <a:endParaRPr lang="en-GB" sz="1600" b="1" err="1"/>
            </a:p>
          </p:txBody>
        </p:sp>
        <p:sp>
          <p:nvSpPr>
            <p:cNvPr id="60" name="Cloud 59"/>
            <p:cNvSpPr/>
            <p:nvPr/>
          </p:nvSpPr>
          <p:spPr bwMode="gray">
            <a:xfrm>
              <a:off x="7379072" y="1665288"/>
              <a:ext cx="748106" cy="594360"/>
            </a:xfrm>
            <a:prstGeom prst="cloud">
              <a:avLst/>
            </a:prstGeom>
            <a:solidFill>
              <a:schemeClr val="bg1">
                <a:lumMod val="95000"/>
              </a:schemeClr>
            </a:solidFill>
            <a:ln w="1270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44</a:t>
              </a:r>
              <a:endParaRPr lang="en-GB" sz="1600" b="1" dirty="0"/>
            </a:p>
          </p:txBody>
        </p:sp>
        <p:grpSp>
          <p:nvGrpSpPr>
            <p:cNvPr id="107" name="Group 106"/>
            <p:cNvGrpSpPr/>
            <p:nvPr/>
          </p:nvGrpSpPr>
          <p:grpSpPr>
            <a:xfrm>
              <a:off x="3187937" y="4707067"/>
              <a:ext cx="350260" cy="350260"/>
              <a:chOff x="544663" y="3761674"/>
              <a:chExt cx="350260" cy="350260"/>
            </a:xfrm>
          </p:grpSpPr>
          <p:sp>
            <p:nvSpPr>
              <p:cNvPr id="106" name="Oval 105"/>
              <p:cNvSpPr/>
              <p:nvPr/>
            </p:nvSpPr>
            <p:spPr bwMode="gray">
              <a:xfrm>
                <a:off x="544663" y="3761674"/>
                <a:ext cx="350260" cy="350260"/>
              </a:xfrm>
              <a:prstGeom prst="ellipse">
                <a:avLst/>
              </a:prstGeom>
              <a:solidFill>
                <a:schemeClr val="bg1">
                  <a:lumMod val="95000"/>
                </a:schemeClr>
              </a:solidFill>
              <a:ln w="9525"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04" name="Freeform 310"/>
              <p:cNvSpPr>
                <a:spLocks noEditPoints="1"/>
              </p:cNvSpPr>
              <p:nvPr/>
            </p:nvSpPr>
            <p:spPr bwMode="auto">
              <a:xfrm rot="18900000">
                <a:off x="608002" y="3825555"/>
                <a:ext cx="223583" cy="222498"/>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solidFill>
                <a:schemeClr val="accent4"/>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8" name="Group 107"/>
            <p:cNvGrpSpPr/>
            <p:nvPr/>
          </p:nvGrpSpPr>
          <p:grpSpPr>
            <a:xfrm>
              <a:off x="4306377" y="4609421"/>
              <a:ext cx="350260" cy="350260"/>
              <a:chOff x="544663" y="3761674"/>
              <a:chExt cx="350260" cy="350260"/>
            </a:xfrm>
          </p:grpSpPr>
          <p:sp>
            <p:nvSpPr>
              <p:cNvPr id="109" name="Oval 108"/>
              <p:cNvSpPr/>
              <p:nvPr/>
            </p:nvSpPr>
            <p:spPr bwMode="gray">
              <a:xfrm>
                <a:off x="544663" y="3761674"/>
                <a:ext cx="350260" cy="350260"/>
              </a:xfrm>
              <a:prstGeom prst="ellipse">
                <a:avLst/>
              </a:prstGeom>
              <a:solidFill>
                <a:schemeClr val="bg1">
                  <a:lumMod val="95000"/>
                </a:schemeClr>
              </a:solidFill>
              <a:ln w="9525"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10" name="Freeform 310"/>
              <p:cNvSpPr>
                <a:spLocks noEditPoints="1"/>
              </p:cNvSpPr>
              <p:nvPr/>
            </p:nvSpPr>
            <p:spPr bwMode="auto">
              <a:xfrm rot="18900000">
                <a:off x="608002" y="3825555"/>
                <a:ext cx="223583" cy="222498"/>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solidFill>
                <a:schemeClr val="accent4"/>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110"/>
            <p:cNvGrpSpPr/>
            <p:nvPr/>
          </p:nvGrpSpPr>
          <p:grpSpPr>
            <a:xfrm>
              <a:off x="5402145" y="4421043"/>
              <a:ext cx="350260" cy="350260"/>
              <a:chOff x="544663" y="3761674"/>
              <a:chExt cx="350260" cy="350260"/>
            </a:xfrm>
          </p:grpSpPr>
          <p:sp>
            <p:nvSpPr>
              <p:cNvPr id="112" name="Oval 111"/>
              <p:cNvSpPr/>
              <p:nvPr/>
            </p:nvSpPr>
            <p:spPr bwMode="gray">
              <a:xfrm>
                <a:off x="544663" y="3761674"/>
                <a:ext cx="350260" cy="350260"/>
              </a:xfrm>
              <a:prstGeom prst="ellipse">
                <a:avLst/>
              </a:prstGeom>
              <a:solidFill>
                <a:schemeClr val="bg1">
                  <a:lumMod val="95000"/>
                </a:schemeClr>
              </a:solidFill>
              <a:ln w="9525"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13" name="Freeform 310"/>
              <p:cNvSpPr>
                <a:spLocks noEditPoints="1"/>
              </p:cNvSpPr>
              <p:nvPr/>
            </p:nvSpPr>
            <p:spPr bwMode="auto">
              <a:xfrm rot="18900000">
                <a:off x="608002" y="3825555"/>
                <a:ext cx="223583" cy="222498"/>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solidFill>
                <a:schemeClr val="accent4"/>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4" name="Group 113"/>
            <p:cNvGrpSpPr/>
            <p:nvPr/>
          </p:nvGrpSpPr>
          <p:grpSpPr>
            <a:xfrm>
              <a:off x="6501150" y="4110701"/>
              <a:ext cx="350260" cy="350260"/>
              <a:chOff x="544663" y="3761674"/>
              <a:chExt cx="350260" cy="350260"/>
            </a:xfrm>
          </p:grpSpPr>
          <p:sp>
            <p:nvSpPr>
              <p:cNvPr id="115" name="Oval 114"/>
              <p:cNvSpPr/>
              <p:nvPr/>
            </p:nvSpPr>
            <p:spPr bwMode="gray">
              <a:xfrm>
                <a:off x="544663" y="3761674"/>
                <a:ext cx="350260" cy="350260"/>
              </a:xfrm>
              <a:prstGeom prst="ellipse">
                <a:avLst/>
              </a:prstGeom>
              <a:solidFill>
                <a:schemeClr val="bg1">
                  <a:lumMod val="95000"/>
                </a:schemeClr>
              </a:solidFill>
              <a:ln w="9525"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16" name="Freeform 310"/>
              <p:cNvSpPr>
                <a:spLocks noEditPoints="1"/>
              </p:cNvSpPr>
              <p:nvPr/>
            </p:nvSpPr>
            <p:spPr bwMode="auto">
              <a:xfrm rot="18900000">
                <a:off x="608002" y="3825555"/>
                <a:ext cx="223583" cy="222498"/>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solidFill>
                <a:schemeClr val="accent4"/>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7" name="Group 116"/>
            <p:cNvGrpSpPr/>
            <p:nvPr/>
          </p:nvGrpSpPr>
          <p:grpSpPr>
            <a:xfrm>
              <a:off x="7577995" y="3593951"/>
              <a:ext cx="350260" cy="350260"/>
              <a:chOff x="544663" y="3761674"/>
              <a:chExt cx="350260" cy="350260"/>
            </a:xfrm>
          </p:grpSpPr>
          <p:sp>
            <p:nvSpPr>
              <p:cNvPr id="118" name="Oval 117"/>
              <p:cNvSpPr/>
              <p:nvPr/>
            </p:nvSpPr>
            <p:spPr bwMode="gray">
              <a:xfrm>
                <a:off x="544663" y="3761674"/>
                <a:ext cx="350260" cy="350260"/>
              </a:xfrm>
              <a:prstGeom prst="ellipse">
                <a:avLst/>
              </a:prstGeom>
              <a:solidFill>
                <a:schemeClr val="bg1">
                  <a:lumMod val="95000"/>
                </a:schemeClr>
              </a:solidFill>
              <a:ln w="9525"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19" name="Freeform 310"/>
              <p:cNvSpPr>
                <a:spLocks noEditPoints="1"/>
              </p:cNvSpPr>
              <p:nvPr/>
            </p:nvSpPr>
            <p:spPr bwMode="auto">
              <a:xfrm rot="18900000">
                <a:off x="608002" y="3825555"/>
                <a:ext cx="223583" cy="222498"/>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solidFill>
                <a:schemeClr val="accent4"/>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custDataLst>
      <p:tags r:id="rId1"/>
    </p:custDataLst>
    <p:extLst>
      <p:ext uri="{BB962C8B-B14F-4D97-AF65-F5344CB8AC3E}">
        <p14:creationId xmlns:p14="http://schemas.microsoft.com/office/powerpoint/2010/main" val="357522030"/>
      </p:ext>
    </p:extLst>
  </p:cSld>
  <p:clrMapOvr>
    <a:masterClrMapping/>
  </p:clrMapOvr>
  <p:transition>
    <p:fade/>
  </p:transition>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152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469900" y="1666725"/>
            <a:ext cx="11330639" cy="4488985"/>
            <a:chOff x="0" y="1553884"/>
            <a:chExt cx="10989539" cy="4488985"/>
          </a:xfrm>
        </p:grpSpPr>
        <p:sp>
          <p:nvSpPr>
            <p:cNvPr id="3" name="ïṡḻïḋe">
              <a:extLst>
                <a:ext uri="{FF2B5EF4-FFF2-40B4-BE49-F238E27FC236}">
                  <a16:creationId xmlns:a16="http://schemas.microsoft.com/office/drawing/2014/main" id="{6C1306E3-3185-42A8-BB61-3BB00651C314}"/>
                </a:ext>
              </a:extLst>
            </p:cNvPr>
            <p:cNvSpPr/>
            <p:nvPr/>
          </p:nvSpPr>
          <p:spPr>
            <a:xfrm>
              <a:off x="0" y="1553884"/>
              <a:ext cx="8050676" cy="1224356"/>
            </a:xfrm>
            <a:prstGeom prst="homePlate">
              <a:avLst>
                <a:gd name="adj" fmla="val 60582"/>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a:latin typeface="+mn-ea"/>
              </a:endParaRPr>
            </a:p>
          </p:txBody>
        </p:sp>
        <p:sp>
          <p:nvSpPr>
            <p:cNvPr id="4" name="îṡ1iďê">
              <a:extLst>
                <a:ext uri="{FF2B5EF4-FFF2-40B4-BE49-F238E27FC236}">
                  <a16:creationId xmlns:a16="http://schemas.microsoft.com/office/drawing/2014/main" id="{5A913941-1077-4CFB-BB35-7281E0DFC737}"/>
                </a:ext>
              </a:extLst>
            </p:cNvPr>
            <p:cNvSpPr/>
            <p:nvPr/>
          </p:nvSpPr>
          <p:spPr>
            <a:xfrm>
              <a:off x="1" y="1655914"/>
              <a:ext cx="6803398" cy="1020297"/>
            </a:xfrm>
            <a:prstGeom prst="homePlate">
              <a:avLst>
                <a:gd name="adj" fmla="val 60582"/>
              </a:avLst>
            </a:prstGeom>
            <a:solidFill>
              <a:srgbClr val="BBBC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a:latin typeface="+mn-ea"/>
              </a:endParaRPr>
            </a:p>
          </p:txBody>
        </p:sp>
        <p:sp>
          <p:nvSpPr>
            <p:cNvPr id="5" name="iŝľiḋé">
              <a:extLst>
                <a:ext uri="{FF2B5EF4-FFF2-40B4-BE49-F238E27FC236}">
                  <a16:creationId xmlns:a16="http://schemas.microsoft.com/office/drawing/2014/main" id="{6BFC5AF7-2097-4576-9A63-858758AC8C6A}"/>
                </a:ext>
              </a:extLst>
            </p:cNvPr>
            <p:cNvSpPr/>
            <p:nvPr/>
          </p:nvSpPr>
          <p:spPr>
            <a:xfrm>
              <a:off x="1" y="1757942"/>
              <a:ext cx="5549878" cy="816238"/>
            </a:xfrm>
            <a:prstGeom prst="homePlate">
              <a:avLst>
                <a:gd name="adj" fmla="val 60582"/>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a:latin typeface="+mn-ea"/>
              </a:endParaRPr>
            </a:p>
          </p:txBody>
        </p:sp>
        <p:sp>
          <p:nvSpPr>
            <p:cNvPr id="6" name="ïš1ïḓê">
              <a:extLst>
                <a:ext uri="{FF2B5EF4-FFF2-40B4-BE49-F238E27FC236}">
                  <a16:creationId xmlns:a16="http://schemas.microsoft.com/office/drawing/2014/main" id="{83E4FD3C-A3DA-4ADB-9213-943C227B6FEE}"/>
                </a:ext>
              </a:extLst>
            </p:cNvPr>
            <p:cNvSpPr/>
            <p:nvPr/>
          </p:nvSpPr>
          <p:spPr>
            <a:xfrm>
              <a:off x="0" y="1859973"/>
              <a:ext cx="4234918" cy="612179"/>
            </a:xfrm>
            <a:prstGeom prst="homePlate">
              <a:avLst>
                <a:gd name="adj" fmla="val 605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a:latin typeface="+mn-ea"/>
              </a:endParaRPr>
            </a:p>
          </p:txBody>
        </p:sp>
        <p:sp>
          <p:nvSpPr>
            <p:cNvPr id="7" name="işľíḓé">
              <a:extLst>
                <a:ext uri="{FF2B5EF4-FFF2-40B4-BE49-F238E27FC236}">
                  <a16:creationId xmlns:a16="http://schemas.microsoft.com/office/drawing/2014/main" id="{6AFC02A6-A2A9-44A0-AA50-0B079B24238A}"/>
                </a:ext>
              </a:extLst>
            </p:cNvPr>
            <p:cNvSpPr txBox="1"/>
            <p:nvPr/>
          </p:nvSpPr>
          <p:spPr>
            <a:xfrm>
              <a:off x="267466" y="1985668"/>
              <a:ext cx="2323738" cy="369332"/>
            </a:xfrm>
            <a:prstGeom prst="rect">
              <a:avLst/>
            </a:prstGeom>
            <a:noFill/>
          </p:spPr>
          <p:txBody>
            <a:bodyPr wrap="square" lIns="91440" tIns="45720" rIns="91440" bIns="45720">
              <a:normAutofit fontScale="92500" lnSpcReduction="20000"/>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0"/>
                </a:spcBef>
              </a:pPr>
              <a:r>
                <a:rPr lang="en-US" altLang="zh-CN" b="1" dirty="0">
                  <a:solidFill>
                    <a:srgbClr val="FFFFFF"/>
                  </a:solidFill>
                  <a:latin typeface="+mn-ea"/>
                </a:rPr>
                <a:t>Lorem ipsum</a:t>
              </a:r>
            </a:p>
          </p:txBody>
        </p:sp>
        <p:cxnSp>
          <p:nvCxnSpPr>
            <p:cNvPr id="8" name="直接连接符 6">
              <a:extLst>
                <a:ext uri="{FF2B5EF4-FFF2-40B4-BE49-F238E27FC236}">
                  <a16:creationId xmlns:a16="http://schemas.microsoft.com/office/drawing/2014/main" id="{D7B67B44-EC59-4FAE-95A1-50AE3159B45B}"/>
                </a:ext>
              </a:extLst>
            </p:cNvPr>
            <p:cNvCxnSpPr/>
            <p:nvPr/>
          </p:nvCxnSpPr>
          <p:spPr>
            <a:xfrm>
              <a:off x="3579139" y="2166062"/>
              <a:ext cx="0" cy="1550723"/>
            </a:xfrm>
            <a:prstGeom prst="line">
              <a:avLst/>
            </a:prstGeom>
            <a:ln w="19050">
              <a:solidFill>
                <a:srgbClr val="75787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 name="直接连接符 7">
              <a:extLst>
                <a:ext uri="{FF2B5EF4-FFF2-40B4-BE49-F238E27FC236}">
                  <a16:creationId xmlns:a16="http://schemas.microsoft.com/office/drawing/2014/main" id="{CF637BB7-95DB-483D-85D2-A1C949A75FE9}"/>
                </a:ext>
              </a:extLst>
            </p:cNvPr>
            <p:cNvCxnSpPr/>
            <p:nvPr/>
          </p:nvCxnSpPr>
          <p:spPr>
            <a:xfrm>
              <a:off x="5178499" y="2166062"/>
              <a:ext cx="0" cy="2326084"/>
            </a:xfrm>
            <a:prstGeom prst="line">
              <a:avLst/>
            </a:prstGeom>
            <a:ln w="19050">
              <a:solidFill>
                <a:srgbClr val="75787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直接连接符 8">
              <a:extLst>
                <a:ext uri="{FF2B5EF4-FFF2-40B4-BE49-F238E27FC236}">
                  <a16:creationId xmlns:a16="http://schemas.microsoft.com/office/drawing/2014/main" id="{8C2B4027-B388-4238-A9D7-AF9996B1D107}"/>
                </a:ext>
              </a:extLst>
            </p:cNvPr>
            <p:cNvCxnSpPr/>
            <p:nvPr/>
          </p:nvCxnSpPr>
          <p:spPr>
            <a:xfrm>
              <a:off x="6405586" y="2166062"/>
              <a:ext cx="0" cy="3101446"/>
            </a:xfrm>
            <a:prstGeom prst="line">
              <a:avLst/>
            </a:prstGeom>
            <a:ln w="19050">
              <a:solidFill>
                <a:srgbClr val="75787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 name="直接连接符 9">
              <a:extLst>
                <a:ext uri="{FF2B5EF4-FFF2-40B4-BE49-F238E27FC236}">
                  <a16:creationId xmlns:a16="http://schemas.microsoft.com/office/drawing/2014/main" id="{8526DA1E-2C1A-4B37-9123-8BA1A9C7E2BF}"/>
                </a:ext>
              </a:extLst>
            </p:cNvPr>
            <p:cNvCxnSpPr/>
            <p:nvPr/>
          </p:nvCxnSpPr>
          <p:spPr>
            <a:xfrm>
              <a:off x="7613555" y="2166062"/>
              <a:ext cx="0" cy="3876807"/>
            </a:xfrm>
            <a:prstGeom prst="line">
              <a:avLst/>
            </a:prstGeom>
            <a:ln w="19050">
              <a:solidFill>
                <a:srgbClr val="75787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iSlíḑè">
              <a:extLst>
                <a:ext uri="{FF2B5EF4-FFF2-40B4-BE49-F238E27FC236}">
                  <a16:creationId xmlns:a16="http://schemas.microsoft.com/office/drawing/2014/main" id="{4FFB6DC3-65C9-4DF0-9239-66F7690D9D59}"/>
                </a:ext>
              </a:extLst>
            </p:cNvPr>
            <p:cNvSpPr txBox="1"/>
            <p:nvPr/>
          </p:nvSpPr>
          <p:spPr>
            <a:xfrm>
              <a:off x="2327638" y="3405426"/>
              <a:ext cx="2826435" cy="746294"/>
            </a:xfrm>
            <a:prstGeom prst="rect">
              <a:avLst/>
            </a:prstGeom>
            <a:noFill/>
            <a:ln>
              <a:noFill/>
            </a:ln>
          </p:spPr>
          <p:txBody>
            <a:bodyPr wrap="square" lIns="91440" tIns="45720" rIns="91440" bIns="45720" anchor="t"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spcBef>
                  <a:spcPct val="0"/>
                </a:spcBef>
              </a:pPr>
              <a:r>
                <a:rPr lang="en-US" altLang="zh-CN" sz="1800" b="1" dirty="0">
                  <a:latin typeface="+mn-ea"/>
                </a:rPr>
                <a:t>Lorem ipsum</a:t>
              </a:r>
            </a:p>
          </p:txBody>
        </p:sp>
        <p:sp>
          <p:nvSpPr>
            <p:cNvPr id="13" name="íṥľíḋe">
              <a:extLst>
                <a:ext uri="{FF2B5EF4-FFF2-40B4-BE49-F238E27FC236}">
                  <a16:creationId xmlns:a16="http://schemas.microsoft.com/office/drawing/2014/main" id="{D277D943-25A8-4A87-AA5F-DEEF14B1B32E}"/>
                </a:ext>
              </a:extLst>
            </p:cNvPr>
            <p:cNvSpPr txBox="1"/>
            <p:nvPr/>
          </p:nvSpPr>
          <p:spPr bwMode="auto">
            <a:xfrm>
              <a:off x="7899719" y="3167425"/>
              <a:ext cx="3089820" cy="4463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0"/>
                </a:spcBef>
              </a:pPr>
              <a:r>
                <a:rPr lang="en-US" altLang="zh-CN" sz="1800" b="1" dirty="0">
                  <a:latin typeface="+mn-ea"/>
                </a:rPr>
                <a:t>Lorem ipsum</a:t>
              </a:r>
            </a:p>
          </p:txBody>
        </p:sp>
        <p:sp>
          <p:nvSpPr>
            <p:cNvPr id="14" name="iSlíḑè">
              <a:extLst>
                <a:ext uri="{FF2B5EF4-FFF2-40B4-BE49-F238E27FC236}">
                  <a16:creationId xmlns:a16="http://schemas.microsoft.com/office/drawing/2014/main" id="{4FFB6DC3-65C9-4DF0-9239-66F7690D9D59}"/>
                </a:ext>
              </a:extLst>
            </p:cNvPr>
            <p:cNvSpPr txBox="1"/>
            <p:nvPr/>
          </p:nvSpPr>
          <p:spPr>
            <a:xfrm>
              <a:off x="3512029" y="4045101"/>
              <a:ext cx="2826435" cy="863162"/>
            </a:xfrm>
            <a:prstGeom prst="rect">
              <a:avLst/>
            </a:prstGeom>
            <a:noFill/>
            <a:ln>
              <a:noFill/>
            </a:ln>
          </p:spPr>
          <p:txBody>
            <a:bodyPr wrap="square" lIns="91440" tIns="45720" rIns="91440" bIns="45720" anchor="t"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spcBef>
                  <a:spcPct val="0"/>
                </a:spcBef>
              </a:pPr>
              <a:r>
                <a:rPr lang="en-US" altLang="zh-CN" sz="1800" b="1" dirty="0">
                  <a:latin typeface="+mn-ea"/>
                </a:rPr>
                <a:t>Lorem ipsum</a:t>
              </a:r>
            </a:p>
          </p:txBody>
        </p:sp>
        <p:sp>
          <p:nvSpPr>
            <p:cNvPr id="15" name="iSlíḑè">
              <a:extLst>
                <a:ext uri="{FF2B5EF4-FFF2-40B4-BE49-F238E27FC236}">
                  <a16:creationId xmlns:a16="http://schemas.microsoft.com/office/drawing/2014/main" id="{4FFB6DC3-65C9-4DF0-9239-66F7690D9D59}"/>
                </a:ext>
              </a:extLst>
            </p:cNvPr>
            <p:cNvSpPr txBox="1"/>
            <p:nvPr/>
          </p:nvSpPr>
          <p:spPr>
            <a:xfrm>
              <a:off x="4731576" y="4972185"/>
              <a:ext cx="2826435" cy="863162"/>
            </a:xfrm>
            <a:prstGeom prst="rect">
              <a:avLst/>
            </a:prstGeom>
            <a:noFill/>
            <a:ln>
              <a:noFill/>
            </a:ln>
          </p:spPr>
          <p:txBody>
            <a:bodyPr wrap="square" lIns="91440" tIns="45720" rIns="91440" bIns="45720" anchor="t"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spcBef>
                  <a:spcPct val="0"/>
                </a:spcBef>
              </a:pPr>
              <a:r>
                <a:rPr lang="en-US" altLang="zh-CN" sz="1800" b="1" dirty="0">
                  <a:latin typeface="+mn-ea"/>
                </a:rPr>
                <a:t>Lorem ipsum</a:t>
              </a:r>
            </a:p>
          </p:txBody>
        </p:sp>
      </p:grpSp>
      <p:sp>
        <p:nvSpPr>
          <p:cNvPr id="16" name="iSlíḑè">
            <a:extLst>
              <a:ext uri="{FF2B5EF4-FFF2-40B4-BE49-F238E27FC236}">
                <a16:creationId xmlns:a16="http://schemas.microsoft.com/office/drawing/2014/main" id="{4FFB6DC3-65C9-4DF0-9239-66F7690D9D59}"/>
              </a:ext>
            </a:extLst>
          </p:cNvPr>
          <p:cNvSpPr txBox="1"/>
          <p:nvPr/>
        </p:nvSpPr>
        <p:spPr>
          <a:xfrm>
            <a:off x="1187603" y="2960487"/>
            <a:ext cx="2914164" cy="746294"/>
          </a:xfrm>
          <a:prstGeom prst="rect">
            <a:avLst/>
          </a:prstGeom>
          <a:noFill/>
          <a:ln>
            <a:noFill/>
          </a:ln>
        </p:spPr>
        <p:txBody>
          <a:bodyPr wrap="square" lIns="91440" tIns="45720" rIns="91440" bIns="45720" anchor="t"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spcBef>
                <a:spcPct val="0"/>
              </a:spcBef>
            </a:pPr>
            <a:r>
              <a:rPr lang="en-US" altLang="zh-CN" sz="1800" b="1" dirty="0">
                <a:latin typeface="+mn-ea"/>
              </a:rPr>
              <a:t>Lorem ipsum</a:t>
            </a:r>
          </a:p>
        </p:txBody>
      </p:sp>
      <p:grpSp>
        <p:nvGrpSpPr>
          <p:cNvPr id="17" name="组合 16"/>
          <p:cNvGrpSpPr/>
          <p:nvPr/>
        </p:nvGrpSpPr>
        <p:grpSpPr>
          <a:xfrm>
            <a:off x="9156917" y="1272519"/>
            <a:ext cx="1945942" cy="2012766"/>
            <a:chOff x="2561034" y="1347642"/>
            <a:chExt cx="4021932" cy="4160046"/>
          </a:xfrm>
        </p:grpSpPr>
        <p:grpSp>
          <p:nvGrpSpPr>
            <p:cNvPr id="18" name="Group 26">
              <a:extLst>
                <a:ext uri="{FF2B5EF4-FFF2-40B4-BE49-F238E27FC236}">
                  <a16:creationId xmlns:a16="http://schemas.microsoft.com/office/drawing/2014/main" id="{0AE5A4F6-24A5-FF44-9369-E866C77BFF88}"/>
                </a:ext>
              </a:extLst>
            </p:cNvPr>
            <p:cNvGrpSpPr/>
            <p:nvPr/>
          </p:nvGrpSpPr>
          <p:grpSpPr>
            <a:xfrm>
              <a:off x="2894823" y="1752600"/>
              <a:ext cx="3354354" cy="3352800"/>
              <a:chOff x="2665413" y="0"/>
              <a:chExt cx="6861175" cy="6858000"/>
            </a:xfrm>
          </p:grpSpPr>
          <p:sp>
            <p:nvSpPr>
              <p:cNvPr id="26" name="Freeform 153">
                <a:extLst>
                  <a:ext uri="{FF2B5EF4-FFF2-40B4-BE49-F238E27FC236}">
                    <a16:creationId xmlns:a16="http://schemas.microsoft.com/office/drawing/2014/main" id="{4D60C42A-EF6D-5746-BA98-65DCEAECCE0C}"/>
                  </a:ext>
                </a:extLst>
              </p:cNvPr>
              <p:cNvSpPr>
                <a:spLocks/>
              </p:cNvSpPr>
              <p:nvPr/>
            </p:nvSpPr>
            <p:spPr bwMode="auto">
              <a:xfrm>
                <a:off x="4548188" y="0"/>
                <a:ext cx="4516438" cy="2681288"/>
              </a:xfrm>
              <a:custGeom>
                <a:avLst/>
                <a:gdLst>
                  <a:gd name="T0" fmla="*/ 341 w 1036"/>
                  <a:gd name="T1" fmla="*/ 392 h 615"/>
                  <a:gd name="T2" fmla="*/ 341 w 1036"/>
                  <a:gd name="T3" fmla="*/ 392 h 615"/>
                  <a:gd name="T4" fmla="*/ 1036 w 1036"/>
                  <a:gd name="T5" fmla="*/ 392 h 615"/>
                  <a:gd name="T6" fmla="*/ 355 w 1036"/>
                  <a:gd name="T7" fmla="*/ 0 h 615"/>
                  <a:gd name="T8" fmla="*/ 0 w 1036"/>
                  <a:gd name="T9" fmla="*/ 84 h 615"/>
                  <a:gd name="T10" fmla="*/ 0 w 1036"/>
                  <a:gd name="T11" fmla="*/ 615 h 615"/>
                  <a:gd name="T12" fmla="*/ 341 w 1036"/>
                  <a:gd name="T13" fmla="*/ 392 h 615"/>
                </a:gdLst>
                <a:ahLst/>
                <a:cxnLst>
                  <a:cxn ang="0">
                    <a:pos x="T0" y="T1"/>
                  </a:cxn>
                  <a:cxn ang="0">
                    <a:pos x="T2" y="T3"/>
                  </a:cxn>
                  <a:cxn ang="0">
                    <a:pos x="T4" y="T5"/>
                  </a:cxn>
                  <a:cxn ang="0">
                    <a:pos x="T6" y="T7"/>
                  </a:cxn>
                  <a:cxn ang="0">
                    <a:pos x="T8" y="T9"/>
                  </a:cxn>
                  <a:cxn ang="0">
                    <a:pos x="T10" y="T11"/>
                  </a:cxn>
                  <a:cxn ang="0">
                    <a:pos x="T12" y="T13"/>
                  </a:cxn>
                </a:cxnLst>
                <a:rect l="0" t="0" r="r" b="b"/>
                <a:pathLst>
                  <a:path w="1036" h="615">
                    <a:moveTo>
                      <a:pt x="341" y="392"/>
                    </a:moveTo>
                    <a:cubicBezTo>
                      <a:pt x="341" y="392"/>
                      <a:pt x="341" y="392"/>
                      <a:pt x="341" y="392"/>
                    </a:cubicBezTo>
                    <a:cubicBezTo>
                      <a:pt x="1036" y="392"/>
                      <a:pt x="1036" y="392"/>
                      <a:pt x="1036" y="392"/>
                    </a:cubicBezTo>
                    <a:cubicBezTo>
                      <a:pt x="900" y="157"/>
                      <a:pt x="646" y="0"/>
                      <a:pt x="355" y="0"/>
                    </a:cubicBezTo>
                    <a:cubicBezTo>
                      <a:pt x="227" y="0"/>
                      <a:pt x="107" y="30"/>
                      <a:pt x="0" y="84"/>
                    </a:cubicBezTo>
                    <a:cubicBezTo>
                      <a:pt x="0" y="615"/>
                      <a:pt x="0" y="615"/>
                      <a:pt x="0" y="615"/>
                    </a:cubicBezTo>
                    <a:cubicBezTo>
                      <a:pt x="62" y="487"/>
                      <a:pt x="191" y="398"/>
                      <a:pt x="341" y="392"/>
                    </a:cubicBezTo>
                    <a:close/>
                  </a:path>
                </a:pathLst>
              </a:custGeom>
              <a:solidFill>
                <a:srgbClr val="86BC25"/>
              </a:solidFill>
              <a:ln>
                <a:noFill/>
              </a:ln>
            </p:spPr>
            <p:txBody>
              <a:bodyPr vert="horz" wrap="square" lIns="68580" tIns="34290" rIns="68580" bIns="34290" numCol="1" anchor="t" anchorCtr="0" compatLnSpc="1">
                <a:prstTxWarp prst="textNoShape">
                  <a:avLst/>
                </a:prstTxWarp>
              </a:bodyPr>
              <a:lstStyle/>
              <a:p>
                <a:endParaRPr lang="en-GB" sz="750" dirty="0"/>
              </a:p>
            </p:txBody>
          </p:sp>
          <p:sp>
            <p:nvSpPr>
              <p:cNvPr id="27" name="Freeform 154">
                <a:extLst>
                  <a:ext uri="{FF2B5EF4-FFF2-40B4-BE49-F238E27FC236}">
                    <a16:creationId xmlns:a16="http://schemas.microsoft.com/office/drawing/2014/main" id="{28F2E754-8F5B-C447-87EF-F0E27D237D4E}"/>
                  </a:ext>
                </a:extLst>
              </p:cNvPr>
              <p:cNvSpPr>
                <a:spLocks/>
              </p:cNvSpPr>
              <p:nvPr/>
            </p:nvSpPr>
            <p:spPr bwMode="auto">
              <a:xfrm>
                <a:off x="2665413" y="457200"/>
                <a:ext cx="2689225" cy="4525963"/>
              </a:xfrm>
              <a:custGeom>
                <a:avLst/>
                <a:gdLst>
                  <a:gd name="T0" fmla="*/ 393 w 617"/>
                  <a:gd name="T1" fmla="*/ 682 h 1038"/>
                  <a:gd name="T2" fmla="*/ 393 w 617"/>
                  <a:gd name="T3" fmla="*/ 0 h 1038"/>
                  <a:gd name="T4" fmla="*/ 0 w 617"/>
                  <a:gd name="T5" fmla="*/ 682 h 1038"/>
                  <a:gd name="T6" fmla="*/ 86 w 617"/>
                  <a:gd name="T7" fmla="*/ 1038 h 1038"/>
                  <a:gd name="T8" fmla="*/ 617 w 617"/>
                  <a:gd name="T9" fmla="*/ 1038 h 1038"/>
                  <a:gd name="T10" fmla="*/ 393 w 617"/>
                  <a:gd name="T11" fmla="*/ 682 h 1038"/>
                </a:gdLst>
                <a:ahLst/>
                <a:cxnLst>
                  <a:cxn ang="0">
                    <a:pos x="T0" y="T1"/>
                  </a:cxn>
                  <a:cxn ang="0">
                    <a:pos x="T2" y="T3"/>
                  </a:cxn>
                  <a:cxn ang="0">
                    <a:pos x="T4" y="T5"/>
                  </a:cxn>
                  <a:cxn ang="0">
                    <a:pos x="T6" y="T7"/>
                  </a:cxn>
                  <a:cxn ang="0">
                    <a:pos x="T8" y="T9"/>
                  </a:cxn>
                  <a:cxn ang="0">
                    <a:pos x="T10" y="T11"/>
                  </a:cxn>
                </a:cxnLst>
                <a:rect l="0" t="0" r="r" b="b"/>
                <a:pathLst>
                  <a:path w="617" h="1038">
                    <a:moveTo>
                      <a:pt x="393" y="682"/>
                    </a:moveTo>
                    <a:cubicBezTo>
                      <a:pt x="393" y="0"/>
                      <a:pt x="393" y="0"/>
                      <a:pt x="393" y="0"/>
                    </a:cubicBezTo>
                    <a:cubicBezTo>
                      <a:pt x="158" y="137"/>
                      <a:pt x="0" y="391"/>
                      <a:pt x="0" y="682"/>
                    </a:cubicBezTo>
                    <a:cubicBezTo>
                      <a:pt x="0" y="810"/>
                      <a:pt x="31" y="931"/>
                      <a:pt x="86" y="1038"/>
                    </a:cubicBezTo>
                    <a:cubicBezTo>
                      <a:pt x="617" y="1038"/>
                      <a:pt x="617" y="1038"/>
                      <a:pt x="617" y="1038"/>
                    </a:cubicBezTo>
                    <a:cubicBezTo>
                      <a:pt x="484" y="974"/>
                      <a:pt x="393" y="839"/>
                      <a:pt x="393" y="682"/>
                    </a:cubicBezTo>
                    <a:close/>
                  </a:path>
                </a:pathLst>
              </a:custGeom>
              <a:solidFill>
                <a:srgbClr val="9DD4CF"/>
              </a:solidFill>
              <a:ln>
                <a:noFill/>
              </a:ln>
            </p:spPr>
            <p:txBody>
              <a:bodyPr vert="horz" wrap="square" lIns="68580" tIns="34290" rIns="68580" bIns="34290" numCol="1" anchor="t" anchorCtr="0" compatLnSpc="1">
                <a:prstTxWarp prst="textNoShape">
                  <a:avLst/>
                </a:prstTxWarp>
              </a:bodyPr>
              <a:lstStyle/>
              <a:p>
                <a:endParaRPr lang="en-GB" sz="750" dirty="0"/>
              </a:p>
            </p:txBody>
          </p:sp>
          <p:sp>
            <p:nvSpPr>
              <p:cNvPr id="28" name="Freeform 155">
                <a:extLst>
                  <a:ext uri="{FF2B5EF4-FFF2-40B4-BE49-F238E27FC236}">
                    <a16:creationId xmlns:a16="http://schemas.microsoft.com/office/drawing/2014/main" id="{684810B4-DF3B-D04E-A8D3-219774689820}"/>
                  </a:ext>
                </a:extLst>
              </p:cNvPr>
              <p:cNvSpPr>
                <a:spLocks/>
              </p:cNvSpPr>
              <p:nvPr/>
            </p:nvSpPr>
            <p:spPr bwMode="auto">
              <a:xfrm>
                <a:off x="6850063" y="1879600"/>
                <a:ext cx="2676525" cy="4511675"/>
              </a:xfrm>
              <a:custGeom>
                <a:avLst/>
                <a:gdLst>
                  <a:gd name="T0" fmla="*/ 223 w 614"/>
                  <a:gd name="T1" fmla="*/ 336 h 1035"/>
                  <a:gd name="T2" fmla="*/ 224 w 614"/>
                  <a:gd name="T3" fmla="*/ 336 h 1035"/>
                  <a:gd name="T4" fmla="*/ 224 w 614"/>
                  <a:gd name="T5" fmla="*/ 1035 h 1035"/>
                  <a:gd name="T6" fmla="*/ 614 w 614"/>
                  <a:gd name="T7" fmla="*/ 356 h 1035"/>
                  <a:gd name="T8" fmla="*/ 529 w 614"/>
                  <a:gd name="T9" fmla="*/ 0 h 1035"/>
                  <a:gd name="T10" fmla="*/ 0 w 614"/>
                  <a:gd name="T11" fmla="*/ 0 h 1035"/>
                  <a:gd name="T12" fmla="*/ 223 w 614"/>
                  <a:gd name="T13" fmla="*/ 336 h 1035"/>
                </a:gdLst>
                <a:ahLst/>
                <a:cxnLst>
                  <a:cxn ang="0">
                    <a:pos x="T0" y="T1"/>
                  </a:cxn>
                  <a:cxn ang="0">
                    <a:pos x="T2" y="T3"/>
                  </a:cxn>
                  <a:cxn ang="0">
                    <a:pos x="T4" y="T5"/>
                  </a:cxn>
                  <a:cxn ang="0">
                    <a:pos x="T6" y="T7"/>
                  </a:cxn>
                  <a:cxn ang="0">
                    <a:pos x="T8" y="T9"/>
                  </a:cxn>
                  <a:cxn ang="0">
                    <a:pos x="T10" y="T11"/>
                  </a:cxn>
                  <a:cxn ang="0">
                    <a:pos x="T12" y="T13"/>
                  </a:cxn>
                </a:cxnLst>
                <a:rect l="0" t="0" r="r" b="b"/>
                <a:pathLst>
                  <a:path w="614" h="1035">
                    <a:moveTo>
                      <a:pt x="223" y="336"/>
                    </a:moveTo>
                    <a:cubicBezTo>
                      <a:pt x="224" y="336"/>
                      <a:pt x="224" y="336"/>
                      <a:pt x="224" y="336"/>
                    </a:cubicBezTo>
                    <a:cubicBezTo>
                      <a:pt x="224" y="1035"/>
                      <a:pt x="224" y="1035"/>
                      <a:pt x="224" y="1035"/>
                    </a:cubicBezTo>
                    <a:cubicBezTo>
                      <a:pt x="457" y="899"/>
                      <a:pt x="614" y="646"/>
                      <a:pt x="614" y="356"/>
                    </a:cubicBezTo>
                    <a:cubicBezTo>
                      <a:pt x="614" y="228"/>
                      <a:pt x="583" y="107"/>
                      <a:pt x="529" y="0"/>
                    </a:cubicBezTo>
                    <a:cubicBezTo>
                      <a:pt x="0" y="0"/>
                      <a:pt x="0" y="0"/>
                      <a:pt x="0" y="0"/>
                    </a:cubicBezTo>
                    <a:cubicBezTo>
                      <a:pt x="127" y="61"/>
                      <a:pt x="216" y="188"/>
                      <a:pt x="223" y="336"/>
                    </a:cubicBezTo>
                    <a:close/>
                  </a:path>
                </a:pathLst>
              </a:custGeom>
              <a:solidFill>
                <a:srgbClr val="9DD4CF"/>
              </a:solidFill>
              <a:ln>
                <a:noFill/>
              </a:ln>
            </p:spPr>
            <p:txBody>
              <a:bodyPr vert="horz" wrap="square" lIns="68580" tIns="34290" rIns="68580" bIns="34290" numCol="1" anchor="t" anchorCtr="0" compatLnSpc="1">
                <a:prstTxWarp prst="textNoShape">
                  <a:avLst/>
                </a:prstTxWarp>
              </a:bodyPr>
              <a:lstStyle/>
              <a:p>
                <a:endParaRPr lang="en-GB" sz="750" dirty="0"/>
              </a:p>
            </p:txBody>
          </p:sp>
          <p:sp>
            <p:nvSpPr>
              <p:cNvPr id="29" name="Freeform 156">
                <a:extLst>
                  <a:ext uri="{FF2B5EF4-FFF2-40B4-BE49-F238E27FC236}">
                    <a16:creationId xmlns:a16="http://schemas.microsoft.com/office/drawing/2014/main" id="{4F2E857B-2430-2E4C-81DA-5720EC83A05B}"/>
                  </a:ext>
                </a:extLst>
              </p:cNvPr>
              <p:cNvSpPr>
                <a:spLocks/>
              </p:cNvSpPr>
              <p:nvPr/>
            </p:nvSpPr>
            <p:spPr bwMode="auto">
              <a:xfrm>
                <a:off x="3132138" y="4181475"/>
                <a:ext cx="4524375" cy="2676525"/>
              </a:xfrm>
              <a:custGeom>
                <a:avLst/>
                <a:gdLst>
                  <a:gd name="T0" fmla="*/ 686 w 1038"/>
                  <a:gd name="T1" fmla="*/ 223 h 614"/>
                  <a:gd name="T2" fmla="*/ 686 w 1038"/>
                  <a:gd name="T3" fmla="*/ 223 h 614"/>
                  <a:gd name="T4" fmla="*/ 0 w 1038"/>
                  <a:gd name="T5" fmla="*/ 223 h 614"/>
                  <a:gd name="T6" fmla="*/ 680 w 1038"/>
                  <a:gd name="T7" fmla="*/ 614 h 614"/>
                  <a:gd name="T8" fmla="*/ 1038 w 1038"/>
                  <a:gd name="T9" fmla="*/ 529 h 614"/>
                  <a:gd name="T10" fmla="*/ 1038 w 1038"/>
                  <a:gd name="T11" fmla="*/ 0 h 614"/>
                  <a:gd name="T12" fmla="*/ 686 w 1038"/>
                  <a:gd name="T13" fmla="*/ 223 h 614"/>
                </a:gdLst>
                <a:ahLst/>
                <a:cxnLst>
                  <a:cxn ang="0">
                    <a:pos x="T0" y="T1"/>
                  </a:cxn>
                  <a:cxn ang="0">
                    <a:pos x="T2" y="T3"/>
                  </a:cxn>
                  <a:cxn ang="0">
                    <a:pos x="T4" y="T5"/>
                  </a:cxn>
                  <a:cxn ang="0">
                    <a:pos x="T6" y="T7"/>
                  </a:cxn>
                  <a:cxn ang="0">
                    <a:pos x="T8" y="T9"/>
                  </a:cxn>
                  <a:cxn ang="0">
                    <a:pos x="T10" y="T11"/>
                  </a:cxn>
                  <a:cxn ang="0">
                    <a:pos x="T12" y="T13"/>
                  </a:cxn>
                </a:cxnLst>
                <a:rect l="0" t="0" r="r" b="b"/>
                <a:pathLst>
                  <a:path w="1038" h="614">
                    <a:moveTo>
                      <a:pt x="686" y="223"/>
                    </a:moveTo>
                    <a:cubicBezTo>
                      <a:pt x="686" y="223"/>
                      <a:pt x="686" y="223"/>
                      <a:pt x="686" y="223"/>
                    </a:cubicBezTo>
                    <a:cubicBezTo>
                      <a:pt x="0" y="223"/>
                      <a:pt x="0" y="223"/>
                      <a:pt x="0" y="223"/>
                    </a:cubicBezTo>
                    <a:cubicBezTo>
                      <a:pt x="136" y="457"/>
                      <a:pt x="390" y="614"/>
                      <a:pt x="680" y="614"/>
                    </a:cubicBezTo>
                    <a:cubicBezTo>
                      <a:pt x="809" y="614"/>
                      <a:pt x="930" y="584"/>
                      <a:pt x="1038" y="529"/>
                    </a:cubicBezTo>
                    <a:cubicBezTo>
                      <a:pt x="1038" y="0"/>
                      <a:pt x="1038" y="0"/>
                      <a:pt x="1038" y="0"/>
                    </a:cubicBezTo>
                    <a:cubicBezTo>
                      <a:pt x="974" y="131"/>
                      <a:pt x="841" y="222"/>
                      <a:pt x="686" y="223"/>
                    </a:cubicBezTo>
                    <a:close/>
                  </a:path>
                </a:pathLst>
              </a:custGeom>
              <a:solidFill>
                <a:srgbClr val="86BC25"/>
              </a:solidFill>
              <a:ln>
                <a:noFill/>
              </a:ln>
            </p:spPr>
            <p:txBody>
              <a:bodyPr vert="horz" wrap="square" lIns="68580" tIns="34290" rIns="68580" bIns="34290" numCol="1" anchor="t" anchorCtr="0" compatLnSpc="1">
                <a:prstTxWarp prst="textNoShape">
                  <a:avLst/>
                </a:prstTxWarp>
              </a:bodyPr>
              <a:lstStyle/>
              <a:p>
                <a:endParaRPr lang="en-GB" sz="750" dirty="0"/>
              </a:p>
            </p:txBody>
          </p:sp>
        </p:grpSp>
        <p:sp>
          <p:nvSpPr>
            <p:cNvPr id="19" name="Donut 60">
              <a:extLst>
                <a:ext uri="{FF2B5EF4-FFF2-40B4-BE49-F238E27FC236}">
                  <a16:creationId xmlns:a16="http://schemas.microsoft.com/office/drawing/2014/main" id="{AD2DEFCC-1122-DF47-827B-7A7EEB8574A2}"/>
                </a:ext>
              </a:extLst>
            </p:cNvPr>
            <p:cNvSpPr/>
            <p:nvPr/>
          </p:nvSpPr>
          <p:spPr bwMode="gray">
            <a:xfrm>
              <a:off x="2561034" y="1418034"/>
              <a:ext cx="4021932" cy="4021932"/>
            </a:xfrm>
            <a:prstGeom prst="donut">
              <a:avLst>
                <a:gd name="adj" fmla="val 2842"/>
              </a:avLst>
            </a:prstGeom>
            <a:solidFill>
              <a:schemeClr val="bg2"/>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0" name="Oval 61">
              <a:extLst>
                <a:ext uri="{FF2B5EF4-FFF2-40B4-BE49-F238E27FC236}">
                  <a16:creationId xmlns:a16="http://schemas.microsoft.com/office/drawing/2014/main" id="{240B130B-8431-BA4C-B00C-E7BB8F6DE343}"/>
                </a:ext>
              </a:extLst>
            </p:cNvPr>
            <p:cNvSpPr/>
            <p:nvPr/>
          </p:nvSpPr>
          <p:spPr bwMode="gray">
            <a:xfrm>
              <a:off x="4454127" y="1347642"/>
              <a:ext cx="235746" cy="235746"/>
            </a:xfrm>
            <a:prstGeom prst="ellipse">
              <a:avLst/>
            </a:prstGeom>
            <a:solidFill>
              <a:srgbClr val="D0D0CE"/>
            </a:solidFill>
            <a:ln w="76200" algn="ctr">
              <a:solidFill>
                <a:srgbClr val="D0D0CE"/>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1" name="Oval 62">
              <a:extLst>
                <a:ext uri="{FF2B5EF4-FFF2-40B4-BE49-F238E27FC236}">
                  <a16:creationId xmlns:a16="http://schemas.microsoft.com/office/drawing/2014/main" id="{10EC09BE-3011-6B44-B755-A6BD1F0E66CE}"/>
                </a:ext>
              </a:extLst>
            </p:cNvPr>
            <p:cNvSpPr/>
            <p:nvPr/>
          </p:nvSpPr>
          <p:spPr bwMode="gray">
            <a:xfrm>
              <a:off x="4454127" y="5271942"/>
              <a:ext cx="235746" cy="235746"/>
            </a:xfrm>
            <a:prstGeom prst="ellipse">
              <a:avLst/>
            </a:prstGeom>
            <a:solidFill>
              <a:srgbClr val="D0D0CE"/>
            </a:solidFill>
            <a:ln w="76200" algn="ctr">
              <a:solidFill>
                <a:srgbClr val="D0D0CE"/>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2" name="Oval 63">
              <a:extLst>
                <a:ext uri="{FF2B5EF4-FFF2-40B4-BE49-F238E27FC236}">
                  <a16:creationId xmlns:a16="http://schemas.microsoft.com/office/drawing/2014/main" id="{F72705B9-BA59-8B44-87C0-C46E428A8FA3}"/>
                </a:ext>
              </a:extLst>
            </p:cNvPr>
            <p:cNvSpPr/>
            <p:nvPr/>
          </p:nvSpPr>
          <p:spPr bwMode="gray">
            <a:xfrm>
              <a:off x="2561034" y="2764559"/>
              <a:ext cx="235746" cy="235746"/>
            </a:xfrm>
            <a:prstGeom prst="ellipse">
              <a:avLst/>
            </a:prstGeom>
            <a:solidFill>
              <a:srgbClr val="9DD4CF"/>
            </a:solidFill>
            <a:ln w="76200" algn="ctr">
              <a:solidFill>
                <a:srgbClr val="9DD4CF"/>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3" name="Oval 64">
              <a:extLst>
                <a:ext uri="{FF2B5EF4-FFF2-40B4-BE49-F238E27FC236}">
                  <a16:creationId xmlns:a16="http://schemas.microsoft.com/office/drawing/2014/main" id="{A1A36DDD-A125-484D-B153-D867B84808E8}"/>
                </a:ext>
              </a:extLst>
            </p:cNvPr>
            <p:cNvSpPr/>
            <p:nvPr/>
          </p:nvSpPr>
          <p:spPr bwMode="gray">
            <a:xfrm>
              <a:off x="3208735" y="1790525"/>
              <a:ext cx="235746" cy="235746"/>
            </a:xfrm>
            <a:prstGeom prst="ellipse">
              <a:avLst/>
            </a:prstGeom>
            <a:solidFill>
              <a:srgbClr val="86BC25"/>
            </a:solidFill>
            <a:ln w="76200" algn="ctr">
              <a:solidFill>
                <a:srgbClr val="86BC25"/>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4" name="Oval 65">
              <a:extLst>
                <a:ext uri="{FF2B5EF4-FFF2-40B4-BE49-F238E27FC236}">
                  <a16:creationId xmlns:a16="http://schemas.microsoft.com/office/drawing/2014/main" id="{6A272B25-2E06-F547-8C81-297ACFD9027E}"/>
                </a:ext>
              </a:extLst>
            </p:cNvPr>
            <p:cNvSpPr/>
            <p:nvPr/>
          </p:nvSpPr>
          <p:spPr bwMode="gray">
            <a:xfrm>
              <a:off x="5625932" y="4889511"/>
              <a:ext cx="235746" cy="235746"/>
            </a:xfrm>
            <a:prstGeom prst="ellipse">
              <a:avLst/>
            </a:prstGeom>
            <a:solidFill>
              <a:srgbClr val="86BC25"/>
            </a:solidFill>
            <a:ln w="76200" algn="ctr">
              <a:solidFill>
                <a:srgbClr val="86BC25"/>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5" name="Oval 66">
              <a:extLst>
                <a:ext uri="{FF2B5EF4-FFF2-40B4-BE49-F238E27FC236}">
                  <a16:creationId xmlns:a16="http://schemas.microsoft.com/office/drawing/2014/main" id="{78E0C513-134E-F140-B110-BA0AEF2CABD8}"/>
                </a:ext>
              </a:extLst>
            </p:cNvPr>
            <p:cNvSpPr/>
            <p:nvPr/>
          </p:nvSpPr>
          <p:spPr bwMode="gray">
            <a:xfrm>
              <a:off x="6283158" y="3948815"/>
              <a:ext cx="235746" cy="235746"/>
            </a:xfrm>
            <a:prstGeom prst="ellipse">
              <a:avLst/>
            </a:prstGeom>
            <a:solidFill>
              <a:srgbClr val="9DD4CF"/>
            </a:solidFill>
            <a:ln w="76200" algn="ctr">
              <a:solidFill>
                <a:srgbClr val="9DD4CF"/>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grpSp>
      <p:sp>
        <p:nvSpPr>
          <p:cNvPr id="30" name="Freeform 627"/>
          <p:cNvSpPr>
            <a:spLocks noChangeAspect="1" noEditPoints="1"/>
          </p:cNvSpPr>
          <p:nvPr/>
        </p:nvSpPr>
        <p:spPr bwMode="auto">
          <a:xfrm>
            <a:off x="3544841" y="2109724"/>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31" name="Freeform 850"/>
          <p:cNvSpPr>
            <a:spLocks noChangeAspect="1" noEditPoints="1"/>
          </p:cNvSpPr>
          <p:nvPr/>
        </p:nvSpPr>
        <p:spPr bwMode="auto">
          <a:xfrm>
            <a:off x="5163251" y="2108191"/>
            <a:ext cx="369021" cy="37010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32" name="Freeform 486"/>
          <p:cNvSpPr>
            <a:spLocks noChangeAspect="1" noEditPoints="1"/>
          </p:cNvSpPr>
          <p:nvPr/>
        </p:nvSpPr>
        <p:spPr bwMode="auto">
          <a:xfrm>
            <a:off x="6457584" y="210972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3" name="Freeform 611"/>
          <p:cNvSpPr>
            <a:spLocks noChangeAspect="1" noEditPoints="1"/>
          </p:cNvSpPr>
          <p:nvPr/>
        </p:nvSpPr>
        <p:spPr bwMode="auto">
          <a:xfrm>
            <a:off x="7696529" y="210972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custDataLst>
      <p:tags r:id="rId1"/>
    </p:custDataLst>
    <p:extLst>
      <p:ext uri="{BB962C8B-B14F-4D97-AF65-F5344CB8AC3E}">
        <p14:creationId xmlns:p14="http://schemas.microsoft.com/office/powerpoint/2010/main" val="38317321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9507BF8-38E4-5649-9D67-5A8AE5979CB1}"/>
              </a:ext>
            </a:extLst>
          </p:cNvPr>
          <p:cNvSpPr/>
          <p:nvPr/>
        </p:nvSpPr>
        <p:spPr bwMode="gray">
          <a:xfrm>
            <a:off x="360223" y="1283673"/>
            <a:ext cx="10842870" cy="4717500"/>
          </a:xfrm>
          <a:prstGeom prst="rect">
            <a:avLst/>
          </a:prstGeom>
          <a:solidFill>
            <a:schemeClr val="tx1">
              <a:lumMod val="95000"/>
              <a:lumOff val="5000"/>
            </a:schemeClr>
          </a:solidFill>
          <a:ln w="19050" algn="ctr">
            <a:noFill/>
            <a:miter lim="800000"/>
            <a:headEnd/>
            <a:tailEnd/>
          </a:ln>
        </p:spPr>
        <p:txBody>
          <a:bodyPr wrap="square" lIns="88900" tIns="88900" rIns="648000" bIns="88900" rtlCol="0" anchor="t"/>
          <a:lstStyle/>
          <a:p>
            <a:pPr marL="342900" indent="-342900">
              <a:lnSpc>
                <a:spcPct val="106000"/>
              </a:lnSpc>
              <a:buFont typeface="Wingdings 2" pitchFamily="18" charset="2"/>
              <a:buAutoNum type="arabicPeriod"/>
            </a:pPr>
            <a:endParaRPr lang="en-US" sz="1600" dirty="0">
              <a:solidFill>
                <a:srgbClr val="FF0000"/>
              </a:solidFill>
            </a:endParaRPr>
          </a:p>
        </p:txBody>
      </p:sp>
      <p:sp>
        <p:nvSpPr>
          <p:cNvPr id="15" name="Title 14"/>
          <p:cNvSpPr>
            <a:spLocks noGrp="1"/>
          </p:cNvSpPr>
          <p:nvPr>
            <p:ph type="title"/>
          </p:nvPr>
        </p:nvSpPr>
        <p:spPr/>
        <p:txBody>
          <a:bodyPr/>
          <a:lstStyle/>
          <a:p>
            <a:r>
              <a:rPr lang="en-US" dirty="0"/>
              <a:t>Contents</a:t>
            </a:r>
            <a:endParaRPr lang="en-US" dirty="0">
              <a:solidFill>
                <a:srgbClr val="FF0000"/>
              </a:solidFill>
            </a:endParaRPr>
          </a:p>
        </p:txBody>
      </p:sp>
      <p:sp>
        <p:nvSpPr>
          <p:cNvPr id="10" name="Rectangle 9">
            <a:extLst>
              <a:ext uri="{FF2B5EF4-FFF2-40B4-BE49-F238E27FC236}">
                <a16:creationId xmlns:a16="http://schemas.microsoft.com/office/drawing/2014/main" id="{4042AA4D-AF75-964B-BD2D-C0C556DA3EC1}"/>
              </a:ext>
            </a:extLst>
          </p:cNvPr>
          <p:cNvSpPr/>
          <p:nvPr/>
        </p:nvSpPr>
        <p:spPr bwMode="gray">
          <a:xfrm>
            <a:off x="8438713" y="4919398"/>
            <a:ext cx="3733614" cy="1364760"/>
          </a:xfrm>
          <a:prstGeom prst="rect">
            <a:avLst/>
          </a:prstGeom>
          <a:noFill/>
          <a:ln w="19050" algn="ctr">
            <a:noFill/>
            <a:miter lim="800000"/>
            <a:headEnd/>
            <a:tailEnd/>
          </a:ln>
        </p:spPr>
        <p:txBody>
          <a:bodyPr wrap="square" lIns="88900" tIns="88900" rIns="648000" bIns="88900" numCol="1" rtlCol="0" anchor="t"/>
          <a:lstStyle/>
          <a:p>
            <a:endParaRPr lang="en-US" sz="1400" dirty="0">
              <a:solidFill>
                <a:schemeClr val="accent2"/>
              </a:solidFill>
              <a:latin typeface="Calibri Light" panose="020F0502020204030204" pitchFamily="34" charset="0"/>
              <a:cs typeface="Calibri Light" panose="020F0502020204030204" pitchFamily="34" charset="0"/>
            </a:endParaRPr>
          </a:p>
        </p:txBody>
      </p:sp>
      <p:sp>
        <p:nvSpPr>
          <p:cNvPr id="9" name="Content Placeholder 1">
            <a:extLst>
              <a:ext uri="{FF2B5EF4-FFF2-40B4-BE49-F238E27FC236}">
                <a16:creationId xmlns:a16="http://schemas.microsoft.com/office/drawing/2014/main" id="{68052601-2742-4928-9716-8217F03B474A}"/>
              </a:ext>
            </a:extLst>
          </p:cNvPr>
          <p:cNvSpPr txBox="1">
            <a:spLocks/>
          </p:cNvSpPr>
          <p:nvPr/>
        </p:nvSpPr>
        <p:spPr>
          <a:xfrm>
            <a:off x="461824" y="1711960"/>
            <a:ext cx="5358380" cy="4667250"/>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2000" b="1" dirty="0">
                <a:solidFill>
                  <a:schemeClr val="accent3"/>
                </a:solidFill>
                <a:latin typeface="+mj-lt"/>
                <a:cs typeface="Calibri Light" panose="020F0502020204030204" pitchFamily="34" charset="0"/>
              </a:rPr>
              <a:t>Animated</a:t>
            </a:r>
            <a:r>
              <a:rPr lang="en-GB" sz="2000" dirty="0">
                <a:solidFill>
                  <a:schemeClr val="bg1"/>
                </a:solidFill>
                <a:latin typeface="+mj-lt"/>
                <a:cs typeface="Calibri Light" panose="020F0502020204030204" pitchFamily="34" charset="0"/>
              </a:rPr>
              <a:t>				4</a:t>
            </a:r>
          </a:p>
          <a:p>
            <a:r>
              <a:rPr lang="en-GB" sz="2000" b="1" dirty="0">
                <a:solidFill>
                  <a:schemeClr val="accent3"/>
                </a:solidFill>
                <a:latin typeface="+mj-lt"/>
                <a:cs typeface="Calibri Light" panose="020F0502020204030204" pitchFamily="34" charset="0"/>
              </a:rPr>
              <a:t>Building blocks</a:t>
            </a:r>
            <a:r>
              <a:rPr lang="en-GB" sz="2000" dirty="0">
                <a:solidFill>
                  <a:schemeClr val="bg1"/>
                </a:solidFill>
                <a:latin typeface="+mj-lt"/>
                <a:cs typeface="Calibri Light" panose="020F0502020204030204" pitchFamily="34" charset="0"/>
              </a:rPr>
              <a:t>			9</a:t>
            </a:r>
          </a:p>
          <a:p>
            <a:r>
              <a:rPr lang="en-GB" sz="2000" b="1" dirty="0">
                <a:solidFill>
                  <a:schemeClr val="accent3"/>
                </a:solidFill>
                <a:latin typeface="+mj-lt"/>
                <a:cs typeface="Calibri Light" panose="020F0502020204030204" pitchFamily="34" charset="0"/>
              </a:rPr>
              <a:t>Bullets &amp; numbering</a:t>
            </a:r>
          </a:p>
          <a:p>
            <a:r>
              <a:rPr lang="en-GB" sz="2000" dirty="0">
                <a:solidFill>
                  <a:schemeClr val="bg1"/>
                </a:solidFill>
                <a:latin typeface="+mj-lt"/>
                <a:cs typeface="Calibri Light" panose="020F0502020204030204" pitchFamily="34" charset="0"/>
              </a:rPr>
              <a:t>	</a:t>
            </a:r>
            <a:r>
              <a:rPr lang="en-GB" sz="2000" b="1" dirty="0">
                <a:solidFill>
                  <a:schemeClr val="accent3"/>
                </a:solidFill>
                <a:latin typeface="+mj-lt"/>
                <a:cs typeface="Calibri Light" panose="020F0502020204030204" pitchFamily="34" charset="0"/>
              </a:rPr>
              <a:t>One</a:t>
            </a:r>
            <a:r>
              <a:rPr lang="en-GB" sz="2000" dirty="0">
                <a:solidFill>
                  <a:schemeClr val="bg1"/>
                </a:solidFill>
                <a:latin typeface="+mj-lt"/>
                <a:cs typeface="Calibri Light" panose="020F0502020204030204" pitchFamily="34" charset="0"/>
              </a:rPr>
              <a:t>				21</a:t>
            </a:r>
          </a:p>
          <a:p>
            <a:r>
              <a:rPr lang="en-GB" sz="2000" dirty="0">
                <a:solidFill>
                  <a:schemeClr val="bg1"/>
                </a:solidFill>
                <a:latin typeface="+mj-lt"/>
                <a:cs typeface="Calibri Light" panose="020F0502020204030204" pitchFamily="34" charset="0"/>
              </a:rPr>
              <a:t>	</a:t>
            </a:r>
            <a:r>
              <a:rPr lang="en-GB" sz="2000" b="1" dirty="0">
                <a:solidFill>
                  <a:schemeClr val="accent3"/>
                </a:solidFill>
                <a:latin typeface="+mj-lt"/>
                <a:cs typeface="Calibri Light" panose="020F0502020204030204" pitchFamily="34" charset="0"/>
              </a:rPr>
              <a:t>Two	</a:t>
            </a:r>
            <a:r>
              <a:rPr lang="en-GB" sz="2000" dirty="0">
                <a:solidFill>
                  <a:schemeClr val="bg1"/>
                </a:solidFill>
                <a:latin typeface="+mj-lt"/>
                <a:cs typeface="Calibri Light" panose="020F0502020204030204" pitchFamily="34" charset="0"/>
              </a:rPr>
              <a:t>			27</a:t>
            </a:r>
          </a:p>
          <a:p>
            <a:r>
              <a:rPr lang="en-GB" sz="2000" dirty="0">
                <a:solidFill>
                  <a:schemeClr val="bg1"/>
                </a:solidFill>
                <a:latin typeface="+mj-lt"/>
                <a:cs typeface="Calibri Light" panose="020F0502020204030204" pitchFamily="34" charset="0"/>
              </a:rPr>
              <a:t>	</a:t>
            </a:r>
            <a:r>
              <a:rPr lang="en-GB" sz="2000" b="1" dirty="0">
                <a:solidFill>
                  <a:schemeClr val="accent3"/>
                </a:solidFill>
                <a:latin typeface="+mj-lt"/>
                <a:cs typeface="Calibri Light" panose="020F0502020204030204" pitchFamily="34" charset="0"/>
              </a:rPr>
              <a:t>Three	</a:t>
            </a:r>
            <a:r>
              <a:rPr lang="en-GB" sz="2000" dirty="0">
                <a:solidFill>
                  <a:schemeClr val="bg1"/>
                </a:solidFill>
                <a:latin typeface="+mj-lt"/>
                <a:cs typeface="Calibri Light" panose="020F0502020204030204" pitchFamily="34" charset="0"/>
              </a:rPr>
              <a:t>			63</a:t>
            </a:r>
          </a:p>
          <a:p>
            <a:r>
              <a:rPr lang="en-GB" sz="2000" b="1" dirty="0">
                <a:solidFill>
                  <a:schemeClr val="accent3"/>
                </a:solidFill>
                <a:cs typeface="Calibri Light" panose="020F0502020204030204" pitchFamily="34" charset="0"/>
              </a:rPr>
              <a:t>Charts, figures &amp; tables</a:t>
            </a:r>
            <a:r>
              <a:rPr lang="en-GB" sz="2000" dirty="0">
                <a:solidFill>
                  <a:schemeClr val="bg1"/>
                </a:solidFill>
                <a:cs typeface="Calibri Light" panose="020F0502020204030204" pitchFamily="34" charset="0"/>
              </a:rPr>
              <a:t>		185</a:t>
            </a:r>
          </a:p>
          <a:p>
            <a:r>
              <a:rPr lang="en-GB" sz="2000" b="1" dirty="0">
                <a:solidFill>
                  <a:schemeClr val="accent3"/>
                </a:solidFill>
                <a:cs typeface="Calibri Light" panose="020F0502020204030204" pitchFamily="34" charset="0"/>
              </a:rPr>
              <a:t>Content boxes	</a:t>
            </a:r>
            <a:r>
              <a:rPr lang="en-GB" sz="2000" dirty="0">
                <a:solidFill>
                  <a:schemeClr val="bg1"/>
                </a:solidFill>
                <a:cs typeface="Calibri Light" panose="020F0502020204030204" pitchFamily="34" charset="0"/>
              </a:rPr>
              <a:t>		203</a:t>
            </a:r>
          </a:p>
          <a:p>
            <a:r>
              <a:rPr lang="en-GB" sz="2000" b="1" dirty="0">
                <a:solidFill>
                  <a:schemeClr val="accent3"/>
                </a:solidFill>
                <a:cs typeface="Calibri Light" panose="020F0502020204030204" pitchFamily="34" charset="0"/>
              </a:rPr>
              <a:t>Flows &amp; milestones	</a:t>
            </a:r>
            <a:r>
              <a:rPr lang="en-GB" sz="2000" dirty="0">
                <a:solidFill>
                  <a:schemeClr val="bg1"/>
                </a:solidFill>
                <a:cs typeface="Calibri Light" panose="020F0502020204030204" pitchFamily="34" charset="0"/>
              </a:rPr>
              <a:t>		228</a:t>
            </a:r>
          </a:p>
          <a:p>
            <a:endParaRPr lang="en-GB" sz="2000" dirty="0">
              <a:solidFill>
                <a:schemeClr val="bg1"/>
              </a:solidFill>
              <a:latin typeface="+mj-lt"/>
              <a:cs typeface="Calibri Light" panose="020F0502020204030204" pitchFamily="34" charset="0"/>
            </a:endParaRPr>
          </a:p>
          <a:p>
            <a:endParaRPr lang="en-GB" sz="2000" dirty="0">
              <a:solidFill>
                <a:schemeClr val="bg1"/>
              </a:solidFill>
              <a:latin typeface="+mj-lt"/>
              <a:cs typeface="Calibri Light" panose="020F0502020204030204" pitchFamily="34" charset="0"/>
            </a:endParaRPr>
          </a:p>
        </p:txBody>
      </p:sp>
      <p:sp>
        <p:nvSpPr>
          <p:cNvPr id="11" name="Content Placeholder 1">
            <a:extLst>
              <a:ext uri="{FF2B5EF4-FFF2-40B4-BE49-F238E27FC236}">
                <a16:creationId xmlns:a16="http://schemas.microsoft.com/office/drawing/2014/main" id="{1B93B247-1B4E-467F-8F29-98F5B7E00310}"/>
              </a:ext>
            </a:extLst>
          </p:cNvPr>
          <p:cNvSpPr txBox="1">
            <a:spLocks/>
          </p:cNvSpPr>
          <p:nvPr/>
        </p:nvSpPr>
        <p:spPr>
          <a:xfrm>
            <a:off x="5699822" y="1711960"/>
            <a:ext cx="5358380" cy="4667250"/>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2000" b="1" dirty="0">
                <a:solidFill>
                  <a:schemeClr val="accent3"/>
                </a:solidFill>
                <a:latin typeface="+mj-lt"/>
                <a:cs typeface="Calibri Light" panose="020F0502020204030204" pitchFamily="34" charset="0"/>
              </a:rPr>
              <a:t>Illustrations	</a:t>
            </a:r>
            <a:r>
              <a:rPr lang="en-GB" sz="2000" dirty="0">
                <a:solidFill>
                  <a:schemeClr val="bg1"/>
                </a:solidFill>
                <a:latin typeface="+mj-lt"/>
                <a:cs typeface="Calibri Light" panose="020F0502020204030204" pitchFamily="34" charset="0"/>
              </a:rPr>
              <a:t>			243</a:t>
            </a:r>
          </a:p>
          <a:p>
            <a:r>
              <a:rPr lang="en-GB" sz="2000" b="1" dirty="0">
                <a:solidFill>
                  <a:schemeClr val="accent3"/>
                </a:solidFill>
                <a:latin typeface="+mj-lt"/>
                <a:cs typeface="Calibri Light" panose="020F0502020204030204" pitchFamily="34" charset="0"/>
              </a:rPr>
              <a:t>Miscellaneous	</a:t>
            </a:r>
            <a:r>
              <a:rPr lang="en-GB" sz="2000" dirty="0">
                <a:solidFill>
                  <a:schemeClr val="bg1"/>
                </a:solidFill>
                <a:latin typeface="+mj-lt"/>
                <a:cs typeface="Calibri Light" panose="020F0502020204030204" pitchFamily="34" charset="0"/>
              </a:rPr>
              <a:t>		261</a:t>
            </a:r>
          </a:p>
          <a:p>
            <a:r>
              <a:rPr lang="en-GB" sz="2000" b="1" dirty="0">
                <a:solidFill>
                  <a:schemeClr val="accent3"/>
                </a:solidFill>
                <a:latin typeface="+mj-lt"/>
                <a:cs typeface="Calibri Light" panose="020F0502020204030204" pitchFamily="34" charset="0"/>
              </a:rPr>
              <a:t>Quotes	</a:t>
            </a:r>
            <a:r>
              <a:rPr lang="en-GB" sz="2000" dirty="0">
                <a:solidFill>
                  <a:schemeClr val="bg1"/>
                </a:solidFill>
                <a:latin typeface="+mj-lt"/>
                <a:cs typeface="Calibri Light" panose="020F0502020204030204" pitchFamily="34" charset="0"/>
              </a:rPr>
              <a:t>			267</a:t>
            </a:r>
          </a:p>
          <a:p>
            <a:r>
              <a:rPr lang="en-GB" sz="2000" b="1" dirty="0">
                <a:solidFill>
                  <a:schemeClr val="accent3"/>
                </a:solidFill>
                <a:latin typeface="+mj-lt"/>
                <a:cs typeface="Calibri Light" panose="020F0502020204030204" pitchFamily="34" charset="0"/>
              </a:rPr>
              <a:t>Roadmaps</a:t>
            </a:r>
            <a:r>
              <a:rPr lang="en-GB" sz="2000" dirty="0">
                <a:solidFill>
                  <a:schemeClr val="bg1"/>
                </a:solidFill>
                <a:latin typeface="+mj-lt"/>
                <a:cs typeface="Calibri Light" panose="020F0502020204030204" pitchFamily="34" charset="0"/>
              </a:rPr>
              <a:t>				269</a:t>
            </a:r>
          </a:p>
          <a:p>
            <a:r>
              <a:rPr lang="en-GB" sz="2000" b="1" dirty="0">
                <a:solidFill>
                  <a:schemeClr val="accent3"/>
                </a:solidFill>
                <a:latin typeface="+mj-lt"/>
                <a:cs typeface="Calibri Light" panose="020F0502020204030204" pitchFamily="34" charset="0"/>
              </a:rPr>
              <a:t>Sequences &amp; timelines</a:t>
            </a:r>
            <a:r>
              <a:rPr lang="en-GB" sz="2000" dirty="0">
                <a:solidFill>
                  <a:schemeClr val="bg1"/>
                </a:solidFill>
                <a:latin typeface="+mj-lt"/>
                <a:cs typeface="Calibri Light" panose="020F0502020204030204" pitchFamily="34" charset="0"/>
              </a:rPr>
              <a:t>		282</a:t>
            </a:r>
          </a:p>
          <a:p>
            <a:r>
              <a:rPr lang="en-GB" sz="2000" b="1" dirty="0">
                <a:solidFill>
                  <a:schemeClr val="accent3"/>
                </a:solidFill>
                <a:latin typeface="+mj-lt"/>
                <a:cs typeface="Calibri Light" panose="020F0502020204030204" pitchFamily="34" charset="0"/>
              </a:rPr>
              <a:t>Structures	</a:t>
            </a:r>
            <a:r>
              <a:rPr lang="en-GB" sz="2000" dirty="0">
                <a:solidFill>
                  <a:schemeClr val="bg1"/>
                </a:solidFill>
                <a:latin typeface="+mj-lt"/>
                <a:cs typeface="Calibri Light" panose="020F0502020204030204" pitchFamily="34" charset="0"/>
              </a:rPr>
              <a:t>			300</a:t>
            </a:r>
          </a:p>
          <a:p>
            <a:endParaRPr lang="en-GB" sz="2000" dirty="0">
              <a:solidFill>
                <a:schemeClr val="bg1"/>
              </a:solidFill>
              <a:latin typeface="+mj-lt"/>
              <a:cs typeface="Calibri Light" panose="020F0502020204030204" pitchFamily="34" charset="0"/>
            </a:endParaRPr>
          </a:p>
          <a:p>
            <a:endParaRPr lang="en-US" sz="2000" dirty="0">
              <a:latin typeface="+mj-lt"/>
            </a:endParaRPr>
          </a:p>
        </p:txBody>
      </p:sp>
    </p:spTree>
    <p:custDataLst>
      <p:tags r:id="rId1"/>
    </p:custDataLst>
    <p:extLst>
      <p:ext uri="{BB962C8B-B14F-4D97-AF65-F5344CB8AC3E}">
        <p14:creationId xmlns:p14="http://schemas.microsoft.com/office/powerpoint/2010/main" val="318710081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Isosceles Triangle 10">
            <a:extLst>
              <a:ext uri="{FF2B5EF4-FFF2-40B4-BE49-F238E27FC236}">
                <a16:creationId xmlns:a16="http://schemas.microsoft.com/office/drawing/2014/main" id="{18E1425C-B164-C543-9436-4D13E8D1585B}"/>
              </a:ext>
            </a:extLst>
          </p:cNvPr>
          <p:cNvSpPr/>
          <p:nvPr/>
        </p:nvSpPr>
        <p:spPr bwMode="gray">
          <a:xfrm flipV="1">
            <a:off x="5418025" y="4795926"/>
            <a:ext cx="1397093" cy="1098845"/>
          </a:xfrm>
          <a:prstGeom prst="triangle">
            <a:avLst/>
          </a:prstGeom>
          <a:solidFill>
            <a:srgbClr val="D0D0CE">
              <a:alpha val="50000"/>
            </a:srgbClr>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grpSp>
        <p:nvGrpSpPr>
          <p:cNvPr id="7" name="Group 6"/>
          <p:cNvGrpSpPr/>
          <p:nvPr/>
        </p:nvGrpSpPr>
        <p:grpSpPr>
          <a:xfrm>
            <a:off x="4862112" y="2745059"/>
            <a:ext cx="2637451" cy="2637451"/>
            <a:chOff x="4893862" y="2651719"/>
            <a:chExt cx="2637451" cy="2637451"/>
          </a:xfrm>
        </p:grpSpPr>
        <p:sp>
          <p:nvSpPr>
            <p:cNvPr id="19" name="Freeform 6">
              <a:extLst>
                <a:ext uri="{FF2B5EF4-FFF2-40B4-BE49-F238E27FC236}">
                  <a16:creationId xmlns:a16="http://schemas.microsoft.com/office/drawing/2014/main" id="{5CF86D7C-3627-B748-A47A-54E292C5F096}"/>
                </a:ext>
              </a:extLst>
            </p:cNvPr>
            <p:cNvSpPr>
              <a:spLocks/>
            </p:cNvSpPr>
            <p:nvPr/>
          </p:nvSpPr>
          <p:spPr bwMode="auto">
            <a:xfrm>
              <a:off x="6124807" y="2651719"/>
              <a:ext cx="1406506" cy="1846418"/>
            </a:xfrm>
            <a:custGeom>
              <a:avLst/>
              <a:gdLst>
                <a:gd name="T0" fmla="*/ 8806 w 11615"/>
                <a:gd name="T1" fmla="*/ 15254 h 15254"/>
                <a:gd name="T2" fmla="*/ 5084 w 11615"/>
                <a:gd name="T3" fmla="*/ 1363 h 15254"/>
                <a:gd name="T4" fmla="*/ 0 w 11615"/>
                <a:gd name="T5" fmla="*/ 0 h 15254"/>
                <a:gd name="T6" fmla="*/ 0 w 11615"/>
                <a:gd name="T7" fmla="*/ 3559 h 15254"/>
                <a:gd name="T8" fmla="*/ 6610 w 11615"/>
                <a:gd name="T9" fmla="*/ 10169 h 15254"/>
                <a:gd name="T10" fmla="*/ 5724 w 11615"/>
                <a:gd name="T11" fmla="*/ 13474 h 15254"/>
                <a:gd name="T12" fmla="*/ 8806 w 11615"/>
                <a:gd name="T13" fmla="*/ 15254 h 15254"/>
              </a:gdLst>
              <a:ahLst/>
              <a:cxnLst>
                <a:cxn ang="0">
                  <a:pos x="T0" y="T1"/>
                </a:cxn>
                <a:cxn ang="0">
                  <a:pos x="T2" y="T3"/>
                </a:cxn>
                <a:cxn ang="0">
                  <a:pos x="T4" y="T5"/>
                </a:cxn>
                <a:cxn ang="0">
                  <a:pos x="T6" y="T7"/>
                </a:cxn>
                <a:cxn ang="0">
                  <a:pos x="T8" y="T9"/>
                </a:cxn>
                <a:cxn ang="0">
                  <a:pos x="T10" y="T11"/>
                </a:cxn>
                <a:cxn ang="0">
                  <a:pos x="T12" y="T13"/>
                </a:cxn>
              </a:cxnLst>
              <a:rect l="0" t="0" r="r" b="b"/>
              <a:pathLst>
                <a:path w="11615" h="15254">
                  <a:moveTo>
                    <a:pt x="8806" y="15254"/>
                  </a:moveTo>
                  <a:cubicBezTo>
                    <a:pt x="11615" y="10390"/>
                    <a:pt x="9948" y="4171"/>
                    <a:pt x="5084" y="1363"/>
                  </a:cubicBezTo>
                  <a:cubicBezTo>
                    <a:pt x="3538" y="470"/>
                    <a:pt x="1785" y="0"/>
                    <a:pt x="0" y="0"/>
                  </a:cubicBezTo>
                  <a:lnTo>
                    <a:pt x="0" y="3559"/>
                  </a:lnTo>
                  <a:cubicBezTo>
                    <a:pt x="3650" y="3559"/>
                    <a:pt x="6610" y="6519"/>
                    <a:pt x="6610" y="10169"/>
                  </a:cubicBezTo>
                  <a:cubicBezTo>
                    <a:pt x="6610" y="11329"/>
                    <a:pt x="6304" y="12469"/>
                    <a:pt x="5724" y="13474"/>
                  </a:cubicBezTo>
                  <a:lnTo>
                    <a:pt x="8806" y="15254"/>
                  </a:lnTo>
                  <a:close/>
                </a:path>
              </a:pathLst>
            </a:custGeom>
            <a:solidFill>
              <a:srgbClr val="43B02A"/>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sz="1300">
                <a:solidFill>
                  <a:prstClr val="black"/>
                </a:solidFill>
              </a:endParaRPr>
            </a:p>
          </p:txBody>
        </p:sp>
        <p:sp>
          <p:nvSpPr>
            <p:cNvPr id="20" name="Freeform 7">
              <a:extLst>
                <a:ext uri="{FF2B5EF4-FFF2-40B4-BE49-F238E27FC236}">
                  <a16:creationId xmlns:a16="http://schemas.microsoft.com/office/drawing/2014/main" id="{A354A252-3706-1846-BB77-10DFD9400BAF}"/>
                </a:ext>
              </a:extLst>
            </p:cNvPr>
            <p:cNvSpPr>
              <a:spLocks/>
            </p:cNvSpPr>
            <p:nvPr/>
          </p:nvSpPr>
          <p:spPr bwMode="auto">
            <a:xfrm>
              <a:off x="5059333" y="4282216"/>
              <a:ext cx="2132965" cy="1006954"/>
            </a:xfrm>
            <a:custGeom>
              <a:avLst/>
              <a:gdLst>
                <a:gd name="T0" fmla="*/ 0 w 17613"/>
                <a:gd name="T1" fmla="*/ 1780 h 8310"/>
                <a:gd name="T2" fmla="*/ 13891 w 17613"/>
                <a:gd name="T3" fmla="*/ 5502 h 8310"/>
                <a:gd name="T4" fmla="*/ 17613 w 17613"/>
                <a:gd name="T5" fmla="*/ 1780 h 8310"/>
                <a:gd name="T6" fmla="*/ 14531 w 17613"/>
                <a:gd name="T7" fmla="*/ 0 h 8310"/>
                <a:gd name="T8" fmla="*/ 5502 w 17613"/>
                <a:gd name="T9" fmla="*/ 2420 h 8310"/>
                <a:gd name="T10" fmla="*/ 3083 w 17613"/>
                <a:gd name="T11" fmla="*/ 0 h 8310"/>
                <a:gd name="T12" fmla="*/ 0 w 17613"/>
                <a:gd name="T13" fmla="*/ 1780 h 8310"/>
              </a:gdLst>
              <a:ahLst/>
              <a:cxnLst>
                <a:cxn ang="0">
                  <a:pos x="T0" y="T1"/>
                </a:cxn>
                <a:cxn ang="0">
                  <a:pos x="T2" y="T3"/>
                </a:cxn>
                <a:cxn ang="0">
                  <a:pos x="T4" y="T5"/>
                </a:cxn>
                <a:cxn ang="0">
                  <a:pos x="T6" y="T7"/>
                </a:cxn>
                <a:cxn ang="0">
                  <a:pos x="T8" y="T9"/>
                </a:cxn>
                <a:cxn ang="0">
                  <a:pos x="T10" y="T11"/>
                </a:cxn>
                <a:cxn ang="0">
                  <a:pos x="T12" y="T13"/>
                </a:cxn>
              </a:cxnLst>
              <a:rect l="0" t="0" r="r" b="b"/>
              <a:pathLst>
                <a:path w="17613" h="8310">
                  <a:moveTo>
                    <a:pt x="0" y="1780"/>
                  </a:moveTo>
                  <a:cubicBezTo>
                    <a:pt x="2808" y="6644"/>
                    <a:pt x="9028" y="8310"/>
                    <a:pt x="13891" y="5502"/>
                  </a:cubicBezTo>
                  <a:cubicBezTo>
                    <a:pt x="15437" y="4609"/>
                    <a:pt x="16721" y="3326"/>
                    <a:pt x="17613" y="1780"/>
                  </a:cubicBezTo>
                  <a:lnTo>
                    <a:pt x="14531" y="0"/>
                  </a:lnTo>
                  <a:cubicBezTo>
                    <a:pt x="12706" y="3162"/>
                    <a:pt x="8663" y="4245"/>
                    <a:pt x="5502" y="2420"/>
                  </a:cubicBezTo>
                  <a:cubicBezTo>
                    <a:pt x="4497" y="1839"/>
                    <a:pt x="3663" y="1005"/>
                    <a:pt x="3083" y="0"/>
                  </a:cubicBezTo>
                  <a:lnTo>
                    <a:pt x="0" y="1780"/>
                  </a:lnTo>
                  <a:close/>
                </a:path>
              </a:pathLst>
            </a:custGeom>
            <a:solidFill>
              <a:schemeClr val="accent3"/>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sz="1300">
                <a:solidFill>
                  <a:prstClr val="black"/>
                </a:solidFill>
              </a:endParaRPr>
            </a:p>
          </p:txBody>
        </p:sp>
        <p:sp>
          <p:nvSpPr>
            <p:cNvPr id="21" name="Freeform 8">
              <a:extLst>
                <a:ext uri="{FF2B5EF4-FFF2-40B4-BE49-F238E27FC236}">
                  <a16:creationId xmlns:a16="http://schemas.microsoft.com/office/drawing/2014/main" id="{B6FF6FEF-CE84-E948-A04E-F9BCD863D1EA}"/>
                </a:ext>
              </a:extLst>
            </p:cNvPr>
            <p:cNvSpPr>
              <a:spLocks/>
            </p:cNvSpPr>
            <p:nvPr/>
          </p:nvSpPr>
          <p:spPr bwMode="auto">
            <a:xfrm>
              <a:off x="4893862" y="2651719"/>
              <a:ext cx="1230945" cy="1846418"/>
            </a:xfrm>
            <a:custGeom>
              <a:avLst/>
              <a:gdLst>
                <a:gd name="T0" fmla="*/ 10169 w 10169"/>
                <a:gd name="T1" fmla="*/ 0 h 15254"/>
                <a:gd name="T2" fmla="*/ 0 w 10169"/>
                <a:gd name="T3" fmla="*/ 10169 h 15254"/>
                <a:gd name="T4" fmla="*/ 1362 w 10169"/>
                <a:gd name="T5" fmla="*/ 15254 h 15254"/>
                <a:gd name="T6" fmla="*/ 4445 w 10169"/>
                <a:gd name="T7" fmla="*/ 13474 h 15254"/>
                <a:gd name="T8" fmla="*/ 6864 w 10169"/>
                <a:gd name="T9" fmla="*/ 4445 h 15254"/>
                <a:gd name="T10" fmla="*/ 10169 w 10169"/>
                <a:gd name="T11" fmla="*/ 3559 h 15254"/>
                <a:gd name="T12" fmla="*/ 10169 w 10169"/>
                <a:gd name="T13" fmla="*/ 0 h 15254"/>
              </a:gdLst>
              <a:ahLst/>
              <a:cxnLst>
                <a:cxn ang="0">
                  <a:pos x="T0" y="T1"/>
                </a:cxn>
                <a:cxn ang="0">
                  <a:pos x="T2" y="T3"/>
                </a:cxn>
                <a:cxn ang="0">
                  <a:pos x="T4" y="T5"/>
                </a:cxn>
                <a:cxn ang="0">
                  <a:pos x="T6" y="T7"/>
                </a:cxn>
                <a:cxn ang="0">
                  <a:pos x="T8" y="T9"/>
                </a:cxn>
                <a:cxn ang="0">
                  <a:pos x="T10" y="T11"/>
                </a:cxn>
                <a:cxn ang="0">
                  <a:pos x="T12" y="T13"/>
                </a:cxn>
              </a:cxnLst>
              <a:rect l="0" t="0" r="r" b="b"/>
              <a:pathLst>
                <a:path w="10169" h="15254">
                  <a:moveTo>
                    <a:pt x="10169" y="0"/>
                  </a:moveTo>
                  <a:cubicBezTo>
                    <a:pt x="4553" y="0"/>
                    <a:pt x="0" y="4553"/>
                    <a:pt x="0" y="10169"/>
                  </a:cubicBezTo>
                  <a:cubicBezTo>
                    <a:pt x="0" y="11954"/>
                    <a:pt x="470" y="13708"/>
                    <a:pt x="1362" y="15254"/>
                  </a:cubicBezTo>
                  <a:lnTo>
                    <a:pt x="4445" y="13474"/>
                  </a:lnTo>
                  <a:cubicBezTo>
                    <a:pt x="2619" y="10313"/>
                    <a:pt x="3702" y="6270"/>
                    <a:pt x="6864" y="4445"/>
                  </a:cubicBezTo>
                  <a:cubicBezTo>
                    <a:pt x="7869" y="3865"/>
                    <a:pt x="9009" y="3559"/>
                    <a:pt x="10169" y="3559"/>
                  </a:cubicBezTo>
                  <a:lnTo>
                    <a:pt x="10169" y="0"/>
                  </a:lnTo>
                  <a:close/>
                </a:path>
              </a:pathLst>
            </a:custGeom>
            <a:solidFill>
              <a:srgbClr val="000000"/>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sz="1300">
                <a:solidFill>
                  <a:prstClr val="black"/>
                </a:solidFill>
              </a:endParaRPr>
            </a:p>
          </p:txBody>
        </p:sp>
      </p:grpSp>
      <p:grpSp>
        <p:nvGrpSpPr>
          <p:cNvPr id="6" name="Group 5"/>
          <p:cNvGrpSpPr/>
          <p:nvPr/>
        </p:nvGrpSpPr>
        <p:grpSpPr>
          <a:xfrm>
            <a:off x="5646634" y="2172319"/>
            <a:ext cx="878002" cy="878002"/>
            <a:chOff x="5678353" y="2078979"/>
            <a:chExt cx="878002" cy="878002"/>
          </a:xfrm>
        </p:grpSpPr>
        <p:sp>
          <p:nvSpPr>
            <p:cNvPr id="22" name="Teardrop 21">
              <a:extLst>
                <a:ext uri="{FF2B5EF4-FFF2-40B4-BE49-F238E27FC236}">
                  <a16:creationId xmlns:a16="http://schemas.microsoft.com/office/drawing/2014/main" id="{F3698D4D-5F10-704E-B10B-06556C0C7060}"/>
                </a:ext>
              </a:extLst>
            </p:cNvPr>
            <p:cNvSpPr/>
            <p:nvPr/>
          </p:nvSpPr>
          <p:spPr>
            <a:xfrm rot="18900000">
              <a:off x="5678353" y="2078979"/>
              <a:ext cx="878002" cy="878002"/>
            </a:xfrm>
            <a:prstGeom prst="teardrop">
              <a:avLst/>
            </a:prstGeom>
            <a:solidFill>
              <a:srgbClr val="A7A8AA"/>
            </a:solidFill>
            <a:ln w="9525" cap="flat" cmpd="sng" algn="ctr">
              <a:solidFill>
                <a:srgbClr val="FFFFFF"/>
              </a:solidFill>
              <a:prstDash val="solid"/>
            </a:ln>
            <a:effectLst/>
          </p:spPr>
          <p:txBody>
            <a:bodyPr lIns="91370" tIns="45685" rIns="91370" bIns="45685" rtlCol="0" anchor="ctr"/>
            <a:lstStyle/>
            <a:p>
              <a:pPr algn="ctr" defTabSz="913686">
                <a:defRPr/>
              </a:pPr>
              <a:endParaRPr lang="en-US" sz="1300" kern="0" err="1">
                <a:solidFill>
                  <a:srgbClr val="FFFFFF"/>
                </a:solidFill>
              </a:endParaRPr>
            </a:p>
          </p:txBody>
        </p:sp>
        <p:sp>
          <p:nvSpPr>
            <p:cNvPr id="23" name="Oval 22">
              <a:extLst>
                <a:ext uri="{FF2B5EF4-FFF2-40B4-BE49-F238E27FC236}">
                  <a16:creationId xmlns:a16="http://schemas.microsoft.com/office/drawing/2014/main" id="{F8784F50-71EC-F540-B0FF-A2F3A3B42D13}"/>
                </a:ext>
              </a:extLst>
            </p:cNvPr>
            <p:cNvSpPr/>
            <p:nvPr/>
          </p:nvSpPr>
          <p:spPr>
            <a:xfrm rot="18900000">
              <a:off x="5715090" y="2111178"/>
              <a:ext cx="805237" cy="805237"/>
            </a:xfrm>
            <a:prstGeom prst="ellipse">
              <a:avLst/>
            </a:prstGeom>
            <a:solidFill>
              <a:srgbClr val="000000"/>
            </a:solidFill>
            <a:ln w="9525" cap="flat" cmpd="sng" algn="ctr">
              <a:solidFill>
                <a:srgbClr val="FFFFFF"/>
              </a:solidFill>
              <a:prstDash val="solid"/>
            </a:ln>
            <a:effectLst/>
          </p:spPr>
          <p:txBody>
            <a:bodyPr lIns="91370" tIns="45685" rIns="91370" bIns="45685" rtlCol="0" anchor="ctr"/>
            <a:lstStyle/>
            <a:p>
              <a:pPr algn="ctr" defTabSz="913686">
                <a:defRPr/>
              </a:pPr>
              <a:endParaRPr lang="en-US" sz="1300" kern="0" err="1">
                <a:solidFill>
                  <a:srgbClr val="FFFFFF"/>
                </a:solidFill>
              </a:endParaRPr>
            </a:p>
          </p:txBody>
        </p:sp>
      </p:grpSp>
      <p:grpSp>
        <p:nvGrpSpPr>
          <p:cNvPr id="5" name="Group 4"/>
          <p:cNvGrpSpPr/>
          <p:nvPr/>
        </p:nvGrpSpPr>
        <p:grpSpPr>
          <a:xfrm>
            <a:off x="4488127" y="4269770"/>
            <a:ext cx="878002" cy="878002"/>
            <a:chOff x="4519846" y="4176430"/>
            <a:chExt cx="878002" cy="878002"/>
          </a:xfrm>
        </p:grpSpPr>
        <p:sp>
          <p:nvSpPr>
            <p:cNvPr id="24" name="Teardrop 23">
              <a:extLst>
                <a:ext uri="{FF2B5EF4-FFF2-40B4-BE49-F238E27FC236}">
                  <a16:creationId xmlns:a16="http://schemas.microsoft.com/office/drawing/2014/main" id="{5682DC4C-9976-824E-9AF0-32E6BA6080DB}"/>
                </a:ext>
              </a:extLst>
            </p:cNvPr>
            <p:cNvSpPr/>
            <p:nvPr/>
          </p:nvSpPr>
          <p:spPr>
            <a:xfrm rot="11700000">
              <a:off x="4519846" y="4176430"/>
              <a:ext cx="878002" cy="878002"/>
            </a:xfrm>
            <a:prstGeom prst="teardrop">
              <a:avLst/>
            </a:prstGeom>
            <a:solidFill>
              <a:srgbClr val="BBBCBC"/>
            </a:solidFill>
            <a:ln w="9525" cap="flat" cmpd="sng" algn="ctr">
              <a:solidFill>
                <a:srgbClr val="FFFFFF"/>
              </a:solidFill>
              <a:prstDash val="solid"/>
            </a:ln>
            <a:effectLst/>
          </p:spPr>
          <p:txBody>
            <a:bodyPr lIns="91370" tIns="45685" rIns="91370" bIns="45685" rtlCol="0" anchor="ctr"/>
            <a:lstStyle/>
            <a:p>
              <a:pPr algn="ctr" defTabSz="913686"/>
              <a:endParaRPr lang="en-US" sz="1300" kern="0" err="1">
                <a:solidFill>
                  <a:srgbClr val="FFFFFF"/>
                </a:solidFill>
              </a:endParaRPr>
            </a:p>
          </p:txBody>
        </p:sp>
        <p:sp>
          <p:nvSpPr>
            <p:cNvPr id="25" name="Oval 24">
              <a:extLst>
                <a:ext uri="{FF2B5EF4-FFF2-40B4-BE49-F238E27FC236}">
                  <a16:creationId xmlns:a16="http://schemas.microsoft.com/office/drawing/2014/main" id="{3356546A-8A91-5446-9AB5-FB017C8442B9}"/>
                </a:ext>
              </a:extLst>
            </p:cNvPr>
            <p:cNvSpPr/>
            <p:nvPr/>
          </p:nvSpPr>
          <p:spPr>
            <a:xfrm rot="11700000">
              <a:off x="4552440" y="4214606"/>
              <a:ext cx="805237" cy="805237"/>
            </a:xfrm>
            <a:prstGeom prst="ellipse">
              <a:avLst/>
            </a:prstGeom>
            <a:solidFill>
              <a:schemeClr val="accent3"/>
            </a:solidFill>
            <a:ln w="9525" cap="flat" cmpd="sng" algn="ctr">
              <a:solidFill>
                <a:srgbClr val="FFFFFF"/>
              </a:solidFill>
              <a:prstDash val="solid"/>
            </a:ln>
            <a:effectLst/>
          </p:spPr>
          <p:txBody>
            <a:bodyPr lIns="91370" tIns="45685" rIns="91370" bIns="45685" rtlCol="0" anchor="ctr"/>
            <a:lstStyle/>
            <a:p>
              <a:pPr algn="ctr" defTabSz="913686">
                <a:defRPr/>
              </a:pPr>
              <a:endParaRPr lang="en-US" sz="1300" kern="0" err="1">
                <a:solidFill>
                  <a:srgbClr val="FFFFFF"/>
                </a:solidFill>
              </a:endParaRPr>
            </a:p>
          </p:txBody>
        </p:sp>
      </p:grpSp>
      <p:grpSp>
        <p:nvGrpSpPr>
          <p:cNvPr id="4" name="Group 3"/>
          <p:cNvGrpSpPr/>
          <p:nvPr/>
        </p:nvGrpSpPr>
        <p:grpSpPr>
          <a:xfrm>
            <a:off x="6825871" y="4269770"/>
            <a:ext cx="878002" cy="878002"/>
            <a:chOff x="6794153" y="4232326"/>
            <a:chExt cx="878002" cy="878002"/>
          </a:xfrm>
        </p:grpSpPr>
        <p:sp>
          <p:nvSpPr>
            <p:cNvPr id="26" name="Teardrop 25">
              <a:extLst>
                <a:ext uri="{FF2B5EF4-FFF2-40B4-BE49-F238E27FC236}">
                  <a16:creationId xmlns:a16="http://schemas.microsoft.com/office/drawing/2014/main" id="{351598D2-FB6F-004C-928B-FF7280103846}"/>
                </a:ext>
              </a:extLst>
            </p:cNvPr>
            <p:cNvSpPr/>
            <p:nvPr/>
          </p:nvSpPr>
          <p:spPr>
            <a:xfrm rot="4776862">
              <a:off x="6794153" y="4232326"/>
              <a:ext cx="878002" cy="878002"/>
            </a:xfrm>
            <a:prstGeom prst="teardrop">
              <a:avLst/>
            </a:prstGeom>
            <a:solidFill>
              <a:srgbClr val="D0D0CE"/>
            </a:solidFill>
            <a:ln w="9525" cap="flat" cmpd="sng" algn="ctr">
              <a:solidFill>
                <a:srgbClr val="FFFFFF"/>
              </a:solidFill>
              <a:prstDash val="solid"/>
            </a:ln>
            <a:effectLst/>
          </p:spPr>
          <p:txBody>
            <a:bodyPr lIns="91370" tIns="45685" rIns="91370" bIns="45685" rtlCol="0" anchor="ctr"/>
            <a:lstStyle/>
            <a:p>
              <a:pPr algn="ctr" defTabSz="913686">
                <a:defRPr/>
              </a:pPr>
              <a:endParaRPr lang="en-US" sz="1300" kern="0" err="1">
                <a:solidFill>
                  <a:srgbClr val="FFFFFF"/>
                </a:solidFill>
              </a:endParaRPr>
            </a:p>
          </p:txBody>
        </p:sp>
        <p:sp>
          <p:nvSpPr>
            <p:cNvPr id="27" name="Oval 26">
              <a:extLst>
                <a:ext uri="{FF2B5EF4-FFF2-40B4-BE49-F238E27FC236}">
                  <a16:creationId xmlns:a16="http://schemas.microsoft.com/office/drawing/2014/main" id="{C960D535-1CCE-6A46-88D1-9BC39C33C2FC}"/>
                </a:ext>
              </a:extLst>
            </p:cNvPr>
            <p:cNvSpPr/>
            <p:nvPr/>
          </p:nvSpPr>
          <p:spPr>
            <a:xfrm rot="4776862">
              <a:off x="6833784" y="4271378"/>
              <a:ext cx="805237" cy="805237"/>
            </a:xfrm>
            <a:prstGeom prst="ellipse">
              <a:avLst/>
            </a:prstGeom>
            <a:solidFill>
              <a:srgbClr val="43B02A"/>
            </a:solidFill>
            <a:ln w="9525" cap="flat" cmpd="sng" algn="ctr">
              <a:solidFill>
                <a:srgbClr val="FFFFFF"/>
              </a:solidFill>
              <a:prstDash val="solid"/>
            </a:ln>
            <a:effectLst/>
          </p:spPr>
          <p:txBody>
            <a:bodyPr lIns="91370" tIns="45685" rIns="91370" bIns="45685" rtlCol="0" anchor="ctr"/>
            <a:lstStyle/>
            <a:p>
              <a:pPr algn="ctr" defTabSz="913686">
                <a:defRPr/>
              </a:pPr>
              <a:endParaRPr lang="en-US" sz="1300" kern="0" err="1">
                <a:solidFill>
                  <a:srgbClr val="FFFFFF"/>
                </a:solidFill>
              </a:endParaRPr>
            </a:p>
          </p:txBody>
        </p:sp>
      </p:grpSp>
      <p:sp>
        <p:nvSpPr>
          <p:cNvPr id="28" name="TextBox 27">
            <a:extLst>
              <a:ext uri="{FF2B5EF4-FFF2-40B4-BE49-F238E27FC236}">
                <a16:creationId xmlns:a16="http://schemas.microsoft.com/office/drawing/2014/main" id="{BAED6313-642C-6A43-B0D4-5A7A1133F368}"/>
              </a:ext>
            </a:extLst>
          </p:cNvPr>
          <p:cNvSpPr txBox="1"/>
          <p:nvPr/>
        </p:nvSpPr>
        <p:spPr>
          <a:xfrm>
            <a:off x="5646903" y="1714500"/>
            <a:ext cx="898195" cy="200055"/>
          </a:xfrm>
          <a:prstGeom prst="rect">
            <a:avLst/>
          </a:prstGeom>
        </p:spPr>
        <p:txBody>
          <a:bodyPr wrap="none" lIns="0" tIns="0" rIns="0" bIns="0" rtlCol="0">
            <a:spAutoFit/>
          </a:bodyPr>
          <a:lstStyle>
            <a:defPPr>
              <a:defRPr lang="en-US"/>
            </a:defPPr>
            <a:lvl1pPr>
              <a:defRPr sz="1200" b="1">
                <a:solidFill>
                  <a:schemeClr val="tx2"/>
                </a:solidFill>
                <a:latin typeface="Arial" pitchFamily="34" charset="0"/>
                <a:cs typeface="Arial" pitchFamily="34" charset="0"/>
              </a:defRPr>
            </a:lvl1pPr>
          </a:lstStyle>
          <a:p>
            <a:pPr algn="ctr" defTabSz="913686"/>
            <a:r>
              <a:rPr lang="en-US" sz="1300" dirty="0">
                <a:solidFill>
                  <a:srgbClr val="313131"/>
                </a:solidFill>
                <a:latin typeface="+mn-lt"/>
              </a:rPr>
              <a:t>Lorem ipsum</a:t>
            </a:r>
          </a:p>
        </p:txBody>
      </p:sp>
      <p:sp>
        <p:nvSpPr>
          <p:cNvPr id="29" name="TextBox 28">
            <a:extLst>
              <a:ext uri="{FF2B5EF4-FFF2-40B4-BE49-F238E27FC236}">
                <a16:creationId xmlns:a16="http://schemas.microsoft.com/office/drawing/2014/main" id="{B7B83A23-2E1C-F94A-8FA4-0396C286FDA1}"/>
              </a:ext>
            </a:extLst>
          </p:cNvPr>
          <p:cNvSpPr txBox="1"/>
          <p:nvPr/>
        </p:nvSpPr>
        <p:spPr>
          <a:xfrm>
            <a:off x="4020986" y="5200115"/>
            <a:ext cx="898195" cy="200055"/>
          </a:xfrm>
          <a:prstGeom prst="rect">
            <a:avLst/>
          </a:prstGeom>
        </p:spPr>
        <p:txBody>
          <a:bodyPr wrap="none" lIns="0" tIns="0" rIns="0" bIns="0" rtlCol="0">
            <a:spAutoFit/>
          </a:bodyPr>
          <a:lstStyle>
            <a:defPPr>
              <a:defRPr lang="en-US"/>
            </a:defPPr>
            <a:lvl1pPr>
              <a:defRPr sz="1200" b="1">
                <a:solidFill>
                  <a:schemeClr val="tx2"/>
                </a:solidFill>
                <a:latin typeface="Arial" pitchFamily="34" charset="0"/>
                <a:cs typeface="Arial" pitchFamily="34" charset="0"/>
              </a:defRPr>
            </a:lvl1pPr>
          </a:lstStyle>
          <a:p>
            <a:pPr algn="r" defTabSz="913686"/>
            <a:r>
              <a:rPr lang="en-US" sz="1300" dirty="0">
                <a:solidFill>
                  <a:srgbClr val="313131"/>
                </a:solidFill>
                <a:latin typeface="+mn-lt"/>
              </a:rPr>
              <a:t>Lorem ipsum</a:t>
            </a:r>
          </a:p>
        </p:txBody>
      </p:sp>
      <p:sp>
        <p:nvSpPr>
          <p:cNvPr id="30" name="TextBox 29">
            <a:extLst>
              <a:ext uri="{FF2B5EF4-FFF2-40B4-BE49-F238E27FC236}">
                <a16:creationId xmlns:a16="http://schemas.microsoft.com/office/drawing/2014/main" id="{C07C2EBC-835A-1B45-A9BF-6EA72879389E}"/>
              </a:ext>
            </a:extLst>
          </p:cNvPr>
          <p:cNvSpPr txBox="1"/>
          <p:nvPr/>
        </p:nvSpPr>
        <p:spPr>
          <a:xfrm>
            <a:off x="7152687" y="5200115"/>
            <a:ext cx="898195" cy="200055"/>
          </a:xfrm>
          <a:prstGeom prst="rect">
            <a:avLst/>
          </a:prstGeom>
        </p:spPr>
        <p:txBody>
          <a:bodyPr wrap="none" lIns="0" tIns="0" rIns="0" bIns="0" rtlCol="0">
            <a:spAutoFit/>
          </a:bodyPr>
          <a:lstStyle>
            <a:defPPr>
              <a:defRPr lang="en-US"/>
            </a:defPPr>
            <a:lvl1pPr>
              <a:defRPr sz="1200" b="1">
                <a:solidFill>
                  <a:schemeClr val="tx2"/>
                </a:solidFill>
                <a:latin typeface="Arial" pitchFamily="34" charset="0"/>
                <a:cs typeface="Arial" pitchFamily="34" charset="0"/>
              </a:defRPr>
            </a:lvl1pPr>
          </a:lstStyle>
          <a:p>
            <a:pPr defTabSz="913686"/>
            <a:r>
              <a:rPr lang="en-US" sz="1300" dirty="0">
                <a:solidFill>
                  <a:srgbClr val="313131"/>
                </a:solidFill>
                <a:latin typeface="+mn-lt"/>
              </a:rPr>
              <a:t>Lorem ipsum</a:t>
            </a:r>
          </a:p>
        </p:txBody>
      </p:sp>
      <p:sp>
        <p:nvSpPr>
          <p:cNvPr id="32" name="Rectangle 31">
            <a:extLst>
              <a:ext uri="{FF2B5EF4-FFF2-40B4-BE49-F238E27FC236}">
                <a16:creationId xmlns:a16="http://schemas.microsoft.com/office/drawing/2014/main" id="{55B0A11F-E055-104E-A06D-58B8188E4E34}"/>
              </a:ext>
            </a:extLst>
          </p:cNvPr>
          <p:cNvSpPr/>
          <p:nvPr/>
        </p:nvSpPr>
        <p:spPr bwMode="gray">
          <a:xfrm>
            <a:off x="4318001" y="5947166"/>
            <a:ext cx="3556000" cy="384579"/>
          </a:xfrm>
          <a:prstGeom prst="rect">
            <a:avLst/>
          </a:prstGeom>
          <a:solidFill>
            <a:schemeClr val="bg2"/>
          </a:solidFill>
          <a:ln w="19050">
            <a:noFill/>
          </a:ln>
        </p:spPr>
        <p:txBody>
          <a:bodyPr wrap="square" lIns="45685" tIns="91370" rIns="45685" bIns="91370" rtlCol="0">
            <a:spAutoFit/>
          </a:bodyPr>
          <a:lstStyle/>
          <a:p>
            <a:pPr marL="0" lvl="1" algn="ctr" defTabSz="913686"/>
            <a:r>
              <a:rPr lang="en-US" sz="1300" dirty="0"/>
              <a:t>Lorem ipsum</a:t>
            </a:r>
          </a:p>
        </p:txBody>
      </p:sp>
      <p:grpSp>
        <p:nvGrpSpPr>
          <p:cNvPr id="33" name="Group 484">
            <a:extLst>
              <a:ext uri="{FF2B5EF4-FFF2-40B4-BE49-F238E27FC236}">
                <a16:creationId xmlns:a16="http://schemas.microsoft.com/office/drawing/2014/main" id="{3AF90F26-5C32-4293-AB87-9D9AE050D171}"/>
              </a:ext>
            </a:extLst>
          </p:cNvPr>
          <p:cNvGrpSpPr>
            <a:grpSpLocks noChangeAspect="1"/>
          </p:cNvGrpSpPr>
          <p:nvPr/>
        </p:nvGrpSpPr>
        <p:grpSpPr bwMode="auto">
          <a:xfrm>
            <a:off x="4667635" y="4436894"/>
            <a:ext cx="524978" cy="524980"/>
            <a:chOff x="399" y="1990"/>
            <a:chExt cx="340" cy="340"/>
          </a:xfrm>
          <a:solidFill>
            <a:schemeClr val="bg1"/>
          </a:solidFill>
        </p:grpSpPr>
        <p:sp>
          <p:nvSpPr>
            <p:cNvPr id="34" name="Freeform 485">
              <a:extLst>
                <a:ext uri="{FF2B5EF4-FFF2-40B4-BE49-F238E27FC236}">
                  <a16:creationId xmlns:a16="http://schemas.microsoft.com/office/drawing/2014/main" id="{060C33B5-2C0B-4D1E-986D-FB290DBD41C2}"/>
                </a:ext>
              </a:extLst>
            </p:cNvPr>
            <p:cNvSpPr>
              <a:spLocks noEditPoints="1"/>
            </p:cNvSpPr>
            <p:nvPr/>
          </p:nvSpPr>
          <p:spPr bwMode="auto">
            <a:xfrm>
              <a:off x="477" y="2117"/>
              <a:ext cx="184" cy="85"/>
            </a:xfrm>
            <a:custGeom>
              <a:avLst/>
              <a:gdLst>
                <a:gd name="T0" fmla="*/ 277 w 277"/>
                <a:gd name="T1" fmla="*/ 117 h 128"/>
                <a:gd name="T2" fmla="*/ 267 w 277"/>
                <a:gd name="T3" fmla="*/ 128 h 128"/>
                <a:gd name="T4" fmla="*/ 11 w 277"/>
                <a:gd name="T5" fmla="*/ 128 h 128"/>
                <a:gd name="T6" fmla="*/ 0 w 277"/>
                <a:gd name="T7" fmla="*/ 117 h 128"/>
                <a:gd name="T8" fmla="*/ 11 w 277"/>
                <a:gd name="T9" fmla="*/ 106 h 128"/>
                <a:gd name="T10" fmla="*/ 267 w 277"/>
                <a:gd name="T11" fmla="*/ 106 h 128"/>
                <a:gd name="T12" fmla="*/ 277 w 277"/>
                <a:gd name="T13" fmla="*/ 117 h 128"/>
                <a:gd name="T14" fmla="*/ 11 w 277"/>
                <a:gd name="T15" fmla="*/ 21 h 128"/>
                <a:gd name="T16" fmla="*/ 267 w 277"/>
                <a:gd name="T17" fmla="*/ 21 h 128"/>
                <a:gd name="T18" fmla="*/ 277 w 277"/>
                <a:gd name="T19" fmla="*/ 10 h 128"/>
                <a:gd name="T20" fmla="*/ 267 w 277"/>
                <a:gd name="T21" fmla="*/ 0 h 128"/>
                <a:gd name="T22" fmla="*/ 11 w 277"/>
                <a:gd name="T23" fmla="*/ 0 h 128"/>
                <a:gd name="T24" fmla="*/ 0 w 277"/>
                <a:gd name="T25" fmla="*/ 10 h 128"/>
                <a:gd name="T26" fmla="*/ 11 w 277"/>
                <a:gd name="T27" fmla="*/ 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28">
                  <a:moveTo>
                    <a:pt x="277" y="117"/>
                  </a:moveTo>
                  <a:cubicBezTo>
                    <a:pt x="277" y="123"/>
                    <a:pt x="273" y="128"/>
                    <a:pt x="267" y="128"/>
                  </a:cubicBezTo>
                  <a:cubicBezTo>
                    <a:pt x="11" y="128"/>
                    <a:pt x="11" y="128"/>
                    <a:pt x="11" y="128"/>
                  </a:cubicBezTo>
                  <a:cubicBezTo>
                    <a:pt x="5" y="128"/>
                    <a:pt x="0" y="123"/>
                    <a:pt x="0" y="117"/>
                  </a:cubicBezTo>
                  <a:cubicBezTo>
                    <a:pt x="0" y="111"/>
                    <a:pt x="5" y="106"/>
                    <a:pt x="11" y="106"/>
                  </a:cubicBezTo>
                  <a:cubicBezTo>
                    <a:pt x="267" y="106"/>
                    <a:pt x="267" y="106"/>
                    <a:pt x="267" y="106"/>
                  </a:cubicBezTo>
                  <a:cubicBezTo>
                    <a:pt x="273" y="106"/>
                    <a:pt x="277" y="111"/>
                    <a:pt x="277" y="117"/>
                  </a:cubicBezTo>
                  <a:close/>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sp>
          <p:nvSpPr>
            <p:cNvPr id="35" name="Freeform 486">
              <a:extLst>
                <a:ext uri="{FF2B5EF4-FFF2-40B4-BE49-F238E27FC236}">
                  <a16:creationId xmlns:a16="http://schemas.microsoft.com/office/drawing/2014/main" id="{CB344FEE-627F-4C32-B5EB-AD620A8171A9}"/>
                </a:ext>
              </a:extLst>
            </p:cNvPr>
            <p:cNvSpPr>
              <a:spLocks noEditPoints="1"/>
            </p:cNvSpPr>
            <p:nvPr/>
          </p:nvSpPr>
          <p:spPr bwMode="auto">
            <a:xfrm>
              <a:off x="399"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grpSp>
      <p:grpSp>
        <p:nvGrpSpPr>
          <p:cNvPr id="36" name="Group 493">
            <a:extLst>
              <a:ext uri="{FF2B5EF4-FFF2-40B4-BE49-F238E27FC236}">
                <a16:creationId xmlns:a16="http://schemas.microsoft.com/office/drawing/2014/main" id="{49FAC9ED-59EC-4E26-A540-D21053FB5732}"/>
              </a:ext>
            </a:extLst>
          </p:cNvPr>
          <p:cNvGrpSpPr>
            <a:grpSpLocks noChangeAspect="1"/>
          </p:cNvGrpSpPr>
          <p:nvPr/>
        </p:nvGrpSpPr>
        <p:grpSpPr bwMode="auto">
          <a:xfrm>
            <a:off x="7013584" y="4436894"/>
            <a:ext cx="524978" cy="524980"/>
            <a:chOff x="1195" y="2027"/>
            <a:chExt cx="340" cy="340"/>
          </a:xfrm>
          <a:solidFill>
            <a:schemeClr val="bg1"/>
          </a:solidFill>
        </p:grpSpPr>
        <p:sp>
          <p:nvSpPr>
            <p:cNvPr id="37" name="Freeform 494">
              <a:extLst>
                <a:ext uri="{FF2B5EF4-FFF2-40B4-BE49-F238E27FC236}">
                  <a16:creationId xmlns:a16="http://schemas.microsoft.com/office/drawing/2014/main" id="{EED289AC-BCAF-4C99-8D56-915A540B5528}"/>
                </a:ext>
              </a:extLst>
            </p:cNvPr>
            <p:cNvSpPr>
              <a:spLocks noEditPoints="1"/>
            </p:cNvSpPr>
            <p:nvPr/>
          </p:nvSpPr>
          <p:spPr bwMode="auto">
            <a:xfrm>
              <a:off x="1195"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sp>
          <p:nvSpPr>
            <p:cNvPr id="38" name="Freeform 495">
              <a:extLst>
                <a:ext uri="{FF2B5EF4-FFF2-40B4-BE49-F238E27FC236}">
                  <a16:creationId xmlns:a16="http://schemas.microsoft.com/office/drawing/2014/main" id="{F2BC9957-9692-4C4E-BCA3-0E04F6FFD246}"/>
                </a:ext>
              </a:extLst>
            </p:cNvPr>
            <p:cNvSpPr>
              <a:spLocks noEditPoints="1"/>
            </p:cNvSpPr>
            <p:nvPr/>
          </p:nvSpPr>
          <p:spPr bwMode="auto">
            <a:xfrm>
              <a:off x="1279" y="2115"/>
              <a:ext cx="171" cy="160"/>
            </a:xfrm>
            <a:custGeom>
              <a:avLst/>
              <a:gdLst>
                <a:gd name="T0" fmla="*/ 254 w 257"/>
                <a:gd name="T1" fmla="*/ 78 h 241"/>
                <a:gd name="T2" fmla="*/ 257 w 257"/>
                <a:gd name="T3" fmla="*/ 70 h 241"/>
                <a:gd name="T4" fmla="*/ 254 w 257"/>
                <a:gd name="T5" fmla="*/ 63 h 241"/>
                <a:gd name="T6" fmla="*/ 194 w 257"/>
                <a:gd name="T7" fmla="*/ 4 h 241"/>
                <a:gd name="T8" fmla="*/ 179 w 257"/>
                <a:gd name="T9" fmla="*/ 4 h 241"/>
                <a:gd name="T10" fmla="*/ 4 w 257"/>
                <a:gd name="T11" fmla="*/ 179 h 241"/>
                <a:gd name="T12" fmla="*/ 4 w 257"/>
                <a:gd name="T13" fmla="*/ 194 h 241"/>
                <a:gd name="T14" fmla="*/ 46 w 257"/>
                <a:gd name="T15" fmla="*/ 238 h 241"/>
                <a:gd name="T16" fmla="*/ 46 w 257"/>
                <a:gd name="T17" fmla="*/ 238 h 241"/>
                <a:gd name="T18" fmla="*/ 50 w 257"/>
                <a:gd name="T19" fmla="*/ 240 h 241"/>
                <a:gd name="T20" fmla="*/ 54 w 257"/>
                <a:gd name="T21" fmla="*/ 241 h 241"/>
                <a:gd name="T22" fmla="*/ 86 w 257"/>
                <a:gd name="T23" fmla="*/ 241 h 241"/>
                <a:gd name="T24" fmla="*/ 225 w 257"/>
                <a:gd name="T25" fmla="*/ 241 h 241"/>
                <a:gd name="T26" fmla="*/ 235 w 257"/>
                <a:gd name="T27" fmla="*/ 230 h 241"/>
                <a:gd name="T28" fmla="*/ 225 w 257"/>
                <a:gd name="T29" fmla="*/ 220 h 241"/>
                <a:gd name="T30" fmla="*/ 112 w 257"/>
                <a:gd name="T31" fmla="*/ 220 h 241"/>
                <a:gd name="T32" fmla="*/ 254 w 257"/>
                <a:gd name="T33" fmla="*/ 78 h 241"/>
                <a:gd name="T34" fmla="*/ 187 w 257"/>
                <a:gd name="T35" fmla="*/ 26 h 241"/>
                <a:gd name="T36" fmla="*/ 231 w 257"/>
                <a:gd name="T37" fmla="*/ 70 h 241"/>
                <a:gd name="T38" fmla="*/ 150 w 257"/>
                <a:gd name="T39" fmla="*/ 151 h 241"/>
                <a:gd name="T40" fmla="*/ 106 w 257"/>
                <a:gd name="T41" fmla="*/ 107 h 241"/>
                <a:gd name="T42" fmla="*/ 187 w 257"/>
                <a:gd name="T43" fmla="*/ 26 h 241"/>
                <a:gd name="T44" fmla="*/ 58 w 257"/>
                <a:gd name="T45" fmla="*/ 220 h 241"/>
                <a:gd name="T46" fmla="*/ 26 w 257"/>
                <a:gd name="T47" fmla="*/ 187 h 241"/>
                <a:gd name="T48" fmla="*/ 91 w 257"/>
                <a:gd name="T49" fmla="*/ 122 h 241"/>
                <a:gd name="T50" fmla="*/ 135 w 257"/>
                <a:gd name="T51" fmla="*/ 166 h 241"/>
                <a:gd name="T52" fmla="*/ 82 w 257"/>
                <a:gd name="T53" fmla="*/ 220 h 241"/>
                <a:gd name="T54" fmla="*/ 58 w 257"/>
                <a:gd name="T55" fmla="*/ 2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7" h="241">
                  <a:moveTo>
                    <a:pt x="254" y="78"/>
                  </a:moveTo>
                  <a:cubicBezTo>
                    <a:pt x="256" y="76"/>
                    <a:pt x="257" y="73"/>
                    <a:pt x="257" y="70"/>
                  </a:cubicBezTo>
                  <a:cubicBezTo>
                    <a:pt x="257" y="67"/>
                    <a:pt x="256" y="65"/>
                    <a:pt x="254" y="63"/>
                  </a:cubicBezTo>
                  <a:cubicBezTo>
                    <a:pt x="194" y="4"/>
                    <a:pt x="194" y="4"/>
                    <a:pt x="194" y="4"/>
                  </a:cubicBezTo>
                  <a:cubicBezTo>
                    <a:pt x="190" y="0"/>
                    <a:pt x="184" y="0"/>
                    <a:pt x="179" y="4"/>
                  </a:cubicBezTo>
                  <a:cubicBezTo>
                    <a:pt x="4" y="179"/>
                    <a:pt x="4" y="179"/>
                    <a:pt x="4" y="179"/>
                  </a:cubicBezTo>
                  <a:cubicBezTo>
                    <a:pt x="0" y="184"/>
                    <a:pt x="0" y="190"/>
                    <a:pt x="4" y="194"/>
                  </a:cubicBezTo>
                  <a:cubicBezTo>
                    <a:pt x="46" y="238"/>
                    <a:pt x="46" y="238"/>
                    <a:pt x="46" y="238"/>
                  </a:cubicBezTo>
                  <a:cubicBezTo>
                    <a:pt x="46" y="238"/>
                    <a:pt x="46" y="238"/>
                    <a:pt x="46" y="238"/>
                  </a:cubicBezTo>
                  <a:cubicBezTo>
                    <a:pt x="47" y="239"/>
                    <a:pt x="49" y="240"/>
                    <a:pt x="50" y="240"/>
                  </a:cubicBezTo>
                  <a:cubicBezTo>
                    <a:pt x="51" y="241"/>
                    <a:pt x="53" y="241"/>
                    <a:pt x="54" y="241"/>
                  </a:cubicBezTo>
                  <a:cubicBezTo>
                    <a:pt x="86" y="241"/>
                    <a:pt x="86" y="241"/>
                    <a:pt x="86" y="241"/>
                  </a:cubicBezTo>
                  <a:cubicBezTo>
                    <a:pt x="225" y="241"/>
                    <a:pt x="225" y="241"/>
                    <a:pt x="225" y="241"/>
                  </a:cubicBezTo>
                  <a:cubicBezTo>
                    <a:pt x="231" y="241"/>
                    <a:pt x="235" y="236"/>
                    <a:pt x="235" y="230"/>
                  </a:cubicBezTo>
                  <a:cubicBezTo>
                    <a:pt x="235" y="224"/>
                    <a:pt x="231" y="220"/>
                    <a:pt x="225" y="220"/>
                  </a:cubicBezTo>
                  <a:cubicBezTo>
                    <a:pt x="112" y="220"/>
                    <a:pt x="112" y="220"/>
                    <a:pt x="112" y="220"/>
                  </a:cubicBezTo>
                  <a:lnTo>
                    <a:pt x="254" y="78"/>
                  </a:lnTo>
                  <a:close/>
                  <a:moveTo>
                    <a:pt x="187" y="26"/>
                  </a:moveTo>
                  <a:cubicBezTo>
                    <a:pt x="231" y="70"/>
                    <a:pt x="231" y="70"/>
                    <a:pt x="231" y="70"/>
                  </a:cubicBezTo>
                  <a:cubicBezTo>
                    <a:pt x="150" y="151"/>
                    <a:pt x="150" y="151"/>
                    <a:pt x="150" y="151"/>
                  </a:cubicBezTo>
                  <a:cubicBezTo>
                    <a:pt x="106" y="107"/>
                    <a:pt x="106" y="107"/>
                    <a:pt x="106" y="107"/>
                  </a:cubicBezTo>
                  <a:lnTo>
                    <a:pt x="187" y="26"/>
                  </a:lnTo>
                  <a:close/>
                  <a:moveTo>
                    <a:pt x="58" y="220"/>
                  </a:moveTo>
                  <a:cubicBezTo>
                    <a:pt x="26" y="187"/>
                    <a:pt x="26" y="187"/>
                    <a:pt x="26" y="187"/>
                  </a:cubicBezTo>
                  <a:cubicBezTo>
                    <a:pt x="91" y="122"/>
                    <a:pt x="91" y="122"/>
                    <a:pt x="91" y="122"/>
                  </a:cubicBezTo>
                  <a:cubicBezTo>
                    <a:pt x="135" y="166"/>
                    <a:pt x="135" y="166"/>
                    <a:pt x="135" y="166"/>
                  </a:cubicBezTo>
                  <a:cubicBezTo>
                    <a:pt x="82" y="220"/>
                    <a:pt x="82" y="220"/>
                    <a:pt x="82" y="220"/>
                  </a:cubicBezTo>
                  <a:lnTo>
                    <a:pt x="58" y="22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grpSp>
      <p:grpSp>
        <p:nvGrpSpPr>
          <p:cNvPr id="39" name="Group 308">
            <a:extLst>
              <a:ext uri="{FF2B5EF4-FFF2-40B4-BE49-F238E27FC236}">
                <a16:creationId xmlns:a16="http://schemas.microsoft.com/office/drawing/2014/main" id="{260E0139-ADE2-40B3-A97A-296C8E27CEEF}"/>
              </a:ext>
            </a:extLst>
          </p:cNvPr>
          <p:cNvGrpSpPr>
            <a:grpSpLocks noChangeAspect="1"/>
          </p:cNvGrpSpPr>
          <p:nvPr/>
        </p:nvGrpSpPr>
        <p:grpSpPr bwMode="auto">
          <a:xfrm>
            <a:off x="5833511" y="2355639"/>
            <a:ext cx="524978" cy="524980"/>
            <a:chOff x="1924" y="1137"/>
            <a:chExt cx="340" cy="340"/>
          </a:xfrm>
          <a:solidFill>
            <a:schemeClr val="bg1"/>
          </a:solidFill>
        </p:grpSpPr>
        <p:sp>
          <p:nvSpPr>
            <p:cNvPr id="40" name="Freeform 309">
              <a:extLst>
                <a:ext uri="{FF2B5EF4-FFF2-40B4-BE49-F238E27FC236}">
                  <a16:creationId xmlns:a16="http://schemas.microsoft.com/office/drawing/2014/main" id="{7AD9ED70-E102-4A28-AC0B-3B3AA3F60B6D}"/>
                </a:ext>
              </a:extLst>
            </p:cNvPr>
            <p:cNvSpPr>
              <a:spLocks noEditPoints="1"/>
            </p:cNvSpPr>
            <p:nvPr/>
          </p:nvSpPr>
          <p:spPr bwMode="auto">
            <a:xfrm>
              <a:off x="1924"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sp>
          <p:nvSpPr>
            <p:cNvPr id="41" name="Freeform 310">
              <a:extLst>
                <a:ext uri="{FF2B5EF4-FFF2-40B4-BE49-F238E27FC236}">
                  <a16:creationId xmlns:a16="http://schemas.microsoft.com/office/drawing/2014/main" id="{C5C108C7-552A-475B-9FE1-ADB56C40B85D}"/>
                </a:ext>
              </a:extLst>
            </p:cNvPr>
            <p:cNvSpPr>
              <a:spLocks noEditPoints="1"/>
            </p:cNvSpPr>
            <p:nvPr/>
          </p:nvSpPr>
          <p:spPr bwMode="auto">
            <a:xfrm>
              <a:off x="1988" y="1236"/>
              <a:ext cx="212" cy="141"/>
            </a:xfrm>
            <a:custGeom>
              <a:avLst/>
              <a:gdLst>
                <a:gd name="T0" fmla="*/ 181 w 320"/>
                <a:gd name="T1" fmla="*/ 21 h 213"/>
                <a:gd name="T2" fmla="*/ 160 w 320"/>
                <a:gd name="T3" fmla="*/ 43 h 213"/>
                <a:gd name="T4" fmla="*/ 138 w 320"/>
                <a:gd name="T5" fmla="*/ 21 h 213"/>
                <a:gd name="T6" fmla="*/ 160 w 320"/>
                <a:gd name="T7" fmla="*/ 0 h 213"/>
                <a:gd name="T8" fmla="*/ 181 w 320"/>
                <a:gd name="T9" fmla="*/ 21 h 213"/>
                <a:gd name="T10" fmla="*/ 160 w 320"/>
                <a:gd name="T11" fmla="*/ 171 h 213"/>
                <a:gd name="T12" fmla="*/ 138 w 320"/>
                <a:gd name="T13" fmla="*/ 192 h 213"/>
                <a:gd name="T14" fmla="*/ 160 w 320"/>
                <a:gd name="T15" fmla="*/ 213 h 213"/>
                <a:gd name="T16" fmla="*/ 181 w 320"/>
                <a:gd name="T17" fmla="*/ 192 h 213"/>
                <a:gd name="T18" fmla="*/ 160 w 320"/>
                <a:gd name="T19" fmla="*/ 171 h 213"/>
                <a:gd name="T20" fmla="*/ 320 w 320"/>
                <a:gd name="T21" fmla="*/ 107 h 213"/>
                <a:gd name="T22" fmla="*/ 309 w 320"/>
                <a:gd name="T23" fmla="*/ 96 h 213"/>
                <a:gd name="T24" fmla="*/ 10 w 320"/>
                <a:gd name="T25" fmla="*/ 96 h 213"/>
                <a:gd name="T26" fmla="*/ 0 w 320"/>
                <a:gd name="T27" fmla="*/ 107 h 213"/>
                <a:gd name="T28" fmla="*/ 10 w 320"/>
                <a:gd name="T29" fmla="*/ 117 h 213"/>
                <a:gd name="T30" fmla="*/ 309 w 320"/>
                <a:gd name="T31" fmla="*/ 117 h 213"/>
                <a:gd name="T32" fmla="*/ 320 w 320"/>
                <a:gd name="T33" fmla="*/ 10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13">
                  <a:moveTo>
                    <a:pt x="181" y="21"/>
                  </a:moveTo>
                  <a:cubicBezTo>
                    <a:pt x="181" y="33"/>
                    <a:pt x="171" y="43"/>
                    <a:pt x="160" y="43"/>
                  </a:cubicBezTo>
                  <a:cubicBezTo>
                    <a:pt x="148" y="43"/>
                    <a:pt x="138" y="33"/>
                    <a:pt x="138" y="21"/>
                  </a:cubicBezTo>
                  <a:cubicBezTo>
                    <a:pt x="138" y="10"/>
                    <a:pt x="148" y="0"/>
                    <a:pt x="160" y="0"/>
                  </a:cubicBezTo>
                  <a:cubicBezTo>
                    <a:pt x="171" y="0"/>
                    <a:pt x="181" y="10"/>
                    <a:pt x="181" y="21"/>
                  </a:cubicBezTo>
                  <a:close/>
                  <a:moveTo>
                    <a:pt x="160" y="171"/>
                  </a:moveTo>
                  <a:cubicBezTo>
                    <a:pt x="148" y="171"/>
                    <a:pt x="138" y="180"/>
                    <a:pt x="138" y="192"/>
                  </a:cubicBezTo>
                  <a:cubicBezTo>
                    <a:pt x="138" y="204"/>
                    <a:pt x="148" y="213"/>
                    <a:pt x="160" y="213"/>
                  </a:cubicBezTo>
                  <a:cubicBezTo>
                    <a:pt x="171" y="213"/>
                    <a:pt x="181" y="204"/>
                    <a:pt x="181" y="192"/>
                  </a:cubicBezTo>
                  <a:cubicBezTo>
                    <a:pt x="181" y="180"/>
                    <a:pt x="171" y="171"/>
                    <a:pt x="160" y="171"/>
                  </a:cubicBezTo>
                  <a:close/>
                  <a:moveTo>
                    <a:pt x="320" y="107"/>
                  </a:moveTo>
                  <a:cubicBezTo>
                    <a:pt x="320" y="101"/>
                    <a:pt x="315" y="96"/>
                    <a:pt x="309" y="96"/>
                  </a:cubicBezTo>
                  <a:cubicBezTo>
                    <a:pt x="10" y="96"/>
                    <a:pt x="10" y="96"/>
                    <a:pt x="10" y="96"/>
                  </a:cubicBezTo>
                  <a:cubicBezTo>
                    <a:pt x="4" y="96"/>
                    <a:pt x="0" y="101"/>
                    <a:pt x="0" y="107"/>
                  </a:cubicBezTo>
                  <a:cubicBezTo>
                    <a:pt x="0" y="113"/>
                    <a:pt x="4" y="117"/>
                    <a:pt x="10" y="117"/>
                  </a:cubicBezTo>
                  <a:cubicBezTo>
                    <a:pt x="309" y="117"/>
                    <a:pt x="309" y="117"/>
                    <a:pt x="309" y="117"/>
                  </a:cubicBezTo>
                  <a:cubicBezTo>
                    <a:pt x="315" y="117"/>
                    <a:pt x="320" y="113"/>
                    <a:pt x="320" y="10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grpSp>
    </p:spTree>
    <p:custDataLst>
      <p:tags r:id="rId1"/>
    </p:custDataLst>
    <p:extLst>
      <p:ext uri="{BB962C8B-B14F-4D97-AF65-F5344CB8AC3E}">
        <p14:creationId xmlns:p14="http://schemas.microsoft.com/office/powerpoint/2010/main" val="3546865193"/>
      </p:ext>
    </p:extLst>
  </p:cSld>
  <p:clrMapOvr>
    <a:masterClrMapping/>
  </p:clrMapOvr>
  <p:transition>
    <p:fade/>
  </p:transition>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26">
            <a:extLst>
              <a:ext uri="{FF2B5EF4-FFF2-40B4-BE49-F238E27FC236}">
                <a16:creationId xmlns:a16="http://schemas.microsoft.com/office/drawing/2014/main" id="{EBD39784-1A2F-CE47-B06E-0BD6986CDAD5}"/>
              </a:ext>
            </a:extLst>
          </p:cNvPr>
          <p:cNvSpPr>
            <a:spLocks noEditPoints="1"/>
          </p:cNvSpPr>
          <p:nvPr/>
        </p:nvSpPr>
        <p:spPr bwMode="auto">
          <a:xfrm>
            <a:off x="3523946" y="1898439"/>
            <a:ext cx="1482095" cy="1350187"/>
          </a:xfrm>
          <a:custGeom>
            <a:avLst/>
            <a:gdLst>
              <a:gd name="T0" fmla="*/ 116 w 202"/>
              <a:gd name="T1" fmla="*/ 174 h 184"/>
              <a:gd name="T2" fmla="*/ 95 w 202"/>
              <a:gd name="T3" fmla="*/ 179 h 184"/>
              <a:gd name="T4" fmla="*/ 85 w 202"/>
              <a:gd name="T5" fmla="*/ 176 h 184"/>
              <a:gd name="T6" fmla="*/ 77 w 202"/>
              <a:gd name="T7" fmla="*/ 171 h 184"/>
              <a:gd name="T8" fmla="*/ 60 w 202"/>
              <a:gd name="T9" fmla="*/ 174 h 184"/>
              <a:gd name="T10" fmla="*/ 46 w 202"/>
              <a:gd name="T11" fmla="*/ 177 h 184"/>
              <a:gd name="T12" fmla="*/ 34 w 202"/>
              <a:gd name="T13" fmla="*/ 177 h 184"/>
              <a:gd name="T14" fmla="*/ 28 w 202"/>
              <a:gd name="T15" fmla="*/ 180 h 184"/>
              <a:gd name="T16" fmla="*/ 16 w 202"/>
              <a:gd name="T17" fmla="*/ 179 h 184"/>
              <a:gd name="T18" fmla="*/ 13 w 202"/>
              <a:gd name="T19" fmla="*/ 166 h 184"/>
              <a:gd name="T20" fmla="*/ 16 w 202"/>
              <a:gd name="T21" fmla="*/ 151 h 184"/>
              <a:gd name="T22" fmla="*/ 14 w 202"/>
              <a:gd name="T23" fmla="*/ 140 h 184"/>
              <a:gd name="T24" fmla="*/ 13 w 202"/>
              <a:gd name="T25" fmla="*/ 128 h 184"/>
              <a:gd name="T26" fmla="*/ 11 w 202"/>
              <a:gd name="T27" fmla="*/ 116 h 184"/>
              <a:gd name="T28" fmla="*/ 7 w 202"/>
              <a:gd name="T29" fmla="*/ 104 h 184"/>
              <a:gd name="T30" fmla="*/ 6 w 202"/>
              <a:gd name="T31" fmla="*/ 92 h 184"/>
              <a:gd name="T32" fmla="*/ 5 w 202"/>
              <a:gd name="T33" fmla="*/ 79 h 184"/>
              <a:gd name="T34" fmla="*/ 8 w 202"/>
              <a:gd name="T35" fmla="*/ 65 h 184"/>
              <a:gd name="T36" fmla="*/ 11 w 202"/>
              <a:gd name="T37" fmla="*/ 54 h 184"/>
              <a:gd name="T38" fmla="*/ 13 w 202"/>
              <a:gd name="T39" fmla="*/ 43 h 184"/>
              <a:gd name="T40" fmla="*/ 9 w 202"/>
              <a:gd name="T41" fmla="*/ 31 h 184"/>
              <a:gd name="T42" fmla="*/ 14 w 202"/>
              <a:gd name="T43" fmla="*/ 21 h 184"/>
              <a:gd name="T44" fmla="*/ 23 w 202"/>
              <a:gd name="T45" fmla="*/ 12 h 184"/>
              <a:gd name="T46" fmla="*/ 37 w 202"/>
              <a:gd name="T47" fmla="*/ 8 h 184"/>
              <a:gd name="T48" fmla="*/ 58 w 202"/>
              <a:gd name="T49" fmla="*/ 7 h 184"/>
              <a:gd name="T50" fmla="*/ 67 w 202"/>
              <a:gd name="T51" fmla="*/ 8 h 184"/>
              <a:gd name="T52" fmla="*/ 76 w 202"/>
              <a:gd name="T53" fmla="*/ 9 h 184"/>
              <a:gd name="T54" fmla="*/ 52 w 202"/>
              <a:gd name="T55" fmla="*/ 29 h 184"/>
              <a:gd name="T56" fmla="*/ 80 w 202"/>
              <a:gd name="T57" fmla="*/ 8 h 184"/>
              <a:gd name="T58" fmla="*/ 99 w 202"/>
              <a:gd name="T59" fmla="*/ 2 h 184"/>
              <a:gd name="T60" fmla="*/ 99 w 202"/>
              <a:gd name="T61" fmla="*/ 15 h 184"/>
              <a:gd name="T62" fmla="*/ 103 w 202"/>
              <a:gd name="T63" fmla="*/ 14 h 184"/>
              <a:gd name="T64" fmla="*/ 125 w 202"/>
              <a:gd name="T65" fmla="*/ 1 h 184"/>
              <a:gd name="T66" fmla="*/ 127 w 202"/>
              <a:gd name="T67" fmla="*/ 8 h 184"/>
              <a:gd name="T68" fmla="*/ 141 w 202"/>
              <a:gd name="T69" fmla="*/ 3 h 184"/>
              <a:gd name="T70" fmla="*/ 151 w 202"/>
              <a:gd name="T71" fmla="*/ 6 h 184"/>
              <a:gd name="T72" fmla="*/ 164 w 202"/>
              <a:gd name="T73" fmla="*/ 4 h 184"/>
              <a:gd name="T74" fmla="*/ 174 w 202"/>
              <a:gd name="T75" fmla="*/ 6 h 184"/>
              <a:gd name="T76" fmla="*/ 185 w 202"/>
              <a:gd name="T77" fmla="*/ 6 h 184"/>
              <a:gd name="T78" fmla="*/ 195 w 202"/>
              <a:gd name="T79" fmla="*/ 13 h 184"/>
              <a:gd name="T80" fmla="*/ 192 w 202"/>
              <a:gd name="T81" fmla="*/ 22 h 184"/>
              <a:gd name="T82" fmla="*/ 195 w 202"/>
              <a:gd name="T83" fmla="*/ 30 h 184"/>
              <a:gd name="T84" fmla="*/ 193 w 202"/>
              <a:gd name="T85" fmla="*/ 48 h 184"/>
              <a:gd name="T86" fmla="*/ 199 w 202"/>
              <a:gd name="T87" fmla="*/ 52 h 184"/>
              <a:gd name="T88" fmla="*/ 199 w 202"/>
              <a:gd name="T89" fmla="*/ 58 h 184"/>
              <a:gd name="T90" fmla="*/ 199 w 202"/>
              <a:gd name="T91" fmla="*/ 74 h 184"/>
              <a:gd name="T92" fmla="*/ 191 w 202"/>
              <a:gd name="T93" fmla="*/ 89 h 184"/>
              <a:gd name="T94" fmla="*/ 194 w 202"/>
              <a:gd name="T95" fmla="*/ 100 h 184"/>
              <a:gd name="T96" fmla="*/ 200 w 202"/>
              <a:gd name="T97" fmla="*/ 111 h 184"/>
              <a:gd name="T98" fmla="*/ 196 w 202"/>
              <a:gd name="T99" fmla="*/ 128 h 184"/>
              <a:gd name="T100" fmla="*/ 200 w 202"/>
              <a:gd name="T101" fmla="*/ 138 h 184"/>
              <a:gd name="T102" fmla="*/ 197 w 202"/>
              <a:gd name="T103" fmla="*/ 154 h 184"/>
              <a:gd name="T104" fmla="*/ 190 w 202"/>
              <a:gd name="T105" fmla="*/ 171 h 184"/>
              <a:gd name="T106" fmla="*/ 177 w 202"/>
              <a:gd name="T107" fmla="*/ 178 h 184"/>
              <a:gd name="T108" fmla="*/ 165 w 202"/>
              <a:gd name="T109" fmla="*/ 176 h 184"/>
              <a:gd name="T110" fmla="*/ 153 w 202"/>
              <a:gd name="T111" fmla="*/ 175 h 184"/>
              <a:gd name="T112" fmla="*/ 140 w 202"/>
              <a:gd name="T113" fmla="*/ 175 h 184"/>
              <a:gd name="T114" fmla="*/ 130 w 202"/>
              <a:gd name="T115" fmla="*/ 176 h 184"/>
              <a:gd name="T116" fmla="*/ 41 w 202"/>
              <a:gd name="T117" fmla="*/ 163 h 184"/>
              <a:gd name="T118" fmla="*/ 21 w 202"/>
              <a:gd name="T119" fmla="*/ 127 h 184"/>
              <a:gd name="T120" fmla="*/ 21 w 202"/>
              <a:gd name="T121" fmla="*/ 12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184">
                <a:moveTo>
                  <a:pt x="126" y="177"/>
                </a:moveTo>
                <a:cubicBezTo>
                  <a:pt x="124" y="177"/>
                  <a:pt x="123" y="179"/>
                  <a:pt x="121" y="178"/>
                </a:cubicBezTo>
                <a:cubicBezTo>
                  <a:pt x="119" y="176"/>
                  <a:pt x="118" y="175"/>
                  <a:pt x="119" y="173"/>
                </a:cubicBezTo>
                <a:cubicBezTo>
                  <a:pt x="118" y="174"/>
                  <a:pt x="117" y="174"/>
                  <a:pt x="116" y="174"/>
                </a:cubicBezTo>
                <a:cubicBezTo>
                  <a:pt x="114" y="175"/>
                  <a:pt x="112" y="177"/>
                  <a:pt x="111" y="178"/>
                </a:cubicBezTo>
                <a:cubicBezTo>
                  <a:pt x="107" y="179"/>
                  <a:pt x="107" y="179"/>
                  <a:pt x="104" y="177"/>
                </a:cubicBezTo>
                <a:cubicBezTo>
                  <a:pt x="102" y="178"/>
                  <a:pt x="101" y="178"/>
                  <a:pt x="98" y="178"/>
                </a:cubicBezTo>
                <a:cubicBezTo>
                  <a:pt x="97" y="177"/>
                  <a:pt x="96" y="178"/>
                  <a:pt x="95" y="179"/>
                </a:cubicBezTo>
                <a:cubicBezTo>
                  <a:pt x="93" y="179"/>
                  <a:pt x="91" y="180"/>
                  <a:pt x="89" y="181"/>
                </a:cubicBezTo>
                <a:cubicBezTo>
                  <a:pt x="88" y="181"/>
                  <a:pt x="87" y="182"/>
                  <a:pt x="86" y="180"/>
                </a:cubicBezTo>
                <a:cubicBezTo>
                  <a:pt x="86" y="179"/>
                  <a:pt x="85" y="179"/>
                  <a:pt x="85" y="178"/>
                </a:cubicBezTo>
                <a:cubicBezTo>
                  <a:pt x="85" y="177"/>
                  <a:pt x="85" y="177"/>
                  <a:pt x="85" y="176"/>
                </a:cubicBezTo>
                <a:cubicBezTo>
                  <a:pt x="86" y="175"/>
                  <a:pt x="87" y="174"/>
                  <a:pt x="88" y="173"/>
                </a:cubicBezTo>
                <a:cubicBezTo>
                  <a:pt x="88" y="173"/>
                  <a:pt x="88" y="173"/>
                  <a:pt x="88" y="173"/>
                </a:cubicBezTo>
                <a:cubicBezTo>
                  <a:pt x="86" y="171"/>
                  <a:pt x="84" y="172"/>
                  <a:pt x="83" y="173"/>
                </a:cubicBezTo>
                <a:cubicBezTo>
                  <a:pt x="80" y="176"/>
                  <a:pt x="78" y="174"/>
                  <a:pt x="77" y="171"/>
                </a:cubicBezTo>
                <a:cubicBezTo>
                  <a:pt x="74" y="172"/>
                  <a:pt x="70" y="173"/>
                  <a:pt x="68" y="175"/>
                </a:cubicBezTo>
                <a:cubicBezTo>
                  <a:pt x="66" y="176"/>
                  <a:pt x="65" y="177"/>
                  <a:pt x="64" y="177"/>
                </a:cubicBezTo>
                <a:cubicBezTo>
                  <a:pt x="63" y="178"/>
                  <a:pt x="62" y="177"/>
                  <a:pt x="61" y="176"/>
                </a:cubicBezTo>
                <a:cubicBezTo>
                  <a:pt x="61" y="176"/>
                  <a:pt x="61" y="175"/>
                  <a:pt x="60" y="174"/>
                </a:cubicBezTo>
                <a:cubicBezTo>
                  <a:pt x="58" y="175"/>
                  <a:pt x="57" y="176"/>
                  <a:pt x="55" y="177"/>
                </a:cubicBezTo>
                <a:cubicBezTo>
                  <a:pt x="54" y="179"/>
                  <a:pt x="52" y="180"/>
                  <a:pt x="51" y="181"/>
                </a:cubicBezTo>
                <a:cubicBezTo>
                  <a:pt x="49" y="183"/>
                  <a:pt x="46" y="182"/>
                  <a:pt x="46" y="179"/>
                </a:cubicBezTo>
                <a:cubicBezTo>
                  <a:pt x="46" y="178"/>
                  <a:pt x="46" y="178"/>
                  <a:pt x="46" y="177"/>
                </a:cubicBezTo>
                <a:cubicBezTo>
                  <a:pt x="44" y="179"/>
                  <a:pt x="42" y="180"/>
                  <a:pt x="41" y="181"/>
                </a:cubicBezTo>
                <a:cubicBezTo>
                  <a:pt x="39" y="182"/>
                  <a:pt x="38" y="183"/>
                  <a:pt x="37" y="184"/>
                </a:cubicBezTo>
                <a:cubicBezTo>
                  <a:pt x="36" y="184"/>
                  <a:pt x="35" y="184"/>
                  <a:pt x="34" y="183"/>
                </a:cubicBezTo>
                <a:cubicBezTo>
                  <a:pt x="32" y="182"/>
                  <a:pt x="32" y="179"/>
                  <a:pt x="34" y="177"/>
                </a:cubicBezTo>
                <a:cubicBezTo>
                  <a:pt x="34" y="177"/>
                  <a:pt x="35" y="176"/>
                  <a:pt x="35" y="176"/>
                </a:cubicBezTo>
                <a:cubicBezTo>
                  <a:pt x="35" y="176"/>
                  <a:pt x="35" y="176"/>
                  <a:pt x="35" y="176"/>
                </a:cubicBezTo>
                <a:cubicBezTo>
                  <a:pt x="34" y="176"/>
                  <a:pt x="33" y="177"/>
                  <a:pt x="32" y="178"/>
                </a:cubicBezTo>
                <a:cubicBezTo>
                  <a:pt x="31" y="179"/>
                  <a:pt x="30" y="180"/>
                  <a:pt x="28" y="180"/>
                </a:cubicBezTo>
                <a:cubicBezTo>
                  <a:pt x="27" y="181"/>
                  <a:pt x="26" y="181"/>
                  <a:pt x="25" y="180"/>
                </a:cubicBezTo>
                <a:cubicBezTo>
                  <a:pt x="24" y="178"/>
                  <a:pt x="23" y="178"/>
                  <a:pt x="24" y="176"/>
                </a:cubicBezTo>
                <a:cubicBezTo>
                  <a:pt x="22" y="177"/>
                  <a:pt x="21" y="178"/>
                  <a:pt x="20" y="179"/>
                </a:cubicBezTo>
                <a:cubicBezTo>
                  <a:pt x="19" y="180"/>
                  <a:pt x="17" y="180"/>
                  <a:pt x="16" y="179"/>
                </a:cubicBezTo>
                <a:cubicBezTo>
                  <a:pt x="16" y="179"/>
                  <a:pt x="15" y="178"/>
                  <a:pt x="15" y="178"/>
                </a:cubicBezTo>
                <a:cubicBezTo>
                  <a:pt x="14" y="177"/>
                  <a:pt x="14" y="176"/>
                  <a:pt x="15" y="174"/>
                </a:cubicBezTo>
                <a:cubicBezTo>
                  <a:pt x="12" y="174"/>
                  <a:pt x="10" y="172"/>
                  <a:pt x="11" y="171"/>
                </a:cubicBezTo>
                <a:cubicBezTo>
                  <a:pt x="11" y="169"/>
                  <a:pt x="13" y="167"/>
                  <a:pt x="13" y="166"/>
                </a:cubicBezTo>
                <a:cubicBezTo>
                  <a:pt x="12" y="164"/>
                  <a:pt x="11" y="163"/>
                  <a:pt x="9" y="161"/>
                </a:cubicBezTo>
                <a:cubicBezTo>
                  <a:pt x="12" y="157"/>
                  <a:pt x="16" y="154"/>
                  <a:pt x="18" y="149"/>
                </a:cubicBezTo>
                <a:cubicBezTo>
                  <a:pt x="18" y="149"/>
                  <a:pt x="18" y="149"/>
                  <a:pt x="18" y="149"/>
                </a:cubicBezTo>
                <a:cubicBezTo>
                  <a:pt x="17" y="149"/>
                  <a:pt x="17" y="150"/>
                  <a:pt x="16" y="151"/>
                </a:cubicBezTo>
                <a:cubicBezTo>
                  <a:pt x="14" y="152"/>
                  <a:pt x="12" y="151"/>
                  <a:pt x="11" y="149"/>
                </a:cubicBezTo>
                <a:cubicBezTo>
                  <a:pt x="10" y="148"/>
                  <a:pt x="11" y="147"/>
                  <a:pt x="12" y="146"/>
                </a:cubicBezTo>
                <a:cubicBezTo>
                  <a:pt x="14" y="143"/>
                  <a:pt x="16" y="140"/>
                  <a:pt x="18" y="137"/>
                </a:cubicBezTo>
                <a:cubicBezTo>
                  <a:pt x="17" y="138"/>
                  <a:pt x="15" y="139"/>
                  <a:pt x="14" y="140"/>
                </a:cubicBezTo>
                <a:cubicBezTo>
                  <a:pt x="12" y="141"/>
                  <a:pt x="10" y="141"/>
                  <a:pt x="9" y="140"/>
                </a:cubicBezTo>
                <a:cubicBezTo>
                  <a:pt x="8" y="139"/>
                  <a:pt x="7" y="137"/>
                  <a:pt x="8" y="135"/>
                </a:cubicBezTo>
                <a:cubicBezTo>
                  <a:pt x="9" y="133"/>
                  <a:pt x="11" y="131"/>
                  <a:pt x="12" y="129"/>
                </a:cubicBezTo>
                <a:cubicBezTo>
                  <a:pt x="12" y="128"/>
                  <a:pt x="13" y="128"/>
                  <a:pt x="13" y="128"/>
                </a:cubicBezTo>
                <a:cubicBezTo>
                  <a:pt x="10" y="128"/>
                  <a:pt x="8" y="126"/>
                  <a:pt x="8" y="124"/>
                </a:cubicBezTo>
                <a:cubicBezTo>
                  <a:pt x="8" y="123"/>
                  <a:pt x="9" y="122"/>
                  <a:pt x="9" y="121"/>
                </a:cubicBezTo>
                <a:cubicBezTo>
                  <a:pt x="10" y="120"/>
                  <a:pt x="12" y="118"/>
                  <a:pt x="13" y="116"/>
                </a:cubicBezTo>
                <a:cubicBezTo>
                  <a:pt x="12" y="116"/>
                  <a:pt x="12" y="116"/>
                  <a:pt x="11" y="116"/>
                </a:cubicBezTo>
                <a:cubicBezTo>
                  <a:pt x="9" y="117"/>
                  <a:pt x="7" y="115"/>
                  <a:pt x="7" y="113"/>
                </a:cubicBezTo>
                <a:cubicBezTo>
                  <a:pt x="7" y="112"/>
                  <a:pt x="7" y="111"/>
                  <a:pt x="8" y="110"/>
                </a:cubicBezTo>
                <a:cubicBezTo>
                  <a:pt x="9" y="108"/>
                  <a:pt x="11" y="106"/>
                  <a:pt x="13" y="104"/>
                </a:cubicBezTo>
                <a:cubicBezTo>
                  <a:pt x="11" y="104"/>
                  <a:pt x="9" y="106"/>
                  <a:pt x="7" y="104"/>
                </a:cubicBezTo>
                <a:cubicBezTo>
                  <a:pt x="6" y="104"/>
                  <a:pt x="6" y="102"/>
                  <a:pt x="5" y="101"/>
                </a:cubicBezTo>
                <a:cubicBezTo>
                  <a:pt x="7" y="99"/>
                  <a:pt x="8" y="98"/>
                  <a:pt x="9" y="96"/>
                </a:cubicBezTo>
                <a:cubicBezTo>
                  <a:pt x="8" y="95"/>
                  <a:pt x="8" y="94"/>
                  <a:pt x="7" y="92"/>
                </a:cubicBezTo>
                <a:cubicBezTo>
                  <a:pt x="7" y="92"/>
                  <a:pt x="6" y="92"/>
                  <a:pt x="6" y="92"/>
                </a:cubicBezTo>
                <a:cubicBezTo>
                  <a:pt x="4" y="91"/>
                  <a:pt x="3" y="88"/>
                  <a:pt x="4" y="86"/>
                </a:cubicBezTo>
                <a:cubicBezTo>
                  <a:pt x="4" y="86"/>
                  <a:pt x="5" y="86"/>
                  <a:pt x="5" y="85"/>
                </a:cubicBezTo>
                <a:cubicBezTo>
                  <a:pt x="6" y="85"/>
                  <a:pt x="6" y="84"/>
                  <a:pt x="5" y="83"/>
                </a:cubicBezTo>
                <a:cubicBezTo>
                  <a:pt x="4" y="82"/>
                  <a:pt x="4" y="81"/>
                  <a:pt x="5" y="79"/>
                </a:cubicBezTo>
                <a:cubicBezTo>
                  <a:pt x="6" y="77"/>
                  <a:pt x="7" y="76"/>
                  <a:pt x="8" y="74"/>
                </a:cubicBezTo>
                <a:cubicBezTo>
                  <a:pt x="9" y="74"/>
                  <a:pt x="8" y="73"/>
                  <a:pt x="8" y="73"/>
                </a:cubicBezTo>
                <a:cubicBezTo>
                  <a:pt x="5" y="70"/>
                  <a:pt x="6" y="69"/>
                  <a:pt x="8" y="67"/>
                </a:cubicBezTo>
                <a:cubicBezTo>
                  <a:pt x="9" y="66"/>
                  <a:pt x="9" y="65"/>
                  <a:pt x="8" y="65"/>
                </a:cubicBezTo>
                <a:cubicBezTo>
                  <a:pt x="6" y="62"/>
                  <a:pt x="6" y="63"/>
                  <a:pt x="8" y="60"/>
                </a:cubicBezTo>
                <a:cubicBezTo>
                  <a:pt x="10" y="57"/>
                  <a:pt x="12" y="55"/>
                  <a:pt x="14" y="53"/>
                </a:cubicBezTo>
                <a:cubicBezTo>
                  <a:pt x="14" y="52"/>
                  <a:pt x="14" y="52"/>
                  <a:pt x="14" y="52"/>
                </a:cubicBezTo>
                <a:cubicBezTo>
                  <a:pt x="13" y="53"/>
                  <a:pt x="12" y="54"/>
                  <a:pt x="11" y="54"/>
                </a:cubicBezTo>
                <a:cubicBezTo>
                  <a:pt x="10" y="56"/>
                  <a:pt x="8" y="58"/>
                  <a:pt x="6" y="60"/>
                </a:cubicBezTo>
                <a:cubicBezTo>
                  <a:pt x="5" y="62"/>
                  <a:pt x="3" y="62"/>
                  <a:pt x="2" y="60"/>
                </a:cubicBezTo>
                <a:cubicBezTo>
                  <a:pt x="0" y="57"/>
                  <a:pt x="2" y="55"/>
                  <a:pt x="3" y="54"/>
                </a:cubicBezTo>
                <a:cubicBezTo>
                  <a:pt x="6" y="50"/>
                  <a:pt x="10" y="47"/>
                  <a:pt x="13" y="43"/>
                </a:cubicBezTo>
                <a:cubicBezTo>
                  <a:pt x="11" y="44"/>
                  <a:pt x="8" y="42"/>
                  <a:pt x="8" y="39"/>
                </a:cubicBezTo>
                <a:cubicBezTo>
                  <a:pt x="8" y="38"/>
                  <a:pt x="8" y="37"/>
                  <a:pt x="9" y="37"/>
                </a:cubicBezTo>
                <a:cubicBezTo>
                  <a:pt x="10" y="37"/>
                  <a:pt x="11" y="36"/>
                  <a:pt x="11" y="35"/>
                </a:cubicBezTo>
                <a:cubicBezTo>
                  <a:pt x="10" y="34"/>
                  <a:pt x="10" y="32"/>
                  <a:pt x="9" y="31"/>
                </a:cubicBezTo>
                <a:cubicBezTo>
                  <a:pt x="9" y="30"/>
                  <a:pt x="9" y="29"/>
                  <a:pt x="10" y="29"/>
                </a:cubicBezTo>
                <a:cubicBezTo>
                  <a:pt x="11" y="28"/>
                  <a:pt x="13" y="27"/>
                  <a:pt x="14" y="25"/>
                </a:cubicBezTo>
                <a:cubicBezTo>
                  <a:pt x="14" y="25"/>
                  <a:pt x="15" y="24"/>
                  <a:pt x="15" y="24"/>
                </a:cubicBezTo>
                <a:cubicBezTo>
                  <a:pt x="14" y="23"/>
                  <a:pt x="15" y="22"/>
                  <a:pt x="14" y="21"/>
                </a:cubicBezTo>
                <a:cubicBezTo>
                  <a:pt x="13" y="21"/>
                  <a:pt x="13" y="19"/>
                  <a:pt x="14" y="19"/>
                </a:cubicBezTo>
                <a:cubicBezTo>
                  <a:pt x="15" y="17"/>
                  <a:pt x="16" y="16"/>
                  <a:pt x="18" y="14"/>
                </a:cubicBezTo>
                <a:cubicBezTo>
                  <a:pt x="18" y="14"/>
                  <a:pt x="19" y="13"/>
                  <a:pt x="20" y="12"/>
                </a:cubicBezTo>
                <a:cubicBezTo>
                  <a:pt x="21" y="11"/>
                  <a:pt x="22" y="11"/>
                  <a:pt x="23" y="12"/>
                </a:cubicBezTo>
                <a:cubicBezTo>
                  <a:pt x="24" y="13"/>
                  <a:pt x="26" y="13"/>
                  <a:pt x="27" y="13"/>
                </a:cubicBezTo>
                <a:cubicBezTo>
                  <a:pt x="28" y="13"/>
                  <a:pt x="28" y="13"/>
                  <a:pt x="29" y="14"/>
                </a:cubicBezTo>
                <a:cubicBezTo>
                  <a:pt x="30" y="14"/>
                  <a:pt x="30" y="14"/>
                  <a:pt x="31" y="14"/>
                </a:cubicBezTo>
                <a:cubicBezTo>
                  <a:pt x="33" y="12"/>
                  <a:pt x="35" y="10"/>
                  <a:pt x="37" y="8"/>
                </a:cubicBezTo>
                <a:cubicBezTo>
                  <a:pt x="38" y="8"/>
                  <a:pt x="38" y="8"/>
                  <a:pt x="38" y="8"/>
                </a:cubicBezTo>
                <a:cubicBezTo>
                  <a:pt x="40" y="7"/>
                  <a:pt x="43" y="10"/>
                  <a:pt x="43" y="12"/>
                </a:cubicBezTo>
                <a:cubicBezTo>
                  <a:pt x="46" y="10"/>
                  <a:pt x="49" y="8"/>
                  <a:pt x="52" y="5"/>
                </a:cubicBezTo>
                <a:cubicBezTo>
                  <a:pt x="54" y="3"/>
                  <a:pt x="57" y="4"/>
                  <a:pt x="58" y="7"/>
                </a:cubicBezTo>
                <a:cubicBezTo>
                  <a:pt x="58" y="7"/>
                  <a:pt x="58" y="8"/>
                  <a:pt x="58" y="9"/>
                </a:cubicBezTo>
                <a:cubicBezTo>
                  <a:pt x="59" y="8"/>
                  <a:pt x="60" y="7"/>
                  <a:pt x="61" y="6"/>
                </a:cubicBezTo>
                <a:cubicBezTo>
                  <a:pt x="62" y="4"/>
                  <a:pt x="64" y="4"/>
                  <a:pt x="65" y="6"/>
                </a:cubicBezTo>
                <a:cubicBezTo>
                  <a:pt x="66" y="6"/>
                  <a:pt x="67" y="7"/>
                  <a:pt x="67" y="8"/>
                </a:cubicBezTo>
                <a:cubicBezTo>
                  <a:pt x="67" y="8"/>
                  <a:pt x="68" y="8"/>
                  <a:pt x="68" y="8"/>
                </a:cubicBezTo>
                <a:cubicBezTo>
                  <a:pt x="70" y="6"/>
                  <a:pt x="71" y="5"/>
                  <a:pt x="72" y="4"/>
                </a:cubicBezTo>
                <a:cubicBezTo>
                  <a:pt x="73" y="4"/>
                  <a:pt x="73" y="4"/>
                  <a:pt x="73" y="4"/>
                </a:cubicBezTo>
                <a:cubicBezTo>
                  <a:pt x="75" y="4"/>
                  <a:pt x="77" y="7"/>
                  <a:pt x="76" y="9"/>
                </a:cubicBezTo>
                <a:cubicBezTo>
                  <a:pt x="76" y="9"/>
                  <a:pt x="76" y="9"/>
                  <a:pt x="76" y="9"/>
                </a:cubicBezTo>
                <a:cubicBezTo>
                  <a:pt x="71" y="14"/>
                  <a:pt x="65" y="18"/>
                  <a:pt x="60" y="22"/>
                </a:cubicBezTo>
                <a:cubicBezTo>
                  <a:pt x="58" y="24"/>
                  <a:pt x="56" y="26"/>
                  <a:pt x="53" y="28"/>
                </a:cubicBezTo>
                <a:cubicBezTo>
                  <a:pt x="53" y="29"/>
                  <a:pt x="52" y="29"/>
                  <a:pt x="52" y="29"/>
                </a:cubicBezTo>
                <a:cubicBezTo>
                  <a:pt x="53" y="29"/>
                  <a:pt x="54" y="28"/>
                  <a:pt x="54" y="28"/>
                </a:cubicBezTo>
                <a:cubicBezTo>
                  <a:pt x="58" y="25"/>
                  <a:pt x="62" y="22"/>
                  <a:pt x="66" y="19"/>
                </a:cubicBezTo>
                <a:cubicBezTo>
                  <a:pt x="69" y="17"/>
                  <a:pt x="72" y="14"/>
                  <a:pt x="75" y="12"/>
                </a:cubicBezTo>
                <a:cubicBezTo>
                  <a:pt x="76" y="11"/>
                  <a:pt x="78" y="10"/>
                  <a:pt x="80" y="8"/>
                </a:cubicBezTo>
                <a:cubicBezTo>
                  <a:pt x="80" y="8"/>
                  <a:pt x="83" y="9"/>
                  <a:pt x="83" y="10"/>
                </a:cubicBezTo>
                <a:cubicBezTo>
                  <a:pt x="83" y="11"/>
                  <a:pt x="83" y="11"/>
                  <a:pt x="84" y="12"/>
                </a:cubicBezTo>
                <a:cubicBezTo>
                  <a:pt x="86" y="10"/>
                  <a:pt x="88" y="9"/>
                  <a:pt x="91" y="7"/>
                </a:cubicBezTo>
                <a:cubicBezTo>
                  <a:pt x="94" y="6"/>
                  <a:pt x="96" y="4"/>
                  <a:pt x="99" y="2"/>
                </a:cubicBezTo>
                <a:cubicBezTo>
                  <a:pt x="100" y="1"/>
                  <a:pt x="101" y="1"/>
                  <a:pt x="102" y="2"/>
                </a:cubicBezTo>
                <a:cubicBezTo>
                  <a:pt x="104" y="3"/>
                  <a:pt x="105" y="4"/>
                  <a:pt x="107" y="5"/>
                </a:cubicBezTo>
                <a:cubicBezTo>
                  <a:pt x="108" y="6"/>
                  <a:pt x="108" y="7"/>
                  <a:pt x="107" y="8"/>
                </a:cubicBezTo>
                <a:cubicBezTo>
                  <a:pt x="105" y="11"/>
                  <a:pt x="102" y="13"/>
                  <a:pt x="99" y="15"/>
                </a:cubicBezTo>
                <a:cubicBezTo>
                  <a:pt x="98" y="16"/>
                  <a:pt x="97" y="17"/>
                  <a:pt x="96" y="18"/>
                </a:cubicBezTo>
                <a:cubicBezTo>
                  <a:pt x="96" y="18"/>
                  <a:pt x="97" y="18"/>
                  <a:pt x="97" y="18"/>
                </a:cubicBezTo>
                <a:cubicBezTo>
                  <a:pt x="98" y="17"/>
                  <a:pt x="100" y="15"/>
                  <a:pt x="102" y="14"/>
                </a:cubicBezTo>
                <a:cubicBezTo>
                  <a:pt x="102" y="14"/>
                  <a:pt x="103" y="13"/>
                  <a:pt x="103" y="14"/>
                </a:cubicBezTo>
                <a:cubicBezTo>
                  <a:pt x="104" y="14"/>
                  <a:pt x="105" y="13"/>
                  <a:pt x="105" y="13"/>
                </a:cubicBezTo>
                <a:cubicBezTo>
                  <a:pt x="109" y="10"/>
                  <a:pt x="114" y="8"/>
                  <a:pt x="118" y="6"/>
                </a:cubicBezTo>
                <a:cubicBezTo>
                  <a:pt x="119" y="5"/>
                  <a:pt x="121" y="5"/>
                  <a:pt x="122" y="4"/>
                </a:cubicBezTo>
                <a:cubicBezTo>
                  <a:pt x="123" y="3"/>
                  <a:pt x="124" y="2"/>
                  <a:pt x="125" y="1"/>
                </a:cubicBezTo>
                <a:cubicBezTo>
                  <a:pt x="126" y="1"/>
                  <a:pt x="127" y="0"/>
                  <a:pt x="128" y="1"/>
                </a:cubicBezTo>
                <a:cubicBezTo>
                  <a:pt x="128" y="2"/>
                  <a:pt x="129" y="2"/>
                  <a:pt x="130" y="3"/>
                </a:cubicBezTo>
                <a:cubicBezTo>
                  <a:pt x="131" y="4"/>
                  <a:pt x="130" y="6"/>
                  <a:pt x="129" y="7"/>
                </a:cubicBezTo>
                <a:cubicBezTo>
                  <a:pt x="128" y="8"/>
                  <a:pt x="128" y="8"/>
                  <a:pt x="127" y="8"/>
                </a:cubicBezTo>
                <a:cubicBezTo>
                  <a:pt x="126" y="9"/>
                  <a:pt x="126" y="10"/>
                  <a:pt x="127" y="11"/>
                </a:cubicBezTo>
                <a:cubicBezTo>
                  <a:pt x="125" y="13"/>
                  <a:pt x="122" y="15"/>
                  <a:pt x="120" y="17"/>
                </a:cubicBezTo>
                <a:cubicBezTo>
                  <a:pt x="120" y="17"/>
                  <a:pt x="120" y="17"/>
                  <a:pt x="121" y="18"/>
                </a:cubicBezTo>
                <a:cubicBezTo>
                  <a:pt x="127" y="13"/>
                  <a:pt x="134" y="8"/>
                  <a:pt x="141" y="3"/>
                </a:cubicBezTo>
                <a:cubicBezTo>
                  <a:pt x="142" y="3"/>
                  <a:pt x="143" y="4"/>
                  <a:pt x="144" y="5"/>
                </a:cubicBezTo>
                <a:cubicBezTo>
                  <a:pt x="145" y="4"/>
                  <a:pt x="146" y="3"/>
                  <a:pt x="147" y="3"/>
                </a:cubicBezTo>
                <a:cubicBezTo>
                  <a:pt x="148" y="3"/>
                  <a:pt x="149" y="3"/>
                  <a:pt x="149" y="4"/>
                </a:cubicBezTo>
                <a:cubicBezTo>
                  <a:pt x="150" y="5"/>
                  <a:pt x="150" y="5"/>
                  <a:pt x="151" y="6"/>
                </a:cubicBezTo>
                <a:cubicBezTo>
                  <a:pt x="152" y="5"/>
                  <a:pt x="154" y="3"/>
                  <a:pt x="156" y="2"/>
                </a:cubicBezTo>
                <a:cubicBezTo>
                  <a:pt x="157" y="3"/>
                  <a:pt x="158" y="4"/>
                  <a:pt x="160" y="6"/>
                </a:cubicBezTo>
                <a:cubicBezTo>
                  <a:pt x="160" y="5"/>
                  <a:pt x="161" y="5"/>
                  <a:pt x="161" y="4"/>
                </a:cubicBezTo>
                <a:cubicBezTo>
                  <a:pt x="162" y="3"/>
                  <a:pt x="163" y="3"/>
                  <a:pt x="164" y="4"/>
                </a:cubicBezTo>
                <a:cubicBezTo>
                  <a:pt x="165" y="5"/>
                  <a:pt x="166" y="6"/>
                  <a:pt x="166" y="8"/>
                </a:cubicBezTo>
                <a:cubicBezTo>
                  <a:pt x="166" y="8"/>
                  <a:pt x="166" y="9"/>
                  <a:pt x="166" y="9"/>
                </a:cubicBezTo>
                <a:cubicBezTo>
                  <a:pt x="169" y="8"/>
                  <a:pt x="171" y="8"/>
                  <a:pt x="173" y="7"/>
                </a:cubicBezTo>
                <a:cubicBezTo>
                  <a:pt x="173" y="7"/>
                  <a:pt x="174" y="6"/>
                  <a:pt x="174" y="6"/>
                </a:cubicBezTo>
                <a:cubicBezTo>
                  <a:pt x="175" y="5"/>
                  <a:pt x="175" y="5"/>
                  <a:pt x="176" y="5"/>
                </a:cubicBezTo>
                <a:cubicBezTo>
                  <a:pt x="178" y="5"/>
                  <a:pt x="180" y="7"/>
                  <a:pt x="180" y="9"/>
                </a:cubicBezTo>
                <a:cubicBezTo>
                  <a:pt x="180" y="10"/>
                  <a:pt x="179" y="10"/>
                  <a:pt x="179" y="11"/>
                </a:cubicBezTo>
                <a:cubicBezTo>
                  <a:pt x="181" y="9"/>
                  <a:pt x="183" y="8"/>
                  <a:pt x="185" y="6"/>
                </a:cubicBezTo>
                <a:cubicBezTo>
                  <a:pt x="185" y="5"/>
                  <a:pt x="186" y="4"/>
                  <a:pt x="187" y="4"/>
                </a:cubicBezTo>
                <a:cubicBezTo>
                  <a:pt x="188" y="5"/>
                  <a:pt x="190" y="5"/>
                  <a:pt x="190" y="7"/>
                </a:cubicBezTo>
                <a:cubicBezTo>
                  <a:pt x="190" y="7"/>
                  <a:pt x="190" y="7"/>
                  <a:pt x="191" y="8"/>
                </a:cubicBezTo>
                <a:cubicBezTo>
                  <a:pt x="192" y="9"/>
                  <a:pt x="194" y="11"/>
                  <a:pt x="195" y="13"/>
                </a:cubicBezTo>
                <a:cubicBezTo>
                  <a:pt x="192" y="17"/>
                  <a:pt x="189" y="20"/>
                  <a:pt x="186" y="24"/>
                </a:cubicBezTo>
                <a:cubicBezTo>
                  <a:pt x="186" y="24"/>
                  <a:pt x="186" y="24"/>
                  <a:pt x="187" y="25"/>
                </a:cubicBezTo>
                <a:cubicBezTo>
                  <a:pt x="188" y="24"/>
                  <a:pt x="189" y="23"/>
                  <a:pt x="190" y="22"/>
                </a:cubicBezTo>
                <a:cubicBezTo>
                  <a:pt x="190" y="22"/>
                  <a:pt x="191" y="21"/>
                  <a:pt x="192" y="22"/>
                </a:cubicBezTo>
                <a:cubicBezTo>
                  <a:pt x="195" y="23"/>
                  <a:pt x="196" y="25"/>
                  <a:pt x="194" y="28"/>
                </a:cubicBezTo>
                <a:cubicBezTo>
                  <a:pt x="194" y="29"/>
                  <a:pt x="193" y="30"/>
                  <a:pt x="192" y="31"/>
                </a:cubicBezTo>
                <a:cubicBezTo>
                  <a:pt x="192" y="31"/>
                  <a:pt x="192" y="31"/>
                  <a:pt x="192" y="32"/>
                </a:cubicBezTo>
                <a:cubicBezTo>
                  <a:pt x="193" y="31"/>
                  <a:pt x="194" y="30"/>
                  <a:pt x="195" y="30"/>
                </a:cubicBezTo>
                <a:cubicBezTo>
                  <a:pt x="197" y="28"/>
                  <a:pt x="199" y="28"/>
                  <a:pt x="200" y="30"/>
                </a:cubicBezTo>
                <a:cubicBezTo>
                  <a:pt x="201" y="31"/>
                  <a:pt x="201" y="31"/>
                  <a:pt x="202" y="32"/>
                </a:cubicBezTo>
                <a:cubicBezTo>
                  <a:pt x="199" y="36"/>
                  <a:pt x="196" y="40"/>
                  <a:pt x="193" y="44"/>
                </a:cubicBezTo>
                <a:cubicBezTo>
                  <a:pt x="191" y="46"/>
                  <a:pt x="191" y="47"/>
                  <a:pt x="193" y="48"/>
                </a:cubicBezTo>
                <a:cubicBezTo>
                  <a:pt x="193" y="48"/>
                  <a:pt x="193" y="48"/>
                  <a:pt x="193" y="48"/>
                </a:cubicBezTo>
                <a:cubicBezTo>
                  <a:pt x="194" y="48"/>
                  <a:pt x="195" y="46"/>
                  <a:pt x="196" y="46"/>
                </a:cubicBezTo>
                <a:cubicBezTo>
                  <a:pt x="197" y="47"/>
                  <a:pt x="198" y="48"/>
                  <a:pt x="199" y="49"/>
                </a:cubicBezTo>
                <a:cubicBezTo>
                  <a:pt x="200" y="50"/>
                  <a:pt x="199" y="51"/>
                  <a:pt x="199" y="52"/>
                </a:cubicBezTo>
                <a:cubicBezTo>
                  <a:pt x="197" y="54"/>
                  <a:pt x="196" y="56"/>
                  <a:pt x="194" y="58"/>
                </a:cubicBezTo>
                <a:cubicBezTo>
                  <a:pt x="194" y="58"/>
                  <a:pt x="194" y="59"/>
                  <a:pt x="194" y="59"/>
                </a:cubicBezTo>
                <a:cubicBezTo>
                  <a:pt x="195" y="59"/>
                  <a:pt x="195" y="58"/>
                  <a:pt x="195" y="58"/>
                </a:cubicBezTo>
                <a:cubicBezTo>
                  <a:pt x="196" y="56"/>
                  <a:pt x="198" y="56"/>
                  <a:pt x="199" y="58"/>
                </a:cubicBezTo>
                <a:cubicBezTo>
                  <a:pt x="202" y="61"/>
                  <a:pt x="201" y="61"/>
                  <a:pt x="199" y="63"/>
                </a:cubicBezTo>
                <a:cubicBezTo>
                  <a:pt x="198" y="65"/>
                  <a:pt x="197" y="67"/>
                  <a:pt x="195" y="68"/>
                </a:cubicBezTo>
                <a:cubicBezTo>
                  <a:pt x="198" y="69"/>
                  <a:pt x="198" y="71"/>
                  <a:pt x="199" y="72"/>
                </a:cubicBezTo>
                <a:cubicBezTo>
                  <a:pt x="199" y="72"/>
                  <a:pt x="199" y="73"/>
                  <a:pt x="199" y="74"/>
                </a:cubicBezTo>
                <a:cubicBezTo>
                  <a:pt x="197" y="77"/>
                  <a:pt x="195" y="80"/>
                  <a:pt x="194" y="83"/>
                </a:cubicBezTo>
                <a:cubicBezTo>
                  <a:pt x="193" y="83"/>
                  <a:pt x="193" y="84"/>
                  <a:pt x="193" y="85"/>
                </a:cubicBezTo>
                <a:cubicBezTo>
                  <a:pt x="193" y="86"/>
                  <a:pt x="193" y="87"/>
                  <a:pt x="192" y="88"/>
                </a:cubicBezTo>
                <a:cubicBezTo>
                  <a:pt x="191" y="88"/>
                  <a:pt x="191" y="89"/>
                  <a:pt x="191" y="89"/>
                </a:cubicBezTo>
                <a:cubicBezTo>
                  <a:pt x="191" y="90"/>
                  <a:pt x="192" y="90"/>
                  <a:pt x="192" y="90"/>
                </a:cubicBezTo>
                <a:cubicBezTo>
                  <a:pt x="194" y="91"/>
                  <a:pt x="195" y="93"/>
                  <a:pt x="194" y="95"/>
                </a:cubicBezTo>
                <a:cubicBezTo>
                  <a:pt x="193" y="97"/>
                  <a:pt x="192" y="99"/>
                  <a:pt x="191" y="101"/>
                </a:cubicBezTo>
                <a:cubicBezTo>
                  <a:pt x="192" y="101"/>
                  <a:pt x="193" y="101"/>
                  <a:pt x="194" y="100"/>
                </a:cubicBezTo>
                <a:cubicBezTo>
                  <a:pt x="195" y="99"/>
                  <a:pt x="196" y="100"/>
                  <a:pt x="197" y="100"/>
                </a:cubicBezTo>
                <a:cubicBezTo>
                  <a:pt x="198" y="100"/>
                  <a:pt x="199" y="101"/>
                  <a:pt x="199" y="102"/>
                </a:cubicBezTo>
                <a:cubicBezTo>
                  <a:pt x="200" y="104"/>
                  <a:pt x="199" y="106"/>
                  <a:pt x="198" y="107"/>
                </a:cubicBezTo>
                <a:cubicBezTo>
                  <a:pt x="200" y="108"/>
                  <a:pt x="201" y="109"/>
                  <a:pt x="200" y="111"/>
                </a:cubicBezTo>
                <a:cubicBezTo>
                  <a:pt x="200" y="113"/>
                  <a:pt x="199" y="114"/>
                  <a:pt x="197" y="116"/>
                </a:cubicBezTo>
                <a:cubicBezTo>
                  <a:pt x="198" y="116"/>
                  <a:pt x="199" y="117"/>
                  <a:pt x="200" y="117"/>
                </a:cubicBezTo>
                <a:cubicBezTo>
                  <a:pt x="202" y="118"/>
                  <a:pt x="202" y="120"/>
                  <a:pt x="201" y="122"/>
                </a:cubicBezTo>
                <a:cubicBezTo>
                  <a:pt x="199" y="124"/>
                  <a:pt x="198" y="126"/>
                  <a:pt x="196" y="128"/>
                </a:cubicBezTo>
                <a:cubicBezTo>
                  <a:pt x="198" y="129"/>
                  <a:pt x="201" y="129"/>
                  <a:pt x="200" y="131"/>
                </a:cubicBezTo>
                <a:cubicBezTo>
                  <a:pt x="200" y="133"/>
                  <a:pt x="199" y="135"/>
                  <a:pt x="198" y="137"/>
                </a:cubicBezTo>
                <a:cubicBezTo>
                  <a:pt x="198" y="137"/>
                  <a:pt x="198" y="137"/>
                  <a:pt x="198" y="137"/>
                </a:cubicBezTo>
                <a:cubicBezTo>
                  <a:pt x="199" y="137"/>
                  <a:pt x="200" y="137"/>
                  <a:pt x="200" y="138"/>
                </a:cubicBezTo>
                <a:cubicBezTo>
                  <a:pt x="201" y="140"/>
                  <a:pt x="201" y="141"/>
                  <a:pt x="200" y="143"/>
                </a:cubicBezTo>
                <a:cubicBezTo>
                  <a:pt x="200" y="144"/>
                  <a:pt x="199" y="144"/>
                  <a:pt x="199" y="145"/>
                </a:cubicBezTo>
                <a:cubicBezTo>
                  <a:pt x="198" y="146"/>
                  <a:pt x="198" y="146"/>
                  <a:pt x="199" y="146"/>
                </a:cubicBezTo>
                <a:cubicBezTo>
                  <a:pt x="201" y="149"/>
                  <a:pt x="199" y="152"/>
                  <a:pt x="197" y="154"/>
                </a:cubicBezTo>
                <a:cubicBezTo>
                  <a:pt x="197" y="154"/>
                  <a:pt x="197" y="154"/>
                  <a:pt x="197" y="154"/>
                </a:cubicBezTo>
                <a:cubicBezTo>
                  <a:pt x="198" y="156"/>
                  <a:pt x="198" y="159"/>
                  <a:pt x="199" y="161"/>
                </a:cubicBezTo>
                <a:cubicBezTo>
                  <a:pt x="199" y="162"/>
                  <a:pt x="198" y="163"/>
                  <a:pt x="197" y="164"/>
                </a:cubicBezTo>
                <a:cubicBezTo>
                  <a:pt x="195" y="166"/>
                  <a:pt x="193" y="169"/>
                  <a:pt x="190" y="171"/>
                </a:cubicBezTo>
                <a:cubicBezTo>
                  <a:pt x="188" y="173"/>
                  <a:pt x="186" y="175"/>
                  <a:pt x="184" y="176"/>
                </a:cubicBezTo>
                <a:cubicBezTo>
                  <a:pt x="183" y="177"/>
                  <a:pt x="183" y="177"/>
                  <a:pt x="183" y="177"/>
                </a:cubicBezTo>
                <a:cubicBezTo>
                  <a:pt x="181" y="176"/>
                  <a:pt x="181" y="177"/>
                  <a:pt x="180" y="178"/>
                </a:cubicBezTo>
                <a:cubicBezTo>
                  <a:pt x="179" y="178"/>
                  <a:pt x="178" y="179"/>
                  <a:pt x="177" y="178"/>
                </a:cubicBezTo>
                <a:cubicBezTo>
                  <a:pt x="176" y="177"/>
                  <a:pt x="175" y="176"/>
                  <a:pt x="174" y="176"/>
                </a:cubicBezTo>
                <a:cubicBezTo>
                  <a:pt x="173" y="177"/>
                  <a:pt x="172" y="178"/>
                  <a:pt x="171" y="179"/>
                </a:cubicBezTo>
                <a:cubicBezTo>
                  <a:pt x="170" y="181"/>
                  <a:pt x="169" y="181"/>
                  <a:pt x="167" y="180"/>
                </a:cubicBezTo>
                <a:cubicBezTo>
                  <a:pt x="166" y="179"/>
                  <a:pt x="165" y="178"/>
                  <a:pt x="165" y="176"/>
                </a:cubicBezTo>
                <a:cubicBezTo>
                  <a:pt x="164" y="176"/>
                  <a:pt x="163" y="177"/>
                  <a:pt x="162" y="177"/>
                </a:cubicBezTo>
                <a:cubicBezTo>
                  <a:pt x="161" y="177"/>
                  <a:pt x="160" y="176"/>
                  <a:pt x="159" y="176"/>
                </a:cubicBezTo>
                <a:cubicBezTo>
                  <a:pt x="158" y="175"/>
                  <a:pt x="158" y="175"/>
                  <a:pt x="157" y="176"/>
                </a:cubicBezTo>
                <a:cubicBezTo>
                  <a:pt x="155" y="176"/>
                  <a:pt x="154" y="176"/>
                  <a:pt x="153" y="175"/>
                </a:cubicBezTo>
                <a:cubicBezTo>
                  <a:pt x="153" y="175"/>
                  <a:pt x="152" y="174"/>
                  <a:pt x="152" y="175"/>
                </a:cubicBezTo>
                <a:cubicBezTo>
                  <a:pt x="150" y="175"/>
                  <a:pt x="149" y="175"/>
                  <a:pt x="148" y="174"/>
                </a:cubicBezTo>
                <a:cubicBezTo>
                  <a:pt x="147" y="174"/>
                  <a:pt x="146" y="174"/>
                  <a:pt x="146" y="174"/>
                </a:cubicBezTo>
                <a:cubicBezTo>
                  <a:pt x="144" y="176"/>
                  <a:pt x="143" y="177"/>
                  <a:pt x="140" y="175"/>
                </a:cubicBezTo>
                <a:cubicBezTo>
                  <a:pt x="140" y="175"/>
                  <a:pt x="139" y="175"/>
                  <a:pt x="138" y="175"/>
                </a:cubicBezTo>
                <a:cubicBezTo>
                  <a:pt x="137" y="175"/>
                  <a:pt x="137" y="175"/>
                  <a:pt x="136" y="175"/>
                </a:cubicBezTo>
                <a:cubicBezTo>
                  <a:pt x="135" y="177"/>
                  <a:pt x="134" y="177"/>
                  <a:pt x="132" y="176"/>
                </a:cubicBezTo>
                <a:cubicBezTo>
                  <a:pt x="132" y="176"/>
                  <a:pt x="131" y="176"/>
                  <a:pt x="130" y="176"/>
                </a:cubicBezTo>
                <a:cubicBezTo>
                  <a:pt x="128" y="178"/>
                  <a:pt x="128" y="178"/>
                  <a:pt x="126" y="177"/>
                </a:cubicBezTo>
                <a:close/>
                <a:moveTo>
                  <a:pt x="48" y="157"/>
                </a:moveTo>
                <a:cubicBezTo>
                  <a:pt x="48" y="157"/>
                  <a:pt x="48" y="157"/>
                  <a:pt x="47" y="156"/>
                </a:cubicBezTo>
                <a:cubicBezTo>
                  <a:pt x="45" y="159"/>
                  <a:pt x="43" y="161"/>
                  <a:pt x="41" y="163"/>
                </a:cubicBezTo>
                <a:cubicBezTo>
                  <a:pt x="41" y="163"/>
                  <a:pt x="42" y="163"/>
                  <a:pt x="42" y="163"/>
                </a:cubicBezTo>
                <a:cubicBezTo>
                  <a:pt x="44" y="161"/>
                  <a:pt x="45" y="160"/>
                  <a:pt x="47" y="158"/>
                </a:cubicBezTo>
                <a:cubicBezTo>
                  <a:pt x="48" y="158"/>
                  <a:pt x="48" y="157"/>
                  <a:pt x="48" y="157"/>
                </a:cubicBezTo>
                <a:close/>
                <a:moveTo>
                  <a:pt x="21" y="127"/>
                </a:moveTo>
                <a:cubicBezTo>
                  <a:pt x="21" y="127"/>
                  <a:pt x="21" y="127"/>
                  <a:pt x="21" y="128"/>
                </a:cubicBezTo>
                <a:cubicBezTo>
                  <a:pt x="23" y="126"/>
                  <a:pt x="24" y="125"/>
                  <a:pt x="26" y="124"/>
                </a:cubicBezTo>
                <a:cubicBezTo>
                  <a:pt x="26" y="123"/>
                  <a:pt x="26" y="123"/>
                  <a:pt x="26" y="121"/>
                </a:cubicBezTo>
                <a:cubicBezTo>
                  <a:pt x="24" y="123"/>
                  <a:pt x="23" y="125"/>
                  <a:pt x="21" y="127"/>
                </a:cubicBezTo>
                <a:close/>
                <a:moveTo>
                  <a:pt x="69" y="24"/>
                </a:moveTo>
                <a:cubicBezTo>
                  <a:pt x="67" y="25"/>
                  <a:pt x="68" y="27"/>
                  <a:pt x="68" y="28"/>
                </a:cubicBezTo>
                <a:cubicBezTo>
                  <a:pt x="69" y="27"/>
                  <a:pt x="70" y="26"/>
                  <a:pt x="69" y="24"/>
                </a:cubicBezTo>
                <a:close/>
              </a:path>
            </a:pathLst>
          </a:custGeom>
          <a:solidFill>
            <a:srgbClr val="43B02A"/>
          </a:solidFill>
          <a:ln>
            <a:noFill/>
          </a:ln>
        </p:spPr>
        <p:txBody>
          <a:bodyPr vert="horz" wrap="square" lIns="91411" tIns="45704" rIns="91411" bIns="45704" numCol="1" anchor="ctr" anchorCtr="0" compatLnSpc="1">
            <a:prstTxWarp prst="textNoShape">
              <a:avLst/>
            </a:prstTxWarp>
          </a:bodyPr>
          <a:lstStyle/>
          <a:p>
            <a:pPr algn="ctr" defTabSz="913686" fontAlgn="base">
              <a:spcBef>
                <a:spcPct val="0"/>
              </a:spcBef>
              <a:spcAft>
                <a:spcPct val="0"/>
              </a:spcAft>
            </a:pPr>
            <a:r>
              <a:rPr lang="en-US" b="1" dirty="0">
                <a:solidFill>
                  <a:prstClr val="white"/>
                </a:solidFill>
                <a:cs typeface="Arial" charset="0"/>
              </a:rPr>
              <a:t>Lorem ipsum dolor</a:t>
            </a:r>
          </a:p>
        </p:txBody>
      </p:sp>
      <p:sp>
        <p:nvSpPr>
          <p:cNvPr id="51" name="Freeform 26">
            <a:extLst>
              <a:ext uri="{FF2B5EF4-FFF2-40B4-BE49-F238E27FC236}">
                <a16:creationId xmlns:a16="http://schemas.microsoft.com/office/drawing/2014/main" id="{DC3585D4-B811-E54D-AE4E-2E2B4CA9367E}"/>
              </a:ext>
            </a:extLst>
          </p:cNvPr>
          <p:cNvSpPr>
            <a:spLocks noEditPoints="1"/>
          </p:cNvSpPr>
          <p:nvPr/>
        </p:nvSpPr>
        <p:spPr bwMode="auto">
          <a:xfrm>
            <a:off x="5353998" y="2603058"/>
            <a:ext cx="1482095" cy="1350187"/>
          </a:xfrm>
          <a:custGeom>
            <a:avLst/>
            <a:gdLst>
              <a:gd name="T0" fmla="*/ 116 w 202"/>
              <a:gd name="T1" fmla="*/ 174 h 184"/>
              <a:gd name="T2" fmla="*/ 95 w 202"/>
              <a:gd name="T3" fmla="*/ 179 h 184"/>
              <a:gd name="T4" fmla="*/ 85 w 202"/>
              <a:gd name="T5" fmla="*/ 176 h 184"/>
              <a:gd name="T6" fmla="*/ 77 w 202"/>
              <a:gd name="T7" fmla="*/ 171 h 184"/>
              <a:gd name="T8" fmla="*/ 60 w 202"/>
              <a:gd name="T9" fmla="*/ 174 h 184"/>
              <a:gd name="T10" fmla="*/ 46 w 202"/>
              <a:gd name="T11" fmla="*/ 177 h 184"/>
              <a:gd name="T12" fmla="*/ 34 w 202"/>
              <a:gd name="T13" fmla="*/ 177 h 184"/>
              <a:gd name="T14" fmla="*/ 28 w 202"/>
              <a:gd name="T15" fmla="*/ 180 h 184"/>
              <a:gd name="T16" fmla="*/ 16 w 202"/>
              <a:gd name="T17" fmla="*/ 179 h 184"/>
              <a:gd name="T18" fmla="*/ 13 w 202"/>
              <a:gd name="T19" fmla="*/ 166 h 184"/>
              <a:gd name="T20" fmla="*/ 16 w 202"/>
              <a:gd name="T21" fmla="*/ 151 h 184"/>
              <a:gd name="T22" fmla="*/ 14 w 202"/>
              <a:gd name="T23" fmla="*/ 140 h 184"/>
              <a:gd name="T24" fmla="*/ 13 w 202"/>
              <a:gd name="T25" fmla="*/ 128 h 184"/>
              <a:gd name="T26" fmla="*/ 11 w 202"/>
              <a:gd name="T27" fmla="*/ 116 h 184"/>
              <a:gd name="T28" fmla="*/ 7 w 202"/>
              <a:gd name="T29" fmla="*/ 104 h 184"/>
              <a:gd name="T30" fmla="*/ 6 w 202"/>
              <a:gd name="T31" fmla="*/ 92 h 184"/>
              <a:gd name="T32" fmla="*/ 5 w 202"/>
              <a:gd name="T33" fmla="*/ 79 h 184"/>
              <a:gd name="T34" fmla="*/ 8 w 202"/>
              <a:gd name="T35" fmla="*/ 65 h 184"/>
              <a:gd name="T36" fmla="*/ 11 w 202"/>
              <a:gd name="T37" fmla="*/ 54 h 184"/>
              <a:gd name="T38" fmla="*/ 13 w 202"/>
              <a:gd name="T39" fmla="*/ 43 h 184"/>
              <a:gd name="T40" fmla="*/ 9 w 202"/>
              <a:gd name="T41" fmla="*/ 31 h 184"/>
              <a:gd name="T42" fmla="*/ 14 w 202"/>
              <a:gd name="T43" fmla="*/ 21 h 184"/>
              <a:gd name="T44" fmla="*/ 23 w 202"/>
              <a:gd name="T45" fmla="*/ 12 h 184"/>
              <a:gd name="T46" fmla="*/ 37 w 202"/>
              <a:gd name="T47" fmla="*/ 8 h 184"/>
              <a:gd name="T48" fmla="*/ 58 w 202"/>
              <a:gd name="T49" fmla="*/ 7 h 184"/>
              <a:gd name="T50" fmla="*/ 67 w 202"/>
              <a:gd name="T51" fmla="*/ 8 h 184"/>
              <a:gd name="T52" fmla="*/ 76 w 202"/>
              <a:gd name="T53" fmla="*/ 9 h 184"/>
              <a:gd name="T54" fmla="*/ 52 w 202"/>
              <a:gd name="T55" fmla="*/ 29 h 184"/>
              <a:gd name="T56" fmla="*/ 80 w 202"/>
              <a:gd name="T57" fmla="*/ 8 h 184"/>
              <a:gd name="T58" fmla="*/ 99 w 202"/>
              <a:gd name="T59" fmla="*/ 2 h 184"/>
              <a:gd name="T60" fmla="*/ 99 w 202"/>
              <a:gd name="T61" fmla="*/ 15 h 184"/>
              <a:gd name="T62" fmla="*/ 103 w 202"/>
              <a:gd name="T63" fmla="*/ 14 h 184"/>
              <a:gd name="T64" fmla="*/ 125 w 202"/>
              <a:gd name="T65" fmla="*/ 1 h 184"/>
              <a:gd name="T66" fmla="*/ 127 w 202"/>
              <a:gd name="T67" fmla="*/ 8 h 184"/>
              <a:gd name="T68" fmla="*/ 141 w 202"/>
              <a:gd name="T69" fmla="*/ 3 h 184"/>
              <a:gd name="T70" fmla="*/ 151 w 202"/>
              <a:gd name="T71" fmla="*/ 6 h 184"/>
              <a:gd name="T72" fmla="*/ 164 w 202"/>
              <a:gd name="T73" fmla="*/ 4 h 184"/>
              <a:gd name="T74" fmla="*/ 174 w 202"/>
              <a:gd name="T75" fmla="*/ 6 h 184"/>
              <a:gd name="T76" fmla="*/ 185 w 202"/>
              <a:gd name="T77" fmla="*/ 6 h 184"/>
              <a:gd name="T78" fmla="*/ 195 w 202"/>
              <a:gd name="T79" fmla="*/ 13 h 184"/>
              <a:gd name="T80" fmla="*/ 192 w 202"/>
              <a:gd name="T81" fmla="*/ 22 h 184"/>
              <a:gd name="T82" fmla="*/ 195 w 202"/>
              <a:gd name="T83" fmla="*/ 30 h 184"/>
              <a:gd name="T84" fmla="*/ 193 w 202"/>
              <a:gd name="T85" fmla="*/ 48 h 184"/>
              <a:gd name="T86" fmla="*/ 199 w 202"/>
              <a:gd name="T87" fmla="*/ 52 h 184"/>
              <a:gd name="T88" fmla="*/ 199 w 202"/>
              <a:gd name="T89" fmla="*/ 58 h 184"/>
              <a:gd name="T90" fmla="*/ 199 w 202"/>
              <a:gd name="T91" fmla="*/ 74 h 184"/>
              <a:gd name="T92" fmla="*/ 191 w 202"/>
              <a:gd name="T93" fmla="*/ 89 h 184"/>
              <a:gd name="T94" fmla="*/ 194 w 202"/>
              <a:gd name="T95" fmla="*/ 100 h 184"/>
              <a:gd name="T96" fmla="*/ 200 w 202"/>
              <a:gd name="T97" fmla="*/ 111 h 184"/>
              <a:gd name="T98" fmla="*/ 196 w 202"/>
              <a:gd name="T99" fmla="*/ 128 h 184"/>
              <a:gd name="T100" fmla="*/ 200 w 202"/>
              <a:gd name="T101" fmla="*/ 138 h 184"/>
              <a:gd name="T102" fmla="*/ 197 w 202"/>
              <a:gd name="T103" fmla="*/ 154 h 184"/>
              <a:gd name="T104" fmla="*/ 190 w 202"/>
              <a:gd name="T105" fmla="*/ 171 h 184"/>
              <a:gd name="T106" fmla="*/ 177 w 202"/>
              <a:gd name="T107" fmla="*/ 178 h 184"/>
              <a:gd name="T108" fmla="*/ 165 w 202"/>
              <a:gd name="T109" fmla="*/ 176 h 184"/>
              <a:gd name="T110" fmla="*/ 153 w 202"/>
              <a:gd name="T111" fmla="*/ 175 h 184"/>
              <a:gd name="T112" fmla="*/ 140 w 202"/>
              <a:gd name="T113" fmla="*/ 175 h 184"/>
              <a:gd name="T114" fmla="*/ 130 w 202"/>
              <a:gd name="T115" fmla="*/ 176 h 184"/>
              <a:gd name="T116" fmla="*/ 41 w 202"/>
              <a:gd name="T117" fmla="*/ 163 h 184"/>
              <a:gd name="T118" fmla="*/ 21 w 202"/>
              <a:gd name="T119" fmla="*/ 127 h 184"/>
              <a:gd name="T120" fmla="*/ 21 w 202"/>
              <a:gd name="T121" fmla="*/ 12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184">
                <a:moveTo>
                  <a:pt x="126" y="177"/>
                </a:moveTo>
                <a:cubicBezTo>
                  <a:pt x="124" y="177"/>
                  <a:pt x="123" y="179"/>
                  <a:pt x="121" y="178"/>
                </a:cubicBezTo>
                <a:cubicBezTo>
                  <a:pt x="119" y="176"/>
                  <a:pt x="118" y="175"/>
                  <a:pt x="119" y="173"/>
                </a:cubicBezTo>
                <a:cubicBezTo>
                  <a:pt x="118" y="174"/>
                  <a:pt x="117" y="174"/>
                  <a:pt x="116" y="174"/>
                </a:cubicBezTo>
                <a:cubicBezTo>
                  <a:pt x="114" y="175"/>
                  <a:pt x="112" y="177"/>
                  <a:pt x="111" y="178"/>
                </a:cubicBezTo>
                <a:cubicBezTo>
                  <a:pt x="107" y="179"/>
                  <a:pt x="107" y="179"/>
                  <a:pt x="104" y="177"/>
                </a:cubicBezTo>
                <a:cubicBezTo>
                  <a:pt x="102" y="178"/>
                  <a:pt x="101" y="178"/>
                  <a:pt x="98" y="178"/>
                </a:cubicBezTo>
                <a:cubicBezTo>
                  <a:pt x="97" y="177"/>
                  <a:pt x="96" y="178"/>
                  <a:pt x="95" y="179"/>
                </a:cubicBezTo>
                <a:cubicBezTo>
                  <a:pt x="93" y="179"/>
                  <a:pt x="91" y="180"/>
                  <a:pt x="89" y="181"/>
                </a:cubicBezTo>
                <a:cubicBezTo>
                  <a:pt x="88" y="181"/>
                  <a:pt x="87" y="182"/>
                  <a:pt x="86" y="180"/>
                </a:cubicBezTo>
                <a:cubicBezTo>
                  <a:pt x="86" y="179"/>
                  <a:pt x="85" y="179"/>
                  <a:pt x="85" y="178"/>
                </a:cubicBezTo>
                <a:cubicBezTo>
                  <a:pt x="85" y="177"/>
                  <a:pt x="85" y="177"/>
                  <a:pt x="85" y="176"/>
                </a:cubicBezTo>
                <a:cubicBezTo>
                  <a:pt x="86" y="175"/>
                  <a:pt x="87" y="174"/>
                  <a:pt x="88" y="173"/>
                </a:cubicBezTo>
                <a:cubicBezTo>
                  <a:pt x="88" y="173"/>
                  <a:pt x="88" y="173"/>
                  <a:pt x="88" y="173"/>
                </a:cubicBezTo>
                <a:cubicBezTo>
                  <a:pt x="86" y="171"/>
                  <a:pt x="84" y="172"/>
                  <a:pt x="83" y="173"/>
                </a:cubicBezTo>
                <a:cubicBezTo>
                  <a:pt x="80" y="176"/>
                  <a:pt x="78" y="174"/>
                  <a:pt x="77" y="171"/>
                </a:cubicBezTo>
                <a:cubicBezTo>
                  <a:pt x="74" y="172"/>
                  <a:pt x="70" y="173"/>
                  <a:pt x="68" y="175"/>
                </a:cubicBezTo>
                <a:cubicBezTo>
                  <a:pt x="66" y="176"/>
                  <a:pt x="65" y="177"/>
                  <a:pt x="64" y="177"/>
                </a:cubicBezTo>
                <a:cubicBezTo>
                  <a:pt x="63" y="178"/>
                  <a:pt x="62" y="177"/>
                  <a:pt x="61" y="176"/>
                </a:cubicBezTo>
                <a:cubicBezTo>
                  <a:pt x="61" y="176"/>
                  <a:pt x="61" y="175"/>
                  <a:pt x="60" y="174"/>
                </a:cubicBezTo>
                <a:cubicBezTo>
                  <a:pt x="58" y="175"/>
                  <a:pt x="57" y="176"/>
                  <a:pt x="55" y="177"/>
                </a:cubicBezTo>
                <a:cubicBezTo>
                  <a:pt x="54" y="179"/>
                  <a:pt x="52" y="180"/>
                  <a:pt x="51" y="181"/>
                </a:cubicBezTo>
                <a:cubicBezTo>
                  <a:pt x="49" y="183"/>
                  <a:pt x="46" y="182"/>
                  <a:pt x="46" y="179"/>
                </a:cubicBezTo>
                <a:cubicBezTo>
                  <a:pt x="46" y="178"/>
                  <a:pt x="46" y="178"/>
                  <a:pt x="46" y="177"/>
                </a:cubicBezTo>
                <a:cubicBezTo>
                  <a:pt x="44" y="179"/>
                  <a:pt x="42" y="180"/>
                  <a:pt x="41" y="181"/>
                </a:cubicBezTo>
                <a:cubicBezTo>
                  <a:pt x="39" y="182"/>
                  <a:pt x="38" y="183"/>
                  <a:pt x="37" y="184"/>
                </a:cubicBezTo>
                <a:cubicBezTo>
                  <a:pt x="36" y="184"/>
                  <a:pt x="35" y="184"/>
                  <a:pt x="34" y="183"/>
                </a:cubicBezTo>
                <a:cubicBezTo>
                  <a:pt x="32" y="182"/>
                  <a:pt x="32" y="179"/>
                  <a:pt x="34" y="177"/>
                </a:cubicBezTo>
                <a:cubicBezTo>
                  <a:pt x="34" y="177"/>
                  <a:pt x="35" y="176"/>
                  <a:pt x="35" y="176"/>
                </a:cubicBezTo>
                <a:cubicBezTo>
                  <a:pt x="35" y="176"/>
                  <a:pt x="35" y="176"/>
                  <a:pt x="35" y="176"/>
                </a:cubicBezTo>
                <a:cubicBezTo>
                  <a:pt x="34" y="176"/>
                  <a:pt x="33" y="177"/>
                  <a:pt x="32" y="178"/>
                </a:cubicBezTo>
                <a:cubicBezTo>
                  <a:pt x="31" y="179"/>
                  <a:pt x="30" y="180"/>
                  <a:pt x="28" y="180"/>
                </a:cubicBezTo>
                <a:cubicBezTo>
                  <a:pt x="27" y="181"/>
                  <a:pt x="26" y="181"/>
                  <a:pt x="25" y="180"/>
                </a:cubicBezTo>
                <a:cubicBezTo>
                  <a:pt x="24" y="178"/>
                  <a:pt x="23" y="178"/>
                  <a:pt x="24" y="176"/>
                </a:cubicBezTo>
                <a:cubicBezTo>
                  <a:pt x="22" y="177"/>
                  <a:pt x="21" y="178"/>
                  <a:pt x="20" y="179"/>
                </a:cubicBezTo>
                <a:cubicBezTo>
                  <a:pt x="19" y="180"/>
                  <a:pt x="17" y="180"/>
                  <a:pt x="16" y="179"/>
                </a:cubicBezTo>
                <a:cubicBezTo>
                  <a:pt x="16" y="179"/>
                  <a:pt x="15" y="178"/>
                  <a:pt x="15" y="178"/>
                </a:cubicBezTo>
                <a:cubicBezTo>
                  <a:pt x="14" y="177"/>
                  <a:pt x="14" y="176"/>
                  <a:pt x="15" y="174"/>
                </a:cubicBezTo>
                <a:cubicBezTo>
                  <a:pt x="12" y="174"/>
                  <a:pt x="10" y="172"/>
                  <a:pt x="11" y="171"/>
                </a:cubicBezTo>
                <a:cubicBezTo>
                  <a:pt x="11" y="169"/>
                  <a:pt x="13" y="167"/>
                  <a:pt x="13" y="166"/>
                </a:cubicBezTo>
                <a:cubicBezTo>
                  <a:pt x="12" y="164"/>
                  <a:pt x="11" y="163"/>
                  <a:pt x="9" y="161"/>
                </a:cubicBezTo>
                <a:cubicBezTo>
                  <a:pt x="12" y="157"/>
                  <a:pt x="16" y="154"/>
                  <a:pt x="18" y="149"/>
                </a:cubicBezTo>
                <a:cubicBezTo>
                  <a:pt x="18" y="149"/>
                  <a:pt x="18" y="149"/>
                  <a:pt x="18" y="149"/>
                </a:cubicBezTo>
                <a:cubicBezTo>
                  <a:pt x="17" y="149"/>
                  <a:pt x="17" y="150"/>
                  <a:pt x="16" y="151"/>
                </a:cubicBezTo>
                <a:cubicBezTo>
                  <a:pt x="14" y="152"/>
                  <a:pt x="12" y="151"/>
                  <a:pt x="11" y="149"/>
                </a:cubicBezTo>
                <a:cubicBezTo>
                  <a:pt x="10" y="148"/>
                  <a:pt x="11" y="147"/>
                  <a:pt x="12" y="146"/>
                </a:cubicBezTo>
                <a:cubicBezTo>
                  <a:pt x="14" y="143"/>
                  <a:pt x="16" y="140"/>
                  <a:pt x="18" y="137"/>
                </a:cubicBezTo>
                <a:cubicBezTo>
                  <a:pt x="17" y="138"/>
                  <a:pt x="15" y="139"/>
                  <a:pt x="14" y="140"/>
                </a:cubicBezTo>
                <a:cubicBezTo>
                  <a:pt x="12" y="141"/>
                  <a:pt x="10" y="141"/>
                  <a:pt x="9" y="140"/>
                </a:cubicBezTo>
                <a:cubicBezTo>
                  <a:pt x="8" y="139"/>
                  <a:pt x="7" y="137"/>
                  <a:pt x="8" y="135"/>
                </a:cubicBezTo>
                <a:cubicBezTo>
                  <a:pt x="9" y="133"/>
                  <a:pt x="11" y="131"/>
                  <a:pt x="12" y="129"/>
                </a:cubicBezTo>
                <a:cubicBezTo>
                  <a:pt x="12" y="128"/>
                  <a:pt x="13" y="128"/>
                  <a:pt x="13" y="128"/>
                </a:cubicBezTo>
                <a:cubicBezTo>
                  <a:pt x="10" y="128"/>
                  <a:pt x="8" y="126"/>
                  <a:pt x="8" y="124"/>
                </a:cubicBezTo>
                <a:cubicBezTo>
                  <a:pt x="8" y="123"/>
                  <a:pt x="9" y="122"/>
                  <a:pt x="9" y="121"/>
                </a:cubicBezTo>
                <a:cubicBezTo>
                  <a:pt x="10" y="120"/>
                  <a:pt x="12" y="118"/>
                  <a:pt x="13" y="116"/>
                </a:cubicBezTo>
                <a:cubicBezTo>
                  <a:pt x="12" y="116"/>
                  <a:pt x="12" y="116"/>
                  <a:pt x="11" y="116"/>
                </a:cubicBezTo>
                <a:cubicBezTo>
                  <a:pt x="9" y="117"/>
                  <a:pt x="7" y="115"/>
                  <a:pt x="7" y="113"/>
                </a:cubicBezTo>
                <a:cubicBezTo>
                  <a:pt x="7" y="112"/>
                  <a:pt x="7" y="111"/>
                  <a:pt x="8" y="110"/>
                </a:cubicBezTo>
                <a:cubicBezTo>
                  <a:pt x="9" y="108"/>
                  <a:pt x="11" y="106"/>
                  <a:pt x="13" y="104"/>
                </a:cubicBezTo>
                <a:cubicBezTo>
                  <a:pt x="11" y="104"/>
                  <a:pt x="9" y="106"/>
                  <a:pt x="7" y="104"/>
                </a:cubicBezTo>
                <a:cubicBezTo>
                  <a:pt x="6" y="104"/>
                  <a:pt x="6" y="102"/>
                  <a:pt x="5" y="101"/>
                </a:cubicBezTo>
                <a:cubicBezTo>
                  <a:pt x="7" y="99"/>
                  <a:pt x="8" y="98"/>
                  <a:pt x="9" y="96"/>
                </a:cubicBezTo>
                <a:cubicBezTo>
                  <a:pt x="8" y="95"/>
                  <a:pt x="8" y="94"/>
                  <a:pt x="7" y="92"/>
                </a:cubicBezTo>
                <a:cubicBezTo>
                  <a:pt x="7" y="92"/>
                  <a:pt x="6" y="92"/>
                  <a:pt x="6" y="92"/>
                </a:cubicBezTo>
                <a:cubicBezTo>
                  <a:pt x="4" y="91"/>
                  <a:pt x="3" y="88"/>
                  <a:pt x="4" y="86"/>
                </a:cubicBezTo>
                <a:cubicBezTo>
                  <a:pt x="4" y="86"/>
                  <a:pt x="5" y="86"/>
                  <a:pt x="5" y="85"/>
                </a:cubicBezTo>
                <a:cubicBezTo>
                  <a:pt x="6" y="85"/>
                  <a:pt x="6" y="84"/>
                  <a:pt x="5" y="83"/>
                </a:cubicBezTo>
                <a:cubicBezTo>
                  <a:pt x="4" y="82"/>
                  <a:pt x="4" y="81"/>
                  <a:pt x="5" y="79"/>
                </a:cubicBezTo>
                <a:cubicBezTo>
                  <a:pt x="6" y="77"/>
                  <a:pt x="7" y="76"/>
                  <a:pt x="8" y="74"/>
                </a:cubicBezTo>
                <a:cubicBezTo>
                  <a:pt x="9" y="74"/>
                  <a:pt x="8" y="73"/>
                  <a:pt x="8" y="73"/>
                </a:cubicBezTo>
                <a:cubicBezTo>
                  <a:pt x="5" y="70"/>
                  <a:pt x="6" y="69"/>
                  <a:pt x="8" y="67"/>
                </a:cubicBezTo>
                <a:cubicBezTo>
                  <a:pt x="9" y="66"/>
                  <a:pt x="9" y="65"/>
                  <a:pt x="8" y="65"/>
                </a:cubicBezTo>
                <a:cubicBezTo>
                  <a:pt x="6" y="62"/>
                  <a:pt x="6" y="63"/>
                  <a:pt x="8" y="60"/>
                </a:cubicBezTo>
                <a:cubicBezTo>
                  <a:pt x="10" y="57"/>
                  <a:pt x="12" y="55"/>
                  <a:pt x="14" y="53"/>
                </a:cubicBezTo>
                <a:cubicBezTo>
                  <a:pt x="14" y="52"/>
                  <a:pt x="14" y="52"/>
                  <a:pt x="14" y="52"/>
                </a:cubicBezTo>
                <a:cubicBezTo>
                  <a:pt x="13" y="53"/>
                  <a:pt x="12" y="54"/>
                  <a:pt x="11" y="54"/>
                </a:cubicBezTo>
                <a:cubicBezTo>
                  <a:pt x="10" y="56"/>
                  <a:pt x="8" y="58"/>
                  <a:pt x="6" y="60"/>
                </a:cubicBezTo>
                <a:cubicBezTo>
                  <a:pt x="5" y="62"/>
                  <a:pt x="3" y="62"/>
                  <a:pt x="2" y="60"/>
                </a:cubicBezTo>
                <a:cubicBezTo>
                  <a:pt x="0" y="57"/>
                  <a:pt x="2" y="55"/>
                  <a:pt x="3" y="54"/>
                </a:cubicBezTo>
                <a:cubicBezTo>
                  <a:pt x="6" y="50"/>
                  <a:pt x="10" y="47"/>
                  <a:pt x="13" y="43"/>
                </a:cubicBezTo>
                <a:cubicBezTo>
                  <a:pt x="11" y="44"/>
                  <a:pt x="8" y="42"/>
                  <a:pt x="8" y="39"/>
                </a:cubicBezTo>
                <a:cubicBezTo>
                  <a:pt x="8" y="38"/>
                  <a:pt x="8" y="37"/>
                  <a:pt x="9" y="37"/>
                </a:cubicBezTo>
                <a:cubicBezTo>
                  <a:pt x="10" y="37"/>
                  <a:pt x="11" y="36"/>
                  <a:pt x="11" y="35"/>
                </a:cubicBezTo>
                <a:cubicBezTo>
                  <a:pt x="10" y="34"/>
                  <a:pt x="10" y="32"/>
                  <a:pt x="9" y="31"/>
                </a:cubicBezTo>
                <a:cubicBezTo>
                  <a:pt x="9" y="30"/>
                  <a:pt x="9" y="29"/>
                  <a:pt x="10" y="29"/>
                </a:cubicBezTo>
                <a:cubicBezTo>
                  <a:pt x="11" y="28"/>
                  <a:pt x="13" y="27"/>
                  <a:pt x="14" y="25"/>
                </a:cubicBezTo>
                <a:cubicBezTo>
                  <a:pt x="14" y="25"/>
                  <a:pt x="15" y="24"/>
                  <a:pt x="15" y="24"/>
                </a:cubicBezTo>
                <a:cubicBezTo>
                  <a:pt x="14" y="23"/>
                  <a:pt x="15" y="22"/>
                  <a:pt x="14" y="21"/>
                </a:cubicBezTo>
                <a:cubicBezTo>
                  <a:pt x="13" y="21"/>
                  <a:pt x="13" y="19"/>
                  <a:pt x="14" y="19"/>
                </a:cubicBezTo>
                <a:cubicBezTo>
                  <a:pt x="15" y="17"/>
                  <a:pt x="16" y="16"/>
                  <a:pt x="18" y="14"/>
                </a:cubicBezTo>
                <a:cubicBezTo>
                  <a:pt x="18" y="14"/>
                  <a:pt x="19" y="13"/>
                  <a:pt x="20" y="12"/>
                </a:cubicBezTo>
                <a:cubicBezTo>
                  <a:pt x="21" y="11"/>
                  <a:pt x="22" y="11"/>
                  <a:pt x="23" y="12"/>
                </a:cubicBezTo>
                <a:cubicBezTo>
                  <a:pt x="24" y="13"/>
                  <a:pt x="26" y="13"/>
                  <a:pt x="27" y="13"/>
                </a:cubicBezTo>
                <a:cubicBezTo>
                  <a:pt x="28" y="13"/>
                  <a:pt x="28" y="13"/>
                  <a:pt x="29" y="14"/>
                </a:cubicBezTo>
                <a:cubicBezTo>
                  <a:pt x="30" y="14"/>
                  <a:pt x="30" y="14"/>
                  <a:pt x="31" y="14"/>
                </a:cubicBezTo>
                <a:cubicBezTo>
                  <a:pt x="33" y="12"/>
                  <a:pt x="35" y="10"/>
                  <a:pt x="37" y="8"/>
                </a:cubicBezTo>
                <a:cubicBezTo>
                  <a:pt x="38" y="8"/>
                  <a:pt x="38" y="8"/>
                  <a:pt x="38" y="8"/>
                </a:cubicBezTo>
                <a:cubicBezTo>
                  <a:pt x="40" y="7"/>
                  <a:pt x="43" y="10"/>
                  <a:pt x="43" y="12"/>
                </a:cubicBezTo>
                <a:cubicBezTo>
                  <a:pt x="46" y="10"/>
                  <a:pt x="49" y="8"/>
                  <a:pt x="52" y="5"/>
                </a:cubicBezTo>
                <a:cubicBezTo>
                  <a:pt x="54" y="3"/>
                  <a:pt x="57" y="4"/>
                  <a:pt x="58" y="7"/>
                </a:cubicBezTo>
                <a:cubicBezTo>
                  <a:pt x="58" y="7"/>
                  <a:pt x="58" y="8"/>
                  <a:pt x="58" y="9"/>
                </a:cubicBezTo>
                <a:cubicBezTo>
                  <a:pt x="59" y="8"/>
                  <a:pt x="60" y="7"/>
                  <a:pt x="61" y="6"/>
                </a:cubicBezTo>
                <a:cubicBezTo>
                  <a:pt x="62" y="4"/>
                  <a:pt x="64" y="4"/>
                  <a:pt x="65" y="6"/>
                </a:cubicBezTo>
                <a:cubicBezTo>
                  <a:pt x="66" y="6"/>
                  <a:pt x="67" y="7"/>
                  <a:pt x="67" y="8"/>
                </a:cubicBezTo>
                <a:cubicBezTo>
                  <a:pt x="67" y="8"/>
                  <a:pt x="68" y="8"/>
                  <a:pt x="68" y="8"/>
                </a:cubicBezTo>
                <a:cubicBezTo>
                  <a:pt x="70" y="6"/>
                  <a:pt x="71" y="5"/>
                  <a:pt x="72" y="4"/>
                </a:cubicBezTo>
                <a:cubicBezTo>
                  <a:pt x="73" y="4"/>
                  <a:pt x="73" y="4"/>
                  <a:pt x="73" y="4"/>
                </a:cubicBezTo>
                <a:cubicBezTo>
                  <a:pt x="75" y="4"/>
                  <a:pt x="77" y="7"/>
                  <a:pt x="76" y="9"/>
                </a:cubicBezTo>
                <a:cubicBezTo>
                  <a:pt x="76" y="9"/>
                  <a:pt x="76" y="9"/>
                  <a:pt x="76" y="9"/>
                </a:cubicBezTo>
                <a:cubicBezTo>
                  <a:pt x="71" y="14"/>
                  <a:pt x="65" y="18"/>
                  <a:pt x="60" y="22"/>
                </a:cubicBezTo>
                <a:cubicBezTo>
                  <a:pt x="58" y="24"/>
                  <a:pt x="56" y="26"/>
                  <a:pt x="53" y="28"/>
                </a:cubicBezTo>
                <a:cubicBezTo>
                  <a:pt x="53" y="29"/>
                  <a:pt x="52" y="29"/>
                  <a:pt x="52" y="29"/>
                </a:cubicBezTo>
                <a:cubicBezTo>
                  <a:pt x="53" y="29"/>
                  <a:pt x="54" y="28"/>
                  <a:pt x="54" y="28"/>
                </a:cubicBezTo>
                <a:cubicBezTo>
                  <a:pt x="58" y="25"/>
                  <a:pt x="62" y="22"/>
                  <a:pt x="66" y="19"/>
                </a:cubicBezTo>
                <a:cubicBezTo>
                  <a:pt x="69" y="17"/>
                  <a:pt x="72" y="14"/>
                  <a:pt x="75" y="12"/>
                </a:cubicBezTo>
                <a:cubicBezTo>
                  <a:pt x="76" y="11"/>
                  <a:pt x="78" y="10"/>
                  <a:pt x="80" y="8"/>
                </a:cubicBezTo>
                <a:cubicBezTo>
                  <a:pt x="80" y="8"/>
                  <a:pt x="83" y="9"/>
                  <a:pt x="83" y="10"/>
                </a:cubicBezTo>
                <a:cubicBezTo>
                  <a:pt x="83" y="11"/>
                  <a:pt x="83" y="11"/>
                  <a:pt x="84" y="12"/>
                </a:cubicBezTo>
                <a:cubicBezTo>
                  <a:pt x="86" y="10"/>
                  <a:pt x="88" y="9"/>
                  <a:pt x="91" y="7"/>
                </a:cubicBezTo>
                <a:cubicBezTo>
                  <a:pt x="94" y="6"/>
                  <a:pt x="96" y="4"/>
                  <a:pt x="99" y="2"/>
                </a:cubicBezTo>
                <a:cubicBezTo>
                  <a:pt x="100" y="1"/>
                  <a:pt x="101" y="1"/>
                  <a:pt x="102" y="2"/>
                </a:cubicBezTo>
                <a:cubicBezTo>
                  <a:pt x="104" y="3"/>
                  <a:pt x="105" y="4"/>
                  <a:pt x="107" y="5"/>
                </a:cubicBezTo>
                <a:cubicBezTo>
                  <a:pt x="108" y="6"/>
                  <a:pt x="108" y="7"/>
                  <a:pt x="107" y="8"/>
                </a:cubicBezTo>
                <a:cubicBezTo>
                  <a:pt x="105" y="11"/>
                  <a:pt x="102" y="13"/>
                  <a:pt x="99" y="15"/>
                </a:cubicBezTo>
                <a:cubicBezTo>
                  <a:pt x="98" y="16"/>
                  <a:pt x="97" y="17"/>
                  <a:pt x="96" y="18"/>
                </a:cubicBezTo>
                <a:cubicBezTo>
                  <a:pt x="96" y="18"/>
                  <a:pt x="97" y="18"/>
                  <a:pt x="97" y="18"/>
                </a:cubicBezTo>
                <a:cubicBezTo>
                  <a:pt x="98" y="17"/>
                  <a:pt x="100" y="15"/>
                  <a:pt x="102" y="14"/>
                </a:cubicBezTo>
                <a:cubicBezTo>
                  <a:pt x="102" y="14"/>
                  <a:pt x="103" y="13"/>
                  <a:pt x="103" y="14"/>
                </a:cubicBezTo>
                <a:cubicBezTo>
                  <a:pt x="104" y="14"/>
                  <a:pt x="105" y="13"/>
                  <a:pt x="105" y="13"/>
                </a:cubicBezTo>
                <a:cubicBezTo>
                  <a:pt x="109" y="10"/>
                  <a:pt x="114" y="8"/>
                  <a:pt x="118" y="6"/>
                </a:cubicBezTo>
                <a:cubicBezTo>
                  <a:pt x="119" y="5"/>
                  <a:pt x="121" y="5"/>
                  <a:pt x="122" y="4"/>
                </a:cubicBezTo>
                <a:cubicBezTo>
                  <a:pt x="123" y="3"/>
                  <a:pt x="124" y="2"/>
                  <a:pt x="125" y="1"/>
                </a:cubicBezTo>
                <a:cubicBezTo>
                  <a:pt x="126" y="1"/>
                  <a:pt x="127" y="0"/>
                  <a:pt x="128" y="1"/>
                </a:cubicBezTo>
                <a:cubicBezTo>
                  <a:pt x="128" y="2"/>
                  <a:pt x="129" y="2"/>
                  <a:pt x="130" y="3"/>
                </a:cubicBezTo>
                <a:cubicBezTo>
                  <a:pt x="131" y="4"/>
                  <a:pt x="130" y="6"/>
                  <a:pt x="129" y="7"/>
                </a:cubicBezTo>
                <a:cubicBezTo>
                  <a:pt x="128" y="8"/>
                  <a:pt x="128" y="8"/>
                  <a:pt x="127" y="8"/>
                </a:cubicBezTo>
                <a:cubicBezTo>
                  <a:pt x="126" y="9"/>
                  <a:pt x="126" y="10"/>
                  <a:pt x="127" y="11"/>
                </a:cubicBezTo>
                <a:cubicBezTo>
                  <a:pt x="125" y="13"/>
                  <a:pt x="122" y="15"/>
                  <a:pt x="120" y="17"/>
                </a:cubicBezTo>
                <a:cubicBezTo>
                  <a:pt x="120" y="17"/>
                  <a:pt x="120" y="17"/>
                  <a:pt x="121" y="18"/>
                </a:cubicBezTo>
                <a:cubicBezTo>
                  <a:pt x="127" y="13"/>
                  <a:pt x="134" y="8"/>
                  <a:pt x="141" y="3"/>
                </a:cubicBezTo>
                <a:cubicBezTo>
                  <a:pt x="142" y="3"/>
                  <a:pt x="143" y="4"/>
                  <a:pt x="144" y="5"/>
                </a:cubicBezTo>
                <a:cubicBezTo>
                  <a:pt x="145" y="4"/>
                  <a:pt x="146" y="3"/>
                  <a:pt x="147" y="3"/>
                </a:cubicBezTo>
                <a:cubicBezTo>
                  <a:pt x="148" y="3"/>
                  <a:pt x="149" y="3"/>
                  <a:pt x="149" y="4"/>
                </a:cubicBezTo>
                <a:cubicBezTo>
                  <a:pt x="150" y="5"/>
                  <a:pt x="150" y="5"/>
                  <a:pt x="151" y="6"/>
                </a:cubicBezTo>
                <a:cubicBezTo>
                  <a:pt x="152" y="5"/>
                  <a:pt x="154" y="3"/>
                  <a:pt x="156" y="2"/>
                </a:cubicBezTo>
                <a:cubicBezTo>
                  <a:pt x="157" y="3"/>
                  <a:pt x="158" y="4"/>
                  <a:pt x="160" y="6"/>
                </a:cubicBezTo>
                <a:cubicBezTo>
                  <a:pt x="160" y="5"/>
                  <a:pt x="161" y="5"/>
                  <a:pt x="161" y="4"/>
                </a:cubicBezTo>
                <a:cubicBezTo>
                  <a:pt x="162" y="3"/>
                  <a:pt x="163" y="3"/>
                  <a:pt x="164" y="4"/>
                </a:cubicBezTo>
                <a:cubicBezTo>
                  <a:pt x="165" y="5"/>
                  <a:pt x="166" y="6"/>
                  <a:pt x="166" y="8"/>
                </a:cubicBezTo>
                <a:cubicBezTo>
                  <a:pt x="166" y="8"/>
                  <a:pt x="166" y="9"/>
                  <a:pt x="166" y="9"/>
                </a:cubicBezTo>
                <a:cubicBezTo>
                  <a:pt x="169" y="8"/>
                  <a:pt x="171" y="8"/>
                  <a:pt x="173" y="7"/>
                </a:cubicBezTo>
                <a:cubicBezTo>
                  <a:pt x="173" y="7"/>
                  <a:pt x="174" y="6"/>
                  <a:pt x="174" y="6"/>
                </a:cubicBezTo>
                <a:cubicBezTo>
                  <a:pt x="175" y="5"/>
                  <a:pt x="175" y="5"/>
                  <a:pt x="176" y="5"/>
                </a:cubicBezTo>
                <a:cubicBezTo>
                  <a:pt x="178" y="5"/>
                  <a:pt x="180" y="7"/>
                  <a:pt x="180" y="9"/>
                </a:cubicBezTo>
                <a:cubicBezTo>
                  <a:pt x="180" y="10"/>
                  <a:pt x="179" y="10"/>
                  <a:pt x="179" y="11"/>
                </a:cubicBezTo>
                <a:cubicBezTo>
                  <a:pt x="181" y="9"/>
                  <a:pt x="183" y="8"/>
                  <a:pt x="185" y="6"/>
                </a:cubicBezTo>
                <a:cubicBezTo>
                  <a:pt x="185" y="5"/>
                  <a:pt x="186" y="4"/>
                  <a:pt x="187" y="4"/>
                </a:cubicBezTo>
                <a:cubicBezTo>
                  <a:pt x="188" y="5"/>
                  <a:pt x="190" y="5"/>
                  <a:pt x="190" y="7"/>
                </a:cubicBezTo>
                <a:cubicBezTo>
                  <a:pt x="190" y="7"/>
                  <a:pt x="190" y="7"/>
                  <a:pt x="191" y="8"/>
                </a:cubicBezTo>
                <a:cubicBezTo>
                  <a:pt x="192" y="9"/>
                  <a:pt x="194" y="11"/>
                  <a:pt x="195" y="13"/>
                </a:cubicBezTo>
                <a:cubicBezTo>
                  <a:pt x="192" y="17"/>
                  <a:pt x="189" y="20"/>
                  <a:pt x="186" y="24"/>
                </a:cubicBezTo>
                <a:cubicBezTo>
                  <a:pt x="186" y="24"/>
                  <a:pt x="186" y="24"/>
                  <a:pt x="187" y="25"/>
                </a:cubicBezTo>
                <a:cubicBezTo>
                  <a:pt x="188" y="24"/>
                  <a:pt x="189" y="23"/>
                  <a:pt x="190" y="22"/>
                </a:cubicBezTo>
                <a:cubicBezTo>
                  <a:pt x="190" y="22"/>
                  <a:pt x="191" y="21"/>
                  <a:pt x="192" y="22"/>
                </a:cubicBezTo>
                <a:cubicBezTo>
                  <a:pt x="195" y="23"/>
                  <a:pt x="196" y="25"/>
                  <a:pt x="194" y="28"/>
                </a:cubicBezTo>
                <a:cubicBezTo>
                  <a:pt x="194" y="29"/>
                  <a:pt x="193" y="30"/>
                  <a:pt x="192" y="31"/>
                </a:cubicBezTo>
                <a:cubicBezTo>
                  <a:pt x="192" y="31"/>
                  <a:pt x="192" y="31"/>
                  <a:pt x="192" y="32"/>
                </a:cubicBezTo>
                <a:cubicBezTo>
                  <a:pt x="193" y="31"/>
                  <a:pt x="194" y="30"/>
                  <a:pt x="195" y="30"/>
                </a:cubicBezTo>
                <a:cubicBezTo>
                  <a:pt x="197" y="28"/>
                  <a:pt x="199" y="28"/>
                  <a:pt x="200" y="30"/>
                </a:cubicBezTo>
                <a:cubicBezTo>
                  <a:pt x="201" y="31"/>
                  <a:pt x="201" y="31"/>
                  <a:pt x="202" y="32"/>
                </a:cubicBezTo>
                <a:cubicBezTo>
                  <a:pt x="199" y="36"/>
                  <a:pt x="196" y="40"/>
                  <a:pt x="193" y="44"/>
                </a:cubicBezTo>
                <a:cubicBezTo>
                  <a:pt x="191" y="46"/>
                  <a:pt x="191" y="47"/>
                  <a:pt x="193" y="48"/>
                </a:cubicBezTo>
                <a:cubicBezTo>
                  <a:pt x="193" y="48"/>
                  <a:pt x="193" y="48"/>
                  <a:pt x="193" y="48"/>
                </a:cubicBezTo>
                <a:cubicBezTo>
                  <a:pt x="194" y="48"/>
                  <a:pt x="195" y="46"/>
                  <a:pt x="196" y="46"/>
                </a:cubicBezTo>
                <a:cubicBezTo>
                  <a:pt x="197" y="47"/>
                  <a:pt x="198" y="48"/>
                  <a:pt x="199" y="49"/>
                </a:cubicBezTo>
                <a:cubicBezTo>
                  <a:pt x="200" y="50"/>
                  <a:pt x="199" y="51"/>
                  <a:pt x="199" y="52"/>
                </a:cubicBezTo>
                <a:cubicBezTo>
                  <a:pt x="197" y="54"/>
                  <a:pt x="196" y="56"/>
                  <a:pt x="194" y="58"/>
                </a:cubicBezTo>
                <a:cubicBezTo>
                  <a:pt x="194" y="58"/>
                  <a:pt x="194" y="59"/>
                  <a:pt x="194" y="59"/>
                </a:cubicBezTo>
                <a:cubicBezTo>
                  <a:pt x="195" y="59"/>
                  <a:pt x="195" y="58"/>
                  <a:pt x="195" y="58"/>
                </a:cubicBezTo>
                <a:cubicBezTo>
                  <a:pt x="196" y="56"/>
                  <a:pt x="198" y="56"/>
                  <a:pt x="199" y="58"/>
                </a:cubicBezTo>
                <a:cubicBezTo>
                  <a:pt x="202" y="61"/>
                  <a:pt x="201" y="61"/>
                  <a:pt x="199" y="63"/>
                </a:cubicBezTo>
                <a:cubicBezTo>
                  <a:pt x="198" y="65"/>
                  <a:pt x="197" y="67"/>
                  <a:pt x="195" y="68"/>
                </a:cubicBezTo>
                <a:cubicBezTo>
                  <a:pt x="198" y="69"/>
                  <a:pt x="198" y="71"/>
                  <a:pt x="199" y="72"/>
                </a:cubicBezTo>
                <a:cubicBezTo>
                  <a:pt x="199" y="72"/>
                  <a:pt x="199" y="73"/>
                  <a:pt x="199" y="74"/>
                </a:cubicBezTo>
                <a:cubicBezTo>
                  <a:pt x="197" y="77"/>
                  <a:pt x="195" y="80"/>
                  <a:pt x="194" y="83"/>
                </a:cubicBezTo>
                <a:cubicBezTo>
                  <a:pt x="193" y="83"/>
                  <a:pt x="193" y="84"/>
                  <a:pt x="193" y="85"/>
                </a:cubicBezTo>
                <a:cubicBezTo>
                  <a:pt x="193" y="86"/>
                  <a:pt x="193" y="87"/>
                  <a:pt x="192" y="88"/>
                </a:cubicBezTo>
                <a:cubicBezTo>
                  <a:pt x="191" y="88"/>
                  <a:pt x="191" y="89"/>
                  <a:pt x="191" y="89"/>
                </a:cubicBezTo>
                <a:cubicBezTo>
                  <a:pt x="191" y="90"/>
                  <a:pt x="192" y="90"/>
                  <a:pt x="192" y="90"/>
                </a:cubicBezTo>
                <a:cubicBezTo>
                  <a:pt x="194" y="91"/>
                  <a:pt x="195" y="93"/>
                  <a:pt x="194" y="95"/>
                </a:cubicBezTo>
                <a:cubicBezTo>
                  <a:pt x="193" y="97"/>
                  <a:pt x="192" y="99"/>
                  <a:pt x="191" y="101"/>
                </a:cubicBezTo>
                <a:cubicBezTo>
                  <a:pt x="192" y="101"/>
                  <a:pt x="193" y="101"/>
                  <a:pt x="194" y="100"/>
                </a:cubicBezTo>
                <a:cubicBezTo>
                  <a:pt x="195" y="99"/>
                  <a:pt x="196" y="100"/>
                  <a:pt x="197" y="100"/>
                </a:cubicBezTo>
                <a:cubicBezTo>
                  <a:pt x="198" y="100"/>
                  <a:pt x="199" y="101"/>
                  <a:pt x="199" y="102"/>
                </a:cubicBezTo>
                <a:cubicBezTo>
                  <a:pt x="200" y="104"/>
                  <a:pt x="199" y="106"/>
                  <a:pt x="198" y="107"/>
                </a:cubicBezTo>
                <a:cubicBezTo>
                  <a:pt x="200" y="108"/>
                  <a:pt x="201" y="109"/>
                  <a:pt x="200" y="111"/>
                </a:cubicBezTo>
                <a:cubicBezTo>
                  <a:pt x="200" y="113"/>
                  <a:pt x="199" y="114"/>
                  <a:pt x="197" y="116"/>
                </a:cubicBezTo>
                <a:cubicBezTo>
                  <a:pt x="198" y="116"/>
                  <a:pt x="199" y="117"/>
                  <a:pt x="200" y="117"/>
                </a:cubicBezTo>
                <a:cubicBezTo>
                  <a:pt x="202" y="118"/>
                  <a:pt x="202" y="120"/>
                  <a:pt x="201" y="122"/>
                </a:cubicBezTo>
                <a:cubicBezTo>
                  <a:pt x="199" y="124"/>
                  <a:pt x="198" y="126"/>
                  <a:pt x="196" y="128"/>
                </a:cubicBezTo>
                <a:cubicBezTo>
                  <a:pt x="198" y="129"/>
                  <a:pt x="201" y="129"/>
                  <a:pt x="200" y="131"/>
                </a:cubicBezTo>
                <a:cubicBezTo>
                  <a:pt x="200" y="133"/>
                  <a:pt x="199" y="135"/>
                  <a:pt x="198" y="137"/>
                </a:cubicBezTo>
                <a:cubicBezTo>
                  <a:pt x="198" y="137"/>
                  <a:pt x="198" y="137"/>
                  <a:pt x="198" y="137"/>
                </a:cubicBezTo>
                <a:cubicBezTo>
                  <a:pt x="199" y="137"/>
                  <a:pt x="200" y="137"/>
                  <a:pt x="200" y="138"/>
                </a:cubicBezTo>
                <a:cubicBezTo>
                  <a:pt x="201" y="140"/>
                  <a:pt x="201" y="141"/>
                  <a:pt x="200" y="143"/>
                </a:cubicBezTo>
                <a:cubicBezTo>
                  <a:pt x="200" y="144"/>
                  <a:pt x="199" y="144"/>
                  <a:pt x="199" y="145"/>
                </a:cubicBezTo>
                <a:cubicBezTo>
                  <a:pt x="198" y="146"/>
                  <a:pt x="198" y="146"/>
                  <a:pt x="199" y="146"/>
                </a:cubicBezTo>
                <a:cubicBezTo>
                  <a:pt x="201" y="149"/>
                  <a:pt x="199" y="152"/>
                  <a:pt x="197" y="154"/>
                </a:cubicBezTo>
                <a:cubicBezTo>
                  <a:pt x="197" y="154"/>
                  <a:pt x="197" y="154"/>
                  <a:pt x="197" y="154"/>
                </a:cubicBezTo>
                <a:cubicBezTo>
                  <a:pt x="198" y="156"/>
                  <a:pt x="198" y="159"/>
                  <a:pt x="199" y="161"/>
                </a:cubicBezTo>
                <a:cubicBezTo>
                  <a:pt x="199" y="162"/>
                  <a:pt x="198" y="163"/>
                  <a:pt x="197" y="164"/>
                </a:cubicBezTo>
                <a:cubicBezTo>
                  <a:pt x="195" y="166"/>
                  <a:pt x="193" y="169"/>
                  <a:pt x="190" y="171"/>
                </a:cubicBezTo>
                <a:cubicBezTo>
                  <a:pt x="188" y="173"/>
                  <a:pt x="186" y="175"/>
                  <a:pt x="184" y="176"/>
                </a:cubicBezTo>
                <a:cubicBezTo>
                  <a:pt x="183" y="177"/>
                  <a:pt x="183" y="177"/>
                  <a:pt x="183" y="177"/>
                </a:cubicBezTo>
                <a:cubicBezTo>
                  <a:pt x="181" y="176"/>
                  <a:pt x="181" y="177"/>
                  <a:pt x="180" y="178"/>
                </a:cubicBezTo>
                <a:cubicBezTo>
                  <a:pt x="179" y="178"/>
                  <a:pt x="178" y="179"/>
                  <a:pt x="177" y="178"/>
                </a:cubicBezTo>
                <a:cubicBezTo>
                  <a:pt x="176" y="177"/>
                  <a:pt x="175" y="176"/>
                  <a:pt x="174" y="176"/>
                </a:cubicBezTo>
                <a:cubicBezTo>
                  <a:pt x="173" y="177"/>
                  <a:pt x="172" y="178"/>
                  <a:pt x="171" y="179"/>
                </a:cubicBezTo>
                <a:cubicBezTo>
                  <a:pt x="170" y="181"/>
                  <a:pt x="169" y="181"/>
                  <a:pt x="167" y="180"/>
                </a:cubicBezTo>
                <a:cubicBezTo>
                  <a:pt x="166" y="179"/>
                  <a:pt x="165" y="178"/>
                  <a:pt x="165" y="176"/>
                </a:cubicBezTo>
                <a:cubicBezTo>
                  <a:pt x="164" y="176"/>
                  <a:pt x="163" y="177"/>
                  <a:pt x="162" y="177"/>
                </a:cubicBezTo>
                <a:cubicBezTo>
                  <a:pt x="161" y="177"/>
                  <a:pt x="160" y="176"/>
                  <a:pt x="159" y="176"/>
                </a:cubicBezTo>
                <a:cubicBezTo>
                  <a:pt x="158" y="175"/>
                  <a:pt x="158" y="175"/>
                  <a:pt x="157" y="176"/>
                </a:cubicBezTo>
                <a:cubicBezTo>
                  <a:pt x="155" y="176"/>
                  <a:pt x="154" y="176"/>
                  <a:pt x="153" y="175"/>
                </a:cubicBezTo>
                <a:cubicBezTo>
                  <a:pt x="153" y="175"/>
                  <a:pt x="152" y="174"/>
                  <a:pt x="152" y="175"/>
                </a:cubicBezTo>
                <a:cubicBezTo>
                  <a:pt x="150" y="175"/>
                  <a:pt x="149" y="175"/>
                  <a:pt x="148" y="174"/>
                </a:cubicBezTo>
                <a:cubicBezTo>
                  <a:pt x="147" y="174"/>
                  <a:pt x="146" y="174"/>
                  <a:pt x="146" y="174"/>
                </a:cubicBezTo>
                <a:cubicBezTo>
                  <a:pt x="144" y="176"/>
                  <a:pt x="143" y="177"/>
                  <a:pt x="140" y="175"/>
                </a:cubicBezTo>
                <a:cubicBezTo>
                  <a:pt x="140" y="175"/>
                  <a:pt x="139" y="175"/>
                  <a:pt x="138" y="175"/>
                </a:cubicBezTo>
                <a:cubicBezTo>
                  <a:pt x="137" y="175"/>
                  <a:pt x="137" y="175"/>
                  <a:pt x="136" y="175"/>
                </a:cubicBezTo>
                <a:cubicBezTo>
                  <a:pt x="135" y="177"/>
                  <a:pt x="134" y="177"/>
                  <a:pt x="132" y="176"/>
                </a:cubicBezTo>
                <a:cubicBezTo>
                  <a:pt x="132" y="176"/>
                  <a:pt x="131" y="176"/>
                  <a:pt x="130" y="176"/>
                </a:cubicBezTo>
                <a:cubicBezTo>
                  <a:pt x="128" y="178"/>
                  <a:pt x="128" y="178"/>
                  <a:pt x="126" y="177"/>
                </a:cubicBezTo>
                <a:close/>
                <a:moveTo>
                  <a:pt x="48" y="157"/>
                </a:moveTo>
                <a:cubicBezTo>
                  <a:pt x="48" y="157"/>
                  <a:pt x="48" y="157"/>
                  <a:pt x="47" y="156"/>
                </a:cubicBezTo>
                <a:cubicBezTo>
                  <a:pt x="45" y="159"/>
                  <a:pt x="43" y="161"/>
                  <a:pt x="41" y="163"/>
                </a:cubicBezTo>
                <a:cubicBezTo>
                  <a:pt x="41" y="163"/>
                  <a:pt x="42" y="163"/>
                  <a:pt x="42" y="163"/>
                </a:cubicBezTo>
                <a:cubicBezTo>
                  <a:pt x="44" y="161"/>
                  <a:pt x="45" y="160"/>
                  <a:pt x="47" y="158"/>
                </a:cubicBezTo>
                <a:cubicBezTo>
                  <a:pt x="48" y="158"/>
                  <a:pt x="48" y="157"/>
                  <a:pt x="48" y="157"/>
                </a:cubicBezTo>
                <a:close/>
                <a:moveTo>
                  <a:pt x="21" y="127"/>
                </a:moveTo>
                <a:cubicBezTo>
                  <a:pt x="21" y="127"/>
                  <a:pt x="21" y="127"/>
                  <a:pt x="21" y="128"/>
                </a:cubicBezTo>
                <a:cubicBezTo>
                  <a:pt x="23" y="126"/>
                  <a:pt x="24" y="125"/>
                  <a:pt x="26" y="124"/>
                </a:cubicBezTo>
                <a:cubicBezTo>
                  <a:pt x="26" y="123"/>
                  <a:pt x="26" y="123"/>
                  <a:pt x="26" y="121"/>
                </a:cubicBezTo>
                <a:cubicBezTo>
                  <a:pt x="24" y="123"/>
                  <a:pt x="23" y="125"/>
                  <a:pt x="21" y="127"/>
                </a:cubicBezTo>
                <a:close/>
                <a:moveTo>
                  <a:pt x="69" y="24"/>
                </a:moveTo>
                <a:cubicBezTo>
                  <a:pt x="67" y="25"/>
                  <a:pt x="68" y="27"/>
                  <a:pt x="68" y="28"/>
                </a:cubicBezTo>
                <a:cubicBezTo>
                  <a:pt x="69" y="27"/>
                  <a:pt x="70" y="26"/>
                  <a:pt x="69" y="24"/>
                </a:cubicBezTo>
                <a:close/>
              </a:path>
            </a:pathLst>
          </a:custGeom>
          <a:solidFill>
            <a:schemeClr val="accent6"/>
          </a:solidFill>
          <a:ln>
            <a:noFill/>
          </a:ln>
        </p:spPr>
        <p:txBody>
          <a:bodyPr vert="horz" wrap="square" lIns="91411" tIns="45704" rIns="91411" bIns="45704" numCol="1" anchor="ctr" anchorCtr="0" compatLnSpc="1">
            <a:prstTxWarp prst="textNoShape">
              <a:avLst/>
            </a:prstTxWarp>
          </a:bodyPr>
          <a:lstStyle/>
          <a:p>
            <a:pPr algn="ctr" defTabSz="913686" fontAlgn="base">
              <a:spcBef>
                <a:spcPct val="0"/>
              </a:spcBef>
              <a:spcAft>
                <a:spcPct val="0"/>
              </a:spcAft>
            </a:pPr>
            <a:r>
              <a:rPr lang="en-US" b="1" dirty="0">
                <a:solidFill>
                  <a:prstClr val="white"/>
                </a:solidFill>
                <a:cs typeface="Arial" charset="0"/>
              </a:rPr>
              <a:t>Lorem ipsum dolor</a:t>
            </a:r>
          </a:p>
        </p:txBody>
      </p:sp>
      <p:sp>
        <p:nvSpPr>
          <p:cNvPr id="52" name="Freeform 26">
            <a:extLst>
              <a:ext uri="{FF2B5EF4-FFF2-40B4-BE49-F238E27FC236}">
                <a16:creationId xmlns:a16="http://schemas.microsoft.com/office/drawing/2014/main" id="{55FBF7E2-24ED-D34D-93A1-555C78D3D093}"/>
              </a:ext>
            </a:extLst>
          </p:cNvPr>
          <p:cNvSpPr>
            <a:spLocks noEditPoints="1"/>
          </p:cNvSpPr>
          <p:nvPr/>
        </p:nvSpPr>
        <p:spPr bwMode="auto">
          <a:xfrm>
            <a:off x="7184049" y="3302717"/>
            <a:ext cx="1482095" cy="1350187"/>
          </a:xfrm>
          <a:custGeom>
            <a:avLst/>
            <a:gdLst>
              <a:gd name="T0" fmla="*/ 116 w 202"/>
              <a:gd name="T1" fmla="*/ 174 h 184"/>
              <a:gd name="T2" fmla="*/ 95 w 202"/>
              <a:gd name="T3" fmla="*/ 179 h 184"/>
              <a:gd name="T4" fmla="*/ 85 w 202"/>
              <a:gd name="T5" fmla="*/ 176 h 184"/>
              <a:gd name="T6" fmla="*/ 77 w 202"/>
              <a:gd name="T7" fmla="*/ 171 h 184"/>
              <a:gd name="T8" fmla="*/ 60 w 202"/>
              <a:gd name="T9" fmla="*/ 174 h 184"/>
              <a:gd name="T10" fmla="*/ 46 w 202"/>
              <a:gd name="T11" fmla="*/ 177 h 184"/>
              <a:gd name="T12" fmla="*/ 34 w 202"/>
              <a:gd name="T13" fmla="*/ 177 h 184"/>
              <a:gd name="T14" fmla="*/ 28 w 202"/>
              <a:gd name="T15" fmla="*/ 180 h 184"/>
              <a:gd name="T16" fmla="*/ 16 w 202"/>
              <a:gd name="T17" fmla="*/ 179 h 184"/>
              <a:gd name="T18" fmla="*/ 13 w 202"/>
              <a:gd name="T19" fmla="*/ 166 h 184"/>
              <a:gd name="T20" fmla="*/ 16 w 202"/>
              <a:gd name="T21" fmla="*/ 151 h 184"/>
              <a:gd name="T22" fmla="*/ 14 w 202"/>
              <a:gd name="T23" fmla="*/ 140 h 184"/>
              <a:gd name="T24" fmla="*/ 13 w 202"/>
              <a:gd name="T25" fmla="*/ 128 h 184"/>
              <a:gd name="T26" fmla="*/ 11 w 202"/>
              <a:gd name="T27" fmla="*/ 116 h 184"/>
              <a:gd name="T28" fmla="*/ 7 w 202"/>
              <a:gd name="T29" fmla="*/ 104 h 184"/>
              <a:gd name="T30" fmla="*/ 6 w 202"/>
              <a:gd name="T31" fmla="*/ 92 h 184"/>
              <a:gd name="T32" fmla="*/ 5 w 202"/>
              <a:gd name="T33" fmla="*/ 79 h 184"/>
              <a:gd name="T34" fmla="*/ 8 w 202"/>
              <a:gd name="T35" fmla="*/ 65 h 184"/>
              <a:gd name="T36" fmla="*/ 11 w 202"/>
              <a:gd name="T37" fmla="*/ 54 h 184"/>
              <a:gd name="T38" fmla="*/ 13 w 202"/>
              <a:gd name="T39" fmla="*/ 43 h 184"/>
              <a:gd name="T40" fmla="*/ 9 w 202"/>
              <a:gd name="T41" fmla="*/ 31 h 184"/>
              <a:gd name="T42" fmla="*/ 14 w 202"/>
              <a:gd name="T43" fmla="*/ 21 h 184"/>
              <a:gd name="T44" fmla="*/ 23 w 202"/>
              <a:gd name="T45" fmla="*/ 12 h 184"/>
              <a:gd name="T46" fmla="*/ 37 w 202"/>
              <a:gd name="T47" fmla="*/ 8 h 184"/>
              <a:gd name="T48" fmla="*/ 58 w 202"/>
              <a:gd name="T49" fmla="*/ 7 h 184"/>
              <a:gd name="T50" fmla="*/ 67 w 202"/>
              <a:gd name="T51" fmla="*/ 8 h 184"/>
              <a:gd name="T52" fmla="*/ 76 w 202"/>
              <a:gd name="T53" fmla="*/ 9 h 184"/>
              <a:gd name="T54" fmla="*/ 52 w 202"/>
              <a:gd name="T55" fmla="*/ 29 h 184"/>
              <a:gd name="T56" fmla="*/ 80 w 202"/>
              <a:gd name="T57" fmla="*/ 8 h 184"/>
              <a:gd name="T58" fmla="*/ 99 w 202"/>
              <a:gd name="T59" fmla="*/ 2 h 184"/>
              <a:gd name="T60" fmla="*/ 99 w 202"/>
              <a:gd name="T61" fmla="*/ 15 h 184"/>
              <a:gd name="T62" fmla="*/ 103 w 202"/>
              <a:gd name="T63" fmla="*/ 14 h 184"/>
              <a:gd name="T64" fmla="*/ 125 w 202"/>
              <a:gd name="T65" fmla="*/ 1 h 184"/>
              <a:gd name="T66" fmla="*/ 127 w 202"/>
              <a:gd name="T67" fmla="*/ 8 h 184"/>
              <a:gd name="T68" fmla="*/ 141 w 202"/>
              <a:gd name="T69" fmla="*/ 3 h 184"/>
              <a:gd name="T70" fmla="*/ 151 w 202"/>
              <a:gd name="T71" fmla="*/ 6 h 184"/>
              <a:gd name="T72" fmla="*/ 164 w 202"/>
              <a:gd name="T73" fmla="*/ 4 h 184"/>
              <a:gd name="T74" fmla="*/ 174 w 202"/>
              <a:gd name="T75" fmla="*/ 6 h 184"/>
              <a:gd name="T76" fmla="*/ 185 w 202"/>
              <a:gd name="T77" fmla="*/ 6 h 184"/>
              <a:gd name="T78" fmla="*/ 195 w 202"/>
              <a:gd name="T79" fmla="*/ 13 h 184"/>
              <a:gd name="T80" fmla="*/ 192 w 202"/>
              <a:gd name="T81" fmla="*/ 22 h 184"/>
              <a:gd name="T82" fmla="*/ 195 w 202"/>
              <a:gd name="T83" fmla="*/ 30 h 184"/>
              <a:gd name="T84" fmla="*/ 193 w 202"/>
              <a:gd name="T85" fmla="*/ 48 h 184"/>
              <a:gd name="T86" fmla="*/ 199 w 202"/>
              <a:gd name="T87" fmla="*/ 52 h 184"/>
              <a:gd name="T88" fmla="*/ 199 w 202"/>
              <a:gd name="T89" fmla="*/ 58 h 184"/>
              <a:gd name="T90" fmla="*/ 199 w 202"/>
              <a:gd name="T91" fmla="*/ 74 h 184"/>
              <a:gd name="T92" fmla="*/ 191 w 202"/>
              <a:gd name="T93" fmla="*/ 89 h 184"/>
              <a:gd name="T94" fmla="*/ 194 w 202"/>
              <a:gd name="T95" fmla="*/ 100 h 184"/>
              <a:gd name="T96" fmla="*/ 200 w 202"/>
              <a:gd name="T97" fmla="*/ 111 h 184"/>
              <a:gd name="T98" fmla="*/ 196 w 202"/>
              <a:gd name="T99" fmla="*/ 128 h 184"/>
              <a:gd name="T100" fmla="*/ 200 w 202"/>
              <a:gd name="T101" fmla="*/ 138 h 184"/>
              <a:gd name="T102" fmla="*/ 197 w 202"/>
              <a:gd name="T103" fmla="*/ 154 h 184"/>
              <a:gd name="T104" fmla="*/ 190 w 202"/>
              <a:gd name="T105" fmla="*/ 171 h 184"/>
              <a:gd name="T106" fmla="*/ 177 w 202"/>
              <a:gd name="T107" fmla="*/ 178 h 184"/>
              <a:gd name="T108" fmla="*/ 165 w 202"/>
              <a:gd name="T109" fmla="*/ 176 h 184"/>
              <a:gd name="T110" fmla="*/ 153 w 202"/>
              <a:gd name="T111" fmla="*/ 175 h 184"/>
              <a:gd name="T112" fmla="*/ 140 w 202"/>
              <a:gd name="T113" fmla="*/ 175 h 184"/>
              <a:gd name="T114" fmla="*/ 130 w 202"/>
              <a:gd name="T115" fmla="*/ 176 h 184"/>
              <a:gd name="T116" fmla="*/ 41 w 202"/>
              <a:gd name="T117" fmla="*/ 163 h 184"/>
              <a:gd name="T118" fmla="*/ 21 w 202"/>
              <a:gd name="T119" fmla="*/ 127 h 184"/>
              <a:gd name="T120" fmla="*/ 21 w 202"/>
              <a:gd name="T121" fmla="*/ 12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184">
                <a:moveTo>
                  <a:pt x="126" y="177"/>
                </a:moveTo>
                <a:cubicBezTo>
                  <a:pt x="124" y="177"/>
                  <a:pt x="123" y="179"/>
                  <a:pt x="121" y="178"/>
                </a:cubicBezTo>
                <a:cubicBezTo>
                  <a:pt x="119" y="176"/>
                  <a:pt x="118" y="175"/>
                  <a:pt x="119" y="173"/>
                </a:cubicBezTo>
                <a:cubicBezTo>
                  <a:pt x="118" y="174"/>
                  <a:pt x="117" y="174"/>
                  <a:pt x="116" y="174"/>
                </a:cubicBezTo>
                <a:cubicBezTo>
                  <a:pt x="114" y="175"/>
                  <a:pt x="112" y="177"/>
                  <a:pt x="111" y="178"/>
                </a:cubicBezTo>
                <a:cubicBezTo>
                  <a:pt x="107" y="179"/>
                  <a:pt x="107" y="179"/>
                  <a:pt x="104" y="177"/>
                </a:cubicBezTo>
                <a:cubicBezTo>
                  <a:pt x="102" y="178"/>
                  <a:pt x="101" y="178"/>
                  <a:pt x="98" y="178"/>
                </a:cubicBezTo>
                <a:cubicBezTo>
                  <a:pt x="97" y="177"/>
                  <a:pt x="96" y="178"/>
                  <a:pt x="95" y="179"/>
                </a:cubicBezTo>
                <a:cubicBezTo>
                  <a:pt x="93" y="179"/>
                  <a:pt x="91" y="180"/>
                  <a:pt x="89" y="181"/>
                </a:cubicBezTo>
                <a:cubicBezTo>
                  <a:pt x="88" y="181"/>
                  <a:pt x="87" y="182"/>
                  <a:pt x="86" y="180"/>
                </a:cubicBezTo>
                <a:cubicBezTo>
                  <a:pt x="86" y="179"/>
                  <a:pt x="85" y="179"/>
                  <a:pt x="85" y="178"/>
                </a:cubicBezTo>
                <a:cubicBezTo>
                  <a:pt x="85" y="177"/>
                  <a:pt x="85" y="177"/>
                  <a:pt x="85" y="176"/>
                </a:cubicBezTo>
                <a:cubicBezTo>
                  <a:pt x="86" y="175"/>
                  <a:pt x="87" y="174"/>
                  <a:pt x="88" y="173"/>
                </a:cubicBezTo>
                <a:cubicBezTo>
                  <a:pt x="88" y="173"/>
                  <a:pt x="88" y="173"/>
                  <a:pt x="88" y="173"/>
                </a:cubicBezTo>
                <a:cubicBezTo>
                  <a:pt x="86" y="171"/>
                  <a:pt x="84" y="172"/>
                  <a:pt x="83" y="173"/>
                </a:cubicBezTo>
                <a:cubicBezTo>
                  <a:pt x="80" y="176"/>
                  <a:pt x="78" y="174"/>
                  <a:pt x="77" y="171"/>
                </a:cubicBezTo>
                <a:cubicBezTo>
                  <a:pt x="74" y="172"/>
                  <a:pt x="70" y="173"/>
                  <a:pt x="68" y="175"/>
                </a:cubicBezTo>
                <a:cubicBezTo>
                  <a:pt x="66" y="176"/>
                  <a:pt x="65" y="177"/>
                  <a:pt x="64" y="177"/>
                </a:cubicBezTo>
                <a:cubicBezTo>
                  <a:pt x="63" y="178"/>
                  <a:pt x="62" y="177"/>
                  <a:pt x="61" y="176"/>
                </a:cubicBezTo>
                <a:cubicBezTo>
                  <a:pt x="61" y="176"/>
                  <a:pt x="61" y="175"/>
                  <a:pt x="60" y="174"/>
                </a:cubicBezTo>
                <a:cubicBezTo>
                  <a:pt x="58" y="175"/>
                  <a:pt x="57" y="176"/>
                  <a:pt x="55" y="177"/>
                </a:cubicBezTo>
                <a:cubicBezTo>
                  <a:pt x="54" y="179"/>
                  <a:pt x="52" y="180"/>
                  <a:pt x="51" y="181"/>
                </a:cubicBezTo>
                <a:cubicBezTo>
                  <a:pt x="49" y="183"/>
                  <a:pt x="46" y="182"/>
                  <a:pt x="46" y="179"/>
                </a:cubicBezTo>
                <a:cubicBezTo>
                  <a:pt x="46" y="178"/>
                  <a:pt x="46" y="178"/>
                  <a:pt x="46" y="177"/>
                </a:cubicBezTo>
                <a:cubicBezTo>
                  <a:pt x="44" y="179"/>
                  <a:pt x="42" y="180"/>
                  <a:pt x="41" y="181"/>
                </a:cubicBezTo>
                <a:cubicBezTo>
                  <a:pt x="39" y="182"/>
                  <a:pt x="38" y="183"/>
                  <a:pt x="37" y="184"/>
                </a:cubicBezTo>
                <a:cubicBezTo>
                  <a:pt x="36" y="184"/>
                  <a:pt x="35" y="184"/>
                  <a:pt x="34" y="183"/>
                </a:cubicBezTo>
                <a:cubicBezTo>
                  <a:pt x="32" y="182"/>
                  <a:pt x="32" y="179"/>
                  <a:pt x="34" y="177"/>
                </a:cubicBezTo>
                <a:cubicBezTo>
                  <a:pt x="34" y="177"/>
                  <a:pt x="35" y="176"/>
                  <a:pt x="35" y="176"/>
                </a:cubicBezTo>
                <a:cubicBezTo>
                  <a:pt x="35" y="176"/>
                  <a:pt x="35" y="176"/>
                  <a:pt x="35" y="176"/>
                </a:cubicBezTo>
                <a:cubicBezTo>
                  <a:pt x="34" y="176"/>
                  <a:pt x="33" y="177"/>
                  <a:pt x="32" y="178"/>
                </a:cubicBezTo>
                <a:cubicBezTo>
                  <a:pt x="31" y="179"/>
                  <a:pt x="30" y="180"/>
                  <a:pt x="28" y="180"/>
                </a:cubicBezTo>
                <a:cubicBezTo>
                  <a:pt x="27" y="181"/>
                  <a:pt x="26" y="181"/>
                  <a:pt x="25" y="180"/>
                </a:cubicBezTo>
                <a:cubicBezTo>
                  <a:pt x="24" y="178"/>
                  <a:pt x="23" y="178"/>
                  <a:pt x="24" y="176"/>
                </a:cubicBezTo>
                <a:cubicBezTo>
                  <a:pt x="22" y="177"/>
                  <a:pt x="21" y="178"/>
                  <a:pt x="20" y="179"/>
                </a:cubicBezTo>
                <a:cubicBezTo>
                  <a:pt x="19" y="180"/>
                  <a:pt x="17" y="180"/>
                  <a:pt x="16" y="179"/>
                </a:cubicBezTo>
                <a:cubicBezTo>
                  <a:pt x="16" y="179"/>
                  <a:pt x="15" y="178"/>
                  <a:pt x="15" y="178"/>
                </a:cubicBezTo>
                <a:cubicBezTo>
                  <a:pt x="14" y="177"/>
                  <a:pt x="14" y="176"/>
                  <a:pt x="15" y="174"/>
                </a:cubicBezTo>
                <a:cubicBezTo>
                  <a:pt x="12" y="174"/>
                  <a:pt x="10" y="172"/>
                  <a:pt x="11" y="171"/>
                </a:cubicBezTo>
                <a:cubicBezTo>
                  <a:pt x="11" y="169"/>
                  <a:pt x="13" y="167"/>
                  <a:pt x="13" y="166"/>
                </a:cubicBezTo>
                <a:cubicBezTo>
                  <a:pt x="12" y="164"/>
                  <a:pt x="11" y="163"/>
                  <a:pt x="9" y="161"/>
                </a:cubicBezTo>
                <a:cubicBezTo>
                  <a:pt x="12" y="157"/>
                  <a:pt x="16" y="154"/>
                  <a:pt x="18" y="149"/>
                </a:cubicBezTo>
                <a:cubicBezTo>
                  <a:pt x="18" y="149"/>
                  <a:pt x="18" y="149"/>
                  <a:pt x="18" y="149"/>
                </a:cubicBezTo>
                <a:cubicBezTo>
                  <a:pt x="17" y="149"/>
                  <a:pt x="17" y="150"/>
                  <a:pt x="16" y="151"/>
                </a:cubicBezTo>
                <a:cubicBezTo>
                  <a:pt x="14" y="152"/>
                  <a:pt x="12" y="151"/>
                  <a:pt x="11" y="149"/>
                </a:cubicBezTo>
                <a:cubicBezTo>
                  <a:pt x="10" y="148"/>
                  <a:pt x="11" y="147"/>
                  <a:pt x="12" y="146"/>
                </a:cubicBezTo>
                <a:cubicBezTo>
                  <a:pt x="14" y="143"/>
                  <a:pt x="16" y="140"/>
                  <a:pt x="18" y="137"/>
                </a:cubicBezTo>
                <a:cubicBezTo>
                  <a:pt x="17" y="138"/>
                  <a:pt x="15" y="139"/>
                  <a:pt x="14" y="140"/>
                </a:cubicBezTo>
                <a:cubicBezTo>
                  <a:pt x="12" y="141"/>
                  <a:pt x="10" y="141"/>
                  <a:pt x="9" y="140"/>
                </a:cubicBezTo>
                <a:cubicBezTo>
                  <a:pt x="8" y="139"/>
                  <a:pt x="7" y="137"/>
                  <a:pt x="8" y="135"/>
                </a:cubicBezTo>
                <a:cubicBezTo>
                  <a:pt x="9" y="133"/>
                  <a:pt x="11" y="131"/>
                  <a:pt x="12" y="129"/>
                </a:cubicBezTo>
                <a:cubicBezTo>
                  <a:pt x="12" y="128"/>
                  <a:pt x="13" y="128"/>
                  <a:pt x="13" y="128"/>
                </a:cubicBezTo>
                <a:cubicBezTo>
                  <a:pt x="10" y="128"/>
                  <a:pt x="8" y="126"/>
                  <a:pt x="8" y="124"/>
                </a:cubicBezTo>
                <a:cubicBezTo>
                  <a:pt x="8" y="123"/>
                  <a:pt x="9" y="122"/>
                  <a:pt x="9" y="121"/>
                </a:cubicBezTo>
                <a:cubicBezTo>
                  <a:pt x="10" y="120"/>
                  <a:pt x="12" y="118"/>
                  <a:pt x="13" y="116"/>
                </a:cubicBezTo>
                <a:cubicBezTo>
                  <a:pt x="12" y="116"/>
                  <a:pt x="12" y="116"/>
                  <a:pt x="11" y="116"/>
                </a:cubicBezTo>
                <a:cubicBezTo>
                  <a:pt x="9" y="117"/>
                  <a:pt x="7" y="115"/>
                  <a:pt x="7" y="113"/>
                </a:cubicBezTo>
                <a:cubicBezTo>
                  <a:pt x="7" y="112"/>
                  <a:pt x="7" y="111"/>
                  <a:pt x="8" y="110"/>
                </a:cubicBezTo>
                <a:cubicBezTo>
                  <a:pt x="9" y="108"/>
                  <a:pt x="11" y="106"/>
                  <a:pt x="13" y="104"/>
                </a:cubicBezTo>
                <a:cubicBezTo>
                  <a:pt x="11" y="104"/>
                  <a:pt x="9" y="106"/>
                  <a:pt x="7" y="104"/>
                </a:cubicBezTo>
                <a:cubicBezTo>
                  <a:pt x="6" y="104"/>
                  <a:pt x="6" y="102"/>
                  <a:pt x="5" y="101"/>
                </a:cubicBezTo>
                <a:cubicBezTo>
                  <a:pt x="7" y="99"/>
                  <a:pt x="8" y="98"/>
                  <a:pt x="9" y="96"/>
                </a:cubicBezTo>
                <a:cubicBezTo>
                  <a:pt x="8" y="95"/>
                  <a:pt x="8" y="94"/>
                  <a:pt x="7" y="92"/>
                </a:cubicBezTo>
                <a:cubicBezTo>
                  <a:pt x="7" y="92"/>
                  <a:pt x="6" y="92"/>
                  <a:pt x="6" y="92"/>
                </a:cubicBezTo>
                <a:cubicBezTo>
                  <a:pt x="4" y="91"/>
                  <a:pt x="3" y="88"/>
                  <a:pt x="4" y="86"/>
                </a:cubicBezTo>
                <a:cubicBezTo>
                  <a:pt x="4" y="86"/>
                  <a:pt x="5" y="86"/>
                  <a:pt x="5" y="85"/>
                </a:cubicBezTo>
                <a:cubicBezTo>
                  <a:pt x="6" y="85"/>
                  <a:pt x="6" y="84"/>
                  <a:pt x="5" y="83"/>
                </a:cubicBezTo>
                <a:cubicBezTo>
                  <a:pt x="4" y="82"/>
                  <a:pt x="4" y="81"/>
                  <a:pt x="5" y="79"/>
                </a:cubicBezTo>
                <a:cubicBezTo>
                  <a:pt x="6" y="77"/>
                  <a:pt x="7" y="76"/>
                  <a:pt x="8" y="74"/>
                </a:cubicBezTo>
                <a:cubicBezTo>
                  <a:pt x="9" y="74"/>
                  <a:pt x="8" y="73"/>
                  <a:pt x="8" y="73"/>
                </a:cubicBezTo>
                <a:cubicBezTo>
                  <a:pt x="5" y="70"/>
                  <a:pt x="6" y="69"/>
                  <a:pt x="8" y="67"/>
                </a:cubicBezTo>
                <a:cubicBezTo>
                  <a:pt x="9" y="66"/>
                  <a:pt x="9" y="65"/>
                  <a:pt x="8" y="65"/>
                </a:cubicBezTo>
                <a:cubicBezTo>
                  <a:pt x="6" y="62"/>
                  <a:pt x="6" y="63"/>
                  <a:pt x="8" y="60"/>
                </a:cubicBezTo>
                <a:cubicBezTo>
                  <a:pt x="10" y="57"/>
                  <a:pt x="12" y="55"/>
                  <a:pt x="14" y="53"/>
                </a:cubicBezTo>
                <a:cubicBezTo>
                  <a:pt x="14" y="52"/>
                  <a:pt x="14" y="52"/>
                  <a:pt x="14" y="52"/>
                </a:cubicBezTo>
                <a:cubicBezTo>
                  <a:pt x="13" y="53"/>
                  <a:pt x="12" y="54"/>
                  <a:pt x="11" y="54"/>
                </a:cubicBezTo>
                <a:cubicBezTo>
                  <a:pt x="10" y="56"/>
                  <a:pt x="8" y="58"/>
                  <a:pt x="6" y="60"/>
                </a:cubicBezTo>
                <a:cubicBezTo>
                  <a:pt x="5" y="62"/>
                  <a:pt x="3" y="62"/>
                  <a:pt x="2" y="60"/>
                </a:cubicBezTo>
                <a:cubicBezTo>
                  <a:pt x="0" y="57"/>
                  <a:pt x="2" y="55"/>
                  <a:pt x="3" y="54"/>
                </a:cubicBezTo>
                <a:cubicBezTo>
                  <a:pt x="6" y="50"/>
                  <a:pt x="10" y="47"/>
                  <a:pt x="13" y="43"/>
                </a:cubicBezTo>
                <a:cubicBezTo>
                  <a:pt x="11" y="44"/>
                  <a:pt x="8" y="42"/>
                  <a:pt x="8" y="39"/>
                </a:cubicBezTo>
                <a:cubicBezTo>
                  <a:pt x="8" y="38"/>
                  <a:pt x="8" y="37"/>
                  <a:pt x="9" y="37"/>
                </a:cubicBezTo>
                <a:cubicBezTo>
                  <a:pt x="10" y="37"/>
                  <a:pt x="11" y="36"/>
                  <a:pt x="11" y="35"/>
                </a:cubicBezTo>
                <a:cubicBezTo>
                  <a:pt x="10" y="34"/>
                  <a:pt x="10" y="32"/>
                  <a:pt x="9" y="31"/>
                </a:cubicBezTo>
                <a:cubicBezTo>
                  <a:pt x="9" y="30"/>
                  <a:pt x="9" y="29"/>
                  <a:pt x="10" y="29"/>
                </a:cubicBezTo>
                <a:cubicBezTo>
                  <a:pt x="11" y="28"/>
                  <a:pt x="13" y="27"/>
                  <a:pt x="14" y="25"/>
                </a:cubicBezTo>
                <a:cubicBezTo>
                  <a:pt x="14" y="25"/>
                  <a:pt x="15" y="24"/>
                  <a:pt x="15" y="24"/>
                </a:cubicBezTo>
                <a:cubicBezTo>
                  <a:pt x="14" y="23"/>
                  <a:pt x="15" y="22"/>
                  <a:pt x="14" y="21"/>
                </a:cubicBezTo>
                <a:cubicBezTo>
                  <a:pt x="13" y="21"/>
                  <a:pt x="13" y="19"/>
                  <a:pt x="14" y="19"/>
                </a:cubicBezTo>
                <a:cubicBezTo>
                  <a:pt x="15" y="17"/>
                  <a:pt x="16" y="16"/>
                  <a:pt x="18" y="14"/>
                </a:cubicBezTo>
                <a:cubicBezTo>
                  <a:pt x="18" y="14"/>
                  <a:pt x="19" y="13"/>
                  <a:pt x="20" y="12"/>
                </a:cubicBezTo>
                <a:cubicBezTo>
                  <a:pt x="21" y="11"/>
                  <a:pt x="22" y="11"/>
                  <a:pt x="23" y="12"/>
                </a:cubicBezTo>
                <a:cubicBezTo>
                  <a:pt x="24" y="13"/>
                  <a:pt x="26" y="13"/>
                  <a:pt x="27" y="13"/>
                </a:cubicBezTo>
                <a:cubicBezTo>
                  <a:pt x="28" y="13"/>
                  <a:pt x="28" y="13"/>
                  <a:pt x="29" y="14"/>
                </a:cubicBezTo>
                <a:cubicBezTo>
                  <a:pt x="30" y="14"/>
                  <a:pt x="30" y="14"/>
                  <a:pt x="31" y="14"/>
                </a:cubicBezTo>
                <a:cubicBezTo>
                  <a:pt x="33" y="12"/>
                  <a:pt x="35" y="10"/>
                  <a:pt x="37" y="8"/>
                </a:cubicBezTo>
                <a:cubicBezTo>
                  <a:pt x="38" y="8"/>
                  <a:pt x="38" y="8"/>
                  <a:pt x="38" y="8"/>
                </a:cubicBezTo>
                <a:cubicBezTo>
                  <a:pt x="40" y="7"/>
                  <a:pt x="43" y="10"/>
                  <a:pt x="43" y="12"/>
                </a:cubicBezTo>
                <a:cubicBezTo>
                  <a:pt x="46" y="10"/>
                  <a:pt x="49" y="8"/>
                  <a:pt x="52" y="5"/>
                </a:cubicBezTo>
                <a:cubicBezTo>
                  <a:pt x="54" y="3"/>
                  <a:pt x="57" y="4"/>
                  <a:pt x="58" y="7"/>
                </a:cubicBezTo>
                <a:cubicBezTo>
                  <a:pt x="58" y="7"/>
                  <a:pt x="58" y="8"/>
                  <a:pt x="58" y="9"/>
                </a:cubicBezTo>
                <a:cubicBezTo>
                  <a:pt x="59" y="8"/>
                  <a:pt x="60" y="7"/>
                  <a:pt x="61" y="6"/>
                </a:cubicBezTo>
                <a:cubicBezTo>
                  <a:pt x="62" y="4"/>
                  <a:pt x="64" y="4"/>
                  <a:pt x="65" y="6"/>
                </a:cubicBezTo>
                <a:cubicBezTo>
                  <a:pt x="66" y="6"/>
                  <a:pt x="67" y="7"/>
                  <a:pt x="67" y="8"/>
                </a:cubicBezTo>
                <a:cubicBezTo>
                  <a:pt x="67" y="8"/>
                  <a:pt x="68" y="8"/>
                  <a:pt x="68" y="8"/>
                </a:cubicBezTo>
                <a:cubicBezTo>
                  <a:pt x="70" y="6"/>
                  <a:pt x="71" y="5"/>
                  <a:pt x="72" y="4"/>
                </a:cubicBezTo>
                <a:cubicBezTo>
                  <a:pt x="73" y="4"/>
                  <a:pt x="73" y="4"/>
                  <a:pt x="73" y="4"/>
                </a:cubicBezTo>
                <a:cubicBezTo>
                  <a:pt x="75" y="4"/>
                  <a:pt x="77" y="7"/>
                  <a:pt x="76" y="9"/>
                </a:cubicBezTo>
                <a:cubicBezTo>
                  <a:pt x="76" y="9"/>
                  <a:pt x="76" y="9"/>
                  <a:pt x="76" y="9"/>
                </a:cubicBezTo>
                <a:cubicBezTo>
                  <a:pt x="71" y="14"/>
                  <a:pt x="65" y="18"/>
                  <a:pt x="60" y="22"/>
                </a:cubicBezTo>
                <a:cubicBezTo>
                  <a:pt x="58" y="24"/>
                  <a:pt x="56" y="26"/>
                  <a:pt x="53" y="28"/>
                </a:cubicBezTo>
                <a:cubicBezTo>
                  <a:pt x="53" y="29"/>
                  <a:pt x="52" y="29"/>
                  <a:pt x="52" y="29"/>
                </a:cubicBezTo>
                <a:cubicBezTo>
                  <a:pt x="53" y="29"/>
                  <a:pt x="54" y="28"/>
                  <a:pt x="54" y="28"/>
                </a:cubicBezTo>
                <a:cubicBezTo>
                  <a:pt x="58" y="25"/>
                  <a:pt x="62" y="22"/>
                  <a:pt x="66" y="19"/>
                </a:cubicBezTo>
                <a:cubicBezTo>
                  <a:pt x="69" y="17"/>
                  <a:pt x="72" y="14"/>
                  <a:pt x="75" y="12"/>
                </a:cubicBezTo>
                <a:cubicBezTo>
                  <a:pt x="76" y="11"/>
                  <a:pt x="78" y="10"/>
                  <a:pt x="80" y="8"/>
                </a:cubicBezTo>
                <a:cubicBezTo>
                  <a:pt x="80" y="8"/>
                  <a:pt x="83" y="9"/>
                  <a:pt x="83" y="10"/>
                </a:cubicBezTo>
                <a:cubicBezTo>
                  <a:pt x="83" y="11"/>
                  <a:pt x="83" y="11"/>
                  <a:pt x="84" y="12"/>
                </a:cubicBezTo>
                <a:cubicBezTo>
                  <a:pt x="86" y="10"/>
                  <a:pt x="88" y="9"/>
                  <a:pt x="91" y="7"/>
                </a:cubicBezTo>
                <a:cubicBezTo>
                  <a:pt x="94" y="6"/>
                  <a:pt x="96" y="4"/>
                  <a:pt x="99" y="2"/>
                </a:cubicBezTo>
                <a:cubicBezTo>
                  <a:pt x="100" y="1"/>
                  <a:pt x="101" y="1"/>
                  <a:pt x="102" y="2"/>
                </a:cubicBezTo>
                <a:cubicBezTo>
                  <a:pt x="104" y="3"/>
                  <a:pt x="105" y="4"/>
                  <a:pt x="107" y="5"/>
                </a:cubicBezTo>
                <a:cubicBezTo>
                  <a:pt x="108" y="6"/>
                  <a:pt x="108" y="7"/>
                  <a:pt x="107" y="8"/>
                </a:cubicBezTo>
                <a:cubicBezTo>
                  <a:pt x="105" y="11"/>
                  <a:pt x="102" y="13"/>
                  <a:pt x="99" y="15"/>
                </a:cubicBezTo>
                <a:cubicBezTo>
                  <a:pt x="98" y="16"/>
                  <a:pt x="97" y="17"/>
                  <a:pt x="96" y="18"/>
                </a:cubicBezTo>
                <a:cubicBezTo>
                  <a:pt x="96" y="18"/>
                  <a:pt x="97" y="18"/>
                  <a:pt x="97" y="18"/>
                </a:cubicBezTo>
                <a:cubicBezTo>
                  <a:pt x="98" y="17"/>
                  <a:pt x="100" y="15"/>
                  <a:pt x="102" y="14"/>
                </a:cubicBezTo>
                <a:cubicBezTo>
                  <a:pt x="102" y="14"/>
                  <a:pt x="103" y="13"/>
                  <a:pt x="103" y="14"/>
                </a:cubicBezTo>
                <a:cubicBezTo>
                  <a:pt x="104" y="14"/>
                  <a:pt x="105" y="13"/>
                  <a:pt x="105" y="13"/>
                </a:cubicBezTo>
                <a:cubicBezTo>
                  <a:pt x="109" y="10"/>
                  <a:pt x="114" y="8"/>
                  <a:pt x="118" y="6"/>
                </a:cubicBezTo>
                <a:cubicBezTo>
                  <a:pt x="119" y="5"/>
                  <a:pt x="121" y="5"/>
                  <a:pt x="122" y="4"/>
                </a:cubicBezTo>
                <a:cubicBezTo>
                  <a:pt x="123" y="3"/>
                  <a:pt x="124" y="2"/>
                  <a:pt x="125" y="1"/>
                </a:cubicBezTo>
                <a:cubicBezTo>
                  <a:pt x="126" y="1"/>
                  <a:pt x="127" y="0"/>
                  <a:pt x="128" y="1"/>
                </a:cubicBezTo>
                <a:cubicBezTo>
                  <a:pt x="128" y="2"/>
                  <a:pt x="129" y="2"/>
                  <a:pt x="130" y="3"/>
                </a:cubicBezTo>
                <a:cubicBezTo>
                  <a:pt x="131" y="4"/>
                  <a:pt x="130" y="6"/>
                  <a:pt x="129" y="7"/>
                </a:cubicBezTo>
                <a:cubicBezTo>
                  <a:pt x="128" y="8"/>
                  <a:pt x="128" y="8"/>
                  <a:pt x="127" y="8"/>
                </a:cubicBezTo>
                <a:cubicBezTo>
                  <a:pt x="126" y="9"/>
                  <a:pt x="126" y="10"/>
                  <a:pt x="127" y="11"/>
                </a:cubicBezTo>
                <a:cubicBezTo>
                  <a:pt x="125" y="13"/>
                  <a:pt x="122" y="15"/>
                  <a:pt x="120" y="17"/>
                </a:cubicBezTo>
                <a:cubicBezTo>
                  <a:pt x="120" y="17"/>
                  <a:pt x="120" y="17"/>
                  <a:pt x="121" y="18"/>
                </a:cubicBezTo>
                <a:cubicBezTo>
                  <a:pt x="127" y="13"/>
                  <a:pt x="134" y="8"/>
                  <a:pt x="141" y="3"/>
                </a:cubicBezTo>
                <a:cubicBezTo>
                  <a:pt x="142" y="3"/>
                  <a:pt x="143" y="4"/>
                  <a:pt x="144" y="5"/>
                </a:cubicBezTo>
                <a:cubicBezTo>
                  <a:pt x="145" y="4"/>
                  <a:pt x="146" y="3"/>
                  <a:pt x="147" y="3"/>
                </a:cubicBezTo>
                <a:cubicBezTo>
                  <a:pt x="148" y="3"/>
                  <a:pt x="149" y="3"/>
                  <a:pt x="149" y="4"/>
                </a:cubicBezTo>
                <a:cubicBezTo>
                  <a:pt x="150" y="5"/>
                  <a:pt x="150" y="5"/>
                  <a:pt x="151" y="6"/>
                </a:cubicBezTo>
                <a:cubicBezTo>
                  <a:pt x="152" y="5"/>
                  <a:pt x="154" y="3"/>
                  <a:pt x="156" y="2"/>
                </a:cubicBezTo>
                <a:cubicBezTo>
                  <a:pt x="157" y="3"/>
                  <a:pt x="158" y="4"/>
                  <a:pt x="160" y="6"/>
                </a:cubicBezTo>
                <a:cubicBezTo>
                  <a:pt x="160" y="5"/>
                  <a:pt x="161" y="5"/>
                  <a:pt x="161" y="4"/>
                </a:cubicBezTo>
                <a:cubicBezTo>
                  <a:pt x="162" y="3"/>
                  <a:pt x="163" y="3"/>
                  <a:pt x="164" y="4"/>
                </a:cubicBezTo>
                <a:cubicBezTo>
                  <a:pt x="165" y="5"/>
                  <a:pt x="166" y="6"/>
                  <a:pt x="166" y="8"/>
                </a:cubicBezTo>
                <a:cubicBezTo>
                  <a:pt x="166" y="8"/>
                  <a:pt x="166" y="9"/>
                  <a:pt x="166" y="9"/>
                </a:cubicBezTo>
                <a:cubicBezTo>
                  <a:pt x="169" y="8"/>
                  <a:pt x="171" y="8"/>
                  <a:pt x="173" y="7"/>
                </a:cubicBezTo>
                <a:cubicBezTo>
                  <a:pt x="173" y="7"/>
                  <a:pt x="174" y="6"/>
                  <a:pt x="174" y="6"/>
                </a:cubicBezTo>
                <a:cubicBezTo>
                  <a:pt x="175" y="5"/>
                  <a:pt x="175" y="5"/>
                  <a:pt x="176" y="5"/>
                </a:cubicBezTo>
                <a:cubicBezTo>
                  <a:pt x="178" y="5"/>
                  <a:pt x="180" y="7"/>
                  <a:pt x="180" y="9"/>
                </a:cubicBezTo>
                <a:cubicBezTo>
                  <a:pt x="180" y="10"/>
                  <a:pt x="179" y="10"/>
                  <a:pt x="179" y="11"/>
                </a:cubicBezTo>
                <a:cubicBezTo>
                  <a:pt x="181" y="9"/>
                  <a:pt x="183" y="8"/>
                  <a:pt x="185" y="6"/>
                </a:cubicBezTo>
                <a:cubicBezTo>
                  <a:pt x="185" y="5"/>
                  <a:pt x="186" y="4"/>
                  <a:pt x="187" y="4"/>
                </a:cubicBezTo>
                <a:cubicBezTo>
                  <a:pt x="188" y="5"/>
                  <a:pt x="190" y="5"/>
                  <a:pt x="190" y="7"/>
                </a:cubicBezTo>
                <a:cubicBezTo>
                  <a:pt x="190" y="7"/>
                  <a:pt x="190" y="7"/>
                  <a:pt x="191" y="8"/>
                </a:cubicBezTo>
                <a:cubicBezTo>
                  <a:pt x="192" y="9"/>
                  <a:pt x="194" y="11"/>
                  <a:pt x="195" y="13"/>
                </a:cubicBezTo>
                <a:cubicBezTo>
                  <a:pt x="192" y="17"/>
                  <a:pt x="189" y="20"/>
                  <a:pt x="186" y="24"/>
                </a:cubicBezTo>
                <a:cubicBezTo>
                  <a:pt x="186" y="24"/>
                  <a:pt x="186" y="24"/>
                  <a:pt x="187" y="25"/>
                </a:cubicBezTo>
                <a:cubicBezTo>
                  <a:pt x="188" y="24"/>
                  <a:pt x="189" y="23"/>
                  <a:pt x="190" y="22"/>
                </a:cubicBezTo>
                <a:cubicBezTo>
                  <a:pt x="190" y="22"/>
                  <a:pt x="191" y="21"/>
                  <a:pt x="192" y="22"/>
                </a:cubicBezTo>
                <a:cubicBezTo>
                  <a:pt x="195" y="23"/>
                  <a:pt x="196" y="25"/>
                  <a:pt x="194" y="28"/>
                </a:cubicBezTo>
                <a:cubicBezTo>
                  <a:pt x="194" y="29"/>
                  <a:pt x="193" y="30"/>
                  <a:pt x="192" y="31"/>
                </a:cubicBezTo>
                <a:cubicBezTo>
                  <a:pt x="192" y="31"/>
                  <a:pt x="192" y="31"/>
                  <a:pt x="192" y="32"/>
                </a:cubicBezTo>
                <a:cubicBezTo>
                  <a:pt x="193" y="31"/>
                  <a:pt x="194" y="30"/>
                  <a:pt x="195" y="30"/>
                </a:cubicBezTo>
                <a:cubicBezTo>
                  <a:pt x="197" y="28"/>
                  <a:pt x="199" y="28"/>
                  <a:pt x="200" y="30"/>
                </a:cubicBezTo>
                <a:cubicBezTo>
                  <a:pt x="201" y="31"/>
                  <a:pt x="201" y="31"/>
                  <a:pt x="202" y="32"/>
                </a:cubicBezTo>
                <a:cubicBezTo>
                  <a:pt x="199" y="36"/>
                  <a:pt x="196" y="40"/>
                  <a:pt x="193" y="44"/>
                </a:cubicBezTo>
                <a:cubicBezTo>
                  <a:pt x="191" y="46"/>
                  <a:pt x="191" y="47"/>
                  <a:pt x="193" y="48"/>
                </a:cubicBezTo>
                <a:cubicBezTo>
                  <a:pt x="193" y="48"/>
                  <a:pt x="193" y="48"/>
                  <a:pt x="193" y="48"/>
                </a:cubicBezTo>
                <a:cubicBezTo>
                  <a:pt x="194" y="48"/>
                  <a:pt x="195" y="46"/>
                  <a:pt x="196" y="46"/>
                </a:cubicBezTo>
                <a:cubicBezTo>
                  <a:pt x="197" y="47"/>
                  <a:pt x="198" y="48"/>
                  <a:pt x="199" y="49"/>
                </a:cubicBezTo>
                <a:cubicBezTo>
                  <a:pt x="200" y="50"/>
                  <a:pt x="199" y="51"/>
                  <a:pt x="199" y="52"/>
                </a:cubicBezTo>
                <a:cubicBezTo>
                  <a:pt x="197" y="54"/>
                  <a:pt x="196" y="56"/>
                  <a:pt x="194" y="58"/>
                </a:cubicBezTo>
                <a:cubicBezTo>
                  <a:pt x="194" y="58"/>
                  <a:pt x="194" y="59"/>
                  <a:pt x="194" y="59"/>
                </a:cubicBezTo>
                <a:cubicBezTo>
                  <a:pt x="195" y="59"/>
                  <a:pt x="195" y="58"/>
                  <a:pt x="195" y="58"/>
                </a:cubicBezTo>
                <a:cubicBezTo>
                  <a:pt x="196" y="56"/>
                  <a:pt x="198" y="56"/>
                  <a:pt x="199" y="58"/>
                </a:cubicBezTo>
                <a:cubicBezTo>
                  <a:pt x="202" y="61"/>
                  <a:pt x="201" y="61"/>
                  <a:pt x="199" y="63"/>
                </a:cubicBezTo>
                <a:cubicBezTo>
                  <a:pt x="198" y="65"/>
                  <a:pt x="197" y="67"/>
                  <a:pt x="195" y="68"/>
                </a:cubicBezTo>
                <a:cubicBezTo>
                  <a:pt x="198" y="69"/>
                  <a:pt x="198" y="71"/>
                  <a:pt x="199" y="72"/>
                </a:cubicBezTo>
                <a:cubicBezTo>
                  <a:pt x="199" y="72"/>
                  <a:pt x="199" y="73"/>
                  <a:pt x="199" y="74"/>
                </a:cubicBezTo>
                <a:cubicBezTo>
                  <a:pt x="197" y="77"/>
                  <a:pt x="195" y="80"/>
                  <a:pt x="194" y="83"/>
                </a:cubicBezTo>
                <a:cubicBezTo>
                  <a:pt x="193" y="83"/>
                  <a:pt x="193" y="84"/>
                  <a:pt x="193" y="85"/>
                </a:cubicBezTo>
                <a:cubicBezTo>
                  <a:pt x="193" y="86"/>
                  <a:pt x="193" y="87"/>
                  <a:pt x="192" y="88"/>
                </a:cubicBezTo>
                <a:cubicBezTo>
                  <a:pt x="191" y="88"/>
                  <a:pt x="191" y="89"/>
                  <a:pt x="191" y="89"/>
                </a:cubicBezTo>
                <a:cubicBezTo>
                  <a:pt x="191" y="90"/>
                  <a:pt x="192" y="90"/>
                  <a:pt x="192" y="90"/>
                </a:cubicBezTo>
                <a:cubicBezTo>
                  <a:pt x="194" y="91"/>
                  <a:pt x="195" y="93"/>
                  <a:pt x="194" y="95"/>
                </a:cubicBezTo>
                <a:cubicBezTo>
                  <a:pt x="193" y="97"/>
                  <a:pt x="192" y="99"/>
                  <a:pt x="191" y="101"/>
                </a:cubicBezTo>
                <a:cubicBezTo>
                  <a:pt x="192" y="101"/>
                  <a:pt x="193" y="101"/>
                  <a:pt x="194" y="100"/>
                </a:cubicBezTo>
                <a:cubicBezTo>
                  <a:pt x="195" y="99"/>
                  <a:pt x="196" y="100"/>
                  <a:pt x="197" y="100"/>
                </a:cubicBezTo>
                <a:cubicBezTo>
                  <a:pt x="198" y="100"/>
                  <a:pt x="199" y="101"/>
                  <a:pt x="199" y="102"/>
                </a:cubicBezTo>
                <a:cubicBezTo>
                  <a:pt x="200" y="104"/>
                  <a:pt x="199" y="106"/>
                  <a:pt x="198" y="107"/>
                </a:cubicBezTo>
                <a:cubicBezTo>
                  <a:pt x="200" y="108"/>
                  <a:pt x="201" y="109"/>
                  <a:pt x="200" y="111"/>
                </a:cubicBezTo>
                <a:cubicBezTo>
                  <a:pt x="200" y="113"/>
                  <a:pt x="199" y="114"/>
                  <a:pt x="197" y="116"/>
                </a:cubicBezTo>
                <a:cubicBezTo>
                  <a:pt x="198" y="116"/>
                  <a:pt x="199" y="117"/>
                  <a:pt x="200" y="117"/>
                </a:cubicBezTo>
                <a:cubicBezTo>
                  <a:pt x="202" y="118"/>
                  <a:pt x="202" y="120"/>
                  <a:pt x="201" y="122"/>
                </a:cubicBezTo>
                <a:cubicBezTo>
                  <a:pt x="199" y="124"/>
                  <a:pt x="198" y="126"/>
                  <a:pt x="196" y="128"/>
                </a:cubicBezTo>
                <a:cubicBezTo>
                  <a:pt x="198" y="129"/>
                  <a:pt x="201" y="129"/>
                  <a:pt x="200" y="131"/>
                </a:cubicBezTo>
                <a:cubicBezTo>
                  <a:pt x="200" y="133"/>
                  <a:pt x="199" y="135"/>
                  <a:pt x="198" y="137"/>
                </a:cubicBezTo>
                <a:cubicBezTo>
                  <a:pt x="198" y="137"/>
                  <a:pt x="198" y="137"/>
                  <a:pt x="198" y="137"/>
                </a:cubicBezTo>
                <a:cubicBezTo>
                  <a:pt x="199" y="137"/>
                  <a:pt x="200" y="137"/>
                  <a:pt x="200" y="138"/>
                </a:cubicBezTo>
                <a:cubicBezTo>
                  <a:pt x="201" y="140"/>
                  <a:pt x="201" y="141"/>
                  <a:pt x="200" y="143"/>
                </a:cubicBezTo>
                <a:cubicBezTo>
                  <a:pt x="200" y="144"/>
                  <a:pt x="199" y="144"/>
                  <a:pt x="199" y="145"/>
                </a:cubicBezTo>
                <a:cubicBezTo>
                  <a:pt x="198" y="146"/>
                  <a:pt x="198" y="146"/>
                  <a:pt x="199" y="146"/>
                </a:cubicBezTo>
                <a:cubicBezTo>
                  <a:pt x="201" y="149"/>
                  <a:pt x="199" y="152"/>
                  <a:pt x="197" y="154"/>
                </a:cubicBezTo>
                <a:cubicBezTo>
                  <a:pt x="197" y="154"/>
                  <a:pt x="197" y="154"/>
                  <a:pt x="197" y="154"/>
                </a:cubicBezTo>
                <a:cubicBezTo>
                  <a:pt x="198" y="156"/>
                  <a:pt x="198" y="159"/>
                  <a:pt x="199" y="161"/>
                </a:cubicBezTo>
                <a:cubicBezTo>
                  <a:pt x="199" y="162"/>
                  <a:pt x="198" y="163"/>
                  <a:pt x="197" y="164"/>
                </a:cubicBezTo>
                <a:cubicBezTo>
                  <a:pt x="195" y="166"/>
                  <a:pt x="193" y="169"/>
                  <a:pt x="190" y="171"/>
                </a:cubicBezTo>
                <a:cubicBezTo>
                  <a:pt x="188" y="173"/>
                  <a:pt x="186" y="175"/>
                  <a:pt x="184" y="176"/>
                </a:cubicBezTo>
                <a:cubicBezTo>
                  <a:pt x="183" y="177"/>
                  <a:pt x="183" y="177"/>
                  <a:pt x="183" y="177"/>
                </a:cubicBezTo>
                <a:cubicBezTo>
                  <a:pt x="181" y="176"/>
                  <a:pt x="181" y="177"/>
                  <a:pt x="180" y="178"/>
                </a:cubicBezTo>
                <a:cubicBezTo>
                  <a:pt x="179" y="178"/>
                  <a:pt x="178" y="179"/>
                  <a:pt x="177" y="178"/>
                </a:cubicBezTo>
                <a:cubicBezTo>
                  <a:pt x="176" y="177"/>
                  <a:pt x="175" y="176"/>
                  <a:pt x="174" y="176"/>
                </a:cubicBezTo>
                <a:cubicBezTo>
                  <a:pt x="173" y="177"/>
                  <a:pt x="172" y="178"/>
                  <a:pt x="171" y="179"/>
                </a:cubicBezTo>
                <a:cubicBezTo>
                  <a:pt x="170" y="181"/>
                  <a:pt x="169" y="181"/>
                  <a:pt x="167" y="180"/>
                </a:cubicBezTo>
                <a:cubicBezTo>
                  <a:pt x="166" y="179"/>
                  <a:pt x="165" y="178"/>
                  <a:pt x="165" y="176"/>
                </a:cubicBezTo>
                <a:cubicBezTo>
                  <a:pt x="164" y="176"/>
                  <a:pt x="163" y="177"/>
                  <a:pt x="162" y="177"/>
                </a:cubicBezTo>
                <a:cubicBezTo>
                  <a:pt x="161" y="177"/>
                  <a:pt x="160" y="176"/>
                  <a:pt x="159" y="176"/>
                </a:cubicBezTo>
                <a:cubicBezTo>
                  <a:pt x="158" y="175"/>
                  <a:pt x="158" y="175"/>
                  <a:pt x="157" y="176"/>
                </a:cubicBezTo>
                <a:cubicBezTo>
                  <a:pt x="155" y="176"/>
                  <a:pt x="154" y="176"/>
                  <a:pt x="153" y="175"/>
                </a:cubicBezTo>
                <a:cubicBezTo>
                  <a:pt x="153" y="175"/>
                  <a:pt x="152" y="174"/>
                  <a:pt x="152" y="175"/>
                </a:cubicBezTo>
                <a:cubicBezTo>
                  <a:pt x="150" y="175"/>
                  <a:pt x="149" y="175"/>
                  <a:pt x="148" y="174"/>
                </a:cubicBezTo>
                <a:cubicBezTo>
                  <a:pt x="147" y="174"/>
                  <a:pt x="146" y="174"/>
                  <a:pt x="146" y="174"/>
                </a:cubicBezTo>
                <a:cubicBezTo>
                  <a:pt x="144" y="176"/>
                  <a:pt x="143" y="177"/>
                  <a:pt x="140" y="175"/>
                </a:cubicBezTo>
                <a:cubicBezTo>
                  <a:pt x="140" y="175"/>
                  <a:pt x="139" y="175"/>
                  <a:pt x="138" y="175"/>
                </a:cubicBezTo>
                <a:cubicBezTo>
                  <a:pt x="137" y="175"/>
                  <a:pt x="137" y="175"/>
                  <a:pt x="136" y="175"/>
                </a:cubicBezTo>
                <a:cubicBezTo>
                  <a:pt x="135" y="177"/>
                  <a:pt x="134" y="177"/>
                  <a:pt x="132" y="176"/>
                </a:cubicBezTo>
                <a:cubicBezTo>
                  <a:pt x="132" y="176"/>
                  <a:pt x="131" y="176"/>
                  <a:pt x="130" y="176"/>
                </a:cubicBezTo>
                <a:cubicBezTo>
                  <a:pt x="128" y="178"/>
                  <a:pt x="128" y="178"/>
                  <a:pt x="126" y="177"/>
                </a:cubicBezTo>
                <a:close/>
                <a:moveTo>
                  <a:pt x="48" y="157"/>
                </a:moveTo>
                <a:cubicBezTo>
                  <a:pt x="48" y="157"/>
                  <a:pt x="48" y="157"/>
                  <a:pt x="47" y="156"/>
                </a:cubicBezTo>
                <a:cubicBezTo>
                  <a:pt x="45" y="159"/>
                  <a:pt x="43" y="161"/>
                  <a:pt x="41" y="163"/>
                </a:cubicBezTo>
                <a:cubicBezTo>
                  <a:pt x="41" y="163"/>
                  <a:pt x="42" y="163"/>
                  <a:pt x="42" y="163"/>
                </a:cubicBezTo>
                <a:cubicBezTo>
                  <a:pt x="44" y="161"/>
                  <a:pt x="45" y="160"/>
                  <a:pt x="47" y="158"/>
                </a:cubicBezTo>
                <a:cubicBezTo>
                  <a:pt x="48" y="158"/>
                  <a:pt x="48" y="157"/>
                  <a:pt x="48" y="157"/>
                </a:cubicBezTo>
                <a:close/>
                <a:moveTo>
                  <a:pt x="21" y="127"/>
                </a:moveTo>
                <a:cubicBezTo>
                  <a:pt x="21" y="127"/>
                  <a:pt x="21" y="127"/>
                  <a:pt x="21" y="128"/>
                </a:cubicBezTo>
                <a:cubicBezTo>
                  <a:pt x="23" y="126"/>
                  <a:pt x="24" y="125"/>
                  <a:pt x="26" y="124"/>
                </a:cubicBezTo>
                <a:cubicBezTo>
                  <a:pt x="26" y="123"/>
                  <a:pt x="26" y="123"/>
                  <a:pt x="26" y="121"/>
                </a:cubicBezTo>
                <a:cubicBezTo>
                  <a:pt x="24" y="123"/>
                  <a:pt x="23" y="125"/>
                  <a:pt x="21" y="127"/>
                </a:cubicBezTo>
                <a:close/>
                <a:moveTo>
                  <a:pt x="69" y="24"/>
                </a:moveTo>
                <a:cubicBezTo>
                  <a:pt x="67" y="25"/>
                  <a:pt x="68" y="27"/>
                  <a:pt x="68" y="28"/>
                </a:cubicBezTo>
                <a:cubicBezTo>
                  <a:pt x="69" y="27"/>
                  <a:pt x="70" y="26"/>
                  <a:pt x="69" y="24"/>
                </a:cubicBezTo>
                <a:close/>
              </a:path>
            </a:pathLst>
          </a:custGeom>
          <a:solidFill>
            <a:schemeClr val="tx1"/>
          </a:solidFill>
          <a:ln>
            <a:noFill/>
          </a:ln>
        </p:spPr>
        <p:txBody>
          <a:bodyPr vert="horz" wrap="square" lIns="91411" tIns="45704" rIns="91411" bIns="45704" numCol="1" anchor="ctr" anchorCtr="0" compatLnSpc="1">
            <a:prstTxWarp prst="textNoShape">
              <a:avLst/>
            </a:prstTxWarp>
          </a:bodyPr>
          <a:lstStyle/>
          <a:p>
            <a:pPr algn="ctr" defTabSz="913686" fontAlgn="base">
              <a:spcBef>
                <a:spcPct val="0"/>
              </a:spcBef>
              <a:spcAft>
                <a:spcPct val="0"/>
              </a:spcAft>
            </a:pPr>
            <a:r>
              <a:rPr lang="en-US" b="1" dirty="0">
                <a:solidFill>
                  <a:prstClr val="white"/>
                </a:solidFill>
                <a:cs typeface="Arial" charset="0"/>
              </a:rPr>
              <a:t>Lorem ipsum dolor</a:t>
            </a:r>
          </a:p>
        </p:txBody>
      </p:sp>
      <p:sp>
        <p:nvSpPr>
          <p:cNvPr id="53" name="Freeform 220">
            <a:extLst>
              <a:ext uri="{FF2B5EF4-FFF2-40B4-BE49-F238E27FC236}">
                <a16:creationId xmlns:a16="http://schemas.microsoft.com/office/drawing/2014/main" id="{165E8BB9-2081-2D4F-9957-A1E641B61EA1}"/>
              </a:ext>
            </a:extLst>
          </p:cNvPr>
          <p:cNvSpPr>
            <a:spLocks/>
          </p:cNvSpPr>
          <p:nvPr/>
        </p:nvSpPr>
        <p:spPr bwMode="auto">
          <a:xfrm rot="1661704">
            <a:off x="4227528" y="3586855"/>
            <a:ext cx="970792" cy="303747"/>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1">
              <a:lumMod val="50000"/>
              <a:lumOff val="50000"/>
            </a:schemeClr>
          </a:solidFill>
          <a:ln>
            <a:noFill/>
          </a:ln>
        </p:spPr>
        <p:txBody>
          <a:bodyPr vert="horz" wrap="square" lIns="91411" tIns="45704" rIns="91411" bIns="45704" numCol="1" anchor="t" anchorCtr="0" compatLnSpc="1">
            <a:prstTxWarp prst="textNoShape">
              <a:avLst/>
            </a:prstTxWarp>
          </a:bodyPr>
          <a:lstStyle/>
          <a:p>
            <a:pPr defTabSz="913686" fontAlgn="base">
              <a:spcBef>
                <a:spcPct val="0"/>
              </a:spcBef>
              <a:spcAft>
                <a:spcPct val="0"/>
              </a:spcAft>
            </a:pPr>
            <a:endParaRPr lang="en-US">
              <a:solidFill>
                <a:srgbClr val="000000"/>
              </a:solidFill>
              <a:cs typeface="Arial" charset="0"/>
            </a:endParaRPr>
          </a:p>
        </p:txBody>
      </p:sp>
      <p:sp>
        <p:nvSpPr>
          <p:cNvPr id="54" name="Freeform 220">
            <a:extLst>
              <a:ext uri="{FF2B5EF4-FFF2-40B4-BE49-F238E27FC236}">
                <a16:creationId xmlns:a16="http://schemas.microsoft.com/office/drawing/2014/main" id="{FDE91D21-4FFD-4E45-BFB7-32F64C6E5900}"/>
              </a:ext>
            </a:extLst>
          </p:cNvPr>
          <p:cNvSpPr>
            <a:spLocks/>
          </p:cNvSpPr>
          <p:nvPr/>
        </p:nvSpPr>
        <p:spPr bwMode="auto">
          <a:xfrm rot="1661704">
            <a:off x="6035092" y="4306995"/>
            <a:ext cx="970792" cy="303747"/>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1">
              <a:lumMod val="50000"/>
              <a:lumOff val="50000"/>
            </a:schemeClr>
          </a:solidFill>
          <a:ln>
            <a:noFill/>
          </a:ln>
        </p:spPr>
        <p:txBody>
          <a:bodyPr vert="horz" wrap="square" lIns="91411" tIns="45704" rIns="91411" bIns="45704" numCol="1" anchor="t" anchorCtr="0" compatLnSpc="1">
            <a:prstTxWarp prst="textNoShape">
              <a:avLst/>
            </a:prstTxWarp>
          </a:bodyPr>
          <a:lstStyle/>
          <a:p>
            <a:pPr defTabSz="913686" fontAlgn="base">
              <a:spcBef>
                <a:spcPct val="0"/>
              </a:spcBef>
              <a:spcAft>
                <a:spcPct val="0"/>
              </a:spcAft>
            </a:pPr>
            <a:endParaRPr lang="en-US">
              <a:solidFill>
                <a:srgbClr val="000000"/>
              </a:solidFill>
              <a:cs typeface="Arial" charset="0"/>
            </a:endParaRPr>
          </a:p>
        </p:txBody>
      </p:sp>
      <p:sp>
        <p:nvSpPr>
          <p:cNvPr id="55" name="Freeform 220">
            <a:extLst>
              <a:ext uri="{FF2B5EF4-FFF2-40B4-BE49-F238E27FC236}">
                <a16:creationId xmlns:a16="http://schemas.microsoft.com/office/drawing/2014/main" id="{EC6A7BF2-165C-EF4F-B009-C8E523B1D65F}"/>
              </a:ext>
            </a:extLst>
          </p:cNvPr>
          <p:cNvSpPr>
            <a:spLocks/>
          </p:cNvSpPr>
          <p:nvPr/>
        </p:nvSpPr>
        <p:spPr bwMode="auto">
          <a:xfrm rot="12461704">
            <a:off x="6971533" y="2598013"/>
            <a:ext cx="970792" cy="303747"/>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1">
              <a:lumMod val="50000"/>
              <a:lumOff val="50000"/>
            </a:schemeClr>
          </a:solidFill>
          <a:ln>
            <a:noFill/>
          </a:ln>
        </p:spPr>
        <p:txBody>
          <a:bodyPr vert="horz" wrap="square" lIns="91411" tIns="45704" rIns="91411" bIns="45704" numCol="1" anchor="t" anchorCtr="0" compatLnSpc="1">
            <a:prstTxWarp prst="textNoShape">
              <a:avLst/>
            </a:prstTxWarp>
          </a:bodyPr>
          <a:lstStyle/>
          <a:p>
            <a:pPr defTabSz="913686" fontAlgn="base">
              <a:spcBef>
                <a:spcPct val="0"/>
              </a:spcBef>
              <a:spcAft>
                <a:spcPct val="0"/>
              </a:spcAft>
            </a:pPr>
            <a:endParaRPr lang="en-US">
              <a:solidFill>
                <a:srgbClr val="000000"/>
              </a:solidFill>
              <a:cs typeface="Arial" charset="0"/>
            </a:endParaRPr>
          </a:p>
        </p:txBody>
      </p:sp>
      <p:sp>
        <p:nvSpPr>
          <p:cNvPr id="56" name="Freeform 220">
            <a:extLst>
              <a:ext uri="{FF2B5EF4-FFF2-40B4-BE49-F238E27FC236}">
                <a16:creationId xmlns:a16="http://schemas.microsoft.com/office/drawing/2014/main" id="{B6568818-73D4-4C41-A50D-791A2CAFD5AA}"/>
              </a:ext>
            </a:extLst>
          </p:cNvPr>
          <p:cNvSpPr>
            <a:spLocks/>
          </p:cNvSpPr>
          <p:nvPr/>
        </p:nvSpPr>
        <p:spPr bwMode="auto">
          <a:xfrm rot="12461704">
            <a:off x="5109275" y="1873485"/>
            <a:ext cx="970792" cy="303747"/>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1">
              <a:lumMod val="50000"/>
              <a:lumOff val="50000"/>
            </a:schemeClr>
          </a:solidFill>
          <a:ln>
            <a:noFill/>
          </a:ln>
        </p:spPr>
        <p:txBody>
          <a:bodyPr vert="horz" wrap="square" lIns="91411" tIns="45704" rIns="91411" bIns="45704" numCol="1" anchor="t" anchorCtr="0" compatLnSpc="1">
            <a:prstTxWarp prst="textNoShape">
              <a:avLst/>
            </a:prstTxWarp>
          </a:bodyPr>
          <a:lstStyle/>
          <a:p>
            <a:pPr defTabSz="913686" fontAlgn="base">
              <a:spcBef>
                <a:spcPct val="0"/>
              </a:spcBef>
              <a:spcAft>
                <a:spcPct val="0"/>
              </a:spcAft>
            </a:pPr>
            <a:endParaRPr lang="en-US">
              <a:solidFill>
                <a:srgbClr val="000000"/>
              </a:solidFill>
              <a:cs typeface="Arial" charset="0"/>
            </a:endParaRPr>
          </a:p>
        </p:txBody>
      </p:sp>
    </p:spTree>
    <p:custDataLst>
      <p:tags r:id="rId1"/>
    </p:custDataLst>
    <p:extLst>
      <p:ext uri="{BB962C8B-B14F-4D97-AF65-F5344CB8AC3E}">
        <p14:creationId xmlns:p14="http://schemas.microsoft.com/office/powerpoint/2010/main" val="1326975581"/>
      </p:ext>
    </p:extLst>
  </p:cSld>
  <p:clrMapOvr>
    <a:masterClrMapping/>
  </p:clrMapOvr>
  <p:transition>
    <p:fade/>
  </p:transition>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gray">
          <a:xfrm>
            <a:off x="1662113" y="3548435"/>
            <a:ext cx="8996362" cy="75454"/>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8" name="Content Placeholder 2"/>
          <p:cNvSpPr>
            <a:spLocks noGrp="1"/>
          </p:cNvSpPr>
          <p:nvPr>
            <p:ph sz="quarter" idx="4294967295"/>
          </p:nvPr>
        </p:nvSpPr>
        <p:spPr>
          <a:xfrm>
            <a:off x="2890335" y="4839843"/>
            <a:ext cx="3149600" cy="1293813"/>
          </a:xfrm>
          <a:prstGeom prst="rect">
            <a:avLst/>
          </a:prstGeom>
        </p:spPr>
        <p:txBody>
          <a:bodyPr wrap="square" lIns="0" tIns="0" rIns="0" bIns="0">
            <a:spAutoFit/>
          </a:bodyPr>
          <a:lstStyle/>
          <a:p>
            <a:pPr>
              <a:spcAft>
                <a:spcPts val="0"/>
              </a:spcAft>
            </a:pPr>
            <a:r>
              <a:rPr lang="en-US" altLang="zh-CN" sz="2400" noProof="0" dirty="0">
                <a:solidFill>
                  <a:schemeClr val="accent6"/>
                </a:solidFill>
              </a:rPr>
              <a:t>01</a:t>
            </a:r>
          </a:p>
          <a:p>
            <a:pPr>
              <a:spcAft>
                <a:spcPts val="0"/>
              </a:spcAft>
            </a:pPr>
            <a:r>
              <a:rPr lang="en-US" noProof="0" dirty="0"/>
              <a:t>this is dummy text it is not here to be read it is here to show how this document will </a:t>
            </a:r>
            <a:r>
              <a:rPr lang="en-US" dirty="0"/>
              <a:t>look this is dummy text it is not here to be read it is here to show how this document will look</a:t>
            </a:r>
          </a:p>
        </p:txBody>
      </p:sp>
      <p:sp>
        <p:nvSpPr>
          <p:cNvPr id="89" name="Content Placeholder 2"/>
          <p:cNvSpPr>
            <a:spLocks noGrp="1"/>
          </p:cNvSpPr>
          <p:nvPr>
            <p:ph sz="quarter" idx="4294967295"/>
          </p:nvPr>
        </p:nvSpPr>
        <p:spPr>
          <a:xfrm>
            <a:off x="7184755" y="4850259"/>
            <a:ext cx="3149600" cy="1293813"/>
          </a:xfrm>
          <a:prstGeom prst="rect">
            <a:avLst/>
          </a:prstGeom>
        </p:spPr>
        <p:txBody>
          <a:bodyPr wrap="square" lIns="0" tIns="0" rIns="0" bIns="0">
            <a:spAutoFit/>
          </a:bodyPr>
          <a:lstStyle/>
          <a:p>
            <a:pPr>
              <a:spcAft>
                <a:spcPts val="0"/>
              </a:spcAft>
            </a:pPr>
            <a:r>
              <a:rPr lang="en-US" altLang="zh-CN" sz="2400" noProof="0" dirty="0">
                <a:solidFill>
                  <a:schemeClr val="accent6"/>
                </a:solidFill>
              </a:rPr>
              <a:t>03</a:t>
            </a:r>
          </a:p>
          <a:p>
            <a:pPr>
              <a:spcAft>
                <a:spcPts val="0"/>
              </a:spcAft>
            </a:pPr>
            <a:r>
              <a:rPr lang="en-US" noProof="0" dirty="0"/>
              <a:t>this is dummy text it is not here to be read it is here to show how this document will </a:t>
            </a:r>
            <a:r>
              <a:rPr lang="en-US" dirty="0"/>
              <a:t>look this is dummy text it is not here to be read it is here to show how this document will look</a:t>
            </a:r>
          </a:p>
        </p:txBody>
      </p:sp>
      <p:sp>
        <p:nvSpPr>
          <p:cNvPr id="90" name="Content Placeholder 2"/>
          <p:cNvSpPr>
            <a:spLocks noGrp="1"/>
          </p:cNvSpPr>
          <p:nvPr>
            <p:ph sz="quarter" idx="4294967295"/>
          </p:nvPr>
        </p:nvSpPr>
        <p:spPr>
          <a:xfrm>
            <a:off x="2171298" y="1256485"/>
            <a:ext cx="2990850" cy="1292225"/>
          </a:xfrm>
          <a:prstGeom prst="rect">
            <a:avLst/>
          </a:prstGeom>
        </p:spPr>
        <p:txBody>
          <a:bodyPr wrap="square" lIns="0" tIns="0" rIns="0" bIns="0">
            <a:spAutoFit/>
          </a:bodyPr>
          <a:lstStyle/>
          <a:p>
            <a:pPr algn="r">
              <a:spcAft>
                <a:spcPts val="0"/>
              </a:spcAft>
            </a:pPr>
            <a:r>
              <a:rPr lang="en-US" altLang="zh-CN" sz="2400" noProof="0" dirty="0">
                <a:solidFill>
                  <a:schemeClr val="accent6"/>
                </a:solidFill>
              </a:rPr>
              <a:t>02</a:t>
            </a:r>
          </a:p>
          <a:p>
            <a:pPr algn="r">
              <a:spcAft>
                <a:spcPts val="0"/>
              </a:spcAft>
            </a:pPr>
            <a:r>
              <a:rPr lang="en-US" noProof="0" dirty="0"/>
              <a:t>this is dummy text it is not here to be read it is here to show how this document will </a:t>
            </a:r>
            <a:r>
              <a:rPr lang="en-US" dirty="0" err="1"/>
              <a:t>lookthis</a:t>
            </a:r>
            <a:r>
              <a:rPr lang="en-US" dirty="0"/>
              <a:t> is dummy text it is not here to be read it is here to show how this document will look</a:t>
            </a:r>
          </a:p>
        </p:txBody>
      </p:sp>
      <p:sp>
        <p:nvSpPr>
          <p:cNvPr id="91" name="Content Placeholder 2"/>
          <p:cNvSpPr>
            <a:spLocks noGrp="1"/>
          </p:cNvSpPr>
          <p:nvPr>
            <p:ph sz="quarter" idx="4294967295"/>
          </p:nvPr>
        </p:nvSpPr>
        <p:spPr>
          <a:xfrm>
            <a:off x="6430890" y="1256485"/>
            <a:ext cx="2990850" cy="1292225"/>
          </a:xfrm>
          <a:prstGeom prst="rect">
            <a:avLst/>
          </a:prstGeom>
        </p:spPr>
        <p:txBody>
          <a:bodyPr wrap="square" lIns="0" tIns="0" rIns="0" bIns="0">
            <a:spAutoFit/>
          </a:bodyPr>
          <a:lstStyle/>
          <a:p>
            <a:pPr algn="r">
              <a:spcAft>
                <a:spcPts val="0"/>
              </a:spcAft>
            </a:pPr>
            <a:r>
              <a:rPr lang="en-US" altLang="zh-CN" sz="2400" noProof="0" dirty="0">
                <a:solidFill>
                  <a:schemeClr val="accent6"/>
                </a:solidFill>
              </a:rPr>
              <a:t>04</a:t>
            </a:r>
          </a:p>
          <a:p>
            <a:pPr algn="r">
              <a:spcAft>
                <a:spcPts val="0"/>
              </a:spcAft>
            </a:pPr>
            <a:r>
              <a:rPr lang="en-US" noProof="0" dirty="0"/>
              <a:t>this is dummy text it is not here to be read it is here to show how this document will </a:t>
            </a:r>
            <a:r>
              <a:rPr lang="en-US" dirty="0" err="1"/>
              <a:t>lookthis</a:t>
            </a:r>
            <a:r>
              <a:rPr lang="en-US" dirty="0"/>
              <a:t> is dummy text it is not here to be read it is here to show how this document will look</a:t>
            </a:r>
          </a:p>
        </p:txBody>
      </p:sp>
      <p:grpSp>
        <p:nvGrpSpPr>
          <p:cNvPr id="69" name="Group 68"/>
          <p:cNvGrpSpPr/>
          <p:nvPr/>
        </p:nvGrpSpPr>
        <p:grpSpPr>
          <a:xfrm>
            <a:off x="469900" y="2633663"/>
            <a:ext cx="1297781" cy="1904998"/>
            <a:chOff x="469900" y="2119312"/>
            <a:chExt cx="1297781" cy="2933700"/>
          </a:xfrm>
        </p:grpSpPr>
        <p:sp>
          <p:nvSpPr>
            <p:cNvPr id="9" name="Freeform 8"/>
            <p:cNvSpPr/>
            <p:nvPr/>
          </p:nvSpPr>
          <p:spPr bwMode="gray">
            <a:xfrm>
              <a:off x="469900" y="2119312"/>
              <a:ext cx="1297781" cy="1466850"/>
            </a:xfrm>
            <a:custGeom>
              <a:avLst/>
              <a:gdLst>
                <a:gd name="connsiteX0" fmla="*/ 0 w 1297781"/>
                <a:gd name="connsiteY0" fmla="*/ 0 h 1466850"/>
                <a:gd name="connsiteX1" fmla="*/ 1297781 w 1297781"/>
                <a:gd name="connsiteY1" fmla="*/ 1466850 h 1466850"/>
                <a:gd name="connsiteX2" fmla="*/ 428268 w 1297781"/>
                <a:gd name="connsiteY2" fmla="*/ 1466850 h 1466850"/>
                <a:gd name="connsiteX3" fmla="*/ 0 w 1297781"/>
                <a:gd name="connsiteY3" fmla="*/ 0 h 1466850"/>
              </a:gdLst>
              <a:ahLst/>
              <a:cxnLst>
                <a:cxn ang="0">
                  <a:pos x="connsiteX0" y="connsiteY0"/>
                </a:cxn>
                <a:cxn ang="0">
                  <a:pos x="connsiteX1" y="connsiteY1"/>
                </a:cxn>
                <a:cxn ang="0">
                  <a:pos x="connsiteX2" y="connsiteY2"/>
                </a:cxn>
                <a:cxn ang="0">
                  <a:pos x="connsiteX3" y="connsiteY3"/>
                </a:cxn>
              </a:cxnLst>
              <a:rect l="l" t="t" r="r" b="b"/>
              <a:pathLst>
                <a:path w="1297781" h="1466850">
                  <a:moveTo>
                    <a:pt x="0" y="0"/>
                  </a:moveTo>
                  <a:lnTo>
                    <a:pt x="1297781" y="1466850"/>
                  </a:lnTo>
                  <a:lnTo>
                    <a:pt x="428268" y="1466850"/>
                  </a:lnTo>
                  <a:lnTo>
                    <a:pt x="0" y="0"/>
                  </a:lnTo>
                  <a:close/>
                </a:path>
              </a:pathLst>
            </a:custGeom>
            <a:solidFill>
              <a:srgbClr val="A7A8A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Freeform 10"/>
            <p:cNvSpPr/>
            <p:nvPr/>
          </p:nvSpPr>
          <p:spPr bwMode="gray">
            <a:xfrm flipV="1">
              <a:off x="469900" y="3586162"/>
              <a:ext cx="1297781" cy="1466850"/>
            </a:xfrm>
            <a:custGeom>
              <a:avLst/>
              <a:gdLst>
                <a:gd name="connsiteX0" fmla="*/ 0 w 1297781"/>
                <a:gd name="connsiteY0" fmla="*/ 0 h 1466850"/>
                <a:gd name="connsiteX1" fmla="*/ 1297781 w 1297781"/>
                <a:gd name="connsiteY1" fmla="*/ 1466850 h 1466850"/>
                <a:gd name="connsiteX2" fmla="*/ 428268 w 1297781"/>
                <a:gd name="connsiteY2" fmla="*/ 1466850 h 1466850"/>
                <a:gd name="connsiteX3" fmla="*/ 0 w 1297781"/>
                <a:gd name="connsiteY3" fmla="*/ 0 h 1466850"/>
              </a:gdLst>
              <a:ahLst/>
              <a:cxnLst>
                <a:cxn ang="0">
                  <a:pos x="connsiteX0" y="connsiteY0"/>
                </a:cxn>
                <a:cxn ang="0">
                  <a:pos x="connsiteX1" y="connsiteY1"/>
                </a:cxn>
                <a:cxn ang="0">
                  <a:pos x="connsiteX2" y="connsiteY2"/>
                </a:cxn>
                <a:cxn ang="0">
                  <a:pos x="connsiteX3" y="connsiteY3"/>
                </a:cxn>
              </a:cxnLst>
              <a:rect l="l" t="t" r="r" b="b"/>
              <a:pathLst>
                <a:path w="1297781" h="1466850">
                  <a:moveTo>
                    <a:pt x="0" y="0"/>
                  </a:moveTo>
                  <a:lnTo>
                    <a:pt x="1297781" y="1466850"/>
                  </a:lnTo>
                  <a:lnTo>
                    <a:pt x="428268" y="1466850"/>
                  </a:lnTo>
                  <a:lnTo>
                    <a:pt x="0" y="0"/>
                  </a:lnTo>
                  <a:close/>
                </a:path>
              </a:pathLst>
            </a:cu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0" name="Teardrop 49"/>
          <p:cNvSpPr/>
          <p:nvPr/>
        </p:nvSpPr>
        <p:spPr bwMode="gray">
          <a:xfrm rot="2700000">
            <a:off x="10492805" y="3057525"/>
            <a:ext cx="1018381" cy="1018381"/>
          </a:xfrm>
          <a:prstGeom prst="teardrop">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 name="Group 1"/>
          <p:cNvGrpSpPr/>
          <p:nvPr/>
        </p:nvGrpSpPr>
        <p:grpSpPr>
          <a:xfrm>
            <a:off x="11087100" y="3248026"/>
            <a:ext cx="271462" cy="271462"/>
            <a:chOff x="10020300" y="3262313"/>
            <a:chExt cx="271462" cy="271462"/>
          </a:xfrm>
        </p:grpSpPr>
        <p:sp>
          <p:nvSpPr>
            <p:cNvPr id="51" name="Oval 50"/>
            <p:cNvSpPr/>
            <p:nvPr/>
          </p:nvSpPr>
          <p:spPr bwMode="gray">
            <a:xfrm>
              <a:off x="10020300" y="3262313"/>
              <a:ext cx="271462" cy="27146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 name="Oval 60"/>
            <p:cNvSpPr/>
            <p:nvPr/>
          </p:nvSpPr>
          <p:spPr bwMode="gray">
            <a:xfrm>
              <a:off x="10094890" y="3298400"/>
              <a:ext cx="158404" cy="158404"/>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 name="Oval 4"/>
          <p:cNvSpPr/>
          <p:nvPr/>
        </p:nvSpPr>
        <p:spPr bwMode="gray">
          <a:xfrm>
            <a:off x="9058384" y="3231121"/>
            <a:ext cx="710081" cy="71008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Oval 61"/>
          <p:cNvSpPr/>
          <p:nvPr/>
        </p:nvSpPr>
        <p:spPr bwMode="gray">
          <a:xfrm>
            <a:off x="6896552" y="3231121"/>
            <a:ext cx="710081" cy="710081"/>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3" name="Oval 62"/>
          <p:cNvSpPr/>
          <p:nvPr/>
        </p:nvSpPr>
        <p:spPr bwMode="gray">
          <a:xfrm>
            <a:off x="4734721" y="3231121"/>
            <a:ext cx="710081" cy="710081"/>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2" name="Oval 71"/>
          <p:cNvSpPr/>
          <p:nvPr/>
        </p:nvSpPr>
        <p:spPr bwMode="gray">
          <a:xfrm>
            <a:off x="2572890" y="3231121"/>
            <a:ext cx="710081" cy="710081"/>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92" name="Group 614"/>
          <p:cNvGrpSpPr>
            <a:grpSpLocks noChangeAspect="1"/>
          </p:cNvGrpSpPr>
          <p:nvPr/>
        </p:nvGrpSpPr>
        <p:grpSpPr bwMode="auto">
          <a:xfrm>
            <a:off x="2673972" y="3332204"/>
            <a:ext cx="507916" cy="507914"/>
            <a:chOff x="3780" y="2658"/>
            <a:chExt cx="340" cy="340"/>
          </a:xfrm>
          <a:solidFill>
            <a:schemeClr val="bg1"/>
          </a:solidFill>
        </p:grpSpPr>
        <p:sp>
          <p:nvSpPr>
            <p:cNvPr id="93" name="Freeform 615"/>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616"/>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617"/>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618"/>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619"/>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620"/>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621"/>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622"/>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623"/>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2" name="Group 432"/>
          <p:cNvGrpSpPr>
            <a:grpSpLocks noChangeAspect="1"/>
          </p:cNvGrpSpPr>
          <p:nvPr/>
        </p:nvGrpSpPr>
        <p:grpSpPr bwMode="auto">
          <a:xfrm>
            <a:off x="4833980" y="3329629"/>
            <a:ext cx="511562" cy="513064"/>
            <a:chOff x="3505" y="1546"/>
            <a:chExt cx="340" cy="341"/>
          </a:xfrm>
          <a:solidFill>
            <a:schemeClr val="bg1"/>
          </a:solidFill>
        </p:grpSpPr>
        <p:sp>
          <p:nvSpPr>
            <p:cNvPr id="103"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5" name="Group 423"/>
          <p:cNvGrpSpPr>
            <a:grpSpLocks noChangeAspect="1"/>
          </p:cNvGrpSpPr>
          <p:nvPr/>
        </p:nvGrpSpPr>
        <p:grpSpPr bwMode="auto">
          <a:xfrm>
            <a:off x="6995811" y="3330380"/>
            <a:ext cx="511562" cy="511562"/>
            <a:chOff x="4285" y="1550"/>
            <a:chExt cx="340" cy="340"/>
          </a:xfrm>
          <a:solidFill>
            <a:schemeClr val="bg1"/>
          </a:solidFill>
        </p:grpSpPr>
        <p:sp>
          <p:nvSpPr>
            <p:cNvPr id="106" name="Freeform 424"/>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425"/>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8" name="Group 20"/>
          <p:cNvGrpSpPr>
            <a:grpSpLocks noChangeAspect="1"/>
          </p:cNvGrpSpPr>
          <p:nvPr/>
        </p:nvGrpSpPr>
        <p:grpSpPr bwMode="auto">
          <a:xfrm>
            <a:off x="9157497" y="3329137"/>
            <a:ext cx="511854" cy="514048"/>
            <a:chOff x="3885" y="823"/>
            <a:chExt cx="233" cy="234"/>
          </a:xfrm>
          <a:solidFill>
            <a:schemeClr val="bg1"/>
          </a:solidFill>
        </p:grpSpPr>
        <p:sp>
          <p:nvSpPr>
            <p:cNvPr id="109" name="Freeform 21"/>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22"/>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12" name="Straight Connector 11">
            <a:extLst>
              <a:ext uri="{FF2B5EF4-FFF2-40B4-BE49-F238E27FC236}">
                <a16:creationId xmlns:a16="http://schemas.microsoft.com/office/drawing/2014/main" id="{3C1FBD0E-6C29-2E47-A2C2-4C703E71F7F2}"/>
              </a:ext>
            </a:extLst>
          </p:cNvPr>
          <p:cNvCxnSpPr>
            <a:cxnSpLocks/>
          </p:cNvCxnSpPr>
          <p:nvPr/>
        </p:nvCxnSpPr>
        <p:spPr>
          <a:xfrm>
            <a:off x="2911758" y="3941202"/>
            <a:ext cx="0" cy="739664"/>
          </a:xfrm>
          <a:prstGeom prst="line">
            <a:avLst/>
          </a:prstGeom>
          <a:ln w="1270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6C5384C-9567-E34D-B66A-CA15DCCB01C6}"/>
              </a:ext>
            </a:extLst>
          </p:cNvPr>
          <p:cNvCxnSpPr>
            <a:cxnSpLocks/>
          </p:cNvCxnSpPr>
          <p:nvPr/>
        </p:nvCxnSpPr>
        <p:spPr>
          <a:xfrm>
            <a:off x="7279041" y="3941202"/>
            <a:ext cx="0" cy="739664"/>
          </a:xfrm>
          <a:prstGeom prst="line">
            <a:avLst/>
          </a:prstGeom>
          <a:ln w="1270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9495CB-D68E-C647-AE8D-C8827338306A}"/>
              </a:ext>
            </a:extLst>
          </p:cNvPr>
          <p:cNvCxnSpPr>
            <a:cxnSpLocks/>
          </p:cNvCxnSpPr>
          <p:nvPr/>
        </p:nvCxnSpPr>
        <p:spPr>
          <a:xfrm>
            <a:off x="9421740" y="2480892"/>
            <a:ext cx="0" cy="739664"/>
          </a:xfrm>
          <a:prstGeom prst="line">
            <a:avLst/>
          </a:prstGeom>
          <a:ln w="12700">
            <a:solidFill>
              <a:schemeClr val="tx2"/>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1B78917-B3A7-C549-911B-1B90F3EAE893}"/>
              </a:ext>
            </a:extLst>
          </p:cNvPr>
          <p:cNvCxnSpPr>
            <a:cxnSpLocks/>
          </p:cNvCxnSpPr>
          <p:nvPr/>
        </p:nvCxnSpPr>
        <p:spPr>
          <a:xfrm>
            <a:off x="5081752" y="2480892"/>
            <a:ext cx="0" cy="739664"/>
          </a:xfrm>
          <a:prstGeom prst="line">
            <a:avLst/>
          </a:prstGeom>
          <a:ln w="12700">
            <a:solidFill>
              <a:schemeClr val="tx2"/>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11231039"/>
      </p:ext>
    </p:extLst>
  </p:cSld>
  <p:clrMapOvr>
    <a:masterClrMapping/>
  </p:clrMapOvr>
  <p:transition>
    <p:fade/>
  </p:transition>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Content Placeholder 2"/>
          <p:cNvSpPr>
            <a:spLocks noGrp="1"/>
          </p:cNvSpPr>
          <p:nvPr>
            <p:ph sz="quarter" idx="4294967295"/>
          </p:nvPr>
        </p:nvSpPr>
        <p:spPr>
          <a:xfrm>
            <a:off x="433572" y="4248150"/>
            <a:ext cx="1846263" cy="1100138"/>
          </a:xfrm>
          <a:prstGeom prst="rect">
            <a:avLst/>
          </a:prstGeom>
        </p:spPr>
        <p:txBody>
          <a:bodyPr lIns="0" tIns="0" rIns="0" bIns="0"/>
          <a:lstStyle/>
          <a:p>
            <a:pPr algn="ctr">
              <a:spcAft>
                <a:spcPts val="0"/>
              </a:spcAft>
            </a:pPr>
            <a:r>
              <a:rPr lang="en-US" b="1" noProof="0" dirty="0"/>
              <a:t>Title Bold </a:t>
            </a:r>
          </a:p>
          <a:p>
            <a:pPr algn="ctr"/>
            <a:r>
              <a:rPr lang="en-US" noProof="0" dirty="0"/>
              <a:t>this is dummy text it is not here to be read it is here to show how this document will look</a:t>
            </a:r>
          </a:p>
        </p:txBody>
      </p:sp>
      <p:sp>
        <p:nvSpPr>
          <p:cNvPr id="93" name="Content Placeholder 2"/>
          <p:cNvSpPr>
            <a:spLocks noGrp="1"/>
          </p:cNvSpPr>
          <p:nvPr>
            <p:ph sz="quarter" idx="4294967295"/>
          </p:nvPr>
        </p:nvSpPr>
        <p:spPr>
          <a:xfrm>
            <a:off x="2193634" y="5081588"/>
            <a:ext cx="2632075" cy="1098550"/>
          </a:xfrm>
          <a:prstGeom prst="rect">
            <a:avLst/>
          </a:prstGeom>
        </p:spPr>
        <p:txBody>
          <a:bodyPr lIns="0" tIns="0" rIns="0" bIns="0"/>
          <a:lstStyle/>
          <a:p>
            <a:pPr algn="ctr">
              <a:spcAft>
                <a:spcPts val="0"/>
              </a:spcAft>
            </a:pPr>
            <a:r>
              <a:rPr lang="en-US" b="1" noProof="0" dirty="0">
                <a:solidFill>
                  <a:schemeClr val="accent6"/>
                </a:solidFill>
              </a:rPr>
              <a:t>Title Bold </a:t>
            </a:r>
          </a:p>
          <a:p>
            <a:pPr algn="ctr"/>
            <a:r>
              <a:rPr lang="en-US" noProof="0" dirty="0"/>
              <a:t>this is dummy text it is not here to be read it is here to show how this document will look</a:t>
            </a:r>
          </a:p>
        </p:txBody>
      </p:sp>
      <p:sp>
        <p:nvSpPr>
          <p:cNvPr id="94" name="Content Placeholder 2"/>
          <p:cNvSpPr>
            <a:spLocks noGrp="1"/>
          </p:cNvSpPr>
          <p:nvPr>
            <p:ph sz="quarter" idx="4294967295"/>
          </p:nvPr>
        </p:nvSpPr>
        <p:spPr>
          <a:xfrm>
            <a:off x="2049171" y="1689100"/>
            <a:ext cx="2921000" cy="738188"/>
          </a:xfrm>
          <a:prstGeom prst="rect">
            <a:avLst/>
          </a:prstGeom>
        </p:spPr>
        <p:txBody>
          <a:bodyPr wrap="square" lIns="0" tIns="0" rIns="0" bIns="0" anchor="b">
            <a:spAutoFit/>
          </a:bodyPr>
          <a:lstStyle/>
          <a:p>
            <a:pPr algn="ctr">
              <a:spcAft>
                <a:spcPts val="0"/>
              </a:spcAft>
            </a:pPr>
            <a:r>
              <a:rPr lang="en-US" b="1" noProof="0" dirty="0">
                <a:solidFill>
                  <a:schemeClr val="accent6"/>
                </a:solidFill>
              </a:rPr>
              <a:t>Title Bold </a:t>
            </a:r>
          </a:p>
          <a:p>
            <a:pPr algn="ctr"/>
            <a:r>
              <a:rPr lang="en-US" noProof="0" dirty="0"/>
              <a:t>this is dummy text it is not here to be read it is here to show how this document will look</a:t>
            </a:r>
          </a:p>
        </p:txBody>
      </p:sp>
      <p:sp>
        <p:nvSpPr>
          <p:cNvPr id="95" name="Content Placeholder 2"/>
          <p:cNvSpPr>
            <a:spLocks noGrp="1"/>
          </p:cNvSpPr>
          <p:nvPr>
            <p:ph sz="quarter" idx="4294967295"/>
          </p:nvPr>
        </p:nvSpPr>
        <p:spPr>
          <a:xfrm>
            <a:off x="8480093" y="5141475"/>
            <a:ext cx="2012950" cy="738664"/>
          </a:xfrm>
          <a:prstGeom prst="rect">
            <a:avLst/>
          </a:prstGeom>
        </p:spPr>
        <p:txBody>
          <a:bodyPr wrap="square" lIns="0" tIns="0" rIns="0" bIns="0">
            <a:spAutoFit/>
          </a:bodyPr>
          <a:lstStyle/>
          <a:p>
            <a:pPr>
              <a:spcAft>
                <a:spcPts val="0"/>
              </a:spcAft>
            </a:pPr>
            <a:r>
              <a:rPr lang="en-US" b="1" noProof="0" dirty="0">
                <a:solidFill>
                  <a:schemeClr val="accent2"/>
                </a:solidFill>
              </a:rPr>
              <a:t>Title Bold </a:t>
            </a:r>
          </a:p>
          <a:p>
            <a:r>
              <a:rPr lang="en-US" noProof="0" dirty="0"/>
              <a:t>this is dummy text it is not here to be read it is here to show how this document will look</a:t>
            </a:r>
          </a:p>
        </p:txBody>
      </p:sp>
      <p:sp>
        <p:nvSpPr>
          <p:cNvPr id="96" name="Content Placeholder 2"/>
          <p:cNvSpPr>
            <a:spLocks noGrp="1"/>
          </p:cNvSpPr>
          <p:nvPr>
            <p:ph sz="quarter" idx="4294967295"/>
          </p:nvPr>
        </p:nvSpPr>
        <p:spPr>
          <a:xfrm>
            <a:off x="8480093" y="1585436"/>
            <a:ext cx="2041525" cy="738664"/>
          </a:xfrm>
          <a:prstGeom prst="rect">
            <a:avLst/>
          </a:prstGeom>
        </p:spPr>
        <p:txBody>
          <a:bodyPr wrap="square" lIns="0" tIns="0" rIns="0" bIns="0" anchor="b">
            <a:spAutoFit/>
          </a:bodyPr>
          <a:lstStyle/>
          <a:p>
            <a:pPr>
              <a:spcAft>
                <a:spcPts val="0"/>
              </a:spcAft>
            </a:pPr>
            <a:r>
              <a:rPr lang="en-US" b="1" noProof="0" dirty="0">
                <a:solidFill>
                  <a:schemeClr val="accent2"/>
                </a:solidFill>
              </a:rPr>
              <a:t>Title Bold </a:t>
            </a:r>
          </a:p>
          <a:p>
            <a:r>
              <a:rPr lang="en-US" noProof="0" dirty="0"/>
              <a:t>this is dummy text it is not here to be read it is here to show how this document will look</a:t>
            </a:r>
          </a:p>
        </p:txBody>
      </p:sp>
      <p:sp>
        <p:nvSpPr>
          <p:cNvPr id="97" name="Content Placeholder 2"/>
          <p:cNvSpPr>
            <a:spLocks noGrp="1"/>
          </p:cNvSpPr>
          <p:nvPr>
            <p:ph sz="quarter" idx="4294967295"/>
          </p:nvPr>
        </p:nvSpPr>
        <p:spPr>
          <a:xfrm>
            <a:off x="4464919" y="2697202"/>
            <a:ext cx="2927350" cy="553998"/>
          </a:xfrm>
          <a:prstGeom prst="rect">
            <a:avLst/>
          </a:prstGeom>
        </p:spPr>
        <p:txBody>
          <a:bodyPr wrap="square" lIns="0" tIns="0" rIns="0" bIns="0" anchor="b">
            <a:spAutoFit/>
          </a:bodyPr>
          <a:lstStyle/>
          <a:p>
            <a:pPr algn="ctr">
              <a:spcAft>
                <a:spcPts val="0"/>
              </a:spcAft>
            </a:pPr>
            <a:r>
              <a:rPr lang="en-US" b="1" noProof="0" dirty="0">
                <a:solidFill>
                  <a:schemeClr val="tx1">
                    <a:lumMod val="50000"/>
                    <a:lumOff val="50000"/>
                  </a:schemeClr>
                </a:solidFill>
              </a:rPr>
              <a:t>Title Bold </a:t>
            </a:r>
          </a:p>
          <a:p>
            <a:pPr algn="ctr"/>
            <a:r>
              <a:rPr lang="en-US" noProof="0" dirty="0"/>
              <a:t>this is dummy text it is not here to be read it is here to show how this document will look</a:t>
            </a:r>
          </a:p>
        </p:txBody>
      </p:sp>
      <p:sp>
        <p:nvSpPr>
          <p:cNvPr id="98" name="Content Placeholder 2"/>
          <p:cNvSpPr>
            <a:spLocks noGrp="1"/>
          </p:cNvSpPr>
          <p:nvPr>
            <p:ph sz="quarter" idx="4294967295"/>
          </p:nvPr>
        </p:nvSpPr>
        <p:spPr>
          <a:xfrm>
            <a:off x="11064521" y="3652838"/>
            <a:ext cx="1303338" cy="184150"/>
          </a:xfrm>
          <a:prstGeom prst="rect">
            <a:avLst/>
          </a:prstGeom>
        </p:spPr>
        <p:txBody>
          <a:bodyPr wrap="square" lIns="0" tIns="0" rIns="0" bIns="0">
            <a:spAutoFit/>
          </a:bodyPr>
          <a:lstStyle/>
          <a:p>
            <a:pPr algn="ctr">
              <a:spcAft>
                <a:spcPts val="0"/>
              </a:spcAft>
            </a:pPr>
            <a:r>
              <a:rPr lang="en-US" b="1" noProof="0" dirty="0">
                <a:solidFill>
                  <a:schemeClr val="accent1"/>
                </a:solidFill>
              </a:rPr>
              <a:t>Title Bold</a:t>
            </a:r>
            <a:endParaRPr lang="en-US" noProof="0" dirty="0">
              <a:solidFill>
                <a:schemeClr val="accent1"/>
              </a:solidFill>
            </a:endParaRPr>
          </a:p>
        </p:txBody>
      </p:sp>
      <p:sp>
        <p:nvSpPr>
          <p:cNvPr id="99" name="Content Placeholder 2"/>
          <p:cNvSpPr>
            <a:spLocks noGrp="1"/>
          </p:cNvSpPr>
          <p:nvPr>
            <p:ph sz="quarter" idx="4294967295"/>
          </p:nvPr>
        </p:nvSpPr>
        <p:spPr>
          <a:xfrm>
            <a:off x="5005463" y="4329113"/>
            <a:ext cx="1846262" cy="1098550"/>
          </a:xfrm>
          <a:prstGeom prst="rect">
            <a:avLst/>
          </a:prstGeom>
        </p:spPr>
        <p:txBody>
          <a:bodyPr lIns="0" tIns="0" rIns="0" bIns="0"/>
          <a:lstStyle/>
          <a:p>
            <a:pPr algn="ctr">
              <a:spcAft>
                <a:spcPts val="0"/>
              </a:spcAft>
            </a:pPr>
            <a:r>
              <a:rPr lang="en-US" b="1" noProof="0" dirty="0">
                <a:solidFill>
                  <a:schemeClr val="tx1">
                    <a:lumMod val="50000"/>
                    <a:lumOff val="50000"/>
                  </a:schemeClr>
                </a:solidFill>
              </a:rPr>
              <a:t>Title Bold </a:t>
            </a:r>
          </a:p>
          <a:p>
            <a:pPr algn="ctr"/>
            <a:r>
              <a:rPr lang="en-US" noProof="0" dirty="0"/>
              <a:t>this is dummy text it is not here to be read it is here to show how this document will look</a:t>
            </a:r>
          </a:p>
        </p:txBody>
      </p:sp>
      <p:sp>
        <p:nvSpPr>
          <p:cNvPr id="6" name="Oval 5"/>
          <p:cNvSpPr/>
          <p:nvPr/>
        </p:nvSpPr>
        <p:spPr bwMode="gray">
          <a:xfrm>
            <a:off x="5555548" y="3376613"/>
            <a:ext cx="700088" cy="700088"/>
          </a:xfrm>
          <a:prstGeom prst="ellipse">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0" name="Group 39"/>
          <p:cNvGrpSpPr/>
          <p:nvPr/>
        </p:nvGrpSpPr>
        <p:grpSpPr>
          <a:xfrm>
            <a:off x="2646548" y="2553890"/>
            <a:ext cx="1881188" cy="2358627"/>
            <a:chOff x="3205163" y="2553890"/>
            <a:chExt cx="1881188" cy="2358627"/>
          </a:xfrm>
        </p:grpSpPr>
        <p:sp>
          <p:nvSpPr>
            <p:cNvPr id="4" name="Oval 3"/>
            <p:cNvSpPr/>
            <p:nvPr/>
          </p:nvSpPr>
          <p:spPr bwMode="gray">
            <a:xfrm>
              <a:off x="3205163" y="2786063"/>
              <a:ext cx="1881188" cy="1881188"/>
            </a:xfrm>
            <a:prstGeom prst="ellipse">
              <a:avLst/>
            </a:prstGeom>
            <a:solidFill>
              <a:schemeClr val="bg1"/>
            </a:solidFill>
            <a:ln w="12700" algn="ctr">
              <a:solidFill>
                <a:schemeClr val="accent6"/>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2" name="Group 21"/>
            <p:cNvGrpSpPr/>
            <p:nvPr/>
          </p:nvGrpSpPr>
          <p:grpSpPr>
            <a:xfrm>
              <a:off x="3280285" y="2861185"/>
              <a:ext cx="1730944" cy="1730944"/>
              <a:chOff x="3280285" y="2861185"/>
              <a:chExt cx="1730944" cy="1730944"/>
            </a:xfrm>
          </p:grpSpPr>
          <p:sp>
            <p:nvSpPr>
              <p:cNvPr id="9" name="Arc 8"/>
              <p:cNvSpPr/>
              <p:nvPr/>
            </p:nvSpPr>
            <p:spPr>
              <a:xfrm rot="2700000">
                <a:off x="3280285" y="2861185"/>
                <a:ext cx="1730944" cy="1730944"/>
              </a:xfrm>
              <a:prstGeom prst="arc">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Arc 12"/>
              <p:cNvSpPr/>
              <p:nvPr/>
            </p:nvSpPr>
            <p:spPr>
              <a:xfrm rot="13500000">
                <a:off x="3280285" y="2861185"/>
                <a:ext cx="1730944" cy="1730944"/>
              </a:xfrm>
              <a:prstGeom prst="arc">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0" name="Oval 9"/>
            <p:cNvSpPr/>
            <p:nvPr/>
          </p:nvSpPr>
          <p:spPr bwMode="gray">
            <a:xfrm>
              <a:off x="3876675" y="2553890"/>
              <a:ext cx="538163" cy="538163"/>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Oval 15"/>
            <p:cNvSpPr/>
            <p:nvPr/>
          </p:nvSpPr>
          <p:spPr bwMode="gray">
            <a:xfrm>
              <a:off x="3876675" y="4374354"/>
              <a:ext cx="538163" cy="538163"/>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90" name="Group 89"/>
          <p:cNvGrpSpPr/>
          <p:nvPr/>
        </p:nvGrpSpPr>
        <p:grpSpPr>
          <a:xfrm>
            <a:off x="1881188" y="3726656"/>
            <a:ext cx="8329612" cy="1"/>
            <a:chOff x="1881188" y="3726656"/>
            <a:chExt cx="8329612" cy="1"/>
          </a:xfrm>
        </p:grpSpPr>
        <p:cxnSp>
          <p:nvCxnSpPr>
            <p:cNvPr id="39" name="Straight Arrow Connector 38"/>
            <p:cNvCxnSpPr/>
            <p:nvPr/>
          </p:nvCxnSpPr>
          <p:spPr>
            <a:xfrm>
              <a:off x="1881188" y="3726657"/>
              <a:ext cx="71913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4610100" y="3726657"/>
              <a:ext cx="86201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6338888" y="3726656"/>
              <a:ext cx="1262062"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8469015" y="3726656"/>
              <a:ext cx="54789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9667875" y="3726657"/>
              <a:ext cx="54292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a:off x="976526" y="3309938"/>
            <a:ext cx="833438" cy="833438"/>
            <a:chOff x="469900" y="3309938"/>
            <a:chExt cx="833438" cy="833438"/>
          </a:xfrm>
        </p:grpSpPr>
        <p:sp>
          <p:nvSpPr>
            <p:cNvPr id="2" name="Oval 1"/>
            <p:cNvSpPr/>
            <p:nvPr/>
          </p:nvSpPr>
          <p:spPr bwMode="gray">
            <a:xfrm>
              <a:off x="469900" y="3309938"/>
              <a:ext cx="833438" cy="833438"/>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72" name="Group 53"/>
            <p:cNvGrpSpPr>
              <a:grpSpLocks noChangeAspect="1"/>
            </p:cNvGrpSpPr>
            <p:nvPr/>
          </p:nvGrpSpPr>
          <p:grpSpPr bwMode="auto">
            <a:xfrm>
              <a:off x="592137" y="3431309"/>
              <a:ext cx="588964" cy="590694"/>
              <a:chOff x="5183" y="1046"/>
              <a:chExt cx="340" cy="341"/>
            </a:xfrm>
            <a:solidFill>
              <a:schemeClr val="bg1"/>
            </a:solidFill>
          </p:grpSpPr>
          <p:sp>
            <p:nvSpPr>
              <p:cNvPr id="73" name="Freeform 54"/>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55"/>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75" name="Group 325"/>
          <p:cNvGrpSpPr>
            <a:grpSpLocks noChangeAspect="1"/>
          </p:cNvGrpSpPr>
          <p:nvPr/>
        </p:nvGrpSpPr>
        <p:grpSpPr bwMode="auto">
          <a:xfrm>
            <a:off x="3402304" y="2642281"/>
            <a:ext cx="369676" cy="370763"/>
            <a:chOff x="5044" y="1157"/>
            <a:chExt cx="340" cy="341"/>
          </a:xfrm>
          <a:solidFill>
            <a:schemeClr val="bg1"/>
          </a:solidFill>
        </p:grpSpPr>
        <p:sp>
          <p:nvSpPr>
            <p:cNvPr id="76"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2" name="Group 41"/>
          <p:cNvGrpSpPr/>
          <p:nvPr/>
        </p:nvGrpSpPr>
        <p:grpSpPr>
          <a:xfrm>
            <a:off x="6757158" y="2143124"/>
            <a:ext cx="2834883" cy="3167066"/>
            <a:chOff x="5941218" y="2143124"/>
            <a:chExt cx="2834883" cy="3167066"/>
          </a:xfrm>
        </p:grpSpPr>
        <p:grpSp>
          <p:nvGrpSpPr>
            <p:cNvPr id="14" name="Group 13"/>
            <p:cNvGrpSpPr/>
            <p:nvPr/>
          </p:nvGrpSpPr>
          <p:grpSpPr>
            <a:xfrm>
              <a:off x="5941218" y="2421730"/>
              <a:ext cx="2609854" cy="2609854"/>
              <a:chOff x="5941218" y="2412205"/>
              <a:chExt cx="2609854" cy="2609854"/>
            </a:xfrm>
          </p:grpSpPr>
          <p:sp>
            <p:nvSpPr>
              <p:cNvPr id="19" name="Arc 18"/>
              <p:cNvSpPr/>
              <p:nvPr/>
            </p:nvSpPr>
            <p:spPr>
              <a:xfrm>
                <a:off x="5941218" y="2412205"/>
                <a:ext cx="2609854" cy="2609854"/>
              </a:xfrm>
              <a:prstGeom prst="arc">
                <a:avLst>
                  <a:gd name="adj1" fmla="val 17089220"/>
                  <a:gd name="adj2" fmla="val 20638199"/>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Arc 19"/>
              <p:cNvSpPr/>
              <p:nvPr/>
            </p:nvSpPr>
            <p:spPr>
              <a:xfrm rot="5400000">
                <a:off x="5941218" y="2412205"/>
                <a:ext cx="2609854" cy="2609854"/>
              </a:xfrm>
              <a:prstGeom prst="arc">
                <a:avLst>
                  <a:gd name="adj1" fmla="val 17089220"/>
                  <a:gd name="adj2" fmla="val 20638199"/>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41" name="Group 40"/>
            <p:cNvGrpSpPr/>
            <p:nvPr/>
          </p:nvGrpSpPr>
          <p:grpSpPr>
            <a:xfrm>
              <a:off x="6862762" y="2143124"/>
              <a:ext cx="1913339" cy="3167066"/>
              <a:chOff x="6862762" y="2143124"/>
              <a:chExt cx="1913339" cy="3167066"/>
            </a:xfrm>
          </p:grpSpPr>
          <p:sp>
            <p:nvSpPr>
              <p:cNvPr id="7" name="Oval 6"/>
              <p:cNvSpPr/>
              <p:nvPr/>
            </p:nvSpPr>
            <p:spPr bwMode="gray">
              <a:xfrm>
                <a:off x="6924675" y="3405188"/>
                <a:ext cx="642938" cy="642938"/>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Oval 7"/>
              <p:cNvSpPr/>
              <p:nvPr/>
            </p:nvSpPr>
            <p:spPr bwMode="gray">
              <a:xfrm>
                <a:off x="8242701" y="3459957"/>
                <a:ext cx="533400" cy="533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1" name="Group 20"/>
              <p:cNvGrpSpPr/>
              <p:nvPr/>
            </p:nvGrpSpPr>
            <p:grpSpPr>
              <a:xfrm>
                <a:off x="6977063" y="2143124"/>
                <a:ext cx="538163" cy="3167066"/>
                <a:chOff x="6977063" y="2143124"/>
                <a:chExt cx="538163" cy="3167066"/>
              </a:xfrm>
            </p:grpSpPr>
            <p:sp>
              <p:nvSpPr>
                <p:cNvPr id="17" name="Oval 16"/>
                <p:cNvSpPr/>
                <p:nvPr/>
              </p:nvSpPr>
              <p:spPr bwMode="gray">
                <a:xfrm>
                  <a:off x="6977063" y="2143124"/>
                  <a:ext cx="538163" cy="538163"/>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 name="Oval 17"/>
                <p:cNvSpPr/>
                <p:nvPr/>
              </p:nvSpPr>
              <p:spPr bwMode="gray">
                <a:xfrm>
                  <a:off x="6977063" y="4772027"/>
                  <a:ext cx="538163" cy="538163"/>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7" name="Group 36"/>
              <p:cNvGrpSpPr/>
              <p:nvPr/>
            </p:nvGrpSpPr>
            <p:grpSpPr>
              <a:xfrm>
                <a:off x="6862762" y="3343274"/>
                <a:ext cx="766764" cy="766765"/>
                <a:chOff x="6862762" y="3343274"/>
                <a:chExt cx="766764" cy="766765"/>
              </a:xfrm>
            </p:grpSpPr>
            <p:sp>
              <p:nvSpPr>
                <p:cNvPr id="34" name="Arc 33"/>
                <p:cNvSpPr/>
                <p:nvPr/>
              </p:nvSpPr>
              <p:spPr>
                <a:xfrm rot="16200000">
                  <a:off x="6862762" y="3343275"/>
                  <a:ext cx="766764" cy="766764"/>
                </a:xfrm>
                <a:prstGeom prst="arc">
                  <a:avLst>
                    <a:gd name="adj1" fmla="val 16708712"/>
                    <a:gd name="adj2" fmla="val 20698375"/>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Arc 35"/>
                <p:cNvSpPr/>
                <p:nvPr/>
              </p:nvSpPr>
              <p:spPr>
                <a:xfrm rot="5400000">
                  <a:off x="6862762" y="3343274"/>
                  <a:ext cx="766764" cy="766764"/>
                </a:xfrm>
                <a:prstGeom prst="arc">
                  <a:avLst>
                    <a:gd name="adj1" fmla="val 16708712"/>
                    <a:gd name="adj2" fmla="val 20698375"/>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grpSp>
        <p:nvGrpSpPr>
          <p:cNvPr id="56" name="Group 614"/>
          <p:cNvGrpSpPr>
            <a:grpSpLocks noChangeAspect="1"/>
          </p:cNvGrpSpPr>
          <p:nvPr/>
        </p:nvGrpSpPr>
        <p:grpSpPr bwMode="auto">
          <a:xfrm>
            <a:off x="7878563" y="3543134"/>
            <a:ext cx="367041" cy="367041"/>
            <a:chOff x="3780" y="2658"/>
            <a:chExt cx="340" cy="340"/>
          </a:xfrm>
          <a:solidFill>
            <a:schemeClr val="bg1"/>
          </a:solidFill>
        </p:grpSpPr>
        <p:sp>
          <p:nvSpPr>
            <p:cNvPr id="57" name="Freeform 615"/>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616"/>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617"/>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618"/>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619"/>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620"/>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621"/>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622"/>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623"/>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6" name="Group 360"/>
          <p:cNvGrpSpPr>
            <a:grpSpLocks noChangeAspect="1"/>
          </p:cNvGrpSpPr>
          <p:nvPr/>
        </p:nvGrpSpPr>
        <p:grpSpPr bwMode="auto">
          <a:xfrm>
            <a:off x="9134197" y="3543971"/>
            <a:ext cx="370763" cy="369676"/>
            <a:chOff x="1935" y="1199"/>
            <a:chExt cx="341" cy="340"/>
          </a:xfrm>
          <a:solidFill>
            <a:schemeClr val="bg1"/>
          </a:solidFill>
        </p:grpSpPr>
        <p:sp>
          <p:nvSpPr>
            <p:cNvPr id="67"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9" name="Group 432"/>
          <p:cNvGrpSpPr>
            <a:grpSpLocks noChangeAspect="1"/>
          </p:cNvGrpSpPr>
          <p:nvPr/>
        </p:nvGrpSpPr>
        <p:grpSpPr bwMode="auto">
          <a:xfrm>
            <a:off x="7877246" y="2226823"/>
            <a:ext cx="369676" cy="370763"/>
            <a:chOff x="3505" y="1546"/>
            <a:chExt cx="340" cy="341"/>
          </a:xfrm>
          <a:solidFill>
            <a:schemeClr val="bg1"/>
          </a:solidFill>
        </p:grpSpPr>
        <p:sp>
          <p:nvSpPr>
            <p:cNvPr id="70"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423"/>
          <p:cNvGrpSpPr>
            <a:grpSpLocks noChangeAspect="1"/>
          </p:cNvGrpSpPr>
          <p:nvPr/>
        </p:nvGrpSpPr>
        <p:grpSpPr bwMode="auto">
          <a:xfrm>
            <a:off x="7875928" y="4856815"/>
            <a:ext cx="369676" cy="369676"/>
            <a:chOff x="4285" y="1550"/>
            <a:chExt cx="340" cy="340"/>
          </a:xfrm>
          <a:solidFill>
            <a:schemeClr val="bg1"/>
          </a:solidFill>
        </p:grpSpPr>
        <p:sp>
          <p:nvSpPr>
            <p:cNvPr id="79" name="Freeform 424"/>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425"/>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1" name="Group 1014"/>
          <p:cNvGrpSpPr>
            <a:grpSpLocks noChangeAspect="1"/>
          </p:cNvGrpSpPr>
          <p:nvPr/>
        </p:nvGrpSpPr>
        <p:grpSpPr bwMode="auto">
          <a:xfrm>
            <a:off x="3403622" y="4459914"/>
            <a:ext cx="367041" cy="367041"/>
            <a:chOff x="5069" y="3987"/>
            <a:chExt cx="340" cy="340"/>
          </a:xfrm>
          <a:solidFill>
            <a:schemeClr val="bg1"/>
          </a:solidFill>
        </p:grpSpPr>
        <p:sp>
          <p:nvSpPr>
            <p:cNvPr id="82" name="Freeform 1015"/>
            <p:cNvSpPr>
              <a:spLocks noEditPoints="1"/>
            </p:cNvSpPr>
            <p:nvPr/>
          </p:nvSpPr>
          <p:spPr bwMode="auto">
            <a:xfrm>
              <a:off x="5069" y="39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1016"/>
            <p:cNvSpPr>
              <a:spLocks noEditPoints="1"/>
            </p:cNvSpPr>
            <p:nvPr/>
          </p:nvSpPr>
          <p:spPr bwMode="auto">
            <a:xfrm>
              <a:off x="5134" y="4071"/>
              <a:ext cx="211" cy="171"/>
            </a:xfrm>
            <a:custGeom>
              <a:avLst/>
              <a:gdLst>
                <a:gd name="T0" fmla="*/ 316 w 318"/>
                <a:gd name="T1" fmla="*/ 123 h 257"/>
                <a:gd name="T2" fmla="*/ 245 w 318"/>
                <a:gd name="T3" fmla="*/ 57 h 257"/>
                <a:gd name="T4" fmla="*/ 283 w 318"/>
                <a:gd name="T5" fmla="*/ 19 h 257"/>
                <a:gd name="T6" fmla="*/ 283 w 318"/>
                <a:gd name="T7" fmla="*/ 4 h 257"/>
                <a:gd name="T8" fmla="*/ 267 w 318"/>
                <a:gd name="T9" fmla="*/ 4 h 257"/>
                <a:gd name="T10" fmla="*/ 225 w 318"/>
                <a:gd name="T11" fmla="*/ 47 h 257"/>
                <a:gd name="T12" fmla="*/ 159 w 318"/>
                <a:gd name="T13" fmla="*/ 33 h 257"/>
                <a:gd name="T14" fmla="*/ 1 w 318"/>
                <a:gd name="T15" fmla="*/ 122 h 257"/>
                <a:gd name="T16" fmla="*/ 0 w 318"/>
                <a:gd name="T17" fmla="*/ 129 h 257"/>
                <a:gd name="T18" fmla="*/ 1 w 318"/>
                <a:gd name="T19" fmla="*/ 134 h 257"/>
                <a:gd name="T20" fmla="*/ 71 w 318"/>
                <a:gd name="T21" fmla="*/ 200 h 257"/>
                <a:gd name="T22" fmla="*/ 33 w 318"/>
                <a:gd name="T23" fmla="*/ 238 h 257"/>
                <a:gd name="T24" fmla="*/ 33 w 318"/>
                <a:gd name="T25" fmla="*/ 254 h 257"/>
                <a:gd name="T26" fmla="*/ 40 w 318"/>
                <a:gd name="T27" fmla="*/ 257 h 257"/>
                <a:gd name="T28" fmla="*/ 48 w 318"/>
                <a:gd name="T29" fmla="*/ 254 h 257"/>
                <a:gd name="T30" fmla="*/ 91 w 318"/>
                <a:gd name="T31" fmla="*/ 210 h 257"/>
                <a:gd name="T32" fmla="*/ 159 w 318"/>
                <a:gd name="T33" fmla="*/ 225 h 257"/>
                <a:gd name="T34" fmla="*/ 316 w 318"/>
                <a:gd name="T35" fmla="*/ 135 h 257"/>
                <a:gd name="T36" fmla="*/ 317 w 318"/>
                <a:gd name="T37" fmla="*/ 128 h 257"/>
                <a:gd name="T38" fmla="*/ 316 w 318"/>
                <a:gd name="T39" fmla="*/ 123 h 257"/>
                <a:gd name="T40" fmla="*/ 23 w 318"/>
                <a:gd name="T41" fmla="*/ 129 h 257"/>
                <a:gd name="T42" fmla="*/ 159 w 318"/>
                <a:gd name="T43" fmla="*/ 54 h 257"/>
                <a:gd name="T44" fmla="*/ 208 w 318"/>
                <a:gd name="T45" fmla="*/ 63 h 257"/>
                <a:gd name="T46" fmla="*/ 187 w 318"/>
                <a:gd name="T47" fmla="*/ 84 h 257"/>
                <a:gd name="T48" fmla="*/ 158 w 318"/>
                <a:gd name="T49" fmla="*/ 75 h 257"/>
                <a:gd name="T50" fmla="*/ 104 w 318"/>
                <a:gd name="T51" fmla="*/ 129 h 257"/>
                <a:gd name="T52" fmla="*/ 113 w 318"/>
                <a:gd name="T53" fmla="*/ 158 h 257"/>
                <a:gd name="T54" fmla="*/ 87 w 318"/>
                <a:gd name="T55" fmla="*/ 184 h 257"/>
                <a:gd name="T56" fmla="*/ 23 w 318"/>
                <a:gd name="T57" fmla="*/ 129 h 257"/>
                <a:gd name="T58" fmla="*/ 190 w 318"/>
                <a:gd name="T59" fmla="*/ 129 h 257"/>
                <a:gd name="T60" fmla="*/ 158 w 318"/>
                <a:gd name="T61" fmla="*/ 161 h 257"/>
                <a:gd name="T62" fmla="*/ 144 w 318"/>
                <a:gd name="T63" fmla="*/ 157 h 257"/>
                <a:gd name="T64" fmla="*/ 186 w 318"/>
                <a:gd name="T65" fmla="*/ 115 h 257"/>
                <a:gd name="T66" fmla="*/ 190 w 318"/>
                <a:gd name="T67" fmla="*/ 129 h 257"/>
                <a:gd name="T68" fmla="*/ 126 w 318"/>
                <a:gd name="T69" fmla="*/ 129 h 257"/>
                <a:gd name="T70" fmla="*/ 158 w 318"/>
                <a:gd name="T71" fmla="*/ 97 h 257"/>
                <a:gd name="T72" fmla="*/ 171 w 318"/>
                <a:gd name="T73" fmla="*/ 100 h 257"/>
                <a:gd name="T74" fmla="*/ 129 w 318"/>
                <a:gd name="T75" fmla="*/ 142 h 257"/>
                <a:gd name="T76" fmla="*/ 126 w 318"/>
                <a:gd name="T77" fmla="*/ 129 h 257"/>
                <a:gd name="T78" fmla="*/ 159 w 318"/>
                <a:gd name="T79" fmla="*/ 203 h 257"/>
                <a:gd name="T80" fmla="*/ 108 w 318"/>
                <a:gd name="T81" fmla="*/ 194 h 257"/>
                <a:gd name="T82" fmla="*/ 128 w 318"/>
                <a:gd name="T83" fmla="*/ 173 h 257"/>
                <a:gd name="T84" fmla="*/ 158 w 318"/>
                <a:gd name="T85" fmla="*/ 182 h 257"/>
                <a:gd name="T86" fmla="*/ 211 w 318"/>
                <a:gd name="T87" fmla="*/ 129 h 257"/>
                <a:gd name="T88" fmla="*/ 202 w 318"/>
                <a:gd name="T89" fmla="*/ 99 h 257"/>
                <a:gd name="T90" fmla="*/ 229 w 318"/>
                <a:gd name="T91" fmla="*/ 72 h 257"/>
                <a:gd name="T92" fmla="*/ 294 w 318"/>
                <a:gd name="T93" fmla="*/ 129 h 257"/>
                <a:gd name="T94" fmla="*/ 159 w 318"/>
                <a:gd name="T95" fmla="*/ 20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8" h="257">
                  <a:moveTo>
                    <a:pt x="316" y="123"/>
                  </a:moveTo>
                  <a:cubicBezTo>
                    <a:pt x="303" y="103"/>
                    <a:pt x="278" y="76"/>
                    <a:pt x="245" y="57"/>
                  </a:cubicBezTo>
                  <a:cubicBezTo>
                    <a:pt x="283" y="19"/>
                    <a:pt x="283" y="19"/>
                    <a:pt x="283" y="19"/>
                  </a:cubicBezTo>
                  <a:cubicBezTo>
                    <a:pt x="287" y="15"/>
                    <a:pt x="287" y="8"/>
                    <a:pt x="283" y="4"/>
                  </a:cubicBezTo>
                  <a:cubicBezTo>
                    <a:pt x="278" y="0"/>
                    <a:pt x="272" y="0"/>
                    <a:pt x="267" y="4"/>
                  </a:cubicBezTo>
                  <a:cubicBezTo>
                    <a:pt x="225" y="47"/>
                    <a:pt x="225" y="47"/>
                    <a:pt x="225" y="47"/>
                  </a:cubicBezTo>
                  <a:cubicBezTo>
                    <a:pt x="205" y="38"/>
                    <a:pt x="183" y="33"/>
                    <a:pt x="159" y="33"/>
                  </a:cubicBezTo>
                  <a:cubicBezTo>
                    <a:pt x="88" y="33"/>
                    <a:pt x="31" y="79"/>
                    <a:pt x="1" y="122"/>
                  </a:cubicBezTo>
                  <a:cubicBezTo>
                    <a:pt x="0" y="124"/>
                    <a:pt x="0" y="127"/>
                    <a:pt x="0" y="129"/>
                  </a:cubicBezTo>
                  <a:cubicBezTo>
                    <a:pt x="0" y="131"/>
                    <a:pt x="0" y="133"/>
                    <a:pt x="1" y="134"/>
                  </a:cubicBezTo>
                  <a:cubicBezTo>
                    <a:pt x="14" y="154"/>
                    <a:pt x="38" y="181"/>
                    <a:pt x="71" y="200"/>
                  </a:cubicBezTo>
                  <a:cubicBezTo>
                    <a:pt x="33" y="238"/>
                    <a:pt x="33" y="238"/>
                    <a:pt x="33" y="238"/>
                  </a:cubicBezTo>
                  <a:cubicBezTo>
                    <a:pt x="29" y="243"/>
                    <a:pt x="29" y="249"/>
                    <a:pt x="33" y="254"/>
                  </a:cubicBezTo>
                  <a:cubicBezTo>
                    <a:pt x="35" y="256"/>
                    <a:pt x="38" y="257"/>
                    <a:pt x="40" y="257"/>
                  </a:cubicBezTo>
                  <a:cubicBezTo>
                    <a:pt x="43" y="257"/>
                    <a:pt x="46" y="256"/>
                    <a:pt x="48" y="254"/>
                  </a:cubicBezTo>
                  <a:cubicBezTo>
                    <a:pt x="91" y="210"/>
                    <a:pt x="91" y="210"/>
                    <a:pt x="91" y="210"/>
                  </a:cubicBezTo>
                  <a:cubicBezTo>
                    <a:pt x="111" y="219"/>
                    <a:pt x="134" y="225"/>
                    <a:pt x="159" y="225"/>
                  </a:cubicBezTo>
                  <a:cubicBezTo>
                    <a:pt x="229" y="225"/>
                    <a:pt x="286" y="178"/>
                    <a:pt x="316" y="135"/>
                  </a:cubicBezTo>
                  <a:cubicBezTo>
                    <a:pt x="317" y="133"/>
                    <a:pt x="318" y="131"/>
                    <a:pt x="317" y="128"/>
                  </a:cubicBezTo>
                  <a:cubicBezTo>
                    <a:pt x="317" y="127"/>
                    <a:pt x="317" y="125"/>
                    <a:pt x="316" y="123"/>
                  </a:cubicBezTo>
                  <a:close/>
                  <a:moveTo>
                    <a:pt x="23" y="129"/>
                  </a:moveTo>
                  <a:cubicBezTo>
                    <a:pt x="50" y="91"/>
                    <a:pt x="99" y="54"/>
                    <a:pt x="159" y="54"/>
                  </a:cubicBezTo>
                  <a:cubicBezTo>
                    <a:pt x="176" y="54"/>
                    <a:pt x="193" y="57"/>
                    <a:pt x="208" y="63"/>
                  </a:cubicBezTo>
                  <a:cubicBezTo>
                    <a:pt x="187" y="84"/>
                    <a:pt x="187" y="84"/>
                    <a:pt x="187" y="84"/>
                  </a:cubicBezTo>
                  <a:cubicBezTo>
                    <a:pt x="179" y="79"/>
                    <a:pt x="169" y="75"/>
                    <a:pt x="158" y="75"/>
                  </a:cubicBezTo>
                  <a:cubicBezTo>
                    <a:pt x="128" y="75"/>
                    <a:pt x="104" y="99"/>
                    <a:pt x="104" y="129"/>
                  </a:cubicBezTo>
                  <a:cubicBezTo>
                    <a:pt x="104" y="140"/>
                    <a:pt x="108" y="150"/>
                    <a:pt x="113" y="158"/>
                  </a:cubicBezTo>
                  <a:cubicBezTo>
                    <a:pt x="87" y="184"/>
                    <a:pt x="87" y="184"/>
                    <a:pt x="87" y="184"/>
                  </a:cubicBezTo>
                  <a:cubicBezTo>
                    <a:pt x="58" y="169"/>
                    <a:pt x="36" y="146"/>
                    <a:pt x="23" y="129"/>
                  </a:cubicBezTo>
                  <a:close/>
                  <a:moveTo>
                    <a:pt x="190" y="129"/>
                  </a:moveTo>
                  <a:cubicBezTo>
                    <a:pt x="190" y="146"/>
                    <a:pt x="175" y="161"/>
                    <a:pt x="158" y="161"/>
                  </a:cubicBezTo>
                  <a:cubicBezTo>
                    <a:pt x="153" y="161"/>
                    <a:pt x="148" y="159"/>
                    <a:pt x="144" y="157"/>
                  </a:cubicBezTo>
                  <a:cubicBezTo>
                    <a:pt x="186" y="115"/>
                    <a:pt x="186" y="115"/>
                    <a:pt x="186" y="115"/>
                  </a:cubicBezTo>
                  <a:cubicBezTo>
                    <a:pt x="188" y="119"/>
                    <a:pt x="190" y="124"/>
                    <a:pt x="190" y="129"/>
                  </a:cubicBezTo>
                  <a:close/>
                  <a:moveTo>
                    <a:pt x="126" y="129"/>
                  </a:moveTo>
                  <a:cubicBezTo>
                    <a:pt x="126" y="111"/>
                    <a:pt x="140" y="97"/>
                    <a:pt x="158" y="97"/>
                  </a:cubicBezTo>
                  <a:cubicBezTo>
                    <a:pt x="163" y="97"/>
                    <a:pt x="167" y="98"/>
                    <a:pt x="171" y="100"/>
                  </a:cubicBezTo>
                  <a:cubicBezTo>
                    <a:pt x="129" y="142"/>
                    <a:pt x="129" y="142"/>
                    <a:pt x="129" y="142"/>
                  </a:cubicBezTo>
                  <a:cubicBezTo>
                    <a:pt x="127" y="138"/>
                    <a:pt x="126" y="134"/>
                    <a:pt x="126" y="129"/>
                  </a:cubicBezTo>
                  <a:close/>
                  <a:moveTo>
                    <a:pt x="159" y="203"/>
                  </a:moveTo>
                  <a:cubicBezTo>
                    <a:pt x="140" y="203"/>
                    <a:pt x="123" y="200"/>
                    <a:pt x="108" y="194"/>
                  </a:cubicBezTo>
                  <a:cubicBezTo>
                    <a:pt x="128" y="173"/>
                    <a:pt x="128" y="173"/>
                    <a:pt x="128" y="173"/>
                  </a:cubicBezTo>
                  <a:cubicBezTo>
                    <a:pt x="137" y="179"/>
                    <a:pt x="147" y="182"/>
                    <a:pt x="158" y="182"/>
                  </a:cubicBezTo>
                  <a:cubicBezTo>
                    <a:pt x="187" y="182"/>
                    <a:pt x="211" y="158"/>
                    <a:pt x="211" y="129"/>
                  </a:cubicBezTo>
                  <a:cubicBezTo>
                    <a:pt x="211" y="118"/>
                    <a:pt x="208" y="108"/>
                    <a:pt x="202" y="99"/>
                  </a:cubicBezTo>
                  <a:cubicBezTo>
                    <a:pt x="229" y="72"/>
                    <a:pt x="229" y="72"/>
                    <a:pt x="229" y="72"/>
                  </a:cubicBezTo>
                  <a:cubicBezTo>
                    <a:pt x="259" y="88"/>
                    <a:pt x="281" y="111"/>
                    <a:pt x="294" y="129"/>
                  </a:cubicBezTo>
                  <a:cubicBezTo>
                    <a:pt x="267" y="166"/>
                    <a:pt x="218" y="203"/>
                    <a:pt x="159" y="203"/>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4" name="Group 20"/>
          <p:cNvGrpSpPr>
            <a:grpSpLocks noChangeAspect="1"/>
          </p:cNvGrpSpPr>
          <p:nvPr/>
        </p:nvGrpSpPr>
        <p:grpSpPr bwMode="auto">
          <a:xfrm>
            <a:off x="5726112" y="3542172"/>
            <a:ext cx="369887" cy="371475"/>
            <a:chOff x="3885" y="823"/>
            <a:chExt cx="233" cy="234"/>
          </a:xfrm>
          <a:solidFill>
            <a:schemeClr val="bg1"/>
          </a:solidFill>
        </p:grpSpPr>
        <p:sp>
          <p:nvSpPr>
            <p:cNvPr id="85" name="Freeform 21"/>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2"/>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0" name="Group 99"/>
          <p:cNvGrpSpPr/>
          <p:nvPr/>
        </p:nvGrpSpPr>
        <p:grpSpPr>
          <a:xfrm>
            <a:off x="10267736" y="3195638"/>
            <a:ext cx="1062038" cy="1062038"/>
            <a:chOff x="10660062" y="3195638"/>
            <a:chExt cx="1062038" cy="1062038"/>
          </a:xfrm>
        </p:grpSpPr>
        <p:sp>
          <p:nvSpPr>
            <p:cNvPr id="5" name="Oval 4"/>
            <p:cNvSpPr/>
            <p:nvPr/>
          </p:nvSpPr>
          <p:spPr bwMode="gray">
            <a:xfrm>
              <a:off x="10660062" y="3195638"/>
              <a:ext cx="1062038" cy="106203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87" name="Group 53"/>
            <p:cNvGrpSpPr>
              <a:grpSpLocks noChangeAspect="1"/>
            </p:cNvGrpSpPr>
            <p:nvPr/>
          </p:nvGrpSpPr>
          <p:grpSpPr bwMode="auto">
            <a:xfrm>
              <a:off x="10771187" y="3305529"/>
              <a:ext cx="839788" cy="842254"/>
              <a:chOff x="5183" y="1046"/>
              <a:chExt cx="340" cy="341"/>
            </a:xfrm>
            <a:solidFill>
              <a:schemeClr val="bg1"/>
            </a:solidFill>
          </p:grpSpPr>
          <p:sp>
            <p:nvSpPr>
              <p:cNvPr id="88" name="Freeform 54"/>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55"/>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custDataLst>
      <p:tags r:id="rId1"/>
    </p:custDataLst>
    <p:extLst>
      <p:ext uri="{BB962C8B-B14F-4D97-AF65-F5344CB8AC3E}">
        <p14:creationId xmlns:p14="http://schemas.microsoft.com/office/powerpoint/2010/main" val="1506176342"/>
      </p:ext>
    </p:extLst>
  </p:cSld>
  <p:clrMapOvr>
    <a:masterClrMapping/>
  </p:clrMapOvr>
  <p:transition>
    <p:fade/>
  </p:transition>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gray">
          <a:xfrm>
            <a:off x="1662113" y="3548435"/>
            <a:ext cx="8996362" cy="75454"/>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0" name="Content Placeholder 2"/>
          <p:cNvSpPr>
            <a:spLocks noGrp="1"/>
          </p:cNvSpPr>
          <p:nvPr>
            <p:ph sz="quarter" idx="4294967295"/>
          </p:nvPr>
        </p:nvSpPr>
        <p:spPr>
          <a:xfrm>
            <a:off x="2405063" y="1549400"/>
            <a:ext cx="1847850" cy="184150"/>
          </a:xfrm>
          <a:prstGeom prst="rect">
            <a:avLst/>
          </a:prstGeom>
        </p:spPr>
        <p:txBody>
          <a:bodyPr lIns="0" tIns="0" rIns="0" bIns="0">
            <a:spAutoFit/>
          </a:bodyPr>
          <a:lstStyle/>
          <a:p>
            <a:r>
              <a:rPr lang="en-US" b="1" noProof="0" dirty="0"/>
              <a:t>this is dummy</a:t>
            </a:r>
          </a:p>
        </p:txBody>
      </p:sp>
      <p:sp>
        <p:nvSpPr>
          <p:cNvPr id="70" name="Content Placeholder 2"/>
          <p:cNvSpPr>
            <a:spLocks noGrp="1"/>
          </p:cNvSpPr>
          <p:nvPr>
            <p:ph sz="quarter" idx="4294967295"/>
          </p:nvPr>
        </p:nvSpPr>
        <p:spPr>
          <a:xfrm>
            <a:off x="2891632" y="2228850"/>
            <a:ext cx="1846263" cy="184150"/>
          </a:xfrm>
          <a:prstGeom prst="rect">
            <a:avLst/>
          </a:prstGeom>
        </p:spPr>
        <p:txBody>
          <a:bodyPr lIns="0" tIns="0" rIns="0" bIns="0">
            <a:spAutoFit/>
          </a:bodyPr>
          <a:lstStyle/>
          <a:p>
            <a:r>
              <a:rPr lang="en-US" noProof="0" dirty="0"/>
              <a:t>this is dummy</a:t>
            </a:r>
          </a:p>
        </p:txBody>
      </p:sp>
      <p:sp>
        <p:nvSpPr>
          <p:cNvPr id="71" name="Content Placeholder 2"/>
          <p:cNvSpPr>
            <a:spLocks noGrp="1"/>
          </p:cNvSpPr>
          <p:nvPr>
            <p:ph sz="quarter" idx="4294967295"/>
          </p:nvPr>
        </p:nvSpPr>
        <p:spPr>
          <a:xfrm>
            <a:off x="3363119" y="2776538"/>
            <a:ext cx="1846263" cy="184150"/>
          </a:xfrm>
          <a:prstGeom prst="rect">
            <a:avLst/>
          </a:prstGeom>
        </p:spPr>
        <p:txBody>
          <a:bodyPr lIns="0" tIns="0" rIns="0" bIns="0">
            <a:spAutoFit/>
          </a:bodyPr>
          <a:lstStyle/>
          <a:p>
            <a:r>
              <a:rPr lang="en-US" noProof="0" dirty="0"/>
              <a:t>this is dummy</a:t>
            </a:r>
          </a:p>
        </p:txBody>
      </p:sp>
      <p:sp>
        <p:nvSpPr>
          <p:cNvPr id="79" name="Content Placeholder 2"/>
          <p:cNvSpPr>
            <a:spLocks noGrp="1"/>
          </p:cNvSpPr>
          <p:nvPr>
            <p:ph sz="quarter" idx="4294967295"/>
          </p:nvPr>
        </p:nvSpPr>
        <p:spPr>
          <a:xfrm>
            <a:off x="2832499" y="4175125"/>
            <a:ext cx="1847850" cy="185738"/>
          </a:xfrm>
          <a:prstGeom prst="rect">
            <a:avLst/>
          </a:prstGeom>
        </p:spPr>
        <p:txBody>
          <a:bodyPr lIns="0" tIns="0" rIns="0" bIns="0">
            <a:spAutoFit/>
          </a:bodyPr>
          <a:lstStyle/>
          <a:p>
            <a:pPr algn="r"/>
            <a:r>
              <a:rPr lang="en-US" noProof="0" dirty="0"/>
              <a:t>this is dummy</a:t>
            </a:r>
          </a:p>
        </p:txBody>
      </p:sp>
      <p:sp>
        <p:nvSpPr>
          <p:cNvPr id="80" name="Content Placeholder 2"/>
          <p:cNvSpPr>
            <a:spLocks noGrp="1"/>
          </p:cNvSpPr>
          <p:nvPr>
            <p:ph sz="quarter" idx="4294967295"/>
          </p:nvPr>
        </p:nvSpPr>
        <p:spPr>
          <a:xfrm>
            <a:off x="2413000" y="4740275"/>
            <a:ext cx="1846263" cy="185738"/>
          </a:xfrm>
          <a:prstGeom prst="rect">
            <a:avLst/>
          </a:prstGeom>
        </p:spPr>
        <p:txBody>
          <a:bodyPr lIns="0" tIns="0" rIns="0" bIns="0">
            <a:spAutoFit/>
          </a:bodyPr>
          <a:lstStyle/>
          <a:p>
            <a:pPr algn="r"/>
            <a:r>
              <a:rPr lang="en-US" noProof="0" dirty="0"/>
              <a:t>this is dummy</a:t>
            </a:r>
          </a:p>
        </p:txBody>
      </p:sp>
      <p:sp>
        <p:nvSpPr>
          <p:cNvPr id="81" name="Content Placeholder 2"/>
          <p:cNvSpPr>
            <a:spLocks noGrp="1"/>
          </p:cNvSpPr>
          <p:nvPr>
            <p:ph sz="quarter" idx="4294967295"/>
          </p:nvPr>
        </p:nvSpPr>
        <p:spPr>
          <a:xfrm>
            <a:off x="1771254" y="5416550"/>
            <a:ext cx="1846263" cy="185738"/>
          </a:xfrm>
          <a:prstGeom prst="rect">
            <a:avLst/>
          </a:prstGeom>
        </p:spPr>
        <p:txBody>
          <a:bodyPr lIns="0" tIns="0" rIns="0" bIns="0">
            <a:spAutoFit/>
          </a:bodyPr>
          <a:lstStyle/>
          <a:p>
            <a:pPr algn="r"/>
            <a:r>
              <a:rPr lang="en-US" b="1" noProof="0" dirty="0"/>
              <a:t>this is dummy</a:t>
            </a:r>
          </a:p>
        </p:txBody>
      </p:sp>
      <p:grpSp>
        <p:nvGrpSpPr>
          <p:cNvPr id="69" name="Group 68"/>
          <p:cNvGrpSpPr/>
          <p:nvPr/>
        </p:nvGrpSpPr>
        <p:grpSpPr>
          <a:xfrm>
            <a:off x="469900" y="2119312"/>
            <a:ext cx="1297781" cy="2933700"/>
            <a:chOff x="469900" y="2119312"/>
            <a:chExt cx="1297781" cy="2933700"/>
          </a:xfrm>
        </p:grpSpPr>
        <p:sp>
          <p:nvSpPr>
            <p:cNvPr id="9" name="Freeform 8"/>
            <p:cNvSpPr/>
            <p:nvPr/>
          </p:nvSpPr>
          <p:spPr bwMode="gray">
            <a:xfrm>
              <a:off x="469900" y="2119312"/>
              <a:ext cx="1297781" cy="1466850"/>
            </a:xfrm>
            <a:custGeom>
              <a:avLst/>
              <a:gdLst>
                <a:gd name="connsiteX0" fmla="*/ 0 w 1297781"/>
                <a:gd name="connsiteY0" fmla="*/ 0 h 1466850"/>
                <a:gd name="connsiteX1" fmla="*/ 1297781 w 1297781"/>
                <a:gd name="connsiteY1" fmla="*/ 1466850 h 1466850"/>
                <a:gd name="connsiteX2" fmla="*/ 428268 w 1297781"/>
                <a:gd name="connsiteY2" fmla="*/ 1466850 h 1466850"/>
                <a:gd name="connsiteX3" fmla="*/ 0 w 1297781"/>
                <a:gd name="connsiteY3" fmla="*/ 0 h 1466850"/>
              </a:gdLst>
              <a:ahLst/>
              <a:cxnLst>
                <a:cxn ang="0">
                  <a:pos x="connsiteX0" y="connsiteY0"/>
                </a:cxn>
                <a:cxn ang="0">
                  <a:pos x="connsiteX1" y="connsiteY1"/>
                </a:cxn>
                <a:cxn ang="0">
                  <a:pos x="connsiteX2" y="connsiteY2"/>
                </a:cxn>
                <a:cxn ang="0">
                  <a:pos x="connsiteX3" y="connsiteY3"/>
                </a:cxn>
              </a:cxnLst>
              <a:rect l="l" t="t" r="r" b="b"/>
              <a:pathLst>
                <a:path w="1297781" h="1466850">
                  <a:moveTo>
                    <a:pt x="0" y="0"/>
                  </a:moveTo>
                  <a:lnTo>
                    <a:pt x="1297781" y="1466850"/>
                  </a:lnTo>
                  <a:lnTo>
                    <a:pt x="428268" y="1466850"/>
                  </a:lnTo>
                  <a:lnTo>
                    <a:pt x="0" y="0"/>
                  </a:lnTo>
                  <a:close/>
                </a:path>
              </a:pathLst>
            </a:cu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Freeform 10"/>
            <p:cNvSpPr/>
            <p:nvPr/>
          </p:nvSpPr>
          <p:spPr bwMode="gray">
            <a:xfrm flipV="1">
              <a:off x="469900" y="3586162"/>
              <a:ext cx="1297781" cy="1466850"/>
            </a:xfrm>
            <a:custGeom>
              <a:avLst/>
              <a:gdLst>
                <a:gd name="connsiteX0" fmla="*/ 0 w 1297781"/>
                <a:gd name="connsiteY0" fmla="*/ 0 h 1466850"/>
                <a:gd name="connsiteX1" fmla="*/ 1297781 w 1297781"/>
                <a:gd name="connsiteY1" fmla="*/ 1466850 h 1466850"/>
                <a:gd name="connsiteX2" fmla="*/ 428268 w 1297781"/>
                <a:gd name="connsiteY2" fmla="*/ 1466850 h 1466850"/>
                <a:gd name="connsiteX3" fmla="*/ 0 w 1297781"/>
                <a:gd name="connsiteY3" fmla="*/ 0 h 1466850"/>
              </a:gdLst>
              <a:ahLst/>
              <a:cxnLst>
                <a:cxn ang="0">
                  <a:pos x="connsiteX0" y="connsiteY0"/>
                </a:cxn>
                <a:cxn ang="0">
                  <a:pos x="connsiteX1" y="connsiteY1"/>
                </a:cxn>
                <a:cxn ang="0">
                  <a:pos x="connsiteX2" y="connsiteY2"/>
                </a:cxn>
                <a:cxn ang="0">
                  <a:pos x="connsiteX3" y="connsiteY3"/>
                </a:cxn>
              </a:cxnLst>
              <a:rect l="l" t="t" r="r" b="b"/>
              <a:pathLst>
                <a:path w="1297781" h="1466850">
                  <a:moveTo>
                    <a:pt x="0" y="0"/>
                  </a:moveTo>
                  <a:lnTo>
                    <a:pt x="1297781" y="1466850"/>
                  </a:lnTo>
                  <a:lnTo>
                    <a:pt x="428268" y="1466850"/>
                  </a:lnTo>
                  <a:lnTo>
                    <a:pt x="0" y="0"/>
                  </a:lnTo>
                  <a:close/>
                </a:path>
              </a:pathLst>
            </a:cu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7" name="Group 66"/>
          <p:cNvGrpSpPr/>
          <p:nvPr/>
        </p:nvGrpSpPr>
        <p:grpSpPr>
          <a:xfrm>
            <a:off x="1935957" y="1509713"/>
            <a:ext cx="1852614" cy="2262186"/>
            <a:chOff x="1681162" y="1509713"/>
            <a:chExt cx="1852614" cy="2262186"/>
          </a:xfrm>
        </p:grpSpPr>
        <p:cxnSp>
          <p:nvCxnSpPr>
            <p:cNvPr id="16" name="Straight Connector 15"/>
            <p:cNvCxnSpPr/>
            <p:nvPr/>
          </p:nvCxnSpPr>
          <p:spPr>
            <a:xfrm flipH="1" flipV="1">
              <a:off x="1828800" y="1657350"/>
              <a:ext cx="1476375" cy="18859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1681162" y="1509713"/>
              <a:ext cx="1852614" cy="2262186"/>
              <a:chOff x="1681162" y="1509713"/>
              <a:chExt cx="1852614" cy="2262186"/>
            </a:xfrm>
            <a:solidFill>
              <a:srgbClr val="6FC2B4"/>
            </a:solidFill>
          </p:grpSpPr>
          <p:sp>
            <p:nvSpPr>
              <p:cNvPr id="12" name="Oval 11"/>
              <p:cNvSpPr/>
              <p:nvPr/>
            </p:nvSpPr>
            <p:spPr bwMode="gray">
              <a:xfrm>
                <a:off x="3162301" y="3400424"/>
                <a:ext cx="371475" cy="3714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D</a:t>
                </a:r>
              </a:p>
            </p:txBody>
          </p:sp>
          <p:sp>
            <p:nvSpPr>
              <p:cNvPr id="17" name="Oval 16"/>
              <p:cNvSpPr/>
              <p:nvPr/>
            </p:nvSpPr>
            <p:spPr bwMode="gray">
              <a:xfrm>
                <a:off x="1681162" y="1509713"/>
                <a:ext cx="295276" cy="295274"/>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CN" sz="1600" dirty="0">
                    <a:solidFill>
                      <a:schemeClr val="bg1"/>
                    </a:solidFill>
                  </a:rPr>
                  <a:t>4</a:t>
                </a:r>
                <a:endParaRPr lang="en-US" sz="1600" dirty="0">
                  <a:solidFill>
                    <a:schemeClr val="bg1"/>
                  </a:solidFill>
                </a:endParaRPr>
              </a:p>
            </p:txBody>
          </p:sp>
          <p:sp>
            <p:nvSpPr>
              <p:cNvPr id="18" name="Oval 17"/>
              <p:cNvSpPr/>
              <p:nvPr/>
            </p:nvSpPr>
            <p:spPr bwMode="gray">
              <a:xfrm>
                <a:off x="2276476" y="2241549"/>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 name="Oval 18"/>
              <p:cNvSpPr/>
              <p:nvPr/>
            </p:nvSpPr>
            <p:spPr bwMode="gray">
              <a:xfrm>
                <a:off x="2719389" y="2820986"/>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65" name="Group 64"/>
          <p:cNvGrpSpPr/>
          <p:nvPr/>
        </p:nvGrpSpPr>
        <p:grpSpPr>
          <a:xfrm>
            <a:off x="5539581" y="1509713"/>
            <a:ext cx="1852614" cy="2262186"/>
            <a:chOff x="5529262" y="1509713"/>
            <a:chExt cx="1852614" cy="2262186"/>
          </a:xfrm>
        </p:grpSpPr>
        <p:cxnSp>
          <p:nvCxnSpPr>
            <p:cNvPr id="21" name="Straight Connector 20"/>
            <p:cNvCxnSpPr/>
            <p:nvPr/>
          </p:nvCxnSpPr>
          <p:spPr>
            <a:xfrm flipH="1" flipV="1">
              <a:off x="5676900" y="1657350"/>
              <a:ext cx="1476375" cy="18859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529262" y="1509713"/>
              <a:ext cx="1852614" cy="2262186"/>
              <a:chOff x="1681162" y="1509713"/>
              <a:chExt cx="1852614" cy="2262186"/>
            </a:xfrm>
            <a:solidFill>
              <a:schemeClr val="accent1"/>
            </a:solidFill>
          </p:grpSpPr>
          <p:sp>
            <p:nvSpPr>
              <p:cNvPr id="23" name="Oval 22"/>
              <p:cNvSpPr/>
              <p:nvPr/>
            </p:nvSpPr>
            <p:spPr bwMode="gray">
              <a:xfrm>
                <a:off x="3162301" y="3400424"/>
                <a:ext cx="371475" cy="3714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B</a:t>
                </a:r>
              </a:p>
            </p:txBody>
          </p:sp>
          <p:sp>
            <p:nvSpPr>
              <p:cNvPr id="24" name="Oval 23"/>
              <p:cNvSpPr/>
              <p:nvPr/>
            </p:nvSpPr>
            <p:spPr bwMode="gray">
              <a:xfrm>
                <a:off x="1681162" y="1509713"/>
                <a:ext cx="295276" cy="295274"/>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CN" sz="1600" dirty="0">
                    <a:solidFill>
                      <a:schemeClr val="bg1"/>
                    </a:solidFill>
                  </a:rPr>
                  <a:t>2</a:t>
                </a:r>
                <a:endParaRPr lang="en-US" sz="1600" dirty="0">
                  <a:solidFill>
                    <a:schemeClr val="bg1"/>
                  </a:solidFill>
                </a:endParaRPr>
              </a:p>
            </p:txBody>
          </p:sp>
          <p:sp>
            <p:nvSpPr>
              <p:cNvPr id="25" name="Oval 24"/>
              <p:cNvSpPr/>
              <p:nvPr/>
            </p:nvSpPr>
            <p:spPr bwMode="gray">
              <a:xfrm>
                <a:off x="2276476" y="2241549"/>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Oval 25"/>
              <p:cNvSpPr/>
              <p:nvPr/>
            </p:nvSpPr>
            <p:spPr bwMode="gray">
              <a:xfrm>
                <a:off x="2719389" y="2820986"/>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66" name="Group 65"/>
          <p:cNvGrpSpPr/>
          <p:nvPr/>
        </p:nvGrpSpPr>
        <p:grpSpPr>
          <a:xfrm>
            <a:off x="3737769" y="3394914"/>
            <a:ext cx="1852614" cy="2262186"/>
            <a:chOff x="3833813" y="3394914"/>
            <a:chExt cx="1852614" cy="2262186"/>
          </a:xfrm>
        </p:grpSpPr>
        <p:cxnSp>
          <p:nvCxnSpPr>
            <p:cNvPr id="32" name="Straight Connector 31"/>
            <p:cNvCxnSpPr/>
            <p:nvPr/>
          </p:nvCxnSpPr>
          <p:spPr>
            <a:xfrm flipH="1">
              <a:off x="3981451" y="3623514"/>
              <a:ext cx="1476375" cy="18859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3833813" y="3394914"/>
              <a:ext cx="1852614" cy="2262186"/>
              <a:chOff x="3833813" y="3394914"/>
              <a:chExt cx="1852614" cy="2262186"/>
            </a:xfrm>
            <a:solidFill>
              <a:schemeClr val="accent6"/>
            </a:solidFill>
          </p:grpSpPr>
          <p:sp>
            <p:nvSpPr>
              <p:cNvPr id="34" name="Oval 33"/>
              <p:cNvSpPr/>
              <p:nvPr/>
            </p:nvSpPr>
            <p:spPr bwMode="gray">
              <a:xfrm rot="10800000" flipV="1">
                <a:off x="5314952" y="3394914"/>
                <a:ext cx="371475" cy="3714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C</a:t>
                </a:r>
              </a:p>
            </p:txBody>
          </p:sp>
          <p:sp>
            <p:nvSpPr>
              <p:cNvPr id="35" name="Oval 34"/>
              <p:cNvSpPr/>
              <p:nvPr/>
            </p:nvSpPr>
            <p:spPr bwMode="gray">
              <a:xfrm rot="10800000" flipV="1">
                <a:off x="3833813" y="5361826"/>
                <a:ext cx="295276" cy="295274"/>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CN" sz="1600" dirty="0">
                    <a:solidFill>
                      <a:schemeClr val="bg1"/>
                    </a:solidFill>
                  </a:rPr>
                  <a:t>3</a:t>
                </a:r>
                <a:endParaRPr lang="en-US" sz="1600" dirty="0">
                  <a:solidFill>
                    <a:schemeClr val="bg1"/>
                  </a:solidFill>
                </a:endParaRPr>
              </a:p>
            </p:txBody>
          </p:sp>
          <p:sp>
            <p:nvSpPr>
              <p:cNvPr id="36" name="Oval 35"/>
              <p:cNvSpPr/>
              <p:nvPr/>
            </p:nvSpPr>
            <p:spPr bwMode="gray">
              <a:xfrm flipV="1">
                <a:off x="4429127" y="4782389"/>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 name="Oval 36"/>
              <p:cNvSpPr/>
              <p:nvPr/>
            </p:nvSpPr>
            <p:spPr bwMode="gray">
              <a:xfrm flipV="1">
                <a:off x="4872040" y="4202952"/>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64" name="Group 63"/>
          <p:cNvGrpSpPr/>
          <p:nvPr/>
        </p:nvGrpSpPr>
        <p:grpSpPr>
          <a:xfrm>
            <a:off x="7341394" y="3394914"/>
            <a:ext cx="1852614" cy="2262186"/>
            <a:chOff x="7086599" y="3394914"/>
            <a:chExt cx="1852614" cy="2262186"/>
          </a:xfrm>
        </p:grpSpPr>
        <p:cxnSp>
          <p:nvCxnSpPr>
            <p:cNvPr id="52" name="Straight Connector 51"/>
            <p:cNvCxnSpPr/>
            <p:nvPr/>
          </p:nvCxnSpPr>
          <p:spPr>
            <a:xfrm flipH="1">
              <a:off x="7234237" y="3623514"/>
              <a:ext cx="1476375" cy="18859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7086599" y="3394914"/>
              <a:ext cx="1852614" cy="2262186"/>
              <a:chOff x="3833813" y="3394914"/>
              <a:chExt cx="1852614" cy="2262186"/>
            </a:xfrm>
            <a:solidFill>
              <a:schemeClr val="accent3"/>
            </a:solidFill>
          </p:grpSpPr>
          <p:sp>
            <p:nvSpPr>
              <p:cNvPr id="54" name="Oval 53"/>
              <p:cNvSpPr/>
              <p:nvPr/>
            </p:nvSpPr>
            <p:spPr bwMode="gray">
              <a:xfrm rot="10800000" flipV="1">
                <a:off x="5314952" y="3394914"/>
                <a:ext cx="371475" cy="3714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A</a:t>
                </a:r>
              </a:p>
            </p:txBody>
          </p:sp>
          <p:sp>
            <p:nvSpPr>
              <p:cNvPr id="55" name="Oval 54"/>
              <p:cNvSpPr/>
              <p:nvPr/>
            </p:nvSpPr>
            <p:spPr bwMode="gray">
              <a:xfrm rot="10800000" flipV="1">
                <a:off x="3833813" y="5361826"/>
                <a:ext cx="295276" cy="295274"/>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1</a:t>
                </a:r>
              </a:p>
            </p:txBody>
          </p:sp>
          <p:sp>
            <p:nvSpPr>
              <p:cNvPr id="56" name="Oval 55"/>
              <p:cNvSpPr/>
              <p:nvPr/>
            </p:nvSpPr>
            <p:spPr bwMode="gray">
              <a:xfrm flipV="1">
                <a:off x="4429127" y="4782389"/>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Oval 56"/>
              <p:cNvSpPr/>
              <p:nvPr/>
            </p:nvSpPr>
            <p:spPr bwMode="gray">
              <a:xfrm flipV="1">
                <a:off x="4872040" y="4202952"/>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68" name="Group 67"/>
          <p:cNvGrpSpPr/>
          <p:nvPr/>
        </p:nvGrpSpPr>
        <p:grpSpPr>
          <a:xfrm>
            <a:off x="9521825" y="2005011"/>
            <a:ext cx="2200275" cy="3162302"/>
            <a:chOff x="8491538" y="2005011"/>
            <a:chExt cx="2200275" cy="3162302"/>
          </a:xfrm>
        </p:grpSpPr>
        <p:sp>
          <p:nvSpPr>
            <p:cNvPr id="58" name="Parallelogram 57"/>
            <p:cNvSpPr/>
            <p:nvPr/>
          </p:nvSpPr>
          <p:spPr bwMode="gray">
            <a:xfrm>
              <a:off x="8491538" y="3586162"/>
              <a:ext cx="2200275" cy="1581151"/>
            </a:xfrm>
            <a:prstGeom prst="parallelogram">
              <a:avLst>
                <a:gd name="adj" fmla="val 62952"/>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9" name="Parallelogram 58"/>
            <p:cNvSpPr/>
            <p:nvPr/>
          </p:nvSpPr>
          <p:spPr bwMode="gray">
            <a:xfrm flipV="1">
              <a:off x="8491538" y="2005011"/>
              <a:ext cx="2200275" cy="1581152"/>
            </a:xfrm>
            <a:prstGeom prst="parallelogram">
              <a:avLst>
                <a:gd name="adj" fmla="val 62952"/>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0" name="Content Placeholder 2"/>
          <p:cNvSpPr txBox="1">
            <a:spLocks/>
          </p:cNvSpPr>
          <p:nvPr/>
        </p:nvSpPr>
        <p:spPr>
          <a:xfrm>
            <a:off x="6351193" y="4175125"/>
            <a:ext cx="1847850" cy="185738"/>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lgn="r"/>
            <a:r>
              <a:rPr lang="en-US"/>
              <a:t>this is dummy</a:t>
            </a:r>
            <a:endParaRPr lang="en-US" dirty="0"/>
          </a:p>
        </p:txBody>
      </p:sp>
      <p:sp>
        <p:nvSpPr>
          <p:cNvPr id="51" name="Content Placeholder 2"/>
          <p:cNvSpPr txBox="1">
            <a:spLocks/>
          </p:cNvSpPr>
          <p:nvPr/>
        </p:nvSpPr>
        <p:spPr>
          <a:xfrm>
            <a:off x="5931694" y="4740275"/>
            <a:ext cx="1846263" cy="185738"/>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lgn="r"/>
            <a:r>
              <a:rPr lang="en-US"/>
              <a:t>this is dummy</a:t>
            </a:r>
            <a:endParaRPr lang="en-US" dirty="0"/>
          </a:p>
        </p:txBody>
      </p:sp>
      <p:sp>
        <p:nvSpPr>
          <p:cNvPr id="61" name="Content Placeholder 2"/>
          <p:cNvSpPr txBox="1">
            <a:spLocks/>
          </p:cNvSpPr>
          <p:nvPr/>
        </p:nvSpPr>
        <p:spPr>
          <a:xfrm>
            <a:off x="5289948" y="5416550"/>
            <a:ext cx="1846263" cy="185738"/>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lgn="r"/>
            <a:r>
              <a:rPr lang="en-US" b="1"/>
              <a:t>this is dummy</a:t>
            </a:r>
            <a:endParaRPr lang="en-US" b="1" dirty="0"/>
          </a:p>
        </p:txBody>
      </p:sp>
      <p:sp>
        <p:nvSpPr>
          <p:cNvPr id="62" name="Content Placeholder 2"/>
          <p:cNvSpPr txBox="1">
            <a:spLocks/>
          </p:cNvSpPr>
          <p:nvPr/>
        </p:nvSpPr>
        <p:spPr>
          <a:xfrm>
            <a:off x="5982494" y="1549400"/>
            <a:ext cx="1847850" cy="184150"/>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b="1"/>
              <a:t>this is dummy</a:t>
            </a:r>
            <a:endParaRPr lang="en-US" b="1" dirty="0"/>
          </a:p>
        </p:txBody>
      </p:sp>
      <p:sp>
        <p:nvSpPr>
          <p:cNvPr id="63" name="Content Placeholder 2"/>
          <p:cNvSpPr txBox="1">
            <a:spLocks/>
          </p:cNvSpPr>
          <p:nvPr/>
        </p:nvSpPr>
        <p:spPr>
          <a:xfrm>
            <a:off x="6469063" y="2228850"/>
            <a:ext cx="1846263" cy="184150"/>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a:t>this is dummy</a:t>
            </a:r>
            <a:endParaRPr lang="en-US" dirty="0"/>
          </a:p>
        </p:txBody>
      </p:sp>
      <p:sp>
        <p:nvSpPr>
          <p:cNvPr id="72" name="Content Placeholder 2"/>
          <p:cNvSpPr txBox="1">
            <a:spLocks/>
          </p:cNvSpPr>
          <p:nvPr/>
        </p:nvSpPr>
        <p:spPr>
          <a:xfrm>
            <a:off x="6940550" y="2776538"/>
            <a:ext cx="1846263" cy="184150"/>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a:t>this is dummy</a:t>
            </a:r>
            <a:endParaRPr lang="en-US" dirty="0"/>
          </a:p>
        </p:txBody>
      </p:sp>
    </p:spTree>
    <p:custDataLst>
      <p:tags r:id="rId1"/>
    </p:custDataLst>
    <p:extLst>
      <p:ext uri="{BB962C8B-B14F-4D97-AF65-F5344CB8AC3E}">
        <p14:creationId xmlns:p14="http://schemas.microsoft.com/office/powerpoint/2010/main" val="1174990228"/>
      </p:ext>
    </p:extLst>
  </p:cSld>
  <p:clrMapOvr>
    <a:masterClrMapping/>
  </p:clrMapOvr>
  <p:transition>
    <p:fade/>
  </p:transition>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33">
            <a:extLst>
              <a:ext uri="{FF2B5EF4-FFF2-40B4-BE49-F238E27FC236}">
                <a16:creationId xmlns:a16="http://schemas.microsoft.com/office/drawing/2014/main" id="{016E0A52-8194-8748-A997-C7C49352B663}"/>
              </a:ext>
            </a:extLst>
          </p:cNvPr>
          <p:cNvSpPr/>
          <p:nvPr/>
        </p:nvSpPr>
        <p:spPr bwMode="gray">
          <a:xfrm>
            <a:off x="4969523" y="1119759"/>
            <a:ext cx="3455353" cy="3455353"/>
          </a:xfrm>
          <a:prstGeom prst="ellipse">
            <a:avLst/>
          </a:prstGeom>
          <a:noFill/>
          <a:ln w="19050" algn="ctr">
            <a:solidFill>
              <a:schemeClr val="bg2"/>
            </a:solidFill>
            <a:miter lim="800000"/>
            <a:headEnd/>
            <a:tailEnd/>
          </a:ln>
        </p:spPr>
        <p:txBody>
          <a:bodyPr wrap="square" lIns="88830" tIns="88830" rIns="88830" bIns="88830" rtlCol="0" anchor="ctr"/>
          <a:lstStyle/>
          <a:p>
            <a:pPr algn="ctr" defTabSz="913686"/>
            <a:endParaRPr lang="en-US" sz="1600" b="1" dirty="0">
              <a:solidFill>
                <a:schemeClr val="bg1"/>
              </a:solidFill>
            </a:endParaRPr>
          </a:p>
        </p:txBody>
      </p:sp>
      <p:sp>
        <p:nvSpPr>
          <p:cNvPr id="35" name="Oval 34">
            <a:extLst>
              <a:ext uri="{FF2B5EF4-FFF2-40B4-BE49-F238E27FC236}">
                <a16:creationId xmlns:a16="http://schemas.microsoft.com/office/drawing/2014/main" id="{309B9BB6-7132-2042-BC01-7DBAAE064FBB}"/>
              </a:ext>
            </a:extLst>
          </p:cNvPr>
          <p:cNvSpPr/>
          <p:nvPr/>
        </p:nvSpPr>
        <p:spPr bwMode="gray">
          <a:xfrm>
            <a:off x="5555630" y="1027360"/>
            <a:ext cx="1012825" cy="1012825"/>
          </a:xfrm>
          <a:prstGeom prst="ellipse">
            <a:avLst/>
          </a:prstGeom>
          <a:solidFill>
            <a:schemeClr val="accent6">
              <a:lumMod val="75000"/>
            </a:schemeClr>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36" name="Oval 35">
            <a:extLst>
              <a:ext uri="{FF2B5EF4-FFF2-40B4-BE49-F238E27FC236}">
                <a16:creationId xmlns:a16="http://schemas.microsoft.com/office/drawing/2014/main" id="{2CA169B3-4F00-584F-953F-4B9683051F94}"/>
              </a:ext>
            </a:extLst>
          </p:cNvPr>
          <p:cNvSpPr/>
          <p:nvPr/>
        </p:nvSpPr>
        <p:spPr bwMode="gray">
          <a:xfrm>
            <a:off x="4598367" y="2560885"/>
            <a:ext cx="1012825" cy="1012825"/>
          </a:xfrm>
          <a:prstGeom prst="ellipse">
            <a:avLst/>
          </a:prstGeom>
          <a:solidFill>
            <a:schemeClr val="accent6"/>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57" name="Arc 56">
            <a:extLst>
              <a:ext uri="{FF2B5EF4-FFF2-40B4-BE49-F238E27FC236}">
                <a16:creationId xmlns:a16="http://schemas.microsoft.com/office/drawing/2014/main" id="{91D1130B-A0B7-6D4D-9BD9-A59CFFFC6912}"/>
              </a:ext>
            </a:extLst>
          </p:cNvPr>
          <p:cNvSpPr/>
          <p:nvPr/>
        </p:nvSpPr>
        <p:spPr>
          <a:xfrm rot="15387437">
            <a:off x="3042616" y="1534039"/>
            <a:ext cx="4826000" cy="4826000"/>
          </a:xfrm>
          <a:prstGeom prst="arc">
            <a:avLst>
              <a:gd name="adj1" fmla="val 16200000"/>
              <a:gd name="adj2" fmla="val 971924"/>
            </a:avLst>
          </a:prstGeom>
          <a:noFill/>
          <a:ln w="19050" algn="ctr">
            <a:solidFill>
              <a:schemeClr val="bg2"/>
            </a:solidFill>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dirty="0">
              <a:solidFill>
                <a:schemeClr val="bg1"/>
              </a:solidFill>
            </a:endParaRPr>
          </a:p>
        </p:txBody>
      </p:sp>
      <p:sp>
        <p:nvSpPr>
          <p:cNvPr id="58" name="Oval 57">
            <a:extLst>
              <a:ext uri="{FF2B5EF4-FFF2-40B4-BE49-F238E27FC236}">
                <a16:creationId xmlns:a16="http://schemas.microsoft.com/office/drawing/2014/main" id="{647BF4EE-17F4-A24D-AD2E-8D46B7CDC27D}"/>
              </a:ext>
            </a:extLst>
          </p:cNvPr>
          <p:cNvSpPr/>
          <p:nvPr/>
        </p:nvSpPr>
        <p:spPr bwMode="gray">
          <a:xfrm>
            <a:off x="2559196" y="3596728"/>
            <a:ext cx="1012825" cy="1012825"/>
          </a:xfrm>
          <a:prstGeom prst="ellipse">
            <a:avLst/>
          </a:prstGeom>
          <a:solidFill>
            <a:schemeClr val="accent1"/>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59" name="Oval 58">
            <a:extLst>
              <a:ext uri="{FF2B5EF4-FFF2-40B4-BE49-F238E27FC236}">
                <a16:creationId xmlns:a16="http://schemas.microsoft.com/office/drawing/2014/main" id="{B047BDF7-8689-134D-8F2B-CA8C7FC34862}"/>
              </a:ext>
            </a:extLst>
          </p:cNvPr>
          <p:cNvSpPr/>
          <p:nvPr/>
        </p:nvSpPr>
        <p:spPr bwMode="gray">
          <a:xfrm>
            <a:off x="3442329" y="1673979"/>
            <a:ext cx="1012825" cy="1012825"/>
          </a:xfrm>
          <a:prstGeom prst="ellipse">
            <a:avLst/>
          </a:prstGeom>
          <a:solidFill>
            <a:schemeClr val="accent6"/>
          </a:solidFill>
          <a:ln w="19050" algn="ctr">
            <a:solidFill>
              <a:schemeClr val="bg1"/>
            </a:solidFill>
            <a:miter lim="800000"/>
            <a:headEnd/>
            <a:tailEnd/>
          </a:ln>
        </p:spPr>
        <p:txBody>
          <a:bodyPr wrap="square" lIns="18274" tIns="18274" rIns="18274" bIns="18274" rtlCol="0" anchor="ctr"/>
          <a:lstStyle/>
          <a:p>
            <a:pPr algn="ctr" defTabSz="913686"/>
            <a:r>
              <a:rPr lang="en-US" sz="1000" b="1" dirty="0">
                <a:solidFill>
                  <a:schemeClr val="bg1"/>
                </a:solidFill>
              </a:rPr>
              <a:t>Lorem ipsum dolor</a:t>
            </a:r>
          </a:p>
        </p:txBody>
      </p:sp>
      <p:sp>
        <p:nvSpPr>
          <p:cNvPr id="60" name="Isosceles Triangle 41">
            <a:extLst>
              <a:ext uri="{FF2B5EF4-FFF2-40B4-BE49-F238E27FC236}">
                <a16:creationId xmlns:a16="http://schemas.microsoft.com/office/drawing/2014/main" id="{4BE5CC21-3CBD-6F43-8D0D-7DEB6E1FEC91}"/>
              </a:ext>
            </a:extLst>
          </p:cNvPr>
          <p:cNvSpPr/>
          <p:nvPr/>
        </p:nvSpPr>
        <p:spPr bwMode="gray">
          <a:xfrm rot="1585093">
            <a:off x="3137797" y="2898228"/>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schemeClr val="bg1"/>
              </a:solidFill>
            </a:endParaRPr>
          </a:p>
        </p:txBody>
      </p:sp>
      <p:sp>
        <p:nvSpPr>
          <p:cNvPr id="61" name="Isosceles Triangle 42">
            <a:extLst>
              <a:ext uri="{FF2B5EF4-FFF2-40B4-BE49-F238E27FC236}">
                <a16:creationId xmlns:a16="http://schemas.microsoft.com/office/drawing/2014/main" id="{889BFD23-941E-5243-A5E2-B780FDC049B6}"/>
              </a:ext>
            </a:extLst>
          </p:cNvPr>
          <p:cNvSpPr/>
          <p:nvPr/>
        </p:nvSpPr>
        <p:spPr bwMode="gray">
          <a:xfrm rot="5400000">
            <a:off x="4724261" y="1524250"/>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schemeClr val="bg1"/>
              </a:solidFill>
            </a:endParaRPr>
          </a:p>
        </p:txBody>
      </p:sp>
      <p:sp>
        <p:nvSpPr>
          <p:cNvPr id="62" name="Arc 61">
            <a:extLst>
              <a:ext uri="{FF2B5EF4-FFF2-40B4-BE49-F238E27FC236}">
                <a16:creationId xmlns:a16="http://schemas.microsoft.com/office/drawing/2014/main" id="{665094BB-BC91-104D-AB17-774C4CE4282A}"/>
              </a:ext>
            </a:extLst>
          </p:cNvPr>
          <p:cNvSpPr/>
          <p:nvPr/>
        </p:nvSpPr>
        <p:spPr>
          <a:xfrm rot="5400000">
            <a:off x="4978655" y="2925135"/>
            <a:ext cx="2234689" cy="2519013"/>
          </a:xfrm>
          <a:prstGeom prst="arc">
            <a:avLst>
              <a:gd name="adj1" fmla="val 17851847"/>
              <a:gd name="adj2" fmla="val 3652149"/>
            </a:avLst>
          </a:prstGeom>
          <a:noFill/>
          <a:ln w="19050" algn="ctr">
            <a:solidFill>
              <a:schemeClr val="bg2"/>
            </a:solidFill>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a:solidFill>
                <a:schemeClr val="bg1"/>
              </a:solidFill>
            </a:endParaRPr>
          </a:p>
        </p:txBody>
      </p:sp>
      <p:sp>
        <p:nvSpPr>
          <p:cNvPr id="63" name="Oval 62">
            <a:extLst>
              <a:ext uri="{FF2B5EF4-FFF2-40B4-BE49-F238E27FC236}">
                <a16:creationId xmlns:a16="http://schemas.microsoft.com/office/drawing/2014/main" id="{1425203C-0A90-194C-926B-79AF371D1333}"/>
              </a:ext>
            </a:extLst>
          </p:cNvPr>
          <p:cNvSpPr/>
          <p:nvPr/>
        </p:nvSpPr>
        <p:spPr bwMode="gray">
          <a:xfrm>
            <a:off x="4151778" y="3909720"/>
            <a:ext cx="1012825" cy="1012825"/>
          </a:xfrm>
          <a:prstGeom prst="ellipse">
            <a:avLst/>
          </a:prstGeom>
          <a:solidFill>
            <a:schemeClr val="accent1"/>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64" name="Oval 63">
            <a:extLst>
              <a:ext uri="{FF2B5EF4-FFF2-40B4-BE49-F238E27FC236}">
                <a16:creationId xmlns:a16="http://schemas.microsoft.com/office/drawing/2014/main" id="{FD42F4FF-3E87-1B41-9564-BE94A97A1724}"/>
              </a:ext>
            </a:extLst>
          </p:cNvPr>
          <p:cNvSpPr/>
          <p:nvPr/>
        </p:nvSpPr>
        <p:spPr bwMode="gray">
          <a:xfrm>
            <a:off x="6257304" y="4004876"/>
            <a:ext cx="1012825" cy="1012825"/>
          </a:xfrm>
          <a:prstGeom prst="ellipse">
            <a:avLst/>
          </a:prstGeom>
          <a:solidFill>
            <a:schemeClr val="accent6">
              <a:lumMod val="75000"/>
            </a:schemeClr>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65" name="Isosceles Triangle 46">
            <a:extLst>
              <a:ext uri="{FF2B5EF4-FFF2-40B4-BE49-F238E27FC236}">
                <a16:creationId xmlns:a16="http://schemas.microsoft.com/office/drawing/2014/main" id="{9A66E672-0C88-874F-B7D0-C40145CDE75E}"/>
              </a:ext>
            </a:extLst>
          </p:cNvPr>
          <p:cNvSpPr/>
          <p:nvPr/>
        </p:nvSpPr>
        <p:spPr bwMode="gray">
          <a:xfrm rot="16895309">
            <a:off x="5725548" y="5185303"/>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schemeClr val="bg1"/>
              </a:solidFill>
            </a:endParaRPr>
          </a:p>
        </p:txBody>
      </p:sp>
      <p:sp>
        <p:nvSpPr>
          <p:cNvPr id="66" name="Arc 65">
            <a:extLst>
              <a:ext uri="{FF2B5EF4-FFF2-40B4-BE49-F238E27FC236}">
                <a16:creationId xmlns:a16="http://schemas.microsoft.com/office/drawing/2014/main" id="{0C88FE0D-CF45-2548-A696-D28DA62B188E}"/>
              </a:ext>
            </a:extLst>
          </p:cNvPr>
          <p:cNvSpPr/>
          <p:nvPr/>
        </p:nvSpPr>
        <p:spPr>
          <a:xfrm rot="12012593" flipH="1">
            <a:off x="7075978" y="1957048"/>
            <a:ext cx="2234689" cy="2519013"/>
          </a:xfrm>
          <a:prstGeom prst="arc">
            <a:avLst>
              <a:gd name="adj1" fmla="val 17851847"/>
              <a:gd name="adj2" fmla="val 3652149"/>
            </a:avLst>
          </a:prstGeom>
          <a:noFill/>
          <a:ln w="19050" algn="ctr">
            <a:solidFill>
              <a:schemeClr val="bg2"/>
            </a:solidFill>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a:solidFill>
                <a:schemeClr val="bg1"/>
              </a:solidFill>
            </a:endParaRPr>
          </a:p>
        </p:txBody>
      </p:sp>
      <p:sp>
        <p:nvSpPr>
          <p:cNvPr id="67" name="Oval 66">
            <a:extLst>
              <a:ext uri="{FF2B5EF4-FFF2-40B4-BE49-F238E27FC236}">
                <a16:creationId xmlns:a16="http://schemas.microsoft.com/office/drawing/2014/main" id="{F55F6B66-AC46-4B4E-8329-274E3BD0FDE4}"/>
              </a:ext>
            </a:extLst>
          </p:cNvPr>
          <p:cNvSpPr/>
          <p:nvPr/>
        </p:nvSpPr>
        <p:spPr bwMode="gray">
          <a:xfrm>
            <a:off x="7776541" y="3426073"/>
            <a:ext cx="1012825" cy="1012825"/>
          </a:xfrm>
          <a:prstGeom prst="ellipse">
            <a:avLst/>
          </a:prstGeom>
          <a:solidFill>
            <a:schemeClr val="accent6"/>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68" name="Oval 67">
            <a:extLst>
              <a:ext uri="{FF2B5EF4-FFF2-40B4-BE49-F238E27FC236}">
                <a16:creationId xmlns:a16="http://schemas.microsoft.com/office/drawing/2014/main" id="{DD9F16A4-AADF-534C-98FA-67EB6545FB32}"/>
              </a:ext>
            </a:extLst>
          </p:cNvPr>
          <p:cNvSpPr/>
          <p:nvPr/>
        </p:nvSpPr>
        <p:spPr bwMode="gray">
          <a:xfrm>
            <a:off x="8503616" y="1419742"/>
            <a:ext cx="1012825" cy="1012825"/>
          </a:xfrm>
          <a:prstGeom prst="ellipse">
            <a:avLst/>
          </a:prstGeom>
          <a:solidFill>
            <a:schemeClr val="tx1"/>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69" name="Isosceles Triangle 50">
            <a:extLst>
              <a:ext uri="{FF2B5EF4-FFF2-40B4-BE49-F238E27FC236}">
                <a16:creationId xmlns:a16="http://schemas.microsoft.com/office/drawing/2014/main" id="{0BA4BE24-3E84-E84F-86A3-FA5AC67F092B}"/>
              </a:ext>
            </a:extLst>
          </p:cNvPr>
          <p:cNvSpPr/>
          <p:nvPr/>
        </p:nvSpPr>
        <p:spPr bwMode="gray">
          <a:xfrm flipH="1">
            <a:off x="9224537" y="3073938"/>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schemeClr val="bg1"/>
              </a:solidFill>
            </a:endParaRPr>
          </a:p>
        </p:txBody>
      </p:sp>
    </p:spTree>
    <p:custDataLst>
      <p:tags r:id="rId1"/>
    </p:custDataLst>
    <p:extLst>
      <p:ext uri="{BB962C8B-B14F-4D97-AF65-F5344CB8AC3E}">
        <p14:creationId xmlns:p14="http://schemas.microsoft.com/office/powerpoint/2010/main" val="125013668"/>
      </p:ext>
    </p:extLst>
  </p:cSld>
  <p:clrMapOvr>
    <a:masterClrMapping/>
  </p:clrMapOvr>
  <p:transition>
    <p:fade/>
  </p:transition>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ounded Rectangle 38">
            <a:extLst>
              <a:ext uri="{FF2B5EF4-FFF2-40B4-BE49-F238E27FC236}">
                <a16:creationId xmlns:a16="http://schemas.microsoft.com/office/drawing/2014/main" id="{CD6577C4-5F80-7443-89F9-0D6BBE459088}"/>
              </a:ext>
            </a:extLst>
          </p:cNvPr>
          <p:cNvSpPr/>
          <p:nvPr/>
        </p:nvSpPr>
        <p:spPr bwMode="gray">
          <a:xfrm>
            <a:off x="1895476" y="1786568"/>
            <a:ext cx="1876425" cy="673383"/>
          </a:xfrm>
          <a:prstGeom prst="roundRect">
            <a:avLst/>
          </a:prstGeom>
          <a:solidFill>
            <a:schemeClr val="tx1"/>
          </a:solidFill>
          <a:ln w="19050"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0" name="Freeform 39">
            <a:extLst>
              <a:ext uri="{FF2B5EF4-FFF2-40B4-BE49-F238E27FC236}">
                <a16:creationId xmlns:a16="http://schemas.microsoft.com/office/drawing/2014/main" id="{53EBBB15-5CE5-3E4A-8DFD-009D96AA7417}"/>
              </a:ext>
            </a:extLst>
          </p:cNvPr>
          <p:cNvSpPr/>
          <p:nvPr/>
        </p:nvSpPr>
        <p:spPr bwMode="gray">
          <a:xfrm>
            <a:off x="1905001" y="2459951"/>
            <a:ext cx="8414657" cy="707572"/>
          </a:xfrm>
          <a:custGeom>
            <a:avLst/>
            <a:gdLst>
              <a:gd name="connsiteX0" fmla="*/ 0 w 11219543"/>
              <a:gd name="connsiteY0" fmla="*/ 0 h 943429"/>
              <a:gd name="connsiteX1" fmla="*/ 3730171 w 11219543"/>
              <a:gd name="connsiteY1" fmla="*/ 928914 h 943429"/>
              <a:gd name="connsiteX2" fmla="*/ 7474857 w 11219543"/>
              <a:gd name="connsiteY2" fmla="*/ 943429 h 943429"/>
              <a:gd name="connsiteX3" fmla="*/ 11219543 w 11219543"/>
              <a:gd name="connsiteY3" fmla="*/ 0 h 943429"/>
              <a:gd name="connsiteX4" fmla="*/ 0 w 11219543"/>
              <a:gd name="connsiteY4" fmla="*/ 0 h 94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19543" h="943429">
                <a:moveTo>
                  <a:pt x="0" y="0"/>
                </a:moveTo>
                <a:lnTo>
                  <a:pt x="3730171" y="928914"/>
                </a:lnTo>
                <a:lnTo>
                  <a:pt x="7474857" y="943429"/>
                </a:lnTo>
                <a:lnTo>
                  <a:pt x="11219543" y="0"/>
                </a:lnTo>
                <a:lnTo>
                  <a:pt x="0" y="0"/>
                </a:lnTo>
                <a:close/>
              </a:path>
            </a:pathLst>
          </a:custGeom>
          <a:solidFill>
            <a:schemeClr val="bg1">
              <a:lumMod val="85000"/>
            </a:schemeClr>
          </a:solidFill>
          <a:ln w="19050" algn="ctr">
            <a:solidFill>
              <a:schemeClr val="bg1"/>
            </a:solid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1" name="Rounded Rectangle 40">
            <a:extLst>
              <a:ext uri="{FF2B5EF4-FFF2-40B4-BE49-F238E27FC236}">
                <a16:creationId xmlns:a16="http://schemas.microsoft.com/office/drawing/2014/main" id="{7670D0DB-F815-FB48-990B-6A058E232D8A}"/>
              </a:ext>
            </a:extLst>
          </p:cNvPr>
          <p:cNvSpPr/>
          <p:nvPr/>
        </p:nvSpPr>
        <p:spPr bwMode="gray">
          <a:xfrm>
            <a:off x="4680858" y="2829511"/>
            <a:ext cx="2950029" cy="2104803"/>
          </a:xfrm>
          <a:prstGeom prst="roundRect">
            <a:avLst>
              <a:gd name="adj" fmla="val 8934"/>
            </a:avLst>
          </a:prstGeom>
          <a:noFill/>
          <a:ln w="19050"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2" name="Rounded Rectangle 41">
            <a:extLst>
              <a:ext uri="{FF2B5EF4-FFF2-40B4-BE49-F238E27FC236}">
                <a16:creationId xmlns:a16="http://schemas.microsoft.com/office/drawing/2014/main" id="{79A3BD9E-2A7D-C346-8E6F-D9B76E0B64D9}"/>
              </a:ext>
            </a:extLst>
          </p:cNvPr>
          <p:cNvSpPr/>
          <p:nvPr/>
        </p:nvSpPr>
        <p:spPr bwMode="gray">
          <a:xfrm>
            <a:off x="4625109" y="2760892"/>
            <a:ext cx="2924135" cy="2104803"/>
          </a:xfrm>
          <a:prstGeom prst="roundRect">
            <a:avLst>
              <a:gd name="adj" fmla="val 8934"/>
            </a:avLst>
          </a:prstGeom>
          <a:solidFill>
            <a:schemeClr val="bg1"/>
          </a:solidFill>
          <a:ln w="9525" algn="ctr">
            <a:noFill/>
            <a:prstDash val="dash"/>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3" name="Right Triangle 5">
            <a:extLst>
              <a:ext uri="{FF2B5EF4-FFF2-40B4-BE49-F238E27FC236}">
                <a16:creationId xmlns:a16="http://schemas.microsoft.com/office/drawing/2014/main" id="{8658BBF0-098B-C649-A49D-DE2049A2FD83}"/>
              </a:ext>
            </a:extLst>
          </p:cNvPr>
          <p:cNvSpPr/>
          <p:nvPr/>
        </p:nvSpPr>
        <p:spPr bwMode="gray">
          <a:xfrm flipV="1">
            <a:off x="6077972" y="3156637"/>
            <a:ext cx="1433172" cy="1676400"/>
          </a:xfrm>
          <a:custGeom>
            <a:avLst/>
            <a:gdLst>
              <a:gd name="connsiteX0" fmla="*/ 0 w 1896382"/>
              <a:gd name="connsiteY0" fmla="*/ 2220686 h 2220686"/>
              <a:gd name="connsiteX1" fmla="*/ 0 w 1896382"/>
              <a:gd name="connsiteY1" fmla="*/ 0 h 2220686"/>
              <a:gd name="connsiteX2" fmla="*/ 1896382 w 1896382"/>
              <a:gd name="connsiteY2" fmla="*/ 2220686 h 2220686"/>
              <a:gd name="connsiteX3" fmla="*/ 0 w 1896382"/>
              <a:gd name="connsiteY3" fmla="*/ 2220686 h 2220686"/>
              <a:gd name="connsiteX0" fmla="*/ 14514 w 1910896"/>
              <a:gd name="connsiteY0" fmla="*/ 2220686 h 2220686"/>
              <a:gd name="connsiteX1" fmla="*/ 0 w 1910896"/>
              <a:gd name="connsiteY1" fmla="*/ 0 h 2220686"/>
              <a:gd name="connsiteX2" fmla="*/ 1910896 w 1910896"/>
              <a:gd name="connsiteY2" fmla="*/ 2220686 h 2220686"/>
              <a:gd name="connsiteX3" fmla="*/ 14514 w 1910896"/>
              <a:gd name="connsiteY3" fmla="*/ 2220686 h 2220686"/>
              <a:gd name="connsiteX0" fmla="*/ 0 w 1910896"/>
              <a:gd name="connsiteY0" fmla="*/ 2235200 h 2235200"/>
              <a:gd name="connsiteX1" fmla="*/ 0 w 1910896"/>
              <a:gd name="connsiteY1" fmla="*/ 0 h 2235200"/>
              <a:gd name="connsiteX2" fmla="*/ 1910896 w 1910896"/>
              <a:gd name="connsiteY2" fmla="*/ 2220686 h 2235200"/>
              <a:gd name="connsiteX3" fmla="*/ 0 w 1910896"/>
              <a:gd name="connsiteY3" fmla="*/ 2235200 h 2235200"/>
            </a:gdLst>
            <a:ahLst/>
            <a:cxnLst>
              <a:cxn ang="0">
                <a:pos x="connsiteX0" y="connsiteY0"/>
              </a:cxn>
              <a:cxn ang="0">
                <a:pos x="connsiteX1" y="connsiteY1"/>
              </a:cxn>
              <a:cxn ang="0">
                <a:pos x="connsiteX2" y="connsiteY2"/>
              </a:cxn>
              <a:cxn ang="0">
                <a:pos x="connsiteX3" y="connsiteY3"/>
              </a:cxn>
            </a:cxnLst>
            <a:rect l="l" t="t" r="r" b="b"/>
            <a:pathLst>
              <a:path w="1910896" h="2235200">
                <a:moveTo>
                  <a:pt x="0" y="2235200"/>
                </a:moveTo>
                <a:lnTo>
                  <a:pt x="0" y="0"/>
                </a:lnTo>
                <a:lnTo>
                  <a:pt x="1910896" y="2220686"/>
                </a:lnTo>
                <a:lnTo>
                  <a:pt x="0" y="2235200"/>
                </a:lnTo>
                <a:close/>
              </a:path>
            </a:pathLst>
          </a:custGeom>
          <a:solidFill>
            <a:schemeClr val="tx1">
              <a:lumMod val="65000"/>
              <a:lumOff val="35000"/>
            </a:schemeClr>
          </a:solidFill>
          <a:ln w="3175"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4" name="Right Triangle 43">
            <a:extLst>
              <a:ext uri="{FF2B5EF4-FFF2-40B4-BE49-F238E27FC236}">
                <a16:creationId xmlns:a16="http://schemas.microsoft.com/office/drawing/2014/main" id="{134C5E56-AA91-7D4C-BE3A-0E4D28F3DEC7}"/>
              </a:ext>
            </a:extLst>
          </p:cNvPr>
          <p:cNvSpPr/>
          <p:nvPr/>
        </p:nvSpPr>
        <p:spPr bwMode="gray">
          <a:xfrm flipH="1" flipV="1">
            <a:off x="4686300" y="3156637"/>
            <a:ext cx="1407998" cy="1665515"/>
          </a:xfrm>
          <a:prstGeom prst="rtTriangle">
            <a:avLst/>
          </a:prstGeom>
          <a:solidFill>
            <a:schemeClr val="tx1">
              <a:lumMod val="65000"/>
              <a:lumOff val="35000"/>
            </a:schemeClr>
          </a:solidFill>
          <a:ln w="3175"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5" name="Rounded Rectangle 44">
            <a:extLst>
              <a:ext uri="{FF2B5EF4-FFF2-40B4-BE49-F238E27FC236}">
                <a16:creationId xmlns:a16="http://schemas.microsoft.com/office/drawing/2014/main" id="{608A2759-383A-8A49-97D6-DE2F70E201F9}"/>
              </a:ext>
            </a:extLst>
          </p:cNvPr>
          <p:cNvSpPr/>
          <p:nvPr/>
        </p:nvSpPr>
        <p:spPr>
          <a:xfrm rot="2415763">
            <a:off x="6818195" y="3438155"/>
            <a:ext cx="384465" cy="13550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350" dirty="0">
                <a:solidFill>
                  <a:srgbClr val="0097A9"/>
                </a:solidFill>
              </a:rPr>
              <a:t>Lorem ipsum dolor</a:t>
            </a:r>
          </a:p>
        </p:txBody>
      </p:sp>
      <p:sp>
        <p:nvSpPr>
          <p:cNvPr id="46" name="Rounded Rectangle 45">
            <a:extLst>
              <a:ext uri="{FF2B5EF4-FFF2-40B4-BE49-F238E27FC236}">
                <a16:creationId xmlns:a16="http://schemas.microsoft.com/office/drawing/2014/main" id="{00796095-888E-234B-A434-75232CEA37D7}"/>
              </a:ext>
            </a:extLst>
          </p:cNvPr>
          <p:cNvSpPr/>
          <p:nvPr/>
        </p:nvSpPr>
        <p:spPr>
          <a:xfrm rot="8382674">
            <a:off x="4963407" y="3480166"/>
            <a:ext cx="384465" cy="116086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350" dirty="0">
                <a:solidFill>
                  <a:srgbClr val="86BC25"/>
                </a:solidFill>
              </a:rPr>
              <a:t>Lorem ipsum dolor</a:t>
            </a:r>
          </a:p>
        </p:txBody>
      </p:sp>
      <p:sp>
        <p:nvSpPr>
          <p:cNvPr id="47" name="Rounded Rectangle 46">
            <a:extLst>
              <a:ext uri="{FF2B5EF4-FFF2-40B4-BE49-F238E27FC236}">
                <a16:creationId xmlns:a16="http://schemas.microsoft.com/office/drawing/2014/main" id="{7586E448-87FB-F24A-826F-4210157475F5}"/>
              </a:ext>
            </a:extLst>
          </p:cNvPr>
          <p:cNvSpPr/>
          <p:nvPr/>
        </p:nvSpPr>
        <p:spPr>
          <a:xfrm>
            <a:off x="4423344" y="2760892"/>
            <a:ext cx="3331029" cy="37175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chemeClr val="tx1"/>
                </a:solidFill>
              </a:rPr>
              <a:t>Lorem ipsum dolor</a:t>
            </a:r>
          </a:p>
        </p:txBody>
      </p:sp>
      <p:sp>
        <p:nvSpPr>
          <p:cNvPr id="48" name="Rounded Rectangle 47">
            <a:extLst>
              <a:ext uri="{FF2B5EF4-FFF2-40B4-BE49-F238E27FC236}">
                <a16:creationId xmlns:a16="http://schemas.microsoft.com/office/drawing/2014/main" id="{67C02158-AC47-2B49-AB26-34F98646C042}"/>
              </a:ext>
            </a:extLst>
          </p:cNvPr>
          <p:cNvSpPr/>
          <p:nvPr/>
        </p:nvSpPr>
        <p:spPr>
          <a:xfrm>
            <a:off x="5474196" y="3960679"/>
            <a:ext cx="1210654" cy="4585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rgbClr val="FFFFFF"/>
                </a:solidFill>
              </a:rPr>
              <a:t>Lorem ipsum dolor</a:t>
            </a:r>
          </a:p>
        </p:txBody>
      </p:sp>
      <p:sp>
        <p:nvSpPr>
          <p:cNvPr id="51" name="Rectangle 50">
            <a:extLst>
              <a:ext uri="{FF2B5EF4-FFF2-40B4-BE49-F238E27FC236}">
                <a16:creationId xmlns:a16="http://schemas.microsoft.com/office/drawing/2014/main" id="{2DAECEDB-C193-834A-ABBF-F5625D28BD36}"/>
              </a:ext>
            </a:extLst>
          </p:cNvPr>
          <p:cNvSpPr/>
          <p:nvPr/>
        </p:nvSpPr>
        <p:spPr>
          <a:xfrm>
            <a:off x="2157793" y="1832006"/>
            <a:ext cx="1351988" cy="593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rPr>
              <a:t>Lorem ipsum </a:t>
            </a:r>
            <a:r>
              <a:rPr lang="en-US" sz="900" b="1" dirty="0" err="1">
                <a:solidFill>
                  <a:srgbClr val="FFFFFF"/>
                </a:solidFill>
              </a:rPr>
              <a:t>dolorLorem</a:t>
            </a:r>
            <a:r>
              <a:rPr lang="en-US" sz="900" b="1" dirty="0">
                <a:solidFill>
                  <a:srgbClr val="FFFFFF"/>
                </a:solidFill>
              </a:rPr>
              <a:t> ipsum dolor</a:t>
            </a:r>
          </a:p>
        </p:txBody>
      </p:sp>
      <p:sp>
        <p:nvSpPr>
          <p:cNvPr id="52" name="Rounded Rectangle 51">
            <a:extLst>
              <a:ext uri="{FF2B5EF4-FFF2-40B4-BE49-F238E27FC236}">
                <a16:creationId xmlns:a16="http://schemas.microsoft.com/office/drawing/2014/main" id="{B9A2F0D4-CCA3-D149-8AA0-86CCB98A61E9}"/>
              </a:ext>
            </a:extLst>
          </p:cNvPr>
          <p:cNvSpPr/>
          <p:nvPr/>
        </p:nvSpPr>
        <p:spPr bwMode="gray">
          <a:xfrm>
            <a:off x="4071425" y="1786568"/>
            <a:ext cx="1876425" cy="673383"/>
          </a:xfrm>
          <a:prstGeom prst="roundRect">
            <a:avLst/>
          </a:prstGeom>
          <a:solidFill>
            <a:schemeClr val="tx1"/>
          </a:solidFill>
          <a:ln w="19050"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53" name="Rounded Rectangle 52">
            <a:extLst>
              <a:ext uri="{FF2B5EF4-FFF2-40B4-BE49-F238E27FC236}">
                <a16:creationId xmlns:a16="http://schemas.microsoft.com/office/drawing/2014/main" id="{6C8D201F-1281-4E40-B16C-D576D1240CDE}"/>
              </a:ext>
            </a:extLst>
          </p:cNvPr>
          <p:cNvSpPr/>
          <p:nvPr/>
        </p:nvSpPr>
        <p:spPr bwMode="gray">
          <a:xfrm>
            <a:off x="6247374" y="1786568"/>
            <a:ext cx="1876425" cy="673383"/>
          </a:xfrm>
          <a:prstGeom prst="roundRect">
            <a:avLst/>
          </a:prstGeom>
          <a:solidFill>
            <a:schemeClr val="tx1"/>
          </a:solidFill>
          <a:ln w="19050"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54" name="Rounded Rectangle 53">
            <a:extLst>
              <a:ext uri="{FF2B5EF4-FFF2-40B4-BE49-F238E27FC236}">
                <a16:creationId xmlns:a16="http://schemas.microsoft.com/office/drawing/2014/main" id="{B15925A7-3653-D14A-9C3E-D88935BB11A6}"/>
              </a:ext>
            </a:extLst>
          </p:cNvPr>
          <p:cNvSpPr/>
          <p:nvPr/>
        </p:nvSpPr>
        <p:spPr bwMode="gray">
          <a:xfrm>
            <a:off x="8415339" y="1786568"/>
            <a:ext cx="1876425" cy="673383"/>
          </a:xfrm>
          <a:prstGeom prst="roundRect">
            <a:avLst/>
          </a:prstGeom>
          <a:solidFill>
            <a:schemeClr val="tx1"/>
          </a:solidFill>
          <a:ln w="19050"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56" name="Rectangle 55">
            <a:extLst>
              <a:ext uri="{FF2B5EF4-FFF2-40B4-BE49-F238E27FC236}">
                <a16:creationId xmlns:a16="http://schemas.microsoft.com/office/drawing/2014/main" id="{D4C313B3-E4D5-4A43-A656-24E4ECB6EE9D}"/>
              </a:ext>
            </a:extLst>
          </p:cNvPr>
          <p:cNvSpPr/>
          <p:nvPr/>
        </p:nvSpPr>
        <p:spPr>
          <a:xfrm>
            <a:off x="4383048" y="1832006"/>
            <a:ext cx="1253177" cy="593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rPr>
              <a:t>Lorem ipsum </a:t>
            </a:r>
            <a:r>
              <a:rPr lang="en-US" sz="900" b="1" dirty="0" err="1">
                <a:solidFill>
                  <a:srgbClr val="FFFFFF"/>
                </a:solidFill>
              </a:rPr>
              <a:t>dolorLorem</a:t>
            </a:r>
            <a:r>
              <a:rPr lang="en-US" sz="900" b="1" dirty="0">
                <a:solidFill>
                  <a:srgbClr val="FFFFFF"/>
                </a:solidFill>
              </a:rPr>
              <a:t> ipsum dolor</a:t>
            </a:r>
          </a:p>
        </p:txBody>
      </p:sp>
      <p:sp>
        <p:nvSpPr>
          <p:cNvPr id="58" name="Rectangle 57">
            <a:extLst>
              <a:ext uri="{FF2B5EF4-FFF2-40B4-BE49-F238E27FC236}">
                <a16:creationId xmlns:a16="http://schemas.microsoft.com/office/drawing/2014/main" id="{37D56F28-A7C3-0445-B135-57D976A20562}"/>
              </a:ext>
            </a:extLst>
          </p:cNvPr>
          <p:cNvSpPr/>
          <p:nvPr/>
        </p:nvSpPr>
        <p:spPr>
          <a:xfrm>
            <a:off x="6589217" y="1822540"/>
            <a:ext cx="1192737" cy="593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rPr>
              <a:t>Lorem ipsum </a:t>
            </a:r>
            <a:r>
              <a:rPr lang="en-US" sz="900" b="1" dirty="0" err="1">
                <a:solidFill>
                  <a:srgbClr val="FFFFFF"/>
                </a:solidFill>
              </a:rPr>
              <a:t>dolorLorem</a:t>
            </a:r>
            <a:r>
              <a:rPr lang="en-US" sz="900" b="1" dirty="0">
                <a:solidFill>
                  <a:srgbClr val="FFFFFF"/>
                </a:solidFill>
              </a:rPr>
              <a:t> ipsum dolor</a:t>
            </a:r>
          </a:p>
        </p:txBody>
      </p:sp>
      <p:sp>
        <p:nvSpPr>
          <p:cNvPr id="60" name="Rectangle 59">
            <a:extLst>
              <a:ext uri="{FF2B5EF4-FFF2-40B4-BE49-F238E27FC236}">
                <a16:creationId xmlns:a16="http://schemas.microsoft.com/office/drawing/2014/main" id="{3311ABBA-FD54-B04D-9323-73753EF3B1DA}"/>
              </a:ext>
            </a:extLst>
          </p:cNvPr>
          <p:cNvSpPr/>
          <p:nvPr/>
        </p:nvSpPr>
        <p:spPr>
          <a:xfrm>
            <a:off x="8717500" y="1822540"/>
            <a:ext cx="1272101" cy="593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rPr>
              <a:t>Lorem ipsum </a:t>
            </a:r>
            <a:r>
              <a:rPr lang="en-US" sz="900" b="1" dirty="0" err="1">
                <a:solidFill>
                  <a:srgbClr val="FFFFFF"/>
                </a:solidFill>
              </a:rPr>
              <a:t>dolorLorem</a:t>
            </a:r>
            <a:r>
              <a:rPr lang="en-US" sz="900" b="1" dirty="0">
                <a:solidFill>
                  <a:srgbClr val="FFFFFF"/>
                </a:solidFill>
              </a:rPr>
              <a:t> ipsum dolor</a:t>
            </a:r>
          </a:p>
        </p:txBody>
      </p:sp>
      <p:sp>
        <p:nvSpPr>
          <p:cNvPr id="61" name="Right Triangle 46">
            <a:extLst>
              <a:ext uri="{FF2B5EF4-FFF2-40B4-BE49-F238E27FC236}">
                <a16:creationId xmlns:a16="http://schemas.microsoft.com/office/drawing/2014/main" id="{0A1A4371-8978-674E-868D-053482F2576C}"/>
              </a:ext>
            </a:extLst>
          </p:cNvPr>
          <p:cNvSpPr/>
          <p:nvPr/>
        </p:nvSpPr>
        <p:spPr bwMode="gray">
          <a:xfrm rot="5400000">
            <a:off x="6046901" y="3205509"/>
            <a:ext cx="794886" cy="707572"/>
          </a:xfrm>
          <a:custGeom>
            <a:avLst/>
            <a:gdLst>
              <a:gd name="connsiteX0" fmla="*/ 0 w 987275"/>
              <a:gd name="connsiteY0" fmla="*/ 1161143 h 1161143"/>
              <a:gd name="connsiteX1" fmla="*/ 0 w 987275"/>
              <a:gd name="connsiteY1" fmla="*/ 0 h 1161143"/>
              <a:gd name="connsiteX2" fmla="*/ 987275 w 987275"/>
              <a:gd name="connsiteY2" fmla="*/ 1161143 h 1161143"/>
              <a:gd name="connsiteX3" fmla="*/ 0 w 987275"/>
              <a:gd name="connsiteY3" fmla="*/ 1161143 h 1161143"/>
              <a:gd name="connsiteX0" fmla="*/ 0 w 1204989"/>
              <a:gd name="connsiteY0" fmla="*/ 1161143 h 1175657"/>
              <a:gd name="connsiteX1" fmla="*/ 0 w 1204989"/>
              <a:gd name="connsiteY1" fmla="*/ 0 h 1175657"/>
              <a:gd name="connsiteX2" fmla="*/ 1204989 w 1204989"/>
              <a:gd name="connsiteY2" fmla="*/ 1175657 h 1175657"/>
              <a:gd name="connsiteX3" fmla="*/ 0 w 1204989"/>
              <a:gd name="connsiteY3" fmla="*/ 1161143 h 1175657"/>
              <a:gd name="connsiteX0" fmla="*/ 0 w 1277560"/>
              <a:gd name="connsiteY0" fmla="*/ 1161143 h 1161143"/>
              <a:gd name="connsiteX1" fmla="*/ 0 w 1277560"/>
              <a:gd name="connsiteY1" fmla="*/ 0 h 1161143"/>
              <a:gd name="connsiteX2" fmla="*/ 1277560 w 1277560"/>
              <a:gd name="connsiteY2" fmla="*/ 1161143 h 1161143"/>
              <a:gd name="connsiteX3" fmla="*/ 0 w 1277560"/>
              <a:gd name="connsiteY3" fmla="*/ 1161143 h 1161143"/>
              <a:gd name="connsiteX0" fmla="*/ 0 w 1059848"/>
              <a:gd name="connsiteY0" fmla="*/ 1161143 h 1161143"/>
              <a:gd name="connsiteX1" fmla="*/ 0 w 1059848"/>
              <a:gd name="connsiteY1" fmla="*/ 0 h 1161143"/>
              <a:gd name="connsiteX2" fmla="*/ 1059848 w 1059848"/>
              <a:gd name="connsiteY2" fmla="*/ 1161143 h 1161143"/>
              <a:gd name="connsiteX3" fmla="*/ 0 w 1059848"/>
              <a:gd name="connsiteY3" fmla="*/ 1161143 h 1161143"/>
              <a:gd name="connsiteX0" fmla="*/ 0 w 1059848"/>
              <a:gd name="connsiteY0" fmla="*/ 943429 h 943429"/>
              <a:gd name="connsiteX1" fmla="*/ 3 w 1059848"/>
              <a:gd name="connsiteY1" fmla="*/ 0 h 943429"/>
              <a:gd name="connsiteX2" fmla="*/ 1059848 w 1059848"/>
              <a:gd name="connsiteY2" fmla="*/ 943429 h 943429"/>
              <a:gd name="connsiteX3" fmla="*/ 0 w 1059848"/>
              <a:gd name="connsiteY3" fmla="*/ 943429 h 943429"/>
            </a:gdLst>
            <a:ahLst/>
            <a:cxnLst>
              <a:cxn ang="0">
                <a:pos x="connsiteX0" y="connsiteY0"/>
              </a:cxn>
              <a:cxn ang="0">
                <a:pos x="connsiteX1" y="connsiteY1"/>
              </a:cxn>
              <a:cxn ang="0">
                <a:pos x="connsiteX2" y="connsiteY2"/>
              </a:cxn>
              <a:cxn ang="0">
                <a:pos x="connsiteX3" y="connsiteY3"/>
              </a:cxn>
            </a:cxnLst>
            <a:rect l="l" t="t" r="r" b="b"/>
            <a:pathLst>
              <a:path w="1059848" h="943429">
                <a:moveTo>
                  <a:pt x="0" y="943429"/>
                </a:moveTo>
                <a:cubicBezTo>
                  <a:pt x="1" y="628953"/>
                  <a:pt x="2" y="314476"/>
                  <a:pt x="3" y="0"/>
                </a:cubicBezTo>
                <a:lnTo>
                  <a:pt x="1059848" y="943429"/>
                </a:lnTo>
                <a:lnTo>
                  <a:pt x="0" y="943429"/>
                </a:lnTo>
                <a:close/>
              </a:path>
            </a:pathLst>
          </a:custGeom>
          <a:solidFill>
            <a:schemeClr val="tx1">
              <a:lumMod val="50000"/>
              <a:lumOff val="50000"/>
            </a:schemeClr>
          </a:solidFill>
          <a:ln w="3175" algn="ctr">
            <a:solidFill>
              <a:schemeClr val="accent3">
                <a:lumMod val="20000"/>
                <a:lumOff val="80000"/>
              </a:schemeClr>
            </a:solid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62" name="Right Triangle 46">
            <a:extLst>
              <a:ext uri="{FF2B5EF4-FFF2-40B4-BE49-F238E27FC236}">
                <a16:creationId xmlns:a16="http://schemas.microsoft.com/office/drawing/2014/main" id="{339E92C3-C1B5-BF4D-9B09-93E8D375907C}"/>
              </a:ext>
            </a:extLst>
          </p:cNvPr>
          <p:cNvSpPr/>
          <p:nvPr/>
        </p:nvSpPr>
        <p:spPr bwMode="gray">
          <a:xfrm rot="16200000" flipH="1">
            <a:off x="5340009" y="3204235"/>
            <a:ext cx="794886" cy="707572"/>
          </a:xfrm>
          <a:custGeom>
            <a:avLst/>
            <a:gdLst>
              <a:gd name="connsiteX0" fmla="*/ 0 w 987275"/>
              <a:gd name="connsiteY0" fmla="*/ 1161143 h 1161143"/>
              <a:gd name="connsiteX1" fmla="*/ 0 w 987275"/>
              <a:gd name="connsiteY1" fmla="*/ 0 h 1161143"/>
              <a:gd name="connsiteX2" fmla="*/ 987275 w 987275"/>
              <a:gd name="connsiteY2" fmla="*/ 1161143 h 1161143"/>
              <a:gd name="connsiteX3" fmla="*/ 0 w 987275"/>
              <a:gd name="connsiteY3" fmla="*/ 1161143 h 1161143"/>
              <a:gd name="connsiteX0" fmla="*/ 0 w 1204989"/>
              <a:gd name="connsiteY0" fmla="*/ 1161143 h 1175657"/>
              <a:gd name="connsiteX1" fmla="*/ 0 w 1204989"/>
              <a:gd name="connsiteY1" fmla="*/ 0 h 1175657"/>
              <a:gd name="connsiteX2" fmla="*/ 1204989 w 1204989"/>
              <a:gd name="connsiteY2" fmla="*/ 1175657 h 1175657"/>
              <a:gd name="connsiteX3" fmla="*/ 0 w 1204989"/>
              <a:gd name="connsiteY3" fmla="*/ 1161143 h 1175657"/>
              <a:gd name="connsiteX0" fmla="*/ 0 w 1277560"/>
              <a:gd name="connsiteY0" fmla="*/ 1161143 h 1161143"/>
              <a:gd name="connsiteX1" fmla="*/ 0 w 1277560"/>
              <a:gd name="connsiteY1" fmla="*/ 0 h 1161143"/>
              <a:gd name="connsiteX2" fmla="*/ 1277560 w 1277560"/>
              <a:gd name="connsiteY2" fmla="*/ 1161143 h 1161143"/>
              <a:gd name="connsiteX3" fmla="*/ 0 w 1277560"/>
              <a:gd name="connsiteY3" fmla="*/ 1161143 h 1161143"/>
              <a:gd name="connsiteX0" fmla="*/ 0 w 1059848"/>
              <a:gd name="connsiteY0" fmla="*/ 1161143 h 1161143"/>
              <a:gd name="connsiteX1" fmla="*/ 0 w 1059848"/>
              <a:gd name="connsiteY1" fmla="*/ 0 h 1161143"/>
              <a:gd name="connsiteX2" fmla="*/ 1059848 w 1059848"/>
              <a:gd name="connsiteY2" fmla="*/ 1161143 h 1161143"/>
              <a:gd name="connsiteX3" fmla="*/ 0 w 1059848"/>
              <a:gd name="connsiteY3" fmla="*/ 1161143 h 1161143"/>
              <a:gd name="connsiteX0" fmla="*/ 0 w 1059848"/>
              <a:gd name="connsiteY0" fmla="*/ 943429 h 943429"/>
              <a:gd name="connsiteX1" fmla="*/ 3 w 1059848"/>
              <a:gd name="connsiteY1" fmla="*/ 0 h 943429"/>
              <a:gd name="connsiteX2" fmla="*/ 1059848 w 1059848"/>
              <a:gd name="connsiteY2" fmla="*/ 943429 h 943429"/>
              <a:gd name="connsiteX3" fmla="*/ 0 w 1059848"/>
              <a:gd name="connsiteY3" fmla="*/ 943429 h 943429"/>
            </a:gdLst>
            <a:ahLst/>
            <a:cxnLst>
              <a:cxn ang="0">
                <a:pos x="connsiteX0" y="connsiteY0"/>
              </a:cxn>
              <a:cxn ang="0">
                <a:pos x="connsiteX1" y="connsiteY1"/>
              </a:cxn>
              <a:cxn ang="0">
                <a:pos x="connsiteX2" y="connsiteY2"/>
              </a:cxn>
              <a:cxn ang="0">
                <a:pos x="connsiteX3" y="connsiteY3"/>
              </a:cxn>
            </a:cxnLst>
            <a:rect l="l" t="t" r="r" b="b"/>
            <a:pathLst>
              <a:path w="1059848" h="943429">
                <a:moveTo>
                  <a:pt x="0" y="943429"/>
                </a:moveTo>
                <a:cubicBezTo>
                  <a:pt x="1" y="628953"/>
                  <a:pt x="2" y="314476"/>
                  <a:pt x="3" y="0"/>
                </a:cubicBezTo>
                <a:lnTo>
                  <a:pt x="1059848" y="943429"/>
                </a:lnTo>
                <a:lnTo>
                  <a:pt x="0" y="943429"/>
                </a:lnTo>
                <a:close/>
              </a:path>
            </a:pathLst>
          </a:custGeom>
          <a:solidFill>
            <a:schemeClr val="tx1">
              <a:lumMod val="50000"/>
              <a:lumOff val="50000"/>
            </a:schemeClr>
          </a:solidFill>
          <a:ln w="3175" algn="ctr">
            <a:solidFill>
              <a:schemeClr val="accent3">
                <a:lumMod val="20000"/>
                <a:lumOff val="80000"/>
              </a:schemeClr>
            </a:solid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63" name="Rounded Rectangle 62">
            <a:extLst>
              <a:ext uri="{FF2B5EF4-FFF2-40B4-BE49-F238E27FC236}">
                <a16:creationId xmlns:a16="http://schemas.microsoft.com/office/drawing/2014/main" id="{9B527DFC-2069-4C49-869B-F14C7A965F3B}"/>
              </a:ext>
            </a:extLst>
          </p:cNvPr>
          <p:cNvSpPr/>
          <p:nvPr/>
        </p:nvSpPr>
        <p:spPr>
          <a:xfrm>
            <a:off x="5508903" y="3213211"/>
            <a:ext cx="1162527" cy="4585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rgbClr val="FFFFFF"/>
                </a:solidFill>
              </a:rPr>
              <a:t>Lorem ipsum dolor</a:t>
            </a:r>
          </a:p>
        </p:txBody>
      </p:sp>
      <p:grpSp>
        <p:nvGrpSpPr>
          <p:cNvPr id="67" name="Group 66">
            <a:extLst>
              <a:ext uri="{FF2B5EF4-FFF2-40B4-BE49-F238E27FC236}">
                <a16:creationId xmlns:a16="http://schemas.microsoft.com/office/drawing/2014/main" id="{D9547818-2FD4-1946-ADAF-3EE5EF0FACD5}"/>
              </a:ext>
            </a:extLst>
          </p:cNvPr>
          <p:cNvGrpSpPr/>
          <p:nvPr/>
        </p:nvGrpSpPr>
        <p:grpSpPr>
          <a:xfrm>
            <a:off x="6956578" y="3734328"/>
            <a:ext cx="3425673" cy="1166975"/>
            <a:chOff x="7243436" y="4297226"/>
            <a:chExt cx="4187824" cy="1555966"/>
          </a:xfrm>
        </p:grpSpPr>
        <p:sp>
          <p:nvSpPr>
            <p:cNvPr id="77" name="Freeform 76">
              <a:extLst>
                <a:ext uri="{FF2B5EF4-FFF2-40B4-BE49-F238E27FC236}">
                  <a16:creationId xmlns:a16="http://schemas.microsoft.com/office/drawing/2014/main" id="{2F2B83BC-B067-8D43-BFA3-94B7FEA28054}"/>
                </a:ext>
              </a:extLst>
            </p:cNvPr>
            <p:cNvSpPr>
              <a:spLocks/>
            </p:cNvSpPr>
            <p:nvPr/>
          </p:nvSpPr>
          <p:spPr bwMode="auto">
            <a:xfrm>
              <a:off x="7243436" y="4604688"/>
              <a:ext cx="1876451" cy="1248504"/>
            </a:xfrm>
            <a:custGeom>
              <a:avLst/>
              <a:gdLst>
                <a:gd name="T0" fmla="*/ 579 w 2316"/>
                <a:gd name="T1" fmla="*/ 789 h 1775"/>
                <a:gd name="T2" fmla="*/ 579 w 2316"/>
                <a:gd name="T3" fmla="*/ 789 h 1775"/>
                <a:gd name="T4" fmla="*/ 0 w 2316"/>
                <a:gd name="T5" fmla="*/ 974 h 1775"/>
                <a:gd name="T6" fmla="*/ 831 w 2316"/>
                <a:gd name="T7" fmla="*/ 1775 h 1775"/>
                <a:gd name="T8" fmla="*/ 2316 w 2316"/>
                <a:gd name="T9" fmla="*/ 1775 h 1775"/>
                <a:gd name="T10" fmla="*/ 770 w 2316"/>
                <a:gd name="T11" fmla="*/ 0 h 1775"/>
                <a:gd name="T12" fmla="*/ 579 w 2316"/>
                <a:gd name="T13" fmla="*/ 789 h 1775"/>
                <a:gd name="connsiteX0" fmla="*/ 2500 w 11016"/>
                <a:gd name="connsiteY0" fmla="*/ 4445 h 10111"/>
                <a:gd name="connsiteX1" fmla="*/ 2500 w 11016"/>
                <a:gd name="connsiteY1" fmla="*/ 4445 h 10111"/>
                <a:gd name="connsiteX2" fmla="*/ 0 w 11016"/>
                <a:gd name="connsiteY2" fmla="*/ 5487 h 10111"/>
                <a:gd name="connsiteX3" fmla="*/ 3588 w 11016"/>
                <a:gd name="connsiteY3" fmla="*/ 10000 h 10111"/>
                <a:gd name="connsiteX4" fmla="*/ 11016 w 11016"/>
                <a:gd name="connsiteY4" fmla="*/ 10111 h 10111"/>
                <a:gd name="connsiteX5" fmla="*/ 3325 w 11016"/>
                <a:gd name="connsiteY5" fmla="*/ 0 h 10111"/>
                <a:gd name="connsiteX6" fmla="*/ 2500 w 11016"/>
                <a:gd name="connsiteY6" fmla="*/ 4445 h 10111"/>
                <a:gd name="connsiteX0" fmla="*/ 2500 w 11016"/>
                <a:gd name="connsiteY0" fmla="*/ 3890 h 9556"/>
                <a:gd name="connsiteX1" fmla="*/ 2500 w 11016"/>
                <a:gd name="connsiteY1" fmla="*/ 3890 h 9556"/>
                <a:gd name="connsiteX2" fmla="*/ 0 w 11016"/>
                <a:gd name="connsiteY2" fmla="*/ 4932 h 9556"/>
                <a:gd name="connsiteX3" fmla="*/ 3588 w 11016"/>
                <a:gd name="connsiteY3" fmla="*/ 9445 h 9556"/>
                <a:gd name="connsiteX4" fmla="*/ 11016 w 11016"/>
                <a:gd name="connsiteY4" fmla="*/ 9556 h 9556"/>
                <a:gd name="connsiteX5" fmla="*/ 3247 w 11016"/>
                <a:gd name="connsiteY5" fmla="*/ 0 h 9556"/>
                <a:gd name="connsiteX6" fmla="*/ 2500 w 11016"/>
                <a:gd name="connsiteY6" fmla="*/ 3890 h 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16" h="9556">
                  <a:moveTo>
                    <a:pt x="2500" y="3890"/>
                  </a:moveTo>
                  <a:lnTo>
                    <a:pt x="2500" y="3890"/>
                  </a:lnTo>
                  <a:lnTo>
                    <a:pt x="0" y="4932"/>
                  </a:lnTo>
                  <a:lnTo>
                    <a:pt x="3588" y="9445"/>
                  </a:lnTo>
                  <a:lnTo>
                    <a:pt x="11016" y="9556"/>
                  </a:lnTo>
                  <a:lnTo>
                    <a:pt x="3247" y="0"/>
                  </a:lnTo>
                  <a:lnTo>
                    <a:pt x="2500" y="389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78" name="Freeform 77">
              <a:extLst>
                <a:ext uri="{FF2B5EF4-FFF2-40B4-BE49-F238E27FC236}">
                  <a16:creationId xmlns:a16="http://schemas.microsoft.com/office/drawing/2014/main" id="{D1BE7ECE-05AC-314A-8916-C3214CFBE37F}"/>
                </a:ext>
              </a:extLst>
            </p:cNvPr>
            <p:cNvSpPr>
              <a:spLocks/>
            </p:cNvSpPr>
            <p:nvPr/>
          </p:nvSpPr>
          <p:spPr bwMode="auto">
            <a:xfrm>
              <a:off x="8221335" y="4297226"/>
              <a:ext cx="1609687" cy="1541463"/>
            </a:xfrm>
            <a:custGeom>
              <a:avLst/>
              <a:gdLst>
                <a:gd name="T0" fmla="*/ 365 w 1801"/>
                <a:gd name="T1" fmla="*/ 0 h 2094"/>
                <a:gd name="T2" fmla="*/ 365 w 1801"/>
                <a:gd name="T3" fmla="*/ 0 h 2094"/>
                <a:gd name="T4" fmla="*/ 0 w 1801"/>
                <a:gd name="T5" fmla="*/ 961 h 2094"/>
                <a:gd name="T6" fmla="*/ 987 w 1801"/>
                <a:gd name="T7" fmla="*/ 2094 h 2094"/>
                <a:gd name="T8" fmla="*/ 1801 w 1801"/>
                <a:gd name="T9" fmla="*/ 0 h 2094"/>
                <a:gd name="T10" fmla="*/ 365 w 1801"/>
                <a:gd name="T11" fmla="*/ 0 h 2094"/>
              </a:gdLst>
              <a:ahLst/>
              <a:cxnLst>
                <a:cxn ang="0">
                  <a:pos x="T0" y="T1"/>
                </a:cxn>
                <a:cxn ang="0">
                  <a:pos x="T2" y="T3"/>
                </a:cxn>
                <a:cxn ang="0">
                  <a:pos x="T4" y="T5"/>
                </a:cxn>
                <a:cxn ang="0">
                  <a:pos x="T6" y="T7"/>
                </a:cxn>
                <a:cxn ang="0">
                  <a:pos x="T8" y="T9"/>
                </a:cxn>
                <a:cxn ang="0">
                  <a:pos x="T10" y="T11"/>
                </a:cxn>
              </a:cxnLst>
              <a:rect l="0" t="0" r="r" b="b"/>
              <a:pathLst>
                <a:path w="1801" h="2094">
                  <a:moveTo>
                    <a:pt x="365" y="0"/>
                  </a:moveTo>
                  <a:lnTo>
                    <a:pt x="365" y="0"/>
                  </a:lnTo>
                  <a:lnTo>
                    <a:pt x="0" y="961"/>
                  </a:lnTo>
                  <a:lnTo>
                    <a:pt x="987" y="2094"/>
                  </a:lnTo>
                  <a:lnTo>
                    <a:pt x="1801" y="0"/>
                  </a:lnTo>
                  <a:lnTo>
                    <a:pt x="365" y="0"/>
                  </a:lnTo>
                  <a:close/>
                </a:path>
              </a:pathLst>
            </a:custGeom>
            <a:solidFill>
              <a:schemeClr val="accent6">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79" name="Freeform 78">
              <a:extLst>
                <a:ext uri="{FF2B5EF4-FFF2-40B4-BE49-F238E27FC236}">
                  <a16:creationId xmlns:a16="http://schemas.microsoft.com/office/drawing/2014/main" id="{CE87442A-6607-E04C-AFD1-3E0CB749A929}"/>
                </a:ext>
              </a:extLst>
            </p:cNvPr>
            <p:cNvSpPr>
              <a:spLocks/>
            </p:cNvSpPr>
            <p:nvPr/>
          </p:nvSpPr>
          <p:spPr bwMode="auto">
            <a:xfrm>
              <a:off x="9347217" y="4297226"/>
              <a:ext cx="796579" cy="1541463"/>
            </a:xfrm>
            <a:custGeom>
              <a:avLst/>
              <a:gdLst>
                <a:gd name="T0" fmla="*/ 469 w 1282"/>
                <a:gd name="T1" fmla="*/ 0 h 2094"/>
                <a:gd name="T2" fmla="*/ 469 w 1282"/>
                <a:gd name="T3" fmla="*/ 0 h 2094"/>
                <a:gd name="T4" fmla="*/ 0 w 1282"/>
                <a:gd name="T5" fmla="*/ 1207 h 2094"/>
                <a:gd name="T6" fmla="*/ 814 w 1282"/>
                <a:gd name="T7" fmla="*/ 2094 h 2094"/>
                <a:gd name="T8" fmla="*/ 1282 w 1282"/>
                <a:gd name="T9" fmla="*/ 862 h 2094"/>
                <a:gd name="T10" fmla="*/ 469 w 1282"/>
                <a:gd name="T11" fmla="*/ 0 h 2094"/>
                <a:gd name="connsiteX0" fmla="*/ 6480 w 10000"/>
                <a:gd name="connsiteY0" fmla="*/ 0 h 10000"/>
                <a:gd name="connsiteX1" fmla="*/ 3658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5" fmla="*/ 6480 w 10000"/>
                <a:gd name="connsiteY5" fmla="*/ 0 h 10000"/>
                <a:gd name="connsiteX0" fmla="*/ 10000 w 10000"/>
                <a:gd name="connsiteY0" fmla="*/ 4117 h 10000"/>
                <a:gd name="connsiteX1" fmla="*/ 3658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0" fmla="*/ 10000 w 10000"/>
                <a:gd name="connsiteY0" fmla="*/ 4117 h 10000"/>
                <a:gd name="connsiteX1" fmla="*/ 6480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0" fmla="*/ 8165 w 8165"/>
                <a:gd name="connsiteY0" fmla="*/ 4117 h 10000"/>
                <a:gd name="connsiteX1" fmla="*/ 4645 w 8165"/>
                <a:gd name="connsiteY1" fmla="*/ 0 h 10000"/>
                <a:gd name="connsiteX2" fmla="*/ 0 w 8165"/>
                <a:gd name="connsiteY2" fmla="*/ 6517 h 10000"/>
                <a:gd name="connsiteX3" fmla="*/ 4514 w 8165"/>
                <a:gd name="connsiteY3" fmla="*/ 10000 h 10000"/>
                <a:gd name="connsiteX4" fmla="*/ 8165 w 8165"/>
                <a:gd name="connsiteY4" fmla="*/ 4117 h 10000"/>
                <a:gd name="connsiteX0" fmla="*/ 10000 w 10000"/>
                <a:gd name="connsiteY0" fmla="*/ 4117 h 10188"/>
                <a:gd name="connsiteX1" fmla="*/ 5689 w 10000"/>
                <a:gd name="connsiteY1" fmla="*/ 0 h 10188"/>
                <a:gd name="connsiteX2" fmla="*/ 0 w 10000"/>
                <a:gd name="connsiteY2" fmla="*/ 6517 h 10188"/>
                <a:gd name="connsiteX3" fmla="*/ 2935 w 10000"/>
                <a:gd name="connsiteY3" fmla="*/ 10188 h 10188"/>
                <a:gd name="connsiteX4" fmla="*/ 10000 w 10000"/>
                <a:gd name="connsiteY4" fmla="*/ 4117 h 10188"/>
                <a:gd name="connsiteX0" fmla="*/ 10346 w 10346"/>
                <a:gd name="connsiteY0" fmla="*/ 4117 h 10188"/>
                <a:gd name="connsiteX1" fmla="*/ 6035 w 10346"/>
                <a:gd name="connsiteY1" fmla="*/ 0 h 10188"/>
                <a:gd name="connsiteX2" fmla="*/ 0 w 10346"/>
                <a:gd name="connsiteY2" fmla="*/ 6517 h 10188"/>
                <a:gd name="connsiteX3" fmla="*/ 3281 w 10346"/>
                <a:gd name="connsiteY3" fmla="*/ 10188 h 10188"/>
                <a:gd name="connsiteX4" fmla="*/ 10346 w 10346"/>
                <a:gd name="connsiteY4" fmla="*/ 4117 h 10188"/>
                <a:gd name="connsiteX0" fmla="*/ 10346 w 10346"/>
                <a:gd name="connsiteY0" fmla="*/ 4117 h 10000"/>
                <a:gd name="connsiteX1" fmla="*/ 6035 w 10346"/>
                <a:gd name="connsiteY1" fmla="*/ 0 h 10000"/>
                <a:gd name="connsiteX2" fmla="*/ 0 w 10346"/>
                <a:gd name="connsiteY2" fmla="*/ 6517 h 10000"/>
                <a:gd name="connsiteX3" fmla="*/ 3108 w 10346"/>
                <a:gd name="connsiteY3" fmla="*/ 10000 h 10000"/>
                <a:gd name="connsiteX4" fmla="*/ 10346 w 10346"/>
                <a:gd name="connsiteY4" fmla="*/ 411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46" h="10000">
                  <a:moveTo>
                    <a:pt x="10346" y="4117"/>
                  </a:moveTo>
                  <a:lnTo>
                    <a:pt x="6035" y="0"/>
                  </a:lnTo>
                  <a:lnTo>
                    <a:pt x="0" y="6517"/>
                  </a:lnTo>
                  <a:lnTo>
                    <a:pt x="3108" y="10000"/>
                  </a:lnTo>
                  <a:lnTo>
                    <a:pt x="10346" y="4117"/>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80" name="Freeform 79">
              <a:extLst>
                <a:ext uri="{FF2B5EF4-FFF2-40B4-BE49-F238E27FC236}">
                  <a16:creationId xmlns:a16="http://schemas.microsoft.com/office/drawing/2014/main" id="{342AE323-C1CE-9540-BEEE-03347DFF3BA8}"/>
                </a:ext>
              </a:extLst>
            </p:cNvPr>
            <p:cNvSpPr>
              <a:spLocks/>
            </p:cNvSpPr>
            <p:nvPr/>
          </p:nvSpPr>
          <p:spPr bwMode="auto">
            <a:xfrm>
              <a:off x="9595620" y="4297226"/>
              <a:ext cx="1835640" cy="1541463"/>
            </a:xfrm>
            <a:custGeom>
              <a:avLst/>
              <a:gdLst>
                <a:gd name="T0" fmla="*/ 788 w 2218"/>
                <a:gd name="T1" fmla="*/ 0 h 2094"/>
                <a:gd name="T2" fmla="*/ 788 w 2218"/>
                <a:gd name="T3" fmla="*/ 0 h 2094"/>
                <a:gd name="T4" fmla="*/ 0 w 2218"/>
                <a:gd name="T5" fmla="*/ 2094 h 2094"/>
                <a:gd name="T6" fmla="*/ 1429 w 2218"/>
                <a:gd name="T7" fmla="*/ 2094 h 2094"/>
                <a:gd name="T8" fmla="*/ 2218 w 2218"/>
                <a:gd name="T9" fmla="*/ 0 h 2094"/>
                <a:gd name="T10" fmla="*/ 788 w 2218"/>
                <a:gd name="T11" fmla="*/ 0 h 2094"/>
              </a:gdLst>
              <a:ahLst/>
              <a:cxnLst>
                <a:cxn ang="0">
                  <a:pos x="T0" y="T1"/>
                </a:cxn>
                <a:cxn ang="0">
                  <a:pos x="T2" y="T3"/>
                </a:cxn>
                <a:cxn ang="0">
                  <a:pos x="T4" y="T5"/>
                </a:cxn>
                <a:cxn ang="0">
                  <a:pos x="T6" y="T7"/>
                </a:cxn>
                <a:cxn ang="0">
                  <a:pos x="T8" y="T9"/>
                </a:cxn>
                <a:cxn ang="0">
                  <a:pos x="T10" y="T11"/>
                </a:cxn>
              </a:cxnLst>
              <a:rect l="0" t="0" r="r" b="b"/>
              <a:pathLst>
                <a:path w="2218" h="2094">
                  <a:moveTo>
                    <a:pt x="788" y="0"/>
                  </a:moveTo>
                  <a:lnTo>
                    <a:pt x="788" y="0"/>
                  </a:lnTo>
                  <a:lnTo>
                    <a:pt x="0" y="2094"/>
                  </a:lnTo>
                  <a:lnTo>
                    <a:pt x="1429" y="2094"/>
                  </a:lnTo>
                  <a:lnTo>
                    <a:pt x="2218" y="0"/>
                  </a:lnTo>
                  <a:lnTo>
                    <a:pt x="788" y="0"/>
                  </a:lnTo>
                  <a:close/>
                </a:path>
              </a:pathLst>
            </a:custGeom>
            <a:solidFill>
              <a:schemeClr val="accent6">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grpSp>
      <p:sp>
        <p:nvSpPr>
          <p:cNvPr id="68" name="Rectangle 67">
            <a:extLst>
              <a:ext uri="{FF2B5EF4-FFF2-40B4-BE49-F238E27FC236}">
                <a16:creationId xmlns:a16="http://schemas.microsoft.com/office/drawing/2014/main" id="{96C577FD-F3C0-0848-BAFE-D2F33707909C}"/>
              </a:ext>
            </a:extLst>
          </p:cNvPr>
          <p:cNvSpPr/>
          <p:nvPr/>
        </p:nvSpPr>
        <p:spPr>
          <a:xfrm>
            <a:off x="9159674" y="4005194"/>
            <a:ext cx="1080005" cy="622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rgbClr val="FFFFFF"/>
                </a:solidFill>
              </a:rPr>
              <a:t>Lorem ipsum dolor</a:t>
            </a:r>
          </a:p>
        </p:txBody>
      </p:sp>
      <p:sp>
        <p:nvSpPr>
          <p:cNvPr id="69" name="Rectangle 68">
            <a:extLst>
              <a:ext uri="{FF2B5EF4-FFF2-40B4-BE49-F238E27FC236}">
                <a16:creationId xmlns:a16="http://schemas.microsoft.com/office/drawing/2014/main" id="{BD9925A1-35BE-D643-9B51-F64CBB9CA59F}"/>
              </a:ext>
            </a:extLst>
          </p:cNvPr>
          <p:cNvSpPr/>
          <p:nvPr/>
        </p:nvSpPr>
        <p:spPr>
          <a:xfrm>
            <a:off x="7781526" y="3749367"/>
            <a:ext cx="1073636" cy="622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rgbClr val="FFFFFF"/>
                </a:solidFill>
              </a:rPr>
              <a:t>Lorem ipsum dolor</a:t>
            </a:r>
          </a:p>
        </p:txBody>
      </p:sp>
      <p:grpSp>
        <p:nvGrpSpPr>
          <p:cNvPr id="70" name="Group 69">
            <a:extLst>
              <a:ext uri="{FF2B5EF4-FFF2-40B4-BE49-F238E27FC236}">
                <a16:creationId xmlns:a16="http://schemas.microsoft.com/office/drawing/2014/main" id="{A20ACD07-2BD3-6A49-8460-9DC715ACAB8A}"/>
              </a:ext>
            </a:extLst>
          </p:cNvPr>
          <p:cNvGrpSpPr/>
          <p:nvPr/>
        </p:nvGrpSpPr>
        <p:grpSpPr>
          <a:xfrm flipH="1">
            <a:off x="1837346" y="3774785"/>
            <a:ext cx="3425673" cy="1166975"/>
            <a:chOff x="7243436" y="4297226"/>
            <a:chExt cx="4187824" cy="1555966"/>
          </a:xfrm>
        </p:grpSpPr>
        <p:sp>
          <p:nvSpPr>
            <p:cNvPr id="73" name="Freeform 72">
              <a:extLst>
                <a:ext uri="{FF2B5EF4-FFF2-40B4-BE49-F238E27FC236}">
                  <a16:creationId xmlns:a16="http://schemas.microsoft.com/office/drawing/2014/main" id="{F426C9E1-B524-5D40-8282-23765BEEBB7F}"/>
                </a:ext>
              </a:extLst>
            </p:cNvPr>
            <p:cNvSpPr>
              <a:spLocks/>
            </p:cNvSpPr>
            <p:nvPr/>
          </p:nvSpPr>
          <p:spPr bwMode="auto">
            <a:xfrm>
              <a:off x="7243436" y="4604688"/>
              <a:ext cx="1876451" cy="1248504"/>
            </a:xfrm>
            <a:custGeom>
              <a:avLst/>
              <a:gdLst>
                <a:gd name="T0" fmla="*/ 579 w 2316"/>
                <a:gd name="T1" fmla="*/ 789 h 1775"/>
                <a:gd name="T2" fmla="*/ 579 w 2316"/>
                <a:gd name="T3" fmla="*/ 789 h 1775"/>
                <a:gd name="T4" fmla="*/ 0 w 2316"/>
                <a:gd name="T5" fmla="*/ 974 h 1775"/>
                <a:gd name="T6" fmla="*/ 831 w 2316"/>
                <a:gd name="T7" fmla="*/ 1775 h 1775"/>
                <a:gd name="T8" fmla="*/ 2316 w 2316"/>
                <a:gd name="T9" fmla="*/ 1775 h 1775"/>
                <a:gd name="T10" fmla="*/ 770 w 2316"/>
                <a:gd name="T11" fmla="*/ 0 h 1775"/>
                <a:gd name="T12" fmla="*/ 579 w 2316"/>
                <a:gd name="T13" fmla="*/ 789 h 1775"/>
                <a:gd name="connsiteX0" fmla="*/ 2500 w 11016"/>
                <a:gd name="connsiteY0" fmla="*/ 4445 h 10111"/>
                <a:gd name="connsiteX1" fmla="*/ 2500 w 11016"/>
                <a:gd name="connsiteY1" fmla="*/ 4445 h 10111"/>
                <a:gd name="connsiteX2" fmla="*/ 0 w 11016"/>
                <a:gd name="connsiteY2" fmla="*/ 5487 h 10111"/>
                <a:gd name="connsiteX3" fmla="*/ 3588 w 11016"/>
                <a:gd name="connsiteY3" fmla="*/ 10000 h 10111"/>
                <a:gd name="connsiteX4" fmla="*/ 11016 w 11016"/>
                <a:gd name="connsiteY4" fmla="*/ 10111 h 10111"/>
                <a:gd name="connsiteX5" fmla="*/ 3325 w 11016"/>
                <a:gd name="connsiteY5" fmla="*/ 0 h 10111"/>
                <a:gd name="connsiteX6" fmla="*/ 2500 w 11016"/>
                <a:gd name="connsiteY6" fmla="*/ 4445 h 10111"/>
                <a:gd name="connsiteX0" fmla="*/ 2500 w 11016"/>
                <a:gd name="connsiteY0" fmla="*/ 3890 h 9556"/>
                <a:gd name="connsiteX1" fmla="*/ 2500 w 11016"/>
                <a:gd name="connsiteY1" fmla="*/ 3890 h 9556"/>
                <a:gd name="connsiteX2" fmla="*/ 0 w 11016"/>
                <a:gd name="connsiteY2" fmla="*/ 4932 h 9556"/>
                <a:gd name="connsiteX3" fmla="*/ 3588 w 11016"/>
                <a:gd name="connsiteY3" fmla="*/ 9445 h 9556"/>
                <a:gd name="connsiteX4" fmla="*/ 11016 w 11016"/>
                <a:gd name="connsiteY4" fmla="*/ 9556 h 9556"/>
                <a:gd name="connsiteX5" fmla="*/ 3247 w 11016"/>
                <a:gd name="connsiteY5" fmla="*/ 0 h 9556"/>
                <a:gd name="connsiteX6" fmla="*/ 2500 w 11016"/>
                <a:gd name="connsiteY6" fmla="*/ 3890 h 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16" h="9556">
                  <a:moveTo>
                    <a:pt x="2500" y="3890"/>
                  </a:moveTo>
                  <a:lnTo>
                    <a:pt x="2500" y="3890"/>
                  </a:lnTo>
                  <a:lnTo>
                    <a:pt x="0" y="4932"/>
                  </a:lnTo>
                  <a:lnTo>
                    <a:pt x="3588" y="9445"/>
                  </a:lnTo>
                  <a:lnTo>
                    <a:pt x="11016" y="9556"/>
                  </a:lnTo>
                  <a:lnTo>
                    <a:pt x="3247" y="0"/>
                  </a:lnTo>
                  <a:lnTo>
                    <a:pt x="2500" y="3890"/>
                  </a:lnTo>
                  <a:close/>
                </a:path>
              </a:pathLst>
            </a:custGeom>
            <a:solidFill>
              <a:schemeClr val="accent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74" name="Freeform 73">
              <a:extLst>
                <a:ext uri="{FF2B5EF4-FFF2-40B4-BE49-F238E27FC236}">
                  <a16:creationId xmlns:a16="http://schemas.microsoft.com/office/drawing/2014/main" id="{19574E95-C2BD-EB48-BD17-1AB9F71D37FC}"/>
                </a:ext>
              </a:extLst>
            </p:cNvPr>
            <p:cNvSpPr>
              <a:spLocks/>
            </p:cNvSpPr>
            <p:nvPr/>
          </p:nvSpPr>
          <p:spPr bwMode="auto">
            <a:xfrm>
              <a:off x="8221335" y="4297226"/>
              <a:ext cx="1609687" cy="1541463"/>
            </a:xfrm>
            <a:custGeom>
              <a:avLst/>
              <a:gdLst>
                <a:gd name="T0" fmla="*/ 365 w 1801"/>
                <a:gd name="T1" fmla="*/ 0 h 2094"/>
                <a:gd name="T2" fmla="*/ 365 w 1801"/>
                <a:gd name="T3" fmla="*/ 0 h 2094"/>
                <a:gd name="T4" fmla="*/ 0 w 1801"/>
                <a:gd name="T5" fmla="*/ 961 h 2094"/>
                <a:gd name="T6" fmla="*/ 987 w 1801"/>
                <a:gd name="T7" fmla="*/ 2094 h 2094"/>
                <a:gd name="T8" fmla="*/ 1801 w 1801"/>
                <a:gd name="T9" fmla="*/ 0 h 2094"/>
                <a:gd name="T10" fmla="*/ 365 w 1801"/>
                <a:gd name="T11" fmla="*/ 0 h 2094"/>
              </a:gdLst>
              <a:ahLst/>
              <a:cxnLst>
                <a:cxn ang="0">
                  <a:pos x="T0" y="T1"/>
                </a:cxn>
                <a:cxn ang="0">
                  <a:pos x="T2" y="T3"/>
                </a:cxn>
                <a:cxn ang="0">
                  <a:pos x="T4" y="T5"/>
                </a:cxn>
                <a:cxn ang="0">
                  <a:pos x="T6" y="T7"/>
                </a:cxn>
                <a:cxn ang="0">
                  <a:pos x="T8" y="T9"/>
                </a:cxn>
                <a:cxn ang="0">
                  <a:pos x="T10" y="T11"/>
                </a:cxn>
              </a:cxnLst>
              <a:rect l="0" t="0" r="r" b="b"/>
              <a:pathLst>
                <a:path w="1801" h="2094">
                  <a:moveTo>
                    <a:pt x="365" y="0"/>
                  </a:moveTo>
                  <a:lnTo>
                    <a:pt x="365" y="0"/>
                  </a:lnTo>
                  <a:lnTo>
                    <a:pt x="0" y="961"/>
                  </a:lnTo>
                  <a:lnTo>
                    <a:pt x="987" y="2094"/>
                  </a:lnTo>
                  <a:lnTo>
                    <a:pt x="1801" y="0"/>
                  </a:lnTo>
                  <a:lnTo>
                    <a:pt x="365" y="0"/>
                  </a:lnTo>
                  <a:close/>
                </a:path>
              </a:pathLst>
            </a:custGeom>
            <a:solidFill>
              <a:schemeClr val="accent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75" name="Freeform 74">
              <a:extLst>
                <a:ext uri="{FF2B5EF4-FFF2-40B4-BE49-F238E27FC236}">
                  <a16:creationId xmlns:a16="http://schemas.microsoft.com/office/drawing/2014/main" id="{E4D37CE6-BD1F-5748-88F7-300CC32B805A}"/>
                </a:ext>
              </a:extLst>
            </p:cNvPr>
            <p:cNvSpPr>
              <a:spLocks/>
            </p:cNvSpPr>
            <p:nvPr/>
          </p:nvSpPr>
          <p:spPr bwMode="auto">
            <a:xfrm>
              <a:off x="9347215" y="4297226"/>
              <a:ext cx="796579" cy="1541463"/>
            </a:xfrm>
            <a:custGeom>
              <a:avLst/>
              <a:gdLst>
                <a:gd name="T0" fmla="*/ 469 w 1282"/>
                <a:gd name="T1" fmla="*/ 0 h 2094"/>
                <a:gd name="T2" fmla="*/ 469 w 1282"/>
                <a:gd name="T3" fmla="*/ 0 h 2094"/>
                <a:gd name="T4" fmla="*/ 0 w 1282"/>
                <a:gd name="T5" fmla="*/ 1207 h 2094"/>
                <a:gd name="T6" fmla="*/ 814 w 1282"/>
                <a:gd name="T7" fmla="*/ 2094 h 2094"/>
                <a:gd name="T8" fmla="*/ 1282 w 1282"/>
                <a:gd name="T9" fmla="*/ 862 h 2094"/>
                <a:gd name="T10" fmla="*/ 469 w 1282"/>
                <a:gd name="T11" fmla="*/ 0 h 2094"/>
                <a:gd name="connsiteX0" fmla="*/ 6480 w 10000"/>
                <a:gd name="connsiteY0" fmla="*/ 0 h 10000"/>
                <a:gd name="connsiteX1" fmla="*/ 3658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5" fmla="*/ 6480 w 10000"/>
                <a:gd name="connsiteY5" fmla="*/ 0 h 10000"/>
                <a:gd name="connsiteX0" fmla="*/ 10000 w 10000"/>
                <a:gd name="connsiteY0" fmla="*/ 4117 h 10000"/>
                <a:gd name="connsiteX1" fmla="*/ 3658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0" fmla="*/ 10000 w 10000"/>
                <a:gd name="connsiteY0" fmla="*/ 4117 h 10000"/>
                <a:gd name="connsiteX1" fmla="*/ 6480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0" fmla="*/ 8165 w 8165"/>
                <a:gd name="connsiteY0" fmla="*/ 4117 h 10000"/>
                <a:gd name="connsiteX1" fmla="*/ 4645 w 8165"/>
                <a:gd name="connsiteY1" fmla="*/ 0 h 10000"/>
                <a:gd name="connsiteX2" fmla="*/ 0 w 8165"/>
                <a:gd name="connsiteY2" fmla="*/ 6517 h 10000"/>
                <a:gd name="connsiteX3" fmla="*/ 4514 w 8165"/>
                <a:gd name="connsiteY3" fmla="*/ 10000 h 10000"/>
                <a:gd name="connsiteX4" fmla="*/ 8165 w 8165"/>
                <a:gd name="connsiteY4" fmla="*/ 4117 h 10000"/>
                <a:gd name="connsiteX0" fmla="*/ 10000 w 10000"/>
                <a:gd name="connsiteY0" fmla="*/ 4117 h 10188"/>
                <a:gd name="connsiteX1" fmla="*/ 5689 w 10000"/>
                <a:gd name="connsiteY1" fmla="*/ 0 h 10188"/>
                <a:gd name="connsiteX2" fmla="*/ 0 w 10000"/>
                <a:gd name="connsiteY2" fmla="*/ 6517 h 10188"/>
                <a:gd name="connsiteX3" fmla="*/ 3108 w 10000"/>
                <a:gd name="connsiteY3" fmla="*/ 10188 h 10188"/>
                <a:gd name="connsiteX4" fmla="*/ 10000 w 10000"/>
                <a:gd name="connsiteY4" fmla="*/ 4117 h 10188"/>
                <a:gd name="connsiteX0" fmla="*/ 10346 w 10346"/>
                <a:gd name="connsiteY0" fmla="*/ 4117 h 10188"/>
                <a:gd name="connsiteX1" fmla="*/ 6035 w 10346"/>
                <a:gd name="connsiteY1" fmla="*/ 0 h 10188"/>
                <a:gd name="connsiteX2" fmla="*/ 0 w 10346"/>
                <a:gd name="connsiteY2" fmla="*/ 6423 h 10188"/>
                <a:gd name="connsiteX3" fmla="*/ 3454 w 10346"/>
                <a:gd name="connsiteY3" fmla="*/ 10188 h 10188"/>
                <a:gd name="connsiteX4" fmla="*/ 10346 w 10346"/>
                <a:gd name="connsiteY4" fmla="*/ 4117 h 10188"/>
                <a:gd name="connsiteX0" fmla="*/ 10346 w 10346"/>
                <a:gd name="connsiteY0" fmla="*/ 4117 h 10000"/>
                <a:gd name="connsiteX1" fmla="*/ 6035 w 10346"/>
                <a:gd name="connsiteY1" fmla="*/ 0 h 10000"/>
                <a:gd name="connsiteX2" fmla="*/ 0 w 10346"/>
                <a:gd name="connsiteY2" fmla="*/ 6423 h 10000"/>
                <a:gd name="connsiteX3" fmla="*/ 3454 w 10346"/>
                <a:gd name="connsiteY3" fmla="*/ 10000 h 10000"/>
                <a:gd name="connsiteX4" fmla="*/ 10346 w 10346"/>
                <a:gd name="connsiteY4" fmla="*/ 411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46" h="10000">
                  <a:moveTo>
                    <a:pt x="10346" y="4117"/>
                  </a:moveTo>
                  <a:lnTo>
                    <a:pt x="6035" y="0"/>
                  </a:lnTo>
                  <a:lnTo>
                    <a:pt x="0" y="6423"/>
                  </a:lnTo>
                  <a:lnTo>
                    <a:pt x="3454" y="10000"/>
                  </a:lnTo>
                  <a:lnTo>
                    <a:pt x="10346" y="4117"/>
                  </a:lnTo>
                  <a:close/>
                </a:path>
              </a:pathLst>
            </a:custGeom>
            <a:solidFill>
              <a:schemeClr val="accent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76" name="Freeform 75">
              <a:extLst>
                <a:ext uri="{FF2B5EF4-FFF2-40B4-BE49-F238E27FC236}">
                  <a16:creationId xmlns:a16="http://schemas.microsoft.com/office/drawing/2014/main" id="{5C087CC0-D81C-1248-8D51-CF94BFA42DFA}"/>
                </a:ext>
              </a:extLst>
            </p:cNvPr>
            <p:cNvSpPr>
              <a:spLocks/>
            </p:cNvSpPr>
            <p:nvPr/>
          </p:nvSpPr>
          <p:spPr bwMode="auto">
            <a:xfrm>
              <a:off x="9595620" y="4297226"/>
              <a:ext cx="1835640" cy="1541463"/>
            </a:xfrm>
            <a:custGeom>
              <a:avLst/>
              <a:gdLst>
                <a:gd name="T0" fmla="*/ 788 w 2218"/>
                <a:gd name="T1" fmla="*/ 0 h 2094"/>
                <a:gd name="T2" fmla="*/ 788 w 2218"/>
                <a:gd name="T3" fmla="*/ 0 h 2094"/>
                <a:gd name="T4" fmla="*/ 0 w 2218"/>
                <a:gd name="T5" fmla="*/ 2094 h 2094"/>
                <a:gd name="T6" fmla="*/ 1429 w 2218"/>
                <a:gd name="T7" fmla="*/ 2094 h 2094"/>
                <a:gd name="T8" fmla="*/ 2218 w 2218"/>
                <a:gd name="T9" fmla="*/ 0 h 2094"/>
                <a:gd name="T10" fmla="*/ 788 w 2218"/>
                <a:gd name="T11" fmla="*/ 0 h 2094"/>
              </a:gdLst>
              <a:ahLst/>
              <a:cxnLst>
                <a:cxn ang="0">
                  <a:pos x="T0" y="T1"/>
                </a:cxn>
                <a:cxn ang="0">
                  <a:pos x="T2" y="T3"/>
                </a:cxn>
                <a:cxn ang="0">
                  <a:pos x="T4" y="T5"/>
                </a:cxn>
                <a:cxn ang="0">
                  <a:pos x="T6" y="T7"/>
                </a:cxn>
                <a:cxn ang="0">
                  <a:pos x="T8" y="T9"/>
                </a:cxn>
                <a:cxn ang="0">
                  <a:pos x="T10" y="T11"/>
                </a:cxn>
              </a:cxnLst>
              <a:rect l="0" t="0" r="r" b="b"/>
              <a:pathLst>
                <a:path w="2218" h="2094">
                  <a:moveTo>
                    <a:pt x="788" y="0"/>
                  </a:moveTo>
                  <a:lnTo>
                    <a:pt x="788" y="0"/>
                  </a:lnTo>
                  <a:lnTo>
                    <a:pt x="0" y="2094"/>
                  </a:lnTo>
                  <a:lnTo>
                    <a:pt x="1429" y="2094"/>
                  </a:lnTo>
                  <a:lnTo>
                    <a:pt x="2218" y="0"/>
                  </a:lnTo>
                  <a:lnTo>
                    <a:pt x="788" y="0"/>
                  </a:lnTo>
                  <a:close/>
                </a:path>
              </a:pathLst>
            </a:custGeom>
            <a:solidFill>
              <a:schemeClr val="accent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grpSp>
      <p:sp>
        <p:nvSpPr>
          <p:cNvPr id="71" name="Rectangle 70">
            <a:extLst>
              <a:ext uri="{FF2B5EF4-FFF2-40B4-BE49-F238E27FC236}">
                <a16:creationId xmlns:a16="http://schemas.microsoft.com/office/drawing/2014/main" id="{6B248DB6-FA6A-A943-A9C8-F958146C1E75}"/>
              </a:ext>
            </a:extLst>
          </p:cNvPr>
          <p:cNvSpPr/>
          <p:nvPr/>
        </p:nvSpPr>
        <p:spPr>
          <a:xfrm>
            <a:off x="2157793" y="4060597"/>
            <a:ext cx="793498" cy="45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rgbClr val="FFFFFF"/>
                </a:solidFill>
              </a:rPr>
              <a:t>Lorem ipsum dolor</a:t>
            </a:r>
          </a:p>
        </p:txBody>
      </p:sp>
      <p:sp>
        <p:nvSpPr>
          <p:cNvPr id="72" name="Rectangle 71">
            <a:extLst>
              <a:ext uri="{FF2B5EF4-FFF2-40B4-BE49-F238E27FC236}">
                <a16:creationId xmlns:a16="http://schemas.microsoft.com/office/drawing/2014/main" id="{5190FA71-4CE4-7345-9E1E-88B2C48E61F7}"/>
              </a:ext>
            </a:extLst>
          </p:cNvPr>
          <p:cNvSpPr/>
          <p:nvPr/>
        </p:nvSpPr>
        <p:spPr>
          <a:xfrm>
            <a:off x="3401322" y="3891640"/>
            <a:ext cx="947818" cy="622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rgbClr val="FFFFFF"/>
                </a:solidFill>
              </a:rPr>
              <a:t>Lorem ipsum dolor</a:t>
            </a:r>
          </a:p>
        </p:txBody>
      </p:sp>
    </p:spTree>
    <p:custDataLst>
      <p:tags r:id="rId1"/>
    </p:custDataLst>
    <p:extLst>
      <p:ext uri="{BB962C8B-B14F-4D97-AF65-F5344CB8AC3E}">
        <p14:creationId xmlns:p14="http://schemas.microsoft.com/office/powerpoint/2010/main" val="978673536"/>
      </p:ext>
    </p:extLst>
  </p:cSld>
  <p:clrMapOvr>
    <a:masterClrMapping/>
  </p:clrMapOvr>
  <p:transition>
    <p:fade/>
  </p:transition>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ounded Rectangle 26">
            <a:extLst>
              <a:ext uri="{FF2B5EF4-FFF2-40B4-BE49-F238E27FC236}">
                <a16:creationId xmlns:a16="http://schemas.microsoft.com/office/drawing/2014/main" id="{B3AD3034-8681-444F-A3B6-86C8519F2898}"/>
              </a:ext>
            </a:extLst>
          </p:cNvPr>
          <p:cNvSpPr/>
          <p:nvPr/>
        </p:nvSpPr>
        <p:spPr bwMode="gray">
          <a:xfrm rot="3474115">
            <a:off x="4789861" y="3702935"/>
            <a:ext cx="89054" cy="1758695"/>
          </a:xfrm>
          <a:prstGeom prst="roundRect">
            <a:avLst>
              <a:gd name="adj" fmla="val 41624"/>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Rounded Rectangle 27">
            <a:extLst>
              <a:ext uri="{FF2B5EF4-FFF2-40B4-BE49-F238E27FC236}">
                <a16:creationId xmlns:a16="http://schemas.microsoft.com/office/drawing/2014/main" id="{FB6AB213-F444-344D-BBAE-090EF54C81CA}"/>
              </a:ext>
            </a:extLst>
          </p:cNvPr>
          <p:cNvSpPr/>
          <p:nvPr/>
        </p:nvSpPr>
        <p:spPr bwMode="gray">
          <a:xfrm rot="4077482">
            <a:off x="7267099" y="2710782"/>
            <a:ext cx="89054" cy="1173476"/>
          </a:xfrm>
          <a:prstGeom prst="roundRect">
            <a:avLst>
              <a:gd name="adj" fmla="val 41624"/>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Rounded Rectangle 28">
            <a:extLst>
              <a:ext uri="{FF2B5EF4-FFF2-40B4-BE49-F238E27FC236}">
                <a16:creationId xmlns:a16="http://schemas.microsoft.com/office/drawing/2014/main" id="{DB2ED5D6-B8F8-1848-A665-3271E51FA442}"/>
              </a:ext>
            </a:extLst>
          </p:cNvPr>
          <p:cNvSpPr/>
          <p:nvPr/>
        </p:nvSpPr>
        <p:spPr bwMode="gray">
          <a:xfrm rot="8349677">
            <a:off x="7061280" y="3924369"/>
            <a:ext cx="89054" cy="1213357"/>
          </a:xfrm>
          <a:prstGeom prst="roundRect">
            <a:avLst>
              <a:gd name="adj" fmla="val 41624"/>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Rounded Rectangle 29">
            <a:extLst>
              <a:ext uri="{FF2B5EF4-FFF2-40B4-BE49-F238E27FC236}">
                <a16:creationId xmlns:a16="http://schemas.microsoft.com/office/drawing/2014/main" id="{9A9F983D-7D0B-C64E-B7A0-E8DC02237BEE}"/>
              </a:ext>
            </a:extLst>
          </p:cNvPr>
          <p:cNvSpPr/>
          <p:nvPr/>
        </p:nvSpPr>
        <p:spPr bwMode="gray">
          <a:xfrm rot="19212652" flipH="1">
            <a:off x="5224173" y="2336184"/>
            <a:ext cx="89054" cy="1127184"/>
          </a:xfrm>
          <a:prstGeom prst="roundRect">
            <a:avLst>
              <a:gd name="adj" fmla="val 41624"/>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1" name="Straight Connector 30">
            <a:extLst>
              <a:ext uri="{FF2B5EF4-FFF2-40B4-BE49-F238E27FC236}">
                <a16:creationId xmlns:a16="http://schemas.microsoft.com/office/drawing/2014/main" id="{12A8F8E4-9CE3-474C-AB37-35C74B264F49}"/>
              </a:ext>
            </a:extLst>
          </p:cNvPr>
          <p:cNvCxnSpPr/>
          <p:nvPr/>
        </p:nvCxnSpPr>
        <p:spPr>
          <a:xfrm flipV="1">
            <a:off x="4954781" y="1604327"/>
            <a:ext cx="323808" cy="94924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55D7D16-8DC3-9F4B-BB57-665927A45C39}"/>
              </a:ext>
            </a:extLst>
          </p:cNvPr>
          <p:cNvCxnSpPr/>
          <p:nvPr/>
        </p:nvCxnSpPr>
        <p:spPr>
          <a:xfrm flipV="1">
            <a:off x="3953011" y="2561083"/>
            <a:ext cx="1001770" cy="10611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65BD5CB-9D58-2E49-969C-F260977607EE}"/>
              </a:ext>
            </a:extLst>
          </p:cNvPr>
          <p:cNvCxnSpPr/>
          <p:nvPr/>
        </p:nvCxnSpPr>
        <p:spPr>
          <a:xfrm>
            <a:off x="8110172" y="2953566"/>
            <a:ext cx="960972" cy="24546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F8FE3D1-D467-1941-A788-23A3A9822907}"/>
              </a:ext>
            </a:extLst>
          </p:cNvPr>
          <p:cNvCxnSpPr/>
          <p:nvPr/>
        </p:nvCxnSpPr>
        <p:spPr>
          <a:xfrm flipV="1">
            <a:off x="8110172" y="2011360"/>
            <a:ext cx="0" cy="93512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F7E56CC-1883-1B47-B0B6-3364CE4984D4}"/>
              </a:ext>
            </a:extLst>
          </p:cNvPr>
          <p:cNvCxnSpPr/>
          <p:nvPr/>
        </p:nvCxnSpPr>
        <p:spPr>
          <a:xfrm flipV="1">
            <a:off x="7786687" y="4913390"/>
            <a:ext cx="1160049" cy="35689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702B23E-A5A2-164F-9626-B6BB11E94593}"/>
              </a:ext>
            </a:extLst>
          </p:cNvPr>
          <p:cNvCxnSpPr/>
          <p:nvPr/>
        </p:nvCxnSpPr>
        <p:spPr>
          <a:xfrm flipV="1">
            <a:off x="7300590" y="5277365"/>
            <a:ext cx="486097" cy="101145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8363E0F-4857-D74F-96E0-1859529FD6DB}"/>
              </a:ext>
            </a:extLst>
          </p:cNvPr>
          <p:cNvCxnSpPr/>
          <p:nvPr/>
        </p:nvCxnSpPr>
        <p:spPr>
          <a:xfrm>
            <a:off x="2314036" y="5217001"/>
            <a:ext cx="1472302" cy="6036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8AFA3DE-63CA-584B-9C46-3850F391B1D1}"/>
              </a:ext>
            </a:extLst>
          </p:cNvPr>
          <p:cNvCxnSpPr/>
          <p:nvPr/>
        </p:nvCxnSpPr>
        <p:spPr>
          <a:xfrm>
            <a:off x="3786339" y="5277363"/>
            <a:ext cx="724241" cy="97590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AA3C84D2-63E4-B045-9F67-69A9436B2E5E}"/>
              </a:ext>
            </a:extLst>
          </p:cNvPr>
          <p:cNvSpPr/>
          <p:nvPr/>
        </p:nvSpPr>
        <p:spPr bwMode="gray">
          <a:xfrm>
            <a:off x="7639455" y="2482847"/>
            <a:ext cx="941439" cy="941439"/>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Oval 39">
            <a:extLst>
              <a:ext uri="{FF2B5EF4-FFF2-40B4-BE49-F238E27FC236}">
                <a16:creationId xmlns:a16="http://schemas.microsoft.com/office/drawing/2014/main" id="{992A5130-1BC6-DC44-9FD1-C1D684FC3345}"/>
              </a:ext>
            </a:extLst>
          </p:cNvPr>
          <p:cNvSpPr/>
          <p:nvPr/>
        </p:nvSpPr>
        <p:spPr bwMode="gray">
          <a:xfrm>
            <a:off x="7222560" y="4713237"/>
            <a:ext cx="1128252" cy="1128252"/>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1" name="Oval 40">
            <a:extLst>
              <a:ext uri="{FF2B5EF4-FFF2-40B4-BE49-F238E27FC236}">
                <a16:creationId xmlns:a16="http://schemas.microsoft.com/office/drawing/2014/main" id="{EB20F223-8FB5-1A43-9B1A-D60E3A65C78C}"/>
              </a:ext>
            </a:extLst>
          </p:cNvPr>
          <p:cNvSpPr/>
          <p:nvPr/>
        </p:nvSpPr>
        <p:spPr bwMode="gray">
          <a:xfrm>
            <a:off x="3158698" y="4636769"/>
            <a:ext cx="1267030" cy="126703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Oval 41">
            <a:extLst>
              <a:ext uri="{FF2B5EF4-FFF2-40B4-BE49-F238E27FC236}">
                <a16:creationId xmlns:a16="http://schemas.microsoft.com/office/drawing/2014/main" id="{2ABF85D1-C9FB-4B45-883B-DBB3B8B2B5D2}"/>
              </a:ext>
            </a:extLst>
          </p:cNvPr>
          <p:cNvSpPr/>
          <p:nvPr/>
        </p:nvSpPr>
        <p:spPr bwMode="gray">
          <a:xfrm>
            <a:off x="4408350" y="2019229"/>
            <a:ext cx="1092865" cy="1092865"/>
          </a:xfrm>
          <a:prstGeom prst="ellipse">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Oval 47">
            <a:extLst>
              <a:ext uri="{FF2B5EF4-FFF2-40B4-BE49-F238E27FC236}">
                <a16:creationId xmlns:a16="http://schemas.microsoft.com/office/drawing/2014/main" id="{A2FFF6AC-6D2E-BA48-84FB-B4F2B5F8E072}"/>
              </a:ext>
            </a:extLst>
          </p:cNvPr>
          <p:cNvSpPr/>
          <p:nvPr/>
        </p:nvSpPr>
        <p:spPr bwMode="gray">
          <a:xfrm>
            <a:off x="5383571" y="2971801"/>
            <a:ext cx="1602658" cy="1602658"/>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Oval 48">
            <a:extLst>
              <a:ext uri="{FF2B5EF4-FFF2-40B4-BE49-F238E27FC236}">
                <a16:creationId xmlns:a16="http://schemas.microsoft.com/office/drawing/2014/main" id="{78699C4A-8907-ED42-A3FB-3D4938549A57}"/>
              </a:ext>
            </a:extLst>
          </p:cNvPr>
          <p:cNvSpPr/>
          <p:nvPr/>
        </p:nvSpPr>
        <p:spPr bwMode="gray">
          <a:xfrm>
            <a:off x="7947200" y="1848388"/>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Oval 49">
            <a:extLst>
              <a:ext uri="{FF2B5EF4-FFF2-40B4-BE49-F238E27FC236}">
                <a16:creationId xmlns:a16="http://schemas.microsoft.com/office/drawing/2014/main" id="{6267E45F-54CA-3143-9378-D3C1AB294EA2}"/>
              </a:ext>
            </a:extLst>
          </p:cNvPr>
          <p:cNvSpPr/>
          <p:nvPr/>
        </p:nvSpPr>
        <p:spPr bwMode="gray">
          <a:xfrm>
            <a:off x="8908172" y="3036054"/>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7" name="Oval 66">
            <a:extLst>
              <a:ext uri="{FF2B5EF4-FFF2-40B4-BE49-F238E27FC236}">
                <a16:creationId xmlns:a16="http://schemas.microsoft.com/office/drawing/2014/main" id="{967005AE-F8E0-844D-B895-BC9389DC709B}"/>
              </a:ext>
            </a:extLst>
          </p:cNvPr>
          <p:cNvSpPr/>
          <p:nvPr/>
        </p:nvSpPr>
        <p:spPr bwMode="gray">
          <a:xfrm>
            <a:off x="5115617" y="1441355"/>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8" name="Oval 67">
            <a:extLst>
              <a:ext uri="{FF2B5EF4-FFF2-40B4-BE49-F238E27FC236}">
                <a16:creationId xmlns:a16="http://schemas.microsoft.com/office/drawing/2014/main" id="{9FA62650-071C-7D46-99B3-EBFFE261D83C}"/>
              </a:ext>
            </a:extLst>
          </p:cNvPr>
          <p:cNvSpPr/>
          <p:nvPr/>
        </p:nvSpPr>
        <p:spPr bwMode="gray">
          <a:xfrm>
            <a:off x="3741620" y="2504226"/>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9" name="Oval 68">
            <a:extLst>
              <a:ext uri="{FF2B5EF4-FFF2-40B4-BE49-F238E27FC236}">
                <a16:creationId xmlns:a16="http://schemas.microsoft.com/office/drawing/2014/main" id="{B1EAB85E-857F-D14E-96FD-73DFF3AB28E5}"/>
              </a:ext>
            </a:extLst>
          </p:cNvPr>
          <p:cNvSpPr/>
          <p:nvPr/>
        </p:nvSpPr>
        <p:spPr bwMode="gray">
          <a:xfrm>
            <a:off x="8783763" y="4750417"/>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0" name="Oval 69">
            <a:extLst>
              <a:ext uri="{FF2B5EF4-FFF2-40B4-BE49-F238E27FC236}">
                <a16:creationId xmlns:a16="http://schemas.microsoft.com/office/drawing/2014/main" id="{513B0AF8-1394-CE4B-B466-B802664CBB1C}"/>
              </a:ext>
            </a:extLst>
          </p:cNvPr>
          <p:cNvSpPr/>
          <p:nvPr/>
        </p:nvSpPr>
        <p:spPr bwMode="gray">
          <a:xfrm>
            <a:off x="7137617" y="6090293"/>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1" name="Oval 70">
            <a:extLst>
              <a:ext uri="{FF2B5EF4-FFF2-40B4-BE49-F238E27FC236}">
                <a16:creationId xmlns:a16="http://schemas.microsoft.com/office/drawing/2014/main" id="{2C6CEFDF-3273-4D4F-86EB-A326EFB0545E}"/>
              </a:ext>
            </a:extLst>
          </p:cNvPr>
          <p:cNvSpPr/>
          <p:nvPr/>
        </p:nvSpPr>
        <p:spPr bwMode="gray">
          <a:xfrm>
            <a:off x="4347607" y="6074854"/>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2" name="Oval 71">
            <a:extLst>
              <a:ext uri="{FF2B5EF4-FFF2-40B4-BE49-F238E27FC236}">
                <a16:creationId xmlns:a16="http://schemas.microsoft.com/office/drawing/2014/main" id="{378DC9D4-6228-D64D-BC0E-0B833067CE7F}"/>
              </a:ext>
            </a:extLst>
          </p:cNvPr>
          <p:cNvSpPr/>
          <p:nvPr/>
        </p:nvSpPr>
        <p:spPr bwMode="gray">
          <a:xfrm>
            <a:off x="2151064" y="5054028"/>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3" name="Rectangle 72">
            <a:extLst>
              <a:ext uri="{FF2B5EF4-FFF2-40B4-BE49-F238E27FC236}">
                <a16:creationId xmlns:a16="http://schemas.microsoft.com/office/drawing/2014/main" id="{060DFAE6-4B2C-444E-84D5-2E7A6891CE98}"/>
              </a:ext>
            </a:extLst>
          </p:cNvPr>
          <p:cNvSpPr/>
          <p:nvPr/>
        </p:nvSpPr>
        <p:spPr>
          <a:xfrm>
            <a:off x="5687169" y="3696186"/>
            <a:ext cx="1003480" cy="153888"/>
          </a:xfrm>
          <a:prstGeom prst="rect">
            <a:avLst/>
          </a:prstGeom>
        </p:spPr>
        <p:txBody>
          <a:bodyPr wrap="none" lIns="0" tIns="0" rIns="0" bIns="0">
            <a:spAutoFit/>
          </a:bodyPr>
          <a:lstStyle/>
          <a:p>
            <a:r>
              <a:rPr lang="en-US" sz="1000" b="1" dirty="0">
                <a:solidFill>
                  <a:schemeClr val="bg1"/>
                </a:solidFill>
              </a:rPr>
              <a:t>Lorem ipsum dolor</a:t>
            </a:r>
            <a:endParaRPr lang="en-US" sz="1000" dirty="0">
              <a:solidFill>
                <a:schemeClr val="bg1"/>
              </a:solidFill>
            </a:endParaRPr>
          </a:p>
        </p:txBody>
      </p:sp>
      <p:sp>
        <p:nvSpPr>
          <p:cNvPr id="74" name="Rectangle 73">
            <a:extLst>
              <a:ext uri="{FF2B5EF4-FFF2-40B4-BE49-F238E27FC236}">
                <a16:creationId xmlns:a16="http://schemas.microsoft.com/office/drawing/2014/main" id="{D647ED36-8B3B-7448-96BE-18BDA84837A5}"/>
              </a:ext>
            </a:extLst>
          </p:cNvPr>
          <p:cNvSpPr/>
          <p:nvPr/>
        </p:nvSpPr>
        <p:spPr>
          <a:xfrm>
            <a:off x="3297436" y="5039453"/>
            <a:ext cx="989554" cy="307777"/>
          </a:xfrm>
          <a:prstGeom prst="rect">
            <a:avLst/>
          </a:prstGeom>
        </p:spPr>
        <p:txBody>
          <a:bodyPr wrap="square" lIns="0" tIns="0" rIns="0" bIns="0">
            <a:spAutoFit/>
          </a:bodyPr>
          <a:lstStyle/>
          <a:p>
            <a:pPr algn="ctr"/>
            <a:r>
              <a:rPr lang="en-US" sz="1000" b="1" dirty="0">
                <a:solidFill>
                  <a:schemeClr val="bg1"/>
                </a:solidFill>
              </a:rPr>
              <a:t>Lorem ipsum dolor</a:t>
            </a:r>
            <a:endParaRPr lang="en-US" sz="1000" dirty="0">
              <a:solidFill>
                <a:schemeClr val="bg1"/>
              </a:solidFill>
            </a:endParaRPr>
          </a:p>
        </p:txBody>
      </p:sp>
      <p:sp>
        <p:nvSpPr>
          <p:cNvPr id="75" name="Rectangle 74">
            <a:extLst>
              <a:ext uri="{FF2B5EF4-FFF2-40B4-BE49-F238E27FC236}">
                <a16:creationId xmlns:a16="http://schemas.microsoft.com/office/drawing/2014/main" id="{2F363828-D73A-6448-B08B-E6794B565B21}"/>
              </a:ext>
            </a:extLst>
          </p:cNvPr>
          <p:cNvSpPr/>
          <p:nvPr/>
        </p:nvSpPr>
        <p:spPr>
          <a:xfrm>
            <a:off x="4569859" y="2334829"/>
            <a:ext cx="769844" cy="307777"/>
          </a:xfrm>
          <a:prstGeom prst="rect">
            <a:avLst/>
          </a:prstGeom>
        </p:spPr>
        <p:txBody>
          <a:bodyPr wrap="square" lIns="0" tIns="0" rIns="0" bIns="0">
            <a:spAutoFit/>
          </a:bodyPr>
          <a:lstStyle/>
          <a:p>
            <a:pPr algn="ctr"/>
            <a:r>
              <a:rPr lang="en-US" sz="1000" b="1" dirty="0">
                <a:solidFill>
                  <a:schemeClr val="bg1"/>
                </a:solidFill>
              </a:rPr>
              <a:t>Lorem ipsum dolor</a:t>
            </a:r>
            <a:endParaRPr lang="en-US" sz="1000" dirty="0">
              <a:solidFill>
                <a:schemeClr val="bg1"/>
              </a:solidFill>
            </a:endParaRPr>
          </a:p>
        </p:txBody>
      </p:sp>
      <p:sp>
        <p:nvSpPr>
          <p:cNvPr id="76" name="Rectangle 75">
            <a:extLst>
              <a:ext uri="{FF2B5EF4-FFF2-40B4-BE49-F238E27FC236}">
                <a16:creationId xmlns:a16="http://schemas.microsoft.com/office/drawing/2014/main" id="{6A6226D8-367C-F343-BC4E-76116785AFFD}"/>
              </a:ext>
            </a:extLst>
          </p:cNvPr>
          <p:cNvSpPr/>
          <p:nvPr/>
        </p:nvSpPr>
        <p:spPr>
          <a:xfrm>
            <a:off x="7651349" y="2722734"/>
            <a:ext cx="917648" cy="307777"/>
          </a:xfrm>
          <a:prstGeom prst="rect">
            <a:avLst/>
          </a:prstGeom>
        </p:spPr>
        <p:txBody>
          <a:bodyPr wrap="square" lIns="0" tIns="0" rIns="0" bIns="0">
            <a:spAutoFit/>
          </a:bodyPr>
          <a:lstStyle/>
          <a:p>
            <a:pPr algn="ctr"/>
            <a:r>
              <a:rPr lang="en-US" sz="1000" b="1" dirty="0">
                <a:solidFill>
                  <a:schemeClr val="bg1"/>
                </a:solidFill>
              </a:rPr>
              <a:t>Lorem ipsum dolor</a:t>
            </a:r>
            <a:endParaRPr lang="en-US" sz="1000" dirty="0">
              <a:solidFill>
                <a:schemeClr val="bg1"/>
              </a:solidFill>
            </a:endParaRPr>
          </a:p>
        </p:txBody>
      </p:sp>
      <p:sp>
        <p:nvSpPr>
          <p:cNvPr id="77" name="Rectangle 76">
            <a:extLst>
              <a:ext uri="{FF2B5EF4-FFF2-40B4-BE49-F238E27FC236}">
                <a16:creationId xmlns:a16="http://schemas.microsoft.com/office/drawing/2014/main" id="{E1F304F1-0E4B-E84D-8795-9F5A2778B5D3}"/>
              </a:ext>
            </a:extLst>
          </p:cNvPr>
          <p:cNvSpPr/>
          <p:nvPr/>
        </p:nvSpPr>
        <p:spPr>
          <a:xfrm>
            <a:off x="7380801" y="5046532"/>
            <a:ext cx="811773" cy="307777"/>
          </a:xfrm>
          <a:prstGeom prst="rect">
            <a:avLst/>
          </a:prstGeom>
        </p:spPr>
        <p:txBody>
          <a:bodyPr wrap="square" lIns="0" tIns="0" rIns="0" bIns="0">
            <a:spAutoFit/>
          </a:bodyPr>
          <a:lstStyle/>
          <a:p>
            <a:pPr algn="ctr"/>
            <a:r>
              <a:rPr lang="en-US" sz="1000" b="1" dirty="0">
                <a:solidFill>
                  <a:schemeClr val="bg1"/>
                </a:solidFill>
              </a:rPr>
              <a:t>Lorem ipsum dolor</a:t>
            </a:r>
            <a:endParaRPr lang="en-US" sz="1000" dirty="0">
              <a:solidFill>
                <a:schemeClr val="bg1"/>
              </a:solidFill>
            </a:endParaRPr>
          </a:p>
        </p:txBody>
      </p:sp>
      <p:sp>
        <p:nvSpPr>
          <p:cNvPr id="78" name="Rectangle 77">
            <a:extLst>
              <a:ext uri="{FF2B5EF4-FFF2-40B4-BE49-F238E27FC236}">
                <a16:creationId xmlns:a16="http://schemas.microsoft.com/office/drawing/2014/main" id="{311571AC-A032-594D-B150-BE9079277259}"/>
              </a:ext>
            </a:extLst>
          </p:cNvPr>
          <p:cNvSpPr/>
          <p:nvPr/>
        </p:nvSpPr>
        <p:spPr>
          <a:xfrm>
            <a:off x="1893155" y="3855110"/>
            <a:ext cx="2434698" cy="615553"/>
          </a:xfrm>
          <a:prstGeom prst="rect">
            <a:avLst/>
          </a:prstGeom>
        </p:spPr>
        <p:txBody>
          <a:bodyPr wrap="square" lIns="0" tIns="0" rIns="0" bIns="0">
            <a:spAutoFit/>
          </a:bodyPr>
          <a:lstStyle/>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p:txBody>
      </p:sp>
      <p:sp>
        <p:nvSpPr>
          <p:cNvPr id="83" name="Rectangle 82">
            <a:extLst>
              <a:ext uri="{FF2B5EF4-FFF2-40B4-BE49-F238E27FC236}">
                <a16:creationId xmlns:a16="http://schemas.microsoft.com/office/drawing/2014/main" id="{3EE041F1-C8A1-EA41-AD31-829FB5BC09E1}"/>
              </a:ext>
            </a:extLst>
          </p:cNvPr>
          <p:cNvSpPr/>
          <p:nvPr/>
        </p:nvSpPr>
        <p:spPr>
          <a:xfrm>
            <a:off x="2151064" y="1628143"/>
            <a:ext cx="2292373" cy="615553"/>
          </a:xfrm>
          <a:prstGeom prst="rect">
            <a:avLst/>
          </a:prstGeom>
        </p:spPr>
        <p:txBody>
          <a:bodyPr wrap="square" lIns="0" tIns="0" rIns="0" bIns="0">
            <a:spAutoFit/>
          </a:bodyPr>
          <a:lstStyle/>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p:txBody>
      </p:sp>
      <p:sp>
        <p:nvSpPr>
          <p:cNvPr id="84" name="Rectangle 83">
            <a:extLst>
              <a:ext uri="{FF2B5EF4-FFF2-40B4-BE49-F238E27FC236}">
                <a16:creationId xmlns:a16="http://schemas.microsoft.com/office/drawing/2014/main" id="{701AA7BD-386D-754D-A472-0852BD7E30CB}"/>
              </a:ext>
            </a:extLst>
          </p:cNvPr>
          <p:cNvSpPr/>
          <p:nvPr/>
        </p:nvSpPr>
        <p:spPr>
          <a:xfrm>
            <a:off x="8657934" y="1629128"/>
            <a:ext cx="1645920" cy="923330"/>
          </a:xfrm>
          <a:prstGeom prst="rect">
            <a:avLst/>
          </a:prstGeom>
        </p:spPr>
        <p:txBody>
          <a:bodyPr wrap="square" lIns="0" tIns="0" rIns="0" bIns="0">
            <a:spAutoFit/>
          </a:bodyPr>
          <a:lstStyle/>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p:txBody>
      </p:sp>
      <p:sp>
        <p:nvSpPr>
          <p:cNvPr id="85" name="Rectangle 84">
            <a:extLst>
              <a:ext uri="{FF2B5EF4-FFF2-40B4-BE49-F238E27FC236}">
                <a16:creationId xmlns:a16="http://schemas.microsoft.com/office/drawing/2014/main" id="{D580B729-CCEC-2347-B908-2890AE63B0B4}"/>
              </a:ext>
            </a:extLst>
          </p:cNvPr>
          <p:cNvSpPr/>
          <p:nvPr/>
        </p:nvSpPr>
        <p:spPr>
          <a:xfrm>
            <a:off x="8404498" y="5247181"/>
            <a:ext cx="1878050" cy="615553"/>
          </a:xfrm>
          <a:prstGeom prst="rect">
            <a:avLst/>
          </a:prstGeom>
        </p:spPr>
        <p:txBody>
          <a:bodyPr wrap="square" lIns="0" tIns="0" rIns="0" bIns="0">
            <a:spAutoFit/>
          </a:bodyPr>
          <a:lstStyle/>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p:txBody>
      </p:sp>
      <p:sp>
        <p:nvSpPr>
          <p:cNvPr id="86" name="Rectangle 85">
            <a:extLst>
              <a:ext uri="{FF2B5EF4-FFF2-40B4-BE49-F238E27FC236}">
                <a16:creationId xmlns:a16="http://schemas.microsoft.com/office/drawing/2014/main" id="{D5219499-6799-D94E-85CA-48175A310383}"/>
              </a:ext>
            </a:extLst>
          </p:cNvPr>
          <p:cNvSpPr/>
          <p:nvPr/>
        </p:nvSpPr>
        <p:spPr>
          <a:xfrm>
            <a:off x="5188991" y="4652979"/>
            <a:ext cx="1746070" cy="615553"/>
          </a:xfrm>
          <a:prstGeom prst="rect">
            <a:avLst/>
          </a:prstGeom>
        </p:spPr>
        <p:txBody>
          <a:bodyPr wrap="square" lIns="0" tIns="0" rIns="0" bIns="0">
            <a:spAutoFit/>
          </a:bodyPr>
          <a:lstStyle/>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p:txBody>
      </p:sp>
    </p:spTree>
    <p:custDataLst>
      <p:tags r:id="rId1"/>
    </p:custDataLst>
    <p:extLst>
      <p:ext uri="{BB962C8B-B14F-4D97-AF65-F5344CB8AC3E}">
        <p14:creationId xmlns:p14="http://schemas.microsoft.com/office/powerpoint/2010/main" val="2473812642"/>
      </p:ext>
    </p:extLst>
  </p:cSld>
  <p:clrMapOvr>
    <a:masterClrMapping/>
  </p:clrMapOvr>
  <p:transition>
    <p:fade/>
  </p:transition>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Arc 17">
            <a:extLst>
              <a:ext uri="{FF2B5EF4-FFF2-40B4-BE49-F238E27FC236}">
                <a16:creationId xmlns:a16="http://schemas.microsoft.com/office/drawing/2014/main" id="{C83A12E7-78B6-5043-94BF-60FEA2432638}"/>
              </a:ext>
            </a:extLst>
          </p:cNvPr>
          <p:cNvSpPr/>
          <p:nvPr/>
        </p:nvSpPr>
        <p:spPr>
          <a:xfrm rot="15387437">
            <a:off x="3044919" y="2127519"/>
            <a:ext cx="4826000" cy="4826000"/>
          </a:xfrm>
          <a:prstGeom prst="arc">
            <a:avLst>
              <a:gd name="adj1" fmla="val 16200000"/>
              <a:gd name="adj2" fmla="val 971924"/>
            </a:avLst>
          </a:prstGeom>
          <a:noFill/>
          <a:ln w="19050" algn="ctr">
            <a:solidFill>
              <a:schemeClr val="accent3"/>
            </a:solidFill>
            <a:prstDash val="dash"/>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dirty="0">
              <a:solidFill>
                <a:prstClr val="white"/>
              </a:solidFill>
            </a:endParaRPr>
          </a:p>
        </p:txBody>
      </p:sp>
      <p:sp>
        <p:nvSpPr>
          <p:cNvPr id="19" name="Oval 18">
            <a:extLst>
              <a:ext uri="{FF2B5EF4-FFF2-40B4-BE49-F238E27FC236}">
                <a16:creationId xmlns:a16="http://schemas.microsoft.com/office/drawing/2014/main" id="{3755D956-810A-D748-BFAB-373B021BB1C9}"/>
              </a:ext>
            </a:extLst>
          </p:cNvPr>
          <p:cNvSpPr/>
          <p:nvPr/>
        </p:nvSpPr>
        <p:spPr bwMode="gray">
          <a:xfrm>
            <a:off x="4971826" y="1713239"/>
            <a:ext cx="3455353" cy="3455353"/>
          </a:xfrm>
          <a:prstGeom prst="ellipse">
            <a:avLst/>
          </a:prstGeom>
          <a:noFill/>
          <a:ln w="19050" algn="ctr">
            <a:solidFill>
              <a:schemeClr val="accent3"/>
            </a:solidFill>
            <a:prstDash val="dash"/>
            <a:miter lim="800000"/>
            <a:headEnd/>
            <a:tailEnd/>
          </a:ln>
        </p:spPr>
        <p:txBody>
          <a:bodyPr wrap="square" lIns="88830" tIns="88830" rIns="88830" bIns="88830" rtlCol="0" anchor="ctr"/>
          <a:lstStyle/>
          <a:p>
            <a:pPr algn="ctr" defTabSz="913686"/>
            <a:endParaRPr lang="en-US" sz="1600" b="1" dirty="0">
              <a:solidFill>
                <a:prstClr val="white"/>
              </a:solidFill>
            </a:endParaRPr>
          </a:p>
        </p:txBody>
      </p:sp>
      <p:grpSp>
        <p:nvGrpSpPr>
          <p:cNvPr id="20" name="Group 19">
            <a:extLst>
              <a:ext uri="{FF2B5EF4-FFF2-40B4-BE49-F238E27FC236}">
                <a16:creationId xmlns:a16="http://schemas.microsoft.com/office/drawing/2014/main" id="{A9145C93-21CB-414F-AD5E-1A308A00EE26}"/>
              </a:ext>
            </a:extLst>
          </p:cNvPr>
          <p:cNvGrpSpPr/>
          <p:nvPr/>
        </p:nvGrpSpPr>
        <p:grpSpPr>
          <a:xfrm>
            <a:off x="5298872" y="1353765"/>
            <a:ext cx="1143000" cy="1143000"/>
            <a:chOff x="3774872" y="1353765"/>
            <a:chExt cx="1143000" cy="1143000"/>
          </a:xfrm>
        </p:grpSpPr>
        <p:sp>
          <p:nvSpPr>
            <p:cNvPr id="21" name="Freeform 33">
              <a:extLst>
                <a:ext uri="{FF2B5EF4-FFF2-40B4-BE49-F238E27FC236}">
                  <a16:creationId xmlns:a16="http://schemas.microsoft.com/office/drawing/2014/main" id="{07439CAE-009F-F647-A83B-53EA8423CCBA}"/>
                </a:ext>
              </a:extLst>
            </p:cNvPr>
            <p:cNvSpPr>
              <a:spLocks noChangeAspect="1" noEditPoints="1"/>
            </p:cNvSpPr>
            <p:nvPr/>
          </p:nvSpPr>
          <p:spPr bwMode="auto">
            <a:xfrm rot="20958838">
              <a:off x="3774872" y="1353765"/>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6"/>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22" name="Oval 21">
              <a:extLst>
                <a:ext uri="{FF2B5EF4-FFF2-40B4-BE49-F238E27FC236}">
                  <a16:creationId xmlns:a16="http://schemas.microsoft.com/office/drawing/2014/main" id="{C76F090E-D10F-FA41-9D4C-CCFAC7968EE7}"/>
                </a:ext>
              </a:extLst>
            </p:cNvPr>
            <p:cNvSpPr/>
            <p:nvPr/>
          </p:nvSpPr>
          <p:spPr bwMode="gray">
            <a:xfrm>
              <a:off x="3968285" y="1551096"/>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grpSp>
        <p:nvGrpSpPr>
          <p:cNvPr id="23" name="Group 22">
            <a:extLst>
              <a:ext uri="{FF2B5EF4-FFF2-40B4-BE49-F238E27FC236}">
                <a16:creationId xmlns:a16="http://schemas.microsoft.com/office/drawing/2014/main" id="{3484CF2A-9CCC-7045-AD2B-378778F4C739}"/>
              </a:ext>
            </a:extLst>
          </p:cNvPr>
          <p:cNvGrpSpPr/>
          <p:nvPr/>
        </p:nvGrpSpPr>
        <p:grpSpPr>
          <a:xfrm>
            <a:off x="4340958" y="2887291"/>
            <a:ext cx="1143000" cy="1143000"/>
            <a:chOff x="2816958" y="2887291"/>
            <a:chExt cx="1530942" cy="1546969"/>
          </a:xfrm>
        </p:grpSpPr>
        <p:sp>
          <p:nvSpPr>
            <p:cNvPr id="24" name="Freeform 33">
              <a:extLst>
                <a:ext uri="{FF2B5EF4-FFF2-40B4-BE49-F238E27FC236}">
                  <a16:creationId xmlns:a16="http://schemas.microsoft.com/office/drawing/2014/main" id="{4546DE54-EB18-D74F-BC66-D86EC8BA704B}"/>
                </a:ext>
              </a:extLst>
            </p:cNvPr>
            <p:cNvSpPr>
              <a:spLocks noChangeAspect="1" noEditPoints="1"/>
            </p:cNvSpPr>
            <p:nvPr/>
          </p:nvSpPr>
          <p:spPr bwMode="auto">
            <a:xfrm>
              <a:off x="2816958" y="2887291"/>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6"/>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25" name="Oval 24">
              <a:extLst>
                <a:ext uri="{FF2B5EF4-FFF2-40B4-BE49-F238E27FC236}">
                  <a16:creationId xmlns:a16="http://schemas.microsoft.com/office/drawing/2014/main" id="{B40391D8-A07D-C443-8FAA-FA13E837BB6C}"/>
                </a:ext>
              </a:extLst>
            </p:cNvPr>
            <p:cNvSpPr/>
            <p:nvPr/>
          </p:nvSpPr>
          <p:spPr bwMode="gray">
            <a:xfrm>
              <a:off x="3076668" y="3154364"/>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grpSp>
        <p:nvGrpSpPr>
          <p:cNvPr id="26" name="Group 25">
            <a:extLst>
              <a:ext uri="{FF2B5EF4-FFF2-40B4-BE49-F238E27FC236}">
                <a16:creationId xmlns:a16="http://schemas.microsoft.com/office/drawing/2014/main" id="{83406BB4-858F-EA47-BD25-3ED7D903816A}"/>
              </a:ext>
            </a:extLst>
          </p:cNvPr>
          <p:cNvGrpSpPr/>
          <p:nvPr/>
        </p:nvGrpSpPr>
        <p:grpSpPr>
          <a:xfrm rot="823653">
            <a:off x="2490055" y="4241022"/>
            <a:ext cx="1143000" cy="1143000"/>
            <a:chOff x="788598" y="3923134"/>
            <a:chExt cx="1530942" cy="1546969"/>
          </a:xfrm>
        </p:grpSpPr>
        <p:sp>
          <p:nvSpPr>
            <p:cNvPr id="27" name="Freeform 33">
              <a:extLst>
                <a:ext uri="{FF2B5EF4-FFF2-40B4-BE49-F238E27FC236}">
                  <a16:creationId xmlns:a16="http://schemas.microsoft.com/office/drawing/2014/main" id="{855A533B-6B1B-1C47-86B7-5A8D5B61B46D}"/>
                </a:ext>
              </a:extLst>
            </p:cNvPr>
            <p:cNvSpPr>
              <a:spLocks noChangeAspect="1" noEditPoints="1"/>
            </p:cNvSpPr>
            <p:nvPr/>
          </p:nvSpPr>
          <p:spPr bwMode="auto">
            <a:xfrm>
              <a:off x="788598" y="3923134"/>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2"/>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28" name="Oval 27">
              <a:extLst>
                <a:ext uri="{FF2B5EF4-FFF2-40B4-BE49-F238E27FC236}">
                  <a16:creationId xmlns:a16="http://schemas.microsoft.com/office/drawing/2014/main" id="{C0BFBF6E-8AE1-9149-A056-ED26FEA242C8}"/>
                </a:ext>
              </a:extLst>
            </p:cNvPr>
            <p:cNvSpPr/>
            <p:nvPr/>
          </p:nvSpPr>
          <p:spPr bwMode="gray">
            <a:xfrm>
              <a:off x="1047657" y="4190206"/>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grpSp>
        <p:nvGrpSpPr>
          <p:cNvPr id="29" name="Group 28">
            <a:extLst>
              <a:ext uri="{FF2B5EF4-FFF2-40B4-BE49-F238E27FC236}">
                <a16:creationId xmlns:a16="http://schemas.microsoft.com/office/drawing/2014/main" id="{395DB3FF-D983-524A-8F94-F7A403F842FB}"/>
              </a:ext>
            </a:extLst>
          </p:cNvPr>
          <p:cNvGrpSpPr/>
          <p:nvPr/>
        </p:nvGrpSpPr>
        <p:grpSpPr>
          <a:xfrm rot="222427">
            <a:off x="3122214" y="2231062"/>
            <a:ext cx="1143000" cy="1143000"/>
            <a:chOff x="1661570" y="1993316"/>
            <a:chExt cx="1530942" cy="1546969"/>
          </a:xfrm>
        </p:grpSpPr>
        <p:sp>
          <p:nvSpPr>
            <p:cNvPr id="30" name="Freeform 33">
              <a:extLst>
                <a:ext uri="{FF2B5EF4-FFF2-40B4-BE49-F238E27FC236}">
                  <a16:creationId xmlns:a16="http://schemas.microsoft.com/office/drawing/2014/main" id="{731866BB-996F-9046-9469-D592C3F1244D}"/>
                </a:ext>
              </a:extLst>
            </p:cNvPr>
            <p:cNvSpPr>
              <a:spLocks noChangeAspect="1" noEditPoints="1"/>
            </p:cNvSpPr>
            <p:nvPr/>
          </p:nvSpPr>
          <p:spPr bwMode="auto">
            <a:xfrm>
              <a:off x="1661570" y="1993316"/>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6"/>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31" name="Oval 30">
              <a:extLst>
                <a:ext uri="{FF2B5EF4-FFF2-40B4-BE49-F238E27FC236}">
                  <a16:creationId xmlns:a16="http://schemas.microsoft.com/office/drawing/2014/main" id="{F16173F1-329E-6E45-A966-F10839A4C86E}"/>
                </a:ext>
              </a:extLst>
            </p:cNvPr>
            <p:cNvSpPr/>
            <p:nvPr/>
          </p:nvSpPr>
          <p:spPr bwMode="gray">
            <a:xfrm>
              <a:off x="1920629" y="2267457"/>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sp>
        <p:nvSpPr>
          <p:cNvPr id="32" name="Isosceles Triangle 41">
            <a:extLst>
              <a:ext uri="{FF2B5EF4-FFF2-40B4-BE49-F238E27FC236}">
                <a16:creationId xmlns:a16="http://schemas.microsoft.com/office/drawing/2014/main" id="{B62AA3CB-6476-2C48-8344-E3EFB2106D5F}"/>
              </a:ext>
            </a:extLst>
          </p:cNvPr>
          <p:cNvSpPr/>
          <p:nvPr/>
        </p:nvSpPr>
        <p:spPr bwMode="gray">
          <a:xfrm rot="975897">
            <a:off x="3082142" y="3621657"/>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prstClr val="white"/>
              </a:solidFill>
            </a:endParaRPr>
          </a:p>
        </p:txBody>
      </p:sp>
      <p:sp>
        <p:nvSpPr>
          <p:cNvPr id="33" name="Isosceles Triangle 42">
            <a:extLst>
              <a:ext uri="{FF2B5EF4-FFF2-40B4-BE49-F238E27FC236}">
                <a16:creationId xmlns:a16="http://schemas.microsoft.com/office/drawing/2014/main" id="{E7D12A51-67B5-9F4E-AE4F-685602F2F06B}"/>
              </a:ext>
            </a:extLst>
          </p:cNvPr>
          <p:cNvSpPr/>
          <p:nvPr/>
        </p:nvSpPr>
        <p:spPr bwMode="gray">
          <a:xfrm rot="5400000">
            <a:off x="4726564" y="2117730"/>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prstClr val="white"/>
              </a:solidFill>
            </a:endParaRPr>
          </a:p>
        </p:txBody>
      </p:sp>
      <p:sp>
        <p:nvSpPr>
          <p:cNvPr id="37" name="Arc 36">
            <a:extLst>
              <a:ext uri="{FF2B5EF4-FFF2-40B4-BE49-F238E27FC236}">
                <a16:creationId xmlns:a16="http://schemas.microsoft.com/office/drawing/2014/main" id="{7609F6C8-DF79-A045-AA59-2A9EFEAFD70F}"/>
              </a:ext>
            </a:extLst>
          </p:cNvPr>
          <p:cNvSpPr/>
          <p:nvPr/>
        </p:nvSpPr>
        <p:spPr>
          <a:xfrm rot="5400000">
            <a:off x="4877307" y="3431690"/>
            <a:ext cx="2234689" cy="2519013"/>
          </a:xfrm>
          <a:prstGeom prst="arc">
            <a:avLst>
              <a:gd name="adj1" fmla="val 17851847"/>
              <a:gd name="adj2" fmla="val 3652149"/>
            </a:avLst>
          </a:prstGeom>
          <a:noFill/>
          <a:ln w="19050" algn="ctr">
            <a:solidFill>
              <a:schemeClr val="accent3"/>
            </a:solidFill>
            <a:prstDash val="dash"/>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a:solidFill>
                <a:prstClr val="white"/>
              </a:solidFill>
            </a:endParaRPr>
          </a:p>
        </p:txBody>
      </p:sp>
      <p:grpSp>
        <p:nvGrpSpPr>
          <p:cNvPr id="38" name="Group 37">
            <a:extLst>
              <a:ext uri="{FF2B5EF4-FFF2-40B4-BE49-F238E27FC236}">
                <a16:creationId xmlns:a16="http://schemas.microsoft.com/office/drawing/2014/main" id="{66B81EF9-1578-7444-B584-2A8CFB7E4527}"/>
              </a:ext>
            </a:extLst>
          </p:cNvPr>
          <p:cNvGrpSpPr/>
          <p:nvPr/>
        </p:nvGrpSpPr>
        <p:grpSpPr>
          <a:xfrm>
            <a:off x="4166459" y="4339890"/>
            <a:ext cx="1143000" cy="1143000"/>
            <a:chOff x="2642459" y="4339890"/>
            <a:chExt cx="1143000" cy="1143000"/>
          </a:xfrm>
        </p:grpSpPr>
        <p:sp>
          <p:nvSpPr>
            <p:cNvPr id="39" name="Freeform 33">
              <a:extLst>
                <a:ext uri="{FF2B5EF4-FFF2-40B4-BE49-F238E27FC236}">
                  <a16:creationId xmlns:a16="http://schemas.microsoft.com/office/drawing/2014/main" id="{F4B298CB-90EF-E542-A1B0-7A1D7C219EC1}"/>
                </a:ext>
              </a:extLst>
            </p:cNvPr>
            <p:cNvSpPr>
              <a:spLocks noChangeAspect="1" noEditPoints="1"/>
            </p:cNvSpPr>
            <p:nvPr/>
          </p:nvSpPr>
          <p:spPr bwMode="auto">
            <a:xfrm rot="20854841">
              <a:off x="2642459" y="4339890"/>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2"/>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40" name="Oval 39">
              <a:extLst>
                <a:ext uri="{FF2B5EF4-FFF2-40B4-BE49-F238E27FC236}">
                  <a16:creationId xmlns:a16="http://schemas.microsoft.com/office/drawing/2014/main" id="{E2DF4111-7535-F945-BF74-69B37F62A298}"/>
                </a:ext>
              </a:extLst>
            </p:cNvPr>
            <p:cNvSpPr/>
            <p:nvPr/>
          </p:nvSpPr>
          <p:spPr bwMode="gray">
            <a:xfrm>
              <a:off x="2835872" y="4537221"/>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grpSp>
        <p:nvGrpSpPr>
          <p:cNvPr id="41" name="Group 40">
            <a:extLst>
              <a:ext uri="{FF2B5EF4-FFF2-40B4-BE49-F238E27FC236}">
                <a16:creationId xmlns:a16="http://schemas.microsoft.com/office/drawing/2014/main" id="{883B3268-2CDA-704A-A1C6-81793D3ED5E8}"/>
              </a:ext>
            </a:extLst>
          </p:cNvPr>
          <p:cNvGrpSpPr/>
          <p:nvPr/>
        </p:nvGrpSpPr>
        <p:grpSpPr>
          <a:xfrm>
            <a:off x="6128001" y="4555054"/>
            <a:ext cx="1143000" cy="1143000"/>
            <a:chOff x="4604001" y="4555054"/>
            <a:chExt cx="1143000" cy="1143000"/>
          </a:xfrm>
        </p:grpSpPr>
        <p:sp>
          <p:nvSpPr>
            <p:cNvPr id="42" name="Freeform 33">
              <a:extLst>
                <a:ext uri="{FF2B5EF4-FFF2-40B4-BE49-F238E27FC236}">
                  <a16:creationId xmlns:a16="http://schemas.microsoft.com/office/drawing/2014/main" id="{FBFDBA6A-3A1C-B242-9F8A-95B70FBD8270}"/>
                </a:ext>
              </a:extLst>
            </p:cNvPr>
            <p:cNvSpPr>
              <a:spLocks noChangeAspect="1" noEditPoints="1"/>
            </p:cNvSpPr>
            <p:nvPr/>
          </p:nvSpPr>
          <p:spPr bwMode="auto">
            <a:xfrm rot="20841122">
              <a:off x="4604001" y="4555054"/>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6"/>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43" name="Oval 42">
              <a:extLst>
                <a:ext uri="{FF2B5EF4-FFF2-40B4-BE49-F238E27FC236}">
                  <a16:creationId xmlns:a16="http://schemas.microsoft.com/office/drawing/2014/main" id="{2D55B036-5F9C-1C4C-8B70-FE7B019BFF02}"/>
                </a:ext>
              </a:extLst>
            </p:cNvPr>
            <p:cNvSpPr/>
            <p:nvPr/>
          </p:nvSpPr>
          <p:spPr bwMode="gray">
            <a:xfrm>
              <a:off x="4796482" y="4760780"/>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sp>
        <p:nvSpPr>
          <p:cNvPr id="44" name="Isosceles Triangle 46">
            <a:extLst>
              <a:ext uri="{FF2B5EF4-FFF2-40B4-BE49-F238E27FC236}">
                <a16:creationId xmlns:a16="http://schemas.microsoft.com/office/drawing/2014/main" id="{3D12F597-5FDF-0C41-B376-A3983A584704}"/>
              </a:ext>
            </a:extLst>
          </p:cNvPr>
          <p:cNvSpPr/>
          <p:nvPr/>
        </p:nvSpPr>
        <p:spPr bwMode="gray">
          <a:xfrm rot="16895309">
            <a:off x="5727851" y="5778783"/>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prstClr val="white"/>
              </a:solidFill>
            </a:endParaRPr>
          </a:p>
        </p:txBody>
      </p:sp>
      <p:sp>
        <p:nvSpPr>
          <p:cNvPr id="45" name="Arc 44">
            <a:extLst>
              <a:ext uri="{FF2B5EF4-FFF2-40B4-BE49-F238E27FC236}">
                <a16:creationId xmlns:a16="http://schemas.microsoft.com/office/drawing/2014/main" id="{55F28910-06AE-2C4D-B0F7-1433696BD071}"/>
              </a:ext>
            </a:extLst>
          </p:cNvPr>
          <p:cNvSpPr/>
          <p:nvPr/>
        </p:nvSpPr>
        <p:spPr>
          <a:xfrm rot="12012593" flipH="1">
            <a:off x="6973941" y="2247609"/>
            <a:ext cx="2234689" cy="2519013"/>
          </a:xfrm>
          <a:prstGeom prst="arc">
            <a:avLst>
              <a:gd name="adj1" fmla="val 17851847"/>
              <a:gd name="adj2" fmla="val 3652149"/>
            </a:avLst>
          </a:prstGeom>
          <a:noFill/>
          <a:ln w="19050" algn="ctr">
            <a:solidFill>
              <a:schemeClr val="accent3"/>
            </a:solidFill>
            <a:prstDash val="dash"/>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a:solidFill>
                <a:prstClr val="white"/>
              </a:solidFill>
            </a:endParaRPr>
          </a:p>
        </p:txBody>
      </p:sp>
      <p:grpSp>
        <p:nvGrpSpPr>
          <p:cNvPr id="46" name="Group 45">
            <a:extLst>
              <a:ext uri="{FF2B5EF4-FFF2-40B4-BE49-F238E27FC236}">
                <a16:creationId xmlns:a16="http://schemas.microsoft.com/office/drawing/2014/main" id="{3C1286B5-C70A-5C4D-AD32-F9EC0955FA11}"/>
              </a:ext>
            </a:extLst>
          </p:cNvPr>
          <p:cNvGrpSpPr/>
          <p:nvPr/>
        </p:nvGrpSpPr>
        <p:grpSpPr>
          <a:xfrm>
            <a:off x="7519784" y="3752479"/>
            <a:ext cx="1143000" cy="1143000"/>
            <a:chOff x="5995784" y="3752479"/>
            <a:chExt cx="1530942" cy="1546969"/>
          </a:xfrm>
        </p:grpSpPr>
        <p:sp>
          <p:nvSpPr>
            <p:cNvPr id="47" name="Freeform 33">
              <a:extLst>
                <a:ext uri="{FF2B5EF4-FFF2-40B4-BE49-F238E27FC236}">
                  <a16:creationId xmlns:a16="http://schemas.microsoft.com/office/drawing/2014/main" id="{7E548EA4-08A2-1743-A6C3-566F5E44AB00}"/>
                </a:ext>
              </a:extLst>
            </p:cNvPr>
            <p:cNvSpPr>
              <a:spLocks noChangeAspect="1" noEditPoints="1"/>
            </p:cNvSpPr>
            <p:nvPr/>
          </p:nvSpPr>
          <p:spPr bwMode="auto">
            <a:xfrm>
              <a:off x="5995784" y="3752479"/>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6"/>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48" name="Oval 47">
              <a:extLst>
                <a:ext uri="{FF2B5EF4-FFF2-40B4-BE49-F238E27FC236}">
                  <a16:creationId xmlns:a16="http://schemas.microsoft.com/office/drawing/2014/main" id="{3C6118B1-5899-EC49-9151-2607D1DC8E2F}"/>
                </a:ext>
              </a:extLst>
            </p:cNvPr>
            <p:cNvSpPr/>
            <p:nvPr/>
          </p:nvSpPr>
          <p:spPr bwMode="gray">
            <a:xfrm>
              <a:off x="6254843" y="4019552"/>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grpSp>
        <p:nvGrpSpPr>
          <p:cNvPr id="49" name="Group 48">
            <a:extLst>
              <a:ext uri="{FF2B5EF4-FFF2-40B4-BE49-F238E27FC236}">
                <a16:creationId xmlns:a16="http://schemas.microsoft.com/office/drawing/2014/main" id="{697E599A-F2B7-4545-A0F3-FEA6584DBC08}"/>
              </a:ext>
            </a:extLst>
          </p:cNvPr>
          <p:cNvGrpSpPr/>
          <p:nvPr/>
        </p:nvGrpSpPr>
        <p:grpSpPr>
          <a:xfrm>
            <a:off x="8348459" y="1733313"/>
            <a:ext cx="1143000" cy="1143000"/>
            <a:chOff x="6824459" y="1733313"/>
            <a:chExt cx="1530942" cy="1546969"/>
          </a:xfrm>
        </p:grpSpPr>
        <p:sp>
          <p:nvSpPr>
            <p:cNvPr id="50" name="Freeform 33">
              <a:extLst>
                <a:ext uri="{FF2B5EF4-FFF2-40B4-BE49-F238E27FC236}">
                  <a16:creationId xmlns:a16="http://schemas.microsoft.com/office/drawing/2014/main" id="{0F03AE3C-E6AD-BF42-A6D8-519972DDF1E8}"/>
                </a:ext>
              </a:extLst>
            </p:cNvPr>
            <p:cNvSpPr>
              <a:spLocks noChangeAspect="1" noEditPoints="1"/>
            </p:cNvSpPr>
            <p:nvPr/>
          </p:nvSpPr>
          <p:spPr bwMode="auto">
            <a:xfrm>
              <a:off x="6824459" y="1733313"/>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2"/>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51" name="Oval 50">
              <a:extLst>
                <a:ext uri="{FF2B5EF4-FFF2-40B4-BE49-F238E27FC236}">
                  <a16:creationId xmlns:a16="http://schemas.microsoft.com/office/drawing/2014/main" id="{55B597FA-C21D-2E4B-97BA-FCDBC5BF349D}"/>
                </a:ext>
              </a:extLst>
            </p:cNvPr>
            <p:cNvSpPr/>
            <p:nvPr/>
          </p:nvSpPr>
          <p:spPr bwMode="gray">
            <a:xfrm>
              <a:off x="7083518" y="2013220"/>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sp>
        <p:nvSpPr>
          <p:cNvPr id="52" name="Isosceles Triangle 50">
            <a:extLst>
              <a:ext uri="{FF2B5EF4-FFF2-40B4-BE49-F238E27FC236}">
                <a16:creationId xmlns:a16="http://schemas.microsoft.com/office/drawing/2014/main" id="{3E8B5A34-1729-B94E-88BD-C9F0A497C04F}"/>
              </a:ext>
            </a:extLst>
          </p:cNvPr>
          <p:cNvSpPr/>
          <p:nvPr/>
        </p:nvSpPr>
        <p:spPr bwMode="gray">
          <a:xfrm flipH="1">
            <a:off x="9122499" y="3364499"/>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prstClr val="white"/>
              </a:solidFill>
            </a:endParaRPr>
          </a:p>
        </p:txBody>
      </p:sp>
    </p:spTree>
    <p:custDataLst>
      <p:tags r:id="rId1"/>
    </p:custDataLst>
    <p:extLst>
      <p:ext uri="{BB962C8B-B14F-4D97-AF65-F5344CB8AC3E}">
        <p14:creationId xmlns:p14="http://schemas.microsoft.com/office/powerpoint/2010/main" val="883177633"/>
      </p:ext>
    </p:extLst>
  </p:cSld>
  <p:clrMapOvr>
    <a:masterClrMapping/>
  </p:clrMapOvr>
  <p:transition>
    <p:fade/>
  </p:transition>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9" name="Group 268">
            <a:extLst>
              <a:ext uri="{FF2B5EF4-FFF2-40B4-BE49-F238E27FC236}">
                <a16:creationId xmlns:a16="http://schemas.microsoft.com/office/drawing/2014/main" id="{A1C08871-DEBB-454E-AC32-6BD2B1DD83F3}"/>
              </a:ext>
            </a:extLst>
          </p:cNvPr>
          <p:cNvGrpSpPr/>
          <p:nvPr/>
        </p:nvGrpSpPr>
        <p:grpSpPr>
          <a:xfrm>
            <a:off x="4626613" y="6202583"/>
            <a:ext cx="859755" cy="236954"/>
            <a:chOff x="365125" y="5552310"/>
            <a:chExt cx="859755" cy="236954"/>
          </a:xfrm>
        </p:grpSpPr>
        <p:sp>
          <p:nvSpPr>
            <p:cNvPr id="288" name="Oval 101">
              <a:extLst>
                <a:ext uri="{FF2B5EF4-FFF2-40B4-BE49-F238E27FC236}">
                  <a16:creationId xmlns:a16="http://schemas.microsoft.com/office/drawing/2014/main" id="{8276E5E4-FC1D-AB4C-9C11-9665AA037D28}"/>
                </a:ext>
              </a:extLst>
            </p:cNvPr>
            <p:cNvSpPr>
              <a:spLocks noChangeArrowheads="1"/>
            </p:cNvSpPr>
            <p:nvPr/>
          </p:nvSpPr>
          <p:spPr bwMode="auto">
            <a:xfrm>
              <a:off x="365125" y="5552310"/>
              <a:ext cx="236954" cy="236954"/>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defTabSz="913686"/>
              <a:endParaRPr lang="en-US" sz="800">
                <a:solidFill>
                  <a:prstClr val="black"/>
                </a:solidFill>
              </a:endParaRPr>
            </a:p>
          </p:txBody>
        </p:sp>
        <p:sp>
          <p:nvSpPr>
            <p:cNvPr id="289" name="Rectangle 288">
              <a:extLst>
                <a:ext uri="{FF2B5EF4-FFF2-40B4-BE49-F238E27FC236}">
                  <a16:creationId xmlns:a16="http://schemas.microsoft.com/office/drawing/2014/main" id="{D97BE1CE-A6B2-6A48-8C4C-A7F26F7397EA}"/>
                </a:ext>
              </a:extLst>
            </p:cNvPr>
            <p:cNvSpPr/>
            <p:nvPr/>
          </p:nvSpPr>
          <p:spPr>
            <a:xfrm>
              <a:off x="681462" y="5609231"/>
              <a:ext cx="543418" cy="123111"/>
            </a:xfrm>
            <a:prstGeom prst="rect">
              <a:avLst/>
            </a:prstGeom>
          </p:spPr>
          <p:txBody>
            <a:bodyPr wrap="none" lIns="0" tIns="0" rIns="0" bIns="0">
              <a:spAutoFit/>
            </a:bodyPr>
            <a:lstStyle/>
            <a:p>
              <a:pPr defTabSz="913686" fontAlgn="b"/>
              <a:r>
                <a:rPr lang="en-US" sz="800" dirty="0">
                  <a:solidFill>
                    <a:srgbClr val="313131"/>
                  </a:solidFill>
                </a:rPr>
                <a:t>Lorem ipsum</a:t>
              </a:r>
              <a:endParaRPr lang="en-US" sz="800" dirty="0">
                <a:solidFill>
                  <a:srgbClr val="313131"/>
                </a:solidFill>
                <a:latin typeface="Calibri"/>
              </a:endParaRPr>
            </a:p>
          </p:txBody>
        </p:sp>
      </p:grpSp>
      <p:grpSp>
        <p:nvGrpSpPr>
          <p:cNvPr id="270" name="Group 269">
            <a:extLst>
              <a:ext uri="{FF2B5EF4-FFF2-40B4-BE49-F238E27FC236}">
                <a16:creationId xmlns:a16="http://schemas.microsoft.com/office/drawing/2014/main" id="{2DDC4E8F-A0F3-F140-969D-90B2F890CE71}"/>
              </a:ext>
            </a:extLst>
          </p:cNvPr>
          <p:cNvGrpSpPr/>
          <p:nvPr/>
        </p:nvGrpSpPr>
        <p:grpSpPr>
          <a:xfrm>
            <a:off x="5723293" y="6202583"/>
            <a:ext cx="859755" cy="236954"/>
            <a:chOff x="1426483" y="5552310"/>
            <a:chExt cx="859755" cy="236954"/>
          </a:xfrm>
        </p:grpSpPr>
        <p:sp>
          <p:nvSpPr>
            <p:cNvPr id="286" name="Oval 101">
              <a:extLst>
                <a:ext uri="{FF2B5EF4-FFF2-40B4-BE49-F238E27FC236}">
                  <a16:creationId xmlns:a16="http://schemas.microsoft.com/office/drawing/2014/main" id="{5CB37D52-1030-4841-9130-02746962CD98}"/>
                </a:ext>
              </a:extLst>
            </p:cNvPr>
            <p:cNvSpPr>
              <a:spLocks noChangeArrowheads="1"/>
            </p:cNvSpPr>
            <p:nvPr/>
          </p:nvSpPr>
          <p:spPr bwMode="auto">
            <a:xfrm>
              <a:off x="1426483" y="5552310"/>
              <a:ext cx="236954" cy="236954"/>
            </a:xfrm>
            <a:prstGeom prst="ellipse">
              <a:avLst/>
            </a:prstGeom>
            <a:solidFill>
              <a:srgbClr val="0076A8"/>
            </a:solidFill>
            <a:ln>
              <a:noFill/>
            </a:ln>
          </p:spPr>
          <p:txBody>
            <a:bodyPr vert="horz" wrap="square" lIns="91440" tIns="45720" rIns="91440" bIns="45720" numCol="1" anchor="t" anchorCtr="0" compatLnSpc="1">
              <a:prstTxWarp prst="textNoShape">
                <a:avLst/>
              </a:prstTxWarp>
            </a:bodyPr>
            <a:lstStyle/>
            <a:p>
              <a:pPr defTabSz="913686"/>
              <a:endParaRPr lang="en-US" sz="800">
                <a:solidFill>
                  <a:prstClr val="black"/>
                </a:solidFill>
              </a:endParaRPr>
            </a:p>
          </p:txBody>
        </p:sp>
        <p:sp>
          <p:nvSpPr>
            <p:cNvPr id="287" name="Rectangle 286">
              <a:extLst>
                <a:ext uri="{FF2B5EF4-FFF2-40B4-BE49-F238E27FC236}">
                  <a16:creationId xmlns:a16="http://schemas.microsoft.com/office/drawing/2014/main" id="{E7188D00-A17A-7745-BFA9-D815B692C93A}"/>
                </a:ext>
              </a:extLst>
            </p:cNvPr>
            <p:cNvSpPr/>
            <p:nvPr/>
          </p:nvSpPr>
          <p:spPr>
            <a:xfrm>
              <a:off x="1742820" y="5609231"/>
              <a:ext cx="543418" cy="123111"/>
            </a:xfrm>
            <a:prstGeom prst="rect">
              <a:avLst/>
            </a:prstGeom>
          </p:spPr>
          <p:txBody>
            <a:bodyPr wrap="none" lIns="0" tIns="0" rIns="0" bIns="0">
              <a:spAutoFit/>
            </a:bodyPr>
            <a:lstStyle/>
            <a:p>
              <a:pPr defTabSz="913686" fontAlgn="b"/>
              <a:r>
                <a:rPr lang="en-US" sz="800" dirty="0">
                  <a:solidFill>
                    <a:srgbClr val="313131"/>
                  </a:solidFill>
                </a:rPr>
                <a:t>Lorem ipsum</a:t>
              </a:r>
              <a:endParaRPr lang="en-US" sz="800" dirty="0">
                <a:solidFill>
                  <a:srgbClr val="313131"/>
                </a:solidFill>
                <a:latin typeface="Calibri"/>
              </a:endParaRPr>
            </a:p>
          </p:txBody>
        </p:sp>
      </p:grpSp>
      <p:grpSp>
        <p:nvGrpSpPr>
          <p:cNvPr id="275" name="Group 274">
            <a:extLst>
              <a:ext uri="{FF2B5EF4-FFF2-40B4-BE49-F238E27FC236}">
                <a16:creationId xmlns:a16="http://schemas.microsoft.com/office/drawing/2014/main" id="{ADF2E44C-6A23-D346-AA39-88C43D6728DA}"/>
              </a:ext>
            </a:extLst>
          </p:cNvPr>
          <p:cNvGrpSpPr/>
          <p:nvPr/>
        </p:nvGrpSpPr>
        <p:grpSpPr>
          <a:xfrm>
            <a:off x="6811134" y="6216941"/>
            <a:ext cx="859755" cy="236954"/>
            <a:chOff x="2965425" y="5963790"/>
            <a:chExt cx="859755" cy="236954"/>
          </a:xfrm>
        </p:grpSpPr>
        <p:sp>
          <p:nvSpPr>
            <p:cNvPr id="276" name="Oval 101">
              <a:extLst>
                <a:ext uri="{FF2B5EF4-FFF2-40B4-BE49-F238E27FC236}">
                  <a16:creationId xmlns:a16="http://schemas.microsoft.com/office/drawing/2014/main" id="{B51C45FF-E395-574B-AA97-6FF58EEA55B5}"/>
                </a:ext>
              </a:extLst>
            </p:cNvPr>
            <p:cNvSpPr>
              <a:spLocks noChangeArrowheads="1"/>
            </p:cNvSpPr>
            <p:nvPr/>
          </p:nvSpPr>
          <p:spPr bwMode="auto">
            <a:xfrm>
              <a:off x="2965425" y="5963790"/>
              <a:ext cx="236954" cy="236954"/>
            </a:xfrm>
            <a:prstGeom prst="ellipse">
              <a:avLst/>
            </a:prstGeom>
            <a:solidFill>
              <a:schemeClr val="tx1"/>
            </a:solidFill>
            <a:ln w="635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a:solidFill>
                  <a:prstClr val="white"/>
                </a:solidFill>
              </a:endParaRPr>
            </a:p>
          </p:txBody>
        </p:sp>
        <p:sp>
          <p:nvSpPr>
            <p:cNvPr id="277" name="Rectangle 276">
              <a:extLst>
                <a:ext uri="{FF2B5EF4-FFF2-40B4-BE49-F238E27FC236}">
                  <a16:creationId xmlns:a16="http://schemas.microsoft.com/office/drawing/2014/main" id="{35B4C63B-BC42-D949-A42A-4A872B50F3F5}"/>
                </a:ext>
              </a:extLst>
            </p:cNvPr>
            <p:cNvSpPr/>
            <p:nvPr/>
          </p:nvSpPr>
          <p:spPr>
            <a:xfrm>
              <a:off x="3281762" y="6020711"/>
              <a:ext cx="543418" cy="123111"/>
            </a:xfrm>
            <a:prstGeom prst="rect">
              <a:avLst/>
            </a:prstGeom>
          </p:spPr>
          <p:txBody>
            <a:bodyPr wrap="none" lIns="0" tIns="0" rIns="0" bIns="0">
              <a:spAutoFit/>
            </a:bodyPr>
            <a:lstStyle/>
            <a:p>
              <a:pPr defTabSz="913686" fontAlgn="b"/>
              <a:r>
                <a:rPr lang="en-US" sz="800" dirty="0">
                  <a:solidFill>
                    <a:srgbClr val="313131"/>
                  </a:solidFill>
                </a:rPr>
                <a:t>Lorem ipsum</a:t>
              </a:r>
              <a:endParaRPr lang="en-US" sz="800" dirty="0">
                <a:solidFill>
                  <a:srgbClr val="313131"/>
                </a:solidFill>
                <a:latin typeface="Calibri"/>
              </a:endParaRPr>
            </a:p>
          </p:txBody>
        </p:sp>
      </p:grpSp>
      <p:grpSp>
        <p:nvGrpSpPr>
          <p:cNvPr id="9" name="Group 8">
            <a:extLst>
              <a:ext uri="{FF2B5EF4-FFF2-40B4-BE49-F238E27FC236}">
                <a16:creationId xmlns:a16="http://schemas.microsoft.com/office/drawing/2014/main" id="{3CBFEBA4-3C8F-0C42-A718-35C3CE98C1AC}"/>
              </a:ext>
            </a:extLst>
          </p:cNvPr>
          <p:cNvGrpSpPr/>
          <p:nvPr/>
        </p:nvGrpSpPr>
        <p:grpSpPr>
          <a:xfrm>
            <a:off x="712083" y="1196458"/>
            <a:ext cx="4506289" cy="4371565"/>
            <a:chOff x="2731383" y="472558"/>
            <a:chExt cx="4506289" cy="4371565"/>
          </a:xfrm>
          <a:solidFill>
            <a:schemeClr val="bg1">
              <a:lumMod val="85000"/>
            </a:schemeClr>
          </a:solidFill>
        </p:grpSpPr>
        <p:sp>
          <p:nvSpPr>
            <p:cNvPr id="124" name="Freeform 70">
              <a:extLst>
                <a:ext uri="{FF2B5EF4-FFF2-40B4-BE49-F238E27FC236}">
                  <a16:creationId xmlns:a16="http://schemas.microsoft.com/office/drawing/2014/main" id="{5BDEDD7A-5504-064B-99FB-0C4FC63F550A}"/>
                </a:ext>
              </a:extLst>
            </p:cNvPr>
            <p:cNvSpPr>
              <a:spLocks/>
            </p:cNvSpPr>
            <p:nvPr/>
          </p:nvSpPr>
          <p:spPr bwMode="auto">
            <a:xfrm>
              <a:off x="6256663" y="4364845"/>
              <a:ext cx="473857" cy="74330"/>
            </a:xfrm>
            <a:custGeom>
              <a:avLst/>
              <a:gdLst>
                <a:gd name="T0" fmla="*/ 0 w 612"/>
                <a:gd name="T1" fmla="*/ 96 h 96"/>
                <a:gd name="T2" fmla="*/ 0 w 612"/>
                <a:gd name="T3" fmla="*/ 78 h 96"/>
                <a:gd name="T4" fmla="*/ 606 w 612"/>
                <a:gd name="T5" fmla="*/ 0 h 96"/>
                <a:gd name="T6" fmla="*/ 612 w 612"/>
                <a:gd name="T7" fmla="*/ 12 h 96"/>
                <a:gd name="T8" fmla="*/ 0 w 612"/>
                <a:gd name="T9" fmla="*/ 96 h 96"/>
              </a:gdLst>
              <a:ahLst/>
              <a:cxnLst>
                <a:cxn ang="0">
                  <a:pos x="T0" y="T1"/>
                </a:cxn>
                <a:cxn ang="0">
                  <a:pos x="T2" y="T3"/>
                </a:cxn>
                <a:cxn ang="0">
                  <a:pos x="T4" y="T5"/>
                </a:cxn>
                <a:cxn ang="0">
                  <a:pos x="T6" y="T7"/>
                </a:cxn>
                <a:cxn ang="0">
                  <a:pos x="T8" y="T9"/>
                </a:cxn>
              </a:cxnLst>
              <a:rect l="0" t="0" r="r" b="b"/>
              <a:pathLst>
                <a:path w="612" h="96">
                  <a:moveTo>
                    <a:pt x="0" y="96"/>
                  </a:moveTo>
                  <a:lnTo>
                    <a:pt x="0" y="78"/>
                  </a:lnTo>
                  <a:lnTo>
                    <a:pt x="606" y="0"/>
                  </a:lnTo>
                  <a:lnTo>
                    <a:pt x="612" y="12"/>
                  </a:lnTo>
                  <a:lnTo>
                    <a:pt x="0" y="9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nvGrpSpPr>
            <p:cNvPr id="8" name="Group 7">
              <a:extLst>
                <a:ext uri="{FF2B5EF4-FFF2-40B4-BE49-F238E27FC236}">
                  <a16:creationId xmlns:a16="http://schemas.microsoft.com/office/drawing/2014/main" id="{040F306A-445D-B84A-B512-09372F182FCA}"/>
                </a:ext>
              </a:extLst>
            </p:cNvPr>
            <p:cNvGrpSpPr/>
            <p:nvPr/>
          </p:nvGrpSpPr>
          <p:grpSpPr>
            <a:xfrm>
              <a:off x="2731383" y="472558"/>
              <a:ext cx="4506289" cy="4371565"/>
              <a:chOff x="2731383" y="472558"/>
              <a:chExt cx="4506289" cy="4371565"/>
            </a:xfrm>
            <a:grpFill/>
          </p:grpSpPr>
          <p:sp>
            <p:nvSpPr>
              <p:cNvPr id="171" name="Freeform 117">
                <a:extLst>
                  <a:ext uri="{FF2B5EF4-FFF2-40B4-BE49-F238E27FC236}">
                    <a16:creationId xmlns:a16="http://schemas.microsoft.com/office/drawing/2014/main" id="{46022B55-DFB4-3346-8048-A0AB987837ED}"/>
                  </a:ext>
                </a:extLst>
              </p:cNvPr>
              <p:cNvSpPr>
                <a:spLocks/>
              </p:cNvSpPr>
              <p:nvPr/>
            </p:nvSpPr>
            <p:spPr bwMode="auto">
              <a:xfrm>
                <a:off x="2964441" y="4137208"/>
                <a:ext cx="209055" cy="218346"/>
              </a:xfrm>
              <a:custGeom>
                <a:avLst/>
                <a:gdLst>
                  <a:gd name="T0" fmla="*/ 258 w 270"/>
                  <a:gd name="T1" fmla="*/ 282 h 282"/>
                  <a:gd name="T2" fmla="*/ 0 w 270"/>
                  <a:gd name="T3" fmla="*/ 12 h 282"/>
                  <a:gd name="T4" fmla="*/ 12 w 270"/>
                  <a:gd name="T5" fmla="*/ 0 h 282"/>
                  <a:gd name="T6" fmla="*/ 270 w 270"/>
                  <a:gd name="T7" fmla="*/ 270 h 282"/>
                  <a:gd name="T8" fmla="*/ 258 w 270"/>
                  <a:gd name="T9" fmla="*/ 282 h 282"/>
                </a:gdLst>
                <a:ahLst/>
                <a:cxnLst>
                  <a:cxn ang="0">
                    <a:pos x="T0" y="T1"/>
                  </a:cxn>
                  <a:cxn ang="0">
                    <a:pos x="T2" y="T3"/>
                  </a:cxn>
                  <a:cxn ang="0">
                    <a:pos x="T4" y="T5"/>
                  </a:cxn>
                  <a:cxn ang="0">
                    <a:pos x="T6" y="T7"/>
                  </a:cxn>
                  <a:cxn ang="0">
                    <a:pos x="T8" y="T9"/>
                  </a:cxn>
                </a:cxnLst>
                <a:rect l="0" t="0" r="r" b="b"/>
                <a:pathLst>
                  <a:path w="270" h="282">
                    <a:moveTo>
                      <a:pt x="258" y="282"/>
                    </a:moveTo>
                    <a:lnTo>
                      <a:pt x="0" y="12"/>
                    </a:lnTo>
                    <a:lnTo>
                      <a:pt x="12" y="0"/>
                    </a:lnTo>
                    <a:lnTo>
                      <a:pt x="270" y="270"/>
                    </a:lnTo>
                    <a:lnTo>
                      <a:pt x="258" y="28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2" name="Freeform 118">
                <a:extLst>
                  <a:ext uri="{FF2B5EF4-FFF2-40B4-BE49-F238E27FC236}">
                    <a16:creationId xmlns:a16="http://schemas.microsoft.com/office/drawing/2014/main" id="{CB3D7507-B031-3845-8665-6C08353604AB}"/>
                  </a:ext>
                </a:extLst>
              </p:cNvPr>
              <p:cNvSpPr>
                <a:spLocks/>
              </p:cNvSpPr>
              <p:nvPr/>
            </p:nvSpPr>
            <p:spPr bwMode="auto">
              <a:xfrm>
                <a:off x="2870753" y="4504215"/>
                <a:ext cx="274868" cy="339908"/>
              </a:xfrm>
              <a:custGeom>
                <a:avLst/>
                <a:gdLst>
                  <a:gd name="T0" fmla="*/ 12 w 355"/>
                  <a:gd name="T1" fmla="*/ 439 h 439"/>
                  <a:gd name="T2" fmla="*/ 0 w 355"/>
                  <a:gd name="T3" fmla="*/ 427 h 439"/>
                  <a:gd name="T4" fmla="*/ 343 w 355"/>
                  <a:gd name="T5" fmla="*/ 0 h 439"/>
                  <a:gd name="T6" fmla="*/ 355 w 355"/>
                  <a:gd name="T7" fmla="*/ 12 h 439"/>
                  <a:gd name="T8" fmla="*/ 12 w 355"/>
                  <a:gd name="T9" fmla="*/ 439 h 439"/>
                </a:gdLst>
                <a:ahLst/>
                <a:cxnLst>
                  <a:cxn ang="0">
                    <a:pos x="T0" y="T1"/>
                  </a:cxn>
                  <a:cxn ang="0">
                    <a:pos x="T2" y="T3"/>
                  </a:cxn>
                  <a:cxn ang="0">
                    <a:pos x="T4" y="T5"/>
                  </a:cxn>
                  <a:cxn ang="0">
                    <a:pos x="T6" y="T7"/>
                  </a:cxn>
                  <a:cxn ang="0">
                    <a:pos x="T8" y="T9"/>
                  </a:cxn>
                </a:cxnLst>
                <a:rect l="0" t="0" r="r" b="b"/>
                <a:pathLst>
                  <a:path w="355" h="439">
                    <a:moveTo>
                      <a:pt x="12" y="439"/>
                    </a:moveTo>
                    <a:lnTo>
                      <a:pt x="0" y="427"/>
                    </a:lnTo>
                    <a:lnTo>
                      <a:pt x="343" y="0"/>
                    </a:lnTo>
                    <a:lnTo>
                      <a:pt x="355" y="12"/>
                    </a:lnTo>
                    <a:lnTo>
                      <a:pt x="12" y="43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5" name="Freeform 121">
                <a:extLst>
                  <a:ext uri="{FF2B5EF4-FFF2-40B4-BE49-F238E27FC236}">
                    <a16:creationId xmlns:a16="http://schemas.microsoft.com/office/drawing/2014/main" id="{3DC6306C-CED7-D743-9760-DC94D5CB2149}"/>
                  </a:ext>
                </a:extLst>
              </p:cNvPr>
              <p:cNvSpPr>
                <a:spLocks/>
              </p:cNvSpPr>
              <p:nvPr/>
            </p:nvSpPr>
            <p:spPr bwMode="auto">
              <a:xfrm>
                <a:off x="7093655" y="3541790"/>
                <a:ext cx="78976" cy="269448"/>
              </a:xfrm>
              <a:custGeom>
                <a:avLst/>
                <a:gdLst>
                  <a:gd name="T0" fmla="*/ 90 w 102"/>
                  <a:gd name="T1" fmla="*/ 348 h 348"/>
                  <a:gd name="T2" fmla="*/ 0 w 102"/>
                  <a:gd name="T3" fmla="*/ 6 h 348"/>
                  <a:gd name="T4" fmla="*/ 18 w 102"/>
                  <a:gd name="T5" fmla="*/ 0 h 348"/>
                  <a:gd name="T6" fmla="*/ 102 w 102"/>
                  <a:gd name="T7" fmla="*/ 348 h 348"/>
                  <a:gd name="T8" fmla="*/ 90 w 102"/>
                  <a:gd name="T9" fmla="*/ 348 h 348"/>
                </a:gdLst>
                <a:ahLst/>
                <a:cxnLst>
                  <a:cxn ang="0">
                    <a:pos x="T0" y="T1"/>
                  </a:cxn>
                  <a:cxn ang="0">
                    <a:pos x="T2" y="T3"/>
                  </a:cxn>
                  <a:cxn ang="0">
                    <a:pos x="T4" y="T5"/>
                  </a:cxn>
                  <a:cxn ang="0">
                    <a:pos x="T6" y="T7"/>
                  </a:cxn>
                  <a:cxn ang="0">
                    <a:pos x="T8" y="T9"/>
                  </a:cxn>
                </a:cxnLst>
                <a:rect l="0" t="0" r="r" b="b"/>
                <a:pathLst>
                  <a:path w="102" h="348">
                    <a:moveTo>
                      <a:pt x="90" y="348"/>
                    </a:moveTo>
                    <a:lnTo>
                      <a:pt x="0" y="6"/>
                    </a:lnTo>
                    <a:lnTo>
                      <a:pt x="18" y="0"/>
                    </a:lnTo>
                    <a:lnTo>
                      <a:pt x="102" y="348"/>
                    </a:lnTo>
                    <a:lnTo>
                      <a:pt x="90" y="3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6" name="Freeform 122">
                <a:extLst>
                  <a:ext uri="{FF2B5EF4-FFF2-40B4-BE49-F238E27FC236}">
                    <a16:creationId xmlns:a16="http://schemas.microsoft.com/office/drawing/2014/main" id="{F076CECE-2BA9-3844-8244-7D09546B5855}"/>
                  </a:ext>
                </a:extLst>
              </p:cNvPr>
              <p:cNvSpPr>
                <a:spLocks/>
              </p:cNvSpPr>
              <p:nvPr/>
            </p:nvSpPr>
            <p:spPr bwMode="auto">
              <a:xfrm>
                <a:off x="6893118" y="4467049"/>
                <a:ext cx="125432" cy="227637"/>
              </a:xfrm>
              <a:custGeom>
                <a:avLst/>
                <a:gdLst>
                  <a:gd name="T0" fmla="*/ 144 w 162"/>
                  <a:gd name="T1" fmla="*/ 294 h 294"/>
                  <a:gd name="T2" fmla="*/ 0 w 162"/>
                  <a:gd name="T3" fmla="*/ 6 h 294"/>
                  <a:gd name="T4" fmla="*/ 18 w 162"/>
                  <a:gd name="T5" fmla="*/ 0 h 294"/>
                  <a:gd name="T6" fmla="*/ 162 w 162"/>
                  <a:gd name="T7" fmla="*/ 288 h 294"/>
                  <a:gd name="T8" fmla="*/ 144 w 162"/>
                  <a:gd name="T9" fmla="*/ 294 h 294"/>
                </a:gdLst>
                <a:ahLst/>
                <a:cxnLst>
                  <a:cxn ang="0">
                    <a:pos x="T0" y="T1"/>
                  </a:cxn>
                  <a:cxn ang="0">
                    <a:pos x="T2" y="T3"/>
                  </a:cxn>
                  <a:cxn ang="0">
                    <a:pos x="T4" y="T5"/>
                  </a:cxn>
                  <a:cxn ang="0">
                    <a:pos x="T6" y="T7"/>
                  </a:cxn>
                  <a:cxn ang="0">
                    <a:pos x="T8" y="T9"/>
                  </a:cxn>
                </a:cxnLst>
                <a:rect l="0" t="0" r="r" b="b"/>
                <a:pathLst>
                  <a:path w="162" h="294">
                    <a:moveTo>
                      <a:pt x="144" y="294"/>
                    </a:moveTo>
                    <a:lnTo>
                      <a:pt x="0" y="6"/>
                    </a:lnTo>
                    <a:lnTo>
                      <a:pt x="18" y="0"/>
                    </a:lnTo>
                    <a:lnTo>
                      <a:pt x="162" y="288"/>
                    </a:lnTo>
                    <a:lnTo>
                      <a:pt x="144" y="29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nvGrpSpPr>
              <p:cNvPr id="7" name="Group 6">
                <a:extLst>
                  <a:ext uri="{FF2B5EF4-FFF2-40B4-BE49-F238E27FC236}">
                    <a16:creationId xmlns:a16="http://schemas.microsoft.com/office/drawing/2014/main" id="{88455206-3AE6-6C45-A38C-AB378258E3E7}"/>
                  </a:ext>
                </a:extLst>
              </p:cNvPr>
              <p:cNvGrpSpPr/>
              <p:nvPr/>
            </p:nvGrpSpPr>
            <p:grpSpPr>
              <a:xfrm>
                <a:off x="2731383" y="472558"/>
                <a:ext cx="4506289" cy="4305750"/>
                <a:chOff x="2731383" y="472558"/>
                <a:chExt cx="4506289" cy="4305750"/>
              </a:xfrm>
              <a:grpFill/>
            </p:grpSpPr>
            <p:sp>
              <p:nvSpPr>
                <p:cNvPr id="85" name="Freeform 31">
                  <a:extLst>
                    <a:ext uri="{FF2B5EF4-FFF2-40B4-BE49-F238E27FC236}">
                      <a16:creationId xmlns:a16="http://schemas.microsoft.com/office/drawing/2014/main" id="{FEEAC57B-C171-8943-AB82-606D2AE4C30D}"/>
                    </a:ext>
                  </a:extLst>
                </p:cNvPr>
                <p:cNvSpPr>
                  <a:spLocks/>
                </p:cNvSpPr>
                <p:nvPr/>
              </p:nvSpPr>
              <p:spPr bwMode="auto">
                <a:xfrm>
                  <a:off x="4596615" y="2732671"/>
                  <a:ext cx="902031" cy="586127"/>
                </a:xfrm>
                <a:custGeom>
                  <a:avLst/>
                  <a:gdLst>
                    <a:gd name="T0" fmla="*/ 192 w 194"/>
                    <a:gd name="T1" fmla="*/ 126 h 126"/>
                    <a:gd name="T2" fmla="*/ 191 w 194"/>
                    <a:gd name="T3" fmla="*/ 126 h 126"/>
                    <a:gd name="T4" fmla="*/ 1 w 194"/>
                    <a:gd name="T5" fmla="*/ 4 h 126"/>
                    <a:gd name="T6" fmla="*/ 1 w 194"/>
                    <a:gd name="T7" fmla="*/ 2 h 126"/>
                    <a:gd name="T8" fmla="*/ 3 w 194"/>
                    <a:gd name="T9" fmla="*/ 1 h 126"/>
                    <a:gd name="T10" fmla="*/ 193 w 194"/>
                    <a:gd name="T11" fmla="*/ 122 h 126"/>
                    <a:gd name="T12" fmla="*/ 193 w 194"/>
                    <a:gd name="T13" fmla="*/ 125 h 126"/>
                    <a:gd name="T14" fmla="*/ 192 w 194"/>
                    <a:gd name="T15" fmla="*/ 126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126">
                      <a:moveTo>
                        <a:pt x="192" y="126"/>
                      </a:moveTo>
                      <a:cubicBezTo>
                        <a:pt x="191" y="126"/>
                        <a:pt x="191" y="126"/>
                        <a:pt x="191" y="126"/>
                      </a:cubicBezTo>
                      <a:cubicBezTo>
                        <a:pt x="1" y="4"/>
                        <a:pt x="1" y="4"/>
                        <a:pt x="1" y="4"/>
                      </a:cubicBezTo>
                      <a:cubicBezTo>
                        <a:pt x="0" y="4"/>
                        <a:pt x="0" y="3"/>
                        <a:pt x="1" y="2"/>
                      </a:cubicBezTo>
                      <a:cubicBezTo>
                        <a:pt x="1" y="1"/>
                        <a:pt x="2" y="0"/>
                        <a:pt x="3" y="1"/>
                      </a:cubicBezTo>
                      <a:cubicBezTo>
                        <a:pt x="193" y="122"/>
                        <a:pt x="193" y="122"/>
                        <a:pt x="193" y="122"/>
                      </a:cubicBezTo>
                      <a:cubicBezTo>
                        <a:pt x="194" y="123"/>
                        <a:pt x="194" y="124"/>
                        <a:pt x="193" y="125"/>
                      </a:cubicBezTo>
                      <a:cubicBezTo>
                        <a:pt x="193" y="126"/>
                        <a:pt x="192" y="126"/>
                        <a:pt x="192" y="12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6" name="Freeform 32">
                  <a:extLst>
                    <a:ext uri="{FF2B5EF4-FFF2-40B4-BE49-F238E27FC236}">
                      <a16:creationId xmlns:a16="http://schemas.microsoft.com/office/drawing/2014/main" id="{CA45236A-4173-E34D-9402-042FC304F1C6}"/>
                    </a:ext>
                  </a:extLst>
                </p:cNvPr>
                <p:cNvSpPr>
                  <a:spLocks/>
                </p:cNvSpPr>
                <p:nvPr/>
              </p:nvSpPr>
              <p:spPr bwMode="auto">
                <a:xfrm>
                  <a:off x="3605541" y="1849222"/>
                  <a:ext cx="521088" cy="479277"/>
                </a:xfrm>
                <a:custGeom>
                  <a:avLst/>
                  <a:gdLst>
                    <a:gd name="T0" fmla="*/ 110 w 112"/>
                    <a:gd name="T1" fmla="*/ 103 h 103"/>
                    <a:gd name="T2" fmla="*/ 109 w 112"/>
                    <a:gd name="T3" fmla="*/ 102 h 103"/>
                    <a:gd name="T4" fmla="*/ 1 w 112"/>
                    <a:gd name="T5" fmla="*/ 3 h 103"/>
                    <a:gd name="T6" fmla="*/ 1 w 112"/>
                    <a:gd name="T7" fmla="*/ 1 h 103"/>
                    <a:gd name="T8" fmla="*/ 3 w 112"/>
                    <a:gd name="T9" fmla="*/ 1 h 103"/>
                    <a:gd name="T10" fmla="*/ 111 w 112"/>
                    <a:gd name="T11" fmla="*/ 99 h 103"/>
                    <a:gd name="T12" fmla="*/ 111 w 112"/>
                    <a:gd name="T13" fmla="*/ 102 h 103"/>
                    <a:gd name="T14" fmla="*/ 110 w 112"/>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103">
                      <a:moveTo>
                        <a:pt x="110" y="103"/>
                      </a:moveTo>
                      <a:cubicBezTo>
                        <a:pt x="110" y="103"/>
                        <a:pt x="109" y="102"/>
                        <a:pt x="109" y="102"/>
                      </a:cubicBezTo>
                      <a:cubicBezTo>
                        <a:pt x="1" y="3"/>
                        <a:pt x="1" y="3"/>
                        <a:pt x="1" y="3"/>
                      </a:cubicBezTo>
                      <a:cubicBezTo>
                        <a:pt x="0" y="3"/>
                        <a:pt x="0" y="1"/>
                        <a:pt x="1" y="1"/>
                      </a:cubicBezTo>
                      <a:cubicBezTo>
                        <a:pt x="1" y="0"/>
                        <a:pt x="3" y="0"/>
                        <a:pt x="3" y="1"/>
                      </a:cubicBezTo>
                      <a:cubicBezTo>
                        <a:pt x="111" y="99"/>
                        <a:pt x="111" y="99"/>
                        <a:pt x="111" y="99"/>
                      </a:cubicBezTo>
                      <a:cubicBezTo>
                        <a:pt x="112" y="100"/>
                        <a:pt x="112" y="101"/>
                        <a:pt x="111" y="102"/>
                      </a:cubicBezTo>
                      <a:cubicBezTo>
                        <a:pt x="111" y="102"/>
                        <a:pt x="111" y="103"/>
                        <a:pt x="110" y="10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7" name="Freeform 33">
                  <a:extLst>
                    <a:ext uri="{FF2B5EF4-FFF2-40B4-BE49-F238E27FC236}">
                      <a16:creationId xmlns:a16="http://schemas.microsoft.com/office/drawing/2014/main" id="{279E67BE-5171-0C43-8ADA-F4C405E0232C}"/>
                    </a:ext>
                  </a:extLst>
                </p:cNvPr>
                <p:cNvSpPr>
                  <a:spLocks/>
                </p:cNvSpPr>
                <p:nvPr/>
              </p:nvSpPr>
              <p:spPr bwMode="auto">
                <a:xfrm>
                  <a:off x="3549794" y="1040103"/>
                  <a:ext cx="307388" cy="479277"/>
                </a:xfrm>
                <a:custGeom>
                  <a:avLst/>
                  <a:gdLst>
                    <a:gd name="T0" fmla="*/ 2 w 66"/>
                    <a:gd name="T1" fmla="*/ 103 h 103"/>
                    <a:gd name="T2" fmla="*/ 1 w 66"/>
                    <a:gd name="T3" fmla="*/ 103 h 103"/>
                    <a:gd name="T4" fmla="*/ 0 w 66"/>
                    <a:gd name="T5" fmla="*/ 100 h 103"/>
                    <a:gd name="T6" fmla="*/ 62 w 66"/>
                    <a:gd name="T7" fmla="*/ 2 h 103"/>
                    <a:gd name="T8" fmla="*/ 64 w 66"/>
                    <a:gd name="T9" fmla="*/ 1 h 103"/>
                    <a:gd name="T10" fmla="*/ 65 w 66"/>
                    <a:gd name="T11" fmla="*/ 4 h 103"/>
                    <a:gd name="T12" fmla="*/ 4 w 66"/>
                    <a:gd name="T13" fmla="*/ 102 h 103"/>
                    <a:gd name="T14" fmla="*/ 2 w 66"/>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03">
                      <a:moveTo>
                        <a:pt x="2" y="103"/>
                      </a:moveTo>
                      <a:cubicBezTo>
                        <a:pt x="2" y="103"/>
                        <a:pt x="1" y="103"/>
                        <a:pt x="1" y="103"/>
                      </a:cubicBezTo>
                      <a:cubicBezTo>
                        <a:pt x="0" y="102"/>
                        <a:pt x="0" y="101"/>
                        <a:pt x="0" y="100"/>
                      </a:cubicBezTo>
                      <a:cubicBezTo>
                        <a:pt x="62" y="2"/>
                        <a:pt x="62" y="2"/>
                        <a:pt x="62" y="2"/>
                      </a:cubicBezTo>
                      <a:cubicBezTo>
                        <a:pt x="62" y="1"/>
                        <a:pt x="63" y="0"/>
                        <a:pt x="64" y="1"/>
                      </a:cubicBezTo>
                      <a:cubicBezTo>
                        <a:pt x="65" y="2"/>
                        <a:pt x="66" y="3"/>
                        <a:pt x="65" y="4"/>
                      </a:cubicBezTo>
                      <a:cubicBezTo>
                        <a:pt x="4" y="102"/>
                        <a:pt x="4" y="102"/>
                        <a:pt x="4" y="102"/>
                      </a:cubicBezTo>
                      <a:cubicBezTo>
                        <a:pt x="3" y="103"/>
                        <a:pt x="3" y="103"/>
                        <a:pt x="2" y="10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8" name="Freeform 34">
                  <a:extLst>
                    <a:ext uri="{FF2B5EF4-FFF2-40B4-BE49-F238E27FC236}">
                      <a16:creationId xmlns:a16="http://schemas.microsoft.com/office/drawing/2014/main" id="{6C9C92AE-B7B9-8F40-858A-822791D788A8}"/>
                    </a:ext>
                  </a:extLst>
                </p:cNvPr>
                <p:cNvSpPr>
                  <a:spLocks/>
                </p:cNvSpPr>
                <p:nvPr/>
              </p:nvSpPr>
              <p:spPr bwMode="auto">
                <a:xfrm>
                  <a:off x="3145621" y="858923"/>
                  <a:ext cx="190472" cy="632584"/>
                </a:xfrm>
                <a:custGeom>
                  <a:avLst/>
                  <a:gdLst>
                    <a:gd name="T0" fmla="*/ 38 w 41"/>
                    <a:gd name="T1" fmla="*/ 136 h 136"/>
                    <a:gd name="T2" fmla="*/ 36 w 41"/>
                    <a:gd name="T3" fmla="*/ 134 h 136"/>
                    <a:gd name="T4" fmla="*/ 0 w 41"/>
                    <a:gd name="T5" fmla="*/ 2 h 136"/>
                    <a:gd name="T6" fmla="*/ 2 w 41"/>
                    <a:gd name="T7" fmla="*/ 0 h 136"/>
                    <a:gd name="T8" fmla="*/ 4 w 41"/>
                    <a:gd name="T9" fmla="*/ 1 h 136"/>
                    <a:gd name="T10" fmla="*/ 40 w 41"/>
                    <a:gd name="T11" fmla="*/ 133 h 136"/>
                    <a:gd name="T12" fmla="*/ 39 w 41"/>
                    <a:gd name="T13" fmla="*/ 136 h 136"/>
                    <a:gd name="T14" fmla="*/ 38 w 41"/>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36">
                      <a:moveTo>
                        <a:pt x="38" y="136"/>
                      </a:moveTo>
                      <a:cubicBezTo>
                        <a:pt x="37" y="136"/>
                        <a:pt x="36" y="135"/>
                        <a:pt x="36" y="134"/>
                      </a:cubicBezTo>
                      <a:cubicBezTo>
                        <a:pt x="0" y="2"/>
                        <a:pt x="0" y="2"/>
                        <a:pt x="0" y="2"/>
                      </a:cubicBezTo>
                      <a:cubicBezTo>
                        <a:pt x="0" y="1"/>
                        <a:pt x="1" y="0"/>
                        <a:pt x="2" y="0"/>
                      </a:cubicBezTo>
                      <a:cubicBezTo>
                        <a:pt x="3" y="0"/>
                        <a:pt x="4" y="0"/>
                        <a:pt x="4" y="1"/>
                      </a:cubicBezTo>
                      <a:cubicBezTo>
                        <a:pt x="40" y="133"/>
                        <a:pt x="40" y="133"/>
                        <a:pt x="40" y="133"/>
                      </a:cubicBezTo>
                      <a:cubicBezTo>
                        <a:pt x="41" y="134"/>
                        <a:pt x="40" y="135"/>
                        <a:pt x="39" y="136"/>
                      </a:cubicBezTo>
                      <a:cubicBezTo>
                        <a:pt x="39" y="136"/>
                        <a:pt x="38" y="136"/>
                        <a:pt x="38" y="13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9" name="Freeform 55">
                  <a:extLst>
                    <a:ext uri="{FF2B5EF4-FFF2-40B4-BE49-F238E27FC236}">
                      <a16:creationId xmlns:a16="http://schemas.microsoft.com/office/drawing/2014/main" id="{BB69D38F-FD78-5B4B-9BBB-810261D82741}"/>
                    </a:ext>
                  </a:extLst>
                </p:cNvPr>
                <p:cNvSpPr>
                  <a:spLocks/>
                </p:cNvSpPr>
                <p:nvPr/>
              </p:nvSpPr>
              <p:spPr bwMode="auto">
                <a:xfrm>
                  <a:off x="4540092" y="1923552"/>
                  <a:ext cx="442112" cy="367007"/>
                </a:xfrm>
                <a:custGeom>
                  <a:avLst/>
                  <a:gdLst>
                    <a:gd name="T0" fmla="*/ 2 w 95"/>
                    <a:gd name="T1" fmla="*/ 79 h 79"/>
                    <a:gd name="T2" fmla="*/ 1 w 95"/>
                    <a:gd name="T3" fmla="*/ 78 h 79"/>
                    <a:gd name="T4" fmla="*/ 1 w 95"/>
                    <a:gd name="T5" fmla="*/ 75 h 79"/>
                    <a:gd name="T6" fmla="*/ 92 w 95"/>
                    <a:gd name="T7" fmla="*/ 0 h 79"/>
                    <a:gd name="T8" fmla="*/ 95 w 95"/>
                    <a:gd name="T9" fmla="*/ 1 h 79"/>
                    <a:gd name="T10" fmla="*/ 94 w 95"/>
                    <a:gd name="T11" fmla="*/ 4 h 79"/>
                    <a:gd name="T12" fmla="*/ 4 w 95"/>
                    <a:gd name="T13" fmla="*/ 78 h 79"/>
                    <a:gd name="T14" fmla="*/ 2 w 95"/>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79">
                      <a:moveTo>
                        <a:pt x="2" y="79"/>
                      </a:moveTo>
                      <a:cubicBezTo>
                        <a:pt x="2" y="79"/>
                        <a:pt x="1" y="78"/>
                        <a:pt x="1" y="78"/>
                      </a:cubicBezTo>
                      <a:cubicBezTo>
                        <a:pt x="0" y="77"/>
                        <a:pt x="0" y="76"/>
                        <a:pt x="1" y="75"/>
                      </a:cubicBezTo>
                      <a:cubicBezTo>
                        <a:pt x="92" y="0"/>
                        <a:pt x="92" y="0"/>
                        <a:pt x="92" y="0"/>
                      </a:cubicBezTo>
                      <a:cubicBezTo>
                        <a:pt x="93" y="0"/>
                        <a:pt x="94" y="0"/>
                        <a:pt x="95" y="1"/>
                      </a:cubicBezTo>
                      <a:cubicBezTo>
                        <a:pt x="95" y="2"/>
                        <a:pt x="95" y="3"/>
                        <a:pt x="94" y="4"/>
                      </a:cubicBezTo>
                      <a:cubicBezTo>
                        <a:pt x="4" y="78"/>
                        <a:pt x="4" y="78"/>
                        <a:pt x="4" y="78"/>
                      </a:cubicBezTo>
                      <a:cubicBezTo>
                        <a:pt x="3" y="79"/>
                        <a:pt x="3" y="79"/>
                        <a:pt x="2" y="7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0" name="Freeform 56">
                  <a:extLst>
                    <a:ext uri="{FF2B5EF4-FFF2-40B4-BE49-F238E27FC236}">
                      <a16:creationId xmlns:a16="http://schemas.microsoft.com/office/drawing/2014/main" id="{F7EC7166-60F9-714C-8330-422F91E3150F}"/>
                    </a:ext>
                  </a:extLst>
                </p:cNvPr>
                <p:cNvSpPr>
                  <a:spLocks/>
                </p:cNvSpPr>
                <p:nvPr/>
              </p:nvSpPr>
              <p:spPr bwMode="auto">
                <a:xfrm>
                  <a:off x="5047243" y="1295614"/>
                  <a:ext cx="456049" cy="553608"/>
                </a:xfrm>
                <a:custGeom>
                  <a:avLst/>
                  <a:gdLst>
                    <a:gd name="T0" fmla="*/ 3 w 98"/>
                    <a:gd name="T1" fmla="*/ 119 h 119"/>
                    <a:gd name="T2" fmla="*/ 1 w 98"/>
                    <a:gd name="T3" fmla="*/ 119 h 119"/>
                    <a:gd name="T4" fmla="*/ 1 w 98"/>
                    <a:gd name="T5" fmla="*/ 116 h 119"/>
                    <a:gd name="T6" fmla="*/ 94 w 98"/>
                    <a:gd name="T7" fmla="*/ 1 h 119"/>
                    <a:gd name="T8" fmla="*/ 97 w 98"/>
                    <a:gd name="T9" fmla="*/ 1 h 119"/>
                    <a:gd name="T10" fmla="*/ 98 w 98"/>
                    <a:gd name="T11" fmla="*/ 4 h 119"/>
                    <a:gd name="T12" fmla="*/ 4 w 98"/>
                    <a:gd name="T13" fmla="*/ 118 h 119"/>
                    <a:gd name="T14" fmla="*/ 3 w 98"/>
                    <a:gd name="T15" fmla="*/ 119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19">
                      <a:moveTo>
                        <a:pt x="3" y="119"/>
                      </a:moveTo>
                      <a:cubicBezTo>
                        <a:pt x="2" y="119"/>
                        <a:pt x="2" y="119"/>
                        <a:pt x="1" y="119"/>
                      </a:cubicBezTo>
                      <a:cubicBezTo>
                        <a:pt x="1" y="118"/>
                        <a:pt x="0" y="117"/>
                        <a:pt x="1" y="116"/>
                      </a:cubicBezTo>
                      <a:cubicBezTo>
                        <a:pt x="94" y="1"/>
                        <a:pt x="94" y="1"/>
                        <a:pt x="94" y="1"/>
                      </a:cubicBezTo>
                      <a:cubicBezTo>
                        <a:pt x="95" y="0"/>
                        <a:pt x="96" y="0"/>
                        <a:pt x="97" y="1"/>
                      </a:cubicBezTo>
                      <a:cubicBezTo>
                        <a:pt x="98" y="1"/>
                        <a:pt x="98" y="3"/>
                        <a:pt x="98" y="4"/>
                      </a:cubicBezTo>
                      <a:cubicBezTo>
                        <a:pt x="4" y="118"/>
                        <a:pt x="4" y="118"/>
                        <a:pt x="4" y="118"/>
                      </a:cubicBezTo>
                      <a:cubicBezTo>
                        <a:pt x="4" y="119"/>
                        <a:pt x="3" y="119"/>
                        <a:pt x="3" y="11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1" name="Freeform 57">
                  <a:extLst>
                    <a:ext uri="{FF2B5EF4-FFF2-40B4-BE49-F238E27FC236}">
                      <a16:creationId xmlns:a16="http://schemas.microsoft.com/office/drawing/2014/main" id="{3D968FD7-2221-6E42-BA21-475494D51B25}"/>
                    </a:ext>
                  </a:extLst>
                </p:cNvPr>
                <p:cNvSpPr>
                  <a:spLocks/>
                </p:cNvSpPr>
                <p:nvPr/>
              </p:nvSpPr>
              <p:spPr bwMode="auto">
                <a:xfrm>
                  <a:off x="4680236" y="2505034"/>
                  <a:ext cx="427400" cy="55748"/>
                </a:xfrm>
                <a:custGeom>
                  <a:avLst/>
                  <a:gdLst>
                    <a:gd name="T0" fmla="*/ 552 w 552"/>
                    <a:gd name="T1" fmla="*/ 72 h 72"/>
                    <a:gd name="T2" fmla="*/ 0 w 552"/>
                    <a:gd name="T3" fmla="*/ 12 h 72"/>
                    <a:gd name="T4" fmla="*/ 0 w 552"/>
                    <a:gd name="T5" fmla="*/ 0 h 72"/>
                    <a:gd name="T6" fmla="*/ 552 w 552"/>
                    <a:gd name="T7" fmla="*/ 54 h 72"/>
                    <a:gd name="T8" fmla="*/ 552 w 552"/>
                    <a:gd name="T9" fmla="*/ 72 h 72"/>
                  </a:gdLst>
                  <a:ahLst/>
                  <a:cxnLst>
                    <a:cxn ang="0">
                      <a:pos x="T0" y="T1"/>
                    </a:cxn>
                    <a:cxn ang="0">
                      <a:pos x="T2" y="T3"/>
                    </a:cxn>
                    <a:cxn ang="0">
                      <a:pos x="T4" y="T5"/>
                    </a:cxn>
                    <a:cxn ang="0">
                      <a:pos x="T6" y="T7"/>
                    </a:cxn>
                    <a:cxn ang="0">
                      <a:pos x="T8" y="T9"/>
                    </a:cxn>
                  </a:cxnLst>
                  <a:rect l="0" t="0" r="r" b="b"/>
                  <a:pathLst>
                    <a:path w="552" h="72">
                      <a:moveTo>
                        <a:pt x="552" y="72"/>
                      </a:moveTo>
                      <a:lnTo>
                        <a:pt x="0" y="12"/>
                      </a:lnTo>
                      <a:lnTo>
                        <a:pt x="0" y="0"/>
                      </a:lnTo>
                      <a:lnTo>
                        <a:pt x="552" y="54"/>
                      </a:lnTo>
                      <a:lnTo>
                        <a:pt x="552" y="7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2" name="Freeform 58">
                  <a:extLst>
                    <a:ext uri="{FF2B5EF4-FFF2-40B4-BE49-F238E27FC236}">
                      <a16:creationId xmlns:a16="http://schemas.microsoft.com/office/drawing/2014/main" id="{2F9C744E-418C-574D-982D-9075AAFA4D65}"/>
                    </a:ext>
                  </a:extLst>
                </p:cNvPr>
                <p:cNvSpPr>
                  <a:spLocks/>
                </p:cNvSpPr>
                <p:nvPr/>
              </p:nvSpPr>
              <p:spPr bwMode="auto">
                <a:xfrm>
                  <a:off x="5033307" y="1942135"/>
                  <a:ext cx="181180" cy="460695"/>
                </a:xfrm>
                <a:custGeom>
                  <a:avLst/>
                  <a:gdLst>
                    <a:gd name="T0" fmla="*/ 216 w 234"/>
                    <a:gd name="T1" fmla="*/ 595 h 595"/>
                    <a:gd name="T2" fmla="*/ 0 w 234"/>
                    <a:gd name="T3" fmla="*/ 6 h 595"/>
                    <a:gd name="T4" fmla="*/ 18 w 234"/>
                    <a:gd name="T5" fmla="*/ 0 h 595"/>
                    <a:gd name="T6" fmla="*/ 234 w 234"/>
                    <a:gd name="T7" fmla="*/ 589 h 595"/>
                    <a:gd name="T8" fmla="*/ 216 w 234"/>
                    <a:gd name="T9" fmla="*/ 595 h 595"/>
                  </a:gdLst>
                  <a:ahLst/>
                  <a:cxnLst>
                    <a:cxn ang="0">
                      <a:pos x="T0" y="T1"/>
                    </a:cxn>
                    <a:cxn ang="0">
                      <a:pos x="T2" y="T3"/>
                    </a:cxn>
                    <a:cxn ang="0">
                      <a:pos x="T4" y="T5"/>
                    </a:cxn>
                    <a:cxn ang="0">
                      <a:pos x="T6" y="T7"/>
                    </a:cxn>
                    <a:cxn ang="0">
                      <a:pos x="T8" y="T9"/>
                    </a:cxn>
                  </a:cxnLst>
                  <a:rect l="0" t="0" r="r" b="b"/>
                  <a:pathLst>
                    <a:path w="234" h="595">
                      <a:moveTo>
                        <a:pt x="216" y="595"/>
                      </a:moveTo>
                      <a:lnTo>
                        <a:pt x="0" y="6"/>
                      </a:lnTo>
                      <a:lnTo>
                        <a:pt x="18" y="0"/>
                      </a:lnTo>
                      <a:lnTo>
                        <a:pt x="234" y="589"/>
                      </a:lnTo>
                      <a:lnTo>
                        <a:pt x="216" y="59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3" name="Freeform 59">
                  <a:extLst>
                    <a:ext uri="{FF2B5EF4-FFF2-40B4-BE49-F238E27FC236}">
                      <a16:creationId xmlns:a16="http://schemas.microsoft.com/office/drawing/2014/main" id="{FD8C46FC-A537-F440-A88F-C9CD45AAACC6}"/>
                    </a:ext>
                  </a:extLst>
                </p:cNvPr>
                <p:cNvSpPr>
                  <a:spLocks/>
                </p:cNvSpPr>
                <p:nvPr/>
              </p:nvSpPr>
              <p:spPr bwMode="auto">
                <a:xfrm>
                  <a:off x="5442898" y="2137252"/>
                  <a:ext cx="483148" cy="325971"/>
                </a:xfrm>
                <a:custGeom>
                  <a:avLst/>
                  <a:gdLst>
                    <a:gd name="T0" fmla="*/ 6 w 624"/>
                    <a:gd name="T1" fmla="*/ 421 h 421"/>
                    <a:gd name="T2" fmla="*/ 0 w 624"/>
                    <a:gd name="T3" fmla="*/ 409 h 421"/>
                    <a:gd name="T4" fmla="*/ 612 w 624"/>
                    <a:gd name="T5" fmla="*/ 0 h 421"/>
                    <a:gd name="T6" fmla="*/ 624 w 624"/>
                    <a:gd name="T7" fmla="*/ 12 h 421"/>
                    <a:gd name="T8" fmla="*/ 6 w 624"/>
                    <a:gd name="T9" fmla="*/ 421 h 421"/>
                  </a:gdLst>
                  <a:ahLst/>
                  <a:cxnLst>
                    <a:cxn ang="0">
                      <a:pos x="T0" y="T1"/>
                    </a:cxn>
                    <a:cxn ang="0">
                      <a:pos x="T2" y="T3"/>
                    </a:cxn>
                    <a:cxn ang="0">
                      <a:pos x="T4" y="T5"/>
                    </a:cxn>
                    <a:cxn ang="0">
                      <a:pos x="T6" y="T7"/>
                    </a:cxn>
                    <a:cxn ang="0">
                      <a:pos x="T8" y="T9"/>
                    </a:cxn>
                  </a:cxnLst>
                  <a:rect l="0" t="0" r="r" b="b"/>
                  <a:pathLst>
                    <a:path w="624" h="421">
                      <a:moveTo>
                        <a:pt x="6" y="421"/>
                      </a:moveTo>
                      <a:lnTo>
                        <a:pt x="0" y="409"/>
                      </a:lnTo>
                      <a:lnTo>
                        <a:pt x="612" y="0"/>
                      </a:lnTo>
                      <a:lnTo>
                        <a:pt x="624" y="12"/>
                      </a:lnTo>
                      <a:lnTo>
                        <a:pt x="6" y="42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4" name="Freeform 60">
                  <a:extLst>
                    <a:ext uri="{FF2B5EF4-FFF2-40B4-BE49-F238E27FC236}">
                      <a16:creationId xmlns:a16="http://schemas.microsoft.com/office/drawing/2014/main" id="{96B3DD79-8189-4D4C-A4D0-9C4A5123F950}"/>
                    </a:ext>
                  </a:extLst>
                </p:cNvPr>
                <p:cNvSpPr>
                  <a:spLocks/>
                </p:cNvSpPr>
                <p:nvPr/>
              </p:nvSpPr>
              <p:spPr bwMode="auto">
                <a:xfrm>
                  <a:off x="4982204" y="1156245"/>
                  <a:ext cx="399526" cy="157952"/>
                </a:xfrm>
                <a:custGeom>
                  <a:avLst/>
                  <a:gdLst>
                    <a:gd name="T0" fmla="*/ 6 w 516"/>
                    <a:gd name="T1" fmla="*/ 204 h 204"/>
                    <a:gd name="T2" fmla="*/ 0 w 516"/>
                    <a:gd name="T3" fmla="*/ 186 h 204"/>
                    <a:gd name="T4" fmla="*/ 516 w 516"/>
                    <a:gd name="T5" fmla="*/ 0 h 204"/>
                    <a:gd name="T6" fmla="*/ 516 w 516"/>
                    <a:gd name="T7" fmla="*/ 18 h 204"/>
                    <a:gd name="T8" fmla="*/ 6 w 516"/>
                    <a:gd name="T9" fmla="*/ 204 h 204"/>
                  </a:gdLst>
                  <a:ahLst/>
                  <a:cxnLst>
                    <a:cxn ang="0">
                      <a:pos x="T0" y="T1"/>
                    </a:cxn>
                    <a:cxn ang="0">
                      <a:pos x="T2" y="T3"/>
                    </a:cxn>
                    <a:cxn ang="0">
                      <a:pos x="T4" y="T5"/>
                    </a:cxn>
                    <a:cxn ang="0">
                      <a:pos x="T6" y="T7"/>
                    </a:cxn>
                    <a:cxn ang="0">
                      <a:pos x="T8" y="T9"/>
                    </a:cxn>
                  </a:cxnLst>
                  <a:rect l="0" t="0" r="r" b="b"/>
                  <a:pathLst>
                    <a:path w="516" h="204">
                      <a:moveTo>
                        <a:pt x="6" y="204"/>
                      </a:moveTo>
                      <a:lnTo>
                        <a:pt x="0" y="186"/>
                      </a:lnTo>
                      <a:lnTo>
                        <a:pt x="516" y="0"/>
                      </a:lnTo>
                      <a:lnTo>
                        <a:pt x="516" y="18"/>
                      </a:lnTo>
                      <a:lnTo>
                        <a:pt x="6" y="20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5" name="Freeform 61">
                  <a:extLst>
                    <a:ext uri="{FF2B5EF4-FFF2-40B4-BE49-F238E27FC236}">
                      <a16:creationId xmlns:a16="http://schemas.microsoft.com/office/drawing/2014/main" id="{4B2E9DAF-650A-5148-A9F2-6FDFC29C36D4}"/>
                    </a:ext>
                  </a:extLst>
                </p:cNvPr>
                <p:cNvSpPr>
                  <a:spLocks/>
                </p:cNvSpPr>
                <p:nvPr/>
              </p:nvSpPr>
              <p:spPr bwMode="auto">
                <a:xfrm>
                  <a:off x="5749512" y="630511"/>
                  <a:ext cx="232282" cy="260931"/>
                </a:xfrm>
                <a:custGeom>
                  <a:avLst/>
                  <a:gdLst>
                    <a:gd name="T0" fmla="*/ 12 w 300"/>
                    <a:gd name="T1" fmla="*/ 337 h 337"/>
                    <a:gd name="T2" fmla="*/ 0 w 300"/>
                    <a:gd name="T3" fmla="*/ 325 h 337"/>
                    <a:gd name="T4" fmla="*/ 288 w 300"/>
                    <a:gd name="T5" fmla="*/ 0 h 337"/>
                    <a:gd name="T6" fmla="*/ 300 w 300"/>
                    <a:gd name="T7" fmla="*/ 13 h 337"/>
                    <a:gd name="T8" fmla="*/ 12 w 300"/>
                    <a:gd name="T9" fmla="*/ 337 h 337"/>
                  </a:gdLst>
                  <a:ahLst/>
                  <a:cxnLst>
                    <a:cxn ang="0">
                      <a:pos x="T0" y="T1"/>
                    </a:cxn>
                    <a:cxn ang="0">
                      <a:pos x="T2" y="T3"/>
                    </a:cxn>
                    <a:cxn ang="0">
                      <a:pos x="T4" y="T5"/>
                    </a:cxn>
                    <a:cxn ang="0">
                      <a:pos x="T6" y="T7"/>
                    </a:cxn>
                    <a:cxn ang="0">
                      <a:pos x="T8" y="T9"/>
                    </a:cxn>
                  </a:cxnLst>
                  <a:rect l="0" t="0" r="r" b="b"/>
                  <a:pathLst>
                    <a:path w="300" h="337">
                      <a:moveTo>
                        <a:pt x="12" y="337"/>
                      </a:moveTo>
                      <a:lnTo>
                        <a:pt x="0" y="325"/>
                      </a:lnTo>
                      <a:lnTo>
                        <a:pt x="288" y="0"/>
                      </a:lnTo>
                      <a:lnTo>
                        <a:pt x="300" y="13"/>
                      </a:lnTo>
                      <a:lnTo>
                        <a:pt x="12" y="33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6" name="Freeform 62">
                  <a:extLst>
                    <a:ext uri="{FF2B5EF4-FFF2-40B4-BE49-F238E27FC236}">
                      <a16:creationId xmlns:a16="http://schemas.microsoft.com/office/drawing/2014/main" id="{A275DCE7-6E02-2C43-B306-E82B57EDECCE}"/>
                    </a:ext>
                  </a:extLst>
                </p:cNvPr>
                <p:cNvSpPr>
                  <a:spLocks/>
                </p:cNvSpPr>
                <p:nvPr/>
              </p:nvSpPr>
              <p:spPr bwMode="auto">
                <a:xfrm>
                  <a:off x="5856362" y="942545"/>
                  <a:ext cx="562899" cy="130078"/>
                </a:xfrm>
                <a:custGeom>
                  <a:avLst/>
                  <a:gdLst>
                    <a:gd name="T0" fmla="*/ 6 w 727"/>
                    <a:gd name="T1" fmla="*/ 168 h 168"/>
                    <a:gd name="T2" fmla="*/ 0 w 727"/>
                    <a:gd name="T3" fmla="*/ 150 h 168"/>
                    <a:gd name="T4" fmla="*/ 727 w 727"/>
                    <a:gd name="T5" fmla="*/ 0 h 168"/>
                    <a:gd name="T6" fmla="*/ 727 w 727"/>
                    <a:gd name="T7" fmla="*/ 12 h 168"/>
                    <a:gd name="T8" fmla="*/ 6 w 727"/>
                    <a:gd name="T9" fmla="*/ 168 h 168"/>
                  </a:gdLst>
                  <a:ahLst/>
                  <a:cxnLst>
                    <a:cxn ang="0">
                      <a:pos x="T0" y="T1"/>
                    </a:cxn>
                    <a:cxn ang="0">
                      <a:pos x="T2" y="T3"/>
                    </a:cxn>
                    <a:cxn ang="0">
                      <a:pos x="T4" y="T5"/>
                    </a:cxn>
                    <a:cxn ang="0">
                      <a:pos x="T6" y="T7"/>
                    </a:cxn>
                    <a:cxn ang="0">
                      <a:pos x="T8" y="T9"/>
                    </a:cxn>
                  </a:cxnLst>
                  <a:rect l="0" t="0" r="r" b="b"/>
                  <a:pathLst>
                    <a:path w="727" h="168">
                      <a:moveTo>
                        <a:pt x="6" y="168"/>
                      </a:moveTo>
                      <a:lnTo>
                        <a:pt x="0" y="150"/>
                      </a:lnTo>
                      <a:lnTo>
                        <a:pt x="727" y="0"/>
                      </a:lnTo>
                      <a:lnTo>
                        <a:pt x="727" y="12"/>
                      </a:lnTo>
                      <a:lnTo>
                        <a:pt x="6" y="16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7" name="Freeform 63">
                  <a:extLst>
                    <a:ext uri="{FF2B5EF4-FFF2-40B4-BE49-F238E27FC236}">
                      <a16:creationId xmlns:a16="http://schemas.microsoft.com/office/drawing/2014/main" id="{6315C2E9-D5E2-8443-8A83-856B62CF2393}"/>
                    </a:ext>
                  </a:extLst>
                </p:cNvPr>
                <p:cNvSpPr>
                  <a:spLocks/>
                </p:cNvSpPr>
                <p:nvPr/>
              </p:nvSpPr>
              <p:spPr bwMode="auto">
                <a:xfrm>
                  <a:off x="4349620" y="2881332"/>
                  <a:ext cx="51102" cy="818410"/>
                </a:xfrm>
                <a:custGeom>
                  <a:avLst/>
                  <a:gdLst>
                    <a:gd name="T0" fmla="*/ 54 w 66"/>
                    <a:gd name="T1" fmla="*/ 1057 h 1057"/>
                    <a:gd name="T2" fmla="*/ 0 w 66"/>
                    <a:gd name="T3" fmla="*/ 0 h 1057"/>
                    <a:gd name="T4" fmla="*/ 12 w 66"/>
                    <a:gd name="T5" fmla="*/ 0 h 1057"/>
                    <a:gd name="T6" fmla="*/ 66 w 66"/>
                    <a:gd name="T7" fmla="*/ 1057 h 1057"/>
                    <a:gd name="T8" fmla="*/ 54 w 66"/>
                    <a:gd name="T9" fmla="*/ 1057 h 1057"/>
                  </a:gdLst>
                  <a:ahLst/>
                  <a:cxnLst>
                    <a:cxn ang="0">
                      <a:pos x="T0" y="T1"/>
                    </a:cxn>
                    <a:cxn ang="0">
                      <a:pos x="T2" y="T3"/>
                    </a:cxn>
                    <a:cxn ang="0">
                      <a:pos x="T4" y="T5"/>
                    </a:cxn>
                    <a:cxn ang="0">
                      <a:pos x="T6" y="T7"/>
                    </a:cxn>
                    <a:cxn ang="0">
                      <a:pos x="T8" y="T9"/>
                    </a:cxn>
                  </a:cxnLst>
                  <a:rect l="0" t="0" r="r" b="b"/>
                  <a:pathLst>
                    <a:path w="66" h="1057">
                      <a:moveTo>
                        <a:pt x="54" y="1057"/>
                      </a:moveTo>
                      <a:lnTo>
                        <a:pt x="0" y="0"/>
                      </a:lnTo>
                      <a:lnTo>
                        <a:pt x="12" y="0"/>
                      </a:lnTo>
                      <a:lnTo>
                        <a:pt x="66" y="1057"/>
                      </a:lnTo>
                      <a:lnTo>
                        <a:pt x="54" y="105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8" name="Freeform 64">
                  <a:extLst>
                    <a:ext uri="{FF2B5EF4-FFF2-40B4-BE49-F238E27FC236}">
                      <a16:creationId xmlns:a16="http://schemas.microsoft.com/office/drawing/2014/main" id="{034EEEB7-37BD-914A-A7B0-9B9F20228D09}"/>
                    </a:ext>
                  </a:extLst>
                </p:cNvPr>
                <p:cNvSpPr>
                  <a:spLocks/>
                </p:cNvSpPr>
                <p:nvPr/>
              </p:nvSpPr>
              <p:spPr bwMode="auto">
                <a:xfrm>
                  <a:off x="3778205" y="3625411"/>
                  <a:ext cx="422755" cy="218346"/>
                </a:xfrm>
                <a:custGeom>
                  <a:avLst/>
                  <a:gdLst>
                    <a:gd name="T0" fmla="*/ 540 w 546"/>
                    <a:gd name="T1" fmla="*/ 282 h 282"/>
                    <a:gd name="T2" fmla="*/ 0 w 546"/>
                    <a:gd name="T3" fmla="*/ 18 h 282"/>
                    <a:gd name="T4" fmla="*/ 12 w 546"/>
                    <a:gd name="T5" fmla="*/ 0 h 282"/>
                    <a:gd name="T6" fmla="*/ 546 w 546"/>
                    <a:gd name="T7" fmla="*/ 264 h 282"/>
                    <a:gd name="T8" fmla="*/ 540 w 546"/>
                    <a:gd name="T9" fmla="*/ 282 h 282"/>
                  </a:gdLst>
                  <a:ahLst/>
                  <a:cxnLst>
                    <a:cxn ang="0">
                      <a:pos x="T0" y="T1"/>
                    </a:cxn>
                    <a:cxn ang="0">
                      <a:pos x="T2" y="T3"/>
                    </a:cxn>
                    <a:cxn ang="0">
                      <a:pos x="T4" y="T5"/>
                    </a:cxn>
                    <a:cxn ang="0">
                      <a:pos x="T6" y="T7"/>
                    </a:cxn>
                    <a:cxn ang="0">
                      <a:pos x="T8" y="T9"/>
                    </a:cxn>
                  </a:cxnLst>
                  <a:rect l="0" t="0" r="r" b="b"/>
                  <a:pathLst>
                    <a:path w="546" h="282">
                      <a:moveTo>
                        <a:pt x="540" y="282"/>
                      </a:moveTo>
                      <a:lnTo>
                        <a:pt x="0" y="18"/>
                      </a:lnTo>
                      <a:lnTo>
                        <a:pt x="12" y="0"/>
                      </a:lnTo>
                      <a:lnTo>
                        <a:pt x="546" y="264"/>
                      </a:lnTo>
                      <a:lnTo>
                        <a:pt x="540" y="28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9" name="Freeform 65">
                  <a:extLst>
                    <a:ext uri="{FF2B5EF4-FFF2-40B4-BE49-F238E27FC236}">
                      <a16:creationId xmlns:a16="http://schemas.microsoft.com/office/drawing/2014/main" id="{7E39354C-0ADD-4845-A0C5-2357EE2278C6}"/>
                    </a:ext>
                  </a:extLst>
                </p:cNvPr>
                <p:cNvSpPr>
                  <a:spLocks/>
                </p:cNvSpPr>
                <p:nvPr/>
              </p:nvSpPr>
              <p:spPr bwMode="auto">
                <a:xfrm>
                  <a:off x="3089873" y="3193365"/>
                  <a:ext cx="399526" cy="255511"/>
                </a:xfrm>
                <a:custGeom>
                  <a:avLst/>
                  <a:gdLst>
                    <a:gd name="T0" fmla="*/ 504 w 516"/>
                    <a:gd name="T1" fmla="*/ 330 h 330"/>
                    <a:gd name="T2" fmla="*/ 0 w 516"/>
                    <a:gd name="T3" fmla="*/ 12 h 330"/>
                    <a:gd name="T4" fmla="*/ 12 w 516"/>
                    <a:gd name="T5" fmla="*/ 0 h 330"/>
                    <a:gd name="T6" fmla="*/ 516 w 516"/>
                    <a:gd name="T7" fmla="*/ 318 h 330"/>
                    <a:gd name="T8" fmla="*/ 504 w 516"/>
                    <a:gd name="T9" fmla="*/ 330 h 330"/>
                  </a:gdLst>
                  <a:ahLst/>
                  <a:cxnLst>
                    <a:cxn ang="0">
                      <a:pos x="T0" y="T1"/>
                    </a:cxn>
                    <a:cxn ang="0">
                      <a:pos x="T2" y="T3"/>
                    </a:cxn>
                    <a:cxn ang="0">
                      <a:pos x="T4" y="T5"/>
                    </a:cxn>
                    <a:cxn ang="0">
                      <a:pos x="T6" y="T7"/>
                    </a:cxn>
                    <a:cxn ang="0">
                      <a:pos x="T8" y="T9"/>
                    </a:cxn>
                  </a:cxnLst>
                  <a:rect l="0" t="0" r="r" b="b"/>
                  <a:pathLst>
                    <a:path w="516" h="330">
                      <a:moveTo>
                        <a:pt x="504" y="330"/>
                      </a:moveTo>
                      <a:lnTo>
                        <a:pt x="0" y="12"/>
                      </a:lnTo>
                      <a:lnTo>
                        <a:pt x="12" y="0"/>
                      </a:lnTo>
                      <a:lnTo>
                        <a:pt x="516" y="318"/>
                      </a:lnTo>
                      <a:lnTo>
                        <a:pt x="504" y="33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0" name="Freeform 66">
                  <a:extLst>
                    <a:ext uri="{FF2B5EF4-FFF2-40B4-BE49-F238E27FC236}">
                      <a16:creationId xmlns:a16="http://schemas.microsoft.com/office/drawing/2014/main" id="{F6E89337-B63E-E64F-9703-03DCED353B63}"/>
                    </a:ext>
                  </a:extLst>
                </p:cNvPr>
                <p:cNvSpPr>
                  <a:spLocks/>
                </p:cNvSpPr>
                <p:nvPr/>
              </p:nvSpPr>
              <p:spPr bwMode="auto">
                <a:xfrm>
                  <a:off x="3894346" y="4123271"/>
                  <a:ext cx="371653" cy="394880"/>
                </a:xfrm>
                <a:custGeom>
                  <a:avLst/>
                  <a:gdLst>
                    <a:gd name="T0" fmla="*/ 12 w 480"/>
                    <a:gd name="T1" fmla="*/ 510 h 510"/>
                    <a:gd name="T2" fmla="*/ 0 w 480"/>
                    <a:gd name="T3" fmla="*/ 498 h 510"/>
                    <a:gd name="T4" fmla="*/ 468 w 480"/>
                    <a:gd name="T5" fmla="*/ 0 h 510"/>
                    <a:gd name="T6" fmla="*/ 480 w 480"/>
                    <a:gd name="T7" fmla="*/ 12 h 510"/>
                    <a:gd name="T8" fmla="*/ 12 w 480"/>
                    <a:gd name="T9" fmla="*/ 510 h 510"/>
                  </a:gdLst>
                  <a:ahLst/>
                  <a:cxnLst>
                    <a:cxn ang="0">
                      <a:pos x="T0" y="T1"/>
                    </a:cxn>
                    <a:cxn ang="0">
                      <a:pos x="T2" y="T3"/>
                    </a:cxn>
                    <a:cxn ang="0">
                      <a:pos x="T4" y="T5"/>
                    </a:cxn>
                    <a:cxn ang="0">
                      <a:pos x="T6" y="T7"/>
                    </a:cxn>
                    <a:cxn ang="0">
                      <a:pos x="T8" y="T9"/>
                    </a:cxn>
                  </a:cxnLst>
                  <a:rect l="0" t="0" r="r" b="b"/>
                  <a:pathLst>
                    <a:path w="480" h="510">
                      <a:moveTo>
                        <a:pt x="12" y="510"/>
                      </a:moveTo>
                      <a:lnTo>
                        <a:pt x="0" y="498"/>
                      </a:lnTo>
                      <a:lnTo>
                        <a:pt x="468" y="0"/>
                      </a:lnTo>
                      <a:lnTo>
                        <a:pt x="480" y="12"/>
                      </a:lnTo>
                      <a:lnTo>
                        <a:pt x="12" y="51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1" name="Freeform 67">
                  <a:extLst>
                    <a:ext uri="{FF2B5EF4-FFF2-40B4-BE49-F238E27FC236}">
                      <a16:creationId xmlns:a16="http://schemas.microsoft.com/office/drawing/2014/main" id="{46D2C7DE-A496-DA4C-8930-AF2B75A23AF7}"/>
                    </a:ext>
                  </a:extLst>
                </p:cNvPr>
                <p:cNvSpPr>
                  <a:spLocks/>
                </p:cNvSpPr>
                <p:nvPr/>
              </p:nvSpPr>
              <p:spPr bwMode="auto">
                <a:xfrm>
                  <a:off x="3289637" y="3727616"/>
                  <a:ext cx="301968" cy="627938"/>
                </a:xfrm>
                <a:custGeom>
                  <a:avLst/>
                  <a:gdLst>
                    <a:gd name="T0" fmla="*/ 12 w 390"/>
                    <a:gd name="T1" fmla="*/ 811 h 811"/>
                    <a:gd name="T2" fmla="*/ 0 w 390"/>
                    <a:gd name="T3" fmla="*/ 805 h 811"/>
                    <a:gd name="T4" fmla="*/ 372 w 390"/>
                    <a:gd name="T5" fmla="*/ 0 h 811"/>
                    <a:gd name="T6" fmla="*/ 390 w 390"/>
                    <a:gd name="T7" fmla="*/ 6 h 811"/>
                    <a:gd name="T8" fmla="*/ 12 w 390"/>
                    <a:gd name="T9" fmla="*/ 811 h 811"/>
                  </a:gdLst>
                  <a:ahLst/>
                  <a:cxnLst>
                    <a:cxn ang="0">
                      <a:pos x="T0" y="T1"/>
                    </a:cxn>
                    <a:cxn ang="0">
                      <a:pos x="T2" y="T3"/>
                    </a:cxn>
                    <a:cxn ang="0">
                      <a:pos x="T4" y="T5"/>
                    </a:cxn>
                    <a:cxn ang="0">
                      <a:pos x="T6" y="T7"/>
                    </a:cxn>
                    <a:cxn ang="0">
                      <a:pos x="T8" y="T9"/>
                    </a:cxn>
                  </a:cxnLst>
                  <a:rect l="0" t="0" r="r" b="b"/>
                  <a:pathLst>
                    <a:path w="390" h="811">
                      <a:moveTo>
                        <a:pt x="12" y="811"/>
                      </a:moveTo>
                      <a:lnTo>
                        <a:pt x="0" y="805"/>
                      </a:lnTo>
                      <a:lnTo>
                        <a:pt x="372" y="0"/>
                      </a:lnTo>
                      <a:lnTo>
                        <a:pt x="390" y="6"/>
                      </a:lnTo>
                      <a:lnTo>
                        <a:pt x="12" y="81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2" name="Freeform 68">
                  <a:extLst>
                    <a:ext uri="{FF2B5EF4-FFF2-40B4-BE49-F238E27FC236}">
                      <a16:creationId xmlns:a16="http://schemas.microsoft.com/office/drawing/2014/main" id="{0E4C02E0-27C1-FB4A-B985-4DDFD79F9EAA}"/>
                    </a:ext>
                  </a:extLst>
                </p:cNvPr>
                <p:cNvSpPr>
                  <a:spLocks/>
                </p:cNvSpPr>
                <p:nvPr/>
              </p:nvSpPr>
              <p:spPr bwMode="auto">
                <a:xfrm>
                  <a:off x="3336093" y="4467049"/>
                  <a:ext cx="278739" cy="120787"/>
                </a:xfrm>
                <a:custGeom>
                  <a:avLst/>
                  <a:gdLst>
                    <a:gd name="T0" fmla="*/ 360 w 360"/>
                    <a:gd name="T1" fmla="*/ 156 h 156"/>
                    <a:gd name="T2" fmla="*/ 0 w 360"/>
                    <a:gd name="T3" fmla="*/ 18 h 156"/>
                    <a:gd name="T4" fmla="*/ 0 w 360"/>
                    <a:gd name="T5" fmla="*/ 0 h 156"/>
                    <a:gd name="T6" fmla="*/ 360 w 360"/>
                    <a:gd name="T7" fmla="*/ 138 h 156"/>
                    <a:gd name="T8" fmla="*/ 360 w 360"/>
                    <a:gd name="T9" fmla="*/ 156 h 156"/>
                  </a:gdLst>
                  <a:ahLst/>
                  <a:cxnLst>
                    <a:cxn ang="0">
                      <a:pos x="T0" y="T1"/>
                    </a:cxn>
                    <a:cxn ang="0">
                      <a:pos x="T2" y="T3"/>
                    </a:cxn>
                    <a:cxn ang="0">
                      <a:pos x="T4" y="T5"/>
                    </a:cxn>
                    <a:cxn ang="0">
                      <a:pos x="T6" y="T7"/>
                    </a:cxn>
                    <a:cxn ang="0">
                      <a:pos x="T8" y="T9"/>
                    </a:cxn>
                  </a:cxnLst>
                  <a:rect l="0" t="0" r="r" b="b"/>
                  <a:pathLst>
                    <a:path w="360" h="156">
                      <a:moveTo>
                        <a:pt x="360" y="156"/>
                      </a:moveTo>
                      <a:lnTo>
                        <a:pt x="0" y="18"/>
                      </a:lnTo>
                      <a:lnTo>
                        <a:pt x="0" y="0"/>
                      </a:lnTo>
                      <a:lnTo>
                        <a:pt x="360" y="138"/>
                      </a:lnTo>
                      <a:lnTo>
                        <a:pt x="360" y="15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3" name="Freeform 69">
                  <a:extLst>
                    <a:ext uri="{FF2B5EF4-FFF2-40B4-BE49-F238E27FC236}">
                      <a16:creationId xmlns:a16="http://schemas.microsoft.com/office/drawing/2014/main" id="{0EFB73E7-1D1B-AD46-A357-C6E6DD88E47D}"/>
                    </a:ext>
                  </a:extLst>
                </p:cNvPr>
                <p:cNvSpPr>
                  <a:spLocks/>
                </p:cNvSpPr>
                <p:nvPr/>
              </p:nvSpPr>
              <p:spPr bwMode="auto">
                <a:xfrm>
                  <a:off x="5851716" y="3811238"/>
                  <a:ext cx="176535" cy="483923"/>
                </a:xfrm>
                <a:custGeom>
                  <a:avLst/>
                  <a:gdLst>
                    <a:gd name="T0" fmla="*/ 210 w 228"/>
                    <a:gd name="T1" fmla="*/ 625 h 625"/>
                    <a:gd name="T2" fmla="*/ 0 w 228"/>
                    <a:gd name="T3" fmla="*/ 0 h 625"/>
                    <a:gd name="T4" fmla="*/ 18 w 228"/>
                    <a:gd name="T5" fmla="*/ 0 h 625"/>
                    <a:gd name="T6" fmla="*/ 228 w 228"/>
                    <a:gd name="T7" fmla="*/ 625 h 625"/>
                    <a:gd name="T8" fmla="*/ 210 w 228"/>
                    <a:gd name="T9" fmla="*/ 625 h 625"/>
                  </a:gdLst>
                  <a:ahLst/>
                  <a:cxnLst>
                    <a:cxn ang="0">
                      <a:pos x="T0" y="T1"/>
                    </a:cxn>
                    <a:cxn ang="0">
                      <a:pos x="T2" y="T3"/>
                    </a:cxn>
                    <a:cxn ang="0">
                      <a:pos x="T4" y="T5"/>
                    </a:cxn>
                    <a:cxn ang="0">
                      <a:pos x="T6" y="T7"/>
                    </a:cxn>
                    <a:cxn ang="0">
                      <a:pos x="T8" y="T9"/>
                    </a:cxn>
                  </a:cxnLst>
                  <a:rect l="0" t="0" r="r" b="b"/>
                  <a:pathLst>
                    <a:path w="228" h="625">
                      <a:moveTo>
                        <a:pt x="210" y="625"/>
                      </a:moveTo>
                      <a:lnTo>
                        <a:pt x="0" y="0"/>
                      </a:lnTo>
                      <a:lnTo>
                        <a:pt x="18" y="0"/>
                      </a:lnTo>
                      <a:lnTo>
                        <a:pt x="228" y="625"/>
                      </a:lnTo>
                      <a:lnTo>
                        <a:pt x="210" y="62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5" name="Freeform 71">
                  <a:extLst>
                    <a:ext uri="{FF2B5EF4-FFF2-40B4-BE49-F238E27FC236}">
                      <a16:creationId xmlns:a16="http://schemas.microsoft.com/office/drawing/2014/main" id="{C1CE6CE4-67A2-4648-89C8-51C1DE1BBE8A}"/>
                    </a:ext>
                  </a:extLst>
                </p:cNvPr>
                <p:cNvSpPr>
                  <a:spLocks/>
                </p:cNvSpPr>
                <p:nvPr/>
              </p:nvSpPr>
              <p:spPr bwMode="auto">
                <a:xfrm>
                  <a:off x="6241951" y="4546026"/>
                  <a:ext cx="312033" cy="232282"/>
                </a:xfrm>
                <a:custGeom>
                  <a:avLst/>
                  <a:gdLst>
                    <a:gd name="T0" fmla="*/ 391 w 403"/>
                    <a:gd name="T1" fmla="*/ 300 h 300"/>
                    <a:gd name="T2" fmla="*/ 0 w 403"/>
                    <a:gd name="T3" fmla="*/ 12 h 300"/>
                    <a:gd name="T4" fmla="*/ 6 w 403"/>
                    <a:gd name="T5" fmla="*/ 0 h 300"/>
                    <a:gd name="T6" fmla="*/ 403 w 403"/>
                    <a:gd name="T7" fmla="*/ 282 h 300"/>
                    <a:gd name="T8" fmla="*/ 391 w 403"/>
                    <a:gd name="T9" fmla="*/ 300 h 300"/>
                  </a:gdLst>
                  <a:ahLst/>
                  <a:cxnLst>
                    <a:cxn ang="0">
                      <a:pos x="T0" y="T1"/>
                    </a:cxn>
                    <a:cxn ang="0">
                      <a:pos x="T2" y="T3"/>
                    </a:cxn>
                    <a:cxn ang="0">
                      <a:pos x="T4" y="T5"/>
                    </a:cxn>
                    <a:cxn ang="0">
                      <a:pos x="T6" y="T7"/>
                    </a:cxn>
                    <a:cxn ang="0">
                      <a:pos x="T8" y="T9"/>
                    </a:cxn>
                  </a:cxnLst>
                  <a:rect l="0" t="0" r="r" b="b"/>
                  <a:pathLst>
                    <a:path w="403" h="300">
                      <a:moveTo>
                        <a:pt x="391" y="300"/>
                      </a:moveTo>
                      <a:lnTo>
                        <a:pt x="0" y="12"/>
                      </a:lnTo>
                      <a:lnTo>
                        <a:pt x="6" y="0"/>
                      </a:lnTo>
                      <a:lnTo>
                        <a:pt x="403" y="282"/>
                      </a:lnTo>
                      <a:lnTo>
                        <a:pt x="391" y="30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6" name="Freeform 72">
                  <a:extLst>
                    <a:ext uri="{FF2B5EF4-FFF2-40B4-BE49-F238E27FC236}">
                      <a16:creationId xmlns:a16="http://schemas.microsoft.com/office/drawing/2014/main" id="{2333E19F-C654-AD46-A280-357065C72A79}"/>
                    </a:ext>
                  </a:extLst>
                </p:cNvPr>
                <p:cNvSpPr>
                  <a:spLocks/>
                </p:cNvSpPr>
                <p:nvPr/>
              </p:nvSpPr>
              <p:spPr bwMode="auto">
                <a:xfrm>
                  <a:off x="5484709" y="4480987"/>
                  <a:ext cx="432046" cy="74330"/>
                </a:xfrm>
                <a:custGeom>
                  <a:avLst/>
                  <a:gdLst>
                    <a:gd name="T0" fmla="*/ 6 w 558"/>
                    <a:gd name="T1" fmla="*/ 96 h 96"/>
                    <a:gd name="T2" fmla="*/ 0 w 558"/>
                    <a:gd name="T3" fmla="*/ 78 h 96"/>
                    <a:gd name="T4" fmla="*/ 552 w 558"/>
                    <a:gd name="T5" fmla="*/ 0 h 96"/>
                    <a:gd name="T6" fmla="*/ 558 w 558"/>
                    <a:gd name="T7" fmla="*/ 18 h 96"/>
                    <a:gd name="T8" fmla="*/ 6 w 558"/>
                    <a:gd name="T9" fmla="*/ 96 h 96"/>
                  </a:gdLst>
                  <a:ahLst/>
                  <a:cxnLst>
                    <a:cxn ang="0">
                      <a:pos x="T0" y="T1"/>
                    </a:cxn>
                    <a:cxn ang="0">
                      <a:pos x="T2" y="T3"/>
                    </a:cxn>
                    <a:cxn ang="0">
                      <a:pos x="T4" y="T5"/>
                    </a:cxn>
                    <a:cxn ang="0">
                      <a:pos x="T6" y="T7"/>
                    </a:cxn>
                    <a:cxn ang="0">
                      <a:pos x="T8" y="T9"/>
                    </a:cxn>
                  </a:cxnLst>
                  <a:rect l="0" t="0" r="r" b="b"/>
                  <a:pathLst>
                    <a:path w="558" h="96">
                      <a:moveTo>
                        <a:pt x="6" y="96"/>
                      </a:moveTo>
                      <a:lnTo>
                        <a:pt x="0" y="78"/>
                      </a:lnTo>
                      <a:lnTo>
                        <a:pt x="552" y="0"/>
                      </a:lnTo>
                      <a:lnTo>
                        <a:pt x="558" y="18"/>
                      </a:lnTo>
                      <a:lnTo>
                        <a:pt x="6" y="9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7" name="Freeform 73">
                  <a:extLst>
                    <a:ext uri="{FF2B5EF4-FFF2-40B4-BE49-F238E27FC236}">
                      <a16:creationId xmlns:a16="http://schemas.microsoft.com/office/drawing/2014/main" id="{149D8D8D-82AC-2046-854E-4EA903424C42}"/>
                    </a:ext>
                  </a:extLst>
                </p:cNvPr>
                <p:cNvSpPr>
                  <a:spLocks/>
                </p:cNvSpPr>
                <p:nvPr/>
              </p:nvSpPr>
              <p:spPr bwMode="auto">
                <a:xfrm>
                  <a:off x="6037542" y="3202657"/>
                  <a:ext cx="358490" cy="116141"/>
                </a:xfrm>
                <a:custGeom>
                  <a:avLst/>
                  <a:gdLst>
                    <a:gd name="T0" fmla="*/ 6 w 463"/>
                    <a:gd name="T1" fmla="*/ 150 h 150"/>
                    <a:gd name="T2" fmla="*/ 0 w 463"/>
                    <a:gd name="T3" fmla="*/ 132 h 150"/>
                    <a:gd name="T4" fmla="*/ 457 w 463"/>
                    <a:gd name="T5" fmla="*/ 0 h 150"/>
                    <a:gd name="T6" fmla="*/ 463 w 463"/>
                    <a:gd name="T7" fmla="*/ 12 h 150"/>
                    <a:gd name="T8" fmla="*/ 6 w 463"/>
                    <a:gd name="T9" fmla="*/ 150 h 150"/>
                  </a:gdLst>
                  <a:ahLst/>
                  <a:cxnLst>
                    <a:cxn ang="0">
                      <a:pos x="T0" y="T1"/>
                    </a:cxn>
                    <a:cxn ang="0">
                      <a:pos x="T2" y="T3"/>
                    </a:cxn>
                    <a:cxn ang="0">
                      <a:pos x="T4" y="T5"/>
                    </a:cxn>
                    <a:cxn ang="0">
                      <a:pos x="T6" y="T7"/>
                    </a:cxn>
                    <a:cxn ang="0">
                      <a:pos x="T8" y="T9"/>
                    </a:cxn>
                  </a:cxnLst>
                  <a:rect l="0" t="0" r="r" b="b"/>
                  <a:pathLst>
                    <a:path w="463" h="150">
                      <a:moveTo>
                        <a:pt x="6" y="150"/>
                      </a:moveTo>
                      <a:lnTo>
                        <a:pt x="0" y="132"/>
                      </a:lnTo>
                      <a:lnTo>
                        <a:pt x="457" y="0"/>
                      </a:lnTo>
                      <a:lnTo>
                        <a:pt x="463" y="12"/>
                      </a:lnTo>
                      <a:lnTo>
                        <a:pt x="6" y="15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8" name="Freeform 74">
                  <a:extLst>
                    <a:ext uri="{FF2B5EF4-FFF2-40B4-BE49-F238E27FC236}">
                      <a16:creationId xmlns:a16="http://schemas.microsoft.com/office/drawing/2014/main" id="{EB004DDA-7DCF-BB4F-B68E-D3E38BCDA4D9}"/>
                    </a:ext>
                  </a:extLst>
                </p:cNvPr>
                <p:cNvSpPr>
                  <a:spLocks/>
                </p:cNvSpPr>
                <p:nvPr/>
              </p:nvSpPr>
              <p:spPr bwMode="auto">
                <a:xfrm>
                  <a:off x="6386741" y="1937489"/>
                  <a:ext cx="404172" cy="46457"/>
                </a:xfrm>
                <a:custGeom>
                  <a:avLst/>
                  <a:gdLst>
                    <a:gd name="T0" fmla="*/ 0 w 522"/>
                    <a:gd name="T1" fmla="*/ 60 h 60"/>
                    <a:gd name="T2" fmla="*/ 0 w 522"/>
                    <a:gd name="T3" fmla="*/ 42 h 60"/>
                    <a:gd name="T4" fmla="*/ 522 w 522"/>
                    <a:gd name="T5" fmla="*/ 0 h 60"/>
                    <a:gd name="T6" fmla="*/ 522 w 522"/>
                    <a:gd name="T7" fmla="*/ 18 h 60"/>
                    <a:gd name="T8" fmla="*/ 0 w 522"/>
                    <a:gd name="T9" fmla="*/ 60 h 60"/>
                  </a:gdLst>
                  <a:ahLst/>
                  <a:cxnLst>
                    <a:cxn ang="0">
                      <a:pos x="T0" y="T1"/>
                    </a:cxn>
                    <a:cxn ang="0">
                      <a:pos x="T2" y="T3"/>
                    </a:cxn>
                    <a:cxn ang="0">
                      <a:pos x="T4" y="T5"/>
                    </a:cxn>
                    <a:cxn ang="0">
                      <a:pos x="T6" y="T7"/>
                    </a:cxn>
                    <a:cxn ang="0">
                      <a:pos x="T8" y="T9"/>
                    </a:cxn>
                  </a:cxnLst>
                  <a:rect l="0" t="0" r="r" b="b"/>
                  <a:pathLst>
                    <a:path w="522" h="60">
                      <a:moveTo>
                        <a:pt x="0" y="60"/>
                      </a:moveTo>
                      <a:lnTo>
                        <a:pt x="0" y="42"/>
                      </a:lnTo>
                      <a:lnTo>
                        <a:pt x="522" y="0"/>
                      </a:lnTo>
                      <a:lnTo>
                        <a:pt x="522" y="18"/>
                      </a:lnTo>
                      <a:lnTo>
                        <a:pt x="0" y="6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9" name="Freeform 75">
                  <a:extLst>
                    <a:ext uri="{FF2B5EF4-FFF2-40B4-BE49-F238E27FC236}">
                      <a16:creationId xmlns:a16="http://schemas.microsoft.com/office/drawing/2014/main" id="{D81A8E7B-D976-274C-852C-0D09832A3369}"/>
                    </a:ext>
                  </a:extLst>
                </p:cNvPr>
                <p:cNvSpPr>
                  <a:spLocks/>
                </p:cNvSpPr>
                <p:nvPr/>
              </p:nvSpPr>
              <p:spPr bwMode="auto">
                <a:xfrm>
                  <a:off x="5823842" y="2285913"/>
                  <a:ext cx="283385" cy="888869"/>
                </a:xfrm>
                <a:custGeom>
                  <a:avLst/>
                  <a:gdLst>
                    <a:gd name="T0" fmla="*/ 12 w 366"/>
                    <a:gd name="T1" fmla="*/ 1148 h 1148"/>
                    <a:gd name="T2" fmla="*/ 0 w 366"/>
                    <a:gd name="T3" fmla="*/ 1142 h 1148"/>
                    <a:gd name="T4" fmla="*/ 348 w 366"/>
                    <a:gd name="T5" fmla="*/ 0 h 1148"/>
                    <a:gd name="T6" fmla="*/ 366 w 366"/>
                    <a:gd name="T7" fmla="*/ 0 h 1148"/>
                    <a:gd name="T8" fmla="*/ 12 w 366"/>
                    <a:gd name="T9" fmla="*/ 1148 h 1148"/>
                  </a:gdLst>
                  <a:ahLst/>
                  <a:cxnLst>
                    <a:cxn ang="0">
                      <a:pos x="T0" y="T1"/>
                    </a:cxn>
                    <a:cxn ang="0">
                      <a:pos x="T2" y="T3"/>
                    </a:cxn>
                    <a:cxn ang="0">
                      <a:pos x="T4" y="T5"/>
                    </a:cxn>
                    <a:cxn ang="0">
                      <a:pos x="T6" y="T7"/>
                    </a:cxn>
                    <a:cxn ang="0">
                      <a:pos x="T8" y="T9"/>
                    </a:cxn>
                  </a:cxnLst>
                  <a:rect l="0" t="0" r="r" b="b"/>
                  <a:pathLst>
                    <a:path w="366" h="1148">
                      <a:moveTo>
                        <a:pt x="12" y="1148"/>
                      </a:moveTo>
                      <a:lnTo>
                        <a:pt x="0" y="1142"/>
                      </a:lnTo>
                      <a:lnTo>
                        <a:pt x="348" y="0"/>
                      </a:lnTo>
                      <a:lnTo>
                        <a:pt x="366" y="0"/>
                      </a:lnTo>
                      <a:lnTo>
                        <a:pt x="12" y="11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0" name="Freeform 76">
                  <a:extLst>
                    <a:ext uri="{FF2B5EF4-FFF2-40B4-BE49-F238E27FC236}">
                      <a16:creationId xmlns:a16="http://schemas.microsoft.com/office/drawing/2014/main" id="{39CA51C4-4D10-D84C-B29A-B087CBD85D9B}"/>
                    </a:ext>
                  </a:extLst>
                </p:cNvPr>
                <p:cNvSpPr>
                  <a:spLocks/>
                </p:cNvSpPr>
                <p:nvPr/>
              </p:nvSpPr>
              <p:spPr bwMode="auto">
                <a:xfrm>
                  <a:off x="3010898" y="1872450"/>
                  <a:ext cx="232282" cy="232282"/>
                </a:xfrm>
                <a:custGeom>
                  <a:avLst/>
                  <a:gdLst>
                    <a:gd name="T0" fmla="*/ 12 w 300"/>
                    <a:gd name="T1" fmla="*/ 300 h 300"/>
                    <a:gd name="T2" fmla="*/ 0 w 300"/>
                    <a:gd name="T3" fmla="*/ 288 h 300"/>
                    <a:gd name="T4" fmla="*/ 288 w 300"/>
                    <a:gd name="T5" fmla="*/ 0 h 300"/>
                    <a:gd name="T6" fmla="*/ 300 w 300"/>
                    <a:gd name="T7" fmla="*/ 12 h 300"/>
                    <a:gd name="T8" fmla="*/ 12 w 300"/>
                    <a:gd name="T9" fmla="*/ 300 h 300"/>
                  </a:gdLst>
                  <a:ahLst/>
                  <a:cxnLst>
                    <a:cxn ang="0">
                      <a:pos x="T0" y="T1"/>
                    </a:cxn>
                    <a:cxn ang="0">
                      <a:pos x="T2" y="T3"/>
                    </a:cxn>
                    <a:cxn ang="0">
                      <a:pos x="T4" y="T5"/>
                    </a:cxn>
                    <a:cxn ang="0">
                      <a:pos x="T6" y="T7"/>
                    </a:cxn>
                    <a:cxn ang="0">
                      <a:pos x="T8" y="T9"/>
                    </a:cxn>
                  </a:cxnLst>
                  <a:rect l="0" t="0" r="r" b="b"/>
                  <a:pathLst>
                    <a:path w="300" h="300">
                      <a:moveTo>
                        <a:pt x="12" y="300"/>
                      </a:moveTo>
                      <a:lnTo>
                        <a:pt x="0" y="288"/>
                      </a:lnTo>
                      <a:lnTo>
                        <a:pt x="288" y="0"/>
                      </a:lnTo>
                      <a:lnTo>
                        <a:pt x="300" y="12"/>
                      </a:lnTo>
                      <a:lnTo>
                        <a:pt x="12" y="30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1" name="Freeform 77">
                  <a:extLst>
                    <a:ext uri="{FF2B5EF4-FFF2-40B4-BE49-F238E27FC236}">
                      <a16:creationId xmlns:a16="http://schemas.microsoft.com/office/drawing/2014/main" id="{8F55B248-1FE6-4B42-AF40-73AA768661B9}"/>
                    </a:ext>
                  </a:extLst>
                </p:cNvPr>
                <p:cNvSpPr>
                  <a:spLocks/>
                </p:cNvSpPr>
                <p:nvPr/>
              </p:nvSpPr>
              <p:spPr bwMode="auto">
                <a:xfrm>
                  <a:off x="6493591" y="3272342"/>
                  <a:ext cx="78976" cy="422755"/>
                </a:xfrm>
                <a:custGeom>
                  <a:avLst/>
                  <a:gdLst>
                    <a:gd name="T0" fmla="*/ 84 w 102"/>
                    <a:gd name="T1" fmla="*/ 546 h 546"/>
                    <a:gd name="T2" fmla="*/ 0 w 102"/>
                    <a:gd name="T3" fmla="*/ 6 h 546"/>
                    <a:gd name="T4" fmla="*/ 12 w 102"/>
                    <a:gd name="T5" fmla="*/ 0 h 546"/>
                    <a:gd name="T6" fmla="*/ 102 w 102"/>
                    <a:gd name="T7" fmla="*/ 540 h 546"/>
                    <a:gd name="T8" fmla="*/ 84 w 102"/>
                    <a:gd name="T9" fmla="*/ 546 h 546"/>
                  </a:gdLst>
                  <a:ahLst/>
                  <a:cxnLst>
                    <a:cxn ang="0">
                      <a:pos x="T0" y="T1"/>
                    </a:cxn>
                    <a:cxn ang="0">
                      <a:pos x="T2" y="T3"/>
                    </a:cxn>
                    <a:cxn ang="0">
                      <a:pos x="T4" y="T5"/>
                    </a:cxn>
                    <a:cxn ang="0">
                      <a:pos x="T6" y="T7"/>
                    </a:cxn>
                    <a:cxn ang="0">
                      <a:pos x="T8" y="T9"/>
                    </a:cxn>
                  </a:cxnLst>
                  <a:rect l="0" t="0" r="r" b="b"/>
                  <a:pathLst>
                    <a:path w="102" h="546">
                      <a:moveTo>
                        <a:pt x="84" y="546"/>
                      </a:moveTo>
                      <a:lnTo>
                        <a:pt x="0" y="6"/>
                      </a:lnTo>
                      <a:lnTo>
                        <a:pt x="12" y="0"/>
                      </a:lnTo>
                      <a:lnTo>
                        <a:pt x="102" y="540"/>
                      </a:lnTo>
                      <a:lnTo>
                        <a:pt x="84" y="54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2" name="Freeform 78">
                  <a:extLst>
                    <a:ext uri="{FF2B5EF4-FFF2-40B4-BE49-F238E27FC236}">
                      <a16:creationId xmlns:a16="http://schemas.microsoft.com/office/drawing/2014/main" id="{EC5E3F22-CB8D-C64C-B9D6-42228EEBAFF4}"/>
                    </a:ext>
                  </a:extLst>
                </p:cNvPr>
                <p:cNvSpPr>
                  <a:spLocks/>
                </p:cNvSpPr>
                <p:nvPr/>
              </p:nvSpPr>
              <p:spPr bwMode="auto">
                <a:xfrm>
                  <a:off x="6181558" y="3806592"/>
                  <a:ext cx="344553" cy="502506"/>
                </a:xfrm>
                <a:custGeom>
                  <a:avLst/>
                  <a:gdLst>
                    <a:gd name="T0" fmla="*/ 12 w 445"/>
                    <a:gd name="T1" fmla="*/ 649 h 649"/>
                    <a:gd name="T2" fmla="*/ 0 w 445"/>
                    <a:gd name="T3" fmla="*/ 643 h 649"/>
                    <a:gd name="T4" fmla="*/ 433 w 445"/>
                    <a:gd name="T5" fmla="*/ 0 h 649"/>
                    <a:gd name="T6" fmla="*/ 445 w 445"/>
                    <a:gd name="T7" fmla="*/ 12 h 649"/>
                    <a:gd name="T8" fmla="*/ 12 w 445"/>
                    <a:gd name="T9" fmla="*/ 649 h 649"/>
                  </a:gdLst>
                  <a:ahLst/>
                  <a:cxnLst>
                    <a:cxn ang="0">
                      <a:pos x="T0" y="T1"/>
                    </a:cxn>
                    <a:cxn ang="0">
                      <a:pos x="T2" y="T3"/>
                    </a:cxn>
                    <a:cxn ang="0">
                      <a:pos x="T4" y="T5"/>
                    </a:cxn>
                    <a:cxn ang="0">
                      <a:pos x="T6" y="T7"/>
                    </a:cxn>
                    <a:cxn ang="0">
                      <a:pos x="T8" y="T9"/>
                    </a:cxn>
                  </a:cxnLst>
                  <a:rect l="0" t="0" r="r" b="b"/>
                  <a:pathLst>
                    <a:path w="445" h="649">
                      <a:moveTo>
                        <a:pt x="12" y="649"/>
                      </a:moveTo>
                      <a:lnTo>
                        <a:pt x="0" y="643"/>
                      </a:lnTo>
                      <a:lnTo>
                        <a:pt x="433" y="0"/>
                      </a:lnTo>
                      <a:lnTo>
                        <a:pt x="445" y="12"/>
                      </a:lnTo>
                      <a:lnTo>
                        <a:pt x="12" y="64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3" name="Freeform 79">
                  <a:extLst>
                    <a:ext uri="{FF2B5EF4-FFF2-40B4-BE49-F238E27FC236}">
                      <a16:creationId xmlns:a16="http://schemas.microsoft.com/office/drawing/2014/main" id="{D17BA8AB-FCC5-AC44-B2A8-579D11EACE6A}"/>
                    </a:ext>
                  </a:extLst>
                </p:cNvPr>
                <p:cNvSpPr>
                  <a:spLocks/>
                </p:cNvSpPr>
                <p:nvPr/>
              </p:nvSpPr>
              <p:spPr bwMode="auto">
                <a:xfrm>
                  <a:off x="6252017" y="1002938"/>
                  <a:ext cx="250866" cy="367007"/>
                </a:xfrm>
                <a:custGeom>
                  <a:avLst/>
                  <a:gdLst>
                    <a:gd name="T0" fmla="*/ 2 w 54"/>
                    <a:gd name="T1" fmla="*/ 79 h 79"/>
                    <a:gd name="T2" fmla="*/ 1 w 54"/>
                    <a:gd name="T3" fmla="*/ 79 h 79"/>
                    <a:gd name="T4" fmla="*/ 1 w 54"/>
                    <a:gd name="T5" fmla="*/ 76 h 79"/>
                    <a:gd name="T6" fmla="*/ 50 w 54"/>
                    <a:gd name="T7" fmla="*/ 2 h 79"/>
                    <a:gd name="T8" fmla="*/ 53 w 54"/>
                    <a:gd name="T9" fmla="*/ 1 h 79"/>
                    <a:gd name="T10" fmla="*/ 53 w 54"/>
                    <a:gd name="T11" fmla="*/ 4 h 79"/>
                    <a:gd name="T12" fmla="*/ 4 w 54"/>
                    <a:gd name="T13" fmla="*/ 78 h 79"/>
                    <a:gd name="T14" fmla="*/ 2 w 54"/>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79">
                      <a:moveTo>
                        <a:pt x="2" y="79"/>
                      </a:moveTo>
                      <a:cubicBezTo>
                        <a:pt x="2" y="79"/>
                        <a:pt x="2" y="79"/>
                        <a:pt x="1" y="79"/>
                      </a:cubicBezTo>
                      <a:cubicBezTo>
                        <a:pt x="0" y="78"/>
                        <a:pt x="0" y="77"/>
                        <a:pt x="1" y="76"/>
                      </a:cubicBezTo>
                      <a:cubicBezTo>
                        <a:pt x="50" y="2"/>
                        <a:pt x="50" y="2"/>
                        <a:pt x="50" y="2"/>
                      </a:cubicBezTo>
                      <a:cubicBezTo>
                        <a:pt x="51" y="1"/>
                        <a:pt x="52" y="0"/>
                        <a:pt x="53" y="1"/>
                      </a:cubicBezTo>
                      <a:cubicBezTo>
                        <a:pt x="54" y="2"/>
                        <a:pt x="54" y="3"/>
                        <a:pt x="53" y="4"/>
                      </a:cubicBezTo>
                      <a:cubicBezTo>
                        <a:pt x="4" y="78"/>
                        <a:pt x="4" y="78"/>
                        <a:pt x="4" y="78"/>
                      </a:cubicBezTo>
                      <a:cubicBezTo>
                        <a:pt x="4" y="79"/>
                        <a:pt x="3" y="79"/>
                        <a:pt x="2" y="7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4" name="Freeform 80">
                  <a:extLst>
                    <a:ext uri="{FF2B5EF4-FFF2-40B4-BE49-F238E27FC236}">
                      <a16:creationId xmlns:a16="http://schemas.microsoft.com/office/drawing/2014/main" id="{B69154CB-8219-BD46-8015-043CD8EC8FDF}"/>
                    </a:ext>
                  </a:extLst>
                </p:cNvPr>
                <p:cNvSpPr>
                  <a:spLocks/>
                </p:cNvSpPr>
                <p:nvPr/>
              </p:nvSpPr>
              <p:spPr bwMode="auto">
                <a:xfrm>
                  <a:off x="5819196" y="1225930"/>
                  <a:ext cx="348424" cy="171889"/>
                </a:xfrm>
                <a:custGeom>
                  <a:avLst/>
                  <a:gdLst>
                    <a:gd name="T0" fmla="*/ 73 w 75"/>
                    <a:gd name="T1" fmla="*/ 37 h 37"/>
                    <a:gd name="T2" fmla="*/ 72 w 75"/>
                    <a:gd name="T3" fmla="*/ 36 h 37"/>
                    <a:gd name="T4" fmla="*/ 1 w 75"/>
                    <a:gd name="T5" fmla="*/ 4 h 37"/>
                    <a:gd name="T6" fmla="*/ 0 w 75"/>
                    <a:gd name="T7" fmla="*/ 2 h 37"/>
                    <a:gd name="T8" fmla="*/ 3 w 75"/>
                    <a:gd name="T9" fmla="*/ 1 h 37"/>
                    <a:gd name="T10" fmla="*/ 73 w 75"/>
                    <a:gd name="T11" fmla="*/ 33 h 37"/>
                    <a:gd name="T12" fmla="*/ 74 w 75"/>
                    <a:gd name="T13" fmla="*/ 35 h 37"/>
                    <a:gd name="T14" fmla="*/ 73 w 75"/>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7">
                      <a:moveTo>
                        <a:pt x="73" y="37"/>
                      </a:moveTo>
                      <a:cubicBezTo>
                        <a:pt x="72" y="37"/>
                        <a:pt x="72" y="37"/>
                        <a:pt x="72" y="36"/>
                      </a:cubicBezTo>
                      <a:cubicBezTo>
                        <a:pt x="1" y="4"/>
                        <a:pt x="1" y="4"/>
                        <a:pt x="1" y="4"/>
                      </a:cubicBezTo>
                      <a:cubicBezTo>
                        <a:pt x="0" y="4"/>
                        <a:pt x="0" y="3"/>
                        <a:pt x="0" y="2"/>
                      </a:cubicBezTo>
                      <a:cubicBezTo>
                        <a:pt x="1" y="1"/>
                        <a:pt x="2" y="0"/>
                        <a:pt x="3" y="1"/>
                      </a:cubicBezTo>
                      <a:cubicBezTo>
                        <a:pt x="73" y="33"/>
                        <a:pt x="73" y="33"/>
                        <a:pt x="73" y="33"/>
                      </a:cubicBezTo>
                      <a:cubicBezTo>
                        <a:pt x="74" y="33"/>
                        <a:pt x="75" y="34"/>
                        <a:pt x="74" y="35"/>
                      </a:cubicBezTo>
                      <a:cubicBezTo>
                        <a:pt x="74" y="36"/>
                        <a:pt x="73" y="37"/>
                        <a:pt x="73" y="3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5" name="Freeform 81">
                  <a:extLst>
                    <a:ext uri="{FF2B5EF4-FFF2-40B4-BE49-F238E27FC236}">
                      <a16:creationId xmlns:a16="http://schemas.microsoft.com/office/drawing/2014/main" id="{044ABEE0-CBE6-6A42-950D-09BAD54656C9}"/>
                    </a:ext>
                  </a:extLst>
                </p:cNvPr>
                <p:cNvSpPr>
                  <a:spLocks/>
                </p:cNvSpPr>
                <p:nvPr/>
              </p:nvSpPr>
              <p:spPr bwMode="auto">
                <a:xfrm>
                  <a:off x="6158329" y="1472923"/>
                  <a:ext cx="74330" cy="334487"/>
                </a:xfrm>
                <a:custGeom>
                  <a:avLst/>
                  <a:gdLst>
                    <a:gd name="T0" fmla="*/ 2 w 16"/>
                    <a:gd name="T1" fmla="*/ 72 h 72"/>
                    <a:gd name="T2" fmla="*/ 2 w 16"/>
                    <a:gd name="T3" fmla="*/ 72 h 72"/>
                    <a:gd name="T4" fmla="*/ 0 w 16"/>
                    <a:gd name="T5" fmla="*/ 69 h 72"/>
                    <a:gd name="T6" fmla="*/ 12 w 16"/>
                    <a:gd name="T7" fmla="*/ 1 h 72"/>
                    <a:gd name="T8" fmla="*/ 15 w 16"/>
                    <a:gd name="T9" fmla="*/ 0 h 72"/>
                    <a:gd name="T10" fmla="*/ 16 w 16"/>
                    <a:gd name="T11" fmla="*/ 2 h 72"/>
                    <a:gd name="T12" fmla="*/ 4 w 16"/>
                    <a:gd name="T13" fmla="*/ 70 h 72"/>
                    <a:gd name="T14" fmla="*/ 2 w 16"/>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72">
                      <a:moveTo>
                        <a:pt x="2" y="72"/>
                      </a:moveTo>
                      <a:cubicBezTo>
                        <a:pt x="2" y="72"/>
                        <a:pt x="2" y="72"/>
                        <a:pt x="2" y="72"/>
                      </a:cubicBezTo>
                      <a:cubicBezTo>
                        <a:pt x="1" y="71"/>
                        <a:pt x="0" y="70"/>
                        <a:pt x="0" y="69"/>
                      </a:cubicBezTo>
                      <a:cubicBezTo>
                        <a:pt x="12" y="1"/>
                        <a:pt x="12" y="1"/>
                        <a:pt x="12" y="1"/>
                      </a:cubicBezTo>
                      <a:cubicBezTo>
                        <a:pt x="13" y="0"/>
                        <a:pt x="14" y="0"/>
                        <a:pt x="15" y="0"/>
                      </a:cubicBezTo>
                      <a:cubicBezTo>
                        <a:pt x="16" y="0"/>
                        <a:pt x="16" y="1"/>
                        <a:pt x="16" y="2"/>
                      </a:cubicBezTo>
                      <a:cubicBezTo>
                        <a:pt x="4" y="70"/>
                        <a:pt x="4" y="70"/>
                        <a:pt x="4" y="70"/>
                      </a:cubicBezTo>
                      <a:cubicBezTo>
                        <a:pt x="4" y="71"/>
                        <a:pt x="3" y="72"/>
                        <a:pt x="2" y="7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6" name="Freeform 82">
                  <a:extLst>
                    <a:ext uri="{FF2B5EF4-FFF2-40B4-BE49-F238E27FC236}">
                      <a16:creationId xmlns:a16="http://schemas.microsoft.com/office/drawing/2014/main" id="{F47EA494-CF5A-5F41-AC77-E3A78C55E8C1}"/>
                    </a:ext>
                  </a:extLst>
                </p:cNvPr>
                <p:cNvSpPr>
                  <a:spLocks/>
                </p:cNvSpPr>
                <p:nvPr/>
              </p:nvSpPr>
              <p:spPr bwMode="auto">
                <a:xfrm>
                  <a:off x="6711937" y="942545"/>
                  <a:ext cx="348424" cy="348424"/>
                </a:xfrm>
                <a:custGeom>
                  <a:avLst/>
                  <a:gdLst>
                    <a:gd name="T0" fmla="*/ 73 w 75"/>
                    <a:gd name="T1" fmla="*/ 75 h 75"/>
                    <a:gd name="T2" fmla="*/ 71 w 75"/>
                    <a:gd name="T3" fmla="*/ 74 h 75"/>
                    <a:gd name="T4" fmla="*/ 1 w 75"/>
                    <a:gd name="T5" fmla="*/ 4 h 75"/>
                    <a:gd name="T6" fmla="*/ 1 w 75"/>
                    <a:gd name="T7" fmla="*/ 1 h 75"/>
                    <a:gd name="T8" fmla="*/ 3 w 75"/>
                    <a:gd name="T9" fmla="*/ 1 h 75"/>
                    <a:gd name="T10" fmla="*/ 74 w 75"/>
                    <a:gd name="T11" fmla="*/ 72 h 75"/>
                    <a:gd name="T12" fmla="*/ 74 w 75"/>
                    <a:gd name="T13" fmla="*/ 74 h 75"/>
                    <a:gd name="T14" fmla="*/ 73 w 75"/>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75">
                      <a:moveTo>
                        <a:pt x="73" y="75"/>
                      </a:moveTo>
                      <a:cubicBezTo>
                        <a:pt x="72" y="75"/>
                        <a:pt x="72" y="75"/>
                        <a:pt x="71" y="74"/>
                      </a:cubicBezTo>
                      <a:cubicBezTo>
                        <a:pt x="1" y="4"/>
                        <a:pt x="1" y="4"/>
                        <a:pt x="1" y="4"/>
                      </a:cubicBezTo>
                      <a:cubicBezTo>
                        <a:pt x="0" y="3"/>
                        <a:pt x="0" y="2"/>
                        <a:pt x="1" y="1"/>
                      </a:cubicBezTo>
                      <a:cubicBezTo>
                        <a:pt x="1" y="0"/>
                        <a:pt x="3" y="0"/>
                        <a:pt x="3" y="1"/>
                      </a:cubicBezTo>
                      <a:cubicBezTo>
                        <a:pt x="74" y="72"/>
                        <a:pt x="74" y="72"/>
                        <a:pt x="74" y="72"/>
                      </a:cubicBezTo>
                      <a:cubicBezTo>
                        <a:pt x="75" y="72"/>
                        <a:pt x="75" y="74"/>
                        <a:pt x="74" y="74"/>
                      </a:cubicBezTo>
                      <a:cubicBezTo>
                        <a:pt x="74" y="75"/>
                        <a:pt x="73" y="75"/>
                        <a:pt x="73" y="7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7" name="Freeform 83">
                  <a:extLst>
                    <a:ext uri="{FF2B5EF4-FFF2-40B4-BE49-F238E27FC236}">
                      <a16:creationId xmlns:a16="http://schemas.microsoft.com/office/drawing/2014/main" id="{FD08492C-F730-E44A-A70B-1AF62F9A5463}"/>
                    </a:ext>
                  </a:extLst>
                </p:cNvPr>
                <p:cNvSpPr>
                  <a:spLocks/>
                </p:cNvSpPr>
                <p:nvPr/>
              </p:nvSpPr>
              <p:spPr bwMode="auto">
                <a:xfrm>
                  <a:off x="6660834" y="519015"/>
                  <a:ext cx="157952" cy="195892"/>
                </a:xfrm>
                <a:custGeom>
                  <a:avLst/>
                  <a:gdLst>
                    <a:gd name="T0" fmla="*/ 2 w 34"/>
                    <a:gd name="T1" fmla="*/ 42 h 42"/>
                    <a:gd name="T2" fmla="*/ 1 w 34"/>
                    <a:gd name="T3" fmla="*/ 42 h 42"/>
                    <a:gd name="T4" fmla="*/ 1 w 34"/>
                    <a:gd name="T5" fmla="*/ 39 h 42"/>
                    <a:gd name="T6" fmla="*/ 30 w 34"/>
                    <a:gd name="T7" fmla="*/ 1 h 42"/>
                    <a:gd name="T8" fmla="*/ 33 w 34"/>
                    <a:gd name="T9" fmla="*/ 1 h 42"/>
                    <a:gd name="T10" fmla="*/ 33 w 34"/>
                    <a:gd name="T11" fmla="*/ 4 h 42"/>
                    <a:gd name="T12" fmla="*/ 4 w 34"/>
                    <a:gd name="T13" fmla="*/ 41 h 42"/>
                    <a:gd name="T14" fmla="*/ 2 w 34"/>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42">
                      <a:moveTo>
                        <a:pt x="2" y="42"/>
                      </a:moveTo>
                      <a:cubicBezTo>
                        <a:pt x="2" y="42"/>
                        <a:pt x="1" y="42"/>
                        <a:pt x="1" y="42"/>
                      </a:cubicBezTo>
                      <a:cubicBezTo>
                        <a:pt x="0" y="41"/>
                        <a:pt x="0" y="40"/>
                        <a:pt x="1" y="39"/>
                      </a:cubicBezTo>
                      <a:cubicBezTo>
                        <a:pt x="30" y="1"/>
                        <a:pt x="30" y="1"/>
                        <a:pt x="30" y="1"/>
                      </a:cubicBezTo>
                      <a:cubicBezTo>
                        <a:pt x="31" y="1"/>
                        <a:pt x="32" y="0"/>
                        <a:pt x="33" y="1"/>
                      </a:cubicBezTo>
                      <a:cubicBezTo>
                        <a:pt x="34" y="2"/>
                        <a:pt x="34" y="3"/>
                        <a:pt x="33" y="4"/>
                      </a:cubicBezTo>
                      <a:cubicBezTo>
                        <a:pt x="4" y="41"/>
                        <a:pt x="4" y="41"/>
                        <a:pt x="4" y="41"/>
                      </a:cubicBezTo>
                      <a:cubicBezTo>
                        <a:pt x="4" y="42"/>
                        <a:pt x="3" y="42"/>
                        <a:pt x="2" y="4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8" name="Freeform 84">
                  <a:extLst>
                    <a:ext uri="{FF2B5EF4-FFF2-40B4-BE49-F238E27FC236}">
                      <a16:creationId xmlns:a16="http://schemas.microsoft.com/office/drawing/2014/main" id="{9090B3FA-0C8D-8C48-9872-3F2F4E66B337}"/>
                    </a:ext>
                  </a:extLst>
                </p:cNvPr>
                <p:cNvSpPr>
                  <a:spLocks/>
                </p:cNvSpPr>
                <p:nvPr/>
              </p:nvSpPr>
              <p:spPr bwMode="auto">
                <a:xfrm>
                  <a:off x="3940803" y="472558"/>
                  <a:ext cx="60393" cy="265577"/>
                </a:xfrm>
                <a:custGeom>
                  <a:avLst/>
                  <a:gdLst>
                    <a:gd name="T0" fmla="*/ 2 w 13"/>
                    <a:gd name="T1" fmla="*/ 57 h 57"/>
                    <a:gd name="T2" fmla="*/ 2 w 13"/>
                    <a:gd name="T3" fmla="*/ 57 h 57"/>
                    <a:gd name="T4" fmla="*/ 0 w 13"/>
                    <a:gd name="T5" fmla="*/ 54 h 57"/>
                    <a:gd name="T6" fmla="*/ 9 w 13"/>
                    <a:gd name="T7" fmla="*/ 2 h 57"/>
                    <a:gd name="T8" fmla="*/ 12 w 13"/>
                    <a:gd name="T9" fmla="*/ 0 h 57"/>
                    <a:gd name="T10" fmla="*/ 13 w 13"/>
                    <a:gd name="T11" fmla="*/ 2 h 57"/>
                    <a:gd name="T12" fmla="*/ 4 w 13"/>
                    <a:gd name="T13" fmla="*/ 55 h 57"/>
                    <a:gd name="T14" fmla="*/ 2 w 13"/>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57">
                      <a:moveTo>
                        <a:pt x="2" y="57"/>
                      </a:moveTo>
                      <a:cubicBezTo>
                        <a:pt x="2" y="57"/>
                        <a:pt x="2" y="57"/>
                        <a:pt x="2" y="57"/>
                      </a:cubicBezTo>
                      <a:cubicBezTo>
                        <a:pt x="1" y="56"/>
                        <a:pt x="0" y="55"/>
                        <a:pt x="0" y="54"/>
                      </a:cubicBezTo>
                      <a:cubicBezTo>
                        <a:pt x="9" y="2"/>
                        <a:pt x="9" y="2"/>
                        <a:pt x="9" y="2"/>
                      </a:cubicBezTo>
                      <a:cubicBezTo>
                        <a:pt x="10" y="1"/>
                        <a:pt x="11" y="0"/>
                        <a:pt x="12" y="0"/>
                      </a:cubicBezTo>
                      <a:cubicBezTo>
                        <a:pt x="13" y="0"/>
                        <a:pt x="13" y="1"/>
                        <a:pt x="13" y="2"/>
                      </a:cubicBezTo>
                      <a:cubicBezTo>
                        <a:pt x="4" y="55"/>
                        <a:pt x="4" y="55"/>
                        <a:pt x="4" y="55"/>
                      </a:cubicBezTo>
                      <a:cubicBezTo>
                        <a:pt x="4" y="56"/>
                        <a:pt x="3" y="57"/>
                        <a:pt x="2" y="5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9" name="Freeform 85">
                  <a:extLst>
                    <a:ext uri="{FF2B5EF4-FFF2-40B4-BE49-F238E27FC236}">
                      <a16:creationId xmlns:a16="http://schemas.microsoft.com/office/drawing/2014/main" id="{234C0B42-5F0B-FF4B-83AC-E23704D892CC}"/>
                    </a:ext>
                  </a:extLst>
                </p:cNvPr>
                <p:cNvSpPr>
                  <a:spLocks/>
                </p:cNvSpPr>
                <p:nvPr/>
              </p:nvSpPr>
              <p:spPr bwMode="auto">
                <a:xfrm>
                  <a:off x="4108046" y="779947"/>
                  <a:ext cx="269448" cy="78976"/>
                </a:xfrm>
                <a:custGeom>
                  <a:avLst/>
                  <a:gdLst>
                    <a:gd name="T0" fmla="*/ 2 w 58"/>
                    <a:gd name="T1" fmla="*/ 17 h 17"/>
                    <a:gd name="T2" fmla="*/ 0 w 58"/>
                    <a:gd name="T3" fmla="*/ 15 h 17"/>
                    <a:gd name="T4" fmla="*/ 2 w 58"/>
                    <a:gd name="T5" fmla="*/ 13 h 17"/>
                    <a:gd name="T6" fmla="*/ 55 w 58"/>
                    <a:gd name="T7" fmla="*/ 1 h 17"/>
                    <a:gd name="T8" fmla="*/ 57 w 58"/>
                    <a:gd name="T9" fmla="*/ 2 h 17"/>
                    <a:gd name="T10" fmla="*/ 56 w 58"/>
                    <a:gd name="T11" fmla="*/ 5 h 17"/>
                    <a:gd name="T12" fmla="*/ 2 w 58"/>
                    <a:gd name="T13" fmla="*/ 17 h 17"/>
                    <a:gd name="T14" fmla="*/ 2 w 58"/>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7">
                      <a:moveTo>
                        <a:pt x="2" y="17"/>
                      </a:moveTo>
                      <a:cubicBezTo>
                        <a:pt x="1" y="17"/>
                        <a:pt x="0" y="16"/>
                        <a:pt x="0" y="15"/>
                      </a:cubicBezTo>
                      <a:cubicBezTo>
                        <a:pt x="0" y="14"/>
                        <a:pt x="0" y="13"/>
                        <a:pt x="2" y="13"/>
                      </a:cubicBezTo>
                      <a:cubicBezTo>
                        <a:pt x="55" y="1"/>
                        <a:pt x="55" y="1"/>
                        <a:pt x="55" y="1"/>
                      </a:cubicBezTo>
                      <a:cubicBezTo>
                        <a:pt x="56" y="0"/>
                        <a:pt x="57" y="1"/>
                        <a:pt x="57" y="2"/>
                      </a:cubicBezTo>
                      <a:cubicBezTo>
                        <a:pt x="58" y="3"/>
                        <a:pt x="57" y="4"/>
                        <a:pt x="56" y="5"/>
                      </a:cubicBezTo>
                      <a:cubicBezTo>
                        <a:pt x="2" y="17"/>
                        <a:pt x="2" y="17"/>
                        <a:pt x="2" y="17"/>
                      </a:cubicBezTo>
                      <a:cubicBezTo>
                        <a:pt x="2" y="17"/>
                        <a:pt x="2" y="17"/>
                        <a:pt x="2" y="1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0" name="Freeform 86">
                  <a:extLst>
                    <a:ext uri="{FF2B5EF4-FFF2-40B4-BE49-F238E27FC236}">
                      <a16:creationId xmlns:a16="http://schemas.microsoft.com/office/drawing/2014/main" id="{2058331A-4F58-7B46-9928-9536C31CB61E}"/>
                    </a:ext>
                  </a:extLst>
                </p:cNvPr>
                <p:cNvSpPr>
                  <a:spLocks/>
                </p:cNvSpPr>
                <p:nvPr/>
              </p:nvSpPr>
              <p:spPr bwMode="auto">
                <a:xfrm>
                  <a:off x="3415069" y="1956072"/>
                  <a:ext cx="144016" cy="618647"/>
                </a:xfrm>
                <a:custGeom>
                  <a:avLst/>
                  <a:gdLst>
                    <a:gd name="T0" fmla="*/ 28 w 31"/>
                    <a:gd name="T1" fmla="*/ 133 h 133"/>
                    <a:gd name="T2" fmla="*/ 26 w 31"/>
                    <a:gd name="T3" fmla="*/ 131 h 133"/>
                    <a:gd name="T4" fmla="*/ 0 w 31"/>
                    <a:gd name="T5" fmla="*/ 3 h 133"/>
                    <a:gd name="T6" fmla="*/ 2 w 31"/>
                    <a:gd name="T7" fmla="*/ 0 h 133"/>
                    <a:gd name="T8" fmla="*/ 4 w 31"/>
                    <a:gd name="T9" fmla="*/ 2 h 133"/>
                    <a:gd name="T10" fmla="*/ 30 w 31"/>
                    <a:gd name="T11" fmla="*/ 131 h 133"/>
                    <a:gd name="T12" fmla="*/ 29 w 31"/>
                    <a:gd name="T13" fmla="*/ 133 h 133"/>
                    <a:gd name="T14" fmla="*/ 28 w 31"/>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133">
                      <a:moveTo>
                        <a:pt x="28" y="133"/>
                      </a:moveTo>
                      <a:cubicBezTo>
                        <a:pt x="27" y="133"/>
                        <a:pt x="27" y="132"/>
                        <a:pt x="26" y="131"/>
                      </a:cubicBezTo>
                      <a:cubicBezTo>
                        <a:pt x="0" y="3"/>
                        <a:pt x="0" y="3"/>
                        <a:pt x="0" y="3"/>
                      </a:cubicBezTo>
                      <a:cubicBezTo>
                        <a:pt x="0" y="2"/>
                        <a:pt x="1" y="1"/>
                        <a:pt x="2" y="0"/>
                      </a:cubicBezTo>
                      <a:cubicBezTo>
                        <a:pt x="3" y="0"/>
                        <a:pt x="4" y="1"/>
                        <a:pt x="4" y="2"/>
                      </a:cubicBezTo>
                      <a:cubicBezTo>
                        <a:pt x="30" y="131"/>
                        <a:pt x="30" y="131"/>
                        <a:pt x="30" y="131"/>
                      </a:cubicBezTo>
                      <a:cubicBezTo>
                        <a:pt x="31" y="132"/>
                        <a:pt x="30" y="133"/>
                        <a:pt x="29" y="133"/>
                      </a:cubicBezTo>
                      <a:cubicBezTo>
                        <a:pt x="29" y="133"/>
                        <a:pt x="28" y="133"/>
                        <a:pt x="28" y="13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1" name="Freeform 87">
                  <a:extLst>
                    <a:ext uri="{FF2B5EF4-FFF2-40B4-BE49-F238E27FC236}">
                      <a16:creationId xmlns:a16="http://schemas.microsoft.com/office/drawing/2014/main" id="{C4C4CFC2-BFA3-E74D-8E55-F5D7A4C930CA}"/>
                    </a:ext>
                  </a:extLst>
                </p:cNvPr>
                <p:cNvSpPr>
                  <a:spLocks/>
                </p:cNvSpPr>
                <p:nvPr/>
              </p:nvSpPr>
              <p:spPr bwMode="auto">
                <a:xfrm>
                  <a:off x="3600896" y="2593301"/>
                  <a:ext cx="446758" cy="41811"/>
                </a:xfrm>
                <a:custGeom>
                  <a:avLst/>
                  <a:gdLst>
                    <a:gd name="T0" fmla="*/ 2 w 96"/>
                    <a:gd name="T1" fmla="*/ 9 h 9"/>
                    <a:gd name="T2" fmla="*/ 0 w 96"/>
                    <a:gd name="T3" fmla="*/ 7 h 9"/>
                    <a:gd name="T4" fmla="*/ 2 w 96"/>
                    <a:gd name="T5" fmla="*/ 5 h 9"/>
                    <a:gd name="T6" fmla="*/ 94 w 96"/>
                    <a:gd name="T7" fmla="*/ 0 h 9"/>
                    <a:gd name="T8" fmla="*/ 96 w 96"/>
                    <a:gd name="T9" fmla="*/ 2 h 9"/>
                    <a:gd name="T10" fmla="*/ 94 w 96"/>
                    <a:gd name="T11" fmla="*/ 4 h 9"/>
                    <a:gd name="T12" fmla="*/ 2 w 96"/>
                    <a:gd name="T13" fmla="*/ 9 h 9"/>
                    <a:gd name="T14" fmla="*/ 2 w 96"/>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9">
                      <a:moveTo>
                        <a:pt x="2" y="9"/>
                      </a:moveTo>
                      <a:cubicBezTo>
                        <a:pt x="1" y="9"/>
                        <a:pt x="0" y="9"/>
                        <a:pt x="0" y="7"/>
                      </a:cubicBezTo>
                      <a:cubicBezTo>
                        <a:pt x="0" y="6"/>
                        <a:pt x="0" y="5"/>
                        <a:pt x="2" y="5"/>
                      </a:cubicBezTo>
                      <a:cubicBezTo>
                        <a:pt x="94" y="0"/>
                        <a:pt x="94" y="0"/>
                        <a:pt x="94" y="0"/>
                      </a:cubicBezTo>
                      <a:cubicBezTo>
                        <a:pt x="95" y="0"/>
                        <a:pt x="96" y="1"/>
                        <a:pt x="96" y="2"/>
                      </a:cubicBezTo>
                      <a:cubicBezTo>
                        <a:pt x="96" y="3"/>
                        <a:pt x="95" y="4"/>
                        <a:pt x="94" y="4"/>
                      </a:cubicBezTo>
                      <a:cubicBezTo>
                        <a:pt x="2" y="9"/>
                        <a:pt x="2" y="9"/>
                        <a:pt x="2" y="9"/>
                      </a:cubicBezTo>
                      <a:cubicBezTo>
                        <a:pt x="2" y="9"/>
                        <a:pt x="2" y="9"/>
                        <a:pt x="2" y="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2" name="Freeform 88">
                  <a:extLst>
                    <a:ext uri="{FF2B5EF4-FFF2-40B4-BE49-F238E27FC236}">
                      <a16:creationId xmlns:a16="http://schemas.microsoft.com/office/drawing/2014/main" id="{C7BDD0DA-6C2D-4D49-98A0-C6CBE18D1780}"/>
                    </a:ext>
                  </a:extLst>
                </p:cNvPr>
                <p:cNvSpPr>
                  <a:spLocks/>
                </p:cNvSpPr>
                <p:nvPr/>
              </p:nvSpPr>
              <p:spPr bwMode="auto">
                <a:xfrm>
                  <a:off x="3535857" y="2681569"/>
                  <a:ext cx="74330" cy="706915"/>
                </a:xfrm>
                <a:custGeom>
                  <a:avLst/>
                  <a:gdLst>
                    <a:gd name="T0" fmla="*/ 14 w 16"/>
                    <a:gd name="T1" fmla="*/ 152 h 152"/>
                    <a:gd name="T2" fmla="*/ 12 w 16"/>
                    <a:gd name="T3" fmla="*/ 150 h 152"/>
                    <a:gd name="T4" fmla="*/ 0 w 16"/>
                    <a:gd name="T5" fmla="*/ 2 h 152"/>
                    <a:gd name="T6" fmla="*/ 2 w 16"/>
                    <a:gd name="T7" fmla="*/ 0 h 152"/>
                    <a:gd name="T8" fmla="*/ 4 w 16"/>
                    <a:gd name="T9" fmla="*/ 2 h 152"/>
                    <a:gd name="T10" fmla="*/ 16 w 16"/>
                    <a:gd name="T11" fmla="*/ 150 h 152"/>
                    <a:gd name="T12" fmla="*/ 14 w 16"/>
                    <a:gd name="T13" fmla="*/ 152 h 152"/>
                    <a:gd name="T14" fmla="*/ 14 w 16"/>
                    <a:gd name="T15" fmla="*/ 152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52">
                      <a:moveTo>
                        <a:pt x="14" y="152"/>
                      </a:moveTo>
                      <a:cubicBezTo>
                        <a:pt x="13" y="152"/>
                        <a:pt x="12" y="151"/>
                        <a:pt x="12" y="150"/>
                      </a:cubicBezTo>
                      <a:cubicBezTo>
                        <a:pt x="0" y="2"/>
                        <a:pt x="0" y="2"/>
                        <a:pt x="0" y="2"/>
                      </a:cubicBezTo>
                      <a:cubicBezTo>
                        <a:pt x="0" y="1"/>
                        <a:pt x="1" y="0"/>
                        <a:pt x="2" y="0"/>
                      </a:cubicBezTo>
                      <a:cubicBezTo>
                        <a:pt x="3" y="0"/>
                        <a:pt x="4" y="0"/>
                        <a:pt x="4" y="2"/>
                      </a:cubicBezTo>
                      <a:cubicBezTo>
                        <a:pt x="16" y="150"/>
                        <a:pt x="16" y="150"/>
                        <a:pt x="16" y="150"/>
                      </a:cubicBezTo>
                      <a:cubicBezTo>
                        <a:pt x="16" y="151"/>
                        <a:pt x="16" y="152"/>
                        <a:pt x="14" y="152"/>
                      </a:cubicBezTo>
                      <a:cubicBezTo>
                        <a:pt x="14" y="152"/>
                        <a:pt x="14" y="152"/>
                        <a:pt x="14" y="15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3" name="Freeform 89">
                  <a:extLst>
                    <a:ext uri="{FF2B5EF4-FFF2-40B4-BE49-F238E27FC236}">
                      <a16:creationId xmlns:a16="http://schemas.microsoft.com/office/drawing/2014/main" id="{D2281F7E-6EC4-E242-AF64-06D443B377DF}"/>
                    </a:ext>
                  </a:extLst>
                </p:cNvPr>
                <p:cNvSpPr>
                  <a:spLocks/>
                </p:cNvSpPr>
                <p:nvPr/>
              </p:nvSpPr>
              <p:spPr bwMode="auto">
                <a:xfrm>
                  <a:off x="3057354" y="2658341"/>
                  <a:ext cx="445983" cy="399526"/>
                </a:xfrm>
                <a:custGeom>
                  <a:avLst/>
                  <a:gdLst>
                    <a:gd name="T0" fmla="*/ 2 w 96"/>
                    <a:gd name="T1" fmla="*/ 86 h 86"/>
                    <a:gd name="T2" fmla="*/ 1 w 96"/>
                    <a:gd name="T3" fmla="*/ 86 h 86"/>
                    <a:gd name="T4" fmla="*/ 1 w 96"/>
                    <a:gd name="T5" fmla="*/ 83 h 86"/>
                    <a:gd name="T6" fmla="*/ 92 w 96"/>
                    <a:gd name="T7" fmla="*/ 1 h 86"/>
                    <a:gd name="T8" fmla="*/ 95 w 96"/>
                    <a:gd name="T9" fmla="*/ 1 h 86"/>
                    <a:gd name="T10" fmla="*/ 95 w 96"/>
                    <a:gd name="T11" fmla="*/ 4 h 86"/>
                    <a:gd name="T12" fmla="*/ 4 w 96"/>
                    <a:gd name="T13" fmla="*/ 86 h 86"/>
                    <a:gd name="T14" fmla="*/ 2 w 96"/>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86">
                      <a:moveTo>
                        <a:pt x="2" y="86"/>
                      </a:moveTo>
                      <a:cubicBezTo>
                        <a:pt x="2" y="86"/>
                        <a:pt x="1" y="86"/>
                        <a:pt x="1" y="86"/>
                      </a:cubicBezTo>
                      <a:cubicBezTo>
                        <a:pt x="0" y="85"/>
                        <a:pt x="0" y="84"/>
                        <a:pt x="1" y="83"/>
                      </a:cubicBezTo>
                      <a:cubicBezTo>
                        <a:pt x="92" y="1"/>
                        <a:pt x="92" y="1"/>
                        <a:pt x="92" y="1"/>
                      </a:cubicBezTo>
                      <a:cubicBezTo>
                        <a:pt x="93" y="0"/>
                        <a:pt x="94" y="1"/>
                        <a:pt x="95" y="1"/>
                      </a:cubicBezTo>
                      <a:cubicBezTo>
                        <a:pt x="96" y="2"/>
                        <a:pt x="95" y="3"/>
                        <a:pt x="95" y="4"/>
                      </a:cubicBezTo>
                      <a:cubicBezTo>
                        <a:pt x="4" y="86"/>
                        <a:pt x="4" y="86"/>
                        <a:pt x="4" y="86"/>
                      </a:cubicBezTo>
                      <a:cubicBezTo>
                        <a:pt x="3" y="86"/>
                        <a:pt x="3" y="86"/>
                        <a:pt x="2" y="8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4" name="Freeform 90">
                  <a:extLst>
                    <a:ext uri="{FF2B5EF4-FFF2-40B4-BE49-F238E27FC236}">
                      <a16:creationId xmlns:a16="http://schemas.microsoft.com/office/drawing/2014/main" id="{00D17269-BC00-4447-8F40-EA7FEBB3A818}"/>
                    </a:ext>
                  </a:extLst>
                </p:cNvPr>
                <p:cNvSpPr>
                  <a:spLocks/>
                </p:cNvSpPr>
                <p:nvPr/>
              </p:nvSpPr>
              <p:spPr bwMode="auto">
                <a:xfrm>
                  <a:off x="5251652" y="3662577"/>
                  <a:ext cx="246994" cy="227637"/>
                </a:xfrm>
                <a:custGeom>
                  <a:avLst/>
                  <a:gdLst>
                    <a:gd name="T0" fmla="*/ 2 w 53"/>
                    <a:gd name="T1" fmla="*/ 49 h 49"/>
                    <a:gd name="T2" fmla="*/ 1 w 53"/>
                    <a:gd name="T3" fmla="*/ 48 h 49"/>
                    <a:gd name="T4" fmla="*/ 1 w 53"/>
                    <a:gd name="T5" fmla="*/ 46 h 49"/>
                    <a:gd name="T6" fmla="*/ 49 w 53"/>
                    <a:gd name="T7" fmla="*/ 1 h 49"/>
                    <a:gd name="T8" fmla="*/ 52 w 53"/>
                    <a:gd name="T9" fmla="*/ 1 h 49"/>
                    <a:gd name="T10" fmla="*/ 52 w 53"/>
                    <a:gd name="T11" fmla="*/ 4 h 49"/>
                    <a:gd name="T12" fmla="*/ 4 w 53"/>
                    <a:gd name="T13" fmla="*/ 48 h 49"/>
                    <a:gd name="T14" fmla="*/ 2 w 53"/>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49">
                      <a:moveTo>
                        <a:pt x="2" y="49"/>
                      </a:moveTo>
                      <a:cubicBezTo>
                        <a:pt x="2" y="49"/>
                        <a:pt x="1" y="49"/>
                        <a:pt x="1" y="48"/>
                      </a:cubicBezTo>
                      <a:cubicBezTo>
                        <a:pt x="0" y="48"/>
                        <a:pt x="0" y="46"/>
                        <a:pt x="1" y="46"/>
                      </a:cubicBezTo>
                      <a:cubicBezTo>
                        <a:pt x="49" y="1"/>
                        <a:pt x="49" y="1"/>
                        <a:pt x="49" y="1"/>
                      </a:cubicBezTo>
                      <a:cubicBezTo>
                        <a:pt x="50" y="0"/>
                        <a:pt x="51" y="1"/>
                        <a:pt x="52" y="1"/>
                      </a:cubicBezTo>
                      <a:cubicBezTo>
                        <a:pt x="53" y="2"/>
                        <a:pt x="53" y="3"/>
                        <a:pt x="52" y="4"/>
                      </a:cubicBezTo>
                      <a:cubicBezTo>
                        <a:pt x="4" y="48"/>
                        <a:pt x="4" y="48"/>
                        <a:pt x="4" y="48"/>
                      </a:cubicBezTo>
                      <a:cubicBezTo>
                        <a:pt x="3" y="49"/>
                        <a:pt x="3" y="49"/>
                        <a:pt x="2" y="4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5" name="Freeform 91">
                  <a:extLst>
                    <a:ext uri="{FF2B5EF4-FFF2-40B4-BE49-F238E27FC236}">
                      <a16:creationId xmlns:a16="http://schemas.microsoft.com/office/drawing/2014/main" id="{43F33C15-44F7-4847-A4EC-C842CB7A1728}"/>
                    </a:ext>
                  </a:extLst>
                </p:cNvPr>
                <p:cNvSpPr>
                  <a:spLocks/>
                </p:cNvSpPr>
                <p:nvPr/>
              </p:nvSpPr>
              <p:spPr bwMode="auto">
                <a:xfrm>
                  <a:off x="4661654" y="3936671"/>
                  <a:ext cx="432046" cy="47231"/>
                </a:xfrm>
                <a:custGeom>
                  <a:avLst/>
                  <a:gdLst>
                    <a:gd name="T0" fmla="*/ 91 w 93"/>
                    <a:gd name="T1" fmla="*/ 10 h 10"/>
                    <a:gd name="T2" fmla="*/ 91 w 93"/>
                    <a:gd name="T3" fmla="*/ 10 h 10"/>
                    <a:gd name="T4" fmla="*/ 2 w 93"/>
                    <a:gd name="T5" fmla="*/ 4 h 10"/>
                    <a:gd name="T6" fmla="*/ 0 w 93"/>
                    <a:gd name="T7" fmla="*/ 2 h 10"/>
                    <a:gd name="T8" fmla="*/ 2 w 93"/>
                    <a:gd name="T9" fmla="*/ 0 h 10"/>
                    <a:gd name="T10" fmla="*/ 91 w 93"/>
                    <a:gd name="T11" fmla="*/ 6 h 10"/>
                    <a:gd name="T12" fmla="*/ 93 w 93"/>
                    <a:gd name="T13" fmla="*/ 9 h 10"/>
                    <a:gd name="T14" fmla="*/ 91 w 9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0">
                      <a:moveTo>
                        <a:pt x="91" y="10"/>
                      </a:moveTo>
                      <a:cubicBezTo>
                        <a:pt x="91" y="10"/>
                        <a:pt x="91" y="10"/>
                        <a:pt x="91" y="10"/>
                      </a:cubicBezTo>
                      <a:cubicBezTo>
                        <a:pt x="2" y="4"/>
                        <a:pt x="2" y="4"/>
                        <a:pt x="2" y="4"/>
                      </a:cubicBezTo>
                      <a:cubicBezTo>
                        <a:pt x="1" y="4"/>
                        <a:pt x="0" y="3"/>
                        <a:pt x="0" y="2"/>
                      </a:cubicBezTo>
                      <a:cubicBezTo>
                        <a:pt x="0" y="0"/>
                        <a:pt x="1" y="0"/>
                        <a:pt x="2" y="0"/>
                      </a:cubicBezTo>
                      <a:cubicBezTo>
                        <a:pt x="91" y="6"/>
                        <a:pt x="91" y="6"/>
                        <a:pt x="91" y="6"/>
                      </a:cubicBezTo>
                      <a:cubicBezTo>
                        <a:pt x="92" y="6"/>
                        <a:pt x="93" y="7"/>
                        <a:pt x="93" y="9"/>
                      </a:cubicBezTo>
                      <a:cubicBezTo>
                        <a:pt x="93" y="10"/>
                        <a:pt x="92" y="10"/>
                        <a:pt x="91" y="1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6" name="Freeform 92">
                  <a:extLst>
                    <a:ext uri="{FF2B5EF4-FFF2-40B4-BE49-F238E27FC236}">
                      <a16:creationId xmlns:a16="http://schemas.microsoft.com/office/drawing/2014/main" id="{59B5BD8A-974B-0D4A-8505-1DA3D5560375}"/>
                    </a:ext>
                  </a:extLst>
                </p:cNvPr>
                <p:cNvSpPr>
                  <a:spLocks/>
                </p:cNvSpPr>
                <p:nvPr/>
              </p:nvSpPr>
              <p:spPr bwMode="auto">
                <a:xfrm>
                  <a:off x="3726328" y="2802356"/>
                  <a:ext cx="446758" cy="623292"/>
                </a:xfrm>
                <a:custGeom>
                  <a:avLst/>
                  <a:gdLst>
                    <a:gd name="T0" fmla="*/ 3 w 96"/>
                    <a:gd name="T1" fmla="*/ 134 h 134"/>
                    <a:gd name="T2" fmla="*/ 2 w 96"/>
                    <a:gd name="T3" fmla="*/ 133 h 134"/>
                    <a:gd name="T4" fmla="*/ 1 w 96"/>
                    <a:gd name="T5" fmla="*/ 131 h 134"/>
                    <a:gd name="T6" fmla="*/ 92 w 96"/>
                    <a:gd name="T7" fmla="*/ 1 h 134"/>
                    <a:gd name="T8" fmla="*/ 94 w 96"/>
                    <a:gd name="T9" fmla="*/ 1 h 134"/>
                    <a:gd name="T10" fmla="*/ 95 w 96"/>
                    <a:gd name="T11" fmla="*/ 3 h 134"/>
                    <a:gd name="T12" fmla="*/ 4 w 96"/>
                    <a:gd name="T13" fmla="*/ 133 h 134"/>
                    <a:gd name="T14" fmla="*/ 3 w 96"/>
                    <a:gd name="T15" fmla="*/ 13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4">
                      <a:moveTo>
                        <a:pt x="3" y="134"/>
                      </a:moveTo>
                      <a:cubicBezTo>
                        <a:pt x="2" y="134"/>
                        <a:pt x="2" y="134"/>
                        <a:pt x="2" y="133"/>
                      </a:cubicBezTo>
                      <a:cubicBezTo>
                        <a:pt x="1" y="133"/>
                        <a:pt x="0" y="131"/>
                        <a:pt x="1" y="131"/>
                      </a:cubicBezTo>
                      <a:cubicBezTo>
                        <a:pt x="92" y="1"/>
                        <a:pt x="92" y="1"/>
                        <a:pt x="92" y="1"/>
                      </a:cubicBezTo>
                      <a:cubicBezTo>
                        <a:pt x="92" y="0"/>
                        <a:pt x="94" y="0"/>
                        <a:pt x="94" y="1"/>
                      </a:cubicBezTo>
                      <a:cubicBezTo>
                        <a:pt x="95" y="1"/>
                        <a:pt x="96" y="3"/>
                        <a:pt x="95" y="3"/>
                      </a:cubicBezTo>
                      <a:cubicBezTo>
                        <a:pt x="4" y="133"/>
                        <a:pt x="4" y="133"/>
                        <a:pt x="4" y="133"/>
                      </a:cubicBezTo>
                      <a:cubicBezTo>
                        <a:pt x="4" y="133"/>
                        <a:pt x="3" y="134"/>
                        <a:pt x="3" y="13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7" name="Freeform 93">
                  <a:extLst>
                    <a:ext uri="{FF2B5EF4-FFF2-40B4-BE49-F238E27FC236}">
                      <a16:creationId xmlns:a16="http://schemas.microsoft.com/office/drawing/2014/main" id="{D853212A-180E-EB41-B4A5-A5C0CEC37047}"/>
                    </a:ext>
                  </a:extLst>
                </p:cNvPr>
                <p:cNvSpPr>
                  <a:spLocks/>
                </p:cNvSpPr>
                <p:nvPr/>
              </p:nvSpPr>
              <p:spPr bwMode="auto">
                <a:xfrm>
                  <a:off x="3987260" y="1072623"/>
                  <a:ext cx="343778" cy="1152897"/>
                </a:xfrm>
                <a:custGeom>
                  <a:avLst/>
                  <a:gdLst>
                    <a:gd name="T0" fmla="*/ 72 w 74"/>
                    <a:gd name="T1" fmla="*/ 248 h 248"/>
                    <a:gd name="T2" fmla="*/ 70 w 74"/>
                    <a:gd name="T3" fmla="*/ 247 h 248"/>
                    <a:gd name="T4" fmla="*/ 1 w 74"/>
                    <a:gd name="T5" fmla="*/ 3 h 248"/>
                    <a:gd name="T6" fmla="*/ 2 w 74"/>
                    <a:gd name="T7" fmla="*/ 0 h 248"/>
                    <a:gd name="T8" fmla="*/ 5 w 74"/>
                    <a:gd name="T9" fmla="*/ 2 h 248"/>
                    <a:gd name="T10" fmla="*/ 74 w 74"/>
                    <a:gd name="T11" fmla="*/ 246 h 248"/>
                    <a:gd name="T12" fmla="*/ 73 w 74"/>
                    <a:gd name="T13" fmla="*/ 248 h 248"/>
                    <a:gd name="T14" fmla="*/ 72 w 74"/>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248">
                      <a:moveTo>
                        <a:pt x="72" y="248"/>
                      </a:moveTo>
                      <a:cubicBezTo>
                        <a:pt x="71" y="248"/>
                        <a:pt x="70" y="248"/>
                        <a:pt x="70" y="247"/>
                      </a:cubicBezTo>
                      <a:cubicBezTo>
                        <a:pt x="1" y="3"/>
                        <a:pt x="1" y="3"/>
                        <a:pt x="1" y="3"/>
                      </a:cubicBezTo>
                      <a:cubicBezTo>
                        <a:pt x="0" y="2"/>
                        <a:pt x="1" y="1"/>
                        <a:pt x="2" y="0"/>
                      </a:cubicBezTo>
                      <a:cubicBezTo>
                        <a:pt x="3" y="0"/>
                        <a:pt x="4" y="1"/>
                        <a:pt x="5" y="2"/>
                      </a:cubicBezTo>
                      <a:cubicBezTo>
                        <a:pt x="74" y="246"/>
                        <a:pt x="74" y="246"/>
                        <a:pt x="74" y="246"/>
                      </a:cubicBezTo>
                      <a:cubicBezTo>
                        <a:pt x="74" y="247"/>
                        <a:pt x="74" y="248"/>
                        <a:pt x="73" y="248"/>
                      </a:cubicBezTo>
                      <a:cubicBezTo>
                        <a:pt x="72" y="248"/>
                        <a:pt x="72" y="248"/>
                        <a:pt x="72" y="248"/>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8" name="Freeform 94">
                  <a:extLst>
                    <a:ext uri="{FF2B5EF4-FFF2-40B4-BE49-F238E27FC236}">
                      <a16:creationId xmlns:a16="http://schemas.microsoft.com/office/drawing/2014/main" id="{22C47D0B-3EC5-A14A-94E5-E31C8B02535A}"/>
                    </a:ext>
                  </a:extLst>
                </p:cNvPr>
                <p:cNvSpPr>
                  <a:spLocks/>
                </p:cNvSpPr>
                <p:nvPr/>
              </p:nvSpPr>
              <p:spPr bwMode="auto">
                <a:xfrm>
                  <a:off x="6563276" y="2523616"/>
                  <a:ext cx="464566" cy="571416"/>
                </a:xfrm>
                <a:custGeom>
                  <a:avLst/>
                  <a:gdLst>
                    <a:gd name="T0" fmla="*/ 2 w 100"/>
                    <a:gd name="T1" fmla="*/ 123 h 123"/>
                    <a:gd name="T2" fmla="*/ 1 w 100"/>
                    <a:gd name="T3" fmla="*/ 123 h 123"/>
                    <a:gd name="T4" fmla="*/ 0 w 100"/>
                    <a:gd name="T5" fmla="*/ 120 h 123"/>
                    <a:gd name="T6" fmla="*/ 96 w 100"/>
                    <a:gd name="T7" fmla="*/ 1 h 123"/>
                    <a:gd name="T8" fmla="*/ 99 w 100"/>
                    <a:gd name="T9" fmla="*/ 1 h 123"/>
                    <a:gd name="T10" fmla="*/ 100 w 100"/>
                    <a:gd name="T11" fmla="*/ 4 h 123"/>
                    <a:gd name="T12" fmla="*/ 4 w 100"/>
                    <a:gd name="T13" fmla="*/ 122 h 123"/>
                    <a:gd name="T14" fmla="*/ 2 w 100"/>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23">
                      <a:moveTo>
                        <a:pt x="2" y="123"/>
                      </a:moveTo>
                      <a:cubicBezTo>
                        <a:pt x="2" y="123"/>
                        <a:pt x="1" y="123"/>
                        <a:pt x="1" y="123"/>
                      </a:cubicBezTo>
                      <a:cubicBezTo>
                        <a:pt x="0" y="122"/>
                        <a:pt x="0" y="121"/>
                        <a:pt x="0" y="120"/>
                      </a:cubicBezTo>
                      <a:cubicBezTo>
                        <a:pt x="96" y="1"/>
                        <a:pt x="96" y="1"/>
                        <a:pt x="96" y="1"/>
                      </a:cubicBezTo>
                      <a:cubicBezTo>
                        <a:pt x="97" y="0"/>
                        <a:pt x="98" y="0"/>
                        <a:pt x="99" y="1"/>
                      </a:cubicBezTo>
                      <a:cubicBezTo>
                        <a:pt x="100" y="1"/>
                        <a:pt x="100" y="3"/>
                        <a:pt x="100" y="4"/>
                      </a:cubicBezTo>
                      <a:cubicBezTo>
                        <a:pt x="4" y="122"/>
                        <a:pt x="4" y="122"/>
                        <a:pt x="4" y="122"/>
                      </a:cubicBezTo>
                      <a:cubicBezTo>
                        <a:pt x="3" y="123"/>
                        <a:pt x="3" y="123"/>
                        <a:pt x="2" y="12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9" name="Freeform 95">
                  <a:extLst>
                    <a:ext uri="{FF2B5EF4-FFF2-40B4-BE49-F238E27FC236}">
                      <a16:creationId xmlns:a16="http://schemas.microsoft.com/office/drawing/2014/main" id="{49A63F1F-919E-9F45-88F3-2D606DDFC97E}"/>
                    </a:ext>
                  </a:extLst>
                </p:cNvPr>
                <p:cNvSpPr>
                  <a:spLocks/>
                </p:cNvSpPr>
                <p:nvPr/>
              </p:nvSpPr>
              <p:spPr bwMode="auto">
                <a:xfrm>
                  <a:off x="6586504" y="3198011"/>
                  <a:ext cx="399526" cy="190472"/>
                </a:xfrm>
                <a:custGeom>
                  <a:avLst/>
                  <a:gdLst>
                    <a:gd name="T0" fmla="*/ 84 w 86"/>
                    <a:gd name="T1" fmla="*/ 41 h 41"/>
                    <a:gd name="T2" fmla="*/ 83 w 86"/>
                    <a:gd name="T3" fmla="*/ 40 h 41"/>
                    <a:gd name="T4" fmla="*/ 2 w 86"/>
                    <a:gd name="T5" fmla="*/ 4 h 41"/>
                    <a:gd name="T6" fmla="*/ 1 w 86"/>
                    <a:gd name="T7" fmla="*/ 2 h 41"/>
                    <a:gd name="T8" fmla="*/ 3 w 86"/>
                    <a:gd name="T9" fmla="*/ 1 h 41"/>
                    <a:gd name="T10" fmla="*/ 84 w 86"/>
                    <a:gd name="T11" fmla="*/ 37 h 41"/>
                    <a:gd name="T12" fmla="*/ 85 w 86"/>
                    <a:gd name="T13" fmla="*/ 39 h 41"/>
                    <a:gd name="T14" fmla="*/ 84 w 86"/>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41">
                      <a:moveTo>
                        <a:pt x="84" y="41"/>
                      </a:moveTo>
                      <a:cubicBezTo>
                        <a:pt x="83" y="41"/>
                        <a:pt x="83" y="41"/>
                        <a:pt x="83" y="40"/>
                      </a:cubicBezTo>
                      <a:cubicBezTo>
                        <a:pt x="2" y="4"/>
                        <a:pt x="2" y="4"/>
                        <a:pt x="2" y="4"/>
                      </a:cubicBezTo>
                      <a:cubicBezTo>
                        <a:pt x="1" y="4"/>
                        <a:pt x="0" y="3"/>
                        <a:pt x="1" y="2"/>
                      </a:cubicBezTo>
                      <a:cubicBezTo>
                        <a:pt x="1" y="1"/>
                        <a:pt x="2" y="0"/>
                        <a:pt x="3" y="1"/>
                      </a:cubicBezTo>
                      <a:cubicBezTo>
                        <a:pt x="84" y="37"/>
                        <a:pt x="84" y="37"/>
                        <a:pt x="84" y="37"/>
                      </a:cubicBezTo>
                      <a:cubicBezTo>
                        <a:pt x="85" y="37"/>
                        <a:pt x="86" y="38"/>
                        <a:pt x="85" y="39"/>
                      </a:cubicBezTo>
                      <a:cubicBezTo>
                        <a:pt x="85" y="40"/>
                        <a:pt x="84" y="41"/>
                        <a:pt x="84" y="41"/>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0" name="Freeform 96">
                  <a:extLst>
                    <a:ext uri="{FF2B5EF4-FFF2-40B4-BE49-F238E27FC236}">
                      <a16:creationId xmlns:a16="http://schemas.microsoft.com/office/drawing/2014/main" id="{927A2714-A6EE-9E4F-B83F-97C8F407FDDB}"/>
                    </a:ext>
                  </a:extLst>
                </p:cNvPr>
                <p:cNvSpPr>
                  <a:spLocks/>
                </p:cNvSpPr>
                <p:nvPr/>
              </p:nvSpPr>
              <p:spPr bwMode="auto">
                <a:xfrm>
                  <a:off x="6609732" y="3476750"/>
                  <a:ext cx="376298" cy="250866"/>
                </a:xfrm>
                <a:custGeom>
                  <a:avLst/>
                  <a:gdLst>
                    <a:gd name="T0" fmla="*/ 3 w 81"/>
                    <a:gd name="T1" fmla="*/ 54 h 54"/>
                    <a:gd name="T2" fmla="*/ 1 w 81"/>
                    <a:gd name="T3" fmla="*/ 53 h 54"/>
                    <a:gd name="T4" fmla="*/ 2 w 81"/>
                    <a:gd name="T5" fmla="*/ 50 h 54"/>
                    <a:gd name="T6" fmla="*/ 77 w 81"/>
                    <a:gd name="T7" fmla="*/ 1 h 54"/>
                    <a:gd name="T8" fmla="*/ 80 w 81"/>
                    <a:gd name="T9" fmla="*/ 1 h 54"/>
                    <a:gd name="T10" fmla="*/ 79 w 81"/>
                    <a:gd name="T11" fmla="*/ 4 h 54"/>
                    <a:gd name="T12" fmla="*/ 4 w 81"/>
                    <a:gd name="T13" fmla="*/ 54 h 54"/>
                    <a:gd name="T14" fmla="*/ 3 w 81"/>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54">
                      <a:moveTo>
                        <a:pt x="3" y="54"/>
                      </a:moveTo>
                      <a:cubicBezTo>
                        <a:pt x="2" y="54"/>
                        <a:pt x="1" y="54"/>
                        <a:pt x="1" y="53"/>
                      </a:cubicBezTo>
                      <a:cubicBezTo>
                        <a:pt x="0" y="52"/>
                        <a:pt x="1" y="51"/>
                        <a:pt x="2" y="50"/>
                      </a:cubicBezTo>
                      <a:cubicBezTo>
                        <a:pt x="77" y="1"/>
                        <a:pt x="77" y="1"/>
                        <a:pt x="77" y="1"/>
                      </a:cubicBezTo>
                      <a:cubicBezTo>
                        <a:pt x="78" y="0"/>
                        <a:pt x="79" y="0"/>
                        <a:pt x="80" y="1"/>
                      </a:cubicBezTo>
                      <a:cubicBezTo>
                        <a:pt x="81" y="2"/>
                        <a:pt x="80" y="3"/>
                        <a:pt x="79" y="4"/>
                      </a:cubicBezTo>
                      <a:cubicBezTo>
                        <a:pt x="4" y="54"/>
                        <a:pt x="4" y="54"/>
                        <a:pt x="4" y="54"/>
                      </a:cubicBezTo>
                      <a:cubicBezTo>
                        <a:pt x="3" y="54"/>
                        <a:pt x="3" y="54"/>
                        <a:pt x="3" y="5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1" name="Freeform 97">
                  <a:extLst>
                    <a:ext uri="{FF2B5EF4-FFF2-40B4-BE49-F238E27FC236}">
                      <a16:creationId xmlns:a16="http://schemas.microsoft.com/office/drawing/2014/main" id="{A9D01E55-7C36-D04B-BB35-63E12C24C2F3}"/>
                    </a:ext>
                  </a:extLst>
                </p:cNvPr>
                <p:cNvSpPr>
                  <a:spLocks/>
                </p:cNvSpPr>
                <p:nvPr/>
              </p:nvSpPr>
              <p:spPr bwMode="auto">
                <a:xfrm>
                  <a:off x="4596615" y="4090751"/>
                  <a:ext cx="696848" cy="459920"/>
                </a:xfrm>
                <a:custGeom>
                  <a:avLst/>
                  <a:gdLst>
                    <a:gd name="T0" fmla="*/ 148 w 150"/>
                    <a:gd name="T1" fmla="*/ 99 h 99"/>
                    <a:gd name="T2" fmla="*/ 147 w 150"/>
                    <a:gd name="T3" fmla="*/ 99 h 99"/>
                    <a:gd name="T4" fmla="*/ 1 w 150"/>
                    <a:gd name="T5" fmla="*/ 4 h 99"/>
                    <a:gd name="T6" fmla="*/ 1 w 150"/>
                    <a:gd name="T7" fmla="*/ 2 h 99"/>
                    <a:gd name="T8" fmla="*/ 3 w 150"/>
                    <a:gd name="T9" fmla="*/ 1 h 99"/>
                    <a:gd name="T10" fmla="*/ 149 w 150"/>
                    <a:gd name="T11" fmla="*/ 96 h 99"/>
                    <a:gd name="T12" fmla="*/ 149 w 150"/>
                    <a:gd name="T13" fmla="*/ 98 h 99"/>
                    <a:gd name="T14" fmla="*/ 148 w 150"/>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99">
                      <a:moveTo>
                        <a:pt x="148" y="99"/>
                      </a:moveTo>
                      <a:cubicBezTo>
                        <a:pt x="147" y="99"/>
                        <a:pt x="147" y="99"/>
                        <a:pt x="147" y="99"/>
                      </a:cubicBezTo>
                      <a:cubicBezTo>
                        <a:pt x="1" y="4"/>
                        <a:pt x="1" y="4"/>
                        <a:pt x="1" y="4"/>
                      </a:cubicBezTo>
                      <a:cubicBezTo>
                        <a:pt x="0" y="4"/>
                        <a:pt x="0" y="3"/>
                        <a:pt x="1" y="2"/>
                      </a:cubicBezTo>
                      <a:cubicBezTo>
                        <a:pt x="1" y="1"/>
                        <a:pt x="2" y="0"/>
                        <a:pt x="3" y="1"/>
                      </a:cubicBezTo>
                      <a:cubicBezTo>
                        <a:pt x="149" y="96"/>
                        <a:pt x="149" y="96"/>
                        <a:pt x="149" y="96"/>
                      </a:cubicBezTo>
                      <a:cubicBezTo>
                        <a:pt x="150" y="96"/>
                        <a:pt x="150" y="98"/>
                        <a:pt x="149" y="98"/>
                      </a:cubicBezTo>
                      <a:cubicBezTo>
                        <a:pt x="149" y="99"/>
                        <a:pt x="148" y="99"/>
                        <a:pt x="148" y="9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2" name="Freeform 98">
                  <a:extLst>
                    <a:ext uri="{FF2B5EF4-FFF2-40B4-BE49-F238E27FC236}">
                      <a16:creationId xmlns:a16="http://schemas.microsoft.com/office/drawing/2014/main" id="{6192E73A-8F16-C249-BACC-798F9CCC5B88}"/>
                    </a:ext>
                  </a:extLst>
                </p:cNvPr>
                <p:cNvSpPr>
                  <a:spLocks/>
                </p:cNvSpPr>
                <p:nvPr/>
              </p:nvSpPr>
              <p:spPr bwMode="auto">
                <a:xfrm>
                  <a:off x="3219952" y="752073"/>
                  <a:ext cx="567545" cy="106850"/>
                </a:xfrm>
                <a:custGeom>
                  <a:avLst/>
                  <a:gdLst>
                    <a:gd name="T0" fmla="*/ 120 w 122"/>
                    <a:gd name="T1" fmla="*/ 23 h 23"/>
                    <a:gd name="T2" fmla="*/ 119 w 122"/>
                    <a:gd name="T3" fmla="*/ 23 h 23"/>
                    <a:gd name="T4" fmla="*/ 1 w 122"/>
                    <a:gd name="T5" fmla="*/ 4 h 23"/>
                    <a:gd name="T6" fmla="*/ 0 w 122"/>
                    <a:gd name="T7" fmla="*/ 2 h 23"/>
                    <a:gd name="T8" fmla="*/ 2 w 122"/>
                    <a:gd name="T9" fmla="*/ 0 h 23"/>
                    <a:gd name="T10" fmla="*/ 120 w 122"/>
                    <a:gd name="T11" fmla="*/ 19 h 23"/>
                    <a:gd name="T12" fmla="*/ 122 w 122"/>
                    <a:gd name="T13" fmla="*/ 21 h 23"/>
                    <a:gd name="T14" fmla="*/ 120 w 122"/>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23">
                      <a:moveTo>
                        <a:pt x="120" y="23"/>
                      </a:moveTo>
                      <a:cubicBezTo>
                        <a:pt x="120" y="23"/>
                        <a:pt x="119" y="23"/>
                        <a:pt x="119" y="23"/>
                      </a:cubicBezTo>
                      <a:cubicBezTo>
                        <a:pt x="1" y="4"/>
                        <a:pt x="1" y="4"/>
                        <a:pt x="1" y="4"/>
                      </a:cubicBezTo>
                      <a:cubicBezTo>
                        <a:pt x="0" y="4"/>
                        <a:pt x="0" y="3"/>
                        <a:pt x="0" y="2"/>
                      </a:cubicBezTo>
                      <a:cubicBezTo>
                        <a:pt x="0" y="1"/>
                        <a:pt x="1" y="0"/>
                        <a:pt x="2" y="0"/>
                      </a:cubicBezTo>
                      <a:cubicBezTo>
                        <a:pt x="120" y="19"/>
                        <a:pt x="120" y="19"/>
                        <a:pt x="120" y="19"/>
                      </a:cubicBezTo>
                      <a:cubicBezTo>
                        <a:pt x="121" y="19"/>
                        <a:pt x="122" y="20"/>
                        <a:pt x="122" y="21"/>
                      </a:cubicBezTo>
                      <a:cubicBezTo>
                        <a:pt x="121" y="22"/>
                        <a:pt x="121" y="23"/>
                        <a:pt x="120" y="2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4" name="Freeform 110">
                  <a:extLst>
                    <a:ext uri="{FF2B5EF4-FFF2-40B4-BE49-F238E27FC236}">
                      <a16:creationId xmlns:a16="http://schemas.microsoft.com/office/drawing/2014/main" id="{0336FF4B-524B-E34C-A836-4A3759EF16CC}"/>
                    </a:ext>
                  </a:extLst>
                </p:cNvPr>
                <p:cNvSpPr>
                  <a:spLocks/>
                </p:cNvSpPr>
                <p:nvPr/>
              </p:nvSpPr>
              <p:spPr bwMode="auto">
                <a:xfrm>
                  <a:off x="6735166" y="574763"/>
                  <a:ext cx="502506" cy="237703"/>
                </a:xfrm>
                <a:custGeom>
                  <a:avLst/>
                  <a:gdLst>
                    <a:gd name="T0" fmla="*/ 12 w 649"/>
                    <a:gd name="T1" fmla="*/ 307 h 307"/>
                    <a:gd name="T2" fmla="*/ 0 w 649"/>
                    <a:gd name="T3" fmla="*/ 289 h 307"/>
                    <a:gd name="T4" fmla="*/ 643 w 649"/>
                    <a:gd name="T5" fmla="*/ 0 h 307"/>
                    <a:gd name="T6" fmla="*/ 649 w 649"/>
                    <a:gd name="T7" fmla="*/ 18 h 307"/>
                    <a:gd name="T8" fmla="*/ 12 w 649"/>
                    <a:gd name="T9" fmla="*/ 307 h 307"/>
                  </a:gdLst>
                  <a:ahLst/>
                  <a:cxnLst>
                    <a:cxn ang="0">
                      <a:pos x="T0" y="T1"/>
                    </a:cxn>
                    <a:cxn ang="0">
                      <a:pos x="T2" y="T3"/>
                    </a:cxn>
                    <a:cxn ang="0">
                      <a:pos x="T4" y="T5"/>
                    </a:cxn>
                    <a:cxn ang="0">
                      <a:pos x="T6" y="T7"/>
                    </a:cxn>
                    <a:cxn ang="0">
                      <a:pos x="T8" y="T9"/>
                    </a:cxn>
                  </a:cxnLst>
                  <a:rect l="0" t="0" r="r" b="b"/>
                  <a:pathLst>
                    <a:path w="649" h="307">
                      <a:moveTo>
                        <a:pt x="12" y="307"/>
                      </a:moveTo>
                      <a:lnTo>
                        <a:pt x="0" y="289"/>
                      </a:lnTo>
                      <a:lnTo>
                        <a:pt x="643" y="0"/>
                      </a:lnTo>
                      <a:lnTo>
                        <a:pt x="649" y="18"/>
                      </a:lnTo>
                      <a:lnTo>
                        <a:pt x="12" y="30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5" name="Freeform 111">
                  <a:extLst>
                    <a:ext uri="{FF2B5EF4-FFF2-40B4-BE49-F238E27FC236}">
                      <a16:creationId xmlns:a16="http://schemas.microsoft.com/office/drawing/2014/main" id="{B7D1FF9B-337C-A34F-BE20-246E90E403F1}"/>
                    </a:ext>
                  </a:extLst>
                </p:cNvPr>
                <p:cNvSpPr>
                  <a:spLocks/>
                </p:cNvSpPr>
                <p:nvPr/>
              </p:nvSpPr>
              <p:spPr bwMode="auto">
                <a:xfrm>
                  <a:off x="5456835" y="560826"/>
                  <a:ext cx="111496" cy="293451"/>
                </a:xfrm>
                <a:custGeom>
                  <a:avLst/>
                  <a:gdLst>
                    <a:gd name="T0" fmla="*/ 126 w 144"/>
                    <a:gd name="T1" fmla="*/ 379 h 379"/>
                    <a:gd name="T2" fmla="*/ 0 w 144"/>
                    <a:gd name="T3" fmla="*/ 6 h 379"/>
                    <a:gd name="T4" fmla="*/ 18 w 144"/>
                    <a:gd name="T5" fmla="*/ 0 h 379"/>
                    <a:gd name="T6" fmla="*/ 144 w 144"/>
                    <a:gd name="T7" fmla="*/ 379 h 379"/>
                    <a:gd name="T8" fmla="*/ 126 w 144"/>
                    <a:gd name="T9" fmla="*/ 379 h 379"/>
                  </a:gdLst>
                  <a:ahLst/>
                  <a:cxnLst>
                    <a:cxn ang="0">
                      <a:pos x="T0" y="T1"/>
                    </a:cxn>
                    <a:cxn ang="0">
                      <a:pos x="T2" y="T3"/>
                    </a:cxn>
                    <a:cxn ang="0">
                      <a:pos x="T4" y="T5"/>
                    </a:cxn>
                    <a:cxn ang="0">
                      <a:pos x="T6" y="T7"/>
                    </a:cxn>
                    <a:cxn ang="0">
                      <a:pos x="T8" y="T9"/>
                    </a:cxn>
                  </a:cxnLst>
                  <a:rect l="0" t="0" r="r" b="b"/>
                  <a:pathLst>
                    <a:path w="144" h="379">
                      <a:moveTo>
                        <a:pt x="126" y="379"/>
                      </a:moveTo>
                      <a:lnTo>
                        <a:pt x="0" y="6"/>
                      </a:lnTo>
                      <a:lnTo>
                        <a:pt x="18" y="0"/>
                      </a:lnTo>
                      <a:lnTo>
                        <a:pt x="144" y="379"/>
                      </a:lnTo>
                      <a:lnTo>
                        <a:pt x="126" y="37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6" name="Freeform 112">
                  <a:extLst>
                    <a:ext uri="{FF2B5EF4-FFF2-40B4-BE49-F238E27FC236}">
                      <a16:creationId xmlns:a16="http://schemas.microsoft.com/office/drawing/2014/main" id="{F7E17225-D98D-7A4D-9847-7DDEBA0DB3F2}"/>
                    </a:ext>
                  </a:extLst>
                </p:cNvPr>
                <p:cNvSpPr>
                  <a:spLocks/>
                </p:cNvSpPr>
                <p:nvPr/>
              </p:nvSpPr>
              <p:spPr bwMode="auto">
                <a:xfrm>
                  <a:off x="5079763" y="779947"/>
                  <a:ext cx="334487" cy="185826"/>
                </a:xfrm>
                <a:custGeom>
                  <a:avLst/>
                  <a:gdLst>
                    <a:gd name="T0" fmla="*/ 426 w 432"/>
                    <a:gd name="T1" fmla="*/ 240 h 240"/>
                    <a:gd name="T2" fmla="*/ 0 w 432"/>
                    <a:gd name="T3" fmla="*/ 18 h 240"/>
                    <a:gd name="T4" fmla="*/ 12 w 432"/>
                    <a:gd name="T5" fmla="*/ 0 h 240"/>
                    <a:gd name="T6" fmla="*/ 432 w 432"/>
                    <a:gd name="T7" fmla="*/ 222 h 240"/>
                    <a:gd name="T8" fmla="*/ 426 w 432"/>
                    <a:gd name="T9" fmla="*/ 240 h 240"/>
                  </a:gdLst>
                  <a:ahLst/>
                  <a:cxnLst>
                    <a:cxn ang="0">
                      <a:pos x="T0" y="T1"/>
                    </a:cxn>
                    <a:cxn ang="0">
                      <a:pos x="T2" y="T3"/>
                    </a:cxn>
                    <a:cxn ang="0">
                      <a:pos x="T4" y="T5"/>
                    </a:cxn>
                    <a:cxn ang="0">
                      <a:pos x="T6" y="T7"/>
                    </a:cxn>
                    <a:cxn ang="0">
                      <a:pos x="T8" y="T9"/>
                    </a:cxn>
                  </a:cxnLst>
                  <a:rect l="0" t="0" r="r" b="b"/>
                  <a:pathLst>
                    <a:path w="432" h="240">
                      <a:moveTo>
                        <a:pt x="426" y="240"/>
                      </a:moveTo>
                      <a:lnTo>
                        <a:pt x="0" y="18"/>
                      </a:lnTo>
                      <a:lnTo>
                        <a:pt x="12" y="0"/>
                      </a:lnTo>
                      <a:lnTo>
                        <a:pt x="432" y="222"/>
                      </a:lnTo>
                      <a:lnTo>
                        <a:pt x="426" y="24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7" name="Freeform 113">
                  <a:extLst>
                    <a:ext uri="{FF2B5EF4-FFF2-40B4-BE49-F238E27FC236}">
                      <a16:creationId xmlns:a16="http://schemas.microsoft.com/office/drawing/2014/main" id="{D5F97752-A5C2-984D-AEFF-D1DFAD81C140}"/>
                    </a:ext>
                  </a:extLst>
                </p:cNvPr>
                <p:cNvSpPr>
                  <a:spLocks/>
                </p:cNvSpPr>
                <p:nvPr/>
              </p:nvSpPr>
              <p:spPr bwMode="auto">
                <a:xfrm>
                  <a:off x="4419306" y="1858513"/>
                  <a:ext cx="111496" cy="367007"/>
                </a:xfrm>
                <a:custGeom>
                  <a:avLst/>
                  <a:gdLst>
                    <a:gd name="T0" fmla="*/ 18 w 144"/>
                    <a:gd name="T1" fmla="*/ 474 h 474"/>
                    <a:gd name="T2" fmla="*/ 0 w 144"/>
                    <a:gd name="T3" fmla="*/ 468 h 474"/>
                    <a:gd name="T4" fmla="*/ 132 w 144"/>
                    <a:gd name="T5" fmla="*/ 0 h 474"/>
                    <a:gd name="T6" fmla="*/ 144 w 144"/>
                    <a:gd name="T7" fmla="*/ 0 h 474"/>
                    <a:gd name="T8" fmla="*/ 18 w 144"/>
                    <a:gd name="T9" fmla="*/ 474 h 474"/>
                  </a:gdLst>
                  <a:ahLst/>
                  <a:cxnLst>
                    <a:cxn ang="0">
                      <a:pos x="T0" y="T1"/>
                    </a:cxn>
                    <a:cxn ang="0">
                      <a:pos x="T2" y="T3"/>
                    </a:cxn>
                    <a:cxn ang="0">
                      <a:pos x="T4" y="T5"/>
                    </a:cxn>
                    <a:cxn ang="0">
                      <a:pos x="T6" y="T7"/>
                    </a:cxn>
                    <a:cxn ang="0">
                      <a:pos x="T8" y="T9"/>
                    </a:cxn>
                  </a:cxnLst>
                  <a:rect l="0" t="0" r="r" b="b"/>
                  <a:pathLst>
                    <a:path w="144" h="474">
                      <a:moveTo>
                        <a:pt x="18" y="474"/>
                      </a:moveTo>
                      <a:lnTo>
                        <a:pt x="0" y="468"/>
                      </a:lnTo>
                      <a:lnTo>
                        <a:pt x="132" y="0"/>
                      </a:lnTo>
                      <a:lnTo>
                        <a:pt x="144" y="0"/>
                      </a:lnTo>
                      <a:lnTo>
                        <a:pt x="18" y="47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8" name="Freeform 114">
                  <a:extLst>
                    <a:ext uri="{FF2B5EF4-FFF2-40B4-BE49-F238E27FC236}">
                      <a16:creationId xmlns:a16="http://schemas.microsoft.com/office/drawing/2014/main" id="{E152193F-88F6-914F-88AE-9734F4B2A2C3}"/>
                    </a:ext>
                  </a:extLst>
                </p:cNvPr>
                <p:cNvSpPr>
                  <a:spLocks/>
                </p:cNvSpPr>
                <p:nvPr/>
              </p:nvSpPr>
              <p:spPr bwMode="auto">
                <a:xfrm>
                  <a:off x="2824297" y="546890"/>
                  <a:ext cx="209829" cy="144790"/>
                </a:xfrm>
                <a:custGeom>
                  <a:avLst/>
                  <a:gdLst>
                    <a:gd name="T0" fmla="*/ 265 w 271"/>
                    <a:gd name="T1" fmla="*/ 187 h 187"/>
                    <a:gd name="T2" fmla="*/ 0 w 271"/>
                    <a:gd name="T3" fmla="*/ 12 h 187"/>
                    <a:gd name="T4" fmla="*/ 6 w 271"/>
                    <a:gd name="T5" fmla="*/ 0 h 187"/>
                    <a:gd name="T6" fmla="*/ 271 w 271"/>
                    <a:gd name="T7" fmla="*/ 175 h 187"/>
                    <a:gd name="T8" fmla="*/ 265 w 271"/>
                    <a:gd name="T9" fmla="*/ 187 h 187"/>
                  </a:gdLst>
                  <a:ahLst/>
                  <a:cxnLst>
                    <a:cxn ang="0">
                      <a:pos x="T0" y="T1"/>
                    </a:cxn>
                    <a:cxn ang="0">
                      <a:pos x="T2" y="T3"/>
                    </a:cxn>
                    <a:cxn ang="0">
                      <a:pos x="T4" y="T5"/>
                    </a:cxn>
                    <a:cxn ang="0">
                      <a:pos x="T6" y="T7"/>
                    </a:cxn>
                    <a:cxn ang="0">
                      <a:pos x="T8" y="T9"/>
                    </a:cxn>
                  </a:cxnLst>
                  <a:rect l="0" t="0" r="r" b="b"/>
                  <a:pathLst>
                    <a:path w="271" h="187">
                      <a:moveTo>
                        <a:pt x="265" y="187"/>
                      </a:moveTo>
                      <a:lnTo>
                        <a:pt x="0" y="12"/>
                      </a:lnTo>
                      <a:lnTo>
                        <a:pt x="6" y="0"/>
                      </a:lnTo>
                      <a:lnTo>
                        <a:pt x="271" y="175"/>
                      </a:lnTo>
                      <a:lnTo>
                        <a:pt x="265" y="18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9" name="Freeform 115">
                  <a:extLst>
                    <a:ext uri="{FF2B5EF4-FFF2-40B4-BE49-F238E27FC236}">
                      <a16:creationId xmlns:a16="http://schemas.microsoft.com/office/drawing/2014/main" id="{1A2FCAFF-F549-D743-B3BD-BB333A279505}"/>
                    </a:ext>
                  </a:extLst>
                </p:cNvPr>
                <p:cNvSpPr>
                  <a:spLocks/>
                </p:cNvSpPr>
                <p:nvPr/>
              </p:nvSpPr>
              <p:spPr bwMode="auto">
                <a:xfrm>
                  <a:off x="2884690" y="1300260"/>
                  <a:ext cx="330616" cy="302742"/>
                </a:xfrm>
                <a:custGeom>
                  <a:avLst/>
                  <a:gdLst>
                    <a:gd name="T0" fmla="*/ 415 w 427"/>
                    <a:gd name="T1" fmla="*/ 391 h 391"/>
                    <a:gd name="T2" fmla="*/ 0 w 427"/>
                    <a:gd name="T3" fmla="*/ 12 h 391"/>
                    <a:gd name="T4" fmla="*/ 12 w 427"/>
                    <a:gd name="T5" fmla="*/ 0 h 391"/>
                    <a:gd name="T6" fmla="*/ 427 w 427"/>
                    <a:gd name="T7" fmla="*/ 379 h 391"/>
                    <a:gd name="T8" fmla="*/ 415 w 427"/>
                    <a:gd name="T9" fmla="*/ 391 h 391"/>
                  </a:gdLst>
                  <a:ahLst/>
                  <a:cxnLst>
                    <a:cxn ang="0">
                      <a:pos x="T0" y="T1"/>
                    </a:cxn>
                    <a:cxn ang="0">
                      <a:pos x="T2" y="T3"/>
                    </a:cxn>
                    <a:cxn ang="0">
                      <a:pos x="T4" y="T5"/>
                    </a:cxn>
                    <a:cxn ang="0">
                      <a:pos x="T6" y="T7"/>
                    </a:cxn>
                    <a:cxn ang="0">
                      <a:pos x="T8" y="T9"/>
                    </a:cxn>
                  </a:cxnLst>
                  <a:rect l="0" t="0" r="r" b="b"/>
                  <a:pathLst>
                    <a:path w="427" h="391">
                      <a:moveTo>
                        <a:pt x="415" y="391"/>
                      </a:moveTo>
                      <a:lnTo>
                        <a:pt x="0" y="12"/>
                      </a:lnTo>
                      <a:lnTo>
                        <a:pt x="12" y="0"/>
                      </a:lnTo>
                      <a:lnTo>
                        <a:pt x="427" y="379"/>
                      </a:lnTo>
                      <a:lnTo>
                        <a:pt x="415" y="39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0" name="Freeform 116">
                  <a:extLst>
                    <a:ext uri="{FF2B5EF4-FFF2-40B4-BE49-F238E27FC236}">
                      <a16:creationId xmlns:a16="http://schemas.microsoft.com/office/drawing/2014/main" id="{836DF15C-7855-6449-B3B0-CB859464AFAF}"/>
                    </a:ext>
                  </a:extLst>
                </p:cNvPr>
                <p:cNvSpPr>
                  <a:spLocks/>
                </p:cNvSpPr>
                <p:nvPr/>
              </p:nvSpPr>
              <p:spPr bwMode="auto">
                <a:xfrm>
                  <a:off x="3131684" y="1937489"/>
                  <a:ext cx="181180" cy="600065"/>
                </a:xfrm>
                <a:custGeom>
                  <a:avLst/>
                  <a:gdLst>
                    <a:gd name="T0" fmla="*/ 18 w 234"/>
                    <a:gd name="T1" fmla="*/ 775 h 775"/>
                    <a:gd name="T2" fmla="*/ 0 w 234"/>
                    <a:gd name="T3" fmla="*/ 769 h 775"/>
                    <a:gd name="T4" fmla="*/ 216 w 234"/>
                    <a:gd name="T5" fmla="*/ 0 h 775"/>
                    <a:gd name="T6" fmla="*/ 234 w 234"/>
                    <a:gd name="T7" fmla="*/ 6 h 775"/>
                    <a:gd name="T8" fmla="*/ 18 w 234"/>
                    <a:gd name="T9" fmla="*/ 775 h 775"/>
                  </a:gdLst>
                  <a:ahLst/>
                  <a:cxnLst>
                    <a:cxn ang="0">
                      <a:pos x="T0" y="T1"/>
                    </a:cxn>
                    <a:cxn ang="0">
                      <a:pos x="T2" y="T3"/>
                    </a:cxn>
                    <a:cxn ang="0">
                      <a:pos x="T4" y="T5"/>
                    </a:cxn>
                    <a:cxn ang="0">
                      <a:pos x="T6" y="T7"/>
                    </a:cxn>
                    <a:cxn ang="0">
                      <a:pos x="T8" y="T9"/>
                    </a:cxn>
                  </a:cxnLst>
                  <a:rect l="0" t="0" r="r" b="b"/>
                  <a:pathLst>
                    <a:path w="234" h="775">
                      <a:moveTo>
                        <a:pt x="18" y="775"/>
                      </a:moveTo>
                      <a:lnTo>
                        <a:pt x="0" y="769"/>
                      </a:lnTo>
                      <a:lnTo>
                        <a:pt x="216" y="0"/>
                      </a:lnTo>
                      <a:lnTo>
                        <a:pt x="234" y="6"/>
                      </a:lnTo>
                      <a:lnTo>
                        <a:pt x="18" y="77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7" name="Freeform 123">
                  <a:extLst>
                    <a:ext uri="{FF2B5EF4-FFF2-40B4-BE49-F238E27FC236}">
                      <a16:creationId xmlns:a16="http://schemas.microsoft.com/office/drawing/2014/main" id="{2ADB4803-520E-0540-8640-6848A3C6B7E7}"/>
                    </a:ext>
                  </a:extLst>
                </p:cNvPr>
                <p:cNvSpPr>
                  <a:spLocks/>
                </p:cNvSpPr>
                <p:nvPr/>
              </p:nvSpPr>
              <p:spPr bwMode="auto">
                <a:xfrm>
                  <a:off x="6261309" y="2244102"/>
                  <a:ext cx="144016" cy="307388"/>
                </a:xfrm>
                <a:custGeom>
                  <a:avLst/>
                  <a:gdLst>
                    <a:gd name="T0" fmla="*/ 168 w 186"/>
                    <a:gd name="T1" fmla="*/ 397 h 397"/>
                    <a:gd name="T2" fmla="*/ 0 w 186"/>
                    <a:gd name="T3" fmla="*/ 12 h 397"/>
                    <a:gd name="T4" fmla="*/ 18 w 186"/>
                    <a:gd name="T5" fmla="*/ 0 h 397"/>
                    <a:gd name="T6" fmla="*/ 186 w 186"/>
                    <a:gd name="T7" fmla="*/ 385 h 397"/>
                    <a:gd name="T8" fmla="*/ 168 w 186"/>
                    <a:gd name="T9" fmla="*/ 397 h 397"/>
                  </a:gdLst>
                  <a:ahLst/>
                  <a:cxnLst>
                    <a:cxn ang="0">
                      <a:pos x="T0" y="T1"/>
                    </a:cxn>
                    <a:cxn ang="0">
                      <a:pos x="T2" y="T3"/>
                    </a:cxn>
                    <a:cxn ang="0">
                      <a:pos x="T4" y="T5"/>
                    </a:cxn>
                    <a:cxn ang="0">
                      <a:pos x="T6" y="T7"/>
                    </a:cxn>
                    <a:cxn ang="0">
                      <a:pos x="T8" y="T9"/>
                    </a:cxn>
                  </a:cxnLst>
                  <a:rect l="0" t="0" r="r" b="b"/>
                  <a:pathLst>
                    <a:path w="186" h="397">
                      <a:moveTo>
                        <a:pt x="168" y="397"/>
                      </a:moveTo>
                      <a:lnTo>
                        <a:pt x="0" y="12"/>
                      </a:lnTo>
                      <a:lnTo>
                        <a:pt x="18" y="0"/>
                      </a:lnTo>
                      <a:lnTo>
                        <a:pt x="186" y="385"/>
                      </a:lnTo>
                      <a:lnTo>
                        <a:pt x="168" y="39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8" name="Freeform 124">
                  <a:extLst>
                    <a:ext uri="{FF2B5EF4-FFF2-40B4-BE49-F238E27FC236}">
                      <a16:creationId xmlns:a16="http://schemas.microsoft.com/office/drawing/2014/main" id="{9DCA7B0F-E0CB-6245-9D9C-D7BF6464EABF}"/>
                    </a:ext>
                  </a:extLst>
                </p:cNvPr>
                <p:cNvSpPr>
                  <a:spLocks/>
                </p:cNvSpPr>
                <p:nvPr/>
              </p:nvSpPr>
              <p:spPr bwMode="auto">
                <a:xfrm>
                  <a:off x="6307765" y="1430339"/>
                  <a:ext cx="380944" cy="428175"/>
                </a:xfrm>
                <a:custGeom>
                  <a:avLst/>
                  <a:gdLst>
                    <a:gd name="T0" fmla="*/ 12 w 492"/>
                    <a:gd name="T1" fmla="*/ 553 h 553"/>
                    <a:gd name="T2" fmla="*/ 0 w 492"/>
                    <a:gd name="T3" fmla="*/ 541 h 553"/>
                    <a:gd name="T4" fmla="*/ 480 w 492"/>
                    <a:gd name="T5" fmla="*/ 0 h 553"/>
                    <a:gd name="T6" fmla="*/ 492 w 492"/>
                    <a:gd name="T7" fmla="*/ 12 h 553"/>
                    <a:gd name="T8" fmla="*/ 12 w 492"/>
                    <a:gd name="T9" fmla="*/ 553 h 553"/>
                  </a:gdLst>
                  <a:ahLst/>
                  <a:cxnLst>
                    <a:cxn ang="0">
                      <a:pos x="T0" y="T1"/>
                    </a:cxn>
                    <a:cxn ang="0">
                      <a:pos x="T2" y="T3"/>
                    </a:cxn>
                    <a:cxn ang="0">
                      <a:pos x="T4" y="T5"/>
                    </a:cxn>
                    <a:cxn ang="0">
                      <a:pos x="T6" y="T7"/>
                    </a:cxn>
                    <a:cxn ang="0">
                      <a:pos x="T8" y="T9"/>
                    </a:cxn>
                  </a:cxnLst>
                  <a:rect l="0" t="0" r="r" b="b"/>
                  <a:pathLst>
                    <a:path w="492" h="553">
                      <a:moveTo>
                        <a:pt x="12" y="553"/>
                      </a:moveTo>
                      <a:lnTo>
                        <a:pt x="0" y="541"/>
                      </a:lnTo>
                      <a:lnTo>
                        <a:pt x="480" y="0"/>
                      </a:lnTo>
                      <a:lnTo>
                        <a:pt x="492" y="12"/>
                      </a:lnTo>
                      <a:lnTo>
                        <a:pt x="12" y="553"/>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9" name="Freeform 125">
                  <a:extLst>
                    <a:ext uri="{FF2B5EF4-FFF2-40B4-BE49-F238E27FC236}">
                      <a16:creationId xmlns:a16="http://schemas.microsoft.com/office/drawing/2014/main" id="{2B403BD1-F10D-644F-8A91-B2E9BA57AA2F}"/>
                    </a:ext>
                  </a:extLst>
                </p:cNvPr>
                <p:cNvSpPr>
                  <a:spLocks/>
                </p:cNvSpPr>
                <p:nvPr/>
              </p:nvSpPr>
              <p:spPr bwMode="auto">
                <a:xfrm>
                  <a:off x="5726283" y="1323489"/>
                  <a:ext cx="297322" cy="507151"/>
                </a:xfrm>
                <a:custGeom>
                  <a:avLst/>
                  <a:gdLst>
                    <a:gd name="T0" fmla="*/ 372 w 384"/>
                    <a:gd name="T1" fmla="*/ 655 h 655"/>
                    <a:gd name="T2" fmla="*/ 0 w 384"/>
                    <a:gd name="T3" fmla="*/ 6 h 655"/>
                    <a:gd name="T4" fmla="*/ 12 w 384"/>
                    <a:gd name="T5" fmla="*/ 0 h 655"/>
                    <a:gd name="T6" fmla="*/ 384 w 384"/>
                    <a:gd name="T7" fmla="*/ 649 h 655"/>
                    <a:gd name="T8" fmla="*/ 372 w 384"/>
                    <a:gd name="T9" fmla="*/ 655 h 655"/>
                  </a:gdLst>
                  <a:ahLst/>
                  <a:cxnLst>
                    <a:cxn ang="0">
                      <a:pos x="T0" y="T1"/>
                    </a:cxn>
                    <a:cxn ang="0">
                      <a:pos x="T2" y="T3"/>
                    </a:cxn>
                    <a:cxn ang="0">
                      <a:pos x="T4" y="T5"/>
                    </a:cxn>
                    <a:cxn ang="0">
                      <a:pos x="T6" y="T7"/>
                    </a:cxn>
                    <a:cxn ang="0">
                      <a:pos x="T8" y="T9"/>
                    </a:cxn>
                  </a:cxnLst>
                  <a:rect l="0" t="0" r="r" b="b"/>
                  <a:pathLst>
                    <a:path w="384" h="655">
                      <a:moveTo>
                        <a:pt x="372" y="655"/>
                      </a:moveTo>
                      <a:lnTo>
                        <a:pt x="0" y="6"/>
                      </a:lnTo>
                      <a:lnTo>
                        <a:pt x="12" y="0"/>
                      </a:lnTo>
                      <a:lnTo>
                        <a:pt x="384" y="649"/>
                      </a:lnTo>
                      <a:lnTo>
                        <a:pt x="372" y="65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0" name="Freeform 126">
                  <a:extLst>
                    <a:ext uri="{FF2B5EF4-FFF2-40B4-BE49-F238E27FC236}">
                      <a16:creationId xmlns:a16="http://schemas.microsoft.com/office/drawing/2014/main" id="{349B2534-CACB-D74A-BAEF-458950D2D6D3}"/>
                    </a:ext>
                  </a:extLst>
                </p:cNvPr>
                <p:cNvSpPr>
                  <a:spLocks/>
                </p:cNvSpPr>
                <p:nvPr/>
              </p:nvSpPr>
              <p:spPr bwMode="auto">
                <a:xfrm>
                  <a:off x="5363148" y="2718734"/>
                  <a:ext cx="260931" cy="502506"/>
                </a:xfrm>
                <a:custGeom>
                  <a:avLst/>
                  <a:gdLst>
                    <a:gd name="T0" fmla="*/ 319 w 337"/>
                    <a:gd name="T1" fmla="*/ 649 h 649"/>
                    <a:gd name="T2" fmla="*/ 0 w 337"/>
                    <a:gd name="T3" fmla="*/ 6 h 649"/>
                    <a:gd name="T4" fmla="*/ 18 w 337"/>
                    <a:gd name="T5" fmla="*/ 0 h 649"/>
                    <a:gd name="T6" fmla="*/ 337 w 337"/>
                    <a:gd name="T7" fmla="*/ 637 h 649"/>
                    <a:gd name="T8" fmla="*/ 319 w 337"/>
                    <a:gd name="T9" fmla="*/ 649 h 649"/>
                  </a:gdLst>
                  <a:ahLst/>
                  <a:cxnLst>
                    <a:cxn ang="0">
                      <a:pos x="T0" y="T1"/>
                    </a:cxn>
                    <a:cxn ang="0">
                      <a:pos x="T2" y="T3"/>
                    </a:cxn>
                    <a:cxn ang="0">
                      <a:pos x="T4" y="T5"/>
                    </a:cxn>
                    <a:cxn ang="0">
                      <a:pos x="T6" y="T7"/>
                    </a:cxn>
                    <a:cxn ang="0">
                      <a:pos x="T8" y="T9"/>
                    </a:cxn>
                  </a:cxnLst>
                  <a:rect l="0" t="0" r="r" b="b"/>
                  <a:pathLst>
                    <a:path w="337" h="649">
                      <a:moveTo>
                        <a:pt x="319" y="649"/>
                      </a:moveTo>
                      <a:lnTo>
                        <a:pt x="0" y="6"/>
                      </a:lnTo>
                      <a:lnTo>
                        <a:pt x="18" y="0"/>
                      </a:lnTo>
                      <a:lnTo>
                        <a:pt x="337" y="637"/>
                      </a:lnTo>
                      <a:lnTo>
                        <a:pt x="319" y="64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1" name="Freeform 127">
                  <a:extLst>
                    <a:ext uri="{FF2B5EF4-FFF2-40B4-BE49-F238E27FC236}">
                      <a16:creationId xmlns:a16="http://schemas.microsoft.com/office/drawing/2014/main" id="{F1E20148-83C3-3E4F-BEAD-C0EEFFF8E069}"/>
                    </a:ext>
                  </a:extLst>
                </p:cNvPr>
                <p:cNvSpPr>
                  <a:spLocks/>
                </p:cNvSpPr>
                <p:nvPr/>
              </p:nvSpPr>
              <p:spPr bwMode="auto">
                <a:xfrm>
                  <a:off x="4112692" y="970418"/>
                  <a:ext cx="651167" cy="348424"/>
                </a:xfrm>
                <a:custGeom>
                  <a:avLst/>
                  <a:gdLst>
                    <a:gd name="T0" fmla="*/ 835 w 841"/>
                    <a:gd name="T1" fmla="*/ 450 h 450"/>
                    <a:gd name="T2" fmla="*/ 0 w 841"/>
                    <a:gd name="T3" fmla="*/ 18 h 450"/>
                    <a:gd name="T4" fmla="*/ 12 w 841"/>
                    <a:gd name="T5" fmla="*/ 0 h 450"/>
                    <a:gd name="T6" fmla="*/ 841 w 841"/>
                    <a:gd name="T7" fmla="*/ 432 h 450"/>
                    <a:gd name="T8" fmla="*/ 835 w 841"/>
                    <a:gd name="T9" fmla="*/ 450 h 450"/>
                  </a:gdLst>
                  <a:ahLst/>
                  <a:cxnLst>
                    <a:cxn ang="0">
                      <a:pos x="T0" y="T1"/>
                    </a:cxn>
                    <a:cxn ang="0">
                      <a:pos x="T2" y="T3"/>
                    </a:cxn>
                    <a:cxn ang="0">
                      <a:pos x="T4" y="T5"/>
                    </a:cxn>
                    <a:cxn ang="0">
                      <a:pos x="T6" y="T7"/>
                    </a:cxn>
                    <a:cxn ang="0">
                      <a:pos x="T8" y="T9"/>
                    </a:cxn>
                  </a:cxnLst>
                  <a:rect l="0" t="0" r="r" b="b"/>
                  <a:pathLst>
                    <a:path w="841" h="450">
                      <a:moveTo>
                        <a:pt x="835" y="450"/>
                      </a:moveTo>
                      <a:lnTo>
                        <a:pt x="0" y="18"/>
                      </a:lnTo>
                      <a:lnTo>
                        <a:pt x="12" y="0"/>
                      </a:lnTo>
                      <a:lnTo>
                        <a:pt x="841" y="432"/>
                      </a:lnTo>
                      <a:lnTo>
                        <a:pt x="835" y="45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2" name="Freeform 128">
                  <a:extLst>
                    <a:ext uri="{FF2B5EF4-FFF2-40B4-BE49-F238E27FC236}">
                      <a16:creationId xmlns:a16="http://schemas.microsoft.com/office/drawing/2014/main" id="{9E367E58-C5DD-2242-93E4-89D2E0F5EAF4}"/>
                    </a:ext>
                  </a:extLst>
                </p:cNvPr>
                <p:cNvSpPr>
                  <a:spLocks/>
                </p:cNvSpPr>
                <p:nvPr/>
              </p:nvSpPr>
              <p:spPr bwMode="auto">
                <a:xfrm>
                  <a:off x="6591150" y="3067158"/>
                  <a:ext cx="590773" cy="69685"/>
                </a:xfrm>
                <a:custGeom>
                  <a:avLst/>
                  <a:gdLst>
                    <a:gd name="T0" fmla="*/ 1 w 127"/>
                    <a:gd name="T1" fmla="*/ 15 h 15"/>
                    <a:gd name="T2" fmla="*/ 0 w 127"/>
                    <a:gd name="T3" fmla="*/ 13 h 15"/>
                    <a:gd name="T4" fmla="*/ 1 w 127"/>
                    <a:gd name="T5" fmla="*/ 12 h 15"/>
                    <a:gd name="T6" fmla="*/ 125 w 127"/>
                    <a:gd name="T7" fmla="*/ 0 h 15"/>
                    <a:gd name="T8" fmla="*/ 127 w 127"/>
                    <a:gd name="T9" fmla="*/ 1 h 15"/>
                    <a:gd name="T10" fmla="*/ 125 w 127"/>
                    <a:gd name="T11" fmla="*/ 3 h 15"/>
                    <a:gd name="T12" fmla="*/ 1 w 127"/>
                    <a:gd name="T13" fmla="*/ 15 h 15"/>
                    <a:gd name="T14" fmla="*/ 1 w 127"/>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5">
                      <a:moveTo>
                        <a:pt x="1" y="15"/>
                      </a:moveTo>
                      <a:cubicBezTo>
                        <a:pt x="1" y="15"/>
                        <a:pt x="0" y="14"/>
                        <a:pt x="0" y="13"/>
                      </a:cubicBezTo>
                      <a:cubicBezTo>
                        <a:pt x="0" y="13"/>
                        <a:pt x="0" y="12"/>
                        <a:pt x="1" y="12"/>
                      </a:cubicBezTo>
                      <a:cubicBezTo>
                        <a:pt x="125" y="0"/>
                        <a:pt x="125" y="0"/>
                        <a:pt x="125" y="0"/>
                      </a:cubicBezTo>
                      <a:cubicBezTo>
                        <a:pt x="126" y="0"/>
                        <a:pt x="127" y="0"/>
                        <a:pt x="127" y="1"/>
                      </a:cubicBezTo>
                      <a:cubicBezTo>
                        <a:pt x="127" y="2"/>
                        <a:pt x="126" y="3"/>
                        <a:pt x="125" y="3"/>
                      </a:cubicBezTo>
                      <a:cubicBezTo>
                        <a:pt x="1" y="15"/>
                        <a:pt x="1" y="15"/>
                        <a:pt x="1" y="15"/>
                      </a:cubicBezTo>
                      <a:cubicBezTo>
                        <a:pt x="1" y="15"/>
                        <a:pt x="1" y="15"/>
                        <a:pt x="1" y="1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3" name="Freeform 129">
                  <a:extLst>
                    <a:ext uri="{FF2B5EF4-FFF2-40B4-BE49-F238E27FC236}">
                      <a16:creationId xmlns:a16="http://schemas.microsoft.com/office/drawing/2014/main" id="{E1D73C80-F903-EB48-9A2A-E61470D3295A}"/>
                    </a:ext>
                  </a:extLst>
                </p:cNvPr>
                <p:cNvSpPr>
                  <a:spLocks/>
                </p:cNvSpPr>
                <p:nvPr/>
              </p:nvSpPr>
              <p:spPr bwMode="auto">
                <a:xfrm>
                  <a:off x="7121529" y="3132197"/>
                  <a:ext cx="92913" cy="214475"/>
                </a:xfrm>
                <a:custGeom>
                  <a:avLst/>
                  <a:gdLst>
                    <a:gd name="T0" fmla="*/ 2 w 20"/>
                    <a:gd name="T1" fmla="*/ 46 h 46"/>
                    <a:gd name="T2" fmla="*/ 2 w 20"/>
                    <a:gd name="T3" fmla="*/ 46 h 46"/>
                    <a:gd name="T4" fmla="*/ 1 w 20"/>
                    <a:gd name="T5" fmla="*/ 44 h 46"/>
                    <a:gd name="T6" fmla="*/ 17 w 20"/>
                    <a:gd name="T7" fmla="*/ 2 h 46"/>
                    <a:gd name="T8" fmla="*/ 18 w 20"/>
                    <a:gd name="T9" fmla="*/ 1 h 46"/>
                    <a:gd name="T10" fmla="*/ 19 w 20"/>
                    <a:gd name="T11" fmla="*/ 2 h 46"/>
                    <a:gd name="T12" fmla="*/ 3 w 20"/>
                    <a:gd name="T13" fmla="*/ 45 h 46"/>
                    <a:gd name="T14" fmla="*/ 2 w 20"/>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6">
                      <a:moveTo>
                        <a:pt x="2" y="46"/>
                      </a:moveTo>
                      <a:cubicBezTo>
                        <a:pt x="2" y="46"/>
                        <a:pt x="2" y="46"/>
                        <a:pt x="2" y="46"/>
                      </a:cubicBezTo>
                      <a:cubicBezTo>
                        <a:pt x="1" y="46"/>
                        <a:pt x="0" y="45"/>
                        <a:pt x="1" y="44"/>
                      </a:cubicBezTo>
                      <a:cubicBezTo>
                        <a:pt x="17" y="2"/>
                        <a:pt x="17" y="2"/>
                        <a:pt x="17" y="2"/>
                      </a:cubicBezTo>
                      <a:cubicBezTo>
                        <a:pt x="17" y="1"/>
                        <a:pt x="18" y="0"/>
                        <a:pt x="18" y="1"/>
                      </a:cubicBezTo>
                      <a:cubicBezTo>
                        <a:pt x="19" y="1"/>
                        <a:pt x="20" y="2"/>
                        <a:pt x="19" y="2"/>
                      </a:cubicBezTo>
                      <a:cubicBezTo>
                        <a:pt x="3" y="45"/>
                        <a:pt x="3" y="45"/>
                        <a:pt x="3" y="45"/>
                      </a:cubicBezTo>
                      <a:cubicBezTo>
                        <a:pt x="3" y="46"/>
                        <a:pt x="3" y="46"/>
                        <a:pt x="2" y="4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4" name="Freeform 130">
                  <a:extLst>
                    <a:ext uri="{FF2B5EF4-FFF2-40B4-BE49-F238E27FC236}">
                      <a16:creationId xmlns:a16="http://schemas.microsoft.com/office/drawing/2014/main" id="{4B1410FB-AABB-D646-800C-480BE70ECA60}"/>
                    </a:ext>
                  </a:extLst>
                </p:cNvPr>
                <p:cNvSpPr>
                  <a:spLocks/>
                </p:cNvSpPr>
                <p:nvPr/>
              </p:nvSpPr>
              <p:spPr bwMode="auto">
                <a:xfrm>
                  <a:off x="7004614" y="1825994"/>
                  <a:ext cx="154081" cy="92913"/>
                </a:xfrm>
                <a:custGeom>
                  <a:avLst/>
                  <a:gdLst>
                    <a:gd name="T0" fmla="*/ 2 w 33"/>
                    <a:gd name="T1" fmla="*/ 20 h 20"/>
                    <a:gd name="T2" fmla="*/ 1 w 33"/>
                    <a:gd name="T3" fmla="*/ 20 h 20"/>
                    <a:gd name="T4" fmla="*/ 1 w 33"/>
                    <a:gd name="T5" fmla="*/ 18 h 20"/>
                    <a:gd name="T6" fmla="*/ 30 w 33"/>
                    <a:gd name="T7" fmla="*/ 1 h 20"/>
                    <a:gd name="T8" fmla="*/ 32 w 33"/>
                    <a:gd name="T9" fmla="*/ 1 h 20"/>
                    <a:gd name="T10" fmla="*/ 32 w 33"/>
                    <a:gd name="T11" fmla="*/ 3 h 20"/>
                    <a:gd name="T12" fmla="*/ 2 w 33"/>
                    <a:gd name="T13" fmla="*/ 20 h 20"/>
                    <a:gd name="T14" fmla="*/ 2 w 33"/>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20">
                      <a:moveTo>
                        <a:pt x="2" y="20"/>
                      </a:moveTo>
                      <a:cubicBezTo>
                        <a:pt x="1" y="20"/>
                        <a:pt x="1" y="20"/>
                        <a:pt x="1" y="20"/>
                      </a:cubicBezTo>
                      <a:cubicBezTo>
                        <a:pt x="0" y="19"/>
                        <a:pt x="0" y="18"/>
                        <a:pt x="1" y="18"/>
                      </a:cubicBezTo>
                      <a:cubicBezTo>
                        <a:pt x="30" y="1"/>
                        <a:pt x="30" y="1"/>
                        <a:pt x="30" y="1"/>
                      </a:cubicBezTo>
                      <a:cubicBezTo>
                        <a:pt x="31" y="0"/>
                        <a:pt x="32" y="0"/>
                        <a:pt x="32" y="1"/>
                      </a:cubicBezTo>
                      <a:cubicBezTo>
                        <a:pt x="33" y="2"/>
                        <a:pt x="32" y="2"/>
                        <a:pt x="32" y="3"/>
                      </a:cubicBezTo>
                      <a:cubicBezTo>
                        <a:pt x="2" y="20"/>
                        <a:pt x="2" y="20"/>
                        <a:pt x="2" y="20"/>
                      </a:cubicBezTo>
                      <a:cubicBezTo>
                        <a:pt x="2" y="20"/>
                        <a:pt x="2" y="20"/>
                        <a:pt x="2" y="2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5" name="Freeform 131">
                  <a:extLst>
                    <a:ext uri="{FF2B5EF4-FFF2-40B4-BE49-F238E27FC236}">
                      <a16:creationId xmlns:a16="http://schemas.microsoft.com/office/drawing/2014/main" id="{B8C033A0-2587-634A-904C-20B97B2E288A}"/>
                    </a:ext>
                  </a:extLst>
                </p:cNvPr>
                <p:cNvSpPr>
                  <a:spLocks/>
                </p:cNvSpPr>
                <p:nvPr/>
              </p:nvSpPr>
              <p:spPr bwMode="auto">
                <a:xfrm>
                  <a:off x="3154913" y="537598"/>
                  <a:ext cx="65039" cy="130853"/>
                </a:xfrm>
                <a:custGeom>
                  <a:avLst/>
                  <a:gdLst>
                    <a:gd name="T0" fmla="*/ 2 w 14"/>
                    <a:gd name="T1" fmla="*/ 28 h 28"/>
                    <a:gd name="T2" fmla="*/ 1 w 14"/>
                    <a:gd name="T3" fmla="*/ 28 h 28"/>
                    <a:gd name="T4" fmla="*/ 0 w 14"/>
                    <a:gd name="T5" fmla="*/ 26 h 28"/>
                    <a:gd name="T6" fmla="*/ 11 w 14"/>
                    <a:gd name="T7" fmla="*/ 1 h 28"/>
                    <a:gd name="T8" fmla="*/ 13 w 14"/>
                    <a:gd name="T9" fmla="*/ 0 h 28"/>
                    <a:gd name="T10" fmla="*/ 14 w 14"/>
                    <a:gd name="T11" fmla="*/ 2 h 28"/>
                    <a:gd name="T12" fmla="*/ 3 w 14"/>
                    <a:gd name="T13" fmla="*/ 27 h 28"/>
                    <a:gd name="T14" fmla="*/ 2 w 14"/>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8">
                      <a:moveTo>
                        <a:pt x="2" y="28"/>
                      </a:moveTo>
                      <a:cubicBezTo>
                        <a:pt x="1" y="28"/>
                        <a:pt x="1" y="28"/>
                        <a:pt x="1" y="28"/>
                      </a:cubicBezTo>
                      <a:cubicBezTo>
                        <a:pt x="0" y="28"/>
                        <a:pt x="0" y="27"/>
                        <a:pt x="0" y="26"/>
                      </a:cubicBezTo>
                      <a:cubicBezTo>
                        <a:pt x="11" y="1"/>
                        <a:pt x="11" y="1"/>
                        <a:pt x="11" y="1"/>
                      </a:cubicBezTo>
                      <a:cubicBezTo>
                        <a:pt x="11" y="0"/>
                        <a:pt x="12" y="0"/>
                        <a:pt x="13" y="0"/>
                      </a:cubicBezTo>
                      <a:cubicBezTo>
                        <a:pt x="14" y="0"/>
                        <a:pt x="14" y="1"/>
                        <a:pt x="14" y="2"/>
                      </a:cubicBezTo>
                      <a:cubicBezTo>
                        <a:pt x="3" y="27"/>
                        <a:pt x="3" y="27"/>
                        <a:pt x="3" y="27"/>
                      </a:cubicBezTo>
                      <a:cubicBezTo>
                        <a:pt x="3" y="28"/>
                        <a:pt x="2" y="28"/>
                        <a:pt x="2" y="28"/>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6" name="Freeform 132">
                  <a:extLst>
                    <a:ext uri="{FF2B5EF4-FFF2-40B4-BE49-F238E27FC236}">
                      <a16:creationId xmlns:a16="http://schemas.microsoft.com/office/drawing/2014/main" id="{0E1C9A39-846C-BE4B-979A-475859151DF7}"/>
                    </a:ext>
                  </a:extLst>
                </p:cNvPr>
                <p:cNvSpPr>
                  <a:spLocks/>
                </p:cNvSpPr>
                <p:nvPr/>
              </p:nvSpPr>
              <p:spPr bwMode="auto">
                <a:xfrm>
                  <a:off x="2731383" y="1886387"/>
                  <a:ext cx="120787" cy="199764"/>
                </a:xfrm>
                <a:custGeom>
                  <a:avLst/>
                  <a:gdLst>
                    <a:gd name="T0" fmla="*/ 25 w 26"/>
                    <a:gd name="T1" fmla="*/ 43 h 43"/>
                    <a:gd name="T2" fmla="*/ 24 w 26"/>
                    <a:gd name="T3" fmla="*/ 43 h 43"/>
                    <a:gd name="T4" fmla="*/ 1 w 26"/>
                    <a:gd name="T5" fmla="*/ 3 h 43"/>
                    <a:gd name="T6" fmla="*/ 1 w 26"/>
                    <a:gd name="T7" fmla="*/ 1 h 43"/>
                    <a:gd name="T8" fmla="*/ 3 w 26"/>
                    <a:gd name="T9" fmla="*/ 1 h 43"/>
                    <a:gd name="T10" fmla="*/ 26 w 26"/>
                    <a:gd name="T11" fmla="*/ 41 h 43"/>
                    <a:gd name="T12" fmla="*/ 25 w 26"/>
                    <a:gd name="T13" fmla="*/ 43 h 43"/>
                    <a:gd name="T14" fmla="*/ 25 w 2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3">
                      <a:moveTo>
                        <a:pt x="25" y="43"/>
                      </a:moveTo>
                      <a:cubicBezTo>
                        <a:pt x="24" y="43"/>
                        <a:pt x="24" y="43"/>
                        <a:pt x="24" y="43"/>
                      </a:cubicBezTo>
                      <a:cubicBezTo>
                        <a:pt x="1" y="3"/>
                        <a:pt x="1" y="3"/>
                        <a:pt x="1" y="3"/>
                      </a:cubicBezTo>
                      <a:cubicBezTo>
                        <a:pt x="0" y="2"/>
                        <a:pt x="1" y="1"/>
                        <a:pt x="1" y="1"/>
                      </a:cubicBezTo>
                      <a:cubicBezTo>
                        <a:pt x="2" y="0"/>
                        <a:pt x="3" y="1"/>
                        <a:pt x="3" y="1"/>
                      </a:cubicBezTo>
                      <a:cubicBezTo>
                        <a:pt x="26" y="41"/>
                        <a:pt x="26" y="41"/>
                        <a:pt x="26" y="41"/>
                      </a:cubicBezTo>
                      <a:cubicBezTo>
                        <a:pt x="26" y="42"/>
                        <a:pt x="26" y="43"/>
                        <a:pt x="25" y="43"/>
                      </a:cubicBezTo>
                      <a:cubicBezTo>
                        <a:pt x="25" y="43"/>
                        <a:pt x="25" y="43"/>
                        <a:pt x="25" y="4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7" name="Freeform 133">
                  <a:extLst>
                    <a:ext uri="{FF2B5EF4-FFF2-40B4-BE49-F238E27FC236}">
                      <a16:creationId xmlns:a16="http://schemas.microsoft.com/office/drawing/2014/main" id="{FA3ABB57-987E-6940-B5F5-F52F949B9A35}"/>
                    </a:ext>
                  </a:extLst>
                </p:cNvPr>
                <p:cNvSpPr>
                  <a:spLocks/>
                </p:cNvSpPr>
                <p:nvPr/>
              </p:nvSpPr>
              <p:spPr bwMode="auto">
                <a:xfrm>
                  <a:off x="2824297" y="3239822"/>
                  <a:ext cx="135499" cy="199764"/>
                </a:xfrm>
                <a:custGeom>
                  <a:avLst/>
                  <a:gdLst>
                    <a:gd name="T0" fmla="*/ 2 w 29"/>
                    <a:gd name="T1" fmla="*/ 43 h 43"/>
                    <a:gd name="T2" fmla="*/ 1 w 29"/>
                    <a:gd name="T3" fmla="*/ 43 h 43"/>
                    <a:gd name="T4" fmla="*/ 1 w 29"/>
                    <a:gd name="T5" fmla="*/ 41 h 43"/>
                    <a:gd name="T6" fmla="*/ 26 w 29"/>
                    <a:gd name="T7" fmla="*/ 1 h 43"/>
                    <a:gd name="T8" fmla="*/ 28 w 29"/>
                    <a:gd name="T9" fmla="*/ 1 h 43"/>
                    <a:gd name="T10" fmla="*/ 28 w 29"/>
                    <a:gd name="T11" fmla="*/ 2 h 43"/>
                    <a:gd name="T12" fmla="*/ 3 w 29"/>
                    <a:gd name="T13" fmla="*/ 42 h 43"/>
                    <a:gd name="T14" fmla="*/ 2 w 29"/>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3">
                      <a:moveTo>
                        <a:pt x="2" y="43"/>
                      </a:moveTo>
                      <a:cubicBezTo>
                        <a:pt x="2" y="43"/>
                        <a:pt x="2" y="43"/>
                        <a:pt x="1" y="43"/>
                      </a:cubicBezTo>
                      <a:cubicBezTo>
                        <a:pt x="1" y="42"/>
                        <a:pt x="0" y="42"/>
                        <a:pt x="1" y="41"/>
                      </a:cubicBezTo>
                      <a:cubicBezTo>
                        <a:pt x="26" y="1"/>
                        <a:pt x="26" y="1"/>
                        <a:pt x="26" y="1"/>
                      </a:cubicBezTo>
                      <a:cubicBezTo>
                        <a:pt x="27" y="0"/>
                        <a:pt x="27" y="0"/>
                        <a:pt x="28" y="1"/>
                      </a:cubicBezTo>
                      <a:cubicBezTo>
                        <a:pt x="29" y="1"/>
                        <a:pt x="29" y="2"/>
                        <a:pt x="28" y="2"/>
                      </a:cubicBezTo>
                      <a:cubicBezTo>
                        <a:pt x="3" y="42"/>
                        <a:pt x="3" y="42"/>
                        <a:pt x="3" y="42"/>
                      </a:cubicBezTo>
                      <a:cubicBezTo>
                        <a:pt x="3" y="43"/>
                        <a:pt x="2" y="43"/>
                        <a:pt x="2" y="4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8" name="Freeform 134">
                  <a:extLst>
                    <a:ext uri="{FF2B5EF4-FFF2-40B4-BE49-F238E27FC236}">
                      <a16:creationId xmlns:a16="http://schemas.microsoft.com/office/drawing/2014/main" id="{41707DF6-5DB6-4642-A3D4-B2302807C7C0}"/>
                    </a:ext>
                  </a:extLst>
                </p:cNvPr>
                <p:cNvSpPr>
                  <a:spLocks/>
                </p:cNvSpPr>
                <p:nvPr/>
              </p:nvSpPr>
              <p:spPr bwMode="auto">
                <a:xfrm>
                  <a:off x="4535447" y="3337381"/>
                  <a:ext cx="233058" cy="404172"/>
                </a:xfrm>
                <a:custGeom>
                  <a:avLst/>
                  <a:gdLst>
                    <a:gd name="T0" fmla="*/ 2 w 50"/>
                    <a:gd name="T1" fmla="*/ 87 h 87"/>
                    <a:gd name="T2" fmla="*/ 1 w 50"/>
                    <a:gd name="T3" fmla="*/ 87 h 87"/>
                    <a:gd name="T4" fmla="*/ 1 w 50"/>
                    <a:gd name="T5" fmla="*/ 85 h 87"/>
                    <a:gd name="T6" fmla="*/ 48 w 50"/>
                    <a:gd name="T7" fmla="*/ 1 h 87"/>
                    <a:gd name="T8" fmla="*/ 49 w 50"/>
                    <a:gd name="T9" fmla="*/ 1 h 87"/>
                    <a:gd name="T10" fmla="*/ 50 w 50"/>
                    <a:gd name="T11" fmla="*/ 3 h 87"/>
                    <a:gd name="T12" fmla="*/ 3 w 50"/>
                    <a:gd name="T13" fmla="*/ 87 h 87"/>
                    <a:gd name="T14" fmla="*/ 2 w 50"/>
                    <a:gd name="T15" fmla="*/ 87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87">
                      <a:moveTo>
                        <a:pt x="2" y="87"/>
                      </a:moveTo>
                      <a:cubicBezTo>
                        <a:pt x="2" y="87"/>
                        <a:pt x="2" y="87"/>
                        <a:pt x="1" y="87"/>
                      </a:cubicBezTo>
                      <a:cubicBezTo>
                        <a:pt x="1" y="87"/>
                        <a:pt x="0" y="86"/>
                        <a:pt x="1" y="85"/>
                      </a:cubicBezTo>
                      <a:cubicBezTo>
                        <a:pt x="48" y="1"/>
                        <a:pt x="48" y="1"/>
                        <a:pt x="48" y="1"/>
                      </a:cubicBezTo>
                      <a:cubicBezTo>
                        <a:pt x="48" y="1"/>
                        <a:pt x="49" y="0"/>
                        <a:pt x="49" y="1"/>
                      </a:cubicBezTo>
                      <a:cubicBezTo>
                        <a:pt x="50" y="1"/>
                        <a:pt x="50" y="2"/>
                        <a:pt x="50" y="3"/>
                      </a:cubicBezTo>
                      <a:cubicBezTo>
                        <a:pt x="3" y="87"/>
                        <a:pt x="3" y="87"/>
                        <a:pt x="3" y="87"/>
                      </a:cubicBezTo>
                      <a:cubicBezTo>
                        <a:pt x="3" y="87"/>
                        <a:pt x="2" y="87"/>
                        <a:pt x="2" y="8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9" name="Freeform 135">
                  <a:extLst>
                    <a:ext uri="{FF2B5EF4-FFF2-40B4-BE49-F238E27FC236}">
                      <a16:creationId xmlns:a16="http://schemas.microsoft.com/office/drawing/2014/main" id="{C17B8B68-B9FF-5048-AFB5-7F3FCDAD73AD}"/>
                    </a:ext>
                  </a:extLst>
                </p:cNvPr>
                <p:cNvSpPr>
                  <a:spLocks/>
                </p:cNvSpPr>
                <p:nvPr/>
              </p:nvSpPr>
              <p:spPr bwMode="auto">
                <a:xfrm>
                  <a:off x="4847480" y="3304861"/>
                  <a:ext cx="586127" cy="195118"/>
                </a:xfrm>
                <a:custGeom>
                  <a:avLst/>
                  <a:gdLst>
                    <a:gd name="T0" fmla="*/ 125 w 126"/>
                    <a:gd name="T1" fmla="*/ 42 h 42"/>
                    <a:gd name="T2" fmla="*/ 125 w 126"/>
                    <a:gd name="T3" fmla="*/ 42 h 42"/>
                    <a:gd name="T4" fmla="*/ 1 w 126"/>
                    <a:gd name="T5" fmla="*/ 2 h 42"/>
                    <a:gd name="T6" fmla="*/ 0 w 126"/>
                    <a:gd name="T7" fmla="*/ 1 h 42"/>
                    <a:gd name="T8" fmla="*/ 2 w 126"/>
                    <a:gd name="T9" fmla="*/ 0 h 42"/>
                    <a:gd name="T10" fmla="*/ 125 w 126"/>
                    <a:gd name="T11" fmla="*/ 39 h 42"/>
                    <a:gd name="T12" fmla="*/ 126 w 126"/>
                    <a:gd name="T13" fmla="*/ 41 h 42"/>
                    <a:gd name="T14" fmla="*/ 125 w 126"/>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2">
                      <a:moveTo>
                        <a:pt x="125" y="42"/>
                      </a:moveTo>
                      <a:cubicBezTo>
                        <a:pt x="125" y="42"/>
                        <a:pt x="125" y="42"/>
                        <a:pt x="125" y="42"/>
                      </a:cubicBezTo>
                      <a:cubicBezTo>
                        <a:pt x="1" y="2"/>
                        <a:pt x="1" y="2"/>
                        <a:pt x="1" y="2"/>
                      </a:cubicBezTo>
                      <a:cubicBezTo>
                        <a:pt x="1" y="2"/>
                        <a:pt x="0" y="1"/>
                        <a:pt x="0" y="1"/>
                      </a:cubicBezTo>
                      <a:cubicBezTo>
                        <a:pt x="1" y="0"/>
                        <a:pt x="1" y="0"/>
                        <a:pt x="2" y="0"/>
                      </a:cubicBezTo>
                      <a:cubicBezTo>
                        <a:pt x="125" y="39"/>
                        <a:pt x="125" y="39"/>
                        <a:pt x="125" y="39"/>
                      </a:cubicBezTo>
                      <a:cubicBezTo>
                        <a:pt x="126" y="39"/>
                        <a:pt x="126" y="40"/>
                        <a:pt x="126" y="41"/>
                      </a:cubicBezTo>
                      <a:cubicBezTo>
                        <a:pt x="126" y="41"/>
                        <a:pt x="126" y="42"/>
                        <a:pt x="125" y="4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0" name="Freeform 136">
                  <a:extLst>
                    <a:ext uri="{FF2B5EF4-FFF2-40B4-BE49-F238E27FC236}">
                      <a16:creationId xmlns:a16="http://schemas.microsoft.com/office/drawing/2014/main" id="{5A20D30A-00FD-8142-8838-1BAF52BECEC2}"/>
                    </a:ext>
                  </a:extLst>
                </p:cNvPr>
                <p:cNvSpPr>
                  <a:spLocks/>
                </p:cNvSpPr>
                <p:nvPr/>
              </p:nvSpPr>
              <p:spPr bwMode="auto">
                <a:xfrm>
                  <a:off x="4479699" y="2816293"/>
                  <a:ext cx="279514" cy="414238"/>
                </a:xfrm>
                <a:custGeom>
                  <a:avLst/>
                  <a:gdLst>
                    <a:gd name="T0" fmla="*/ 58 w 60"/>
                    <a:gd name="T1" fmla="*/ 89 h 89"/>
                    <a:gd name="T2" fmla="*/ 57 w 60"/>
                    <a:gd name="T3" fmla="*/ 88 h 89"/>
                    <a:gd name="T4" fmla="*/ 1 w 60"/>
                    <a:gd name="T5" fmla="*/ 3 h 89"/>
                    <a:gd name="T6" fmla="*/ 1 w 60"/>
                    <a:gd name="T7" fmla="*/ 1 h 89"/>
                    <a:gd name="T8" fmla="*/ 3 w 60"/>
                    <a:gd name="T9" fmla="*/ 1 h 89"/>
                    <a:gd name="T10" fmla="*/ 59 w 60"/>
                    <a:gd name="T11" fmla="*/ 87 h 89"/>
                    <a:gd name="T12" fmla="*/ 59 w 60"/>
                    <a:gd name="T13" fmla="*/ 88 h 89"/>
                    <a:gd name="T14" fmla="*/ 58 w 60"/>
                    <a:gd name="T15" fmla="*/ 89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89">
                      <a:moveTo>
                        <a:pt x="58" y="89"/>
                      </a:moveTo>
                      <a:cubicBezTo>
                        <a:pt x="58" y="89"/>
                        <a:pt x="57" y="88"/>
                        <a:pt x="57" y="88"/>
                      </a:cubicBezTo>
                      <a:cubicBezTo>
                        <a:pt x="1" y="3"/>
                        <a:pt x="1" y="3"/>
                        <a:pt x="1" y="3"/>
                      </a:cubicBezTo>
                      <a:cubicBezTo>
                        <a:pt x="0" y="2"/>
                        <a:pt x="1" y="1"/>
                        <a:pt x="1" y="1"/>
                      </a:cubicBezTo>
                      <a:cubicBezTo>
                        <a:pt x="2" y="0"/>
                        <a:pt x="3" y="1"/>
                        <a:pt x="3" y="1"/>
                      </a:cubicBezTo>
                      <a:cubicBezTo>
                        <a:pt x="59" y="87"/>
                        <a:pt x="59" y="87"/>
                        <a:pt x="59" y="87"/>
                      </a:cubicBezTo>
                      <a:cubicBezTo>
                        <a:pt x="60" y="87"/>
                        <a:pt x="59" y="88"/>
                        <a:pt x="59" y="88"/>
                      </a:cubicBezTo>
                      <a:cubicBezTo>
                        <a:pt x="59" y="89"/>
                        <a:pt x="58" y="89"/>
                        <a:pt x="58" y="8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1" name="Freeform 137">
                  <a:extLst>
                    <a:ext uri="{FF2B5EF4-FFF2-40B4-BE49-F238E27FC236}">
                      <a16:creationId xmlns:a16="http://schemas.microsoft.com/office/drawing/2014/main" id="{AE764E68-580D-C04B-80AA-32E85C3267FC}"/>
                    </a:ext>
                  </a:extLst>
                </p:cNvPr>
                <p:cNvSpPr>
                  <a:spLocks/>
                </p:cNvSpPr>
                <p:nvPr/>
              </p:nvSpPr>
              <p:spPr bwMode="auto">
                <a:xfrm>
                  <a:off x="5288818" y="4035003"/>
                  <a:ext cx="646521" cy="353070"/>
                </a:xfrm>
                <a:custGeom>
                  <a:avLst/>
                  <a:gdLst>
                    <a:gd name="T0" fmla="*/ 137 w 139"/>
                    <a:gd name="T1" fmla="*/ 76 h 76"/>
                    <a:gd name="T2" fmla="*/ 137 w 139"/>
                    <a:gd name="T3" fmla="*/ 76 h 76"/>
                    <a:gd name="T4" fmla="*/ 1 w 139"/>
                    <a:gd name="T5" fmla="*/ 3 h 76"/>
                    <a:gd name="T6" fmla="*/ 0 w 139"/>
                    <a:gd name="T7" fmla="*/ 1 h 76"/>
                    <a:gd name="T8" fmla="*/ 2 w 139"/>
                    <a:gd name="T9" fmla="*/ 0 h 76"/>
                    <a:gd name="T10" fmla="*/ 138 w 139"/>
                    <a:gd name="T11" fmla="*/ 73 h 76"/>
                    <a:gd name="T12" fmla="*/ 139 w 139"/>
                    <a:gd name="T13" fmla="*/ 75 h 76"/>
                    <a:gd name="T14" fmla="*/ 137 w 139"/>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76">
                      <a:moveTo>
                        <a:pt x="137" y="76"/>
                      </a:moveTo>
                      <a:cubicBezTo>
                        <a:pt x="137" y="76"/>
                        <a:pt x="137" y="76"/>
                        <a:pt x="137" y="76"/>
                      </a:cubicBezTo>
                      <a:cubicBezTo>
                        <a:pt x="1" y="3"/>
                        <a:pt x="1" y="3"/>
                        <a:pt x="1" y="3"/>
                      </a:cubicBezTo>
                      <a:cubicBezTo>
                        <a:pt x="0" y="2"/>
                        <a:pt x="0" y="1"/>
                        <a:pt x="0" y="1"/>
                      </a:cubicBezTo>
                      <a:cubicBezTo>
                        <a:pt x="1" y="0"/>
                        <a:pt x="1" y="0"/>
                        <a:pt x="2" y="0"/>
                      </a:cubicBezTo>
                      <a:cubicBezTo>
                        <a:pt x="138" y="73"/>
                        <a:pt x="138" y="73"/>
                        <a:pt x="138" y="73"/>
                      </a:cubicBezTo>
                      <a:cubicBezTo>
                        <a:pt x="139" y="74"/>
                        <a:pt x="139" y="75"/>
                        <a:pt x="139" y="75"/>
                      </a:cubicBezTo>
                      <a:cubicBezTo>
                        <a:pt x="138" y="76"/>
                        <a:pt x="138" y="76"/>
                        <a:pt x="137" y="7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2" name="Freeform 138">
                  <a:extLst>
                    <a:ext uri="{FF2B5EF4-FFF2-40B4-BE49-F238E27FC236}">
                      <a16:creationId xmlns:a16="http://schemas.microsoft.com/office/drawing/2014/main" id="{ACC7EBB8-21F7-ED4C-8AFE-85E8B991AF14}"/>
                    </a:ext>
                  </a:extLst>
                </p:cNvPr>
                <p:cNvSpPr>
                  <a:spLocks/>
                </p:cNvSpPr>
                <p:nvPr/>
              </p:nvSpPr>
              <p:spPr bwMode="auto">
                <a:xfrm>
                  <a:off x="4563321" y="1402464"/>
                  <a:ext cx="237703" cy="344553"/>
                </a:xfrm>
                <a:custGeom>
                  <a:avLst/>
                  <a:gdLst>
                    <a:gd name="T0" fmla="*/ 1 w 51"/>
                    <a:gd name="T1" fmla="*/ 74 h 74"/>
                    <a:gd name="T2" fmla="*/ 1 w 51"/>
                    <a:gd name="T3" fmla="*/ 74 h 74"/>
                    <a:gd name="T4" fmla="*/ 0 w 51"/>
                    <a:gd name="T5" fmla="*/ 72 h 74"/>
                    <a:gd name="T6" fmla="*/ 48 w 51"/>
                    <a:gd name="T7" fmla="*/ 1 h 74"/>
                    <a:gd name="T8" fmla="*/ 50 w 51"/>
                    <a:gd name="T9" fmla="*/ 1 h 74"/>
                    <a:gd name="T10" fmla="*/ 50 w 51"/>
                    <a:gd name="T11" fmla="*/ 3 h 74"/>
                    <a:gd name="T12" fmla="*/ 2 w 51"/>
                    <a:gd name="T13" fmla="*/ 73 h 74"/>
                    <a:gd name="T14" fmla="*/ 1 w 51"/>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74">
                      <a:moveTo>
                        <a:pt x="1" y="74"/>
                      </a:moveTo>
                      <a:cubicBezTo>
                        <a:pt x="1" y="74"/>
                        <a:pt x="1" y="74"/>
                        <a:pt x="1" y="74"/>
                      </a:cubicBezTo>
                      <a:cubicBezTo>
                        <a:pt x="0" y="73"/>
                        <a:pt x="0" y="73"/>
                        <a:pt x="0" y="72"/>
                      </a:cubicBezTo>
                      <a:cubicBezTo>
                        <a:pt x="48" y="1"/>
                        <a:pt x="48" y="1"/>
                        <a:pt x="48" y="1"/>
                      </a:cubicBezTo>
                      <a:cubicBezTo>
                        <a:pt x="49" y="1"/>
                        <a:pt x="49" y="0"/>
                        <a:pt x="50" y="1"/>
                      </a:cubicBezTo>
                      <a:cubicBezTo>
                        <a:pt x="51" y="1"/>
                        <a:pt x="51" y="2"/>
                        <a:pt x="50" y="3"/>
                      </a:cubicBezTo>
                      <a:cubicBezTo>
                        <a:pt x="2" y="73"/>
                        <a:pt x="2" y="73"/>
                        <a:pt x="2" y="73"/>
                      </a:cubicBezTo>
                      <a:cubicBezTo>
                        <a:pt x="2" y="74"/>
                        <a:pt x="2" y="74"/>
                        <a:pt x="1" y="7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3" name="Freeform 139">
                  <a:extLst>
                    <a:ext uri="{FF2B5EF4-FFF2-40B4-BE49-F238E27FC236}">
                      <a16:creationId xmlns:a16="http://schemas.microsoft.com/office/drawing/2014/main" id="{82698363-5A48-B241-98D8-76D8B967C401}"/>
                    </a:ext>
                  </a:extLst>
                </p:cNvPr>
                <p:cNvSpPr>
                  <a:spLocks/>
                </p:cNvSpPr>
                <p:nvPr/>
              </p:nvSpPr>
              <p:spPr bwMode="auto">
                <a:xfrm>
                  <a:off x="3317511" y="3997839"/>
                  <a:ext cx="864867" cy="394880"/>
                </a:xfrm>
                <a:custGeom>
                  <a:avLst/>
                  <a:gdLst>
                    <a:gd name="T0" fmla="*/ 1 w 186"/>
                    <a:gd name="T1" fmla="*/ 85 h 85"/>
                    <a:gd name="T2" fmla="*/ 0 w 186"/>
                    <a:gd name="T3" fmla="*/ 85 h 85"/>
                    <a:gd name="T4" fmla="*/ 1 w 186"/>
                    <a:gd name="T5" fmla="*/ 83 h 85"/>
                    <a:gd name="T6" fmla="*/ 183 w 186"/>
                    <a:gd name="T7" fmla="*/ 0 h 85"/>
                    <a:gd name="T8" fmla="*/ 185 w 186"/>
                    <a:gd name="T9" fmla="*/ 1 h 85"/>
                    <a:gd name="T10" fmla="*/ 185 w 186"/>
                    <a:gd name="T11" fmla="*/ 3 h 85"/>
                    <a:gd name="T12" fmla="*/ 2 w 186"/>
                    <a:gd name="T13" fmla="*/ 85 h 85"/>
                    <a:gd name="T14" fmla="*/ 1 w 186"/>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85">
                      <a:moveTo>
                        <a:pt x="1" y="85"/>
                      </a:moveTo>
                      <a:cubicBezTo>
                        <a:pt x="1" y="85"/>
                        <a:pt x="0" y="85"/>
                        <a:pt x="0" y="85"/>
                      </a:cubicBezTo>
                      <a:cubicBezTo>
                        <a:pt x="0" y="84"/>
                        <a:pt x="0" y="83"/>
                        <a:pt x="1" y="83"/>
                      </a:cubicBezTo>
                      <a:cubicBezTo>
                        <a:pt x="183" y="0"/>
                        <a:pt x="183" y="0"/>
                        <a:pt x="183" y="0"/>
                      </a:cubicBezTo>
                      <a:cubicBezTo>
                        <a:pt x="184" y="0"/>
                        <a:pt x="185" y="0"/>
                        <a:pt x="185" y="1"/>
                      </a:cubicBezTo>
                      <a:cubicBezTo>
                        <a:pt x="186" y="1"/>
                        <a:pt x="185" y="2"/>
                        <a:pt x="185" y="3"/>
                      </a:cubicBezTo>
                      <a:cubicBezTo>
                        <a:pt x="2" y="85"/>
                        <a:pt x="2" y="85"/>
                        <a:pt x="2" y="85"/>
                      </a:cubicBezTo>
                      <a:cubicBezTo>
                        <a:pt x="2" y="85"/>
                        <a:pt x="2" y="85"/>
                        <a:pt x="1" y="8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4" name="Freeform 140">
                  <a:extLst>
                    <a:ext uri="{FF2B5EF4-FFF2-40B4-BE49-F238E27FC236}">
                      <a16:creationId xmlns:a16="http://schemas.microsoft.com/office/drawing/2014/main" id="{35B4703C-DA50-174F-8FA1-8F321A639C41}"/>
                    </a:ext>
                  </a:extLst>
                </p:cNvPr>
                <p:cNvSpPr>
                  <a:spLocks/>
                </p:cNvSpPr>
                <p:nvPr/>
              </p:nvSpPr>
              <p:spPr bwMode="auto">
                <a:xfrm>
                  <a:off x="4963621" y="1379237"/>
                  <a:ext cx="971717" cy="539671"/>
                </a:xfrm>
                <a:custGeom>
                  <a:avLst/>
                  <a:gdLst>
                    <a:gd name="T0" fmla="*/ 207 w 209"/>
                    <a:gd name="T1" fmla="*/ 116 h 116"/>
                    <a:gd name="T2" fmla="*/ 207 w 209"/>
                    <a:gd name="T3" fmla="*/ 116 h 116"/>
                    <a:gd name="T4" fmla="*/ 1 w 209"/>
                    <a:gd name="T5" fmla="*/ 3 h 116"/>
                    <a:gd name="T6" fmla="*/ 1 w 209"/>
                    <a:gd name="T7" fmla="*/ 1 h 116"/>
                    <a:gd name="T8" fmla="*/ 3 w 209"/>
                    <a:gd name="T9" fmla="*/ 0 h 116"/>
                    <a:gd name="T10" fmla="*/ 208 w 209"/>
                    <a:gd name="T11" fmla="*/ 114 h 116"/>
                    <a:gd name="T12" fmla="*/ 209 w 209"/>
                    <a:gd name="T13" fmla="*/ 116 h 116"/>
                    <a:gd name="T14" fmla="*/ 207 w 209"/>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116">
                      <a:moveTo>
                        <a:pt x="207" y="116"/>
                      </a:moveTo>
                      <a:cubicBezTo>
                        <a:pt x="207" y="116"/>
                        <a:pt x="207" y="116"/>
                        <a:pt x="207" y="116"/>
                      </a:cubicBezTo>
                      <a:cubicBezTo>
                        <a:pt x="1" y="3"/>
                        <a:pt x="1" y="3"/>
                        <a:pt x="1" y="3"/>
                      </a:cubicBezTo>
                      <a:cubicBezTo>
                        <a:pt x="1" y="2"/>
                        <a:pt x="0" y="2"/>
                        <a:pt x="1" y="1"/>
                      </a:cubicBezTo>
                      <a:cubicBezTo>
                        <a:pt x="1" y="0"/>
                        <a:pt x="2" y="0"/>
                        <a:pt x="3" y="0"/>
                      </a:cubicBezTo>
                      <a:cubicBezTo>
                        <a:pt x="208" y="114"/>
                        <a:pt x="208" y="114"/>
                        <a:pt x="208" y="114"/>
                      </a:cubicBezTo>
                      <a:cubicBezTo>
                        <a:pt x="209" y="114"/>
                        <a:pt x="209" y="115"/>
                        <a:pt x="209" y="116"/>
                      </a:cubicBezTo>
                      <a:cubicBezTo>
                        <a:pt x="208" y="116"/>
                        <a:pt x="208" y="116"/>
                        <a:pt x="207" y="11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5" name="Freeform 141">
                  <a:extLst>
                    <a:ext uri="{FF2B5EF4-FFF2-40B4-BE49-F238E27FC236}">
                      <a16:creationId xmlns:a16="http://schemas.microsoft.com/office/drawing/2014/main" id="{C97C500B-FAFA-8F4F-80E2-DA6C664840D2}"/>
                    </a:ext>
                  </a:extLst>
                </p:cNvPr>
                <p:cNvSpPr>
                  <a:spLocks/>
                </p:cNvSpPr>
                <p:nvPr/>
              </p:nvSpPr>
              <p:spPr bwMode="auto">
                <a:xfrm>
                  <a:off x="5447544" y="2607239"/>
                  <a:ext cx="967071" cy="492439"/>
                </a:xfrm>
                <a:custGeom>
                  <a:avLst/>
                  <a:gdLst>
                    <a:gd name="T0" fmla="*/ 206 w 208"/>
                    <a:gd name="T1" fmla="*/ 106 h 106"/>
                    <a:gd name="T2" fmla="*/ 205 w 208"/>
                    <a:gd name="T3" fmla="*/ 106 h 106"/>
                    <a:gd name="T4" fmla="*/ 1 w 208"/>
                    <a:gd name="T5" fmla="*/ 3 h 106"/>
                    <a:gd name="T6" fmla="*/ 1 w 208"/>
                    <a:gd name="T7" fmla="*/ 1 h 106"/>
                    <a:gd name="T8" fmla="*/ 3 w 208"/>
                    <a:gd name="T9" fmla="*/ 0 h 106"/>
                    <a:gd name="T10" fmla="*/ 207 w 208"/>
                    <a:gd name="T11" fmla="*/ 103 h 106"/>
                    <a:gd name="T12" fmla="*/ 207 w 208"/>
                    <a:gd name="T13" fmla="*/ 105 h 106"/>
                    <a:gd name="T14" fmla="*/ 206 w 208"/>
                    <a:gd name="T15" fmla="*/ 106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106">
                      <a:moveTo>
                        <a:pt x="206" y="106"/>
                      </a:moveTo>
                      <a:cubicBezTo>
                        <a:pt x="206" y="106"/>
                        <a:pt x="206" y="106"/>
                        <a:pt x="205" y="106"/>
                      </a:cubicBezTo>
                      <a:cubicBezTo>
                        <a:pt x="1" y="3"/>
                        <a:pt x="1" y="3"/>
                        <a:pt x="1" y="3"/>
                      </a:cubicBezTo>
                      <a:cubicBezTo>
                        <a:pt x="1" y="3"/>
                        <a:pt x="0" y="2"/>
                        <a:pt x="1" y="1"/>
                      </a:cubicBezTo>
                      <a:cubicBezTo>
                        <a:pt x="1" y="0"/>
                        <a:pt x="2" y="0"/>
                        <a:pt x="3" y="0"/>
                      </a:cubicBezTo>
                      <a:cubicBezTo>
                        <a:pt x="207" y="103"/>
                        <a:pt x="207" y="103"/>
                        <a:pt x="207" y="103"/>
                      </a:cubicBezTo>
                      <a:cubicBezTo>
                        <a:pt x="207" y="103"/>
                        <a:pt x="208" y="104"/>
                        <a:pt x="207" y="105"/>
                      </a:cubicBezTo>
                      <a:cubicBezTo>
                        <a:pt x="207" y="105"/>
                        <a:pt x="206" y="106"/>
                        <a:pt x="206" y="10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6" name="Freeform 142">
                  <a:extLst>
                    <a:ext uri="{FF2B5EF4-FFF2-40B4-BE49-F238E27FC236}">
                      <a16:creationId xmlns:a16="http://schemas.microsoft.com/office/drawing/2014/main" id="{0939A836-8992-2C4D-86C2-422BE677A10C}"/>
                    </a:ext>
                  </a:extLst>
                </p:cNvPr>
                <p:cNvSpPr>
                  <a:spLocks/>
                </p:cNvSpPr>
                <p:nvPr/>
              </p:nvSpPr>
              <p:spPr bwMode="auto">
                <a:xfrm>
                  <a:off x="6070062" y="3574309"/>
                  <a:ext cx="437467" cy="167244"/>
                </a:xfrm>
                <a:custGeom>
                  <a:avLst/>
                  <a:gdLst>
                    <a:gd name="T0" fmla="*/ 93 w 94"/>
                    <a:gd name="T1" fmla="*/ 36 h 36"/>
                    <a:gd name="T2" fmla="*/ 92 w 94"/>
                    <a:gd name="T3" fmla="*/ 36 h 36"/>
                    <a:gd name="T4" fmla="*/ 1 w 94"/>
                    <a:gd name="T5" fmla="*/ 3 h 36"/>
                    <a:gd name="T6" fmla="*/ 0 w 94"/>
                    <a:gd name="T7" fmla="*/ 1 h 36"/>
                    <a:gd name="T8" fmla="*/ 2 w 94"/>
                    <a:gd name="T9" fmla="*/ 0 h 36"/>
                    <a:gd name="T10" fmla="*/ 93 w 94"/>
                    <a:gd name="T11" fmla="*/ 33 h 36"/>
                    <a:gd name="T12" fmla="*/ 94 w 94"/>
                    <a:gd name="T13" fmla="*/ 35 h 36"/>
                    <a:gd name="T14" fmla="*/ 93 w 94"/>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36">
                      <a:moveTo>
                        <a:pt x="93" y="36"/>
                      </a:moveTo>
                      <a:cubicBezTo>
                        <a:pt x="93" y="36"/>
                        <a:pt x="93" y="36"/>
                        <a:pt x="92" y="36"/>
                      </a:cubicBezTo>
                      <a:cubicBezTo>
                        <a:pt x="1" y="3"/>
                        <a:pt x="1" y="3"/>
                        <a:pt x="1" y="3"/>
                      </a:cubicBezTo>
                      <a:cubicBezTo>
                        <a:pt x="0" y="3"/>
                        <a:pt x="0" y="2"/>
                        <a:pt x="0" y="1"/>
                      </a:cubicBezTo>
                      <a:cubicBezTo>
                        <a:pt x="0" y="1"/>
                        <a:pt x="1" y="0"/>
                        <a:pt x="2" y="0"/>
                      </a:cubicBezTo>
                      <a:cubicBezTo>
                        <a:pt x="93" y="33"/>
                        <a:pt x="93" y="33"/>
                        <a:pt x="93" y="33"/>
                      </a:cubicBezTo>
                      <a:cubicBezTo>
                        <a:pt x="94" y="33"/>
                        <a:pt x="94" y="34"/>
                        <a:pt x="94" y="35"/>
                      </a:cubicBezTo>
                      <a:cubicBezTo>
                        <a:pt x="94" y="36"/>
                        <a:pt x="94" y="36"/>
                        <a:pt x="93" y="3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7" name="Freeform 143">
                  <a:extLst>
                    <a:ext uri="{FF2B5EF4-FFF2-40B4-BE49-F238E27FC236}">
                      <a16:creationId xmlns:a16="http://schemas.microsoft.com/office/drawing/2014/main" id="{61CE42A7-BD61-8C4B-B2A0-9EBE5AAA8FB9}"/>
                    </a:ext>
                  </a:extLst>
                </p:cNvPr>
                <p:cNvSpPr>
                  <a:spLocks/>
                </p:cNvSpPr>
                <p:nvPr/>
              </p:nvSpPr>
              <p:spPr bwMode="auto">
                <a:xfrm>
                  <a:off x="2996961" y="3253759"/>
                  <a:ext cx="236928" cy="1083213"/>
                </a:xfrm>
                <a:custGeom>
                  <a:avLst/>
                  <a:gdLst>
                    <a:gd name="T0" fmla="*/ 50 w 51"/>
                    <a:gd name="T1" fmla="*/ 233 h 233"/>
                    <a:gd name="T2" fmla="*/ 48 w 51"/>
                    <a:gd name="T3" fmla="*/ 232 h 233"/>
                    <a:gd name="T4" fmla="*/ 0 w 51"/>
                    <a:gd name="T5" fmla="*/ 2 h 233"/>
                    <a:gd name="T6" fmla="*/ 1 w 51"/>
                    <a:gd name="T7" fmla="*/ 0 h 233"/>
                    <a:gd name="T8" fmla="*/ 3 w 51"/>
                    <a:gd name="T9" fmla="*/ 1 h 233"/>
                    <a:gd name="T10" fmla="*/ 51 w 51"/>
                    <a:gd name="T11" fmla="*/ 232 h 233"/>
                    <a:gd name="T12" fmla="*/ 50 w 51"/>
                    <a:gd name="T13" fmla="*/ 233 h 233"/>
                    <a:gd name="T14" fmla="*/ 50 w 51"/>
                    <a:gd name="T15" fmla="*/ 233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33">
                      <a:moveTo>
                        <a:pt x="50" y="233"/>
                      </a:moveTo>
                      <a:cubicBezTo>
                        <a:pt x="49" y="233"/>
                        <a:pt x="48" y="233"/>
                        <a:pt x="48" y="232"/>
                      </a:cubicBezTo>
                      <a:cubicBezTo>
                        <a:pt x="0" y="2"/>
                        <a:pt x="0" y="2"/>
                        <a:pt x="0" y="2"/>
                      </a:cubicBezTo>
                      <a:cubicBezTo>
                        <a:pt x="0" y="1"/>
                        <a:pt x="1" y="0"/>
                        <a:pt x="1" y="0"/>
                      </a:cubicBezTo>
                      <a:cubicBezTo>
                        <a:pt x="2" y="0"/>
                        <a:pt x="3" y="0"/>
                        <a:pt x="3" y="1"/>
                      </a:cubicBezTo>
                      <a:cubicBezTo>
                        <a:pt x="51" y="232"/>
                        <a:pt x="51" y="232"/>
                        <a:pt x="51" y="232"/>
                      </a:cubicBezTo>
                      <a:cubicBezTo>
                        <a:pt x="51" y="232"/>
                        <a:pt x="51" y="233"/>
                        <a:pt x="50" y="233"/>
                      </a:cubicBezTo>
                      <a:cubicBezTo>
                        <a:pt x="50" y="233"/>
                        <a:pt x="50" y="233"/>
                        <a:pt x="50" y="23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8" name="Freeform 144">
                  <a:extLst>
                    <a:ext uri="{FF2B5EF4-FFF2-40B4-BE49-F238E27FC236}">
                      <a16:creationId xmlns:a16="http://schemas.microsoft.com/office/drawing/2014/main" id="{2263F626-D7E7-6C40-8F8D-F38EDE0C8ED7}"/>
                    </a:ext>
                  </a:extLst>
                </p:cNvPr>
                <p:cNvSpPr>
                  <a:spLocks/>
                </p:cNvSpPr>
                <p:nvPr/>
              </p:nvSpPr>
              <p:spPr bwMode="auto">
                <a:xfrm>
                  <a:off x="6670126" y="4467049"/>
                  <a:ext cx="125432" cy="278739"/>
                </a:xfrm>
                <a:custGeom>
                  <a:avLst/>
                  <a:gdLst>
                    <a:gd name="T0" fmla="*/ 2 w 27"/>
                    <a:gd name="T1" fmla="*/ 60 h 60"/>
                    <a:gd name="T2" fmla="*/ 1 w 27"/>
                    <a:gd name="T3" fmla="*/ 60 h 60"/>
                    <a:gd name="T4" fmla="*/ 0 w 27"/>
                    <a:gd name="T5" fmla="*/ 58 h 60"/>
                    <a:gd name="T6" fmla="*/ 24 w 27"/>
                    <a:gd name="T7" fmla="*/ 1 h 60"/>
                    <a:gd name="T8" fmla="*/ 26 w 27"/>
                    <a:gd name="T9" fmla="*/ 0 h 60"/>
                    <a:gd name="T10" fmla="*/ 27 w 27"/>
                    <a:gd name="T11" fmla="*/ 2 h 60"/>
                    <a:gd name="T12" fmla="*/ 3 w 27"/>
                    <a:gd name="T13" fmla="*/ 60 h 60"/>
                    <a:gd name="T14" fmla="*/ 2 w 27"/>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60">
                      <a:moveTo>
                        <a:pt x="2" y="60"/>
                      </a:moveTo>
                      <a:cubicBezTo>
                        <a:pt x="1" y="60"/>
                        <a:pt x="1" y="60"/>
                        <a:pt x="1" y="60"/>
                      </a:cubicBezTo>
                      <a:cubicBezTo>
                        <a:pt x="0" y="60"/>
                        <a:pt x="0" y="59"/>
                        <a:pt x="0" y="58"/>
                      </a:cubicBezTo>
                      <a:cubicBezTo>
                        <a:pt x="24" y="1"/>
                        <a:pt x="24" y="1"/>
                        <a:pt x="24" y="1"/>
                      </a:cubicBezTo>
                      <a:cubicBezTo>
                        <a:pt x="25" y="0"/>
                        <a:pt x="26" y="0"/>
                        <a:pt x="26" y="0"/>
                      </a:cubicBezTo>
                      <a:cubicBezTo>
                        <a:pt x="27" y="1"/>
                        <a:pt x="27" y="2"/>
                        <a:pt x="27" y="2"/>
                      </a:cubicBezTo>
                      <a:cubicBezTo>
                        <a:pt x="3" y="60"/>
                        <a:pt x="3" y="60"/>
                        <a:pt x="3" y="60"/>
                      </a:cubicBezTo>
                      <a:cubicBezTo>
                        <a:pt x="3" y="60"/>
                        <a:pt x="2" y="60"/>
                        <a:pt x="2" y="6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9" name="Freeform 145">
                  <a:extLst>
                    <a:ext uri="{FF2B5EF4-FFF2-40B4-BE49-F238E27FC236}">
                      <a16:creationId xmlns:a16="http://schemas.microsoft.com/office/drawing/2014/main" id="{0EE24EFB-4179-6D4B-AAEA-C70359162EE4}"/>
                    </a:ext>
                  </a:extLst>
                </p:cNvPr>
                <p:cNvSpPr>
                  <a:spLocks/>
                </p:cNvSpPr>
                <p:nvPr/>
              </p:nvSpPr>
              <p:spPr bwMode="auto">
                <a:xfrm>
                  <a:off x="6595795" y="3801946"/>
                  <a:ext cx="195118" cy="469986"/>
                </a:xfrm>
                <a:custGeom>
                  <a:avLst/>
                  <a:gdLst>
                    <a:gd name="T0" fmla="*/ 40 w 42"/>
                    <a:gd name="T1" fmla="*/ 101 h 101"/>
                    <a:gd name="T2" fmla="*/ 39 w 42"/>
                    <a:gd name="T3" fmla="*/ 100 h 101"/>
                    <a:gd name="T4" fmla="*/ 0 w 42"/>
                    <a:gd name="T5" fmla="*/ 2 h 101"/>
                    <a:gd name="T6" fmla="*/ 1 w 42"/>
                    <a:gd name="T7" fmla="*/ 1 h 101"/>
                    <a:gd name="T8" fmla="*/ 3 w 42"/>
                    <a:gd name="T9" fmla="*/ 2 h 101"/>
                    <a:gd name="T10" fmla="*/ 42 w 42"/>
                    <a:gd name="T11" fmla="*/ 99 h 101"/>
                    <a:gd name="T12" fmla="*/ 41 w 42"/>
                    <a:gd name="T13" fmla="*/ 101 h 101"/>
                    <a:gd name="T14" fmla="*/ 40 w 42"/>
                    <a:gd name="T15" fmla="*/ 101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01">
                      <a:moveTo>
                        <a:pt x="40" y="101"/>
                      </a:moveTo>
                      <a:cubicBezTo>
                        <a:pt x="40" y="101"/>
                        <a:pt x="39" y="100"/>
                        <a:pt x="39" y="100"/>
                      </a:cubicBezTo>
                      <a:cubicBezTo>
                        <a:pt x="0" y="2"/>
                        <a:pt x="0" y="2"/>
                        <a:pt x="0" y="2"/>
                      </a:cubicBezTo>
                      <a:cubicBezTo>
                        <a:pt x="0" y="2"/>
                        <a:pt x="0" y="1"/>
                        <a:pt x="1" y="1"/>
                      </a:cubicBezTo>
                      <a:cubicBezTo>
                        <a:pt x="2" y="0"/>
                        <a:pt x="3" y="1"/>
                        <a:pt x="3" y="2"/>
                      </a:cubicBezTo>
                      <a:cubicBezTo>
                        <a:pt x="42" y="99"/>
                        <a:pt x="42" y="99"/>
                        <a:pt x="42" y="99"/>
                      </a:cubicBezTo>
                      <a:cubicBezTo>
                        <a:pt x="42" y="100"/>
                        <a:pt x="42" y="100"/>
                        <a:pt x="41" y="101"/>
                      </a:cubicBezTo>
                      <a:cubicBezTo>
                        <a:pt x="41" y="101"/>
                        <a:pt x="40" y="101"/>
                        <a:pt x="40" y="101"/>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0" name="Freeform 146">
                  <a:extLst>
                    <a:ext uri="{FF2B5EF4-FFF2-40B4-BE49-F238E27FC236}">
                      <a16:creationId xmlns:a16="http://schemas.microsoft.com/office/drawing/2014/main" id="{717EFB75-D83D-0C4A-B9E1-35C6B392B9DC}"/>
                    </a:ext>
                  </a:extLst>
                </p:cNvPr>
                <p:cNvSpPr>
                  <a:spLocks/>
                </p:cNvSpPr>
                <p:nvPr/>
              </p:nvSpPr>
              <p:spPr bwMode="auto">
                <a:xfrm>
                  <a:off x="6400678" y="2565427"/>
                  <a:ext cx="78976" cy="497085"/>
                </a:xfrm>
                <a:custGeom>
                  <a:avLst/>
                  <a:gdLst>
                    <a:gd name="T0" fmla="*/ 16 w 17"/>
                    <a:gd name="T1" fmla="*/ 107 h 107"/>
                    <a:gd name="T2" fmla="*/ 14 w 17"/>
                    <a:gd name="T3" fmla="*/ 106 h 107"/>
                    <a:gd name="T4" fmla="*/ 0 w 17"/>
                    <a:gd name="T5" fmla="*/ 2 h 107"/>
                    <a:gd name="T6" fmla="*/ 1 w 17"/>
                    <a:gd name="T7" fmla="*/ 0 h 107"/>
                    <a:gd name="T8" fmla="*/ 2 w 17"/>
                    <a:gd name="T9" fmla="*/ 1 h 107"/>
                    <a:gd name="T10" fmla="*/ 17 w 17"/>
                    <a:gd name="T11" fmla="*/ 105 h 107"/>
                    <a:gd name="T12" fmla="*/ 16 w 17"/>
                    <a:gd name="T13" fmla="*/ 107 h 107"/>
                    <a:gd name="T14" fmla="*/ 16 w 17"/>
                    <a:gd name="T15" fmla="*/ 107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7">
                      <a:moveTo>
                        <a:pt x="16" y="107"/>
                      </a:moveTo>
                      <a:cubicBezTo>
                        <a:pt x="15" y="107"/>
                        <a:pt x="14" y="106"/>
                        <a:pt x="14" y="106"/>
                      </a:cubicBezTo>
                      <a:cubicBezTo>
                        <a:pt x="0" y="2"/>
                        <a:pt x="0" y="2"/>
                        <a:pt x="0" y="2"/>
                      </a:cubicBezTo>
                      <a:cubicBezTo>
                        <a:pt x="0" y="1"/>
                        <a:pt x="0" y="0"/>
                        <a:pt x="1" y="0"/>
                      </a:cubicBezTo>
                      <a:cubicBezTo>
                        <a:pt x="2" y="0"/>
                        <a:pt x="2" y="0"/>
                        <a:pt x="2" y="1"/>
                      </a:cubicBezTo>
                      <a:cubicBezTo>
                        <a:pt x="17" y="105"/>
                        <a:pt x="17" y="105"/>
                        <a:pt x="17" y="105"/>
                      </a:cubicBezTo>
                      <a:cubicBezTo>
                        <a:pt x="17" y="106"/>
                        <a:pt x="17" y="107"/>
                        <a:pt x="16" y="107"/>
                      </a:cubicBezTo>
                      <a:cubicBezTo>
                        <a:pt x="16" y="107"/>
                        <a:pt x="16" y="107"/>
                        <a:pt x="16" y="10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1" name="Freeform 147">
                  <a:extLst>
                    <a:ext uri="{FF2B5EF4-FFF2-40B4-BE49-F238E27FC236}">
                      <a16:creationId xmlns:a16="http://schemas.microsoft.com/office/drawing/2014/main" id="{1020E4FB-2E72-DC45-A75D-192F72C9D8CB}"/>
                    </a:ext>
                  </a:extLst>
                </p:cNvPr>
                <p:cNvSpPr>
                  <a:spLocks/>
                </p:cNvSpPr>
                <p:nvPr/>
              </p:nvSpPr>
              <p:spPr bwMode="auto">
                <a:xfrm>
                  <a:off x="6423906" y="2025756"/>
                  <a:ext cx="418109" cy="539671"/>
                </a:xfrm>
                <a:custGeom>
                  <a:avLst/>
                  <a:gdLst>
                    <a:gd name="T0" fmla="*/ 1 w 90"/>
                    <a:gd name="T1" fmla="*/ 116 h 116"/>
                    <a:gd name="T2" fmla="*/ 1 w 90"/>
                    <a:gd name="T3" fmla="*/ 116 h 116"/>
                    <a:gd name="T4" fmla="*/ 0 w 90"/>
                    <a:gd name="T5" fmla="*/ 114 h 116"/>
                    <a:gd name="T6" fmla="*/ 87 w 90"/>
                    <a:gd name="T7" fmla="*/ 1 h 116"/>
                    <a:gd name="T8" fmla="*/ 89 w 90"/>
                    <a:gd name="T9" fmla="*/ 0 h 116"/>
                    <a:gd name="T10" fmla="*/ 89 w 90"/>
                    <a:gd name="T11" fmla="*/ 2 h 116"/>
                    <a:gd name="T12" fmla="*/ 2 w 90"/>
                    <a:gd name="T13" fmla="*/ 115 h 116"/>
                    <a:gd name="T14" fmla="*/ 1 w 90"/>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116">
                      <a:moveTo>
                        <a:pt x="1" y="116"/>
                      </a:moveTo>
                      <a:cubicBezTo>
                        <a:pt x="1" y="116"/>
                        <a:pt x="1" y="116"/>
                        <a:pt x="1" y="116"/>
                      </a:cubicBezTo>
                      <a:cubicBezTo>
                        <a:pt x="0" y="115"/>
                        <a:pt x="0" y="114"/>
                        <a:pt x="0" y="114"/>
                      </a:cubicBezTo>
                      <a:cubicBezTo>
                        <a:pt x="87" y="1"/>
                        <a:pt x="87" y="1"/>
                        <a:pt x="87" y="1"/>
                      </a:cubicBezTo>
                      <a:cubicBezTo>
                        <a:pt x="87" y="0"/>
                        <a:pt x="88" y="0"/>
                        <a:pt x="89" y="0"/>
                      </a:cubicBezTo>
                      <a:cubicBezTo>
                        <a:pt x="89" y="1"/>
                        <a:pt x="90" y="2"/>
                        <a:pt x="89" y="2"/>
                      </a:cubicBezTo>
                      <a:cubicBezTo>
                        <a:pt x="2" y="115"/>
                        <a:pt x="2" y="115"/>
                        <a:pt x="2" y="115"/>
                      </a:cubicBezTo>
                      <a:cubicBezTo>
                        <a:pt x="2" y="116"/>
                        <a:pt x="2" y="116"/>
                        <a:pt x="1" y="11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2" name="Freeform 148">
                  <a:extLst>
                    <a:ext uri="{FF2B5EF4-FFF2-40B4-BE49-F238E27FC236}">
                      <a16:creationId xmlns:a16="http://schemas.microsoft.com/office/drawing/2014/main" id="{21CCA1B3-C5F7-E648-991C-74F5493AEF3C}"/>
                    </a:ext>
                  </a:extLst>
                </p:cNvPr>
                <p:cNvSpPr>
                  <a:spLocks/>
                </p:cNvSpPr>
                <p:nvPr/>
              </p:nvSpPr>
              <p:spPr bwMode="auto">
                <a:xfrm>
                  <a:off x="6930282" y="2058276"/>
                  <a:ext cx="102205" cy="372427"/>
                </a:xfrm>
                <a:custGeom>
                  <a:avLst/>
                  <a:gdLst>
                    <a:gd name="T0" fmla="*/ 20 w 22"/>
                    <a:gd name="T1" fmla="*/ 80 h 80"/>
                    <a:gd name="T2" fmla="*/ 19 w 22"/>
                    <a:gd name="T3" fmla="*/ 79 h 80"/>
                    <a:gd name="T4" fmla="*/ 0 w 22"/>
                    <a:gd name="T5" fmla="*/ 1 h 80"/>
                    <a:gd name="T6" fmla="*/ 1 w 22"/>
                    <a:gd name="T7" fmla="*/ 0 h 80"/>
                    <a:gd name="T8" fmla="*/ 3 w 22"/>
                    <a:gd name="T9" fmla="*/ 1 h 80"/>
                    <a:gd name="T10" fmla="*/ 22 w 22"/>
                    <a:gd name="T11" fmla="*/ 78 h 80"/>
                    <a:gd name="T12" fmla="*/ 21 w 22"/>
                    <a:gd name="T13" fmla="*/ 80 h 80"/>
                    <a:gd name="T14" fmla="*/ 20 w 22"/>
                    <a:gd name="T15" fmla="*/ 8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80">
                      <a:moveTo>
                        <a:pt x="20" y="80"/>
                      </a:moveTo>
                      <a:cubicBezTo>
                        <a:pt x="20" y="80"/>
                        <a:pt x="19" y="79"/>
                        <a:pt x="19" y="79"/>
                      </a:cubicBezTo>
                      <a:cubicBezTo>
                        <a:pt x="0" y="1"/>
                        <a:pt x="0" y="1"/>
                        <a:pt x="0" y="1"/>
                      </a:cubicBezTo>
                      <a:cubicBezTo>
                        <a:pt x="0" y="1"/>
                        <a:pt x="1" y="0"/>
                        <a:pt x="1" y="0"/>
                      </a:cubicBezTo>
                      <a:cubicBezTo>
                        <a:pt x="2" y="0"/>
                        <a:pt x="3" y="0"/>
                        <a:pt x="3" y="1"/>
                      </a:cubicBezTo>
                      <a:cubicBezTo>
                        <a:pt x="22" y="78"/>
                        <a:pt x="22" y="78"/>
                        <a:pt x="22" y="78"/>
                      </a:cubicBezTo>
                      <a:cubicBezTo>
                        <a:pt x="22" y="79"/>
                        <a:pt x="21" y="79"/>
                        <a:pt x="21" y="80"/>
                      </a:cubicBezTo>
                      <a:cubicBezTo>
                        <a:pt x="21" y="80"/>
                        <a:pt x="20" y="80"/>
                        <a:pt x="20" y="8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3" name="Freeform 149">
                  <a:extLst>
                    <a:ext uri="{FF2B5EF4-FFF2-40B4-BE49-F238E27FC236}">
                      <a16:creationId xmlns:a16="http://schemas.microsoft.com/office/drawing/2014/main" id="{1C0CD06F-B327-6048-B39F-4591B5FD5355}"/>
                    </a:ext>
                  </a:extLst>
                </p:cNvPr>
                <p:cNvSpPr>
                  <a:spLocks/>
                </p:cNvSpPr>
                <p:nvPr/>
              </p:nvSpPr>
              <p:spPr bwMode="auto">
                <a:xfrm>
                  <a:off x="6725874" y="1351362"/>
                  <a:ext cx="301968" cy="92913"/>
                </a:xfrm>
                <a:custGeom>
                  <a:avLst/>
                  <a:gdLst>
                    <a:gd name="T0" fmla="*/ 2 w 65"/>
                    <a:gd name="T1" fmla="*/ 20 h 20"/>
                    <a:gd name="T2" fmla="*/ 0 w 65"/>
                    <a:gd name="T3" fmla="*/ 19 h 20"/>
                    <a:gd name="T4" fmla="*/ 1 w 65"/>
                    <a:gd name="T5" fmla="*/ 17 h 20"/>
                    <a:gd name="T6" fmla="*/ 63 w 65"/>
                    <a:gd name="T7" fmla="*/ 0 h 20"/>
                    <a:gd name="T8" fmla="*/ 64 w 65"/>
                    <a:gd name="T9" fmla="*/ 1 h 20"/>
                    <a:gd name="T10" fmla="*/ 63 w 65"/>
                    <a:gd name="T11" fmla="*/ 3 h 20"/>
                    <a:gd name="T12" fmla="*/ 2 w 65"/>
                    <a:gd name="T13" fmla="*/ 20 h 20"/>
                    <a:gd name="T14" fmla="*/ 2 w 65"/>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0">
                      <a:moveTo>
                        <a:pt x="2" y="20"/>
                      </a:moveTo>
                      <a:cubicBezTo>
                        <a:pt x="1" y="20"/>
                        <a:pt x="1" y="19"/>
                        <a:pt x="0" y="19"/>
                      </a:cubicBezTo>
                      <a:cubicBezTo>
                        <a:pt x="0" y="18"/>
                        <a:pt x="1" y="17"/>
                        <a:pt x="1" y="17"/>
                      </a:cubicBezTo>
                      <a:cubicBezTo>
                        <a:pt x="63" y="0"/>
                        <a:pt x="63" y="0"/>
                        <a:pt x="63" y="0"/>
                      </a:cubicBezTo>
                      <a:cubicBezTo>
                        <a:pt x="63" y="0"/>
                        <a:pt x="64" y="1"/>
                        <a:pt x="64" y="1"/>
                      </a:cubicBezTo>
                      <a:cubicBezTo>
                        <a:pt x="65" y="2"/>
                        <a:pt x="64" y="3"/>
                        <a:pt x="63" y="3"/>
                      </a:cubicBezTo>
                      <a:cubicBezTo>
                        <a:pt x="2" y="20"/>
                        <a:pt x="2" y="20"/>
                        <a:pt x="2" y="20"/>
                      </a:cubicBezTo>
                      <a:cubicBezTo>
                        <a:pt x="2" y="20"/>
                        <a:pt x="2" y="20"/>
                        <a:pt x="2" y="2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4" name="Freeform 150">
                  <a:extLst>
                    <a:ext uri="{FF2B5EF4-FFF2-40B4-BE49-F238E27FC236}">
                      <a16:creationId xmlns:a16="http://schemas.microsoft.com/office/drawing/2014/main" id="{50890228-9D4C-0840-A475-894CD3CF11B4}"/>
                    </a:ext>
                  </a:extLst>
                </p:cNvPr>
                <p:cNvSpPr>
                  <a:spLocks/>
                </p:cNvSpPr>
                <p:nvPr/>
              </p:nvSpPr>
              <p:spPr bwMode="auto">
                <a:xfrm>
                  <a:off x="6567922" y="1035457"/>
                  <a:ext cx="120787" cy="380944"/>
                </a:xfrm>
                <a:custGeom>
                  <a:avLst/>
                  <a:gdLst>
                    <a:gd name="T0" fmla="*/ 25 w 26"/>
                    <a:gd name="T1" fmla="*/ 82 h 82"/>
                    <a:gd name="T2" fmla="*/ 24 w 26"/>
                    <a:gd name="T3" fmla="*/ 81 h 82"/>
                    <a:gd name="T4" fmla="*/ 0 w 26"/>
                    <a:gd name="T5" fmla="*/ 2 h 82"/>
                    <a:gd name="T6" fmla="*/ 1 w 26"/>
                    <a:gd name="T7" fmla="*/ 0 h 82"/>
                    <a:gd name="T8" fmla="*/ 2 w 26"/>
                    <a:gd name="T9" fmla="*/ 1 h 82"/>
                    <a:gd name="T10" fmla="*/ 26 w 26"/>
                    <a:gd name="T11" fmla="*/ 81 h 82"/>
                    <a:gd name="T12" fmla="*/ 25 w 26"/>
                    <a:gd name="T13" fmla="*/ 82 h 82"/>
                    <a:gd name="T14" fmla="*/ 25 w 26"/>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82">
                      <a:moveTo>
                        <a:pt x="25" y="82"/>
                      </a:moveTo>
                      <a:cubicBezTo>
                        <a:pt x="24" y="82"/>
                        <a:pt x="24" y="82"/>
                        <a:pt x="24" y="81"/>
                      </a:cubicBezTo>
                      <a:cubicBezTo>
                        <a:pt x="0" y="2"/>
                        <a:pt x="0" y="2"/>
                        <a:pt x="0" y="2"/>
                      </a:cubicBezTo>
                      <a:cubicBezTo>
                        <a:pt x="0" y="1"/>
                        <a:pt x="0" y="1"/>
                        <a:pt x="1" y="0"/>
                      </a:cubicBezTo>
                      <a:cubicBezTo>
                        <a:pt x="1" y="0"/>
                        <a:pt x="2" y="1"/>
                        <a:pt x="2" y="1"/>
                      </a:cubicBezTo>
                      <a:cubicBezTo>
                        <a:pt x="26" y="81"/>
                        <a:pt x="26" y="81"/>
                        <a:pt x="26" y="81"/>
                      </a:cubicBezTo>
                      <a:cubicBezTo>
                        <a:pt x="26" y="81"/>
                        <a:pt x="26" y="82"/>
                        <a:pt x="25" y="82"/>
                      </a:cubicBezTo>
                      <a:cubicBezTo>
                        <a:pt x="25" y="82"/>
                        <a:pt x="25" y="82"/>
                        <a:pt x="25" y="8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5" name="Freeform 151">
                  <a:extLst>
                    <a:ext uri="{FF2B5EF4-FFF2-40B4-BE49-F238E27FC236}">
                      <a16:creationId xmlns:a16="http://schemas.microsoft.com/office/drawing/2014/main" id="{D1C4D235-5AAB-3944-9FB2-C38CF9E275AD}"/>
                    </a:ext>
                  </a:extLst>
                </p:cNvPr>
                <p:cNvSpPr>
                  <a:spLocks/>
                </p:cNvSpPr>
                <p:nvPr/>
              </p:nvSpPr>
              <p:spPr bwMode="auto">
                <a:xfrm>
                  <a:off x="6153683" y="574763"/>
                  <a:ext cx="279514" cy="186601"/>
                </a:xfrm>
                <a:custGeom>
                  <a:avLst/>
                  <a:gdLst>
                    <a:gd name="T0" fmla="*/ 58 w 60"/>
                    <a:gd name="T1" fmla="*/ 40 h 40"/>
                    <a:gd name="T2" fmla="*/ 57 w 60"/>
                    <a:gd name="T3" fmla="*/ 40 h 40"/>
                    <a:gd name="T4" fmla="*/ 1 w 60"/>
                    <a:gd name="T5" fmla="*/ 2 h 40"/>
                    <a:gd name="T6" fmla="*/ 1 w 60"/>
                    <a:gd name="T7" fmla="*/ 1 h 40"/>
                    <a:gd name="T8" fmla="*/ 3 w 60"/>
                    <a:gd name="T9" fmla="*/ 0 h 40"/>
                    <a:gd name="T10" fmla="*/ 59 w 60"/>
                    <a:gd name="T11" fmla="*/ 38 h 40"/>
                    <a:gd name="T12" fmla="*/ 59 w 60"/>
                    <a:gd name="T13" fmla="*/ 39 h 40"/>
                    <a:gd name="T14" fmla="*/ 58 w 60"/>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40">
                      <a:moveTo>
                        <a:pt x="58" y="40"/>
                      </a:moveTo>
                      <a:cubicBezTo>
                        <a:pt x="58" y="40"/>
                        <a:pt x="57" y="40"/>
                        <a:pt x="57" y="40"/>
                      </a:cubicBezTo>
                      <a:cubicBezTo>
                        <a:pt x="1" y="2"/>
                        <a:pt x="1" y="2"/>
                        <a:pt x="1" y="2"/>
                      </a:cubicBezTo>
                      <a:cubicBezTo>
                        <a:pt x="1" y="2"/>
                        <a:pt x="0" y="1"/>
                        <a:pt x="1" y="1"/>
                      </a:cubicBezTo>
                      <a:cubicBezTo>
                        <a:pt x="1" y="0"/>
                        <a:pt x="2" y="0"/>
                        <a:pt x="3" y="0"/>
                      </a:cubicBezTo>
                      <a:cubicBezTo>
                        <a:pt x="59" y="38"/>
                        <a:pt x="59" y="38"/>
                        <a:pt x="59" y="38"/>
                      </a:cubicBezTo>
                      <a:cubicBezTo>
                        <a:pt x="59" y="38"/>
                        <a:pt x="60" y="39"/>
                        <a:pt x="59" y="39"/>
                      </a:cubicBezTo>
                      <a:cubicBezTo>
                        <a:pt x="59" y="40"/>
                        <a:pt x="58" y="40"/>
                        <a:pt x="58" y="4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sp>
            <p:nvSpPr>
              <p:cNvPr id="174" name="Freeform 120">
                <a:extLst>
                  <a:ext uri="{FF2B5EF4-FFF2-40B4-BE49-F238E27FC236}">
                    <a16:creationId xmlns:a16="http://schemas.microsoft.com/office/drawing/2014/main" id="{D9126184-BD44-F54A-83AE-EDA3D3390321}"/>
                  </a:ext>
                </a:extLst>
              </p:cNvPr>
              <p:cNvSpPr>
                <a:spLocks/>
              </p:cNvSpPr>
              <p:nvPr/>
            </p:nvSpPr>
            <p:spPr bwMode="auto">
              <a:xfrm>
                <a:off x="5791323" y="4611065"/>
                <a:ext cx="222991" cy="185826"/>
              </a:xfrm>
              <a:custGeom>
                <a:avLst/>
                <a:gdLst>
                  <a:gd name="T0" fmla="*/ 12 w 288"/>
                  <a:gd name="T1" fmla="*/ 240 h 240"/>
                  <a:gd name="T2" fmla="*/ 0 w 288"/>
                  <a:gd name="T3" fmla="*/ 228 h 240"/>
                  <a:gd name="T4" fmla="*/ 276 w 288"/>
                  <a:gd name="T5" fmla="*/ 0 h 240"/>
                  <a:gd name="T6" fmla="*/ 288 w 288"/>
                  <a:gd name="T7" fmla="*/ 12 h 240"/>
                  <a:gd name="T8" fmla="*/ 12 w 288"/>
                  <a:gd name="T9" fmla="*/ 240 h 240"/>
                </a:gdLst>
                <a:ahLst/>
                <a:cxnLst>
                  <a:cxn ang="0">
                    <a:pos x="T0" y="T1"/>
                  </a:cxn>
                  <a:cxn ang="0">
                    <a:pos x="T2" y="T3"/>
                  </a:cxn>
                  <a:cxn ang="0">
                    <a:pos x="T4" y="T5"/>
                  </a:cxn>
                  <a:cxn ang="0">
                    <a:pos x="T6" y="T7"/>
                  </a:cxn>
                  <a:cxn ang="0">
                    <a:pos x="T8" y="T9"/>
                  </a:cxn>
                </a:cxnLst>
                <a:rect l="0" t="0" r="r" b="b"/>
                <a:pathLst>
                  <a:path w="288" h="240">
                    <a:moveTo>
                      <a:pt x="12" y="240"/>
                    </a:moveTo>
                    <a:lnTo>
                      <a:pt x="0" y="228"/>
                    </a:lnTo>
                    <a:lnTo>
                      <a:pt x="276" y="0"/>
                    </a:lnTo>
                    <a:lnTo>
                      <a:pt x="288" y="12"/>
                    </a:lnTo>
                    <a:lnTo>
                      <a:pt x="12" y="24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3" name="Freeform 119">
                <a:extLst>
                  <a:ext uri="{FF2B5EF4-FFF2-40B4-BE49-F238E27FC236}">
                    <a16:creationId xmlns:a16="http://schemas.microsoft.com/office/drawing/2014/main" id="{5B325E40-0600-1043-8E92-98EACCAC0E06}"/>
                  </a:ext>
                </a:extLst>
              </p:cNvPr>
              <p:cNvSpPr>
                <a:spLocks/>
              </p:cNvSpPr>
              <p:nvPr/>
            </p:nvSpPr>
            <p:spPr bwMode="auto">
              <a:xfrm>
                <a:off x="4465762" y="4179019"/>
                <a:ext cx="37166" cy="269448"/>
              </a:xfrm>
              <a:custGeom>
                <a:avLst/>
                <a:gdLst>
                  <a:gd name="T0" fmla="*/ 30 w 48"/>
                  <a:gd name="T1" fmla="*/ 348 h 348"/>
                  <a:gd name="T2" fmla="*/ 0 w 48"/>
                  <a:gd name="T3" fmla="*/ 6 h 348"/>
                  <a:gd name="T4" fmla="*/ 12 w 48"/>
                  <a:gd name="T5" fmla="*/ 0 h 348"/>
                  <a:gd name="T6" fmla="*/ 48 w 48"/>
                  <a:gd name="T7" fmla="*/ 348 h 348"/>
                  <a:gd name="T8" fmla="*/ 30 w 48"/>
                  <a:gd name="T9" fmla="*/ 348 h 348"/>
                </a:gdLst>
                <a:ahLst/>
                <a:cxnLst>
                  <a:cxn ang="0">
                    <a:pos x="T0" y="T1"/>
                  </a:cxn>
                  <a:cxn ang="0">
                    <a:pos x="T2" y="T3"/>
                  </a:cxn>
                  <a:cxn ang="0">
                    <a:pos x="T4" y="T5"/>
                  </a:cxn>
                  <a:cxn ang="0">
                    <a:pos x="T6" y="T7"/>
                  </a:cxn>
                  <a:cxn ang="0">
                    <a:pos x="T8" y="T9"/>
                  </a:cxn>
                </a:cxnLst>
                <a:rect l="0" t="0" r="r" b="b"/>
                <a:pathLst>
                  <a:path w="48" h="348">
                    <a:moveTo>
                      <a:pt x="30" y="348"/>
                    </a:moveTo>
                    <a:lnTo>
                      <a:pt x="0" y="6"/>
                    </a:lnTo>
                    <a:lnTo>
                      <a:pt x="12" y="0"/>
                    </a:lnTo>
                    <a:lnTo>
                      <a:pt x="48" y="348"/>
                    </a:lnTo>
                    <a:lnTo>
                      <a:pt x="30" y="3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grpSp>
      <p:grpSp>
        <p:nvGrpSpPr>
          <p:cNvPr id="10" name="Group 9">
            <a:extLst>
              <a:ext uri="{FF2B5EF4-FFF2-40B4-BE49-F238E27FC236}">
                <a16:creationId xmlns:a16="http://schemas.microsoft.com/office/drawing/2014/main" id="{F5BA07F3-E50D-8A42-9276-98A89D22B8FA}"/>
              </a:ext>
            </a:extLst>
          </p:cNvPr>
          <p:cNvGrpSpPr/>
          <p:nvPr/>
        </p:nvGrpSpPr>
        <p:grpSpPr>
          <a:xfrm>
            <a:off x="618840" y="1071026"/>
            <a:ext cx="4669215" cy="4608492"/>
            <a:chOff x="2638140" y="347126"/>
            <a:chExt cx="4669215" cy="4608492"/>
          </a:xfrm>
        </p:grpSpPr>
        <p:sp>
          <p:nvSpPr>
            <p:cNvPr id="68" name="Freeform 13">
              <a:extLst>
                <a:ext uri="{FF2B5EF4-FFF2-40B4-BE49-F238E27FC236}">
                  <a16:creationId xmlns:a16="http://schemas.microsoft.com/office/drawing/2014/main" id="{B0ED1CA8-A4F3-6346-8435-A89389718E81}"/>
                </a:ext>
              </a:extLst>
            </p:cNvPr>
            <p:cNvSpPr>
              <a:spLocks noEditPoints="1"/>
            </p:cNvSpPr>
            <p:nvPr/>
          </p:nvSpPr>
          <p:spPr bwMode="auto">
            <a:xfrm>
              <a:off x="5107637" y="2370310"/>
              <a:ext cx="363135" cy="367007"/>
            </a:xfrm>
            <a:custGeom>
              <a:avLst/>
              <a:gdLst>
                <a:gd name="T0" fmla="*/ 39 w 78"/>
                <a:gd name="T1" fmla="*/ 79 h 79"/>
                <a:gd name="T2" fmla="*/ 0 w 78"/>
                <a:gd name="T3" fmla="*/ 39 h 79"/>
                <a:gd name="T4" fmla="*/ 39 w 78"/>
                <a:gd name="T5" fmla="*/ 0 h 79"/>
                <a:gd name="T6" fmla="*/ 78 w 78"/>
                <a:gd name="T7" fmla="*/ 39 h 79"/>
                <a:gd name="T8" fmla="*/ 39 w 78"/>
                <a:gd name="T9" fmla="*/ 79 h 79"/>
                <a:gd name="T10" fmla="*/ 39 w 78"/>
                <a:gd name="T11" fmla="*/ 5 h 79"/>
                <a:gd name="T12" fmla="*/ 4 w 78"/>
                <a:gd name="T13" fmla="*/ 39 h 79"/>
                <a:gd name="T14" fmla="*/ 39 w 78"/>
                <a:gd name="T15" fmla="*/ 74 h 79"/>
                <a:gd name="T16" fmla="*/ 74 w 78"/>
                <a:gd name="T17" fmla="*/ 39 h 79"/>
                <a:gd name="T18" fmla="*/ 39 w 78"/>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9">
                  <a:moveTo>
                    <a:pt x="39" y="79"/>
                  </a:moveTo>
                  <a:cubicBezTo>
                    <a:pt x="17" y="79"/>
                    <a:pt x="0" y="61"/>
                    <a:pt x="0" y="39"/>
                  </a:cubicBezTo>
                  <a:cubicBezTo>
                    <a:pt x="0" y="18"/>
                    <a:pt x="17" y="0"/>
                    <a:pt x="39" y="0"/>
                  </a:cubicBezTo>
                  <a:cubicBezTo>
                    <a:pt x="61" y="0"/>
                    <a:pt x="78" y="18"/>
                    <a:pt x="78" y="39"/>
                  </a:cubicBezTo>
                  <a:cubicBezTo>
                    <a:pt x="78" y="61"/>
                    <a:pt x="61" y="79"/>
                    <a:pt x="39" y="79"/>
                  </a:cubicBezTo>
                  <a:close/>
                  <a:moveTo>
                    <a:pt x="39" y="5"/>
                  </a:moveTo>
                  <a:cubicBezTo>
                    <a:pt x="20" y="5"/>
                    <a:pt x="4" y="20"/>
                    <a:pt x="4" y="39"/>
                  </a:cubicBezTo>
                  <a:cubicBezTo>
                    <a:pt x="4" y="58"/>
                    <a:pt x="20" y="74"/>
                    <a:pt x="39" y="74"/>
                  </a:cubicBezTo>
                  <a:cubicBezTo>
                    <a:pt x="58" y="74"/>
                    <a:pt x="74" y="58"/>
                    <a:pt x="74" y="39"/>
                  </a:cubicBezTo>
                  <a:cubicBezTo>
                    <a:pt x="74" y="20"/>
                    <a:pt x="58" y="5"/>
                    <a:pt x="39"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69" name="Freeform 14">
              <a:extLst>
                <a:ext uri="{FF2B5EF4-FFF2-40B4-BE49-F238E27FC236}">
                  <a16:creationId xmlns:a16="http://schemas.microsoft.com/office/drawing/2014/main" id="{B69349FF-7F93-FE4F-8A1A-C8096FAD6C18}"/>
                </a:ext>
              </a:extLst>
            </p:cNvPr>
            <p:cNvSpPr>
              <a:spLocks noEditPoints="1"/>
            </p:cNvSpPr>
            <p:nvPr/>
          </p:nvSpPr>
          <p:spPr bwMode="auto">
            <a:xfrm>
              <a:off x="6391386" y="677742"/>
              <a:ext cx="362361" cy="367007"/>
            </a:xfrm>
            <a:custGeom>
              <a:avLst/>
              <a:gdLst>
                <a:gd name="T0" fmla="*/ 39 w 78"/>
                <a:gd name="T1" fmla="*/ 79 h 79"/>
                <a:gd name="T2" fmla="*/ 0 w 78"/>
                <a:gd name="T3" fmla="*/ 39 h 79"/>
                <a:gd name="T4" fmla="*/ 39 w 78"/>
                <a:gd name="T5" fmla="*/ 0 h 79"/>
                <a:gd name="T6" fmla="*/ 78 w 78"/>
                <a:gd name="T7" fmla="*/ 39 h 79"/>
                <a:gd name="T8" fmla="*/ 39 w 78"/>
                <a:gd name="T9" fmla="*/ 79 h 79"/>
                <a:gd name="T10" fmla="*/ 39 w 78"/>
                <a:gd name="T11" fmla="*/ 5 h 79"/>
                <a:gd name="T12" fmla="*/ 4 w 78"/>
                <a:gd name="T13" fmla="*/ 39 h 79"/>
                <a:gd name="T14" fmla="*/ 39 w 78"/>
                <a:gd name="T15" fmla="*/ 74 h 79"/>
                <a:gd name="T16" fmla="*/ 74 w 78"/>
                <a:gd name="T17" fmla="*/ 39 h 79"/>
                <a:gd name="T18" fmla="*/ 39 w 78"/>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9">
                  <a:moveTo>
                    <a:pt x="39" y="79"/>
                  </a:moveTo>
                  <a:cubicBezTo>
                    <a:pt x="17" y="79"/>
                    <a:pt x="0" y="61"/>
                    <a:pt x="0" y="39"/>
                  </a:cubicBezTo>
                  <a:cubicBezTo>
                    <a:pt x="0" y="18"/>
                    <a:pt x="17" y="0"/>
                    <a:pt x="39" y="0"/>
                  </a:cubicBezTo>
                  <a:cubicBezTo>
                    <a:pt x="61" y="0"/>
                    <a:pt x="78" y="18"/>
                    <a:pt x="78" y="39"/>
                  </a:cubicBezTo>
                  <a:cubicBezTo>
                    <a:pt x="78" y="61"/>
                    <a:pt x="61" y="79"/>
                    <a:pt x="39" y="79"/>
                  </a:cubicBezTo>
                  <a:close/>
                  <a:moveTo>
                    <a:pt x="39" y="5"/>
                  </a:moveTo>
                  <a:cubicBezTo>
                    <a:pt x="20" y="5"/>
                    <a:pt x="4" y="20"/>
                    <a:pt x="4" y="39"/>
                  </a:cubicBezTo>
                  <a:cubicBezTo>
                    <a:pt x="4" y="58"/>
                    <a:pt x="20" y="74"/>
                    <a:pt x="39" y="74"/>
                  </a:cubicBezTo>
                  <a:cubicBezTo>
                    <a:pt x="58" y="74"/>
                    <a:pt x="74" y="58"/>
                    <a:pt x="74" y="39"/>
                  </a:cubicBezTo>
                  <a:cubicBezTo>
                    <a:pt x="74" y="20"/>
                    <a:pt x="58" y="5"/>
                    <a:pt x="39"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0" name="Freeform 16">
              <a:extLst>
                <a:ext uri="{FF2B5EF4-FFF2-40B4-BE49-F238E27FC236}">
                  <a16:creationId xmlns:a16="http://schemas.microsoft.com/office/drawing/2014/main" id="{15C07BC8-6BEB-BF43-95B5-4EEDB5C2793A}"/>
                </a:ext>
              </a:extLst>
            </p:cNvPr>
            <p:cNvSpPr>
              <a:spLocks noEditPoints="1"/>
            </p:cNvSpPr>
            <p:nvPr/>
          </p:nvSpPr>
          <p:spPr bwMode="auto">
            <a:xfrm>
              <a:off x="3442944" y="3374546"/>
              <a:ext cx="367781" cy="367007"/>
            </a:xfrm>
            <a:custGeom>
              <a:avLst/>
              <a:gdLst>
                <a:gd name="T0" fmla="*/ 40 w 79"/>
                <a:gd name="T1" fmla="*/ 79 h 79"/>
                <a:gd name="T2" fmla="*/ 0 w 79"/>
                <a:gd name="T3" fmla="*/ 39 h 79"/>
                <a:gd name="T4" fmla="*/ 40 w 79"/>
                <a:gd name="T5" fmla="*/ 0 h 79"/>
                <a:gd name="T6" fmla="*/ 79 w 79"/>
                <a:gd name="T7" fmla="*/ 39 h 79"/>
                <a:gd name="T8" fmla="*/ 40 w 79"/>
                <a:gd name="T9" fmla="*/ 79 h 79"/>
                <a:gd name="T10" fmla="*/ 40 w 79"/>
                <a:gd name="T11" fmla="*/ 5 h 79"/>
                <a:gd name="T12" fmla="*/ 5 w 79"/>
                <a:gd name="T13" fmla="*/ 39 h 79"/>
                <a:gd name="T14" fmla="*/ 40 w 79"/>
                <a:gd name="T15" fmla="*/ 74 h 79"/>
                <a:gd name="T16" fmla="*/ 74 w 79"/>
                <a:gd name="T17" fmla="*/ 39 h 79"/>
                <a:gd name="T18" fmla="*/ 40 w 79"/>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9">
                  <a:moveTo>
                    <a:pt x="40" y="79"/>
                  </a:moveTo>
                  <a:cubicBezTo>
                    <a:pt x="18" y="79"/>
                    <a:pt x="0" y="61"/>
                    <a:pt x="0" y="39"/>
                  </a:cubicBezTo>
                  <a:cubicBezTo>
                    <a:pt x="0" y="18"/>
                    <a:pt x="18" y="0"/>
                    <a:pt x="40" y="0"/>
                  </a:cubicBezTo>
                  <a:cubicBezTo>
                    <a:pt x="61" y="0"/>
                    <a:pt x="79" y="18"/>
                    <a:pt x="79" y="39"/>
                  </a:cubicBezTo>
                  <a:cubicBezTo>
                    <a:pt x="79" y="61"/>
                    <a:pt x="61" y="79"/>
                    <a:pt x="40" y="79"/>
                  </a:cubicBezTo>
                  <a:close/>
                  <a:moveTo>
                    <a:pt x="40" y="5"/>
                  </a:moveTo>
                  <a:cubicBezTo>
                    <a:pt x="21" y="5"/>
                    <a:pt x="5" y="20"/>
                    <a:pt x="5" y="39"/>
                  </a:cubicBezTo>
                  <a:cubicBezTo>
                    <a:pt x="5" y="58"/>
                    <a:pt x="21" y="74"/>
                    <a:pt x="40" y="74"/>
                  </a:cubicBezTo>
                  <a:cubicBezTo>
                    <a:pt x="59" y="74"/>
                    <a:pt x="74" y="58"/>
                    <a:pt x="74" y="39"/>
                  </a:cubicBezTo>
                  <a:cubicBezTo>
                    <a:pt x="74" y="20"/>
                    <a:pt x="59" y="5"/>
                    <a:pt x="40"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1" name="Freeform 17">
              <a:extLst>
                <a:ext uri="{FF2B5EF4-FFF2-40B4-BE49-F238E27FC236}">
                  <a16:creationId xmlns:a16="http://schemas.microsoft.com/office/drawing/2014/main" id="{7DB7DCF7-ECC8-9B41-B684-3693A8265C3F}"/>
                </a:ext>
              </a:extLst>
            </p:cNvPr>
            <p:cNvSpPr>
              <a:spLocks noEditPoints="1"/>
            </p:cNvSpPr>
            <p:nvPr/>
          </p:nvSpPr>
          <p:spPr bwMode="auto">
            <a:xfrm>
              <a:off x="5912110" y="4281223"/>
              <a:ext cx="367781" cy="362361"/>
            </a:xfrm>
            <a:custGeom>
              <a:avLst/>
              <a:gdLst>
                <a:gd name="T0" fmla="*/ 39 w 79"/>
                <a:gd name="T1" fmla="*/ 78 h 78"/>
                <a:gd name="T2" fmla="*/ 0 w 79"/>
                <a:gd name="T3" fmla="*/ 39 h 78"/>
                <a:gd name="T4" fmla="*/ 39 w 79"/>
                <a:gd name="T5" fmla="*/ 0 h 78"/>
                <a:gd name="T6" fmla="*/ 79 w 79"/>
                <a:gd name="T7" fmla="*/ 39 h 78"/>
                <a:gd name="T8" fmla="*/ 39 w 79"/>
                <a:gd name="T9" fmla="*/ 78 h 78"/>
                <a:gd name="T10" fmla="*/ 39 w 79"/>
                <a:gd name="T11" fmla="*/ 4 h 78"/>
                <a:gd name="T12" fmla="*/ 5 w 79"/>
                <a:gd name="T13" fmla="*/ 39 h 78"/>
                <a:gd name="T14" fmla="*/ 39 w 79"/>
                <a:gd name="T15" fmla="*/ 74 h 78"/>
                <a:gd name="T16" fmla="*/ 74 w 79"/>
                <a:gd name="T17" fmla="*/ 39 h 78"/>
                <a:gd name="T18" fmla="*/ 39 w 79"/>
                <a:gd name="T19"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8">
                  <a:moveTo>
                    <a:pt x="39" y="78"/>
                  </a:moveTo>
                  <a:cubicBezTo>
                    <a:pt x="18" y="78"/>
                    <a:pt x="0" y="61"/>
                    <a:pt x="0" y="39"/>
                  </a:cubicBezTo>
                  <a:cubicBezTo>
                    <a:pt x="0" y="17"/>
                    <a:pt x="18" y="0"/>
                    <a:pt x="39" y="0"/>
                  </a:cubicBezTo>
                  <a:cubicBezTo>
                    <a:pt x="61" y="0"/>
                    <a:pt x="79" y="17"/>
                    <a:pt x="79" y="39"/>
                  </a:cubicBezTo>
                  <a:cubicBezTo>
                    <a:pt x="79" y="61"/>
                    <a:pt x="61" y="78"/>
                    <a:pt x="39" y="78"/>
                  </a:cubicBezTo>
                  <a:close/>
                  <a:moveTo>
                    <a:pt x="39" y="4"/>
                  </a:moveTo>
                  <a:cubicBezTo>
                    <a:pt x="20" y="4"/>
                    <a:pt x="5" y="20"/>
                    <a:pt x="5" y="39"/>
                  </a:cubicBezTo>
                  <a:cubicBezTo>
                    <a:pt x="5" y="58"/>
                    <a:pt x="20" y="74"/>
                    <a:pt x="39" y="74"/>
                  </a:cubicBezTo>
                  <a:cubicBezTo>
                    <a:pt x="58" y="74"/>
                    <a:pt x="74" y="58"/>
                    <a:pt x="74" y="39"/>
                  </a:cubicBezTo>
                  <a:cubicBezTo>
                    <a:pt x="74" y="20"/>
                    <a:pt x="58" y="4"/>
                    <a:pt x="39" y="4"/>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BDD203"/>
                </a:solidFill>
              </a:endParaRPr>
            </a:p>
          </p:txBody>
        </p:sp>
        <p:sp>
          <p:nvSpPr>
            <p:cNvPr id="72" name="Freeform 18">
              <a:extLst>
                <a:ext uri="{FF2B5EF4-FFF2-40B4-BE49-F238E27FC236}">
                  <a16:creationId xmlns:a16="http://schemas.microsoft.com/office/drawing/2014/main" id="{CDD46E17-D295-AE42-9810-28E4B06B6FE6}"/>
                </a:ext>
              </a:extLst>
            </p:cNvPr>
            <p:cNvSpPr>
              <a:spLocks noEditPoints="1"/>
            </p:cNvSpPr>
            <p:nvPr/>
          </p:nvSpPr>
          <p:spPr bwMode="auto">
            <a:xfrm>
              <a:off x="6521465" y="4727206"/>
              <a:ext cx="227637" cy="228412"/>
            </a:xfrm>
            <a:custGeom>
              <a:avLst/>
              <a:gdLst>
                <a:gd name="T0" fmla="*/ 24 w 49"/>
                <a:gd name="T1" fmla="*/ 49 h 49"/>
                <a:gd name="T2" fmla="*/ 0 w 49"/>
                <a:gd name="T3" fmla="*/ 24 h 49"/>
                <a:gd name="T4" fmla="*/ 24 w 49"/>
                <a:gd name="T5" fmla="*/ 0 h 49"/>
                <a:gd name="T6" fmla="*/ 49 w 49"/>
                <a:gd name="T7" fmla="*/ 24 h 49"/>
                <a:gd name="T8" fmla="*/ 24 w 49"/>
                <a:gd name="T9" fmla="*/ 49 h 49"/>
                <a:gd name="T10" fmla="*/ 24 w 49"/>
                <a:gd name="T11" fmla="*/ 3 h 49"/>
                <a:gd name="T12" fmla="*/ 3 w 49"/>
                <a:gd name="T13" fmla="*/ 24 h 49"/>
                <a:gd name="T14" fmla="*/ 24 w 49"/>
                <a:gd name="T15" fmla="*/ 46 h 49"/>
                <a:gd name="T16" fmla="*/ 46 w 49"/>
                <a:gd name="T17" fmla="*/ 24 h 49"/>
                <a:gd name="T18" fmla="*/ 24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4" y="49"/>
                  </a:moveTo>
                  <a:cubicBezTo>
                    <a:pt x="11" y="49"/>
                    <a:pt x="0" y="38"/>
                    <a:pt x="0" y="24"/>
                  </a:cubicBezTo>
                  <a:cubicBezTo>
                    <a:pt x="0" y="11"/>
                    <a:pt x="11" y="0"/>
                    <a:pt x="24" y="0"/>
                  </a:cubicBezTo>
                  <a:cubicBezTo>
                    <a:pt x="38" y="0"/>
                    <a:pt x="49" y="11"/>
                    <a:pt x="49" y="24"/>
                  </a:cubicBezTo>
                  <a:cubicBezTo>
                    <a:pt x="49" y="38"/>
                    <a:pt x="38" y="49"/>
                    <a:pt x="24" y="49"/>
                  </a:cubicBezTo>
                  <a:close/>
                  <a:moveTo>
                    <a:pt x="24" y="3"/>
                  </a:moveTo>
                  <a:cubicBezTo>
                    <a:pt x="12" y="3"/>
                    <a:pt x="3" y="12"/>
                    <a:pt x="3" y="24"/>
                  </a:cubicBezTo>
                  <a:cubicBezTo>
                    <a:pt x="3" y="36"/>
                    <a:pt x="12" y="46"/>
                    <a:pt x="24" y="46"/>
                  </a:cubicBezTo>
                  <a:cubicBezTo>
                    <a:pt x="36" y="46"/>
                    <a:pt x="46" y="36"/>
                    <a:pt x="46" y="24"/>
                  </a:cubicBezTo>
                  <a:cubicBezTo>
                    <a:pt x="46" y="12"/>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3" name="Freeform 19">
              <a:extLst>
                <a:ext uri="{FF2B5EF4-FFF2-40B4-BE49-F238E27FC236}">
                  <a16:creationId xmlns:a16="http://schemas.microsoft.com/office/drawing/2014/main" id="{F1376B6D-B7AC-C34A-9287-49AC0CA2DE49}"/>
                </a:ext>
              </a:extLst>
            </p:cNvPr>
            <p:cNvSpPr>
              <a:spLocks noEditPoints="1"/>
            </p:cNvSpPr>
            <p:nvPr/>
          </p:nvSpPr>
          <p:spPr bwMode="auto">
            <a:xfrm>
              <a:off x="6725874" y="4253349"/>
              <a:ext cx="227637"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4" name="Freeform 20">
              <a:extLst>
                <a:ext uri="{FF2B5EF4-FFF2-40B4-BE49-F238E27FC236}">
                  <a16:creationId xmlns:a16="http://schemas.microsoft.com/office/drawing/2014/main" id="{BBC051F9-01A9-C847-99FE-861355641AFE}"/>
                </a:ext>
              </a:extLst>
            </p:cNvPr>
            <p:cNvSpPr>
              <a:spLocks noEditPoints="1"/>
            </p:cNvSpPr>
            <p:nvPr/>
          </p:nvSpPr>
          <p:spPr bwMode="auto">
            <a:xfrm>
              <a:off x="3117748" y="4327680"/>
              <a:ext cx="227637"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5" name="Freeform 21">
              <a:extLst>
                <a:ext uri="{FF2B5EF4-FFF2-40B4-BE49-F238E27FC236}">
                  <a16:creationId xmlns:a16="http://schemas.microsoft.com/office/drawing/2014/main" id="{7AEA2366-2D9F-BE40-8092-A47F188490A8}"/>
                </a:ext>
              </a:extLst>
            </p:cNvPr>
            <p:cNvSpPr>
              <a:spLocks noEditPoints="1"/>
            </p:cNvSpPr>
            <p:nvPr/>
          </p:nvSpPr>
          <p:spPr bwMode="auto">
            <a:xfrm>
              <a:off x="2810360" y="2048985"/>
              <a:ext cx="228412"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6" name="Freeform 22">
              <a:extLst>
                <a:ext uri="{FF2B5EF4-FFF2-40B4-BE49-F238E27FC236}">
                  <a16:creationId xmlns:a16="http://schemas.microsoft.com/office/drawing/2014/main" id="{BDFFBB2B-3326-BA4D-BC5E-DCA19AFCC786}"/>
                </a:ext>
              </a:extLst>
            </p:cNvPr>
            <p:cNvSpPr>
              <a:spLocks noEditPoints="1"/>
            </p:cNvSpPr>
            <p:nvPr/>
          </p:nvSpPr>
          <p:spPr bwMode="auto">
            <a:xfrm>
              <a:off x="2889336" y="3029993"/>
              <a:ext cx="228412" cy="228412"/>
            </a:xfrm>
            <a:custGeom>
              <a:avLst/>
              <a:gdLst>
                <a:gd name="T0" fmla="*/ 25 w 49"/>
                <a:gd name="T1" fmla="*/ 49 h 49"/>
                <a:gd name="T2" fmla="*/ 0 w 49"/>
                <a:gd name="T3" fmla="*/ 25 h 49"/>
                <a:gd name="T4" fmla="*/ 25 w 49"/>
                <a:gd name="T5" fmla="*/ 0 h 49"/>
                <a:gd name="T6" fmla="*/ 49 w 49"/>
                <a:gd name="T7" fmla="*/ 25 h 49"/>
                <a:gd name="T8" fmla="*/ 25 w 49"/>
                <a:gd name="T9" fmla="*/ 49 h 49"/>
                <a:gd name="T10" fmla="*/ 25 w 49"/>
                <a:gd name="T11" fmla="*/ 3 h 49"/>
                <a:gd name="T12" fmla="*/ 3 w 49"/>
                <a:gd name="T13" fmla="*/ 25 h 49"/>
                <a:gd name="T14" fmla="*/ 25 w 49"/>
                <a:gd name="T15" fmla="*/ 46 h 49"/>
                <a:gd name="T16" fmla="*/ 46 w 49"/>
                <a:gd name="T17" fmla="*/ 25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5"/>
                  </a:cubicBezTo>
                  <a:cubicBezTo>
                    <a:pt x="0" y="11"/>
                    <a:pt x="11" y="0"/>
                    <a:pt x="25" y="0"/>
                  </a:cubicBezTo>
                  <a:cubicBezTo>
                    <a:pt x="38" y="0"/>
                    <a:pt x="49" y="11"/>
                    <a:pt x="49" y="25"/>
                  </a:cubicBezTo>
                  <a:cubicBezTo>
                    <a:pt x="49" y="38"/>
                    <a:pt x="38" y="49"/>
                    <a:pt x="25" y="49"/>
                  </a:cubicBezTo>
                  <a:close/>
                  <a:moveTo>
                    <a:pt x="25" y="3"/>
                  </a:moveTo>
                  <a:cubicBezTo>
                    <a:pt x="13" y="3"/>
                    <a:pt x="3" y="13"/>
                    <a:pt x="3" y="25"/>
                  </a:cubicBezTo>
                  <a:cubicBezTo>
                    <a:pt x="3" y="37"/>
                    <a:pt x="13" y="46"/>
                    <a:pt x="25" y="46"/>
                  </a:cubicBezTo>
                  <a:cubicBezTo>
                    <a:pt x="37" y="46"/>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7" name="Freeform 23">
              <a:extLst>
                <a:ext uri="{FF2B5EF4-FFF2-40B4-BE49-F238E27FC236}">
                  <a16:creationId xmlns:a16="http://schemas.microsoft.com/office/drawing/2014/main" id="{A10DD30C-B17B-A24C-ACCA-BE07D2B16AAA}"/>
                </a:ext>
              </a:extLst>
            </p:cNvPr>
            <p:cNvSpPr>
              <a:spLocks noEditPoints="1"/>
            </p:cNvSpPr>
            <p:nvPr/>
          </p:nvSpPr>
          <p:spPr bwMode="auto">
            <a:xfrm>
              <a:off x="2996961" y="645223"/>
              <a:ext cx="232282" cy="232282"/>
            </a:xfrm>
            <a:custGeom>
              <a:avLst/>
              <a:gdLst>
                <a:gd name="T0" fmla="*/ 25 w 50"/>
                <a:gd name="T1" fmla="*/ 50 h 50"/>
                <a:gd name="T2" fmla="*/ 0 w 50"/>
                <a:gd name="T3" fmla="*/ 25 h 50"/>
                <a:gd name="T4" fmla="*/ 25 w 50"/>
                <a:gd name="T5" fmla="*/ 0 h 50"/>
                <a:gd name="T6" fmla="*/ 50 w 50"/>
                <a:gd name="T7" fmla="*/ 25 h 50"/>
                <a:gd name="T8" fmla="*/ 25 w 50"/>
                <a:gd name="T9" fmla="*/ 50 h 50"/>
                <a:gd name="T10" fmla="*/ 25 w 50"/>
                <a:gd name="T11" fmla="*/ 3 h 50"/>
                <a:gd name="T12" fmla="*/ 3 w 50"/>
                <a:gd name="T13" fmla="*/ 25 h 50"/>
                <a:gd name="T14" fmla="*/ 25 w 50"/>
                <a:gd name="T15" fmla="*/ 47 h 50"/>
                <a:gd name="T16" fmla="*/ 47 w 50"/>
                <a:gd name="T17" fmla="*/ 25 h 50"/>
                <a:gd name="T18" fmla="*/ 25 w 50"/>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50"/>
                  </a:moveTo>
                  <a:cubicBezTo>
                    <a:pt x="11" y="50"/>
                    <a:pt x="0" y="39"/>
                    <a:pt x="0" y="25"/>
                  </a:cubicBezTo>
                  <a:cubicBezTo>
                    <a:pt x="0" y="11"/>
                    <a:pt x="11" y="0"/>
                    <a:pt x="25" y="0"/>
                  </a:cubicBezTo>
                  <a:cubicBezTo>
                    <a:pt x="39" y="0"/>
                    <a:pt x="50" y="11"/>
                    <a:pt x="50" y="25"/>
                  </a:cubicBezTo>
                  <a:cubicBezTo>
                    <a:pt x="50" y="39"/>
                    <a:pt x="39" y="50"/>
                    <a:pt x="25" y="50"/>
                  </a:cubicBezTo>
                  <a:close/>
                  <a:moveTo>
                    <a:pt x="25" y="3"/>
                  </a:moveTo>
                  <a:cubicBezTo>
                    <a:pt x="13" y="3"/>
                    <a:pt x="3" y="13"/>
                    <a:pt x="3" y="25"/>
                  </a:cubicBezTo>
                  <a:cubicBezTo>
                    <a:pt x="3" y="37"/>
                    <a:pt x="13" y="47"/>
                    <a:pt x="25" y="47"/>
                  </a:cubicBezTo>
                  <a:cubicBezTo>
                    <a:pt x="37" y="47"/>
                    <a:pt x="47" y="37"/>
                    <a:pt x="47" y="25"/>
                  </a:cubicBezTo>
                  <a:cubicBezTo>
                    <a:pt x="47"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8" name="Freeform 24">
              <a:extLst>
                <a:ext uri="{FF2B5EF4-FFF2-40B4-BE49-F238E27FC236}">
                  <a16:creationId xmlns:a16="http://schemas.microsoft.com/office/drawing/2014/main" id="{B1C2D8CD-F6EA-A54E-8924-839611DB96E1}"/>
                </a:ext>
              </a:extLst>
            </p:cNvPr>
            <p:cNvSpPr>
              <a:spLocks noEditPoints="1"/>
            </p:cNvSpPr>
            <p:nvPr/>
          </p:nvSpPr>
          <p:spPr bwMode="auto">
            <a:xfrm>
              <a:off x="4759213" y="1221284"/>
              <a:ext cx="227637" cy="232282"/>
            </a:xfrm>
            <a:custGeom>
              <a:avLst/>
              <a:gdLst>
                <a:gd name="T0" fmla="*/ 25 w 49"/>
                <a:gd name="T1" fmla="*/ 50 h 50"/>
                <a:gd name="T2" fmla="*/ 0 w 49"/>
                <a:gd name="T3" fmla="*/ 25 h 50"/>
                <a:gd name="T4" fmla="*/ 25 w 49"/>
                <a:gd name="T5" fmla="*/ 0 h 50"/>
                <a:gd name="T6" fmla="*/ 49 w 49"/>
                <a:gd name="T7" fmla="*/ 25 h 50"/>
                <a:gd name="T8" fmla="*/ 25 w 49"/>
                <a:gd name="T9" fmla="*/ 50 h 50"/>
                <a:gd name="T10" fmla="*/ 25 w 49"/>
                <a:gd name="T11" fmla="*/ 3 h 50"/>
                <a:gd name="T12" fmla="*/ 3 w 49"/>
                <a:gd name="T13" fmla="*/ 25 h 50"/>
                <a:gd name="T14" fmla="*/ 25 w 49"/>
                <a:gd name="T15" fmla="*/ 47 h 50"/>
                <a:gd name="T16" fmla="*/ 46 w 49"/>
                <a:gd name="T17" fmla="*/ 25 h 50"/>
                <a:gd name="T18" fmla="*/ 25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5" y="50"/>
                  </a:moveTo>
                  <a:cubicBezTo>
                    <a:pt x="11" y="50"/>
                    <a:pt x="0" y="39"/>
                    <a:pt x="0" y="25"/>
                  </a:cubicBezTo>
                  <a:cubicBezTo>
                    <a:pt x="0" y="11"/>
                    <a:pt x="11" y="0"/>
                    <a:pt x="25" y="0"/>
                  </a:cubicBezTo>
                  <a:cubicBezTo>
                    <a:pt x="38" y="0"/>
                    <a:pt x="49" y="11"/>
                    <a:pt x="49" y="25"/>
                  </a:cubicBezTo>
                  <a:cubicBezTo>
                    <a:pt x="49" y="39"/>
                    <a:pt x="38" y="50"/>
                    <a:pt x="25" y="50"/>
                  </a:cubicBezTo>
                  <a:close/>
                  <a:moveTo>
                    <a:pt x="25" y="3"/>
                  </a:moveTo>
                  <a:cubicBezTo>
                    <a:pt x="13" y="3"/>
                    <a:pt x="3" y="13"/>
                    <a:pt x="3" y="25"/>
                  </a:cubicBezTo>
                  <a:cubicBezTo>
                    <a:pt x="3" y="37"/>
                    <a:pt x="13" y="47"/>
                    <a:pt x="25" y="47"/>
                  </a:cubicBezTo>
                  <a:cubicBezTo>
                    <a:pt x="37" y="47"/>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9" name="Freeform 25">
              <a:extLst>
                <a:ext uri="{FF2B5EF4-FFF2-40B4-BE49-F238E27FC236}">
                  <a16:creationId xmlns:a16="http://schemas.microsoft.com/office/drawing/2014/main" id="{02E60FA0-A5CD-7F42-A6B0-A598A7C8F6EC}"/>
                </a:ext>
              </a:extLst>
            </p:cNvPr>
            <p:cNvSpPr>
              <a:spLocks noEditPoints="1"/>
            </p:cNvSpPr>
            <p:nvPr/>
          </p:nvSpPr>
          <p:spPr bwMode="auto">
            <a:xfrm>
              <a:off x="6377450" y="3053221"/>
              <a:ext cx="227637" cy="228412"/>
            </a:xfrm>
            <a:custGeom>
              <a:avLst/>
              <a:gdLst>
                <a:gd name="T0" fmla="*/ 25 w 49"/>
                <a:gd name="T1" fmla="*/ 49 h 49"/>
                <a:gd name="T2" fmla="*/ 0 w 49"/>
                <a:gd name="T3" fmla="*/ 24 h 49"/>
                <a:gd name="T4" fmla="*/ 25 w 49"/>
                <a:gd name="T5" fmla="*/ 0 h 49"/>
                <a:gd name="T6" fmla="*/ 49 w 49"/>
                <a:gd name="T7" fmla="*/ 24 h 49"/>
                <a:gd name="T8" fmla="*/ 25 w 49"/>
                <a:gd name="T9" fmla="*/ 49 h 49"/>
                <a:gd name="T10" fmla="*/ 25 w 49"/>
                <a:gd name="T11" fmla="*/ 3 h 49"/>
                <a:gd name="T12" fmla="*/ 3 w 49"/>
                <a:gd name="T13" fmla="*/ 24 h 49"/>
                <a:gd name="T14" fmla="*/ 25 w 49"/>
                <a:gd name="T15" fmla="*/ 46 h 49"/>
                <a:gd name="T16" fmla="*/ 46 w 49"/>
                <a:gd name="T17" fmla="*/ 24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4"/>
                  </a:cubicBezTo>
                  <a:cubicBezTo>
                    <a:pt x="0" y="11"/>
                    <a:pt x="11" y="0"/>
                    <a:pt x="25" y="0"/>
                  </a:cubicBezTo>
                  <a:cubicBezTo>
                    <a:pt x="38" y="0"/>
                    <a:pt x="49" y="11"/>
                    <a:pt x="49" y="24"/>
                  </a:cubicBezTo>
                  <a:cubicBezTo>
                    <a:pt x="49" y="38"/>
                    <a:pt x="38" y="49"/>
                    <a:pt x="25" y="49"/>
                  </a:cubicBezTo>
                  <a:close/>
                  <a:moveTo>
                    <a:pt x="25" y="3"/>
                  </a:moveTo>
                  <a:cubicBezTo>
                    <a:pt x="13" y="3"/>
                    <a:pt x="3" y="12"/>
                    <a:pt x="3" y="24"/>
                  </a:cubicBezTo>
                  <a:cubicBezTo>
                    <a:pt x="3" y="36"/>
                    <a:pt x="13" y="46"/>
                    <a:pt x="25" y="46"/>
                  </a:cubicBezTo>
                  <a:cubicBezTo>
                    <a:pt x="37" y="46"/>
                    <a:pt x="46" y="36"/>
                    <a:pt x="46" y="24"/>
                  </a:cubicBezTo>
                  <a:cubicBezTo>
                    <a:pt x="46" y="12"/>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0" name="Freeform 26">
              <a:extLst>
                <a:ext uri="{FF2B5EF4-FFF2-40B4-BE49-F238E27FC236}">
                  <a16:creationId xmlns:a16="http://schemas.microsoft.com/office/drawing/2014/main" id="{7906B3BE-F722-9840-B69C-E33564BA4DF9}"/>
                </a:ext>
              </a:extLst>
            </p:cNvPr>
            <p:cNvSpPr>
              <a:spLocks noEditPoints="1"/>
            </p:cNvSpPr>
            <p:nvPr/>
          </p:nvSpPr>
          <p:spPr bwMode="auto">
            <a:xfrm>
              <a:off x="7000262" y="1262800"/>
              <a:ext cx="228412" cy="228412"/>
            </a:xfrm>
            <a:custGeom>
              <a:avLst/>
              <a:gdLst>
                <a:gd name="T0" fmla="*/ 25 w 49"/>
                <a:gd name="T1" fmla="*/ 49 h 49"/>
                <a:gd name="T2" fmla="*/ 0 w 49"/>
                <a:gd name="T3" fmla="*/ 25 h 49"/>
                <a:gd name="T4" fmla="*/ 25 w 49"/>
                <a:gd name="T5" fmla="*/ 0 h 49"/>
                <a:gd name="T6" fmla="*/ 49 w 49"/>
                <a:gd name="T7" fmla="*/ 25 h 49"/>
                <a:gd name="T8" fmla="*/ 25 w 49"/>
                <a:gd name="T9" fmla="*/ 49 h 49"/>
                <a:gd name="T10" fmla="*/ 25 w 49"/>
                <a:gd name="T11" fmla="*/ 3 h 49"/>
                <a:gd name="T12" fmla="*/ 3 w 49"/>
                <a:gd name="T13" fmla="*/ 25 h 49"/>
                <a:gd name="T14" fmla="*/ 25 w 49"/>
                <a:gd name="T15" fmla="*/ 46 h 49"/>
                <a:gd name="T16" fmla="*/ 46 w 49"/>
                <a:gd name="T17" fmla="*/ 25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5"/>
                  </a:cubicBezTo>
                  <a:cubicBezTo>
                    <a:pt x="0" y="11"/>
                    <a:pt x="11" y="0"/>
                    <a:pt x="25" y="0"/>
                  </a:cubicBezTo>
                  <a:cubicBezTo>
                    <a:pt x="38" y="0"/>
                    <a:pt x="49" y="11"/>
                    <a:pt x="49" y="25"/>
                  </a:cubicBezTo>
                  <a:cubicBezTo>
                    <a:pt x="49" y="38"/>
                    <a:pt x="38" y="49"/>
                    <a:pt x="25" y="49"/>
                  </a:cubicBezTo>
                  <a:close/>
                  <a:moveTo>
                    <a:pt x="25" y="3"/>
                  </a:moveTo>
                  <a:cubicBezTo>
                    <a:pt x="13" y="3"/>
                    <a:pt x="3" y="13"/>
                    <a:pt x="3" y="25"/>
                  </a:cubicBezTo>
                  <a:cubicBezTo>
                    <a:pt x="3" y="37"/>
                    <a:pt x="13" y="46"/>
                    <a:pt x="25" y="46"/>
                  </a:cubicBezTo>
                  <a:cubicBezTo>
                    <a:pt x="37" y="46"/>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1" name="Freeform 27">
              <a:extLst>
                <a:ext uri="{FF2B5EF4-FFF2-40B4-BE49-F238E27FC236}">
                  <a16:creationId xmlns:a16="http://schemas.microsoft.com/office/drawing/2014/main" id="{2FE9DFF0-AAAB-894E-8774-E7DDCC644415}"/>
                </a:ext>
              </a:extLst>
            </p:cNvPr>
            <p:cNvSpPr>
              <a:spLocks noEditPoints="1"/>
            </p:cNvSpPr>
            <p:nvPr/>
          </p:nvSpPr>
          <p:spPr bwMode="auto">
            <a:xfrm>
              <a:off x="5084409" y="3862340"/>
              <a:ext cx="227637" cy="228412"/>
            </a:xfrm>
            <a:custGeom>
              <a:avLst/>
              <a:gdLst>
                <a:gd name="T0" fmla="*/ 25 w 49"/>
                <a:gd name="T1" fmla="*/ 49 h 49"/>
                <a:gd name="T2" fmla="*/ 0 w 49"/>
                <a:gd name="T3" fmla="*/ 24 h 49"/>
                <a:gd name="T4" fmla="*/ 25 w 49"/>
                <a:gd name="T5" fmla="*/ 0 h 49"/>
                <a:gd name="T6" fmla="*/ 49 w 49"/>
                <a:gd name="T7" fmla="*/ 24 h 49"/>
                <a:gd name="T8" fmla="*/ 25 w 49"/>
                <a:gd name="T9" fmla="*/ 49 h 49"/>
                <a:gd name="T10" fmla="*/ 25 w 49"/>
                <a:gd name="T11" fmla="*/ 3 h 49"/>
                <a:gd name="T12" fmla="*/ 3 w 49"/>
                <a:gd name="T13" fmla="*/ 24 h 49"/>
                <a:gd name="T14" fmla="*/ 25 w 49"/>
                <a:gd name="T15" fmla="*/ 46 h 49"/>
                <a:gd name="T16" fmla="*/ 46 w 49"/>
                <a:gd name="T17" fmla="*/ 24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4"/>
                  </a:cubicBezTo>
                  <a:cubicBezTo>
                    <a:pt x="0" y="11"/>
                    <a:pt x="11" y="0"/>
                    <a:pt x="25" y="0"/>
                  </a:cubicBezTo>
                  <a:cubicBezTo>
                    <a:pt x="38" y="0"/>
                    <a:pt x="49" y="11"/>
                    <a:pt x="49" y="24"/>
                  </a:cubicBezTo>
                  <a:cubicBezTo>
                    <a:pt x="49" y="38"/>
                    <a:pt x="38" y="49"/>
                    <a:pt x="25" y="49"/>
                  </a:cubicBezTo>
                  <a:close/>
                  <a:moveTo>
                    <a:pt x="25" y="3"/>
                  </a:moveTo>
                  <a:cubicBezTo>
                    <a:pt x="13" y="3"/>
                    <a:pt x="3" y="12"/>
                    <a:pt x="3" y="24"/>
                  </a:cubicBezTo>
                  <a:cubicBezTo>
                    <a:pt x="3" y="36"/>
                    <a:pt x="13" y="46"/>
                    <a:pt x="25" y="46"/>
                  </a:cubicBezTo>
                  <a:cubicBezTo>
                    <a:pt x="37" y="46"/>
                    <a:pt x="46" y="36"/>
                    <a:pt x="46" y="24"/>
                  </a:cubicBezTo>
                  <a:cubicBezTo>
                    <a:pt x="46" y="12"/>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2" name="Freeform 28">
              <a:extLst>
                <a:ext uri="{FF2B5EF4-FFF2-40B4-BE49-F238E27FC236}">
                  <a16:creationId xmlns:a16="http://schemas.microsoft.com/office/drawing/2014/main" id="{83D6894D-2752-8C40-8FB7-E37540736692}"/>
                </a:ext>
              </a:extLst>
            </p:cNvPr>
            <p:cNvSpPr>
              <a:spLocks noEditPoints="1"/>
            </p:cNvSpPr>
            <p:nvPr/>
          </p:nvSpPr>
          <p:spPr bwMode="auto">
            <a:xfrm>
              <a:off x="6958157" y="3314152"/>
              <a:ext cx="228412"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3" name="Freeform 29">
              <a:extLst>
                <a:ext uri="{FF2B5EF4-FFF2-40B4-BE49-F238E27FC236}">
                  <a16:creationId xmlns:a16="http://schemas.microsoft.com/office/drawing/2014/main" id="{F8E6533C-DE30-3C4F-9EDC-4D12C1FB4825}"/>
                </a:ext>
              </a:extLst>
            </p:cNvPr>
            <p:cNvSpPr>
              <a:spLocks noEditPoints="1"/>
            </p:cNvSpPr>
            <p:nvPr/>
          </p:nvSpPr>
          <p:spPr bwMode="auto">
            <a:xfrm>
              <a:off x="6790913" y="1830639"/>
              <a:ext cx="232282" cy="227637"/>
            </a:xfrm>
            <a:custGeom>
              <a:avLst/>
              <a:gdLst>
                <a:gd name="T0" fmla="*/ 25 w 50"/>
                <a:gd name="T1" fmla="*/ 49 h 49"/>
                <a:gd name="T2" fmla="*/ 0 w 50"/>
                <a:gd name="T3" fmla="*/ 25 h 49"/>
                <a:gd name="T4" fmla="*/ 25 w 50"/>
                <a:gd name="T5" fmla="*/ 0 h 49"/>
                <a:gd name="T6" fmla="*/ 50 w 50"/>
                <a:gd name="T7" fmla="*/ 25 h 49"/>
                <a:gd name="T8" fmla="*/ 25 w 50"/>
                <a:gd name="T9" fmla="*/ 49 h 49"/>
                <a:gd name="T10" fmla="*/ 25 w 50"/>
                <a:gd name="T11" fmla="*/ 3 h 49"/>
                <a:gd name="T12" fmla="*/ 3 w 50"/>
                <a:gd name="T13" fmla="*/ 25 h 49"/>
                <a:gd name="T14" fmla="*/ 25 w 50"/>
                <a:gd name="T15" fmla="*/ 46 h 49"/>
                <a:gd name="T16" fmla="*/ 47 w 50"/>
                <a:gd name="T17" fmla="*/ 25 h 49"/>
                <a:gd name="T18" fmla="*/ 25 w 50"/>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25" y="49"/>
                  </a:moveTo>
                  <a:cubicBezTo>
                    <a:pt x="11" y="49"/>
                    <a:pt x="0" y="38"/>
                    <a:pt x="0" y="25"/>
                  </a:cubicBezTo>
                  <a:cubicBezTo>
                    <a:pt x="0" y="11"/>
                    <a:pt x="11" y="0"/>
                    <a:pt x="25" y="0"/>
                  </a:cubicBezTo>
                  <a:cubicBezTo>
                    <a:pt x="39" y="0"/>
                    <a:pt x="50" y="11"/>
                    <a:pt x="50" y="25"/>
                  </a:cubicBezTo>
                  <a:cubicBezTo>
                    <a:pt x="50" y="38"/>
                    <a:pt x="39" y="49"/>
                    <a:pt x="25" y="49"/>
                  </a:cubicBezTo>
                  <a:close/>
                  <a:moveTo>
                    <a:pt x="25" y="3"/>
                  </a:moveTo>
                  <a:cubicBezTo>
                    <a:pt x="13" y="3"/>
                    <a:pt x="3" y="13"/>
                    <a:pt x="3" y="25"/>
                  </a:cubicBezTo>
                  <a:cubicBezTo>
                    <a:pt x="3" y="37"/>
                    <a:pt x="13" y="46"/>
                    <a:pt x="25" y="46"/>
                  </a:cubicBezTo>
                  <a:cubicBezTo>
                    <a:pt x="37" y="46"/>
                    <a:pt x="47" y="37"/>
                    <a:pt x="47" y="25"/>
                  </a:cubicBezTo>
                  <a:cubicBezTo>
                    <a:pt x="47"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4" name="Freeform 30">
              <a:extLst>
                <a:ext uri="{FF2B5EF4-FFF2-40B4-BE49-F238E27FC236}">
                  <a16:creationId xmlns:a16="http://schemas.microsoft.com/office/drawing/2014/main" id="{E7B72674-65CD-EE40-935C-B500DC0EBA7F}"/>
                </a:ext>
              </a:extLst>
            </p:cNvPr>
            <p:cNvSpPr>
              <a:spLocks noEditPoints="1"/>
            </p:cNvSpPr>
            <p:nvPr/>
          </p:nvSpPr>
          <p:spPr bwMode="auto">
            <a:xfrm>
              <a:off x="5939983" y="444685"/>
              <a:ext cx="232282" cy="228412"/>
            </a:xfrm>
            <a:custGeom>
              <a:avLst/>
              <a:gdLst>
                <a:gd name="T0" fmla="*/ 25 w 50"/>
                <a:gd name="T1" fmla="*/ 49 h 49"/>
                <a:gd name="T2" fmla="*/ 0 w 50"/>
                <a:gd name="T3" fmla="*/ 24 h 49"/>
                <a:gd name="T4" fmla="*/ 25 w 50"/>
                <a:gd name="T5" fmla="*/ 0 h 49"/>
                <a:gd name="T6" fmla="*/ 50 w 50"/>
                <a:gd name="T7" fmla="*/ 24 h 49"/>
                <a:gd name="T8" fmla="*/ 25 w 50"/>
                <a:gd name="T9" fmla="*/ 49 h 49"/>
                <a:gd name="T10" fmla="*/ 25 w 50"/>
                <a:gd name="T11" fmla="*/ 2 h 49"/>
                <a:gd name="T12" fmla="*/ 3 w 50"/>
                <a:gd name="T13" fmla="*/ 24 h 49"/>
                <a:gd name="T14" fmla="*/ 25 w 50"/>
                <a:gd name="T15" fmla="*/ 46 h 49"/>
                <a:gd name="T16" fmla="*/ 47 w 50"/>
                <a:gd name="T17" fmla="*/ 24 h 49"/>
                <a:gd name="T18" fmla="*/ 25 w 50"/>
                <a:gd name="T19"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25" y="49"/>
                  </a:moveTo>
                  <a:cubicBezTo>
                    <a:pt x="11" y="49"/>
                    <a:pt x="0" y="38"/>
                    <a:pt x="0" y="24"/>
                  </a:cubicBezTo>
                  <a:cubicBezTo>
                    <a:pt x="0" y="11"/>
                    <a:pt x="11" y="0"/>
                    <a:pt x="25" y="0"/>
                  </a:cubicBezTo>
                  <a:cubicBezTo>
                    <a:pt x="39" y="0"/>
                    <a:pt x="50" y="11"/>
                    <a:pt x="50" y="24"/>
                  </a:cubicBezTo>
                  <a:cubicBezTo>
                    <a:pt x="50" y="38"/>
                    <a:pt x="39" y="49"/>
                    <a:pt x="25" y="49"/>
                  </a:cubicBezTo>
                  <a:close/>
                  <a:moveTo>
                    <a:pt x="25" y="2"/>
                  </a:moveTo>
                  <a:cubicBezTo>
                    <a:pt x="13" y="2"/>
                    <a:pt x="3" y="12"/>
                    <a:pt x="3" y="24"/>
                  </a:cubicBezTo>
                  <a:cubicBezTo>
                    <a:pt x="3" y="36"/>
                    <a:pt x="13" y="46"/>
                    <a:pt x="25" y="46"/>
                  </a:cubicBezTo>
                  <a:cubicBezTo>
                    <a:pt x="37" y="46"/>
                    <a:pt x="47" y="36"/>
                    <a:pt x="47" y="24"/>
                  </a:cubicBezTo>
                  <a:cubicBezTo>
                    <a:pt x="47" y="12"/>
                    <a:pt x="37" y="2"/>
                    <a:pt x="25" y="2"/>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9" name="Freeform 35">
              <a:extLst>
                <a:ext uri="{FF2B5EF4-FFF2-40B4-BE49-F238E27FC236}">
                  <a16:creationId xmlns:a16="http://schemas.microsoft.com/office/drawing/2014/main" id="{47479432-ABF0-4849-A3A2-05A3FA90D122}"/>
                </a:ext>
              </a:extLst>
            </p:cNvPr>
            <p:cNvSpPr>
              <a:spLocks noEditPoints="1"/>
            </p:cNvSpPr>
            <p:nvPr/>
          </p:nvSpPr>
          <p:spPr bwMode="auto">
            <a:xfrm>
              <a:off x="4940393" y="1812056"/>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0" name="Freeform 36">
              <a:extLst>
                <a:ext uri="{FF2B5EF4-FFF2-40B4-BE49-F238E27FC236}">
                  <a16:creationId xmlns:a16="http://schemas.microsoft.com/office/drawing/2014/main" id="{F554884E-CD1F-1F4E-A870-7ABA635C6105}"/>
                </a:ext>
              </a:extLst>
            </p:cNvPr>
            <p:cNvSpPr>
              <a:spLocks noEditPoints="1"/>
            </p:cNvSpPr>
            <p:nvPr/>
          </p:nvSpPr>
          <p:spPr bwMode="auto">
            <a:xfrm>
              <a:off x="6493591" y="3685805"/>
              <a:ext cx="144016" cy="139370"/>
            </a:xfrm>
            <a:custGeom>
              <a:avLst/>
              <a:gdLst>
                <a:gd name="T0" fmla="*/ 16 w 31"/>
                <a:gd name="T1" fmla="*/ 30 h 30"/>
                <a:gd name="T2" fmla="*/ 0 w 31"/>
                <a:gd name="T3" fmla="*/ 15 h 30"/>
                <a:gd name="T4" fmla="*/ 16 w 31"/>
                <a:gd name="T5" fmla="*/ 0 h 30"/>
                <a:gd name="T6" fmla="*/ 31 w 31"/>
                <a:gd name="T7" fmla="*/ 15 h 30"/>
                <a:gd name="T8" fmla="*/ 16 w 31"/>
                <a:gd name="T9" fmla="*/ 30 h 30"/>
                <a:gd name="T10" fmla="*/ 16 w 31"/>
                <a:gd name="T11" fmla="*/ 4 h 30"/>
                <a:gd name="T12" fmla="*/ 4 w 31"/>
                <a:gd name="T13" fmla="*/ 15 h 30"/>
                <a:gd name="T14" fmla="*/ 16 w 31"/>
                <a:gd name="T15" fmla="*/ 26 h 30"/>
                <a:gd name="T16" fmla="*/ 27 w 31"/>
                <a:gd name="T17" fmla="*/ 15 h 30"/>
                <a:gd name="T18" fmla="*/ 16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6" y="30"/>
                  </a:moveTo>
                  <a:cubicBezTo>
                    <a:pt x="7" y="30"/>
                    <a:pt x="0" y="23"/>
                    <a:pt x="0" y="15"/>
                  </a:cubicBezTo>
                  <a:cubicBezTo>
                    <a:pt x="0" y="7"/>
                    <a:pt x="7" y="0"/>
                    <a:pt x="16" y="0"/>
                  </a:cubicBezTo>
                  <a:cubicBezTo>
                    <a:pt x="24" y="0"/>
                    <a:pt x="31" y="7"/>
                    <a:pt x="31" y="15"/>
                  </a:cubicBezTo>
                  <a:cubicBezTo>
                    <a:pt x="31" y="23"/>
                    <a:pt x="24" y="30"/>
                    <a:pt x="16" y="30"/>
                  </a:cubicBezTo>
                  <a:close/>
                  <a:moveTo>
                    <a:pt x="16" y="4"/>
                  </a:moveTo>
                  <a:cubicBezTo>
                    <a:pt x="9" y="4"/>
                    <a:pt x="4" y="9"/>
                    <a:pt x="4" y="15"/>
                  </a:cubicBezTo>
                  <a:cubicBezTo>
                    <a:pt x="4" y="21"/>
                    <a:pt x="9" y="26"/>
                    <a:pt x="16" y="26"/>
                  </a:cubicBezTo>
                  <a:cubicBezTo>
                    <a:pt x="22" y="26"/>
                    <a:pt x="27" y="21"/>
                    <a:pt x="27" y="15"/>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1" name="Freeform 37">
              <a:extLst>
                <a:ext uri="{FF2B5EF4-FFF2-40B4-BE49-F238E27FC236}">
                  <a16:creationId xmlns:a16="http://schemas.microsoft.com/office/drawing/2014/main" id="{E24DB1D9-2538-4141-B858-2B824D434278}"/>
                </a:ext>
              </a:extLst>
            </p:cNvPr>
            <p:cNvSpPr>
              <a:spLocks noEditPoints="1"/>
            </p:cNvSpPr>
            <p:nvPr/>
          </p:nvSpPr>
          <p:spPr bwMode="auto">
            <a:xfrm>
              <a:off x="3475463" y="2556136"/>
              <a:ext cx="144016" cy="144016"/>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4 h 31"/>
                <a:gd name="T12" fmla="*/ 4 w 31"/>
                <a:gd name="T13" fmla="*/ 15 h 31"/>
                <a:gd name="T14" fmla="*/ 15 w 31"/>
                <a:gd name="T15" fmla="*/ 27 h 31"/>
                <a:gd name="T16" fmla="*/ 27 w 31"/>
                <a:gd name="T17" fmla="*/ 15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4"/>
                  </a:moveTo>
                  <a:cubicBezTo>
                    <a:pt x="9" y="4"/>
                    <a:pt x="4" y="9"/>
                    <a:pt x="4" y="15"/>
                  </a:cubicBezTo>
                  <a:cubicBezTo>
                    <a:pt x="4" y="22"/>
                    <a:pt x="9" y="27"/>
                    <a:pt x="15" y="27"/>
                  </a:cubicBezTo>
                  <a:cubicBezTo>
                    <a:pt x="22" y="27"/>
                    <a:pt x="27" y="22"/>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2" name="Freeform 38">
              <a:extLst>
                <a:ext uri="{FF2B5EF4-FFF2-40B4-BE49-F238E27FC236}">
                  <a16:creationId xmlns:a16="http://schemas.microsoft.com/office/drawing/2014/main" id="{8177C4D4-0F73-7B40-BF3B-10C8F10D5F8E}"/>
                </a:ext>
              </a:extLst>
            </p:cNvPr>
            <p:cNvSpPr>
              <a:spLocks noEditPoints="1"/>
            </p:cNvSpPr>
            <p:nvPr/>
          </p:nvSpPr>
          <p:spPr bwMode="auto">
            <a:xfrm>
              <a:off x="4354266" y="719553"/>
              <a:ext cx="144016" cy="144016"/>
            </a:xfrm>
            <a:custGeom>
              <a:avLst/>
              <a:gdLst>
                <a:gd name="T0" fmla="*/ 16 w 31"/>
                <a:gd name="T1" fmla="*/ 31 h 31"/>
                <a:gd name="T2" fmla="*/ 0 w 31"/>
                <a:gd name="T3" fmla="*/ 16 h 31"/>
                <a:gd name="T4" fmla="*/ 16 w 31"/>
                <a:gd name="T5" fmla="*/ 0 h 31"/>
                <a:gd name="T6" fmla="*/ 31 w 31"/>
                <a:gd name="T7" fmla="*/ 16 h 31"/>
                <a:gd name="T8" fmla="*/ 16 w 31"/>
                <a:gd name="T9" fmla="*/ 31 h 31"/>
                <a:gd name="T10" fmla="*/ 16 w 31"/>
                <a:gd name="T11" fmla="*/ 4 h 31"/>
                <a:gd name="T12" fmla="*/ 4 w 31"/>
                <a:gd name="T13" fmla="*/ 16 h 31"/>
                <a:gd name="T14" fmla="*/ 16 w 31"/>
                <a:gd name="T15" fmla="*/ 27 h 31"/>
                <a:gd name="T16" fmla="*/ 27 w 31"/>
                <a:gd name="T17" fmla="*/ 16 h 31"/>
                <a:gd name="T18" fmla="*/ 16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31"/>
                  </a:moveTo>
                  <a:cubicBezTo>
                    <a:pt x="7" y="31"/>
                    <a:pt x="0" y="24"/>
                    <a:pt x="0" y="16"/>
                  </a:cubicBezTo>
                  <a:cubicBezTo>
                    <a:pt x="0" y="7"/>
                    <a:pt x="7" y="0"/>
                    <a:pt x="16" y="0"/>
                  </a:cubicBezTo>
                  <a:cubicBezTo>
                    <a:pt x="24" y="0"/>
                    <a:pt x="31" y="7"/>
                    <a:pt x="31" y="16"/>
                  </a:cubicBezTo>
                  <a:cubicBezTo>
                    <a:pt x="31" y="24"/>
                    <a:pt x="24" y="31"/>
                    <a:pt x="16" y="31"/>
                  </a:cubicBezTo>
                  <a:close/>
                  <a:moveTo>
                    <a:pt x="16" y="4"/>
                  </a:moveTo>
                  <a:cubicBezTo>
                    <a:pt x="9" y="4"/>
                    <a:pt x="4" y="9"/>
                    <a:pt x="4" y="16"/>
                  </a:cubicBezTo>
                  <a:cubicBezTo>
                    <a:pt x="4" y="22"/>
                    <a:pt x="9" y="27"/>
                    <a:pt x="16" y="27"/>
                  </a:cubicBezTo>
                  <a:cubicBezTo>
                    <a:pt x="22" y="27"/>
                    <a:pt x="27" y="22"/>
                    <a:pt x="27" y="16"/>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3" name="Freeform 39">
              <a:extLst>
                <a:ext uri="{FF2B5EF4-FFF2-40B4-BE49-F238E27FC236}">
                  <a16:creationId xmlns:a16="http://schemas.microsoft.com/office/drawing/2014/main" id="{61F14FD4-1F10-5241-A532-AA5646061D09}"/>
                </a:ext>
              </a:extLst>
            </p:cNvPr>
            <p:cNvSpPr>
              <a:spLocks noEditPoints="1"/>
            </p:cNvSpPr>
            <p:nvPr/>
          </p:nvSpPr>
          <p:spPr bwMode="auto">
            <a:xfrm>
              <a:off x="2638140" y="1760954"/>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4" name="Freeform 40">
              <a:extLst>
                <a:ext uri="{FF2B5EF4-FFF2-40B4-BE49-F238E27FC236}">
                  <a16:creationId xmlns:a16="http://schemas.microsoft.com/office/drawing/2014/main" id="{16C51B01-712D-BE4E-8D7C-D1721C295C09}"/>
                </a:ext>
              </a:extLst>
            </p:cNvPr>
            <p:cNvSpPr>
              <a:spLocks noEditPoints="1"/>
            </p:cNvSpPr>
            <p:nvPr/>
          </p:nvSpPr>
          <p:spPr bwMode="auto">
            <a:xfrm>
              <a:off x="2725908" y="3420173"/>
              <a:ext cx="144016" cy="139370"/>
            </a:xfrm>
            <a:custGeom>
              <a:avLst/>
              <a:gdLst>
                <a:gd name="T0" fmla="*/ 15 w 31"/>
                <a:gd name="T1" fmla="*/ 30 h 30"/>
                <a:gd name="T2" fmla="*/ 0 w 31"/>
                <a:gd name="T3" fmla="*/ 15 h 30"/>
                <a:gd name="T4" fmla="*/ 15 w 31"/>
                <a:gd name="T5" fmla="*/ 0 h 30"/>
                <a:gd name="T6" fmla="*/ 31 w 31"/>
                <a:gd name="T7" fmla="*/ 15 h 30"/>
                <a:gd name="T8" fmla="*/ 15 w 31"/>
                <a:gd name="T9" fmla="*/ 30 h 30"/>
                <a:gd name="T10" fmla="*/ 15 w 31"/>
                <a:gd name="T11" fmla="*/ 4 h 30"/>
                <a:gd name="T12" fmla="*/ 4 w 31"/>
                <a:gd name="T13" fmla="*/ 15 h 30"/>
                <a:gd name="T14" fmla="*/ 15 w 31"/>
                <a:gd name="T15" fmla="*/ 26 h 30"/>
                <a:gd name="T16" fmla="*/ 27 w 31"/>
                <a:gd name="T17" fmla="*/ 15 h 30"/>
                <a:gd name="T18" fmla="*/ 15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5" y="30"/>
                  </a:moveTo>
                  <a:cubicBezTo>
                    <a:pt x="7" y="30"/>
                    <a:pt x="0" y="23"/>
                    <a:pt x="0" y="15"/>
                  </a:cubicBezTo>
                  <a:cubicBezTo>
                    <a:pt x="0" y="7"/>
                    <a:pt x="7" y="0"/>
                    <a:pt x="15" y="0"/>
                  </a:cubicBezTo>
                  <a:cubicBezTo>
                    <a:pt x="24" y="0"/>
                    <a:pt x="31" y="7"/>
                    <a:pt x="31" y="15"/>
                  </a:cubicBezTo>
                  <a:cubicBezTo>
                    <a:pt x="31" y="23"/>
                    <a:pt x="24" y="30"/>
                    <a:pt x="15" y="30"/>
                  </a:cubicBezTo>
                  <a:close/>
                  <a:moveTo>
                    <a:pt x="15" y="4"/>
                  </a:moveTo>
                  <a:cubicBezTo>
                    <a:pt x="9" y="4"/>
                    <a:pt x="4" y="9"/>
                    <a:pt x="4" y="15"/>
                  </a:cubicBezTo>
                  <a:cubicBezTo>
                    <a:pt x="4" y="21"/>
                    <a:pt x="9" y="26"/>
                    <a:pt x="15" y="26"/>
                  </a:cubicBezTo>
                  <a:cubicBezTo>
                    <a:pt x="22" y="26"/>
                    <a:pt x="27" y="21"/>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5" name="Freeform 41">
              <a:extLst>
                <a:ext uri="{FF2B5EF4-FFF2-40B4-BE49-F238E27FC236}">
                  <a16:creationId xmlns:a16="http://schemas.microsoft.com/office/drawing/2014/main" id="{836838FE-7398-344D-A7ED-3E1633FF0F86}"/>
                </a:ext>
              </a:extLst>
            </p:cNvPr>
            <p:cNvSpPr>
              <a:spLocks noEditPoints="1"/>
            </p:cNvSpPr>
            <p:nvPr/>
          </p:nvSpPr>
          <p:spPr bwMode="auto">
            <a:xfrm>
              <a:off x="4717402" y="3211948"/>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6" name="Freeform 42">
              <a:extLst>
                <a:ext uri="{FF2B5EF4-FFF2-40B4-BE49-F238E27FC236}">
                  <a16:creationId xmlns:a16="http://schemas.microsoft.com/office/drawing/2014/main" id="{38231AB0-3724-F041-9BB4-024CAAC3A18A}"/>
                </a:ext>
              </a:extLst>
            </p:cNvPr>
            <p:cNvSpPr>
              <a:spLocks noEditPoints="1"/>
            </p:cNvSpPr>
            <p:nvPr/>
          </p:nvSpPr>
          <p:spPr bwMode="auto">
            <a:xfrm>
              <a:off x="4475053" y="1733080"/>
              <a:ext cx="140144" cy="139370"/>
            </a:xfrm>
            <a:custGeom>
              <a:avLst/>
              <a:gdLst>
                <a:gd name="T0" fmla="*/ 15 w 30"/>
                <a:gd name="T1" fmla="*/ 30 h 30"/>
                <a:gd name="T2" fmla="*/ 0 w 30"/>
                <a:gd name="T3" fmla="*/ 15 h 30"/>
                <a:gd name="T4" fmla="*/ 15 w 30"/>
                <a:gd name="T5" fmla="*/ 0 h 30"/>
                <a:gd name="T6" fmla="*/ 30 w 30"/>
                <a:gd name="T7" fmla="*/ 15 h 30"/>
                <a:gd name="T8" fmla="*/ 15 w 30"/>
                <a:gd name="T9" fmla="*/ 30 h 30"/>
                <a:gd name="T10" fmla="*/ 15 w 30"/>
                <a:gd name="T11" fmla="*/ 4 h 30"/>
                <a:gd name="T12" fmla="*/ 4 w 30"/>
                <a:gd name="T13" fmla="*/ 15 h 30"/>
                <a:gd name="T14" fmla="*/ 15 w 30"/>
                <a:gd name="T15" fmla="*/ 26 h 30"/>
                <a:gd name="T16" fmla="*/ 26 w 30"/>
                <a:gd name="T17" fmla="*/ 15 h 30"/>
                <a:gd name="T18" fmla="*/ 15 w 30"/>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cubicBezTo>
                    <a:pt x="7" y="30"/>
                    <a:pt x="0" y="23"/>
                    <a:pt x="0" y="15"/>
                  </a:cubicBezTo>
                  <a:cubicBezTo>
                    <a:pt x="0" y="7"/>
                    <a:pt x="7" y="0"/>
                    <a:pt x="15" y="0"/>
                  </a:cubicBezTo>
                  <a:cubicBezTo>
                    <a:pt x="23" y="0"/>
                    <a:pt x="30" y="7"/>
                    <a:pt x="30" y="15"/>
                  </a:cubicBezTo>
                  <a:cubicBezTo>
                    <a:pt x="30" y="23"/>
                    <a:pt x="23" y="30"/>
                    <a:pt x="15" y="30"/>
                  </a:cubicBezTo>
                  <a:close/>
                  <a:moveTo>
                    <a:pt x="15" y="4"/>
                  </a:moveTo>
                  <a:cubicBezTo>
                    <a:pt x="9" y="4"/>
                    <a:pt x="4" y="9"/>
                    <a:pt x="4" y="15"/>
                  </a:cubicBezTo>
                  <a:cubicBezTo>
                    <a:pt x="4" y="21"/>
                    <a:pt x="9" y="26"/>
                    <a:pt x="15" y="26"/>
                  </a:cubicBezTo>
                  <a:cubicBezTo>
                    <a:pt x="21" y="26"/>
                    <a:pt x="26" y="21"/>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8" name="Freeform 44">
              <a:extLst>
                <a:ext uri="{FF2B5EF4-FFF2-40B4-BE49-F238E27FC236}">
                  <a16:creationId xmlns:a16="http://schemas.microsoft.com/office/drawing/2014/main" id="{E62C585B-9A20-1543-9AD8-8F9A26DB0B17}"/>
                </a:ext>
              </a:extLst>
            </p:cNvPr>
            <p:cNvSpPr>
              <a:spLocks noEditPoints="1"/>
            </p:cNvSpPr>
            <p:nvPr/>
          </p:nvSpPr>
          <p:spPr bwMode="auto">
            <a:xfrm>
              <a:off x="7163339" y="3002119"/>
              <a:ext cx="144016" cy="144790"/>
            </a:xfrm>
            <a:custGeom>
              <a:avLst/>
              <a:gdLst>
                <a:gd name="T0" fmla="*/ 16 w 31"/>
                <a:gd name="T1" fmla="*/ 31 h 31"/>
                <a:gd name="T2" fmla="*/ 0 w 31"/>
                <a:gd name="T3" fmla="*/ 15 h 31"/>
                <a:gd name="T4" fmla="*/ 16 w 31"/>
                <a:gd name="T5" fmla="*/ 0 h 31"/>
                <a:gd name="T6" fmla="*/ 31 w 31"/>
                <a:gd name="T7" fmla="*/ 15 h 31"/>
                <a:gd name="T8" fmla="*/ 16 w 31"/>
                <a:gd name="T9" fmla="*/ 31 h 31"/>
                <a:gd name="T10" fmla="*/ 16 w 31"/>
                <a:gd name="T11" fmla="*/ 4 h 31"/>
                <a:gd name="T12" fmla="*/ 4 w 31"/>
                <a:gd name="T13" fmla="*/ 15 h 31"/>
                <a:gd name="T14" fmla="*/ 16 w 31"/>
                <a:gd name="T15" fmla="*/ 27 h 31"/>
                <a:gd name="T16" fmla="*/ 27 w 31"/>
                <a:gd name="T17" fmla="*/ 15 h 31"/>
                <a:gd name="T18" fmla="*/ 16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31"/>
                  </a:moveTo>
                  <a:cubicBezTo>
                    <a:pt x="7" y="31"/>
                    <a:pt x="0" y="24"/>
                    <a:pt x="0" y="15"/>
                  </a:cubicBezTo>
                  <a:cubicBezTo>
                    <a:pt x="0" y="7"/>
                    <a:pt x="7" y="0"/>
                    <a:pt x="16" y="0"/>
                  </a:cubicBezTo>
                  <a:cubicBezTo>
                    <a:pt x="24" y="0"/>
                    <a:pt x="31" y="7"/>
                    <a:pt x="31" y="15"/>
                  </a:cubicBezTo>
                  <a:cubicBezTo>
                    <a:pt x="31" y="24"/>
                    <a:pt x="24" y="31"/>
                    <a:pt x="16" y="31"/>
                  </a:cubicBezTo>
                  <a:close/>
                  <a:moveTo>
                    <a:pt x="16" y="4"/>
                  </a:moveTo>
                  <a:cubicBezTo>
                    <a:pt x="9" y="4"/>
                    <a:pt x="4" y="9"/>
                    <a:pt x="4" y="15"/>
                  </a:cubicBezTo>
                  <a:cubicBezTo>
                    <a:pt x="4" y="22"/>
                    <a:pt x="9" y="27"/>
                    <a:pt x="16" y="27"/>
                  </a:cubicBezTo>
                  <a:cubicBezTo>
                    <a:pt x="22" y="27"/>
                    <a:pt x="27" y="22"/>
                    <a:pt x="27" y="15"/>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9" name="Freeform 45">
              <a:extLst>
                <a:ext uri="{FF2B5EF4-FFF2-40B4-BE49-F238E27FC236}">
                  <a16:creationId xmlns:a16="http://schemas.microsoft.com/office/drawing/2014/main" id="{B8444698-D80D-A84C-9372-D69F7368204C}"/>
                </a:ext>
              </a:extLst>
            </p:cNvPr>
            <p:cNvSpPr>
              <a:spLocks noEditPoints="1"/>
            </p:cNvSpPr>
            <p:nvPr/>
          </p:nvSpPr>
          <p:spPr bwMode="auto">
            <a:xfrm>
              <a:off x="7135466" y="1737726"/>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0" name="Freeform 46">
              <a:extLst>
                <a:ext uri="{FF2B5EF4-FFF2-40B4-BE49-F238E27FC236}">
                  <a16:creationId xmlns:a16="http://schemas.microsoft.com/office/drawing/2014/main" id="{D6A10350-5427-674C-A491-5256D854BCEC}"/>
                </a:ext>
              </a:extLst>
            </p:cNvPr>
            <p:cNvSpPr>
              <a:spLocks noEditPoints="1"/>
            </p:cNvSpPr>
            <p:nvPr/>
          </p:nvSpPr>
          <p:spPr bwMode="auto">
            <a:xfrm>
              <a:off x="2782486" y="1198055"/>
              <a:ext cx="140144"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1" name="Freeform 47">
              <a:extLst>
                <a:ext uri="{FF2B5EF4-FFF2-40B4-BE49-F238E27FC236}">
                  <a16:creationId xmlns:a16="http://schemas.microsoft.com/office/drawing/2014/main" id="{4B1841FD-0D85-8449-B173-972198434ACE}"/>
                </a:ext>
              </a:extLst>
            </p:cNvPr>
            <p:cNvSpPr>
              <a:spLocks noEditPoints="1"/>
            </p:cNvSpPr>
            <p:nvPr/>
          </p:nvSpPr>
          <p:spPr bwMode="auto">
            <a:xfrm>
              <a:off x="5369122" y="430748"/>
              <a:ext cx="144790" cy="139370"/>
            </a:xfrm>
            <a:custGeom>
              <a:avLst/>
              <a:gdLst>
                <a:gd name="T0" fmla="*/ 15 w 31"/>
                <a:gd name="T1" fmla="*/ 30 h 30"/>
                <a:gd name="T2" fmla="*/ 0 w 31"/>
                <a:gd name="T3" fmla="*/ 15 h 30"/>
                <a:gd name="T4" fmla="*/ 15 w 31"/>
                <a:gd name="T5" fmla="*/ 0 h 30"/>
                <a:gd name="T6" fmla="*/ 31 w 31"/>
                <a:gd name="T7" fmla="*/ 15 h 30"/>
                <a:gd name="T8" fmla="*/ 15 w 31"/>
                <a:gd name="T9" fmla="*/ 30 h 30"/>
                <a:gd name="T10" fmla="*/ 15 w 31"/>
                <a:gd name="T11" fmla="*/ 4 h 30"/>
                <a:gd name="T12" fmla="*/ 4 w 31"/>
                <a:gd name="T13" fmla="*/ 15 h 30"/>
                <a:gd name="T14" fmla="*/ 15 w 31"/>
                <a:gd name="T15" fmla="*/ 26 h 30"/>
                <a:gd name="T16" fmla="*/ 27 w 31"/>
                <a:gd name="T17" fmla="*/ 15 h 30"/>
                <a:gd name="T18" fmla="*/ 15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5" y="30"/>
                  </a:moveTo>
                  <a:cubicBezTo>
                    <a:pt x="7" y="30"/>
                    <a:pt x="0" y="23"/>
                    <a:pt x="0" y="15"/>
                  </a:cubicBezTo>
                  <a:cubicBezTo>
                    <a:pt x="0" y="7"/>
                    <a:pt x="7" y="0"/>
                    <a:pt x="15" y="0"/>
                  </a:cubicBezTo>
                  <a:cubicBezTo>
                    <a:pt x="24" y="0"/>
                    <a:pt x="31" y="7"/>
                    <a:pt x="31" y="15"/>
                  </a:cubicBezTo>
                  <a:cubicBezTo>
                    <a:pt x="31" y="23"/>
                    <a:pt x="24" y="30"/>
                    <a:pt x="15" y="30"/>
                  </a:cubicBezTo>
                  <a:close/>
                  <a:moveTo>
                    <a:pt x="15" y="4"/>
                  </a:moveTo>
                  <a:cubicBezTo>
                    <a:pt x="9" y="4"/>
                    <a:pt x="4" y="9"/>
                    <a:pt x="4" y="15"/>
                  </a:cubicBezTo>
                  <a:cubicBezTo>
                    <a:pt x="4" y="21"/>
                    <a:pt x="9" y="26"/>
                    <a:pt x="15" y="26"/>
                  </a:cubicBezTo>
                  <a:cubicBezTo>
                    <a:pt x="22" y="26"/>
                    <a:pt x="27" y="21"/>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5" name="Freeform 51">
              <a:extLst>
                <a:ext uri="{FF2B5EF4-FFF2-40B4-BE49-F238E27FC236}">
                  <a16:creationId xmlns:a16="http://schemas.microsoft.com/office/drawing/2014/main" id="{632F2C84-5455-2A48-8F55-17643C6B579F}"/>
                </a:ext>
              </a:extLst>
            </p:cNvPr>
            <p:cNvSpPr>
              <a:spLocks noEditPoints="1"/>
            </p:cNvSpPr>
            <p:nvPr/>
          </p:nvSpPr>
          <p:spPr bwMode="auto">
            <a:xfrm>
              <a:off x="3944120" y="347126"/>
              <a:ext cx="144016" cy="144016"/>
            </a:xfrm>
            <a:custGeom>
              <a:avLst/>
              <a:gdLst>
                <a:gd name="T0" fmla="*/ 15 w 31"/>
                <a:gd name="T1" fmla="*/ 31 h 31"/>
                <a:gd name="T2" fmla="*/ 0 w 31"/>
                <a:gd name="T3" fmla="*/ 16 h 31"/>
                <a:gd name="T4" fmla="*/ 15 w 31"/>
                <a:gd name="T5" fmla="*/ 0 h 31"/>
                <a:gd name="T6" fmla="*/ 31 w 31"/>
                <a:gd name="T7" fmla="*/ 16 h 31"/>
                <a:gd name="T8" fmla="*/ 15 w 31"/>
                <a:gd name="T9" fmla="*/ 31 h 31"/>
                <a:gd name="T10" fmla="*/ 15 w 31"/>
                <a:gd name="T11" fmla="*/ 4 h 31"/>
                <a:gd name="T12" fmla="*/ 4 w 31"/>
                <a:gd name="T13" fmla="*/ 16 h 31"/>
                <a:gd name="T14" fmla="*/ 15 w 31"/>
                <a:gd name="T15" fmla="*/ 27 h 31"/>
                <a:gd name="T16" fmla="*/ 27 w 31"/>
                <a:gd name="T17" fmla="*/ 16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6"/>
                  </a:cubicBezTo>
                  <a:cubicBezTo>
                    <a:pt x="0" y="7"/>
                    <a:pt x="7" y="0"/>
                    <a:pt x="15" y="0"/>
                  </a:cubicBezTo>
                  <a:cubicBezTo>
                    <a:pt x="24" y="0"/>
                    <a:pt x="31" y="7"/>
                    <a:pt x="31" y="16"/>
                  </a:cubicBezTo>
                  <a:cubicBezTo>
                    <a:pt x="31" y="24"/>
                    <a:pt x="24" y="31"/>
                    <a:pt x="15" y="31"/>
                  </a:cubicBezTo>
                  <a:close/>
                  <a:moveTo>
                    <a:pt x="15" y="4"/>
                  </a:moveTo>
                  <a:cubicBezTo>
                    <a:pt x="9" y="4"/>
                    <a:pt x="4" y="9"/>
                    <a:pt x="4" y="16"/>
                  </a:cubicBezTo>
                  <a:cubicBezTo>
                    <a:pt x="4" y="22"/>
                    <a:pt x="9" y="27"/>
                    <a:pt x="15" y="27"/>
                  </a:cubicBezTo>
                  <a:cubicBezTo>
                    <a:pt x="22" y="27"/>
                    <a:pt x="27" y="22"/>
                    <a:pt x="27" y="16"/>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6" name="Freeform 52">
              <a:extLst>
                <a:ext uri="{FF2B5EF4-FFF2-40B4-BE49-F238E27FC236}">
                  <a16:creationId xmlns:a16="http://schemas.microsoft.com/office/drawing/2014/main" id="{E8662AAA-1359-1A4B-A422-7AE6E6A3D5B1}"/>
                </a:ext>
              </a:extLst>
            </p:cNvPr>
            <p:cNvSpPr>
              <a:spLocks noEditPoints="1"/>
            </p:cNvSpPr>
            <p:nvPr/>
          </p:nvSpPr>
          <p:spPr bwMode="auto">
            <a:xfrm>
              <a:off x="6781622" y="402874"/>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7" name="Freeform 53">
              <a:extLst>
                <a:ext uri="{FF2B5EF4-FFF2-40B4-BE49-F238E27FC236}">
                  <a16:creationId xmlns:a16="http://schemas.microsoft.com/office/drawing/2014/main" id="{0BE88B91-953F-984B-A1E8-B9034120A271}"/>
                </a:ext>
              </a:extLst>
            </p:cNvPr>
            <p:cNvSpPr>
              <a:spLocks noEditPoints="1"/>
            </p:cNvSpPr>
            <p:nvPr/>
          </p:nvSpPr>
          <p:spPr bwMode="auto">
            <a:xfrm>
              <a:off x="6153683" y="1346717"/>
              <a:ext cx="144790" cy="144790"/>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4 h 31"/>
                <a:gd name="T12" fmla="*/ 4 w 31"/>
                <a:gd name="T13" fmla="*/ 15 h 31"/>
                <a:gd name="T14" fmla="*/ 15 w 31"/>
                <a:gd name="T15" fmla="*/ 27 h 31"/>
                <a:gd name="T16" fmla="*/ 27 w 31"/>
                <a:gd name="T17" fmla="*/ 15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4"/>
                  </a:moveTo>
                  <a:cubicBezTo>
                    <a:pt x="9" y="4"/>
                    <a:pt x="4" y="9"/>
                    <a:pt x="4" y="15"/>
                  </a:cubicBezTo>
                  <a:cubicBezTo>
                    <a:pt x="4" y="22"/>
                    <a:pt x="9" y="27"/>
                    <a:pt x="15" y="27"/>
                  </a:cubicBezTo>
                  <a:cubicBezTo>
                    <a:pt x="22" y="27"/>
                    <a:pt x="27" y="22"/>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3" name="Oval 99">
              <a:extLst>
                <a:ext uri="{FF2B5EF4-FFF2-40B4-BE49-F238E27FC236}">
                  <a16:creationId xmlns:a16="http://schemas.microsoft.com/office/drawing/2014/main" id="{3406C0B7-6399-4046-B42E-F6BA00212ADA}"/>
                </a:ext>
              </a:extLst>
            </p:cNvPr>
            <p:cNvSpPr>
              <a:spLocks noChangeArrowheads="1"/>
            </p:cNvSpPr>
            <p:nvPr/>
          </p:nvSpPr>
          <p:spPr bwMode="auto">
            <a:xfrm>
              <a:off x="5024015" y="710262"/>
              <a:ext cx="97559" cy="102205"/>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4" name="Oval 100">
              <a:extLst>
                <a:ext uri="{FF2B5EF4-FFF2-40B4-BE49-F238E27FC236}">
                  <a16:creationId xmlns:a16="http://schemas.microsoft.com/office/drawing/2014/main" id="{2B668C50-52CB-6641-B22F-E471D3317B06}"/>
                </a:ext>
              </a:extLst>
            </p:cNvPr>
            <p:cNvSpPr>
              <a:spLocks noChangeArrowheads="1"/>
            </p:cNvSpPr>
            <p:nvPr/>
          </p:nvSpPr>
          <p:spPr bwMode="auto">
            <a:xfrm>
              <a:off x="6354222" y="2523616"/>
              <a:ext cx="102205"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6" name="Oval 102">
              <a:extLst>
                <a:ext uri="{FF2B5EF4-FFF2-40B4-BE49-F238E27FC236}">
                  <a16:creationId xmlns:a16="http://schemas.microsoft.com/office/drawing/2014/main" id="{D162979E-5EF5-DC46-B906-E4C75C255436}"/>
                </a:ext>
              </a:extLst>
            </p:cNvPr>
            <p:cNvSpPr>
              <a:spLocks noChangeArrowheads="1"/>
            </p:cNvSpPr>
            <p:nvPr/>
          </p:nvSpPr>
          <p:spPr bwMode="auto">
            <a:xfrm>
              <a:off x="4972913" y="2969599"/>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7" name="Oval 103">
              <a:extLst>
                <a:ext uri="{FF2B5EF4-FFF2-40B4-BE49-F238E27FC236}">
                  <a16:creationId xmlns:a16="http://schemas.microsoft.com/office/drawing/2014/main" id="{D5FBD297-7488-8E46-9BCE-D175C6AB8A03}"/>
                </a:ext>
              </a:extLst>
            </p:cNvPr>
            <p:cNvSpPr>
              <a:spLocks noChangeArrowheads="1"/>
            </p:cNvSpPr>
            <p:nvPr/>
          </p:nvSpPr>
          <p:spPr bwMode="auto">
            <a:xfrm>
              <a:off x="2740675" y="477204"/>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8" name="Oval 104">
              <a:extLst>
                <a:ext uri="{FF2B5EF4-FFF2-40B4-BE49-F238E27FC236}">
                  <a16:creationId xmlns:a16="http://schemas.microsoft.com/office/drawing/2014/main" id="{38106B9B-4E98-6F40-BA5F-EF9CBEC4B372}"/>
                </a:ext>
              </a:extLst>
            </p:cNvPr>
            <p:cNvSpPr>
              <a:spLocks noChangeArrowheads="1"/>
            </p:cNvSpPr>
            <p:nvPr/>
          </p:nvSpPr>
          <p:spPr bwMode="auto">
            <a:xfrm>
              <a:off x="4056944" y="136994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9" name="Oval 105">
              <a:extLst>
                <a:ext uri="{FF2B5EF4-FFF2-40B4-BE49-F238E27FC236}">
                  <a16:creationId xmlns:a16="http://schemas.microsoft.com/office/drawing/2014/main" id="{C44BE89B-3787-914D-8BCE-10C81776F2D0}"/>
                </a:ext>
              </a:extLst>
            </p:cNvPr>
            <p:cNvSpPr>
              <a:spLocks noChangeArrowheads="1"/>
            </p:cNvSpPr>
            <p:nvPr/>
          </p:nvSpPr>
          <p:spPr bwMode="auto">
            <a:xfrm>
              <a:off x="3089873" y="2486451"/>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2" name="Oval 108">
              <a:extLst>
                <a:ext uri="{FF2B5EF4-FFF2-40B4-BE49-F238E27FC236}">
                  <a16:creationId xmlns:a16="http://schemas.microsoft.com/office/drawing/2014/main" id="{B46A4DB7-15AD-9A4E-9939-E625A0005AA1}"/>
                </a:ext>
              </a:extLst>
            </p:cNvPr>
            <p:cNvSpPr>
              <a:spLocks noChangeArrowheads="1"/>
            </p:cNvSpPr>
            <p:nvPr/>
          </p:nvSpPr>
          <p:spPr bwMode="auto">
            <a:xfrm>
              <a:off x="6632961" y="1388528"/>
              <a:ext cx="102205"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3" name="Oval 109">
              <a:extLst>
                <a:ext uri="{FF2B5EF4-FFF2-40B4-BE49-F238E27FC236}">
                  <a16:creationId xmlns:a16="http://schemas.microsoft.com/office/drawing/2014/main" id="{002CF81E-FCF7-534D-9B24-33ADD5F3D5A4}"/>
                </a:ext>
              </a:extLst>
            </p:cNvPr>
            <p:cNvSpPr>
              <a:spLocks noChangeArrowheads="1"/>
            </p:cNvSpPr>
            <p:nvPr/>
          </p:nvSpPr>
          <p:spPr bwMode="auto">
            <a:xfrm>
              <a:off x="7186568" y="532952"/>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5" name="Oval 101">
              <a:extLst>
                <a:ext uri="{FF2B5EF4-FFF2-40B4-BE49-F238E27FC236}">
                  <a16:creationId xmlns:a16="http://schemas.microsoft.com/office/drawing/2014/main" id="{98500FBE-2086-8144-909B-F6ADBB10180F}"/>
                </a:ext>
              </a:extLst>
            </p:cNvPr>
            <p:cNvSpPr>
              <a:spLocks noChangeArrowheads="1"/>
            </p:cNvSpPr>
            <p:nvPr/>
          </p:nvSpPr>
          <p:spPr bwMode="auto">
            <a:xfrm>
              <a:off x="2828942" y="4792246"/>
              <a:ext cx="98333"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0" name="Oval 106">
              <a:extLst>
                <a:ext uri="{FF2B5EF4-FFF2-40B4-BE49-F238E27FC236}">
                  <a16:creationId xmlns:a16="http://schemas.microsoft.com/office/drawing/2014/main" id="{CFC8CC77-EDD5-1546-A909-EA4771492B55}"/>
                </a:ext>
              </a:extLst>
            </p:cNvPr>
            <p:cNvSpPr>
              <a:spLocks noChangeArrowheads="1"/>
            </p:cNvSpPr>
            <p:nvPr/>
          </p:nvSpPr>
          <p:spPr bwMode="auto">
            <a:xfrm>
              <a:off x="7116883" y="3760136"/>
              <a:ext cx="102205" cy="102205"/>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1" name="Oval 107">
              <a:extLst>
                <a:ext uri="{FF2B5EF4-FFF2-40B4-BE49-F238E27FC236}">
                  <a16:creationId xmlns:a16="http://schemas.microsoft.com/office/drawing/2014/main" id="{A06CF0B1-E4F9-2B4F-A014-1E66073D9DAD}"/>
                </a:ext>
              </a:extLst>
            </p:cNvPr>
            <p:cNvSpPr>
              <a:spLocks noChangeArrowheads="1"/>
            </p:cNvSpPr>
            <p:nvPr/>
          </p:nvSpPr>
          <p:spPr bwMode="auto">
            <a:xfrm>
              <a:off x="6962802" y="464358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6" name="Freeform 152">
              <a:extLst>
                <a:ext uri="{FF2B5EF4-FFF2-40B4-BE49-F238E27FC236}">
                  <a16:creationId xmlns:a16="http://schemas.microsoft.com/office/drawing/2014/main" id="{BB7BFA1C-E067-384B-AAA0-A3189A566471}"/>
                </a:ext>
              </a:extLst>
            </p:cNvPr>
            <p:cNvSpPr>
              <a:spLocks noEditPoints="1"/>
            </p:cNvSpPr>
            <p:nvPr/>
          </p:nvSpPr>
          <p:spPr bwMode="auto">
            <a:xfrm>
              <a:off x="5265589" y="4471695"/>
              <a:ext cx="237703" cy="236928"/>
            </a:xfrm>
            <a:custGeom>
              <a:avLst/>
              <a:gdLst>
                <a:gd name="T0" fmla="*/ 26 w 51"/>
                <a:gd name="T1" fmla="*/ 51 h 51"/>
                <a:gd name="T2" fmla="*/ 0 w 51"/>
                <a:gd name="T3" fmla="*/ 26 h 51"/>
                <a:gd name="T4" fmla="*/ 26 w 51"/>
                <a:gd name="T5" fmla="*/ 0 h 51"/>
                <a:gd name="T6" fmla="*/ 51 w 51"/>
                <a:gd name="T7" fmla="*/ 26 h 51"/>
                <a:gd name="T8" fmla="*/ 26 w 51"/>
                <a:gd name="T9" fmla="*/ 51 h 51"/>
                <a:gd name="T10" fmla="*/ 26 w 51"/>
                <a:gd name="T11" fmla="*/ 3 h 51"/>
                <a:gd name="T12" fmla="*/ 3 w 51"/>
                <a:gd name="T13" fmla="*/ 26 h 51"/>
                <a:gd name="T14" fmla="*/ 26 w 51"/>
                <a:gd name="T15" fmla="*/ 48 h 51"/>
                <a:gd name="T16" fmla="*/ 48 w 51"/>
                <a:gd name="T17" fmla="*/ 26 h 51"/>
                <a:gd name="T18" fmla="*/ 26 w 51"/>
                <a:gd name="T19"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1">
                  <a:moveTo>
                    <a:pt x="26" y="51"/>
                  </a:moveTo>
                  <a:cubicBezTo>
                    <a:pt x="12" y="51"/>
                    <a:pt x="0" y="39"/>
                    <a:pt x="0" y="26"/>
                  </a:cubicBezTo>
                  <a:cubicBezTo>
                    <a:pt x="0" y="12"/>
                    <a:pt x="12" y="0"/>
                    <a:pt x="26" y="0"/>
                  </a:cubicBezTo>
                  <a:cubicBezTo>
                    <a:pt x="39" y="0"/>
                    <a:pt x="51" y="12"/>
                    <a:pt x="51" y="26"/>
                  </a:cubicBezTo>
                  <a:cubicBezTo>
                    <a:pt x="51" y="39"/>
                    <a:pt x="39" y="51"/>
                    <a:pt x="26" y="51"/>
                  </a:cubicBezTo>
                  <a:close/>
                  <a:moveTo>
                    <a:pt x="26" y="3"/>
                  </a:moveTo>
                  <a:cubicBezTo>
                    <a:pt x="13" y="3"/>
                    <a:pt x="3" y="13"/>
                    <a:pt x="3" y="26"/>
                  </a:cubicBezTo>
                  <a:cubicBezTo>
                    <a:pt x="3" y="38"/>
                    <a:pt x="13" y="48"/>
                    <a:pt x="26" y="48"/>
                  </a:cubicBezTo>
                  <a:cubicBezTo>
                    <a:pt x="38" y="48"/>
                    <a:pt x="48" y="38"/>
                    <a:pt x="48" y="26"/>
                  </a:cubicBezTo>
                  <a:cubicBezTo>
                    <a:pt x="48" y="13"/>
                    <a:pt x="38" y="3"/>
                    <a:pt x="26"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7" name="Freeform 153">
              <a:extLst>
                <a:ext uri="{FF2B5EF4-FFF2-40B4-BE49-F238E27FC236}">
                  <a16:creationId xmlns:a16="http://schemas.microsoft.com/office/drawing/2014/main" id="{B4C8FCF1-0500-5A47-9869-10368D071E12}"/>
                </a:ext>
              </a:extLst>
            </p:cNvPr>
            <p:cNvSpPr>
              <a:spLocks noEditPoints="1"/>
            </p:cNvSpPr>
            <p:nvPr/>
          </p:nvSpPr>
          <p:spPr bwMode="auto">
            <a:xfrm>
              <a:off x="3600896" y="4448467"/>
              <a:ext cx="358490" cy="358490"/>
            </a:xfrm>
            <a:custGeom>
              <a:avLst/>
              <a:gdLst>
                <a:gd name="T0" fmla="*/ 38 w 77"/>
                <a:gd name="T1" fmla="*/ 77 h 77"/>
                <a:gd name="T2" fmla="*/ 0 w 77"/>
                <a:gd name="T3" fmla="*/ 38 h 77"/>
                <a:gd name="T4" fmla="*/ 38 w 77"/>
                <a:gd name="T5" fmla="*/ 0 h 77"/>
                <a:gd name="T6" fmla="*/ 77 w 77"/>
                <a:gd name="T7" fmla="*/ 38 h 77"/>
                <a:gd name="T8" fmla="*/ 38 w 77"/>
                <a:gd name="T9" fmla="*/ 77 h 77"/>
                <a:gd name="T10" fmla="*/ 38 w 77"/>
                <a:gd name="T11" fmla="*/ 5 h 77"/>
                <a:gd name="T12" fmla="*/ 4 w 77"/>
                <a:gd name="T13" fmla="*/ 38 h 77"/>
                <a:gd name="T14" fmla="*/ 38 w 77"/>
                <a:gd name="T15" fmla="*/ 72 h 77"/>
                <a:gd name="T16" fmla="*/ 72 w 77"/>
                <a:gd name="T17" fmla="*/ 38 h 77"/>
                <a:gd name="T18" fmla="*/ 38 w 77"/>
                <a:gd name="T19"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38" y="77"/>
                  </a:moveTo>
                  <a:cubicBezTo>
                    <a:pt x="17" y="77"/>
                    <a:pt x="0" y="60"/>
                    <a:pt x="0" y="38"/>
                  </a:cubicBezTo>
                  <a:cubicBezTo>
                    <a:pt x="0" y="17"/>
                    <a:pt x="17" y="0"/>
                    <a:pt x="38" y="0"/>
                  </a:cubicBezTo>
                  <a:cubicBezTo>
                    <a:pt x="59" y="0"/>
                    <a:pt x="77" y="17"/>
                    <a:pt x="77" y="38"/>
                  </a:cubicBezTo>
                  <a:cubicBezTo>
                    <a:pt x="77" y="60"/>
                    <a:pt x="59" y="77"/>
                    <a:pt x="38" y="77"/>
                  </a:cubicBezTo>
                  <a:close/>
                  <a:moveTo>
                    <a:pt x="38" y="5"/>
                  </a:moveTo>
                  <a:cubicBezTo>
                    <a:pt x="20" y="5"/>
                    <a:pt x="4" y="20"/>
                    <a:pt x="4" y="38"/>
                  </a:cubicBezTo>
                  <a:cubicBezTo>
                    <a:pt x="4" y="57"/>
                    <a:pt x="20" y="72"/>
                    <a:pt x="38" y="72"/>
                  </a:cubicBezTo>
                  <a:cubicBezTo>
                    <a:pt x="57" y="72"/>
                    <a:pt x="72" y="57"/>
                    <a:pt x="72" y="38"/>
                  </a:cubicBezTo>
                  <a:cubicBezTo>
                    <a:pt x="72" y="20"/>
                    <a:pt x="57" y="5"/>
                    <a:pt x="38"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23" name="Freeform 8">
              <a:extLst>
                <a:ext uri="{FF2B5EF4-FFF2-40B4-BE49-F238E27FC236}">
                  <a16:creationId xmlns:a16="http://schemas.microsoft.com/office/drawing/2014/main" id="{21505E37-09D0-574F-8C6E-C9F6953DFBD5}"/>
                </a:ext>
              </a:extLst>
            </p:cNvPr>
            <p:cNvSpPr>
              <a:spLocks noEditPoints="1"/>
            </p:cNvSpPr>
            <p:nvPr/>
          </p:nvSpPr>
          <p:spPr bwMode="auto">
            <a:xfrm>
              <a:off x="5433607" y="3156200"/>
              <a:ext cx="668975" cy="668975"/>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5 h 144"/>
                <a:gd name="T16" fmla="*/ 135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1"/>
                    <a:pt x="0" y="72"/>
                  </a:cubicBezTo>
                  <a:cubicBezTo>
                    <a:pt x="0" y="32"/>
                    <a:pt x="32" y="0"/>
                    <a:pt x="72" y="0"/>
                  </a:cubicBezTo>
                  <a:cubicBezTo>
                    <a:pt x="111" y="0"/>
                    <a:pt x="144" y="32"/>
                    <a:pt x="144" y="72"/>
                  </a:cubicBezTo>
                  <a:cubicBezTo>
                    <a:pt x="144" y="111"/>
                    <a:pt x="111" y="144"/>
                    <a:pt x="72" y="144"/>
                  </a:cubicBezTo>
                  <a:close/>
                  <a:moveTo>
                    <a:pt x="72" y="8"/>
                  </a:moveTo>
                  <a:cubicBezTo>
                    <a:pt x="37" y="8"/>
                    <a:pt x="8" y="36"/>
                    <a:pt x="8" y="72"/>
                  </a:cubicBezTo>
                  <a:cubicBezTo>
                    <a:pt x="8" y="107"/>
                    <a:pt x="37" y="135"/>
                    <a:pt x="72" y="135"/>
                  </a:cubicBezTo>
                  <a:cubicBezTo>
                    <a:pt x="107" y="135"/>
                    <a:pt x="135" y="107"/>
                    <a:pt x="135" y="72"/>
                  </a:cubicBezTo>
                  <a:cubicBezTo>
                    <a:pt x="135" y="36"/>
                    <a:pt x="107" y="8"/>
                    <a:pt x="72" y="8"/>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a:solidFill>
                  <a:srgbClr val="002776"/>
                </a:solidFill>
              </a:endParaRPr>
            </a:p>
          </p:txBody>
        </p:sp>
        <p:sp>
          <p:nvSpPr>
            <p:cNvPr id="224" name="Freeform 9">
              <a:extLst>
                <a:ext uri="{FF2B5EF4-FFF2-40B4-BE49-F238E27FC236}">
                  <a16:creationId xmlns:a16="http://schemas.microsoft.com/office/drawing/2014/main" id="{C77A89B3-0FCA-DE47-8000-BC212045718B}"/>
                </a:ext>
              </a:extLst>
            </p:cNvPr>
            <p:cNvSpPr>
              <a:spLocks noEditPoints="1"/>
            </p:cNvSpPr>
            <p:nvPr/>
          </p:nvSpPr>
          <p:spPr bwMode="auto">
            <a:xfrm>
              <a:off x="4163794" y="3690450"/>
              <a:ext cx="507151" cy="507151"/>
            </a:xfrm>
            <a:custGeom>
              <a:avLst/>
              <a:gdLst>
                <a:gd name="T0" fmla="*/ 55 w 109"/>
                <a:gd name="T1" fmla="*/ 109 h 109"/>
                <a:gd name="T2" fmla="*/ 0 w 109"/>
                <a:gd name="T3" fmla="*/ 55 h 109"/>
                <a:gd name="T4" fmla="*/ 55 w 109"/>
                <a:gd name="T5" fmla="*/ 0 h 109"/>
                <a:gd name="T6" fmla="*/ 109 w 109"/>
                <a:gd name="T7" fmla="*/ 55 h 109"/>
                <a:gd name="T8" fmla="*/ 55 w 109"/>
                <a:gd name="T9" fmla="*/ 109 h 109"/>
                <a:gd name="T10" fmla="*/ 55 w 109"/>
                <a:gd name="T11" fmla="*/ 6 h 109"/>
                <a:gd name="T12" fmla="*/ 6 w 109"/>
                <a:gd name="T13" fmla="*/ 55 h 109"/>
                <a:gd name="T14" fmla="*/ 55 w 109"/>
                <a:gd name="T15" fmla="*/ 103 h 109"/>
                <a:gd name="T16" fmla="*/ 103 w 109"/>
                <a:gd name="T17" fmla="*/ 55 h 109"/>
                <a:gd name="T18" fmla="*/ 55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5" y="109"/>
                  </a:moveTo>
                  <a:cubicBezTo>
                    <a:pt x="25" y="109"/>
                    <a:pt x="0" y="85"/>
                    <a:pt x="0" y="55"/>
                  </a:cubicBezTo>
                  <a:cubicBezTo>
                    <a:pt x="0" y="25"/>
                    <a:pt x="25" y="0"/>
                    <a:pt x="55" y="0"/>
                  </a:cubicBezTo>
                  <a:cubicBezTo>
                    <a:pt x="85" y="0"/>
                    <a:pt x="109" y="25"/>
                    <a:pt x="109" y="55"/>
                  </a:cubicBezTo>
                  <a:cubicBezTo>
                    <a:pt x="109" y="85"/>
                    <a:pt x="85" y="109"/>
                    <a:pt x="55" y="109"/>
                  </a:cubicBezTo>
                  <a:close/>
                  <a:moveTo>
                    <a:pt x="55" y="6"/>
                  </a:moveTo>
                  <a:cubicBezTo>
                    <a:pt x="28" y="6"/>
                    <a:pt x="6" y="28"/>
                    <a:pt x="6" y="55"/>
                  </a:cubicBezTo>
                  <a:cubicBezTo>
                    <a:pt x="6" y="81"/>
                    <a:pt x="28" y="103"/>
                    <a:pt x="55" y="103"/>
                  </a:cubicBezTo>
                  <a:cubicBezTo>
                    <a:pt x="81" y="103"/>
                    <a:pt x="103" y="81"/>
                    <a:pt x="103" y="55"/>
                  </a:cubicBezTo>
                  <a:cubicBezTo>
                    <a:pt x="103" y="28"/>
                    <a:pt x="81" y="6"/>
                    <a:pt x="55" y="6"/>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81BC00"/>
                </a:solidFill>
              </a:endParaRPr>
            </a:p>
          </p:txBody>
        </p:sp>
        <p:sp>
          <p:nvSpPr>
            <p:cNvPr id="225" name="Freeform 10">
              <a:extLst>
                <a:ext uri="{FF2B5EF4-FFF2-40B4-BE49-F238E27FC236}">
                  <a16:creationId xmlns:a16="http://schemas.microsoft.com/office/drawing/2014/main" id="{270A1F0F-AAFB-2C4C-A770-8C74EEF8A804}"/>
                </a:ext>
              </a:extLst>
            </p:cNvPr>
            <p:cNvSpPr>
              <a:spLocks noEditPoints="1"/>
            </p:cNvSpPr>
            <p:nvPr/>
          </p:nvSpPr>
          <p:spPr bwMode="auto">
            <a:xfrm>
              <a:off x="3173496" y="1458212"/>
              <a:ext cx="506377" cy="507151"/>
            </a:xfrm>
            <a:custGeom>
              <a:avLst/>
              <a:gdLst>
                <a:gd name="T0" fmla="*/ 54 w 109"/>
                <a:gd name="T1" fmla="*/ 109 h 109"/>
                <a:gd name="T2" fmla="*/ 0 w 109"/>
                <a:gd name="T3" fmla="*/ 55 h 109"/>
                <a:gd name="T4" fmla="*/ 54 w 109"/>
                <a:gd name="T5" fmla="*/ 0 h 109"/>
                <a:gd name="T6" fmla="*/ 109 w 109"/>
                <a:gd name="T7" fmla="*/ 55 h 109"/>
                <a:gd name="T8" fmla="*/ 54 w 109"/>
                <a:gd name="T9" fmla="*/ 109 h 109"/>
                <a:gd name="T10" fmla="*/ 54 w 109"/>
                <a:gd name="T11" fmla="*/ 6 h 109"/>
                <a:gd name="T12" fmla="*/ 6 w 109"/>
                <a:gd name="T13" fmla="*/ 55 h 109"/>
                <a:gd name="T14" fmla="*/ 54 w 109"/>
                <a:gd name="T15" fmla="*/ 103 h 109"/>
                <a:gd name="T16" fmla="*/ 103 w 109"/>
                <a:gd name="T17" fmla="*/ 55 h 109"/>
                <a:gd name="T18" fmla="*/ 54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4" y="109"/>
                  </a:moveTo>
                  <a:cubicBezTo>
                    <a:pt x="24" y="109"/>
                    <a:pt x="0" y="85"/>
                    <a:pt x="0" y="55"/>
                  </a:cubicBezTo>
                  <a:cubicBezTo>
                    <a:pt x="0" y="25"/>
                    <a:pt x="24" y="0"/>
                    <a:pt x="54" y="0"/>
                  </a:cubicBezTo>
                  <a:cubicBezTo>
                    <a:pt x="84" y="0"/>
                    <a:pt x="109" y="25"/>
                    <a:pt x="109" y="55"/>
                  </a:cubicBezTo>
                  <a:cubicBezTo>
                    <a:pt x="109" y="85"/>
                    <a:pt x="84" y="109"/>
                    <a:pt x="54" y="109"/>
                  </a:cubicBezTo>
                  <a:close/>
                  <a:moveTo>
                    <a:pt x="54" y="6"/>
                  </a:moveTo>
                  <a:cubicBezTo>
                    <a:pt x="28" y="6"/>
                    <a:pt x="6" y="28"/>
                    <a:pt x="6" y="55"/>
                  </a:cubicBezTo>
                  <a:cubicBezTo>
                    <a:pt x="6" y="81"/>
                    <a:pt x="28" y="103"/>
                    <a:pt x="54" y="103"/>
                  </a:cubicBezTo>
                  <a:cubicBezTo>
                    <a:pt x="81" y="103"/>
                    <a:pt x="103" y="81"/>
                    <a:pt x="103" y="55"/>
                  </a:cubicBezTo>
                  <a:cubicBezTo>
                    <a:pt x="103" y="28"/>
                    <a:pt x="81" y="6"/>
                    <a:pt x="54" y="6"/>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00A1DE"/>
                </a:solidFill>
              </a:endParaRPr>
            </a:p>
          </p:txBody>
        </p:sp>
        <p:sp>
          <p:nvSpPr>
            <p:cNvPr id="226" name="Freeform 11">
              <a:extLst>
                <a:ext uri="{FF2B5EF4-FFF2-40B4-BE49-F238E27FC236}">
                  <a16:creationId xmlns:a16="http://schemas.microsoft.com/office/drawing/2014/main" id="{23C782BD-3A33-2542-948F-7E30406233CF}"/>
                </a:ext>
              </a:extLst>
            </p:cNvPr>
            <p:cNvSpPr>
              <a:spLocks noEditPoints="1"/>
            </p:cNvSpPr>
            <p:nvPr/>
          </p:nvSpPr>
          <p:spPr bwMode="auto">
            <a:xfrm>
              <a:off x="5367794" y="844986"/>
              <a:ext cx="507151" cy="506376"/>
            </a:xfrm>
            <a:custGeom>
              <a:avLst/>
              <a:gdLst>
                <a:gd name="T0" fmla="*/ 54 w 109"/>
                <a:gd name="T1" fmla="*/ 109 h 109"/>
                <a:gd name="T2" fmla="*/ 0 w 109"/>
                <a:gd name="T3" fmla="*/ 55 h 109"/>
                <a:gd name="T4" fmla="*/ 54 w 109"/>
                <a:gd name="T5" fmla="*/ 0 h 109"/>
                <a:gd name="T6" fmla="*/ 109 w 109"/>
                <a:gd name="T7" fmla="*/ 55 h 109"/>
                <a:gd name="T8" fmla="*/ 54 w 109"/>
                <a:gd name="T9" fmla="*/ 109 h 109"/>
                <a:gd name="T10" fmla="*/ 54 w 109"/>
                <a:gd name="T11" fmla="*/ 6 h 109"/>
                <a:gd name="T12" fmla="*/ 6 w 109"/>
                <a:gd name="T13" fmla="*/ 55 h 109"/>
                <a:gd name="T14" fmla="*/ 54 w 109"/>
                <a:gd name="T15" fmla="*/ 103 h 109"/>
                <a:gd name="T16" fmla="*/ 103 w 109"/>
                <a:gd name="T17" fmla="*/ 55 h 109"/>
                <a:gd name="T18" fmla="*/ 54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4" y="109"/>
                  </a:moveTo>
                  <a:cubicBezTo>
                    <a:pt x="24" y="109"/>
                    <a:pt x="0" y="85"/>
                    <a:pt x="0" y="55"/>
                  </a:cubicBezTo>
                  <a:cubicBezTo>
                    <a:pt x="0" y="25"/>
                    <a:pt x="24" y="0"/>
                    <a:pt x="54" y="0"/>
                  </a:cubicBezTo>
                  <a:cubicBezTo>
                    <a:pt x="84" y="0"/>
                    <a:pt x="109" y="25"/>
                    <a:pt x="109" y="55"/>
                  </a:cubicBezTo>
                  <a:cubicBezTo>
                    <a:pt x="109" y="85"/>
                    <a:pt x="84" y="109"/>
                    <a:pt x="54" y="109"/>
                  </a:cubicBezTo>
                  <a:close/>
                  <a:moveTo>
                    <a:pt x="54" y="6"/>
                  </a:moveTo>
                  <a:cubicBezTo>
                    <a:pt x="28" y="6"/>
                    <a:pt x="6" y="28"/>
                    <a:pt x="6" y="55"/>
                  </a:cubicBezTo>
                  <a:cubicBezTo>
                    <a:pt x="6" y="81"/>
                    <a:pt x="28" y="103"/>
                    <a:pt x="54" y="103"/>
                  </a:cubicBezTo>
                  <a:cubicBezTo>
                    <a:pt x="81" y="103"/>
                    <a:pt x="103" y="81"/>
                    <a:pt x="103" y="55"/>
                  </a:cubicBezTo>
                  <a:cubicBezTo>
                    <a:pt x="103" y="28"/>
                    <a:pt x="81" y="6"/>
                    <a:pt x="54" y="6"/>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dirty="0">
                <a:solidFill>
                  <a:prstClr val="black"/>
                </a:solidFill>
              </a:endParaRPr>
            </a:p>
          </p:txBody>
        </p:sp>
        <p:sp>
          <p:nvSpPr>
            <p:cNvPr id="227" name="Freeform 12">
              <a:extLst>
                <a:ext uri="{FF2B5EF4-FFF2-40B4-BE49-F238E27FC236}">
                  <a16:creationId xmlns:a16="http://schemas.microsoft.com/office/drawing/2014/main" id="{79E8950A-9736-9E4E-8E54-2934282C8A27}"/>
                </a:ext>
              </a:extLst>
            </p:cNvPr>
            <p:cNvSpPr>
              <a:spLocks noEditPoints="1"/>
            </p:cNvSpPr>
            <p:nvPr/>
          </p:nvSpPr>
          <p:spPr bwMode="auto">
            <a:xfrm>
              <a:off x="5893527" y="1779537"/>
              <a:ext cx="507151" cy="511022"/>
            </a:xfrm>
            <a:custGeom>
              <a:avLst/>
              <a:gdLst>
                <a:gd name="T0" fmla="*/ 55 w 109"/>
                <a:gd name="T1" fmla="*/ 110 h 110"/>
                <a:gd name="T2" fmla="*/ 0 w 109"/>
                <a:gd name="T3" fmla="*/ 55 h 110"/>
                <a:gd name="T4" fmla="*/ 55 w 109"/>
                <a:gd name="T5" fmla="*/ 0 h 110"/>
                <a:gd name="T6" fmla="*/ 109 w 109"/>
                <a:gd name="T7" fmla="*/ 55 h 110"/>
                <a:gd name="T8" fmla="*/ 55 w 109"/>
                <a:gd name="T9" fmla="*/ 110 h 110"/>
                <a:gd name="T10" fmla="*/ 55 w 109"/>
                <a:gd name="T11" fmla="*/ 7 h 110"/>
                <a:gd name="T12" fmla="*/ 6 w 109"/>
                <a:gd name="T13" fmla="*/ 55 h 110"/>
                <a:gd name="T14" fmla="*/ 55 w 109"/>
                <a:gd name="T15" fmla="*/ 103 h 110"/>
                <a:gd name="T16" fmla="*/ 103 w 109"/>
                <a:gd name="T17" fmla="*/ 55 h 110"/>
                <a:gd name="T18" fmla="*/ 55 w 109"/>
                <a:gd name="T19" fmla="*/ 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10">
                  <a:moveTo>
                    <a:pt x="55" y="110"/>
                  </a:moveTo>
                  <a:cubicBezTo>
                    <a:pt x="25" y="110"/>
                    <a:pt x="0" y="85"/>
                    <a:pt x="0" y="55"/>
                  </a:cubicBezTo>
                  <a:cubicBezTo>
                    <a:pt x="0" y="25"/>
                    <a:pt x="25" y="0"/>
                    <a:pt x="55" y="0"/>
                  </a:cubicBezTo>
                  <a:cubicBezTo>
                    <a:pt x="85" y="0"/>
                    <a:pt x="109" y="25"/>
                    <a:pt x="109" y="55"/>
                  </a:cubicBezTo>
                  <a:cubicBezTo>
                    <a:pt x="109" y="85"/>
                    <a:pt x="85" y="110"/>
                    <a:pt x="55" y="110"/>
                  </a:cubicBezTo>
                  <a:close/>
                  <a:moveTo>
                    <a:pt x="55" y="7"/>
                  </a:moveTo>
                  <a:cubicBezTo>
                    <a:pt x="28" y="7"/>
                    <a:pt x="6" y="28"/>
                    <a:pt x="6" y="55"/>
                  </a:cubicBezTo>
                  <a:cubicBezTo>
                    <a:pt x="6" y="82"/>
                    <a:pt x="28" y="103"/>
                    <a:pt x="55" y="103"/>
                  </a:cubicBezTo>
                  <a:cubicBezTo>
                    <a:pt x="81" y="103"/>
                    <a:pt x="103" y="82"/>
                    <a:pt x="103" y="55"/>
                  </a:cubicBezTo>
                  <a:cubicBezTo>
                    <a:pt x="103" y="28"/>
                    <a:pt x="81" y="7"/>
                    <a:pt x="55" y="7"/>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dirty="0">
                <a:solidFill>
                  <a:prstClr val="black"/>
                </a:solidFill>
              </a:endParaRPr>
            </a:p>
          </p:txBody>
        </p:sp>
        <p:sp>
          <p:nvSpPr>
            <p:cNvPr id="228" name="Freeform 7">
              <a:extLst>
                <a:ext uri="{FF2B5EF4-FFF2-40B4-BE49-F238E27FC236}">
                  <a16:creationId xmlns:a16="http://schemas.microsoft.com/office/drawing/2014/main" id="{FA017BDC-503A-0445-9CC1-CD24CB678F51}"/>
                </a:ext>
              </a:extLst>
            </p:cNvPr>
            <p:cNvSpPr>
              <a:spLocks noEditPoints="1"/>
            </p:cNvSpPr>
            <p:nvPr/>
          </p:nvSpPr>
          <p:spPr bwMode="auto">
            <a:xfrm>
              <a:off x="4024424" y="2202292"/>
              <a:ext cx="669749" cy="669749"/>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9 h 144"/>
                <a:gd name="T12" fmla="*/ 8 w 144"/>
                <a:gd name="T13" fmla="*/ 72 h 144"/>
                <a:gd name="T14" fmla="*/ 72 w 144"/>
                <a:gd name="T15" fmla="*/ 136 h 144"/>
                <a:gd name="T16" fmla="*/ 135 w 144"/>
                <a:gd name="T17" fmla="*/ 72 h 144"/>
                <a:gd name="T18" fmla="*/ 72 w 144"/>
                <a:gd name="T19" fmla="*/ 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2" y="0"/>
                    <a:pt x="144" y="33"/>
                    <a:pt x="144" y="72"/>
                  </a:cubicBezTo>
                  <a:cubicBezTo>
                    <a:pt x="144" y="112"/>
                    <a:pt x="112" y="144"/>
                    <a:pt x="72" y="144"/>
                  </a:cubicBezTo>
                  <a:close/>
                  <a:moveTo>
                    <a:pt x="72" y="9"/>
                  </a:moveTo>
                  <a:cubicBezTo>
                    <a:pt x="37" y="9"/>
                    <a:pt x="8" y="37"/>
                    <a:pt x="8" y="72"/>
                  </a:cubicBezTo>
                  <a:cubicBezTo>
                    <a:pt x="8" y="107"/>
                    <a:pt x="37" y="136"/>
                    <a:pt x="72" y="136"/>
                  </a:cubicBezTo>
                  <a:cubicBezTo>
                    <a:pt x="107" y="136"/>
                    <a:pt x="135" y="107"/>
                    <a:pt x="135" y="72"/>
                  </a:cubicBezTo>
                  <a:cubicBezTo>
                    <a:pt x="135" y="37"/>
                    <a:pt x="107" y="9"/>
                    <a:pt x="72" y="9"/>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002776"/>
                </a:solidFill>
              </a:endParaRPr>
            </a:p>
          </p:txBody>
        </p:sp>
        <p:sp>
          <p:nvSpPr>
            <p:cNvPr id="237" name="Freeform 15">
              <a:extLst>
                <a:ext uri="{FF2B5EF4-FFF2-40B4-BE49-F238E27FC236}">
                  <a16:creationId xmlns:a16="http://schemas.microsoft.com/office/drawing/2014/main" id="{D86C1297-5F61-9D44-9616-EE2A6159BDAE}"/>
                </a:ext>
              </a:extLst>
            </p:cNvPr>
            <p:cNvSpPr>
              <a:spLocks noEditPoints="1"/>
            </p:cNvSpPr>
            <p:nvPr/>
          </p:nvSpPr>
          <p:spPr bwMode="auto">
            <a:xfrm>
              <a:off x="3768914" y="728845"/>
              <a:ext cx="362361" cy="362361"/>
            </a:xfrm>
            <a:custGeom>
              <a:avLst/>
              <a:gdLst>
                <a:gd name="T0" fmla="*/ 39 w 78"/>
                <a:gd name="T1" fmla="*/ 78 h 78"/>
                <a:gd name="T2" fmla="*/ 0 w 78"/>
                <a:gd name="T3" fmla="*/ 39 h 78"/>
                <a:gd name="T4" fmla="*/ 39 w 78"/>
                <a:gd name="T5" fmla="*/ 0 h 78"/>
                <a:gd name="T6" fmla="*/ 78 w 78"/>
                <a:gd name="T7" fmla="*/ 39 h 78"/>
                <a:gd name="T8" fmla="*/ 39 w 78"/>
                <a:gd name="T9" fmla="*/ 78 h 78"/>
                <a:gd name="T10" fmla="*/ 39 w 78"/>
                <a:gd name="T11" fmla="*/ 4 h 78"/>
                <a:gd name="T12" fmla="*/ 4 w 78"/>
                <a:gd name="T13" fmla="*/ 39 h 78"/>
                <a:gd name="T14" fmla="*/ 39 w 78"/>
                <a:gd name="T15" fmla="*/ 74 h 78"/>
                <a:gd name="T16" fmla="*/ 74 w 78"/>
                <a:gd name="T17" fmla="*/ 39 h 78"/>
                <a:gd name="T18" fmla="*/ 39 w 78"/>
                <a:gd name="T19"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39" y="78"/>
                  </a:moveTo>
                  <a:cubicBezTo>
                    <a:pt x="17" y="78"/>
                    <a:pt x="0" y="61"/>
                    <a:pt x="0" y="39"/>
                  </a:cubicBezTo>
                  <a:cubicBezTo>
                    <a:pt x="0" y="17"/>
                    <a:pt x="17" y="0"/>
                    <a:pt x="39" y="0"/>
                  </a:cubicBezTo>
                  <a:cubicBezTo>
                    <a:pt x="61" y="0"/>
                    <a:pt x="78" y="17"/>
                    <a:pt x="78" y="39"/>
                  </a:cubicBezTo>
                  <a:cubicBezTo>
                    <a:pt x="78" y="61"/>
                    <a:pt x="61" y="78"/>
                    <a:pt x="39" y="78"/>
                  </a:cubicBezTo>
                  <a:close/>
                  <a:moveTo>
                    <a:pt x="39" y="4"/>
                  </a:moveTo>
                  <a:cubicBezTo>
                    <a:pt x="20" y="4"/>
                    <a:pt x="4" y="20"/>
                    <a:pt x="4" y="39"/>
                  </a:cubicBezTo>
                  <a:cubicBezTo>
                    <a:pt x="4" y="58"/>
                    <a:pt x="20" y="74"/>
                    <a:pt x="39" y="74"/>
                  </a:cubicBezTo>
                  <a:cubicBezTo>
                    <a:pt x="58" y="74"/>
                    <a:pt x="74" y="58"/>
                    <a:pt x="74" y="39"/>
                  </a:cubicBezTo>
                  <a:cubicBezTo>
                    <a:pt x="74" y="20"/>
                    <a:pt x="58" y="4"/>
                    <a:pt x="39"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8" name="Oval 103">
              <a:extLst>
                <a:ext uri="{FF2B5EF4-FFF2-40B4-BE49-F238E27FC236}">
                  <a16:creationId xmlns:a16="http://schemas.microsoft.com/office/drawing/2014/main" id="{15E8E719-06C0-6548-9F23-B8D0CE9BD233}"/>
                </a:ext>
              </a:extLst>
            </p:cNvPr>
            <p:cNvSpPr>
              <a:spLocks noChangeArrowheads="1"/>
            </p:cNvSpPr>
            <p:nvPr/>
          </p:nvSpPr>
          <p:spPr bwMode="auto">
            <a:xfrm>
              <a:off x="3189662" y="455302"/>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9" name="Freeform 45">
              <a:extLst>
                <a:ext uri="{FF2B5EF4-FFF2-40B4-BE49-F238E27FC236}">
                  <a16:creationId xmlns:a16="http://schemas.microsoft.com/office/drawing/2014/main" id="{B00B0941-540B-2147-A470-13A9A513F1DE}"/>
                </a:ext>
              </a:extLst>
            </p:cNvPr>
            <p:cNvSpPr>
              <a:spLocks noEditPoints="1"/>
            </p:cNvSpPr>
            <p:nvPr/>
          </p:nvSpPr>
          <p:spPr bwMode="auto">
            <a:xfrm>
              <a:off x="6976678" y="2405731"/>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10" name="Oval 107">
              <a:extLst>
                <a:ext uri="{FF2B5EF4-FFF2-40B4-BE49-F238E27FC236}">
                  <a16:creationId xmlns:a16="http://schemas.microsoft.com/office/drawing/2014/main" id="{674A8548-F7FB-9343-933A-ADD0B79DA560}"/>
                </a:ext>
              </a:extLst>
            </p:cNvPr>
            <p:cNvSpPr>
              <a:spLocks noChangeArrowheads="1"/>
            </p:cNvSpPr>
            <p:nvPr/>
          </p:nvSpPr>
          <p:spPr bwMode="auto">
            <a:xfrm>
              <a:off x="5725351" y="476404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11" name="Oval 101">
              <a:extLst>
                <a:ext uri="{FF2B5EF4-FFF2-40B4-BE49-F238E27FC236}">
                  <a16:creationId xmlns:a16="http://schemas.microsoft.com/office/drawing/2014/main" id="{D56681F4-4F16-3246-AD4E-E9DEE95BC7DB}"/>
                </a:ext>
              </a:extLst>
            </p:cNvPr>
            <p:cNvSpPr>
              <a:spLocks noChangeArrowheads="1"/>
            </p:cNvSpPr>
            <p:nvPr/>
          </p:nvSpPr>
          <p:spPr bwMode="auto">
            <a:xfrm>
              <a:off x="2894647" y="4064011"/>
              <a:ext cx="98333"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12" name="Oval 107">
              <a:extLst>
                <a:ext uri="{FF2B5EF4-FFF2-40B4-BE49-F238E27FC236}">
                  <a16:creationId xmlns:a16="http://schemas.microsoft.com/office/drawing/2014/main" id="{4499202C-9006-3F49-9C35-80671EA1D6C4}"/>
                </a:ext>
              </a:extLst>
            </p:cNvPr>
            <p:cNvSpPr>
              <a:spLocks noChangeArrowheads="1"/>
            </p:cNvSpPr>
            <p:nvPr/>
          </p:nvSpPr>
          <p:spPr bwMode="auto">
            <a:xfrm>
              <a:off x="4455048" y="4440993"/>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sp>
        <p:nvSpPr>
          <p:cNvPr id="232" name="Oval 231">
            <a:extLst>
              <a:ext uri="{FF2B5EF4-FFF2-40B4-BE49-F238E27FC236}">
                <a16:creationId xmlns:a16="http://schemas.microsoft.com/office/drawing/2014/main" id="{CC179A9F-F44A-0C40-96E4-1B78B522C46B}"/>
              </a:ext>
            </a:extLst>
          </p:cNvPr>
          <p:cNvSpPr/>
          <p:nvPr/>
        </p:nvSpPr>
        <p:spPr bwMode="gray">
          <a:xfrm>
            <a:off x="2096815" y="3014540"/>
            <a:ext cx="494589" cy="494589"/>
          </a:xfrm>
          <a:prstGeom prst="ellipse">
            <a:avLst/>
          </a:prstGeom>
          <a:solidFill>
            <a:schemeClr val="accent1"/>
          </a:solidFill>
          <a:ln w="6350" algn="ctr">
            <a:noFill/>
            <a:miter lim="800000"/>
            <a:headEnd/>
            <a:tailEnd/>
          </a:ln>
        </p:spPr>
        <p:txBody>
          <a:bodyPr wrap="none" lIns="0" tIns="0" rIns="0" bIns="0" rtlCol="0" anchor="ctr"/>
          <a:lstStyle/>
          <a:p>
            <a:pPr algn="ctr" defTabSz="913686">
              <a:lnSpc>
                <a:spcPct val="106000"/>
              </a:lnSpc>
            </a:pPr>
            <a:r>
              <a:rPr lang="en-US" sz="1100" b="1" dirty="0">
                <a:solidFill>
                  <a:prstClr val="white"/>
                </a:solidFill>
              </a:rPr>
              <a:t>10.0%</a:t>
            </a:r>
          </a:p>
        </p:txBody>
      </p:sp>
      <p:sp>
        <p:nvSpPr>
          <p:cNvPr id="213" name="Oval 212">
            <a:extLst>
              <a:ext uri="{FF2B5EF4-FFF2-40B4-BE49-F238E27FC236}">
                <a16:creationId xmlns:a16="http://schemas.microsoft.com/office/drawing/2014/main" id="{9575F0C1-7436-D949-9DFF-3796D405FB87}"/>
              </a:ext>
            </a:extLst>
          </p:cNvPr>
          <p:cNvSpPr/>
          <p:nvPr/>
        </p:nvSpPr>
        <p:spPr bwMode="gray">
          <a:xfrm>
            <a:off x="3504991" y="3969407"/>
            <a:ext cx="494589" cy="494589"/>
          </a:xfrm>
          <a:prstGeom prst="ellipse">
            <a:avLst/>
          </a:prstGeom>
          <a:solidFill>
            <a:schemeClr val="accent1"/>
          </a:solidFill>
          <a:ln w="6350" algn="ctr">
            <a:noFill/>
            <a:miter lim="800000"/>
            <a:headEnd/>
            <a:tailEnd/>
          </a:ln>
        </p:spPr>
        <p:txBody>
          <a:bodyPr wrap="none" lIns="0" tIns="0" rIns="0" bIns="0" rtlCol="0" anchor="ctr"/>
          <a:lstStyle/>
          <a:p>
            <a:pPr algn="ctr" defTabSz="913686">
              <a:lnSpc>
                <a:spcPct val="106000"/>
              </a:lnSpc>
            </a:pPr>
            <a:r>
              <a:rPr lang="en-US" sz="1100" b="1" dirty="0">
                <a:solidFill>
                  <a:prstClr val="white"/>
                </a:solidFill>
              </a:rPr>
              <a:t>10.0%</a:t>
            </a:r>
          </a:p>
        </p:txBody>
      </p:sp>
      <p:sp>
        <p:nvSpPr>
          <p:cNvPr id="234" name="Oval 233">
            <a:extLst>
              <a:ext uri="{FF2B5EF4-FFF2-40B4-BE49-F238E27FC236}">
                <a16:creationId xmlns:a16="http://schemas.microsoft.com/office/drawing/2014/main" id="{79882AA4-4DEC-8044-B9CF-D14782040C85}"/>
              </a:ext>
            </a:extLst>
          </p:cNvPr>
          <p:cNvSpPr/>
          <p:nvPr/>
        </p:nvSpPr>
        <p:spPr bwMode="gray">
          <a:xfrm>
            <a:off x="3944537" y="2572134"/>
            <a:ext cx="375261" cy="375261"/>
          </a:xfrm>
          <a:prstGeom prst="ellipse">
            <a:avLst/>
          </a:prstGeom>
          <a:solidFill>
            <a:srgbClr val="0076A8"/>
          </a:solidFill>
          <a:ln w="6350" algn="ctr">
            <a:noFill/>
            <a:miter lim="800000"/>
            <a:headEnd/>
            <a:tailEnd/>
          </a:ln>
        </p:spPr>
        <p:txBody>
          <a:bodyPr wrap="none" lIns="0" tIns="0" rIns="0" bIns="0" rtlCol="0" anchor="ctr"/>
          <a:lstStyle/>
          <a:p>
            <a:pPr algn="ctr" defTabSz="913686">
              <a:lnSpc>
                <a:spcPct val="106000"/>
              </a:lnSpc>
            </a:pPr>
            <a:r>
              <a:rPr lang="en-US" sz="900" b="1" dirty="0">
                <a:solidFill>
                  <a:prstClr val="white"/>
                </a:solidFill>
              </a:rPr>
              <a:t>10.5%</a:t>
            </a:r>
          </a:p>
        </p:txBody>
      </p:sp>
      <p:sp>
        <p:nvSpPr>
          <p:cNvPr id="214" name="Oval 213">
            <a:extLst>
              <a:ext uri="{FF2B5EF4-FFF2-40B4-BE49-F238E27FC236}">
                <a16:creationId xmlns:a16="http://schemas.microsoft.com/office/drawing/2014/main" id="{D091D8FC-9FEC-1549-9580-3BB3D86123F8}"/>
              </a:ext>
            </a:extLst>
          </p:cNvPr>
          <p:cNvSpPr/>
          <p:nvPr/>
        </p:nvSpPr>
        <p:spPr bwMode="gray">
          <a:xfrm>
            <a:off x="3418076" y="1634193"/>
            <a:ext cx="375261" cy="375261"/>
          </a:xfrm>
          <a:prstGeom prst="ellipse">
            <a:avLst/>
          </a:prstGeom>
          <a:solidFill>
            <a:srgbClr val="0076A8"/>
          </a:solidFill>
          <a:ln w="6350" algn="ctr">
            <a:noFill/>
            <a:miter lim="800000"/>
            <a:headEnd/>
            <a:tailEnd/>
          </a:ln>
        </p:spPr>
        <p:txBody>
          <a:bodyPr wrap="none" lIns="0" tIns="0" rIns="0" bIns="0" rtlCol="0" anchor="ctr"/>
          <a:lstStyle/>
          <a:p>
            <a:pPr algn="ctr" defTabSz="913686">
              <a:lnSpc>
                <a:spcPct val="106000"/>
              </a:lnSpc>
            </a:pPr>
            <a:r>
              <a:rPr lang="en-US" sz="900" b="1" dirty="0">
                <a:solidFill>
                  <a:prstClr val="white"/>
                </a:solidFill>
              </a:rPr>
              <a:t>10.5%</a:t>
            </a:r>
          </a:p>
        </p:txBody>
      </p:sp>
      <p:sp>
        <p:nvSpPr>
          <p:cNvPr id="215" name="Oval 214">
            <a:extLst>
              <a:ext uri="{FF2B5EF4-FFF2-40B4-BE49-F238E27FC236}">
                <a16:creationId xmlns:a16="http://schemas.microsoft.com/office/drawing/2014/main" id="{B7D55406-A636-624B-8082-BE000B544CB2}"/>
              </a:ext>
            </a:extLst>
          </p:cNvPr>
          <p:cNvSpPr/>
          <p:nvPr/>
        </p:nvSpPr>
        <p:spPr bwMode="gray">
          <a:xfrm>
            <a:off x="1219625" y="2250732"/>
            <a:ext cx="375261" cy="375261"/>
          </a:xfrm>
          <a:prstGeom prst="ellipse">
            <a:avLst/>
          </a:prstGeom>
          <a:solidFill>
            <a:srgbClr val="0076A8"/>
          </a:solidFill>
          <a:ln w="6350" algn="ctr">
            <a:noFill/>
            <a:miter lim="800000"/>
            <a:headEnd/>
            <a:tailEnd/>
          </a:ln>
        </p:spPr>
        <p:txBody>
          <a:bodyPr wrap="none" lIns="0" tIns="0" rIns="0" bIns="0" rtlCol="0" anchor="ctr"/>
          <a:lstStyle/>
          <a:p>
            <a:pPr algn="ctr" defTabSz="913686">
              <a:lnSpc>
                <a:spcPct val="106000"/>
              </a:lnSpc>
            </a:pPr>
            <a:r>
              <a:rPr lang="en-US" sz="900" b="1" dirty="0">
                <a:solidFill>
                  <a:prstClr val="white"/>
                </a:solidFill>
              </a:rPr>
              <a:t>10.5%</a:t>
            </a:r>
          </a:p>
        </p:txBody>
      </p:sp>
      <p:sp>
        <p:nvSpPr>
          <p:cNvPr id="216" name="Oval 215">
            <a:extLst>
              <a:ext uri="{FF2B5EF4-FFF2-40B4-BE49-F238E27FC236}">
                <a16:creationId xmlns:a16="http://schemas.microsoft.com/office/drawing/2014/main" id="{19607D43-7F8D-2848-9FE9-E62D6E200371}"/>
              </a:ext>
            </a:extLst>
          </p:cNvPr>
          <p:cNvSpPr/>
          <p:nvPr/>
        </p:nvSpPr>
        <p:spPr bwMode="gray">
          <a:xfrm>
            <a:off x="2212430" y="4483230"/>
            <a:ext cx="375261" cy="375261"/>
          </a:xfrm>
          <a:prstGeom prst="ellipse">
            <a:avLst/>
          </a:prstGeom>
          <a:solidFill>
            <a:srgbClr val="0076A8"/>
          </a:solidFill>
          <a:ln w="6350" algn="ctr">
            <a:noFill/>
            <a:miter lim="800000"/>
            <a:headEnd/>
            <a:tailEnd/>
          </a:ln>
        </p:spPr>
        <p:txBody>
          <a:bodyPr wrap="none" lIns="0" tIns="0" rIns="0" bIns="0" rtlCol="0" anchor="ctr"/>
          <a:lstStyle/>
          <a:p>
            <a:pPr algn="ctr" defTabSz="913686">
              <a:lnSpc>
                <a:spcPct val="106000"/>
              </a:lnSpc>
            </a:pPr>
            <a:r>
              <a:rPr lang="en-US" sz="900" b="1" dirty="0">
                <a:solidFill>
                  <a:prstClr val="white"/>
                </a:solidFill>
              </a:rPr>
              <a:t>10.5%</a:t>
            </a:r>
          </a:p>
        </p:txBody>
      </p:sp>
      <p:sp>
        <p:nvSpPr>
          <p:cNvPr id="260" name="Oval 259">
            <a:extLst>
              <a:ext uri="{FF2B5EF4-FFF2-40B4-BE49-F238E27FC236}">
                <a16:creationId xmlns:a16="http://schemas.microsoft.com/office/drawing/2014/main" id="{0D009709-4C71-A84B-AE99-9939453549F5}"/>
              </a:ext>
            </a:extLst>
          </p:cNvPr>
          <p:cNvSpPr/>
          <p:nvPr/>
        </p:nvSpPr>
        <p:spPr bwMode="gray">
          <a:xfrm>
            <a:off x="1800550" y="1504513"/>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sp>
        <p:nvSpPr>
          <p:cNvPr id="217" name="Oval 216">
            <a:extLst>
              <a:ext uri="{FF2B5EF4-FFF2-40B4-BE49-F238E27FC236}">
                <a16:creationId xmlns:a16="http://schemas.microsoft.com/office/drawing/2014/main" id="{1B92ED8F-B28E-4D40-A63C-1E703D72FD5C}"/>
              </a:ext>
            </a:extLst>
          </p:cNvPr>
          <p:cNvSpPr/>
          <p:nvPr/>
        </p:nvSpPr>
        <p:spPr bwMode="gray">
          <a:xfrm>
            <a:off x="4420987" y="1451011"/>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sp>
        <p:nvSpPr>
          <p:cNvPr id="218" name="Oval 217">
            <a:extLst>
              <a:ext uri="{FF2B5EF4-FFF2-40B4-BE49-F238E27FC236}">
                <a16:creationId xmlns:a16="http://schemas.microsoft.com/office/drawing/2014/main" id="{E5DB3B56-6598-6C46-9F87-80EB0EA6FCF8}"/>
              </a:ext>
            </a:extLst>
          </p:cNvPr>
          <p:cNvSpPr/>
          <p:nvPr/>
        </p:nvSpPr>
        <p:spPr bwMode="gray">
          <a:xfrm>
            <a:off x="3140827" y="3145180"/>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sp>
        <p:nvSpPr>
          <p:cNvPr id="219" name="Oval 218">
            <a:extLst>
              <a:ext uri="{FF2B5EF4-FFF2-40B4-BE49-F238E27FC236}">
                <a16:creationId xmlns:a16="http://schemas.microsoft.com/office/drawing/2014/main" id="{0743C335-CDDE-4D4C-8102-52D8BCA8CEBF}"/>
              </a:ext>
            </a:extLst>
          </p:cNvPr>
          <p:cNvSpPr/>
          <p:nvPr/>
        </p:nvSpPr>
        <p:spPr bwMode="gray">
          <a:xfrm>
            <a:off x="1476619" y="4152382"/>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sp>
        <p:nvSpPr>
          <p:cNvPr id="220" name="Oval 219">
            <a:extLst>
              <a:ext uri="{FF2B5EF4-FFF2-40B4-BE49-F238E27FC236}">
                <a16:creationId xmlns:a16="http://schemas.microsoft.com/office/drawing/2014/main" id="{C64A969A-1CF0-8243-9567-F2441F16A935}"/>
              </a:ext>
            </a:extLst>
          </p:cNvPr>
          <p:cNvSpPr/>
          <p:nvPr/>
        </p:nvSpPr>
        <p:spPr bwMode="gray">
          <a:xfrm>
            <a:off x="1628176" y="5222230"/>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sp>
        <p:nvSpPr>
          <p:cNvPr id="221" name="Oval 220">
            <a:extLst>
              <a:ext uri="{FF2B5EF4-FFF2-40B4-BE49-F238E27FC236}">
                <a16:creationId xmlns:a16="http://schemas.microsoft.com/office/drawing/2014/main" id="{DD30065D-2EF4-A74A-8913-70A142B5DB9F}"/>
              </a:ext>
            </a:extLst>
          </p:cNvPr>
          <p:cNvSpPr/>
          <p:nvPr/>
        </p:nvSpPr>
        <p:spPr bwMode="gray">
          <a:xfrm>
            <a:off x="3945499" y="5053747"/>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grpSp>
        <p:nvGrpSpPr>
          <p:cNvPr id="222" name="Group 221">
            <a:extLst>
              <a:ext uri="{FF2B5EF4-FFF2-40B4-BE49-F238E27FC236}">
                <a16:creationId xmlns:a16="http://schemas.microsoft.com/office/drawing/2014/main" id="{79B95C8B-0635-FA4A-B9AF-3C07C1E9EF3C}"/>
              </a:ext>
            </a:extLst>
          </p:cNvPr>
          <p:cNvGrpSpPr/>
          <p:nvPr/>
        </p:nvGrpSpPr>
        <p:grpSpPr>
          <a:xfrm>
            <a:off x="6629400" y="1196458"/>
            <a:ext cx="4506289" cy="4371565"/>
            <a:chOff x="2731383" y="472558"/>
            <a:chExt cx="4506289" cy="4371565"/>
          </a:xfrm>
          <a:solidFill>
            <a:schemeClr val="bg1">
              <a:lumMod val="85000"/>
            </a:schemeClr>
          </a:solidFill>
        </p:grpSpPr>
        <p:sp>
          <p:nvSpPr>
            <p:cNvPr id="229" name="Freeform 70">
              <a:extLst>
                <a:ext uri="{FF2B5EF4-FFF2-40B4-BE49-F238E27FC236}">
                  <a16:creationId xmlns:a16="http://schemas.microsoft.com/office/drawing/2014/main" id="{4869A961-7248-4F42-90B9-940766EA463B}"/>
                </a:ext>
              </a:extLst>
            </p:cNvPr>
            <p:cNvSpPr>
              <a:spLocks/>
            </p:cNvSpPr>
            <p:nvPr/>
          </p:nvSpPr>
          <p:spPr bwMode="auto">
            <a:xfrm>
              <a:off x="6256663" y="4364845"/>
              <a:ext cx="473857" cy="74330"/>
            </a:xfrm>
            <a:custGeom>
              <a:avLst/>
              <a:gdLst>
                <a:gd name="T0" fmla="*/ 0 w 612"/>
                <a:gd name="T1" fmla="*/ 96 h 96"/>
                <a:gd name="T2" fmla="*/ 0 w 612"/>
                <a:gd name="T3" fmla="*/ 78 h 96"/>
                <a:gd name="T4" fmla="*/ 606 w 612"/>
                <a:gd name="T5" fmla="*/ 0 h 96"/>
                <a:gd name="T6" fmla="*/ 612 w 612"/>
                <a:gd name="T7" fmla="*/ 12 h 96"/>
                <a:gd name="T8" fmla="*/ 0 w 612"/>
                <a:gd name="T9" fmla="*/ 96 h 96"/>
              </a:gdLst>
              <a:ahLst/>
              <a:cxnLst>
                <a:cxn ang="0">
                  <a:pos x="T0" y="T1"/>
                </a:cxn>
                <a:cxn ang="0">
                  <a:pos x="T2" y="T3"/>
                </a:cxn>
                <a:cxn ang="0">
                  <a:pos x="T4" y="T5"/>
                </a:cxn>
                <a:cxn ang="0">
                  <a:pos x="T6" y="T7"/>
                </a:cxn>
                <a:cxn ang="0">
                  <a:pos x="T8" y="T9"/>
                </a:cxn>
              </a:cxnLst>
              <a:rect l="0" t="0" r="r" b="b"/>
              <a:pathLst>
                <a:path w="612" h="96">
                  <a:moveTo>
                    <a:pt x="0" y="96"/>
                  </a:moveTo>
                  <a:lnTo>
                    <a:pt x="0" y="78"/>
                  </a:lnTo>
                  <a:lnTo>
                    <a:pt x="606" y="0"/>
                  </a:lnTo>
                  <a:lnTo>
                    <a:pt x="612" y="12"/>
                  </a:lnTo>
                  <a:lnTo>
                    <a:pt x="0" y="9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nvGrpSpPr>
            <p:cNvPr id="230" name="Group 229">
              <a:extLst>
                <a:ext uri="{FF2B5EF4-FFF2-40B4-BE49-F238E27FC236}">
                  <a16:creationId xmlns:a16="http://schemas.microsoft.com/office/drawing/2014/main" id="{396134A5-83AA-A146-9707-722AAD385116}"/>
                </a:ext>
              </a:extLst>
            </p:cNvPr>
            <p:cNvGrpSpPr/>
            <p:nvPr/>
          </p:nvGrpSpPr>
          <p:grpSpPr>
            <a:xfrm>
              <a:off x="2731383" y="472558"/>
              <a:ext cx="4506289" cy="4371565"/>
              <a:chOff x="2731383" y="472558"/>
              <a:chExt cx="4506289" cy="4371565"/>
            </a:xfrm>
            <a:grpFill/>
          </p:grpSpPr>
          <p:sp>
            <p:nvSpPr>
              <p:cNvPr id="231" name="Freeform 117">
                <a:extLst>
                  <a:ext uri="{FF2B5EF4-FFF2-40B4-BE49-F238E27FC236}">
                    <a16:creationId xmlns:a16="http://schemas.microsoft.com/office/drawing/2014/main" id="{C8F4E73E-5306-544C-9034-534708448623}"/>
                  </a:ext>
                </a:extLst>
              </p:cNvPr>
              <p:cNvSpPr>
                <a:spLocks/>
              </p:cNvSpPr>
              <p:nvPr/>
            </p:nvSpPr>
            <p:spPr bwMode="auto">
              <a:xfrm>
                <a:off x="2964441" y="4137208"/>
                <a:ext cx="209055" cy="218346"/>
              </a:xfrm>
              <a:custGeom>
                <a:avLst/>
                <a:gdLst>
                  <a:gd name="T0" fmla="*/ 258 w 270"/>
                  <a:gd name="T1" fmla="*/ 282 h 282"/>
                  <a:gd name="T2" fmla="*/ 0 w 270"/>
                  <a:gd name="T3" fmla="*/ 12 h 282"/>
                  <a:gd name="T4" fmla="*/ 12 w 270"/>
                  <a:gd name="T5" fmla="*/ 0 h 282"/>
                  <a:gd name="T6" fmla="*/ 270 w 270"/>
                  <a:gd name="T7" fmla="*/ 270 h 282"/>
                  <a:gd name="T8" fmla="*/ 258 w 270"/>
                  <a:gd name="T9" fmla="*/ 282 h 282"/>
                </a:gdLst>
                <a:ahLst/>
                <a:cxnLst>
                  <a:cxn ang="0">
                    <a:pos x="T0" y="T1"/>
                  </a:cxn>
                  <a:cxn ang="0">
                    <a:pos x="T2" y="T3"/>
                  </a:cxn>
                  <a:cxn ang="0">
                    <a:pos x="T4" y="T5"/>
                  </a:cxn>
                  <a:cxn ang="0">
                    <a:pos x="T6" y="T7"/>
                  </a:cxn>
                  <a:cxn ang="0">
                    <a:pos x="T8" y="T9"/>
                  </a:cxn>
                </a:cxnLst>
                <a:rect l="0" t="0" r="r" b="b"/>
                <a:pathLst>
                  <a:path w="270" h="282">
                    <a:moveTo>
                      <a:pt x="258" y="282"/>
                    </a:moveTo>
                    <a:lnTo>
                      <a:pt x="0" y="12"/>
                    </a:lnTo>
                    <a:lnTo>
                      <a:pt x="12" y="0"/>
                    </a:lnTo>
                    <a:lnTo>
                      <a:pt x="270" y="270"/>
                    </a:lnTo>
                    <a:lnTo>
                      <a:pt x="258" y="28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36" name="Freeform 118">
                <a:extLst>
                  <a:ext uri="{FF2B5EF4-FFF2-40B4-BE49-F238E27FC236}">
                    <a16:creationId xmlns:a16="http://schemas.microsoft.com/office/drawing/2014/main" id="{0CB9B9AE-8B47-CA4C-9F9C-C4BB643A615B}"/>
                  </a:ext>
                </a:extLst>
              </p:cNvPr>
              <p:cNvSpPr>
                <a:spLocks/>
              </p:cNvSpPr>
              <p:nvPr/>
            </p:nvSpPr>
            <p:spPr bwMode="auto">
              <a:xfrm>
                <a:off x="2870753" y="4504215"/>
                <a:ext cx="274868" cy="339908"/>
              </a:xfrm>
              <a:custGeom>
                <a:avLst/>
                <a:gdLst>
                  <a:gd name="T0" fmla="*/ 12 w 355"/>
                  <a:gd name="T1" fmla="*/ 439 h 439"/>
                  <a:gd name="T2" fmla="*/ 0 w 355"/>
                  <a:gd name="T3" fmla="*/ 427 h 439"/>
                  <a:gd name="T4" fmla="*/ 343 w 355"/>
                  <a:gd name="T5" fmla="*/ 0 h 439"/>
                  <a:gd name="T6" fmla="*/ 355 w 355"/>
                  <a:gd name="T7" fmla="*/ 12 h 439"/>
                  <a:gd name="T8" fmla="*/ 12 w 355"/>
                  <a:gd name="T9" fmla="*/ 439 h 439"/>
                </a:gdLst>
                <a:ahLst/>
                <a:cxnLst>
                  <a:cxn ang="0">
                    <a:pos x="T0" y="T1"/>
                  </a:cxn>
                  <a:cxn ang="0">
                    <a:pos x="T2" y="T3"/>
                  </a:cxn>
                  <a:cxn ang="0">
                    <a:pos x="T4" y="T5"/>
                  </a:cxn>
                  <a:cxn ang="0">
                    <a:pos x="T6" y="T7"/>
                  </a:cxn>
                  <a:cxn ang="0">
                    <a:pos x="T8" y="T9"/>
                  </a:cxn>
                </a:cxnLst>
                <a:rect l="0" t="0" r="r" b="b"/>
                <a:pathLst>
                  <a:path w="355" h="439">
                    <a:moveTo>
                      <a:pt x="12" y="439"/>
                    </a:moveTo>
                    <a:lnTo>
                      <a:pt x="0" y="427"/>
                    </a:lnTo>
                    <a:lnTo>
                      <a:pt x="343" y="0"/>
                    </a:lnTo>
                    <a:lnTo>
                      <a:pt x="355" y="12"/>
                    </a:lnTo>
                    <a:lnTo>
                      <a:pt x="12" y="43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61" name="Freeform 121">
                <a:extLst>
                  <a:ext uri="{FF2B5EF4-FFF2-40B4-BE49-F238E27FC236}">
                    <a16:creationId xmlns:a16="http://schemas.microsoft.com/office/drawing/2014/main" id="{7E7261F4-B16C-804C-9473-9917F2B80234}"/>
                  </a:ext>
                </a:extLst>
              </p:cNvPr>
              <p:cNvSpPr>
                <a:spLocks/>
              </p:cNvSpPr>
              <p:nvPr/>
            </p:nvSpPr>
            <p:spPr bwMode="auto">
              <a:xfrm>
                <a:off x="7093655" y="3541790"/>
                <a:ext cx="78976" cy="269448"/>
              </a:xfrm>
              <a:custGeom>
                <a:avLst/>
                <a:gdLst>
                  <a:gd name="T0" fmla="*/ 90 w 102"/>
                  <a:gd name="T1" fmla="*/ 348 h 348"/>
                  <a:gd name="T2" fmla="*/ 0 w 102"/>
                  <a:gd name="T3" fmla="*/ 6 h 348"/>
                  <a:gd name="T4" fmla="*/ 18 w 102"/>
                  <a:gd name="T5" fmla="*/ 0 h 348"/>
                  <a:gd name="T6" fmla="*/ 102 w 102"/>
                  <a:gd name="T7" fmla="*/ 348 h 348"/>
                  <a:gd name="T8" fmla="*/ 90 w 102"/>
                  <a:gd name="T9" fmla="*/ 348 h 348"/>
                </a:gdLst>
                <a:ahLst/>
                <a:cxnLst>
                  <a:cxn ang="0">
                    <a:pos x="T0" y="T1"/>
                  </a:cxn>
                  <a:cxn ang="0">
                    <a:pos x="T2" y="T3"/>
                  </a:cxn>
                  <a:cxn ang="0">
                    <a:pos x="T4" y="T5"/>
                  </a:cxn>
                  <a:cxn ang="0">
                    <a:pos x="T6" y="T7"/>
                  </a:cxn>
                  <a:cxn ang="0">
                    <a:pos x="T8" y="T9"/>
                  </a:cxn>
                </a:cxnLst>
                <a:rect l="0" t="0" r="r" b="b"/>
                <a:pathLst>
                  <a:path w="102" h="348">
                    <a:moveTo>
                      <a:pt x="90" y="348"/>
                    </a:moveTo>
                    <a:lnTo>
                      <a:pt x="0" y="6"/>
                    </a:lnTo>
                    <a:lnTo>
                      <a:pt x="18" y="0"/>
                    </a:lnTo>
                    <a:lnTo>
                      <a:pt x="102" y="348"/>
                    </a:lnTo>
                    <a:lnTo>
                      <a:pt x="90" y="3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62" name="Freeform 122">
                <a:extLst>
                  <a:ext uri="{FF2B5EF4-FFF2-40B4-BE49-F238E27FC236}">
                    <a16:creationId xmlns:a16="http://schemas.microsoft.com/office/drawing/2014/main" id="{DE39723E-0FE9-F548-9DD3-275D7AF7DBDA}"/>
                  </a:ext>
                </a:extLst>
              </p:cNvPr>
              <p:cNvSpPr>
                <a:spLocks/>
              </p:cNvSpPr>
              <p:nvPr/>
            </p:nvSpPr>
            <p:spPr bwMode="auto">
              <a:xfrm>
                <a:off x="6893118" y="4467049"/>
                <a:ext cx="125432" cy="227637"/>
              </a:xfrm>
              <a:custGeom>
                <a:avLst/>
                <a:gdLst>
                  <a:gd name="T0" fmla="*/ 144 w 162"/>
                  <a:gd name="T1" fmla="*/ 294 h 294"/>
                  <a:gd name="T2" fmla="*/ 0 w 162"/>
                  <a:gd name="T3" fmla="*/ 6 h 294"/>
                  <a:gd name="T4" fmla="*/ 18 w 162"/>
                  <a:gd name="T5" fmla="*/ 0 h 294"/>
                  <a:gd name="T6" fmla="*/ 162 w 162"/>
                  <a:gd name="T7" fmla="*/ 288 h 294"/>
                  <a:gd name="T8" fmla="*/ 144 w 162"/>
                  <a:gd name="T9" fmla="*/ 294 h 294"/>
                </a:gdLst>
                <a:ahLst/>
                <a:cxnLst>
                  <a:cxn ang="0">
                    <a:pos x="T0" y="T1"/>
                  </a:cxn>
                  <a:cxn ang="0">
                    <a:pos x="T2" y="T3"/>
                  </a:cxn>
                  <a:cxn ang="0">
                    <a:pos x="T4" y="T5"/>
                  </a:cxn>
                  <a:cxn ang="0">
                    <a:pos x="T6" y="T7"/>
                  </a:cxn>
                  <a:cxn ang="0">
                    <a:pos x="T8" y="T9"/>
                  </a:cxn>
                </a:cxnLst>
                <a:rect l="0" t="0" r="r" b="b"/>
                <a:pathLst>
                  <a:path w="162" h="294">
                    <a:moveTo>
                      <a:pt x="144" y="294"/>
                    </a:moveTo>
                    <a:lnTo>
                      <a:pt x="0" y="6"/>
                    </a:lnTo>
                    <a:lnTo>
                      <a:pt x="18" y="0"/>
                    </a:lnTo>
                    <a:lnTo>
                      <a:pt x="162" y="288"/>
                    </a:lnTo>
                    <a:lnTo>
                      <a:pt x="144" y="29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nvGrpSpPr>
              <p:cNvPr id="263" name="Group 262">
                <a:extLst>
                  <a:ext uri="{FF2B5EF4-FFF2-40B4-BE49-F238E27FC236}">
                    <a16:creationId xmlns:a16="http://schemas.microsoft.com/office/drawing/2014/main" id="{8B08D898-F6C6-AC47-93E4-B80313F7DB01}"/>
                  </a:ext>
                </a:extLst>
              </p:cNvPr>
              <p:cNvGrpSpPr/>
              <p:nvPr/>
            </p:nvGrpSpPr>
            <p:grpSpPr>
              <a:xfrm>
                <a:off x="2731383" y="472558"/>
                <a:ext cx="4506289" cy="4305750"/>
                <a:chOff x="2731383" y="472558"/>
                <a:chExt cx="4506289" cy="4305750"/>
              </a:xfrm>
              <a:grpFill/>
            </p:grpSpPr>
            <p:sp>
              <p:nvSpPr>
                <p:cNvPr id="266" name="Freeform 31">
                  <a:extLst>
                    <a:ext uri="{FF2B5EF4-FFF2-40B4-BE49-F238E27FC236}">
                      <a16:creationId xmlns:a16="http://schemas.microsoft.com/office/drawing/2014/main" id="{3968B181-3C41-5D47-B3CE-35D5386A385B}"/>
                    </a:ext>
                  </a:extLst>
                </p:cNvPr>
                <p:cNvSpPr>
                  <a:spLocks/>
                </p:cNvSpPr>
                <p:nvPr/>
              </p:nvSpPr>
              <p:spPr bwMode="auto">
                <a:xfrm>
                  <a:off x="4596615" y="2732671"/>
                  <a:ext cx="902031" cy="586127"/>
                </a:xfrm>
                <a:custGeom>
                  <a:avLst/>
                  <a:gdLst>
                    <a:gd name="T0" fmla="*/ 192 w 194"/>
                    <a:gd name="T1" fmla="*/ 126 h 126"/>
                    <a:gd name="T2" fmla="*/ 191 w 194"/>
                    <a:gd name="T3" fmla="*/ 126 h 126"/>
                    <a:gd name="T4" fmla="*/ 1 w 194"/>
                    <a:gd name="T5" fmla="*/ 4 h 126"/>
                    <a:gd name="T6" fmla="*/ 1 w 194"/>
                    <a:gd name="T7" fmla="*/ 2 h 126"/>
                    <a:gd name="T8" fmla="*/ 3 w 194"/>
                    <a:gd name="T9" fmla="*/ 1 h 126"/>
                    <a:gd name="T10" fmla="*/ 193 w 194"/>
                    <a:gd name="T11" fmla="*/ 122 h 126"/>
                    <a:gd name="T12" fmla="*/ 193 w 194"/>
                    <a:gd name="T13" fmla="*/ 125 h 126"/>
                    <a:gd name="T14" fmla="*/ 192 w 194"/>
                    <a:gd name="T15" fmla="*/ 126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126">
                      <a:moveTo>
                        <a:pt x="192" y="126"/>
                      </a:moveTo>
                      <a:cubicBezTo>
                        <a:pt x="191" y="126"/>
                        <a:pt x="191" y="126"/>
                        <a:pt x="191" y="126"/>
                      </a:cubicBezTo>
                      <a:cubicBezTo>
                        <a:pt x="1" y="4"/>
                        <a:pt x="1" y="4"/>
                        <a:pt x="1" y="4"/>
                      </a:cubicBezTo>
                      <a:cubicBezTo>
                        <a:pt x="0" y="4"/>
                        <a:pt x="0" y="3"/>
                        <a:pt x="1" y="2"/>
                      </a:cubicBezTo>
                      <a:cubicBezTo>
                        <a:pt x="1" y="1"/>
                        <a:pt x="2" y="0"/>
                        <a:pt x="3" y="1"/>
                      </a:cubicBezTo>
                      <a:cubicBezTo>
                        <a:pt x="193" y="122"/>
                        <a:pt x="193" y="122"/>
                        <a:pt x="193" y="122"/>
                      </a:cubicBezTo>
                      <a:cubicBezTo>
                        <a:pt x="194" y="123"/>
                        <a:pt x="194" y="124"/>
                        <a:pt x="193" y="125"/>
                      </a:cubicBezTo>
                      <a:cubicBezTo>
                        <a:pt x="193" y="126"/>
                        <a:pt x="192" y="126"/>
                        <a:pt x="192" y="12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67" name="Freeform 32">
                  <a:extLst>
                    <a:ext uri="{FF2B5EF4-FFF2-40B4-BE49-F238E27FC236}">
                      <a16:creationId xmlns:a16="http://schemas.microsoft.com/office/drawing/2014/main" id="{7AFAC214-FA3A-A946-8C7F-A8F9A95BC389}"/>
                    </a:ext>
                  </a:extLst>
                </p:cNvPr>
                <p:cNvSpPr>
                  <a:spLocks/>
                </p:cNvSpPr>
                <p:nvPr/>
              </p:nvSpPr>
              <p:spPr bwMode="auto">
                <a:xfrm>
                  <a:off x="3605541" y="1849222"/>
                  <a:ext cx="521088" cy="479277"/>
                </a:xfrm>
                <a:custGeom>
                  <a:avLst/>
                  <a:gdLst>
                    <a:gd name="T0" fmla="*/ 110 w 112"/>
                    <a:gd name="T1" fmla="*/ 103 h 103"/>
                    <a:gd name="T2" fmla="*/ 109 w 112"/>
                    <a:gd name="T3" fmla="*/ 102 h 103"/>
                    <a:gd name="T4" fmla="*/ 1 w 112"/>
                    <a:gd name="T5" fmla="*/ 3 h 103"/>
                    <a:gd name="T6" fmla="*/ 1 w 112"/>
                    <a:gd name="T7" fmla="*/ 1 h 103"/>
                    <a:gd name="T8" fmla="*/ 3 w 112"/>
                    <a:gd name="T9" fmla="*/ 1 h 103"/>
                    <a:gd name="T10" fmla="*/ 111 w 112"/>
                    <a:gd name="T11" fmla="*/ 99 h 103"/>
                    <a:gd name="T12" fmla="*/ 111 w 112"/>
                    <a:gd name="T13" fmla="*/ 102 h 103"/>
                    <a:gd name="T14" fmla="*/ 110 w 112"/>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103">
                      <a:moveTo>
                        <a:pt x="110" y="103"/>
                      </a:moveTo>
                      <a:cubicBezTo>
                        <a:pt x="110" y="103"/>
                        <a:pt x="109" y="102"/>
                        <a:pt x="109" y="102"/>
                      </a:cubicBezTo>
                      <a:cubicBezTo>
                        <a:pt x="1" y="3"/>
                        <a:pt x="1" y="3"/>
                        <a:pt x="1" y="3"/>
                      </a:cubicBezTo>
                      <a:cubicBezTo>
                        <a:pt x="0" y="3"/>
                        <a:pt x="0" y="1"/>
                        <a:pt x="1" y="1"/>
                      </a:cubicBezTo>
                      <a:cubicBezTo>
                        <a:pt x="1" y="0"/>
                        <a:pt x="3" y="0"/>
                        <a:pt x="3" y="1"/>
                      </a:cubicBezTo>
                      <a:cubicBezTo>
                        <a:pt x="111" y="99"/>
                        <a:pt x="111" y="99"/>
                        <a:pt x="111" y="99"/>
                      </a:cubicBezTo>
                      <a:cubicBezTo>
                        <a:pt x="112" y="100"/>
                        <a:pt x="112" y="101"/>
                        <a:pt x="111" y="102"/>
                      </a:cubicBezTo>
                      <a:cubicBezTo>
                        <a:pt x="111" y="102"/>
                        <a:pt x="111" y="103"/>
                        <a:pt x="110" y="10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68" name="Freeform 33">
                  <a:extLst>
                    <a:ext uri="{FF2B5EF4-FFF2-40B4-BE49-F238E27FC236}">
                      <a16:creationId xmlns:a16="http://schemas.microsoft.com/office/drawing/2014/main" id="{E04DBE95-8BCB-6E46-82BC-8EE9BCB4E53D}"/>
                    </a:ext>
                  </a:extLst>
                </p:cNvPr>
                <p:cNvSpPr>
                  <a:spLocks/>
                </p:cNvSpPr>
                <p:nvPr/>
              </p:nvSpPr>
              <p:spPr bwMode="auto">
                <a:xfrm>
                  <a:off x="3549794" y="1040103"/>
                  <a:ext cx="307388" cy="479277"/>
                </a:xfrm>
                <a:custGeom>
                  <a:avLst/>
                  <a:gdLst>
                    <a:gd name="T0" fmla="*/ 2 w 66"/>
                    <a:gd name="T1" fmla="*/ 103 h 103"/>
                    <a:gd name="T2" fmla="*/ 1 w 66"/>
                    <a:gd name="T3" fmla="*/ 103 h 103"/>
                    <a:gd name="T4" fmla="*/ 0 w 66"/>
                    <a:gd name="T5" fmla="*/ 100 h 103"/>
                    <a:gd name="T6" fmla="*/ 62 w 66"/>
                    <a:gd name="T7" fmla="*/ 2 h 103"/>
                    <a:gd name="T8" fmla="*/ 64 w 66"/>
                    <a:gd name="T9" fmla="*/ 1 h 103"/>
                    <a:gd name="T10" fmla="*/ 65 w 66"/>
                    <a:gd name="T11" fmla="*/ 4 h 103"/>
                    <a:gd name="T12" fmla="*/ 4 w 66"/>
                    <a:gd name="T13" fmla="*/ 102 h 103"/>
                    <a:gd name="T14" fmla="*/ 2 w 66"/>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03">
                      <a:moveTo>
                        <a:pt x="2" y="103"/>
                      </a:moveTo>
                      <a:cubicBezTo>
                        <a:pt x="2" y="103"/>
                        <a:pt x="1" y="103"/>
                        <a:pt x="1" y="103"/>
                      </a:cubicBezTo>
                      <a:cubicBezTo>
                        <a:pt x="0" y="102"/>
                        <a:pt x="0" y="101"/>
                        <a:pt x="0" y="100"/>
                      </a:cubicBezTo>
                      <a:cubicBezTo>
                        <a:pt x="62" y="2"/>
                        <a:pt x="62" y="2"/>
                        <a:pt x="62" y="2"/>
                      </a:cubicBezTo>
                      <a:cubicBezTo>
                        <a:pt x="62" y="1"/>
                        <a:pt x="63" y="0"/>
                        <a:pt x="64" y="1"/>
                      </a:cubicBezTo>
                      <a:cubicBezTo>
                        <a:pt x="65" y="2"/>
                        <a:pt x="66" y="3"/>
                        <a:pt x="65" y="4"/>
                      </a:cubicBezTo>
                      <a:cubicBezTo>
                        <a:pt x="4" y="102"/>
                        <a:pt x="4" y="102"/>
                        <a:pt x="4" y="102"/>
                      </a:cubicBezTo>
                      <a:cubicBezTo>
                        <a:pt x="3" y="103"/>
                        <a:pt x="3" y="103"/>
                        <a:pt x="2" y="10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72" name="Freeform 34">
                  <a:extLst>
                    <a:ext uri="{FF2B5EF4-FFF2-40B4-BE49-F238E27FC236}">
                      <a16:creationId xmlns:a16="http://schemas.microsoft.com/office/drawing/2014/main" id="{6BF759D9-C745-9A43-8209-991C3C57C031}"/>
                    </a:ext>
                  </a:extLst>
                </p:cNvPr>
                <p:cNvSpPr>
                  <a:spLocks/>
                </p:cNvSpPr>
                <p:nvPr/>
              </p:nvSpPr>
              <p:spPr bwMode="auto">
                <a:xfrm>
                  <a:off x="3145621" y="858923"/>
                  <a:ext cx="190472" cy="632584"/>
                </a:xfrm>
                <a:custGeom>
                  <a:avLst/>
                  <a:gdLst>
                    <a:gd name="T0" fmla="*/ 38 w 41"/>
                    <a:gd name="T1" fmla="*/ 136 h 136"/>
                    <a:gd name="T2" fmla="*/ 36 w 41"/>
                    <a:gd name="T3" fmla="*/ 134 h 136"/>
                    <a:gd name="T4" fmla="*/ 0 w 41"/>
                    <a:gd name="T5" fmla="*/ 2 h 136"/>
                    <a:gd name="T6" fmla="*/ 2 w 41"/>
                    <a:gd name="T7" fmla="*/ 0 h 136"/>
                    <a:gd name="T8" fmla="*/ 4 w 41"/>
                    <a:gd name="T9" fmla="*/ 1 h 136"/>
                    <a:gd name="T10" fmla="*/ 40 w 41"/>
                    <a:gd name="T11" fmla="*/ 133 h 136"/>
                    <a:gd name="T12" fmla="*/ 39 w 41"/>
                    <a:gd name="T13" fmla="*/ 136 h 136"/>
                    <a:gd name="T14" fmla="*/ 38 w 41"/>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36">
                      <a:moveTo>
                        <a:pt x="38" y="136"/>
                      </a:moveTo>
                      <a:cubicBezTo>
                        <a:pt x="37" y="136"/>
                        <a:pt x="36" y="135"/>
                        <a:pt x="36" y="134"/>
                      </a:cubicBezTo>
                      <a:cubicBezTo>
                        <a:pt x="0" y="2"/>
                        <a:pt x="0" y="2"/>
                        <a:pt x="0" y="2"/>
                      </a:cubicBezTo>
                      <a:cubicBezTo>
                        <a:pt x="0" y="1"/>
                        <a:pt x="1" y="0"/>
                        <a:pt x="2" y="0"/>
                      </a:cubicBezTo>
                      <a:cubicBezTo>
                        <a:pt x="3" y="0"/>
                        <a:pt x="4" y="0"/>
                        <a:pt x="4" y="1"/>
                      </a:cubicBezTo>
                      <a:cubicBezTo>
                        <a:pt x="40" y="133"/>
                        <a:pt x="40" y="133"/>
                        <a:pt x="40" y="133"/>
                      </a:cubicBezTo>
                      <a:cubicBezTo>
                        <a:pt x="41" y="134"/>
                        <a:pt x="40" y="135"/>
                        <a:pt x="39" y="136"/>
                      </a:cubicBezTo>
                      <a:cubicBezTo>
                        <a:pt x="39" y="136"/>
                        <a:pt x="38" y="136"/>
                        <a:pt x="38" y="13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82" name="Freeform 55">
                  <a:extLst>
                    <a:ext uri="{FF2B5EF4-FFF2-40B4-BE49-F238E27FC236}">
                      <a16:creationId xmlns:a16="http://schemas.microsoft.com/office/drawing/2014/main" id="{22E726DE-2E18-3C42-87C2-49D9C8265B96}"/>
                    </a:ext>
                  </a:extLst>
                </p:cNvPr>
                <p:cNvSpPr>
                  <a:spLocks/>
                </p:cNvSpPr>
                <p:nvPr/>
              </p:nvSpPr>
              <p:spPr bwMode="auto">
                <a:xfrm>
                  <a:off x="4540092" y="1923552"/>
                  <a:ext cx="442112" cy="367007"/>
                </a:xfrm>
                <a:custGeom>
                  <a:avLst/>
                  <a:gdLst>
                    <a:gd name="T0" fmla="*/ 2 w 95"/>
                    <a:gd name="T1" fmla="*/ 79 h 79"/>
                    <a:gd name="T2" fmla="*/ 1 w 95"/>
                    <a:gd name="T3" fmla="*/ 78 h 79"/>
                    <a:gd name="T4" fmla="*/ 1 w 95"/>
                    <a:gd name="T5" fmla="*/ 75 h 79"/>
                    <a:gd name="T6" fmla="*/ 92 w 95"/>
                    <a:gd name="T7" fmla="*/ 0 h 79"/>
                    <a:gd name="T8" fmla="*/ 95 w 95"/>
                    <a:gd name="T9" fmla="*/ 1 h 79"/>
                    <a:gd name="T10" fmla="*/ 94 w 95"/>
                    <a:gd name="T11" fmla="*/ 4 h 79"/>
                    <a:gd name="T12" fmla="*/ 4 w 95"/>
                    <a:gd name="T13" fmla="*/ 78 h 79"/>
                    <a:gd name="T14" fmla="*/ 2 w 95"/>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79">
                      <a:moveTo>
                        <a:pt x="2" y="79"/>
                      </a:moveTo>
                      <a:cubicBezTo>
                        <a:pt x="2" y="79"/>
                        <a:pt x="1" y="78"/>
                        <a:pt x="1" y="78"/>
                      </a:cubicBezTo>
                      <a:cubicBezTo>
                        <a:pt x="0" y="77"/>
                        <a:pt x="0" y="76"/>
                        <a:pt x="1" y="75"/>
                      </a:cubicBezTo>
                      <a:cubicBezTo>
                        <a:pt x="92" y="0"/>
                        <a:pt x="92" y="0"/>
                        <a:pt x="92" y="0"/>
                      </a:cubicBezTo>
                      <a:cubicBezTo>
                        <a:pt x="93" y="0"/>
                        <a:pt x="94" y="0"/>
                        <a:pt x="95" y="1"/>
                      </a:cubicBezTo>
                      <a:cubicBezTo>
                        <a:pt x="95" y="2"/>
                        <a:pt x="95" y="3"/>
                        <a:pt x="94" y="4"/>
                      </a:cubicBezTo>
                      <a:cubicBezTo>
                        <a:pt x="4" y="78"/>
                        <a:pt x="4" y="78"/>
                        <a:pt x="4" y="78"/>
                      </a:cubicBezTo>
                      <a:cubicBezTo>
                        <a:pt x="3" y="79"/>
                        <a:pt x="3" y="79"/>
                        <a:pt x="2" y="7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83" name="Freeform 56">
                  <a:extLst>
                    <a:ext uri="{FF2B5EF4-FFF2-40B4-BE49-F238E27FC236}">
                      <a16:creationId xmlns:a16="http://schemas.microsoft.com/office/drawing/2014/main" id="{007F15C0-E1B5-5F4C-ABAD-87DF13861DA0}"/>
                    </a:ext>
                  </a:extLst>
                </p:cNvPr>
                <p:cNvSpPr>
                  <a:spLocks/>
                </p:cNvSpPr>
                <p:nvPr/>
              </p:nvSpPr>
              <p:spPr bwMode="auto">
                <a:xfrm>
                  <a:off x="5047243" y="1295614"/>
                  <a:ext cx="456049" cy="553608"/>
                </a:xfrm>
                <a:custGeom>
                  <a:avLst/>
                  <a:gdLst>
                    <a:gd name="T0" fmla="*/ 3 w 98"/>
                    <a:gd name="T1" fmla="*/ 119 h 119"/>
                    <a:gd name="T2" fmla="*/ 1 w 98"/>
                    <a:gd name="T3" fmla="*/ 119 h 119"/>
                    <a:gd name="T4" fmla="*/ 1 w 98"/>
                    <a:gd name="T5" fmla="*/ 116 h 119"/>
                    <a:gd name="T6" fmla="*/ 94 w 98"/>
                    <a:gd name="T7" fmla="*/ 1 h 119"/>
                    <a:gd name="T8" fmla="*/ 97 w 98"/>
                    <a:gd name="T9" fmla="*/ 1 h 119"/>
                    <a:gd name="T10" fmla="*/ 98 w 98"/>
                    <a:gd name="T11" fmla="*/ 4 h 119"/>
                    <a:gd name="T12" fmla="*/ 4 w 98"/>
                    <a:gd name="T13" fmla="*/ 118 h 119"/>
                    <a:gd name="T14" fmla="*/ 3 w 98"/>
                    <a:gd name="T15" fmla="*/ 119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19">
                      <a:moveTo>
                        <a:pt x="3" y="119"/>
                      </a:moveTo>
                      <a:cubicBezTo>
                        <a:pt x="2" y="119"/>
                        <a:pt x="2" y="119"/>
                        <a:pt x="1" y="119"/>
                      </a:cubicBezTo>
                      <a:cubicBezTo>
                        <a:pt x="1" y="118"/>
                        <a:pt x="0" y="117"/>
                        <a:pt x="1" y="116"/>
                      </a:cubicBezTo>
                      <a:cubicBezTo>
                        <a:pt x="94" y="1"/>
                        <a:pt x="94" y="1"/>
                        <a:pt x="94" y="1"/>
                      </a:cubicBezTo>
                      <a:cubicBezTo>
                        <a:pt x="95" y="0"/>
                        <a:pt x="96" y="0"/>
                        <a:pt x="97" y="1"/>
                      </a:cubicBezTo>
                      <a:cubicBezTo>
                        <a:pt x="98" y="1"/>
                        <a:pt x="98" y="3"/>
                        <a:pt x="98" y="4"/>
                      </a:cubicBezTo>
                      <a:cubicBezTo>
                        <a:pt x="4" y="118"/>
                        <a:pt x="4" y="118"/>
                        <a:pt x="4" y="118"/>
                      </a:cubicBezTo>
                      <a:cubicBezTo>
                        <a:pt x="4" y="119"/>
                        <a:pt x="3" y="119"/>
                        <a:pt x="3" y="11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0" name="Freeform 57">
                  <a:extLst>
                    <a:ext uri="{FF2B5EF4-FFF2-40B4-BE49-F238E27FC236}">
                      <a16:creationId xmlns:a16="http://schemas.microsoft.com/office/drawing/2014/main" id="{EA0A5390-A121-2145-A214-807DB4D18D3D}"/>
                    </a:ext>
                  </a:extLst>
                </p:cNvPr>
                <p:cNvSpPr>
                  <a:spLocks/>
                </p:cNvSpPr>
                <p:nvPr/>
              </p:nvSpPr>
              <p:spPr bwMode="auto">
                <a:xfrm>
                  <a:off x="4680236" y="2505034"/>
                  <a:ext cx="427400" cy="55748"/>
                </a:xfrm>
                <a:custGeom>
                  <a:avLst/>
                  <a:gdLst>
                    <a:gd name="T0" fmla="*/ 552 w 552"/>
                    <a:gd name="T1" fmla="*/ 72 h 72"/>
                    <a:gd name="T2" fmla="*/ 0 w 552"/>
                    <a:gd name="T3" fmla="*/ 12 h 72"/>
                    <a:gd name="T4" fmla="*/ 0 w 552"/>
                    <a:gd name="T5" fmla="*/ 0 h 72"/>
                    <a:gd name="T6" fmla="*/ 552 w 552"/>
                    <a:gd name="T7" fmla="*/ 54 h 72"/>
                    <a:gd name="T8" fmla="*/ 552 w 552"/>
                    <a:gd name="T9" fmla="*/ 72 h 72"/>
                  </a:gdLst>
                  <a:ahLst/>
                  <a:cxnLst>
                    <a:cxn ang="0">
                      <a:pos x="T0" y="T1"/>
                    </a:cxn>
                    <a:cxn ang="0">
                      <a:pos x="T2" y="T3"/>
                    </a:cxn>
                    <a:cxn ang="0">
                      <a:pos x="T4" y="T5"/>
                    </a:cxn>
                    <a:cxn ang="0">
                      <a:pos x="T6" y="T7"/>
                    </a:cxn>
                    <a:cxn ang="0">
                      <a:pos x="T8" y="T9"/>
                    </a:cxn>
                  </a:cxnLst>
                  <a:rect l="0" t="0" r="r" b="b"/>
                  <a:pathLst>
                    <a:path w="552" h="72">
                      <a:moveTo>
                        <a:pt x="552" y="72"/>
                      </a:moveTo>
                      <a:lnTo>
                        <a:pt x="0" y="12"/>
                      </a:lnTo>
                      <a:lnTo>
                        <a:pt x="0" y="0"/>
                      </a:lnTo>
                      <a:lnTo>
                        <a:pt x="552" y="54"/>
                      </a:lnTo>
                      <a:lnTo>
                        <a:pt x="552" y="7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1" name="Freeform 58">
                  <a:extLst>
                    <a:ext uri="{FF2B5EF4-FFF2-40B4-BE49-F238E27FC236}">
                      <a16:creationId xmlns:a16="http://schemas.microsoft.com/office/drawing/2014/main" id="{BC9D0EDE-89A2-8B4F-8268-F7B0966DA50D}"/>
                    </a:ext>
                  </a:extLst>
                </p:cNvPr>
                <p:cNvSpPr>
                  <a:spLocks/>
                </p:cNvSpPr>
                <p:nvPr/>
              </p:nvSpPr>
              <p:spPr bwMode="auto">
                <a:xfrm>
                  <a:off x="5033307" y="1942135"/>
                  <a:ext cx="181180" cy="460695"/>
                </a:xfrm>
                <a:custGeom>
                  <a:avLst/>
                  <a:gdLst>
                    <a:gd name="T0" fmla="*/ 216 w 234"/>
                    <a:gd name="T1" fmla="*/ 595 h 595"/>
                    <a:gd name="T2" fmla="*/ 0 w 234"/>
                    <a:gd name="T3" fmla="*/ 6 h 595"/>
                    <a:gd name="T4" fmla="*/ 18 w 234"/>
                    <a:gd name="T5" fmla="*/ 0 h 595"/>
                    <a:gd name="T6" fmla="*/ 234 w 234"/>
                    <a:gd name="T7" fmla="*/ 589 h 595"/>
                    <a:gd name="T8" fmla="*/ 216 w 234"/>
                    <a:gd name="T9" fmla="*/ 595 h 595"/>
                  </a:gdLst>
                  <a:ahLst/>
                  <a:cxnLst>
                    <a:cxn ang="0">
                      <a:pos x="T0" y="T1"/>
                    </a:cxn>
                    <a:cxn ang="0">
                      <a:pos x="T2" y="T3"/>
                    </a:cxn>
                    <a:cxn ang="0">
                      <a:pos x="T4" y="T5"/>
                    </a:cxn>
                    <a:cxn ang="0">
                      <a:pos x="T6" y="T7"/>
                    </a:cxn>
                    <a:cxn ang="0">
                      <a:pos x="T8" y="T9"/>
                    </a:cxn>
                  </a:cxnLst>
                  <a:rect l="0" t="0" r="r" b="b"/>
                  <a:pathLst>
                    <a:path w="234" h="595">
                      <a:moveTo>
                        <a:pt x="216" y="595"/>
                      </a:moveTo>
                      <a:lnTo>
                        <a:pt x="0" y="6"/>
                      </a:lnTo>
                      <a:lnTo>
                        <a:pt x="18" y="0"/>
                      </a:lnTo>
                      <a:lnTo>
                        <a:pt x="234" y="589"/>
                      </a:lnTo>
                      <a:lnTo>
                        <a:pt x="216" y="59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2" name="Freeform 59">
                  <a:extLst>
                    <a:ext uri="{FF2B5EF4-FFF2-40B4-BE49-F238E27FC236}">
                      <a16:creationId xmlns:a16="http://schemas.microsoft.com/office/drawing/2014/main" id="{F56E600E-90C7-5F45-9FBD-3C716D0AE7E1}"/>
                    </a:ext>
                  </a:extLst>
                </p:cNvPr>
                <p:cNvSpPr>
                  <a:spLocks/>
                </p:cNvSpPr>
                <p:nvPr/>
              </p:nvSpPr>
              <p:spPr bwMode="auto">
                <a:xfrm>
                  <a:off x="5442898" y="2137252"/>
                  <a:ext cx="483148" cy="325971"/>
                </a:xfrm>
                <a:custGeom>
                  <a:avLst/>
                  <a:gdLst>
                    <a:gd name="T0" fmla="*/ 6 w 624"/>
                    <a:gd name="T1" fmla="*/ 421 h 421"/>
                    <a:gd name="T2" fmla="*/ 0 w 624"/>
                    <a:gd name="T3" fmla="*/ 409 h 421"/>
                    <a:gd name="T4" fmla="*/ 612 w 624"/>
                    <a:gd name="T5" fmla="*/ 0 h 421"/>
                    <a:gd name="T6" fmla="*/ 624 w 624"/>
                    <a:gd name="T7" fmla="*/ 12 h 421"/>
                    <a:gd name="T8" fmla="*/ 6 w 624"/>
                    <a:gd name="T9" fmla="*/ 421 h 421"/>
                  </a:gdLst>
                  <a:ahLst/>
                  <a:cxnLst>
                    <a:cxn ang="0">
                      <a:pos x="T0" y="T1"/>
                    </a:cxn>
                    <a:cxn ang="0">
                      <a:pos x="T2" y="T3"/>
                    </a:cxn>
                    <a:cxn ang="0">
                      <a:pos x="T4" y="T5"/>
                    </a:cxn>
                    <a:cxn ang="0">
                      <a:pos x="T6" y="T7"/>
                    </a:cxn>
                    <a:cxn ang="0">
                      <a:pos x="T8" y="T9"/>
                    </a:cxn>
                  </a:cxnLst>
                  <a:rect l="0" t="0" r="r" b="b"/>
                  <a:pathLst>
                    <a:path w="624" h="421">
                      <a:moveTo>
                        <a:pt x="6" y="421"/>
                      </a:moveTo>
                      <a:lnTo>
                        <a:pt x="0" y="409"/>
                      </a:lnTo>
                      <a:lnTo>
                        <a:pt x="612" y="0"/>
                      </a:lnTo>
                      <a:lnTo>
                        <a:pt x="624" y="12"/>
                      </a:lnTo>
                      <a:lnTo>
                        <a:pt x="6" y="42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3" name="Freeform 60">
                  <a:extLst>
                    <a:ext uri="{FF2B5EF4-FFF2-40B4-BE49-F238E27FC236}">
                      <a16:creationId xmlns:a16="http://schemas.microsoft.com/office/drawing/2014/main" id="{A2B283EF-4B95-624A-B6CE-655896B4153C}"/>
                    </a:ext>
                  </a:extLst>
                </p:cNvPr>
                <p:cNvSpPr>
                  <a:spLocks/>
                </p:cNvSpPr>
                <p:nvPr/>
              </p:nvSpPr>
              <p:spPr bwMode="auto">
                <a:xfrm>
                  <a:off x="4982204" y="1156245"/>
                  <a:ext cx="399526" cy="157952"/>
                </a:xfrm>
                <a:custGeom>
                  <a:avLst/>
                  <a:gdLst>
                    <a:gd name="T0" fmla="*/ 6 w 516"/>
                    <a:gd name="T1" fmla="*/ 204 h 204"/>
                    <a:gd name="T2" fmla="*/ 0 w 516"/>
                    <a:gd name="T3" fmla="*/ 186 h 204"/>
                    <a:gd name="T4" fmla="*/ 516 w 516"/>
                    <a:gd name="T5" fmla="*/ 0 h 204"/>
                    <a:gd name="T6" fmla="*/ 516 w 516"/>
                    <a:gd name="T7" fmla="*/ 18 h 204"/>
                    <a:gd name="T8" fmla="*/ 6 w 516"/>
                    <a:gd name="T9" fmla="*/ 204 h 204"/>
                  </a:gdLst>
                  <a:ahLst/>
                  <a:cxnLst>
                    <a:cxn ang="0">
                      <a:pos x="T0" y="T1"/>
                    </a:cxn>
                    <a:cxn ang="0">
                      <a:pos x="T2" y="T3"/>
                    </a:cxn>
                    <a:cxn ang="0">
                      <a:pos x="T4" y="T5"/>
                    </a:cxn>
                    <a:cxn ang="0">
                      <a:pos x="T6" y="T7"/>
                    </a:cxn>
                    <a:cxn ang="0">
                      <a:pos x="T8" y="T9"/>
                    </a:cxn>
                  </a:cxnLst>
                  <a:rect l="0" t="0" r="r" b="b"/>
                  <a:pathLst>
                    <a:path w="516" h="204">
                      <a:moveTo>
                        <a:pt x="6" y="204"/>
                      </a:moveTo>
                      <a:lnTo>
                        <a:pt x="0" y="186"/>
                      </a:lnTo>
                      <a:lnTo>
                        <a:pt x="516" y="0"/>
                      </a:lnTo>
                      <a:lnTo>
                        <a:pt x="516" y="18"/>
                      </a:lnTo>
                      <a:lnTo>
                        <a:pt x="6" y="20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4" name="Freeform 61">
                  <a:extLst>
                    <a:ext uri="{FF2B5EF4-FFF2-40B4-BE49-F238E27FC236}">
                      <a16:creationId xmlns:a16="http://schemas.microsoft.com/office/drawing/2014/main" id="{1DB0F539-85D7-B44A-956D-CDCA3C0ACB4F}"/>
                    </a:ext>
                  </a:extLst>
                </p:cNvPr>
                <p:cNvSpPr>
                  <a:spLocks/>
                </p:cNvSpPr>
                <p:nvPr/>
              </p:nvSpPr>
              <p:spPr bwMode="auto">
                <a:xfrm>
                  <a:off x="5749512" y="630511"/>
                  <a:ext cx="232282" cy="260931"/>
                </a:xfrm>
                <a:custGeom>
                  <a:avLst/>
                  <a:gdLst>
                    <a:gd name="T0" fmla="*/ 12 w 300"/>
                    <a:gd name="T1" fmla="*/ 337 h 337"/>
                    <a:gd name="T2" fmla="*/ 0 w 300"/>
                    <a:gd name="T3" fmla="*/ 325 h 337"/>
                    <a:gd name="T4" fmla="*/ 288 w 300"/>
                    <a:gd name="T5" fmla="*/ 0 h 337"/>
                    <a:gd name="T6" fmla="*/ 300 w 300"/>
                    <a:gd name="T7" fmla="*/ 13 h 337"/>
                    <a:gd name="T8" fmla="*/ 12 w 300"/>
                    <a:gd name="T9" fmla="*/ 337 h 337"/>
                  </a:gdLst>
                  <a:ahLst/>
                  <a:cxnLst>
                    <a:cxn ang="0">
                      <a:pos x="T0" y="T1"/>
                    </a:cxn>
                    <a:cxn ang="0">
                      <a:pos x="T2" y="T3"/>
                    </a:cxn>
                    <a:cxn ang="0">
                      <a:pos x="T4" y="T5"/>
                    </a:cxn>
                    <a:cxn ang="0">
                      <a:pos x="T6" y="T7"/>
                    </a:cxn>
                    <a:cxn ang="0">
                      <a:pos x="T8" y="T9"/>
                    </a:cxn>
                  </a:cxnLst>
                  <a:rect l="0" t="0" r="r" b="b"/>
                  <a:pathLst>
                    <a:path w="300" h="337">
                      <a:moveTo>
                        <a:pt x="12" y="337"/>
                      </a:moveTo>
                      <a:lnTo>
                        <a:pt x="0" y="325"/>
                      </a:lnTo>
                      <a:lnTo>
                        <a:pt x="288" y="0"/>
                      </a:lnTo>
                      <a:lnTo>
                        <a:pt x="300" y="13"/>
                      </a:lnTo>
                      <a:lnTo>
                        <a:pt x="12" y="33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5" name="Freeform 62">
                  <a:extLst>
                    <a:ext uri="{FF2B5EF4-FFF2-40B4-BE49-F238E27FC236}">
                      <a16:creationId xmlns:a16="http://schemas.microsoft.com/office/drawing/2014/main" id="{F30DD469-55F5-9A4F-B5DF-BF923C2561B1}"/>
                    </a:ext>
                  </a:extLst>
                </p:cNvPr>
                <p:cNvSpPr>
                  <a:spLocks/>
                </p:cNvSpPr>
                <p:nvPr/>
              </p:nvSpPr>
              <p:spPr bwMode="auto">
                <a:xfrm>
                  <a:off x="5856362" y="942545"/>
                  <a:ext cx="562899" cy="130078"/>
                </a:xfrm>
                <a:custGeom>
                  <a:avLst/>
                  <a:gdLst>
                    <a:gd name="T0" fmla="*/ 6 w 727"/>
                    <a:gd name="T1" fmla="*/ 168 h 168"/>
                    <a:gd name="T2" fmla="*/ 0 w 727"/>
                    <a:gd name="T3" fmla="*/ 150 h 168"/>
                    <a:gd name="T4" fmla="*/ 727 w 727"/>
                    <a:gd name="T5" fmla="*/ 0 h 168"/>
                    <a:gd name="T6" fmla="*/ 727 w 727"/>
                    <a:gd name="T7" fmla="*/ 12 h 168"/>
                    <a:gd name="T8" fmla="*/ 6 w 727"/>
                    <a:gd name="T9" fmla="*/ 168 h 168"/>
                  </a:gdLst>
                  <a:ahLst/>
                  <a:cxnLst>
                    <a:cxn ang="0">
                      <a:pos x="T0" y="T1"/>
                    </a:cxn>
                    <a:cxn ang="0">
                      <a:pos x="T2" y="T3"/>
                    </a:cxn>
                    <a:cxn ang="0">
                      <a:pos x="T4" y="T5"/>
                    </a:cxn>
                    <a:cxn ang="0">
                      <a:pos x="T6" y="T7"/>
                    </a:cxn>
                    <a:cxn ang="0">
                      <a:pos x="T8" y="T9"/>
                    </a:cxn>
                  </a:cxnLst>
                  <a:rect l="0" t="0" r="r" b="b"/>
                  <a:pathLst>
                    <a:path w="727" h="168">
                      <a:moveTo>
                        <a:pt x="6" y="168"/>
                      </a:moveTo>
                      <a:lnTo>
                        <a:pt x="0" y="150"/>
                      </a:lnTo>
                      <a:lnTo>
                        <a:pt x="727" y="0"/>
                      </a:lnTo>
                      <a:lnTo>
                        <a:pt x="727" y="12"/>
                      </a:lnTo>
                      <a:lnTo>
                        <a:pt x="6" y="16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6" name="Freeform 63">
                  <a:extLst>
                    <a:ext uri="{FF2B5EF4-FFF2-40B4-BE49-F238E27FC236}">
                      <a16:creationId xmlns:a16="http://schemas.microsoft.com/office/drawing/2014/main" id="{25DD3A06-AD19-EB43-AB4A-92FDD85617AF}"/>
                    </a:ext>
                  </a:extLst>
                </p:cNvPr>
                <p:cNvSpPr>
                  <a:spLocks/>
                </p:cNvSpPr>
                <p:nvPr/>
              </p:nvSpPr>
              <p:spPr bwMode="auto">
                <a:xfrm>
                  <a:off x="4349620" y="2881332"/>
                  <a:ext cx="51102" cy="818410"/>
                </a:xfrm>
                <a:custGeom>
                  <a:avLst/>
                  <a:gdLst>
                    <a:gd name="T0" fmla="*/ 54 w 66"/>
                    <a:gd name="T1" fmla="*/ 1057 h 1057"/>
                    <a:gd name="T2" fmla="*/ 0 w 66"/>
                    <a:gd name="T3" fmla="*/ 0 h 1057"/>
                    <a:gd name="T4" fmla="*/ 12 w 66"/>
                    <a:gd name="T5" fmla="*/ 0 h 1057"/>
                    <a:gd name="T6" fmla="*/ 66 w 66"/>
                    <a:gd name="T7" fmla="*/ 1057 h 1057"/>
                    <a:gd name="T8" fmla="*/ 54 w 66"/>
                    <a:gd name="T9" fmla="*/ 1057 h 1057"/>
                  </a:gdLst>
                  <a:ahLst/>
                  <a:cxnLst>
                    <a:cxn ang="0">
                      <a:pos x="T0" y="T1"/>
                    </a:cxn>
                    <a:cxn ang="0">
                      <a:pos x="T2" y="T3"/>
                    </a:cxn>
                    <a:cxn ang="0">
                      <a:pos x="T4" y="T5"/>
                    </a:cxn>
                    <a:cxn ang="0">
                      <a:pos x="T6" y="T7"/>
                    </a:cxn>
                    <a:cxn ang="0">
                      <a:pos x="T8" y="T9"/>
                    </a:cxn>
                  </a:cxnLst>
                  <a:rect l="0" t="0" r="r" b="b"/>
                  <a:pathLst>
                    <a:path w="66" h="1057">
                      <a:moveTo>
                        <a:pt x="54" y="1057"/>
                      </a:moveTo>
                      <a:lnTo>
                        <a:pt x="0" y="0"/>
                      </a:lnTo>
                      <a:lnTo>
                        <a:pt x="12" y="0"/>
                      </a:lnTo>
                      <a:lnTo>
                        <a:pt x="66" y="1057"/>
                      </a:lnTo>
                      <a:lnTo>
                        <a:pt x="54" y="105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7" name="Freeform 64">
                  <a:extLst>
                    <a:ext uri="{FF2B5EF4-FFF2-40B4-BE49-F238E27FC236}">
                      <a16:creationId xmlns:a16="http://schemas.microsoft.com/office/drawing/2014/main" id="{4F75EFAA-470A-4744-8F2B-277CCEC5E3AB}"/>
                    </a:ext>
                  </a:extLst>
                </p:cNvPr>
                <p:cNvSpPr>
                  <a:spLocks/>
                </p:cNvSpPr>
                <p:nvPr/>
              </p:nvSpPr>
              <p:spPr bwMode="auto">
                <a:xfrm>
                  <a:off x="3778205" y="3625411"/>
                  <a:ext cx="422755" cy="218346"/>
                </a:xfrm>
                <a:custGeom>
                  <a:avLst/>
                  <a:gdLst>
                    <a:gd name="T0" fmla="*/ 540 w 546"/>
                    <a:gd name="T1" fmla="*/ 282 h 282"/>
                    <a:gd name="T2" fmla="*/ 0 w 546"/>
                    <a:gd name="T3" fmla="*/ 18 h 282"/>
                    <a:gd name="T4" fmla="*/ 12 w 546"/>
                    <a:gd name="T5" fmla="*/ 0 h 282"/>
                    <a:gd name="T6" fmla="*/ 546 w 546"/>
                    <a:gd name="T7" fmla="*/ 264 h 282"/>
                    <a:gd name="T8" fmla="*/ 540 w 546"/>
                    <a:gd name="T9" fmla="*/ 282 h 282"/>
                  </a:gdLst>
                  <a:ahLst/>
                  <a:cxnLst>
                    <a:cxn ang="0">
                      <a:pos x="T0" y="T1"/>
                    </a:cxn>
                    <a:cxn ang="0">
                      <a:pos x="T2" y="T3"/>
                    </a:cxn>
                    <a:cxn ang="0">
                      <a:pos x="T4" y="T5"/>
                    </a:cxn>
                    <a:cxn ang="0">
                      <a:pos x="T6" y="T7"/>
                    </a:cxn>
                    <a:cxn ang="0">
                      <a:pos x="T8" y="T9"/>
                    </a:cxn>
                  </a:cxnLst>
                  <a:rect l="0" t="0" r="r" b="b"/>
                  <a:pathLst>
                    <a:path w="546" h="282">
                      <a:moveTo>
                        <a:pt x="540" y="282"/>
                      </a:moveTo>
                      <a:lnTo>
                        <a:pt x="0" y="18"/>
                      </a:lnTo>
                      <a:lnTo>
                        <a:pt x="12" y="0"/>
                      </a:lnTo>
                      <a:lnTo>
                        <a:pt x="546" y="264"/>
                      </a:lnTo>
                      <a:lnTo>
                        <a:pt x="540" y="28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8" name="Freeform 65">
                  <a:extLst>
                    <a:ext uri="{FF2B5EF4-FFF2-40B4-BE49-F238E27FC236}">
                      <a16:creationId xmlns:a16="http://schemas.microsoft.com/office/drawing/2014/main" id="{A560AB4A-92E9-264D-8DC1-39C4F030E348}"/>
                    </a:ext>
                  </a:extLst>
                </p:cNvPr>
                <p:cNvSpPr>
                  <a:spLocks/>
                </p:cNvSpPr>
                <p:nvPr/>
              </p:nvSpPr>
              <p:spPr bwMode="auto">
                <a:xfrm>
                  <a:off x="3089873" y="3193365"/>
                  <a:ext cx="399526" cy="255511"/>
                </a:xfrm>
                <a:custGeom>
                  <a:avLst/>
                  <a:gdLst>
                    <a:gd name="T0" fmla="*/ 504 w 516"/>
                    <a:gd name="T1" fmla="*/ 330 h 330"/>
                    <a:gd name="T2" fmla="*/ 0 w 516"/>
                    <a:gd name="T3" fmla="*/ 12 h 330"/>
                    <a:gd name="T4" fmla="*/ 12 w 516"/>
                    <a:gd name="T5" fmla="*/ 0 h 330"/>
                    <a:gd name="T6" fmla="*/ 516 w 516"/>
                    <a:gd name="T7" fmla="*/ 318 h 330"/>
                    <a:gd name="T8" fmla="*/ 504 w 516"/>
                    <a:gd name="T9" fmla="*/ 330 h 330"/>
                  </a:gdLst>
                  <a:ahLst/>
                  <a:cxnLst>
                    <a:cxn ang="0">
                      <a:pos x="T0" y="T1"/>
                    </a:cxn>
                    <a:cxn ang="0">
                      <a:pos x="T2" y="T3"/>
                    </a:cxn>
                    <a:cxn ang="0">
                      <a:pos x="T4" y="T5"/>
                    </a:cxn>
                    <a:cxn ang="0">
                      <a:pos x="T6" y="T7"/>
                    </a:cxn>
                    <a:cxn ang="0">
                      <a:pos x="T8" y="T9"/>
                    </a:cxn>
                  </a:cxnLst>
                  <a:rect l="0" t="0" r="r" b="b"/>
                  <a:pathLst>
                    <a:path w="516" h="330">
                      <a:moveTo>
                        <a:pt x="504" y="330"/>
                      </a:moveTo>
                      <a:lnTo>
                        <a:pt x="0" y="12"/>
                      </a:lnTo>
                      <a:lnTo>
                        <a:pt x="12" y="0"/>
                      </a:lnTo>
                      <a:lnTo>
                        <a:pt x="516" y="318"/>
                      </a:lnTo>
                      <a:lnTo>
                        <a:pt x="504" y="33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9" name="Freeform 66">
                  <a:extLst>
                    <a:ext uri="{FF2B5EF4-FFF2-40B4-BE49-F238E27FC236}">
                      <a16:creationId xmlns:a16="http://schemas.microsoft.com/office/drawing/2014/main" id="{30EE2F97-2400-624F-8C86-13AA9D75519E}"/>
                    </a:ext>
                  </a:extLst>
                </p:cNvPr>
                <p:cNvSpPr>
                  <a:spLocks/>
                </p:cNvSpPr>
                <p:nvPr/>
              </p:nvSpPr>
              <p:spPr bwMode="auto">
                <a:xfrm>
                  <a:off x="3894346" y="4123271"/>
                  <a:ext cx="371653" cy="394880"/>
                </a:xfrm>
                <a:custGeom>
                  <a:avLst/>
                  <a:gdLst>
                    <a:gd name="T0" fmla="*/ 12 w 480"/>
                    <a:gd name="T1" fmla="*/ 510 h 510"/>
                    <a:gd name="T2" fmla="*/ 0 w 480"/>
                    <a:gd name="T3" fmla="*/ 498 h 510"/>
                    <a:gd name="T4" fmla="*/ 468 w 480"/>
                    <a:gd name="T5" fmla="*/ 0 h 510"/>
                    <a:gd name="T6" fmla="*/ 480 w 480"/>
                    <a:gd name="T7" fmla="*/ 12 h 510"/>
                    <a:gd name="T8" fmla="*/ 12 w 480"/>
                    <a:gd name="T9" fmla="*/ 510 h 510"/>
                  </a:gdLst>
                  <a:ahLst/>
                  <a:cxnLst>
                    <a:cxn ang="0">
                      <a:pos x="T0" y="T1"/>
                    </a:cxn>
                    <a:cxn ang="0">
                      <a:pos x="T2" y="T3"/>
                    </a:cxn>
                    <a:cxn ang="0">
                      <a:pos x="T4" y="T5"/>
                    </a:cxn>
                    <a:cxn ang="0">
                      <a:pos x="T6" y="T7"/>
                    </a:cxn>
                    <a:cxn ang="0">
                      <a:pos x="T8" y="T9"/>
                    </a:cxn>
                  </a:cxnLst>
                  <a:rect l="0" t="0" r="r" b="b"/>
                  <a:pathLst>
                    <a:path w="480" h="510">
                      <a:moveTo>
                        <a:pt x="12" y="510"/>
                      </a:moveTo>
                      <a:lnTo>
                        <a:pt x="0" y="498"/>
                      </a:lnTo>
                      <a:lnTo>
                        <a:pt x="468" y="0"/>
                      </a:lnTo>
                      <a:lnTo>
                        <a:pt x="480" y="12"/>
                      </a:lnTo>
                      <a:lnTo>
                        <a:pt x="12" y="51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0" name="Freeform 67">
                  <a:extLst>
                    <a:ext uri="{FF2B5EF4-FFF2-40B4-BE49-F238E27FC236}">
                      <a16:creationId xmlns:a16="http://schemas.microsoft.com/office/drawing/2014/main" id="{068EB842-F024-6744-8EC5-7BC13D675E64}"/>
                    </a:ext>
                  </a:extLst>
                </p:cNvPr>
                <p:cNvSpPr>
                  <a:spLocks/>
                </p:cNvSpPr>
                <p:nvPr/>
              </p:nvSpPr>
              <p:spPr bwMode="auto">
                <a:xfrm>
                  <a:off x="3289637" y="3727616"/>
                  <a:ext cx="301968" cy="627938"/>
                </a:xfrm>
                <a:custGeom>
                  <a:avLst/>
                  <a:gdLst>
                    <a:gd name="T0" fmla="*/ 12 w 390"/>
                    <a:gd name="T1" fmla="*/ 811 h 811"/>
                    <a:gd name="T2" fmla="*/ 0 w 390"/>
                    <a:gd name="T3" fmla="*/ 805 h 811"/>
                    <a:gd name="T4" fmla="*/ 372 w 390"/>
                    <a:gd name="T5" fmla="*/ 0 h 811"/>
                    <a:gd name="T6" fmla="*/ 390 w 390"/>
                    <a:gd name="T7" fmla="*/ 6 h 811"/>
                    <a:gd name="T8" fmla="*/ 12 w 390"/>
                    <a:gd name="T9" fmla="*/ 811 h 811"/>
                  </a:gdLst>
                  <a:ahLst/>
                  <a:cxnLst>
                    <a:cxn ang="0">
                      <a:pos x="T0" y="T1"/>
                    </a:cxn>
                    <a:cxn ang="0">
                      <a:pos x="T2" y="T3"/>
                    </a:cxn>
                    <a:cxn ang="0">
                      <a:pos x="T4" y="T5"/>
                    </a:cxn>
                    <a:cxn ang="0">
                      <a:pos x="T6" y="T7"/>
                    </a:cxn>
                    <a:cxn ang="0">
                      <a:pos x="T8" y="T9"/>
                    </a:cxn>
                  </a:cxnLst>
                  <a:rect l="0" t="0" r="r" b="b"/>
                  <a:pathLst>
                    <a:path w="390" h="811">
                      <a:moveTo>
                        <a:pt x="12" y="811"/>
                      </a:moveTo>
                      <a:lnTo>
                        <a:pt x="0" y="805"/>
                      </a:lnTo>
                      <a:lnTo>
                        <a:pt x="372" y="0"/>
                      </a:lnTo>
                      <a:lnTo>
                        <a:pt x="390" y="6"/>
                      </a:lnTo>
                      <a:lnTo>
                        <a:pt x="12" y="81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1" name="Freeform 68">
                  <a:extLst>
                    <a:ext uri="{FF2B5EF4-FFF2-40B4-BE49-F238E27FC236}">
                      <a16:creationId xmlns:a16="http://schemas.microsoft.com/office/drawing/2014/main" id="{516517B9-D19A-7948-A31D-0975F0CC4F0D}"/>
                    </a:ext>
                  </a:extLst>
                </p:cNvPr>
                <p:cNvSpPr>
                  <a:spLocks/>
                </p:cNvSpPr>
                <p:nvPr/>
              </p:nvSpPr>
              <p:spPr bwMode="auto">
                <a:xfrm>
                  <a:off x="3336093" y="4467049"/>
                  <a:ext cx="278739" cy="120787"/>
                </a:xfrm>
                <a:custGeom>
                  <a:avLst/>
                  <a:gdLst>
                    <a:gd name="T0" fmla="*/ 360 w 360"/>
                    <a:gd name="T1" fmla="*/ 156 h 156"/>
                    <a:gd name="T2" fmla="*/ 0 w 360"/>
                    <a:gd name="T3" fmla="*/ 18 h 156"/>
                    <a:gd name="T4" fmla="*/ 0 w 360"/>
                    <a:gd name="T5" fmla="*/ 0 h 156"/>
                    <a:gd name="T6" fmla="*/ 360 w 360"/>
                    <a:gd name="T7" fmla="*/ 138 h 156"/>
                    <a:gd name="T8" fmla="*/ 360 w 360"/>
                    <a:gd name="T9" fmla="*/ 156 h 156"/>
                  </a:gdLst>
                  <a:ahLst/>
                  <a:cxnLst>
                    <a:cxn ang="0">
                      <a:pos x="T0" y="T1"/>
                    </a:cxn>
                    <a:cxn ang="0">
                      <a:pos x="T2" y="T3"/>
                    </a:cxn>
                    <a:cxn ang="0">
                      <a:pos x="T4" y="T5"/>
                    </a:cxn>
                    <a:cxn ang="0">
                      <a:pos x="T6" y="T7"/>
                    </a:cxn>
                    <a:cxn ang="0">
                      <a:pos x="T8" y="T9"/>
                    </a:cxn>
                  </a:cxnLst>
                  <a:rect l="0" t="0" r="r" b="b"/>
                  <a:pathLst>
                    <a:path w="360" h="156">
                      <a:moveTo>
                        <a:pt x="360" y="156"/>
                      </a:moveTo>
                      <a:lnTo>
                        <a:pt x="0" y="18"/>
                      </a:lnTo>
                      <a:lnTo>
                        <a:pt x="0" y="0"/>
                      </a:lnTo>
                      <a:lnTo>
                        <a:pt x="360" y="138"/>
                      </a:lnTo>
                      <a:lnTo>
                        <a:pt x="360" y="15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2" name="Freeform 69">
                  <a:extLst>
                    <a:ext uri="{FF2B5EF4-FFF2-40B4-BE49-F238E27FC236}">
                      <a16:creationId xmlns:a16="http://schemas.microsoft.com/office/drawing/2014/main" id="{147B7033-DBCB-8E4E-ABB0-51F98189BC0C}"/>
                    </a:ext>
                  </a:extLst>
                </p:cNvPr>
                <p:cNvSpPr>
                  <a:spLocks/>
                </p:cNvSpPr>
                <p:nvPr/>
              </p:nvSpPr>
              <p:spPr bwMode="auto">
                <a:xfrm>
                  <a:off x="5851716" y="3811238"/>
                  <a:ext cx="176535" cy="483923"/>
                </a:xfrm>
                <a:custGeom>
                  <a:avLst/>
                  <a:gdLst>
                    <a:gd name="T0" fmla="*/ 210 w 228"/>
                    <a:gd name="T1" fmla="*/ 625 h 625"/>
                    <a:gd name="T2" fmla="*/ 0 w 228"/>
                    <a:gd name="T3" fmla="*/ 0 h 625"/>
                    <a:gd name="T4" fmla="*/ 18 w 228"/>
                    <a:gd name="T5" fmla="*/ 0 h 625"/>
                    <a:gd name="T6" fmla="*/ 228 w 228"/>
                    <a:gd name="T7" fmla="*/ 625 h 625"/>
                    <a:gd name="T8" fmla="*/ 210 w 228"/>
                    <a:gd name="T9" fmla="*/ 625 h 625"/>
                  </a:gdLst>
                  <a:ahLst/>
                  <a:cxnLst>
                    <a:cxn ang="0">
                      <a:pos x="T0" y="T1"/>
                    </a:cxn>
                    <a:cxn ang="0">
                      <a:pos x="T2" y="T3"/>
                    </a:cxn>
                    <a:cxn ang="0">
                      <a:pos x="T4" y="T5"/>
                    </a:cxn>
                    <a:cxn ang="0">
                      <a:pos x="T6" y="T7"/>
                    </a:cxn>
                    <a:cxn ang="0">
                      <a:pos x="T8" y="T9"/>
                    </a:cxn>
                  </a:cxnLst>
                  <a:rect l="0" t="0" r="r" b="b"/>
                  <a:pathLst>
                    <a:path w="228" h="625">
                      <a:moveTo>
                        <a:pt x="210" y="625"/>
                      </a:moveTo>
                      <a:lnTo>
                        <a:pt x="0" y="0"/>
                      </a:lnTo>
                      <a:lnTo>
                        <a:pt x="18" y="0"/>
                      </a:lnTo>
                      <a:lnTo>
                        <a:pt x="228" y="625"/>
                      </a:lnTo>
                      <a:lnTo>
                        <a:pt x="210" y="62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3" name="Freeform 71">
                  <a:extLst>
                    <a:ext uri="{FF2B5EF4-FFF2-40B4-BE49-F238E27FC236}">
                      <a16:creationId xmlns:a16="http://schemas.microsoft.com/office/drawing/2014/main" id="{4BEC200C-1411-CF4B-8123-35F417C309AF}"/>
                    </a:ext>
                  </a:extLst>
                </p:cNvPr>
                <p:cNvSpPr>
                  <a:spLocks/>
                </p:cNvSpPr>
                <p:nvPr/>
              </p:nvSpPr>
              <p:spPr bwMode="auto">
                <a:xfrm>
                  <a:off x="6241951" y="4546026"/>
                  <a:ext cx="312033" cy="232282"/>
                </a:xfrm>
                <a:custGeom>
                  <a:avLst/>
                  <a:gdLst>
                    <a:gd name="T0" fmla="*/ 391 w 403"/>
                    <a:gd name="T1" fmla="*/ 300 h 300"/>
                    <a:gd name="T2" fmla="*/ 0 w 403"/>
                    <a:gd name="T3" fmla="*/ 12 h 300"/>
                    <a:gd name="T4" fmla="*/ 6 w 403"/>
                    <a:gd name="T5" fmla="*/ 0 h 300"/>
                    <a:gd name="T6" fmla="*/ 403 w 403"/>
                    <a:gd name="T7" fmla="*/ 282 h 300"/>
                    <a:gd name="T8" fmla="*/ 391 w 403"/>
                    <a:gd name="T9" fmla="*/ 300 h 300"/>
                  </a:gdLst>
                  <a:ahLst/>
                  <a:cxnLst>
                    <a:cxn ang="0">
                      <a:pos x="T0" y="T1"/>
                    </a:cxn>
                    <a:cxn ang="0">
                      <a:pos x="T2" y="T3"/>
                    </a:cxn>
                    <a:cxn ang="0">
                      <a:pos x="T4" y="T5"/>
                    </a:cxn>
                    <a:cxn ang="0">
                      <a:pos x="T6" y="T7"/>
                    </a:cxn>
                    <a:cxn ang="0">
                      <a:pos x="T8" y="T9"/>
                    </a:cxn>
                  </a:cxnLst>
                  <a:rect l="0" t="0" r="r" b="b"/>
                  <a:pathLst>
                    <a:path w="403" h="300">
                      <a:moveTo>
                        <a:pt x="391" y="300"/>
                      </a:moveTo>
                      <a:lnTo>
                        <a:pt x="0" y="12"/>
                      </a:lnTo>
                      <a:lnTo>
                        <a:pt x="6" y="0"/>
                      </a:lnTo>
                      <a:lnTo>
                        <a:pt x="403" y="282"/>
                      </a:lnTo>
                      <a:lnTo>
                        <a:pt x="391" y="30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4" name="Freeform 72">
                  <a:extLst>
                    <a:ext uri="{FF2B5EF4-FFF2-40B4-BE49-F238E27FC236}">
                      <a16:creationId xmlns:a16="http://schemas.microsoft.com/office/drawing/2014/main" id="{92E4F357-22DD-8A44-8610-69F388AB96AB}"/>
                    </a:ext>
                  </a:extLst>
                </p:cNvPr>
                <p:cNvSpPr>
                  <a:spLocks/>
                </p:cNvSpPr>
                <p:nvPr/>
              </p:nvSpPr>
              <p:spPr bwMode="auto">
                <a:xfrm>
                  <a:off x="5484709" y="4480987"/>
                  <a:ext cx="432046" cy="74330"/>
                </a:xfrm>
                <a:custGeom>
                  <a:avLst/>
                  <a:gdLst>
                    <a:gd name="T0" fmla="*/ 6 w 558"/>
                    <a:gd name="T1" fmla="*/ 96 h 96"/>
                    <a:gd name="T2" fmla="*/ 0 w 558"/>
                    <a:gd name="T3" fmla="*/ 78 h 96"/>
                    <a:gd name="T4" fmla="*/ 552 w 558"/>
                    <a:gd name="T5" fmla="*/ 0 h 96"/>
                    <a:gd name="T6" fmla="*/ 558 w 558"/>
                    <a:gd name="T7" fmla="*/ 18 h 96"/>
                    <a:gd name="T8" fmla="*/ 6 w 558"/>
                    <a:gd name="T9" fmla="*/ 96 h 96"/>
                  </a:gdLst>
                  <a:ahLst/>
                  <a:cxnLst>
                    <a:cxn ang="0">
                      <a:pos x="T0" y="T1"/>
                    </a:cxn>
                    <a:cxn ang="0">
                      <a:pos x="T2" y="T3"/>
                    </a:cxn>
                    <a:cxn ang="0">
                      <a:pos x="T4" y="T5"/>
                    </a:cxn>
                    <a:cxn ang="0">
                      <a:pos x="T6" y="T7"/>
                    </a:cxn>
                    <a:cxn ang="0">
                      <a:pos x="T8" y="T9"/>
                    </a:cxn>
                  </a:cxnLst>
                  <a:rect l="0" t="0" r="r" b="b"/>
                  <a:pathLst>
                    <a:path w="558" h="96">
                      <a:moveTo>
                        <a:pt x="6" y="96"/>
                      </a:moveTo>
                      <a:lnTo>
                        <a:pt x="0" y="78"/>
                      </a:lnTo>
                      <a:lnTo>
                        <a:pt x="552" y="0"/>
                      </a:lnTo>
                      <a:lnTo>
                        <a:pt x="558" y="18"/>
                      </a:lnTo>
                      <a:lnTo>
                        <a:pt x="6" y="9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5" name="Freeform 73">
                  <a:extLst>
                    <a:ext uri="{FF2B5EF4-FFF2-40B4-BE49-F238E27FC236}">
                      <a16:creationId xmlns:a16="http://schemas.microsoft.com/office/drawing/2014/main" id="{07A72D1A-C24F-5049-8452-26326BB5AFD8}"/>
                    </a:ext>
                  </a:extLst>
                </p:cNvPr>
                <p:cNvSpPr>
                  <a:spLocks/>
                </p:cNvSpPr>
                <p:nvPr/>
              </p:nvSpPr>
              <p:spPr bwMode="auto">
                <a:xfrm>
                  <a:off x="6037542" y="3202657"/>
                  <a:ext cx="358490" cy="116141"/>
                </a:xfrm>
                <a:custGeom>
                  <a:avLst/>
                  <a:gdLst>
                    <a:gd name="T0" fmla="*/ 6 w 463"/>
                    <a:gd name="T1" fmla="*/ 150 h 150"/>
                    <a:gd name="T2" fmla="*/ 0 w 463"/>
                    <a:gd name="T3" fmla="*/ 132 h 150"/>
                    <a:gd name="T4" fmla="*/ 457 w 463"/>
                    <a:gd name="T5" fmla="*/ 0 h 150"/>
                    <a:gd name="T6" fmla="*/ 463 w 463"/>
                    <a:gd name="T7" fmla="*/ 12 h 150"/>
                    <a:gd name="T8" fmla="*/ 6 w 463"/>
                    <a:gd name="T9" fmla="*/ 150 h 150"/>
                  </a:gdLst>
                  <a:ahLst/>
                  <a:cxnLst>
                    <a:cxn ang="0">
                      <a:pos x="T0" y="T1"/>
                    </a:cxn>
                    <a:cxn ang="0">
                      <a:pos x="T2" y="T3"/>
                    </a:cxn>
                    <a:cxn ang="0">
                      <a:pos x="T4" y="T5"/>
                    </a:cxn>
                    <a:cxn ang="0">
                      <a:pos x="T6" y="T7"/>
                    </a:cxn>
                    <a:cxn ang="0">
                      <a:pos x="T8" y="T9"/>
                    </a:cxn>
                  </a:cxnLst>
                  <a:rect l="0" t="0" r="r" b="b"/>
                  <a:pathLst>
                    <a:path w="463" h="150">
                      <a:moveTo>
                        <a:pt x="6" y="150"/>
                      </a:moveTo>
                      <a:lnTo>
                        <a:pt x="0" y="132"/>
                      </a:lnTo>
                      <a:lnTo>
                        <a:pt x="457" y="0"/>
                      </a:lnTo>
                      <a:lnTo>
                        <a:pt x="463" y="12"/>
                      </a:lnTo>
                      <a:lnTo>
                        <a:pt x="6" y="15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6" name="Freeform 74">
                  <a:extLst>
                    <a:ext uri="{FF2B5EF4-FFF2-40B4-BE49-F238E27FC236}">
                      <a16:creationId xmlns:a16="http://schemas.microsoft.com/office/drawing/2014/main" id="{EBE338FA-CCFA-6549-9603-41C98B0F1975}"/>
                    </a:ext>
                  </a:extLst>
                </p:cNvPr>
                <p:cNvSpPr>
                  <a:spLocks/>
                </p:cNvSpPr>
                <p:nvPr/>
              </p:nvSpPr>
              <p:spPr bwMode="auto">
                <a:xfrm>
                  <a:off x="6386741" y="1937489"/>
                  <a:ext cx="404172" cy="46457"/>
                </a:xfrm>
                <a:custGeom>
                  <a:avLst/>
                  <a:gdLst>
                    <a:gd name="T0" fmla="*/ 0 w 522"/>
                    <a:gd name="T1" fmla="*/ 60 h 60"/>
                    <a:gd name="T2" fmla="*/ 0 w 522"/>
                    <a:gd name="T3" fmla="*/ 42 h 60"/>
                    <a:gd name="T4" fmla="*/ 522 w 522"/>
                    <a:gd name="T5" fmla="*/ 0 h 60"/>
                    <a:gd name="T6" fmla="*/ 522 w 522"/>
                    <a:gd name="T7" fmla="*/ 18 h 60"/>
                    <a:gd name="T8" fmla="*/ 0 w 522"/>
                    <a:gd name="T9" fmla="*/ 60 h 60"/>
                  </a:gdLst>
                  <a:ahLst/>
                  <a:cxnLst>
                    <a:cxn ang="0">
                      <a:pos x="T0" y="T1"/>
                    </a:cxn>
                    <a:cxn ang="0">
                      <a:pos x="T2" y="T3"/>
                    </a:cxn>
                    <a:cxn ang="0">
                      <a:pos x="T4" y="T5"/>
                    </a:cxn>
                    <a:cxn ang="0">
                      <a:pos x="T6" y="T7"/>
                    </a:cxn>
                    <a:cxn ang="0">
                      <a:pos x="T8" y="T9"/>
                    </a:cxn>
                  </a:cxnLst>
                  <a:rect l="0" t="0" r="r" b="b"/>
                  <a:pathLst>
                    <a:path w="522" h="60">
                      <a:moveTo>
                        <a:pt x="0" y="60"/>
                      </a:moveTo>
                      <a:lnTo>
                        <a:pt x="0" y="42"/>
                      </a:lnTo>
                      <a:lnTo>
                        <a:pt x="522" y="0"/>
                      </a:lnTo>
                      <a:lnTo>
                        <a:pt x="522" y="18"/>
                      </a:lnTo>
                      <a:lnTo>
                        <a:pt x="0" y="6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7" name="Freeform 75">
                  <a:extLst>
                    <a:ext uri="{FF2B5EF4-FFF2-40B4-BE49-F238E27FC236}">
                      <a16:creationId xmlns:a16="http://schemas.microsoft.com/office/drawing/2014/main" id="{324803F7-28D9-4E4D-A083-041578CD8FD7}"/>
                    </a:ext>
                  </a:extLst>
                </p:cNvPr>
                <p:cNvSpPr>
                  <a:spLocks/>
                </p:cNvSpPr>
                <p:nvPr/>
              </p:nvSpPr>
              <p:spPr bwMode="auto">
                <a:xfrm>
                  <a:off x="5823842" y="2285913"/>
                  <a:ext cx="283385" cy="888869"/>
                </a:xfrm>
                <a:custGeom>
                  <a:avLst/>
                  <a:gdLst>
                    <a:gd name="T0" fmla="*/ 12 w 366"/>
                    <a:gd name="T1" fmla="*/ 1148 h 1148"/>
                    <a:gd name="T2" fmla="*/ 0 w 366"/>
                    <a:gd name="T3" fmla="*/ 1142 h 1148"/>
                    <a:gd name="T4" fmla="*/ 348 w 366"/>
                    <a:gd name="T5" fmla="*/ 0 h 1148"/>
                    <a:gd name="T6" fmla="*/ 366 w 366"/>
                    <a:gd name="T7" fmla="*/ 0 h 1148"/>
                    <a:gd name="T8" fmla="*/ 12 w 366"/>
                    <a:gd name="T9" fmla="*/ 1148 h 1148"/>
                  </a:gdLst>
                  <a:ahLst/>
                  <a:cxnLst>
                    <a:cxn ang="0">
                      <a:pos x="T0" y="T1"/>
                    </a:cxn>
                    <a:cxn ang="0">
                      <a:pos x="T2" y="T3"/>
                    </a:cxn>
                    <a:cxn ang="0">
                      <a:pos x="T4" y="T5"/>
                    </a:cxn>
                    <a:cxn ang="0">
                      <a:pos x="T6" y="T7"/>
                    </a:cxn>
                    <a:cxn ang="0">
                      <a:pos x="T8" y="T9"/>
                    </a:cxn>
                  </a:cxnLst>
                  <a:rect l="0" t="0" r="r" b="b"/>
                  <a:pathLst>
                    <a:path w="366" h="1148">
                      <a:moveTo>
                        <a:pt x="12" y="1148"/>
                      </a:moveTo>
                      <a:lnTo>
                        <a:pt x="0" y="1142"/>
                      </a:lnTo>
                      <a:lnTo>
                        <a:pt x="348" y="0"/>
                      </a:lnTo>
                      <a:lnTo>
                        <a:pt x="366" y="0"/>
                      </a:lnTo>
                      <a:lnTo>
                        <a:pt x="12" y="11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8" name="Freeform 76">
                  <a:extLst>
                    <a:ext uri="{FF2B5EF4-FFF2-40B4-BE49-F238E27FC236}">
                      <a16:creationId xmlns:a16="http://schemas.microsoft.com/office/drawing/2014/main" id="{7C7BAD7A-EF37-E64C-BA10-06E736A15E6D}"/>
                    </a:ext>
                  </a:extLst>
                </p:cNvPr>
                <p:cNvSpPr>
                  <a:spLocks/>
                </p:cNvSpPr>
                <p:nvPr/>
              </p:nvSpPr>
              <p:spPr bwMode="auto">
                <a:xfrm>
                  <a:off x="3010898" y="1872450"/>
                  <a:ext cx="232282" cy="232282"/>
                </a:xfrm>
                <a:custGeom>
                  <a:avLst/>
                  <a:gdLst>
                    <a:gd name="T0" fmla="*/ 12 w 300"/>
                    <a:gd name="T1" fmla="*/ 300 h 300"/>
                    <a:gd name="T2" fmla="*/ 0 w 300"/>
                    <a:gd name="T3" fmla="*/ 288 h 300"/>
                    <a:gd name="T4" fmla="*/ 288 w 300"/>
                    <a:gd name="T5" fmla="*/ 0 h 300"/>
                    <a:gd name="T6" fmla="*/ 300 w 300"/>
                    <a:gd name="T7" fmla="*/ 12 h 300"/>
                    <a:gd name="T8" fmla="*/ 12 w 300"/>
                    <a:gd name="T9" fmla="*/ 300 h 300"/>
                  </a:gdLst>
                  <a:ahLst/>
                  <a:cxnLst>
                    <a:cxn ang="0">
                      <a:pos x="T0" y="T1"/>
                    </a:cxn>
                    <a:cxn ang="0">
                      <a:pos x="T2" y="T3"/>
                    </a:cxn>
                    <a:cxn ang="0">
                      <a:pos x="T4" y="T5"/>
                    </a:cxn>
                    <a:cxn ang="0">
                      <a:pos x="T6" y="T7"/>
                    </a:cxn>
                    <a:cxn ang="0">
                      <a:pos x="T8" y="T9"/>
                    </a:cxn>
                  </a:cxnLst>
                  <a:rect l="0" t="0" r="r" b="b"/>
                  <a:pathLst>
                    <a:path w="300" h="300">
                      <a:moveTo>
                        <a:pt x="12" y="300"/>
                      </a:moveTo>
                      <a:lnTo>
                        <a:pt x="0" y="288"/>
                      </a:lnTo>
                      <a:lnTo>
                        <a:pt x="288" y="0"/>
                      </a:lnTo>
                      <a:lnTo>
                        <a:pt x="300" y="12"/>
                      </a:lnTo>
                      <a:lnTo>
                        <a:pt x="12" y="30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9" name="Freeform 77">
                  <a:extLst>
                    <a:ext uri="{FF2B5EF4-FFF2-40B4-BE49-F238E27FC236}">
                      <a16:creationId xmlns:a16="http://schemas.microsoft.com/office/drawing/2014/main" id="{04DB95A8-E6A4-C247-B858-1488A3BF3D68}"/>
                    </a:ext>
                  </a:extLst>
                </p:cNvPr>
                <p:cNvSpPr>
                  <a:spLocks/>
                </p:cNvSpPr>
                <p:nvPr/>
              </p:nvSpPr>
              <p:spPr bwMode="auto">
                <a:xfrm>
                  <a:off x="6493591" y="3272342"/>
                  <a:ext cx="78976" cy="422755"/>
                </a:xfrm>
                <a:custGeom>
                  <a:avLst/>
                  <a:gdLst>
                    <a:gd name="T0" fmla="*/ 84 w 102"/>
                    <a:gd name="T1" fmla="*/ 546 h 546"/>
                    <a:gd name="T2" fmla="*/ 0 w 102"/>
                    <a:gd name="T3" fmla="*/ 6 h 546"/>
                    <a:gd name="T4" fmla="*/ 12 w 102"/>
                    <a:gd name="T5" fmla="*/ 0 h 546"/>
                    <a:gd name="T6" fmla="*/ 102 w 102"/>
                    <a:gd name="T7" fmla="*/ 540 h 546"/>
                    <a:gd name="T8" fmla="*/ 84 w 102"/>
                    <a:gd name="T9" fmla="*/ 546 h 546"/>
                  </a:gdLst>
                  <a:ahLst/>
                  <a:cxnLst>
                    <a:cxn ang="0">
                      <a:pos x="T0" y="T1"/>
                    </a:cxn>
                    <a:cxn ang="0">
                      <a:pos x="T2" y="T3"/>
                    </a:cxn>
                    <a:cxn ang="0">
                      <a:pos x="T4" y="T5"/>
                    </a:cxn>
                    <a:cxn ang="0">
                      <a:pos x="T6" y="T7"/>
                    </a:cxn>
                    <a:cxn ang="0">
                      <a:pos x="T8" y="T9"/>
                    </a:cxn>
                  </a:cxnLst>
                  <a:rect l="0" t="0" r="r" b="b"/>
                  <a:pathLst>
                    <a:path w="102" h="546">
                      <a:moveTo>
                        <a:pt x="84" y="546"/>
                      </a:moveTo>
                      <a:lnTo>
                        <a:pt x="0" y="6"/>
                      </a:lnTo>
                      <a:lnTo>
                        <a:pt x="12" y="0"/>
                      </a:lnTo>
                      <a:lnTo>
                        <a:pt x="102" y="540"/>
                      </a:lnTo>
                      <a:lnTo>
                        <a:pt x="84" y="54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0" name="Freeform 78">
                  <a:extLst>
                    <a:ext uri="{FF2B5EF4-FFF2-40B4-BE49-F238E27FC236}">
                      <a16:creationId xmlns:a16="http://schemas.microsoft.com/office/drawing/2014/main" id="{24F2E493-48EF-3941-A62B-CFBEA46D158D}"/>
                    </a:ext>
                  </a:extLst>
                </p:cNvPr>
                <p:cNvSpPr>
                  <a:spLocks/>
                </p:cNvSpPr>
                <p:nvPr/>
              </p:nvSpPr>
              <p:spPr bwMode="auto">
                <a:xfrm>
                  <a:off x="6181558" y="3806592"/>
                  <a:ext cx="344553" cy="502506"/>
                </a:xfrm>
                <a:custGeom>
                  <a:avLst/>
                  <a:gdLst>
                    <a:gd name="T0" fmla="*/ 12 w 445"/>
                    <a:gd name="T1" fmla="*/ 649 h 649"/>
                    <a:gd name="T2" fmla="*/ 0 w 445"/>
                    <a:gd name="T3" fmla="*/ 643 h 649"/>
                    <a:gd name="T4" fmla="*/ 433 w 445"/>
                    <a:gd name="T5" fmla="*/ 0 h 649"/>
                    <a:gd name="T6" fmla="*/ 445 w 445"/>
                    <a:gd name="T7" fmla="*/ 12 h 649"/>
                    <a:gd name="T8" fmla="*/ 12 w 445"/>
                    <a:gd name="T9" fmla="*/ 649 h 649"/>
                  </a:gdLst>
                  <a:ahLst/>
                  <a:cxnLst>
                    <a:cxn ang="0">
                      <a:pos x="T0" y="T1"/>
                    </a:cxn>
                    <a:cxn ang="0">
                      <a:pos x="T2" y="T3"/>
                    </a:cxn>
                    <a:cxn ang="0">
                      <a:pos x="T4" y="T5"/>
                    </a:cxn>
                    <a:cxn ang="0">
                      <a:pos x="T6" y="T7"/>
                    </a:cxn>
                    <a:cxn ang="0">
                      <a:pos x="T8" y="T9"/>
                    </a:cxn>
                  </a:cxnLst>
                  <a:rect l="0" t="0" r="r" b="b"/>
                  <a:pathLst>
                    <a:path w="445" h="649">
                      <a:moveTo>
                        <a:pt x="12" y="649"/>
                      </a:moveTo>
                      <a:lnTo>
                        <a:pt x="0" y="643"/>
                      </a:lnTo>
                      <a:lnTo>
                        <a:pt x="433" y="0"/>
                      </a:lnTo>
                      <a:lnTo>
                        <a:pt x="445" y="12"/>
                      </a:lnTo>
                      <a:lnTo>
                        <a:pt x="12" y="64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1" name="Freeform 79">
                  <a:extLst>
                    <a:ext uri="{FF2B5EF4-FFF2-40B4-BE49-F238E27FC236}">
                      <a16:creationId xmlns:a16="http://schemas.microsoft.com/office/drawing/2014/main" id="{BE70348A-854E-F542-B6EF-0AB5268992AD}"/>
                    </a:ext>
                  </a:extLst>
                </p:cNvPr>
                <p:cNvSpPr>
                  <a:spLocks/>
                </p:cNvSpPr>
                <p:nvPr/>
              </p:nvSpPr>
              <p:spPr bwMode="auto">
                <a:xfrm>
                  <a:off x="6252017" y="1002938"/>
                  <a:ext cx="250866" cy="367007"/>
                </a:xfrm>
                <a:custGeom>
                  <a:avLst/>
                  <a:gdLst>
                    <a:gd name="T0" fmla="*/ 2 w 54"/>
                    <a:gd name="T1" fmla="*/ 79 h 79"/>
                    <a:gd name="T2" fmla="*/ 1 w 54"/>
                    <a:gd name="T3" fmla="*/ 79 h 79"/>
                    <a:gd name="T4" fmla="*/ 1 w 54"/>
                    <a:gd name="T5" fmla="*/ 76 h 79"/>
                    <a:gd name="T6" fmla="*/ 50 w 54"/>
                    <a:gd name="T7" fmla="*/ 2 h 79"/>
                    <a:gd name="T8" fmla="*/ 53 w 54"/>
                    <a:gd name="T9" fmla="*/ 1 h 79"/>
                    <a:gd name="T10" fmla="*/ 53 w 54"/>
                    <a:gd name="T11" fmla="*/ 4 h 79"/>
                    <a:gd name="T12" fmla="*/ 4 w 54"/>
                    <a:gd name="T13" fmla="*/ 78 h 79"/>
                    <a:gd name="T14" fmla="*/ 2 w 54"/>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79">
                      <a:moveTo>
                        <a:pt x="2" y="79"/>
                      </a:moveTo>
                      <a:cubicBezTo>
                        <a:pt x="2" y="79"/>
                        <a:pt x="2" y="79"/>
                        <a:pt x="1" y="79"/>
                      </a:cubicBezTo>
                      <a:cubicBezTo>
                        <a:pt x="0" y="78"/>
                        <a:pt x="0" y="77"/>
                        <a:pt x="1" y="76"/>
                      </a:cubicBezTo>
                      <a:cubicBezTo>
                        <a:pt x="50" y="2"/>
                        <a:pt x="50" y="2"/>
                        <a:pt x="50" y="2"/>
                      </a:cubicBezTo>
                      <a:cubicBezTo>
                        <a:pt x="51" y="1"/>
                        <a:pt x="52" y="0"/>
                        <a:pt x="53" y="1"/>
                      </a:cubicBezTo>
                      <a:cubicBezTo>
                        <a:pt x="54" y="2"/>
                        <a:pt x="54" y="3"/>
                        <a:pt x="53" y="4"/>
                      </a:cubicBezTo>
                      <a:cubicBezTo>
                        <a:pt x="4" y="78"/>
                        <a:pt x="4" y="78"/>
                        <a:pt x="4" y="78"/>
                      </a:cubicBezTo>
                      <a:cubicBezTo>
                        <a:pt x="4" y="79"/>
                        <a:pt x="3" y="79"/>
                        <a:pt x="2" y="7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2" name="Freeform 80">
                  <a:extLst>
                    <a:ext uri="{FF2B5EF4-FFF2-40B4-BE49-F238E27FC236}">
                      <a16:creationId xmlns:a16="http://schemas.microsoft.com/office/drawing/2014/main" id="{4B541AF0-75CA-DE4A-AB11-844928D1E8CE}"/>
                    </a:ext>
                  </a:extLst>
                </p:cNvPr>
                <p:cNvSpPr>
                  <a:spLocks/>
                </p:cNvSpPr>
                <p:nvPr/>
              </p:nvSpPr>
              <p:spPr bwMode="auto">
                <a:xfrm>
                  <a:off x="5819196" y="1225930"/>
                  <a:ext cx="348424" cy="171889"/>
                </a:xfrm>
                <a:custGeom>
                  <a:avLst/>
                  <a:gdLst>
                    <a:gd name="T0" fmla="*/ 73 w 75"/>
                    <a:gd name="T1" fmla="*/ 37 h 37"/>
                    <a:gd name="T2" fmla="*/ 72 w 75"/>
                    <a:gd name="T3" fmla="*/ 36 h 37"/>
                    <a:gd name="T4" fmla="*/ 1 w 75"/>
                    <a:gd name="T5" fmla="*/ 4 h 37"/>
                    <a:gd name="T6" fmla="*/ 0 w 75"/>
                    <a:gd name="T7" fmla="*/ 2 h 37"/>
                    <a:gd name="T8" fmla="*/ 3 w 75"/>
                    <a:gd name="T9" fmla="*/ 1 h 37"/>
                    <a:gd name="T10" fmla="*/ 73 w 75"/>
                    <a:gd name="T11" fmla="*/ 33 h 37"/>
                    <a:gd name="T12" fmla="*/ 74 w 75"/>
                    <a:gd name="T13" fmla="*/ 35 h 37"/>
                    <a:gd name="T14" fmla="*/ 73 w 75"/>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7">
                      <a:moveTo>
                        <a:pt x="73" y="37"/>
                      </a:moveTo>
                      <a:cubicBezTo>
                        <a:pt x="72" y="37"/>
                        <a:pt x="72" y="37"/>
                        <a:pt x="72" y="36"/>
                      </a:cubicBezTo>
                      <a:cubicBezTo>
                        <a:pt x="1" y="4"/>
                        <a:pt x="1" y="4"/>
                        <a:pt x="1" y="4"/>
                      </a:cubicBezTo>
                      <a:cubicBezTo>
                        <a:pt x="0" y="4"/>
                        <a:pt x="0" y="3"/>
                        <a:pt x="0" y="2"/>
                      </a:cubicBezTo>
                      <a:cubicBezTo>
                        <a:pt x="1" y="1"/>
                        <a:pt x="2" y="0"/>
                        <a:pt x="3" y="1"/>
                      </a:cubicBezTo>
                      <a:cubicBezTo>
                        <a:pt x="73" y="33"/>
                        <a:pt x="73" y="33"/>
                        <a:pt x="73" y="33"/>
                      </a:cubicBezTo>
                      <a:cubicBezTo>
                        <a:pt x="74" y="33"/>
                        <a:pt x="75" y="34"/>
                        <a:pt x="74" y="35"/>
                      </a:cubicBezTo>
                      <a:cubicBezTo>
                        <a:pt x="74" y="36"/>
                        <a:pt x="73" y="37"/>
                        <a:pt x="73" y="3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3" name="Freeform 81">
                  <a:extLst>
                    <a:ext uri="{FF2B5EF4-FFF2-40B4-BE49-F238E27FC236}">
                      <a16:creationId xmlns:a16="http://schemas.microsoft.com/office/drawing/2014/main" id="{A9AC9117-1324-2041-87C7-00302411F43C}"/>
                    </a:ext>
                  </a:extLst>
                </p:cNvPr>
                <p:cNvSpPr>
                  <a:spLocks/>
                </p:cNvSpPr>
                <p:nvPr/>
              </p:nvSpPr>
              <p:spPr bwMode="auto">
                <a:xfrm>
                  <a:off x="6158329" y="1472923"/>
                  <a:ext cx="74330" cy="334487"/>
                </a:xfrm>
                <a:custGeom>
                  <a:avLst/>
                  <a:gdLst>
                    <a:gd name="T0" fmla="*/ 2 w 16"/>
                    <a:gd name="T1" fmla="*/ 72 h 72"/>
                    <a:gd name="T2" fmla="*/ 2 w 16"/>
                    <a:gd name="T3" fmla="*/ 72 h 72"/>
                    <a:gd name="T4" fmla="*/ 0 w 16"/>
                    <a:gd name="T5" fmla="*/ 69 h 72"/>
                    <a:gd name="T6" fmla="*/ 12 w 16"/>
                    <a:gd name="T7" fmla="*/ 1 h 72"/>
                    <a:gd name="T8" fmla="*/ 15 w 16"/>
                    <a:gd name="T9" fmla="*/ 0 h 72"/>
                    <a:gd name="T10" fmla="*/ 16 w 16"/>
                    <a:gd name="T11" fmla="*/ 2 h 72"/>
                    <a:gd name="T12" fmla="*/ 4 w 16"/>
                    <a:gd name="T13" fmla="*/ 70 h 72"/>
                    <a:gd name="T14" fmla="*/ 2 w 16"/>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72">
                      <a:moveTo>
                        <a:pt x="2" y="72"/>
                      </a:moveTo>
                      <a:cubicBezTo>
                        <a:pt x="2" y="72"/>
                        <a:pt x="2" y="72"/>
                        <a:pt x="2" y="72"/>
                      </a:cubicBezTo>
                      <a:cubicBezTo>
                        <a:pt x="1" y="71"/>
                        <a:pt x="0" y="70"/>
                        <a:pt x="0" y="69"/>
                      </a:cubicBezTo>
                      <a:cubicBezTo>
                        <a:pt x="12" y="1"/>
                        <a:pt x="12" y="1"/>
                        <a:pt x="12" y="1"/>
                      </a:cubicBezTo>
                      <a:cubicBezTo>
                        <a:pt x="13" y="0"/>
                        <a:pt x="14" y="0"/>
                        <a:pt x="15" y="0"/>
                      </a:cubicBezTo>
                      <a:cubicBezTo>
                        <a:pt x="16" y="0"/>
                        <a:pt x="16" y="1"/>
                        <a:pt x="16" y="2"/>
                      </a:cubicBezTo>
                      <a:cubicBezTo>
                        <a:pt x="4" y="70"/>
                        <a:pt x="4" y="70"/>
                        <a:pt x="4" y="70"/>
                      </a:cubicBezTo>
                      <a:cubicBezTo>
                        <a:pt x="4" y="71"/>
                        <a:pt x="3" y="72"/>
                        <a:pt x="2" y="7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4" name="Freeform 82">
                  <a:extLst>
                    <a:ext uri="{FF2B5EF4-FFF2-40B4-BE49-F238E27FC236}">
                      <a16:creationId xmlns:a16="http://schemas.microsoft.com/office/drawing/2014/main" id="{895E202A-B48E-4043-8321-D4567FF5D7EF}"/>
                    </a:ext>
                  </a:extLst>
                </p:cNvPr>
                <p:cNvSpPr>
                  <a:spLocks/>
                </p:cNvSpPr>
                <p:nvPr/>
              </p:nvSpPr>
              <p:spPr bwMode="auto">
                <a:xfrm>
                  <a:off x="6711937" y="942545"/>
                  <a:ext cx="348424" cy="348424"/>
                </a:xfrm>
                <a:custGeom>
                  <a:avLst/>
                  <a:gdLst>
                    <a:gd name="T0" fmla="*/ 73 w 75"/>
                    <a:gd name="T1" fmla="*/ 75 h 75"/>
                    <a:gd name="T2" fmla="*/ 71 w 75"/>
                    <a:gd name="T3" fmla="*/ 74 h 75"/>
                    <a:gd name="T4" fmla="*/ 1 w 75"/>
                    <a:gd name="T5" fmla="*/ 4 h 75"/>
                    <a:gd name="T6" fmla="*/ 1 w 75"/>
                    <a:gd name="T7" fmla="*/ 1 h 75"/>
                    <a:gd name="T8" fmla="*/ 3 w 75"/>
                    <a:gd name="T9" fmla="*/ 1 h 75"/>
                    <a:gd name="T10" fmla="*/ 74 w 75"/>
                    <a:gd name="T11" fmla="*/ 72 h 75"/>
                    <a:gd name="T12" fmla="*/ 74 w 75"/>
                    <a:gd name="T13" fmla="*/ 74 h 75"/>
                    <a:gd name="T14" fmla="*/ 73 w 75"/>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75">
                      <a:moveTo>
                        <a:pt x="73" y="75"/>
                      </a:moveTo>
                      <a:cubicBezTo>
                        <a:pt x="72" y="75"/>
                        <a:pt x="72" y="75"/>
                        <a:pt x="71" y="74"/>
                      </a:cubicBezTo>
                      <a:cubicBezTo>
                        <a:pt x="1" y="4"/>
                        <a:pt x="1" y="4"/>
                        <a:pt x="1" y="4"/>
                      </a:cubicBezTo>
                      <a:cubicBezTo>
                        <a:pt x="0" y="3"/>
                        <a:pt x="0" y="2"/>
                        <a:pt x="1" y="1"/>
                      </a:cubicBezTo>
                      <a:cubicBezTo>
                        <a:pt x="1" y="0"/>
                        <a:pt x="3" y="0"/>
                        <a:pt x="3" y="1"/>
                      </a:cubicBezTo>
                      <a:cubicBezTo>
                        <a:pt x="74" y="72"/>
                        <a:pt x="74" y="72"/>
                        <a:pt x="74" y="72"/>
                      </a:cubicBezTo>
                      <a:cubicBezTo>
                        <a:pt x="75" y="72"/>
                        <a:pt x="75" y="74"/>
                        <a:pt x="74" y="74"/>
                      </a:cubicBezTo>
                      <a:cubicBezTo>
                        <a:pt x="74" y="75"/>
                        <a:pt x="73" y="75"/>
                        <a:pt x="73" y="7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5" name="Freeform 83">
                  <a:extLst>
                    <a:ext uri="{FF2B5EF4-FFF2-40B4-BE49-F238E27FC236}">
                      <a16:creationId xmlns:a16="http://schemas.microsoft.com/office/drawing/2014/main" id="{10D7DE63-0368-4947-90E3-3B4C17C4F701}"/>
                    </a:ext>
                  </a:extLst>
                </p:cNvPr>
                <p:cNvSpPr>
                  <a:spLocks/>
                </p:cNvSpPr>
                <p:nvPr/>
              </p:nvSpPr>
              <p:spPr bwMode="auto">
                <a:xfrm>
                  <a:off x="6660834" y="519015"/>
                  <a:ext cx="157952" cy="195892"/>
                </a:xfrm>
                <a:custGeom>
                  <a:avLst/>
                  <a:gdLst>
                    <a:gd name="T0" fmla="*/ 2 w 34"/>
                    <a:gd name="T1" fmla="*/ 42 h 42"/>
                    <a:gd name="T2" fmla="*/ 1 w 34"/>
                    <a:gd name="T3" fmla="*/ 42 h 42"/>
                    <a:gd name="T4" fmla="*/ 1 w 34"/>
                    <a:gd name="T5" fmla="*/ 39 h 42"/>
                    <a:gd name="T6" fmla="*/ 30 w 34"/>
                    <a:gd name="T7" fmla="*/ 1 h 42"/>
                    <a:gd name="T8" fmla="*/ 33 w 34"/>
                    <a:gd name="T9" fmla="*/ 1 h 42"/>
                    <a:gd name="T10" fmla="*/ 33 w 34"/>
                    <a:gd name="T11" fmla="*/ 4 h 42"/>
                    <a:gd name="T12" fmla="*/ 4 w 34"/>
                    <a:gd name="T13" fmla="*/ 41 h 42"/>
                    <a:gd name="T14" fmla="*/ 2 w 34"/>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42">
                      <a:moveTo>
                        <a:pt x="2" y="42"/>
                      </a:moveTo>
                      <a:cubicBezTo>
                        <a:pt x="2" y="42"/>
                        <a:pt x="1" y="42"/>
                        <a:pt x="1" y="42"/>
                      </a:cubicBezTo>
                      <a:cubicBezTo>
                        <a:pt x="0" y="41"/>
                        <a:pt x="0" y="40"/>
                        <a:pt x="1" y="39"/>
                      </a:cubicBezTo>
                      <a:cubicBezTo>
                        <a:pt x="30" y="1"/>
                        <a:pt x="30" y="1"/>
                        <a:pt x="30" y="1"/>
                      </a:cubicBezTo>
                      <a:cubicBezTo>
                        <a:pt x="31" y="1"/>
                        <a:pt x="32" y="0"/>
                        <a:pt x="33" y="1"/>
                      </a:cubicBezTo>
                      <a:cubicBezTo>
                        <a:pt x="34" y="2"/>
                        <a:pt x="34" y="3"/>
                        <a:pt x="33" y="4"/>
                      </a:cubicBezTo>
                      <a:cubicBezTo>
                        <a:pt x="4" y="41"/>
                        <a:pt x="4" y="41"/>
                        <a:pt x="4" y="41"/>
                      </a:cubicBezTo>
                      <a:cubicBezTo>
                        <a:pt x="4" y="42"/>
                        <a:pt x="3" y="42"/>
                        <a:pt x="2" y="4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6" name="Freeform 84">
                  <a:extLst>
                    <a:ext uri="{FF2B5EF4-FFF2-40B4-BE49-F238E27FC236}">
                      <a16:creationId xmlns:a16="http://schemas.microsoft.com/office/drawing/2014/main" id="{908D7AE0-FA0E-4140-BFF1-BDA3859E73CB}"/>
                    </a:ext>
                  </a:extLst>
                </p:cNvPr>
                <p:cNvSpPr>
                  <a:spLocks/>
                </p:cNvSpPr>
                <p:nvPr/>
              </p:nvSpPr>
              <p:spPr bwMode="auto">
                <a:xfrm>
                  <a:off x="3940803" y="472558"/>
                  <a:ext cx="60393" cy="265577"/>
                </a:xfrm>
                <a:custGeom>
                  <a:avLst/>
                  <a:gdLst>
                    <a:gd name="T0" fmla="*/ 2 w 13"/>
                    <a:gd name="T1" fmla="*/ 57 h 57"/>
                    <a:gd name="T2" fmla="*/ 2 w 13"/>
                    <a:gd name="T3" fmla="*/ 57 h 57"/>
                    <a:gd name="T4" fmla="*/ 0 w 13"/>
                    <a:gd name="T5" fmla="*/ 54 h 57"/>
                    <a:gd name="T6" fmla="*/ 9 w 13"/>
                    <a:gd name="T7" fmla="*/ 2 h 57"/>
                    <a:gd name="T8" fmla="*/ 12 w 13"/>
                    <a:gd name="T9" fmla="*/ 0 h 57"/>
                    <a:gd name="T10" fmla="*/ 13 w 13"/>
                    <a:gd name="T11" fmla="*/ 2 h 57"/>
                    <a:gd name="T12" fmla="*/ 4 w 13"/>
                    <a:gd name="T13" fmla="*/ 55 h 57"/>
                    <a:gd name="T14" fmla="*/ 2 w 13"/>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57">
                      <a:moveTo>
                        <a:pt x="2" y="57"/>
                      </a:moveTo>
                      <a:cubicBezTo>
                        <a:pt x="2" y="57"/>
                        <a:pt x="2" y="57"/>
                        <a:pt x="2" y="57"/>
                      </a:cubicBezTo>
                      <a:cubicBezTo>
                        <a:pt x="1" y="56"/>
                        <a:pt x="0" y="55"/>
                        <a:pt x="0" y="54"/>
                      </a:cubicBezTo>
                      <a:cubicBezTo>
                        <a:pt x="9" y="2"/>
                        <a:pt x="9" y="2"/>
                        <a:pt x="9" y="2"/>
                      </a:cubicBezTo>
                      <a:cubicBezTo>
                        <a:pt x="10" y="1"/>
                        <a:pt x="11" y="0"/>
                        <a:pt x="12" y="0"/>
                      </a:cubicBezTo>
                      <a:cubicBezTo>
                        <a:pt x="13" y="0"/>
                        <a:pt x="13" y="1"/>
                        <a:pt x="13" y="2"/>
                      </a:cubicBezTo>
                      <a:cubicBezTo>
                        <a:pt x="4" y="55"/>
                        <a:pt x="4" y="55"/>
                        <a:pt x="4" y="55"/>
                      </a:cubicBezTo>
                      <a:cubicBezTo>
                        <a:pt x="4" y="56"/>
                        <a:pt x="3" y="57"/>
                        <a:pt x="2" y="5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7" name="Freeform 85">
                  <a:extLst>
                    <a:ext uri="{FF2B5EF4-FFF2-40B4-BE49-F238E27FC236}">
                      <a16:creationId xmlns:a16="http://schemas.microsoft.com/office/drawing/2014/main" id="{312C5AD5-3972-BB43-AB1C-B07D313CD841}"/>
                    </a:ext>
                  </a:extLst>
                </p:cNvPr>
                <p:cNvSpPr>
                  <a:spLocks/>
                </p:cNvSpPr>
                <p:nvPr/>
              </p:nvSpPr>
              <p:spPr bwMode="auto">
                <a:xfrm>
                  <a:off x="4108046" y="779947"/>
                  <a:ext cx="269448" cy="78976"/>
                </a:xfrm>
                <a:custGeom>
                  <a:avLst/>
                  <a:gdLst>
                    <a:gd name="T0" fmla="*/ 2 w 58"/>
                    <a:gd name="T1" fmla="*/ 17 h 17"/>
                    <a:gd name="T2" fmla="*/ 0 w 58"/>
                    <a:gd name="T3" fmla="*/ 15 h 17"/>
                    <a:gd name="T4" fmla="*/ 2 w 58"/>
                    <a:gd name="T5" fmla="*/ 13 h 17"/>
                    <a:gd name="T6" fmla="*/ 55 w 58"/>
                    <a:gd name="T7" fmla="*/ 1 h 17"/>
                    <a:gd name="T8" fmla="*/ 57 w 58"/>
                    <a:gd name="T9" fmla="*/ 2 h 17"/>
                    <a:gd name="T10" fmla="*/ 56 w 58"/>
                    <a:gd name="T11" fmla="*/ 5 h 17"/>
                    <a:gd name="T12" fmla="*/ 2 w 58"/>
                    <a:gd name="T13" fmla="*/ 17 h 17"/>
                    <a:gd name="T14" fmla="*/ 2 w 58"/>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7">
                      <a:moveTo>
                        <a:pt x="2" y="17"/>
                      </a:moveTo>
                      <a:cubicBezTo>
                        <a:pt x="1" y="17"/>
                        <a:pt x="0" y="16"/>
                        <a:pt x="0" y="15"/>
                      </a:cubicBezTo>
                      <a:cubicBezTo>
                        <a:pt x="0" y="14"/>
                        <a:pt x="0" y="13"/>
                        <a:pt x="2" y="13"/>
                      </a:cubicBezTo>
                      <a:cubicBezTo>
                        <a:pt x="55" y="1"/>
                        <a:pt x="55" y="1"/>
                        <a:pt x="55" y="1"/>
                      </a:cubicBezTo>
                      <a:cubicBezTo>
                        <a:pt x="56" y="0"/>
                        <a:pt x="57" y="1"/>
                        <a:pt x="57" y="2"/>
                      </a:cubicBezTo>
                      <a:cubicBezTo>
                        <a:pt x="58" y="3"/>
                        <a:pt x="57" y="4"/>
                        <a:pt x="56" y="5"/>
                      </a:cubicBezTo>
                      <a:cubicBezTo>
                        <a:pt x="2" y="17"/>
                        <a:pt x="2" y="17"/>
                        <a:pt x="2" y="17"/>
                      </a:cubicBezTo>
                      <a:cubicBezTo>
                        <a:pt x="2" y="17"/>
                        <a:pt x="2" y="17"/>
                        <a:pt x="2" y="1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8" name="Freeform 86">
                  <a:extLst>
                    <a:ext uri="{FF2B5EF4-FFF2-40B4-BE49-F238E27FC236}">
                      <a16:creationId xmlns:a16="http://schemas.microsoft.com/office/drawing/2014/main" id="{7E2BD727-BED9-694D-9B99-AE0C271EC918}"/>
                    </a:ext>
                  </a:extLst>
                </p:cNvPr>
                <p:cNvSpPr>
                  <a:spLocks/>
                </p:cNvSpPr>
                <p:nvPr/>
              </p:nvSpPr>
              <p:spPr bwMode="auto">
                <a:xfrm>
                  <a:off x="3415069" y="1956072"/>
                  <a:ext cx="144016" cy="618647"/>
                </a:xfrm>
                <a:custGeom>
                  <a:avLst/>
                  <a:gdLst>
                    <a:gd name="T0" fmla="*/ 28 w 31"/>
                    <a:gd name="T1" fmla="*/ 133 h 133"/>
                    <a:gd name="T2" fmla="*/ 26 w 31"/>
                    <a:gd name="T3" fmla="*/ 131 h 133"/>
                    <a:gd name="T4" fmla="*/ 0 w 31"/>
                    <a:gd name="T5" fmla="*/ 3 h 133"/>
                    <a:gd name="T6" fmla="*/ 2 w 31"/>
                    <a:gd name="T7" fmla="*/ 0 h 133"/>
                    <a:gd name="T8" fmla="*/ 4 w 31"/>
                    <a:gd name="T9" fmla="*/ 2 h 133"/>
                    <a:gd name="T10" fmla="*/ 30 w 31"/>
                    <a:gd name="T11" fmla="*/ 131 h 133"/>
                    <a:gd name="T12" fmla="*/ 29 w 31"/>
                    <a:gd name="T13" fmla="*/ 133 h 133"/>
                    <a:gd name="T14" fmla="*/ 28 w 31"/>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133">
                      <a:moveTo>
                        <a:pt x="28" y="133"/>
                      </a:moveTo>
                      <a:cubicBezTo>
                        <a:pt x="27" y="133"/>
                        <a:pt x="27" y="132"/>
                        <a:pt x="26" y="131"/>
                      </a:cubicBezTo>
                      <a:cubicBezTo>
                        <a:pt x="0" y="3"/>
                        <a:pt x="0" y="3"/>
                        <a:pt x="0" y="3"/>
                      </a:cubicBezTo>
                      <a:cubicBezTo>
                        <a:pt x="0" y="2"/>
                        <a:pt x="1" y="1"/>
                        <a:pt x="2" y="0"/>
                      </a:cubicBezTo>
                      <a:cubicBezTo>
                        <a:pt x="3" y="0"/>
                        <a:pt x="4" y="1"/>
                        <a:pt x="4" y="2"/>
                      </a:cubicBezTo>
                      <a:cubicBezTo>
                        <a:pt x="30" y="131"/>
                        <a:pt x="30" y="131"/>
                        <a:pt x="30" y="131"/>
                      </a:cubicBezTo>
                      <a:cubicBezTo>
                        <a:pt x="31" y="132"/>
                        <a:pt x="30" y="133"/>
                        <a:pt x="29" y="133"/>
                      </a:cubicBezTo>
                      <a:cubicBezTo>
                        <a:pt x="29" y="133"/>
                        <a:pt x="28" y="133"/>
                        <a:pt x="28" y="13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9" name="Freeform 87">
                  <a:extLst>
                    <a:ext uri="{FF2B5EF4-FFF2-40B4-BE49-F238E27FC236}">
                      <a16:creationId xmlns:a16="http://schemas.microsoft.com/office/drawing/2014/main" id="{C04DB2C7-C921-6245-8BFD-72DEEBD067BB}"/>
                    </a:ext>
                  </a:extLst>
                </p:cNvPr>
                <p:cNvSpPr>
                  <a:spLocks/>
                </p:cNvSpPr>
                <p:nvPr/>
              </p:nvSpPr>
              <p:spPr bwMode="auto">
                <a:xfrm>
                  <a:off x="3600896" y="2593301"/>
                  <a:ext cx="446758" cy="41811"/>
                </a:xfrm>
                <a:custGeom>
                  <a:avLst/>
                  <a:gdLst>
                    <a:gd name="T0" fmla="*/ 2 w 96"/>
                    <a:gd name="T1" fmla="*/ 9 h 9"/>
                    <a:gd name="T2" fmla="*/ 0 w 96"/>
                    <a:gd name="T3" fmla="*/ 7 h 9"/>
                    <a:gd name="T4" fmla="*/ 2 w 96"/>
                    <a:gd name="T5" fmla="*/ 5 h 9"/>
                    <a:gd name="T6" fmla="*/ 94 w 96"/>
                    <a:gd name="T7" fmla="*/ 0 h 9"/>
                    <a:gd name="T8" fmla="*/ 96 w 96"/>
                    <a:gd name="T9" fmla="*/ 2 h 9"/>
                    <a:gd name="T10" fmla="*/ 94 w 96"/>
                    <a:gd name="T11" fmla="*/ 4 h 9"/>
                    <a:gd name="T12" fmla="*/ 2 w 96"/>
                    <a:gd name="T13" fmla="*/ 9 h 9"/>
                    <a:gd name="T14" fmla="*/ 2 w 96"/>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9">
                      <a:moveTo>
                        <a:pt x="2" y="9"/>
                      </a:moveTo>
                      <a:cubicBezTo>
                        <a:pt x="1" y="9"/>
                        <a:pt x="0" y="9"/>
                        <a:pt x="0" y="7"/>
                      </a:cubicBezTo>
                      <a:cubicBezTo>
                        <a:pt x="0" y="6"/>
                        <a:pt x="0" y="5"/>
                        <a:pt x="2" y="5"/>
                      </a:cubicBezTo>
                      <a:cubicBezTo>
                        <a:pt x="94" y="0"/>
                        <a:pt x="94" y="0"/>
                        <a:pt x="94" y="0"/>
                      </a:cubicBezTo>
                      <a:cubicBezTo>
                        <a:pt x="95" y="0"/>
                        <a:pt x="96" y="1"/>
                        <a:pt x="96" y="2"/>
                      </a:cubicBezTo>
                      <a:cubicBezTo>
                        <a:pt x="96" y="3"/>
                        <a:pt x="95" y="4"/>
                        <a:pt x="94" y="4"/>
                      </a:cubicBezTo>
                      <a:cubicBezTo>
                        <a:pt x="2" y="9"/>
                        <a:pt x="2" y="9"/>
                        <a:pt x="2" y="9"/>
                      </a:cubicBezTo>
                      <a:cubicBezTo>
                        <a:pt x="2" y="9"/>
                        <a:pt x="2" y="9"/>
                        <a:pt x="2" y="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0" name="Freeform 88">
                  <a:extLst>
                    <a:ext uri="{FF2B5EF4-FFF2-40B4-BE49-F238E27FC236}">
                      <a16:creationId xmlns:a16="http://schemas.microsoft.com/office/drawing/2014/main" id="{D453C48A-68DF-0040-8E6C-56A542737291}"/>
                    </a:ext>
                  </a:extLst>
                </p:cNvPr>
                <p:cNvSpPr>
                  <a:spLocks/>
                </p:cNvSpPr>
                <p:nvPr/>
              </p:nvSpPr>
              <p:spPr bwMode="auto">
                <a:xfrm>
                  <a:off x="3535857" y="2681569"/>
                  <a:ext cx="74330" cy="706915"/>
                </a:xfrm>
                <a:custGeom>
                  <a:avLst/>
                  <a:gdLst>
                    <a:gd name="T0" fmla="*/ 14 w 16"/>
                    <a:gd name="T1" fmla="*/ 152 h 152"/>
                    <a:gd name="T2" fmla="*/ 12 w 16"/>
                    <a:gd name="T3" fmla="*/ 150 h 152"/>
                    <a:gd name="T4" fmla="*/ 0 w 16"/>
                    <a:gd name="T5" fmla="*/ 2 h 152"/>
                    <a:gd name="T6" fmla="*/ 2 w 16"/>
                    <a:gd name="T7" fmla="*/ 0 h 152"/>
                    <a:gd name="T8" fmla="*/ 4 w 16"/>
                    <a:gd name="T9" fmla="*/ 2 h 152"/>
                    <a:gd name="T10" fmla="*/ 16 w 16"/>
                    <a:gd name="T11" fmla="*/ 150 h 152"/>
                    <a:gd name="T12" fmla="*/ 14 w 16"/>
                    <a:gd name="T13" fmla="*/ 152 h 152"/>
                    <a:gd name="T14" fmla="*/ 14 w 16"/>
                    <a:gd name="T15" fmla="*/ 152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52">
                      <a:moveTo>
                        <a:pt x="14" y="152"/>
                      </a:moveTo>
                      <a:cubicBezTo>
                        <a:pt x="13" y="152"/>
                        <a:pt x="12" y="151"/>
                        <a:pt x="12" y="150"/>
                      </a:cubicBezTo>
                      <a:cubicBezTo>
                        <a:pt x="0" y="2"/>
                        <a:pt x="0" y="2"/>
                        <a:pt x="0" y="2"/>
                      </a:cubicBezTo>
                      <a:cubicBezTo>
                        <a:pt x="0" y="1"/>
                        <a:pt x="1" y="0"/>
                        <a:pt x="2" y="0"/>
                      </a:cubicBezTo>
                      <a:cubicBezTo>
                        <a:pt x="3" y="0"/>
                        <a:pt x="4" y="0"/>
                        <a:pt x="4" y="2"/>
                      </a:cubicBezTo>
                      <a:cubicBezTo>
                        <a:pt x="16" y="150"/>
                        <a:pt x="16" y="150"/>
                        <a:pt x="16" y="150"/>
                      </a:cubicBezTo>
                      <a:cubicBezTo>
                        <a:pt x="16" y="151"/>
                        <a:pt x="16" y="152"/>
                        <a:pt x="14" y="152"/>
                      </a:cubicBezTo>
                      <a:cubicBezTo>
                        <a:pt x="14" y="152"/>
                        <a:pt x="14" y="152"/>
                        <a:pt x="14" y="15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1" name="Freeform 89">
                  <a:extLst>
                    <a:ext uri="{FF2B5EF4-FFF2-40B4-BE49-F238E27FC236}">
                      <a16:creationId xmlns:a16="http://schemas.microsoft.com/office/drawing/2014/main" id="{A8AFCD75-EB68-0645-A21F-59C5D6330B9F}"/>
                    </a:ext>
                  </a:extLst>
                </p:cNvPr>
                <p:cNvSpPr>
                  <a:spLocks/>
                </p:cNvSpPr>
                <p:nvPr/>
              </p:nvSpPr>
              <p:spPr bwMode="auto">
                <a:xfrm>
                  <a:off x="3057354" y="2658341"/>
                  <a:ext cx="445983" cy="399526"/>
                </a:xfrm>
                <a:custGeom>
                  <a:avLst/>
                  <a:gdLst>
                    <a:gd name="T0" fmla="*/ 2 w 96"/>
                    <a:gd name="T1" fmla="*/ 86 h 86"/>
                    <a:gd name="T2" fmla="*/ 1 w 96"/>
                    <a:gd name="T3" fmla="*/ 86 h 86"/>
                    <a:gd name="T4" fmla="*/ 1 w 96"/>
                    <a:gd name="T5" fmla="*/ 83 h 86"/>
                    <a:gd name="T6" fmla="*/ 92 w 96"/>
                    <a:gd name="T7" fmla="*/ 1 h 86"/>
                    <a:gd name="T8" fmla="*/ 95 w 96"/>
                    <a:gd name="T9" fmla="*/ 1 h 86"/>
                    <a:gd name="T10" fmla="*/ 95 w 96"/>
                    <a:gd name="T11" fmla="*/ 4 h 86"/>
                    <a:gd name="T12" fmla="*/ 4 w 96"/>
                    <a:gd name="T13" fmla="*/ 86 h 86"/>
                    <a:gd name="T14" fmla="*/ 2 w 96"/>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86">
                      <a:moveTo>
                        <a:pt x="2" y="86"/>
                      </a:moveTo>
                      <a:cubicBezTo>
                        <a:pt x="2" y="86"/>
                        <a:pt x="1" y="86"/>
                        <a:pt x="1" y="86"/>
                      </a:cubicBezTo>
                      <a:cubicBezTo>
                        <a:pt x="0" y="85"/>
                        <a:pt x="0" y="84"/>
                        <a:pt x="1" y="83"/>
                      </a:cubicBezTo>
                      <a:cubicBezTo>
                        <a:pt x="92" y="1"/>
                        <a:pt x="92" y="1"/>
                        <a:pt x="92" y="1"/>
                      </a:cubicBezTo>
                      <a:cubicBezTo>
                        <a:pt x="93" y="0"/>
                        <a:pt x="94" y="1"/>
                        <a:pt x="95" y="1"/>
                      </a:cubicBezTo>
                      <a:cubicBezTo>
                        <a:pt x="96" y="2"/>
                        <a:pt x="95" y="3"/>
                        <a:pt x="95" y="4"/>
                      </a:cubicBezTo>
                      <a:cubicBezTo>
                        <a:pt x="4" y="86"/>
                        <a:pt x="4" y="86"/>
                        <a:pt x="4" y="86"/>
                      </a:cubicBezTo>
                      <a:cubicBezTo>
                        <a:pt x="3" y="86"/>
                        <a:pt x="3" y="86"/>
                        <a:pt x="2" y="8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2" name="Freeform 90">
                  <a:extLst>
                    <a:ext uri="{FF2B5EF4-FFF2-40B4-BE49-F238E27FC236}">
                      <a16:creationId xmlns:a16="http://schemas.microsoft.com/office/drawing/2014/main" id="{8762C099-B467-8649-895A-7B29A5A92DC7}"/>
                    </a:ext>
                  </a:extLst>
                </p:cNvPr>
                <p:cNvSpPr>
                  <a:spLocks/>
                </p:cNvSpPr>
                <p:nvPr/>
              </p:nvSpPr>
              <p:spPr bwMode="auto">
                <a:xfrm>
                  <a:off x="5251652" y="3662577"/>
                  <a:ext cx="246994" cy="227637"/>
                </a:xfrm>
                <a:custGeom>
                  <a:avLst/>
                  <a:gdLst>
                    <a:gd name="T0" fmla="*/ 2 w 53"/>
                    <a:gd name="T1" fmla="*/ 49 h 49"/>
                    <a:gd name="T2" fmla="*/ 1 w 53"/>
                    <a:gd name="T3" fmla="*/ 48 h 49"/>
                    <a:gd name="T4" fmla="*/ 1 w 53"/>
                    <a:gd name="T5" fmla="*/ 46 h 49"/>
                    <a:gd name="T6" fmla="*/ 49 w 53"/>
                    <a:gd name="T7" fmla="*/ 1 h 49"/>
                    <a:gd name="T8" fmla="*/ 52 w 53"/>
                    <a:gd name="T9" fmla="*/ 1 h 49"/>
                    <a:gd name="T10" fmla="*/ 52 w 53"/>
                    <a:gd name="T11" fmla="*/ 4 h 49"/>
                    <a:gd name="T12" fmla="*/ 4 w 53"/>
                    <a:gd name="T13" fmla="*/ 48 h 49"/>
                    <a:gd name="T14" fmla="*/ 2 w 53"/>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49">
                      <a:moveTo>
                        <a:pt x="2" y="49"/>
                      </a:moveTo>
                      <a:cubicBezTo>
                        <a:pt x="2" y="49"/>
                        <a:pt x="1" y="49"/>
                        <a:pt x="1" y="48"/>
                      </a:cubicBezTo>
                      <a:cubicBezTo>
                        <a:pt x="0" y="48"/>
                        <a:pt x="0" y="46"/>
                        <a:pt x="1" y="46"/>
                      </a:cubicBezTo>
                      <a:cubicBezTo>
                        <a:pt x="49" y="1"/>
                        <a:pt x="49" y="1"/>
                        <a:pt x="49" y="1"/>
                      </a:cubicBezTo>
                      <a:cubicBezTo>
                        <a:pt x="50" y="0"/>
                        <a:pt x="51" y="1"/>
                        <a:pt x="52" y="1"/>
                      </a:cubicBezTo>
                      <a:cubicBezTo>
                        <a:pt x="53" y="2"/>
                        <a:pt x="53" y="3"/>
                        <a:pt x="52" y="4"/>
                      </a:cubicBezTo>
                      <a:cubicBezTo>
                        <a:pt x="4" y="48"/>
                        <a:pt x="4" y="48"/>
                        <a:pt x="4" y="48"/>
                      </a:cubicBezTo>
                      <a:cubicBezTo>
                        <a:pt x="3" y="49"/>
                        <a:pt x="3" y="49"/>
                        <a:pt x="2" y="4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3" name="Freeform 91">
                  <a:extLst>
                    <a:ext uri="{FF2B5EF4-FFF2-40B4-BE49-F238E27FC236}">
                      <a16:creationId xmlns:a16="http://schemas.microsoft.com/office/drawing/2014/main" id="{C9DFD08C-278F-1B49-82C9-B597391D8343}"/>
                    </a:ext>
                  </a:extLst>
                </p:cNvPr>
                <p:cNvSpPr>
                  <a:spLocks/>
                </p:cNvSpPr>
                <p:nvPr/>
              </p:nvSpPr>
              <p:spPr bwMode="auto">
                <a:xfrm>
                  <a:off x="4661654" y="3936671"/>
                  <a:ext cx="432046" cy="47231"/>
                </a:xfrm>
                <a:custGeom>
                  <a:avLst/>
                  <a:gdLst>
                    <a:gd name="T0" fmla="*/ 91 w 93"/>
                    <a:gd name="T1" fmla="*/ 10 h 10"/>
                    <a:gd name="T2" fmla="*/ 91 w 93"/>
                    <a:gd name="T3" fmla="*/ 10 h 10"/>
                    <a:gd name="T4" fmla="*/ 2 w 93"/>
                    <a:gd name="T5" fmla="*/ 4 h 10"/>
                    <a:gd name="T6" fmla="*/ 0 w 93"/>
                    <a:gd name="T7" fmla="*/ 2 h 10"/>
                    <a:gd name="T8" fmla="*/ 2 w 93"/>
                    <a:gd name="T9" fmla="*/ 0 h 10"/>
                    <a:gd name="T10" fmla="*/ 91 w 93"/>
                    <a:gd name="T11" fmla="*/ 6 h 10"/>
                    <a:gd name="T12" fmla="*/ 93 w 93"/>
                    <a:gd name="T13" fmla="*/ 9 h 10"/>
                    <a:gd name="T14" fmla="*/ 91 w 9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0">
                      <a:moveTo>
                        <a:pt x="91" y="10"/>
                      </a:moveTo>
                      <a:cubicBezTo>
                        <a:pt x="91" y="10"/>
                        <a:pt x="91" y="10"/>
                        <a:pt x="91" y="10"/>
                      </a:cubicBezTo>
                      <a:cubicBezTo>
                        <a:pt x="2" y="4"/>
                        <a:pt x="2" y="4"/>
                        <a:pt x="2" y="4"/>
                      </a:cubicBezTo>
                      <a:cubicBezTo>
                        <a:pt x="1" y="4"/>
                        <a:pt x="0" y="3"/>
                        <a:pt x="0" y="2"/>
                      </a:cubicBezTo>
                      <a:cubicBezTo>
                        <a:pt x="0" y="0"/>
                        <a:pt x="1" y="0"/>
                        <a:pt x="2" y="0"/>
                      </a:cubicBezTo>
                      <a:cubicBezTo>
                        <a:pt x="91" y="6"/>
                        <a:pt x="91" y="6"/>
                        <a:pt x="91" y="6"/>
                      </a:cubicBezTo>
                      <a:cubicBezTo>
                        <a:pt x="92" y="6"/>
                        <a:pt x="93" y="7"/>
                        <a:pt x="93" y="9"/>
                      </a:cubicBezTo>
                      <a:cubicBezTo>
                        <a:pt x="93" y="10"/>
                        <a:pt x="92" y="10"/>
                        <a:pt x="91" y="1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4" name="Freeform 92">
                  <a:extLst>
                    <a:ext uri="{FF2B5EF4-FFF2-40B4-BE49-F238E27FC236}">
                      <a16:creationId xmlns:a16="http://schemas.microsoft.com/office/drawing/2014/main" id="{61BBCFC4-9B9C-E048-96B8-319BF42099AE}"/>
                    </a:ext>
                  </a:extLst>
                </p:cNvPr>
                <p:cNvSpPr>
                  <a:spLocks/>
                </p:cNvSpPr>
                <p:nvPr/>
              </p:nvSpPr>
              <p:spPr bwMode="auto">
                <a:xfrm>
                  <a:off x="3726328" y="2802356"/>
                  <a:ext cx="446758" cy="623292"/>
                </a:xfrm>
                <a:custGeom>
                  <a:avLst/>
                  <a:gdLst>
                    <a:gd name="T0" fmla="*/ 3 w 96"/>
                    <a:gd name="T1" fmla="*/ 134 h 134"/>
                    <a:gd name="T2" fmla="*/ 2 w 96"/>
                    <a:gd name="T3" fmla="*/ 133 h 134"/>
                    <a:gd name="T4" fmla="*/ 1 w 96"/>
                    <a:gd name="T5" fmla="*/ 131 h 134"/>
                    <a:gd name="T6" fmla="*/ 92 w 96"/>
                    <a:gd name="T7" fmla="*/ 1 h 134"/>
                    <a:gd name="T8" fmla="*/ 94 w 96"/>
                    <a:gd name="T9" fmla="*/ 1 h 134"/>
                    <a:gd name="T10" fmla="*/ 95 w 96"/>
                    <a:gd name="T11" fmla="*/ 3 h 134"/>
                    <a:gd name="T12" fmla="*/ 4 w 96"/>
                    <a:gd name="T13" fmla="*/ 133 h 134"/>
                    <a:gd name="T14" fmla="*/ 3 w 96"/>
                    <a:gd name="T15" fmla="*/ 13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4">
                      <a:moveTo>
                        <a:pt x="3" y="134"/>
                      </a:moveTo>
                      <a:cubicBezTo>
                        <a:pt x="2" y="134"/>
                        <a:pt x="2" y="134"/>
                        <a:pt x="2" y="133"/>
                      </a:cubicBezTo>
                      <a:cubicBezTo>
                        <a:pt x="1" y="133"/>
                        <a:pt x="0" y="131"/>
                        <a:pt x="1" y="131"/>
                      </a:cubicBezTo>
                      <a:cubicBezTo>
                        <a:pt x="92" y="1"/>
                        <a:pt x="92" y="1"/>
                        <a:pt x="92" y="1"/>
                      </a:cubicBezTo>
                      <a:cubicBezTo>
                        <a:pt x="92" y="0"/>
                        <a:pt x="94" y="0"/>
                        <a:pt x="94" y="1"/>
                      </a:cubicBezTo>
                      <a:cubicBezTo>
                        <a:pt x="95" y="1"/>
                        <a:pt x="96" y="3"/>
                        <a:pt x="95" y="3"/>
                      </a:cubicBezTo>
                      <a:cubicBezTo>
                        <a:pt x="4" y="133"/>
                        <a:pt x="4" y="133"/>
                        <a:pt x="4" y="133"/>
                      </a:cubicBezTo>
                      <a:cubicBezTo>
                        <a:pt x="4" y="133"/>
                        <a:pt x="3" y="134"/>
                        <a:pt x="3" y="13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5" name="Freeform 93">
                  <a:extLst>
                    <a:ext uri="{FF2B5EF4-FFF2-40B4-BE49-F238E27FC236}">
                      <a16:creationId xmlns:a16="http://schemas.microsoft.com/office/drawing/2014/main" id="{21BB84A2-1C0C-4C4D-87C4-2BF7CF825972}"/>
                    </a:ext>
                  </a:extLst>
                </p:cNvPr>
                <p:cNvSpPr>
                  <a:spLocks/>
                </p:cNvSpPr>
                <p:nvPr/>
              </p:nvSpPr>
              <p:spPr bwMode="auto">
                <a:xfrm>
                  <a:off x="3987260" y="1072623"/>
                  <a:ext cx="343778" cy="1152897"/>
                </a:xfrm>
                <a:custGeom>
                  <a:avLst/>
                  <a:gdLst>
                    <a:gd name="T0" fmla="*/ 72 w 74"/>
                    <a:gd name="T1" fmla="*/ 248 h 248"/>
                    <a:gd name="T2" fmla="*/ 70 w 74"/>
                    <a:gd name="T3" fmla="*/ 247 h 248"/>
                    <a:gd name="T4" fmla="*/ 1 w 74"/>
                    <a:gd name="T5" fmla="*/ 3 h 248"/>
                    <a:gd name="T6" fmla="*/ 2 w 74"/>
                    <a:gd name="T7" fmla="*/ 0 h 248"/>
                    <a:gd name="T8" fmla="*/ 5 w 74"/>
                    <a:gd name="T9" fmla="*/ 2 h 248"/>
                    <a:gd name="T10" fmla="*/ 74 w 74"/>
                    <a:gd name="T11" fmla="*/ 246 h 248"/>
                    <a:gd name="T12" fmla="*/ 73 w 74"/>
                    <a:gd name="T13" fmla="*/ 248 h 248"/>
                    <a:gd name="T14" fmla="*/ 72 w 74"/>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248">
                      <a:moveTo>
                        <a:pt x="72" y="248"/>
                      </a:moveTo>
                      <a:cubicBezTo>
                        <a:pt x="71" y="248"/>
                        <a:pt x="70" y="248"/>
                        <a:pt x="70" y="247"/>
                      </a:cubicBezTo>
                      <a:cubicBezTo>
                        <a:pt x="1" y="3"/>
                        <a:pt x="1" y="3"/>
                        <a:pt x="1" y="3"/>
                      </a:cubicBezTo>
                      <a:cubicBezTo>
                        <a:pt x="0" y="2"/>
                        <a:pt x="1" y="1"/>
                        <a:pt x="2" y="0"/>
                      </a:cubicBezTo>
                      <a:cubicBezTo>
                        <a:pt x="3" y="0"/>
                        <a:pt x="4" y="1"/>
                        <a:pt x="5" y="2"/>
                      </a:cubicBezTo>
                      <a:cubicBezTo>
                        <a:pt x="74" y="246"/>
                        <a:pt x="74" y="246"/>
                        <a:pt x="74" y="246"/>
                      </a:cubicBezTo>
                      <a:cubicBezTo>
                        <a:pt x="74" y="247"/>
                        <a:pt x="74" y="248"/>
                        <a:pt x="73" y="248"/>
                      </a:cubicBezTo>
                      <a:cubicBezTo>
                        <a:pt x="72" y="248"/>
                        <a:pt x="72" y="248"/>
                        <a:pt x="72" y="248"/>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6" name="Freeform 94">
                  <a:extLst>
                    <a:ext uri="{FF2B5EF4-FFF2-40B4-BE49-F238E27FC236}">
                      <a16:creationId xmlns:a16="http://schemas.microsoft.com/office/drawing/2014/main" id="{159D42F1-D69E-F640-8913-3D156BF8A5C9}"/>
                    </a:ext>
                  </a:extLst>
                </p:cNvPr>
                <p:cNvSpPr>
                  <a:spLocks/>
                </p:cNvSpPr>
                <p:nvPr/>
              </p:nvSpPr>
              <p:spPr bwMode="auto">
                <a:xfrm>
                  <a:off x="6563276" y="2523616"/>
                  <a:ext cx="464566" cy="571416"/>
                </a:xfrm>
                <a:custGeom>
                  <a:avLst/>
                  <a:gdLst>
                    <a:gd name="T0" fmla="*/ 2 w 100"/>
                    <a:gd name="T1" fmla="*/ 123 h 123"/>
                    <a:gd name="T2" fmla="*/ 1 w 100"/>
                    <a:gd name="T3" fmla="*/ 123 h 123"/>
                    <a:gd name="T4" fmla="*/ 0 w 100"/>
                    <a:gd name="T5" fmla="*/ 120 h 123"/>
                    <a:gd name="T6" fmla="*/ 96 w 100"/>
                    <a:gd name="T7" fmla="*/ 1 h 123"/>
                    <a:gd name="T8" fmla="*/ 99 w 100"/>
                    <a:gd name="T9" fmla="*/ 1 h 123"/>
                    <a:gd name="T10" fmla="*/ 100 w 100"/>
                    <a:gd name="T11" fmla="*/ 4 h 123"/>
                    <a:gd name="T12" fmla="*/ 4 w 100"/>
                    <a:gd name="T13" fmla="*/ 122 h 123"/>
                    <a:gd name="T14" fmla="*/ 2 w 100"/>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23">
                      <a:moveTo>
                        <a:pt x="2" y="123"/>
                      </a:moveTo>
                      <a:cubicBezTo>
                        <a:pt x="2" y="123"/>
                        <a:pt x="1" y="123"/>
                        <a:pt x="1" y="123"/>
                      </a:cubicBezTo>
                      <a:cubicBezTo>
                        <a:pt x="0" y="122"/>
                        <a:pt x="0" y="121"/>
                        <a:pt x="0" y="120"/>
                      </a:cubicBezTo>
                      <a:cubicBezTo>
                        <a:pt x="96" y="1"/>
                        <a:pt x="96" y="1"/>
                        <a:pt x="96" y="1"/>
                      </a:cubicBezTo>
                      <a:cubicBezTo>
                        <a:pt x="97" y="0"/>
                        <a:pt x="98" y="0"/>
                        <a:pt x="99" y="1"/>
                      </a:cubicBezTo>
                      <a:cubicBezTo>
                        <a:pt x="100" y="1"/>
                        <a:pt x="100" y="3"/>
                        <a:pt x="100" y="4"/>
                      </a:cubicBezTo>
                      <a:cubicBezTo>
                        <a:pt x="4" y="122"/>
                        <a:pt x="4" y="122"/>
                        <a:pt x="4" y="122"/>
                      </a:cubicBezTo>
                      <a:cubicBezTo>
                        <a:pt x="3" y="123"/>
                        <a:pt x="3" y="123"/>
                        <a:pt x="2" y="12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7" name="Freeform 95">
                  <a:extLst>
                    <a:ext uri="{FF2B5EF4-FFF2-40B4-BE49-F238E27FC236}">
                      <a16:creationId xmlns:a16="http://schemas.microsoft.com/office/drawing/2014/main" id="{132DD862-7AC9-D840-A1E6-9359A9CC5D0B}"/>
                    </a:ext>
                  </a:extLst>
                </p:cNvPr>
                <p:cNvSpPr>
                  <a:spLocks/>
                </p:cNvSpPr>
                <p:nvPr/>
              </p:nvSpPr>
              <p:spPr bwMode="auto">
                <a:xfrm>
                  <a:off x="6586504" y="3198011"/>
                  <a:ext cx="399526" cy="190472"/>
                </a:xfrm>
                <a:custGeom>
                  <a:avLst/>
                  <a:gdLst>
                    <a:gd name="T0" fmla="*/ 84 w 86"/>
                    <a:gd name="T1" fmla="*/ 41 h 41"/>
                    <a:gd name="T2" fmla="*/ 83 w 86"/>
                    <a:gd name="T3" fmla="*/ 40 h 41"/>
                    <a:gd name="T4" fmla="*/ 2 w 86"/>
                    <a:gd name="T5" fmla="*/ 4 h 41"/>
                    <a:gd name="T6" fmla="*/ 1 w 86"/>
                    <a:gd name="T7" fmla="*/ 2 h 41"/>
                    <a:gd name="T8" fmla="*/ 3 w 86"/>
                    <a:gd name="T9" fmla="*/ 1 h 41"/>
                    <a:gd name="T10" fmla="*/ 84 w 86"/>
                    <a:gd name="T11" fmla="*/ 37 h 41"/>
                    <a:gd name="T12" fmla="*/ 85 w 86"/>
                    <a:gd name="T13" fmla="*/ 39 h 41"/>
                    <a:gd name="T14" fmla="*/ 84 w 86"/>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41">
                      <a:moveTo>
                        <a:pt x="84" y="41"/>
                      </a:moveTo>
                      <a:cubicBezTo>
                        <a:pt x="83" y="41"/>
                        <a:pt x="83" y="41"/>
                        <a:pt x="83" y="40"/>
                      </a:cubicBezTo>
                      <a:cubicBezTo>
                        <a:pt x="2" y="4"/>
                        <a:pt x="2" y="4"/>
                        <a:pt x="2" y="4"/>
                      </a:cubicBezTo>
                      <a:cubicBezTo>
                        <a:pt x="1" y="4"/>
                        <a:pt x="0" y="3"/>
                        <a:pt x="1" y="2"/>
                      </a:cubicBezTo>
                      <a:cubicBezTo>
                        <a:pt x="1" y="1"/>
                        <a:pt x="2" y="0"/>
                        <a:pt x="3" y="1"/>
                      </a:cubicBezTo>
                      <a:cubicBezTo>
                        <a:pt x="84" y="37"/>
                        <a:pt x="84" y="37"/>
                        <a:pt x="84" y="37"/>
                      </a:cubicBezTo>
                      <a:cubicBezTo>
                        <a:pt x="85" y="37"/>
                        <a:pt x="86" y="38"/>
                        <a:pt x="85" y="39"/>
                      </a:cubicBezTo>
                      <a:cubicBezTo>
                        <a:pt x="85" y="40"/>
                        <a:pt x="84" y="41"/>
                        <a:pt x="84" y="41"/>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8" name="Freeform 96">
                  <a:extLst>
                    <a:ext uri="{FF2B5EF4-FFF2-40B4-BE49-F238E27FC236}">
                      <a16:creationId xmlns:a16="http://schemas.microsoft.com/office/drawing/2014/main" id="{5300440C-4026-6443-9225-0D5774ECB651}"/>
                    </a:ext>
                  </a:extLst>
                </p:cNvPr>
                <p:cNvSpPr>
                  <a:spLocks/>
                </p:cNvSpPr>
                <p:nvPr/>
              </p:nvSpPr>
              <p:spPr bwMode="auto">
                <a:xfrm>
                  <a:off x="6609732" y="3476750"/>
                  <a:ext cx="376298" cy="250866"/>
                </a:xfrm>
                <a:custGeom>
                  <a:avLst/>
                  <a:gdLst>
                    <a:gd name="T0" fmla="*/ 3 w 81"/>
                    <a:gd name="T1" fmla="*/ 54 h 54"/>
                    <a:gd name="T2" fmla="*/ 1 w 81"/>
                    <a:gd name="T3" fmla="*/ 53 h 54"/>
                    <a:gd name="T4" fmla="*/ 2 w 81"/>
                    <a:gd name="T5" fmla="*/ 50 h 54"/>
                    <a:gd name="T6" fmla="*/ 77 w 81"/>
                    <a:gd name="T7" fmla="*/ 1 h 54"/>
                    <a:gd name="T8" fmla="*/ 80 w 81"/>
                    <a:gd name="T9" fmla="*/ 1 h 54"/>
                    <a:gd name="T10" fmla="*/ 79 w 81"/>
                    <a:gd name="T11" fmla="*/ 4 h 54"/>
                    <a:gd name="T12" fmla="*/ 4 w 81"/>
                    <a:gd name="T13" fmla="*/ 54 h 54"/>
                    <a:gd name="T14" fmla="*/ 3 w 81"/>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54">
                      <a:moveTo>
                        <a:pt x="3" y="54"/>
                      </a:moveTo>
                      <a:cubicBezTo>
                        <a:pt x="2" y="54"/>
                        <a:pt x="1" y="54"/>
                        <a:pt x="1" y="53"/>
                      </a:cubicBezTo>
                      <a:cubicBezTo>
                        <a:pt x="0" y="52"/>
                        <a:pt x="1" y="51"/>
                        <a:pt x="2" y="50"/>
                      </a:cubicBezTo>
                      <a:cubicBezTo>
                        <a:pt x="77" y="1"/>
                        <a:pt x="77" y="1"/>
                        <a:pt x="77" y="1"/>
                      </a:cubicBezTo>
                      <a:cubicBezTo>
                        <a:pt x="78" y="0"/>
                        <a:pt x="79" y="0"/>
                        <a:pt x="80" y="1"/>
                      </a:cubicBezTo>
                      <a:cubicBezTo>
                        <a:pt x="81" y="2"/>
                        <a:pt x="80" y="3"/>
                        <a:pt x="79" y="4"/>
                      </a:cubicBezTo>
                      <a:cubicBezTo>
                        <a:pt x="4" y="54"/>
                        <a:pt x="4" y="54"/>
                        <a:pt x="4" y="54"/>
                      </a:cubicBezTo>
                      <a:cubicBezTo>
                        <a:pt x="3" y="54"/>
                        <a:pt x="3" y="54"/>
                        <a:pt x="3" y="5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9" name="Freeform 97">
                  <a:extLst>
                    <a:ext uri="{FF2B5EF4-FFF2-40B4-BE49-F238E27FC236}">
                      <a16:creationId xmlns:a16="http://schemas.microsoft.com/office/drawing/2014/main" id="{7C0D16D5-D35D-9D4B-BA1A-143758B81C11}"/>
                    </a:ext>
                  </a:extLst>
                </p:cNvPr>
                <p:cNvSpPr>
                  <a:spLocks/>
                </p:cNvSpPr>
                <p:nvPr/>
              </p:nvSpPr>
              <p:spPr bwMode="auto">
                <a:xfrm>
                  <a:off x="4596615" y="4090751"/>
                  <a:ext cx="696848" cy="459920"/>
                </a:xfrm>
                <a:custGeom>
                  <a:avLst/>
                  <a:gdLst>
                    <a:gd name="T0" fmla="*/ 148 w 150"/>
                    <a:gd name="T1" fmla="*/ 99 h 99"/>
                    <a:gd name="T2" fmla="*/ 147 w 150"/>
                    <a:gd name="T3" fmla="*/ 99 h 99"/>
                    <a:gd name="T4" fmla="*/ 1 w 150"/>
                    <a:gd name="T5" fmla="*/ 4 h 99"/>
                    <a:gd name="T6" fmla="*/ 1 w 150"/>
                    <a:gd name="T7" fmla="*/ 2 h 99"/>
                    <a:gd name="T8" fmla="*/ 3 w 150"/>
                    <a:gd name="T9" fmla="*/ 1 h 99"/>
                    <a:gd name="T10" fmla="*/ 149 w 150"/>
                    <a:gd name="T11" fmla="*/ 96 h 99"/>
                    <a:gd name="T12" fmla="*/ 149 w 150"/>
                    <a:gd name="T13" fmla="*/ 98 h 99"/>
                    <a:gd name="T14" fmla="*/ 148 w 150"/>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99">
                      <a:moveTo>
                        <a:pt x="148" y="99"/>
                      </a:moveTo>
                      <a:cubicBezTo>
                        <a:pt x="147" y="99"/>
                        <a:pt x="147" y="99"/>
                        <a:pt x="147" y="99"/>
                      </a:cubicBezTo>
                      <a:cubicBezTo>
                        <a:pt x="1" y="4"/>
                        <a:pt x="1" y="4"/>
                        <a:pt x="1" y="4"/>
                      </a:cubicBezTo>
                      <a:cubicBezTo>
                        <a:pt x="0" y="4"/>
                        <a:pt x="0" y="3"/>
                        <a:pt x="1" y="2"/>
                      </a:cubicBezTo>
                      <a:cubicBezTo>
                        <a:pt x="1" y="1"/>
                        <a:pt x="2" y="0"/>
                        <a:pt x="3" y="1"/>
                      </a:cubicBezTo>
                      <a:cubicBezTo>
                        <a:pt x="149" y="96"/>
                        <a:pt x="149" y="96"/>
                        <a:pt x="149" y="96"/>
                      </a:cubicBezTo>
                      <a:cubicBezTo>
                        <a:pt x="150" y="96"/>
                        <a:pt x="150" y="98"/>
                        <a:pt x="149" y="98"/>
                      </a:cubicBezTo>
                      <a:cubicBezTo>
                        <a:pt x="149" y="99"/>
                        <a:pt x="148" y="99"/>
                        <a:pt x="148" y="9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0" name="Freeform 98">
                  <a:extLst>
                    <a:ext uri="{FF2B5EF4-FFF2-40B4-BE49-F238E27FC236}">
                      <a16:creationId xmlns:a16="http://schemas.microsoft.com/office/drawing/2014/main" id="{188D0BB2-987F-4443-B7B4-E9C6167E1FDF}"/>
                    </a:ext>
                  </a:extLst>
                </p:cNvPr>
                <p:cNvSpPr>
                  <a:spLocks/>
                </p:cNvSpPr>
                <p:nvPr/>
              </p:nvSpPr>
              <p:spPr bwMode="auto">
                <a:xfrm>
                  <a:off x="3219952" y="752073"/>
                  <a:ext cx="567545" cy="106850"/>
                </a:xfrm>
                <a:custGeom>
                  <a:avLst/>
                  <a:gdLst>
                    <a:gd name="T0" fmla="*/ 120 w 122"/>
                    <a:gd name="T1" fmla="*/ 23 h 23"/>
                    <a:gd name="T2" fmla="*/ 119 w 122"/>
                    <a:gd name="T3" fmla="*/ 23 h 23"/>
                    <a:gd name="T4" fmla="*/ 1 w 122"/>
                    <a:gd name="T5" fmla="*/ 4 h 23"/>
                    <a:gd name="T6" fmla="*/ 0 w 122"/>
                    <a:gd name="T7" fmla="*/ 2 h 23"/>
                    <a:gd name="T8" fmla="*/ 2 w 122"/>
                    <a:gd name="T9" fmla="*/ 0 h 23"/>
                    <a:gd name="T10" fmla="*/ 120 w 122"/>
                    <a:gd name="T11" fmla="*/ 19 h 23"/>
                    <a:gd name="T12" fmla="*/ 122 w 122"/>
                    <a:gd name="T13" fmla="*/ 21 h 23"/>
                    <a:gd name="T14" fmla="*/ 120 w 122"/>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23">
                      <a:moveTo>
                        <a:pt x="120" y="23"/>
                      </a:moveTo>
                      <a:cubicBezTo>
                        <a:pt x="120" y="23"/>
                        <a:pt x="119" y="23"/>
                        <a:pt x="119" y="23"/>
                      </a:cubicBezTo>
                      <a:cubicBezTo>
                        <a:pt x="1" y="4"/>
                        <a:pt x="1" y="4"/>
                        <a:pt x="1" y="4"/>
                      </a:cubicBezTo>
                      <a:cubicBezTo>
                        <a:pt x="0" y="4"/>
                        <a:pt x="0" y="3"/>
                        <a:pt x="0" y="2"/>
                      </a:cubicBezTo>
                      <a:cubicBezTo>
                        <a:pt x="0" y="1"/>
                        <a:pt x="1" y="0"/>
                        <a:pt x="2" y="0"/>
                      </a:cubicBezTo>
                      <a:cubicBezTo>
                        <a:pt x="120" y="19"/>
                        <a:pt x="120" y="19"/>
                        <a:pt x="120" y="19"/>
                      </a:cubicBezTo>
                      <a:cubicBezTo>
                        <a:pt x="121" y="19"/>
                        <a:pt x="122" y="20"/>
                        <a:pt x="122" y="21"/>
                      </a:cubicBezTo>
                      <a:cubicBezTo>
                        <a:pt x="121" y="22"/>
                        <a:pt x="121" y="23"/>
                        <a:pt x="120" y="2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1" name="Freeform 110">
                  <a:extLst>
                    <a:ext uri="{FF2B5EF4-FFF2-40B4-BE49-F238E27FC236}">
                      <a16:creationId xmlns:a16="http://schemas.microsoft.com/office/drawing/2014/main" id="{137E0EC2-47EB-674F-8619-65B4ADFEE04D}"/>
                    </a:ext>
                  </a:extLst>
                </p:cNvPr>
                <p:cNvSpPr>
                  <a:spLocks/>
                </p:cNvSpPr>
                <p:nvPr/>
              </p:nvSpPr>
              <p:spPr bwMode="auto">
                <a:xfrm>
                  <a:off x="6735166" y="574763"/>
                  <a:ext cx="502506" cy="237703"/>
                </a:xfrm>
                <a:custGeom>
                  <a:avLst/>
                  <a:gdLst>
                    <a:gd name="T0" fmla="*/ 12 w 649"/>
                    <a:gd name="T1" fmla="*/ 307 h 307"/>
                    <a:gd name="T2" fmla="*/ 0 w 649"/>
                    <a:gd name="T3" fmla="*/ 289 h 307"/>
                    <a:gd name="T4" fmla="*/ 643 w 649"/>
                    <a:gd name="T5" fmla="*/ 0 h 307"/>
                    <a:gd name="T6" fmla="*/ 649 w 649"/>
                    <a:gd name="T7" fmla="*/ 18 h 307"/>
                    <a:gd name="T8" fmla="*/ 12 w 649"/>
                    <a:gd name="T9" fmla="*/ 307 h 307"/>
                  </a:gdLst>
                  <a:ahLst/>
                  <a:cxnLst>
                    <a:cxn ang="0">
                      <a:pos x="T0" y="T1"/>
                    </a:cxn>
                    <a:cxn ang="0">
                      <a:pos x="T2" y="T3"/>
                    </a:cxn>
                    <a:cxn ang="0">
                      <a:pos x="T4" y="T5"/>
                    </a:cxn>
                    <a:cxn ang="0">
                      <a:pos x="T6" y="T7"/>
                    </a:cxn>
                    <a:cxn ang="0">
                      <a:pos x="T8" y="T9"/>
                    </a:cxn>
                  </a:cxnLst>
                  <a:rect l="0" t="0" r="r" b="b"/>
                  <a:pathLst>
                    <a:path w="649" h="307">
                      <a:moveTo>
                        <a:pt x="12" y="307"/>
                      </a:moveTo>
                      <a:lnTo>
                        <a:pt x="0" y="289"/>
                      </a:lnTo>
                      <a:lnTo>
                        <a:pt x="643" y="0"/>
                      </a:lnTo>
                      <a:lnTo>
                        <a:pt x="649" y="18"/>
                      </a:lnTo>
                      <a:lnTo>
                        <a:pt x="12" y="30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2" name="Freeform 111">
                  <a:extLst>
                    <a:ext uri="{FF2B5EF4-FFF2-40B4-BE49-F238E27FC236}">
                      <a16:creationId xmlns:a16="http://schemas.microsoft.com/office/drawing/2014/main" id="{FED37D2A-3C97-1B4D-A185-FDA2B3141BB7}"/>
                    </a:ext>
                  </a:extLst>
                </p:cNvPr>
                <p:cNvSpPr>
                  <a:spLocks/>
                </p:cNvSpPr>
                <p:nvPr/>
              </p:nvSpPr>
              <p:spPr bwMode="auto">
                <a:xfrm>
                  <a:off x="5456835" y="560826"/>
                  <a:ext cx="111496" cy="293451"/>
                </a:xfrm>
                <a:custGeom>
                  <a:avLst/>
                  <a:gdLst>
                    <a:gd name="T0" fmla="*/ 126 w 144"/>
                    <a:gd name="T1" fmla="*/ 379 h 379"/>
                    <a:gd name="T2" fmla="*/ 0 w 144"/>
                    <a:gd name="T3" fmla="*/ 6 h 379"/>
                    <a:gd name="T4" fmla="*/ 18 w 144"/>
                    <a:gd name="T5" fmla="*/ 0 h 379"/>
                    <a:gd name="T6" fmla="*/ 144 w 144"/>
                    <a:gd name="T7" fmla="*/ 379 h 379"/>
                    <a:gd name="T8" fmla="*/ 126 w 144"/>
                    <a:gd name="T9" fmla="*/ 379 h 379"/>
                  </a:gdLst>
                  <a:ahLst/>
                  <a:cxnLst>
                    <a:cxn ang="0">
                      <a:pos x="T0" y="T1"/>
                    </a:cxn>
                    <a:cxn ang="0">
                      <a:pos x="T2" y="T3"/>
                    </a:cxn>
                    <a:cxn ang="0">
                      <a:pos x="T4" y="T5"/>
                    </a:cxn>
                    <a:cxn ang="0">
                      <a:pos x="T6" y="T7"/>
                    </a:cxn>
                    <a:cxn ang="0">
                      <a:pos x="T8" y="T9"/>
                    </a:cxn>
                  </a:cxnLst>
                  <a:rect l="0" t="0" r="r" b="b"/>
                  <a:pathLst>
                    <a:path w="144" h="379">
                      <a:moveTo>
                        <a:pt x="126" y="379"/>
                      </a:moveTo>
                      <a:lnTo>
                        <a:pt x="0" y="6"/>
                      </a:lnTo>
                      <a:lnTo>
                        <a:pt x="18" y="0"/>
                      </a:lnTo>
                      <a:lnTo>
                        <a:pt x="144" y="379"/>
                      </a:lnTo>
                      <a:lnTo>
                        <a:pt x="126" y="37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3" name="Freeform 112">
                  <a:extLst>
                    <a:ext uri="{FF2B5EF4-FFF2-40B4-BE49-F238E27FC236}">
                      <a16:creationId xmlns:a16="http://schemas.microsoft.com/office/drawing/2014/main" id="{C39DD8B5-345C-A24A-A67B-ABE18D635B8F}"/>
                    </a:ext>
                  </a:extLst>
                </p:cNvPr>
                <p:cNvSpPr>
                  <a:spLocks/>
                </p:cNvSpPr>
                <p:nvPr/>
              </p:nvSpPr>
              <p:spPr bwMode="auto">
                <a:xfrm>
                  <a:off x="5079763" y="779947"/>
                  <a:ext cx="334487" cy="185826"/>
                </a:xfrm>
                <a:custGeom>
                  <a:avLst/>
                  <a:gdLst>
                    <a:gd name="T0" fmla="*/ 426 w 432"/>
                    <a:gd name="T1" fmla="*/ 240 h 240"/>
                    <a:gd name="T2" fmla="*/ 0 w 432"/>
                    <a:gd name="T3" fmla="*/ 18 h 240"/>
                    <a:gd name="T4" fmla="*/ 12 w 432"/>
                    <a:gd name="T5" fmla="*/ 0 h 240"/>
                    <a:gd name="T6" fmla="*/ 432 w 432"/>
                    <a:gd name="T7" fmla="*/ 222 h 240"/>
                    <a:gd name="T8" fmla="*/ 426 w 432"/>
                    <a:gd name="T9" fmla="*/ 240 h 240"/>
                  </a:gdLst>
                  <a:ahLst/>
                  <a:cxnLst>
                    <a:cxn ang="0">
                      <a:pos x="T0" y="T1"/>
                    </a:cxn>
                    <a:cxn ang="0">
                      <a:pos x="T2" y="T3"/>
                    </a:cxn>
                    <a:cxn ang="0">
                      <a:pos x="T4" y="T5"/>
                    </a:cxn>
                    <a:cxn ang="0">
                      <a:pos x="T6" y="T7"/>
                    </a:cxn>
                    <a:cxn ang="0">
                      <a:pos x="T8" y="T9"/>
                    </a:cxn>
                  </a:cxnLst>
                  <a:rect l="0" t="0" r="r" b="b"/>
                  <a:pathLst>
                    <a:path w="432" h="240">
                      <a:moveTo>
                        <a:pt x="426" y="240"/>
                      </a:moveTo>
                      <a:lnTo>
                        <a:pt x="0" y="18"/>
                      </a:lnTo>
                      <a:lnTo>
                        <a:pt x="12" y="0"/>
                      </a:lnTo>
                      <a:lnTo>
                        <a:pt x="432" y="222"/>
                      </a:lnTo>
                      <a:lnTo>
                        <a:pt x="426" y="24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4" name="Freeform 113">
                  <a:extLst>
                    <a:ext uri="{FF2B5EF4-FFF2-40B4-BE49-F238E27FC236}">
                      <a16:creationId xmlns:a16="http://schemas.microsoft.com/office/drawing/2014/main" id="{81A31904-E684-3143-8440-8124026BCE76}"/>
                    </a:ext>
                  </a:extLst>
                </p:cNvPr>
                <p:cNvSpPr>
                  <a:spLocks/>
                </p:cNvSpPr>
                <p:nvPr/>
              </p:nvSpPr>
              <p:spPr bwMode="auto">
                <a:xfrm>
                  <a:off x="4419306" y="1858513"/>
                  <a:ext cx="111496" cy="367007"/>
                </a:xfrm>
                <a:custGeom>
                  <a:avLst/>
                  <a:gdLst>
                    <a:gd name="T0" fmla="*/ 18 w 144"/>
                    <a:gd name="T1" fmla="*/ 474 h 474"/>
                    <a:gd name="T2" fmla="*/ 0 w 144"/>
                    <a:gd name="T3" fmla="*/ 468 h 474"/>
                    <a:gd name="T4" fmla="*/ 132 w 144"/>
                    <a:gd name="T5" fmla="*/ 0 h 474"/>
                    <a:gd name="T6" fmla="*/ 144 w 144"/>
                    <a:gd name="T7" fmla="*/ 0 h 474"/>
                    <a:gd name="T8" fmla="*/ 18 w 144"/>
                    <a:gd name="T9" fmla="*/ 474 h 474"/>
                  </a:gdLst>
                  <a:ahLst/>
                  <a:cxnLst>
                    <a:cxn ang="0">
                      <a:pos x="T0" y="T1"/>
                    </a:cxn>
                    <a:cxn ang="0">
                      <a:pos x="T2" y="T3"/>
                    </a:cxn>
                    <a:cxn ang="0">
                      <a:pos x="T4" y="T5"/>
                    </a:cxn>
                    <a:cxn ang="0">
                      <a:pos x="T6" y="T7"/>
                    </a:cxn>
                    <a:cxn ang="0">
                      <a:pos x="T8" y="T9"/>
                    </a:cxn>
                  </a:cxnLst>
                  <a:rect l="0" t="0" r="r" b="b"/>
                  <a:pathLst>
                    <a:path w="144" h="474">
                      <a:moveTo>
                        <a:pt x="18" y="474"/>
                      </a:moveTo>
                      <a:lnTo>
                        <a:pt x="0" y="468"/>
                      </a:lnTo>
                      <a:lnTo>
                        <a:pt x="132" y="0"/>
                      </a:lnTo>
                      <a:lnTo>
                        <a:pt x="144" y="0"/>
                      </a:lnTo>
                      <a:lnTo>
                        <a:pt x="18" y="47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5" name="Freeform 114">
                  <a:extLst>
                    <a:ext uri="{FF2B5EF4-FFF2-40B4-BE49-F238E27FC236}">
                      <a16:creationId xmlns:a16="http://schemas.microsoft.com/office/drawing/2014/main" id="{D35222CC-9194-B442-89D7-7FDD46A2B82B}"/>
                    </a:ext>
                  </a:extLst>
                </p:cNvPr>
                <p:cNvSpPr>
                  <a:spLocks/>
                </p:cNvSpPr>
                <p:nvPr/>
              </p:nvSpPr>
              <p:spPr bwMode="auto">
                <a:xfrm>
                  <a:off x="2824297" y="546890"/>
                  <a:ext cx="209829" cy="144790"/>
                </a:xfrm>
                <a:custGeom>
                  <a:avLst/>
                  <a:gdLst>
                    <a:gd name="T0" fmla="*/ 265 w 271"/>
                    <a:gd name="T1" fmla="*/ 187 h 187"/>
                    <a:gd name="T2" fmla="*/ 0 w 271"/>
                    <a:gd name="T3" fmla="*/ 12 h 187"/>
                    <a:gd name="T4" fmla="*/ 6 w 271"/>
                    <a:gd name="T5" fmla="*/ 0 h 187"/>
                    <a:gd name="T6" fmla="*/ 271 w 271"/>
                    <a:gd name="T7" fmla="*/ 175 h 187"/>
                    <a:gd name="T8" fmla="*/ 265 w 271"/>
                    <a:gd name="T9" fmla="*/ 187 h 187"/>
                  </a:gdLst>
                  <a:ahLst/>
                  <a:cxnLst>
                    <a:cxn ang="0">
                      <a:pos x="T0" y="T1"/>
                    </a:cxn>
                    <a:cxn ang="0">
                      <a:pos x="T2" y="T3"/>
                    </a:cxn>
                    <a:cxn ang="0">
                      <a:pos x="T4" y="T5"/>
                    </a:cxn>
                    <a:cxn ang="0">
                      <a:pos x="T6" y="T7"/>
                    </a:cxn>
                    <a:cxn ang="0">
                      <a:pos x="T8" y="T9"/>
                    </a:cxn>
                  </a:cxnLst>
                  <a:rect l="0" t="0" r="r" b="b"/>
                  <a:pathLst>
                    <a:path w="271" h="187">
                      <a:moveTo>
                        <a:pt x="265" y="187"/>
                      </a:moveTo>
                      <a:lnTo>
                        <a:pt x="0" y="12"/>
                      </a:lnTo>
                      <a:lnTo>
                        <a:pt x="6" y="0"/>
                      </a:lnTo>
                      <a:lnTo>
                        <a:pt x="271" y="175"/>
                      </a:lnTo>
                      <a:lnTo>
                        <a:pt x="265" y="18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6" name="Freeform 115">
                  <a:extLst>
                    <a:ext uri="{FF2B5EF4-FFF2-40B4-BE49-F238E27FC236}">
                      <a16:creationId xmlns:a16="http://schemas.microsoft.com/office/drawing/2014/main" id="{F677521E-D785-AD40-9884-1DFE2C35AA94}"/>
                    </a:ext>
                  </a:extLst>
                </p:cNvPr>
                <p:cNvSpPr>
                  <a:spLocks/>
                </p:cNvSpPr>
                <p:nvPr/>
              </p:nvSpPr>
              <p:spPr bwMode="auto">
                <a:xfrm>
                  <a:off x="2884690" y="1300260"/>
                  <a:ext cx="330616" cy="302742"/>
                </a:xfrm>
                <a:custGeom>
                  <a:avLst/>
                  <a:gdLst>
                    <a:gd name="T0" fmla="*/ 415 w 427"/>
                    <a:gd name="T1" fmla="*/ 391 h 391"/>
                    <a:gd name="T2" fmla="*/ 0 w 427"/>
                    <a:gd name="T3" fmla="*/ 12 h 391"/>
                    <a:gd name="T4" fmla="*/ 12 w 427"/>
                    <a:gd name="T5" fmla="*/ 0 h 391"/>
                    <a:gd name="T6" fmla="*/ 427 w 427"/>
                    <a:gd name="T7" fmla="*/ 379 h 391"/>
                    <a:gd name="T8" fmla="*/ 415 w 427"/>
                    <a:gd name="T9" fmla="*/ 391 h 391"/>
                  </a:gdLst>
                  <a:ahLst/>
                  <a:cxnLst>
                    <a:cxn ang="0">
                      <a:pos x="T0" y="T1"/>
                    </a:cxn>
                    <a:cxn ang="0">
                      <a:pos x="T2" y="T3"/>
                    </a:cxn>
                    <a:cxn ang="0">
                      <a:pos x="T4" y="T5"/>
                    </a:cxn>
                    <a:cxn ang="0">
                      <a:pos x="T6" y="T7"/>
                    </a:cxn>
                    <a:cxn ang="0">
                      <a:pos x="T8" y="T9"/>
                    </a:cxn>
                  </a:cxnLst>
                  <a:rect l="0" t="0" r="r" b="b"/>
                  <a:pathLst>
                    <a:path w="427" h="391">
                      <a:moveTo>
                        <a:pt x="415" y="391"/>
                      </a:moveTo>
                      <a:lnTo>
                        <a:pt x="0" y="12"/>
                      </a:lnTo>
                      <a:lnTo>
                        <a:pt x="12" y="0"/>
                      </a:lnTo>
                      <a:lnTo>
                        <a:pt x="427" y="379"/>
                      </a:lnTo>
                      <a:lnTo>
                        <a:pt x="415" y="39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7" name="Freeform 116">
                  <a:extLst>
                    <a:ext uri="{FF2B5EF4-FFF2-40B4-BE49-F238E27FC236}">
                      <a16:creationId xmlns:a16="http://schemas.microsoft.com/office/drawing/2014/main" id="{CBC781D0-0869-D14F-A044-A53945B78B53}"/>
                    </a:ext>
                  </a:extLst>
                </p:cNvPr>
                <p:cNvSpPr>
                  <a:spLocks/>
                </p:cNvSpPr>
                <p:nvPr/>
              </p:nvSpPr>
              <p:spPr bwMode="auto">
                <a:xfrm>
                  <a:off x="3131684" y="1937489"/>
                  <a:ext cx="181180" cy="600065"/>
                </a:xfrm>
                <a:custGeom>
                  <a:avLst/>
                  <a:gdLst>
                    <a:gd name="T0" fmla="*/ 18 w 234"/>
                    <a:gd name="T1" fmla="*/ 775 h 775"/>
                    <a:gd name="T2" fmla="*/ 0 w 234"/>
                    <a:gd name="T3" fmla="*/ 769 h 775"/>
                    <a:gd name="T4" fmla="*/ 216 w 234"/>
                    <a:gd name="T5" fmla="*/ 0 h 775"/>
                    <a:gd name="T6" fmla="*/ 234 w 234"/>
                    <a:gd name="T7" fmla="*/ 6 h 775"/>
                    <a:gd name="T8" fmla="*/ 18 w 234"/>
                    <a:gd name="T9" fmla="*/ 775 h 775"/>
                  </a:gdLst>
                  <a:ahLst/>
                  <a:cxnLst>
                    <a:cxn ang="0">
                      <a:pos x="T0" y="T1"/>
                    </a:cxn>
                    <a:cxn ang="0">
                      <a:pos x="T2" y="T3"/>
                    </a:cxn>
                    <a:cxn ang="0">
                      <a:pos x="T4" y="T5"/>
                    </a:cxn>
                    <a:cxn ang="0">
                      <a:pos x="T6" y="T7"/>
                    </a:cxn>
                    <a:cxn ang="0">
                      <a:pos x="T8" y="T9"/>
                    </a:cxn>
                  </a:cxnLst>
                  <a:rect l="0" t="0" r="r" b="b"/>
                  <a:pathLst>
                    <a:path w="234" h="775">
                      <a:moveTo>
                        <a:pt x="18" y="775"/>
                      </a:moveTo>
                      <a:lnTo>
                        <a:pt x="0" y="769"/>
                      </a:lnTo>
                      <a:lnTo>
                        <a:pt x="216" y="0"/>
                      </a:lnTo>
                      <a:lnTo>
                        <a:pt x="234" y="6"/>
                      </a:lnTo>
                      <a:lnTo>
                        <a:pt x="18" y="77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8" name="Freeform 123">
                  <a:extLst>
                    <a:ext uri="{FF2B5EF4-FFF2-40B4-BE49-F238E27FC236}">
                      <a16:creationId xmlns:a16="http://schemas.microsoft.com/office/drawing/2014/main" id="{8FA22C7D-2378-044C-9772-177E24AD577E}"/>
                    </a:ext>
                  </a:extLst>
                </p:cNvPr>
                <p:cNvSpPr>
                  <a:spLocks/>
                </p:cNvSpPr>
                <p:nvPr/>
              </p:nvSpPr>
              <p:spPr bwMode="auto">
                <a:xfrm>
                  <a:off x="6261309" y="2244102"/>
                  <a:ext cx="144016" cy="307388"/>
                </a:xfrm>
                <a:custGeom>
                  <a:avLst/>
                  <a:gdLst>
                    <a:gd name="T0" fmla="*/ 168 w 186"/>
                    <a:gd name="T1" fmla="*/ 397 h 397"/>
                    <a:gd name="T2" fmla="*/ 0 w 186"/>
                    <a:gd name="T3" fmla="*/ 12 h 397"/>
                    <a:gd name="T4" fmla="*/ 18 w 186"/>
                    <a:gd name="T5" fmla="*/ 0 h 397"/>
                    <a:gd name="T6" fmla="*/ 186 w 186"/>
                    <a:gd name="T7" fmla="*/ 385 h 397"/>
                    <a:gd name="T8" fmla="*/ 168 w 186"/>
                    <a:gd name="T9" fmla="*/ 397 h 397"/>
                  </a:gdLst>
                  <a:ahLst/>
                  <a:cxnLst>
                    <a:cxn ang="0">
                      <a:pos x="T0" y="T1"/>
                    </a:cxn>
                    <a:cxn ang="0">
                      <a:pos x="T2" y="T3"/>
                    </a:cxn>
                    <a:cxn ang="0">
                      <a:pos x="T4" y="T5"/>
                    </a:cxn>
                    <a:cxn ang="0">
                      <a:pos x="T6" y="T7"/>
                    </a:cxn>
                    <a:cxn ang="0">
                      <a:pos x="T8" y="T9"/>
                    </a:cxn>
                  </a:cxnLst>
                  <a:rect l="0" t="0" r="r" b="b"/>
                  <a:pathLst>
                    <a:path w="186" h="397">
                      <a:moveTo>
                        <a:pt x="168" y="397"/>
                      </a:moveTo>
                      <a:lnTo>
                        <a:pt x="0" y="12"/>
                      </a:lnTo>
                      <a:lnTo>
                        <a:pt x="18" y="0"/>
                      </a:lnTo>
                      <a:lnTo>
                        <a:pt x="186" y="385"/>
                      </a:lnTo>
                      <a:lnTo>
                        <a:pt x="168" y="39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9" name="Freeform 124">
                  <a:extLst>
                    <a:ext uri="{FF2B5EF4-FFF2-40B4-BE49-F238E27FC236}">
                      <a16:creationId xmlns:a16="http://schemas.microsoft.com/office/drawing/2014/main" id="{BF8F8F1C-8808-C944-B876-1D258D46A19A}"/>
                    </a:ext>
                  </a:extLst>
                </p:cNvPr>
                <p:cNvSpPr>
                  <a:spLocks/>
                </p:cNvSpPr>
                <p:nvPr/>
              </p:nvSpPr>
              <p:spPr bwMode="auto">
                <a:xfrm>
                  <a:off x="6307765" y="1430339"/>
                  <a:ext cx="380944" cy="428175"/>
                </a:xfrm>
                <a:custGeom>
                  <a:avLst/>
                  <a:gdLst>
                    <a:gd name="T0" fmla="*/ 12 w 492"/>
                    <a:gd name="T1" fmla="*/ 553 h 553"/>
                    <a:gd name="T2" fmla="*/ 0 w 492"/>
                    <a:gd name="T3" fmla="*/ 541 h 553"/>
                    <a:gd name="T4" fmla="*/ 480 w 492"/>
                    <a:gd name="T5" fmla="*/ 0 h 553"/>
                    <a:gd name="T6" fmla="*/ 492 w 492"/>
                    <a:gd name="T7" fmla="*/ 12 h 553"/>
                    <a:gd name="T8" fmla="*/ 12 w 492"/>
                    <a:gd name="T9" fmla="*/ 553 h 553"/>
                  </a:gdLst>
                  <a:ahLst/>
                  <a:cxnLst>
                    <a:cxn ang="0">
                      <a:pos x="T0" y="T1"/>
                    </a:cxn>
                    <a:cxn ang="0">
                      <a:pos x="T2" y="T3"/>
                    </a:cxn>
                    <a:cxn ang="0">
                      <a:pos x="T4" y="T5"/>
                    </a:cxn>
                    <a:cxn ang="0">
                      <a:pos x="T6" y="T7"/>
                    </a:cxn>
                    <a:cxn ang="0">
                      <a:pos x="T8" y="T9"/>
                    </a:cxn>
                  </a:cxnLst>
                  <a:rect l="0" t="0" r="r" b="b"/>
                  <a:pathLst>
                    <a:path w="492" h="553">
                      <a:moveTo>
                        <a:pt x="12" y="553"/>
                      </a:moveTo>
                      <a:lnTo>
                        <a:pt x="0" y="541"/>
                      </a:lnTo>
                      <a:lnTo>
                        <a:pt x="480" y="0"/>
                      </a:lnTo>
                      <a:lnTo>
                        <a:pt x="492" y="12"/>
                      </a:lnTo>
                      <a:lnTo>
                        <a:pt x="12" y="553"/>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0" name="Freeform 125">
                  <a:extLst>
                    <a:ext uri="{FF2B5EF4-FFF2-40B4-BE49-F238E27FC236}">
                      <a16:creationId xmlns:a16="http://schemas.microsoft.com/office/drawing/2014/main" id="{13C30C8D-B934-2344-A5BB-89560DFA0D96}"/>
                    </a:ext>
                  </a:extLst>
                </p:cNvPr>
                <p:cNvSpPr>
                  <a:spLocks/>
                </p:cNvSpPr>
                <p:nvPr/>
              </p:nvSpPr>
              <p:spPr bwMode="auto">
                <a:xfrm>
                  <a:off x="5726283" y="1323489"/>
                  <a:ext cx="297322" cy="507151"/>
                </a:xfrm>
                <a:custGeom>
                  <a:avLst/>
                  <a:gdLst>
                    <a:gd name="T0" fmla="*/ 372 w 384"/>
                    <a:gd name="T1" fmla="*/ 655 h 655"/>
                    <a:gd name="T2" fmla="*/ 0 w 384"/>
                    <a:gd name="T3" fmla="*/ 6 h 655"/>
                    <a:gd name="T4" fmla="*/ 12 w 384"/>
                    <a:gd name="T5" fmla="*/ 0 h 655"/>
                    <a:gd name="T6" fmla="*/ 384 w 384"/>
                    <a:gd name="T7" fmla="*/ 649 h 655"/>
                    <a:gd name="T8" fmla="*/ 372 w 384"/>
                    <a:gd name="T9" fmla="*/ 655 h 655"/>
                  </a:gdLst>
                  <a:ahLst/>
                  <a:cxnLst>
                    <a:cxn ang="0">
                      <a:pos x="T0" y="T1"/>
                    </a:cxn>
                    <a:cxn ang="0">
                      <a:pos x="T2" y="T3"/>
                    </a:cxn>
                    <a:cxn ang="0">
                      <a:pos x="T4" y="T5"/>
                    </a:cxn>
                    <a:cxn ang="0">
                      <a:pos x="T6" y="T7"/>
                    </a:cxn>
                    <a:cxn ang="0">
                      <a:pos x="T8" y="T9"/>
                    </a:cxn>
                  </a:cxnLst>
                  <a:rect l="0" t="0" r="r" b="b"/>
                  <a:pathLst>
                    <a:path w="384" h="655">
                      <a:moveTo>
                        <a:pt x="372" y="655"/>
                      </a:moveTo>
                      <a:lnTo>
                        <a:pt x="0" y="6"/>
                      </a:lnTo>
                      <a:lnTo>
                        <a:pt x="12" y="0"/>
                      </a:lnTo>
                      <a:lnTo>
                        <a:pt x="384" y="649"/>
                      </a:lnTo>
                      <a:lnTo>
                        <a:pt x="372" y="65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1" name="Freeform 126">
                  <a:extLst>
                    <a:ext uri="{FF2B5EF4-FFF2-40B4-BE49-F238E27FC236}">
                      <a16:creationId xmlns:a16="http://schemas.microsoft.com/office/drawing/2014/main" id="{A0939EE8-2054-A841-8953-03EBD8AA7B5D}"/>
                    </a:ext>
                  </a:extLst>
                </p:cNvPr>
                <p:cNvSpPr>
                  <a:spLocks/>
                </p:cNvSpPr>
                <p:nvPr/>
              </p:nvSpPr>
              <p:spPr bwMode="auto">
                <a:xfrm>
                  <a:off x="5363148" y="2718734"/>
                  <a:ext cx="260931" cy="502506"/>
                </a:xfrm>
                <a:custGeom>
                  <a:avLst/>
                  <a:gdLst>
                    <a:gd name="T0" fmla="*/ 319 w 337"/>
                    <a:gd name="T1" fmla="*/ 649 h 649"/>
                    <a:gd name="T2" fmla="*/ 0 w 337"/>
                    <a:gd name="T3" fmla="*/ 6 h 649"/>
                    <a:gd name="T4" fmla="*/ 18 w 337"/>
                    <a:gd name="T5" fmla="*/ 0 h 649"/>
                    <a:gd name="T6" fmla="*/ 337 w 337"/>
                    <a:gd name="T7" fmla="*/ 637 h 649"/>
                    <a:gd name="T8" fmla="*/ 319 w 337"/>
                    <a:gd name="T9" fmla="*/ 649 h 649"/>
                  </a:gdLst>
                  <a:ahLst/>
                  <a:cxnLst>
                    <a:cxn ang="0">
                      <a:pos x="T0" y="T1"/>
                    </a:cxn>
                    <a:cxn ang="0">
                      <a:pos x="T2" y="T3"/>
                    </a:cxn>
                    <a:cxn ang="0">
                      <a:pos x="T4" y="T5"/>
                    </a:cxn>
                    <a:cxn ang="0">
                      <a:pos x="T6" y="T7"/>
                    </a:cxn>
                    <a:cxn ang="0">
                      <a:pos x="T8" y="T9"/>
                    </a:cxn>
                  </a:cxnLst>
                  <a:rect l="0" t="0" r="r" b="b"/>
                  <a:pathLst>
                    <a:path w="337" h="649">
                      <a:moveTo>
                        <a:pt x="319" y="649"/>
                      </a:moveTo>
                      <a:lnTo>
                        <a:pt x="0" y="6"/>
                      </a:lnTo>
                      <a:lnTo>
                        <a:pt x="18" y="0"/>
                      </a:lnTo>
                      <a:lnTo>
                        <a:pt x="337" y="637"/>
                      </a:lnTo>
                      <a:lnTo>
                        <a:pt x="319" y="64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2" name="Freeform 127">
                  <a:extLst>
                    <a:ext uri="{FF2B5EF4-FFF2-40B4-BE49-F238E27FC236}">
                      <a16:creationId xmlns:a16="http://schemas.microsoft.com/office/drawing/2014/main" id="{6DCBEADD-44BB-6340-8939-A2203024E4D1}"/>
                    </a:ext>
                  </a:extLst>
                </p:cNvPr>
                <p:cNvSpPr>
                  <a:spLocks/>
                </p:cNvSpPr>
                <p:nvPr/>
              </p:nvSpPr>
              <p:spPr bwMode="auto">
                <a:xfrm>
                  <a:off x="4112692" y="970418"/>
                  <a:ext cx="651167" cy="348424"/>
                </a:xfrm>
                <a:custGeom>
                  <a:avLst/>
                  <a:gdLst>
                    <a:gd name="T0" fmla="*/ 835 w 841"/>
                    <a:gd name="T1" fmla="*/ 450 h 450"/>
                    <a:gd name="T2" fmla="*/ 0 w 841"/>
                    <a:gd name="T3" fmla="*/ 18 h 450"/>
                    <a:gd name="T4" fmla="*/ 12 w 841"/>
                    <a:gd name="T5" fmla="*/ 0 h 450"/>
                    <a:gd name="T6" fmla="*/ 841 w 841"/>
                    <a:gd name="T7" fmla="*/ 432 h 450"/>
                    <a:gd name="T8" fmla="*/ 835 w 841"/>
                    <a:gd name="T9" fmla="*/ 450 h 450"/>
                  </a:gdLst>
                  <a:ahLst/>
                  <a:cxnLst>
                    <a:cxn ang="0">
                      <a:pos x="T0" y="T1"/>
                    </a:cxn>
                    <a:cxn ang="0">
                      <a:pos x="T2" y="T3"/>
                    </a:cxn>
                    <a:cxn ang="0">
                      <a:pos x="T4" y="T5"/>
                    </a:cxn>
                    <a:cxn ang="0">
                      <a:pos x="T6" y="T7"/>
                    </a:cxn>
                    <a:cxn ang="0">
                      <a:pos x="T8" y="T9"/>
                    </a:cxn>
                  </a:cxnLst>
                  <a:rect l="0" t="0" r="r" b="b"/>
                  <a:pathLst>
                    <a:path w="841" h="450">
                      <a:moveTo>
                        <a:pt x="835" y="450"/>
                      </a:moveTo>
                      <a:lnTo>
                        <a:pt x="0" y="18"/>
                      </a:lnTo>
                      <a:lnTo>
                        <a:pt x="12" y="0"/>
                      </a:lnTo>
                      <a:lnTo>
                        <a:pt x="841" y="432"/>
                      </a:lnTo>
                      <a:lnTo>
                        <a:pt x="835" y="45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3" name="Freeform 128">
                  <a:extLst>
                    <a:ext uri="{FF2B5EF4-FFF2-40B4-BE49-F238E27FC236}">
                      <a16:creationId xmlns:a16="http://schemas.microsoft.com/office/drawing/2014/main" id="{C1233DC8-A174-FC47-9364-722B6D4C9C15}"/>
                    </a:ext>
                  </a:extLst>
                </p:cNvPr>
                <p:cNvSpPr>
                  <a:spLocks/>
                </p:cNvSpPr>
                <p:nvPr/>
              </p:nvSpPr>
              <p:spPr bwMode="auto">
                <a:xfrm>
                  <a:off x="6591150" y="3067158"/>
                  <a:ext cx="590773" cy="69685"/>
                </a:xfrm>
                <a:custGeom>
                  <a:avLst/>
                  <a:gdLst>
                    <a:gd name="T0" fmla="*/ 1 w 127"/>
                    <a:gd name="T1" fmla="*/ 15 h 15"/>
                    <a:gd name="T2" fmla="*/ 0 w 127"/>
                    <a:gd name="T3" fmla="*/ 13 h 15"/>
                    <a:gd name="T4" fmla="*/ 1 w 127"/>
                    <a:gd name="T5" fmla="*/ 12 h 15"/>
                    <a:gd name="T6" fmla="*/ 125 w 127"/>
                    <a:gd name="T7" fmla="*/ 0 h 15"/>
                    <a:gd name="T8" fmla="*/ 127 w 127"/>
                    <a:gd name="T9" fmla="*/ 1 h 15"/>
                    <a:gd name="T10" fmla="*/ 125 w 127"/>
                    <a:gd name="T11" fmla="*/ 3 h 15"/>
                    <a:gd name="T12" fmla="*/ 1 w 127"/>
                    <a:gd name="T13" fmla="*/ 15 h 15"/>
                    <a:gd name="T14" fmla="*/ 1 w 127"/>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5">
                      <a:moveTo>
                        <a:pt x="1" y="15"/>
                      </a:moveTo>
                      <a:cubicBezTo>
                        <a:pt x="1" y="15"/>
                        <a:pt x="0" y="14"/>
                        <a:pt x="0" y="13"/>
                      </a:cubicBezTo>
                      <a:cubicBezTo>
                        <a:pt x="0" y="13"/>
                        <a:pt x="0" y="12"/>
                        <a:pt x="1" y="12"/>
                      </a:cubicBezTo>
                      <a:cubicBezTo>
                        <a:pt x="125" y="0"/>
                        <a:pt x="125" y="0"/>
                        <a:pt x="125" y="0"/>
                      </a:cubicBezTo>
                      <a:cubicBezTo>
                        <a:pt x="126" y="0"/>
                        <a:pt x="127" y="0"/>
                        <a:pt x="127" y="1"/>
                      </a:cubicBezTo>
                      <a:cubicBezTo>
                        <a:pt x="127" y="2"/>
                        <a:pt x="126" y="3"/>
                        <a:pt x="125" y="3"/>
                      </a:cubicBezTo>
                      <a:cubicBezTo>
                        <a:pt x="1" y="15"/>
                        <a:pt x="1" y="15"/>
                        <a:pt x="1" y="15"/>
                      </a:cubicBezTo>
                      <a:cubicBezTo>
                        <a:pt x="1" y="15"/>
                        <a:pt x="1" y="15"/>
                        <a:pt x="1" y="1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4" name="Freeform 129">
                  <a:extLst>
                    <a:ext uri="{FF2B5EF4-FFF2-40B4-BE49-F238E27FC236}">
                      <a16:creationId xmlns:a16="http://schemas.microsoft.com/office/drawing/2014/main" id="{1BE86F35-FA4E-634D-83B0-8E4B797A6393}"/>
                    </a:ext>
                  </a:extLst>
                </p:cNvPr>
                <p:cNvSpPr>
                  <a:spLocks/>
                </p:cNvSpPr>
                <p:nvPr/>
              </p:nvSpPr>
              <p:spPr bwMode="auto">
                <a:xfrm>
                  <a:off x="7121529" y="3132197"/>
                  <a:ext cx="92913" cy="214475"/>
                </a:xfrm>
                <a:custGeom>
                  <a:avLst/>
                  <a:gdLst>
                    <a:gd name="T0" fmla="*/ 2 w 20"/>
                    <a:gd name="T1" fmla="*/ 46 h 46"/>
                    <a:gd name="T2" fmla="*/ 2 w 20"/>
                    <a:gd name="T3" fmla="*/ 46 h 46"/>
                    <a:gd name="T4" fmla="*/ 1 w 20"/>
                    <a:gd name="T5" fmla="*/ 44 h 46"/>
                    <a:gd name="T6" fmla="*/ 17 w 20"/>
                    <a:gd name="T7" fmla="*/ 2 h 46"/>
                    <a:gd name="T8" fmla="*/ 18 w 20"/>
                    <a:gd name="T9" fmla="*/ 1 h 46"/>
                    <a:gd name="T10" fmla="*/ 19 w 20"/>
                    <a:gd name="T11" fmla="*/ 2 h 46"/>
                    <a:gd name="T12" fmla="*/ 3 w 20"/>
                    <a:gd name="T13" fmla="*/ 45 h 46"/>
                    <a:gd name="T14" fmla="*/ 2 w 20"/>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6">
                      <a:moveTo>
                        <a:pt x="2" y="46"/>
                      </a:moveTo>
                      <a:cubicBezTo>
                        <a:pt x="2" y="46"/>
                        <a:pt x="2" y="46"/>
                        <a:pt x="2" y="46"/>
                      </a:cubicBezTo>
                      <a:cubicBezTo>
                        <a:pt x="1" y="46"/>
                        <a:pt x="0" y="45"/>
                        <a:pt x="1" y="44"/>
                      </a:cubicBezTo>
                      <a:cubicBezTo>
                        <a:pt x="17" y="2"/>
                        <a:pt x="17" y="2"/>
                        <a:pt x="17" y="2"/>
                      </a:cubicBezTo>
                      <a:cubicBezTo>
                        <a:pt x="17" y="1"/>
                        <a:pt x="18" y="0"/>
                        <a:pt x="18" y="1"/>
                      </a:cubicBezTo>
                      <a:cubicBezTo>
                        <a:pt x="19" y="1"/>
                        <a:pt x="20" y="2"/>
                        <a:pt x="19" y="2"/>
                      </a:cubicBezTo>
                      <a:cubicBezTo>
                        <a:pt x="3" y="45"/>
                        <a:pt x="3" y="45"/>
                        <a:pt x="3" y="45"/>
                      </a:cubicBezTo>
                      <a:cubicBezTo>
                        <a:pt x="3" y="46"/>
                        <a:pt x="3" y="46"/>
                        <a:pt x="2" y="4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5" name="Freeform 130">
                  <a:extLst>
                    <a:ext uri="{FF2B5EF4-FFF2-40B4-BE49-F238E27FC236}">
                      <a16:creationId xmlns:a16="http://schemas.microsoft.com/office/drawing/2014/main" id="{06FA3D0C-2031-294B-8ECA-2DEBC0E96DA1}"/>
                    </a:ext>
                  </a:extLst>
                </p:cNvPr>
                <p:cNvSpPr>
                  <a:spLocks/>
                </p:cNvSpPr>
                <p:nvPr/>
              </p:nvSpPr>
              <p:spPr bwMode="auto">
                <a:xfrm>
                  <a:off x="7004614" y="1825994"/>
                  <a:ext cx="154081" cy="92913"/>
                </a:xfrm>
                <a:custGeom>
                  <a:avLst/>
                  <a:gdLst>
                    <a:gd name="T0" fmla="*/ 2 w 33"/>
                    <a:gd name="T1" fmla="*/ 20 h 20"/>
                    <a:gd name="T2" fmla="*/ 1 w 33"/>
                    <a:gd name="T3" fmla="*/ 20 h 20"/>
                    <a:gd name="T4" fmla="*/ 1 w 33"/>
                    <a:gd name="T5" fmla="*/ 18 h 20"/>
                    <a:gd name="T6" fmla="*/ 30 w 33"/>
                    <a:gd name="T7" fmla="*/ 1 h 20"/>
                    <a:gd name="T8" fmla="*/ 32 w 33"/>
                    <a:gd name="T9" fmla="*/ 1 h 20"/>
                    <a:gd name="T10" fmla="*/ 32 w 33"/>
                    <a:gd name="T11" fmla="*/ 3 h 20"/>
                    <a:gd name="T12" fmla="*/ 2 w 33"/>
                    <a:gd name="T13" fmla="*/ 20 h 20"/>
                    <a:gd name="T14" fmla="*/ 2 w 33"/>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20">
                      <a:moveTo>
                        <a:pt x="2" y="20"/>
                      </a:moveTo>
                      <a:cubicBezTo>
                        <a:pt x="1" y="20"/>
                        <a:pt x="1" y="20"/>
                        <a:pt x="1" y="20"/>
                      </a:cubicBezTo>
                      <a:cubicBezTo>
                        <a:pt x="0" y="19"/>
                        <a:pt x="0" y="18"/>
                        <a:pt x="1" y="18"/>
                      </a:cubicBezTo>
                      <a:cubicBezTo>
                        <a:pt x="30" y="1"/>
                        <a:pt x="30" y="1"/>
                        <a:pt x="30" y="1"/>
                      </a:cubicBezTo>
                      <a:cubicBezTo>
                        <a:pt x="31" y="0"/>
                        <a:pt x="32" y="0"/>
                        <a:pt x="32" y="1"/>
                      </a:cubicBezTo>
                      <a:cubicBezTo>
                        <a:pt x="33" y="2"/>
                        <a:pt x="32" y="2"/>
                        <a:pt x="32" y="3"/>
                      </a:cubicBezTo>
                      <a:cubicBezTo>
                        <a:pt x="2" y="20"/>
                        <a:pt x="2" y="20"/>
                        <a:pt x="2" y="20"/>
                      </a:cubicBezTo>
                      <a:cubicBezTo>
                        <a:pt x="2" y="20"/>
                        <a:pt x="2" y="20"/>
                        <a:pt x="2" y="2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6" name="Freeform 131">
                  <a:extLst>
                    <a:ext uri="{FF2B5EF4-FFF2-40B4-BE49-F238E27FC236}">
                      <a16:creationId xmlns:a16="http://schemas.microsoft.com/office/drawing/2014/main" id="{97532E8C-4096-5A48-A32D-89B6E1411572}"/>
                    </a:ext>
                  </a:extLst>
                </p:cNvPr>
                <p:cNvSpPr>
                  <a:spLocks/>
                </p:cNvSpPr>
                <p:nvPr/>
              </p:nvSpPr>
              <p:spPr bwMode="auto">
                <a:xfrm>
                  <a:off x="3154913" y="537598"/>
                  <a:ext cx="65039" cy="130853"/>
                </a:xfrm>
                <a:custGeom>
                  <a:avLst/>
                  <a:gdLst>
                    <a:gd name="T0" fmla="*/ 2 w 14"/>
                    <a:gd name="T1" fmla="*/ 28 h 28"/>
                    <a:gd name="T2" fmla="*/ 1 w 14"/>
                    <a:gd name="T3" fmla="*/ 28 h 28"/>
                    <a:gd name="T4" fmla="*/ 0 w 14"/>
                    <a:gd name="T5" fmla="*/ 26 h 28"/>
                    <a:gd name="T6" fmla="*/ 11 w 14"/>
                    <a:gd name="T7" fmla="*/ 1 h 28"/>
                    <a:gd name="T8" fmla="*/ 13 w 14"/>
                    <a:gd name="T9" fmla="*/ 0 h 28"/>
                    <a:gd name="T10" fmla="*/ 14 w 14"/>
                    <a:gd name="T11" fmla="*/ 2 h 28"/>
                    <a:gd name="T12" fmla="*/ 3 w 14"/>
                    <a:gd name="T13" fmla="*/ 27 h 28"/>
                    <a:gd name="T14" fmla="*/ 2 w 14"/>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8">
                      <a:moveTo>
                        <a:pt x="2" y="28"/>
                      </a:moveTo>
                      <a:cubicBezTo>
                        <a:pt x="1" y="28"/>
                        <a:pt x="1" y="28"/>
                        <a:pt x="1" y="28"/>
                      </a:cubicBezTo>
                      <a:cubicBezTo>
                        <a:pt x="0" y="28"/>
                        <a:pt x="0" y="27"/>
                        <a:pt x="0" y="26"/>
                      </a:cubicBezTo>
                      <a:cubicBezTo>
                        <a:pt x="11" y="1"/>
                        <a:pt x="11" y="1"/>
                        <a:pt x="11" y="1"/>
                      </a:cubicBezTo>
                      <a:cubicBezTo>
                        <a:pt x="11" y="0"/>
                        <a:pt x="12" y="0"/>
                        <a:pt x="13" y="0"/>
                      </a:cubicBezTo>
                      <a:cubicBezTo>
                        <a:pt x="14" y="0"/>
                        <a:pt x="14" y="1"/>
                        <a:pt x="14" y="2"/>
                      </a:cubicBezTo>
                      <a:cubicBezTo>
                        <a:pt x="3" y="27"/>
                        <a:pt x="3" y="27"/>
                        <a:pt x="3" y="27"/>
                      </a:cubicBezTo>
                      <a:cubicBezTo>
                        <a:pt x="3" y="28"/>
                        <a:pt x="2" y="28"/>
                        <a:pt x="2" y="28"/>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7" name="Freeform 132">
                  <a:extLst>
                    <a:ext uri="{FF2B5EF4-FFF2-40B4-BE49-F238E27FC236}">
                      <a16:creationId xmlns:a16="http://schemas.microsoft.com/office/drawing/2014/main" id="{BD2BEF1C-AA3D-CC4E-9B54-1742F7E476E0}"/>
                    </a:ext>
                  </a:extLst>
                </p:cNvPr>
                <p:cNvSpPr>
                  <a:spLocks/>
                </p:cNvSpPr>
                <p:nvPr/>
              </p:nvSpPr>
              <p:spPr bwMode="auto">
                <a:xfrm>
                  <a:off x="2731383" y="1886387"/>
                  <a:ext cx="120787" cy="199764"/>
                </a:xfrm>
                <a:custGeom>
                  <a:avLst/>
                  <a:gdLst>
                    <a:gd name="T0" fmla="*/ 25 w 26"/>
                    <a:gd name="T1" fmla="*/ 43 h 43"/>
                    <a:gd name="T2" fmla="*/ 24 w 26"/>
                    <a:gd name="T3" fmla="*/ 43 h 43"/>
                    <a:gd name="T4" fmla="*/ 1 w 26"/>
                    <a:gd name="T5" fmla="*/ 3 h 43"/>
                    <a:gd name="T6" fmla="*/ 1 w 26"/>
                    <a:gd name="T7" fmla="*/ 1 h 43"/>
                    <a:gd name="T8" fmla="*/ 3 w 26"/>
                    <a:gd name="T9" fmla="*/ 1 h 43"/>
                    <a:gd name="T10" fmla="*/ 26 w 26"/>
                    <a:gd name="T11" fmla="*/ 41 h 43"/>
                    <a:gd name="T12" fmla="*/ 25 w 26"/>
                    <a:gd name="T13" fmla="*/ 43 h 43"/>
                    <a:gd name="T14" fmla="*/ 25 w 2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3">
                      <a:moveTo>
                        <a:pt x="25" y="43"/>
                      </a:moveTo>
                      <a:cubicBezTo>
                        <a:pt x="24" y="43"/>
                        <a:pt x="24" y="43"/>
                        <a:pt x="24" y="43"/>
                      </a:cubicBezTo>
                      <a:cubicBezTo>
                        <a:pt x="1" y="3"/>
                        <a:pt x="1" y="3"/>
                        <a:pt x="1" y="3"/>
                      </a:cubicBezTo>
                      <a:cubicBezTo>
                        <a:pt x="0" y="2"/>
                        <a:pt x="1" y="1"/>
                        <a:pt x="1" y="1"/>
                      </a:cubicBezTo>
                      <a:cubicBezTo>
                        <a:pt x="2" y="0"/>
                        <a:pt x="3" y="1"/>
                        <a:pt x="3" y="1"/>
                      </a:cubicBezTo>
                      <a:cubicBezTo>
                        <a:pt x="26" y="41"/>
                        <a:pt x="26" y="41"/>
                        <a:pt x="26" y="41"/>
                      </a:cubicBezTo>
                      <a:cubicBezTo>
                        <a:pt x="26" y="42"/>
                        <a:pt x="26" y="43"/>
                        <a:pt x="25" y="43"/>
                      </a:cubicBezTo>
                      <a:cubicBezTo>
                        <a:pt x="25" y="43"/>
                        <a:pt x="25" y="43"/>
                        <a:pt x="25" y="4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8" name="Freeform 133">
                  <a:extLst>
                    <a:ext uri="{FF2B5EF4-FFF2-40B4-BE49-F238E27FC236}">
                      <a16:creationId xmlns:a16="http://schemas.microsoft.com/office/drawing/2014/main" id="{EEAEEFC8-6714-F745-B200-4CB4C18DB7F3}"/>
                    </a:ext>
                  </a:extLst>
                </p:cNvPr>
                <p:cNvSpPr>
                  <a:spLocks/>
                </p:cNvSpPr>
                <p:nvPr/>
              </p:nvSpPr>
              <p:spPr bwMode="auto">
                <a:xfrm>
                  <a:off x="2824297" y="3239822"/>
                  <a:ext cx="135499" cy="199764"/>
                </a:xfrm>
                <a:custGeom>
                  <a:avLst/>
                  <a:gdLst>
                    <a:gd name="T0" fmla="*/ 2 w 29"/>
                    <a:gd name="T1" fmla="*/ 43 h 43"/>
                    <a:gd name="T2" fmla="*/ 1 w 29"/>
                    <a:gd name="T3" fmla="*/ 43 h 43"/>
                    <a:gd name="T4" fmla="*/ 1 w 29"/>
                    <a:gd name="T5" fmla="*/ 41 h 43"/>
                    <a:gd name="T6" fmla="*/ 26 w 29"/>
                    <a:gd name="T7" fmla="*/ 1 h 43"/>
                    <a:gd name="T8" fmla="*/ 28 w 29"/>
                    <a:gd name="T9" fmla="*/ 1 h 43"/>
                    <a:gd name="T10" fmla="*/ 28 w 29"/>
                    <a:gd name="T11" fmla="*/ 2 h 43"/>
                    <a:gd name="T12" fmla="*/ 3 w 29"/>
                    <a:gd name="T13" fmla="*/ 42 h 43"/>
                    <a:gd name="T14" fmla="*/ 2 w 29"/>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3">
                      <a:moveTo>
                        <a:pt x="2" y="43"/>
                      </a:moveTo>
                      <a:cubicBezTo>
                        <a:pt x="2" y="43"/>
                        <a:pt x="2" y="43"/>
                        <a:pt x="1" y="43"/>
                      </a:cubicBezTo>
                      <a:cubicBezTo>
                        <a:pt x="1" y="42"/>
                        <a:pt x="0" y="42"/>
                        <a:pt x="1" y="41"/>
                      </a:cubicBezTo>
                      <a:cubicBezTo>
                        <a:pt x="26" y="1"/>
                        <a:pt x="26" y="1"/>
                        <a:pt x="26" y="1"/>
                      </a:cubicBezTo>
                      <a:cubicBezTo>
                        <a:pt x="27" y="0"/>
                        <a:pt x="27" y="0"/>
                        <a:pt x="28" y="1"/>
                      </a:cubicBezTo>
                      <a:cubicBezTo>
                        <a:pt x="29" y="1"/>
                        <a:pt x="29" y="2"/>
                        <a:pt x="28" y="2"/>
                      </a:cubicBezTo>
                      <a:cubicBezTo>
                        <a:pt x="3" y="42"/>
                        <a:pt x="3" y="42"/>
                        <a:pt x="3" y="42"/>
                      </a:cubicBezTo>
                      <a:cubicBezTo>
                        <a:pt x="3" y="43"/>
                        <a:pt x="2" y="43"/>
                        <a:pt x="2" y="4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9" name="Freeform 134">
                  <a:extLst>
                    <a:ext uri="{FF2B5EF4-FFF2-40B4-BE49-F238E27FC236}">
                      <a16:creationId xmlns:a16="http://schemas.microsoft.com/office/drawing/2014/main" id="{365BDA21-517C-2349-9864-D1A774F40B63}"/>
                    </a:ext>
                  </a:extLst>
                </p:cNvPr>
                <p:cNvSpPr>
                  <a:spLocks/>
                </p:cNvSpPr>
                <p:nvPr/>
              </p:nvSpPr>
              <p:spPr bwMode="auto">
                <a:xfrm>
                  <a:off x="4535447" y="3337381"/>
                  <a:ext cx="233058" cy="404172"/>
                </a:xfrm>
                <a:custGeom>
                  <a:avLst/>
                  <a:gdLst>
                    <a:gd name="T0" fmla="*/ 2 w 50"/>
                    <a:gd name="T1" fmla="*/ 87 h 87"/>
                    <a:gd name="T2" fmla="*/ 1 w 50"/>
                    <a:gd name="T3" fmla="*/ 87 h 87"/>
                    <a:gd name="T4" fmla="*/ 1 w 50"/>
                    <a:gd name="T5" fmla="*/ 85 h 87"/>
                    <a:gd name="T6" fmla="*/ 48 w 50"/>
                    <a:gd name="T7" fmla="*/ 1 h 87"/>
                    <a:gd name="T8" fmla="*/ 49 w 50"/>
                    <a:gd name="T9" fmla="*/ 1 h 87"/>
                    <a:gd name="T10" fmla="*/ 50 w 50"/>
                    <a:gd name="T11" fmla="*/ 3 h 87"/>
                    <a:gd name="T12" fmla="*/ 3 w 50"/>
                    <a:gd name="T13" fmla="*/ 87 h 87"/>
                    <a:gd name="T14" fmla="*/ 2 w 50"/>
                    <a:gd name="T15" fmla="*/ 87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87">
                      <a:moveTo>
                        <a:pt x="2" y="87"/>
                      </a:moveTo>
                      <a:cubicBezTo>
                        <a:pt x="2" y="87"/>
                        <a:pt x="2" y="87"/>
                        <a:pt x="1" y="87"/>
                      </a:cubicBezTo>
                      <a:cubicBezTo>
                        <a:pt x="1" y="87"/>
                        <a:pt x="0" y="86"/>
                        <a:pt x="1" y="85"/>
                      </a:cubicBezTo>
                      <a:cubicBezTo>
                        <a:pt x="48" y="1"/>
                        <a:pt x="48" y="1"/>
                        <a:pt x="48" y="1"/>
                      </a:cubicBezTo>
                      <a:cubicBezTo>
                        <a:pt x="48" y="1"/>
                        <a:pt x="49" y="0"/>
                        <a:pt x="49" y="1"/>
                      </a:cubicBezTo>
                      <a:cubicBezTo>
                        <a:pt x="50" y="1"/>
                        <a:pt x="50" y="2"/>
                        <a:pt x="50" y="3"/>
                      </a:cubicBezTo>
                      <a:cubicBezTo>
                        <a:pt x="3" y="87"/>
                        <a:pt x="3" y="87"/>
                        <a:pt x="3" y="87"/>
                      </a:cubicBezTo>
                      <a:cubicBezTo>
                        <a:pt x="3" y="87"/>
                        <a:pt x="2" y="87"/>
                        <a:pt x="2" y="8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0" name="Freeform 135">
                  <a:extLst>
                    <a:ext uri="{FF2B5EF4-FFF2-40B4-BE49-F238E27FC236}">
                      <a16:creationId xmlns:a16="http://schemas.microsoft.com/office/drawing/2014/main" id="{547E504C-4966-3048-87D0-9432CC3DFF3D}"/>
                    </a:ext>
                  </a:extLst>
                </p:cNvPr>
                <p:cNvSpPr>
                  <a:spLocks/>
                </p:cNvSpPr>
                <p:nvPr/>
              </p:nvSpPr>
              <p:spPr bwMode="auto">
                <a:xfrm>
                  <a:off x="4847480" y="3304861"/>
                  <a:ext cx="586127" cy="195118"/>
                </a:xfrm>
                <a:custGeom>
                  <a:avLst/>
                  <a:gdLst>
                    <a:gd name="T0" fmla="*/ 125 w 126"/>
                    <a:gd name="T1" fmla="*/ 42 h 42"/>
                    <a:gd name="T2" fmla="*/ 125 w 126"/>
                    <a:gd name="T3" fmla="*/ 42 h 42"/>
                    <a:gd name="T4" fmla="*/ 1 w 126"/>
                    <a:gd name="T5" fmla="*/ 2 h 42"/>
                    <a:gd name="T6" fmla="*/ 0 w 126"/>
                    <a:gd name="T7" fmla="*/ 1 h 42"/>
                    <a:gd name="T8" fmla="*/ 2 w 126"/>
                    <a:gd name="T9" fmla="*/ 0 h 42"/>
                    <a:gd name="T10" fmla="*/ 125 w 126"/>
                    <a:gd name="T11" fmla="*/ 39 h 42"/>
                    <a:gd name="T12" fmla="*/ 126 w 126"/>
                    <a:gd name="T13" fmla="*/ 41 h 42"/>
                    <a:gd name="T14" fmla="*/ 125 w 126"/>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2">
                      <a:moveTo>
                        <a:pt x="125" y="42"/>
                      </a:moveTo>
                      <a:cubicBezTo>
                        <a:pt x="125" y="42"/>
                        <a:pt x="125" y="42"/>
                        <a:pt x="125" y="42"/>
                      </a:cubicBezTo>
                      <a:cubicBezTo>
                        <a:pt x="1" y="2"/>
                        <a:pt x="1" y="2"/>
                        <a:pt x="1" y="2"/>
                      </a:cubicBezTo>
                      <a:cubicBezTo>
                        <a:pt x="1" y="2"/>
                        <a:pt x="0" y="1"/>
                        <a:pt x="0" y="1"/>
                      </a:cubicBezTo>
                      <a:cubicBezTo>
                        <a:pt x="1" y="0"/>
                        <a:pt x="1" y="0"/>
                        <a:pt x="2" y="0"/>
                      </a:cubicBezTo>
                      <a:cubicBezTo>
                        <a:pt x="125" y="39"/>
                        <a:pt x="125" y="39"/>
                        <a:pt x="125" y="39"/>
                      </a:cubicBezTo>
                      <a:cubicBezTo>
                        <a:pt x="126" y="39"/>
                        <a:pt x="126" y="40"/>
                        <a:pt x="126" y="41"/>
                      </a:cubicBezTo>
                      <a:cubicBezTo>
                        <a:pt x="126" y="41"/>
                        <a:pt x="126" y="42"/>
                        <a:pt x="125" y="4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1" name="Freeform 136">
                  <a:extLst>
                    <a:ext uri="{FF2B5EF4-FFF2-40B4-BE49-F238E27FC236}">
                      <a16:creationId xmlns:a16="http://schemas.microsoft.com/office/drawing/2014/main" id="{77D46082-DF16-3247-AEDD-47B26F128183}"/>
                    </a:ext>
                  </a:extLst>
                </p:cNvPr>
                <p:cNvSpPr>
                  <a:spLocks/>
                </p:cNvSpPr>
                <p:nvPr/>
              </p:nvSpPr>
              <p:spPr bwMode="auto">
                <a:xfrm>
                  <a:off x="4479699" y="2816293"/>
                  <a:ext cx="279514" cy="414238"/>
                </a:xfrm>
                <a:custGeom>
                  <a:avLst/>
                  <a:gdLst>
                    <a:gd name="T0" fmla="*/ 58 w 60"/>
                    <a:gd name="T1" fmla="*/ 89 h 89"/>
                    <a:gd name="T2" fmla="*/ 57 w 60"/>
                    <a:gd name="T3" fmla="*/ 88 h 89"/>
                    <a:gd name="T4" fmla="*/ 1 w 60"/>
                    <a:gd name="T5" fmla="*/ 3 h 89"/>
                    <a:gd name="T6" fmla="*/ 1 w 60"/>
                    <a:gd name="T7" fmla="*/ 1 h 89"/>
                    <a:gd name="T8" fmla="*/ 3 w 60"/>
                    <a:gd name="T9" fmla="*/ 1 h 89"/>
                    <a:gd name="T10" fmla="*/ 59 w 60"/>
                    <a:gd name="T11" fmla="*/ 87 h 89"/>
                    <a:gd name="T12" fmla="*/ 59 w 60"/>
                    <a:gd name="T13" fmla="*/ 88 h 89"/>
                    <a:gd name="T14" fmla="*/ 58 w 60"/>
                    <a:gd name="T15" fmla="*/ 89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89">
                      <a:moveTo>
                        <a:pt x="58" y="89"/>
                      </a:moveTo>
                      <a:cubicBezTo>
                        <a:pt x="58" y="89"/>
                        <a:pt x="57" y="88"/>
                        <a:pt x="57" y="88"/>
                      </a:cubicBezTo>
                      <a:cubicBezTo>
                        <a:pt x="1" y="3"/>
                        <a:pt x="1" y="3"/>
                        <a:pt x="1" y="3"/>
                      </a:cubicBezTo>
                      <a:cubicBezTo>
                        <a:pt x="0" y="2"/>
                        <a:pt x="1" y="1"/>
                        <a:pt x="1" y="1"/>
                      </a:cubicBezTo>
                      <a:cubicBezTo>
                        <a:pt x="2" y="0"/>
                        <a:pt x="3" y="1"/>
                        <a:pt x="3" y="1"/>
                      </a:cubicBezTo>
                      <a:cubicBezTo>
                        <a:pt x="59" y="87"/>
                        <a:pt x="59" y="87"/>
                        <a:pt x="59" y="87"/>
                      </a:cubicBezTo>
                      <a:cubicBezTo>
                        <a:pt x="60" y="87"/>
                        <a:pt x="59" y="88"/>
                        <a:pt x="59" y="88"/>
                      </a:cubicBezTo>
                      <a:cubicBezTo>
                        <a:pt x="59" y="89"/>
                        <a:pt x="58" y="89"/>
                        <a:pt x="58" y="8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2" name="Freeform 137">
                  <a:extLst>
                    <a:ext uri="{FF2B5EF4-FFF2-40B4-BE49-F238E27FC236}">
                      <a16:creationId xmlns:a16="http://schemas.microsoft.com/office/drawing/2014/main" id="{50EF9238-3921-A241-81A7-F37C9FAE83AB}"/>
                    </a:ext>
                  </a:extLst>
                </p:cNvPr>
                <p:cNvSpPr>
                  <a:spLocks/>
                </p:cNvSpPr>
                <p:nvPr/>
              </p:nvSpPr>
              <p:spPr bwMode="auto">
                <a:xfrm>
                  <a:off x="5288818" y="4035003"/>
                  <a:ext cx="646521" cy="353070"/>
                </a:xfrm>
                <a:custGeom>
                  <a:avLst/>
                  <a:gdLst>
                    <a:gd name="T0" fmla="*/ 137 w 139"/>
                    <a:gd name="T1" fmla="*/ 76 h 76"/>
                    <a:gd name="T2" fmla="*/ 137 w 139"/>
                    <a:gd name="T3" fmla="*/ 76 h 76"/>
                    <a:gd name="T4" fmla="*/ 1 w 139"/>
                    <a:gd name="T5" fmla="*/ 3 h 76"/>
                    <a:gd name="T6" fmla="*/ 0 w 139"/>
                    <a:gd name="T7" fmla="*/ 1 h 76"/>
                    <a:gd name="T8" fmla="*/ 2 w 139"/>
                    <a:gd name="T9" fmla="*/ 0 h 76"/>
                    <a:gd name="T10" fmla="*/ 138 w 139"/>
                    <a:gd name="T11" fmla="*/ 73 h 76"/>
                    <a:gd name="T12" fmla="*/ 139 w 139"/>
                    <a:gd name="T13" fmla="*/ 75 h 76"/>
                    <a:gd name="T14" fmla="*/ 137 w 139"/>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76">
                      <a:moveTo>
                        <a:pt x="137" y="76"/>
                      </a:moveTo>
                      <a:cubicBezTo>
                        <a:pt x="137" y="76"/>
                        <a:pt x="137" y="76"/>
                        <a:pt x="137" y="76"/>
                      </a:cubicBezTo>
                      <a:cubicBezTo>
                        <a:pt x="1" y="3"/>
                        <a:pt x="1" y="3"/>
                        <a:pt x="1" y="3"/>
                      </a:cubicBezTo>
                      <a:cubicBezTo>
                        <a:pt x="0" y="2"/>
                        <a:pt x="0" y="1"/>
                        <a:pt x="0" y="1"/>
                      </a:cubicBezTo>
                      <a:cubicBezTo>
                        <a:pt x="1" y="0"/>
                        <a:pt x="1" y="0"/>
                        <a:pt x="2" y="0"/>
                      </a:cubicBezTo>
                      <a:cubicBezTo>
                        <a:pt x="138" y="73"/>
                        <a:pt x="138" y="73"/>
                        <a:pt x="138" y="73"/>
                      </a:cubicBezTo>
                      <a:cubicBezTo>
                        <a:pt x="139" y="74"/>
                        <a:pt x="139" y="75"/>
                        <a:pt x="139" y="75"/>
                      </a:cubicBezTo>
                      <a:cubicBezTo>
                        <a:pt x="138" y="76"/>
                        <a:pt x="138" y="76"/>
                        <a:pt x="137" y="7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3" name="Freeform 138">
                  <a:extLst>
                    <a:ext uri="{FF2B5EF4-FFF2-40B4-BE49-F238E27FC236}">
                      <a16:creationId xmlns:a16="http://schemas.microsoft.com/office/drawing/2014/main" id="{7F87F568-43C4-0548-AA2B-FA7E7C28548A}"/>
                    </a:ext>
                  </a:extLst>
                </p:cNvPr>
                <p:cNvSpPr>
                  <a:spLocks/>
                </p:cNvSpPr>
                <p:nvPr/>
              </p:nvSpPr>
              <p:spPr bwMode="auto">
                <a:xfrm>
                  <a:off x="4563321" y="1402464"/>
                  <a:ext cx="237703" cy="344553"/>
                </a:xfrm>
                <a:custGeom>
                  <a:avLst/>
                  <a:gdLst>
                    <a:gd name="T0" fmla="*/ 1 w 51"/>
                    <a:gd name="T1" fmla="*/ 74 h 74"/>
                    <a:gd name="T2" fmla="*/ 1 w 51"/>
                    <a:gd name="T3" fmla="*/ 74 h 74"/>
                    <a:gd name="T4" fmla="*/ 0 w 51"/>
                    <a:gd name="T5" fmla="*/ 72 h 74"/>
                    <a:gd name="T6" fmla="*/ 48 w 51"/>
                    <a:gd name="T7" fmla="*/ 1 h 74"/>
                    <a:gd name="T8" fmla="*/ 50 w 51"/>
                    <a:gd name="T9" fmla="*/ 1 h 74"/>
                    <a:gd name="T10" fmla="*/ 50 w 51"/>
                    <a:gd name="T11" fmla="*/ 3 h 74"/>
                    <a:gd name="T12" fmla="*/ 2 w 51"/>
                    <a:gd name="T13" fmla="*/ 73 h 74"/>
                    <a:gd name="T14" fmla="*/ 1 w 51"/>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74">
                      <a:moveTo>
                        <a:pt x="1" y="74"/>
                      </a:moveTo>
                      <a:cubicBezTo>
                        <a:pt x="1" y="74"/>
                        <a:pt x="1" y="74"/>
                        <a:pt x="1" y="74"/>
                      </a:cubicBezTo>
                      <a:cubicBezTo>
                        <a:pt x="0" y="73"/>
                        <a:pt x="0" y="73"/>
                        <a:pt x="0" y="72"/>
                      </a:cubicBezTo>
                      <a:cubicBezTo>
                        <a:pt x="48" y="1"/>
                        <a:pt x="48" y="1"/>
                        <a:pt x="48" y="1"/>
                      </a:cubicBezTo>
                      <a:cubicBezTo>
                        <a:pt x="49" y="1"/>
                        <a:pt x="49" y="0"/>
                        <a:pt x="50" y="1"/>
                      </a:cubicBezTo>
                      <a:cubicBezTo>
                        <a:pt x="51" y="1"/>
                        <a:pt x="51" y="2"/>
                        <a:pt x="50" y="3"/>
                      </a:cubicBezTo>
                      <a:cubicBezTo>
                        <a:pt x="2" y="73"/>
                        <a:pt x="2" y="73"/>
                        <a:pt x="2" y="73"/>
                      </a:cubicBezTo>
                      <a:cubicBezTo>
                        <a:pt x="2" y="74"/>
                        <a:pt x="2" y="74"/>
                        <a:pt x="1" y="7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4" name="Freeform 139">
                  <a:extLst>
                    <a:ext uri="{FF2B5EF4-FFF2-40B4-BE49-F238E27FC236}">
                      <a16:creationId xmlns:a16="http://schemas.microsoft.com/office/drawing/2014/main" id="{82C0D605-1A5C-D740-B8C9-765FBA455005}"/>
                    </a:ext>
                  </a:extLst>
                </p:cNvPr>
                <p:cNvSpPr>
                  <a:spLocks/>
                </p:cNvSpPr>
                <p:nvPr/>
              </p:nvSpPr>
              <p:spPr bwMode="auto">
                <a:xfrm>
                  <a:off x="3317511" y="3997839"/>
                  <a:ext cx="864867" cy="394880"/>
                </a:xfrm>
                <a:custGeom>
                  <a:avLst/>
                  <a:gdLst>
                    <a:gd name="T0" fmla="*/ 1 w 186"/>
                    <a:gd name="T1" fmla="*/ 85 h 85"/>
                    <a:gd name="T2" fmla="*/ 0 w 186"/>
                    <a:gd name="T3" fmla="*/ 85 h 85"/>
                    <a:gd name="T4" fmla="*/ 1 w 186"/>
                    <a:gd name="T5" fmla="*/ 83 h 85"/>
                    <a:gd name="T6" fmla="*/ 183 w 186"/>
                    <a:gd name="T7" fmla="*/ 0 h 85"/>
                    <a:gd name="T8" fmla="*/ 185 w 186"/>
                    <a:gd name="T9" fmla="*/ 1 h 85"/>
                    <a:gd name="T10" fmla="*/ 185 w 186"/>
                    <a:gd name="T11" fmla="*/ 3 h 85"/>
                    <a:gd name="T12" fmla="*/ 2 w 186"/>
                    <a:gd name="T13" fmla="*/ 85 h 85"/>
                    <a:gd name="T14" fmla="*/ 1 w 186"/>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85">
                      <a:moveTo>
                        <a:pt x="1" y="85"/>
                      </a:moveTo>
                      <a:cubicBezTo>
                        <a:pt x="1" y="85"/>
                        <a:pt x="0" y="85"/>
                        <a:pt x="0" y="85"/>
                      </a:cubicBezTo>
                      <a:cubicBezTo>
                        <a:pt x="0" y="84"/>
                        <a:pt x="0" y="83"/>
                        <a:pt x="1" y="83"/>
                      </a:cubicBezTo>
                      <a:cubicBezTo>
                        <a:pt x="183" y="0"/>
                        <a:pt x="183" y="0"/>
                        <a:pt x="183" y="0"/>
                      </a:cubicBezTo>
                      <a:cubicBezTo>
                        <a:pt x="184" y="0"/>
                        <a:pt x="185" y="0"/>
                        <a:pt x="185" y="1"/>
                      </a:cubicBezTo>
                      <a:cubicBezTo>
                        <a:pt x="186" y="1"/>
                        <a:pt x="185" y="2"/>
                        <a:pt x="185" y="3"/>
                      </a:cubicBezTo>
                      <a:cubicBezTo>
                        <a:pt x="2" y="85"/>
                        <a:pt x="2" y="85"/>
                        <a:pt x="2" y="85"/>
                      </a:cubicBezTo>
                      <a:cubicBezTo>
                        <a:pt x="2" y="85"/>
                        <a:pt x="2" y="85"/>
                        <a:pt x="1" y="8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5" name="Freeform 140">
                  <a:extLst>
                    <a:ext uri="{FF2B5EF4-FFF2-40B4-BE49-F238E27FC236}">
                      <a16:creationId xmlns:a16="http://schemas.microsoft.com/office/drawing/2014/main" id="{5D973D86-1D45-984B-9042-560AE7C18B3C}"/>
                    </a:ext>
                  </a:extLst>
                </p:cNvPr>
                <p:cNvSpPr>
                  <a:spLocks/>
                </p:cNvSpPr>
                <p:nvPr/>
              </p:nvSpPr>
              <p:spPr bwMode="auto">
                <a:xfrm>
                  <a:off x="4963621" y="1379237"/>
                  <a:ext cx="971717" cy="539671"/>
                </a:xfrm>
                <a:custGeom>
                  <a:avLst/>
                  <a:gdLst>
                    <a:gd name="T0" fmla="*/ 207 w 209"/>
                    <a:gd name="T1" fmla="*/ 116 h 116"/>
                    <a:gd name="T2" fmla="*/ 207 w 209"/>
                    <a:gd name="T3" fmla="*/ 116 h 116"/>
                    <a:gd name="T4" fmla="*/ 1 w 209"/>
                    <a:gd name="T5" fmla="*/ 3 h 116"/>
                    <a:gd name="T6" fmla="*/ 1 w 209"/>
                    <a:gd name="T7" fmla="*/ 1 h 116"/>
                    <a:gd name="T8" fmla="*/ 3 w 209"/>
                    <a:gd name="T9" fmla="*/ 0 h 116"/>
                    <a:gd name="T10" fmla="*/ 208 w 209"/>
                    <a:gd name="T11" fmla="*/ 114 h 116"/>
                    <a:gd name="T12" fmla="*/ 209 w 209"/>
                    <a:gd name="T13" fmla="*/ 116 h 116"/>
                    <a:gd name="T14" fmla="*/ 207 w 209"/>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116">
                      <a:moveTo>
                        <a:pt x="207" y="116"/>
                      </a:moveTo>
                      <a:cubicBezTo>
                        <a:pt x="207" y="116"/>
                        <a:pt x="207" y="116"/>
                        <a:pt x="207" y="116"/>
                      </a:cubicBezTo>
                      <a:cubicBezTo>
                        <a:pt x="1" y="3"/>
                        <a:pt x="1" y="3"/>
                        <a:pt x="1" y="3"/>
                      </a:cubicBezTo>
                      <a:cubicBezTo>
                        <a:pt x="1" y="2"/>
                        <a:pt x="0" y="2"/>
                        <a:pt x="1" y="1"/>
                      </a:cubicBezTo>
                      <a:cubicBezTo>
                        <a:pt x="1" y="0"/>
                        <a:pt x="2" y="0"/>
                        <a:pt x="3" y="0"/>
                      </a:cubicBezTo>
                      <a:cubicBezTo>
                        <a:pt x="208" y="114"/>
                        <a:pt x="208" y="114"/>
                        <a:pt x="208" y="114"/>
                      </a:cubicBezTo>
                      <a:cubicBezTo>
                        <a:pt x="209" y="114"/>
                        <a:pt x="209" y="115"/>
                        <a:pt x="209" y="116"/>
                      </a:cubicBezTo>
                      <a:cubicBezTo>
                        <a:pt x="208" y="116"/>
                        <a:pt x="208" y="116"/>
                        <a:pt x="207" y="11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6" name="Freeform 141">
                  <a:extLst>
                    <a:ext uri="{FF2B5EF4-FFF2-40B4-BE49-F238E27FC236}">
                      <a16:creationId xmlns:a16="http://schemas.microsoft.com/office/drawing/2014/main" id="{FECEA419-0D4E-A241-9A7E-9FDC4FA157B2}"/>
                    </a:ext>
                  </a:extLst>
                </p:cNvPr>
                <p:cNvSpPr>
                  <a:spLocks/>
                </p:cNvSpPr>
                <p:nvPr/>
              </p:nvSpPr>
              <p:spPr bwMode="auto">
                <a:xfrm>
                  <a:off x="5447544" y="2607239"/>
                  <a:ext cx="967071" cy="492439"/>
                </a:xfrm>
                <a:custGeom>
                  <a:avLst/>
                  <a:gdLst>
                    <a:gd name="T0" fmla="*/ 206 w 208"/>
                    <a:gd name="T1" fmla="*/ 106 h 106"/>
                    <a:gd name="T2" fmla="*/ 205 w 208"/>
                    <a:gd name="T3" fmla="*/ 106 h 106"/>
                    <a:gd name="T4" fmla="*/ 1 w 208"/>
                    <a:gd name="T5" fmla="*/ 3 h 106"/>
                    <a:gd name="T6" fmla="*/ 1 w 208"/>
                    <a:gd name="T7" fmla="*/ 1 h 106"/>
                    <a:gd name="T8" fmla="*/ 3 w 208"/>
                    <a:gd name="T9" fmla="*/ 0 h 106"/>
                    <a:gd name="T10" fmla="*/ 207 w 208"/>
                    <a:gd name="T11" fmla="*/ 103 h 106"/>
                    <a:gd name="T12" fmla="*/ 207 w 208"/>
                    <a:gd name="T13" fmla="*/ 105 h 106"/>
                    <a:gd name="T14" fmla="*/ 206 w 208"/>
                    <a:gd name="T15" fmla="*/ 106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106">
                      <a:moveTo>
                        <a:pt x="206" y="106"/>
                      </a:moveTo>
                      <a:cubicBezTo>
                        <a:pt x="206" y="106"/>
                        <a:pt x="206" y="106"/>
                        <a:pt x="205" y="106"/>
                      </a:cubicBezTo>
                      <a:cubicBezTo>
                        <a:pt x="1" y="3"/>
                        <a:pt x="1" y="3"/>
                        <a:pt x="1" y="3"/>
                      </a:cubicBezTo>
                      <a:cubicBezTo>
                        <a:pt x="1" y="3"/>
                        <a:pt x="0" y="2"/>
                        <a:pt x="1" y="1"/>
                      </a:cubicBezTo>
                      <a:cubicBezTo>
                        <a:pt x="1" y="0"/>
                        <a:pt x="2" y="0"/>
                        <a:pt x="3" y="0"/>
                      </a:cubicBezTo>
                      <a:cubicBezTo>
                        <a:pt x="207" y="103"/>
                        <a:pt x="207" y="103"/>
                        <a:pt x="207" y="103"/>
                      </a:cubicBezTo>
                      <a:cubicBezTo>
                        <a:pt x="207" y="103"/>
                        <a:pt x="208" y="104"/>
                        <a:pt x="207" y="105"/>
                      </a:cubicBezTo>
                      <a:cubicBezTo>
                        <a:pt x="207" y="105"/>
                        <a:pt x="206" y="106"/>
                        <a:pt x="206" y="10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7" name="Freeform 142">
                  <a:extLst>
                    <a:ext uri="{FF2B5EF4-FFF2-40B4-BE49-F238E27FC236}">
                      <a16:creationId xmlns:a16="http://schemas.microsoft.com/office/drawing/2014/main" id="{686C20BE-99C3-C442-AEE4-CA3A809C434E}"/>
                    </a:ext>
                  </a:extLst>
                </p:cNvPr>
                <p:cNvSpPr>
                  <a:spLocks/>
                </p:cNvSpPr>
                <p:nvPr/>
              </p:nvSpPr>
              <p:spPr bwMode="auto">
                <a:xfrm>
                  <a:off x="6070062" y="3574309"/>
                  <a:ext cx="437467" cy="167244"/>
                </a:xfrm>
                <a:custGeom>
                  <a:avLst/>
                  <a:gdLst>
                    <a:gd name="T0" fmla="*/ 93 w 94"/>
                    <a:gd name="T1" fmla="*/ 36 h 36"/>
                    <a:gd name="T2" fmla="*/ 92 w 94"/>
                    <a:gd name="T3" fmla="*/ 36 h 36"/>
                    <a:gd name="T4" fmla="*/ 1 w 94"/>
                    <a:gd name="T5" fmla="*/ 3 h 36"/>
                    <a:gd name="T6" fmla="*/ 0 w 94"/>
                    <a:gd name="T7" fmla="*/ 1 h 36"/>
                    <a:gd name="T8" fmla="*/ 2 w 94"/>
                    <a:gd name="T9" fmla="*/ 0 h 36"/>
                    <a:gd name="T10" fmla="*/ 93 w 94"/>
                    <a:gd name="T11" fmla="*/ 33 h 36"/>
                    <a:gd name="T12" fmla="*/ 94 w 94"/>
                    <a:gd name="T13" fmla="*/ 35 h 36"/>
                    <a:gd name="T14" fmla="*/ 93 w 94"/>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36">
                      <a:moveTo>
                        <a:pt x="93" y="36"/>
                      </a:moveTo>
                      <a:cubicBezTo>
                        <a:pt x="93" y="36"/>
                        <a:pt x="93" y="36"/>
                        <a:pt x="92" y="36"/>
                      </a:cubicBezTo>
                      <a:cubicBezTo>
                        <a:pt x="1" y="3"/>
                        <a:pt x="1" y="3"/>
                        <a:pt x="1" y="3"/>
                      </a:cubicBezTo>
                      <a:cubicBezTo>
                        <a:pt x="0" y="3"/>
                        <a:pt x="0" y="2"/>
                        <a:pt x="0" y="1"/>
                      </a:cubicBezTo>
                      <a:cubicBezTo>
                        <a:pt x="0" y="1"/>
                        <a:pt x="1" y="0"/>
                        <a:pt x="2" y="0"/>
                      </a:cubicBezTo>
                      <a:cubicBezTo>
                        <a:pt x="93" y="33"/>
                        <a:pt x="93" y="33"/>
                        <a:pt x="93" y="33"/>
                      </a:cubicBezTo>
                      <a:cubicBezTo>
                        <a:pt x="94" y="33"/>
                        <a:pt x="94" y="34"/>
                        <a:pt x="94" y="35"/>
                      </a:cubicBezTo>
                      <a:cubicBezTo>
                        <a:pt x="94" y="36"/>
                        <a:pt x="94" y="36"/>
                        <a:pt x="93" y="3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8" name="Freeform 143">
                  <a:extLst>
                    <a:ext uri="{FF2B5EF4-FFF2-40B4-BE49-F238E27FC236}">
                      <a16:creationId xmlns:a16="http://schemas.microsoft.com/office/drawing/2014/main" id="{318E4ED8-3ED8-A741-B6A5-93389ADE9EEF}"/>
                    </a:ext>
                  </a:extLst>
                </p:cNvPr>
                <p:cNvSpPr>
                  <a:spLocks/>
                </p:cNvSpPr>
                <p:nvPr/>
              </p:nvSpPr>
              <p:spPr bwMode="auto">
                <a:xfrm>
                  <a:off x="2996961" y="3253759"/>
                  <a:ext cx="236928" cy="1083213"/>
                </a:xfrm>
                <a:custGeom>
                  <a:avLst/>
                  <a:gdLst>
                    <a:gd name="T0" fmla="*/ 50 w 51"/>
                    <a:gd name="T1" fmla="*/ 233 h 233"/>
                    <a:gd name="T2" fmla="*/ 48 w 51"/>
                    <a:gd name="T3" fmla="*/ 232 h 233"/>
                    <a:gd name="T4" fmla="*/ 0 w 51"/>
                    <a:gd name="T5" fmla="*/ 2 h 233"/>
                    <a:gd name="T6" fmla="*/ 1 w 51"/>
                    <a:gd name="T7" fmla="*/ 0 h 233"/>
                    <a:gd name="T8" fmla="*/ 3 w 51"/>
                    <a:gd name="T9" fmla="*/ 1 h 233"/>
                    <a:gd name="T10" fmla="*/ 51 w 51"/>
                    <a:gd name="T11" fmla="*/ 232 h 233"/>
                    <a:gd name="T12" fmla="*/ 50 w 51"/>
                    <a:gd name="T13" fmla="*/ 233 h 233"/>
                    <a:gd name="T14" fmla="*/ 50 w 51"/>
                    <a:gd name="T15" fmla="*/ 233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33">
                      <a:moveTo>
                        <a:pt x="50" y="233"/>
                      </a:moveTo>
                      <a:cubicBezTo>
                        <a:pt x="49" y="233"/>
                        <a:pt x="48" y="233"/>
                        <a:pt x="48" y="232"/>
                      </a:cubicBezTo>
                      <a:cubicBezTo>
                        <a:pt x="0" y="2"/>
                        <a:pt x="0" y="2"/>
                        <a:pt x="0" y="2"/>
                      </a:cubicBezTo>
                      <a:cubicBezTo>
                        <a:pt x="0" y="1"/>
                        <a:pt x="1" y="0"/>
                        <a:pt x="1" y="0"/>
                      </a:cubicBezTo>
                      <a:cubicBezTo>
                        <a:pt x="2" y="0"/>
                        <a:pt x="3" y="0"/>
                        <a:pt x="3" y="1"/>
                      </a:cubicBezTo>
                      <a:cubicBezTo>
                        <a:pt x="51" y="232"/>
                        <a:pt x="51" y="232"/>
                        <a:pt x="51" y="232"/>
                      </a:cubicBezTo>
                      <a:cubicBezTo>
                        <a:pt x="51" y="232"/>
                        <a:pt x="51" y="233"/>
                        <a:pt x="50" y="233"/>
                      </a:cubicBezTo>
                      <a:cubicBezTo>
                        <a:pt x="50" y="233"/>
                        <a:pt x="50" y="233"/>
                        <a:pt x="50" y="23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9" name="Freeform 144">
                  <a:extLst>
                    <a:ext uri="{FF2B5EF4-FFF2-40B4-BE49-F238E27FC236}">
                      <a16:creationId xmlns:a16="http://schemas.microsoft.com/office/drawing/2014/main" id="{C1F0D227-794A-ED4B-B9A6-B95447CA49B6}"/>
                    </a:ext>
                  </a:extLst>
                </p:cNvPr>
                <p:cNvSpPr>
                  <a:spLocks/>
                </p:cNvSpPr>
                <p:nvPr/>
              </p:nvSpPr>
              <p:spPr bwMode="auto">
                <a:xfrm>
                  <a:off x="6670126" y="4467049"/>
                  <a:ext cx="125432" cy="278739"/>
                </a:xfrm>
                <a:custGeom>
                  <a:avLst/>
                  <a:gdLst>
                    <a:gd name="T0" fmla="*/ 2 w 27"/>
                    <a:gd name="T1" fmla="*/ 60 h 60"/>
                    <a:gd name="T2" fmla="*/ 1 w 27"/>
                    <a:gd name="T3" fmla="*/ 60 h 60"/>
                    <a:gd name="T4" fmla="*/ 0 w 27"/>
                    <a:gd name="T5" fmla="*/ 58 h 60"/>
                    <a:gd name="T6" fmla="*/ 24 w 27"/>
                    <a:gd name="T7" fmla="*/ 1 h 60"/>
                    <a:gd name="T8" fmla="*/ 26 w 27"/>
                    <a:gd name="T9" fmla="*/ 0 h 60"/>
                    <a:gd name="T10" fmla="*/ 27 w 27"/>
                    <a:gd name="T11" fmla="*/ 2 h 60"/>
                    <a:gd name="T12" fmla="*/ 3 w 27"/>
                    <a:gd name="T13" fmla="*/ 60 h 60"/>
                    <a:gd name="T14" fmla="*/ 2 w 27"/>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60">
                      <a:moveTo>
                        <a:pt x="2" y="60"/>
                      </a:moveTo>
                      <a:cubicBezTo>
                        <a:pt x="1" y="60"/>
                        <a:pt x="1" y="60"/>
                        <a:pt x="1" y="60"/>
                      </a:cubicBezTo>
                      <a:cubicBezTo>
                        <a:pt x="0" y="60"/>
                        <a:pt x="0" y="59"/>
                        <a:pt x="0" y="58"/>
                      </a:cubicBezTo>
                      <a:cubicBezTo>
                        <a:pt x="24" y="1"/>
                        <a:pt x="24" y="1"/>
                        <a:pt x="24" y="1"/>
                      </a:cubicBezTo>
                      <a:cubicBezTo>
                        <a:pt x="25" y="0"/>
                        <a:pt x="26" y="0"/>
                        <a:pt x="26" y="0"/>
                      </a:cubicBezTo>
                      <a:cubicBezTo>
                        <a:pt x="27" y="1"/>
                        <a:pt x="27" y="2"/>
                        <a:pt x="27" y="2"/>
                      </a:cubicBezTo>
                      <a:cubicBezTo>
                        <a:pt x="3" y="60"/>
                        <a:pt x="3" y="60"/>
                        <a:pt x="3" y="60"/>
                      </a:cubicBezTo>
                      <a:cubicBezTo>
                        <a:pt x="3" y="60"/>
                        <a:pt x="2" y="60"/>
                        <a:pt x="2" y="6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0" name="Freeform 145">
                  <a:extLst>
                    <a:ext uri="{FF2B5EF4-FFF2-40B4-BE49-F238E27FC236}">
                      <a16:creationId xmlns:a16="http://schemas.microsoft.com/office/drawing/2014/main" id="{B38E5385-E9E6-4747-96C1-67FE7E394D6F}"/>
                    </a:ext>
                  </a:extLst>
                </p:cNvPr>
                <p:cNvSpPr>
                  <a:spLocks/>
                </p:cNvSpPr>
                <p:nvPr/>
              </p:nvSpPr>
              <p:spPr bwMode="auto">
                <a:xfrm>
                  <a:off x="6595795" y="3801946"/>
                  <a:ext cx="195118" cy="469986"/>
                </a:xfrm>
                <a:custGeom>
                  <a:avLst/>
                  <a:gdLst>
                    <a:gd name="T0" fmla="*/ 40 w 42"/>
                    <a:gd name="T1" fmla="*/ 101 h 101"/>
                    <a:gd name="T2" fmla="*/ 39 w 42"/>
                    <a:gd name="T3" fmla="*/ 100 h 101"/>
                    <a:gd name="T4" fmla="*/ 0 w 42"/>
                    <a:gd name="T5" fmla="*/ 2 h 101"/>
                    <a:gd name="T6" fmla="*/ 1 w 42"/>
                    <a:gd name="T7" fmla="*/ 1 h 101"/>
                    <a:gd name="T8" fmla="*/ 3 w 42"/>
                    <a:gd name="T9" fmla="*/ 2 h 101"/>
                    <a:gd name="T10" fmla="*/ 42 w 42"/>
                    <a:gd name="T11" fmla="*/ 99 h 101"/>
                    <a:gd name="T12" fmla="*/ 41 w 42"/>
                    <a:gd name="T13" fmla="*/ 101 h 101"/>
                    <a:gd name="T14" fmla="*/ 40 w 42"/>
                    <a:gd name="T15" fmla="*/ 101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01">
                      <a:moveTo>
                        <a:pt x="40" y="101"/>
                      </a:moveTo>
                      <a:cubicBezTo>
                        <a:pt x="40" y="101"/>
                        <a:pt x="39" y="100"/>
                        <a:pt x="39" y="100"/>
                      </a:cubicBezTo>
                      <a:cubicBezTo>
                        <a:pt x="0" y="2"/>
                        <a:pt x="0" y="2"/>
                        <a:pt x="0" y="2"/>
                      </a:cubicBezTo>
                      <a:cubicBezTo>
                        <a:pt x="0" y="2"/>
                        <a:pt x="0" y="1"/>
                        <a:pt x="1" y="1"/>
                      </a:cubicBezTo>
                      <a:cubicBezTo>
                        <a:pt x="2" y="0"/>
                        <a:pt x="3" y="1"/>
                        <a:pt x="3" y="2"/>
                      </a:cubicBezTo>
                      <a:cubicBezTo>
                        <a:pt x="42" y="99"/>
                        <a:pt x="42" y="99"/>
                        <a:pt x="42" y="99"/>
                      </a:cubicBezTo>
                      <a:cubicBezTo>
                        <a:pt x="42" y="100"/>
                        <a:pt x="42" y="100"/>
                        <a:pt x="41" y="101"/>
                      </a:cubicBezTo>
                      <a:cubicBezTo>
                        <a:pt x="41" y="101"/>
                        <a:pt x="40" y="101"/>
                        <a:pt x="40" y="101"/>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1" name="Freeform 146">
                  <a:extLst>
                    <a:ext uri="{FF2B5EF4-FFF2-40B4-BE49-F238E27FC236}">
                      <a16:creationId xmlns:a16="http://schemas.microsoft.com/office/drawing/2014/main" id="{9ACEDC4B-F75A-3C45-83E4-3CAE7380F60A}"/>
                    </a:ext>
                  </a:extLst>
                </p:cNvPr>
                <p:cNvSpPr>
                  <a:spLocks/>
                </p:cNvSpPr>
                <p:nvPr/>
              </p:nvSpPr>
              <p:spPr bwMode="auto">
                <a:xfrm>
                  <a:off x="6400678" y="2565427"/>
                  <a:ext cx="78976" cy="497085"/>
                </a:xfrm>
                <a:custGeom>
                  <a:avLst/>
                  <a:gdLst>
                    <a:gd name="T0" fmla="*/ 16 w 17"/>
                    <a:gd name="T1" fmla="*/ 107 h 107"/>
                    <a:gd name="T2" fmla="*/ 14 w 17"/>
                    <a:gd name="T3" fmla="*/ 106 h 107"/>
                    <a:gd name="T4" fmla="*/ 0 w 17"/>
                    <a:gd name="T5" fmla="*/ 2 h 107"/>
                    <a:gd name="T6" fmla="*/ 1 w 17"/>
                    <a:gd name="T7" fmla="*/ 0 h 107"/>
                    <a:gd name="T8" fmla="*/ 2 w 17"/>
                    <a:gd name="T9" fmla="*/ 1 h 107"/>
                    <a:gd name="T10" fmla="*/ 17 w 17"/>
                    <a:gd name="T11" fmla="*/ 105 h 107"/>
                    <a:gd name="T12" fmla="*/ 16 w 17"/>
                    <a:gd name="T13" fmla="*/ 107 h 107"/>
                    <a:gd name="T14" fmla="*/ 16 w 17"/>
                    <a:gd name="T15" fmla="*/ 107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7">
                      <a:moveTo>
                        <a:pt x="16" y="107"/>
                      </a:moveTo>
                      <a:cubicBezTo>
                        <a:pt x="15" y="107"/>
                        <a:pt x="14" y="106"/>
                        <a:pt x="14" y="106"/>
                      </a:cubicBezTo>
                      <a:cubicBezTo>
                        <a:pt x="0" y="2"/>
                        <a:pt x="0" y="2"/>
                        <a:pt x="0" y="2"/>
                      </a:cubicBezTo>
                      <a:cubicBezTo>
                        <a:pt x="0" y="1"/>
                        <a:pt x="0" y="0"/>
                        <a:pt x="1" y="0"/>
                      </a:cubicBezTo>
                      <a:cubicBezTo>
                        <a:pt x="2" y="0"/>
                        <a:pt x="2" y="0"/>
                        <a:pt x="2" y="1"/>
                      </a:cubicBezTo>
                      <a:cubicBezTo>
                        <a:pt x="17" y="105"/>
                        <a:pt x="17" y="105"/>
                        <a:pt x="17" y="105"/>
                      </a:cubicBezTo>
                      <a:cubicBezTo>
                        <a:pt x="17" y="106"/>
                        <a:pt x="17" y="107"/>
                        <a:pt x="16" y="107"/>
                      </a:cubicBezTo>
                      <a:cubicBezTo>
                        <a:pt x="16" y="107"/>
                        <a:pt x="16" y="107"/>
                        <a:pt x="16" y="10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2" name="Freeform 147">
                  <a:extLst>
                    <a:ext uri="{FF2B5EF4-FFF2-40B4-BE49-F238E27FC236}">
                      <a16:creationId xmlns:a16="http://schemas.microsoft.com/office/drawing/2014/main" id="{D9D813C3-1FD1-B042-B30C-2CCBF0C82138}"/>
                    </a:ext>
                  </a:extLst>
                </p:cNvPr>
                <p:cNvSpPr>
                  <a:spLocks/>
                </p:cNvSpPr>
                <p:nvPr/>
              </p:nvSpPr>
              <p:spPr bwMode="auto">
                <a:xfrm>
                  <a:off x="6423906" y="2025756"/>
                  <a:ext cx="418109" cy="539671"/>
                </a:xfrm>
                <a:custGeom>
                  <a:avLst/>
                  <a:gdLst>
                    <a:gd name="T0" fmla="*/ 1 w 90"/>
                    <a:gd name="T1" fmla="*/ 116 h 116"/>
                    <a:gd name="T2" fmla="*/ 1 w 90"/>
                    <a:gd name="T3" fmla="*/ 116 h 116"/>
                    <a:gd name="T4" fmla="*/ 0 w 90"/>
                    <a:gd name="T5" fmla="*/ 114 h 116"/>
                    <a:gd name="T6" fmla="*/ 87 w 90"/>
                    <a:gd name="T7" fmla="*/ 1 h 116"/>
                    <a:gd name="T8" fmla="*/ 89 w 90"/>
                    <a:gd name="T9" fmla="*/ 0 h 116"/>
                    <a:gd name="T10" fmla="*/ 89 w 90"/>
                    <a:gd name="T11" fmla="*/ 2 h 116"/>
                    <a:gd name="T12" fmla="*/ 2 w 90"/>
                    <a:gd name="T13" fmla="*/ 115 h 116"/>
                    <a:gd name="T14" fmla="*/ 1 w 90"/>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116">
                      <a:moveTo>
                        <a:pt x="1" y="116"/>
                      </a:moveTo>
                      <a:cubicBezTo>
                        <a:pt x="1" y="116"/>
                        <a:pt x="1" y="116"/>
                        <a:pt x="1" y="116"/>
                      </a:cubicBezTo>
                      <a:cubicBezTo>
                        <a:pt x="0" y="115"/>
                        <a:pt x="0" y="114"/>
                        <a:pt x="0" y="114"/>
                      </a:cubicBezTo>
                      <a:cubicBezTo>
                        <a:pt x="87" y="1"/>
                        <a:pt x="87" y="1"/>
                        <a:pt x="87" y="1"/>
                      </a:cubicBezTo>
                      <a:cubicBezTo>
                        <a:pt x="87" y="0"/>
                        <a:pt x="88" y="0"/>
                        <a:pt x="89" y="0"/>
                      </a:cubicBezTo>
                      <a:cubicBezTo>
                        <a:pt x="89" y="1"/>
                        <a:pt x="90" y="2"/>
                        <a:pt x="89" y="2"/>
                      </a:cubicBezTo>
                      <a:cubicBezTo>
                        <a:pt x="2" y="115"/>
                        <a:pt x="2" y="115"/>
                        <a:pt x="2" y="115"/>
                      </a:cubicBezTo>
                      <a:cubicBezTo>
                        <a:pt x="2" y="116"/>
                        <a:pt x="2" y="116"/>
                        <a:pt x="1" y="11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3" name="Freeform 148">
                  <a:extLst>
                    <a:ext uri="{FF2B5EF4-FFF2-40B4-BE49-F238E27FC236}">
                      <a16:creationId xmlns:a16="http://schemas.microsoft.com/office/drawing/2014/main" id="{972C2FF0-091A-FD47-A20B-30BE5DD4995D}"/>
                    </a:ext>
                  </a:extLst>
                </p:cNvPr>
                <p:cNvSpPr>
                  <a:spLocks/>
                </p:cNvSpPr>
                <p:nvPr/>
              </p:nvSpPr>
              <p:spPr bwMode="auto">
                <a:xfrm>
                  <a:off x="6930282" y="2058276"/>
                  <a:ext cx="102205" cy="372427"/>
                </a:xfrm>
                <a:custGeom>
                  <a:avLst/>
                  <a:gdLst>
                    <a:gd name="T0" fmla="*/ 20 w 22"/>
                    <a:gd name="T1" fmla="*/ 80 h 80"/>
                    <a:gd name="T2" fmla="*/ 19 w 22"/>
                    <a:gd name="T3" fmla="*/ 79 h 80"/>
                    <a:gd name="T4" fmla="*/ 0 w 22"/>
                    <a:gd name="T5" fmla="*/ 1 h 80"/>
                    <a:gd name="T6" fmla="*/ 1 w 22"/>
                    <a:gd name="T7" fmla="*/ 0 h 80"/>
                    <a:gd name="T8" fmla="*/ 3 w 22"/>
                    <a:gd name="T9" fmla="*/ 1 h 80"/>
                    <a:gd name="T10" fmla="*/ 22 w 22"/>
                    <a:gd name="T11" fmla="*/ 78 h 80"/>
                    <a:gd name="T12" fmla="*/ 21 w 22"/>
                    <a:gd name="T13" fmla="*/ 80 h 80"/>
                    <a:gd name="T14" fmla="*/ 20 w 22"/>
                    <a:gd name="T15" fmla="*/ 8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80">
                      <a:moveTo>
                        <a:pt x="20" y="80"/>
                      </a:moveTo>
                      <a:cubicBezTo>
                        <a:pt x="20" y="80"/>
                        <a:pt x="19" y="79"/>
                        <a:pt x="19" y="79"/>
                      </a:cubicBezTo>
                      <a:cubicBezTo>
                        <a:pt x="0" y="1"/>
                        <a:pt x="0" y="1"/>
                        <a:pt x="0" y="1"/>
                      </a:cubicBezTo>
                      <a:cubicBezTo>
                        <a:pt x="0" y="1"/>
                        <a:pt x="1" y="0"/>
                        <a:pt x="1" y="0"/>
                      </a:cubicBezTo>
                      <a:cubicBezTo>
                        <a:pt x="2" y="0"/>
                        <a:pt x="3" y="0"/>
                        <a:pt x="3" y="1"/>
                      </a:cubicBezTo>
                      <a:cubicBezTo>
                        <a:pt x="22" y="78"/>
                        <a:pt x="22" y="78"/>
                        <a:pt x="22" y="78"/>
                      </a:cubicBezTo>
                      <a:cubicBezTo>
                        <a:pt x="22" y="79"/>
                        <a:pt x="21" y="79"/>
                        <a:pt x="21" y="80"/>
                      </a:cubicBezTo>
                      <a:cubicBezTo>
                        <a:pt x="21" y="80"/>
                        <a:pt x="20" y="80"/>
                        <a:pt x="20" y="8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4" name="Freeform 149">
                  <a:extLst>
                    <a:ext uri="{FF2B5EF4-FFF2-40B4-BE49-F238E27FC236}">
                      <a16:creationId xmlns:a16="http://schemas.microsoft.com/office/drawing/2014/main" id="{9E14CA77-9CE2-1541-8F9E-AF9E4C7F2B43}"/>
                    </a:ext>
                  </a:extLst>
                </p:cNvPr>
                <p:cNvSpPr>
                  <a:spLocks/>
                </p:cNvSpPr>
                <p:nvPr/>
              </p:nvSpPr>
              <p:spPr bwMode="auto">
                <a:xfrm>
                  <a:off x="6725874" y="1351362"/>
                  <a:ext cx="301968" cy="92913"/>
                </a:xfrm>
                <a:custGeom>
                  <a:avLst/>
                  <a:gdLst>
                    <a:gd name="T0" fmla="*/ 2 w 65"/>
                    <a:gd name="T1" fmla="*/ 20 h 20"/>
                    <a:gd name="T2" fmla="*/ 0 w 65"/>
                    <a:gd name="T3" fmla="*/ 19 h 20"/>
                    <a:gd name="T4" fmla="*/ 1 w 65"/>
                    <a:gd name="T5" fmla="*/ 17 h 20"/>
                    <a:gd name="T6" fmla="*/ 63 w 65"/>
                    <a:gd name="T7" fmla="*/ 0 h 20"/>
                    <a:gd name="T8" fmla="*/ 64 w 65"/>
                    <a:gd name="T9" fmla="*/ 1 h 20"/>
                    <a:gd name="T10" fmla="*/ 63 w 65"/>
                    <a:gd name="T11" fmla="*/ 3 h 20"/>
                    <a:gd name="T12" fmla="*/ 2 w 65"/>
                    <a:gd name="T13" fmla="*/ 20 h 20"/>
                    <a:gd name="T14" fmla="*/ 2 w 65"/>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0">
                      <a:moveTo>
                        <a:pt x="2" y="20"/>
                      </a:moveTo>
                      <a:cubicBezTo>
                        <a:pt x="1" y="20"/>
                        <a:pt x="1" y="19"/>
                        <a:pt x="0" y="19"/>
                      </a:cubicBezTo>
                      <a:cubicBezTo>
                        <a:pt x="0" y="18"/>
                        <a:pt x="1" y="17"/>
                        <a:pt x="1" y="17"/>
                      </a:cubicBezTo>
                      <a:cubicBezTo>
                        <a:pt x="63" y="0"/>
                        <a:pt x="63" y="0"/>
                        <a:pt x="63" y="0"/>
                      </a:cubicBezTo>
                      <a:cubicBezTo>
                        <a:pt x="63" y="0"/>
                        <a:pt x="64" y="1"/>
                        <a:pt x="64" y="1"/>
                      </a:cubicBezTo>
                      <a:cubicBezTo>
                        <a:pt x="65" y="2"/>
                        <a:pt x="64" y="3"/>
                        <a:pt x="63" y="3"/>
                      </a:cubicBezTo>
                      <a:cubicBezTo>
                        <a:pt x="2" y="20"/>
                        <a:pt x="2" y="20"/>
                        <a:pt x="2" y="20"/>
                      </a:cubicBezTo>
                      <a:cubicBezTo>
                        <a:pt x="2" y="20"/>
                        <a:pt x="2" y="20"/>
                        <a:pt x="2" y="2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5" name="Freeform 150">
                  <a:extLst>
                    <a:ext uri="{FF2B5EF4-FFF2-40B4-BE49-F238E27FC236}">
                      <a16:creationId xmlns:a16="http://schemas.microsoft.com/office/drawing/2014/main" id="{E2D6D7A6-9394-0449-8D96-E311C628A142}"/>
                    </a:ext>
                  </a:extLst>
                </p:cNvPr>
                <p:cNvSpPr>
                  <a:spLocks/>
                </p:cNvSpPr>
                <p:nvPr/>
              </p:nvSpPr>
              <p:spPr bwMode="auto">
                <a:xfrm>
                  <a:off x="6567922" y="1035457"/>
                  <a:ext cx="120787" cy="380944"/>
                </a:xfrm>
                <a:custGeom>
                  <a:avLst/>
                  <a:gdLst>
                    <a:gd name="T0" fmla="*/ 25 w 26"/>
                    <a:gd name="T1" fmla="*/ 82 h 82"/>
                    <a:gd name="T2" fmla="*/ 24 w 26"/>
                    <a:gd name="T3" fmla="*/ 81 h 82"/>
                    <a:gd name="T4" fmla="*/ 0 w 26"/>
                    <a:gd name="T5" fmla="*/ 2 h 82"/>
                    <a:gd name="T6" fmla="*/ 1 w 26"/>
                    <a:gd name="T7" fmla="*/ 0 h 82"/>
                    <a:gd name="T8" fmla="*/ 2 w 26"/>
                    <a:gd name="T9" fmla="*/ 1 h 82"/>
                    <a:gd name="T10" fmla="*/ 26 w 26"/>
                    <a:gd name="T11" fmla="*/ 81 h 82"/>
                    <a:gd name="T12" fmla="*/ 25 w 26"/>
                    <a:gd name="T13" fmla="*/ 82 h 82"/>
                    <a:gd name="T14" fmla="*/ 25 w 26"/>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82">
                      <a:moveTo>
                        <a:pt x="25" y="82"/>
                      </a:moveTo>
                      <a:cubicBezTo>
                        <a:pt x="24" y="82"/>
                        <a:pt x="24" y="82"/>
                        <a:pt x="24" y="81"/>
                      </a:cubicBezTo>
                      <a:cubicBezTo>
                        <a:pt x="0" y="2"/>
                        <a:pt x="0" y="2"/>
                        <a:pt x="0" y="2"/>
                      </a:cubicBezTo>
                      <a:cubicBezTo>
                        <a:pt x="0" y="1"/>
                        <a:pt x="0" y="1"/>
                        <a:pt x="1" y="0"/>
                      </a:cubicBezTo>
                      <a:cubicBezTo>
                        <a:pt x="1" y="0"/>
                        <a:pt x="2" y="1"/>
                        <a:pt x="2" y="1"/>
                      </a:cubicBezTo>
                      <a:cubicBezTo>
                        <a:pt x="26" y="81"/>
                        <a:pt x="26" y="81"/>
                        <a:pt x="26" y="81"/>
                      </a:cubicBezTo>
                      <a:cubicBezTo>
                        <a:pt x="26" y="81"/>
                        <a:pt x="26" y="82"/>
                        <a:pt x="25" y="82"/>
                      </a:cubicBezTo>
                      <a:cubicBezTo>
                        <a:pt x="25" y="82"/>
                        <a:pt x="25" y="82"/>
                        <a:pt x="25" y="8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6" name="Freeform 151">
                  <a:extLst>
                    <a:ext uri="{FF2B5EF4-FFF2-40B4-BE49-F238E27FC236}">
                      <a16:creationId xmlns:a16="http://schemas.microsoft.com/office/drawing/2014/main" id="{C39A15B1-8916-934A-A52E-791F3D024558}"/>
                    </a:ext>
                  </a:extLst>
                </p:cNvPr>
                <p:cNvSpPr>
                  <a:spLocks/>
                </p:cNvSpPr>
                <p:nvPr/>
              </p:nvSpPr>
              <p:spPr bwMode="auto">
                <a:xfrm>
                  <a:off x="6153683" y="574763"/>
                  <a:ext cx="279514" cy="186601"/>
                </a:xfrm>
                <a:custGeom>
                  <a:avLst/>
                  <a:gdLst>
                    <a:gd name="T0" fmla="*/ 58 w 60"/>
                    <a:gd name="T1" fmla="*/ 40 h 40"/>
                    <a:gd name="T2" fmla="*/ 57 w 60"/>
                    <a:gd name="T3" fmla="*/ 40 h 40"/>
                    <a:gd name="T4" fmla="*/ 1 w 60"/>
                    <a:gd name="T5" fmla="*/ 2 h 40"/>
                    <a:gd name="T6" fmla="*/ 1 w 60"/>
                    <a:gd name="T7" fmla="*/ 1 h 40"/>
                    <a:gd name="T8" fmla="*/ 3 w 60"/>
                    <a:gd name="T9" fmla="*/ 0 h 40"/>
                    <a:gd name="T10" fmla="*/ 59 w 60"/>
                    <a:gd name="T11" fmla="*/ 38 h 40"/>
                    <a:gd name="T12" fmla="*/ 59 w 60"/>
                    <a:gd name="T13" fmla="*/ 39 h 40"/>
                    <a:gd name="T14" fmla="*/ 58 w 60"/>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40">
                      <a:moveTo>
                        <a:pt x="58" y="40"/>
                      </a:moveTo>
                      <a:cubicBezTo>
                        <a:pt x="58" y="40"/>
                        <a:pt x="57" y="40"/>
                        <a:pt x="57" y="40"/>
                      </a:cubicBezTo>
                      <a:cubicBezTo>
                        <a:pt x="1" y="2"/>
                        <a:pt x="1" y="2"/>
                        <a:pt x="1" y="2"/>
                      </a:cubicBezTo>
                      <a:cubicBezTo>
                        <a:pt x="1" y="2"/>
                        <a:pt x="0" y="1"/>
                        <a:pt x="1" y="1"/>
                      </a:cubicBezTo>
                      <a:cubicBezTo>
                        <a:pt x="1" y="0"/>
                        <a:pt x="2" y="0"/>
                        <a:pt x="3" y="0"/>
                      </a:cubicBezTo>
                      <a:cubicBezTo>
                        <a:pt x="59" y="38"/>
                        <a:pt x="59" y="38"/>
                        <a:pt x="59" y="38"/>
                      </a:cubicBezTo>
                      <a:cubicBezTo>
                        <a:pt x="59" y="38"/>
                        <a:pt x="60" y="39"/>
                        <a:pt x="59" y="39"/>
                      </a:cubicBezTo>
                      <a:cubicBezTo>
                        <a:pt x="59" y="40"/>
                        <a:pt x="58" y="40"/>
                        <a:pt x="58" y="4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sp>
            <p:nvSpPr>
              <p:cNvPr id="264" name="Freeform 120">
                <a:extLst>
                  <a:ext uri="{FF2B5EF4-FFF2-40B4-BE49-F238E27FC236}">
                    <a16:creationId xmlns:a16="http://schemas.microsoft.com/office/drawing/2014/main" id="{6EC52E11-1885-E441-A7CF-5C5743FB0468}"/>
                  </a:ext>
                </a:extLst>
              </p:cNvPr>
              <p:cNvSpPr>
                <a:spLocks/>
              </p:cNvSpPr>
              <p:nvPr/>
            </p:nvSpPr>
            <p:spPr bwMode="auto">
              <a:xfrm>
                <a:off x="5791323" y="4611065"/>
                <a:ext cx="222991" cy="185826"/>
              </a:xfrm>
              <a:custGeom>
                <a:avLst/>
                <a:gdLst>
                  <a:gd name="T0" fmla="*/ 12 w 288"/>
                  <a:gd name="T1" fmla="*/ 240 h 240"/>
                  <a:gd name="T2" fmla="*/ 0 w 288"/>
                  <a:gd name="T3" fmla="*/ 228 h 240"/>
                  <a:gd name="T4" fmla="*/ 276 w 288"/>
                  <a:gd name="T5" fmla="*/ 0 h 240"/>
                  <a:gd name="T6" fmla="*/ 288 w 288"/>
                  <a:gd name="T7" fmla="*/ 12 h 240"/>
                  <a:gd name="T8" fmla="*/ 12 w 288"/>
                  <a:gd name="T9" fmla="*/ 240 h 240"/>
                </a:gdLst>
                <a:ahLst/>
                <a:cxnLst>
                  <a:cxn ang="0">
                    <a:pos x="T0" y="T1"/>
                  </a:cxn>
                  <a:cxn ang="0">
                    <a:pos x="T2" y="T3"/>
                  </a:cxn>
                  <a:cxn ang="0">
                    <a:pos x="T4" y="T5"/>
                  </a:cxn>
                  <a:cxn ang="0">
                    <a:pos x="T6" y="T7"/>
                  </a:cxn>
                  <a:cxn ang="0">
                    <a:pos x="T8" y="T9"/>
                  </a:cxn>
                </a:cxnLst>
                <a:rect l="0" t="0" r="r" b="b"/>
                <a:pathLst>
                  <a:path w="288" h="240">
                    <a:moveTo>
                      <a:pt x="12" y="240"/>
                    </a:moveTo>
                    <a:lnTo>
                      <a:pt x="0" y="228"/>
                    </a:lnTo>
                    <a:lnTo>
                      <a:pt x="276" y="0"/>
                    </a:lnTo>
                    <a:lnTo>
                      <a:pt x="288" y="12"/>
                    </a:lnTo>
                    <a:lnTo>
                      <a:pt x="12" y="24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65" name="Freeform 119">
                <a:extLst>
                  <a:ext uri="{FF2B5EF4-FFF2-40B4-BE49-F238E27FC236}">
                    <a16:creationId xmlns:a16="http://schemas.microsoft.com/office/drawing/2014/main" id="{CA6B8B4F-3AA8-354D-A0C7-84451DF53D76}"/>
                  </a:ext>
                </a:extLst>
              </p:cNvPr>
              <p:cNvSpPr>
                <a:spLocks/>
              </p:cNvSpPr>
              <p:nvPr/>
            </p:nvSpPr>
            <p:spPr bwMode="auto">
              <a:xfrm>
                <a:off x="4465762" y="4179019"/>
                <a:ext cx="37166" cy="269448"/>
              </a:xfrm>
              <a:custGeom>
                <a:avLst/>
                <a:gdLst>
                  <a:gd name="T0" fmla="*/ 30 w 48"/>
                  <a:gd name="T1" fmla="*/ 348 h 348"/>
                  <a:gd name="T2" fmla="*/ 0 w 48"/>
                  <a:gd name="T3" fmla="*/ 6 h 348"/>
                  <a:gd name="T4" fmla="*/ 12 w 48"/>
                  <a:gd name="T5" fmla="*/ 0 h 348"/>
                  <a:gd name="T6" fmla="*/ 48 w 48"/>
                  <a:gd name="T7" fmla="*/ 348 h 348"/>
                  <a:gd name="T8" fmla="*/ 30 w 48"/>
                  <a:gd name="T9" fmla="*/ 348 h 348"/>
                </a:gdLst>
                <a:ahLst/>
                <a:cxnLst>
                  <a:cxn ang="0">
                    <a:pos x="T0" y="T1"/>
                  </a:cxn>
                  <a:cxn ang="0">
                    <a:pos x="T2" y="T3"/>
                  </a:cxn>
                  <a:cxn ang="0">
                    <a:pos x="T4" y="T5"/>
                  </a:cxn>
                  <a:cxn ang="0">
                    <a:pos x="T6" y="T7"/>
                  </a:cxn>
                  <a:cxn ang="0">
                    <a:pos x="T8" y="T9"/>
                  </a:cxn>
                </a:cxnLst>
                <a:rect l="0" t="0" r="r" b="b"/>
                <a:pathLst>
                  <a:path w="48" h="348">
                    <a:moveTo>
                      <a:pt x="30" y="348"/>
                    </a:moveTo>
                    <a:lnTo>
                      <a:pt x="0" y="6"/>
                    </a:lnTo>
                    <a:lnTo>
                      <a:pt x="12" y="0"/>
                    </a:lnTo>
                    <a:lnTo>
                      <a:pt x="48" y="348"/>
                    </a:lnTo>
                    <a:lnTo>
                      <a:pt x="30" y="3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grpSp>
      <p:grpSp>
        <p:nvGrpSpPr>
          <p:cNvPr id="367" name="Group 366">
            <a:extLst>
              <a:ext uri="{FF2B5EF4-FFF2-40B4-BE49-F238E27FC236}">
                <a16:creationId xmlns:a16="http://schemas.microsoft.com/office/drawing/2014/main" id="{86A120CA-7BF8-144E-9926-E7A352FA8625}"/>
              </a:ext>
            </a:extLst>
          </p:cNvPr>
          <p:cNvGrpSpPr/>
          <p:nvPr/>
        </p:nvGrpSpPr>
        <p:grpSpPr>
          <a:xfrm>
            <a:off x="6536157" y="1071026"/>
            <a:ext cx="4669215" cy="4608492"/>
            <a:chOff x="2638140" y="347126"/>
            <a:chExt cx="4669215" cy="4608492"/>
          </a:xfrm>
        </p:grpSpPr>
        <p:sp>
          <p:nvSpPr>
            <p:cNvPr id="368" name="Freeform 13">
              <a:extLst>
                <a:ext uri="{FF2B5EF4-FFF2-40B4-BE49-F238E27FC236}">
                  <a16:creationId xmlns:a16="http://schemas.microsoft.com/office/drawing/2014/main" id="{E4237073-F3FC-8B44-AC8E-276078A49431}"/>
                </a:ext>
              </a:extLst>
            </p:cNvPr>
            <p:cNvSpPr>
              <a:spLocks noEditPoints="1"/>
            </p:cNvSpPr>
            <p:nvPr/>
          </p:nvSpPr>
          <p:spPr bwMode="auto">
            <a:xfrm>
              <a:off x="5107637" y="2370310"/>
              <a:ext cx="363135" cy="367007"/>
            </a:xfrm>
            <a:custGeom>
              <a:avLst/>
              <a:gdLst>
                <a:gd name="T0" fmla="*/ 39 w 78"/>
                <a:gd name="T1" fmla="*/ 79 h 79"/>
                <a:gd name="T2" fmla="*/ 0 w 78"/>
                <a:gd name="T3" fmla="*/ 39 h 79"/>
                <a:gd name="T4" fmla="*/ 39 w 78"/>
                <a:gd name="T5" fmla="*/ 0 h 79"/>
                <a:gd name="T6" fmla="*/ 78 w 78"/>
                <a:gd name="T7" fmla="*/ 39 h 79"/>
                <a:gd name="T8" fmla="*/ 39 w 78"/>
                <a:gd name="T9" fmla="*/ 79 h 79"/>
                <a:gd name="T10" fmla="*/ 39 w 78"/>
                <a:gd name="T11" fmla="*/ 5 h 79"/>
                <a:gd name="T12" fmla="*/ 4 w 78"/>
                <a:gd name="T13" fmla="*/ 39 h 79"/>
                <a:gd name="T14" fmla="*/ 39 w 78"/>
                <a:gd name="T15" fmla="*/ 74 h 79"/>
                <a:gd name="T16" fmla="*/ 74 w 78"/>
                <a:gd name="T17" fmla="*/ 39 h 79"/>
                <a:gd name="T18" fmla="*/ 39 w 78"/>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9">
                  <a:moveTo>
                    <a:pt x="39" y="79"/>
                  </a:moveTo>
                  <a:cubicBezTo>
                    <a:pt x="17" y="79"/>
                    <a:pt x="0" y="61"/>
                    <a:pt x="0" y="39"/>
                  </a:cubicBezTo>
                  <a:cubicBezTo>
                    <a:pt x="0" y="18"/>
                    <a:pt x="17" y="0"/>
                    <a:pt x="39" y="0"/>
                  </a:cubicBezTo>
                  <a:cubicBezTo>
                    <a:pt x="61" y="0"/>
                    <a:pt x="78" y="18"/>
                    <a:pt x="78" y="39"/>
                  </a:cubicBezTo>
                  <a:cubicBezTo>
                    <a:pt x="78" y="61"/>
                    <a:pt x="61" y="79"/>
                    <a:pt x="39" y="79"/>
                  </a:cubicBezTo>
                  <a:close/>
                  <a:moveTo>
                    <a:pt x="39" y="5"/>
                  </a:moveTo>
                  <a:cubicBezTo>
                    <a:pt x="20" y="5"/>
                    <a:pt x="4" y="20"/>
                    <a:pt x="4" y="39"/>
                  </a:cubicBezTo>
                  <a:cubicBezTo>
                    <a:pt x="4" y="58"/>
                    <a:pt x="20" y="74"/>
                    <a:pt x="39" y="74"/>
                  </a:cubicBezTo>
                  <a:cubicBezTo>
                    <a:pt x="58" y="74"/>
                    <a:pt x="74" y="58"/>
                    <a:pt x="74" y="39"/>
                  </a:cubicBezTo>
                  <a:cubicBezTo>
                    <a:pt x="74" y="20"/>
                    <a:pt x="58" y="5"/>
                    <a:pt x="39"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9" name="Freeform 14">
              <a:extLst>
                <a:ext uri="{FF2B5EF4-FFF2-40B4-BE49-F238E27FC236}">
                  <a16:creationId xmlns:a16="http://schemas.microsoft.com/office/drawing/2014/main" id="{09F0499D-28F6-E646-B19F-0222AFCA76FF}"/>
                </a:ext>
              </a:extLst>
            </p:cNvPr>
            <p:cNvSpPr>
              <a:spLocks noEditPoints="1"/>
            </p:cNvSpPr>
            <p:nvPr/>
          </p:nvSpPr>
          <p:spPr bwMode="auto">
            <a:xfrm>
              <a:off x="6391386" y="677742"/>
              <a:ext cx="362361" cy="367007"/>
            </a:xfrm>
            <a:custGeom>
              <a:avLst/>
              <a:gdLst>
                <a:gd name="T0" fmla="*/ 39 w 78"/>
                <a:gd name="T1" fmla="*/ 79 h 79"/>
                <a:gd name="T2" fmla="*/ 0 w 78"/>
                <a:gd name="T3" fmla="*/ 39 h 79"/>
                <a:gd name="T4" fmla="*/ 39 w 78"/>
                <a:gd name="T5" fmla="*/ 0 h 79"/>
                <a:gd name="T6" fmla="*/ 78 w 78"/>
                <a:gd name="T7" fmla="*/ 39 h 79"/>
                <a:gd name="T8" fmla="*/ 39 w 78"/>
                <a:gd name="T9" fmla="*/ 79 h 79"/>
                <a:gd name="T10" fmla="*/ 39 w 78"/>
                <a:gd name="T11" fmla="*/ 5 h 79"/>
                <a:gd name="T12" fmla="*/ 4 w 78"/>
                <a:gd name="T13" fmla="*/ 39 h 79"/>
                <a:gd name="T14" fmla="*/ 39 w 78"/>
                <a:gd name="T15" fmla="*/ 74 h 79"/>
                <a:gd name="T16" fmla="*/ 74 w 78"/>
                <a:gd name="T17" fmla="*/ 39 h 79"/>
                <a:gd name="T18" fmla="*/ 39 w 78"/>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9">
                  <a:moveTo>
                    <a:pt x="39" y="79"/>
                  </a:moveTo>
                  <a:cubicBezTo>
                    <a:pt x="17" y="79"/>
                    <a:pt x="0" y="61"/>
                    <a:pt x="0" y="39"/>
                  </a:cubicBezTo>
                  <a:cubicBezTo>
                    <a:pt x="0" y="18"/>
                    <a:pt x="17" y="0"/>
                    <a:pt x="39" y="0"/>
                  </a:cubicBezTo>
                  <a:cubicBezTo>
                    <a:pt x="61" y="0"/>
                    <a:pt x="78" y="18"/>
                    <a:pt x="78" y="39"/>
                  </a:cubicBezTo>
                  <a:cubicBezTo>
                    <a:pt x="78" y="61"/>
                    <a:pt x="61" y="79"/>
                    <a:pt x="39" y="79"/>
                  </a:cubicBezTo>
                  <a:close/>
                  <a:moveTo>
                    <a:pt x="39" y="5"/>
                  </a:moveTo>
                  <a:cubicBezTo>
                    <a:pt x="20" y="5"/>
                    <a:pt x="4" y="20"/>
                    <a:pt x="4" y="39"/>
                  </a:cubicBezTo>
                  <a:cubicBezTo>
                    <a:pt x="4" y="58"/>
                    <a:pt x="20" y="74"/>
                    <a:pt x="39" y="74"/>
                  </a:cubicBezTo>
                  <a:cubicBezTo>
                    <a:pt x="58" y="74"/>
                    <a:pt x="74" y="58"/>
                    <a:pt x="74" y="39"/>
                  </a:cubicBezTo>
                  <a:cubicBezTo>
                    <a:pt x="74" y="20"/>
                    <a:pt x="58" y="5"/>
                    <a:pt x="39"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0" name="Freeform 16">
              <a:extLst>
                <a:ext uri="{FF2B5EF4-FFF2-40B4-BE49-F238E27FC236}">
                  <a16:creationId xmlns:a16="http://schemas.microsoft.com/office/drawing/2014/main" id="{24D85A00-9915-DE49-9E6C-761051BF5309}"/>
                </a:ext>
              </a:extLst>
            </p:cNvPr>
            <p:cNvSpPr>
              <a:spLocks noEditPoints="1"/>
            </p:cNvSpPr>
            <p:nvPr/>
          </p:nvSpPr>
          <p:spPr bwMode="auto">
            <a:xfrm>
              <a:off x="3442944" y="3374546"/>
              <a:ext cx="367781" cy="367007"/>
            </a:xfrm>
            <a:custGeom>
              <a:avLst/>
              <a:gdLst>
                <a:gd name="T0" fmla="*/ 40 w 79"/>
                <a:gd name="T1" fmla="*/ 79 h 79"/>
                <a:gd name="T2" fmla="*/ 0 w 79"/>
                <a:gd name="T3" fmla="*/ 39 h 79"/>
                <a:gd name="T4" fmla="*/ 40 w 79"/>
                <a:gd name="T5" fmla="*/ 0 h 79"/>
                <a:gd name="T6" fmla="*/ 79 w 79"/>
                <a:gd name="T7" fmla="*/ 39 h 79"/>
                <a:gd name="T8" fmla="*/ 40 w 79"/>
                <a:gd name="T9" fmla="*/ 79 h 79"/>
                <a:gd name="T10" fmla="*/ 40 w 79"/>
                <a:gd name="T11" fmla="*/ 5 h 79"/>
                <a:gd name="T12" fmla="*/ 5 w 79"/>
                <a:gd name="T13" fmla="*/ 39 h 79"/>
                <a:gd name="T14" fmla="*/ 40 w 79"/>
                <a:gd name="T15" fmla="*/ 74 h 79"/>
                <a:gd name="T16" fmla="*/ 74 w 79"/>
                <a:gd name="T17" fmla="*/ 39 h 79"/>
                <a:gd name="T18" fmla="*/ 40 w 79"/>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9">
                  <a:moveTo>
                    <a:pt x="40" y="79"/>
                  </a:moveTo>
                  <a:cubicBezTo>
                    <a:pt x="18" y="79"/>
                    <a:pt x="0" y="61"/>
                    <a:pt x="0" y="39"/>
                  </a:cubicBezTo>
                  <a:cubicBezTo>
                    <a:pt x="0" y="18"/>
                    <a:pt x="18" y="0"/>
                    <a:pt x="40" y="0"/>
                  </a:cubicBezTo>
                  <a:cubicBezTo>
                    <a:pt x="61" y="0"/>
                    <a:pt x="79" y="18"/>
                    <a:pt x="79" y="39"/>
                  </a:cubicBezTo>
                  <a:cubicBezTo>
                    <a:pt x="79" y="61"/>
                    <a:pt x="61" y="79"/>
                    <a:pt x="40" y="79"/>
                  </a:cubicBezTo>
                  <a:close/>
                  <a:moveTo>
                    <a:pt x="40" y="5"/>
                  </a:moveTo>
                  <a:cubicBezTo>
                    <a:pt x="21" y="5"/>
                    <a:pt x="5" y="20"/>
                    <a:pt x="5" y="39"/>
                  </a:cubicBezTo>
                  <a:cubicBezTo>
                    <a:pt x="5" y="58"/>
                    <a:pt x="21" y="74"/>
                    <a:pt x="40" y="74"/>
                  </a:cubicBezTo>
                  <a:cubicBezTo>
                    <a:pt x="59" y="74"/>
                    <a:pt x="74" y="58"/>
                    <a:pt x="74" y="39"/>
                  </a:cubicBezTo>
                  <a:cubicBezTo>
                    <a:pt x="74" y="20"/>
                    <a:pt x="59" y="5"/>
                    <a:pt x="40"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1" name="Freeform 17">
              <a:extLst>
                <a:ext uri="{FF2B5EF4-FFF2-40B4-BE49-F238E27FC236}">
                  <a16:creationId xmlns:a16="http://schemas.microsoft.com/office/drawing/2014/main" id="{6D4E5FF8-CFEF-3348-8019-EB2072DA701A}"/>
                </a:ext>
              </a:extLst>
            </p:cNvPr>
            <p:cNvSpPr>
              <a:spLocks noEditPoints="1"/>
            </p:cNvSpPr>
            <p:nvPr/>
          </p:nvSpPr>
          <p:spPr bwMode="auto">
            <a:xfrm>
              <a:off x="5912110" y="4281223"/>
              <a:ext cx="367781" cy="362361"/>
            </a:xfrm>
            <a:custGeom>
              <a:avLst/>
              <a:gdLst>
                <a:gd name="T0" fmla="*/ 39 w 79"/>
                <a:gd name="T1" fmla="*/ 78 h 78"/>
                <a:gd name="T2" fmla="*/ 0 w 79"/>
                <a:gd name="T3" fmla="*/ 39 h 78"/>
                <a:gd name="T4" fmla="*/ 39 w 79"/>
                <a:gd name="T5" fmla="*/ 0 h 78"/>
                <a:gd name="T6" fmla="*/ 79 w 79"/>
                <a:gd name="T7" fmla="*/ 39 h 78"/>
                <a:gd name="T8" fmla="*/ 39 w 79"/>
                <a:gd name="T9" fmla="*/ 78 h 78"/>
                <a:gd name="T10" fmla="*/ 39 w 79"/>
                <a:gd name="T11" fmla="*/ 4 h 78"/>
                <a:gd name="T12" fmla="*/ 5 w 79"/>
                <a:gd name="T13" fmla="*/ 39 h 78"/>
                <a:gd name="T14" fmla="*/ 39 w 79"/>
                <a:gd name="T15" fmla="*/ 74 h 78"/>
                <a:gd name="T16" fmla="*/ 74 w 79"/>
                <a:gd name="T17" fmla="*/ 39 h 78"/>
                <a:gd name="T18" fmla="*/ 39 w 79"/>
                <a:gd name="T19"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8">
                  <a:moveTo>
                    <a:pt x="39" y="78"/>
                  </a:moveTo>
                  <a:cubicBezTo>
                    <a:pt x="18" y="78"/>
                    <a:pt x="0" y="61"/>
                    <a:pt x="0" y="39"/>
                  </a:cubicBezTo>
                  <a:cubicBezTo>
                    <a:pt x="0" y="17"/>
                    <a:pt x="18" y="0"/>
                    <a:pt x="39" y="0"/>
                  </a:cubicBezTo>
                  <a:cubicBezTo>
                    <a:pt x="61" y="0"/>
                    <a:pt x="79" y="17"/>
                    <a:pt x="79" y="39"/>
                  </a:cubicBezTo>
                  <a:cubicBezTo>
                    <a:pt x="79" y="61"/>
                    <a:pt x="61" y="78"/>
                    <a:pt x="39" y="78"/>
                  </a:cubicBezTo>
                  <a:close/>
                  <a:moveTo>
                    <a:pt x="39" y="4"/>
                  </a:moveTo>
                  <a:cubicBezTo>
                    <a:pt x="20" y="4"/>
                    <a:pt x="5" y="20"/>
                    <a:pt x="5" y="39"/>
                  </a:cubicBezTo>
                  <a:cubicBezTo>
                    <a:pt x="5" y="58"/>
                    <a:pt x="20" y="74"/>
                    <a:pt x="39" y="74"/>
                  </a:cubicBezTo>
                  <a:cubicBezTo>
                    <a:pt x="58" y="74"/>
                    <a:pt x="74" y="58"/>
                    <a:pt x="74" y="39"/>
                  </a:cubicBezTo>
                  <a:cubicBezTo>
                    <a:pt x="74" y="20"/>
                    <a:pt x="58" y="4"/>
                    <a:pt x="39" y="4"/>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BDD203"/>
                </a:solidFill>
              </a:endParaRPr>
            </a:p>
          </p:txBody>
        </p:sp>
        <p:sp>
          <p:nvSpPr>
            <p:cNvPr id="372" name="Freeform 18">
              <a:extLst>
                <a:ext uri="{FF2B5EF4-FFF2-40B4-BE49-F238E27FC236}">
                  <a16:creationId xmlns:a16="http://schemas.microsoft.com/office/drawing/2014/main" id="{DFCA62FB-58C8-3947-BF4D-BB4FC527EB46}"/>
                </a:ext>
              </a:extLst>
            </p:cNvPr>
            <p:cNvSpPr>
              <a:spLocks noEditPoints="1"/>
            </p:cNvSpPr>
            <p:nvPr/>
          </p:nvSpPr>
          <p:spPr bwMode="auto">
            <a:xfrm>
              <a:off x="6521465" y="4727206"/>
              <a:ext cx="227637" cy="228412"/>
            </a:xfrm>
            <a:custGeom>
              <a:avLst/>
              <a:gdLst>
                <a:gd name="T0" fmla="*/ 24 w 49"/>
                <a:gd name="T1" fmla="*/ 49 h 49"/>
                <a:gd name="T2" fmla="*/ 0 w 49"/>
                <a:gd name="T3" fmla="*/ 24 h 49"/>
                <a:gd name="T4" fmla="*/ 24 w 49"/>
                <a:gd name="T5" fmla="*/ 0 h 49"/>
                <a:gd name="T6" fmla="*/ 49 w 49"/>
                <a:gd name="T7" fmla="*/ 24 h 49"/>
                <a:gd name="T8" fmla="*/ 24 w 49"/>
                <a:gd name="T9" fmla="*/ 49 h 49"/>
                <a:gd name="T10" fmla="*/ 24 w 49"/>
                <a:gd name="T11" fmla="*/ 3 h 49"/>
                <a:gd name="T12" fmla="*/ 3 w 49"/>
                <a:gd name="T13" fmla="*/ 24 h 49"/>
                <a:gd name="T14" fmla="*/ 24 w 49"/>
                <a:gd name="T15" fmla="*/ 46 h 49"/>
                <a:gd name="T16" fmla="*/ 46 w 49"/>
                <a:gd name="T17" fmla="*/ 24 h 49"/>
                <a:gd name="T18" fmla="*/ 24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4" y="49"/>
                  </a:moveTo>
                  <a:cubicBezTo>
                    <a:pt x="11" y="49"/>
                    <a:pt x="0" y="38"/>
                    <a:pt x="0" y="24"/>
                  </a:cubicBezTo>
                  <a:cubicBezTo>
                    <a:pt x="0" y="11"/>
                    <a:pt x="11" y="0"/>
                    <a:pt x="24" y="0"/>
                  </a:cubicBezTo>
                  <a:cubicBezTo>
                    <a:pt x="38" y="0"/>
                    <a:pt x="49" y="11"/>
                    <a:pt x="49" y="24"/>
                  </a:cubicBezTo>
                  <a:cubicBezTo>
                    <a:pt x="49" y="38"/>
                    <a:pt x="38" y="49"/>
                    <a:pt x="24" y="49"/>
                  </a:cubicBezTo>
                  <a:close/>
                  <a:moveTo>
                    <a:pt x="24" y="3"/>
                  </a:moveTo>
                  <a:cubicBezTo>
                    <a:pt x="12" y="3"/>
                    <a:pt x="3" y="12"/>
                    <a:pt x="3" y="24"/>
                  </a:cubicBezTo>
                  <a:cubicBezTo>
                    <a:pt x="3" y="36"/>
                    <a:pt x="12" y="46"/>
                    <a:pt x="24" y="46"/>
                  </a:cubicBezTo>
                  <a:cubicBezTo>
                    <a:pt x="36" y="46"/>
                    <a:pt x="46" y="36"/>
                    <a:pt x="46" y="24"/>
                  </a:cubicBezTo>
                  <a:cubicBezTo>
                    <a:pt x="46" y="12"/>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3" name="Freeform 19">
              <a:extLst>
                <a:ext uri="{FF2B5EF4-FFF2-40B4-BE49-F238E27FC236}">
                  <a16:creationId xmlns:a16="http://schemas.microsoft.com/office/drawing/2014/main" id="{A11CC319-F58A-C74A-A0B1-A1564DBC9F8B}"/>
                </a:ext>
              </a:extLst>
            </p:cNvPr>
            <p:cNvSpPr>
              <a:spLocks noEditPoints="1"/>
            </p:cNvSpPr>
            <p:nvPr/>
          </p:nvSpPr>
          <p:spPr bwMode="auto">
            <a:xfrm>
              <a:off x="6725874" y="4253349"/>
              <a:ext cx="227637"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4" name="Freeform 20">
              <a:extLst>
                <a:ext uri="{FF2B5EF4-FFF2-40B4-BE49-F238E27FC236}">
                  <a16:creationId xmlns:a16="http://schemas.microsoft.com/office/drawing/2014/main" id="{194D31EF-F1C1-C04E-B057-1F6FB9151BA2}"/>
                </a:ext>
              </a:extLst>
            </p:cNvPr>
            <p:cNvSpPr>
              <a:spLocks noEditPoints="1"/>
            </p:cNvSpPr>
            <p:nvPr/>
          </p:nvSpPr>
          <p:spPr bwMode="auto">
            <a:xfrm>
              <a:off x="3117748" y="4327680"/>
              <a:ext cx="227637"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5" name="Freeform 21">
              <a:extLst>
                <a:ext uri="{FF2B5EF4-FFF2-40B4-BE49-F238E27FC236}">
                  <a16:creationId xmlns:a16="http://schemas.microsoft.com/office/drawing/2014/main" id="{6E9F6582-EA95-2142-8087-A7084F0F3350}"/>
                </a:ext>
              </a:extLst>
            </p:cNvPr>
            <p:cNvSpPr>
              <a:spLocks noEditPoints="1"/>
            </p:cNvSpPr>
            <p:nvPr/>
          </p:nvSpPr>
          <p:spPr bwMode="auto">
            <a:xfrm>
              <a:off x="2810360" y="2048985"/>
              <a:ext cx="228412"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6" name="Freeform 22">
              <a:extLst>
                <a:ext uri="{FF2B5EF4-FFF2-40B4-BE49-F238E27FC236}">
                  <a16:creationId xmlns:a16="http://schemas.microsoft.com/office/drawing/2014/main" id="{51231BDB-4B3C-EF42-9998-AD327FFCE707}"/>
                </a:ext>
              </a:extLst>
            </p:cNvPr>
            <p:cNvSpPr>
              <a:spLocks noEditPoints="1"/>
            </p:cNvSpPr>
            <p:nvPr/>
          </p:nvSpPr>
          <p:spPr bwMode="auto">
            <a:xfrm>
              <a:off x="2889336" y="3029993"/>
              <a:ext cx="228412" cy="228412"/>
            </a:xfrm>
            <a:custGeom>
              <a:avLst/>
              <a:gdLst>
                <a:gd name="T0" fmla="*/ 25 w 49"/>
                <a:gd name="T1" fmla="*/ 49 h 49"/>
                <a:gd name="T2" fmla="*/ 0 w 49"/>
                <a:gd name="T3" fmla="*/ 25 h 49"/>
                <a:gd name="T4" fmla="*/ 25 w 49"/>
                <a:gd name="T5" fmla="*/ 0 h 49"/>
                <a:gd name="T6" fmla="*/ 49 w 49"/>
                <a:gd name="T7" fmla="*/ 25 h 49"/>
                <a:gd name="T8" fmla="*/ 25 w 49"/>
                <a:gd name="T9" fmla="*/ 49 h 49"/>
                <a:gd name="T10" fmla="*/ 25 w 49"/>
                <a:gd name="T11" fmla="*/ 3 h 49"/>
                <a:gd name="T12" fmla="*/ 3 w 49"/>
                <a:gd name="T13" fmla="*/ 25 h 49"/>
                <a:gd name="T14" fmla="*/ 25 w 49"/>
                <a:gd name="T15" fmla="*/ 46 h 49"/>
                <a:gd name="T16" fmla="*/ 46 w 49"/>
                <a:gd name="T17" fmla="*/ 25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5"/>
                  </a:cubicBezTo>
                  <a:cubicBezTo>
                    <a:pt x="0" y="11"/>
                    <a:pt x="11" y="0"/>
                    <a:pt x="25" y="0"/>
                  </a:cubicBezTo>
                  <a:cubicBezTo>
                    <a:pt x="38" y="0"/>
                    <a:pt x="49" y="11"/>
                    <a:pt x="49" y="25"/>
                  </a:cubicBezTo>
                  <a:cubicBezTo>
                    <a:pt x="49" y="38"/>
                    <a:pt x="38" y="49"/>
                    <a:pt x="25" y="49"/>
                  </a:cubicBezTo>
                  <a:close/>
                  <a:moveTo>
                    <a:pt x="25" y="3"/>
                  </a:moveTo>
                  <a:cubicBezTo>
                    <a:pt x="13" y="3"/>
                    <a:pt x="3" y="13"/>
                    <a:pt x="3" y="25"/>
                  </a:cubicBezTo>
                  <a:cubicBezTo>
                    <a:pt x="3" y="37"/>
                    <a:pt x="13" y="46"/>
                    <a:pt x="25" y="46"/>
                  </a:cubicBezTo>
                  <a:cubicBezTo>
                    <a:pt x="37" y="46"/>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7" name="Freeform 23">
              <a:extLst>
                <a:ext uri="{FF2B5EF4-FFF2-40B4-BE49-F238E27FC236}">
                  <a16:creationId xmlns:a16="http://schemas.microsoft.com/office/drawing/2014/main" id="{2BD88A22-846C-1F47-86FF-E89272122607}"/>
                </a:ext>
              </a:extLst>
            </p:cNvPr>
            <p:cNvSpPr>
              <a:spLocks noEditPoints="1"/>
            </p:cNvSpPr>
            <p:nvPr/>
          </p:nvSpPr>
          <p:spPr bwMode="auto">
            <a:xfrm>
              <a:off x="2996961" y="645223"/>
              <a:ext cx="232282" cy="232282"/>
            </a:xfrm>
            <a:custGeom>
              <a:avLst/>
              <a:gdLst>
                <a:gd name="T0" fmla="*/ 25 w 50"/>
                <a:gd name="T1" fmla="*/ 50 h 50"/>
                <a:gd name="T2" fmla="*/ 0 w 50"/>
                <a:gd name="T3" fmla="*/ 25 h 50"/>
                <a:gd name="T4" fmla="*/ 25 w 50"/>
                <a:gd name="T5" fmla="*/ 0 h 50"/>
                <a:gd name="T6" fmla="*/ 50 w 50"/>
                <a:gd name="T7" fmla="*/ 25 h 50"/>
                <a:gd name="T8" fmla="*/ 25 w 50"/>
                <a:gd name="T9" fmla="*/ 50 h 50"/>
                <a:gd name="T10" fmla="*/ 25 w 50"/>
                <a:gd name="T11" fmla="*/ 3 h 50"/>
                <a:gd name="T12" fmla="*/ 3 w 50"/>
                <a:gd name="T13" fmla="*/ 25 h 50"/>
                <a:gd name="T14" fmla="*/ 25 w 50"/>
                <a:gd name="T15" fmla="*/ 47 h 50"/>
                <a:gd name="T16" fmla="*/ 47 w 50"/>
                <a:gd name="T17" fmla="*/ 25 h 50"/>
                <a:gd name="T18" fmla="*/ 25 w 50"/>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50"/>
                  </a:moveTo>
                  <a:cubicBezTo>
                    <a:pt x="11" y="50"/>
                    <a:pt x="0" y="39"/>
                    <a:pt x="0" y="25"/>
                  </a:cubicBezTo>
                  <a:cubicBezTo>
                    <a:pt x="0" y="11"/>
                    <a:pt x="11" y="0"/>
                    <a:pt x="25" y="0"/>
                  </a:cubicBezTo>
                  <a:cubicBezTo>
                    <a:pt x="39" y="0"/>
                    <a:pt x="50" y="11"/>
                    <a:pt x="50" y="25"/>
                  </a:cubicBezTo>
                  <a:cubicBezTo>
                    <a:pt x="50" y="39"/>
                    <a:pt x="39" y="50"/>
                    <a:pt x="25" y="50"/>
                  </a:cubicBezTo>
                  <a:close/>
                  <a:moveTo>
                    <a:pt x="25" y="3"/>
                  </a:moveTo>
                  <a:cubicBezTo>
                    <a:pt x="13" y="3"/>
                    <a:pt x="3" y="13"/>
                    <a:pt x="3" y="25"/>
                  </a:cubicBezTo>
                  <a:cubicBezTo>
                    <a:pt x="3" y="37"/>
                    <a:pt x="13" y="47"/>
                    <a:pt x="25" y="47"/>
                  </a:cubicBezTo>
                  <a:cubicBezTo>
                    <a:pt x="37" y="47"/>
                    <a:pt x="47" y="37"/>
                    <a:pt x="47" y="25"/>
                  </a:cubicBezTo>
                  <a:cubicBezTo>
                    <a:pt x="47"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8" name="Freeform 24">
              <a:extLst>
                <a:ext uri="{FF2B5EF4-FFF2-40B4-BE49-F238E27FC236}">
                  <a16:creationId xmlns:a16="http://schemas.microsoft.com/office/drawing/2014/main" id="{483BAF7F-2307-CA41-A825-7AFAD8F7A629}"/>
                </a:ext>
              </a:extLst>
            </p:cNvPr>
            <p:cNvSpPr>
              <a:spLocks noEditPoints="1"/>
            </p:cNvSpPr>
            <p:nvPr/>
          </p:nvSpPr>
          <p:spPr bwMode="auto">
            <a:xfrm>
              <a:off x="4759213" y="1221284"/>
              <a:ext cx="227637" cy="232282"/>
            </a:xfrm>
            <a:custGeom>
              <a:avLst/>
              <a:gdLst>
                <a:gd name="T0" fmla="*/ 25 w 49"/>
                <a:gd name="T1" fmla="*/ 50 h 50"/>
                <a:gd name="T2" fmla="*/ 0 w 49"/>
                <a:gd name="T3" fmla="*/ 25 h 50"/>
                <a:gd name="T4" fmla="*/ 25 w 49"/>
                <a:gd name="T5" fmla="*/ 0 h 50"/>
                <a:gd name="T6" fmla="*/ 49 w 49"/>
                <a:gd name="T7" fmla="*/ 25 h 50"/>
                <a:gd name="T8" fmla="*/ 25 w 49"/>
                <a:gd name="T9" fmla="*/ 50 h 50"/>
                <a:gd name="T10" fmla="*/ 25 w 49"/>
                <a:gd name="T11" fmla="*/ 3 h 50"/>
                <a:gd name="T12" fmla="*/ 3 w 49"/>
                <a:gd name="T13" fmla="*/ 25 h 50"/>
                <a:gd name="T14" fmla="*/ 25 w 49"/>
                <a:gd name="T15" fmla="*/ 47 h 50"/>
                <a:gd name="T16" fmla="*/ 46 w 49"/>
                <a:gd name="T17" fmla="*/ 25 h 50"/>
                <a:gd name="T18" fmla="*/ 25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5" y="50"/>
                  </a:moveTo>
                  <a:cubicBezTo>
                    <a:pt x="11" y="50"/>
                    <a:pt x="0" y="39"/>
                    <a:pt x="0" y="25"/>
                  </a:cubicBezTo>
                  <a:cubicBezTo>
                    <a:pt x="0" y="11"/>
                    <a:pt x="11" y="0"/>
                    <a:pt x="25" y="0"/>
                  </a:cubicBezTo>
                  <a:cubicBezTo>
                    <a:pt x="38" y="0"/>
                    <a:pt x="49" y="11"/>
                    <a:pt x="49" y="25"/>
                  </a:cubicBezTo>
                  <a:cubicBezTo>
                    <a:pt x="49" y="39"/>
                    <a:pt x="38" y="50"/>
                    <a:pt x="25" y="50"/>
                  </a:cubicBezTo>
                  <a:close/>
                  <a:moveTo>
                    <a:pt x="25" y="3"/>
                  </a:moveTo>
                  <a:cubicBezTo>
                    <a:pt x="13" y="3"/>
                    <a:pt x="3" y="13"/>
                    <a:pt x="3" y="25"/>
                  </a:cubicBezTo>
                  <a:cubicBezTo>
                    <a:pt x="3" y="37"/>
                    <a:pt x="13" y="47"/>
                    <a:pt x="25" y="47"/>
                  </a:cubicBezTo>
                  <a:cubicBezTo>
                    <a:pt x="37" y="47"/>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9" name="Freeform 25">
              <a:extLst>
                <a:ext uri="{FF2B5EF4-FFF2-40B4-BE49-F238E27FC236}">
                  <a16:creationId xmlns:a16="http://schemas.microsoft.com/office/drawing/2014/main" id="{682017AD-53EA-FE40-BB62-CD1E3BD47FA9}"/>
                </a:ext>
              </a:extLst>
            </p:cNvPr>
            <p:cNvSpPr>
              <a:spLocks noEditPoints="1"/>
            </p:cNvSpPr>
            <p:nvPr/>
          </p:nvSpPr>
          <p:spPr bwMode="auto">
            <a:xfrm>
              <a:off x="6377450" y="3053221"/>
              <a:ext cx="227637" cy="228412"/>
            </a:xfrm>
            <a:custGeom>
              <a:avLst/>
              <a:gdLst>
                <a:gd name="T0" fmla="*/ 25 w 49"/>
                <a:gd name="T1" fmla="*/ 49 h 49"/>
                <a:gd name="T2" fmla="*/ 0 w 49"/>
                <a:gd name="T3" fmla="*/ 24 h 49"/>
                <a:gd name="T4" fmla="*/ 25 w 49"/>
                <a:gd name="T5" fmla="*/ 0 h 49"/>
                <a:gd name="T6" fmla="*/ 49 w 49"/>
                <a:gd name="T7" fmla="*/ 24 h 49"/>
                <a:gd name="T8" fmla="*/ 25 w 49"/>
                <a:gd name="T9" fmla="*/ 49 h 49"/>
                <a:gd name="T10" fmla="*/ 25 w 49"/>
                <a:gd name="T11" fmla="*/ 3 h 49"/>
                <a:gd name="T12" fmla="*/ 3 w 49"/>
                <a:gd name="T13" fmla="*/ 24 h 49"/>
                <a:gd name="T14" fmla="*/ 25 w 49"/>
                <a:gd name="T15" fmla="*/ 46 h 49"/>
                <a:gd name="T16" fmla="*/ 46 w 49"/>
                <a:gd name="T17" fmla="*/ 24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4"/>
                  </a:cubicBezTo>
                  <a:cubicBezTo>
                    <a:pt x="0" y="11"/>
                    <a:pt x="11" y="0"/>
                    <a:pt x="25" y="0"/>
                  </a:cubicBezTo>
                  <a:cubicBezTo>
                    <a:pt x="38" y="0"/>
                    <a:pt x="49" y="11"/>
                    <a:pt x="49" y="24"/>
                  </a:cubicBezTo>
                  <a:cubicBezTo>
                    <a:pt x="49" y="38"/>
                    <a:pt x="38" y="49"/>
                    <a:pt x="25" y="49"/>
                  </a:cubicBezTo>
                  <a:close/>
                  <a:moveTo>
                    <a:pt x="25" y="3"/>
                  </a:moveTo>
                  <a:cubicBezTo>
                    <a:pt x="13" y="3"/>
                    <a:pt x="3" y="12"/>
                    <a:pt x="3" y="24"/>
                  </a:cubicBezTo>
                  <a:cubicBezTo>
                    <a:pt x="3" y="36"/>
                    <a:pt x="13" y="46"/>
                    <a:pt x="25" y="46"/>
                  </a:cubicBezTo>
                  <a:cubicBezTo>
                    <a:pt x="37" y="46"/>
                    <a:pt x="46" y="36"/>
                    <a:pt x="46" y="24"/>
                  </a:cubicBezTo>
                  <a:cubicBezTo>
                    <a:pt x="46" y="12"/>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0" name="Freeform 26">
              <a:extLst>
                <a:ext uri="{FF2B5EF4-FFF2-40B4-BE49-F238E27FC236}">
                  <a16:creationId xmlns:a16="http://schemas.microsoft.com/office/drawing/2014/main" id="{C7199D95-4BAD-6743-93B8-9C501F9A0CC4}"/>
                </a:ext>
              </a:extLst>
            </p:cNvPr>
            <p:cNvSpPr>
              <a:spLocks noEditPoints="1"/>
            </p:cNvSpPr>
            <p:nvPr/>
          </p:nvSpPr>
          <p:spPr bwMode="auto">
            <a:xfrm>
              <a:off x="7000262" y="1262800"/>
              <a:ext cx="228412" cy="228412"/>
            </a:xfrm>
            <a:custGeom>
              <a:avLst/>
              <a:gdLst>
                <a:gd name="T0" fmla="*/ 25 w 49"/>
                <a:gd name="T1" fmla="*/ 49 h 49"/>
                <a:gd name="T2" fmla="*/ 0 w 49"/>
                <a:gd name="T3" fmla="*/ 25 h 49"/>
                <a:gd name="T4" fmla="*/ 25 w 49"/>
                <a:gd name="T5" fmla="*/ 0 h 49"/>
                <a:gd name="T6" fmla="*/ 49 w 49"/>
                <a:gd name="T7" fmla="*/ 25 h 49"/>
                <a:gd name="T8" fmla="*/ 25 w 49"/>
                <a:gd name="T9" fmla="*/ 49 h 49"/>
                <a:gd name="T10" fmla="*/ 25 w 49"/>
                <a:gd name="T11" fmla="*/ 3 h 49"/>
                <a:gd name="T12" fmla="*/ 3 w 49"/>
                <a:gd name="T13" fmla="*/ 25 h 49"/>
                <a:gd name="T14" fmla="*/ 25 w 49"/>
                <a:gd name="T15" fmla="*/ 46 h 49"/>
                <a:gd name="T16" fmla="*/ 46 w 49"/>
                <a:gd name="T17" fmla="*/ 25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5"/>
                  </a:cubicBezTo>
                  <a:cubicBezTo>
                    <a:pt x="0" y="11"/>
                    <a:pt x="11" y="0"/>
                    <a:pt x="25" y="0"/>
                  </a:cubicBezTo>
                  <a:cubicBezTo>
                    <a:pt x="38" y="0"/>
                    <a:pt x="49" y="11"/>
                    <a:pt x="49" y="25"/>
                  </a:cubicBezTo>
                  <a:cubicBezTo>
                    <a:pt x="49" y="38"/>
                    <a:pt x="38" y="49"/>
                    <a:pt x="25" y="49"/>
                  </a:cubicBezTo>
                  <a:close/>
                  <a:moveTo>
                    <a:pt x="25" y="3"/>
                  </a:moveTo>
                  <a:cubicBezTo>
                    <a:pt x="13" y="3"/>
                    <a:pt x="3" y="13"/>
                    <a:pt x="3" y="25"/>
                  </a:cubicBezTo>
                  <a:cubicBezTo>
                    <a:pt x="3" y="37"/>
                    <a:pt x="13" y="46"/>
                    <a:pt x="25" y="46"/>
                  </a:cubicBezTo>
                  <a:cubicBezTo>
                    <a:pt x="37" y="46"/>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1" name="Freeform 27">
              <a:extLst>
                <a:ext uri="{FF2B5EF4-FFF2-40B4-BE49-F238E27FC236}">
                  <a16:creationId xmlns:a16="http://schemas.microsoft.com/office/drawing/2014/main" id="{543CACDD-4FD3-5848-AEE4-F5EDCE3D6DC9}"/>
                </a:ext>
              </a:extLst>
            </p:cNvPr>
            <p:cNvSpPr>
              <a:spLocks noEditPoints="1"/>
            </p:cNvSpPr>
            <p:nvPr/>
          </p:nvSpPr>
          <p:spPr bwMode="auto">
            <a:xfrm>
              <a:off x="5084409" y="3862340"/>
              <a:ext cx="227637" cy="228412"/>
            </a:xfrm>
            <a:custGeom>
              <a:avLst/>
              <a:gdLst>
                <a:gd name="T0" fmla="*/ 25 w 49"/>
                <a:gd name="T1" fmla="*/ 49 h 49"/>
                <a:gd name="T2" fmla="*/ 0 w 49"/>
                <a:gd name="T3" fmla="*/ 24 h 49"/>
                <a:gd name="T4" fmla="*/ 25 w 49"/>
                <a:gd name="T5" fmla="*/ 0 h 49"/>
                <a:gd name="T6" fmla="*/ 49 w 49"/>
                <a:gd name="T7" fmla="*/ 24 h 49"/>
                <a:gd name="T8" fmla="*/ 25 w 49"/>
                <a:gd name="T9" fmla="*/ 49 h 49"/>
                <a:gd name="T10" fmla="*/ 25 w 49"/>
                <a:gd name="T11" fmla="*/ 3 h 49"/>
                <a:gd name="T12" fmla="*/ 3 w 49"/>
                <a:gd name="T13" fmla="*/ 24 h 49"/>
                <a:gd name="T14" fmla="*/ 25 w 49"/>
                <a:gd name="T15" fmla="*/ 46 h 49"/>
                <a:gd name="T16" fmla="*/ 46 w 49"/>
                <a:gd name="T17" fmla="*/ 24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4"/>
                  </a:cubicBezTo>
                  <a:cubicBezTo>
                    <a:pt x="0" y="11"/>
                    <a:pt x="11" y="0"/>
                    <a:pt x="25" y="0"/>
                  </a:cubicBezTo>
                  <a:cubicBezTo>
                    <a:pt x="38" y="0"/>
                    <a:pt x="49" y="11"/>
                    <a:pt x="49" y="24"/>
                  </a:cubicBezTo>
                  <a:cubicBezTo>
                    <a:pt x="49" y="38"/>
                    <a:pt x="38" y="49"/>
                    <a:pt x="25" y="49"/>
                  </a:cubicBezTo>
                  <a:close/>
                  <a:moveTo>
                    <a:pt x="25" y="3"/>
                  </a:moveTo>
                  <a:cubicBezTo>
                    <a:pt x="13" y="3"/>
                    <a:pt x="3" y="12"/>
                    <a:pt x="3" y="24"/>
                  </a:cubicBezTo>
                  <a:cubicBezTo>
                    <a:pt x="3" y="36"/>
                    <a:pt x="13" y="46"/>
                    <a:pt x="25" y="46"/>
                  </a:cubicBezTo>
                  <a:cubicBezTo>
                    <a:pt x="37" y="46"/>
                    <a:pt x="46" y="36"/>
                    <a:pt x="46" y="24"/>
                  </a:cubicBezTo>
                  <a:cubicBezTo>
                    <a:pt x="46" y="12"/>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2" name="Freeform 28">
              <a:extLst>
                <a:ext uri="{FF2B5EF4-FFF2-40B4-BE49-F238E27FC236}">
                  <a16:creationId xmlns:a16="http://schemas.microsoft.com/office/drawing/2014/main" id="{4B3B1188-EC50-1445-920A-C029C15723B8}"/>
                </a:ext>
              </a:extLst>
            </p:cNvPr>
            <p:cNvSpPr>
              <a:spLocks noEditPoints="1"/>
            </p:cNvSpPr>
            <p:nvPr/>
          </p:nvSpPr>
          <p:spPr bwMode="auto">
            <a:xfrm>
              <a:off x="6958157" y="3314152"/>
              <a:ext cx="228412"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3" name="Freeform 29">
              <a:extLst>
                <a:ext uri="{FF2B5EF4-FFF2-40B4-BE49-F238E27FC236}">
                  <a16:creationId xmlns:a16="http://schemas.microsoft.com/office/drawing/2014/main" id="{09587B3C-8CE9-814E-A473-16ED84B0B1C7}"/>
                </a:ext>
              </a:extLst>
            </p:cNvPr>
            <p:cNvSpPr>
              <a:spLocks noEditPoints="1"/>
            </p:cNvSpPr>
            <p:nvPr/>
          </p:nvSpPr>
          <p:spPr bwMode="auto">
            <a:xfrm>
              <a:off x="6790913" y="1830639"/>
              <a:ext cx="232282" cy="227637"/>
            </a:xfrm>
            <a:custGeom>
              <a:avLst/>
              <a:gdLst>
                <a:gd name="T0" fmla="*/ 25 w 50"/>
                <a:gd name="T1" fmla="*/ 49 h 49"/>
                <a:gd name="T2" fmla="*/ 0 w 50"/>
                <a:gd name="T3" fmla="*/ 25 h 49"/>
                <a:gd name="T4" fmla="*/ 25 w 50"/>
                <a:gd name="T5" fmla="*/ 0 h 49"/>
                <a:gd name="T6" fmla="*/ 50 w 50"/>
                <a:gd name="T7" fmla="*/ 25 h 49"/>
                <a:gd name="T8" fmla="*/ 25 w 50"/>
                <a:gd name="T9" fmla="*/ 49 h 49"/>
                <a:gd name="T10" fmla="*/ 25 w 50"/>
                <a:gd name="T11" fmla="*/ 3 h 49"/>
                <a:gd name="T12" fmla="*/ 3 w 50"/>
                <a:gd name="T13" fmla="*/ 25 h 49"/>
                <a:gd name="T14" fmla="*/ 25 w 50"/>
                <a:gd name="T15" fmla="*/ 46 h 49"/>
                <a:gd name="T16" fmla="*/ 47 w 50"/>
                <a:gd name="T17" fmla="*/ 25 h 49"/>
                <a:gd name="T18" fmla="*/ 25 w 50"/>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25" y="49"/>
                  </a:moveTo>
                  <a:cubicBezTo>
                    <a:pt x="11" y="49"/>
                    <a:pt x="0" y="38"/>
                    <a:pt x="0" y="25"/>
                  </a:cubicBezTo>
                  <a:cubicBezTo>
                    <a:pt x="0" y="11"/>
                    <a:pt x="11" y="0"/>
                    <a:pt x="25" y="0"/>
                  </a:cubicBezTo>
                  <a:cubicBezTo>
                    <a:pt x="39" y="0"/>
                    <a:pt x="50" y="11"/>
                    <a:pt x="50" y="25"/>
                  </a:cubicBezTo>
                  <a:cubicBezTo>
                    <a:pt x="50" y="38"/>
                    <a:pt x="39" y="49"/>
                    <a:pt x="25" y="49"/>
                  </a:cubicBezTo>
                  <a:close/>
                  <a:moveTo>
                    <a:pt x="25" y="3"/>
                  </a:moveTo>
                  <a:cubicBezTo>
                    <a:pt x="13" y="3"/>
                    <a:pt x="3" y="13"/>
                    <a:pt x="3" y="25"/>
                  </a:cubicBezTo>
                  <a:cubicBezTo>
                    <a:pt x="3" y="37"/>
                    <a:pt x="13" y="46"/>
                    <a:pt x="25" y="46"/>
                  </a:cubicBezTo>
                  <a:cubicBezTo>
                    <a:pt x="37" y="46"/>
                    <a:pt x="47" y="37"/>
                    <a:pt x="47" y="25"/>
                  </a:cubicBezTo>
                  <a:cubicBezTo>
                    <a:pt x="47"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4" name="Freeform 30">
              <a:extLst>
                <a:ext uri="{FF2B5EF4-FFF2-40B4-BE49-F238E27FC236}">
                  <a16:creationId xmlns:a16="http://schemas.microsoft.com/office/drawing/2014/main" id="{D607D3FE-AA16-1147-8705-11843691E723}"/>
                </a:ext>
              </a:extLst>
            </p:cNvPr>
            <p:cNvSpPr>
              <a:spLocks noEditPoints="1"/>
            </p:cNvSpPr>
            <p:nvPr/>
          </p:nvSpPr>
          <p:spPr bwMode="auto">
            <a:xfrm>
              <a:off x="5939983" y="444685"/>
              <a:ext cx="232282" cy="228412"/>
            </a:xfrm>
            <a:custGeom>
              <a:avLst/>
              <a:gdLst>
                <a:gd name="T0" fmla="*/ 25 w 50"/>
                <a:gd name="T1" fmla="*/ 49 h 49"/>
                <a:gd name="T2" fmla="*/ 0 w 50"/>
                <a:gd name="T3" fmla="*/ 24 h 49"/>
                <a:gd name="T4" fmla="*/ 25 w 50"/>
                <a:gd name="T5" fmla="*/ 0 h 49"/>
                <a:gd name="T6" fmla="*/ 50 w 50"/>
                <a:gd name="T7" fmla="*/ 24 h 49"/>
                <a:gd name="T8" fmla="*/ 25 w 50"/>
                <a:gd name="T9" fmla="*/ 49 h 49"/>
                <a:gd name="T10" fmla="*/ 25 w 50"/>
                <a:gd name="T11" fmla="*/ 2 h 49"/>
                <a:gd name="T12" fmla="*/ 3 w 50"/>
                <a:gd name="T13" fmla="*/ 24 h 49"/>
                <a:gd name="T14" fmla="*/ 25 w 50"/>
                <a:gd name="T15" fmla="*/ 46 h 49"/>
                <a:gd name="T16" fmla="*/ 47 w 50"/>
                <a:gd name="T17" fmla="*/ 24 h 49"/>
                <a:gd name="T18" fmla="*/ 25 w 50"/>
                <a:gd name="T19"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25" y="49"/>
                  </a:moveTo>
                  <a:cubicBezTo>
                    <a:pt x="11" y="49"/>
                    <a:pt x="0" y="38"/>
                    <a:pt x="0" y="24"/>
                  </a:cubicBezTo>
                  <a:cubicBezTo>
                    <a:pt x="0" y="11"/>
                    <a:pt x="11" y="0"/>
                    <a:pt x="25" y="0"/>
                  </a:cubicBezTo>
                  <a:cubicBezTo>
                    <a:pt x="39" y="0"/>
                    <a:pt x="50" y="11"/>
                    <a:pt x="50" y="24"/>
                  </a:cubicBezTo>
                  <a:cubicBezTo>
                    <a:pt x="50" y="38"/>
                    <a:pt x="39" y="49"/>
                    <a:pt x="25" y="49"/>
                  </a:cubicBezTo>
                  <a:close/>
                  <a:moveTo>
                    <a:pt x="25" y="2"/>
                  </a:moveTo>
                  <a:cubicBezTo>
                    <a:pt x="13" y="2"/>
                    <a:pt x="3" y="12"/>
                    <a:pt x="3" y="24"/>
                  </a:cubicBezTo>
                  <a:cubicBezTo>
                    <a:pt x="3" y="36"/>
                    <a:pt x="13" y="46"/>
                    <a:pt x="25" y="46"/>
                  </a:cubicBezTo>
                  <a:cubicBezTo>
                    <a:pt x="37" y="46"/>
                    <a:pt x="47" y="36"/>
                    <a:pt x="47" y="24"/>
                  </a:cubicBezTo>
                  <a:cubicBezTo>
                    <a:pt x="47" y="12"/>
                    <a:pt x="37" y="2"/>
                    <a:pt x="25" y="2"/>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5" name="Freeform 35">
              <a:extLst>
                <a:ext uri="{FF2B5EF4-FFF2-40B4-BE49-F238E27FC236}">
                  <a16:creationId xmlns:a16="http://schemas.microsoft.com/office/drawing/2014/main" id="{811AD8FB-052B-A64A-B94A-15B8B2673605}"/>
                </a:ext>
              </a:extLst>
            </p:cNvPr>
            <p:cNvSpPr>
              <a:spLocks noEditPoints="1"/>
            </p:cNvSpPr>
            <p:nvPr/>
          </p:nvSpPr>
          <p:spPr bwMode="auto">
            <a:xfrm>
              <a:off x="4940393" y="1812056"/>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6" name="Freeform 36">
              <a:extLst>
                <a:ext uri="{FF2B5EF4-FFF2-40B4-BE49-F238E27FC236}">
                  <a16:creationId xmlns:a16="http://schemas.microsoft.com/office/drawing/2014/main" id="{0D157CF5-C935-084A-81F3-FD35AD30E456}"/>
                </a:ext>
              </a:extLst>
            </p:cNvPr>
            <p:cNvSpPr>
              <a:spLocks noEditPoints="1"/>
            </p:cNvSpPr>
            <p:nvPr/>
          </p:nvSpPr>
          <p:spPr bwMode="auto">
            <a:xfrm>
              <a:off x="6493591" y="3685805"/>
              <a:ext cx="144016" cy="139370"/>
            </a:xfrm>
            <a:custGeom>
              <a:avLst/>
              <a:gdLst>
                <a:gd name="T0" fmla="*/ 16 w 31"/>
                <a:gd name="T1" fmla="*/ 30 h 30"/>
                <a:gd name="T2" fmla="*/ 0 w 31"/>
                <a:gd name="T3" fmla="*/ 15 h 30"/>
                <a:gd name="T4" fmla="*/ 16 w 31"/>
                <a:gd name="T5" fmla="*/ 0 h 30"/>
                <a:gd name="T6" fmla="*/ 31 w 31"/>
                <a:gd name="T7" fmla="*/ 15 h 30"/>
                <a:gd name="T8" fmla="*/ 16 w 31"/>
                <a:gd name="T9" fmla="*/ 30 h 30"/>
                <a:gd name="T10" fmla="*/ 16 w 31"/>
                <a:gd name="T11" fmla="*/ 4 h 30"/>
                <a:gd name="T12" fmla="*/ 4 w 31"/>
                <a:gd name="T13" fmla="*/ 15 h 30"/>
                <a:gd name="T14" fmla="*/ 16 w 31"/>
                <a:gd name="T15" fmla="*/ 26 h 30"/>
                <a:gd name="T16" fmla="*/ 27 w 31"/>
                <a:gd name="T17" fmla="*/ 15 h 30"/>
                <a:gd name="T18" fmla="*/ 16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6" y="30"/>
                  </a:moveTo>
                  <a:cubicBezTo>
                    <a:pt x="7" y="30"/>
                    <a:pt x="0" y="23"/>
                    <a:pt x="0" y="15"/>
                  </a:cubicBezTo>
                  <a:cubicBezTo>
                    <a:pt x="0" y="7"/>
                    <a:pt x="7" y="0"/>
                    <a:pt x="16" y="0"/>
                  </a:cubicBezTo>
                  <a:cubicBezTo>
                    <a:pt x="24" y="0"/>
                    <a:pt x="31" y="7"/>
                    <a:pt x="31" y="15"/>
                  </a:cubicBezTo>
                  <a:cubicBezTo>
                    <a:pt x="31" y="23"/>
                    <a:pt x="24" y="30"/>
                    <a:pt x="16" y="30"/>
                  </a:cubicBezTo>
                  <a:close/>
                  <a:moveTo>
                    <a:pt x="16" y="4"/>
                  </a:moveTo>
                  <a:cubicBezTo>
                    <a:pt x="9" y="4"/>
                    <a:pt x="4" y="9"/>
                    <a:pt x="4" y="15"/>
                  </a:cubicBezTo>
                  <a:cubicBezTo>
                    <a:pt x="4" y="21"/>
                    <a:pt x="9" y="26"/>
                    <a:pt x="16" y="26"/>
                  </a:cubicBezTo>
                  <a:cubicBezTo>
                    <a:pt x="22" y="26"/>
                    <a:pt x="27" y="21"/>
                    <a:pt x="27" y="15"/>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7" name="Freeform 37">
              <a:extLst>
                <a:ext uri="{FF2B5EF4-FFF2-40B4-BE49-F238E27FC236}">
                  <a16:creationId xmlns:a16="http://schemas.microsoft.com/office/drawing/2014/main" id="{F1627CD0-EA5C-A14C-90B5-52E38182378B}"/>
                </a:ext>
              </a:extLst>
            </p:cNvPr>
            <p:cNvSpPr>
              <a:spLocks noEditPoints="1"/>
            </p:cNvSpPr>
            <p:nvPr/>
          </p:nvSpPr>
          <p:spPr bwMode="auto">
            <a:xfrm>
              <a:off x="3475463" y="2556136"/>
              <a:ext cx="144016" cy="144016"/>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4 h 31"/>
                <a:gd name="T12" fmla="*/ 4 w 31"/>
                <a:gd name="T13" fmla="*/ 15 h 31"/>
                <a:gd name="T14" fmla="*/ 15 w 31"/>
                <a:gd name="T15" fmla="*/ 27 h 31"/>
                <a:gd name="T16" fmla="*/ 27 w 31"/>
                <a:gd name="T17" fmla="*/ 15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4"/>
                  </a:moveTo>
                  <a:cubicBezTo>
                    <a:pt x="9" y="4"/>
                    <a:pt x="4" y="9"/>
                    <a:pt x="4" y="15"/>
                  </a:cubicBezTo>
                  <a:cubicBezTo>
                    <a:pt x="4" y="22"/>
                    <a:pt x="9" y="27"/>
                    <a:pt x="15" y="27"/>
                  </a:cubicBezTo>
                  <a:cubicBezTo>
                    <a:pt x="22" y="27"/>
                    <a:pt x="27" y="22"/>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8" name="Freeform 38">
              <a:extLst>
                <a:ext uri="{FF2B5EF4-FFF2-40B4-BE49-F238E27FC236}">
                  <a16:creationId xmlns:a16="http://schemas.microsoft.com/office/drawing/2014/main" id="{2207BAF3-EBF6-DE43-B8CC-03A2F2BB0C60}"/>
                </a:ext>
              </a:extLst>
            </p:cNvPr>
            <p:cNvSpPr>
              <a:spLocks noEditPoints="1"/>
            </p:cNvSpPr>
            <p:nvPr/>
          </p:nvSpPr>
          <p:spPr bwMode="auto">
            <a:xfrm>
              <a:off x="4354266" y="719553"/>
              <a:ext cx="144016" cy="144016"/>
            </a:xfrm>
            <a:custGeom>
              <a:avLst/>
              <a:gdLst>
                <a:gd name="T0" fmla="*/ 16 w 31"/>
                <a:gd name="T1" fmla="*/ 31 h 31"/>
                <a:gd name="T2" fmla="*/ 0 w 31"/>
                <a:gd name="T3" fmla="*/ 16 h 31"/>
                <a:gd name="T4" fmla="*/ 16 w 31"/>
                <a:gd name="T5" fmla="*/ 0 h 31"/>
                <a:gd name="T6" fmla="*/ 31 w 31"/>
                <a:gd name="T7" fmla="*/ 16 h 31"/>
                <a:gd name="T8" fmla="*/ 16 w 31"/>
                <a:gd name="T9" fmla="*/ 31 h 31"/>
                <a:gd name="T10" fmla="*/ 16 w 31"/>
                <a:gd name="T11" fmla="*/ 4 h 31"/>
                <a:gd name="T12" fmla="*/ 4 w 31"/>
                <a:gd name="T13" fmla="*/ 16 h 31"/>
                <a:gd name="T14" fmla="*/ 16 w 31"/>
                <a:gd name="T15" fmla="*/ 27 h 31"/>
                <a:gd name="T16" fmla="*/ 27 w 31"/>
                <a:gd name="T17" fmla="*/ 16 h 31"/>
                <a:gd name="T18" fmla="*/ 16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31"/>
                  </a:moveTo>
                  <a:cubicBezTo>
                    <a:pt x="7" y="31"/>
                    <a:pt x="0" y="24"/>
                    <a:pt x="0" y="16"/>
                  </a:cubicBezTo>
                  <a:cubicBezTo>
                    <a:pt x="0" y="7"/>
                    <a:pt x="7" y="0"/>
                    <a:pt x="16" y="0"/>
                  </a:cubicBezTo>
                  <a:cubicBezTo>
                    <a:pt x="24" y="0"/>
                    <a:pt x="31" y="7"/>
                    <a:pt x="31" y="16"/>
                  </a:cubicBezTo>
                  <a:cubicBezTo>
                    <a:pt x="31" y="24"/>
                    <a:pt x="24" y="31"/>
                    <a:pt x="16" y="31"/>
                  </a:cubicBezTo>
                  <a:close/>
                  <a:moveTo>
                    <a:pt x="16" y="4"/>
                  </a:moveTo>
                  <a:cubicBezTo>
                    <a:pt x="9" y="4"/>
                    <a:pt x="4" y="9"/>
                    <a:pt x="4" y="16"/>
                  </a:cubicBezTo>
                  <a:cubicBezTo>
                    <a:pt x="4" y="22"/>
                    <a:pt x="9" y="27"/>
                    <a:pt x="16" y="27"/>
                  </a:cubicBezTo>
                  <a:cubicBezTo>
                    <a:pt x="22" y="27"/>
                    <a:pt x="27" y="22"/>
                    <a:pt x="27" y="16"/>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9" name="Freeform 39">
              <a:extLst>
                <a:ext uri="{FF2B5EF4-FFF2-40B4-BE49-F238E27FC236}">
                  <a16:creationId xmlns:a16="http://schemas.microsoft.com/office/drawing/2014/main" id="{8C942D48-E246-9641-B931-E857CAEAB860}"/>
                </a:ext>
              </a:extLst>
            </p:cNvPr>
            <p:cNvSpPr>
              <a:spLocks noEditPoints="1"/>
            </p:cNvSpPr>
            <p:nvPr/>
          </p:nvSpPr>
          <p:spPr bwMode="auto">
            <a:xfrm>
              <a:off x="2638140" y="1760954"/>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0" name="Freeform 40">
              <a:extLst>
                <a:ext uri="{FF2B5EF4-FFF2-40B4-BE49-F238E27FC236}">
                  <a16:creationId xmlns:a16="http://schemas.microsoft.com/office/drawing/2014/main" id="{1DC89B5A-D1A1-FE44-B363-4DB3923F7079}"/>
                </a:ext>
              </a:extLst>
            </p:cNvPr>
            <p:cNvSpPr>
              <a:spLocks noEditPoints="1"/>
            </p:cNvSpPr>
            <p:nvPr/>
          </p:nvSpPr>
          <p:spPr bwMode="auto">
            <a:xfrm>
              <a:off x="2725908" y="3420173"/>
              <a:ext cx="144016" cy="139370"/>
            </a:xfrm>
            <a:custGeom>
              <a:avLst/>
              <a:gdLst>
                <a:gd name="T0" fmla="*/ 15 w 31"/>
                <a:gd name="T1" fmla="*/ 30 h 30"/>
                <a:gd name="T2" fmla="*/ 0 w 31"/>
                <a:gd name="T3" fmla="*/ 15 h 30"/>
                <a:gd name="T4" fmla="*/ 15 w 31"/>
                <a:gd name="T5" fmla="*/ 0 h 30"/>
                <a:gd name="T6" fmla="*/ 31 w 31"/>
                <a:gd name="T7" fmla="*/ 15 h 30"/>
                <a:gd name="T8" fmla="*/ 15 w 31"/>
                <a:gd name="T9" fmla="*/ 30 h 30"/>
                <a:gd name="T10" fmla="*/ 15 w 31"/>
                <a:gd name="T11" fmla="*/ 4 h 30"/>
                <a:gd name="T12" fmla="*/ 4 w 31"/>
                <a:gd name="T13" fmla="*/ 15 h 30"/>
                <a:gd name="T14" fmla="*/ 15 w 31"/>
                <a:gd name="T15" fmla="*/ 26 h 30"/>
                <a:gd name="T16" fmla="*/ 27 w 31"/>
                <a:gd name="T17" fmla="*/ 15 h 30"/>
                <a:gd name="T18" fmla="*/ 15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5" y="30"/>
                  </a:moveTo>
                  <a:cubicBezTo>
                    <a:pt x="7" y="30"/>
                    <a:pt x="0" y="23"/>
                    <a:pt x="0" y="15"/>
                  </a:cubicBezTo>
                  <a:cubicBezTo>
                    <a:pt x="0" y="7"/>
                    <a:pt x="7" y="0"/>
                    <a:pt x="15" y="0"/>
                  </a:cubicBezTo>
                  <a:cubicBezTo>
                    <a:pt x="24" y="0"/>
                    <a:pt x="31" y="7"/>
                    <a:pt x="31" y="15"/>
                  </a:cubicBezTo>
                  <a:cubicBezTo>
                    <a:pt x="31" y="23"/>
                    <a:pt x="24" y="30"/>
                    <a:pt x="15" y="30"/>
                  </a:cubicBezTo>
                  <a:close/>
                  <a:moveTo>
                    <a:pt x="15" y="4"/>
                  </a:moveTo>
                  <a:cubicBezTo>
                    <a:pt x="9" y="4"/>
                    <a:pt x="4" y="9"/>
                    <a:pt x="4" y="15"/>
                  </a:cubicBezTo>
                  <a:cubicBezTo>
                    <a:pt x="4" y="21"/>
                    <a:pt x="9" y="26"/>
                    <a:pt x="15" y="26"/>
                  </a:cubicBezTo>
                  <a:cubicBezTo>
                    <a:pt x="22" y="26"/>
                    <a:pt x="27" y="21"/>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1" name="Freeform 41">
              <a:extLst>
                <a:ext uri="{FF2B5EF4-FFF2-40B4-BE49-F238E27FC236}">
                  <a16:creationId xmlns:a16="http://schemas.microsoft.com/office/drawing/2014/main" id="{3745D3BE-6175-CA46-A543-7DC24146D7E2}"/>
                </a:ext>
              </a:extLst>
            </p:cNvPr>
            <p:cNvSpPr>
              <a:spLocks noEditPoints="1"/>
            </p:cNvSpPr>
            <p:nvPr/>
          </p:nvSpPr>
          <p:spPr bwMode="auto">
            <a:xfrm>
              <a:off x="4717402" y="3211948"/>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2" name="Freeform 42">
              <a:extLst>
                <a:ext uri="{FF2B5EF4-FFF2-40B4-BE49-F238E27FC236}">
                  <a16:creationId xmlns:a16="http://schemas.microsoft.com/office/drawing/2014/main" id="{2D60534C-717D-0740-BA1C-93177E040BA7}"/>
                </a:ext>
              </a:extLst>
            </p:cNvPr>
            <p:cNvSpPr>
              <a:spLocks noEditPoints="1"/>
            </p:cNvSpPr>
            <p:nvPr/>
          </p:nvSpPr>
          <p:spPr bwMode="auto">
            <a:xfrm>
              <a:off x="4475053" y="1733080"/>
              <a:ext cx="140144" cy="139370"/>
            </a:xfrm>
            <a:custGeom>
              <a:avLst/>
              <a:gdLst>
                <a:gd name="T0" fmla="*/ 15 w 30"/>
                <a:gd name="T1" fmla="*/ 30 h 30"/>
                <a:gd name="T2" fmla="*/ 0 w 30"/>
                <a:gd name="T3" fmla="*/ 15 h 30"/>
                <a:gd name="T4" fmla="*/ 15 w 30"/>
                <a:gd name="T5" fmla="*/ 0 h 30"/>
                <a:gd name="T6" fmla="*/ 30 w 30"/>
                <a:gd name="T7" fmla="*/ 15 h 30"/>
                <a:gd name="T8" fmla="*/ 15 w 30"/>
                <a:gd name="T9" fmla="*/ 30 h 30"/>
                <a:gd name="T10" fmla="*/ 15 w 30"/>
                <a:gd name="T11" fmla="*/ 4 h 30"/>
                <a:gd name="T12" fmla="*/ 4 w 30"/>
                <a:gd name="T13" fmla="*/ 15 h 30"/>
                <a:gd name="T14" fmla="*/ 15 w 30"/>
                <a:gd name="T15" fmla="*/ 26 h 30"/>
                <a:gd name="T16" fmla="*/ 26 w 30"/>
                <a:gd name="T17" fmla="*/ 15 h 30"/>
                <a:gd name="T18" fmla="*/ 15 w 30"/>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cubicBezTo>
                    <a:pt x="7" y="30"/>
                    <a:pt x="0" y="23"/>
                    <a:pt x="0" y="15"/>
                  </a:cubicBezTo>
                  <a:cubicBezTo>
                    <a:pt x="0" y="7"/>
                    <a:pt x="7" y="0"/>
                    <a:pt x="15" y="0"/>
                  </a:cubicBezTo>
                  <a:cubicBezTo>
                    <a:pt x="23" y="0"/>
                    <a:pt x="30" y="7"/>
                    <a:pt x="30" y="15"/>
                  </a:cubicBezTo>
                  <a:cubicBezTo>
                    <a:pt x="30" y="23"/>
                    <a:pt x="23" y="30"/>
                    <a:pt x="15" y="30"/>
                  </a:cubicBezTo>
                  <a:close/>
                  <a:moveTo>
                    <a:pt x="15" y="4"/>
                  </a:moveTo>
                  <a:cubicBezTo>
                    <a:pt x="9" y="4"/>
                    <a:pt x="4" y="9"/>
                    <a:pt x="4" y="15"/>
                  </a:cubicBezTo>
                  <a:cubicBezTo>
                    <a:pt x="4" y="21"/>
                    <a:pt x="9" y="26"/>
                    <a:pt x="15" y="26"/>
                  </a:cubicBezTo>
                  <a:cubicBezTo>
                    <a:pt x="21" y="26"/>
                    <a:pt x="26" y="21"/>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3" name="Freeform 44">
              <a:extLst>
                <a:ext uri="{FF2B5EF4-FFF2-40B4-BE49-F238E27FC236}">
                  <a16:creationId xmlns:a16="http://schemas.microsoft.com/office/drawing/2014/main" id="{7EE1320E-7ABE-0C4A-A4A9-A12F7F8AFE2A}"/>
                </a:ext>
              </a:extLst>
            </p:cNvPr>
            <p:cNvSpPr>
              <a:spLocks noEditPoints="1"/>
            </p:cNvSpPr>
            <p:nvPr/>
          </p:nvSpPr>
          <p:spPr bwMode="auto">
            <a:xfrm>
              <a:off x="7163339" y="3002119"/>
              <a:ext cx="144016" cy="144790"/>
            </a:xfrm>
            <a:custGeom>
              <a:avLst/>
              <a:gdLst>
                <a:gd name="T0" fmla="*/ 16 w 31"/>
                <a:gd name="T1" fmla="*/ 31 h 31"/>
                <a:gd name="T2" fmla="*/ 0 w 31"/>
                <a:gd name="T3" fmla="*/ 15 h 31"/>
                <a:gd name="T4" fmla="*/ 16 w 31"/>
                <a:gd name="T5" fmla="*/ 0 h 31"/>
                <a:gd name="T6" fmla="*/ 31 w 31"/>
                <a:gd name="T7" fmla="*/ 15 h 31"/>
                <a:gd name="T8" fmla="*/ 16 w 31"/>
                <a:gd name="T9" fmla="*/ 31 h 31"/>
                <a:gd name="T10" fmla="*/ 16 w 31"/>
                <a:gd name="T11" fmla="*/ 4 h 31"/>
                <a:gd name="T12" fmla="*/ 4 w 31"/>
                <a:gd name="T13" fmla="*/ 15 h 31"/>
                <a:gd name="T14" fmla="*/ 16 w 31"/>
                <a:gd name="T15" fmla="*/ 27 h 31"/>
                <a:gd name="T16" fmla="*/ 27 w 31"/>
                <a:gd name="T17" fmla="*/ 15 h 31"/>
                <a:gd name="T18" fmla="*/ 16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31"/>
                  </a:moveTo>
                  <a:cubicBezTo>
                    <a:pt x="7" y="31"/>
                    <a:pt x="0" y="24"/>
                    <a:pt x="0" y="15"/>
                  </a:cubicBezTo>
                  <a:cubicBezTo>
                    <a:pt x="0" y="7"/>
                    <a:pt x="7" y="0"/>
                    <a:pt x="16" y="0"/>
                  </a:cubicBezTo>
                  <a:cubicBezTo>
                    <a:pt x="24" y="0"/>
                    <a:pt x="31" y="7"/>
                    <a:pt x="31" y="15"/>
                  </a:cubicBezTo>
                  <a:cubicBezTo>
                    <a:pt x="31" y="24"/>
                    <a:pt x="24" y="31"/>
                    <a:pt x="16" y="31"/>
                  </a:cubicBezTo>
                  <a:close/>
                  <a:moveTo>
                    <a:pt x="16" y="4"/>
                  </a:moveTo>
                  <a:cubicBezTo>
                    <a:pt x="9" y="4"/>
                    <a:pt x="4" y="9"/>
                    <a:pt x="4" y="15"/>
                  </a:cubicBezTo>
                  <a:cubicBezTo>
                    <a:pt x="4" y="22"/>
                    <a:pt x="9" y="27"/>
                    <a:pt x="16" y="27"/>
                  </a:cubicBezTo>
                  <a:cubicBezTo>
                    <a:pt x="22" y="27"/>
                    <a:pt x="27" y="22"/>
                    <a:pt x="27" y="15"/>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4" name="Freeform 45">
              <a:extLst>
                <a:ext uri="{FF2B5EF4-FFF2-40B4-BE49-F238E27FC236}">
                  <a16:creationId xmlns:a16="http://schemas.microsoft.com/office/drawing/2014/main" id="{F33563D9-81E0-1245-AE83-8BF932049CCC}"/>
                </a:ext>
              </a:extLst>
            </p:cNvPr>
            <p:cNvSpPr>
              <a:spLocks noEditPoints="1"/>
            </p:cNvSpPr>
            <p:nvPr/>
          </p:nvSpPr>
          <p:spPr bwMode="auto">
            <a:xfrm>
              <a:off x="7135466" y="1737726"/>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5" name="Freeform 46">
              <a:extLst>
                <a:ext uri="{FF2B5EF4-FFF2-40B4-BE49-F238E27FC236}">
                  <a16:creationId xmlns:a16="http://schemas.microsoft.com/office/drawing/2014/main" id="{0689E117-D830-F248-A1A2-F9404AAAEB64}"/>
                </a:ext>
              </a:extLst>
            </p:cNvPr>
            <p:cNvSpPr>
              <a:spLocks noEditPoints="1"/>
            </p:cNvSpPr>
            <p:nvPr/>
          </p:nvSpPr>
          <p:spPr bwMode="auto">
            <a:xfrm>
              <a:off x="2782486" y="1198055"/>
              <a:ext cx="140144"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6" name="Freeform 47">
              <a:extLst>
                <a:ext uri="{FF2B5EF4-FFF2-40B4-BE49-F238E27FC236}">
                  <a16:creationId xmlns:a16="http://schemas.microsoft.com/office/drawing/2014/main" id="{6C948667-1E00-5246-BE38-D799410F4CCB}"/>
                </a:ext>
              </a:extLst>
            </p:cNvPr>
            <p:cNvSpPr>
              <a:spLocks noEditPoints="1"/>
            </p:cNvSpPr>
            <p:nvPr/>
          </p:nvSpPr>
          <p:spPr bwMode="auto">
            <a:xfrm>
              <a:off x="5369122" y="430748"/>
              <a:ext cx="144790" cy="139370"/>
            </a:xfrm>
            <a:custGeom>
              <a:avLst/>
              <a:gdLst>
                <a:gd name="T0" fmla="*/ 15 w 31"/>
                <a:gd name="T1" fmla="*/ 30 h 30"/>
                <a:gd name="T2" fmla="*/ 0 w 31"/>
                <a:gd name="T3" fmla="*/ 15 h 30"/>
                <a:gd name="T4" fmla="*/ 15 w 31"/>
                <a:gd name="T5" fmla="*/ 0 h 30"/>
                <a:gd name="T6" fmla="*/ 31 w 31"/>
                <a:gd name="T7" fmla="*/ 15 h 30"/>
                <a:gd name="T8" fmla="*/ 15 w 31"/>
                <a:gd name="T9" fmla="*/ 30 h 30"/>
                <a:gd name="T10" fmla="*/ 15 w 31"/>
                <a:gd name="T11" fmla="*/ 4 h 30"/>
                <a:gd name="T12" fmla="*/ 4 w 31"/>
                <a:gd name="T13" fmla="*/ 15 h 30"/>
                <a:gd name="T14" fmla="*/ 15 w 31"/>
                <a:gd name="T15" fmla="*/ 26 h 30"/>
                <a:gd name="T16" fmla="*/ 27 w 31"/>
                <a:gd name="T17" fmla="*/ 15 h 30"/>
                <a:gd name="T18" fmla="*/ 15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5" y="30"/>
                  </a:moveTo>
                  <a:cubicBezTo>
                    <a:pt x="7" y="30"/>
                    <a:pt x="0" y="23"/>
                    <a:pt x="0" y="15"/>
                  </a:cubicBezTo>
                  <a:cubicBezTo>
                    <a:pt x="0" y="7"/>
                    <a:pt x="7" y="0"/>
                    <a:pt x="15" y="0"/>
                  </a:cubicBezTo>
                  <a:cubicBezTo>
                    <a:pt x="24" y="0"/>
                    <a:pt x="31" y="7"/>
                    <a:pt x="31" y="15"/>
                  </a:cubicBezTo>
                  <a:cubicBezTo>
                    <a:pt x="31" y="23"/>
                    <a:pt x="24" y="30"/>
                    <a:pt x="15" y="30"/>
                  </a:cubicBezTo>
                  <a:close/>
                  <a:moveTo>
                    <a:pt x="15" y="4"/>
                  </a:moveTo>
                  <a:cubicBezTo>
                    <a:pt x="9" y="4"/>
                    <a:pt x="4" y="9"/>
                    <a:pt x="4" y="15"/>
                  </a:cubicBezTo>
                  <a:cubicBezTo>
                    <a:pt x="4" y="21"/>
                    <a:pt x="9" y="26"/>
                    <a:pt x="15" y="26"/>
                  </a:cubicBezTo>
                  <a:cubicBezTo>
                    <a:pt x="22" y="26"/>
                    <a:pt x="27" y="21"/>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7" name="Freeform 51">
              <a:extLst>
                <a:ext uri="{FF2B5EF4-FFF2-40B4-BE49-F238E27FC236}">
                  <a16:creationId xmlns:a16="http://schemas.microsoft.com/office/drawing/2014/main" id="{D7063E14-224E-FF44-800F-1A5ED1FFF9E6}"/>
                </a:ext>
              </a:extLst>
            </p:cNvPr>
            <p:cNvSpPr>
              <a:spLocks noEditPoints="1"/>
            </p:cNvSpPr>
            <p:nvPr/>
          </p:nvSpPr>
          <p:spPr bwMode="auto">
            <a:xfrm>
              <a:off x="3944120" y="347126"/>
              <a:ext cx="144016" cy="144016"/>
            </a:xfrm>
            <a:custGeom>
              <a:avLst/>
              <a:gdLst>
                <a:gd name="T0" fmla="*/ 15 w 31"/>
                <a:gd name="T1" fmla="*/ 31 h 31"/>
                <a:gd name="T2" fmla="*/ 0 w 31"/>
                <a:gd name="T3" fmla="*/ 16 h 31"/>
                <a:gd name="T4" fmla="*/ 15 w 31"/>
                <a:gd name="T5" fmla="*/ 0 h 31"/>
                <a:gd name="T6" fmla="*/ 31 w 31"/>
                <a:gd name="T7" fmla="*/ 16 h 31"/>
                <a:gd name="T8" fmla="*/ 15 w 31"/>
                <a:gd name="T9" fmla="*/ 31 h 31"/>
                <a:gd name="T10" fmla="*/ 15 w 31"/>
                <a:gd name="T11" fmla="*/ 4 h 31"/>
                <a:gd name="T12" fmla="*/ 4 w 31"/>
                <a:gd name="T13" fmla="*/ 16 h 31"/>
                <a:gd name="T14" fmla="*/ 15 w 31"/>
                <a:gd name="T15" fmla="*/ 27 h 31"/>
                <a:gd name="T16" fmla="*/ 27 w 31"/>
                <a:gd name="T17" fmla="*/ 16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6"/>
                  </a:cubicBezTo>
                  <a:cubicBezTo>
                    <a:pt x="0" y="7"/>
                    <a:pt x="7" y="0"/>
                    <a:pt x="15" y="0"/>
                  </a:cubicBezTo>
                  <a:cubicBezTo>
                    <a:pt x="24" y="0"/>
                    <a:pt x="31" y="7"/>
                    <a:pt x="31" y="16"/>
                  </a:cubicBezTo>
                  <a:cubicBezTo>
                    <a:pt x="31" y="24"/>
                    <a:pt x="24" y="31"/>
                    <a:pt x="15" y="31"/>
                  </a:cubicBezTo>
                  <a:close/>
                  <a:moveTo>
                    <a:pt x="15" y="4"/>
                  </a:moveTo>
                  <a:cubicBezTo>
                    <a:pt x="9" y="4"/>
                    <a:pt x="4" y="9"/>
                    <a:pt x="4" y="16"/>
                  </a:cubicBezTo>
                  <a:cubicBezTo>
                    <a:pt x="4" y="22"/>
                    <a:pt x="9" y="27"/>
                    <a:pt x="15" y="27"/>
                  </a:cubicBezTo>
                  <a:cubicBezTo>
                    <a:pt x="22" y="27"/>
                    <a:pt x="27" y="22"/>
                    <a:pt x="27" y="16"/>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8" name="Freeform 52">
              <a:extLst>
                <a:ext uri="{FF2B5EF4-FFF2-40B4-BE49-F238E27FC236}">
                  <a16:creationId xmlns:a16="http://schemas.microsoft.com/office/drawing/2014/main" id="{B8E4E2C8-D334-4F4B-AD36-C3AF2175943F}"/>
                </a:ext>
              </a:extLst>
            </p:cNvPr>
            <p:cNvSpPr>
              <a:spLocks noEditPoints="1"/>
            </p:cNvSpPr>
            <p:nvPr/>
          </p:nvSpPr>
          <p:spPr bwMode="auto">
            <a:xfrm>
              <a:off x="6781622" y="402874"/>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9" name="Freeform 53">
              <a:extLst>
                <a:ext uri="{FF2B5EF4-FFF2-40B4-BE49-F238E27FC236}">
                  <a16:creationId xmlns:a16="http://schemas.microsoft.com/office/drawing/2014/main" id="{0CED6866-65CD-994A-A46D-13497B4BABD4}"/>
                </a:ext>
              </a:extLst>
            </p:cNvPr>
            <p:cNvSpPr>
              <a:spLocks noEditPoints="1"/>
            </p:cNvSpPr>
            <p:nvPr/>
          </p:nvSpPr>
          <p:spPr bwMode="auto">
            <a:xfrm>
              <a:off x="6153683" y="1346717"/>
              <a:ext cx="144790" cy="144790"/>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4 h 31"/>
                <a:gd name="T12" fmla="*/ 4 w 31"/>
                <a:gd name="T13" fmla="*/ 15 h 31"/>
                <a:gd name="T14" fmla="*/ 15 w 31"/>
                <a:gd name="T15" fmla="*/ 27 h 31"/>
                <a:gd name="T16" fmla="*/ 27 w 31"/>
                <a:gd name="T17" fmla="*/ 15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4"/>
                  </a:moveTo>
                  <a:cubicBezTo>
                    <a:pt x="9" y="4"/>
                    <a:pt x="4" y="9"/>
                    <a:pt x="4" y="15"/>
                  </a:cubicBezTo>
                  <a:cubicBezTo>
                    <a:pt x="4" y="22"/>
                    <a:pt x="9" y="27"/>
                    <a:pt x="15" y="27"/>
                  </a:cubicBezTo>
                  <a:cubicBezTo>
                    <a:pt x="22" y="27"/>
                    <a:pt x="27" y="22"/>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0" name="Oval 99">
              <a:extLst>
                <a:ext uri="{FF2B5EF4-FFF2-40B4-BE49-F238E27FC236}">
                  <a16:creationId xmlns:a16="http://schemas.microsoft.com/office/drawing/2014/main" id="{B4C7CA61-CC84-384B-98F0-1036D106D25B}"/>
                </a:ext>
              </a:extLst>
            </p:cNvPr>
            <p:cNvSpPr>
              <a:spLocks noChangeArrowheads="1"/>
            </p:cNvSpPr>
            <p:nvPr/>
          </p:nvSpPr>
          <p:spPr bwMode="auto">
            <a:xfrm>
              <a:off x="5024015" y="710262"/>
              <a:ext cx="97559" cy="102205"/>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1" name="Oval 100">
              <a:extLst>
                <a:ext uri="{FF2B5EF4-FFF2-40B4-BE49-F238E27FC236}">
                  <a16:creationId xmlns:a16="http://schemas.microsoft.com/office/drawing/2014/main" id="{8DE115B5-C8AA-954E-B546-A4DA3901ADAE}"/>
                </a:ext>
              </a:extLst>
            </p:cNvPr>
            <p:cNvSpPr>
              <a:spLocks noChangeArrowheads="1"/>
            </p:cNvSpPr>
            <p:nvPr/>
          </p:nvSpPr>
          <p:spPr bwMode="auto">
            <a:xfrm>
              <a:off x="6354222" y="2523616"/>
              <a:ext cx="102205"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2" name="Oval 102">
              <a:extLst>
                <a:ext uri="{FF2B5EF4-FFF2-40B4-BE49-F238E27FC236}">
                  <a16:creationId xmlns:a16="http://schemas.microsoft.com/office/drawing/2014/main" id="{C8EF4298-BA83-0E4E-B3B5-13920AB1ACF2}"/>
                </a:ext>
              </a:extLst>
            </p:cNvPr>
            <p:cNvSpPr>
              <a:spLocks noChangeArrowheads="1"/>
            </p:cNvSpPr>
            <p:nvPr/>
          </p:nvSpPr>
          <p:spPr bwMode="auto">
            <a:xfrm>
              <a:off x="4972913" y="2969599"/>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3" name="Oval 103">
              <a:extLst>
                <a:ext uri="{FF2B5EF4-FFF2-40B4-BE49-F238E27FC236}">
                  <a16:creationId xmlns:a16="http://schemas.microsoft.com/office/drawing/2014/main" id="{49DEE44C-4538-0A41-928B-48288EF26711}"/>
                </a:ext>
              </a:extLst>
            </p:cNvPr>
            <p:cNvSpPr>
              <a:spLocks noChangeArrowheads="1"/>
            </p:cNvSpPr>
            <p:nvPr/>
          </p:nvSpPr>
          <p:spPr bwMode="auto">
            <a:xfrm>
              <a:off x="2740675" y="477204"/>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4" name="Oval 104">
              <a:extLst>
                <a:ext uri="{FF2B5EF4-FFF2-40B4-BE49-F238E27FC236}">
                  <a16:creationId xmlns:a16="http://schemas.microsoft.com/office/drawing/2014/main" id="{8471ADC6-DF4C-7F4A-8440-BA71EEBBCAD9}"/>
                </a:ext>
              </a:extLst>
            </p:cNvPr>
            <p:cNvSpPr>
              <a:spLocks noChangeArrowheads="1"/>
            </p:cNvSpPr>
            <p:nvPr/>
          </p:nvSpPr>
          <p:spPr bwMode="auto">
            <a:xfrm>
              <a:off x="4056944" y="136994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5" name="Oval 105">
              <a:extLst>
                <a:ext uri="{FF2B5EF4-FFF2-40B4-BE49-F238E27FC236}">
                  <a16:creationId xmlns:a16="http://schemas.microsoft.com/office/drawing/2014/main" id="{79C05996-C72F-7848-947E-965B296179AE}"/>
                </a:ext>
              </a:extLst>
            </p:cNvPr>
            <p:cNvSpPr>
              <a:spLocks noChangeArrowheads="1"/>
            </p:cNvSpPr>
            <p:nvPr/>
          </p:nvSpPr>
          <p:spPr bwMode="auto">
            <a:xfrm>
              <a:off x="3089873" y="2486451"/>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6" name="Oval 108">
              <a:extLst>
                <a:ext uri="{FF2B5EF4-FFF2-40B4-BE49-F238E27FC236}">
                  <a16:creationId xmlns:a16="http://schemas.microsoft.com/office/drawing/2014/main" id="{5B456AF3-9E84-B746-8C56-1CFD7180308B}"/>
                </a:ext>
              </a:extLst>
            </p:cNvPr>
            <p:cNvSpPr>
              <a:spLocks noChangeArrowheads="1"/>
            </p:cNvSpPr>
            <p:nvPr/>
          </p:nvSpPr>
          <p:spPr bwMode="auto">
            <a:xfrm>
              <a:off x="6632961" y="1388528"/>
              <a:ext cx="102205"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7" name="Oval 109">
              <a:extLst>
                <a:ext uri="{FF2B5EF4-FFF2-40B4-BE49-F238E27FC236}">
                  <a16:creationId xmlns:a16="http://schemas.microsoft.com/office/drawing/2014/main" id="{BE185DAF-BE44-B140-96B2-3DB100159A00}"/>
                </a:ext>
              </a:extLst>
            </p:cNvPr>
            <p:cNvSpPr>
              <a:spLocks noChangeArrowheads="1"/>
            </p:cNvSpPr>
            <p:nvPr/>
          </p:nvSpPr>
          <p:spPr bwMode="auto">
            <a:xfrm>
              <a:off x="7186568" y="532952"/>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8" name="Oval 101">
              <a:extLst>
                <a:ext uri="{FF2B5EF4-FFF2-40B4-BE49-F238E27FC236}">
                  <a16:creationId xmlns:a16="http://schemas.microsoft.com/office/drawing/2014/main" id="{961DEDC3-DCBE-7940-B4DA-0EBF4F165021}"/>
                </a:ext>
              </a:extLst>
            </p:cNvPr>
            <p:cNvSpPr>
              <a:spLocks noChangeArrowheads="1"/>
            </p:cNvSpPr>
            <p:nvPr/>
          </p:nvSpPr>
          <p:spPr bwMode="auto">
            <a:xfrm>
              <a:off x="2828942" y="4792246"/>
              <a:ext cx="98333"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9" name="Oval 106">
              <a:extLst>
                <a:ext uri="{FF2B5EF4-FFF2-40B4-BE49-F238E27FC236}">
                  <a16:creationId xmlns:a16="http://schemas.microsoft.com/office/drawing/2014/main" id="{38993130-0CC3-CE4D-A837-D295C5089F3A}"/>
                </a:ext>
              </a:extLst>
            </p:cNvPr>
            <p:cNvSpPr>
              <a:spLocks noChangeArrowheads="1"/>
            </p:cNvSpPr>
            <p:nvPr/>
          </p:nvSpPr>
          <p:spPr bwMode="auto">
            <a:xfrm>
              <a:off x="7116883" y="3760136"/>
              <a:ext cx="102205" cy="102205"/>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10" name="Oval 107">
              <a:extLst>
                <a:ext uri="{FF2B5EF4-FFF2-40B4-BE49-F238E27FC236}">
                  <a16:creationId xmlns:a16="http://schemas.microsoft.com/office/drawing/2014/main" id="{146338AA-27D9-3C4F-B0EB-0F4CB77C8DC6}"/>
                </a:ext>
              </a:extLst>
            </p:cNvPr>
            <p:cNvSpPr>
              <a:spLocks noChangeArrowheads="1"/>
            </p:cNvSpPr>
            <p:nvPr/>
          </p:nvSpPr>
          <p:spPr bwMode="auto">
            <a:xfrm>
              <a:off x="6962802" y="464358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11" name="Freeform 152">
              <a:extLst>
                <a:ext uri="{FF2B5EF4-FFF2-40B4-BE49-F238E27FC236}">
                  <a16:creationId xmlns:a16="http://schemas.microsoft.com/office/drawing/2014/main" id="{2394B921-C4DE-DA44-A0CE-1648E003DBF6}"/>
                </a:ext>
              </a:extLst>
            </p:cNvPr>
            <p:cNvSpPr>
              <a:spLocks noEditPoints="1"/>
            </p:cNvSpPr>
            <p:nvPr/>
          </p:nvSpPr>
          <p:spPr bwMode="auto">
            <a:xfrm>
              <a:off x="5265589" y="4471695"/>
              <a:ext cx="237703" cy="236928"/>
            </a:xfrm>
            <a:custGeom>
              <a:avLst/>
              <a:gdLst>
                <a:gd name="T0" fmla="*/ 26 w 51"/>
                <a:gd name="T1" fmla="*/ 51 h 51"/>
                <a:gd name="T2" fmla="*/ 0 w 51"/>
                <a:gd name="T3" fmla="*/ 26 h 51"/>
                <a:gd name="T4" fmla="*/ 26 w 51"/>
                <a:gd name="T5" fmla="*/ 0 h 51"/>
                <a:gd name="T6" fmla="*/ 51 w 51"/>
                <a:gd name="T7" fmla="*/ 26 h 51"/>
                <a:gd name="T8" fmla="*/ 26 w 51"/>
                <a:gd name="T9" fmla="*/ 51 h 51"/>
                <a:gd name="T10" fmla="*/ 26 w 51"/>
                <a:gd name="T11" fmla="*/ 3 h 51"/>
                <a:gd name="T12" fmla="*/ 3 w 51"/>
                <a:gd name="T13" fmla="*/ 26 h 51"/>
                <a:gd name="T14" fmla="*/ 26 w 51"/>
                <a:gd name="T15" fmla="*/ 48 h 51"/>
                <a:gd name="T16" fmla="*/ 48 w 51"/>
                <a:gd name="T17" fmla="*/ 26 h 51"/>
                <a:gd name="T18" fmla="*/ 26 w 51"/>
                <a:gd name="T19"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1">
                  <a:moveTo>
                    <a:pt x="26" y="51"/>
                  </a:moveTo>
                  <a:cubicBezTo>
                    <a:pt x="12" y="51"/>
                    <a:pt x="0" y="39"/>
                    <a:pt x="0" y="26"/>
                  </a:cubicBezTo>
                  <a:cubicBezTo>
                    <a:pt x="0" y="12"/>
                    <a:pt x="12" y="0"/>
                    <a:pt x="26" y="0"/>
                  </a:cubicBezTo>
                  <a:cubicBezTo>
                    <a:pt x="39" y="0"/>
                    <a:pt x="51" y="12"/>
                    <a:pt x="51" y="26"/>
                  </a:cubicBezTo>
                  <a:cubicBezTo>
                    <a:pt x="51" y="39"/>
                    <a:pt x="39" y="51"/>
                    <a:pt x="26" y="51"/>
                  </a:cubicBezTo>
                  <a:close/>
                  <a:moveTo>
                    <a:pt x="26" y="3"/>
                  </a:moveTo>
                  <a:cubicBezTo>
                    <a:pt x="13" y="3"/>
                    <a:pt x="3" y="13"/>
                    <a:pt x="3" y="26"/>
                  </a:cubicBezTo>
                  <a:cubicBezTo>
                    <a:pt x="3" y="38"/>
                    <a:pt x="13" y="48"/>
                    <a:pt x="26" y="48"/>
                  </a:cubicBezTo>
                  <a:cubicBezTo>
                    <a:pt x="38" y="48"/>
                    <a:pt x="48" y="38"/>
                    <a:pt x="48" y="26"/>
                  </a:cubicBezTo>
                  <a:cubicBezTo>
                    <a:pt x="48" y="13"/>
                    <a:pt x="38" y="3"/>
                    <a:pt x="26"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12" name="Freeform 153">
              <a:extLst>
                <a:ext uri="{FF2B5EF4-FFF2-40B4-BE49-F238E27FC236}">
                  <a16:creationId xmlns:a16="http://schemas.microsoft.com/office/drawing/2014/main" id="{F1C6E1BE-59BD-F747-AF06-147B3E20C78B}"/>
                </a:ext>
              </a:extLst>
            </p:cNvPr>
            <p:cNvSpPr>
              <a:spLocks noEditPoints="1"/>
            </p:cNvSpPr>
            <p:nvPr/>
          </p:nvSpPr>
          <p:spPr bwMode="auto">
            <a:xfrm>
              <a:off x="3600896" y="4448467"/>
              <a:ext cx="358490" cy="358490"/>
            </a:xfrm>
            <a:custGeom>
              <a:avLst/>
              <a:gdLst>
                <a:gd name="T0" fmla="*/ 38 w 77"/>
                <a:gd name="T1" fmla="*/ 77 h 77"/>
                <a:gd name="T2" fmla="*/ 0 w 77"/>
                <a:gd name="T3" fmla="*/ 38 h 77"/>
                <a:gd name="T4" fmla="*/ 38 w 77"/>
                <a:gd name="T5" fmla="*/ 0 h 77"/>
                <a:gd name="T6" fmla="*/ 77 w 77"/>
                <a:gd name="T7" fmla="*/ 38 h 77"/>
                <a:gd name="T8" fmla="*/ 38 w 77"/>
                <a:gd name="T9" fmla="*/ 77 h 77"/>
                <a:gd name="T10" fmla="*/ 38 w 77"/>
                <a:gd name="T11" fmla="*/ 5 h 77"/>
                <a:gd name="T12" fmla="*/ 4 w 77"/>
                <a:gd name="T13" fmla="*/ 38 h 77"/>
                <a:gd name="T14" fmla="*/ 38 w 77"/>
                <a:gd name="T15" fmla="*/ 72 h 77"/>
                <a:gd name="T16" fmla="*/ 72 w 77"/>
                <a:gd name="T17" fmla="*/ 38 h 77"/>
                <a:gd name="T18" fmla="*/ 38 w 77"/>
                <a:gd name="T19"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38" y="77"/>
                  </a:moveTo>
                  <a:cubicBezTo>
                    <a:pt x="17" y="77"/>
                    <a:pt x="0" y="60"/>
                    <a:pt x="0" y="38"/>
                  </a:cubicBezTo>
                  <a:cubicBezTo>
                    <a:pt x="0" y="17"/>
                    <a:pt x="17" y="0"/>
                    <a:pt x="38" y="0"/>
                  </a:cubicBezTo>
                  <a:cubicBezTo>
                    <a:pt x="59" y="0"/>
                    <a:pt x="77" y="17"/>
                    <a:pt x="77" y="38"/>
                  </a:cubicBezTo>
                  <a:cubicBezTo>
                    <a:pt x="77" y="60"/>
                    <a:pt x="59" y="77"/>
                    <a:pt x="38" y="77"/>
                  </a:cubicBezTo>
                  <a:close/>
                  <a:moveTo>
                    <a:pt x="38" y="5"/>
                  </a:moveTo>
                  <a:cubicBezTo>
                    <a:pt x="20" y="5"/>
                    <a:pt x="4" y="20"/>
                    <a:pt x="4" y="38"/>
                  </a:cubicBezTo>
                  <a:cubicBezTo>
                    <a:pt x="4" y="57"/>
                    <a:pt x="20" y="72"/>
                    <a:pt x="38" y="72"/>
                  </a:cubicBezTo>
                  <a:cubicBezTo>
                    <a:pt x="57" y="72"/>
                    <a:pt x="72" y="57"/>
                    <a:pt x="72" y="38"/>
                  </a:cubicBezTo>
                  <a:cubicBezTo>
                    <a:pt x="72" y="20"/>
                    <a:pt x="57" y="5"/>
                    <a:pt x="38"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13" name="Freeform 8">
              <a:extLst>
                <a:ext uri="{FF2B5EF4-FFF2-40B4-BE49-F238E27FC236}">
                  <a16:creationId xmlns:a16="http://schemas.microsoft.com/office/drawing/2014/main" id="{FD82D27E-0765-2247-84C0-0C5AB46B18CD}"/>
                </a:ext>
              </a:extLst>
            </p:cNvPr>
            <p:cNvSpPr>
              <a:spLocks noEditPoints="1"/>
            </p:cNvSpPr>
            <p:nvPr/>
          </p:nvSpPr>
          <p:spPr bwMode="auto">
            <a:xfrm>
              <a:off x="5433607" y="3156200"/>
              <a:ext cx="668975" cy="668975"/>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5 h 144"/>
                <a:gd name="T16" fmla="*/ 135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1"/>
                    <a:pt x="0" y="72"/>
                  </a:cubicBezTo>
                  <a:cubicBezTo>
                    <a:pt x="0" y="32"/>
                    <a:pt x="32" y="0"/>
                    <a:pt x="72" y="0"/>
                  </a:cubicBezTo>
                  <a:cubicBezTo>
                    <a:pt x="111" y="0"/>
                    <a:pt x="144" y="32"/>
                    <a:pt x="144" y="72"/>
                  </a:cubicBezTo>
                  <a:cubicBezTo>
                    <a:pt x="144" y="111"/>
                    <a:pt x="111" y="144"/>
                    <a:pt x="72" y="144"/>
                  </a:cubicBezTo>
                  <a:close/>
                  <a:moveTo>
                    <a:pt x="72" y="8"/>
                  </a:moveTo>
                  <a:cubicBezTo>
                    <a:pt x="37" y="8"/>
                    <a:pt x="8" y="36"/>
                    <a:pt x="8" y="72"/>
                  </a:cubicBezTo>
                  <a:cubicBezTo>
                    <a:pt x="8" y="107"/>
                    <a:pt x="37" y="135"/>
                    <a:pt x="72" y="135"/>
                  </a:cubicBezTo>
                  <a:cubicBezTo>
                    <a:pt x="107" y="135"/>
                    <a:pt x="135" y="107"/>
                    <a:pt x="135" y="72"/>
                  </a:cubicBezTo>
                  <a:cubicBezTo>
                    <a:pt x="135" y="36"/>
                    <a:pt x="107" y="8"/>
                    <a:pt x="72" y="8"/>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a:solidFill>
                  <a:srgbClr val="002776"/>
                </a:solidFill>
              </a:endParaRPr>
            </a:p>
          </p:txBody>
        </p:sp>
        <p:sp>
          <p:nvSpPr>
            <p:cNvPr id="414" name="Freeform 9">
              <a:extLst>
                <a:ext uri="{FF2B5EF4-FFF2-40B4-BE49-F238E27FC236}">
                  <a16:creationId xmlns:a16="http://schemas.microsoft.com/office/drawing/2014/main" id="{A8CAEEDF-804C-A049-A80D-227843465DD4}"/>
                </a:ext>
              </a:extLst>
            </p:cNvPr>
            <p:cNvSpPr>
              <a:spLocks noEditPoints="1"/>
            </p:cNvSpPr>
            <p:nvPr/>
          </p:nvSpPr>
          <p:spPr bwMode="auto">
            <a:xfrm>
              <a:off x="4163794" y="3690450"/>
              <a:ext cx="507151" cy="507151"/>
            </a:xfrm>
            <a:custGeom>
              <a:avLst/>
              <a:gdLst>
                <a:gd name="T0" fmla="*/ 55 w 109"/>
                <a:gd name="T1" fmla="*/ 109 h 109"/>
                <a:gd name="T2" fmla="*/ 0 w 109"/>
                <a:gd name="T3" fmla="*/ 55 h 109"/>
                <a:gd name="T4" fmla="*/ 55 w 109"/>
                <a:gd name="T5" fmla="*/ 0 h 109"/>
                <a:gd name="T6" fmla="*/ 109 w 109"/>
                <a:gd name="T7" fmla="*/ 55 h 109"/>
                <a:gd name="T8" fmla="*/ 55 w 109"/>
                <a:gd name="T9" fmla="*/ 109 h 109"/>
                <a:gd name="T10" fmla="*/ 55 w 109"/>
                <a:gd name="T11" fmla="*/ 6 h 109"/>
                <a:gd name="T12" fmla="*/ 6 w 109"/>
                <a:gd name="T13" fmla="*/ 55 h 109"/>
                <a:gd name="T14" fmla="*/ 55 w 109"/>
                <a:gd name="T15" fmla="*/ 103 h 109"/>
                <a:gd name="T16" fmla="*/ 103 w 109"/>
                <a:gd name="T17" fmla="*/ 55 h 109"/>
                <a:gd name="T18" fmla="*/ 55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5" y="109"/>
                  </a:moveTo>
                  <a:cubicBezTo>
                    <a:pt x="25" y="109"/>
                    <a:pt x="0" y="85"/>
                    <a:pt x="0" y="55"/>
                  </a:cubicBezTo>
                  <a:cubicBezTo>
                    <a:pt x="0" y="25"/>
                    <a:pt x="25" y="0"/>
                    <a:pt x="55" y="0"/>
                  </a:cubicBezTo>
                  <a:cubicBezTo>
                    <a:pt x="85" y="0"/>
                    <a:pt x="109" y="25"/>
                    <a:pt x="109" y="55"/>
                  </a:cubicBezTo>
                  <a:cubicBezTo>
                    <a:pt x="109" y="85"/>
                    <a:pt x="85" y="109"/>
                    <a:pt x="55" y="109"/>
                  </a:cubicBezTo>
                  <a:close/>
                  <a:moveTo>
                    <a:pt x="55" y="6"/>
                  </a:moveTo>
                  <a:cubicBezTo>
                    <a:pt x="28" y="6"/>
                    <a:pt x="6" y="28"/>
                    <a:pt x="6" y="55"/>
                  </a:cubicBezTo>
                  <a:cubicBezTo>
                    <a:pt x="6" y="81"/>
                    <a:pt x="28" y="103"/>
                    <a:pt x="55" y="103"/>
                  </a:cubicBezTo>
                  <a:cubicBezTo>
                    <a:pt x="81" y="103"/>
                    <a:pt x="103" y="81"/>
                    <a:pt x="103" y="55"/>
                  </a:cubicBezTo>
                  <a:cubicBezTo>
                    <a:pt x="103" y="28"/>
                    <a:pt x="81" y="6"/>
                    <a:pt x="55" y="6"/>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81BC00"/>
                </a:solidFill>
              </a:endParaRPr>
            </a:p>
          </p:txBody>
        </p:sp>
        <p:sp>
          <p:nvSpPr>
            <p:cNvPr id="415" name="Freeform 10">
              <a:extLst>
                <a:ext uri="{FF2B5EF4-FFF2-40B4-BE49-F238E27FC236}">
                  <a16:creationId xmlns:a16="http://schemas.microsoft.com/office/drawing/2014/main" id="{71604535-E28C-E749-BBE7-2F4CF0D941B7}"/>
                </a:ext>
              </a:extLst>
            </p:cNvPr>
            <p:cNvSpPr>
              <a:spLocks noEditPoints="1"/>
            </p:cNvSpPr>
            <p:nvPr/>
          </p:nvSpPr>
          <p:spPr bwMode="auto">
            <a:xfrm>
              <a:off x="3173496" y="1458212"/>
              <a:ext cx="506377" cy="507151"/>
            </a:xfrm>
            <a:custGeom>
              <a:avLst/>
              <a:gdLst>
                <a:gd name="T0" fmla="*/ 54 w 109"/>
                <a:gd name="T1" fmla="*/ 109 h 109"/>
                <a:gd name="T2" fmla="*/ 0 w 109"/>
                <a:gd name="T3" fmla="*/ 55 h 109"/>
                <a:gd name="T4" fmla="*/ 54 w 109"/>
                <a:gd name="T5" fmla="*/ 0 h 109"/>
                <a:gd name="T6" fmla="*/ 109 w 109"/>
                <a:gd name="T7" fmla="*/ 55 h 109"/>
                <a:gd name="T8" fmla="*/ 54 w 109"/>
                <a:gd name="T9" fmla="*/ 109 h 109"/>
                <a:gd name="T10" fmla="*/ 54 w 109"/>
                <a:gd name="T11" fmla="*/ 6 h 109"/>
                <a:gd name="T12" fmla="*/ 6 w 109"/>
                <a:gd name="T13" fmla="*/ 55 h 109"/>
                <a:gd name="T14" fmla="*/ 54 w 109"/>
                <a:gd name="T15" fmla="*/ 103 h 109"/>
                <a:gd name="T16" fmla="*/ 103 w 109"/>
                <a:gd name="T17" fmla="*/ 55 h 109"/>
                <a:gd name="T18" fmla="*/ 54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4" y="109"/>
                  </a:moveTo>
                  <a:cubicBezTo>
                    <a:pt x="24" y="109"/>
                    <a:pt x="0" y="85"/>
                    <a:pt x="0" y="55"/>
                  </a:cubicBezTo>
                  <a:cubicBezTo>
                    <a:pt x="0" y="25"/>
                    <a:pt x="24" y="0"/>
                    <a:pt x="54" y="0"/>
                  </a:cubicBezTo>
                  <a:cubicBezTo>
                    <a:pt x="84" y="0"/>
                    <a:pt x="109" y="25"/>
                    <a:pt x="109" y="55"/>
                  </a:cubicBezTo>
                  <a:cubicBezTo>
                    <a:pt x="109" y="85"/>
                    <a:pt x="84" y="109"/>
                    <a:pt x="54" y="109"/>
                  </a:cubicBezTo>
                  <a:close/>
                  <a:moveTo>
                    <a:pt x="54" y="6"/>
                  </a:moveTo>
                  <a:cubicBezTo>
                    <a:pt x="28" y="6"/>
                    <a:pt x="6" y="28"/>
                    <a:pt x="6" y="55"/>
                  </a:cubicBezTo>
                  <a:cubicBezTo>
                    <a:pt x="6" y="81"/>
                    <a:pt x="28" y="103"/>
                    <a:pt x="54" y="103"/>
                  </a:cubicBezTo>
                  <a:cubicBezTo>
                    <a:pt x="81" y="103"/>
                    <a:pt x="103" y="81"/>
                    <a:pt x="103" y="55"/>
                  </a:cubicBezTo>
                  <a:cubicBezTo>
                    <a:pt x="103" y="28"/>
                    <a:pt x="81" y="6"/>
                    <a:pt x="54" y="6"/>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00A1DE"/>
                </a:solidFill>
              </a:endParaRPr>
            </a:p>
          </p:txBody>
        </p:sp>
        <p:sp>
          <p:nvSpPr>
            <p:cNvPr id="416" name="Freeform 11">
              <a:extLst>
                <a:ext uri="{FF2B5EF4-FFF2-40B4-BE49-F238E27FC236}">
                  <a16:creationId xmlns:a16="http://schemas.microsoft.com/office/drawing/2014/main" id="{2183FF62-0926-614B-975D-F7724C0FA05D}"/>
                </a:ext>
              </a:extLst>
            </p:cNvPr>
            <p:cNvSpPr>
              <a:spLocks noEditPoints="1"/>
            </p:cNvSpPr>
            <p:nvPr/>
          </p:nvSpPr>
          <p:spPr bwMode="auto">
            <a:xfrm>
              <a:off x="5367794" y="844986"/>
              <a:ext cx="507151" cy="506376"/>
            </a:xfrm>
            <a:custGeom>
              <a:avLst/>
              <a:gdLst>
                <a:gd name="T0" fmla="*/ 54 w 109"/>
                <a:gd name="T1" fmla="*/ 109 h 109"/>
                <a:gd name="T2" fmla="*/ 0 w 109"/>
                <a:gd name="T3" fmla="*/ 55 h 109"/>
                <a:gd name="T4" fmla="*/ 54 w 109"/>
                <a:gd name="T5" fmla="*/ 0 h 109"/>
                <a:gd name="T6" fmla="*/ 109 w 109"/>
                <a:gd name="T7" fmla="*/ 55 h 109"/>
                <a:gd name="T8" fmla="*/ 54 w 109"/>
                <a:gd name="T9" fmla="*/ 109 h 109"/>
                <a:gd name="T10" fmla="*/ 54 w 109"/>
                <a:gd name="T11" fmla="*/ 6 h 109"/>
                <a:gd name="T12" fmla="*/ 6 w 109"/>
                <a:gd name="T13" fmla="*/ 55 h 109"/>
                <a:gd name="T14" fmla="*/ 54 w 109"/>
                <a:gd name="T15" fmla="*/ 103 h 109"/>
                <a:gd name="T16" fmla="*/ 103 w 109"/>
                <a:gd name="T17" fmla="*/ 55 h 109"/>
                <a:gd name="T18" fmla="*/ 54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4" y="109"/>
                  </a:moveTo>
                  <a:cubicBezTo>
                    <a:pt x="24" y="109"/>
                    <a:pt x="0" y="85"/>
                    <a:pt x="0" y="55"/>
                  </a:cubicBezTo>
                  <a:cubicBezTo>
                    <a:pt x="0" y="25"/>
                    <a:pt x="24" y="0"/>
                    <a:pt x="54" y="0"/>
                  </a:cubicBezTo>
                  <a:cubicBezTo>
                    <a:pt x="84" y="0"/>
                    <a:pt x="109" y="25"/>
                    <a:pt x="109" y="55"/>
                  </a:cubicBezTo>
                  <a:cubicBezTo>
                    <a:pt x="109" y="85"/>
                    <a:pt x="84" y="109"/>
                    <a:pt x="54" y="109"/>
                  </a:cubicBezTo>
                  <a:close/>
                  <a:moveTo>
                    <a:pt x="54" y="6"/>
                  </a:moveTo>
                  <a:cubicBezTo>
                    <a:pt x="28" y="6"/>
                    <a:pt x="6" y="28"/>
                    <a:pt x="6" y="55"/>
                  </a:cubicBezTo>
                  <a:cubicBezTo>
                    <a:pt x="6" y="81"/>
                    <a:pt x="28" y="103"/>
                    <a:pt x="54" y="103"/>
                  </a:cubicBezTo>
                  <a:cubicBezTo>
                    <a:pt x="81" y="103"/>
                    <a:pt x="103" y="81"/>
                    <a:pt x="103" y="55"/>
                  </a:cubicBezTo>
                  <a:cubicBezTo>
                    <a:pt x="103" y="28"/>
                    <a:pt x="81" y="6"/>
                    <a:pt x="54" y="6"/>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dirty="0">
                <a:solidFill>
                  <a:prstClr val="black"/>
                </a:solidFill>
              </a:endParaRPr>
            </a:p>
          </p:txBody>
        </p:sp>
        <p:sp>
          <p:nvSpPr>
            <p:cNvPr id="417" name="Freeform 12">
              <a:extLst>
                <a:ext uri="{FF2B5EF4-FFF2-40B4-BE49-F238E27FC236}">
                  <a16:creationId xmlns:a16="http://schemas.microsoft.com/office/drawing/2014/main" id="{E57C3E5C-011C-0342-9A3C-5C4A6B3217C6}"/>
                </a:ext>
              </a:extLst>
            </p:cNvPr>
            <p:cNvSpPr>
              <a:spLocks noEditPoints="1"/>
            </p:cNvSpPr>
            <p:nvPr/>
          </p:nvSpPr>
          <p:spPr bwMode="auto">
            <a:xfrm>
              <a:off x="5893527" y="1779537"/>
              <a:ext cx="507151" cy="511022"/>
            </a:xfrm>
            <a:custGeom>
              <a:avLst/>
              <a:gdLst>
                <a:gd name="T0" fmla="*/ 55 w 109"/>
                <a:gd name="T1" fmla="*/ 110 h 110"/>
                <a:gd name="T2" fmla="*/ 0 w 109"/>
                <a:gd name="T3" fmla="*/ 55 h 110"/>
                <a:gd name="T4" fmla="*/ 55 w 109"/>
                <a:gd name="T5" fmla="*/ 0 h 110"/>
                <a:gd name="T6" fmla="*/ 109 w 109"/>
                <a:gd name="T7" fmla="*/ 55 h 110"/>
                <a:gd name="T8" fmla="*/ 55 w 109"/>
                <a:gd name="T9" fmla="*/ 110 h 110"/>
                <a:gd name="T10" fmla="*/ 55 w 109"/>
                <a:gd name="T11" fmla="*/ 7 h 110"/>
                <a:gd name="T12" fmla="*/ 6 w 109"/>
                <a:gd name="T13" fmla="*/ 55 h 110"/>
                <a:gd name="T14" fmla="*/ 55 w 109"/>
                <a:gd name="T15" fmla="*/ 103 h 110"/>
                <a:gd name="T16" fmla="*/ 103 w 109"/>
                <a:gd name="T17" fmla="*/ 55 h 110"/>
                <a:gd name="T18" fmla="*/ 55 w 109"/>
                <a:gd name="T19" fmla="*/ 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10">
                  <a:moveTo>
                    <a:pt x="55" y="110"/>
                  </a:moveTo>
                  <a:cubicBezTo>
                    <a:pt x="25" y="110"/>
                    <a:pt x="0" y="85"/>
                    <a:pt x="0" y="55"/>
                  </a:cubicBezTo>
                  <a:cubicBezTo>
                    <a:pt x="0" y="25"/>
                    <a:pt x="25" y="0"/>
                    <a:pt x="55" y="0"/>
                  </a:cubicBezTo>
                  <a:cubicBezTo>
                    <a:pt x="85" y="0"/>
                    <a:pt x="109" y="25"/>
                    <a:pt x="109" y="55"/>
                  </a:cubicBezTo>
                  <a:cubicBezTo>
                    <a:pt x="109" y="85"/>
                    <a:pt x="85" y="110"/>
                    <a:pt x="55" y="110"/>
                  </a:cubicBezTo>
                  <a:close/>
                  <a:moveTo>
                    <a:pt x="55" y="7"/>
                  </a:moveTo>
                  <a:cubicBezTo>
                    <a:pt x="28" y="7"/>
                    <a:pt x="6" y="28"/>
                    <a:pt x="6" y="55"/>
                  </a:cubicBezTo>
                  <a:cubicBezTo>
                    <a:pt x="6" y="82"/>
                    <a:pt x="28" y="103"/>
                    <a:pt x="55" y="103"/>
                  </a:cubicBezTo>
                  <a:cubicBezTo>
                    <a:pt x="81" y="103"/>
                    <a:pt x="103" y="82"/>
                    <a:pt x="103" y="55"/>
                  </a:cubicBezTo>
                  <a:cubicBezTo>
                    <a:pt x="103" y="28"/>
                    <a:pt x="81" y="7"/>
                    <a:pt x="55" y="7"/>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dirty="0">
                <a:solidFill>
                  <a:prstClr val="black"/>
                </a:solidFill>
              </a:endParaRPr>
            </a:p>
          </p:txBody>
        </p:sp>
        <p:sp>
          <p:nvSpPr>
            <p:cNvPr id="418" name="Freeform 7">
              <a:extLst>
                <a:ext uri="{FF2B5EF4-FFF2-40B4-BE49-F238E27FC236}">
                  <a16:creationId xmlns:a16="http://schemas.microsoft.com/office/drawing/2014/main" id="{DA225D00-676E-9046-8248-049A1AA65129}"/>
                </a:ext>
              </a:extLst>
            </p:cNvPr>
            <p:cNvSpPr>
              <a:spLocks noEditPoints="1"/>
            </p:cNvSpPr>
            <p:nvPr/>
          </p:nvSpPr>
          <p:spPr bwMode="auto">
            <a:xfrm>
              <a:off x="4024424" y="2202292"/>
              <a:ext cx="669749" cy="669749"/>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9 h 144"/>
                <a:gd name="T12" fmla="*/ 8 w 144"/>
                <a:gd name="T13" fmla="*/ 72 h 144"/>
                <a:gd name="T14" fmla="*/ 72 w 144"/>
                <a:gd name="T15" fmla="*/ 136 h 144"/>
                <a:gd name="T16" fmla="*/ 135 w 144"/>
                <a:gd name="T17" fmla="*/ 72 h 144"/>
                <a:gd name="T18" fmla="*/ 72 w 144"/>
                <a:gd name="T19" fmla="*/ 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2" y="0"/>
                    <a:pt x="144" y="33"/>
                    <a:pt x="144" y="72"/>
                  </a:cubicBezTo>
                  <a:cubicBezTo>
                    <a:pt x="144" y="112"/>
                    <a:pt x="112" y="144"/>
                    <a:pt x="72" y="144"/>
                  </a:cubicBezTo>
                  <a:close/>
                  <a:moveTo>
                    <a:pt x="72" y="9"/>
                  </a:moveTo>
                  <a:cubicBezTo>
                    <a:pt x="37" y="9"/>
                    <a:pt x="8" y="37"/>
                    <a:pt x="8" y="72"/>
                  </a:cubicBezTo>
                  <a:cubicBezTo>
                    <a:pt x="8" y="107"/>
                    <a:pt x="37" y="136"/>
                    <a:pt x="72" y="136"/>
                  </a:cubicBezTo>
                  <a:cubicBezTo>
                    <a:pt x="107" y="136"/>
                    <a:pt x="135" y="107"/>
                    <a:pt x="135" y="72"/>
                  </a:cubicBezTo>
                  <a:cubicBezTo>
                    <a:pt x="135" y="37"/>
                    <a:pt x="107" y="9"/>
                    <a:pt x="72" y="9"/>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002776"/>
                </a:solidFill>
              </a:endParaRPr>
            </a:p>
          </p:txBody>
        </p:sp>
        <p:sp>
          <p:nvSpPr>
            <p:cNvPr id="419" name="Freeform 15">
              <a:extLst>
                <a:ext uri="{FF2B5EF4-FFF2-40B4-BE49-F238E27FC236}">
                  <a16:creationId xmlns:a16="http://schemas.microsoft.com/office/drawing/2014/main" id="{B61153FA-E144-1B47-BC7A-7D4063B9A7F4}"/>
                </a:ext>
              </a:extLst>
            </p:cNvPr>
            <p:cNvSpPr>
              <a:spLocks noEditPoints="1"/>
            </p:cNvSpPr>
            <p:nvPr/>
          </p:nvSpPr>
          <p:spPr bwMode="auto">
            <a:xfrm>
              <a:off x="3768914" y="728845"/>
              <a:ext cx="362361" cy="362361"/>
            </a:xfrm>
            <a:custGeom>
              <a:avLst/>
              <a:gdLst>
                <a:gd name="T0" fmla="*/ 39 w 78"/>
                <a:gd name="T1" fmla="*/ 78 h 78"/>
                <a:gd name="T2" fmla="*/ 0 w 78"/>
                <a:gd name="T3" fmla="*/ 39 h 78"/>
                <a:gd name="T4" fmla="*/ 39 w 78"/>
                <a:gd name="T5" fmla="*/ 0 h 78"/>
                <a:gd name="T6" fmla="*/ 78 w 78"/>
                <a:gd name="T7" fmla="*/ 39 h 78"/>
                <a:gd name="T8" fmla="*/ 39 w 78"/>
                <a:gd name="T9" fmla="*/ 78 h 78"/>
                <a:gd name="T10" fmla="*/ 39 w 78"/>
                <a:gd name="T11" fmla="*/ 4 h 78"/>
                <a:gd name="T12" fmla="*/ 4 w 78"/>
                <a:gd name="T13" fmla="*/ 39 h 78"/>
                <a:gd name="T14" fmla="*/ 39 w 78"/>
                <a:gd name="T15" fmla="*/ 74 h 78"/>
                <a:gd name="T16" fmla="*/ 74 w 78"/>
                <a:gd name="T17" fmla="*/ 39 h 78"/>
                <a:gd name="T18" fmla="*/ 39 w 78"/>
                <a:gd name="T19"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39" y="78"/>
                  </a:moveTo>
                  <a:cubicBezTo>
                    <a:pt x="17" y="78"/>
                    <a:pt x="0" y="61"/>
                    <a:pt x="0" y="39"/>
                  </a:cubicBezTo>
                  <a:cubicBezTo>
                    <a:pt x="0" y="17"/>
                    <a:pt x="17" y="0"/>
                    <a:pt x="39" y="0"/>
                  </a:cubicBezTo>
                  <a:cubicBezTo>
                    <a:pt x="61" y="0"/>
                    <a:pt x="78" y="17"/>
                    <a:pt x="78" y="39"/>
                  </a:cubicBezTo>
                  <a:cubicBezTo>
                    <a:pt x="78" y="61"/>
                    <a:pt x="61" y="78"/>
                    <a:pt x="39" y="78"/>
                  </a:cubicBezTo>
                  <a:close/>
                  <a:moveTo>
                    <a:pt x="39" y="4"/>
                  </a:moveTo>
                  <a:cubicBezTo>
                    <a:pt x="20" y="4"/>
                    <a:pt x="4" y="20"/>
                    <a:pt x="4" y="39"/>
                  </a:cubicBezTo>
                  <a:cubicBezTo>
                    <a:pt x="4" y="58"/>
                    <a:pt x="20" y="74"/>
                    <a:pt x="39" y="74"/>
                  </a:cubicBezTo>
                  <a:cubicBezTo>
                    <a:pt x="58" y="74"/>
                    <a:pt x="74" y="58"/>
                    <a:pt x="74" y="39"/>
                  </a:cubicBezTo>
                  <a:cubicBezTo>
                    <a:pt x="74" y="20"/>
                    <a:pt x="58" y="4"/>
                    <a:pt x="39"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20" name="Oval 103">
              <a:extLst>
                <a:ext uri="{FF2B5EF4-FFF2-40B4-BE49-F238E27FC236}">
                  <a16:creationId xmlns:a16="http://schemas.microsoft.com/office/drawing/2014/main" id="{68F9F888-1C77-814E-ADE1-5D99C2D5FD37}"/>
                </a:ext>
              </a:extLst>
            </p:cNvPr>
            <p:cNvSpPr>
              <a:spLocks noChangeArrowheads="1"/>
            </p:cNvSpPr>
            <p:nvPr/>
          </p:nvSpPr>
          <p:spPr bwMode="auto">
            <a:xfrm>
              <a:off x="3189662" y="455302"/>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21" name="Freeform 45">
              <a:extLst>
                <a:ext uri="{FF2B5EF4-FFF2-40B4-BE49-F238E27FC236}">
                  <a16:creationId xmlns:a16="http://schemas.microsoft.com/office/drawing/2014/main" id="{D16FD343-A45E-8B49-85C9-F06149102932}"/>
                </a:ext>
              </a:extLst>
            </p:cNvPr>
            <p:cNvSpPr>
              <a:spLocks noEditPoints="1"/>
            </p:cNvSpPr>
            <p:nvPr/>
          </p:nvSpPr>
          <p:spPr bwMode="auto">
            <a:xfrm>
              <a:off x="6976678" y="2405731"/>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22" name="Oval 107">
              <a:extLst>
                <a:ext uri="{FF2B5EF4-FFF2-40B4-BE49-F238E27FC236}">
                  <a16:creationId xmlns:a16="http://schemas.microsoft.com/office/drawing/2014/main" id="{1052E0FA-3BAC-B547-9C64-7BE4E096FD4B}"/>
                </a:ext>
              </a:extLst>
            </p:cNvPr>
            <p:cNvSpPr>
              <a:spLocks noChangeArrowheads="1"/>
            </p:cNvSpPr>
            <p:nvPr/>
          </p:nvSpPr>
          <p:spPr bwMode="auto">
            <a:xfrm>
              <a:off x="5725351" y="476404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23" name="Oval 101">
              <a:extLst>
                <a:ext uri="{FF2B5EF4-FFF2-40B4-BE49-F238E27FC236}">
                  <a16:creationId xmlns:a16="http://schemas.microsoft.com/office/drawing/2014/main" id="{21736136-78F3-954F-8B2C-CAA76ACB8693}"/>
                </a:ext>
              </a:extLst>
            </p:cNvPr>
            <p:cNvSpPr>
              <a:spLocks noChangeArrowheads="1"/>
            </p:cNvSpPr>
            <p:nvPr/>
          </p:nvSpPr>
          <p:spPr bwMode="auto">
            <a:xfrm>
              <a:off x="2894647" y="4064011"/>
              <a:ext cx="98333"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24" name="Oval 107">
              <a:extLst>
                <a:ext uri="{FF2B5EF4-FFF2-40B4-BE49-F238E27FC236}">
                  <a16:creationId xmlns:a16="http://schemas.microsoft.com/office/drawing/2014/main" id="{134EA599-25CA-B947-B394-397E12E4B221}"/>
                </a:ext>
              </a:extLst>
            </p:cNvPr>
            <p:cNvSpPr>
              <a:spLocks noChangeArrowheads="1"/>
            </p:cNvSpPr>
            <p:nvPr/>
          </p:nvSpPr>
          <p:spPr bwMode="auto">
            <a:xfrm>
              <a:off x="4455048" y="4440993"/>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spTree>
    <p:custDataLst>
      <p:tags r:id="rId1"/>
    </p:custDataLst>
    <p:extLst>
      <p:ext uri="{BB962C8B-B14F-4D97-AF65-F5344CB8AC3E}">
        <p14:creationId xmlns:p14="http://schemas.microsoft.com/office/powerpoint/2010/main" val="3605767501"/>
      </p:ext>
    </p:extLst>
  </p:cSld>
  <p:clrMapOvr>
    <a:masterClrMapping/>
  </p:clrMapOvr>
  <p:transition>
    <p:fade/>
  </p:transition>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CA2BCE9C-2E7B-9741-AC97-49120239FD74}"/>
              </a:ext>
            </a:extLst>
          </p:cNvPr>
          <p:cNvCxnSpPr/>
          <p:nvPr/>
        </p:nvCxnSpPr>
        <p:spPr>
          <a:xfrm>
            <a:off x="5388216" y="2415710"/>
            <a:ext cx="0" cy="261983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7D0F39D-0AA6-D34E-A45E-383316A16314}"/>
              </a:ext>
            </a:extLst>
          </p:cNvPr>
          <p:cNvCxnSpPr>
            <a:stCxn id="26" idx="8"/>
            <a:endCxn id="73" idx="3"/>
          </p:cNvCxnSpPr>
          <p:nvPr/>
        </p:nvCxnSpPr>
        <p:spPr>
          <a:xfrm>
            <a:off x="3740238" y="3398589"/>
            <a:ext cx="331071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4FD4EF83-6673-7848-928C-BBD144A95F1C}"/>
              </a:ext>
            </a:extLst>
          </p:cNvPr>
          <p:cNvSpPr/>
          <p:nvPr/>
        </p:nvSpPr>
        <p:spPr bwMode="gray">
          <a:xfrm>
            <a:off x="5062372" y="3072745"/>
            <a:ext cx="651688" cy="651688"/>
          </a:xfrm>
          <a:prstGeom prst="ellipse">
            <a:avLst/>
          </a:prstGeom>
          <a:solidFill>
            <a:schemeClr val="bg1"/>
          </a:soli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GB" sz="1368" b="1" dirty="0">
              <a:solidFill>
                <a:schemeClr val="bg1"/>
              </a:solidFill>
            </a:endParaRPr>
          </a:p>
        </p:txBody>
      </p:sp>
      <p:cxnSp>
        <p:nvCxnSpPr>
          <p:cNvPr id="18" name="Straight Connector 17">
            <a:extLst>
              <a:ext uri="{FF2B5EF4-FFF2-40B4-BE49-F238E27FC236}">
                <a16:creationId xmlns:a16="http://schemas.microsoft.com/office/drawing/2014/main" id="{0097F953-F060-1F44-8448-830781C19560}"/>
              </a:ext>
            </a:extLst>
          </p:cNvPr>
          <p:cNvCxnSpPr/>
          <p:nvPr/>
        </p:nvCxnSpPr>
        <p:spPr>
          <a:xfrm flipV="1">
            <a:off x="8332107" y="4927385"/>
            <a:ext cx="226659" cy="179034"/>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BDCF0E3-171F-934E-9A3D-B62DB5F4874C}"/>
              </a:ext>
            </a:extLst>
          </p:cNvPr>
          <p:cNvCxnSpPr/>
          <p:nvPr/>
        </p:nvCxnSpPr>
        <p:spPr>
          <a:xfrm>
            <a:off x="3379955" y="1638216"/>
            <a:ext cx="339361" cy="372335"/>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919853F-BEB6-3B4A-87A7-9A5FFCF2B4A1}"/>
              </a:ext>
            </a:extLst>
          </p:cNvPr>
          <p:cNvCxnSpPr>
            <a:stCxn id="48" idx="13"/>
            <a:endCxn id="68" idx="6"/>
          </p:cNvCxnSpPr>
          <p:nvPr/>
        </p:nvCxnSpPr>
        <p:spPr>
          <a:xfrm flipV="1">
            <a:off x="3218328" y="2091196"/>
            <a:ext cx="1974383" cy="81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Freeform 242">
            <a:extLst>
              <a:ext uri="{FF2B5EF4-FFF2-40B4-BE49-F238E27FC236}">
                <a16:creationId xmlns:a16="http://schemas.microsoft.com/office/drawing/2014/main" id="{ED33F314-527B-D841-B745-C61B77FC1698}"/>
              </a:ext>
            </a:extLst>
          </p:cNvPr>
          <p:cNvSpPr>
            <a:spLocks noChangeAspect="1" noEditPoints="1"/>
          </p:cNvSpPr>
          <p:nvPr/>
        </p:nvSpPr>
        <p:spPr bwMode="auto">
          <a:xfrm>
            <a:off x="4941109" y="2951481"/>
            <a:ext cx="894217" cy="894217"/>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tx1"/>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22" name="Freeform 756">
            <a:extLst>
              <a:ext uri="{FF2B5EF4-FFF2-40B4-BE49-F238E27FC236}">
                <a16:creationId xmlns:a16="http://schemas.microsoft.com/office/drawing/2014/main" id="{FEA6ADE9-A3B5-AC46-B2E2-55E48D4454F3}"/>
              </a:ext>
            </a:extLst>
          </p:cNvPr>
          <p:cNvSpPr>
            <a:spLocks noChangeAspect="1" noEditPoints="1"/>
          </p:cNvSpPr>
          <p:nvPr/>
        </p:nvSpPr>
        <p:spPr bwMode="auto">
          <a:xfrm>
            <a:off x="2734488" y="2897774"/>
            <a:ext cx="234608" cy="234608"/>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5"/>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23" name="TextBox 22">
            <a:extLst>
              <a:ext uri="{FF2B5EF4-FFF2-40B4-BE49-F238E27FC236}">
                <a16:creationId xmlns:a16="http://schemas.microsoft.com/office/drawing/2014/main" id="{30B50749-6366-184D-B315-05DB21C8C536}"/>
              </a:ext>
            </a:extLst>
          </p:cNvPr>
          <p:cNvSpPr txBox="1"/>
          <p:nvPr/>
        </p:nvSpPr>
        <p:spPr>
          <a:xfrm>
            <a:off x="2623725" y="318393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24" name="Freeform 393">
            <a:extLst>
              <a:ext uri="{FF2B5EF4-FFF2-40B4-BE49-F238E27FC236}">
                <a16:creationId xmlns:a16="http://schemas.microsoft.com/office/drawing/2014/main" id="{7BC0CB8E-9B93-9144-92FE-111766104994}"/>
              </a:ext>
            </a:extLst>
          </p:cNvPr>
          <p:cNvSpPr>
            <a:spLocks noChangeAspect="1" noEditPoints="1"/>
          </p:cNvSpPr>
          <p:nvPr/>
        </p:nvSpPr>
        <p:spPr bwMode="auto">
          <a:xfrm>
            <a:off x="3427197" y="3993968"/>
            <a:ext cx="233920" cy="234608"/>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5"/>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grpSp>
        <p:nvGrpSpPr>
          <p:cNvPr id="25" name="Group 555">
            <a:extLst>
              <a:ext uri="{FF2B5EF4-FFF2-40B4-BE49-F238E27FC236}">
                <a16:creationId xmlns:a16="http://schemas.microsoft.com/office/drawing/2014/main" id="{F0FD1A9C-6756-A44E-8793-C5441A265FDB}"/>
              </a:ext>
            </a:extLst>
          </p:cNvPr>
          <p:cNvGrpSpPr>
            <a:grpSpLocks noChangeAspect="1"/>
          </p:cNvGrpSpPr>
          <p:nvPr/>
        </p:nvGrpSpPr>
        <p:grpSpPr bwMode="auto">
          <a:xfrm>
            <a:off x="3348076" y="3203083"/>
            <a:ext cx="392162" cy="391013"/>
            <a:chOff x="1130" y="1948"/>
            <a:chExt cx="341" cy="340"/>
          </a:xfrm>
          <a:solidFill>
            <a:schemeClr val="accent5"/>
          </a:solidFill>
        </p:grpSpPr>
        <p:sp>
          <p:nvSpPr>
            <p:cNvPr id="26" name="Freeform 556">
              <a:extLst>
                <a:ext uri="{FF2B5EF4-FFF2-40B4-BE49-F238E27FC236}">
                  <a16:creationId xmlns:a16="http://schemas.microsoft.com/office/drawing/2014/main" id="{06D583BE-9C77-7540-88AC-1A25E93DC8AC}"/>
                </a:ext>
              </a:extLst>
            </p:cNvPr>
            <p:cNvSpPr>
              <a:spLocks noEditPoints="1"/>
            </p:cNvSpPr>
            <p:nvPr/>
          </p:nvSpPr>
          <p:spPr bwMode="auto">
            <a:xfrm>
              <a:off x="1130" y="194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27" name="Freeform 557">
              <a:extLst>
                <a:ext uri="{FF2B5EF4-FFF2-40B4-BE49-F238E27FC236}">
                  <a16:creationId xmlns:a16="http://schemas.microsoft.com/office/drawing/2014/main" id="{AE116B1B-B451-0E48-A691-ACD259AE8860}"/>
                </a:ext>
              </a:extLst>
            </p:cNvPr>
            <p:cNvSpPr>
              <a:spLocks/>
            </p:cNvSpPr>
            <p:nvPr/>
          </p:nvSpPr>
          <p:spPr bwMode="auto">
            <a:xfrm>
              <a:off x="1322" y="2068"/>
              <a:ext cx="85" cy="1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28" name="Freeform 558">
              <a:extLst>
                <a:ext uri="{FF2B5EF4-FFF2-40B4-BE49-F238E27FC236}">
                  <a16:creationId xmlns:a16="http://schemas.microsoft.com/office/drawing/2014/main" id="{80233E24-6181-DA46-B168-FF00D41AC60E}"/>
                </a:ext>
              </a:extLst>
            </p:cNvPr>
            <p:cNvSpPr>
              <a:spLocks/>
            </p:cNvSpPr>
            <p:nvPr/>
          </p:nvSpPr>
          <p:spPr bwMode="auto">
            <a:xfrm>
              <a:off x="1322" y="2097"/>
              <a:ext cx="85" cy="14"/>
            </a:xfrm>
            <a:custGeom>
              <a:avLst/>
              <a:gdLst>
                <a:gd name="T0" fmla="*/ 117 w 128"/>
                <a:gd name="T1" fmla="*/ 0 h 21"/>
                <a:gd name="T2" fmla="*/ 10 w 128"/>
                <a:gd name="T3" fmla="*/ 0 h 21"/>
                <a:gd name="T4" fmla="*/ 0 w 128"/>
                <a:gd name="T5" fmla="*/ 10 h 21"/>
                <a:gd name="T6" fmla="*/ 10 w 128"/>
                <a:gd name="T7" fmla="*/ 21 h 21"/>
                <a:gd name="T8" fmla="*/ 117 w 128"/>
                <a:gd name="T9" fmla="*/ 21 h 21"/>
                <a:gd name="T10" fmla="*/ 128 w 128"/>
                <a:gd name="T11" fmla="*/ 10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4"/>
                    <a:pt x="0" y="10"/>
                  </a:cubicBezTo>
                  <a:cubicBezTo>
                    <a:pt x="0" y="16"/>
                    <a:pt x="4" y="21"/>
                    <a:pt x="10" y="21"/>
                  </a:cubicBezTo>
                  <a:cubicBezTo>
                    <a:pt x="117" y="21"/>
                    <a:pt x="117" y="21"/>
                    <a:pt x="117" y="21"/>
                  </a:cubicBezTo>
                  <a:cubicBezTo>
                    <a:pt x="123" y="21"/>
                    <a:pt x="128" y="16"/>
                    <a:pt x="128" y="10"/>
                  </a:cubicBezTo>
                  <a:cubicBezTo>
                    <a:pt x="128" y="4"/>
                    <a:pt x="123" y="0"/>
                    <a:pt x="117"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29" name="Freeform 559">
              <a:extLst>
                <a:ext uri="{FF2B5EF4-FFF2-40B4-BE49-F238E27FC236}">
                  <a16:creationId xmlns:a16="http://schemas.microsoft.com/office/drawing/2014/main" id="{BDCBE8A1-A33E-FA4F-83E0-23B690C9C4B7}"/>
                </a:ext>
              </a:extLst>
            </p:cNvPr>
            <p:cNvSpPr>
              <a:spLocks/>
            </p:cNvSpPr>
            <p:nvPr/>
          </p:nvSpPr>
          <p:spPr bwMode="auto">
            <a:xfrm>
              <a:off x="1322" y="2125"/>
              <a:ext cx="85" cy="14"/>
            </a:xfrm>
            <a:custGeom>
              <a:avLst/>
              <a:gdLst>
                <a:gd name="T0" fmla="*/ 117 w 128"/>
                <a:gd name="T1" fmla="*/ 0 h 22"/>
                <a:gd name="T2" fmla="*/ 10 w 128"/>
                <a:gd name="T3" fmla="*/ 0 h 22"/>
                <a:gd name="T4" fmla="*/ 0 w 128"/>
                <a:gd name="T5" fmla="*/ 11 h 22"/>
                <a:gd name="T6" fmla="*/ 10 w 128"/>
                <a:gd name="T7" fmla="*/ 22 h 22"/>
                <a:gd name="T8" fmla="*/ 117 w 128"/>
                <a:gd name="T9" fmla="*/ 22 h 22"/>
                <a:gd name="T10" fmla="*/ 128 w 128"/>
                <a:gd name="T11" fmla="*/ 11 h 22"/>
                <a:gd name="T12" fmla="*/ 117 w 12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8" h="22">
                  <a:moveTo>
                    <a:pt x="117" y="0"/>
                  </a:moveTo>
                  <a:cubicBezTo>
                    <a:pt x="10" y="0"/>
                    <a:pt x="10" y="0"/>
                    <a:pt x="10" y="0"/>
                  </a:cubicBezTo>
                  <a:cubicBezTo>
                    <a:pt x="4" y="0"/>
                    <a:pt x="0" y="5"/>
                    <a:pt x="0" y="11"/>
                  </a:cubicBezTo>
                  <a:cubicBezTo>
                    <a:pt x="0" y="17"/>
                    <a:pt x="4" y="22"/>
                    <a:pt x="10" y="22"/>
                  </a:cubicBezTo>
                  <a:cubicBezTo>
                    <a:pt x="117" y="22"/>
                    <a:pt x="117" y="22"/>
                    <a:pt x="117" y="22"/>
                  </a:cubicBezTo>
                  <a:cubicBezTo>
                    <a:pt x="123" y="22"/>
                    <a:pt x="128" y="17"/>
                    <a:pt x="128" y="11"/>
                  </a:cubicBezTo>
                  <a:cubicBezTo>
                    <a:pt x="128" y="5"/>
                    <a:pt x="123" y="0"/>
                    <a:pt x="117"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30" name="Freeform 560">
              <a:extLst>
                <a:ext uri="{FF2B5EF4-FFF2-40B4-BE49-F238E27FC236}">
                  <a16:creationId xmlns:a16="http://schemas.microsoft.com/office/drawing/2014/main" id="{D185FD75-9960-0C45-8F1E-8B2931384FAF}"/>
                </a:ext>
              </a:extLst>
            </p:cNvPr>
            <p:cNvSpPr>
              <a:spLocks/>
            </p:cNvSpPr>
            <p:nvPr/>
          </p:nvSpPr>
          <p:spPr bwMode="auto">
            <a:xfrm>
              <a:off x="1193" y="2051"/>
              <a:ext cx="143"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31" name="Freeform 806">
            <a:extLst>
              <a:ext uri="{FF2B5EF4-FFF2-40B4-BE49-F238E27FC236}">
                <a16:creationId xmlns:a16="http://schemas.microsoft.com/office/drawing/2014/main" id="{29FD289D-60FA-DB4D-92BF-FFDC3B055B82}"/>
              </a:ext>
            </a:extLst>
          </p:cNvPr>
          <p:cNvSpPr>
            <a:spLocks noChangeAspect="1" noEditPoints="1"/>
          </p:cNvSpPr>
          <p:nvPr/>
        </p:nvSpPr>
        <p:spPr bwMode="auto">
          <a:xfrm>
            <a:off x="3895116" y="3574998"/>
            <a:ext cx="234608" cy="234608"/>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5"/>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32" name="TextBox 31">
            <a:extLst>
              <a:ext uri="{FF2B5EF4-FFF2-40B4-BE49-F238E27FC236}">
                <a16:creationId xmlns:a16="http://schemas.microsoft.com/office/drawing/2014/main" id="{9638A88C-F2BE-4A4C-9DF5-5C8D521D54FA}"/>
              </a:ext>
            </a:extLst>
          </p:cNvPr>
          <p:cNvSpPr txBox="1"/>
          <p:nvPr/>
        </p:nvSpPr>
        <p:spPr>
          <a:xfrm>
            <a:off x="2454016" y="3930664"/>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33" name="Freeform 433">
            <a:extLst>
              <a:ext uri="{FF2B5EF4-FFF2-40B4-BE49-F238E27FC236}">
                <a16:creationId xmlns:a16="http://schemas.microsoft.com/office/drawing/2014/main" id="{C447B1F3-05A9-094A-B6EB-14FFE69DADD4}"/>
              </a:ext>
            </a:extLst>
          </p:cNvPr>
          <p:cNvSpPr>
            <a:spLocks noChangeAspect="1" noEditPoints="1"/>
          </p:cNvSpPr>
          <p:nvPr/>
        </p:nvSpPr>
        <p:spPr bwMode="auto">
          <a:xfrm>
            <a:off x="2726892" y="3640096"/>
            <a:ext cx="234608" cy="234608"/>
          </a:xfrm>
          <a:custGeom>
            <a:avLst/>
            <a:gdLst>
              <a:gd name="T0" fmla="*/ 368 w 512"/>
              <a:gd name="T1" fmla="*/ 225 h 512"/>
              <a:gd name="T2" fmla="*/ 281 w 512"/>
              <a:gd name="T3" fmla="*/ 138 h 512"/>
              <a:gd name="T4" fmla="*/ 298 w 512"/>
              <a:gd name="T5" fmla="*/ 121 h 512"/>
              <a:gd name="T6" fmla="*/ 385 w 512"/>
              <a:gd name="T7" fmla="*/ 208 h 512"/>
              <a:gd name="T8" fmla="*/ 390 w 512"/>
              <a:gd name="T9" fmla="*/ 230 h 512"/>
              <a:gd name="T10" fmla="*/ 368 w 512"/>
              <a:gd name="T11" fmla="*/ 225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59 w 512"/>
              <a:gd name="T23" fmla="*/ 146 h 512"/>
              <a:gd name="T24" fmla="*/ 355 w 512"/>
              <a:gd name="T25" fmla="*/ 242 h 512"/>
              <a:gd name="T26" fmla="*/ 360 w 512"/>
              <a:gd name="T27" fmla="*/ 245 h 512"/>
              <a:gd name="T28" fmla="*/ 402 w 512"/>
              <a:gd name="T29" fmla="*/ 255 h 512"/>
              <a:gd name="T30" fmla="*/ 405 w 512"/>
              <a:gd name="T31" fmla="*/ 256 h 512"/>
              <a:gd name="T32" fmla="*/ 413 w 512"/>
              <a:gd name="T33" fmla="*/ 253 h 512"/>
              <a:gd name="T34" fmla="*/ 415 w 512"/>
              <a:gd name="T35" fmla="*/ 242 h 512"/>
              <a:gd name="T36" fmla="*/ 405 w 512"/>
              <a:gd name="T37" fmla="*/ 200 h 512"/>
              <a:gd name="T38" fmla="*/ 402 w 512"/>
              <a:gd name="T39" fmla="*/ 195 h 512"/>
              <a:gd name="T40" fmla="*/ 306 w 512"/>
              <a:gd name="T41" fmla="*/ 99 h 512"/>
              <a:gd name="T42" fmla="*/ 291 w 512"/>
              <a:gd name="T43" fmla="*/ 99 h 512"/>
              <a:gd name="T44" fmla="*/ 259 w 512"/>
              <a:gd name="T45" fmla="*/ 131 h 512"/>
              <a:gd name="T46" fmla="*/ 259 w 512"/>
              <a:gd name="T47" fmla="*/ 146 h 512"/>
              <a:gd name="T48" fmla="*/ 303 w 512"/>
              <a:gd name="T49" fmla="*/ 342 h 512"/>
              <a:gd name="T50" fmla="*/ 267 w 512"/>
              <a:gd name="T51" fmla="*/ 334 h 512"/>
              <a:gd name="T52" fmla="*/ 250 w 512"/>
              <a:gd name="T53" fmla="*/ 331 h 512"/>
              <a:gd name="T54" fmla="*/ 239 w 512"/>
              <a:gd name="T55" fmla="*/ 302 h 512"/>
              <a:gd name="T56" fmla="*/ 261 w 512"/>
              <a:gd name="T57" fmla="*/ 251 h 512"/>
              <a:gd name="T58" fmla="*/ 251 w 512"/>
              <a:gd name="T59" fmla="*/ 177 h 512"/>
              <a:gd name="T60" fmla="*/ 203 w 512"/>
              <a:gd name="T61" fmla="*/ 155 h 512"/>
              <a:gd name="T62" fmla="*/ 153 w 512"/>
              <a:gd name="T63" fmla="*/ 177 h 512"/>
              <a:gd name="T64" fmla="*/ 144 w 512"/>
              <a:gd name="T65" fmla="*/ 251 h 512"/>
              <a:gd name="T66" fmla="*/ 166 w 512"/>
              <a:gd name="T67" fmla="*/ 302 h 512"/>
              <a:gd name="T68" fmla="*/ 155 w 512"/>
              <a:gd name="T69" fmla="*/ 331 h 512"/>
              <a:gd name="T70" fmla="*/ 137 w 512"/>
              <a:gd name="T71" fmla="*/ 334 h 512"/>
              <a:gd name="T72" fmla="*/ 101 w 512"/>
              <a:gd name="T73" fmla="*/ 342 h 512"/>
              <a:gd name="T74" fmla="*/ 97 w 512"/>
              <a:gd name="T75" fmla="*/ 357 h 512"/>
              <a:gd name="T76" fmla="*/ 111 w 512"/>
              <a:gd name="T77" fmla="*/ 361 h 512"/>
              <a:gd name="T78" fmla="*/ 139 w 512"/>
              <a:gd name="T79" fmla="*/ 356 h 512"/>
              <a:gd name="T80" fmla="*/ 164 w 512"/>
              <a:gd name="T81" fmla="*/ 351 h 512"/>
              <a:gd name="T82" fmla="*/ 185 w 512"/>
              <a:gd name="T83" fmla="*/ 318 h 512"/>
              <a:gd name="T84" fmla="*/ 184 w 512"/>
              <a:gd name="T85" fmla="*/ 290 h 512"/>
              <a:gd name="T86" fmla="*/ 165 w 512"/>
              <a:gd name="T87" fmla="*/ 246 h 512"/>
              <a:gd name="T88" fmla="*/ 170 w 512"/>
              <a:gd name="T89" fmla="*/ 191 h 512"/>
              <a:gd name="T90" fmla="*/ 203 w 512"/>
              <a:gd name="T91" fmla="*/ 177 h 512"/>
              <a:gd name="T92" fmla="*/ 235 w 512"/>
              <a:gd name="T93" fmla="*/ 191 h 512"/>
              <a:gd name="T94" fmla="*/ 240 w 512"/>
              <a:gd name="T95" fmla="*/ 246 h 512"/>
              <a:gd name="T96" fmla="*/ 221 w 512"/>
              <a:gd name="T97" fmla="*/ 290 h 512"/>
              <a:gd name="T98" fmla="*/ 219 w 512"/>
              <a:gd name="T99" fmla="*/ 318 h 512"/>
              <a:gd name="T100" fmla="*/ 240 w 512"/>
              <a:gd name="T101" fmla="*/ 351 h 512"/>
              <a:gd name="T102" fmla="*/ 265 w 512"/>
              <a:gd name="T103" fmla="*/ 356 h 512"/>
              <a:gd name="T104" fmla="*/ 293 w 512"/>
              <a:gd name="T105" fmla="*/ 361 h 512"/>
              <a:gd name="T106" fmla="*/ 298 w 512"/>
              <a:gd name="T107" fmla="*/ 362 h 512"/>
              <a:gd name="T108" fmla="*/ 308 w 512"/>
              <a:gd name="T109" fmla="*/ 357 h 512"/>
              <a:gd name="T110" fmla="*/ 303 w 512"/>
              <a:gd name="T111" fmla="*/ 342 h 512"/>
              <a:gd name="T112" fmla="*/ 416 w 512"/>
              <a:gd name="T113" fmla="*/ 288 h 512"/>
              <a:gd name="T114" fmla="*/ 405 w 512"/>
              <a:gd name="T115" fmla="*/ 277 h 512"/>
              <a:gd name="T116" fmla="*/ 298 w 512"/>
              <a:gd name="T117" fmla="*/ 277 h 512"/>
              <a:gd name="T118" fmla="*/ 288 w 512"/>
              <a:gd name="T119" fmla="*/ 288 h 512"/>
              <a:gd name="T120" fmla="*/ 298 w 512"/>
              <a:gd name="T121" fmla="*/ 298 h 512"/>
              <a:gd name="T122" fmla="*/ 405 w 512"/>
              <a:gd name="T123" fmla="*/ 298 h 512"/>
              <a:gd name="T124" fmla="*/ 416 w 512"/>
              <a:gd name="T12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68" y="225"/>
                </a:moveTo>
                <a:cubicBezTo>
                  <a:pt x="281" y="138"/>
                  <a:pt x="281" y="138"/>
                  <a:pt x="281" y="138"/>
                </a:cubicBezTo>
                <a:cubicBezTo>
                  <a:pt x="298" y="121"/>
                  <a:pt x="298" y="121"/>
                  <a:pt x="298" y="121"/>
                </a:cubicBezTo>
                <a:cubicBezTo>
                  <a:pt x="385" y="208"/>
                  <a:pt x="385" y="208"/>
                  <a:pt x="385" y="208"/>
                </a:cubicBezTo>
                <a:cubicBezTo>
                  <a:pt x="390" y="230"/>
                  <a:pt x="390" y="230"/>
                  <a:pt x="390" y="230"/>
                </a:cubicBezTo>
                <a:lnTo>
                  <a:pt x="368" y="22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9" y="146"/>
                </a:moveTo>
                <a:cubicBezTo>
                  <a:pt x="355" y="242"/>
                  <a:pt x="355" y="242"/>
                  <a:pt x="355" y="242"/>
                </a:cubicBezTo>
                <a:cubicBezTo>
                  <a:pt x="356" y="243"/>
                  <a:pt x="358" y="244"/>
                  <a:pt x="360" y="245"/>
                </a:cubicBezTo>
                <a:cubicBezTo>
                  <a:pt x="402" y="255"/>
                  <a:pt x="402" y="255"/>
                  <a:pt x="402" y="255"/>
                </a:cubicBezTo>
                <a:cubicBezTo>
                  <a:pt x="403" y="256"/>
                  <a:pt x="404" y="256"/>
                  <a:pt x="405" y="256"/>
                </a:cubicBezTo>
                <a:cubicBezTo>
                  <a:pt x="408" y="256"/>
                  <a:pt x="411" y="255"/>
                  <a:pt x="413" y="253"/>
                </a:cubicBezTo>
                <a:cubicBezTo>
                  <a:pt x="415" y="250"/>
                  <a:pt x="416" y="246"/>
                  <a:pt x="415" y="242"/>
                </a:cubicBezTo>
                <a:cubicBezTo>
                  <a:pt x="405" y="200"/>
                  <a:pt x="405" y="200"/>
                  <a:pt x="405" y="200"/>
                </a:cubicBezTo>
                <a:cubicBezTo>
                  <a:pt x="404" y="198"/>
                  <a:pt x="403" y="196"/>
                  <a:pt x="402" y="195"/>
                </a:cubicBezTo>
                <a:cubicBezTo>
                  <a:pt x="306" y="99"/>
                  <a:pt x="306" y="99"/>
                  <a:pt x="306" y="99"/>
                </a:cubicBezTo>
                <a:cubicBezTo>
                  <a:pt x="302" y="95"/>
                  <a:pt x="295" y="95"/>
                  <a:pt x="291" y="99"/>
                </a:cubicBezTo>
                <a:cubicBezTo>
                  <a:pt x="259" y="131"/>
                  <a:pt x="259" y="131"/>
                  <a:pt x="259" y="131"/>
                </a:cubicBezTo>
                <a:cubicBezTo>
                  <a:pt x="255" y="135"/>
                  <a:pt x="255" y="142"/>
                  <a:pt x="259" y="146"/>
                </a:cubicBezTo>
                <a:close/>
                <a:moveTo>
                  <a:pt x="303" y="342"/>
                </a:moveTo>
                <a:cubicBezTo>
                  <a:pt x="293" y="337"/>
                  <a:pt x="279" y="335"/>
                  <a:pt x="267" y="334"/>
                </a:cubicBezTo>
                <a:cubicBezTo>
                  <a:pt x="260" y="334"/>
                  <a:pt x="252" y="333"/>
                  <a:pt x="250" y="331"/>
                </a:cubicBezTo>
                <a:cubicBezTo>
                  <a:pt x="243" y="328"/>
                  <a:pt x="237" y="308"/>
                  <a:pt x="239" y="302"/>
                </a:cubicBezTo>
                <a:cubicBezTo>
                  <a:pt x="247" y="289"/>
                  <a:pt x="256" y="269"/>
                  <a:pt x="261" y="251"/>
                </a:cubicBezTo>
                <a:cubicBezTo>
                  <a:pt x="268" y="219"/>
                  <a:pt x="265" y="194"/>
                  <a:pt x="251" y="177"/>
                </a:cubicBezTo>
                <a:cubicBezTo>
                  <a:pt x="233" y="155"/>
                  <a:pt x="203" y="155"/>
                  <a:pt x="203" y="155"/>
                </a:cubicBezTo>
                <a:cubicBezTo>
                  <a:pt x="201" y="155"/>
                  <a:pt x="172" y="155"/>
                  <a:pt x="153" y="177"/>
                </a:cubicBezTo>
                <a:cubicBezTo>
                  <a:pt x="139" y="194"/>
                  <a:pt x="136" y="219"/>
                  <a:pt x="144" y="251"/>
                </a:cubicBezTo>
                <a:cubicBezTo>
                  <a:pt x="148" y="269"/>
                  <a:pt x="157" y="289"/>
                  <a:pt x="166" y="302"/>
                </a:cubicBezTo>
                <a:cubicBezTo>
                  <a:pt x="167" y="308"/>
                  <a:pt x="161" y="328"/>
                  <a:pt x="155" y="331"/>
                </a:cubicBezTo>
                <a:cubicBezTo>
                  <a:pt x="152" y="333"/>
                  <a:pt x="144" y="334"/>
                  <a:pt x="137" y="334"/>
                </a:cubicBezTo>
                <a:cubicBezTo>
                  <a:pt x="125" y="335"/>
                  <a:pt x="112" y="337"/>
                  <a:pt x="101" y="342"/>
                </a:cubicBezTo>
                <a:cubicBezTo>
                  <a:pt x="96" y="345"/>
                  <a:pt x="94" y="351"/>
                  <a:pt x="97" y="357"/>
                </a:cubicBezTo>
                <a:cubicBezTo>
                  <a:pt x="100" y="362"/>
                  <a:pt x="106" y="364"/>
                  <a:pt x="111" y="361"/>
                </a:cubicBezTo>
                <a:cubicBezTo>
                  <a:pt x="118" y="357"/>
                  <a:pt x="129" y="356"/>
                  <a:pt x="139" y="356"/>
                </a:cubicBezTo>
                <a:cubicBezTo>
                  <a:pt x="149" y="355"/>
                  <a:pt x="158" y="354"/>
                  <a:pt x="164" y="351"/>
                </a:cubicBezTo>
                <a:cubicBezTo>
                  <a:pt x="178" y="344"/>
                  <a:pt x="184" y="324"/>
                  <a:pt x="185" y="318"/>
                </a:cubicBezTo>
                <a:cubicBezTo>
                  <a:pt x="187" y="309"/>
                  <a:pt x="189" y="297"/>
                  <a:pt x="184" y="290"/>
                </a:cubicBezTo>
                <a:cubicBezTo>
                  <a:pt x="176" y="280"/>
                  <a:pt x="168" y="261"/>
                  <a:pt x="165" y="246"/>
                </a:cubicBezTo>
                <a:cubicBezTo>
                  <a:pt x="159" y="221"/>
                  <a:pt x="160" y="202"/>
                  <a:pt x="170" y="191"/>
                </a:cubicBezTo>
                <a:cubicBezTo>
                  <a:pt x="181" y="176"/>
                  <a:pt x="202" y="176"/>
                  <a:pt x="203" y="177"/>
                </a:cubicBezTo>
                <a:cubicBezTo>
                  <a:pt x="203" y="176"/>
                  <a:pt x="223" y="176"/>
                  <a:pt x="235" y="191"/>
                </a:cubicBezTo>
                <a:cubicBezTo>
                  <a:pt x="244" y="202"/>
                  <a:pt x="246" y="221"/>
                  <a:pt x="240" y="246"/>
                </a:cubicBezTo>
                <a:cubicBezTo>
                  <a:pt x="236" y="261"/>
                  <a:pt x="228" y="280"/>
                  <a:pt x="221" y="290"/>
                </a:cubicBezTo>
                <a:cubicBezTo>
                  <a:pt x="216" y="297"/>
                  <a:pt x="217" y="309"/>
                  <a:pt x="219" y="318"/>
                </a:cubicBezTo>
                <a:cubicBezTo>
                  <a:pt x="221" y="324"/>
                  <a:pt x="227" y="344"/>
                  <a:pt x="240" y="351"/>
                </a:cubicBezTo>
                <a:cubicBezTo>
                  <a:pt x="247" y="354"/>
                  <a:pt x="255" y="355"/>
                  <a:pt x="265" y="356"/>
                </a:cubicBezTo>
                <a:cubicBezTo>
                  <a:pt x="275" y="356"/>
                  <a:pt x="286" y="357"/>
                  <a:pt x="293" y="361"/>
                </a:cubicBezTo>
                <a:cubicBezTo>
                  <a:pt x="295" y="362"/>
                  <a:pt x="296" y="362"/>
                  <a:pt x="298" y="362"/>
                </a:cubicBezTo>
                <a:cubicBezTo>
                  <a:pt x="302" y="362"/>
                  <a:pt x="306" y="360"/>
                  <a:pt x="308" y="357"/>
                </a:cubicBezTo>
                <a:cubicBezTo>
                  <a:pt x="310" y="351"/>
                  <a:pt x="308" y="345"/>
                  <a:pt x="303" y="342"/>
                </a:cubicBezTo>
                <a:close/>
                <a:moveTo>
                  <a:pt x="416" y="288"/>
                </a:moveTo>
                <a:cubicBezTo>
                  <a:pt x="416" y="282"/>
                  <a:pt x="411" y="277"/>
                  <a:pt x="405" y="277"/>
                </a:cubicBezTo>
                <a:cubicBezTo>
                  <a:pt x="298" y="277"/>
                  <a:pt x="298" y="277"/>
                  <a:pt x="298" y="277"/>
                </a:cubicBezTo>
                <a:cubicBezTo>
                  <a:pt x="292" y="277"/>
                  <a:pt x="288" y="282"/>
                  <a:pt x="288" y="288"/>
                </a:cubicBezTo>
                <a:cubicBezTo>
                  <a:pt x="288" y="294"/>
                  <a:pt x="292" y="298"/>
                  <a:pt x="298" y="298"/>
                </a:cubicBezTo>
                <a:cubicBezTo>
                  <a:pt x="405" y="298"/>
                  <a:pt x="405" y="298"/>
                  <a:pt x="405" y="298"/>
                </a:cubicBezTo>
                <a:cubicBezTo>
                  <a:pt x="411" y="298"/>
                  <a:pt x="416" y="294"/>
                  <a:pt x="416" y="288"/>
                </a:cubicBezTo>
                <a:close/>
              </a:path>
            </a:pathLst>
          </a:custGeom>
          <a:solidFill>
            <a:schemeClr val="accent5"/>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34" name="TextBox 33">
            <a:extLst>
              <a:ext uri="{FF2B5EF4-FFF2-40B4-BE49-F238E27FC236}">
                <a16:creationId xmlns:a16="http://schemas.microsoft.com/office/drawing/2014/main" id="{CD530162-25FE-6B4D-A5C0-B313A7A90D65}"/>
              </a:ext>
            </a:extLst>
          </p:cNvPr>
          <p:cNvSpPr txBox="1"/>
          <p:nvPr/>
        </p:nvSpPr>
        <p:spPr>
          <a:xfrm>
            <a:off x="3271340" y="4261260"/>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41" name="TextBox 40">
            <a:extLst>
              <a:ext uri="{FF2B5EF4-FFF2-40B4-BE49-F238E27FC236}">
                <a16:creationId xmlns:a16="http://schemas.microsoft.com/office/drawing/2014/main" id="{CA685323-C88F-5D43-8281-A08BFFAB545A}"/>
              </a:ext>
            </a:extLst>
          </p:cNvPr>
          <p:cNvSpPr txBox="1"/>
          <p:nvPr/>
        </p:nvSpPr>
        <p:spPr>
          <a:xfrm>
            <a:off x="3705460" y="3845469"/>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42" name="TextBox 41">
            <a:extLst>
              <a:ext uri="{FF2B5EF4-FFF2-40B4-BE49-F238E27FC236}">
                <a16:creationId xmlns:a16="http://schemas.microsoft.com/office/drawing/2014/main" id="{DCE357DC-B8E4-E64F-88B3-905D11F64F55}"/>
              </a:ext>
            </a:extLst>
          </p:cNvPr>
          <p:cNvSpPr txBox="1"/>
          <p:nvPr/>
        </p:nvSpPr>
        <p:spPr>
          <a:xfrm>
            <a:off x="3400208" y="3638762"/>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grpSp>
        <p:nvGrpSpPr>
          <p:cNvPr id="43" name="Group 454">
            <a:extLst>
              <a:ext uri="{FF2B5EF4-FFF2-40B4-BE49-F238E27FC236}">
                <a16:creationId xmlns:a16="http://schemas.microsoft.com/office/drawing/2014/main" id="{C99A9557-6876-724E-8943-661F1969E21D}"/>
              </a:ext>
            </a:extLst>
          </p:cNvPr>
          <p:cNvGrpSpPr>
            <a:grpSpLocks noChangeAspect="1"/>
          </p:cNvGrpSpPr>
          <p:nvPr/>
        </p:nvGrpSpPr>
        <p:grpSpPr bwMode="auto">
          <a:xfrm>
            <a:off x="3426853" y="2564410"/>
            <a:ext cx="234608" cy="234608"/>
            <a:chOff x="2325" y="1565"/>
            <a:chExt cx="340" cy="340"/>
          </a:xfrm>
          <a:solidFill>
            <a:schemeClr val="accent5"/>
          </a:solidFill>
        </p:grpSpPr>
        <p:sp>
          <p:nvSpPr>
            <p:cNvPr id="44" name="Freeform 455">
              <a:extLst>
                <a:ext uri="{FF2B5EF4-FFF2-40B4-BE49-F238E27FC236}">
                  <a16:creationId xmlns:a16="http://schemas.microsoft.com/office/drawing/2014/main" id="{D6004003-300F-C64B-B8E3-20A832FAA0EC}"/>
                </a:ext>
              </a:extLst>
            </p:cNvPr>
            <p:cNvSpPr>
              <a:spLocks noEditPoints="1"/>
            </p:cNvSpPr>
            <p:nvPr/>
          </p:nvSpPr>
          <p:spPr bwMode="auto">
            <a:xfrm>
              <a:off x="2325" y="156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45" name="Freeform 456">
              <a:extLst>
                <a:ext uri="{FF2B5EF4-FFF2-40B4-BE49-F238E27FC236}">
                  <a16:creationId xmlns:a16="http://schemas.microsoft.com/office/drawing/2014/main" id="{3008562D-E1D4-ED46-B4E7-00A9BC1FEED8}"/>
                </a:ext>
              </a:extLst>
            </p:cNvPr>
            <p:cNvSpPr>
              <a:spLocks noEditPoints="1"/>
            </p:cNvSpPr>
            <p:nvPr/>
          </p:nvSpPr>
          <p:spPr bwMode="auto">
            <a:xfrm>
              <a:off x="2405" y="1649"/>
              <a:ext cx="179" cy="175"/>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46" name="TextBox 45">
            <a:extLst>
              <a:ext uri="{FF2B5EF4-FFF2-40B4-BE49-F238E27FC236}">
                <a16:creationId xmlns:a16="http://schemas.microsoft.com/office/drawing/2014/main" id="{783243B7-0F57-F64D-96CA-D12FC89A8815}"/>
              </a:ext>
            </a:extLst>
          </p:cNvPr>
          <p:cNvSpPr txBox="1"/>
          <p:nvPr/>
        </p:nvSpPr>
        <p:spPr>
          <a:xfrm>
            <a:off x="3466013" y="2828225"/>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47" name="TextBox 46">
            <a:extLst>
              <a:ext uri="{FF2B5EF4-FFF2-40B4-BE49-F238E27FC236}">
                <a16:creationId xmlns:a16="http://schemas.microsoft.com/office/drawing/2014/main" id="{8D09686A-AA82-7A45-90AB-56498445FC6A}"/>
              </a:ext>
            </a:extLst>
          </p:cNvPr>
          <p:cNvSpPr txBox="1"/>
          <p:nvPr/>
        </p:nvSpPr>
        <p:spPr>
          <a:xfrm>
            <a:off x="2927845" y="225799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48" name="Freeform 746">
            <a:extLst>
              <a:ext uri="{FF2B5EF4-FFF2-40B4-BE49-F238E27FC236}">
                <a16:creationId xmlns:a16="http://schemas.microsoft.com/office/drawing/2014/main" id="{BF25D42C-C79F-8247-BCD7-F7EE0C3854CA}"/>
              </a:ext>
            </a:extLst>
          </p:cNvPr>
          <p:cNvSpPr>
            <a:spLocks noChangeAspect="1" noEditPoints="1"/>
          </p:cNvSpPr>
          <p:nvPr/>
        </p:nvSpPr>
        <p:spPr bwMode="auto">
          <a:xfrm>
            <a:off x="2983718" y="1974701"/>
            <a:ext cx="234608" cy="234608"/>
          </a:xfrm>
          <a:custGeom>
            <a:avLst/>
            <a:gdLst>
              <a:gd name="T0" fmla="*/ 324 w 512"/>
              <a:gd name="T1" fmla="*/ 223 h 512"/>
              <a:gd name="T2" fmla="*/ 394 w 512"/>
              <a:gd name="T3" fmla="*/ 188 h 512"/>
              <a:gd name="T4" fmla="*/ 394 w 512"/>
              <a:gd name="T5" fmla="*/ 324 h 512"/>
              <a:gd name="T6" fmla="*/ 324 w 512"/>
              <a:gd name="T7" fmla="*/ 289 h 512"/>
              <a:gd name="T8" fmla="*/ 314 w 512"/>
              <a:gd name="T9" fmla="*/ 289 h 512"/>
              <a:gd name="T10" fmla="*/ 309 w 512"/>
              <a:gd name="T11" fmla="*/ 298 h 512"/>
              <a:gd name="T12" fmla="*/ 309 w 512"/>
              <a:gd name="T13" fmla="*/ 352 h 512"/>
              <a:gd name="T14" fmla="*/ 117 w 512"/>
              <a:gd name="T15" fmla="*/ 352 h 512"/>
              <a:gd name="T16" fmla="*/ 117 w 512"/>
              <a:gd name="T17" fmla="*/ 160 h 512"/>
              <a:gd name="T18" fmla="*/ 309 w 512"/>
              <a:gd name="T19" fmla="*/ 160 h 512"/>
              <a:gd name="T20" fmla="*/ 309 w 512"/>
              <a:gd name="T21" fmla="*/ 213 h 512"/>
              <a:gd name="T22" fmla="*/ 314 w 512"/>
              <a:gd name="T23" fmla="*/ 222 h 512"/>
              <a:gd name="T24" fmla="*/ 324 w 512"/>
              <a:gd name="T25" fmla="*/ 223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70 h 512"/>
              <a:gd name="T38" fmla="*/ 411 w 512"/>
              <a:gd name="T39" fmla="*/ 161 h 512"/>
              <a:gd name="T40" fmla="*/ 400 w 512"/>
              <a:gd name="T41" fmla="*/ 161 h 512"/>
              <a:gd name="T42" fmla="*/ 330 w 512"/>
              <a:gd name="T43" fmla="*/ 196 h 512"/>
              <a:gd name="T44" fmla="*/ 330 w 512"/>
              <a:gd name="T45" fmla="*/ 149 h 512"/>
              <a:gd name="T46" fmla="*/ 320 w 512"/>
              <a:gd name="T47" fmla="*/ 138 h 512"/>
              <a:gd name="T48" fmla="*/ 106 w 512"/>
              <a:gd name="T49" fmla="*/ 138 h 512"/>
              <a:gd name="T50" fmla="*/ 96 w 512"/>
              <a:gd name="T51" fmla="*/ 149 h 512"/>
              <a:gd name="T52" fmla="*/ 96 w 512"/>
              <a:gd name="T53" fmla="*/ 362 h 512"/>
              <a:gd name="T54" fmla="*/ 106 w 512"/>
              <a:gd name="T55" fmla="*/ 373 h 512"/>
              <a:gd name="T56" fmla="*/ 320 w 512"/>
              <a:gd name="T57" fmla="*/ 373 h 512"/>
              <a:gd name="T58" fmla="*/ 330 w 512"/>
              <a:gd name="T59" fmla="*/ 362 h 512"/>
              <a:gd name="T60" fmla="*/ 330 w 512"/>
              <a:gd name="T61" fmla="*/ 316 h 512"/>
              <a:gd name="T62" fmla="*/ 400 w 512"/>
              <a:gd name="T63" fmla="*/ 351 h 512"/>
              <a:gd name="T64" fmla="*/ 411 w 512"/>
              <a:gd name="T65" fmla="*/ 350 h 512"/>
              <a:gd name="T66" fmla="*/ 416 w 512"/>
              <a:gd name="T67" fmla="*/ 341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24" y="223"/>
                </a:moveTo>
                <a:cubicBezTo>
                  <a:pt x="394" y="188"/>
                  <a:pt x="394" y="188"/>
                  <a:pt x="394" y="188"/>
                </a:cubicBezTo>
                <a:cubicBezTo>
                  <a:pt x="394" y="324"/>
                  <a:pt x="394" y="324"/>
                  <a:pt x="394" y="324"/>
                </a:cubicBezTo>
                <a:cubicBezTo>
                  <a:pt x="324" y="289"/>
                  <a:pt x="324" y="289"/>
                  <a:pt x="324" y="289"/>
                </a:cubicBezTo>
                <a:cubicBezTo>
                  <a:pt x="321" y="287"/>
                  <a:pt x="317" y="287"/>
                  <a:pt x="314" y="289"/>
                </a:cubicBezTo>
                <a:cubicBezTo>
                  <a:pt x="311" y="291"/>
                  <a:pt x="309" y="295"/>
                  <a:pt x="309" y="298"/>
                </a:cubicBezTo>
                <a:cubicBezTo>
                  <a:pt x="309" y="352"/>
                  <a:pt x="309" y="352"/>
                  <a:pt x="309" y="352"/>
                </a:cubicBezTo>
                <a:cubicBezTo>
                  <a:pt x="117" y="352"/>
                  <a:pt x="117" y="352"/>
                  <a:pt x="117" y="352"/>
                </a:cubicBezTo>
                <a:cubicBezTo>
                  <a:pt x="117" y="160"/>
                  <a:pt x="117" y="160"/>
                  <a:pt x="117" y="160"/>
                </a:cubicBezTo>
                <a:cubicBezTo>
                  <a:pt x="309" y="160"/>
                  <a:pt x="309" y="160"/>
                  <a:pt x="309" y="160"/>
                </a:cubicBezTo>
                <a:cubicBezTo>
                  <a:pt x="309" y="213"/>
                  <a:pt x="309" y="213"/>
                  <a:pt x="309" y="213"/>
                </a:cubicBezTo>
                <a:cubicBezTo>
                  <a:pt x="309" y="217"/>
                  <a:pt x="311" y="220"/>
                  <a:pt x="314" y="222"/>
                </a:cubicBezTo>
                <a:cubicBezTo>
                  <a:pt x="317" y="224"/>
                  <a:pt x="321" y="224"/>
                  <a:pt x="324" y="2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7"/>
                  <a:pt x="414" y="163"/>
                  <a:pt x="411" y="161"/>
                </a:cubicBezTo>
                <a:cubicBezTo>
                  <a:pt x="407" y="159"/>
                  <a:pt x="404" y="159"/>
                  <a:pt x="400" y="161"/>
                </a:cubicBezTo>
                <a:cubicBezTo>
                  <a:pt x="330" y="196"/>
                  <a:pt x="330" y="196"/>
                  <a:pt x="330" y="196"/>
                </a:cubicBezTo>
                <a:cubicBezTo>
                  <a:pt x="330" y="149"/>
                  <a:pt x="330" y="149"/>
                  <a:pt x="330" y="149"/>
                </a:cubicBezTo>
                <a:cubicBezTo>
                  <a:pt x="330" y="143"/>
                  <a:pt x="326" y="138"/>
                  <a:pt x="32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320" y="373"/>
                  <a:pt x="320" y="373"/>
                  <a:pt x="320" y="373"/>
                </a:cubicBezTo>
                <a:cubicBezTo>
                  <a:pt x="326" y="373"/>
                  <a:pt x="330" y="368"/>
                  <a:pt x="330" y="362"/>
                </a:cubicBezTo>
                <a:cubicBezTo>
                  <a:pt x="330" y="316"/>
                  <a:pt x="330" y="316"/>
                  <a:pt x="330" y="316"/>
                </a:cubicBezTo>
                <a:cubicBezTo>
                  <a:pt x="400" y="351"/>
                  <a:pt x="400" y="351"/>
                  <a:pt x="400" y="351"/>
                </a:cubicBezTo>
                <a:cubicBezTo>
                  <a:pt x="404" y="352"/>
                  <a:pt x="407" y="352"/>
                  <a:pt x="411" y="350"/>
                </a:cubicBezTo>
                <a:cubicBezTo>
                  <a:pt x="414" y="348"/>
                  <a:pt x="416" y="345"/>
                  <a:pt x="416" y="341"/>
                </a:cubicBezTo>
                <a:lnTo>
                  <a:pt x="416" y="170"/>
                </a:lnTo>
                <a:close/>
              </a:path>
            </a:pathLst>
          </a:custGeom>
          <a:solidFill>
            <a:schemeClr val="bg2">
              <a:lumMod val="9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49" name="Freeform 5">
            <a:extLst>
              <a:ext uri="{FF2B5EF4-FFF2-40B4-BE49-F238E27FC236}">
                <a16:creationId xmlns:a16="http://schemas.microsoft.com/office/drawing/2014/main" id="{DA8DA07B-5F4B-CD44-BAB6-926B43483709}"/>
              </a:ext>
            </a:extLst>
          </p:cNvPr>
          <p:cNvSpPr>
            <a:spLocks noChangeAspect="1" noEditPoints="1"/>
          </p:cNvSpPr>
          <p:nvPr/>
        </p:nvSpPr>
        <p:spPr bwMode="auto">
          <a:xfrm>
            <a:off x="3674403" y="1969090"/>
            <a:ext cx="235619"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1 w 512"/>
              <a:gd name="T11" fmla="*/ 394 h 512"/>
              <a:gd name="T12" fmla="*/ 338 w 512"/>
              <a:gd name="T13" fmla="*/ 393 h 512"/>
              <a:gd name="T14" fmla="*/ 195 w 512"/>
              <a:gd name="T15" fmla="*/ 316 h 512"/>
              <a:gd name="T16" fmla="*/ 119 w 512"/>
              <a:gd name="T17" fmla="*/ 173 h 512"/>
              <a:gd name="T18" fmla="*/ 131 w 512"/>
              <a:gd name="T19" fmla="*/ 132 h 512"/>
              <a:gd name="T20" fmla="*/ 133 w 512"/>
              <a:gd name="T21" fmla="*/ 129 h 512"/>
              <a:gd name="T22" fmla="*/ 160 w 512"/>
              <a:gd name="T23" fmla="*/ 107 h 512"/>
              <a:gd name="T24" fmla="*/ 160 w 512"/>
              <a:gd name="T25" fmla="*/ 107 h 512"/>
              <a:gd name="T26" fmla="*/ 189 w 512"/>
              <a:gd name="T27" fmla="*/ 115 h 512"/>
              <a:gd name="T28" fmla="*/ 238 w 512"/>
              <a:gd name="T29" fmla="*/ 177 h 512"/>
              <a:gd name="T30" fmla="*/ 236 w 512"/>
              <a:gd name="T31" fmla="*/ 186 h 512"/>
              <a:gd name="T32" fmla="*/ 212 w 512"/>
              <a:gd name="T33" fmla="*/ 210 h 512"/>
              <a:gd name="T34" fmla="*/ 219 w 512"/>
              <a:gd name="T35" fmla="*/ 222 h 512"/>
              <a:gd name="T36" fmla="*/ 251 w 512"/>
              <a:gd name="T37" fmla="*/ 261 h 512"/>
              <a:gd name="T38" fmla="*/ 290 w 512"/>
              <a:gd name="T39" fmla="*/ 292 h 512"/>
              <a:gd name="T40" fmla="*/ 302 w 512"/>
              <a:gd name="T41" fmla="*/ 299 h 512"/>
              <a:gd name="T42" fmla="*/ 326 w 512"/>
              <a:gd name="T43" fmla="*/ 276 h 512"/>
              <a:gd name="T44" fmla="*/ 335 w 512"/>
              <a:gd name="T45" fmla="*/ 273 h 512"/>
              <a:gd name="T46" fmla="*/ 397 w 512"/>
              <a:gd name="T47" fmla="*/ 322 h 512"/>
              <a:gd name="T48" fmla="*/ 404 w 512"/>
              <a:gd name="T49" fmla="*/ 350 h 512"/>
              <a:gd name="T50" fmla="*/ 404 w 512"/>
              <a:gd name="T51" fmla="*/ 350 h 512"/>
              <a:gd name="T52" fmla="*/ 382 w 512"/>
              <a:gd name="T53" fmla="*/ 378 h 512"/>
              <a:gd name="T54" fmla="*/ 379 w 512"/>
              <a:gd name="T55" fmla="*/ 381 h 512"/>
              <a:gd name="T56" fmla="*/ 351 w 512"/>
              <a:gd name="T57" fmla="*/ 394 h 512"/>
              <a:gd name="T58" fmla="*/ 166 w 512"/>
              <a:gd name="T59" fmla="*/ 128 h 512"/>
              <a:gd name="T60" fmla="*/ 149 w 512"/>
              <a:gd name="T61" fmla="*/ 144 h 512"/>
              <a:gd name="T62" fmla="*/ 146 w 512"/>
              <a:gd name="T63" fmla="*/ 147 h 512"/>
              <a:gd name="T64" fmla="*/ 140 w 512"/>
              <a:gd name="T65" fmla="*/ 169 h 512"/>
              <a:gd name="T66" fmla="*/ 140 w 512"/>
              <a:gd name="T67" fmla="*/ 171 h 512"/>
              <a:gd name="T68" fmla="*/ 210 w 512"/>
              <a:gd name="T69" fmla="*/ 301 h 512"/>
              <a:gd name="T70" fmla="*/ 341 w 512"/>
              <a:gd name="T71" fmla="*/ 372 h 512"/>
              <a:gd name="T72" fmla="*/ 342 w 512"/>
              <a:gd name="T73" fmla="*/ 372 h 512"/>
              <a:gd name="T74" fmla="*/ 364 w 512"/>
              <a:gd name="T75" fmla="*/ 365 h 512"/>
              <a:gd name="T76" fmla="*/ 368 w 512"/>
              <a:gd name="T77" fmla="*/ 362 h 512"/>
              <a:gd name="T78" fmla="*/ 383 w 512"/>
              <a:gd name="T79" fmla="*/ 346 h 512"/>
              <a:gd name="T80" fmla="*/ 337 w 512"/>
              <a:gd name="T81" fmla="*/ 295 h 512"/>
              <a:gd name="T82" fmla="*/ 311 w 512"/>
              <a:gd name="T83" fmla="*/ 321 h 512"/>
              <a:gd name="T84" fmla="*/ 297 w 512"/>
              <a:gd name="T85" fmla="*/ 322 h 512"/>
              <a:gd name="T86" fmla="*/ 279 w 512"/>
              <a:gd name="T87" fmla="*/ 310 h 512"/>
              <a:gd name="T88" fmla="*/ 235 w 512"/>
              <a:gd name="T89" fmla="*/ 276 h 512"/>
              <a:gd name="T90" fmla="*/ 201 w 512"/>
              <a:gd name="T91" fmla="*/ 233 h 512"/>
              <a:gd name="T92" fmla="*/ 189 w 512"/>
              <a:gd name="T93" fmla="*/ 214 h 512"/>
              <a:gd name="T94" fmla="*/ 191 w 512"/>
              <a:gd name="T95" fmla="*/ 201 h 512"/>
              <a:gd name="T96" fmla="*/ 217 w 512"/>
              <a:gd name="T97" fmla="*/ 175 h 512"/>
              <a:gd name="T98" fmla="*/ 166 w 512"/>
              <a:gd name="T9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1" y="394"/>
                </a:moveTo>
                <a:cubicBezTo>
                  <a:pt x="347" y="394"/>
                  <a:pt x="343" y="394"/>
                  <a:pt x="338" y="393"/>
                </a:cubicBezTo>
                <a:cubicBezTo>
                  <a:pt x="329" y="392"/>
                  <a:pt x="257" y="381"/>
                  <a:pt x="195" y="316"/>
                </a:cubicBezTo>
                <a:cubicBezTo>
                  <a:pt x="130" y="254"/>
                  <a:pt x="120" y="182"/>
                  <a:pt x="119" y="173"/>
                </a:cubicBezTo>
                <a:cubicBezTo>
                  <a:pt x="113" y="150"/>
                  <a:pt x="122" y="141"/>
                  <a:pt x="131" y="132"/>
                </a:cubicBezTo>
                <a:cubicBezTo>
                  <a:pt x="133" y="129"/>
                  <a:pt x="133" y="129"/>
                  <a:pt x="133" y="129"/>
                </a:cubicBezTo>
                <a:cubicBezTo>
                  <a:pt x="143" y="119"/>
                  <a:pt x="149" y="110"/>
                  <a:pt x="160" y="107"/>
                </a:cubicBezTo>
                <a:cubicBezTo>
                  <a:pt x="160" y="107"/>
                  <a:pt x="160" y="107"/>
                  <a:pt x="160" y="107"/>
                </a:cubicBezTo>
                <a:cubicBezTo>
                  <a:pt x="160" y="106"/>
                  <a:pt x="171" y="106"/>
                  <a:pt x="189" y="115"/>
                </a:cubicBezTo>
                <a:cubicBezTo>
                  <a:pt x="216" y="129"/>
                  <a:pt x="234" y="151"/>
                  <a:pt x="238" y="177"/>
                </a:cubicBezTo>
                <a:cubicBezTo>
                  <a:pt x="239" y="180"/>
                  <a:pt x="238" y="183"/>
                  <a:pt x="236" y="186"/>
                </a:cubicBezTo>
                <a:cubicBezTo>
                  <a:pt x="212" y="210"/>
                  <a:pt x="212" y="210"/>
                  <a:pt x="212" y="210"/>
                </a:cubicBezTo>
                <a:cubicBezTo>
                  <a:pt x="215" y="214"/>
                  <a:pt x="217" y="218"/>
                  <a:pt x="219" y="222"/>
                </a:cubicBezTo>
                <a:cubicBezTo>
                  <a:pt x="227" y="233"/>
                  <a:pt x="232" y="242"/>
                  <a:pt x="251" y="261"/>
                </a:cubicBezTo>
                <a:cubicBezTo>
                  <a:pt x="269" y="280"/>
                  <a:pt x="278" y="285"/>
                  <a:pt x="290" y="292"/>
                </a:cubicBezTo>
                <a:cubicBezTo>
                  <a:pt x="293" y="294"/>
                  <a:pt x="297" y="297"/>
                  <a:pt x="302" y="299"/>
                </a:cubicBezTo>
                <a:cubicBezTo>
                  <a:pt x="326" y="276"/>
                  <a:pt x="326" y="276"/>
                  <a:pt x="326" y="276"/>
                </a:cubicBezTo>
                <a:cubicBezTo>
                  <a:pt x="328" y="273"/>
                  <a:pt x="331" y="272"/>
                  <a:pt x="335" y="273"/>
                </a:cubicBezTo>
                <a:cubicBezTo>
                  <a:pt x="361" y="276"/>
                  <a:pt x="383" y="294"/>
                  <a:pt x="397" y="322"/>
                </a:cubicBezTo>
                <a:cubicBezTo>
                  <a:pt x="403" y="335"/>
                  <a:pt x="406" y="345"/>
                  <a:pt x="404" y="350"/>
                </a:cubicBezTo>
                <a:cubicBezTo>
                  <a:pt x="404" y="350"/>
                  <a:pt x="404" y="350"/>
                  <a:pt x="404" y="350"/>
                </a:cubicBezTo>
                <a:cubicBezTo>
                  <a:pt x="402" y="359"/>
                  <a:pt x="393" y="368"/>
                  <a:pt x="382" y="378"/>
                </a:cubicBezTo>
                <a:cubicBezTo>
                  <a:pt x="379" y="381"/>
                  <a:pt x="379" y="381"/>
                  <a:pt x="379" y="381"/>
                </a:cubicBezTo>
                <a:cubicBezTo>
                  <a:pt x="372" y="387"/>
                  <a:pt x="365" y="394"/>
                  <a:pt x="351" y="394"/>
                </a:cubicBezTo>
                <a:close/>
                <a:moveTo>
                  <a:pt x="166" y="128"/>
                </a:moveTo>
                <a:cubicBezTo>
                  <a:pt x="161" y="131"/>
                  <a:pt x="153" y="140"/>
                  <a:pt x="149" y="144"/>
                </a:cubicBezTo>
                <a:cubicBezTo>
                  <a:pt x="146" y="147"/>
                  <a:pt x="146" y="147"/>
                  <a:pt x="146" y="147"/>
                </a:cubicBezTo>
                <a:cubicBezTo>
                  <a:pt x="139" y="155"/>
                  <a:pt x="137" y="157"/>
                  <a:pt x="140" y="169"/>
                </a:cubicBezTo>
                <a:cubicBezTo>
                  <a:pt x="140" y="170"/>
                  <a:pt x="140" y="170"/>
                  <a:pt x="140" y="171"/>
                </a:cubicBezTo>
                <a:cubicBezTo>
                  <a:pt x="140" y="171"/>
                  <a:pt x="148" y="242"/>
                  <a:pt x="210" y="301"/>
                </a:cubicBezTo>
                <a:cubicBezTo>
                  <a:pt x="270" y="364"/>
                  <a:pt x="340" y="371"/>
                  <a:pt x="341" y="372"/>
                </a:cubicBezTo>
                <a:cubicBezTo>
                  <a:pt x="341" y="372"/>
                  <a:pt x="342" y="372"/>
                  <a:pt x="342" y="372"/>
                </a:cubicBezTo>
                <a:cubicBezTo>
                  <a:pt x="355" y="375"/>
                  <a:pt x="357" y="373"/>
                  <a:pt x="364" y="365"/>
                </a:cubicBezTo>
                <a:cubicBezTo>
                  <a:pt x="368" y="362"/>
                  <a:pt x="368" y="362"/>
                  <a:pt x="368" y="362"/>
                </a:cubicBezTo>
                <a:cubicBezTo>
                  <a:pt x="371" y="359"/>
                  <a:pt x="380" y="350"/>
                  <a:pt x="383" y="346"/>
                </a:cubicBezTo>
                <a:cubicBezTo>
                  <a:pt x="380" y="336"/>
                  <a:pt x="368" y="303"/>
                  <a:pt x="337" y="295"/>
                </a:cubicBezTo>
                <a:cubicBezTo>
                  <a:pt x="311" y="321"/>
                  <a:pt x="311" y="321"/>
                  <a:pt x="311" y="321"/>
                </a:cubicBezTo>
                <a:cubicBezTo>
                  <a:pt x="307" y="324"/>
                  <a:pt x="301" y="325"/>
                  <a:pt x="297" y="322"/>
                </a:cubicBezTo>
                <a:cubicBezTo>
                  <a:pt x="290" y="317"/>
                  <a:pt x="284" y="313"/>
                  <a:pt x="279" y="310"/>
                </a:cubicBezTo>
                <a:cubicBezTo>
                  <a:pt x="267" y="303"/>
                  <a:pt x="256" y="296"/>
                  <a:pt x="235" y="276"/>
                </a:cubicBezTo>
                <a:cubicBezTo>
                  <a:pt x="215" y="255"/>
                  <a:pt x="209" y="245"/>
                  <a:pt x="201" y="233"/>
                </a:cubicBezTo>
                <a:cubicBezTo>
                  <a:pt x="198" y="227"/>
                  <a:pt x="194" y="222"/>
                  <a:pt x="189" y="214"/>
                </a:cubicBezTo>
                <a:cubicBezTo>
                  <a:pt x="186" y="210"/>
                  <a:pt x="187" y="204"/>
                  <a:pt x="191" y="201"/>
                </a:cubicBezTo>
                <a:cubicBezTo>
                  <a:pt x="217" y="175"/>
                  <a:pt x="217" y="175"/>
                  <a:pt x="217" y="175"/>
                </a:cubicBezTo>
                <a:cubicBezTo>
                  <a:pt x="209" y="144"/>
                  <a:pt x="175" y="131"/>
                  <a:pt x="166" y="128"/>
                </a:cubicBezTo>
                <a:close/>
              </a:path>
            </a:pathLst>
          </a:custGeom>
          <a:solidFill>
            <a:schemeClr val="bg2">
              <a:lumMod val="9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0" name="Freeform 852">
            <a:extLst>
              <a:ext uri="{FF2B5EF4-FFF2-40B4-BE49-F238E27FC236}">
                <a16:creationId xmlns:a16="http://schemas.microsoft.com/office/drawing/2014/main" id="{AC3373D2-3FFA-684A-9B40-CC22DFEF5A87}"/>
              </a:ext>
            </a:extLst>
          </p:cNvPr>
          <p:cNvSpPr>
            <a:spLocks noChangeAspect="1" noEditPoints="1"/>
          </p:cNvSpPr>
          <p:nvPr/>
        </p:nvSpPr>
        <p:spPr bwMode="auto">
          <a:xfrm>
            <a:off x="3675254" y="1319144"/>
            <a:ext cx="233919" cy="234608"/>
          </a:xfrm>
          <a:custGeom>
            <a:avLst/>
            <a:gdLst>
              <a:gd name="T0" fmla="*/ 256 w 512"/>
              <a:gd name="T1" fmla="*/ 309 h 512"/>
              <a:gd name="T2" fmla="*/ 202 w 512"/>
              <a:gd name="T3" fmla="*/ 256 h 512"/>
              <a:gd name="T4" fmla="*/ 202 w 512"/>
              <a:gd name="T5" fmla="*/ 149 h 512"/>
              <a:gd name="T6" fmla="*/ 256 w 512"/>
              <a:gd name="T7" fmla="*/ 96 h 512"/>
              <a:gd name="T8" fmla="*/ 309 w 512"/>
              <a:gd name="T9" fmla="*/ 149 h 512"/>
              <a:gd name="T10" fmla="*/ 309 w 512"/>
              <a:gd name="T11" fmla="*/ 256 h 512"/>
              <a:gd name="T12" fmla="*/ 256 w 512"/>
              <a:gd name="T13" fmla="*/ 309 h 512"/>
              <a:gd name="T14" fmla="*/ 256 w 512"/>
              <a:gd name="T15" fmla="*/ 117 h 512"/>
              <a:gd name="T16" fmla="*/ 224 w 512"/>
              <a:gd name="T17" fmla="*/ 149 h 512"/>
              <a:gd name="T18" fmla="*/ 224 w 512"/>
              <a:gd name="T19" fmla="*/ 256 h 512"/>
              <a:gd name="T20" fmla="*/ 256 w 512"/>
              <a:gd name="T21" fmla="*/ 288 h 512"/>
              <a:gd name="T22" fmla="*/ 288 w 512"/>
              <a:gd name="T23" fmla="*/ 256 h 512"/>
              <a:gd name="T24" fmla="*/ 288 w 512"/>
              <a:gd name="T25" fmla="*/ 149 h 512"/>
              <a:gd name="T26" fmla="*/ 256 w 512"/>
              <a:gd name="T27" fmla="*/ 117 h 512"/>
              <a:gd name="T28" fmla="*/ 256 w 512"/>
              <a:gd name="T29" fmla="*/ 0 h 512"/>
              <a:gd name="T30" fmla="*/ 0 w 512"/>
              <a:gd name="T31" fmla="*/ 256 h 512"/>
              <a:gd name="T32" fmla="*/ 256 w 512"/>
              <a:gd name="T33" fmla="*/ 512 h 512"/>
              <a:gd name="T34" fmla="*/ 512 w 512"/>
              <a:gd name="T35" fmla="*/ 256 h 512"/>
              <a:gd name="T36" fmla="*/ 256 w 512"/>
              <a:gd name="T37" fmla="*/ 0 h 512"/>
              <a:gd name="T38" fmla="*/ 266 w 512"/>
              <a:gd name="T39" fmla="*/ 351 h 512"/>
              <a:gd name="T40" fmla="*/ 266 w 512"/>
              <a:gd name="T41" fmla="*/ 394 h 512"/>
              <a:gd name="T42" fmla="*/ 309 w 512"/>
              <a:gd name="T43" fmla="*/ 394 h 512"/>
              <a:gd name="T44" fmla="*/ 320 w 512"/>
              <a:gd name="T45" fmla="*/ 405 h 512"/>
              <a:gd name="T46" fmla="*/ 309 w 512"/>
              <a:gd name="T47" fmla="*/ 416 h 512"/>
              <a:gd name="T48" fmla="*/ 202 w 512"/>
              <a:gd name="T49" fmla="*/ 416 h 512"/>
              <a:gd name="T50" fmla="*/ 192 w 512"/>
              <a:gd name="T51" fmla="*/ 405 h 512"/>
              <a:gd name="T52" fmla="*/ 202 w 512"/>
              <a:gd name="T53" fmla="*/ 394 h 512"/>
              <a:gd name="T54" fmla="*/ 245 w 512"/>
              <a:gd name="T55" fmla="*/ 394 h 512"/>
              <a:gd name="T56" fmla="*/ 245 w 512"/>
              <a:gd name="T57" fmla="*/ 351 h 512"/>
              <a:gd name="T58" fmla="*/ 160 w 512"/>
              <a:gd name="T59" fmla="*/ 256 h 512"/>
              <a:gd name="T60" fmla="*/ 170 w 512"/>
              <a:gd name="T61" fmla="*/ 245 h 512"/>
              <a:gd name="T62" fmla="*/ 181 w 512"/>
              <a:gd name="T63" fmla="*/ 256 h 512"/>
              <a:gd name="T64" fmla="*/ 256 w 512"/>
              <a:gd name="T65" fmla="*/ 330 h 512"/>
              <a:gd name="T66" fmla="*/ 330 w 512"/>
              <a:gd name="T67" fmla="*/ 256 h 512"/>
              <a:gd name="T68" fmla="*/ 341 w 512"/>
              <a:gd name="T69" fmla="*/ 245 h 512"/>
              <a:gd name="T70" fmla="*/ 352 w 512"/>
              <a:gd name="T71" fmla="*/ 256 h 512"/>
              <a:gd name="T72" fmla="*/ 266 w 512"/>
              <a:gd name="T7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51"/>
                </a:moveTo>
                <a:cubicBezTo>
                  <a:pt x="266" y="394"/>
                  <a:pt x="266" y="394"/>
                  <a:pt x="266" y="394"/>
                </a:cubicBezTo>
                <a:cubicBezTo>
                  <a:pt x="309" y="394"/>
                  <a:pt x="309" y="394"/>
                  <a:pt x="309" y="394"/>
                </a:cubicBezTo>
                <a:cubicBezTo>
                  <a:pt x="315" y="394"/>
                  <a:pt x="320" y="399"/>
                  <a:pt x="320" y="405"/>
                </a:cubicBezTo>
                <a:cubicBezTo>
                  <a:pt x="320" y="411"/>
                  <a:pt x="315" y="416"/>
                  <a:pt x="309" y="416"/>
                </a:cubicBezTo>
                <a:cubicBezTo>
                  <a:pt x="202" y="416"/>
                  <a:pt x="202" y="416"/>
                  <a:pt x="202" y="416"/>
                </a:cubicBezTo>
                <a:cubicBezTo>
                  <a:pt x="196" y="416"/>
                  <a:pt x="192" y="411"/>
                  <a:pt x="192" y="405"/>
                </a:cubicBezTo>
                <a:cubicBezTo>
                  <a:pt x="192" y="399"/>
                  <a:pt x="196" y="394"/>
                  <a:pt x="202" y="394"/>
                </a:cubicBezTo>
                <a:cubicBezTo>
                  <a:pt x="245" y="394"/>
                  <a:pt x="245" y="394"/>
                  <a:pt x="245" y="394"/>
                </a:cubicBezTo>
                <a:cubicBezTo>
                  <a:pt x="245" y="351"/>
                  <a:pt x="245" y="351"/>
                  <a:pt x="245" y="351"/>
                </a:cubicBezTo>
                <a:cubicBezTo>
                  <a:pt x="197" y="346"/>
                  <a:pt x="160" y="305"/>
                  <a:pt x="160" y="256"/>
                </a:cubicBezTo>
                <a:cubicBezTo>
                  <a:pt x="160" y="250"/>
                  <a:pt x="164" y="245"/>
                  <a:pt x="170" y="245"/>
                </a:cubicBezTo>
                <a:cubicBezTo>
                  <a:pt x="176" y="245"/>
                  <a:pt x="181" y="250"/>
                  <a:pt x="181" y="256"/>
                </a:cubicBezTo>
                <a:cubicBezTo>
                  <a:pt x="181" y="297"/>
                  <a:pt x="214" y="330"/>
                  <a:pt x="256" y="330"/>
                </a:cubicBezTo>
                <a:cubicBezTo>
                  <a:pt x="297" y="330"/>
                  <a:pt x="330" y="297"/>
                  <a:pt x="330" y="256"/>
                </a:cubicBezTo>
                <a:cubicBezTo>
                  <a:pt x="330" y="250"/>
                  <a:pt x="335" y="245"/>
                  <a:pt x="341" y="245"/>
                </a:cubicBezTo>
                <a:cubicBezTo>
                  <a:pt x="347" y="245"/>
                  <a:pt x="352" y="250"/>
                  <a:pt x="352" y="256"/>
                </a:cubicBezTo>
                <a:cubicBezTo>
                  <a:pt x="352" y="305"/>
                  <a:pt x="314" y="346"/>
                  <a:pt x="266" y="351"/>
                </a:cubicBezTo>
                <a:close/>
              </a:path>
            </a:pathLst>
          </a:custGeom>
          <a:solidFill>
            <a:schemeClr val="bg2">
              <a:lumMod val="9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1" name="Freeform 547">
            <a:extLst>
              <a:ext uri="{FF2B5EF4-FFF2-40B4-BE49-F238E27FC236}">
                <a16:creationId xmlns:a16="http://schemas.microsoft.com/office/drawing/2014/main" id="{ABC548FE-BB0E-0745-9261-641C05EABF7F}"/>
              </a:ext>
            </a:extLst>
          </p:cNvPr>
          <p:cNvSpPr>
            <a:spLocks noChangeAspect="1" noEditPoints="1"/>
          </p:cNvSpPr>
          <p:nvPr/>
        </p:nvSpPr>
        <p:spPr bwMode="auto">
          <a:xfrm>
            <a:off x="3166797" y="1452099"/>
            <a:ext cx="234608" cy="234608"/>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chemeClr val="bg2">
              <a:lumMod val="9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2" name="TextBox 51">
            <a:extLst>
              <a:ext uri="{FF2B5EF4-FFF2-40B4-BE49-F238E27FC236}">
                <a16:creationId xmlns:a16="http://schemas.microsoft.com/office/drawing/2014/main" id="{4F37B76D-F667-3A49-A95A-904026F16C64}"/>
              </a:ext>
            </a:extLst>
          </p:cNvPr>
          <p:cNvSpPr txBox="1"/>
          <p:nvPr/>
        </p:nvSpPr>
        <p:spPr>
          <a:xfrm>
            <a:off x="3714068" y="225799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53" name="TextBox 52">
            <a:extLst>
              <a:ext uri="{FF2B5EF4-FFF2-40B4-BE49-F238E27FC236}">
                <a16:creationId xmlns:a16="http://schemas.microsoft.com/office/drawing/2014/main" id="{6345F6A4-65CC-974D-8A4F-607B2620456C}"/>
              </a:ext>
            </a:extLst>
          </p:cNvPr>
          <p:cNvSpPr txBox="1"/>
          <p:nvPr/>
        </p:nvSpPr>
        <p:spPr>
          <a:xfrm>
            <a:off x="3631125" y="1594767"/>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54" name="TextBox 53">
            <a:extLst>
              <a:ext uri="{FF2B5EF4-FFF2-40B4-BE49-F238E27FC236}">
                <a16:creationId xmlns:a16="http://schemas.microsoft.com/office/drawing/2014/main" id="{8A28965C-6B03-F54C-B96D-4FA5FB9F7A8F}"/>
              </a:ext>
            </a:extLst>
          </p:cNvPr>
          <p:cNvSpPr txBox="1"/>
          <p:nvPr/>
        </p:nvSpPr>
        <p:spPr>
          <a:xfrm>
            <a:off x="3110175" y="1739363"/>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55" name="TextBox 54">
            <a:extLst>
              <a:ext uri="{FF2B5EF4-FFF2-40B4-BE49-F238E27FC236}">
                <a16:creationId xmlns:a16="http://schemas.microsoft.com/office/drawing/2014/main" id="{BB25B30E-4F91-504D-B4E8-D9D38BCC261F}"/>
              </a:ext>
            </a:extLst>
          </p:cNvPr>
          <p:cNvSpPr txBox="1"/>
          <p:nvPr/>
        </p:nvSpPr>
        <p:spPr>
          <a:xfrm>
            <a:off x="4534086" y="1854382"/>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56" name="Freeform 433">
            <a:extLst>
              <a:ext uri="{FF2B5EF4-FFF2-40B4-BE49-F238E27FC236}">
                <a16:creationId xmlns:a16="http://schemas.microsoft.com/office/drawing/2014/main" id="{676D4A12-487C-2249-8F78-A061ED6D2F8B}"/>
              </a:ext>
            </a:extLst>
          </p:cNvPr>
          <p:cNvSpPr>
            <a:spLocks noChangeAspect="1" noEditPoints="1"/>
          </p:cNvSpPr>
          <p:nvPr/>
        </p:nvSpPr>
        <p:spPr bwMode="auto">
          <a:xfrm>
            <a:off x="4592365" y="1563814"/>
            <a:ext cx="234608" cy="234608"/>
          </a:xfrm>
          <a:custGeom>
            <a:avLst/>
            <a:gdLst>
              <a:gd name="T0" fmla="*/ 368 w 512"/>
              <a:gd name="T1" fmla="*/ 225 h 512"/>
              <a:gd name="T2" fmla="*/ 281 w 512"/>
              <a:gd name="T3" fmla="*/ 138 h 512"/>
              <a:gd name="T4" fmla="*/ 298 w 512"/>
              <a:gd name="T5" fmla="*/ 121 h 512"/>
              <a:gd name="T6" fmla="*/ 385 w 512"/>
              <a:gd name="T7" fmla="*/ 208 h 512"/>
              <a:gd name="T8" fmla="*/ 390 w 512"/>
              <a:gd name="T9" fmla="*/ 230 h 512"/>
              <a:gd name="T10" fmla="*/ 368 w 512"/>
              <a:gd name="T11" fmla="*/ 225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59 w 512"/>
              <a:gd name="T23" fmla="*/ 146 h 512"/>
              <a:gd name="T24" fmla="*/ 355 w 512"/>
              <a:gd name="T25" fmla="*/ 242 h 512"/>
              <a:gd name="T26" fmla="*/ 360 w 512"/>
              <a:gd name="T27" fmla="*/ 245 h 512"/>
              <a:gd name="T28" fmla="*/ 402 w 512"/>
              <a:gd name="T29" fmla="*/ 255 h 512"/>
              <a:gd name="T30" fmla="*/ 405 w 512"/>
              <a:gd name="T31" fmla="*/ 256 h 512"/>
              <a:gd name="T32" fmla="*/ 413 w 512"/>
              <a:gd name="T33" fmla="*/ 253 h 512"/>
              <a:gd name="T34" fmla="*/ 415 w 512"/>
              <a:gd name="T35" fmla="*/ 242 h 512"/>
              <a:gd name="T36" fmla="*/ 405 w 512"/>
              <a:gd name="T37" fmla="*/ 200 h 512"/>
              <a:gd name="T38" fmla="*/ 402 w 512"/>
              <a:gd name="T39" fmla="*/ 195 h 512"/>
              <a:gd name="T40" fmla="*/ 306 w 512"/>
              <a:gd name="T41" fmla="*/ 99 h 512"/>
              <a:gd name="T42" fmla="*/ 291 w 512"/>
              <a:gd name="T43" fmla="*/ 99 h 512"/>
              <a:gd name="T44" fmla="*/ 259 w 512"/>
              <a:gd name="T45" fmla="*/ 131 h 512"/>
              <a:gd name="T46" fmla="*/ 259 w 512"/>
              <a:gd name="T47" fmla="*/ 146 h 512"/>
              <a:gd name="T48" fmla="*/ 303 w 512"/>
              <a:gd name="T49" fmla="*/ 342 h 512"/>
              <a:gd name="T50" fmla="*/ 267 w 512"/>
              <a:gd name="T51" fmla="*/ 334 h 512"/>
              <a:gd name="T52" fmla="*/ 250 w 512"/>
              <a:gd name="T53" fmla="*/ 331 h 512"/>
              <a:gd name="T54" fmla="*/ 239 w 512"/>
              <a:gd name="T55" fmla="*/ 302 h 512"/>
              <a:gd name="T56" fmla="*/ 261 w 512"/>
              <a:gd name="T57" fmla="*/ 251 h 512"/>
              <a:gd name="T58" fmla="*/ 251 w 512"/>
              <a:gd name="T59" fmla="*/ 177 h 512"/>
              <a:gd name="T60" fmla="*/ 203 w 512"/>
              <a:gd name="T61" fmla="*/ 155 h 512"/>
              <a:gd name="T62" fmla="*/ 153 w 512"/>
              <a:gd name="T63" fmla="*/ 177 h 512"/>
              <a:gd name="T64" fmla="*/ 144 w 512"/>
              <a:gd name="T65" fmla="*/ 251 h 512"/>
              <a:gd name="T66" fmla="*/ 166 w 512"/>
              <a:gd name="T67" fmla="*/ 302 h 512"/>
              <a:gd name="T68" fmla="*/ 155 w 512"/>
              <a:gd name="T69" fmla="*/ 331 h 512"/>
              <a:gd name="T70" fmla="*/ 137 w 512"/>
              <a:gd name="T71" fmla="*/ 334 h 512"/>
              <a:gd name="T72" fmla="*/ 101 w 512"/>
              <a:gd name="T73" fmla="*/ 342 h 512"/>
              <a:gd name="T74" fmla="*/ 97 w 512"/>
              <a:gd name="T75" fmla="*/ 357 h 512"/>
              <a:gd name="T76" fmla="*/ 111 w 512"/>
              <a:gd name="T77" fmla="*/ 361 h 512"/>
              <a:gd name="T78" fmla="*/ 139 w 512"/>
              <a:gd name="T79" fmla="*/ 356 h 512"/>
              <a:gd name="T80" fmla="*/ 164 w 512"/>
              <a:gd name="T81" fmla="*/ 351 h 512"/>
              <a:gd name="T82" fmla="*/ 185 w 512"/>
              <a:gd name="T83" fmla="*/ 318 h 512"/>
              <a:gd name="T84" fmla="*/ 184 w 512"/>
              <a:gd name="T85" fmla="*/ 290 h 512"/>
              <a:gd name="T86" fmla="*/ 165 w 512"/>
              <a:gd name="T87" fmla="*/ 246 h 512"/>
              <a:gd name="T88" fmla="*/ 170 w 512"/>
              <a:gd name="T89" fmla="*/ 191 h 512"/>
              <a:gd name="T90" fmla="*/ 203 w 512"/>
              <a:gd name="T91" fmla="*/ 177 h 512"/>
              <a:gd name="T92" fmla="*/ 235 w 512"/>
              <a:gd name="T93" fmla="*/ 191 h 512"/>
              <a:gd name="T94" fmla="*/ 240 w 512"/>
              <a:gd name="T95" fmla="*/ 246 h 512"/>
              <a:gd name="T96" fmla="*/ 221 w 512"/>
              <a:gd name="T97" fmla="*/ 290 h 512"/>
              <a:gd name="T98" fmla="*/ 219 w 512"/>
              <a:gd name="T99" fmla="*/ 318 h 512"/>
              <a:gd name="T100" fmla="*/ 240 w 512"/>
              <a:gd name="T101" fmla="*/ 351 h 512"/>
              <a:gd name="T102" fmla="*/ 265 w 512"/>
              <a:gd name="T103" fmla="*/ 356 h 512"/>
              <a:gd name="T104" fmla="*/ 293 w 512"/>
              <a:gd name="T105" fmla="*/ 361 h 512"/>
              <a:gd name="T106" fmla="*/ 298 w 512"/>
              <a:gd name="T107" fmla="*/ 362 h 512"/>
              <a:gd name="T108" fmla="*/ 308 w 512"/>
              <a:gd name="T109" fmla="*/ 357 h 512"/>
              <a:gd name="T110" fmla="*/ 303 w 512"/>
              <a:gd name="T111" fmla="*/ 342 h 512"/>
              <a:gd name="T112" fmla="*/ 416 w 512"/>
              <a:gd name="T113" fmla="*/ 288 h 512"/>
              <a:gd name="T114" fmla="*/ 405 w 512"/>
              <a:gd name="T115" fmla="*/ 277 h 512"/>
              <a:gd name="T116" fmla="*/ 298 w 512"/>
              <a:gd name="T117" fmla="*/ 277 h 512"/>
              <a:gd name="T118" fmla="*/ 288 w 512"/>
              <a:gd name="T119" fmla="*/ 288 h 512"/>
              <a:gd name="T120" fmla="*/ 298 w 512"/>
              <a:gd name="T121" fmla="*/ 298 h 512"/>
              <a:gd name="T122" fmla="*/ 405 w 512"/>
              <a:gd name="T123" fmla="*/ 298 h 512"/>
              <a:gd name="T124" fmla="*/ 416 w 512"/>
              <a:gd name="T12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68" y="225"/>
                </a:moveTo>
                <a:cubicBezTo>
                  <a:pt x="281" y="138"/>
                  <a:pt x="281" y="138"/>
                  <a:pt x="281" y="138"/>
                </a:cubicBezTo>
                <a:cubicBezTo>
                  <a:pt x="298" y="121"/>
                  <a:pt x="298" y="121"/>
                  <a:pt x="298" y="121"/>
                </a:cubicBezTo>
                <a:cubicBezTo>
                  <a:pt x="385" y="208"/>
                  <a:pt x="385" y="208"/>
                  <a:pt x="385" y="208"/>
                </a:cubicBezTo>
                <a:cubicBezTo>
                  <a:pt x="390" y="230"/>
                  <a:pt x="390" y="230"/>
                  <a:pt x="390" y="230"/>
                </a:cubicBezTo>
                <a:lnTo>
                  <a:pt x="368" y="22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9" y="146"/>
                </a:moveTo>
                <a:cubicBezTo>
                  <a:pt x="355" y="242"/>
                  <a:pt x="355" y="242"/>
                  <a:pt x="355" y="242"/>
                </a:cubicBezTo>
                <a:cubicBezTo>
                  <a:pt x="356" y="243"/>
                  <a:pt x="358" y="244"/>
                  <a:pt x="360" y="245"/>
                </a:cubicBezTo>
                <a:cubicBezTo>
                  <a:pt x="402" y="255"/>
                  <a:pt x="402" y="255"/>
                  <a:pt x="402" y="255"/>
                </a:cubicBezTo>
                <a:cubicBezTo>
                  <a:pt x="403" y="256"/>
                  <a:pt x="404" y="256"/>
                  <a:pt x="405" y="256"/>
                </a:cubicBezTo>
                <a:cubicBezTo>
                  <a:pt x="408" y="256"/>
                  <a:pt x="411" y="255"/>
                  <a:pt x="413" y="253"/>
                </a:cubicBezTo>
                <a:cubicBezTo>
                  <a:pt x="415" y="250"/>
                  <a:pt x="416" y="246"/>
                  <a:pt x="415" y="242"/>
                </a:cubicBezTo>
                <a:cubicBezTo>
                  <a:pt x="405" y="200"/>
                  <a:pt x="405" y="200"/>
                  <a:pt x="405" y="200"/>
                </a:cubicBezTo>
                <a:cubicBezTo>
                  <a:pt x="404" y="198"/>
                  <a:pt x="403" y="196"/>
                  <a:pt x="402" y="195"/>
                </a:cubicBezTo>
                <a:cubicBezTo>
                  <a:pt x="306" y="99"/>
                  <a:pt x="306" y="99"/>
                  <a:pt x="306" y="99"/>
                </a:cubicBezTo>
                <a:cubicBezTo>
                  <a:pt x="302" y="95"/>
                  <a:pt x="295" y="95"/>
                  <a:pt x="291" y="99"/>
                </a:cubicBezTo>
                <a:cubicBezTo>
                  <a:pt x="259" y="131"/>
                  <a:pt x="259" y="131"/>
                  <a:pt x="259" y="131"/>
                </a:cubicBezTo>
                <a:cubicBezTo>
                  <a:pt x="255" y="135"/>
                  <a:pt x="255" y="142"/>
                  <a:pt x="259" y="146"/>
                </a:cubicBezTo>
                <a:close/>
                <a:moveTo>
                  <a:pt x="303" y="342"/>
                </a:moveTo>
                <a:cubicBezTo>
                  <a:pt x="293" y="337"/>
                  <a:pt x="279" y="335"/>
                  <a:pt x="267" y="334"/>
                </a:cubicBezTo>
                <a:cubicBezTo>
                  <a:pt x="260" y="334"/>
                  <a:pt x="252" y="333"/>
                  <a:pt x="250" y="331"/>
                </a:cubicBezTo>
                <a:cubicBezTo>
                  <a:pt x="243" y="328"/>
                  <a:pt x="237" y="308"/>
                  <a:pt x="239" y="302"/>
                </a:cubicBezTo>
                <a:cubicBezTo>
                  <a:pt x="247" y="289"/>
                  <a:pt x="256" y="269"/>
                  <a:pt x="261" y="251"/>
                </a:cubicBezTo>
                <a:cubicBezTo>
                  <a:pt x="268" y="219"/>
                  <a:pt x="265" y="194"/>
                  <a:pt x="251" y="177"/>
                </a:cubicBezTo>
                <a:cubicBezTo>
                  <a:pt x="233" y="155"/>
                  <a:pt x="203" y="155"/>
                  <a:pt x="203" y="155"/>
                </a:cubicBezTo>
                <a:cubicBezTo>
                  <a:pt x="201" y="155"/>
                  <a:pt x="172" y="155"/>
                  <a:pt x="153" y="177"/>
                </a:cubicBezTo>
                <a:cubicBezTo>
                  <a:pt x="139" y="194"/>
                  <a:pt x="136" y="219"/>
                  <a:pt x="144" y="251"/>
                </a:cubicBezTo>
                <a:cubicBezTo>
                  <a:pt x="148" y="269"/>
                  <a:pt x="157" y="289"/>
                  <a:pt x="166" y="302"/>
                </a:cubicBezTo>
                <a:cubicBezTo>
                  <a:pt x="167" y="308"/>
                  <a:pt x="161" y="328"/>
                  <a:pt x="155" y="331"/>
                </a:cubicBezTo>
                <a:cubicBezTo>
                  <a:pt x="152" y="333"/>
                  <a:pt x="144" y="334"/>
                  <a:pt x="137" y="334"/>
                </a:cubicBezTo>
                <a:cubicBezTo>
                  <a:pt x="125" y="335"/>
                  <a:pt x="112" y="337"/>
                  <a:pt x="101" y="342"/>
                </a:cubicBezTo>
                <a:cubicBezTo>
                  <a:pt x="96" y="345"/>
                  <a:pt x="94" y="351"/>
                  <a:pt x="97" y="357"/>
                </a:cubicBezTo>
                <a:cubicBezTo>
                  <a:pt x="100" y="362"/>
                  <a:pt x="106" y="364"/>
                  <a:pt x="111" y="361"/>
                </a:cubicBezTo>
                <a:cubicBezTo>
                  <a:pt x="118" y="357"/>
                  <a:pt x="129" y="356"/>
                  <a:pt x="139" y="356"/>
                </a:cubicBezTo>
                <a:cubicBezTo>
                  <a:pt x="149" y="355"/>
                  <a:pt x="158" y="354"/>
                  <a:pt x="164" y="351"/>
                </a:cubicBezTo>
                <a:cubicBezTo>
                  <a:pt x="178" y="344"/>
                  <a:pt x="184" y="324"/>
                  <a:pt x="185" y="318"/>
                </a:cubicBezTo>
                <a:cubicBezTo>
                  <a:pt x="187" y="309"/>
                  <a:pt x="189" y="297"/>
                  <a:pt x="184" y="290"/>
                </a:cubicBezTo>
                <a:cubicBezTo>
                  <a:pt x="176" y="280"/>
                  <a:pt x="168" y="261"/>
                  <a:pt x="165" y="246"/>
                </a:cubicBezTo>
                <a:cubicBezTo>
                  <a:pt x="159" y="221"/>
                  <a:pt x="160" y="202"/>
                  <a:pt x="170" y="191"/>
                </a:cubicBezTo>
                <a:cubicBezTo>
                  <a:pt x="181" y="176"/>
                  <a:pt x="202" y="176"/>
                  <a:pt x="203" y="177"/>
                </a:cubicBezTo>
                <a:cubicBezTo>
                  <a:pt x="203" y="176"/>
                  <a:pt x="223" y="176"/>
                  <a:pt x="235" y="191"/>
                </a:cubicBezTo>
                <a:cubicBezTo>
                  <a:pt x="244" y="202"/>
                  <a:pt x="246" y="221"/>
                  <a:pt x="240" y="246"/>
                </a:cubicBezTo>
                <a:cubicBezTo>
                  <a:pt x="236" y="261"/>
                  <a:pt x="228" y="280"/>
                  <a:pt x="221" y="290"/>
                </a:cubicBezTo>
                <a:cubicBezTo>
                  <a:pt x="216" y="297"/>
                  <a:pt x="217" y="309"/>
                  <a:pt x="219" y="318"/>
                </a:cubicBezTo>
                <a:cubicBezTo>
                  <a:pt x="221" y="324"/>
                  <a:pt x="227" y="344"/>
                  <a:pt x="240" y="351"/>
                </a:cubicBezTo>
                <a:cubicBezTo>
                  <a:pt x="247" y="354"/>
                  <a:pt x="255" y="355"/>
                  <a:pt x="265" y="356"/>
                </a:cubicBezTo>
                <a:cubicBezTo>
                  <a:pt x="275" y="356"/>
                  <a:pt x="286" y="357"/>
                  <a:pt x="293" y="361"/>
                </a:cubicBezTo>
                <a:cubicBezTo>
                  <a:pt x="295" y="362"/>
                  <a:pt x="296" y="362"/>
                  <a:pt x="298" y="362"/>
                </a:cubicBezTo>
                <a:cubicBezTo>
                  <a:pt x="302" y="362"/>
                  <a:pt x="306" y="360"/>
                  <a:pt x="308" y="357"/>
                </a:cubicBezTo>
                <a:cubicBezTo>
                  <a:pt x="310" y="351"/>
                  <a:pt x="308" y="345"/>
                  <a:pt x="303" y="342"/>
                </a:cubicBezTo>
                <a:close/>
                <a:moveTo>
                  <a:pt x="416" y="288"/>
                </a:moveTo>
                <a:cubicBezTo>
                  <a:pt x="416" y="282"/>
                  <a:pt x="411" y="277"/>
                  <a:pt x="405" y="277"/>
                </a:cubicBezTo>
                <a:cubicBezTo>
                  <a:pt x="298" y="277"/>
                  <a:pt x="298" y="277"/>
                  <a:pt x="298" y="277"/>
                </a:cubicBezTo>
                <a:cubicBezTo>
                  <a:pt x="292" y="277"/>
                  <a:pt x="288" y="282"/>
                  <a:pt x="288" y="288"/>
                </a:cubicBezTo>
                <a:cubicBezTo>
                  <a:pt x="288" y="294"/>
                  <a:pt x="292" y="298"/>
                  <a:pt x="298" y="298"/>
                </a:cubicBezTo>
                <a:cubicBezTo>
                  <a:pt x="405" y="298"/>
                  <a:pt x="405" y="298"/>
                  <a:pt x="405" y="298"/>
                </a:cubicBezTo>
                <a:cubicBezTo>
                  <a:pt x="411" y="298"/>
                  <a:pt x="416" y="294"/>
                  <a:pt x="416" y="288"/>
                </a:cubicBezTo>
                <a:close/>
              </a:path>
            </a:pathLst>
          </a:custGeom>
          <a:solidFill>
            <a:srgbClr val="0076A8"/>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7" name="Freeform 878">
            <a:extLst>
              <a:ext uri="{FF2B5EF4-FFF2-40B4-BE49-F238E27FC236}">
                <a16:creationId xmlns:a16="http://schemas.microsoft.com/office/drawing/2014/main" id="{F24E5397-BEB2-944F-A5D3-CD8196F54288}"/>
              </a:ext>
            </a:extLst>
          </p:cNvPr>
          <p:cNvSpPr>
            <a:spLocks noChangeAspect="1" noEditPoints="1"/>
          </p:cNvSpPr>
          <p:nvPr/>
        </p:nvSpPr>
        <p:spPr bwMode="auto">
          <a:xfrm rot="5400000">
            <a:off x="4649889" y="883123"/>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94 h 512"/>
              <a:gd name="T12" fmla="*/ 234 w 512"/>
              <a:gd name="T13" fmla="*/ 373 h 512"/>
              <a:gd name="T14" fmla="*/ 256 w 512"/>
              <a:gd name="T15" fmla="*/ 352 h 512"/>
              <a:gd name="T16" fmla="*/ 277 w 512"/>
              <a:gd name="T17" fmla="*/ 373 h 512"/>
              <a:gd name="T18" fmla="*/ 256 w 512"/>
              <a:gd name="T19" fmla="*/ 394 h 512"/>
              <a:gd name="T20" fmla="*/ 317 w 512"/>
              <a:gd name="T21" fmla="*/ 327 h 512"/>
              <a:gd name="T22" fmla="*/ 301 w 512"/>
              <a:gd name="T23" fmla="*/ 327 h 512"/>
              <a:gd name="T24" fmla="*/ 256 w 512"/>
              <a:gd name="T25" fmla="*/ 309 h 512"/>
              <a:gd name="T26" fmla="*/ 210 w 512"/>
              <a:gd name="T27" fmla="*/ 327 h 512"/>
              <a:gd name="T28" fmla="*/ 202 w 512"/>
              <a:gd name="T29" fmla="*/ 330 h 512"/>
              <a:gd name="T30" fmla="*/ 195 w 512"/>
              <a:gd name="T31" fmla="*/ 327 h 512"/>
              <a:gd name="T32" fmla="*/ 195 w 512"/>
              <a:gd name="T33" fmla="*/ 312 h 512"/>
              <a:gd name="T34" fmla="*/ 256 w 512"/>
              <a:gd name="T35" fmla="*/ 288 h 512"/>
              <a:gd name="T36" fmla="*/ 317 w 512"/>
              <a:gd name="T37" fmla="*/ 312 h 512"/>
              <a:gd name="T38" fmla="*/ 317 w 512"/>
              <a:gd name="T39" fmla="*/ 327 h 512"/>
              <a:gd name="T40" fmla="*/ 370 w 512"/>
              <a:gd name="T41" fmla="*/ 274 h 512"/>
              <a:gd name="T42" fmla="*/ 355 w 512"/>
              <a:gd name="T43" fmla="*/ 274 h 512"/>
              <a:gd name="T44" fmla="*/ 256 w 512"/>
              <a:gd name="T45" fmla="*/ 234 h 512"/>
              <a:gd name="T46" fmla="*/ 167 w 512"/>
              <a:gd name="T47" fmla="*/ 274 h 512"/>
              <a:gd name="T48" fmla="*/ 160 w 512"/>
              <a:gd name="T49" fmla="*/ 277 h 512"/>
              <a:gd name="T50" fmla="*/ 152 w 512"/>
              <a:gd name="T51" fmla="*/ 274 h 512"/>
              <a:gd name="T52" fmla="*/ 152 w 512"/>
              <a:gd name="T53" fmla="*/ 259 h 512"/>
              <a:gd name="T54" fmla="*/ 256 w 512"/>
              <a:gd name="T55" fmla="*/ 213 h 512"/>
              <a:gd name="T56" fmla="*/ 370 w 512"/>
              <a:gd name="T57" fmla="*/ 259 h 512"/>
              <a:gd name="T58" fmla="*/ 370 w 512"/>
              <a:gd name="T59" fmla="*/ 274 h 512"/>
              <a:gd name="T60" fmla="*/ 413 w 512"/>
              <a:gd name="T61" fmla="*/ 221 h 512"/>
              <a:gd name="T62" fmla="*/ 405 w 512"/>
              <a:gd name="T63" fmla="*/ 224 h 512"/>
              <a:gd name="T64" fmla="*/ 397 w 512"/>
              <a:gd name="T65" fmla="*/ 221 h 512"/>
              <a:gd name="T66" fmla="*/ 256 w 512"/>
              <a:gd name="T67" fmla="*/ 160 h 512"/>
              <a:gd name="T68" fmla="*/ 114 w 512"/>
              <a:gd name="T69" fmla="*/ 221 h 512"/>
              <a:gd name="T70" fmla="*/ 99 w 512"/>
              <a:gd name="T71" fmla="*/ 221 h 512"/>
              <a:gd name="T72" fmla="*/ 99 w 512"/>
              <a:gd name="T73" fmla="*/ 205 h 512"/>
              <a:gd name="T74" fmla="*/ 256 w 512"/>
              <a:gd name="T75" fmla="*/ 138 h 512"/>
              <a:gd name="T76" fmla="*/ 413 w 512"/>
              <a:gd name="T77" fmla="*/ 205 h 512"/>
              <a:gd name="T78" fmla="*/ 413 w 512"/>
              <a:gd name="T7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94"/>
                </a:moveTo>
                <a:cubicBezTo>
                  <a:pt x="244" y="394"/>
                  <a:pt x="234" y="385"/>
                  <a:pt x="234" y="373"/>
                </a:cubicBezTo>
                <a:cubicBezTo>
                  <a:pt x="234" y="361"/>
                  <a:pt x="244" y="352"/>
                  <a:pt x="256" y="352"/>
                </a:cubicBezTo>
                <a:cubicBezTo>
                  <a:pt x="267" y="352"/>
                  <a:pt x="277" y="361"/>
                  <a:pt x="277" y="373"/>
                </a:cubicBezTo>
                <a:cubicBezTo>
                  <a:pt x="277" y="385"/>
                  <a:pt x="267" y="394"/>
                  <a:pt x="256" y="394"/>
                </a:cubicBezTo>
                <a:close/>
                <a:moveTo>
                  <a:pt x="317" y="327"/>
                </a:moveTo>
                <a:cubicBezTo>
                  <a:pt x="312" y="331"/>
                  <a:pt x="306" y="331"/>
                  <a:pt x="301" y="327"/>
                </a:cubicBezTo>
                <a:cubicBezTo>
                  <a:pt x="290" y="316"/>
                  <a:pt x="273" y="309"/>
                  <a:pt x="256" y="309"/>
                </a:cubicBezTo>
                <a:cubicBezTo>
                  <a:pt x="239" y="309"/>
                  <a:pt x="221" y="316"/>
                  <a:pt x="210" y="327"/>
                </a:cubicBezTo>
                <a:cubicBezTo>
                  <a:pt x="208" y="329"/>
                  <a:pt x="205" y="330"/>
                  <a:pt x="202" y="330"/>
                </a:cubicBezTo>
                <a:cubicBezTo>
                  <a:pt x="200" y="330"/>
                  <a:pt x="197" y="329"/>
                  <a:pt x="195" y="327"/>
                </a:cubicBezTo>
                <a:cubicBezTo>
                  <a:pt x="191" y="323"/>
                  <a:pt x="191" y="316"/>
                  <a:pt x="195" y="312"/>
                </a:cubicBezTo>
                <a:cubicBezTo>
                  <a:pt x="210" y="297"/>
                  <a:pt x="233" y="288"/>
                  <a:pt x="256" y="288"/>
                </a:cubicBezTo>
                <a:cubicBezTo>
                  <a:pt x="278" y="288"/>
                  <a:pt x="301" y="297"/>
                  <a:pt x="317" y="312"/>
                </a:cubicBezTo>
                <a:cubicBezTo>
                  <a:pt x="321" y="316"/>
                  <a:pt x="321" y="323"/>
                  <a:pt x="317" y="327"/>
                </a:cubicBezTo>
                <a:close/>
                <a:moveTo>
                  <a:pt x="370" y="274"/>
                </a:moveTo>
                <a:cubicBezTo>
                  <a:pt x="366" y="278"/>
                  <a:pt x="359" y="278"/>
                  <a:pt x="355" y="274"/>
                </a:cubicBezTo>
                <a:cubicBezTo>
                  <a:pt x="330" y="249"/>
                  <a:pt x="292" y="234"/>
                  <a:pt x="256" y="234"/>
                </a:cubicBezTo>
                <a:cubicBezTo>
                  <a:pt x="222" y="234"/>
                  <a:pt x="194" y="247"/>
                  <a:pt x="167" y="274"/>
                </a:cubicBezTo>
                <a:cubicBezTo>
                  <a:pt x="165" y="276"/>
                  <a:pt x="162" y="277"/>
                  <a:pt x="160" y="277"/>
                </a:cubicBezTo>
                <a:cubicBezTo>
                  <a:pt x="157" y="277"/>
                  <a:pt x="154" y="276"/>
                  <a:pt x="152" y="274"/>
                </a:cubicBezTo>
                <a:cubicBezTo>
                  <a:pt x="148" y="270"/>
                  <a:pt x="148" y="263"/>
                  <a:pt x="152" y="259"/>
                </a:cubicBezTo>
                <a:cubicBezTo>
                  <a:pt x="183" y="228"/>
                  <a:pt x="216" y="213"/>
                  <a:pt x="256" y="213"/>
                </a:cubicBezTo>
                <a:cubicBezTo>
                  <a:pt x="298" y="213"/>
                  <a:pt x="342" y="231"/>
                  <a:pt x="370" y="259"/>
                </a:cubicBezTo>
                <a:cubicBezTo>
                  <a:pt x="374" y="263"/>
                  <a:pt x="374" y="270"/>
                  <a:pt x="370" y="274"/>
                </a:cubicBezTo>
                <a:close/>
                <a:moveTo>
                  <a:pt x="413" y="221"/>
                </a:moveTo>
                <a:cubicBezTo>
                  <a:pt x="410" y="223"/>
                  <a:pt x="408" y="224"/>
                  <a:pt x="405" y="224"/>
                </a:cubicBezTo>
                <a:cubicBezTo>
                  <a:pt x="402" y="224"/>
                  <a:pt x="400" y="223"/>
                  <a:pt x="397" y="221"/>
                </a:cubicBezTo>
                <a:cubicBezTo>
                  <a:pt x="358" y="181"/>
                  <a:pt x="309" y="160"/>
                  <a:pt x="256" y="160"/>
                </a:cubicBezTo>
                <a:cubicBezTo>
                  <a:pt x="203" y="160"/>
                  <a:pt x="154" y="181"/>
                  <a:pt x="114" y="221"/>
                </a:cubicBezTo>
                <a:cubicBezTo>
                  <a:pt x="110" y="225"/>
                  <a:pt x="103" y="225"/>
                  <a:pt x="99" y="221"/>
                </a:cubicBezTo>
                <a:cubicBezTo>
                  <a:pt x="95" y="216"/>
                  <a:pt x="95" y="210"/>
                  <a:pt x="99" y="205"/>
                </a:cubicBezTo>
                <a:cubicBezTo>
                  <a:pt x="143" y="162"/>
                  <a:pt x="197" y="138"/>
                  <a:pt x="256" y="138"/>
                </a:cubicBezTo>
                <a:cubicBezTo>
                  <a:pt x="314" y="138"/>
                  <a:pt x="369" y="162"/>
                  <a:pt x="413" y="205"/>
                </a:cubicBezTo>
                <a:cubicBezTo>
                  <a:pt x="417" y="210"/>
                  <a:pt x="417" y="216"/>
                  <a:pt x="413" y="221"/>
                </a:cubicBezTo>
                <a:close/>
              </a:path>
            </a:pathLst>
          </a:custGeom>
          <a:solidFill>
            <a:schemeClr val="accent3">
              <a:lumMod val="40000"/>
              <a:lumOff val="6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8" name="Freeform 635">
            <a:extLst>
              <a:ext uri="{FF2B5EF4-FFF2-40B4-BE49-F238E27FC236}">
                <a16:creationId xmlns:a16="http://schemas.microsoft.com/office/drawing/2014/main" id="{EA669C3F-6D0E-D948-8A71-27341D7B6062}"/>
              </a:ext>
            </a:extLst>
          </p:cNvPr>
          <p:cNvSpPr>
            <a:spLocks noChangeAspect="1" noEditPoints="1"/>
          </p:cNvSpPr>
          <p:nvPr/>
        </p:nvSpPr>
        <p:spPr bwMode="auto">
          <a:xfrm>
            <a:off x="5270912" y="604324"/>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45 h 512"/>
              <a:gd name="T12" fmla="*/ 298 w 512"/>
              <a:gd name="T13" fmla="*/ 256 h 512"/>
              <a:gd name="T14" fmla="*/ 288 w 512"/>
              <a:gd name="T15" fmla="*/ 266 h 512"/>
              <a:gd name="T16" fmla="*/ 266 w 512"/>
              <a:gd name="T17" fmla="*/ 266 h 512"/>
              <a:gd name="T18" fmla="*/ 266 w 512"/>
              <a:gd name="T19" fmla="*/ 349 h 512"/>
              <a:gd name="T20" fmla="*/ 290 w 512"/>
              <a:gd name="T21" fmla="*/ 373 h 512"/>
              <a:gd name="T22" fmla="*/ 314 w 512"/>
              <a:gd name="T23" fmla="*/ 373 h 512"/>
              <a:gd name="T24" fmla="*/ 325 w 512"/>
              <a:gd name="T25" fmla="*/ 384 h 512"/>
              <a:gd name="T26" fmla="*/ 314 w 512"/>
              <a:gd name="T27" fmla="*/ 394 h 512"/>
              <a:gd name="T28" fmla="*/ 290 w 512"/>
              <a:gd name="T29" fmla="*/ 394 h 512"/>
              <a:gd name="T30" fmla="*/ 256 w 512"/>
              <a:gd name="T31" fmla="*/ 378 h 512"/>
              <a:gd name="T32" fmla="*/ 221 w 512"/>
              <a:gd name="T33" fmla="*/ 394 h 512"/>
              <a:gd name="T34" fmla="*/ 197 w 512"/>
              <a:gd name="T35" fmla="*/ 394 h 512"/>
              <a:gd name="T36" fmla="*/ 186 w 512"/>
              <a:gd name="T37" fmla="*/ 384 h 512"/>
              <a:gd name="T38" fmla="*/ 197 w 512"/>
              <a:gd name="T39" fmla="*/ 373 h 512"/>
              <a:gd name="T40" fmla="*/ 221 w 512"/>
              <a:gd name="T41" fmla="*/ 373 h 512"/>
              <a:gd name="T42" fmla="*/ 245 w 512"/>
              <a:gd name="T43" fmla="*/ 349 h 512"/>
              <a:gd name="T44" fmla="*/ 245 w 512"/>
              <a:gd name="T45" fmla="*/ 266 h 512"/>
              <a:gd name="T46" fmla="*/ 224 w 512"/>
              <a:gd name="T47" fmla="*/ 266 h 512"/>
              <a:gd name="T48" fmla="*/ 213 w 512"/>
              <a:gd name="T49" fmla="*/ 256 h 512"/>
              <a:gd name="T50" fmla="*/ 224 w 512"/>
              <a:gd name="T51" fmla="*/ 245 h 512"/>
              <a:gd name="T52" fmla="*/ 245 w 512"/>
              <a:gd name="T53" fmla="*/ 245 h 512"/>
              <a:gd name="T54" fmla="*/ 245 w 512"/>
              <a:gd name="T55" fmla="*/ 162 h 512"/>
              <a:gd name="T56" fmla="*/ 221 w 512"/>
              <a:gd name="T57" fmla="*/ 138 h 512"/>
              <a:gd name="T58" fmla="*/ 197 w 512"/>
              <a:gd name="T59" fmla="*/ 138 h 512"/>
              <a:gd name="T60" fmla="*/ 186 w 512"/>
              <a:gd name="T61" fmla="*/ 128 h 512"/>
              <a:gd name="T62" fmla="*/ 197 w 512"/>
              <a:gd name="T63" fmla="*/ 117 h 512"/>
              <a:gd name="T64" fmla="*/ 221 w 512"/>
              <a:gd name="T65" fmla="*/ 117 h 512"/>
              <a:gd name="T66" fmla="*/ 256 w 512"/>
              <a:gd name="T67" fmla="*/ 133 h 512"/>
              <a:gd name="T68" fmla="*/ 290 w 512"/>
              <a:gd name="T69" fmla="*/ 117 h 512"/>
              <a:gd name="T70" fmla="*/ 314 w 512"/>
              <a:gd name="T71" fmla="*/ 117 h 512"/>
              <a:gd name="T72" fmla="*/ 325 w 512"/>
              <a:gd name="T73" fmla="*/ 128 h 512"/>
              <a:gd name="T74" fmla="*/ 314 w 512"/>
              <a:gd name="T75" fmla="*/ 138 h 512"/>
              <a:gd name="T76" fmla="*/ 290 w 512"/>
              <a:gd name="T77" fmla="*/ 138 h 512"/>
              <a:gd name="T78" fmla="*/ 266 w 512"/>
              <a:gd name="T79" fmla="*/ 162 h 512"/>
              <a:gd name="T80" fmla="*/ 266 w 512"/>
              <a:gd name="T81" fmla="*/ 245 h 512"/>
              <a:gd name="T82" fmla="*/ 288 w 512"/>
              <a:gd name="T83"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45"/>
                </a:moveTo>
                <a:cubicBezTo>
                  <a:pt x="294" y="245"/>
                  <a:pt x="298" y="250"/>
                  <a:pt x="298" y="256"/>
                </a:cubicBezTo>
                <a:cubicBezTo>
                  <a:pt x="298" y="262"/>
                  <a:pt x="294" y="266"/>
                  <a:pt x="288" y="266"/>
                </a:cubicBezTo>
                <a:cubicBezTo>
                  <a:pt x="266" y="266"/>
                  <a:pt x="266" y="266"/>
                  <a:pt x="266" y="266"/>
                </a:cubicBezTo>
                <a:cubicBezTo>
                  <a:pt x="266" y="349"/>
                  <a:pt x="266" y="349"/>
                  <a:pt x="266" y="349"/>
                </a:cubicBezTo>
                <a:cubicBezTo>
                  <a:pt x="266" y="362"/>
                  <a:pt x="277" y="373"/>
                  <a:pt x="290" y="373"/>
                </a:cubicBezTo>
                <a:cubicBezTo>
                  <a:pt x="314" y="373"/>
                  <a:pt x="314" y="373"/>
                  <a:pt x="314" y="373"/>
                </a:cubicBezTo>
                <a:cubicBezTo>
                  <a:pt x="320" y="373"/>
                  <a:pt x="325" y="378"/>
                  <a:pt x="325" y="384"/>
                </a:cubicBezTo>
                <a:cubicBezTo>
                  <a:pt x="325" y="390"/>
                  <a:pt x="320" y="394"/>
                  <a:pt x="314" y="394"/>
                </a:cubicBezTo>
                <a:cubicBezTo>
                  <a:pt x="290" y="394"/>
                  <a:pt x="290" y="394"/>
                  <a:pt x="290" y="394"/>
                </a:cubicBezTo>
                <a:cubicBezTo>
                  <a:pt x="276" y="394"/>
                  <a:pt x="264" y="388"/>
                  <a:pt x="256" y="378"/>
                </a:cubicBezTo>
                <a:cubicBezTo>
                  <a:pt x="247" y="388"/>
                  <a:pt x="235" y="394"/>
                  <a:pt x="221" y="394"/>
                </a:cubicBezTo>
                <a:cubicBezTo>
                  <a:pt x="197" y="394"/>
                  <a:pt x="197" y="394"/>
                  <a:pt x="197" y="394"/>
                </a:cubicBezTo>
                <a:cubicBezTo>
                  <a:pt x="191" y="394"/>
                  <a:pt x="186" y="390"/>
                  <a:pt x="186" y="384"/>
                </a:cubicBezTo>
                <a:cubicBezTo>
                  <a:pt x="186" y="378"/>
                  <a:pt x="191" y="373"/>
                  <a:pt x="197" y="373"/>
                </a:cubicBezTo>
                <a:cubicBezTo>
                  <a:pt x="221" y="373"/>
                  <a:pt x="221" y="373"/>
                  <a:pt x="221" y="373"/>
                </a:cubicBezTo>
                <a:cubicBezTo>
                  <a:pt x="234" y="373"/>
                  <a:pt x="245" y="362"/>
                  <a:pt x="245" y="349"/>
                </a:cubicBezTo>
                <a:cubicBezTo>
                  <a:pt x="245" y="266"/>
                  <a:pt x="245" y="266"/>
                  <a:pt x="245" y="266"/>
                </a:cubicBezTo>
                <a:cubicBezTo>
                  <a:pt x="224" y="266"/>
                  <a:pt x="224" y="266"/>
                  <a:pt x="224" y="266"/>
                </a:cubicBezTo>
                <a:cubicBezTo>
                  <a:pt x="218" y="266"/>
                  <a:pt x="213" y="262"/>
                  <a:pt x="213" y="256"/>
                </a:cubicBezTo>
                <a:cubicBezTo>
                  <a:pt x="213" y="250"/>
                  <a:pt x="218" y="245"/>
                  <a:pt x="224" y="245"/>
                </a:cubicBezTo>
                <a:cubicBezTo>
                  <a:pt x="245" y="245"/>
                  <a:pt x="245" y="245"/>
                  <a:pt x="245" y="245"/>
                </a:cubicBezTo>
                <a:cubicBezTo>
                  <a:pt x="245" y="162"/>
                  <a:pt x="245" y="162"/>
                  <a:pt x="245" y="162"/>
                </a:cubicBezTo>
                <a:cubicBezTo>
                  <a:pt x="245" y="149"/>
                  <a:pt x="234" y="138"/>
                  <a:pt x="221" y="138"/>
                </a:cubicBezTo>
                <a:cubicBezTo>
                  <a:pt x="197" y="138"/>
                  <a:pt x="197" y="138"/>
                  <a:pt x="197" y="138"/>
                </a:cubicBezTo>
                <a:cubicBezTo>
                  <a:pt x="191" y="138"/>
                  <a:pt x="186" y="134"/>
                  <a:pt x="186" y="128"/>
                </a:cubicBezTo>
                <a:cubicBezTo>
                  <a:pt x="186" y="122"/>
                  <a:pt x="191" y="117"/>
                  <a:pt x="197" y="117"/>
                </a:cubicBezTo>
                <a:cubicBezTo>
                  <a:pt x="221" y="117"/>
                  <a:pt x="221" y="117"/>
                  <a:pt x="221" y="117"/>
                </a:cubicBezTo>
                <a:cubicBezTo>
                  <a:pt x="235" y="117"/>
                  <a:pt x="247" y="123"/>
                  <a:pt x="256" y="133"/>
                </a:cubicBezTo>
                <a:cubicBezTo>
                  <a:pt x="264" y="123"/>
                  <a:pt x="276" y="117"/>
                  <a:pt x="290" y="117"/>
                </a:cubicBezTo>
                <a:cubicBezTo>
                  <a:pt x="314" y="117"/>
                  <a:pt x="314" y="117"/>
                  <a:pt x="314" y="117"/>
                </a:cubicBezTo>
                <a:cubicBezTo>
                  <a:pt x="320" y="117"/>
                  <a:pt x="325" y="122"/>
                  <a:pt x="325" y="128"/>
                </a:cubicBezTo>
                <a:cubicBezTo>
                  <a:pt x="325" y="134"/>
                  <a:pt x="320" y="138"/>
                  <a:pt x="314" y="138"/>
                </a:cubicBezTo>
                <a:cubicBezTo>
                  <a:pt x="290" y="138"/>
                  <a:pt x="290" y="138"/>
                  <a:pt x="290" y="138"/>
                </a:cubicBezTo>
                <a:cubicBezTo>
                  <a:pt x="277" y="138"/>
                  <a:pt x="266" y="149"/>
                  <a:pt x="266" y="162"/>
                </a:cubicBezTo>
                <a:cubicBezTo>
                  <a:pt x="266" y="245"/>
                  <a:pt x="266" y="245"/>
                  <a:pt x="266" y="245"/>
                </a:cubicBezTo>
                <a:lnTo>
                  <a:pt x="288" y="245"/>
                </a:lnTo>
                <a:close/>
              </a:path>
            </a:pathLst>
          </a:custGeom>
          <a:solidFill>
            <a:schemeClr val="accent3">
              <a:lumMod val="40000"/>
              <a:lumOff val="6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9" name="Freeform 756">
            <a:extLst>
              <a:ext uri="{FF2B5EF4-FFF2-40B4-BE49-F238E27FC236}">
                <a16:creationId xmlns:a16="http://schemas.microsoft.com/office/drawing/2014/main" id="{0835EEAD-86AD-0249-91A9-645A3009AD03}"/>
              </a:ext>
            </a:extLst>
          </p:cNvPr>
          <p:cNvSpPr>
            <a:spLocks noChangeAspect="1" noEditPoints="1"/>
          </p:cNvSpPr>
          <p:nvPr/>
        </p:nvSpPr>
        <p:spPr bwMode="auto">
          <a:xfrm>
            <a:off x="5270912" y="1237870"/>
            <a:ext cx="234608" cy="234608"/>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3"/>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60" name="TextBox 59">
            <a:extLst>
              <a:ext uri="{FF2B5EF4-FFF2-40B4-BE49-F238E27FC236}">
                <a16:creationId xmlns:a16="http://schemas.microsoft.com/office/drawing/2014/main" id="{B269E711-7B03-094A-8AA1-AAE37D4C923A}"/>
              </a:ext>
            </a:extLst>
          </p:cNvPr>
          <p:cNvSpPr txBox="1"/>
          <p:nvPr/>
        </p:nvSpPr>
        <p:spPr>
          <a:xfrm>
            <a:off x="4681990" y="1170109"/>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61" name="TextBox 60">
            <a:extLst>
              <a:ext uri="{FF2B5EF4-FFF2-40B4-BE49-F238E27FC236}">
                <a16:creationId xmlns:a16="http://schemas.microsoft.com/office/drawing/2014/main" id="{76E0F314-D273-8749-8B45-672C6EF4B264}"/>
              </a:ext>
            </a:extLst>
          </p:cNvPr>
          <p:cNvSpPr txBox="1"/>
          <p:nvPr/>
        </p:nvSpPr>
        <p:spPr>
          <a:xfrm>
            <a:off x="5315556" y="862594"/>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62" name="TextBox 61">
            <a:extLst>
              <a:ext uri="{FF2B5EF4-FFF2-40B4-BE49-F238E27FC236}">
                <a16:creationId xmlns:a16="http://schemas.microsoft.com/office/drawing/2014/main" id="{DD865C4C-CAC6-1646-82A1-70D3B04EF4B7}"/>
              </a:ext>
            </a:extLst>
          </p:cNvPr>
          <p:cNvSpPr txBox="1"/>
          <p:nvPr/>
        </p:nvSpPr>
        <p:spPr>
          <a:xfrm>
            <a:off x="5931398" y="116603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63" name="TextBox 62">
            <a:extLst>
              <a:ext uri="{FF2B5EF4-FFF2-40B4-BE49-F238E27FC236}">
                <a16:creationId xmlns:a16="http://schemas.microsoft.com/office/drawing/2014/main" id="{002E2327-AB39-9646-A456-89CF113A0902}"/>
              </a:ext>
            </a:extLst>
          </p:cNvPr>
          <p:cNvSpPr txBox="1"/>
          <p:nvPr/>
        </p:nvSpPr>
        <p:spPr>
          <a:xfrm>
            <a:off x="5164647" y="1514284"/>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64" name="Freeform 393">
            <a:extLst>
              <a:ext uri="{FF2B5EF4-FFF2-40B4-BE49-F238E27FC236}">
                <a16:creationId xmlns:a16="http://schemas.microsoft.com/office/drawing/2014/main" id="{FDC73267-86D1-A240-A354-FC4B897309A2}"/>
              </a:ext>
            </a:extLst>
          </p:cNvPr>
          <p:cNvSpPr>
            <a:spLocks noChangeAspect="1" noEditPoints="1"/>
          </p:cNvSpPr>
          <p:nvPr/>
        </p:nvSpPr>
        <p:spPr bwMode="auto">
          <a:xfrm>
            <a:off x="5917869" y="1564393"/>
            <a:ext cx="233920" cy="234608"/>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rgbClr val="0076A8"/>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65" name="TextBox 64">
            <a:extLst>
              <a:ext uri="{FF2B5EF4-FFF2-40B4-BE49-F238E27FC236}">
                <a16:creationId xmlns:a16="http://schemas.microsoft.com/office/drawing/2014/main" id="{90DB7E10-8E1F-2842-B255-B2AEA938C61F}"/>
              </a:ext>
            </a:extLst>
          </p:cNvPr>
          <p:cNvSpPr txBox="1"/>
          <p:nvPr/>
        </p:nvSpPr>
        <p:spPr>
          <a:xfrm>
            <a:off x="5805457" y="184186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grpSp>
        <p:nvGrpSpPr>
          <p:cNvPr id="66" name="Group 257">
            <a:extLst>
              <a:ext uri="{FF2B5EF4-FFF2-40B4-BE49-F238E27FC236}">
                <a16:creationId xmlns:a16="http://schemas.microsoft.com/office/drawing/2014/main" id="{D00DB3A7-A421-5644-AE3A-ADFF547A6277}"/>
              </a:ext>
            </a:extLst>
          </p:cNvPr>
          <p:cNvGrpSpPr>
            <a:grpSpLocks noChangeAspect="1"/>
          </p:cNvGrpSpPr>
          <p:nvPr/>
        </p:nvGrpSpPr>
        <p:grpSpPr bwMode="auto">
          <a:xfrm>
            <a:off x="5192711" y="1895690"/>
            <a:ext cx="391013" cy="391013"/>
            <a:chOff x="2724" y="770"/>
            <a:chExt cx="340" cy="340"/>
          </a:xfrm>
          <a:solidFill>
            <a:srgbClr val="0076A8"/>
          </a:solidFill>
        </p:grpSpPr>
        <p:sp>
          <p:nvSpPr>
            <p:cNvPr id="67" name="Freeform 258">
              <a:extLst>
                <a:ext uri="{FF2B5EF4-FFF2-40B4-BE49-F238E27FC236}">
                  <a16:creationId xmlns:a16="http://schemas.microsoft.com/office/drawing/2014/main" id="{5A75ED91-4937-754C-97E3-6E7B9ED97EE9}"/>
                </a:ext>
              </a:extLst>
            </p:cNvPr>
            <p:cNvSpPr>
              <a:spLocks noEditPoints="1"/>
            </p:cNvSpPr>
            <p:nvPr/>
          </p:nvSpPr>
          <p:spPr bwMode="auto">
            <a:xfrm>
              <a:off x="2788" y="86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68" name="Freeform 259">
              <a:extLst>
                <a:ext uri="{FF2B5EF4-FFF2-40B4-BE49-F238E27FC236}">
                  <a16:creationId xmlns:a16="http://schemas.microsoft.com/office/drawing/2014/main" id="{9A2EDEE9-050D-1F4F-A40C-949D7841DA64}"/>
                </a:ext>
              </a:extLst>
            </p:cNvPr>
            <p:cNvSpPr>
              <a:spLocks noEditPoints="1"/>
            </p:cNvSpPr>
            <p:nvPr/>
          </p:nvSpPr>
          <p:spPr bwMode="auto">
            <a:xfrm>
              <a:off x="2724"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69" name="TextBox 68">
            <a:extLst>
              <a:ext uri="{FF2B5EF4-FFF2-40B4-BE49-F238E27FC236}">
                <a16:creationId xmlns:a16="http://schemas.microsoft.com/office/drawing/2014/main" id="{2ACAF201-DFEA-E84E-BB21-8954EEEC9037}"/>
              </a:ext>
            </a:extLst>
          </p:cNvPr>
          <p:cNvSpPr txBox="1"/>
          <p:nvPr/>
        </p:nvSpPr>
        <p:spPr>
          <a:xfrm>
            <a:off x="5294306" y="2336744"/>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70" name="Oval 69">
            <a:extLst>
              <a:ext uri="{FF2B5EF4-FFF2-40B4-BE49-F238E27FC236}">
                <a16:creationId xmlns:a16="http://schemas.microsoft.com/office/drawing/2014/main" id="{3977B9C1-E360-B74F-9D46-01EF4E3789D9}"/>
              </a:ext>
            </a:extLst>
          </p:cNvPr>
          <p:cNvSpPr/>
          <p:nvPr/>
        </p:nvSpPr>
        <p:spPr bwMode="gray">
          <a:xfrm>
            <a:off x="5995327" y="2454862"/>
            <a:ext cx="234608" cy="234608"/>
          </a:xfrm>
          <a:prstGeom prst="ellipse">
            <a:avLst/>
          </a:prstGeom>
          <a:noFill/>
          <a:ln w="12700" algn="ctr">
            <a:solidFill>
              <a:srgbClr val="0076A8"/>
            </a:solidFill>
            <a:miter lim="800000"/>
            <a:headEnd/>
            <a:tailEnd/>
          </a:ln>
        </p:spPr>
        <p:txBody>
          <a:bodyPr wrap="none" lIns="0" tIns="0" rIns="0" bIns="0" rtlCol="0" anchor="ctr"/>
          <a:lstStyle/>
          <a:p>
            <a:pPr algn="ctr">
              <a:lnSpc>
                <a:spcPct val="106000"/>
              </a:lnSpc>
              <a:buFont typeface="Wingdings 2" pitchFamily="18" charset="2"/>
              <a:buNone/>
            </a:pPr>
            <a:r>
              <a:rPr lang="en-US" sz="513" b="1" dirty="0"/>
              <a:t>Lorem i</a:t>
            </a:r>
            <a:endParaRPr lang="en-GB" sz="513" b="1" dirty="0"/>
          </a:p>
        </p:txBody>
      </p:sp>
      <p:sp>
        <p:nvSpPr>
          <p:cNvPr id="71" name="Freeform 54">
            <a:extLst>
              <a:ext uri="{FF2B5EF4-FFF2-40B4-BE49-F238E27FC236}">
                <a16:creationId xmlns:a16="http://schemas.microsoft.com/office/drawing/2014/main" id="{7B2EAC17-78BE-324C-94EF-4548DEAF6533}"/>
              </a:ext>
            </a:extLst>
          </p:cNvPr>
          <p:cNvSpPr>
            <a:spLocks noChangeAspect="1" noEditPoints="1"/>
          </p:cNvSpPr>
          <p:nvPr/>
        </p:nvSpPr>
        <p:spPr bwMode="auto">
          <a:xfrm>
            <a:off x="4648845" y="2455652"/>
            <a:ext cx="234608" cy="234608"/>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rgbClr val="0076A8"/>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grpSp>
        <p:nvGrpSpPr>
          <p:cNvPr id="72" name="Group 759">
            <a:extLst>
              <a:ext uri="{FF2B5EF4-FFF2-40B4-BE49-F238E27FC236}">
                <a16:creationId xmlns:a16="http://schemas.microsoft.com/office/drawing/2014/main" id="{429F8FA1-693E-8143-AE4C-6510D2D96B69}"/>
              </a:ext>
            </a:extLst>
          </p:cNvPr>
          <p:cNvGrpSpPr>
            <a:grpSpLocks noChangeAspect="1"/>
          </p:cNvGrpSpPr>
          <p:nvPr/>
        </p:nvGrpSpPr>
        <p:grpSpPr bwMode="auto">
          <a:xfrm>
            <a:off x="7034918" y="3203083"/>
            <a:ext cx="391013" cy="391013"/>
            <a:chOff x="2732" y="2698"/>
            <a:chExt cx="340" cy="340"/>
          </a:xfrm>
          <a:solidFill>
            <a:schemeClr val="accent2"/>
          </a:solidFill>
        </p:grpSpPr>
        <p:sp>
          <p:nvSpPr>
            <p:cNvPr id="73" name="Freeform 760">
              <a:extLst>
                <a:ext uri="{FF2B5EF4-FFF2-40B4-BE49-F238E27FC236}">
                  <a16:creationId xmlns:a16="http://schemas.microsoft.com/office/drawing/2014/main" id="{04053624-216B-F24E-A048-4C05FCAEE67E}"/>
                </a:ext>
              </a:extLst>
            </p:cNvPr>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81" name="Freeform 761">
              <a:extLst>
                <a:ext uri="{FF2B5EF4-FFF2-40B4-BE49-F238E27FC236}">
                  <a16:creationId xmlns:a16="http://schemas.microsoft.com/office/drawing/2014/main" id="{AC144BFF-2F3D-6440-8718-461608F0DBF3}"/>
                </a:ext>
              </a:extLst>
            </p:cNvPr>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82" name="Freeform 379">
            <a:extLst>
              <a:ext uri="{FF2B5EF4-FFF2-40B4-BE49-F238E27FC236}">
                <a16:creationId xmlns:a16="http://schemas.microsoft.com/office/drawing/2014/main" id="{0608B3A4-A435-9A40-9CEC-BE7BC966F92D}"/>
              </a:ext>
            </a:extLst>
          </p:cNvPr>
          <p:cNvSpPr>
            <a:spLocks noChangeAspect="1" noEditPoints="1"/>
          </p:cNvSpPr>
          <p:nvPr/>
        </p:nvSpPr>
        <p:spPr bwMode="auto">
          <a:xfrm>
            <a:off x="7821208" y="3615276"/>
            <a:ext cx="234608" cy="234608"/>
          </a:xfrm>
          <a:custGeom>
            <a:avLst/>
            <a:gdLst>
              <a:gd name="T0" fmla="*/ 350 w 512"/>
              <a:gd name="T1" fmla="*/ 283 h 512"/>
              <a:gd name="T2" fmla="*/ 394 w 512"/>
              <a:gd name="T3" fmla="*/ 344 h 512"/>
              <a:gd name="T4" fmla="*/ 394 w 512"/>
              <a:gd name="T5" fmla="*/ 352 h 512"/>
              <a:gd name="T6" fmla="*/ 117 w 512"/>
              <a:gd name="T7" fmla="*/ 352 h 512"/>
              <a:gd name="T8" fmla="*/ 117 w 512"/>
              <a:gd name="T9" fmla="*/ 324 h 512"/>
              <a:gd name="T10" fmla="*/ 208 w 512"/>
              <a:gd name="T11" fmla="*/ 233 h 512"/>
              <a:gd name="T12" fmla="*/ 296 w 512"/>
              <a:gd name="T13" fmla="*/ 322 h 512"/>
              <a:gd name="T14" fmla="*/ 311 w 512"/>
              <a:gd name="T15" fmla="*/ 322 h 512"/>
              <a:gd name="T16" fmla="*/ 350 w 512"/>
              <a:gd name="T17" fmla="*/ 283 h 512"/>
              <a:gd name="T18" fmla="*/ 117 w 512"/>
              <a:gd name="T19" fmla="*/ 160 h 512"/>
              <a:gd name="T20" fmla="*/ 394 w 512"/>
              <a:gd name="T21" fmla="*/ 160 h 512"/>
              <a:gd name="T22" fmla="*/ 394 w 512"/>
              <a:gd name="T23" fmla="*/ 308 h 512"/>
              <a:gd name="T24" fmla="*/ 360 w 512"/>
              <a:gd name="T25" fmla="*/ 260 h 512"/>
              <a:gd name="T26" fmla="*/ 353 w 512"/>
              <a:gd name="T27" fmla="*/ 256 h 512"/>
              <a:gd name="T28" fmla="*/ 344 w 512"/>
              <a:gd name="T29" fmla="*/ 259 h 512"/>
              <a:gd name="T30" fmla="*/ 304 w 512"/>
              <a:gd name="T31" fmla="*/ 299 h 512"/>
              <a:gd name="T32" fmla="*/ 215 w 512"/>
              <a:gd name="T33" fmla="*/ 211 h 512"/>
              <a:gd name="T34" fmla="*/ 200 w 512"/>
              <a:gd name="T35" fmla="*/ 211 h 512"/>
              <a:gd name="T36" fmla="*/ 117 w 512"/>
              <a:gd name="T37" fmla="*/ 294 h 512"/>
              <a:gd name="T38" fmla="*/ 117 w 512"/>
              <a:gd name="T39" fmla="*/ 160 h 512"/>
              <a:gd name="T40" fmla="*/ 288 w 512"/>
              <a:gd name="T41" fmla="*/ 213 h 512"/>
              <a:gd name="T42" fmla="*/ 309 w 512"/>
              <a:gd name="T43" fmla="*/ 234 h 512"/>
              <a:gd name="T44" fmla="*/ 330 w 512"/>
              <a:gd name="T45" fmla="*/ 213 h 512"/>
              <a:gd name="T46" fmla="*/ 309 w 512"/>
              <a:gd name="T47" fmla="*/ 192 h 512"/>
              <a:gd name="T48" fmla="*/ 288 w 512"/>
              <a:gd name="T49" fmla="*/ 213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416 w 512"/>
              <a:gd name="T61" fmla="*/ 149 h 512"/>
              <a:gd name="T62" fmla="*/ 405 w 512"/>
              <a:gd name="T63" fmla="*/ 138 h 512"/>
              <a:gd name="T64" fmla="*/ 106 w 512"/>
              <a:gd name="T65" fmla="*/ 138 h 512"/>
              <a:gd name="T66" fmla="*/ 96 w 512"/>
              <a:gd name="T67" fmla="*/ 149 h 512"/>
              <a:gd name="T68" fmla="*/ 96 w 512"/>
              <a:gd name="T69" fmla="*/ 362 h 512"/>
              <a:gd name="T70" fmla="*/ 106 w 512"/>
              <a:gd name="T71" fmla="*/ 373 h 512"/>
              <a:gd name="T72" fmla="*/ 405 w 512"/>
              <a:gd name="T73" fmla="*/ 373 h 512"/>
              <a:gd name="T74" fmla="*/ 416 w 512"/>
              <a:gd name="T75" fmla="*/ 362 h 512"/>
              <a:gd name="T76" fmla="*/ 416 w 512"/>
              <a:gd name="T7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50" y="283"/>
                </a:moveTo>
                <a:cubicBezTo>
                  <a:pt x="394" y="344"/>
                  <a:pt x="394" y="344"/>
                  <a:pt x="394" y="344"/>
                </a:cubicBezTo>
                <a:cubicBezTo>
                  <a:pt x="394" y="352"/>
                  <a:pt x="394" y="352"/>
                  <a:pt x="394" y="352"/>
                </a:cubicBezTo>
                <a:cubicBezTo>
                  <a:pt x="117" y="352"/>
                  <a:pt x="117" y="352"/>
                  <a:pt x="117" y="352"/>
                </a:cubicBezTo>
                <a:cubicBezTo>
                  <a:pt x="117" y="324"/>
                  <a:pt x="117" y="324"/>
                  <a:pt x="117" y="324"/>
                </a:cubicBezTo>
                <a:cubicBezTo>
                  <a:pt x="208" y="233"/>
                  <a:pt x="208" y="233"/>
                  <a:pt x="208" y="233"/>
                </a:cubicBezTo>
                <a:cubicBezTo>
                  <a:pt x="296" y="322"/>
                  <a:pt x="296" y="322"/>
                  <a:pt x="296" y="322"/>
                </a:cubicBezTo>
                <a:cubicBezTo>
                  <a:pt x="300" y="326"/>
                  <a:pt x="307" y="326"/>
                  <a:pt x="311" y="322"/>
                </a:cubicBezTo>
                <a:lnTo>
                  <a:pt x="350" y="283"/>
                </a:lnTo>
                <a:close/>
                <a:moveTo>
                  <a:pt x="117" y="160"/>
                </a:moveTo>
                <a:cubicBezTo>
                  <a:pt x="394" y="160"/>
                  <a:pt x="394" y="160"/>
                  <a:pt x="394" y="160"/>
                </a:cubicBezTo>
                <a:cubicBezTo>
                  <a:pt x="394" y="308"/>
                  <a:pt x="394" y="308"/>
                  <a:pt x="394" y="308"/>
                </a:cubicBezTo>
                <a:cubicBezTo>
                  <a:pt x="360" y="260"/>
                  <a:pt x="360" y="260"/>
                  <a:pt x="360" y="260"/>
                </a:cubicBezTo>
                <a:cubicBezTo>
                  <a:pt x="359" y="258"/>
                  <a:pt x="356" y="256"/>
                  <a:pt x="353" y="256"/>
                </a:cubicBezTo>
                <a:cubicBezTo>
                  <a:pt x="349" y="255"/>
                  <a:pt x="346" y="257"/>
                  <a:pt x="344" y="259"/>
                </a:cubicBezTo>
                <a:cubicBezTo>
                  <a:pt x="304" y="299"/>
                  <a:pt x="304" y="299"/>
                  <a:pt x="304" y="299"/>
                </a:cubicBezTo>
                <a:cubicBezTo>
                  <a:pt x="215" y="211"/>
                  <a:pt x="215" y="211"/>
                  <a:pt x="215" y="211"/>
                </a:cubicBezTo>
                <a:cubicBezTo>
                  <a:pt x="211" y="207"/>
                  <a:pt x="204" y="207"/>
                  <a:pt x="200" y="211"/>
                </a:cubicBezTo>
                <a:cubicBezTo>
                  <a:pt x="117" y="294"/>
                  <a:pt x="117" y="294"/>
                  <a:pt x="117" y="294"/>
                </a:cubicBezTo>
                <a:lnTo>
                  <a:pt x="117" y="160"/>
                </a:lnTo>
                <a:close/>
                <a:moveTo>
                  <a:pt x="288" y="213"/>
                </a:moveTo>
                <a:cubicBezTo>
                  <a:pt x="288" y="225"/>
                  <a:pt x="297" y="234"/>
                  <a:pt x="309" y="234"/>
                </a:cubicBezTo>
                <a:cubicBezTo>
                  <a:pt x="321" y="234"/>
                  <a:pt x="330" y="225"/>
                  <a:pt x="330" y="213"/>
                </a:cubicBezTo>
                <a:cubicBezTo>
                  <a:pt x="330" y="201"/>
                  <a:pt x="321" y="192"/>
                  <a:pt x="309" y="192"/>
                </a:cubicBezTo>
                <a:cubicBezTo>
                  <a:pt x="297" y="192"/>
                  <a:pt x="288" y="201"/>
                  <a:pt x="28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2"/>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83" name="TextBox 82">
            <a:extLst>
              <a:ext uri="{FF2B5EF4-FFF2-40B4-BE49-F238E27FC236}">
                <a16:creationId xmlns:a16="http://schemas.microsoft.com/office/drawing/2014/main" id="{BA9F6EFD-1602-074E-ADE5-2D6CEEC55DE2}"/>
              </a:ext>
            </a:extLst>
          </p:cNvPr>
          <p:cNvSpPr txBox="1"/>
          <p:nvPr/>
        </p:nvSpPr>
        <p:spPr>
          <a:xfrm>
            <a:off x="7749551" y="3876476"/>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84" name="Freeform 26">
            <a:extLst>
              <a:ext uri="{FF2B5EF4-FFF2-40B4-BE49-F238E27FC236}">
                <a16:creationId xmlns:a16="http://schemas.microsoft.com/office/drawing/2014/main" id="{BAB6202C-FEEE-1D40-9055-506623CA660F}"/>
              </a:ext>
            </a:extLst>
          </p:cNvPr>
          <p:cNvSpPr>
            <a:spLocks noChangeAspect="1" noEditPoints="1"/>
          </p:cNvSpPr>
          <p:nvPr/>
        </p:nvSpPr>
        <p:spPr bwMode="auto">
          <a:xfrm>
            <a:off x="7113119" y="4015113"/>
            <a:ext cx="234608" cy="234608"/>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2"/>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85" name="TextBox 84">
            <a:extLst>
              <a:ext uri="{FF2B5EF4-FFF2-40B4-BE49-F238E27FC236}">
                <a16:creationId xmlns:a16="http://schemas.microsoft.com/office/drawing/2014/main" id="{6E422D25-7DFD-3D45-80F5-4CA80FAA3AE0}"/>
              </a:ext>
            </a:extLst>
          </p:cNvPr>
          <p:cNvSpPr txBox="1"/>
          <p:nvPr/>
        </p:nvSpPr>
        <p:spPr>
          <a:xfrm>
            <a:off x="7026662" y="428972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86" name="Freeform 375">
            <a:extLst>
              <a:ext uri="{FF2B5EF4-FFF2-40B4-BE49-F238E27FC236}">
                <a16:creationId xmlns:a16="http://schemas.microsoft.com/office/drawing/2014/main" id="{190C8026-AA64-B246-A771-843EDC80AF8E}"/>
              </a:ext>
            </a:extLst>
          </p:cNvPr>
          <p:cNvSpPr>
            <a:spLocks noChangeAspect="1" noEditPoints="1"/>
          </p:cNvSpPr>
          <p:nvPr/>
        </p:nvSpPr>
        <p:spPr bwMode="auto">
          <a:xfrm>
            <a:off x="6479220" y="3615276"/>
            <a:ext cx="234608" cy="23460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2"/>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87" name="TextBox 86">
            <a:extLst>
              <a:ext uri="{FF2B5EF4-FFF2-40B4-BE49-F238E27FC236}">
                <a16:creationId xmlns:a16="http://schemas.microsoft.com/office/drawing/2014/main" id="{073AB691-B809-274E-BE3C-A6ACBD063C98}"/>
              </a:ext>
            </a:extLst>
          </p:cNvPr>
          <p:cNvSpPr txBox="1"/>
          <p:nvPr/>
        </p:nvSpPr>
        <p:spPr>
          <a:xfrm>
            <a:off x="6375657" y="3876476"/>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88" name="Freeform 114">
            <a:extLst>
              <a:ext uri="{FF2B5EF4-FFF2-40B4-BE49-F238E27FC236}">
                <a16:creationId xmlns:a16="http://schemas.microsoft.com/office/drawing/2014/main" id="{06C505E1-CAD4-E743-B678-3B9189AD845D}"/>
              </a:ext>
            </a:extLst>
          </p:cNvPr>
          <p:cNvSpPr>
            <a:spLocks noChangeAspect="1" noEditPoints="1"/>
          </p:cNvSpPr>
          <p:nvPr/>
        </p:nvSpPr>
        <p:spPr bwMode="auto">
          <a:xfrm>
            <a:off x="8907899" y="2893139"/>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05 w 512"/>
              <a:gd name="T13" fmla="*/ 373 h 512"/>
              <a:gd name="T14" fmla="*/ 106 w 512"/>
              <a:gd name="T15" fmla="*/ 373 h 512"/>
              <a:gd name="T16" fmla="*/ 96 w 512"/>
              <a:gd name="T17" fmla="*/ 362 h 512"/>
              <a:gd name="T18" fmla="*/ 96 w 512"/>
              <a:gd name="T19" fmla="*/ 149 h 512"/>
              <a:gd name="T20" fmla="*/ 106 w 512"/>
              <a:gd name="T21" fmla="*/ 138 h 512"/>
              <a:gd name="T22" fmla="*/ 405 w 512"/>
              <a:gd name="T23" fmla="*/ 138 h 512"/>
              <a:gd name="T24" fmla="*/ 416 w 512"/>
              <a:gd name="T25" fmla="*/ 149 h 512"/>
              <a:gd name="T26" fmla="*/ 416 w 512"/>
              <a:gd name="T27" fmla="*/ 362 h 512"/>
              <a:gd name="T28" fmla="*/ 117 w 512"/>
              <a:gd name="T29" fmla="*/ 160 h 512"/>
              <a:gd name="T30" fmla="*/ 394 w 512"/>
              <a:gd name="T31" fmla="*/ 160 h 512"/>
              <a:gd name="T32" fmla="*/ 394 w 512"/>
              <a:gd name="T33" fmla="*/ 181 h 512"/>
              <a:gd name="T34" fmla="*/ 117 w 512"/>
              <a:gd name="T35" fmla="*/ 181 h 512"/>
              <a:gd name="T36" fmla="*/ 117 w 512"/>
              <a:gd name="T37" fmla="*/ 160 h 512"/>
              <a:gd name="T38" fmla="*/ 117 w 512"/>
              <a:gd name="T39" fmla="*/ 352 h 512"/>
              <a:gd name="T40" fmla="*/ 394 w 512"/>
              <a:gd name="T41" fmla="*/ 352 h 512"/>
              <a:gd name="T42" fmla="*/ 394 w 512"/>
              <a:gd name="T43" fmla="*/ 224 h 512"/>
              <a:gd name="T44" fmla="*/ 117 w 512"/>
              <a:gd name="T45" fmla="*/ 224 h 512"/>
              <a:gd name="T46" fmla="*/ 117 w 512"/>
              <a:gd name="T47" fmla="*/ 352 h 512"/>
              <a:gd name="T48" fmla="*/ 149 w 512"/>
              <a:gd name="T49" fmla="*/ 309 h 512"/>
              <a:gd name="T50" fmla="*/ 256 w 512"/>
              <a:gd name="T51" fmla="*/ 309 h 512"/>
              <a:gd name="T52" fmla="*/ 266 w 512"/>
              <a:gd name="T53" fmla="*/ 320 h 512"/>
              <a:gd name="T54" fmla="*/ 256 w 512"/>
              <a:gd name="T55" fmla="*/ 330 h 512"/>
              <a:gd name="T56" fmla="*/ 149 w 512"/>
              <a:gd name="T57" fmla="*/ 330 h 512"/>
              <a:gd name="T58" fmla="*/ 138 w 512"/>
              <a:gd name="T59" fmla="*/ 320 h 512"/>
              <a:gd name="T60" fmla="*/ 149 w 512"/>
              <a:gd name="T6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62"/>
                </a:lnTo>
                <a:close/>
                <a:moveTo>
                  <a:pt x="117" y="160"/>
                </a:moveTo>
                <a:cubicBezTo>
                  <a:pt x="394" y="160"/>
                  <a:pt x="394" y="160"/>
                  <a:pt x="394" y="160"/>
                </a:cubicBezTo>
                <a:cubicBezTo>
                  <a:pt x="394" y="181"/>
                  <a:pt x="394" y="181"/>
                  <a:pt x="394" y="181"/>
                </a:cubicBezTo>
                <a:cubicBezTo>
                  <a:pt x="117" y="181"/>
                  <a:pt x="117" y="181"/>
                  <a:pt x="117" y="181"/>
                </a:cubicBezTo>
                <a:lnTo>
                  <a:pt x="117" y="160"/>
                </a:lnTo>
                <a:close/>
                <a:moveTo>
                  <a:pt x="117" y="352"/>
                </a:moveTo>
                <a:cubicBezTo>
                  <a:pt x="394" y="352"/>
                  <a:pt x="394" y="352"/>
                  <a:pt x="394" y="352"/>
                </a:cubicBezTo>
                <a:cubicBezTo>
                  <a:pt x="394" y="224"/>
                  <a:pt x="394" y="224"/>
                  <a:pt x="394" y="224"/>
                </a:cubicBezTo>
                <a:cubicBezTo>
                  <a:pt x="117" y="224"/>
                  <a:pt x="117" y="224"/>
                  <a:pt x="117" y="224"/>
                </a:cubicBezTo>
                <a:lnTo>
                  <a:pt x="117" y="352"/>
                </a:lnTo>
                <a:close/>
                <a:moveTo>
                  <a:pt x="149" y="309"/>
                </a:moveTo>
                <a:cubicBezTo>
                  <a:pt x="256" y="309"/>
                  <a:pt x="256" y="309"/>
                  <a:pt x="256" y="309"/>
                </a:cubicBezTo>
                <a:cubicBezTo>
                  <a:pt x="262" y="309"/>
                  <a:pt x="266" y="314"/>
                  <a:pt x="266" y="320"/>
                </a:cubicBezTo>
                <a:cubicBezTo>
                  <a:pt x="266" y="326"/>
                  <a:pt x="262" y="330"/>
                  <a:pt x="256" y="330"/>
                </a:cubicBezTo>
                <a:cubicBezTo>
                  <a:pt x="149" y="330"/>
                  <a:pt x="149" y="330"/>
                  <a:pt x="149" y="330"/>
                </a:cubicBezTo>
                <a:cubicBezTo>
                  <a:pt x="143" y="330"/>
                  <a:pt x="138" y="326"/>
                  <a:pt x="138" y="320"/>
                </a:cubicBezTo>
                <a:cubicBezTo>
                  <a:pt x="138" y="314"/>
                  <a:pt x="143" y="309"/>
                  <a:pt x="149" y="309"/>
                </a:cubicBezTo>
                <a:close/>
              </a:path>
            </a:pathLst>
          </a:custGeom>
          <a:solidFill>
            <a:srgbClr val="009A4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89" name="TextBox 88">
            <a:extLst>
              <a:ext uri="{FF2B5EF4-FFF2-40B4-BE49-F238E27FC236}">
                <a16:creationId xmlns:a16="http://schemas.microsoft.com/office/drawing/2014/main" id="{EFBDECA7-53AB-6B45-B760-3CD70A79F22B}"/>
              </a:ext>
            </a:extLst>
          </p:cNvPr>
          <p:cNvSpPr txBox="1"/>
          <p:nvPr/>
        </p:nvSpPr>
        <p:spPr>
          <a:xfrm>
            <a:off x="7011383" y="2815786"/>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grpSp>
        <p:nvGrpSpPr>
          <p:cNvPr id="90" name="Group 672">
            <a:extLst>
              <a:ext uri="{FF2B5EF4-FFF2-40B4-BE49-F238E27FC236}">
                <a16:creationId xmlns:a16="http://schemas.microsoft.com/office/drawing/2014/main" id="{92248A6C-50DD-AD4D-A6CD-29DDCEBADA0E}"/>
              </a:ext>
            </a:extLst>
          </p:cNvPr>
          <p:cNvGrpSpPr>
            <a:grpSpLocks noChangeAspect="1"/>
          </p:cNvGrpSpPr>
          <p:nvPr/>
        </p:nvGrpSpPr>
        <p:grpSpPr bwMode="auto">
          <a:xfrm>
            <a:off x="8035608" y="2814938"/>
            <a:ext cx="391013" cy="391013"/>
            <a:chOff x="3043" y="3122"/>
            <a:chExt cx="340" cy="340"/>
          </a:xfrm>
          <a:solidFill>
            <a:srgbClr val="009A44"/>
          </a:solidFill>
        </p:grpSpPr>
        <p:sp>
          <p:nvSpPr>
            <p:cNvPr id="91" name="Freeform 673">
              <a:extLst>
                <a:ext uri="{FF2B5EF4-FFF2-40B4-BE49-F238E27FC236}">
                  <a16:creationId xmlns:a16="http://schemas.microsoft.com/office/drawing/2014/main" id="{AA250173-AFD0-7C42-8904-84C5FFA94567}"/>
                </a:ext>
              </a:extLst>
            </p:cNvPr>
            <p:cNvSpPr>
              <a:spLocks noEditPoints="1"/>
            </p:cNvSpPr>
            <p:nvPr/>
          </p:nvSpPr>
          <p:spPr bwMode="auto">
            <a:xfrm>
              <a:off x="3107" y="3186"/>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1 w 320"/>
                <a:gd name="T41" fmla="*/ 256 h 277"/>
                <a:gd name="T42" fmla="*/ 21 w 320"/>
                <a:gd name="T43" fmla="*/ 64 h 277"/>
                <a:gd name="T44" fmla="*/ 64 w 320"/>
                <a:gd name="T45" fmla="*/ 64 h 277"/>
                <a:gd name="T46" fmla="*/ 64 w 320"/>
                <a:gd name="T47" fmla="*/ 256 h 277"/>
                <a:gd name="T48" fmla="*/ 21 w 320"/>
                <a:gd name="T49" fmla="*/ 256 h 277"/>
                <a:gd name="T50" fmla="*/ 85 w 320"/>
                <a:gd name="T51" fmla="*/ 256 h 277"/>
                <a:gd name="T52" fmla="*/ 85 w 320"/>
                <a:gd name="T53" fmla="*/ 64 h 277"/>
                <a:gd name="T54" fmla="*/ 224 w 320"/>
                <a:gd name="T55" fmla="*/ 64 h 277"/>
                <a:gd name="T56" fmla="*/ 224 w 320"/>
                <a:gd name="T57" fmla="*/ 256 h 277"/>
                <a:gd name="T58" fmla="*/ 85 w 320"/>
                <a:gd name="T59" fmla="*/ 256 h 277"/>
                <a:gd name="T60" fmla="*/ 298 w 320"/>
                <a:gd name="T61" fmla="*/ 256 h 277"/>
                <a:gd name="T62" fmla="*/ 245 w 320"/>
                <a:gd name="T63" fmla="*/ 256 h 277"/>
                <a:gd name="T64" fmla="*/ 245 w 320"/>
                <a:gd name="T65" fmla="*/ 64 h 277"/>
                <a:gd name="T66" fmla="*/ 298 w 320"/>
                <a:gd name="T67" fmla="*/ 64 h 277"/>
                <a:gd name="T68" fmla="*/ 298 w 320"/>
                <a:gd name="T6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1" y="256"/>
                  </a:moveTo>
                  <a:cubicBezTo>
                    <a:pt x="21" y="64"/>
                    <a:pt x="21" y="64"/>
                    <a:pt x="21" y="64"/>
                  </a:cubicBezTo>
                  <a:cubicBezTo>
                    <a:pt x="64" y="64"/>
                    <a:pt x="64" y="64"/>
                    <a:pt x="64" y="64"/>
                  </a:cubicBezTo>
                  <a:cubicBezTo>
                    <a:pt x="64" y="256"/>
                    <a:pt x="64" y="256"/>
                    <a:pt x="64" y="256"/>
                  </a:cubicBezTo>
                  <a:lnTo>
                    <a:pt x="21" y="256"/>
                  </a:lnTo>
                  <a:close/>
                  <a:moveTo>
                    <a:pt x="85" y="256"/>
                  </a:moveTo>
                  <a:cubicBezTo>
                    <a:pt x="85" y="64"/>
                    <a:pt x="85" y="64"/>
                    <a:pt x="85" y="64"/>
                  </a:cubicBezTo>
                  <a:cubicBezTo>
                    <a:pt x="224" y="64"/>
                    <a:pt x="224" y="64"/>
                    <a:pt x="224" y="64"/>
                  </a:cubicBezTo>
                  <a:cubicBezTo>
                    <a:pt x="224" y="256"/>
                    <a:pt x="224" y="256"/>
                    <a:pt x="224" y="256"/>
                  </a:cubicBezTo>
                  <a:lnTo>
                    <a:pt x="85" y="256"/>
                  </a:lnTo>
                  <a:close/>
                  <a:moveTo>
                    <a:pt x="298" y="256"/>
                  </a:moveTo>
                  <a:cubicBezTo>
                    <a:pt x="245" y="256"/>
                    <a:pt x="245" y="256"/>
                    <a:pt x="245" y="256"/>
                  </a:cubicBezTo>
                  <a:cubicBezTo>
                    <a:pt x="245" y="64"/>
                    <a:pt x="245" y="64"/>
                    <a:pt x="245" y="64"/>
                  </a:cubicBezTo>
                  <a:cubicBezTo>
                    <a:pt x="298" y="64"/>
                    <a:pt x="298" y="64"/>
                    <a:pt x="298" y="64"/>
                  </a:cubicBezTo>
                  <a:lnTo>
                    <a:pt x="298" y="25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92" name="Freeform 674">
              <a:extLst>
                <a:ext uri="{FF2B5EF4-FFF2-40B4-BE49-F238E27FC236}">
                  <a16:creationId xmlns:a16="http://schemas.microsoft.com/office/drawing/2014/main" id="{F03C2FD4-8109-0E4E-B3E8-F73CC0A81D95}"/>
                </a:ext>
              </a:extLst>
            </p:cNvPr>
            <p:cNvSpPr>
              <a:spLocks noEditPoints="1"/>
            </p:cNvSpPr>
            <p:nvPr/>
          </p:nvSpPr>
          <p:spPr bwMode="auto">
            <a:xfrm>
              <a:off x="3043" y="312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93" name="TextBox 92">
            <a:extLst>
              <a:ext uri="{FF2B5EF4-FFF2-40B4-BE49-F238E27FC236}">
                <a16:creationId xmlns:a16="http://schemas.microsoft.com/office/drawing/2014/main" id="{3C7957D7-8D90-B048-ACE0-E2AC0F188224}"/>
              </a:ext>
            </a:extLst>
          </p:cNvPr>
          <p:cNvSpPr txBox="1"/>
          <p:nvPr/>
        </p:nvSpPr>
        <p:spPr>
          <a:xfrm>
            <a:off x="8041731" y="3259180"/>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94" name="TextBox 93">
            <a:extLst>
              <a:ext uri="{FF2B5EF4-FFF2-40B4-BE49-F238E27FC236}">
                <a16:creationId xmlns:a16="http://schemas.microsoft.com/office/drawing/2014/main" id="{2D4EB154-2AFE-6E48-A164-FA9455A6E8F2}"/>
              </a:ext>
            </a:extLst>
          </p:cNvPr>
          <p:cNvSpPr txBox="1"/>
          <p:nvPr/>
        </p:nvSpPr>
        <p:spPr>
          <a:xfrm>
            <a:off x="9208109" y="2970961"/>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95" name="Freeform 384">
            <a:extLst>
              <a:ext uri="{FF2B5EF4-FFF2-40B4-BE49-F238E27FC236}">
                <a16:creationId xmlns:a16="http://schemas.microsoft.com/office/drawing/2014/main" id="{3516AFEF-F800-6D49-8720-439080DE0D57}"/>
              </a:ext>
            </a:extLst>
          </p:cNvPr>
          <p:cNvSpPr>
            <a:spLocks noChangeAspect="1" noEditPoints="1"/>
          </p:cNvSpPr>
          <p:nvPr/>
        </p:nvSpPr>
        <p:spPr bwMode="auto">
          <a:xfrm>
            <a:off x="7097519" y="2510663"/>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6 w 512"/>
              <a:gd name="T11" fmla="*/ 152 h 512"/>
              <a:gd name="T12" fmla="*/ 220 w 512"/>
              <a:gd name="T13" fmla="*/ 145 h 512"/>
              <a:gd name="T14" fmla="*/ 340 w 512"/>
              <a:gd name="T15" fmla="*/ 189 h 512"/>
              <a:gd name="T16" fmla="*/ 347 w 512"/>
              <a:gd name="T17" fmla="*/ 202 h 512"/>
              <a:gd name="T18" fmla="*/ 337 w 512"/>
              <a:gd name="T19" fmla="*/ 209 h 512"/>
              <a:gd name="T20" fmla="*/ 333 w 512"/>
              <a:gd name="T21" fmla="*/ 209 h 512"/>
              <a:gd name="T22" fmla="*/ 213 w 512"/>
              <a:gd name="T23" fmla="*/ 166 h 512"/>
              <a:gd name="T24" fmla="*/ 206 w 512"/>
              <a:gd name="T25" fmla="*/ 152 h 512"/>
              <a:gd name="T26" fmla="*/ 190 w 512"/>
              <a:gd name="T27" fmla="*/ 209 h 512"/>
              <a:gd name="T28" fmla="*/ 202 w 512"/>
              <a:gd name="T29" fmla="*/ 201 h 512"/>
              <a:gd name="T30" fmla="*/ 328 w 512"/>
              <a:gd name="T31" fmla="*/ 226 h 512"/>
              <a:gd name="T32" fmla="*/ 336 w 512"/>
              <a:gd name="T33" fmla="*/ 239 h 512"/>
              <a:gd name="T34" fmla="*/ 325 w 512"/>
              <a:gd name="T35" fmla="*/ 247 h 512"/>
              <a:gd name="T36" fmla="*/ 323 w 512"/>
              <a:gd name="T37" fmla="*/ 247 h 512"/>
              <a:gd name="T38" fmla="*/ 198 w 512"/>
              <a:gd name="T39" fmla="*/ 221 h 512"/>
              <a:gd name="T40" fmla="*/ 190 w 512"/>
              <a:gd name="T41" fmla="*/ 209 h 512"/>
              <a:gd name="T42" fmla="*/ 193 w 512"/>
              <a:gd name="T43" fmla="*/ 254 h 512"/>
              <a:gd name="T44" fmla="*/ 321 w 512"/>
              <a:gd name="T45" fmla="*/ 266 h 512"/>
              <a:gd name="T46" fmla="*/ 330 w 512"/>
              <a:gd name="T47" fmla="*/ 278 h 512"/>
              <a:gd name="T48" fmla="*/ 320 w 512"/>
              <a:gd name="T49" fmla="*/ 288 h 512"/>
              <a:gd name="T50" fmla="*/ 319 w 512"/>
              <a:gd name="T51" fmla="*/ 288 h 512"/>
              <a:gd name="T52" fmla="*/ 191 w 512"/>
              <a:gd name="T53" fmla="*/ 275 h 512"/>
              <a:gd name="T54" fmla="*/ 182 w 512"/>
              <a:gd name="T55" fmla="*/ 263 h 512"/>
              <a:gd name="T56" fmla="*/ 193 w 512"/>
              <a:gd name="T57" fmla="*/ 254 h 512"/>
              <a:gd name="T58" fmla="*/ 192 w 512"/>
              <a:gd name="T59" fmla="*/ 309 h 512"/>
              <a:gd name="T60" fmla="*/ 320 w 512"/>
              <a:gd name="T61" fmla="*/ 309 h 512"/>
              <a:gd name="T62" fmla="*/ 330 w 512"/>
              <a:gd name="T63" fmla="*/ 320 h 512"/>
              <a:gd name="T64" fmla="*/ 320 w 512"/>
              <a:gd name="T65" fmla="*/ 330 h 512"/>
              <a:gd name="T66" fmla="*/ 192 w 512"/>
              <a:gd name="T67" fmla="*/ 330 h 512"/>
              <a:gd name="T68" fmla="*/ 181 w 512"/>
              <a:gd name="T69" fmla="*/ 320 h 512"/>
              <a:gd name="T70" fmla="*/ 192 w 512"/>
              <a:gd name="T71" fmla="*/ 309 h 512"/>
              <a:gd name="T72" fmla="*/ 373 w 512"/>
              <a:gd name="T73" fmla="*/ 362 h 512"/>
              <a:gd name="T74" fmla="*/ 362 w 512"/>
              <a:gd name="T75" fmla="*/ 373 h 512"/>
              <a:gd name="T76" fmla="*/ 149 w 512"/>
              <a:gd name="T77" fmla="*/ 373 h 512"/>
              <a:gd name="T78" fmla="*/ 138 w 512"/>
              <a:gd name="T79" fmla="*/ 362 h 512"/>
              <a:gd name="T80" fmla="*/ 138 w 512"/>
              <a:gd name="T81" fmla="*/ 298 h 512"/>
              <a:gd name="T82" fmla="*/ 149 w 512"/>
              <a:gd name="T83" fmla="*/ 288 h 512"/>
              <a:gd name="T84" fmla="*/ 160 w 512"/>
              <a:gd name="T85" fmla="*/ 298 h 512"/>
              <a:gd name="T86" fmla="*/ 160 w 512"/>
              <a:gd name="T87" fmla="*/ 352 h 512"/>
              <a:gd name="T88" fmla="*/ 352 w 512"/>
              <a:gd name="T89" fmla="*/ 352 h 512"/>
              <a:gd name="T90" fmla="*/ 352 w 512"/>
              <a:gd name="T91" fmla="*/ 298 h 512"/>
              <a:gd name="T92" fmla="*/ 362 w 512"/>
              <a:gd name="T93" fmla="*/ 288 h 512"/>
              <a:gd name="T94" fmla="*/ 373 w 512"/>
              <a:gd name="T95" fmla="*/ 298 h 512"/>
              <a:gd name="T96" fmla="*/ 373 w 512"/>
              <a:gd name="T9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6" y="152"/>
                </a:moveTo>
                <a:cubicBezTo>
                  <a:pt x="208" y="146"/>
                  <a:pt x="214" y="143"/>
                  <a:pt x="220" y="145"/>
                </a:cubicBezTo>
                <a:cubicBezTo>
                  <a:pt x="340" y="189"/>
                  <a:pt x="340" y="189"/>
                  <a:pt x="340" y="189"/>
                </a:cubicBezTo>
                <a:cubicBezTo>
                  <a:pt x="346" y="191"/>
                  <a:pt x="349" y="197"/>
                  <a:pt x="347" y="202"/>
                </a:cubicBezTo>
                <a:cubicBezTo>
                  <a:pt x="345" y="207"/>
                  <a:pt x="341" y="209"/>
                  <a:pt x="337" y="209"/>
                </a:cubicBezTo>
                <a:cubicBezTo>
                  <a:pt x="336" y="209"/>
                  <a:pt x="334" y="209"/>
                  <a:pt x="333" y="209"/>
                </a:cubicBezTo>
                <a:cubicBezTo>
                  <a:pt x="213" y="166"/>
                  <a:pt x="213" y="166"/>
                  <a:pt x="213" y="166"/>
                </a:cubicBezTo>
                <a:cubicBezTo>
                  <a:pt x="207" y="164"/>
                  <a:pt x="204" y="157"/>
                  <a:pt x="206" y="152"/>
                </a:cubicBezTo>
                <a:close/>
                <a:moveTo>
                  <a:pt x="190" y="209"/>
                </a:moveTo>
                <a:cubicBezTo>
                  <a:pt x="191" y="203"/>
                  <a:pt x="196" y="199"/>
                  <a:pt x="202" y="201"/>
                </a:cubicBezTo>
                <a:cubicBezTo>
                  <a:pt x="328" y="226"/>
                  <a:pt x="328" y="226"/>
                  <a:pt x="328" y="226"/>
                </a:cubicBezTo>
                <a:cubicBezTo>
                  <a:pt x="333" y="227"/>
                  <a:pt x="337" y="233"/>
                  <a:pt x="336" y="239"/>
                </a:cubicBezTo>
                <a:cubicBezTo>
                  <a:pt x="335" y="244"/>
                  <a:pt x="330" y="247"/>
                  <a:pt x="325" y="247"/>
                </a:cubicBezTo>
                <a:cubicBezTo>
                  <a:pt x="325" y="247"/>
                  <a:pt x="324" y="247"/>
                  <a:pt x="323" y="247"/>
                </a:cubicBezTo>
                <a:cubicBezTo>
                  <a:pt x="198" y="221"/>
                  <a:pt x="198" y="221"/>
                  <a:pt x="198" y="221"/>
                </a:cubicBezTo>
                <a:cubicBezTo>
                  <a:pt x="192" y="220"/>
                  <a:pt x="188" y="215"/>
                  <a:pt x="190" y="209"/>
                </a:cubicBezTo>
                <a:close/>
                <a:moveTo>
                  <a:pt x="193" y="254"/>
                </a:moveTo>
                <a:cubicBezTo>
                  <a:pt x="321" y="266"/>
                  <a:pt x="321" y="266"/>
                  <a:pt x="321" y="266"/>
                </a:cubicBezTo>
                <a:cubicBezTo>
                  <a:pt x="327" y="267"/>
                  <a:pt x="331" y="272"/>
                  <a:pt x="330" y="278"/>
                </a:cubicBezTo>
                <a:cubicBezTo>
                  <a:pt x="330" y="284"/>
                  <a:pt x="325" y="288"/>
                  <a:pt x="320" y="288"/>
                </a:cubicBezTo>
                <a:cubicBezTo>
                  <a:pt x="319" y="288"/>
                  <a:pt x="319" y="288"/>
                  <a:pt x="319" y="288"/>
                </a:cubicBezTo>
                <a:cubicBezTo>
                  <a:pt x="191" y="275"/>
                  <a:pt x="191" y="275"/>
                  <a:pt x="191" y="275"/>
                </a:cubicBezTo>
                <a:cubicBezTo>
                  <a:pt x="185" y="274"/>
                  <a:pt x="181" y="269"/>
                  <a:pt x="182" y="263"/>
                </a:cubicBezTo>
                <a:cubicBezTo>
                  <a:pt x="182" y="257"/>
                  <a:pt x="187" y="253"/>
                  <a:pt x="193" y="254"/>
                </a:cubicBezTo>
                <a:close/>
                <a:moveTo>
                  <a:pt x="192" y="309"/>
                </a:moveTo>
                <a:cubicBezTo>
                  <a:pt x="320" y="309"/>
                  <a:pt x="320" y="309"/>
                  <a:pt x="320" y="309"/>
                </a:cubicBezTo>
                <a:cubicBezTo>
                  <a:pt x="326" y="309"/>
                  <a:pt x="330" y="314"/>
                  <a:pt x="330" y="320"/>
                </a:cubicBezTo>
                <a:cubicBezTo>
                  <a:pt x="330" y="326"/>
                  <a:pt x="326" y="330"/>
                  <a:pt x="320" y="330"/>
                </a:cubicBezTo>
                <a:cubicBezTo>
                  <a:pt x="192" y="330"/>
                  <a:pt x="192" y="330"/>
                  <a:pt x="192" y="330"/>
                </a:cubicBezTo>
                <a:cubicBezTo>
                  <a:pt x="186" y="330"/>
                  <a:pt x="181" y="326"/>
                  <a:pt x="181" y="320"/>
                </a:cubicBezTo>
                <a:cubicBezTo>
                  <a:pt x="181" y="314"/>
                  <a:pt x="186" y="309"/>
                  <a:pt x="192" y="309"/>
                </a:cubicBezTo>
                <a:close/>
                <a:moveTo>
                  <a:pt x="373" y="362"/>
                </a:moveTo>
                <a:cubicBezTo>
                  <a:pt x="373" y="368"/>
                  <a:pt x="368" y="373"/>
                  <a:pt x="362"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52"/>
                  <a:pt x="160" y="352"/>
                  <a:pt x="160" y="352"/>
                </a:cubicBezTo>
                <a:cubicBezTo>
                  <a:pt x="352" y="352"/>
                  <a:pt x="352" y="352"/>
                  <a:pt x="352" y="352"/>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chemeClr val="accent2"/>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96" name="Freeform 894">
            <a:extLst>
              <a:ext uri="{FF2B5EF4-FFF2-40B4-BE49-F238E27FC236}">
                <a16:creationId xmlns:a16="http://schemas.microsoft.com/office/drawing/2014/main" id="{8D84B055-41EA-EC42-A665-AE63F973C9BC}"/>
              </a:ext>
            </a:extLst>
          </p:cNvPr>
          <p:cNvSpPr>
            <a:spLocks noChangeAspect="1" noEditPoints="1"/>
          </p:cNvSpPr>
          <p:nvPr/>
        </p:nvSpPr>
        <p:spPr bwMode="auto">
          <a:xfrm>
            <a:off x="8741390" y="3263974"/>
            <a:ext cx="233919" cy="234608"/>
          </a:xfrm>
          <a:custGeom>
            <a:avLst/>
            <a:gdLst>
              <a:gd name="T0" fmla="*/ 277 w 512"/>
              <a:gd name="T1" fmla="*/ 269 h 512"/>
              <a:gd name="T2" fmla="*/ 266 w 512"/>
              <a:gd name="T3" fmla="*/ 287 h 512"/>
              <a:gd name="T4" fmla="*/ 266 w 512"/>
              <a:gd name="T5" fmla="*/ 251 h 512"/>
              <a:gd name="T6" fmla="*/ 277 w 512"/>
              <a:gd name="T7" fmla="*/ 269 h 512"/>
              <a:gd name="T8" fmla="*/ 234 w 512"/>
              <a:gd name="T9" fmla="*/ 205 h 512"/>
              <a:gd name="T10" fmla="*/ 245 w 512"/>
              <a:gd name="T11" fmla="*/ 223 h 512"/>
              <a:gd name="T12" fmla="*/ 245 w 512"/>
              <a:gd name="T13" fmla="*/ 187 h 512"/>
              <a:gd name="T14" fmla="*/ 234 w 512"/>
              <a:gd name="T15" fmla="*/ 205 h 512"/>
              <a:gd name="T16" fmla="*/ 330 w 512"/>
              <a:gd name="T17" fmla="*/ 128 h 512"/>
              <a:gd name="T18" fmla="*/ 330 w 512"/>
              <a:gd name="T19" fmla="*/ 404 h 512"/>
              <a:gd name="T20" fmla="*/ 329 w 512"/>
              <a:gd name="T21" fmla="*/ 405 h 512"/>
              <a:gd name="T22" fmla="*/ 183 w 512"/>
              <a:gd name="T23" fmla="*/ 405 h 512"/>
              <a:gd name="T24" fmla="*/ 181 w 512"/>
              <a:gd name="T25" fmla="*/ 405 h 512"/>
              <a:gd name="T26" fmla="*/ 181 w 512"/>
              <a:gd name="T27" fmla="*/ 405 h 512"/>
              <a:gd name="T28" fmla="*/ 181 w 512"/>
              <a:gd name="T29" fmla="*/ 128 h 512"/>
              <a:gd name="T30" fmla="*/ 183 w 512"/>
              <a:gd name="T31" fmla="*/ 128 h 512"/>
              <a:gd name="T32" fmla="*/ 329 w 512"/>
              <a:gd name="T33" fmla="*/ 128 h 512"/>
              <a:gd name="T34" fmla="*/ 330 w 512"/>
              <a:gd name="T35" fmla="*/ 128 h 512"/>
              <a:gd name="T36" fmla="*/ 266 w 512"/>
              <a:gd name="T37" fmla="*/ 373 h 512"/>
              <a:gd name="T38" fmla="*/ 256 w 512"/>
              <a:gd name="T39" fmla="*/ 362 h 512"/>
              <a:gd name="T40" fmla="*/ 245 w 512"/>
              <a:gd name="T41" fmla="*/ 373 h 512"/>
              <a:gd name="T42" fmla="*/ 256 w 512"/>
              <a:gd name="T43" fmla="*/ 384 h 512"/>
              <a:gd name="T44" fmla="*/ 266 w 512"/>
              <a:gd name="T45" fmla="*/ 373 h 512"/>
              <a:gd name="T46" fmla="*/ 298 w 512"/>
              <a:gd name="T47" fmla="*/ 269 h 512"/>
              <a:gd name="T48" fmla="*/ 266 w 512"/>
              <a:gd name="T49" fmla="*/ 228 h 512"/>
              <a:gd name="T50" fmla="*/ 266 w 512"/>
              <a:gd name="T51" fmla="*/ 187 h 512"/>
              <a:gd name="T52" fmla="*/ 274 w 512"/>
              <a:gd name="T53" fmla="*/ 194 h 512"/>
              <a:gd name="T54" fmla="*/ 289 w 512"/>
              <a:gd name="T55" fmla="*/ 198 h 512"/>
              <a:gd name="T56" fmla="*/ 293 w 512"/>
              <a:gd name="T57" fmla="*/ 184 h 512"/>
              <a:gd name="T58" fmla="*/ 266 w 512"/>
              <a:gd name="T59" fmla="*/ 164 h 512"/>
              <a:gd name="T60" fmla="*/ 266 w 512"/>
              <a:gd name="T61" fmla="*/ 160 h 512"/>
              <a:gd name="T62" fmla="*/ 256 w 512"/>
              <a:gd name="T63" fmla="*/ 149 h 512"/>
              <a:gd name="T64" fmla="*/ 245 w 512"/>
              <a:gd name="T65" fmla="*/ 160 h 512"/>
              <a:gd name="T66" fmla="*/ 245 w 512"/>
              <a:gd name="T67" fmla="*/ 164 h 512"/>
              <a:gd name="T68" fmla="*/ 213 w 512"/>
              <a:gd name="T69" fmla="*/ 205 h 512"/>
              <a:gd name="T70" fmla="*/ 245 w 512"/>
              <a:gd name="T71" fmla="*/ 246 h 512"/>
              <a:gd name="T72" fmla="*/ 245 w 512"/>
              <a:gd name="T73" fmla="*/ 287 h 512"/>
              <a:gd name="T74" fmla="*/ 236 w 512"/>
              <a:gd name="T75" fmla="*/ 276 h 512"/>
              <a:gd name="T76" fmla="*/ 222 w 512"/>
              <a:gd name="T77" fmla="*/ 270 h 512"/>
              <a:gd name="T78" fmla="*/ 215 w 512"/>
              <a:gd name="T79" fmla="*/ 283 h 512"/>
              <a:gd name="T80" fmla="*/ 245 w 512"/>
              <a:gd name="T81" fmla="*/ 310 h 512"/>
              <a:gd name="T82" fmla="*/ 245 w 512"/>
              <a:gd name="T83" fmla="*/ 320 h 512"/>
              <a:gd name="T84" fmla="*/ 256 w 512"/>
              <a:gd name="T85" fmla="*/ 330 h 512"/>
              <a:gd name="T86" fmla="*/ 266 w 512"/>
              <a:gd name="T87" fmla="*/ 320 h 512"/>
              <a:gd name="T88" fmla="*/ 266 w 512"/>
              <a:gd name="T89" fmla="*/ 310 h 512"/>
              <a:gd name="T90" fmla="*/ 298 w 512"/>
              <a:gd name="T91" fmla="*/ 269 h 512"/>
              <a:gd name="T92" fmla="*/ 512 w 512"/>
              <a:gd name="T93" fmla="*/ 256 h 512"/>
              <a:gd name="T94" fmla="*/ 256 w 512"/>
              <a:gd name="T95" fmla="*/ 512 h 512"/>
              <a:gd name="T96" fmla="*/ 0 w 512"/>
              <a:gd name="T97" fmla="*/ 256 h 512"/>
              <a:gd name="T98" fmla="*/ 256 w 512"/>
              <a:gd name="T99" fmla="*/ 0 h 512"/>
              <a:gd name="T100" fmla="*/ 512 w 512"/>
              <a:gd name="T101" fmla="*/ 256 h 512"/>
              <a:gd name="T102" fmla="*/ 352 w 512"/>
              <a:gd name="T103" fmla="*/ 128 h 512"/>
              <a:gd name="T104" fmla="*/ 329 w 512"/>
              <a:gd name="T105" fmla="*/ 106 h 512"/>
              <a:gd name="T106" fmla="*/ 183 w 512"/>
              <a:gd name="T107" fmla="*/ 106 h 512"/>
              <a:gd name="T108" fmla="*/ 160 w 512"/>
              <a:gd name="T109" fmla="*/ 128 h 512"/>
              <a:gd name="T110" fmla="*/ 160 w 512"/>
              <a:gd name="T111" fmla="*/ 405 h 512"/>
              <a:gd name="T112" fmla="*/ 183 w 512"/>
              <a:gd name="T113" fmla="*/ 426 h 512"/>
              <a:gd name="T114" fmla="*/ 329 w 512"/>
              <a:gd name="T115" fmla="*/ 426 h 512"/>
              <a:gd name="T116" fmla="*/ 352 w 512"/>
              <a:gd name="T117" fmla="*/ 405 h 512"/>
              <a:gd name="T118" fmla="*/ 352 w 512"/>
              <a:gd name="T11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77" y="269"/>
                </a:moveTo>
                <a:cubicBezTo>
                  <a:pt x="277" y="277"/>
                  <a:pt x="273" y="284"/>
                  <a:pt x="266" y="287"/>
                </a:cubicBezTo>
                <a:cubicBezTo>
                  <a:pt x="266" y="251"/>
                  <a:pt x="266" y="251"/>
                  <a:pt x="266" y="251"/>
                </a:cubicBezTo>
                <a:cubicBezTo>
                  <a:pt x="273" y="254"/>
                  <a:pt x="277" y="261"/>
                  <a:pt x="277" y="269"/>
                </a:cubicBezTo>
                <a:close/>
                <a:moveTo>
                  <a:pt x="234" y="205"/>
                </a:moveTo>
                <a:cubicBezTo>
                  <a:pt x="234" y="213"/>
                  <a:pt x="239" y="220"/>
                  <a:pt x="245" y="223"/>
                </a:cubicBezTo>
                <a:cubicBezTo>
                  <a:pt x="245" y="187"/>
                  <a:pt x="245" y="187"/>
                  <a:pt x="245" y="187"/>
                </a:cubicBezTo>
                <a:cubicBezTo>
                  <a:pt x="239" y="190"/>
                  <a:pt x="234" y="197"/>
                  <a:pt x="234" y="205"/>
                </a:cubicBezTo>
                <a:close/>
                <a:moveTo>
                  <a:pt x="330" y="128"/>
                </a:moveTo>
                <a:cubicBezTo>
                  <a:pt x="330" y="404"/>
                  <a:pt x="330" y="404"/>
                  <a:pt x="330" y="404"/>
                </a:cubicBezTo>
                <a:cubicBezTo>
                  <a:pt x="330" y="405"/>
                  <a:pt x="330" y="405"/>
                  <a:pt x="329" y="405"/>
                </a:cubicBezTo>
                <a:cubicBezTo>
                  <a:pt x="183" y="405"/>
                  <a:pt x="183" y="405"/>
                  <a:pt x="183" y="405"/>
                </a:cubicBezTo>
                <a:cubicBezTo>
                  <a:pt x="182" y="405"/>
                  <a:pt x="181" y="405"/>
                  <a:pt x="181" y="405"/>
                </a:cubicBezTo>
                <a:cubicBezTo>
                  <a:pt x="181" y="405"/>
                  <a:pt x="181" y="405"/>
                  <a:pt x="181" y="405"/>
                </a:cubicBezTo>
                <a:cubicBezTo>
                  <a:pt x="181" y="128"/>
                  <a:pt x="181" y="128"/>
                  <a:pt x="181" y="128"/>
                </a:cubicBezTo>
                <a:cubicBezTo>
                  <a:pt x="181" y="128"/>
                  <a:pt x="181" y="128"/>
                  <a:pt x="183" y="128"/>
                </a:cubicBezTo>
                <a:cubicBezTo>
                  <a:pt x="329" y="128"/>
                  <a:pt x="329" y="128"/>
                  <a:pt x="329" y="128"/>
                </a:cubicBezTo>
                <a:cubicBezTo>
                  <a:pt x="330" y="128"/>
                  <a:pt x="330" y="128"/>
                  <a:pt x="330" y="128"/>
                </a:cubicBezTo>
                <a:close/>
                <a:moveTo>
                  <a:pt x="266" y="373"/>
                </a:moveTo>
                <a:cubicBezTo>
                  <a:pt x="266" y="367"/>
                  <a:pt x="262" y="362"/>
                  <a:pt x="256" y="362"/>
                </a:cubicBezTo>
                <a:cubicBezTo>
                  <a:pt x="250" y="362"/>
                  <a:pt x="245" y="367"/>
                  <a:pt x="245" y="373"/>
                </a:cubicBezTo>
                <a:cubicBezTo>
                  <a:pt x="245" y="379"/>
                  <a:pt x="250" y="384"/>
                  <a:pt x="256" y="384"/>
                </a:cubicBezTo>
                <a:cubicBezTo>
                  <a:pt x="262" y="384"/>
                  <a:pt x="266" y="379"/>
                  <a:pt x="266" y="373"/>
                </a:cubicBezTo>
                <a:close/>
                <a:moveTo>
                  <a:pt x="298" y="269"/>
                </a:moveTo>
                <a:cubicBezTo>
                  <a:pt x="298" y="249"/>
                  <a:pt x="285" y="233"/>
                  <a:pt x="266" y="228"/>
                </a:cubicBezTo>
                <a:cubicBezTo>
                  <a:pt x="266" y="187"/>
                  <a:pt x="266" y="187"/>
                  <a:pt x="266" y="187"/>
                </a:cubicBezTo>
                <a:cubicBezTo>
                  <a:pt x="270" y="188"/>
                  <a:pt x="272" y="191"/>
                  <a:pt x="274" y="194"/>
                </a:cubicBezTo>
                <a:cubicBezTo>
                  <a:pt x="277" y="199"/>
                  <a:pt x="284" y="201"/>
                  <a:pt x="289" y="198"/>
                </a:cubicBezTo>
                <a:cubicBezTo>
                  <a:pt x="294" y="195"/>
                  <a:pt x="296" y="189"/>
                  <a:pt x="293" y="184"/>
                </a:cubicBezTo>
                <a:cubicBezTo>
                  <a:pt x="287" y="174"/>
                  <a:pt x="277" y="167"/>
                  <a:pt x="266" y="164"/>
                </a:cubicBezTo>
                <a:cubicBezTo>
                  <a:pt x="266" y="160"/>
                  <a:pt x="266" y="160"/>
                  <a:pt x="266" y="160"/>
                </a:cubicBezTo>
                <a:cubicBezTo>
                  <a:pt x="266" y="154"/>
                  <a:pt x="262" y="149"/>
                  <a:pt x="256" y="149"/>
                </a:cubicBezTo>
                <a:cubicBezTo>
                  <a:pt x="250" y="149"/>
                  <a:pt x="245" y="154"/>
                  <a:pt x="245" y="160"/>
                </a:cubicBezTo>
                <a:cubicBezTo>
                  <a:pt x="245" y="164"/>
                  <a:pt x="245" y="164"/>
                  <a:pt x="245" y="164"/>
                </a:cubicBezTo>
                <a:cubicBezTo>
                  <a:pt x="227" y="169"/>
                  <a:pt x="213" y="185"/>
                  <a:pt x="213" y="205"/>
                </a:cubicBezTo>
                <a:cubicBezTo>
                  <a:pt x="213" y="225"/>
                  <a:pt x="227" y="241"/>
                  <a:pt x="245" y="246"/>
                </a:cubicBezTo>
                <a:cubicBezTo>
                  <a:pt x="245" y="287"/>
                  <a:pt x="245" y="287"/>
                  <a:pt x="245" y="287"/>
                </a:cubicBezTo>
                <a:cubicBezTo>
                  <a:pt x="241" y="285"/>
                  <a:pt x="237" y="281"/>
                  <a:pt x="236" y="276"/>
                </a:cubicBezTo>
                <a:cubicBezTo>
                  <a:pt x="234" y="271"/>
                  <a:pt x="227" y="268"/>
                  <a:pt x="222" y="270"/>
                </a:cubicBezTo>
                <a:cubicBezTo>
                  <a:pt x="216" y="272"/>
                  <a:pt x="213" y="278"/>
                  <a:pt x="215" y="283"/>
                </a:cubicBezTo>
                <a:cubicBezTo>
                  <a:pt x="220" y="297"/>
                  <a:pt x="232" y="307"/>
                  <a:pt x="245" y="310"/>
                </a:cubicBezTo>
                <a:cubicBezTo>
                  <a:pt x="245" y="320"/>
                  <a:pt x="245" y="320"/>
                  <a:pt x="245" y="320"/>
                </a:cubicBezTo>
                <a:cubicBezTo>
                  <a:pt x="245" y="326"/>
                  <a:pt x="250" y="330"/>
                  <a:pt x="256" y="330"/>
                </a:cubicBezTo>
                <a:cubicBezTo>
                  <a:pt x="262" y="330"/>
                  <a:pt x="266" y="326"/>
                  <a:pt x="266" y="320"/>
                </a:cubicBezTo>
                <a:cubicBezTo>
                  <a:pt x="266" y="310"/>
                  <a:pt x="266" y="310"/>
                  <a:pt x="266" y="310"/>
                </a:cubicBezTo>
                <a:cubicBezTo>
                  <a:pt x="285" y="305"/>
                  <a:pt x="298" y="289"/>
                  <a:pt x="298" y="26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28"/>
                </a:moveTo>
                <a:cubicBezTo>
                  <a:pt x="352" y="116"/>
                  <a:pt x="341" y="106"/>
                  <a:pt x="329" y="106"/>
                </a:cubicBezTo>
                <a:cubicBezTo>
                  <a:pt x="183" y="106"/>
                  <a:pt x="183" y="106"/>
                  <a:pt x="183" y="106"/>
                </a:cubicBezTo>
                <a:cubicBezTo>
                  <a:pt x="170" y="106"/>
                  <a:pt x="160" y="116"/>
                  <a:pt x="160" y="128"/>
                </a:cubicBezTo>
                <a:cubicBezTo>
                  <a:pt x="160" y="405"/>
                  <a:pt x="160" y="405"/>
                  <a:pt x="160" y="405"/>
                </a:cubicBezTo>
                <a:cubicBezTo>
                  <a:pt x="160" y="417"/>
                  <a:pt x="170" y="426"/>
                  <a:pt x="183" y="426"/>
                </a:cubicBezTo>
                <a:cubicBezTo>
                  <a:pt x="329" y="426"/>
                  <a:pt x="329" y="426"/>
                  <a:pt x="329" y="426"/>
                </a:cubicBezTo>
                <a:cubicBezTo>
                  <a:pt x="341" y="426"/>
                  <a:pt x="352" y="417"/>
                  <a:pt x="352" y="405"/>
                </a:cubicBezTo>
                <a:lnTo>
                  <a:pt x="352" y="128"/>
                </a:lnTo>
                <a:close/>
              </a:path>
            </a:pathLst>
          </a:custGeom>
          <a:solidFill>
            <a:srgbClr val="009A4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97" name="Freeform 760">
            <a:extLst>
              <a:ext uri="{FF2B5EF4-FFF2-40B4-BE49-F238E27FC236}">
                <a16:creationId xmlns:a16="http://schemas.microsoft.com/office/drawing/2014/main" id="{BB2042BB-EF6B-3240-9A09-33423104B7F2}"/>
              </a:ext>
            </a:extLst>
          </p:cNvPr>
          <p:cNvSpPr>
            <a:spLocks noChangeAspect="1" noEditPoints="1"/>
          </p:cNvSpPr>
          <p:nvPr/>
        </p:nvSpPr>
        <p:spPr bwMode="auto">
          <a:xfrm>
            <a:off x="8765139" y="2480825"/>
            <a:ext cx="234608" cy="234608"/>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rgbClr val="009A4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98" name="TextBox 97">
            <a:extLst>
              <a:ext uri="{FF2B5EF4-FFF2-40B4-BE49-F238E27FC236}">
                <a16:creationId xmlns:a16="http://schemas.microsoft.com/office/drawing/2014/main" id="{EEDC3EC9-695F-8F4B-B9E2-2650E8A02E18}"/>
              </a:ext>
            </a:extLst>
          </p:cNvPr>
          <p:cNvSpPr txBox="1"/>
          <p:nvPr/>
        </p:nvSpPr>
        <p:spPr>
          <a:xfrm>
            <a:off x="9094407" y="2558647"/>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99" name="TextBox 98">
            <a:extLst>
              <a:ext uri="{FF2B5EF4-FFF2-40B4-BE49-F238E27FC236}">
                <a16:creationId xmlns:a16="http://schemas.microsoft.com/office/drawing/2014/main" id="{46AA4FB8-9296-9A4E-A887-C6A8021CC56B}"/>
              </a:ext>
            </a:extLst>
          </p:cNvPr>
          <p:cNvSpPr txBox="1"/>
          <p:nvPr/>
        </p:nvSpPr>
        <p:spPr>
          <a:xfrm>
            <a:off x="9090075" y="3341795"/>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grpSp>
        <p:nvGrpSpPr>
          <p:cNvPr id="100" name="Group 432">
            <a:extLst>
              <a:ext uri="{FF2B5EF4-FFF2-40B4-BE49-F238E27FC236}">
                <a16:creationId xmlns:a16="http://schemas.microsoft.com/office/drawing/2014/main" id="{713B3246-DF0C-FE45-8011-3A900FA1605D}"/>
              </a:ext>
            </a:extLst>
          </p:cNvPr>
          <p:cNvGrpSpPr>
            <a:grpSpLocks noChangeAspect="1"/>
          </p:cNvGrpSpPr>
          <p:nvPr/>
        </p:nvGrpSpPr>
        <p:grpSpPr bwMode="auto">
          <a:xfrm>
            <a:off x="5193284" y="5035547"/>
            <a:ext cx="389867" cy="391013"/>
            <a:chOff x="3505" y="1546"/>
            <a:chExt cx="340" cy="341"/>
          </a:xfrm>
          <a:solidFill>
            <a:srgbClr val="6FC2B4"/>
          </a:solidFill>
        </p:grpSpPr>
        <p:sp>
          <p:nvSpPr>
            <p:cNvPr id="101" name="Freeform 433">
              <a:extLst>
                <a:ext uri="{FF2B5EF4-FFF2-40B4-BE49-F238E27FC236}">
                  <a16:creationId xmlns:a16="http://schemas.microsoft.com/office/drawing/2014/main" id="{93844F3A-C8AD-9940-B976-35277142CB04}"/>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02" name="Freeform 434">
              <a:extLst>
                <a:ext uri="{FF2B5EF4-FFF2-40B4-BE49-F238E27FC236}">
                  <a16:creationId xmlns:a16="http://schemas.microsoft.com/office/drawing/2014/main" id="{325CDF55-3CC0-3E45-80B9-A4682FFD2CDE}"/>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103" name="TextBox 102">
            <a:extLst>
              <a:ext uri="{FF2B5EF4-FFF2-40B4-BE49-F238E27FC236}">
                <a16:creationId xmlns:a16="http://schemas.microsoft.com/office/drawing/2014/main" id="{10B9A938-11ED-9942-86DD-580D4E89DBBF}"/>
              </a:ext>
            </a:extLst>
          </p:cNvPr>
          <p:cNvSpPr txBox="1"/>
          <p:nvPr/>
        </p:nvSpPr>
        <p:spPr>
          <a:xfrm>
            <a:off x="4428288" y="4848428"/>
            <a:ext cx="347852" cy="78932"/>
          </a:xfrm>
          <a:prstGeom prst="rect">
            <a:avLst/>
          </a:prstGeom>
          <a:solidFill>
            <a:schemeClr val="bg1"/>
          </a:solidFill>
        </p:spPr>
        <p:txBody>
          <a:bodyPr wrap="none" lIns="0" tIns="0" rIns="0" bIns="0" rtlCol="0">
            <a:spAutoFit/>
          </a:bodyPr>
          <a:lstStyle/>
          <a:p>
            <a:pPr algn="r">
              <a:spcBef>
                <a:spcPts val="513"/>
              </a:spcBef>
              <a:buSzPct val="100000"/>
            </a:pPr>
            <a:r>
              <a:rPr lang="en-US" sz="513" dirty="0">
                <a:solidFill>
                  <a:srgbClr val="313131"/>
                </a:solidFill>
              </a:rPr>
              <a:t>Lorem ipsum</a:t>
            </a:r>
            <a:endParaRPr lang="en-GB" sz="513" dirty="0">
              <a:solidFill>
                <a:srgbClr val="313131"/>
              </a:solidFill>
            </a:endParaRPr>
          </a:p>
        </p:txBody>
      </p:sp>
      <p:sp>
        <p:nvSpPr>
          <p:cNvPr id="104" name="Freeform 967">
            <a:extLst>
              <a:ext uri="{FF2B5EF4-FFF2-40B4-BE49-F238E27FC236}">
                <a16:creationId xmlns:a16="http://schemas.microsoft.com/office/drawing/2014/main" id="{4ADE7ADE-C5B5-AD44-A7A9-7A9569A5B87C}"/>
              </a:ext>
            </a:extLst>
          </p:cNvPr>
          <p:cNvSpPr>
            <a:spLocks noChangeAspect="1" noEditPoints="1"/>
          </p:cNvSpPr>
          <p:nvPr/>
        </p:nvSpPr>
        <p:spPr bwMode="auto">
          <a:xfrm>
            <a:off x="4592366" y="5091427"/>
            <a:ext cx="235298" cy="234608"/>
          </a:xfrm>
          <a:custGeom>
            <a:avLst/>
            <a:gdLst>
              <a:gd name="T0" fmla="*/ 341 w 512"/>
              <a:gd name="T1" fmla="*/ 170 h 512"/>
              <a:gd name="T2" fmla="*/ 144 w 512"/>
              <a:gd name="T3" fmla="*/ 181 h 512"/>
              <a:gd name="T4" fmla="*/ 133 w 512"/>
              <a:gd name="T5" fmla="*/ 353 h 512"/>
              <a:gd name="T6" fmla="*/ 190 w 512"/>
              <a:gd name="T7" fmla="*/ 307 h 512"/>
              <a:gd name="T8" fmla="*/ 311 w 512"/>
              <a:gd name="T9" fmla="*/ 298 h 512"/>
              <a:gd name="T10" fmla="*/ 351 w 512"/>
              <a:gd name="T11" fmla="*/ 351 h 512"/>
              <a:gd name="T12" fmla="*/ 389 w 512"/>
              <a:gd name="T13" fmla="*/ 254 h 512"/>
              <a:gd name="T14" fmla="*/ 202 w 512"/>
              <a:gd name="T15" fmla="*/ 245 h 512"/>
              <a:gd name="T16" fmla="*/ 192 w 512"/>
              <a:gd name="T17" fmla="*/ 256 h 512"/>
              <a:gd name="T18" fmla="*/ 170 w 512"/>
              <a:gd name="T19" fmla="*/ 256 h 512"/>
              <a:gd name="T20" fmla="*/ 160 w 512"/>
              <a:gd name="T21" fmla="*/ 245 h 512"/>
              <a:gd name="T22" fmla="*/ 160 w 512"/>
              <a:gd name="T23" fmla="*/ 224 h 512"/>
              <a:gd name="T24" fmla="*/ 170 w 512"/>
              <a:gd name="T25" fmla="*/ 213 h 512"/>
              <a:gd name="T26" fmla="*/ 192 w 512"/>
              <a:gd name="T27" fmla="*/ 213 h 512"/>
              <a:gd name="T28" fmla="*/ 202 w 512"/>
              <a:gd name="T29" fmla="*/ 224 h 512"/>
              <a:gd name="T30" fmla="*/ 202 w 512"/>
              <a:gd name="T31" fmla="*/ 245 h 512"/>
              <a:gd name="T32" fmla="*/ 277 w 512"/>
              <a:gd name="T33" fmla="*/ 234 h 512"/>
              <a:gd name="T34" fmla="*/ 298 w 512"/>
              <a:gd name="T35" fmla="*/ 234 h 512"/>
              <a:gd name="T36" fmla="*/ 320 w 512"/>
              <a:gd name="T37" fmla="*/ 277 h 512"/>
              <a:gd name="T38" fmla="*/ 320 w 512"/>
              <a:gd name="T39" fmla="*/ 256 h 512"/>
              <a:gd name="T40" fmla="*/ 320 w 512"/>
              <a:gd name="T41" fmla="*/ 277 h 512"/>
              <a:gd name="T42" fmla="*/ 309 w 512"/>
              <a:gd name="T43" fmla="*/ 202 h 512"/>
              <a:gd name="T44" fmla="*/ 330 w 512"/>
              <a:gd name="T45" fmla="*/ 202 h 512"/>
              <a:gd name="T46" fmla="*/ 352 w 512"/>
              <a:gd name="T47" fmla="*/ 245 h 512"/>
              <a:gd name="T48" fmla="*/ 352 w 512"/>
              <a:gd name="T49" fmla="*/ 224 h 512"/>
              <a:gd name="T50" fmla="*/ 352 w 512"/>
              <a:gd name="T51" fmla="*/ 245 h 512"/>
              <a:gd name="T52" fmla="*/ 0 w 512"/>
              <a:gd name="T53" fmla="*/ 256 h 512"/>
              <a:gd name="T54" fmla="*/ 512 w 512"/>
              <a:gd name="T55" fmla="*/ 256 h 512"/>
              <a:gd name="T56" fmla="*/ 388 w 512"/>
              <a:gd name="T57" fmla="*/ 372 h 512"/>
              <a:gd name="T58" fmla="*/ 341 w 512"/>
              <a:gd name="T59" fmla="*/ 370 h 512"/>
              <a:gd name="T60" fmla="*/ 209 w 512"/>
              <a:gd name="T61" fmla="*/ 320 h 512"/>
              <a:gd name="T62" fmla="*/ 123 w 512"/>
              <a:gd name="T63" fmla="*/ 372 h 512"/>
              <a:gd name="T64" fmla="*/ 129 w 512"/>
              <a:gd name="T65" fmla="*/ 166 h 512"/>
              <a:gd name="T66" fmla="*/ 341 w 512"/>
              <a:gd name="T67" fmla="*/ 149 h 512"/>
              <a:gd name="T68" fmla="*/ 410 w 512"/>
              <a:gd name="T69" fmla="*/ 2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67" y="181"/>
                </a:moveTo>
                <a:cubicBezTo>
                  <a:pt x="360" y="174"/>
                  <a:pt x="352" y="170"/>
                  <a:pt x="341" y="170"/>
                </a:cubicBezTo>
                <a:cubicBezTo>
                  <a:pt x="170" y="170"/>
                  <a:pt x="170" y="170"/>
                  <a:pt x="170" y="170"/>
                </a:cubicBezTo>
                <a:cubicBezTo>
                  <a:pt x="160" y="170"/>
                  <a:pt x="151" y="174"/>
                  <a:pt x="144" y="181"/>
                </a:cubicBezTo>
                <a:cubicBezTo>
                  <a:pt x="122" y="204"/>
                  <a:pt x="122" y="253"/>
                  <a:pt x="122" y="253"/>
                </a:cubicBezTo>
                <a:cubicBezTo>
                  <a:pt x="121" y="301"/>
                  <a:pt x="126" y="347"/>
                  <a:pt x="133" y="353"/>
                </a:cubicBezTo>
                <a:cubicBezTo>
                  <a:pt x="140" y="357"/>
                  <a:pt x="151" y="356"/>
                  <a:pt x="161" y="351"/>
                </a:cubicBezTo>
                <a:cubicBezTo>
                  <a:pt x="169" y="347"/>
                  <a:pt x="185" y="335"/>
                  <a:pt x="190" y="307"/>
                </a:cubicBezTo>
                <a:cubicBezTo>
                  <a:pt x="191" y="302"/>
                  <a:pt x="195" y="298"/>
                  <a:pt x="200" y="298"/>
                </a:cubicBezTo>
                <a:cubicBezTo>
                  <a:pt x="311" y="298"/>
                  <a:pt x="311" y="298"/>
                  <a:pt x="311" y="298"/>
                </a:cubicBezTo>
                <a:cubicBezTo>
                  <a:pt x="316" y="298"/>
                  <a:pt x="321" y="302"/>
                  <a:pt x="322" y="307"/>
                </a:cubicBezTo>
                <a:cubicBezTo>
                  <a:pt x="327" y="335"/>
                  <a:pt x="342" y="347"/>
                  <a:pt x="351" y="351"/>
                </a:cubicBezTo>
                <a:cubicBezTo>
                  <a:pt x="360" y="356"/>
                  <a:pt x="371" y="357"/>
                  <a:pt x="379" y="353"/>
                </a:cubicBezTo>
                <a:cubicBezTo>
                  <a:pt x="386" y="347"/>
                  <a:pt x="391" y="301"/>
                  <a:pt x="389" y="254"/>
                </a:cubicBezTo>
                <a:cubicBezTo>
                  <a:pt x="389" y="253"/>
                  <a:pt x="390" y="204"/>
                  <a:pt x="367" y="181"/>
                </a:cubicBezTo>
                <a:close/>
                <a:moveTo>
                  <a:pt x="202" y="245"/>
                </a:moveTo>
                <a:cubicBezTo>
                  <a:pt x="192" y="245"/>
                  <a:pt x="192" y="245"/>
                  <a:pt x="192" y="245"/>
                </a:cubicBezTo>
                <a:cubicBezTo>
                  <a:pt x="192" y="256"/>
                  <a:pt x="192" y="256"/>
                  <a:pt x="192" y="256"/>
                </a:cubicBezTo>
                <a:cubicBezTo>
                  <a:pt x="192" y="262"/>
                  <a:pt x="187" y="266"/>
                  <a:pt x="181" y="266"/>
                </a:cubicBezTo>
                <a:cubicBezTo>
                  <a:pt x="175" y="266"/>
                  <a:pt x="170" y="262"/>
                  <a:pt x="170" y="256"/>
                </a:cubicBezTo>
                <a:cubicBezTo>
                  <a:pt x="170" y="245"/>
                  <a:pt x="170" y="245"/>
                  <a:pt x="170" y="245"/>
                </a:cubicBezTo>
                <a:cubicBezTo>
                  <a:pt x="160" y="245"/>
                  <a:pt x="160" y="245"/>
                  <a:pt x="160" y="245"/>
                </a:cubicBezTo>
                <a:cubicBezTo>
                  <a:pt x="154" y="245"/>
                  <a:pt x="149" y="240"/>
                  <a:pt x="149" y="234"/>
                </a:cubicBezTo>
                <a:cubicBezTo>
                  <a:pt x="149" y="228"/>
                  <a:pt x="154" y="224"/>
                  <a:pt x="160" y="224"/>
                </a:cubicBezTo>
                <a:cubicBezTo>
                  <a:pt x="170" y="224"/>
                  <a:pt x="170" y="224"/>
                  <a:pt x="170" y="224"/>
                </a:cubicBezTo>
                <a:cubicBezTo>
                  <a:pt x="170" y="213"/>
                  <a:pt x="170" y="213"/>
                  <a:pt x="170" y="213"/>
                </a:cubicBezTo>
                <a:cubicBezTo>
                  <a:pt x="170" y="207"/>
                  <a:pt x="175" y="202"/>
                  <a:pt x="181" y="202"/>
                </a:cubicBezTo>
                <a:cubicBezTo>
                  <a:pt x="187" y="202"/>
                  <a:pt x="192" y="207"/>
                  <a:pt x="192" y="213"/>
                </a:cubicBezTo>
                <a:cubicBezTo>
                  <a:pt x="192" y="224"/>
                  <a:pt x="192" y="224"/>
                  <a:pt x="192" y="224"/>
                </a:cubicBezTo>
                <a:cubicBezTo>
                  <a:pt x="202" y="224"/>
                  <a:pt x="202" y="224"/>
                  <a:pt x="202" y="224"/>
                </a:cubicBezTo>
                <a:cubicBezTo>
                  <a:pt x="208" y="224"/>
                  <a:pt x="213" y="228"/>
                  <a:pt x="213" y="234"/>
                </a:cubicBezTo>
                <a:cubicBezTo>
                  <a:pt x="213" y="240"/>
                  <a:pt x="208" y="245"/>
                  <a:pt x="202" y="245"/>
                </a:cubicBezTo>
                <a:close/>
                <a:moveTo>
                  <a:pt x="288" y="245"/>
                </a:moveTo>
                <a:cubicBezTo>
                  <a:pt x="282" y="245"/>
                  <a:pt x="277" y="240"/>
                  <a:pt x="277" y="234"/>
                </a:cubicBezTo>
                <a:cubicBezTo>
                  <a:pt x="277" y="228"/>
                  <a:pt x="282" y="224"/>
                  <a:pt x="288" y="224"/>
                </a:cubicBezTo>
                <a:cubicBezTo>
                  <a:pt x="294" y="224"/>
                  <a:pt x="298" y="228"/>
                  <a:pt x="298" y="234"/>
                </a:cubicBezTo>
                <a:cubicBezTo>
                  <a:pt x="298" y="240"/>
                  <a:pt x="294" y="245"/>
                  <a:pt x="288" y="245"/>
                </a:cubicBezTo>
                <a:close/>
                <a:moveTo>
                  <a:pt x="320" y="277"/>
                </a:moveTo>
                <a:cubicBezTo>
                  <a:pt x="314" y="277"/>
                  <a:pt x="309" y="272"/>
                  <a:pt x="309" y="266"/>
                </a:cubicBezTo>
                <a:cubicBezTo>
                  <a:pt x="309" y="260"/>
                  <a:pt x="314" y="256"/>
                  <a:pt x="320" y="256"/>
                </a:cubicBezTo>
                <a:cubicBezTo>
                  <a:pt x="326" y="256"/>
                  <a:pt x="330" y="260"/>
                  <a:pt x="330" y="266"/>
                </a:cubicBezTo>
                <a:cubicBezTo>
                  <a:pt x="330" y="272"/>
                  <a:pt x="326" y="277"/>
                  <a:pt x="320" y="277"/>
                </a:cubicBezTo>
                <a:close/>
                <a:moveTo>
                  <a:pt x="320" y="213"/>
                </a:moveTo>
                <a:cubicBezTo>
                  <a:pt x="314" y="213"/>
                  <a:pt x="309" y="208"/>
                  <a:pt x="309" y="202"/>
                </a:cubicBezTo>
                <a:cubicBezTo>
                  <a:pt x="309" y="196"/>
                  <a:pt x="314" y="192"/>
                  <a:pt x="320" y="192"/>
                </a:cubicBezTo>
                <a:cubicBezTo>
                  <a:pt x="326" y="192"/>
                  <a:pt x="330" y="196"/>
                  <a:pt x="330" y="202"/>
                </a:cubicBezTo>
                <a:cubicBezTo>
                  <a:pt x="330" y="208"/>
                  <a:pt x="326" y="213"/>
                  <a:pt x="320" y="213"/>
                </a:cubicBezTo>
                <a:close/>
                <a:moveTo>
                  <a:pt x="352" y="245"/>
                </a:moveTo>
                <a:cubicBezTo>
                  <a:pt x="346" y="245"/>
                  <a:pt x="341" y="240"/>
                  <a:pt x="341" y="234"/>
                </a:cubicBezTo>
                <a:cubicBezTo>
                  <a:pt x="341" y="228"/>
                  <a:pt x="346" y="224"/>
                  <a:pt x="352" y="224"/>
                </a:cubicBezTo>
                <a:cubicBezTo>
                  <a:pt x="358" y="224"/>
                  <a:pt x="362" y="228"/>
                  <a:pt x="362" y="234"/>
                </a:cubicBezTo>
                <a:cubicBezTo>
                  <a:pt x="362" y="240"/>
                  <a:pt x="358" y="245"/>
                  <a:pt x="352" y="24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8" y="372"/>
                </a:moveTo>
                <a:cubicBezTo>
                  <a:pt x="382" y="375"/>
                  <a:pt x="375" y="377"/>
                  <a:pt x="367" y="377"/>
                </a:cubicBezTo>
                <a:cubicBezTo>
                  <a:pt x="359" y="377"/>
                  <a:pt x="350" y="374"/>
                  <a:pt x="341" y="370"/>
                </a:cubicBezTo>
                <a:cubicBezTo>
                  <a:pt x="322" y="361"/>
                  <a:pt x="309" y="343"/>
                  <a:pt x="303" y="320"/>
                </a:cubicBezTo>
                <a:cubicBezTo>
                  <a:pt x="209" y="320"/>
                  <a:pt x="209" y="320"/>
                  <a:pt x="209" y="320"/>
                </a:cubicBezTo>
                <a:cubicBezTo>
                  <a:pt x="203" y="343"/>
                  <a:pt x="189" y="361"/>
                  <a:pt x="170" y="370"/>
                </a:cubicBezTo>
                <a:cubicBezTo>
                  <a:pt x="154" y="378"/>
                  <a:pt x="137" y="379"/>
                  <a:pt x="123" y="372"/>
                </a:cubicBezTo>
                <a:cubicBezTo>
                  <a:pt x="101" y="361"/>
                  <a:pt x="100" y="293"/>
                  <a:pt x="101" y="253"/>
                </a:cubicBezTo>
                <a:cubicBezTo>
                  <a:pt x="101" y="251"/>
                  <a:pt x="100" y="195"/>
                  <a:pt x="129" y="166"/>
                </a:cubicBezTo>
                <a:cubicBezTo>
                  <a:pt x="140" y="155"/>
                  <a:pt x="154" y="149"/>
                  <a:pt x="170" y="149"/>
                </a:cubicBezTo>
                <a:cubicBezTo>
                  <a:pt x="341" y="149"/>
                  <a:pt x="341" y="149"/>
                  <a:pt x="341" y="149"/>
                </a:cubicBezTo>
                <a:cubicBezTo>
                  <a:pt x="357" y="149"/>
                  <a:pt x="371" y="155"/>
                  <a:pt x="383" y="166"/>
                </a:cubicBezTo>
                <a:cubicBezTo>
                  <a:pt x="411" y="195"/>
                  <a:pt x="410" y="251"/>
                  <a:pt x="410" y="254"/>
                </a:cubicBezTo>
                <a:cubicBezTo>
                  <a:pt x="412" y="293"/>
                  <a:pt x="411" y="361"/>
                  <a:pt x="388" y="372"/>
                </a:cubicBez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05" name="Freeform 688">
            <a:extLst>
              <a:ext uri="{FF2B5EF4-FFF2-40B4-BE49-F238E27FC236}">
                <a16:creationId xmlns:a16="http://schemas.microsoft.com/office/drawing/2014/main" id="{0BFC6C20-253F-5244-A8A1-35F4E6E9796D}"/>
              </a:ext>
            </a:extLst>
          </p:cNvPr>
          <p:cNvSpPr>
            <a:spLocks noChangeAspect="1" noEditPoints="1"/>
          </p:cNvSpPr>
          <p:nvPr/>
        </p:nvSpPr>
        <p:spPr bwMode="auto">
          <a:xfrm>
            <a:off x="4868927" y="4770606"/>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06" name="Freeform 505">
            <a:extLst>
              <a:ext uri="{FF2B5EF4-FFF2-40B4-BE49-F238E27FC236}">
                <a16:creationId xmlns:a16="http://schemas.microsoft.com/office/drawing/2014/main" id="{D56C78B6-05E2-914E-BF55-7BBF08E18585}"/>
              </a:ext>
            </a:extLst>
          </p:cNvPr>
          <p:cNvSpPr>
            <a:spLocks noChangeAspect="1" noEditPoints="1"/>
          </p:cNvSpPr>
          <p:nvPr/>
        </p:nvSpPr>
        <p:spPr bwMode="auto">
          <a:xfrm>
            <a:off x="5641668" y="5475302"/>
            <a:ext cx="234608" cy="234608"/>
          </a:xfrm>
          <a:custGeom>
            <a:avLst/>
            <a:gdLst>
              <a:gd name="T0" fmla="*/ 181 w 512"/>
              <a:gd name="T1" fmla="*/ 288 h 512"/>
              <a:gd name="T2" fmla="*/ 224 w 512"/>
              <a:gd name="T3" fmla="*/ 330 h 512"/>
              <a:gd name="T4" fmla="*/ 202 w 512"/>
              <a:gd name="T5" fmla="*/ 320 h 512"/>
              <a:gd name="T6" fmla="*/ 202 w 512"/>
              <a:gd name="T7" fmla="*/ 298 h 512"/>
              <a:gd name="T8" fmla="*/ 202 w 512"/>
              <a:gd name="T9" fmla="*/ 320 h 512"/>
              <a:gd name="T10" fmla="*/ 288 w 512"/>
              <a:gd name="T11" fmla="*/ 181 h 512"/>
              <a:gd name="T12" fmla="*/ 330 w 512"/>
              <a:gd name="T13" fmla="*/ 224 h 512"/>
              <a:gd name="T14" fmla="*/ 309 w 512"/>
              <a:gd name="T15" fmla="*/ 213 h 512"/>
              <a:gd name="T16" fmla="*/ 309 w 512"/>
              <a:gd name="T17" fmla="*/ 192 h 512"/>
              <a:gd name="T18" fmla="*/ 309 w 512"/>
              <a:gd name="T19" fmla="*/ 213 h 512"/>
              <a:gd name="T20" fmla="*/ 181 w 512"/>
              <a:gd name="T21" fmla="*/ 181 h 512"/>
              <a:gd name="T22" fmla="*/ 224 w 512"/>
              <a:gd name="T23" fmla="*/ 224 h 512"/>
              <a:gd name="T24" fmla="*/ 202 w 512"/>
              <a:gd name="T25" fmla="*/ 213 h 512"/>
              <a:gd name="T26" fmla="*/ 202 w 512"/>
              <a:gd name="T27" fmla="*/ 192 h 512"/>
              <a:gd name="T28" fmla="*/ 202 w 512"/>
              <a:gd name="T29" fmla="*/ 213 h 512"/>
              <a:gd name="T30" fmla="*/ 0 w 512"/>
              <a:gd name="T31" fmla="*/ 256 h 512"/>
              <a:gd name="T32" fmla="*/ 512 w 512"/>
              <a:gd name="T33" fmla="*/ 256 h 512"/>
              <a:gd name="T34" fmla="*/ 393 w 512"/>
              <a:gd name="T35" fmla="*/ 384 h 512"/>
              <a:gd name="T36" fmla="*/ 128 w 512"/>
              <a:gd name="T37" fmla="*/ 395 h 512"/>
              <a:gd name="T38" fmla="*/ 118 w 512"/>
              <a:gd name="T39" fmla="*/ 128 h 512"/>
              <a:gd name="T40" fmla="*/ 382 w 512"/>
              <a:gd name="T41" fmla="*/ 117 h 512"/>
              <a:gd name="T42" fmla="*/ 393 w 512"/>
              <a:gd name="T43" fmla="*/ 384 h 512"/>
              <a:gd name="T44" fmla="*/ 372 w 512"/>
              <a:gd name="T45" fmla="*/ 373 h 512"/>
              <a:gd name="T46" fmla="*/ 139 w 512"/>
              <a:gd name="T47" fmla="*/ 138 h 512"/>
              <a:gd name="T48" fmla="*/ 352 w 512"/>
              <a:gd name="T49" fmla="*/ 341 h 512"/>
              <a:gd name="T50" fmla="*/ 309 w 512"/>
              <a:gd name="T51" fmla="*/ 352 h 512"/>
              <a:gd name="T52" fmla="*/ 309 w 512"/>
              <a:gd name="T53" fmla="*/ 330 h 512"/>
              <a:gd name="T54" fmla="*/ 330 w 512"/>
              <a:gd name="T55" fmla="*/ 309 h 512"/>
              <a:gd name="T56" fmla="*/ 352 w 512"/>
              <a:gd name="T57" fmla="*/ 309 h 512"/>
              <a:gd name="T58" fmla="*/ 266 w 512"/>
              <a:gd name="T59" fmla="*/ 170 h 512"/>
              <a:gd name="T60" fmla="*/ 341 w 512"/>
              <a:gd name="T61" fmla="*/ 160 h 512"/>
              <a:gd name="T62" fmla="*/ 352 w 512"/>
              <a:gd name="T63" fmla="*/ 234 h 512"/>
              <a:gd name="T64" fmla="*/ 277 w 512"/>
              <a:gd name="T65" fmla="*/ 245 h 512"/>
              <a:gd name="T66" fmla="*/ 266 w 512"/>
              <a:gd name="T67" fmla="*/ 170 h 512"/>
              <a:gd name="T68" fmla="*/ 277 w 512"/>
              <a:gd name="T69" fmla="*/ 266 h 512"/>
              <a:gd name="T70" fmla="*/ 352 w 512"/>
              <a:gd name="T71" fmla="*/ 277 h 512"/>
              <a:gd name="T72" fmla="*/ 288 w 512"/>
              <a:gd name="T73" fmla="*/ 288 h 512"/>
              <a:gd name="T74" fmla="*/ 277 w 512"/>
              <a:gd name="T75" fmla="*/ 352 h 512"/>
              <a:gd name="T76" fmla="*/ 266 w 512"/>
              <a:gd name="T77" fmla="*/ 277 h 512"/>
              <a:gd name="T78" fmla="*/ 170 w 512"/>
              <a:gd name="T79" fmla="*/ 160 h 512"/>
              <a:gd name="T80" fmla="*/ 245 w 512"/>
              <a:gd name="T81" fmla="*/ 170 h 512"/>
              <a:gd name="T82" fmla="*/ 234 w 512"/>
              <a:gd name="T83" fmla="*/ 245 h 512"/>
              <a:gd name="T84" fmla="*/ 160 w 512"/>
              <a:gd name="T85" fmla="*/ 234 h 512"/>
              <a:gd name="T86" fmla="*/ 160 w 512"/>
              <a:gd name="T87" fmla="*/ 277 h 512"/>
              <a:gd name="T88" fmla="*/ 234 w 512"/>
              <a:gd name="T89" fmla="*/ 266 h 512"/>
              <a:gd name="T90" fmla="*/ 245 w 512"/>
              <a:gd name="T91" fmla="*/ 341 h 512"/>
              <a:gd name="T92" fmla="*/ 170 w 512"/>
              <a:gd name="T93" fmla="*/ 352 h 512"/>
              <a:gd name="T94" fmla="*/ 160 w 512"/>
              <a:gd name="T95"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24" y="288"/>
                </a:moveTo>
                <a:cubicBezTo>
                  <a:pt x="181" y="288"/>
                  <a:pt x="181" y="288"/>
                  <a:pt x="181" y="288"/>
                </a:cubicBezTo>
                <a:cubicBezTo>
                  <a:pt x="181" y="330"/>
                  <a:pt x="181" y="330"/>
                  <a:pt x="181" y="330"/>
                </a:cubicBezTo>
                <a:cubicBezTo>
                  <a:pt x="224" y="330"/>
                  <a:pt x="224" y="330"/>
                  <a:pt x="224" y="330"/>
                </a:cubicBezTo>
                <a:lnTo>
                  <a:pt x="224" y="288"/>
                </a:lnTo>
                <a:close/>
                <a:moveTo>
                  <a:pt x="202" y="320"/>
                </a:moveTo>
                <a:cubicBezTo>
                  <a:pt x="196" y="320"/>
                  <a:pt x="192" y="315"/>
                  <a:pt x="192" y="309"/>
                </a:cubicBezTo>
                <a:cubicBezTo>
                  <a:pt x="192" y="303"/>
                  <a:pt x="196" y="298"/>
                  <a:pt x="202" y="298"/>
                </a:cubicBezTo>
                <a:cubicBezTo>
                  <a:pt x="208" y="298"/>
                  <a:pt x="213" y="303"/>
                  <a:pt x="213" y="309"/>
                </a:cubicBezTo>
                <a:cubicBezTo>
                  <a:pt x="213" y="315"/>
                  <a:pt x="208" y="320"/>
                  <a:pt x="202" y="320"/>
                </a:cubicBezTo>
                <a:close/>
                <a:moveTo>
                  <a:pt x="330" y="181"/>
                </a:moveTo>
                <a:cubicBezTo>
                  <a:pt x="288" y="181"/>
                  <a:pt x="288" y="181"/>
                  <a:pt x="288" y="181"/>
                </a:cubicBezTo>
                <a:cubicBezTo>
                  <a:pt x="288" y="224"/>
                  <a:pt x="288" y="224"/>
                  <a:pt x="288" y="224"/>
                </a:cubicBezTo>
                <a:cubicBezTo>
                  <a:pt x="330" y="224"/>
                  <a:pt x="330" y="224"/>
                  <a:pt x="330" y="224"/>
                </a:cubicBezTo>
                <a:lnTo>
                  <a:pt x="330" y="181"/>
                </a:lnTo>
                <a:close/>
                <a:moveTo>
                  <a:pt x="309" y="213"/>
                </a:moveTo>
                <a:cubicBezTo>
                  <a:pt x="303" y="213"/>
                  <a:pt x="298" y="208"/>
                  <a:pt x="298" y="202"/>
                </a:cubicBezTo>
                <a:cubicBezTo>
                  <a:pt x="298" y="196"/>
                  <a:pt x="303" y="192"/>
                  <a:pt x="309" y="192"/>
                </a:cubicBezTo>
                <a:cubicBezTo>
                  <a:pt x="315" y="192"/>
                  <a:pt x="320" y="196"/>
                  <a:pt x="320" y="202"/>
                </a:cubicBezTo>
                <a:cubicBezTo>
                  <a:pt x="320" y="208"/>
                  <a:pt x="315" y="213"/>
                  <a:pt x="309" y="213"/>
                </a:cubicBezTo>
                <a:close/>
                <a:moveTo>
                  <a:pt x="224" y="181"/>
                </a:moveTo>
                <a:cubicBezTo>
                  <a:pt x="181" y="181"/>
                  <a:pt x="181" y="181"/>
                  <a:pt x="181" y="181"/>
                </a:cubicBezTo>
                <a:cubicBezTo>
                  <a:pt x="181" y="224"/>
                  <a:pt x="181" y="224"/>
                  <a:pt x="181" y="224"/>
                </a:cubicBezTo>
                <a:cubicBezTo>
                  <a:pt x="224" y="224"/>
                  <a:pt x="224" y="224"/>
                  <a:pt x="224" y="224"/>
                </a:cubicBezTo>
                <a:lnTo>
                  <a:pt x="224" y="181"/>
                </a:lnTo>
                <a:close/>
                <a:moveTo>
                  <a:pt x="202" y="213"/>
                </a:moveTo>
                <a:cubicBezTo>
                  <a:pt x="196" y="213"/>
                  <a:pt x="192" y="208"/>
                  <a:pt x="192" y="202"/>
                </a:cubicBezTo>
                <a:cubicBezTo>
                  <a:pt x="192" y="196"/>
                  <a:pt x="196" y="192"/>
                  <a:pt x="202" y="192"/>
                </a:cubicBezTo>
                <a:cubicBezTo>
                  <a:pt x="208" y="192"/>
                  <a:pt x="213" y="196"/>
                  <a:pt x="213" y="202"/>
                </a:cubicBezTo>
                <a:cubicBezTo>
                  <a:pt x="213" y="208"/>
                  <a:pt x="208" y="213"/>
                  <a:pt x="202"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84"/>
                </a:moveTo>
                <a:cubicBezTo>
                  <a:pt x="393" y="390"/>
                  <a:pt x="388" y="395"/>
                  <a:pt x="382" y="395"/>
                </a:cubicBezTo>
                <a:cubicBezTo>
                  <a:pt x="128" y="395"/>
                  <a:pt x="128" y="395"/>
                  <a:pt x="128" y="395"/>
                </a:cubicBezTo>
                <a:cubicBezTo>
                  <a:pt x="122" y="395"/>
                  <a:pt x="118" y="390"/>
                  <a:pt x="118" y="384"/>
                </a:cubicBezTo>
                <a:cubicBezTo>
                  <a:pt x="118" y="128"/>
                  <a:pt x="118" y="128"/>
                  <a:pt x="118" y="128"/>
                </a:cubicBezTo>
                <a:cubicBezTo>
                  <a:pt x="118" y="122"/>
                  <a:pt x="122" y="117"/>
                  <a:pt x="128" y="117"/>
                </a:cubicBezTo>
                <a:cubicBezTo>
                  <a:pt x="382" y="117"/>
                  <a:pt x="382" y="117"/>
                  <a:pt x="382" y="117"/>
                </a:cubicBezTo>
                <a:cubicBezTo>
                  <a:pt x="388" y="117"/>
                  <a:pt x="393" y="122"/>
                  <a:pt x="393" y="128"/>
                </a:cubicBezTo>
                <a:lnTo>
                  <a:pt x="393" y="384"/>
                </a:lnTo>
                <a:close/>
                <a:moveTo>
                  <a:pt x="139" y="373"/>
                </a:moveTo>
                <a:cubicBezTo>
                  <a:pt x="372" y="373"/>
                  <a:pt x="372" y="373"/>
                  <a:pt x="372" y="373"/>
                </a:cubicBezTo>
                <a:cubicBezTo>
                  <a:pt x="372" y="138"/>
                  <a:pt x="372" y="138"/>
                  <a:pt x="372" y="138"/>
                </a:cubicBezTo>
                <a:cubicBezTo>
                  <a:pt x="139" y="138"/>
                  <a:pt x="139" y="138"/>
                  <a:pt x="139" y="138"/>
                </a:cubicBezTo>
                <a:lnTo>
                  <a:pt x="139" y="373"/>
                </a:lnTo>
                <a:close/>
                <a:moveTo>
                  <a:pt x="352" y="341"/>
                </a:moveTo>
                <a:cubicBezTo>
                  <a:pt x="352" y="347"/>
                  <a:pt x="347" y="352"/>
                  <a:pt x="341" y="352"/>
                </a:cubicBezTo>
                <a:cubicBezTo>
                  <a:pt x="309" y="352"/>
                  <a:pt x="309" y="352"/>
                  <a:pt x="309" y="352"/>
                </a:cubicBezTo>
                <a:cubicBezTo>
                  <a:pt x="303" y="352"/>
                  <a:pt x="298" y="347"/>
                  <a:pt x="298" y="341"/>
                </a:cubicBezTo>
                <a:cubicBezTo>
                  <a:pt x="298" y="335"/>
                  <a:pt x="303" y="330"/>
                  <a:pt x="309" y="330"/>
                </a:cubicBezTo>
                <a:cubicBezTo>
                  <a:pt x="330" y="330"/>
                  <a:pt x="330" y="330"/>
                  <a:pt x="330" y="330"/>
                </a:cubicBezTo>
                <a:cubicBezTo>
                  <a:pt x="330" y="309"/>
                  <a:pt x="330" y="309"/>
                  <a:pt x="330" y="309"/>
                </a:cubicBezTo>
                <a:cubicBezTo>
                  <a:pt x="330" y="303"/>
                  <a:pt x="335" y="298"/>
                  <a:pt x="341" y="298"/>
                </a:cubicBezTo>
                <a:cubicBezTo>
                  <a:pt x="347" y="298"/>
                  <a:pt x="352" y="303"/>
                  <a:pt x="352" y="309"/>
                </a:cubicBezTo>
                <a:lnTo>
                  <a:pt x="352" y="341"/>
                </a:lnTo>
                <a:close/>
                <a:moveTo>
                  <a:pt x="266" y="170"/>
                </a:moveTo>
                <a:cubicBezTo>
                  <a:pt x="266" y="164"/>
                  <a:pt x="271" y="160"/>
                  <a:pt x="277" y="160"/>
                </a:cubicBezTo>
                <a:cubicBezTo>
                  <a:pt x="341" y="160"/>
                  <a:pt x="341" y="160"/>
                  <a:pt x="341" y="160"/>
                </a:cubicBezTo>
                <a:cubicBezTo>
                  <a:pt x="347" y="160"/>
                  <a:pt x="352" y="164"/>
                  <a:pt x="352" y="170"/>
                </a:cubicBezTo>
                <a:cubicBezTo>
                  <a:pt x="352" y="234"/>
                  <a:pt x="352" y="234"/>
                  <a:pt x="352" y="234"/>
                </a:cubicBezTo>
                <a:cubicBezTo>
                  <a:pt x="352" y="240"/>
                  <a:pt x="347" y="245"/>
                  <a:pt x="341" y="245"/>
                </a:cubicBezTo>
                <a:cubicBezTo>
                  <a:pt x="277" y="245"/>
                  <a:pt x="277" y="245"/>
                  <a:pt x="277" y="245"/>
                </a:cubicBezTo>
                <a:cubicBezTo>
                  <a:pt x="271" y="245"/>
                  <a:pt x="266" y="240"/>
                  <a:pt x="266" y="234"/>
                </a:cubicBezTo>
                <a:lnTo>
                  <a:pt x="266" y="170"/>
                </a:lnTo>
                <a:close/>
                <a:moveTo>
                  <a:pt x="266" y="277"/>
                </a:moveTo>
                <a:cubicBezTo>
                  <a:pt x="266" y="271"/>
                  <a:pt x="271" y="266"/>
                  <a:pt x="277" y="266"/>
                </a:cubicBezTo>
                <a:cubicBezTo>
                  <a:pt x="341" y="266"/>
                  <a:pt x="341" y="266"/>
                  <a:pt x="341" y="266"/>
                </a:cubicBezTo>
                <a:cubicBezTo>
                  <a:pt x="347" y="266"/>
                  <a:pt x="352" y="271"/>
                  <a:pt x="352" y="277"/>
                </a:cubicBezTo>
                <a:cubicBezTo>
                  <a:pt x="352" y="283"/>
                  <a:pt x="347" y="288"/>
                  <a:pt x="341" y="288"/>
                </a:cubicBezTo>
                <a:cubicBezTo>
                  <a:pt x="288" y="288"/>
                  <a:pt x="288" y="288"/>
                  <a:pt x="288" y="288"/>
                </a:cubicBezTo>
                <a:cubicBezTo>
                  <a:pt x="288" y="341"/>
                  <a:pt x="288" y="341"/>
                  <a:pt x="288" y="341"/>
                </a:cubicBezTo>
                <a:cubicBezTo>
                  <a:pt x="288" y="347"/>
                  <a:pt x="283" y="352"/>
                  <a:pt x="277" y="352"/>
                </a:cubicBezTo>
                <a:cubicBezTo>
                  <a:pt x="271" y="352"/>
                  <a:pt x="266" y="347"/>
                  <a:pt x="266" y="341"/>
                </a:cubicBezTo>
                <a:lnTo>
                  <a:pt x="266" y="277"/>
                </a:lnTo>
                <a:close/>
                <a:moveTo>
                  <a:pt x="160" y="170"/>
                </a:moveTo>
                <a:cubicBezTo>
                  <a:pt x="160" y="164"/>
                  <a:pt x="164" y="160"/>
                  <a:pt x="170" y="160"/>
                </a:cubicBezTo>
                <a:cubicBezTo>
                  <a:pt x="234" y="160"/>
                  <a:pt x="234" y="160"/>
                  <a:pt x="234" y="160"/>
                </a:cubicBezTo>
                <a:cubicBezTo>
                  <a:pt x="240" y="160"/>
                  <a:pt x="245" y="164"/>
                  <a:pt x="245" y="170"/>
                </a:cubicBezTo>
                <a:cubicBezTo>
                  <a:pt x="245" y="234"/>
                  <a:pt x="245" y="234"/>
                  <a:pt x="245" y="234"/>
                </a:cubicBezTo>
                <a:cubicBezTo>
                  <a:pt x="245" y="240"/>
                  <a:pt x="240" y="245"/>
                  <a:pt x="234" y="245"/>
                </a:cubicBezTo>
                <a:cubicBezTo>
                  <a:pt x="170" y="245"/>
                  <a:pt x="170" y="245"/>
                  <a:pt x="170" y="245"/>
                </a:cubicBezTo>
                <a:cubicBezTo>
                  <a:pt x="164" y="245"/>
                  <a:pt x="160" y="240"/>
                  <a:pt x="160" y="234"/>
                </a:cubicBezTo>
                <a:lnTo>
                  <a:pt x="160" y="170"/>
                </a:lnTo>
                <a:close/>
                <a:moveTo>
                  <a:pt x="160" y="277"/>
                </a:moveTo>
                <a:cubicBezTo>
                  <a:pt x="160" y="271"/>
                  <a:pt x="164" y="266"/>
                  <a:pt x="170" y="266"/>
                </a:cubicBezTo>
                <a:cubicBezTo>
                  <a:pt x="234" y="266"/>
                  <a:pt x="234" y="266"/>
                  <a:pt x="234" y="266"/>
                </a:cubicBezTo>
                <a:cubicBezTo>
                  <a:pt x="240" y="266"/>
                  <a:pt x="245" y="271"/>
                  <a:pt x="245" y="277"/>
                </a:cubicBezTo>
                <a:cubicBezTo>
                  <a:pt x="245" y="341"/>
                  <a:pt x="245" y="341"/>
                  <a:pt x="245" y="341"/>
                </a:cubicBezTo>
                <a:cubicBezTo>
                  <a:pt x="245" y="347"/>
                  <a:pt x="240" y="352"/>
                  <a:pt x="234" y="352"/>
                </a:cubicBezTo>
                <a:cubicBezTo>
                  <a:pt x="170" y="352"/>
                  <a:pt x="170" y="352"/>
                  <a:pt x="170" y="352"/>
                </a:cubicBezTo>
                <a:cubicBezTo>
                  <a:pt x="164" y="352"/>
                  <a:pt x="160" y="347"/>
                  <a:pt x="160" y="341"/>
                </a:cubicBezTo>
                <a:lnTo>
                  <a:pt x="160" y="277"/>
                </a:ln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07" name="Freeform 976">
            <a:extLst>
              <a:ext uri="{FF2B5EF4-FFF2-40B4-BE49-F238E27FC236}">
                <a16:creationId xmlns:a16="http://schemas.microsoft.com/office/drawing/2014/main" id="{DC3EC6A8-BE04-7043-9F3C-F2CD54458035}"/>
              </a:ext>
            </a:extLst>
          </p:cNvPr>
          <p:cNvSpPr>
            <a:spLocks noChangeAspect="1" noEditPoints="1"/>
          </p:cNvSpPr>
          <p:nvPr/>
        </p:nvSpPr>
        <p:spPr bwMode="auto">
          <a:xfrm>
            <a:off x="4896261" y="5475302"/>
            <a:ext cx="234609"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08" name="TextBox 107">
            <a:extLst>
              <a:ext uri="{FF2B5EF4-FFF2-40B4-BE49-F238E27FC236}">
                <a16:creationId xmlns:a16="http://schemas.microsoft.com/office/drawing/2014/main" id="{0ED93559-7FA7-B743-8FDE-3406352640D9}"/>
              </a:ext>
            </a:extLst>
          </p:cNvPr>
          <p:cNvSpPr txBox="1"/>
          <p:nvPr/>
        </p:nvSpPr>
        <p:spPr>
          <a:xfrm>
            <a:off x="4132885" y="5169249"/>
            <a:ext cx="347852" cy="78932"/>
          </a:xfrm>
          <a:prstGeom prst="rect">
            <a:avLst/>
          </a:prstGeom>
          <a:solidFill>
            <a:schemeClr val="bg1"/>
          </a:solidFill>
        </p:spPr>
        <p:txBody>
          <a:bodyPr wrap="none" lIns="0" tIns="0" rIns="0" bIns="0" rtlCol="0">
            <a:spAutoFit/>
          </a:bodyPr>
          <a:lstStyle/>
          <a:p>
            <a:pPr algn="r">
              <a:spcBef>
                <a:spcPts val="513"/>
              </a:spcBef>
              <a:buSzPct val="100000"/>
            </a:pPr>
            <a:r>
              <a:rPr lang="en-US" sz="513" dirty="0">
                <a:solidFill>
                  <a:srgbClr val="313131"/>
                </a:solidFill>
              </a:rPr>
              <a:t>Lorem ipsum</a:t>
            </a:r>
            <a:endParaRPr lang="en-GB" sz="513" dirty="0">
              <a:solidFill>
                <a:srgbClr val="313131"/>
              </a:solidFill>
            </a:endParaRPr>
          </a:p>
        </p:txBody>
      </p:sp>
      <p:sp>
        <p:nvSpPr>
          <p:cNvPr id="109" name="TextBox 108">
            <a:extLst>
              <a:ext uri="{FF2B5EF4-FFF2-40B4-BE49-F238E27FC236}">
                <a16:creationId xmlns:a16="http://schemas.microsoft.com/office/drawing/2014/main" id="{10FC211B-C629-B846-A78C-C4E4BBC0B38E}"/>
              </a:ext>
            </a:extLst>
          </p:cNvPr>
          <p:cNvSpPr txBox="1"/>
          <p:nvPr/>
        </p:nvSpPr>
        <p:spPr>
          <a:xfrm>
            <a:off x="4428451" y="5555811"/>
            <a:ext cx="347852" cy="78932"/>
          </a:xfrm>
          <a:prstGeom prst="rect">
            <a:avLst/>
          </a:prstGeom>
          <a:solidFill>
            <a:schemeClr val="bg1"/>
          </a:solidFill>
        </p:spPr>
        <p:txBody>
          <a:bodyPr wrap="none" lIns="0" tIns="0" rIns="0" bIns="0" rtlCol="0">
            <a:spAutoFit/>
          </a:bodyPr>
          <a:lstStyle/>
          <a:p>
            <a:pPr algn="r">
              <a:spcBef>
                <a:spcPts val="513"/>
              </a:spcBef>
              <a:buSzPct val="100000"/>
            </a:pPr>
            <a:r>
              <a:rPr lang="en-US" sz="513" dirty="0">
                <a:solidFill>
                  <a:srgbClr val="313131"/>
                </a:solidFill>
              </a:rPr>
              <a:t>Lorem ipsum</a:t>
            </a:r>
            <a:endParaRPr lang="en-GB" sz="513" dirty="0">
              <a:solidFill>
                <a:srgbClr val="313131"/>
              </a:solidFill>
            </a:endParaRPr>
          </a:p>
        </p:txBody>
      </p:sp>
      <p:sp>
        <p:nvSpPr>
          <p:cNvPr id="110" name="TextBox 109">
            <a:extLst>
              <a:ext uri="{FF2B5EF4-FFF2-40B4-BE49-F238E27FC236}">
                <a16:creationId xmlns:a16="http://schemas.microsoft.com/office/drawing/2014/main" id="{6CE75DA6-2626-8947-A235-04BB98B11BBE}"/>
              </a:ext>
            </a:extLst>
          </p:cNvPr>
          <p:cNvSpPr txBox="1"/>
          <p:nvPr/>
        </p:nvSpPr>
        <p:spPr>
          <a:xfrm>
            <a:off x="5192305" y="613350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11" name="Freeform 583">
            <a:extLst>
              <a:ext uri="{FF2B5EF4-FFF2-40B4-BE49-F238E27FC236}">
                <a16:creationId xmlns:a16="http://schemas.microsoft.com/office/drawing/2014/main" id="{5BE04339-60BD-B340-A981-3866E8FEBFC4}"/>
              </a:ext>
            </a:extLst>
          </p:cNvPr>
          <p:cNvSpPr>
            <a:spLocks noChangeAspect="1" noEditPoints="1"/>
          </p:cNvSpPr>
          <p:nvPr/>
        </p:nvSpPr>
        <p:spPr bwMode="auto">
          <a:xfrm>
            <a:off x="5270912" y="5859030"/>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30 w 512"/>
              <a:gd name="T13" fmla="*/ 352 h 512"/>
              <a:gd name="T14" fmla="*/ 320 w 512"/>
              <a:gd name="T15" fmla="*/ 341 h 512"/>
              <a:gd name="T16" fmla="*/ 320 w 512"/>
              <a:gd name="T17" fmla="*/ 288 h 512"/>
              <a:gd name="T18" fmla="*/ 330 w 512"/>
              <a:gd name="T19" fmla="*/ 277 h 512"/>
              <a:gd name="T20" fmla="*/ 341 w 512"/>
              <a:gd name="T21" fmla="*/ 288 h 512"/>
              <a:gd name="T22" fmla="*/ 341 w 512"/>
              <a:gd name="T23" fmla="*/ 320 h 512"/>
              <a:gd name="T24" fmla="*/ 362 w 512"/>
              <a:gd name="T25" fmla="*/ 256 h 512"/>
              <a:gd name="T26" fmla="*/ 256 w 512"/>
              <a:gd name="T27" fmla="*/ 149 h 512"/>
              <a:gd name="T28" fmla="*/ 149 w 512"/>
              <a:gd name="T29" fmla="*/ 256 h 512"/>
              <a:gd name="T30" fmla="*/ 256 w 512"/>
              <a:gd name="T31" fmla="*/ 362 h 512"/>
              <a:gd name="T32" fmla="*/ 266 w 512"/>
              <a:gd name="T33" fmla="*/ 373 h 512"/>
              <a:gd name="T34" fmla="*/ 256 w 512"/>
              <a:gd name="T35" fmla="*/ 384 h 512"/>
              <a:gd name="T36" fmla="*/ 128 w 512"/>
              <a:gd name="T37" fmla="*/ 256 h 512"/>
              <a:gd name="T38" fmla="*/ 256 w 512"/>
              <a:gd name="T39" fmla="*/ 128 h 512"/>
              <a:gd name="T40" fmla="*/ 384 w 512"/>
              <a:gd name="T41" fmla="*/ 256 h 512"/>
              <a:gd name="T42" fmla="*/ 359 w 512"/>
              <a:gd name="T43" fmla="*/ 330 h 512"/>
              <a:gd name="T44" fmla="*/ 384 w 512"/>
              <a:gd name="T45" fmla="*/ 330 h 512"/>
              <a:gd name="T46" fmla="*/ 394 w 512"/>
              <a:gd name="T47" fmla="*/ 341 h 512"/>
              <a:gd name="T48" fmla="*/ 384 w 512"/>
              <a:gd name="T49"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30" y="352"/>
                  <a:pt x="330" y="352"/>
                  <a:pt x="330" y="352"/>
                </a:cubicBezTo>
                <a:cubicBezTo>
                  <a:pt x="324" y="352"/>
                  <a:pt x="320" y="347"/>
                  <a:pt x="320" y="341"/>
                </a:cubicBezTo>
                <a:cubicBezTo>
                  <a:pt x="320" y="288"/>
                  <a:pt x="320" y="288"/>
                  <a:pt x="320" y="288"/>
                </a:cubicBezTo>
                <a:cubicBezTo>
                  <a:pt x="320" y="282"/>
                  <a:pt x="324" y="277"/>
                  <a:pt x="330" y="277"/>
                </a:cubicBezTo>
                <a:cubicBezTo>
                  <a:pt x="336" y="277"/>
                  <a:pt x="341" y="282"/>
                  <a:pt x="341" y="288"/>
                </a:cubicBezTo>
                <a:cubicBezTo>
                  <a:pt x="341" y="320"/>
                  <a:pt x="341" y="320"/>
                  <a:pt x="341" y="320"/>
                </a:cubicBezTo>
                <a:cubicBezTo>
                  <a:pt x="355" y="301"/>
                  <a:pt x="362" y="279"/>
                  <a:pt x="362" y="256"/>
                </a:cubicBezTo>
                <a:cubicBezTo>
                  <a:pt x="362" y="197"/>
                  <a:pt x="314" y="149"/>
                  <a:pt x="256" y="149"/>
                </a:cubicBezTo>
                <a:cubicBezTo>
                  <a:pt x="197" y="149"/>
                  <a:pt x="149" y="197"/>
                  <a:pt x="149" y="256"/>
                </a:cubicBezTo>
                <a:cubicBezTo>
                  <a:pt x="149" y="314"/>
                  <a:pt x="197" y="362"/>
                  <a:pt x="256" y="362"/>
                </a:cubicBezTo>
                <a:cubicBezTo>
                  <a:pt x="262" y="362"/>
                  <a:pt x="266" y="367"/>
                  <a:pt x="266" y="373"/>
                </a:cubicBezTo>
                <a:cubicBezTo>
                  <a:pt x="266" y="379"/>
                  <a:pt x="262" y="384"/>
                  <a:pt x="256" y="384"/>
                </a:cubicBezTo>
                <a:cubicBezTo>
                  <a:pt x="185" y="384"/>
                  <a:pt x="128" y="326"/>
                  <a:pt x="128" y="256"/>
                </a:cubicBezTo>
                <a:cubicBezTo>
                  <a:pt x="128" y="185"/>
                  <a:pt x="185" y="128"/>
                  <a:pt x="256" y="128"/>
                </a:cubicBezTo>
                <a:cubicBezTo>
                  <a:pt x="326" y="128"/>
                  <a:pt x="384" y="185"/>
                  <a:pt x="384" y="256"/>
                </a:cubicBezTo>
                <a:cubicBezTo>
                  <a:pt x="384" y="283"/>
                  <a:pt x="375" y="309"/>
                  <a:pt x="359" y="330"/>
                </a:cubicBezTo>
                <a:cubicBezTo>
                  <a:pt x="384" y="330"/>
                  <a:pt x="384" y="330"/>
                  <a:pt x="384" y="330"/>
                </a:cubicBezTo>
                <a:cubicBezTo>
                  <a:pt x="390" y="330"/>
                  <a:pt x="394" y="335"/>
                  <a:pt x="394" y="341"/>
                </a:cubicBezTo>
                <a:cubicBezTo>
                  <a:pt x="394" y="347"/>
                  <a:pt x="390" y="352"/>
                  <a:pt x="384" y="352"/>
                </a:cubicBez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12" name="Freeform 198">
            <a:extLst>
              <a:ext uri="{FF2B5EF4-FFF2-40B4-BE49-F238E27FC236}">
                <a16:creationId xmlns:a16="http://schemas.microsoft.com/office/drawing/2014/main" id="{DD142D29-321B-0F44-B079-2D6D794BA152}"/>
              </a:ext>
            </a:extLst>
          </p:cNvPr>
          <p:cNvSpPr>
            <a:spLocks noChangeAspect="1" noEditPoints="1"/>
          </p:cNvSpPr>
          <p:nvPr/>
        </p:nvSpPr>
        <p:spPr bwMode="auto">
          <a:xfrm>
            <a:off x="5665958" y="4753851"/>
            <a:ext cx="233919" cy="234608"/>
          </a:xfrm>
          <a:custGeom>
            <a:avLst/>
            <a:gdLst>
              <a:gd name="T0" fmla="*/ 213 w 512"/>
              <a:gd name="T1" fmla="*/ 206 h 512"/>
              <a:gd name="T2" fmla="*/ 312 w 512"/>
              <a:gd name="T3" fmla="*/ 206 h 512"/>
              <a:gd name="T4" fmla="*/ 299 w 512"/>
              <a:gd name="T5" fmla="*/ 305 h 512"/>
              <a:gd name="T6" fmla="*/ 199 w 512"/>
              <a:gd name="T7" fmla="*/ 305 h 512"/>
              <a:gd name="T8" fmla="*/ 213 w 512"/>
              <a:gd name="T9" fmla="*/ 20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0 w 512"/>
              <a:gd name="T21" fmla="*/ 195 h 512"/>
              <a:gd name="T22" fmla="*/ 400 w 512"/>
              <a:gd name="T23" fmla="*/ 185 h 512"/>
              <a:gd name="T24" fmla="*/ 336 w 512"/>
              <a:gd name="T25" fmla="*/ 185 h 512"/>
              <a:gd name="T26" fmla="*/ 345 w 512"/>
              <a:gd name="T27" fmla="*/ 121 h 512"/>
              <a:gd name="T28" fmla="*/ 335 w 512"/>
              <a:gd name="T29" fmla="*/ 109 h 512"/>
              <a:gd name="T30" fmla="*/ 323 w 512"/>
              <a:gd name="T31" fmla="*/ 118 h 512"/>
              <a:gd name="T32" fmla="*/ 315 w 512"/>
              <a:gd name="T33" fmla="*/ 185 h 512"/>
              <a:gd name="T34" fmla="*/ 215 w 512"/>
              <a:gd name="T35" fmla="*/ 185 h 512"/>
              <a:gd name="T36" fmla="*/ 224 w 512"/>
              <a:gd name="T37" fmla="*/ 121 h 512"/>
              <a:gd name="T38" fmla="*/ 215 w 512"/>
              <a:gd name="T39" fmla="*/ 109 h 512"/>
              <a:gd name="T40" fmla="*/ 203 w 512"/>
              <a:gd name="T41" fmla="*/ 118 h 512"/>
              <a:gd name="T42" fmla="*/ 194 w 512"/>
              <a:gd name="T43" fmla="*/ 185 h 512"/>
              <a:gd name="T44" fmla="*/ 128 w 512"/>
              <a:gd name="T45" fmla="*/ 185 h 512"/>
              <a:gd name="T46" fmla="*/ 117 w 512"/>
              <a:gd name="T47" fmla="*/ 195 h 512"/>
              <a:gd name="T48" fmla="*/ 128 w 512"/>
              <a:gd name="T49" fmla="*/ 206 h 512"/>
              <a:gd name="T50" fmla="*/ 191 w 512"/>
              <a:gd name="T51" fmla="*/ 206 h 512"/>
              <a:gd name="T52" fmla="*/ 178 w 512"/>
              <a:gd name="T53" fmla="*/ 305 h 512"/>
              <a:gd name="T54" fmla="*/ 112 w 512"/>
              <a:gd name="T55" fmla="*/ 305 h 512"/>
              <a:gd name="T56" fmla="*/ 101 w 512"/>
              <a:gd name="T57" fmla="*/ 316 h 512"/>
              <a:gd name="T58" fmla="*/ 112 w 512"/>
              <a:gd name="T59" fmla="*/ 327 h 512"/>
              <a:gd name="T60" fmla="*/ 175 w 512"/>
              <a:gd name="T61" fmla="*/ 327 h 512"/>
              <a:gd name="T62" fmla="*/ 167 w 512"/>
              <a:gd name="T63" fmla="*/ 390 h 512"/>
              <a:gd name="T64" fmla="*/ 176 w 512"/>
              <a:gd name="T65" fmla="*/ 402 h 512"/>
              <a:gd name="T66" fmla="*/ 177 w 512"/>
              <a:gd name="T67" fmla="*/ 402 h 512"/>
              <a:gd name="T68" fmla="*/ 188 w 512"/>
              <a:gd name="T69" fmla="*/ 393 h 512"/>
              <a:gd name="T70" fmla="*/ 197 w 512"/>
              <a:gd name="T71" fmla="*/ 327 h 512"/>
              <a:gd name="T72" fmla="*/ 296 w 512"/>
              <a:gd name="T73" fmla="*/ 327 h 512"/>
              <a:gd name="T74" fmla="*/ 288 w 512"/>
              <a:gd name="T75" fmla="*/ 390 h 512"/>
              <a:gd name="T76" fmla="*/ 297 w 512"/>
              <a:gd name="T77" fmla="*/ 402 h 512"/>
              <a:gd name="T78" fmla="*/ 298 w 512"/>
              <a:gd name="T79" fmla="*/ 402 h 512"/>
              <a:gd name="T80" fmla="*/ 309 w 512"/>
              <a:gd name="T81" fmla="*/ 393 h 512"/>
              <a:gd name="T82" fmla="*/ 318 w 512"/>
              <a:gd name="T83" fmla="*/ 327 h 512"/>
              <a:gd name="T84" fmla="*/ 384 w 512"/>
              <a:gd name="T85" fmla="*/ 327 h 512"/>
              <a:gd name="T86" fmla="*/ 394 w 512"/>
              <a:gd name="T87" fmla="*/ 316 h 512"/>
              <a:gd name="T88" fmla="*/ 384 w 512"/>
              <a:gd name="T89" fmla="*/ 305 h 512"/>
              <a:gd name="T90" fmla="*/ 320 w 512"/>
              <a:gd name="T91" fmla="*/ 305 h 512"/>
              <a:gd name="T92" fmla="*/ 333 w 512"/>
              <a:gd name="T93" fmla="*/ 206 h 512"/>
              <a:gd name="T94" fmla="*/ 400 w 512"/>
              <a:gd name="T95" fmla="*/ 206 h 512"/>
              <a:gd name="T96" fmla="*/ 410 w 512"/>
              <a:gd name="T97" fmla="*/ 1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13" y="206"/>
                </a:moveTo>
                <a:cubicBezTo>
                  <a:pt x="312" y="206"/>
                  <a:pt x="312" y="206"/>
                  <a:pt x="312" y="206"/>
                </a:cubicBezTo>
                <a:cubicBezTo>
                  <a:pt x="299" y="305"/>
                  <a:pt x="299" y="305"/>
                  <a:pt x="299" y="305"/>
                </a:cubicBezTo>
                <a:cubicBezTo>
                  <a:pt x="199" y="305"/>
                  <a:pt x="199" y="305"/>
                  <a:pt x="199" y="305"/>
                </a:cubicBezTo>
                <a:lnTo>
                  <a:pt x="213" y="20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195"/>
                </a:moveTo>
                <a:cubicBezTo>
                  <a:pt x="410" y="189"/>
                  <a:pt x="406" y="185"/>
                  <a:pt x="400" y="185"/>
                </a:cubicBezTo>
                <a:cubicBezTo>
                  <a:pt x="336" y="185"/>
                  <a:pt x="336" y="185"/>
                  <a:pt x="336" y="185"/>
                </a:cubicBezTo>
                <a:cubicBezTo>
                  <a:pt x="345" y="121"/>
                  <a:pt x="345" y="121"/>
                  <a:pt x="345" y="121"/>
                </a:cubicBezTo>
                <a:cubicBezTo>
                  <a:pt x="345" y="115"/>
                  <a:pt x="341" y="110"/>
                  <a:pt x="335" y="109"/>
                </a:cubicBezTo>
                <a:cubicBezTo>
                  <a:pt x="330" y="108"/>
                  <a:pt x="324" y="112"/>
                  <a:pt x="323" y="118"/>
                </a:cubicBezTo>
                <a:cubicBezTo>
                  <a:pt x="315" y="185"/>
                  <a:pt x="315" y="185"/>
                  <a:pt x="315" y="185"/>
                </a:cubicBezTo>
                <a:cubicBezTo>
                  <a:pt x="215" y="185"/>
                  <a:pt x="215" y="185"/>
                  <a:pt x="215" y="185"/>
                </a:cubicBezTo>
                <a:cubicBezTo>
                  <a:pt x="224" y="121"/>
                  <a:pt x="224" y="121"/>
                  <a:pt x="224" y="121"/>
                </a:cubicBezTo>
                <a:cubicBezTo>
                  <a:pt x="224" y="115"/>
                  <a:pt x="220" y="110"/>
                  <a:pt x="215" y="109"/>
                </a:cubicBezTo>
                <a:cubicBezTo>
                  <a:pt x="209" y="108"/>
                  <a:pt x="203" y="112"/>
                  <a:pt x="203" y="118"/>
                </a:cubicBezTo>
                <a:cubicBezTo>
                  <a:pt x="194" y="185"/>
                  <a:pt x="194" y="185"/>
                  <a:pt x="194" y="185"/>
                </a:cubicBezTo>
                <a:cubicBezTo>
                  <a:pt x="128" y="185"/>
                  <a:pt x="128" y="185"/>
                  <a:pt x="128" y="185"/>
                </a:cubicBezTo>
                <a:cubicBezTo>
                  <a:pt x="122" y="185"/>
                  <a:pt x="117" y="189"/>
                  <a:pt x="117" y="195"/>
                </a:cubicBezTo>
                <a:cubicBezTo>
                  <a:pt x="117" y="201"/>
                  <a:pt x="122" y="206"/>
                  <a:pt x="128" y="206"/>
                </a:cubicBezTo>
                <a:cubicBezTo>
                  <a:pt x="191" y="206"/>
                  <a:pt x="191" y="206"/>
                  <a:pt x="191" y="206"/>
                </a:cubicBezTo>
                <a:cubicBezTo>
                  <a:pt x="178" y="305"/>
                  <a:pt x="178" y="305"/>
                  <a:pt x="178" y="305"/>
                </a:cubicBezTo>
                <a:cubicBezTo>
                  <a:pt x="112" y="305"/>
                  <a:pt x="112" y="305"/>
                  <a:pt x="112" y="305"/>
                </a:cubicBezTo>
                <a:cubicBezTo>
                  <a:pt x="106" y="305"/>
                  <a:pt x="101" y="310"/>
                  <a:pt x="101" y="316"/>
                </a:cubicBezTo>
                <a:cubicBezTo>
                  <a:pt x="101" y="322"/>
                  <a:pt x="106" y="327"/>
                  <a:pt x="112" y="327"/>
                </a:cubicBezTo>
                <a:cubicBezTo>
                  <a:pt x="175" y="327"/>
                  <a:pt x="175" y="327"/>
                  <a:pt x="175" y="327"/>
                </a:cubicBezTo>
                <a:cubicBezTo>
                  <a:pt x="167" y="390"/>
                  <a:pt x="167" y="390"/>
                  <a:pt x="167" y="390"/>
                </a:cubicBezTo>
                <a:cubicBezTo>
                  <a:pt x="166" y="396"/>
                  <a:pt x="170" y="402"/>
                  <a:pt x="176" y="402"/>
                </a:cubicBezTo>
                <a:cubicBezTo>
                  <a:pt x="177" y="402"/>
                  <a:pt x="177" y="402"/>
                  <a:pt x="177" y="402"/>
                </a:cubicBezTo>
                <a:cubicBezTo>
                  <a:pt x="183" y="402"/>
                  <a:pt x="187" y="398"/>
                  <a:pt x="188" y="393"/>
                </a:cubicBezTo>
                <a:cubicBezTo>
                  <a:pt x="197" y="327"/>
                  <a:pt x="197" y="327"/>
                  <a:pt x="197" y="327"/>
                </a:cubicBezTo>
                <a:cubicBezTo>
                  <a:pt x="296" y="327"/>
                  <a:pt x="296" y="327"/>
                  <a:pt x="296" y="327"/>
                </a:cubicBezTo>
                <a:cubicBezTo>
                  <a:pt x="288" y="390"/>
                  <a:pt x="288" y="390"/>
                  <a:pt x="288" y="390"/>
                </a:cubicBezTo>
                <a:cubicBezTo>
                  <a:pt x="287" y="396"/>
                  <a:pt x="291" y="402"/>
                  <a:pt x="297" y="402"/>
                </a:cubicBezTo>
                <a:cubicBezTo>
                  <a:pt x="298" y="402"/>
                  <a:pt x="298" y="402"/>
                  <a:pt x="298" y="402"/>
                </a:cubicBezTo>
                <a:cubicBezTo>
                  <a:pt x="304" y="402"/>
                  <a:pt x="308" y="398"/>
                  <a:pt x="309" y="393"/>
                </a:cubicBezTo>
                <a:cubicBezTo>
                  <a:pt x="318" y="327"/>
                  <a:pt x="318" y="327"/>
                  <a:pt x="318" y="327"/>
                </a:cubicBezTo>
                <a:cubicBezTo>
                  <a:pt x="384" y="327"/>
                  <a:pt x="384" y="327"/>
                  <a:pt x="384" y="327"/>
                </a:cubicBezTo>
                <a:cubicBezTo>
                  <a:pt x="390" y="327"/>
                  <a:pt x="394" y="322"/>
                  <a:pt x="394" y="316"/>
                </a:cubicBezTo>
                <a:cubicBezTo>
                  <a:pt x="394" y="310"/>
                  <a:pt x="390" y="305"/>
                  <a:pt x="384" y="305"/>
                </a:cubicBezTo>
                <a:cubicBezTo>
                  <a:pt x="320" y="305"/>
                  <a:pt x="320" y="305"/>
                  <a:pt x="320" y="305"/>
                </a:cubicBezTo>
                <a:cubicBezTo>
                  <a:pt x="333" y="206"/>
                  <a:pt x="333" y="206"/>
                  <a:pt x="333" y="206"/>
                </a:cubicBezTo>
                <a:cubicBezTo>
                  <a:pt x="400" y="206"/>
                  <a:pt x="400" y="206"/>
                  <a:pt x="400" y="206"/>
                </a:cubicBezTo>
                <a:cubicBezTo>
                  <a:pt x="406" y="206"/>
                  <a:pt x="410" y="201"/>
                  <a:pt x="410" y="195"/>
                </a:cubicBez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13" name="TextBox 112">
            <a:extLst>
              <a:ext uri="{FF2B5EF4-FFF2-40B4-BE49-F238E27FC236}">
                <a16:creationId xmlns:a16="http://schemas.microsoft.com/office/drawing/2014/main" id="{ED8BB8F0-2C0A-D44E-81F8-9656FA7405BB}"/>
              </a:ext>
            </a:extLst>
          </p:cNvPr>
          <p:cNvSpPr txBox="1"/>
          <p:nvPr/>
        </p:nvSpPr>
        <p:spPr>
          <a:xfrm>
            <a:off x="5939747" y="4830131"/>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sp>
        <p:nvSpPr>
          <p:cNvPr id="114" name="TextBox 113">
            <a:extLst>
              <a:ext uri="{FF2B5EF4-FFF2-40B4-BE49-F238E27FC236}">
                <a16:creationId xmlns:a16="http://schemas.microsoft.com/office/drawing/2014/main" id="{006D43E6-89B9-CC40-809B-FFA75135D278}"/>
              </a:ext>
            </a:extLst>
          </p:cNvPr>
          <p:cNvSpPr txBox="1"/>
          <p:nvPr/>
        </p:nvSpPr>
        <p:spPr>
          <a:xfrm>
            <a:off x="5907163" y="5553123"/>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sp>
        <p:nvSpPr>
          <p:cNvPr id="115" name="TextBox 114">
            <a:extLst>
              <a:ext uri="{FF2B5EF4-FFF2-40B4-BE49-F238E27FC236}">
                <a16:creationId xmlns:a16="http://schemas.microsoft.com/office/drawing/2014/main" id="{132179AE-8959-E447-97C6-80D5934D8095}"/>
              </a:ext>
            </a:extLst>
          </p:cNvPr>
          <p:cNvSpPr txBox="1"/>
          <p:nvPr/>
        </p:nvSpPr>
        <p:spPr>
          <a:xfrm>
            <a:off x="6211964" y="5172972"/>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grpSp>
        <p:nvGrpSpPr>
          <p:cNvPr id="116" name="Group 854">
            <a:extLst>
              <a:ext uri="{FF2B5EF4-FFF2-40B4-BE49-F238E27FC236}">
                <a16:creationId xmlns:a16="http://schemas.microsoft.com/office/drawing/2014/main" id="{C8CF0A31-9AAF-4E4B-8668-970C0BB87087}"/>
              </a:ext>
            </a:extLst>
          </p:cNvPr>
          <p:cNvGrpSpPr>
            <a:grpSpLocks noChangeAspect="1"/>
          </p:cNvGrpSpPr>
          <p:nvPr/>
        </p:nvGrpSpPr>
        <p:grpSpPr bwMode="auto">
          <a:xfrm>
            <a:off x="5952221" y="5095150"/>
            <a:ext cx="234608" cy="234608"/>
            <a:chOff x="3903" y="3039"/>
            <a:chExt cx="340" cy="340"/>
          </a:xfrm>
          <a:solidFill>
            <a:srgbClr val="6FC2B4"/>
          </a:solidFill>
        </p:grpSpPr>
        <p:sp>
          <p:nvSpPr>
            <p:cNvPr id="117" name="Oval 855">
              <a:extLst>
                <a:ext uri="{FF2B5EF4-FFF2-40B4-BE49-F238E27FC236}">
                  <a16:creationId xmlns:a16="http://schemas.microsoft.com/office/drawing/2014/main" id="{1B25E177-AFCD-1D42-A75D-CBF9E058F90B}"/>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18" name="Rectangle 856">
              <a:extLst>
                <a:ext uri="{FF2B5EF4-FFF2-40B4-BE49-F238E27FC236}">
                  <a16:creationId xmlns:a16="http://schemas.microsoft.com/office/drawing/2014/main" id="{B2095BB3-45A1-2A40-B354-680B13EB3807}"/>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19" name="Freeform 857">
              <a:extLst>
                <a:ext uri="{FF2B5EF4-FFF2-40B4-BE49-F238E27FC236}">
                  <a16:creationId xmlns:a16="http://schemas.microsoft.com/office/drawing/2014/main" id="{C251AEFC-C99C-FE43-A20D-8268647CCAA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20" name="Oval 858">
              <a:extLst>
                <a:ext uri="{FF2B5EF4-FFF2-40B4-BE49-F238E27FC236}">
                  <a16:creationId xmlns:a16="http://schemas.microsoft.com/office/drawing/2014/main" id="{FA58AAAA-2300-FA43-ADE7-0C13C0032CC8}"/>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21" name="Oval 859">
              <a:extLst>
                <a:ext uri="{FF2B5EF4-FFF2-40B4-BE49-F238E27FC236}">
                  <a16:creationId xmlns:a16="http://schemas.microsoft.com/office/drawing/2014/main" id="{A76C0B2A-3261-7E47-8C6E-F93C4D3D71AC}"/>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22" name="Rectangle 860">
              <a:extLst>
                <a:ext uri="{FF2B5EF4-FFF2-40B4-BE49-F238E27FC236}">
                  <a16:creationId xmlns:a16="http://schemas.microsoft.com/office/drawing/2014/main" id="{73F9300A-DAE0-964F-9DE4-43EC0025F552}"/>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23" name="Freeform 861">
              <a:extLst>
                <a:ext uri="{FF2B5EF4-FFF2-40B4-BE49-F238E27FC236}">
                  <a16:creationId xmlns:a16="http://schemas.microsoft.com/office/drawing/2014/main" id="{2C0C1FBA-E5DC-9041-87B8-62D10F6E29CB}"/>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grpSp>
        <p:nvGrpSpPr>
          <p:cNvPr id="124" name="Group 583">
            <a:extLst>
              <a:ext uri="{FF2B5EF4-FFF2-40B4-BE49-F238E27FC236}">
                <a16:creationId xmlns:a16="http://schemas.microsoft.com/office/drawing/2014/main" id="{CD394548-623B-2A49-A3CB-62FEBCBEC861}"/>
              </a:ext>
            </a:extLst>
          </p:cNvPr>
          <p:cNvGrpSpPr>
            <a:grpSpLocks noChangeAspect="1"/>
          </p:cNvGrpSpPr>
          <p:nvPr/>
        </p:nvGrpSpPr>
        <p:grpSpPr bwMode="auto">
          <a:xfrm>
            <a:off x="8111473" y="5051265"/>
            <a:ext cx="235297" cy="234608"/>
            <a:chOff x="1138" y="1953"/>
            <a:chExt cx="341" cy="340"/>
          </a:xfrm>
          <a:solidFill>
            <a:schemeClr val="accent6"/>
          </a:solidFill>
        </p:grpSpPr>
        <p:sp>
          <p:nvSpPr>
            <p:cNvPr id="125" name="Freeform 584">
              <a:extLst>
                <a:ext uri="{FF2B5EF4-FFF2-40B4-BE49-F238E27FC236}">
                  <a16:creationId xmlns:a16="http://schemas.microsoft.com/office/drawing/2014/main" id="{8DFABC9D-B8A2-3145-8903-359E91E9CAC1}"/>
                </a:ext>
              </a:extLst>
            </p:cNvPr>
            <p:cNvSpPr>
              <a:spLocks noEditPoints="1"/>
            </p:cNvSpPr>
            <p:nvPr/>
          </p:nvSpPr>
          <p:spPr bwMode="auto">
            <a:xfrm>
              <a:off x="1138" y="195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26" name="Freeform 585">
              <a:extLst>
                <a:ext uri="{FF2B5EF4-FFF2-40B4-BE49-F238E27FC236}">
                  <a16:creationId xmlns:a16="http://schemas.microsoft.com/office/drawing/2014/main" id="{5C97F557-B975-9A47-9B55-4B39D0D02859}"/>
                </a:ext>
              </a:extLst>
            </p:cNvPr>
            <p:cNvSpPr>
              <a:spLocks noEditPoints="1"/>
            </p:cNvSpPr>
            <p:nvPr/>
          </p:nvSpPr>
          <p:spPr bwMode="auto">
            <a:xfrm>
              <a:off x="1273" y="2017"/>
              <a:ext cx="71" cy="212"/>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127" name="TextBox 126">
            <a:extLst>
              <a:ext uri="{FF2B5EF4-FFF2-40B4-BE49-F238E27FC236}">
                <a16:creationId xmlns:a16="http://schemas.microsoft.com/office/drawing/2014/main" id="{3E8444BC-9480-5B45-99D2-1299E2261C7A}"/>
              </a:ext>
            </a:extLst>
          </p:cNvPr>
          <p:cNvSpPr txBox="1"/>
          <p:nvPr/>
        </p:nvSpPr>
        <p:spPr>
          <a:xfrm>
            <a:off x="8038482" y="619154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28" name="Freeform 850">
            <a:extLst>
              <a:ext uri="{FF2B5EF4-FFF2-40B4-BE49-F238E27FC236}">
                <a16:creationId xmlns:a16="http://schemas.microsoft.com/office/drawing/2014/main" id="{F94F5E0F-815C-594C-9CA8-2A5DAB223ABF}"/>
              </a:ext>
            </a:extLst>
          </p:cNvPr>
          <p:cNvSpPr>
            <a:spLocks noChangeAspect="1" noEditPoints="1"/>
          </p:cNvSpPr>
          <p:nvPr/>
        </p:nvSpPr>
        <p:spPr bwMode="auto">
          <a:xfrm>
            <a:off x="7675354" y="4772701"/>
            <a:ext cx="235297" cy="234608"/>
          </a:xfrm>
          <a:custGeom>
            <a:avLst/>
            <a:gdLst>
              <a:gd name="T0" fmla="*/ 384 w 512"/>
              <a:gd name="T1" fmla="*/ 329 h 512"/>
              <a:gd name="T2" fmla="*/ 352 w 512"/>
              <a:gd name="T3" fmla="*/ 352 h 512"/>
              <a:gd name="T4" fmla="*/ 128 w 512"/>
              <a:gd name="T5" fmla="*/ 352 h 512"/>
              <a:gd name="T6" fmla="*/ 160 w 512"/>
              <a:gd name="T7" fmla="*/ 334 h 512"/>
              <a:gd name="T8" fmla="*/ 128 w 512"/>
              <a:gd name="T9" fmla="*/ 352 h 512"/>
              <a:gd name="T10" fmla="*/ 256 w 512"/>
              <a:gd name="T11" fmla="*/ 512 h 512"/>
              <a:gd name="T12" fmla="*/ 256 w 512"/>
              <a:gd name="T13" fmla="*/ 0 h 512"/>
              <a:gd name="T14" fmla="*/ 416 w 512"/>
              <a:gd name="T15" fmla="*/ 297 h 512"/>
              <a:gd name="T16" fmla="*/ 371 w 512"/>
              <a:gd name="T17" fmla="*/ 205 h 512"/>
              <a:gd name="T18" fmla="*/ 384 w 512"/>
              <a:gd name="T19" fmla="*/ 202 h 512"/>
              <a:gd name="T20" fmla="*/ 384 w 512"/>
              <a:gd name="T21" fmla="*/ 181 h 512"/>
              <a:gd name="T22" fmla="*/ 351 w 512"/>
              <a:gd name="T23" fmla="*/ 146 h 512"/>
              <a:gd name="T24" fmla="*/ 309 w 512"/>
              <a:gd name="T25" fmla="*/ 117 h 512"/>
              <a:gd name="T26" fmla="*/ 161 w 512"/>
              <a:gd name="T27" fmla="*/ 144 h 512"/>
              <a:gd name="T28" fmla="*/ 148 w 512"/>
              <a:gd name="T29" fmla="*/ 181 h 512"/>
              <a:gd name="T30" fmla="*/ 117 w 512"/>
              <a:gd name="T31" fmla="*/ 192 h 512"/>
              <a:gd name="T32" fmla="*/ 141 w 512"/>
              <a:gd name="T33" fmla="*/ 202 h 512"/>
              <a:gd name="T34" fmla="*/ 96 w 512"/>
              <a:gd name="T35" fmla="*/ 266 h 512"/>
              <a:gd name="T36" fmla="*/ 102 w 512"/>
              <a:gd name="T37" fmla="*/ 312 h 512"/>
              <a:gd name="T38" fmla="*/ 106 w 512"/>
              <a:gd name="T39" fmla="*/ 362 h 512"/>
              <a:gd name="T40" fmla="*/ 170 w 512"/>
              <a:gd name="T41" fmla="*/ 373 h 512"/>
              <a:gd name="T42" fmla="*/ 181 w 512"/>
              <a:gd name="T43" fmla="*/ 337 h 512"/>
              <a:gd name="T44" fmla="*/ 330 w 512"/>
              <a:gd name="T45" fmla="*/ 338 h 512"/>
              <a:gd name="T46" fmla="*/ 341 w 512"/>
              <a:gd name="T47" fmla="*/ 373 h 512"/>
              <a:gd name="T48" fmla="*/ 405 w 512"/>
              <a:gd name="T49" fmla="*/ 362 h 512"/>
              <a:gd name="T50" fmla="*/ 412 w 512"/>
              <a:gd name="T51" fmla="*/ 311 h 512"/>
              <a:gd name="T52" fmla="*/ 331 w 512"/>
              <a:gd name="T53" fmla="*/ 153 h 512"/>
              <a:gd name="T54" fmla="*/ 202 w 512"/>
              <a:gd name="T55" fmla="*/ 138 h 512"/>
              <a:gd name="T56" fmla="*/ 164 w 512"/>
              <a:gd name="T57" fmla="*/ 202 h 512"/>
              <a:gd name="T58" fmla="*/ 331 w 512"/>
              <a:gd name="T59" fmla="*/ 153 h 512"/>
              <a:gd name="T60" fmla="*/ 394 w 512"/>
              <a:gd name="T61" fmla="*/ 300 h 512"/>
              <a:gd name="T62" fmla="*/ 117 w 512"/>
              <a:gd name="T63" fmla="*/ 297 h 512"/>
              <a:gd name="T64" fmla="*/ 158 w 512"/>
              <a:gd name="T65" fmla="*/ 224 h 512"/>
              <a:gd name="T66" fmla="*/ 394 w 512"/>
              <a:gd name="T67" fmla="*/ 266 h 512"/>
              <a:gd name="T68" fmla="*/ 246 w 512"/>
              <a:gd name="T69" fmla="*/ 294 h 512"/>
              <a:gd name="T70" fmla="*/ 214 w 512"/>
              <a:gd name="T71" fmla="*/ 293 h 512"/>
              <a:gd name="T72" fmla="*/ 236 w 512"/>
              <a:gd name="T73" fmla="*/ 271 h 512"/>
              <a:gd name="T74" fmla="*/ 244 w 512"/>
              <a:gd name="T75" fmla="*/ 253 h 512"/>
              <a:gd name="T76" fmla="*/ 233 w 512"/>
              <a:gd name="T77" fmla="*/ 236 h 512"/>
              <a:gd name="T78" fmla="*/ 212 w 512"/>
              <a:gd name="T79" fmla="*/ 235 h 512"/>
              <a:gd name="T80" fmla="*/ 195 w 512"/>
              <a:gd name="T81" fmla="*/ 244 h 512"/>
              <a:gd name="T82" fmla="*/ 212 w 512"/>
              <a:gd name="T83" fmla="*/ 248 h 512"/>
              <a:gd name="T84" fmla="*/ 226 w 512"/>
              <a:gd name="T85" fmla="*/ 249 h 512"/>
              <a:gd name="T86" fmla="*/ 227 w 512"/>
              <a:gd name="T87" fmla="*/ 261 h 512"/>
              <a:gd name="T88" fmla="*/ 214 w 512"/>
              <a:gd name="T89" fmla="*/ 278 h 512"/>
              <a:gd name="T90" fmla="*/ 196 w 512"/>
              <a:gd name="T91" fmla="*/ 306 h 512"/>
              <a:gd name="T92" fmla="*/ 246 w 512"/>
              <a:gd name="T93" fmla="*/ 294 h 512"/>
              <a:gd name="T94" fmla="*/ 283 w 512"/>
              <a:gd name="T95" fmla="*/ 266 h 512"/>
              <a:gd name="T96" fmla="*/ 272 w 512"/>
              <a:gd name="T97" fmla="*/ 247 h 512"/>
              <a:gd name="T98" fmla="*/ 253 w 512"/>
              <a:gd name="T99" fmla="*/ 266 h 512"/>
              <a:gd name="T100" fmla="*/ 272 w 512"/>
              <a:gd name="T101" fmla="*/ 276 h 512"/>
              <a:gd name="T102" fmla="*/ 283 w 512"/>
              <a:gd name="T103" fmla="*/ 295 h 512"/>
              <a:gd name="T104" fmla="*/ 301 w 512"/>
              <a:gd name="T105" fmla="*/ 2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52" y="336"/>
                </a:moveTo>
                <a:cubicBezTo>
                  <a:pt x="364" y="334"/>
                  <a:pt x="375" y="332"/>
                  <a:pt x="384" y="329"/>
                </a:cubicBezTo>
                <a:cubicBezTo>
                  <a:pt x="384" y="352"/>
                  <a:pt x="384" y="352"/>
                  <a:pt x="384" y="352"/>
                </a:cubicBezTo>
                <a:cubicBezTo>
                  <a:pt x="352" y="352"/>
                  <a:pt x="352" y="352"/>
                  <a:pt x="352" y="352"/>
                </a:cubicBezTo>
                <a:lnTo>
                  <a:pt x="352" y="336"/>
                </a:lnTo>
                <a:close/>
                <a:moveTo>
                  <a:pt x="128" y="352"/>
                </a:moveTo>
                <a:cubicBezTo>
                  <a:pt x="160" y="352"/>
                  <a:pt x="160" y="352"/>
                  <a:pt x="160" y="352"/>
                </a:cubicBezTo>
                <a:cubicBezTo>
                  <a:pt x="160" y="334"/>
                  <a:pt x="160" y="334"/>
                  <a:pt x="160" y="334"/>
                </a:cubicBezTo>
                <a:cubicBezTo>
                  <a:pt x="147" y="332"/>
                  <a:pt x="137" y="330"/>
                  <a:pt x="128" y="327"/>
                </a:cubicBezTo>
                <a:lnTo>
                  <a:pt x="128"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7"/>
                </a:moveTo>
                <a:cubicBezTo>
                  <a:pt x="416" y="266"/>
                  <a:pt x="416" y="266"/>
                  <a:pt x="416" y="266"/>
                </a:cubicBez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5" y="315"/>
                  <a:pt x="106" y="316"/>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19"/>
                  <a:pt x="405" y="319"/>
                  <a:pt x="405" y="319"/>
                </a:cubicBezTo>
                <a:cubicBezTo>
                  <a:pt x="408" y="316"/>
                  <a:pt x="410" y="314"/>
                  <a:pt x="412" y="311"/>
                </a:cubicBezTo>
                <a:cubicBezTo>
                  <a:pt x="416" y="306"/>
                  <a:pt x="416" y="301"/>
                  <a:pt x="416" y="297"/>
                </a:cubicBez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246" y="294"/>
                </a:moveTo>
                <a:cubicBezTo>
                  <a:pt x="214" y="294"/>
                  <a:pt x="214" y="294"/>
                  <a:pt x="214" y="294"/>
                </a:cubicBezTo>
                <a:cubicBezTo>
                  <a:pt x="214" y="293"/>
                  <a:pt x="214" y="293"/>
                  <a:pt x="214" y="293"/>
                </a:cubicBezTo>
                <a:cubicBezTo>
                  <a:pt x="224" y="284"/>
                  <a:pt x="224" y="284"/>
                  <a:pt x="224" y="284"/>
                </a:cubicBezTo>
                <a:cubicBezTo>
                  <a:pt x="230" y="279"/>
                  <a:pt x="234" y="274"/>
                  <a:pt x="236" y="271"/>
                </a:cubicBezTo>
                <a:cubicBezTo>
                  <a:pt x="239" y="268"/>
                  <a:pt x="241" y="265"/>
                  <a:pt x="242" y="263"/>
                </a:cubicBezTo>
                <a:cubicBezTo>
                  <a:pt x="243" y="260"/>
                  <a:pt x="244" y="257"/>
                  <a:pt x="244" y="253"/>
                </a:cubicBezTo>
                <a:cubicBezTo>
                  <a:pt x="244" y="250"/>
                  <a:pt x="243" y="246"/>
                  <a:pt x="241" y="243"/>
                </a:cubicBezTo>
                <a:cubicBezTo>
                  <a:pt x="239" y="240"/>
                  <a:pt x="236" y="238"/>
                  <a:pt x="233" y="236"/>
                </a:cubicBezTo>
                <a:cubicBezTo>
                  <a:pt x="229" y="235"/>
                  <a:pt x="225" y="234"/>
                  <a:pt x="221" y="234"/>
                </a:cubicBezTo>
                <a:cubicBezTo>
                  <a:pt x="218" y="234"/>
                  <a:pt x="215" y="234"/>
                  <a:pt x="212" y="235"/>
                </a:cubicBezTo>
                <a:cubicBezTo>
                  <a:pt x="209" y="236"/>
                  <a:pt x="207" y="237"/>
                  <a:pt x="204" y="238"/>
                </a:cubicBezTo>
                <a:cubicBezTo>
                  <a:pt x="202" y="239"/>
                  <a:pt x="199" y="241"/>
                  <a:pt x="195" y="244"/>
                </a:cubicBezTo>
                <a:cubicBezTo>
                  <a:pt x="204" y="254"/>
                  <a:pt x="204" y="254"/>
                  <a:pt x="204" y="254"/>
                </a:cubicBezTo>
                <a:cubicBezTo>
                  <a:pt x="207" y="252"/>
                  <a:pt x="209" y="250"/>
                  <a:pt x="212" y="248"/>
                </a:cubicBezTo>
                <a:cubicBezTo>
                  <a:pt x="214" y="247"/>
                  <a:pt x="217" y="247"/>
                  <a:pt x="220" y="247"/>
                </a:cubicBezTo>
                <a:cubicBezTo>
                  <a:pt x="223" y="247"/>
                  <a:pt x="225" y="247"/>
                  <a:pt x="226" y="249"/>
                </a:cubicBezTo>
                <a:cubicBezTo>
                  <a:pt x="228" y="250"/>
                  <a:pt x="229" y="252"/>
                  <a:pt x="229" y="255"/>
                </a:cubicBezTo>
                <a:cubicBezTo>
                  <a:pt x="229" y="257"/>
                  <a:pt x="228" y="259"/>
                  <a:pt x="227" y="261"/>
                </a:cubicBezTo>
                <a:cubicBezTo>
                  <a:pt x="227" y="262"/>
                  <a:pt x="226" y="264"/>
                  <a:pt x="224" y="266"/>
                </a:cubicBezTo>
                <a:cubicBezTo>
                  <a:pt x="222" y="269"/>
                  <a:pt x="219" y="272"/>
                  <a:pt x="214" y="278"/>
                </a:cubicBezTo>
                <a:cubicBezTo>
                  <a:pt x="196" y="296"/>
                  <a:pt x="196" y="296"/>
                  <a:pt x="196" y="296"/>
                </a:cubicBezTo>
                <a:cubicBezTo>
                  <a:pt x="196" y="306"/>
                  <a:pt x="196" y="306"/>
                  <a:pt x="196" y="306"/>
                </a:cubicBezTo>
                <a:cubicBezTo>
                  <a:pt x="246" y="306"/>
                  <a:pt x="246" y="306"/>
                  <a:pt x="246" y="306"/>
                </a:cubicBezTo>
                <a:lnTo>
                  <a:pt x="246" y="294"/>
                </a:lnTo>
                <a:close/>
                <a:moveTo>
                  <a:pt x="301" y="266"/>
                </a:moveTo>
                <a:cubicBezTo>
                  <a:pt x="283" y="266"/>
                  <a:pt x="283" y="266"/>
                  <a:pt x="283" y="266"/>
                </a:cubicBezTo>
                <a:cubicBezTo>
                  <a:pt x="283" y="247"/>
                  <a:pt x="283" y="247"/>
                  <a:pt x="283" y="247"/>
                </a:cubicBezTo>
                <a:cubicBezTo>
                  <a:pt x="272" y="247"/>
                  <a:pt x="272" y="247"/>
                  <a:pt x="272" y="247"/>
                </a:cubicBezTo>
                <a:cubicBezTo>
                  <a:pt x="272" y="266"/>
                  <a:pt x="272" y="266"/>
                  <a:pt x="272" y="266"/>
                </a:cubicBezTo>
                <a:cubicBezTo>
                  <a:pt x="253" y="266"/>
                  <a:pt x="253" y="266"/>
                  <a:pt x="253" y="266"/>
                </a:cubicBezTo>
                <a:cubicBezTo>
                  <a:pt x="253" y="276"/>
                  <a:pt x="253" y="276"/>
                  <a:pt x="253" y="276"/>
                </a:cubicBezTo>
                <a:cubicBezTo>
                  <a:pt x="272" y="276"/>
                  <a:pt x="272" y="276"/>
                  <a:pt x="272" y="276"/>
                </a:cubicBezTo>
                <a:cubicBezTo>
                  <a:pt x="272" y="295"/>
                  <a:pt x="272" y="295"/>
                  <a:pt x="272" y="295"/>
                </a:cubicBezTo>
                <a:cubicBezTo>
                  <a:pt x="283" y="295"/>
                  <a:pt x="283" y="295"/>
                  <a:pt x="283" y="295"/>
                </a:cubicBezTo>
                <a:cubicBezTo>
                  <a:pt x="283" y="276"/>
                  <a:pt x="283" y="276"/>
                  <a:pt x="283" y="276"/>
                </a:cubicBezTo>
                <a:cubicBezTo>
                  <a:pt x="301" y="276"/>
                  <a:pt x="301" y="276"/>
                  <a:pt x="301" y="276"/>
                </a:cubicBezTo>
                <a:lnTo>
                  <a:pt x="301" y="266"/>
                </a:ln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29" name="Freeform 315">
            <a:extLst>
              <a:ext uri="{FF2B5EF4-FFF2-40B4-BE49-F238E27FC236}">
                <a16:creationId xmlns:a16="http://schemas.microsoft.com/office/drawing/2014/main" id="{E75AEDAE-B71A-884E-9415-D222630DA483}"/>
              </a:ext>
            </a:extLst>
          </p:cNvPr>
          <p:cNvSpPr>
            <a:spLocks noChangeAspect="1" noEditPoints="1"/>
          </p:cNvSpPr>
          <p:nvPr/>
        </p:nvSpPr>
        <p:spPr bwMode="auto">
          <a:xfrm>
            <a:off x="8537178" y="4771133"/>
            <a:ext cx="234608" cy="234608"/>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0" name="Freeform 956">
            <a:extLst>
              <a:ext uri="{FF2B5EF4-FFF2-40B4-BE49-F238E27FC236}">
                <a16:creationId xmlns:a16="http://schemas.microsoft.com/office/drawing/2014/main" id="{D44B6CF3-0AC6-CE4E-BF22-0154EE9E1215}"/>
              </a:ext>
            </a:extLst>
          </p:cNvPr>
          <p:cNvSpPr>
            <a:spLocks noChangeAspect="1" noEditPoints="1"/>
          </p:cNvSpPr>
          <p:nvPr/>
        </p:nvSpPr>
        <p:spPr bwMode="auto">
          <a:xfrm>
            <a:off x="8709600" y="5097866"/>
            <a:ext cx="233920" cy="234608"/>
          </a:xfrm>
          <a:custGeom>
            <a:avLst/>
            <a:gdLst>
              <a:gd name="T0" fmla="*/ 320 w 512"/>
              <a:gd name="T1" fmla="*/ 266 h 512"/>
              <a:gd name="T2" fmla="*/ 320 w 512"/>
              <a:gd name="T3" fmla="*/ 245 h 512"/>
              <a:gd name="T4" fmla="*/ 256 w 512"/>
              <a:gd name="T5" fmla="*/ 309 h 512"/>
              <a:gd name="T6" fmla="*/ 256 w 512"/>
              <a:gd name="T7" fmla="*/ 330 h 512"/>
              <a:gd name="T8" fmla="*/ 256 w 512"/>
              <a:gd name="T9" fmla="*/ 309 h 512"/>
              <a:gd name="T10" fmla="*/ 181 w 512"/>
              <a:gd name="T11" fmla="*/ 256 h 512"/>
              <a:gd name="T12" fmla="*/ 202 w 512"/>
              <a:gd name="T13" fmla="*/ 256 h 512"/>
              <a:gd name="T14" fmla="*/ 512 w 512"/>
              <a:gd name="T15" fmla="*/ 256 h 512"/>
              <a:gd name="T16" fmla="*/ 0 w 512"/>
              <a:gd name="T17" fmla="*/ 256 h 512"/>
              <a:gd name="T18" fmla="*/ 512 w 512"/>
              <a:gd name="T19" fmla="*/ 256 h 512"/>
              <a:gd name="T20" fmla="*/ 394 w 512"/>
              <a:gd name="T21" fmla="*/ 256 h 512"/>
              <a:gd name="T22" fmla="*/ 117 w 512"/>
              <a:gd name="T23" fmla="*/ 256 h 512"/>
              <a:gd name="T24" fmla="*/ 256 w 512"/>
              <a:gd name="T25" fmla="*/ 394 h 512"/>
              <a:gd name="T26" fmla="*/ 356 w 512"/>
              <a:gd name="T27" fmla="*/ 413 h 512"/>
              <a:gd name="T28" fmla="*/ 371 w 512"/>
              <a:gd name="T29" fmla="*/ 412 h 512"/>
              <a:gd name="T30" fmla="*/ 322 w 512"/>
              <a:gd name="T31" fmla="*/ 377 h 512"/>
              <a:gd name="T32" fmla="*/ 266 w 512"/>
              <a:gd name="T33" fmla="*/ 192 h 512"/>
              <a:gd name="T34" fmla="*/ 245 w 512"/>
              <a:gd name="T35" fmla="*/ 192 h 512"/>
              <a:gd name="T36" fmla="*/ 373 w 512"/>
              <a:gd name="T37" fmla="*/ 256 h 512"/>
              <a:gd name="T38" fmla="*/ 138 w 512"/>
              <a:gd name="T39" fmla="*/ 256 h 512"/>
              <a:gd name="T40" fmla="*/ 373 w 512"/>
              <a:gd name="T41" fmla="*/ 256 h 512"/>
              <a:gd name="T42" fmla="*/ 256 w 512"/>
              <a:gd name="T43" fmla="*/ 224 h 512"/>
              <a:gd name="T44" fmla="*/ 256 w 512"/>
              <a:gd name="T45" fmla="*/ 160 h 512"/>
              <a:gd name="T46" fmla="*/ 256 w 512"/>
              <a:gd name="T47" fmla="*/ 245 h 512"/>
              <a:gd name="T48" fmla="*/ 256 w 512"/>
              <a:gd name="T49" fmla="*/ 266 h 512"/>
              <a:gd name="T50" fmla="*/ 256 w 512"/>
              <a:gd name="T51" fmla="*/ 245 h 512"/>
              <a:gd name="T52" fmla="*/ 192 w 512"/>
              <a:gd name="T53" fmla="*/ 224 h 512"/>
              <a:gd name="T54" fmla="*/ 192 w 512"/>
              <a:gd name="T55" fmla="*/ 288 h 512"/>
              <a:gd name="T56" fmla="*/ 288 w 512"/>
              <a:gd name="T57" fmla="*/ 320 h 512"/>
              <a:gd name="T58" fmla="*/ 224 w 512"/>
              <a:gd name="T59" fmla="*/ 320 h 512"/>
              <a:gd name="T60" fmla="*/ 288 w 512"/>
              <a:gd name="T61" fmla="*/ 320 h 512"/>
              <a:gd name="T62" fmla="*/ 320 w 512"/>
              <a:gd name="T63" fmla="*/ 224 h 512"/>
              <a:gd name="T64" fmla="*/ 320 w 512"/>
              <a:gd name="T6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30" y="256"/>
                </a:moveTo>
                <a:cubicBezTo>
                  <a:pt x="330" y="262"/>
                  <a:pt x="326" y="266"/>
                  <a:pt x="320" y="266"/>
                </a:cubicBezTo>
                <a:cubicBezTo>
                  <a:pt x="314" y="266"/>
                  <a:pt x="309" y="262"/>
                  <a:pt x="309" y="256"/>
                </a:cubicBezTo>
                <a:cubicBezTo>
                  <a:pt x="309" y="250"/>
                  <a:pt x="314" y="245"/>
                  <a:pt x="320" y="245"/>
                </a:cubicBezTo>
                <a:cubicBezTo>
                  <a:pt x="326" y="245"/>
                  <a:pt x="330" y="250"/>
                  <a:pt x="330" y="256"/>
                </a:cubicBezTo>
                <a:close/>
                <a:moveTo>
                  <a:pt x="256" y="309"/>
                </a:moveTo>
                <a:cubicBezTo>
                  <a:pt x="250" y="309"/>
                  <a:pt x="245" y="314"/>
                  <a:pt x="245" y="320"/>
                </a:cubicBezTo>
                <a:cubicBezTo>
                  <a:pt x="245" y="326"/>
                  <a:pt x="250" y="330"/>
                  <a:pt x="256" y="330"/>
                </a:cubicBezTo>
                <a:cubicBezTo>
                  <a:pt x="262" y="330"/>
                  <a:pt x="266" y="326"/>
                  <a:pt x="266" y="320"/>
                </a:cubicBezTo>
                <a:cubicBezTo>
                  <a:pt x="266" y="314"/>
                  <a:pt x="262" y="309"/>
                  <a:pt x="256" y="309"/>
                </a:cubicBezTo>
                <a:close/>
                <a:moveTo>
                  <a:pt x="192" y="245"/>
                </a:moveTo>
                <a:cubicBezTo>
                  <a:pt x="186" y="245"/>
                  <a:pt x="181" y="250"/>
                  <a:pt x="181" y="256"/>
                </a:cubicBezTo>
                <a:cubicBezTo>
                  <a:pt x="181" y="262"/>
                  <a:pt x="186" y="266"/>
                  <a:pt x="192" y="266"/>
                </a:cubicBezTo>
                <a:cubicBezTo>
                  <a:pt x="198" y="266"/>
                  <a:pt x="202" y="262"/>
                  <a:pt x="202" y="256"/>
                </a:cubicBezTo>
                <a:cubicBezTo>
                  <a:pt x="202" y="250"/>
                  <a:pt x="198" y="245"/>
                  <a:pt x="192"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2" y="377"/>
                </a:moveTo>
                <a:cubicBezTo>
                  <a:pt x="365" y="354"/>
                  <a:pt x="394" y="308"/>
                  <a:pt x="394" y="256"/>
                </a:cubicBezTo>
                <a:cubicBezTo>
                  <a:pt x="394" y="179"/>
                  <a:pt x="332" y="117"/>
                  <a:pt x="256" y="117"/>
                </a:cubicBezTo>
                <a:cubicBezTo>
                  <a:pt x="179" y="117"/>
                  <a:pt x="117" y="179"/>
                  <a:pt x="117" y="256"/>
                </a:cubicBezTo>
                <a:cubicBezTo>
                  <a:pt x="117" y="332"/>
                  <a:pt x="179" y="394"/>
                  <a:pt x="256" y="394"/>
                </a:cubicBezTo>
                <a:cubicBezTo>
                  <a:pt x="256" y="394"/>
                  <a:pt x="256" y="394"/>
                  <a:pt x="256" y="394"/>
                </a:cubicBezTo>
                <a:cubicBezTo>
                  <a:pt x="256" y="394"/>
                  <a:pt x="256" y="394"/>
                  <a:pt x="256" y="394"/>
                </a:cubicBezTo>
                <a:cubicBezTo>
                  <a:pt x="276" y="394"/>
                  <a:pt x="332" y="394"/>
                  <a:pt x="356" y="413"/>
                </a:cubicBezTo>
                <a:cubicBezTo>
                  <a:pt x="358" y="415"/>
                  <a:pt x="360" y="416"/>
                  <a:pt x="362" y="416"/>
                </a:cubicBezTo>
                <a:cubicBezTo>
                  <a:pt x="365" y="416"/>
                  <a:pt x="369" y="414"/>
                  <a:pt x="371" y="412"/>
                </a:cubicBezTo>
                <a:cubicBezTo>
                  <a:pt x="374" y="407"/>
                  <a:pt x="374" y="400"/>
                  <a:pt x="369" y="397"/>
                </a:cubicBezTo>
                <a:cubicBezTo>
                  <a:pt x="357" y="387"/>
                  <a:pt x="339" y="381"/>
                  <a:pt x="322" y="377"/>
                </a:cubicBezTo>
                <a:close/>
                <a:moveTo>
                  <a:pt x="256" y="202"/>
                </a:moveTo>
                <a:cubicBezTo>
                  <a:pt x="262" y="202"/>
                  <a:pt x="266" y="198"/>
                  <a:pt x="266" y="192"/>
                </a:cubicBezTo>
                <a:cubicBezTo>
                  <a:pt x="266" y="186"/>
                  <a:pt x="262" y="181"/>
                  <a:pt x="256" y="181"/>
                </a:cubicBezTo>
                <a:cubicBezTo>
                  <a:pt x="250" y="181"/>
                  <a:pt x="245" y="186"/>
                  <a:pt x="245" y="192"/>
                </a:cubicBezTo>
                <a:cubicBezTo>
                  <a:pt x="245" y="198"/>
                  <a:pt x="250" y="202"/>
                  <a:pt x="256" y="202"/>
                </a:cubicBezTo>
                <a:close/>
                <a:moveTo>
                  <a:pt x="373" y="256"/>
                </a:moveTo>
                <a:cubicBezTo>
                  <a:pt x="373" y="320"/>
                  <a:pt x="320" y="373"/>
                  <a:pt x="256" y="373"/>
                </a:cubicBezTo>
                <a:cubicBezTo>
                  <a:pt x="191" y="373"/>
                  <a:pt x="138" y="320"/>
                  <a:pt x="138" y="256"/>
                </a:cubicBezTo>
                <a:cubicBezTo>
                  <a:pt x="138" y="191"/>
                  <a:pt x="191" y="138"/>
                  <a:pt x="256" y="138"/>
                </a:cubicBezTo>
                <a:cubicBezTo>
                  <a:pt x="320" y="138"/>
                  <a:pt x="373" y="191"/>
                  <a:pt x="373" y="256"/>
                </a:cubicBezTo>
                <a:close/>
                <a:moveTo>
                  <a:pt x="224" y="192"/>
                </a:moveTo>
                <a:cubicBezTo>
                  <a:pt x="224" y="209"/>
                  <a:pt x="238" y="224"/>
                  <a:pt x="256" y="224"/>
                </a:cubicBezTo>
                <a:cubicBezTo>
                  <a:pt x="273" y="224"/>
                  <a:pt x="288" y="209"/>
                  <a:pt x="288" y="192"/>
                </a:cubicBezTo>
                <a:cubicBezTo>
                  <a:pt x="288" y="174"/>
                  <a:pt x="273" y="160"/>
                  <a:pt x="256" y="160"/>
                </a:cubicBezTo>
                <a:cubicBezTo>
                  <a:pt x="238" y="160"/>
                  <a:pt x="224" y="174"/>
                  <a:pt x="224" y="192"/>
                </a:cubicBezTo>
                <a:close/>
                <a:moveTo>
                  <a:pt x="256" y="245"/>
                </a:moveTo>
                <a:cubicBezTo>
                  <a:pt x="250" y="245"/>
                  <a:pt x="245" y="250"/>
                  <a:pt x="245" y="256"/>
                </a:cubicBezTo>
                <a:cubicBezTo>
                  <a:pt x="245" y="262"/>
                  <a:pt x="250" y="266"/>
                  <a:pt x="256" y="266"/>
                </a:cubicBezTo>
                <a:cubicBezTo>
                  <a:pt x="262" y="266"/>
                  <a:pt x="266" y="262"/>
                  <a:pt x="266" y="256"/>
                </a:cubicBezTo>
                <a:cubicBezTo>
                  <a:pt x="266" y="250"/>
                  <a:pt x="262" y="245"/>
                  <a:pt x="256" y="245"/>
                </a:cubicBezTo>
                <a:close/>
                <a:moveTo>
                  <a:pt x="224" y="256"/>
                </a:moveTo>
                <a:cubicBezTo>
                  <a:pt x="224" y="238"/>
                  <a:pt x="209" y="224"/>
                  <a:pt x="192" y="224"/>
                </a:cubicBezTo>
                <a:cubicBezTo>
                  <a:pt x="174" y="224"/>
                  <a:pt x="160" y="238"/>
                  <a:pt x="160" y="256"/>
                </a:cubicBezTo>
                <a:cubicBezTo>
                  <a:pt x="160" y="273"/>
                  <a:pt x="174" y="288"/>
                  <a:pt x="192" y="288"/>
                </a:cubicBezTo>
                <a:cubicBezTo>
                  <a:pt x="209" y="288"/>
                  <a:pt x="224" y="273"/>
                  <a:pt x="224" y="256"/>
                </a:cubicBezTo>
                <a:close/>
                <a:moveTo>
                  <a:pt x="288" y="320"/>
                </a:moveTo>
                <a:cubicBezTo>
                  <a:pt x="288" y="302"/>
                  <a:pt x="273" y="288"/>
                  <a:pt x="256" y="288"/>
                </a:cubicBezTo>
                <a:cubicBezTo>
                  <a:pt x="238" y="288"/>
                  <a:pt x="224" y="302"/>
                  <a:pt x="224" y="320"/>
                </a:cubicBezTo>
                <a:cubicBezTo>
                  <a:pt x="224" y="337"/>
                  <a:pt x="238" y="352"/>
                  <a:pt x="256" y="352"/>
                </a:cubicBezTo>
                <a:cubicBezTo>
                  <a:pt x="273" y="352"/>
                  <a:pt x="288" y="337"/>
                  <a:pt x="288" y="320"/>
                </a:cubicBezTo>
                <a:close/>
                <a:moveTo>
                  <a:pt x="352" y="256"/>
                </a:moveTo>
                <a:cubicBezTo>
                  <a:pt x="352" y="238"/>
                  <a:pt x="337" y="224"/>
                  <a:pt x="320" y="224"/>
                </a:cubicBezTo>
                <a:cubicBezTo>
                  <a:pt x="302" y="224"/>
                  <a:pt x="288" y="238"/>
                  <a:pt x="288" y="256"/>
                </a:cubicBezTo>
                <a:cubicBezTo>
                  <a:pt x="288" y="273"/>
                  <a:pt x="302" y="288"/>
                  <a:pt x="320" y="288"/>
                </a:cubicBezTo>
                <a:cubicBezTo>
                  <a:pt x="337" y="288"/>
                  <a:pt x="352" y="273"/>
                  <a:pt x="352" y="256"/>
                </a:cubicBez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1" name="Freeform 444">
            <a:extLst>
              <a:ext uri="{FF2B5EF4-FFF2-40B4-BE49-F238E27FC236}">
                <a16:creationId xmlns:a16="http://schemas.microsoft.com/office/drawing/2014/main" id="{376B62F0-5EF9-CE4E-AA8A-A6378E4BC700}"/>
              </a:ext>
            </a:extLst>
          </p:cNvPr>
          <p:cNvSpPr>
            <a:spLocks noChangeAspect="1" noEditPoints="1"/>
          </p:cNvSpPr>
          <p:nvPr/>
        </p:nvSpPr>
        <p:spPr bwMode="auto">
          <a:xfrm>
            <a:off x="7670965" y="5551331"/>
            <a:ext cx="234608" cy="234608"/>
          </a:xfrm>
          <a:custGeom>
            <a:avLst/>
            <a:gdLst>
              <a:gd name="T0" fmla="*/ 281 w 512"/>
              <a:gd name="T1" fmla="*/ 209 h 512"/>
              <a:gd name="T2" fmla="*/ 266 w 512"/>
              <a:gd name="T3" fmla="*/ 256 h 512"/>
              <a:gd name="T4" fmla="*/ 271 w 512"/>
              <a:gd name="T5" fmla="*/ 282 h 512"/>
              <a:gd name="T6" fmla="*/ 271 w 512"/>
              <a:gd name="T7" fmla="*/ 283 h 512"/>
              <a:gd name="T8" fmla="*/ 274 w 512"/>
              <a:gd name="T9" fmla="*/ 291 h 512"/>
              <a:gd name="T10" fmla="*/ 281 w 512"/>
              <a:gd name="T11" fmla="*/ 304 h 512"/>
              <a:gd name="T12" fmla="*/ 290 w 512"/>
              <a:gd name="T13" fmla="*/ 320 h 512"/>
              <a:gd name="T14" fmla="*/ 222 w 512"/>
              <a:gd name="T15" fmla="*/ 320 h 512"/>
              <a:gd name="T16" fmla="*/ 230 w 512"/>
              <a:gd name="T17" fmla="*/ 304 h 512"/>
              <a:gd name="T18" fmla="*/ 237 w 512"/>
              <a:gd name="T19" fmla="*/ 291 h 512"/>
              <a:gd name="T20" fmla="*/ 240 w 512"/>
              <a:gd name="T21" fmla="*/ 283 h 512"/>
              <a:gd name="T22" fmla="*/ 241 w 512"/>
              <a:gd name="T23" fmla="*/ 282 h 512"/>
              <a:gd name="T24" fmla="*/ 245 w 512"/>
              <a:gd name="T25" fmla="*/ 256 h 512"/>
              <a:gd name="T26" fmla="*/ 231 w 512"/>
              <a:gd name="T27" fmla="*/ 209 h 512"/>
              <a:gd name="T28" fmla="*/ 202 w 512"/>
              <a:gd name="T29" fmla="*/ 149 h 512"/>
              <a:gd name="T30" fmla="*/ 202 w 512"/>
              <a:gd name="T31" fmla="*/ 117 h 512"/>
              <a:gd name="T32" fmla="*/ 309 w 512"/>
              <a:gd name="T33" fmla="*/ 117 h 512"/>
              <a:gd name="T34" fmla="*/ 309 w 512"/>
              <a:gd name="T35" fmla="*/ 149 h 512"/>
              <a:gd name="T36" fmla="*/ 281 w 512"/>
              <a:gd name="T37" fmla="*/ 209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88 w 512"/>
              <a:gd name="T49" fmla="*/ 256 h 512"/>
              <a:gd name="T50" fmla="*/ 299 w 512"/>
              <a:gd name="T51" fmla="*/ 220 h 512"/>
              <a:gd name="T52" fmla="*/ 330 w 512"/>
              <a:gd name="T53" fmla="*/ 149 h 512"/>
              <a:gd name="T54" fmla="*/ 330 w 512"/>
              <a:gd name="T55" fmla="*/ 117 h 512"/>
              <a:gd name="T56" fmla="*/ 341 w 512"/>
              <a:gd name="T57" fmla="*/ 106 h 512"/>
              <a:gd name="T58" fmla="*/ 330 w 512"/>
              <a:gd name="T59" fmla="*/ 96 h 512"/>
              <a:gd name="T60" fmla="*/ 181 w 512"/>
              <a:gd name="T61" fmla="*/ 96 h 512"/>
              <a:gd name="T62" fmla="*/ 170 w 512"/>
              <a:gd name="T63" fmla="*/ 106 h 512"/>
              <a:gd name="T64" fmla="*/ 181 w 512"/>
              <a:gd name="T65" fmla="*/ 117 h 512"/>
              <a:gd name="T66" fmla="*/ 181 w 512"/>
              <a:gd name="T67" fmla="*/ 149 h 512"/>
              <a:gd name="T68" fmla="*/ 213 w 512"/>
              <a:gd name="T69" fmla="*/ 220 h 512"/>
              <a:gd name="T70" fmla="*/ 224 w 512"/>
              <a:gd name="T71" fmla="*/ 256 h 512"/>
              <a:gd name="T72" fmla="*/ 212 w 512"/>
              <a:gd name="T73" fmla="*/ 293 h 512"/>
              <a:gd name="T74" fmla="*/ 181 w 512"/>
              <a:gd name="T75" fmla="*/ 362 h 512"/>
              <a:gd name="T76" fmla="*/ 181 w 512"/>
              <a:gd name="T77" fmla="*/ 394 h 512"/>
              <a:gd name="T78" fmla="*/ 170 w 512"/>
              <a:gd name="T79" fmla="*/ 405 h 512"/>
              <a:gd name="T80" fmla="*/ 181 w 512"/>
              <a:gd name="T81" fmla="*/ 416 h 512"/>
              <a:gd name="T82" fmla="*/ 330 w 512"/>
              <a:gd name="T83" fmla="*/ 416 h 512"/>
              <a:gd name="T84" fmla="*/ 341 w 512"/>
              <a:gd name="T85" fmla="*/ 405 h 512"/>
              <a:gd name="T86" fmla="*/ 330 w 512"/>
              <a:gd name="T87" fmla="*/ 394 h 512"/>
              <a:gd name="T88" fmla="*/ 330 w 512"/>
              <a:gd name="T89" fmla="*/ 362 h 512"/>
              <a:gd name="T90" fmla="*/ 299 w 512"/>
              <a:gd name="T91" fmla="*/ 293 h 512"/>
              <a:gd name="T92" fmla="*/ 288 w 512"/>
              <a:gd name="T93" fmla="*/ 256 h 512"/>
              <a:gd name="T94" fmla="*/ 202 w 512"/>
              <a:gd name="T95" fmla="*/ 363 h 512"/>
              <a:gd name="T96" fmla="*/ 202 w 512"/>
              <a:gd name="T97" fmla="*/ 394 h 512"/>
              <a:gd name="T98" fmla="*/ 309 w 512"/>
              <a:gd name="T99" fmla="*/ 394 h 512"/>
              <a:gd name="T100" fmla="*/ 309 w 512"/>
              <a:gd name="T101" fmla="*/ 363 h 512"/>
              <a:gd name="T102" fmla="*/ 300 w 512"/>
              <a:gd name="T103" fmla="*/ 341 h 512"/>
              <a:gd name="T104" fmla="*/ 211 w 512"/>
              <a:gd name="T105" fmla="*/ 341 h 512"/>
              <a:gd name="T106" fmla="*/ 202 w 512"/>
              <a:gd name="T107"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1" y="209"/>
                </a:moveTo>
                <a:cubicBezTo>
                  <a:pt x="271" y="222"/>
                  <a:pt x="266" y="238"/>
                  <a:pt x="266" y="256"/>
                </a:cubicBezTo>
                <a:cubicBezTo>
                  <a:pt x="266" y="265"/>
                  <a:pt x="268" y="273"/>
                  <a:pt x="271" y="282"/>
                </a:cubicBezTo>
                <a:cubicBezTo>
                  <a:pt x="271" y="282"/>
                  <a:pt x="271" y="283"/>
                  <a:pt x="271" y="283"/>
                </a:cubicBezTo>
                <a:cubicBezTo>
                  <a:pt x="272" y="286"/>
                  <a:pt x="273" y="289"/>
                  <a:pt x="274" y="291"/>
                </a:cubicBezTo>
                <a:cubicBezTo>
                  <a:pt x="276" y="296"/>
                  <a:pt x="278" y="300"/>
                  <a:pt x="281" y="304"/>
                </a:cubicBezTo>
                <a:cubicBezTo>
                  <a:pt x="284" y="309"/>
                  <a:pt x="287" y="314"/>
                  <a:pt x="290" y="320"/>
                </a:cubicBezTo>
                <a:cubicBezTo>
                  <a:pt x="222" y="320"/>
                  <a:pt x="222" y="320"/>
                  <a:pt x="222" y="320"/>
                </a:cubicBezTo>
                <a:cubicBezTo>
                  <a:pt x="225" y="314"/>
                  <a:pt x="227" y="309"/>
                  <a:pt x="230" y="304"/>
                </a:cubicBezTo>
                <a:cubicBezTo>
                  <a:pt x="233" y="300"/>
                  <a:pt x="235" y="296"/>
                  <a:pt x="237" y="291"/>
                </a:cubicBezTo>
                <a:cubicBezTo>
                  <a:pt x="238" y="289"/>
                  <a:pt x="239" y="286"/>
                  <a:pt x="240" y="283"/>
                </a:cubicBezTo>
                <a:cubicBezTo>
                  <a:pt x="240" y="283"/>
                  <a:pt x="241" y="282"/>
                  <a:pt x="241" y="282"/>
                </a:cubicBezTo>
                <a:cubicBezTo>
                  <a:pt x="244" y="273"/>
                  <a:pt x="245" y="265"/>
                  <a:pt x="245" y="256"/>
                </a:cubicBezTo>
                <a:cubicBezTo>
                  <a:pt x="245" y="238"/>
                  <a:pt x="240" y="222"/>
                  <a:pt x="231" y="209"/>
                </a:cubicBezTo>
                <a:cubicBezTo>
                  <a:pt x="218" y="185"/>
                  <a:pt x="203" y="155"/>
                  <a:pt x="202" y="149"/>
                </a:cubicBezTo>
                <a:cubicBezTo>
                  <a:pt x="202" y="117"/>
                  <a:pt x="202" y="117"/>
                  <a:pt x="202" y="117"/>
                </a:cubicBezTo>
                <a:cubicBezTo>
                  <a:pt x="309" y="117"/>
                  <a:pt x="309" y="117"/>
                  <a:pt x="309" y="117"/>
                </a:cubicBezTo>
                <a:cubicBezTo>
                  <a:pt x="309" y="149"/>
                  <a:pt x="309" y="149"/>
                  <a:pt x="309" y="149"/>
                </a:cubicBezTo>
                <a:cubicBezTo>
                  <a:pt x="309" y="155"/>
                  <a:pt x="294" y="185"/>
                  <a:pt x="281" y="2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256"/>
                </a:moveTo>
                <a:cubicBezTo>
                  <a:pt x="288" y="243"/>
                  <a:pt x="292" y="230"/>
                  <a:pt x="299" y="220"/>
                </a:cubicBezTo>
                <a:cubicBezTo>
                  <a:pt x="313" y="193"/>
                  <a:pt x="330" y="160"/>
                  <a:pt x="330" y="149"/>
                </a:cubicBezTo>
                <a:cubicBezTo>
                  <a:pt x="330" y="117"/>
                  <a:pt x="330" y="117"/>
                  <a:pt x="330" y="117"/>
                </a:cubicBezTo>
                <a:cubicBezTo>
                  <a:pt x="336" y="117"/>
                  <a:pt x="341" y="112"/>
                  <a:pt x="341" y="106"/>
                </a:cubicBezTo>
                <a:cubicBezTo>
                  <a:pt x="341" y="100"/>
                  <a:pt x="336" y="96"/>
                  <a:pt x="330" y="96"/>
                </a:cubicBezTo>
                <a:cubicBezTo>
                  <a:pt x="181" y="96"/>
                  <a:pt x="181" y="96"/>
                  <a:pt x="181" y="96"/>
                </a:cubicBezTo>
                <a:cubicBezTo>
                  <a:pt x="175" y="96"/>
                  <a:pt x="170" y="100"/>
                  <a:pt x="170" y="106"/>
                </a:cubicBezTo>
                <a:cubicBezTo>
                  <a:pt x="170" y="112"/>
                  <a:pt x="175" y="117"/>
                  <a:pt x="181" y="117"/>
                </a:cubicBezTo>
                <a:cubicBezTo>
                  <a:pt x="181" y="149"/>
                  <a:pt x="181" y="149"/>
                  <a:pt x="181" y="149"/>
                </a:cubicBezTo>
                <a:cubicBezTo>
                  <a:pt x="181" y="160"/>
                  <a:pt x="198" y="193"/>
                  <a:pt x="213" y="220"/>
                </a:cubicBezTo>
                <a:cubicBezTo>
                  <a:pt x="220" y="230"/>
                  <a:pt x="224" y="243"/>
                  <a:pt x="224" y="256"/>
                </a:cubicBezTo>
                <a:cubicBezTo>
                  <a:pt x="224" y="256"/>
                  <a:pt x="220" y="281"/>
                  <a:pt x="212" y="293"/>
                </a:cubicBezTo>
                <a:cubicBezTo>
                  <a:pt x="198" y="319"/>
                  <a:pt x="181" y="352"/>
                  <a:pt x="181" y="362"/>
                </a:cubicBezTo>
                <a:cubicBezTo>
                  <a:pt x="181" y="394"/>
                  <a:pt x="181" y="394"/>
                  <a:pt x="181" y="394"/>
                </a:cubicBezTo>
                <a:cubicBezTo>
                  <a:pt x="175" y="394"/>
                  <a:pt x="170" y="399"/>
                  <a:pt x="170" y="405"/>
                </a:cubicBezTo>
                <a:cubicBezTo>
                  <a:pt x="170" y="411"/>
                  <a:pt x="175" y="416"/>
                  <a:pt x="181" y="416"/>
                </a:cubicBezTo>
                <a:cubicBezTo>
                  <a:pt x="330" y="416"/>
                  <a:pt x="330" y="416"/>
                  <a:pt x="330" y="416"/>
                </a:cubicBezTo>
                <a:cubicBezTo>
                  <a:pt x="336" y="416"/>
                  <a:pt x="341" y="411"/>
                  <a:pt x="341" y="405"/>
                </a:cubicBezTo>
                <a:cubicBezTo>
                  <a:pt x="341" y="399"/>
                  <a:pt x="336" y="394"/>
                  <a:pt x="330" y="394"/>
                </a:cubicBezTo>
                <a:cubicBezTo>
                  <a:pt x="330" y="362"/>
                  <a:pt x="330" y="362"/>
                  <a:pt x="330" y="362"/>
                </a:cubicBezTo>
                <a:cubicBezTo>
                  <a:pt x="330" y="352"/>
                  <a:pt x="313" y="319"/>
                  <a:pt x="299" y="293"/>
                </a:cubicBezTo>
                <a:cubicBezTo>
                  <a:pt x="292" y="281"/>
                  <a:pt x="288" y="256"/>
                  <a:pt x="288" y="256"/>
                </a:cubicBezTo>
                <a:close/>
                <a:moveTo>
                  <a:pt x="202" y="363"/>
                </a:moveTo>
                <a:cubicBezTo>
                  <a:pt x="202" y="394"/>
                  <a:pt x="202" y="394"/>
                  <a:pt x="202" y="394"/>
                </a:cubicBezTo>
                <a:cubicBezTo>
                  <a:pt x="309" y="394"/>
                  <a:pt x="309" y="394"/>
                  <a:pt x="309" y="394"/>
                </a:cubicBezTo>
                <a:cubicBezTo>
                  <a:pt x="309" y="363"/>
                  <a:pt x="309" y="363"/>
                  <a:pt x="309" y="363"/>
                </a:cubicBezTo>
                <a:cubicBezTo>
                  <a:pt x="309" y="360"/>
                  <a:pt x="305" y="351"/>
                  <a:pt x="300" y="341"/>
                </a:cubicBezTo>
                <a:cubicBezTo>
                  <a:pt x="211" y="341"/>
                  <a:pt x="211" y="341"/>
                  <a:pt x="211" y="341"/>
                </a:cubicBezTo>
                <a:cubicBezTo>
                  <a:pt x="206" y="351"/>
                  <a:pt x="203" y="360"/>
                  <a:pt x="202" y="363"/>
                </a:cubicBez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2" name="Freeform 1000">
            <a:extLst>
              <a:ext uri="{FF2B5EF4-FFF2-40B4-BE49-F238E27FC236}">
                <a16:creationId xmlns:a16="http://schemas.microsoft.com/office/drawing/2014/main" id="{C1700E3C-3905-1D47-A284-A47E235ACBE3}"/>
              </a:ext>
            </a:extLst>
          </p:cNvPr>
          <p:cNvSpPr>
            <a:spLocks noChangeAspect="1" noEditPoints="1"/>
          </p:cNvSpPr>
          <p:nvPr/>
        </p:nvSpPr>
        <p:spPr bwMode="auto">
          <a:xfrm>
            <a:off x="8551989" y="5551331"/>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81 h 512"/>
              <a:gd name="T20" fmla="*/ 149 w 512"/>
              <a:gd name="T21" fmla="*/ 170 h 512"/>
              <a:gd name="T22" fmla="*/ 202 w 512"/>
              <a:gd name="T23" fmla="*/ 170 h 512"/>
              <a:gd name="T24" fmla="*/ 202 w 512"/>
              <a:gd name="T25" fmla="*/ 149 h 512"/>
              <a:gd name="T26" fmla="*/ 256 w 512"/>
              <a:gd name="T27" fmla="*/ 96 h 512"/>
              <a:gd name="T28" fmla="*/ 309 w 512"/>
              <a:gd name="T29" fmla="*/ 149 h 512"/>
              <a:gd name="T30" fmla="*/ 309 w 512"/>
              <a:gd name="T31" fmla="*/ 170 h 512"/>
              <a:gd name="T32" fmla="*/ 362 w 512"/>
              <a:gd name="T33" fmla="*/ 170 h 512"/>
              <a:gd name="T34" fmla="*/ 373 w 512"/>
              <a:gd name="T35" fmla="*/ 181 h 512"/>
              <a:gd name="T36" fmla="*/ 373 w 512"/>
              <a:gd name="T37" fmla="*/ 405 h 512"/>
              <a:gd name="T38" fmla="*/ 288 w 512"/>
              <a:gd name="T39" fmla="*/ 170 h 512"/>
              <a:gd name="T40" fmla="*/ 224 w 512"/>
              <a:gd name="T41" fmla="*/ 170 h 512"/>
              <a:gd name="T42" fmla="*/ 224 w 512"/>
              <a:gd name="T43" fmla="*/ 149 h 512"/>
              <a:gd name="T44" fmla="*/ 256 w 512"/>
              <a:gd name="T45" fmla="*/ 117 h 512"/>
              <a:gd name="T46" fmla="*/ 288 w 512"/>
              <a:gd name="T47" fmla="*/ 149 h 512"/>
              <a:gd name="T48" fmla="*/ 288 w 512"/>
              <a:gd name="T49" fmla="*/ 170 h 512"/>
              <a:gd name="T50" fmla="*/ 309 w 512"/>
              <a:gd name="T51" fmla="*/ 192 h 512"/>
              <a:gd name="T52" fmla="*/ 352 w 512"/>
              <a:gd name="T53" fmla="*/ 192 h 512"/>
              <a:gd name="T54" fmla="*/ 352 w 512"/>
              <a:gd name="T55" fmla="*/ 394 h 512"/>
              <a:gd name="T56" fmla="*/ 160 w 512"/>
              <a:gd name="T57" fmla="*/ 394 h 512"/>
              <a:gd name="T58" fmla="*/ 160 w 512"/>
              <a:gd name="T59" fmla="*/ 192 h 512"/>
              <a:gd name="T60" fmla="*/ 202 w 512"/>
              <a:gd name="T61" fmla="*/ 192 h 512"/>
              <a:gd name="T62" fmla="*/ 202 w 512"/>
              <a:gd name="T63" fmla="*/ 213 h 512"/>
              <a:gd name="T64" fmla="*/ 213 w 512"/>
              <a:gd name="T65" fmla="*/ 224 h 512"/>
              <a:gd name="T66" fmla="*/ 224 w 512"/>
              <a:gd name="T67" fmla="*/ 213 h 512"/>
              <a:gd name="T68" fmla="*/ 224 w 512"/>
              <a:gd name="T69" fmla="*/ 192 h 512"/>
              <a:gd name="T70" fmla="*/ 288 w 512"/>
              <a:gd name="T71" fmla="*/ 192 h 512"/>
              <a:gd name="T72" fmla="*/ 288 w 512"/>
              <a:gd name="T73" fmla="*/ 213 h 512"/>
              <a:gd name="T74" fmla="*/ 298 w 512"/>
              <a:gd name="T75" fmla="*/ 224 h 512"/>
              <a:gd name="T76" fmla="*/ 309 w 512"/>
              <a:gd name="T77" fmla="*/ 213 h 512"/>
              <a:gd name="T78" fmla="*/ 309 w 512"/>
              <a:gd name="T7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81"/>
                  <a:pt x="138" y="181"/>
                  <a:pt x="138" y="181"/>
                </a:cubicBezTo>
                <a:cubicBezTo>
                  <a:pt x="138" y="175"/>
                  <a:pt x="143" y="170"/>
                  <a:pt x="149" y="170"/>
                </a:cubicBezTo>
                <a:cubicBezTo>
                  <a:pt x="202" y="170"/>
                  <a:pt x="202" y="170"/>
                  <a:pt x="202" y="170"/>
                </a:cubicBezTo>
                <a:cubicBezTo>
                  <a:pt x="202" y="149"/>
                  <a:pt x="202" y="149"/>
                  <a:pt x="202" y="149"/>
                </a:cubicBezTo>
                <a:cubicBezTo>
                  <a:pt x="202" y="120"/>
                  <a:pt x="226" y="96"/>
                  <a:pt x="256" y="96"/>
                </a:cubicBezTo>
                <a:cubicBezTo>
                  <a:pt x="285" y="96"/>
                  <a:pt x="309" y="120"/>
                  <a:pt x="309" y="149"/>
                </a:cubicBezTo>
                <a:cubicBezTo>
                  <a:pt x="309" y="170"/>
                  <a:pt x="309" y="170"/>
                  <a:pt x="309" y="170"/>
                </a:cubicBezTo>
                <a:cubicBezTo>
                  <a:pt x="362" y="170"/>
                  <a:pt x="362" y="170"/>
                  <a:pt x="362" y="170"/>
                </a:cubicBezTo>
                <a:cubicBezTo>
                  <a:pt x="368" y="170"/>
                  <a:pt x="373" y="175"/>
                  <a:pt x="373" y="181"/>
                </a:cubicBezTo>
                <a:lnTo>
                  <a:pt x="373" y="405"/>
                </a:lnTo>
                <a:close/>
                <a:moveTo>
                  <a:pt x="288" y="170"/>
                </a:moveTo>
                <a:cubicBezTo>
                  <a:pt x="224" y="170"/>
                  <a:pt x="224" y="170"/>
                  <a:pt x="224" y="170"/>
                </a:cubicBezTo>
                <a:cubicBezTo>
                  <a:pt x="224" y="149"/>
                  <a:pt x="224" y="149"/>
                  <a:pt x="224" y="149"/>
                </a:cubicBezTo>
                <a:cubicBezTo>
                  <a:pt x="224" y="131"/>
                  <a:pt x="238" y="117"/>
                  <a:pt x="256" y="117"/>
                </a:cubicBezTo>
                <a:cubicBezTo>
                  <a:pt x="273" y="117"/>
                  <a:pt x="288" y="131"/>
                  <a:pt x="288" y="149"/>
                </a:cubicBezTo>
                <a:lnTo>
                  <a:pt x="288" y="170"/>
                </a:lnTo>
                <a:close/>
                <a:moveTo>
                  <a:pt x="309" y="192"/>
                </a:moveTo>
                <a:cubicBezTo>
                  <a:pt x="352" y="192"/>
                  <a:pt x="352" y="192"/>
                  <a:pt x="352" y="192"/>
                </a:cubicBezTo>
                <a:cubicBezTo>
                  <a:pt x="352" y="394"/>
                  <a:pt x="352" y="394"/>
                  <a:pt x="352" y="394"/>
                </a:cubicBez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lnTo>
                  <a:pt x="309" y="192"/>
                </a:ln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3" name="Freeform 23">
            <a:extLst>
              <a:ext uri="{FF2B5EF4-FFF2-40B4-BE49-F238E27FC236}">
                <a16:creationId xmlns:a16="http://schemas.microsoft.com/office/drawing/2014/main" id="{55FE9903-22CD-8743-B4EE-71A05C14191B}"/>
              </a:ext>
            </a:extLst>
          </p:cNvPr>
          <p:cNvSpPr>
            <a:spLocks noChangeAspect="1" noEditPoints="1"/>
          </p:cNvSpPr>
          <p:nvPr/>
        </p:nvSpPr>
        <p:spPr bwMode="auto">
          <a:xfrm>
            <a:off x="7513345" y="5097866"/>
            <a:ext cx="235297" cy="234608"/>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4" name="Freeform 78">
            <a:extLst>
              <a:ext uri="{FF2B5EF4-FFF2-40B4-BE49-F238E27FC236}">
                <a16:creationId xmlns:a16="http://schemas.microsoft.com/office/drawing/2014/main" id="{6AB02607-A468-6241-877E-B23C8932B2AC}"/>
              </a:ext>
            </a:extLst>
          </p:cNvPr>
          <p:cNvSpPr>
            <a:spLocks noChangeAspect="1" noEditPoints="1"/>
          </p:cNvSpPr>
          <p:nvPr/>
        </p:nvSpPr>
        <p:spPr bwMode="auto">
          <a:xfrm>
            <a:off x="8117614" y="5934528"/>
            <a:ext cx="234608" cy="234608"/>
          </a:xfrm>
          <a:custGeom>
            <a:avLst/>
            <a:gdLst>
              <a:gd name="T0" fmla="*/ 245 w 512"/>
              <a:gd name="T1" fmla="*/ 245 h 512"/>
              <a:gd name="T2" fmla="*/ 160 w 512"/>
              <a:gd name="T3" fmla="*/ 298 h 512"/>
              <a:gd name="T4" fmla="*/ 306 w 512"/>
              <a:gd name="T5" fmla="*/ 152 h 512"/>
              <a:gd name="T6" fmla="*/ 288 w 512"/>
              <a:gd name="T7" fmla="*/ 145 h 512"/>
              <a:gd name="T8" fmla="*/ 303 w 512"/>
              <a:gd name="T9" fmla="*/ 160 h 512"/>
              <a:gd name="T10" fmla="*/ 138 w 512"/>
              <a:gd name="T11" fmla="*/ 224 h 512"/>
              <a:gd name="T12" fmla="*/ 245 w 512"/>
              <a:gd name="T13" fmla="*/ 224 h 512"/>
              <a:gd name="T14" fmla="*/ 138 w 512"/>
              <a:gd name="T15" fmla="*/ 202 h 512"/>
              <a:gd name="T16" fmla="*/ 160 w 512"/>
              <a:gd name="T17" fmla="*/ 373 h 512"/>
              <a:gd name="T18" fmla="*/ 245 w 512"/>
              <a:gd name="T19" fmla="*/ 320 h 512"/>
              <a:gd name="T20" fmla="*/ 160 w 512"/>
              <a:gd name="T21" fmla="*/ 373 h 512"/>
              <a:gd name="T22" fmla="*/ 225 w 512"/>
              <a:gd name="T23" fmla="*/ 145 h 512"/>
              <a:gd name="T24" fmla="*/ 210 w 512"/>
              <a:gd name="T25" fmla="*/ 145 h 512"/>
              <a:gd name="T26" fmla="*/ 238 w 512"/>
              <a:gd name="T27" fmla="*/ 173 h 512"/>
              <a:gd name="T28" fmla="*/ 352 w 512"/>
              <a:gd name="T29" fmla="*/ 298 h 512"/>
              <a:gd name="T30" fmla="*/ 266 w 512"/>
              <a:gd name="T31" fmla="*/ 245 h 512"/>
              <a:gd name="T32" fmla="*/ 512 w 512"/>
              <a:gd name="T33" fmla="*/ 256 h 512"/>
              <a:gd name="T34" fmla="*/ 0 w 512"/>
              <a:gd name="T35" fmla="*/ 256 h 512"/>
              <a:gd name="T36" fmla="*/ 512 w 512"/>
              <a:gd name="T37" fmla="*/ 256 h 512"/>
              <a:gd name="T38" fmla="*/ 384 w 512"/>
              <a:gd name="T39" fmla="*/ 181 h 512"/>
              <a:gd name="T40" fmla="*/ 318 w 512"/>
              <a:gd name="T41" fmla="*/ 175 h 512"/>
              <a:gd name="T42" fmla="*/ 273 w 512"/>
              <a:gd name="T43" fmla="*/ 129 h 512"/>
              <a:gd name="T44" fmla="*/ 256 w 512"/>
              <a:gd name="T45" fmla="*/ 157 h 512"/>
              <a:gd name="T46" fmla="*/ 195 w 512"/>
              <a:gd name="T47" fmla="*/ 129 h 512"/>
              <a:gd name="T48" fmla="*/ 203 w 512"/>
              <a:gd name="T49" fmla="*/ 181 h 512"/>
              <a:gd name="T50" fmla="*/ 117 w 512"/>
              <a:gd name="T51" fmla="*/ 192 h 512"/>
              <a:gd name="T52" fmla="*/ 128 w 512"/>
              <a:gd name="T53" fmla="*/ 245 h 512"/>
              <a:gd name="T54" fmla="*/ 138 w 512"/>
              <a:gd name="T55" fmla="*/ 384 h 512"/>
              <a:gd name="T56" fmla="*/ 362 w 512"/>
              <a:gd name="T57" fmla="*/ 394 h 512"/>
              <a:gd name="T58" fmla="*/ 373 w 512"/>
              <a:gd name="T59" fmla="*/ 245 h 512"/>
              <a:gd name="T60" fmla="*/ 394 w 512"/>
              <a:gd name="T61" fmla="*/ 234 h 512"/>
              <a:gd name="T62" fmla="*/ 266 w 512"/>
              <a:gd name="T63" fmla="*/ 373 h 512"/>
              <a:gd name="T64" fmla="*/ 352 w 512"/>
              <a:gd name="T65" fmla="*/ 320 h 512"/>
              <a:gd name="T66" fmla="*/ 266 w 512"/>
              <a:gd name="T67" fmla="*/ 373 h 512"/>
              <a:gd name="T68" fmla="*/ 362 w 512"/>
              <a:gd name="T69" fmla="*/ 224 h 512"/>
              <a:gd name="T70" fmla="*/ 373 w 512"/>
              <a:gd name="T71" fmla="*/ 202 h 512"/>
              <a:gd name="T72" fmla="*/ 266 w 512"/>
              <a:gd name="T7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60" y="245"/>
                </a:moveTo>
                <a:cubicBezTo>
                  <a:pt x="245" y="245"/>
                  <a:pt x="245" y="245"/>
                  <a:pt x="245" y="245"/>
                </a:cubicBezTo>
                <a:cubicBezTo>
                  <a:pt x="245" y="298"/>
                  <a:pt x="245" y="298"/>
                  <a:pt x="245" y="298"/>
                </a:cubicBezTo>
                <a:cubicBezTo>
                  <a:pt x="160" y="298"/>
                  <a:pt x="160" y="298"/>
                  <a:pt x="160" y="298"/>
                </a:cubicBezTo>
                <a:lnTo>
                  <a:pt x="160" y="245"/>
                </a:lnTo>
                <a:close/>
                <a:moveTo>
                  <a:pt x="306" y="152"/>
                </a:moveTo>
                <a:cubicBezTo>
                  <a:pt x="306" y="149"/>
                  <a:pt x="305" y="147"/>
                  <a:pt x="303" y="145"/>
                </a:cubicBezTo>
                <a:cubicBezTo>
                  <a:pt x="299" y="140"/>
                  <a:pt x="292" y="140"/>
                  <a:pt x="288" y="145"/>
                </a:cubicBezTo>
                <a:cubicBezTo>
                  <a:pt x="282" y="151"/>
                  <a:pt x="274" y="167"/>
                  <a:pt x="274" y="173"/>
                </a:cubicBezTo>
                <a:cubicBezTo>
                  <a:pt x="281" y="173"/>
                  <a:pt x="297" y="166"/>
                  <a:pt x="303" y="160"/>
                </a:cubicBezTo>
                <a:cubicBezTo>
                  <a:pt x="305" y="158"/>
                  <a:pt x="306" y="155"/>
                  <a:pt x="306" y="152"/>
                </a:cubicBezTo>
                <a:close/>
                <a:moveTo>
                  <a:pt x="138" y="224"/>
                </a:moveTo>
                <a:cubicBezTo>
                  <a:pt x="149" y="224"/>
                  <a:pt x="149" y="224"/>
                  <a:pt x="149" y="224"/>
                </a:cubicBezTo>
                <a:cubicBezTo>
                  <a:pt x="245" y="224"/>
                  <a:pt x="245" y="224"/>
                  <a:pt x="245" y="224"/>
                </a:cubicBezTo>
                <a:cubicBezTo>
                  <a:pt x="245" y="202"/>
                  <a:pt x="245" y="202"/>
                  <a:pt x="245" y="202"/>
                </a:cubicBezTo>
                <a:cubicBezTo>
                  <a:pt x="138" y="202"/>
                  <a:pt x="138" y="202"/>
                  <a:pt x="138" y="202"/>
                </a:cubicBezTo>
                <a:lnTo>
                  <a:pt x="138" y="224"/>
                </a:lnTo>
                <a:close/>
                <a:moveTo>
                  <a:pt x="160" y="373"/>
                </a:moveTo>
                <a:cubicBezTo>
                  <a:pt x="245" y="373"/>
                  <a:pt x="245" y="373"/>
                  <a:pt x="245" y="373"/>
                </a:cubicBezTo>
                <a:cubicBezTo>
                  <a:pt x="245" y="320"/>
                  <a:pt x="245" y="320"/>
                  <a:pt x="245" y="320"/>
                </a:cubicBezTo>
                <a:cubicBezTo>
                  <a:pt x="160" y="320"/>
                  <a:pt x="160" y="320"/>
                  <a:pt x="160" y="320"/>
                </a:cubicBezTo>
                <a:lnTo>
                  <a:pt x="160" y="373"/>
                </a:lnTo>
                <a:close/>
                <a:moveTo>
                  <a:pt x="238" y="173"/>
                </a:moveTo>
                <a:cubicBezTo>
                  <a:pt x="238" y="167"/>
                  <a:pt x="231" y="151"/>
                  <a:pt x="225" y="145"/>
                </a:cubicBezTo>
                <a:cubicBezTo>
                  <a:pt x="223" y="142"/>
                  <a:pt x="220" y="141"/>
                  <a:pt x="217" y="141"/>
                </a:cubicBezTo>
                <a:cubicBezTo>
                  <a:pt x="215" y="141"/>
                  <a:pt x="212" y="142"/>
                  <a:pt x="210" y="145"/>
                </a:cubicBezTo>
                <a:cubicBezTo>
                  <a:pt x="206" y="149"/>
                  <a:pt x="206" y="156"/>
                  <a:pt x="210" y="160"/>
                </a:cubicBezTo>
                <a:cubicBezTo>
                  <a:pt x="216" y="166"/>
                  <a:pt x="232" y="173"/>
                  <a:pt x="238" y="173"/>
                </a:cubicBezTo>
                <a:close/>
                <a:moveTo>
                  <a:pt x="266" y="298"/>
                </a:moveTo>
                <a:cubicBezTo>
                  <a:pt x="352" y="298"/>
                  <a:pt x="352" y="298"/>
                  <a:pt x="352" y="298"/>
                </a:cubicBezTo>
                <a:cubicBezTo>
                  <a:pt x="352" y="245"/>
                  <a:pt x="352" y="245"/>
                  <a:pt x="352" y="245"/>
                </a:cubicBezTo>
                <a:cubicBezTo>
                  <a:pt x="266" y="245"/>
                  <a:pt x="266" y="245"/>
                  <a:pt x="266" y="245"/>
                </a:cubicBezTo>
                <a:lnTo>
                  <a:pt x="266" y="29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2"/>
                </a:moveTo>
                <a:cubicBezTo>
                  <a:pt x="394" y="186"/>
                  <a:pt x="390" y="181"/>
                  <a:pt x="384" y="181"/>
                </a:cubicBezTo>
                <a:cubicBezTo>
                  <a:pt x="310" y="181"/>
                  <a:pt x="310" y="181"/>
                  <a:pt x="310" y="181"/>
                </a:cubicBezTo>
                <a:cubicBezTo>
                  <a:pt x="313" y="179"/>
                  <a:pt x="316" y="176"/>
                  <a:pt x="318" y="175"/>
                </a:cubicBezTo>
                <a:cubicBezTo>
                  <a:pt x="330" y="162"/>
                  <a:pt x="330" y="142"/>
                  <a:pt x="318" y="129"/>
                </a:cubicBezTo>
                <a:cubicBezTo>
                  <a:pt x="305" y="117"/>
                  <a:pt x="285" y="117"/>
                  <a:pt x="273" y="129"/>
                </a:cubicBezTo>
                <a:cubicBezTo>
                  <a:pt x="267" y="135"/>
                  <a:pt x="261" y="145"/>
                  <a:pt x="257" y="155"/>
                </a:cubicBezTo>
                <a:cubicBezTo>
                  <a:pt x="257" y="156"/>
                  <a:pt x="257" y="156"/>
                  <a:pt x="256" y="157"/>
                </a:cubicBezTo>
                <a:cubicBezTo>
                  <a:pt x="252" y="145"/>
                  <a:pt x="245" y="134"/>
                  <a:pt x="240" y="129"/>
                </a:cubicBezTo>
                <a:cubicBezTo>
                  <a:pt x="228" y="117"/>
                  <a:pt x="207" y="117"/>
                  <a:pt x="195" y="129"/>
                </a:cubicBezTo>
                <a:cubicBezTo>
                  <a:pt x="182" y="142"/>
                  <a:pt x="182" y="162"/>
                  <a:pt x="195" y="175"/>
                </a:cubicBezTo>
                <a:cubicBezTo>
                  <a:pt x="197" y="177"/>
                  <a:pt x="200" y="179"/>
                  <a:pt x="203" y="181"/>
                </a:cubicBezTo>
                <a:cubicBezTo>
                  <a:pt x="128" y="181"/>
                  <a:pt x="128" y="181"/>
                  <a:pt x="128" y="181"/>
                </a:cubicBezTo>
                <a:cubicBezTo>
                  <a:pt x="122" y="181"/>
                  <a:pt x="117" y="186"/>
                  <a:pt x="117" y="192"/>
                </a:cubicBezTo>
                <a:cubicBezTo>
                  <a:pt x="117" y="234"/>
                  <a:pt x="117" y="234"/>
                  <a:pt x="117" y="234"/>
                </a:cubicBezTo>
                <a:cubicBezTo>
                  <a:pt x="117" y="240"/>
                  <a:pt x="122" y="245"/>
                  <a:pt x="128" y="245"/>
                </a:cubicBezTo>
                <a:cubicBezTo>
                  <a:pt x="138" y="245"/>
                  <a:pt x="138" y="245"/>
                  <a:pt x="138" y="245"/>
                </a:cubicBezTo>
                <a:cubicBezTo>
                  <a:pt x="138" y="384"/>
                  <a:pt x="138" y="384"/>
                  <a:pt x="138" y="384"/>
                </a:cubicBezTo>
                <a:cubicBezTo>
                  <a:pt x="138" y="390"/>
                  <a:pt x="143" y="394"/>
                  <a:pt x="149" y="394"/>
                </a:cubicBezTo>
                <a:cubicBezTo>
                  <a:pt x="362" y="394"/>
                  <a:pt x="362" y="394"/>
                  <a:pt x="362" y="394"/>
                </a:cubicBezTo>
                <a:cubicBezTo>
                  <a:pt x="368" y="394"/>
                  <a:pt x="373" y="390"/>
                  <a:pt x="373" y="384"/>
                </a:cubicBezTo>
                <a:cubicBezTo>
                  <a:pt x="373" y="245"/>
                  <a:pt x="373" y="245"/>
                  <a:pt x="373" y="245"/>
                </a:cubicBezTo>
                <a:cubicBezTo>
                  <a:pt x="384" y="245"/>
                  <a:pt x="384" y="245"/>
                  <a:pt x="384" y="245"/>
                </a:cubicBezTo>
                <a:cubicBezTo>
                  <a:pt x="390" y="245"/>
                  <a:pt x="394" y="240"/>
                  <a:pt x="394" y="234"/>
                </a:cubicBezTo>
                <a:lnTo>
                  <a:pt x="394" y="192"/>
                </a:lnTo>
                <a:close/>
                <a:moveTo>
                  <a:pt x="266" y="373"/>
                </a:moveTo>
                <a:cubicBezTo>
                  <a:pt x="352" y="373"/>
                  <a:pt x="352" y="373"/>
                  <a:pt x="352" y="373"/>
                </a:cubicBezTo>
                <a:cubicBezTo>
                  <a:pt x="352" y="320"/>
                  <a:pt x="352" y="320"/>
                  <a:pt x="352" y="320"/>
                </a:cubicBezTo>
                <a:cubicBezTo>
                  <a:pt x="266" y="320"/>
                  <a:pt x="266" y="320"/>
                  <a:pt x="266" y="320"/>
                </a:cubicBezTo>
                <a:lnTo>
                  <a:pt x="266" y="373"/>
                </a:lnTo>
                <a:close/>
                <a:moveTo>
                  <a:pt x="266" y="224"/>
                </a:moveTo>
                <a:cubicBezTo>
                  <a:pt x="362" y="224"/>
                  <a:pt x="362" y="224"/>
                  <a:pt x="362" y="224"/>
                </a:cubicBezTo>
                <a:cubicBezTo>
                  <a:pt x="373" y="224"/>
                  <a:pt x="373" y="224"/>
                  <a:pt x="373" y="224"/>
                </a:cubicBezTo>
                <a:cubicBezTo>
                  <a:pt x="373" y="202"/>
                  <a:pt x="373" y="202"/>
                  <a:pt x="373" y="202"/>
                </a:cubicBezTo>
                <a:cubicBezTo>
                  <a:pt x="266" y="202"/>
                  <a:pt x="266" y="202"/>
                  <a:pt x="266" y="202"/>
                </a:cubicBezTo>
                <a:lnTo>
                  <a:pt x="266" y="224"/>
                </a:ln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5" name="TextBox 134">
            <a:extLst>
              <a:ext uri="{FF2B5EF4-FFF2-40B4-BE49-F238E27FC236}">
                <a16:creationId xmlns:a16="http://schemas.microsoft.com/office/drawing/2014/main" id="{141A27AC-08C3-214C-89AF-92EBD36F441A}"/>
              </a:ext>
            </a:extLst>
          </p:cNvPr>
          <p:cNvSpPr txBox="1"/>
          <p:nvPr/>
        </p:nvSpPr>
        <p:spPr>
          <a:xfrm>
            <a:off x="7147409" y="5629153"/>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36" name="TextBox 135">
            <a:extLst>
              <a:ext uri="{FF2B5EF4-FFF2-40B4-BE49-F238E27FC236}">
                <a16:creationId xmlns:a16="http://schemas.microsoft.com/office/drawing/2014/main" id="{89C0D349-26F4-FE40-916C-628FD9AD352B}"/>
              </a:ext>
            </a:extLst>
          </p:cNvPr>
          <p:cNvSpPr txBox="1"/>
          <p:nvPr/>
        </p:nvSpPr>
        <p:spPr>
          <a:xfrm>
            <a:off x="7064373" y="5184394"/>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37" name="TextBox 136">
            <a:extLst>
              <a:ext uri="{FF2B5EF4-FFF2-40B4-BE49-F238E27FC236}">
                <a16:creationId xmlns:a16="http://schemas.microsoft.com/office/drawing/2014/main" id="{557EBFA8-46F5-1D41-917F-45691331D178}"/>
              </a:ext>
            </a:extLst>
          </p:cNvPr>
          <p:cNvSpPr txBox="1"/>
          <p:nvPr/>
        </p:nvSpPr>
        <p:spPr>
          <a:xfrm>
            <a:off x="8825319" y="5629153"/>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sp>
        <p:nvSpPr>
          <p:cNvPr id="138" name="TextBox 137">
            <a:extLst>
              <a:ext uri="{FF2B5EF4-FFF2-40B4-BE49-F238E27FC236}">
                <a16:creationId xmlns:a16="http://schemas.microsoft.com/office/drawing/2014/main" id="{F126C142-2344-9144-8E22-CA39B360689F}"/>
              </a:ext>
            </a:extLst>
          </p:cNvPr>
          <p:cNvSpPr txBox="1"/>
          <p:nvPr/>
        </p:nvSpPr>
        <p:spPr>
          <a:xfrm>
            <a:off x="8984168" y="5184394"/>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sp>
        <p:nvSpPr>
          <p:cNvPr id="139" name="TextBox 138">
            <a:extLst>
              <a:ext uri="{FF2B5EF4-FFF2-40B4-BE49-F238E27FC236}">
                <a16:creationId xmlns:a16="http://schemas.microsoft.com/office/drawing/2014/main" id="{9CAF695C-13C5-B645-B695-B175370E24BC}"/>
              </a:ext>
            </a:extLst>
          </p:cNvPr>
          <p:cNvSpPr txBox="1"/>
          <p:nvPr/>
        </p:nvSpPr>
        <p:spPr>
          <a:xfrm>
            <a:off x="8839575" y="4844387"/>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sp>
        <p:nvSpPr>
          <p:cNvPr id="140" name="TextBox 139">
            <a:extLst>
              <a:ext uri="{FF2B5EF4-FFF2-40B4-BE49-F238E27FC236}">
                <a16:creationId xmlns:a16="http://schemas.microsoft.com/office/drawing/2014/main" id="{575D872B-B558-F640-B557-C627D7E1DD66}"/>
              </a:ext>
            </a:extLst>
          </p:cNvPr>
          <p:cNvSpPr txBox="1"/>
          <p:nvPr/>
        </p:nvSpPr>
        <p:spPr>
          <a:xfrm>
            <a:off x="7265643" y="4839295"/>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41" name="TextBox 140">
            <a:extLst>
              <a:ext uri="{FF2B5EF4-FFF2-40B4-BE49-F238E27FC236}">
                <a16:creationId xmlns:a16="http://schemas.microsoft.com/office/drawing/2014/main" id="{154BDD25-0FD5-A245-BBDA-5EE845897246}"/>
              </a:ext>
            </a:extLst>
          </p:cNvPr>
          <p:cNvSpPr txBox="1"/>
          <p:nvPr/>
        </p:nvSpPr>
        <p:spPr>
          <a:xfrm>
            <a:off x="7793500" y="5343336"/>
            <a:ext cx="695704"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a:t>
            </a:r>
            <a:r>
              <a:rPr lang="en-US" sz="513" dirty="0" err="1">
                <a:solidFill>
                  <a:srgbClr val="313131"/>
                </a:solidFill>
              </a:rPr>
              <a:t>ipsumLorem</a:t>
            </a:r>
            <a:r>
              <a:rPr lang="en-US" sz="513" dirty="0">
                <a:solidFill>
                  <a:srgbClr val="313131"/>
                </a:solidFill>
              </a:rPr>
              <a:t> ipsum</a:t>
            </a:r>
            <a:endParaRPr lang="en-GB" sz="513" dirty="0">
              <a:solidFill>
                <a:srgbClr val="313131"/>
              </a:solidFill>
            </a:endParaRPr>
          </a:p>
        </p:txBody>
      </p:sp>
      <p:sp>
        <p:nvSpPr>
          <p:cNvPr id="142" name="TextBox 141">
            <a:extLst>
              <a:ext uri="{FF2B5EF4-FFF2-40B4-BE49-F238E27FC236}">
                <a16:creationId xmlns:a16="http://schemas.microsoft.com/office/drawing/2014/main" id="{B233BD3B-52AD-064E-8143-4BD9AC2C102C}"/>
              </a:ext>
            </a:extLst>
          </p:cNvPr>
          <p:cNvSpPr txBox="1"/>
          <p:nvPr/>
        </p:nvSpPr>
        <p:spPr>
          <a:xfrm>
            <a:off x="5186897" y="5489285"/>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43" name="TextBox 142">
            <a:extLst>
              <a:ext uri="{FF2B5EF4-FFF2-40B4-BE49-F238E27FC236}">
                <a16:creationId xmlns:a16="http://schemas.microsoft.com/office/drawing/2014/main" id="{25CF9B95-AEDA-3246-906D-B4EEA2640C57}"/>
              </a:ext>
            </a:extLst>
          </p:cNvPr>
          <p:cNvSpPr txBox="1"/>
          <p:nvPr/>
        </p:nvSpPr>
        <p:spPr>
          <a:xfrm>
            <a:off x="7062504" y="3651440"/>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cxnSp>
        <p:nvCxnSpPr>
          <p:cNvPr id="144" name="Straight Connector 143">
            <a:extLst>
              <a:ext uri="{FF2B5EF4-FFF2-40B4-BE49-F238E27FC236}">
                <a16:creationId xmlns:a16="http://schemas.microsoft.com/office/drawing/2014/main" id="{2C1F5282-E501-AB41-B34C-116CA728707A}"/>
              </a:ext>
            </a:extLst>
          </p:cNvPr>
          <p:cNvCxnSpPr/>
          <p:nvPr/>
        </p:nvCxnSpPr>
        <p:spPr>
          <a:xfrm flipH="1" flipV="1">
            <a:off x="2955679" y="3069554"/>
            <a:ext cx="422239" cy="218588"/>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85DAFB1D-49B6-804D-A44F-59A9C30718C9}"/>
              </a:ext>
            </a:extLst>
          </p:cNvPr>
          <p:cNvCxnSpPr/>
          <p:nvPr/>
        </p:nvCxnSpPr>
        <p:spPr>
          <a:xfrm flipV="1">
            <a:off x="2950926" y="3499262"/>
            <a:ext cx="427671" cy="20636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61ED65BC-7624-9348-B028-41B5A4EAAB81}"/>
              </a:ext>
            </a:extLst>
          </p:cNvPr>
          <p:cNvCxnSpPr/>
          <p:nvPr/>
        </p:nvCxnSpPr>
        <p:spPr>
          <a:xfrm>
            <a:off x="3709533" y="3503674"/>
            <a:ext cx="215872" cy="109973"/>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D8DFE1EC-1CAF-0640-9BED-EE929E137891}"/>
              </a:ext>
            </a:extLst>
          </p:cNvPr>
          <p:cNvCxnSpPr/>
          <p:nvPr/>
        </p:nvCxnSpPr>
        <p:spPr>
          <a:xfrm>
            <a:off x="3544157" y="3714115"/>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0B53A176-AE50-3541-A24F-2A66C4EB8C97}"/>
              </a:ext>
            </a:extLst>
          </p:cNvPr>
          <p:cNvCxnSpPr/>
          <p:nvPr/>
        </p:nvCxnSpPr>
        <p:spPr>
          <a:xfrm>
            <a:off x="3544157" y="2929374"/>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C19F27F7-A19B-4B43-B5FA-1E04191937DC}"/>
              </a:ext>
            </a:extLst>
          </p:cNvPr>
          <p:cNvCxnSpPr/>
          <p:nvPr/>
        </p:nvCxnSpPr>
        <p:spPr>
          <a:xfrm>
            <a:off x="5388216" y="1623961"/>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A0C9FC24-84A4-3241-9F68-D4A11055C95B}"/>
              </a:ext>
            </a:extLst>
          </p:cNvPr>
          <p:cNvCxnSpPr/>
          <p:nvPr/>
        </p:nvCxnSpPr>
        <p:spPr>
          <a:xfrm flipV="1">
            <a:off x="4851683" y="2190794"/>
            <a:ext cx="369290" cy="302764"/>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E4F1B9CE-2FB9-3D4C-BA43-12B6F8AE01C1}"/>
              </a:ext>
            </a:extLst>
          </p:cNvPr>
          <p:cNvCxnSpPr>
            <a:endCxn id="56" idx="6"/>
          </p:cNvCxnSpPr>
          <p:nvPr/>
        </p:nvCxnSpPr>
        <p:spPr>
          <a:xfrm flipH="1" flipV="1">
            <a:off x="4826973" y="1681120"/>
            <a:ext cx="417080" cy="26664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F3ACB7AA-2B2E-DE49-ADCE-4F2276F7EEE5}"/>
              </a:ext>
            </a:extLst>
          </p:cNvPr>
          <p:cNvCxnSpPr/>
          <p:nvPr/>
        </p:nvCxnSpPr>
        <p:spPr>
          <a:xfrm>
            <a:off x="5388216" y="960733"/>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ECEADA4C-0B1D-D945-B385-D6E886B260DA}"/>
              </a:ext>
            </a:extLst>
          </p:cNvPr>
          <p:cNvCxnSpPr/>
          <p:nvPr/>
        </p:nvCxnSpPr>
        <p:spPr>
          <a:xfrm flipV="1">
            <a:off x="5544102" y="1737327"/>
            <a:ext cx="385582" cy="229448"/>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A5D28B0A-601B-7940-B8D2-F2DB417C0786}"/>
              </a:ext>
            </a:extLst>
          </p:cNvPr>
          <p:cNvCxnSpPr/>
          <p:nvPr/>
        </p:nvCxnSpPr>
        <p:spPr>
          <a:xfrm>
            <a:off x="4869332" y="1059842"/>
            <a:ext cx="437934" cy="20772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5" name="Freeform 379">
            <a:extLst>
              <a:ext uri="{FF2B5EF4-FFF2-40B4-BE49-F238E27FC236}">
                <a16:creationId xmlns:a16="http://schemas.microsoft.com/office/drawing/2014/main" id="{2E4AD997-D602-5546-8B7C-71B1919A8FFF}"/>
              </a:ext>
            </a:extLst>
          </p:cNvPr>
          <p:cNvSpPr>
            <a:spLocks noChangeAspect="1" noEditPoints="1"/>
          </p:cNvSpPr>
          <p:nvPr/>
        </p:nvSpPr>
        <p:spPr bwMode="auto">
          <a:xfrm>
            <a:off x="5895199" y="887562"/>
            <a:ext cx="234608" cy="234608"/>
          </a:xfrm>
          <a:custGeom>
            <a:avLst/>
            <a:gdLst>
              <a:gd name="T0" fmla="*/ 350 w 512"/>
              <a:gd name="T1" fmla="*/ 283 h 512"/>
              <a:gd name="T2" fmla="*/ 394 w 512"/>
              <a:gd name="T3" fmla="*/ 344 h 512"/>
              <a:gd name="T4" fmla="*/ 394 w 512"/>
              <a:gd name="T5" fmla="*/ 352 h 512"/>
              <a:gd name="T6" fmla="*/ 117 w 512"/>
              <a:gd name="T7" fmla="*/ 352 h 512"/>
              <a:gd name="T8" fmla="*/ 117 w 512"/>
              <a:gd name="T9" fmla="*/ 324 h 512"/>
              <a:gd name="T10" fmla="*/ 208 w 512"/>
              <a:gd name="T11" fmla="*/ 233 h 512"/>
              <a:gd name="T12" fmla="*/ 296 w 512"/>
              <a:gd name="T13" fmla="*/ 322 h 512"/>
              <a:gd name="T14" fmla="*/ 311 w 512"/>
              <a:gd name="T15" fmla="*/ 322 h 512"/>
              <a:gd name="T16" fmla="*/ 350 w 512"/>
              <a:gd name="T17" fmla="*/ 283 h 512"/>
              <a:gd name="T18" fmla="*/ 117 w 512"/>
              <a:gd name="T19" fmla="*/ 160 h 512"/>
              <a:gd name="T20" fmla="*/ 394 w 512"/>
              <a:gd name="T21" fmla="*/ 160 h 512"/>
              <a:gd name="T22" fmla="*/ 394 w 512"/>
              <a:gd name="T23" fmla="*/ 308 h 512"/>
              <a:gd name="T24" fmla="*/ 360 w 512"/>
              <a:gd name="T25" fmla="*/ 260 h 512"/>
              <a:gd name="T26" fmla="*/ 353 w 512"/>
              <a:gd name="T27" fmla="*/ 256 h 512"/>
              <a:gd name="T28" fmla="*/ 344 w 512"/>
              <a:gd name="T29" fmla="*/ 259 h 512"/>
              <a:gd name="T30" fmla="*/ 304 w 512"/>
              <a:gd name="T31" fmla="*/ 299 h 512"/>
              <a:gd name="T32" fmla="*/ 215 w 512"/>
              <a:gd name="T33" fmla="*/ 211 h 512"/>
              <a:gd name="T34" fmla="*/ 200 w 512"/>
              <a:gd name="T35" fmla="*/ 211 h 512"/>
              <a:gd name="T36" fmla="*/ 117 w 512"/>
              <a:gd name="T37" fmla="*/ 294 h 512"/>
              <a:gd name="T38" fmla="*/ 117 w 512"/>
              <a:gd name="T39" fmla="*/ 160 h 512"/>
              <a:gd name="T40" fmla="*/ 288 w 512"/>
              <a:gd name="T41" fmla="*/ 213 h 512"/>
              <a:gd name="T42" fmla="*/ 309 w 512"/>
              <a:gd name="T43" fmla="*/ 234 h 512"/>
              <a:gd name="T44" fmla="*/ 330 w 512"/>
              <a:gd name="T45" fmla="*/ 213 h 512"/>
              <a:gd name="T46" fmla="*/ 309 w 512"/>
              <a:gd name="T47" fmla="*/ 192 h 512"/>
              <a:gd name="T48" fmla="*/ 288 w 512"/>
              <a:gd name="T49" fmla="*/ 213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416 w 512"/>
              <a:gd name="T61" fmla="*/ 149 h 512"/>
              <a:gd name="T62" fmla="*/ 405 w 512"/>
              <a:gd name="T63" fmla="*/ 138 h 512"/>
              <a:gd name="T64" fmla="*/ 106 w 512"/>
              <a:gd name="T65" fmla="*/ 138 h 512"/>
              <a:gd name="T66" fmla="*/ 96 w 512"/>
              <a:gd name="T67" fmla="*/ 149 h 512"/>
              <a:gd name="T68" fmla="*/ 96 w 512"/>
              <a:gd name="T69" fmla="*/ 362 h 512"/>
              <a:gd name="T70" fmla="*/ 106 w 512"/>
              <a:gd name="T71" fmla="*/ 373 h 512"/>
              <a:gd name="T72" fmla="*/ 405 w 512"/>
              <a:gd name="T73" fmla="*/ 373 h 512"/>
              <a:gd name="T74" fmla="*/ 416 w 512"/>
              <a:gd name="T75" fmla="*/ 362 h 512"/>
              <a:gd name="T76" fmla="*/ 416 w 512"/>
              <a:gd name="T7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50" y="283"/>
                </a:moveTo>
                <a:cubicBezTo>
                  <a:pt x="394" y="344"/>
                  <a:pt x="394" y="344"/>
                  <a:pt x="394" y="344"/>
                </a:cubicBezTo>
                <a:cubicBezTo>
                  <a:pt x="394" y="352"/>
                  <a:pt x="394" y="352"/>
                  <a:pt x="394" y="352"/>
                </a:cubicBezTo>
                <a:cubicBezTo>
                  <a:pt x="117" y="352"/>
                  <a:pt x="117" y="352"/>
                  <a:pt x="117" y="352"/>
                </a:cubicBezTo>
                <a:cubicBezTo>
                  <a:pt x="117" y="324"/>
                  <a:pt x="117" y="324"/>
                  <a:pt x="117" y="324"/>
                </a:cubicBezTo>
                <a:cubicBezTo>
                  <a:pt x="208" y="233"/>
                  <a:pt x="208" y="233"/>
                  <a:pt x="208" y="233"/>
                </a:cubicBezTo>
                <a:cubicBezTo>
                  <a:pt x="296" y="322"/>
                  <a:pt x="296" y="322"/>
                  <a:pt x="296" y="322"/>
                </a:cubicBezTo>
                <a:cubicBezTo>
                  <a:pt x="300" y="326"/>
                  <a:pt x="307" y="326"/>
                  <a:pt x="311" y="322"/>
                </a:cubicBezTo>
                <a:lnTo>
                  <a:pt x="350" y="283"/>
                </a:lnTo>
                <a:close/>
                <a:moveTo>
                  <a:pt x="117" y="160"/>
                </a:moveTo>
                <a:cubicBezTo>
                  <a:pt x="394" y="160"/>
                  <a:pt x="394" y="160"/>
                  <a:pt x="394" y="160"/>
                </a:cubicBezTo>
                <a:cubicBezTo>
                  <a:pt x="394" y="308"/>
                  <a:pt x="394" y="308"/>
                  <a:pt x="394" y="308"/>
                </a:cubicBezTo>
                <a:cubicBezTo>
                  <a:pt x="360" y="260"/>
                  <a:pt x="360" y="260"/>
                  <a:pt x="360" y="260"/>
                </a:cubicBezTo>
                <a:cubicBezTo>
                  <a:pt x="359" y="258"/>
                  <a:pt x="356" y="256"/>
                  <a:pt x="353" y="256"/>
                </a:cubicBezTo>
                <a:cubicBezTo>
                  <a:pt x="349" y="255"/>
                  <a:pt x="346" y="257"/>
                  <a:pt x="344" y="259"/>
                </a:cubicBezTo>
                <a:cubicBezTo>
                  <a:pt x="304" y="299"/>
                  <a:pt x="304" y="299"/>
                  <a:pt x="304" y="299"/>
                </a:cubicBezTo>
                <a:cubicBezTo>
                  <a:pt x="215" y="211"/>
                  <a:pt x="215" y="211"/>
                  <a:pt x="215" y="211"/>
                </a:cubicBezTo>
                <a:cubicBezTo>
                  <a:pt x="211" y="207"/>
                  <a:pt x="204" y="207"/>
                  <a:pt x="200" y="211"/>
                </a:cubicBezTo>
                <a:cubicBezTo>
                  <a:pt x="117" y="294"/>
                  <a:pt x="117" y="294"/>
                  <a:pt x="117" y="294"/>
                </a:cubicBezTo>
                <a:lnTo>
                  <a:pt x="117" y="160"/>
                </a:lnTo>
                <a:close/>
                <a:moveTo>
                  <a:pt x="288" y="213"/>
                </a:moveTo>
                <a:cubicBezTo>
                  <a:pt x="288" y="225"/>
                  <a:pt x="297" y="234"/>
                  <a:pt x="309" y="234"/>
                </a:cubicBezTo>
                <a:cubicBezTo>
                  <a:pt x="321" y="234"/>
                  <a:pt x="330" y="225"/>
                  <a:pt x="330" y="213"/>
                </a:cubicBezTo>
                <a:cubicBezTo>
                  <a:pt x="330" y="201"/>
                  <a:pt x="321" y="192"/>
                  <a:pt x="309" y="192"/>
                </a:cubicBezTo>
                <a:cubicBezTo>
                  <a:pt x="297" y="192"/>
                  <a:pt x="288" y="201"/>
                  <a:pt x="28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3">
              <a:lumMod val="40000"/>
              <a:lumOff val="6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cxnSp>
        <p:nvCxnSpPr>
          <p:cNvPr id="156" name="Straight Connector 155">
            <a:extLst>
              <a:ext uri="{FF2B5EF4-FFF2-40B4-BE49-F238E27FC236}">
                <a16:creationId xmlns:a16="http://schemas.microsoft.com/office/drawing/2014/main" id="{7A3583DE-0452-0A45-B61F-9D7CB0D05EB3}"/>
              </a:ext>
            </a:extLst>
          </p:cNvPr>
          <p:cNvCxnSpPr/>
          <p:nvPr/>
        </p:nvCxnSpPr>
        <p:spPr>
          <a:xfrm>
            <a:off x="5565486" y="2175858"/>
            <a:ext cx="454145" cy="309552"/>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630E54CC-C94B-5C42-A408-D000D195B877}"/>
              </a:ext>
            </a:extLst>
          </p:cNvPr>
          <p:cNvCxnSpPr/>
          <p:nvPr/>
        </p:nvCxnSpPr>
        <p:spPr>
          <a:xfrm flipH="1">
            <a:off x="6707977" y="3497563"/>
            <a:ext cx="350282" cy="19550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5E52BA85-25C7-304A-9D39-98E26DECC93B}"/>
              </a:ext>
            </a:extLst>
          </p:cNvPr>
          <p:cNvCxnSpPr/>
          <p:nvPr/>
        </p:nvCxnSpPr>
        <p:spPr>
          <a:xfrm>
            <a:off x="7230423" y="2931411"/>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D86CE9FF-F57A-3C47-932E-57F3183D97F6}"/>
              </a:ext>
            </a:extLst>
          </p:cNvPr>
          <p:cNvCxnSpPr/>
          <p:nvPr/>
        </p:nvCxnSpPr>
        <p:spPr>
          <a:xfrm>
            <a:off x="7230423" y="3739915"/>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A88C0C8-0F4D-CD48-AE60-7435F1005A68}"/>
              </a:ext>
            </a:extLst>
          </p:cNvPr>
          <p:cNvCxnSpPr/>
          <p:nvPr/>
        </p:nvCxnSpPr>
        <p:spPr>
          <a:xfrm>
            <a:off x="7398360" y="3497564"/>
            <a:ext cx="423597" cy="228091"/>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F05BF9C-A986-D740-9019-7CF7C9817D83}"/>
              </a:ext>
            </a:extLst>
          </p:cNvPr>
          <p:cNvCxnSpPr>
            <a:stCxn id="73" idx="8"/>
            <a:endCxn id="92" idx="6"/>
          </p:cNvCxnSpPr>
          <p:nvPr/>
        </p:nvCxnSpPr>
        <p:spPr>
          <a:xfrm flipV="1">
            <a:off x="7425931" y="3010445"/>
            <a:ext cx="609677" cy="388145"/>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BA8CEEB4-C1E1-A745-9411-6DD863ACC080}"/>
              </a:ext>
            </a:extLst>
          </p:cNvPr>
          <p:cNvCxnSpPr>
            <a:stCxn id="92" idx="8"/>
            <a:endCxn id="88" idx="1"/>
          </p:cNvCxnSpPr>
          <p:nvPr/>
        </p:nvCxnSpPr>
        <p:spPr>
          <a:xfrm>
            <a:off x="8426621" y="3010443"/>
            <a:ext cx="4812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FB4F36D8-F8E6-F04E-8399-54E6C4BC8091}"/>
              </a:ext>
            </a:extLst>
          </p:cNvPr>
          <p:cNvCxnSpPr/>
          <p:nvPr/>
        </p:nvCxnSpPr>
        <p:spPr>
          <a:xfrm flipV="1">
            <a:off x="8374873" y="2627967"/>
            <a:ext cx="395086" cy="24845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56DABD39-C25C-D444-8735-C12EEEAFA328}"/>
              </a:ext>
            </a:extLst>
          </p:cNvPr>
          <p:cNvCxnSpPr/>
          <p:nvPr/>
        </p:nvCxnSpPr>
        <p:spPr>
          <a:xfrm>
            <a:off x="8384038" y="3133027"/>
            <a:ext cx="366575" cy="203653"/>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3656A03A-041A-D141-8EF5-B312EF427957}"/>
              </a:ext>
            </a:extLst>
          </p:cNvPr>
          <p:cNvCxnSpPr/>
          <p:nvPr/>
        </p:nvCxnSpPr>
        <p:spPr>
          <a:xfrm flipH="1" flipV="1">
            <a:off x="7902400" y="4927385"/>
            <a:ext cx="226659" cy="179034"/>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39EDE7E-6CC1-9B49-8DF2-8888B8876D56}"/>
              </a:ext>
            </a:extLst>
          </p:cNvPr>
          <p:cNvCxnSpPr/>
          <p:nvPr/>
        </p:nvCxnSpPr>
        <p:spPr>
          <a:xfrm>
            <a:off x="8234918" y="5424118"/>
            <a:ext cx="0" cy="508317"/>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2CF90CAB-689B-0345-9AB4-4E84C8CB2377}"/>
              </a:ext>
            </a:extLst>
          </p:cNvPr>
          <p:cNvCxnSpPr>
            <a:stCxn id="131" idx="19"/>
            <a:endCxn id="141" idx="2"/>
          </p:cNvCxnSpPr>
          <p:nvPr/>
        </p:nvCxnSpPr>
        <p:spPr>
          <a:xfrm flipV="1">
            <a:off x="7905573" y="5422268"/>
            <a:ext cx="235779" cy="246367"/>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8C417354-9AA2-594C-8562-A39F773D7153}"/>
              </a:ext>
            </a:extLst>
          </p:cNvPr>
          <p:cNvCxnSpPr>
            <a:stCxn id="141" idx="2"/>
            <a:endCxn id="132" idx="1"/>
          </p:cNvCxnSpPr>
          <p:nvPr/>
        </p:nvCxnSpPr>
        <p:spPr>
          <a:xfrm>
            <a:off x="8141352" y="5422268"/>
            <a:ext cx="410637" cy="246367"/>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911B7BFF-E4CD-844C-99F4-697AE1C7C3AF}"/>
              </a:ext>
            </a:extLst>
          </p:cNvPr>
          <p:cNvCxnSpPr/>
          <p:nvPr/>
        </p:nvCxnSpPr>
        <p:spPr>
          <a:xfrm>
            <a:off x="5089278" y="4945534"/>
            <a:ext cx="195506" cy="120155"/>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11B0A237-94FA-5C40-A1A1-EEF5BEB6251D}"/>
              </a:ext>
            </a:extLst>
          </p:cNvPr>
          <p:cNvCxnSpPr/>
          <p:nvPr/>
        </p:nvCxnSpPr>
        <p:spPr>
          <a:xfrm flipH="1">
            <a:off x="5491154" y="4945534"/>
            <a:ext cx="195506" cy="120155"/>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3EE075E8-1930-D642-9064-B220E90D9C10}"/>
              </a:ext>
            </a:extLst>
          </p:cNvPr>
          <p:cNvCxnSpPr/>
          <p:nvPr/>
        </p:nvCxnSpPr>
        <p:spPr>
          <a:xfrm flipV="1">
            <a:off x="5092672" y="5407826"/>
            <a:ext cx="207726" cy="9571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7856A3AE-146D-4C4A-8972-F00CCD0BD92E}"/>
              </a:ext>
            </a:extLst>
          </p:cNvPr>
          <p:cNvCxnSpPr/>
          <p:nvPr/>
        </p:nvCxnSpPr>
        <p:spPr>
          <a:xfrm flipH="1" flipV="1">
            <a:off x="5470786" y="5407826"/>
            <a:ext cx="207726" cy="9571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0C37C79F-509A-B540-B344-04CD1DAC57D4}"/>
              </a:ext>
            </a:extLst>
          </p:cNvPr>
          <p:cNvCxnSpPr/>
          <p:nvPr/>
        </p:nvCxnSpPr>
        <p:spPr>
          <a:xfrm>
            <a:off x="4829960" y="5208731"/>
            <a:ext cx="3675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BD9D477-A672-9343-805D-4E8AAF9621F0}"/>
              </a:ext>
            </a:extLst>
          </p:cNvPr>
          <p:cNvCxnSpPr/>
          <p:nvPr/>
        </p:nvCxnSpPr>
        <p:spPr>
          <a:xfrm>
            <a:off x="5582796" y="5208731"/>
            <a:ext cx="3675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41E61999-9564-8A4B-B79B-F5007562A5F4}"/>
              </a:ext>
            </a:extLst>
          </p:cNvPr>
          <p:cNvCxnSpPr/>
          <p:nvPr/>
        </p:nvCxnSpPr>
        <p:spPr>
          <a:xfrm flipH="1">
            <a:off x="5388218" y="5568252"/>
            <a:ext cx="1" cy="29077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AB390025-B304-1C43-BCD9-AF01A3A2E791}"/>
              </a:ext>
            </a:extLst>
          </p:cNvPr>
          <p:cNvCxnSpPr/>
          <p:nvPr/>
        </p:nvCxnSpPr>
        <p:spPr>
          <a:xfrm>
            <a:off x="7749665" y="5215170"/>
            <a:ext cx="3675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1BCF1E96-C0D1-484B-8DAD-6139FBB278F1}"/>
              </a:ext>
            </a:extLst>
          </p:cNvPr>
          <p:cNvCxnSpPr/>
          <p:nvPr/>
        </p:nvCxnSpPr>
        <p:spPr>
          <a:xfrm>
            <a:off x="8344408" y="5215170"/>
            <a:ext cx="3675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730A6951-AA02-7444-89EC-BB20804F845A}"/>
              </a:ext>
            </a:extLst>
          </p:cNvPr>
          <p:cNvCxnSpPr/>
          <p:nvPr/>
        </p:nvCxnSpPr>
        <p:spPr>
          <a:xfrm>
            <a:off x="3792211" y="1697276"/>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D64AC1CC-3345-1841-9DC5-7A1E9550A3D6}"/>
              </a:ext>
            </a:extLst>
          </p:cNvPr>
          <p:cNvCxnSpPr/>
          <p:nvPr/>
        </p:nvCxnSpPr>
        <p:spPr>
          <a:xfrm flipH="1">
            <a:off x="5467732" y="1059842"/>
            <a:ext cx="437934" cy="20772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81337445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Arc 78">
            <a:extLst>
              <a:ext uri="{FF2B5EF4-FFF2-40B4-BE49-F238E27FC236}">
                <a16:creationId xmlns:a16="http://schemas.microsoft.com/office/drawing/2014/main" id="{CE5BB5FC-E4FD-C94C-A59E-34CAA7B274C4}"/>
              </a:ext>
            </a:extLst>
          </p:cNvPr>
          <p:cNvSpPr/>
          <p:nvPr/>
        </p:nvSpPr>
        <p:spPr bwMode="gray">
          <a:xfrm rot="8184080" flipH="1">
            <a:off x="3323873" y="2606162"/>
            <a:ext cx="1903810" cy="2581125"/>
          </a:xfrm>
          <a:prstGeom prst="arc">
            <a:avLst>
              <a:gd name="adj1" fmla="val 20127837"/>
              <a:gd name="adj2" fmla="val 4219514"/>
            </a:avLst>
          </a:prstGeom>
          <a:ln w="1905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1200" dirty="0">
              <a:solidFill>
                <a:srgbClr val="000000"/>
              </a:solidFill>
              <a:cs typeface="Arial" panose="020B0604020202020204" pitchFamily="34" charset="0"/>
            </a:endParaRPr>
          </a:p>
        </p:txBody>
      </p:sp>
      <p:sp>
        <p:nvSpPr>
          <p:cNvPr id="124" name="TextBox 123">
            <a:extLst>
              <a:ext uri="{FF2B5EF4-FFF2-40B4-BE49-F238E27FC236}">
                <a16:creationId xmlns:a16="http://schemas.microsoft.com/office/drawing/2014/main" id="{8472BECF-4F59-644B-95F2-CD854425EA74}"/>
              </a:ext>
            </a:extLst>
          </p:cNvPr>
          <p:cNvSpPr txBox="1"/>
          <p:nvPr/>
        </p:nvSpPr>
        <p:spPr>
          <a:xfrm>
            <a:off x="1093732" y="2584830"/>
            <a:ext cx="2367893" cy="492443"/>
          </a:xfrm>
          <a:prstGeom prst="rect">
            <a:avLst/>
          </a:prstGeom>
          <a:noFill/>
          <a:ln w="12700">
            <a:solidFill>
              <a:srgbClr val="000000"/>
            </a:solidFill>
          </a:ln>
        </p:spPr>
        <p:txBody>
          <a:bodyPr wrap="square" rtlCol="0">
            <a:spAutoFit/>
          </a:bodyPr>
          <a:lstStyle/>
          <a:p>
            <a:r>
              <a:rPr lang="en-US" sz="1300" dirty="0"/>
              <a:t>this is dummy text it is not here to be read</a:t>
            </a:r>
          </a:p>
        </p:txBody>
      </p:sp>
      <p:sp>
        <p:nvSpPr>
          <p:cNvPr id="125" name="Arc 124">
            <a:extLst>
              <a:ext uri="{FF2B5EF4-FFF2-40B4-BE49-F238E27FC236}">
                <a16:creationId xmlns:a16="http://schemas.microsoft.com/office/drawing/2014/main" id="{C9D030EA-650B-3F48-B9EE-01DED3FA9468}"/>
              </a:ext>
            </a:extLst>
          </p:cNvPr>
          <p:cNvSpPr/>
          <p:nvPr/>
        </p:nvSpPr>
        <p:spPr bwMode="gray">
          <a:xfrm rot="4874919" flipH="1">
            <a:off x="7355409" y="2835731"/>
            <a:ext cx="1662697" cy="2032952"/>
          </a:xfrm>
          <a:prstGeom prst="arc">
            <a:avLst>
              <a:gd name="adj1" fmla="val 20127837"/>
              <a:gd name="adj2" fmla="val 4219514"/>
            </a:avLst>
          </a:prstGeom>
          <a:ln w="1905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1200" dirty="0">
              <a:solidFill>
                <a:srgbClr val="000000"/>
              </a:solidFill>
              <a:cs typeface="Arial" panose="020B0604020202020204" pitchFamily="34" charset="0"/>
            </a:endParaRPr>
          </a:p>
        </p:txBody>
      </p:sp>
      <p:cxnSp>
        <p:nvCxnSpPr>
          <p:cNvPr id="126" name="Straight Connector 125">
            <a:extLst>
              <a:ext uri="{FF2B5EF4-FFF2-40B4-BE49-F238E27FC236}">
                <a16:creationId xmlns:a16="http://schemas.microsoft.com/office/drawing/2014/main" id="{284448F3-92DD-0D4A-A82B-9BBC2E961166}"/>
              </a:ext>
            </a:extLst>
          </p:cNvPr>
          <p:cNvCxnSpPr/>
          <p:nvPr/>
        </p:nvCxnSpPr>
        <p:spPr>
          <a:xfrm>
            <a:off x="676412" y="2584829"/>
            <a:ext cx="417320" cy="1942"/>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8156146B-C024-9541-B357-65B154A6EBE8}"/>
              </a:ext>
            </a:extLst>
          </p:cNvPr>
          <p:cNvSpPr txBox="1"/>
          <p:nvPr/>
        </p:nvSpPr>
        <p:spPr>
          <a:xfrm flipH="1">
            <a:off x="8686798" y="2875884"/>
            <a:ext cx="2379705" cy="492443"/>
          </a:xfrm>
          <a:prstGeom prst="rect">
            <a:avLst/>
          </a:prstGeom>
          <a:noFill/>
          <a:ln w="12700">
            <a:solidFill>
              <a:srgbClr val="000000"/>
            </a:solidFill>
          </a:ln>
        </p:spPr>
        <p:txBody>
          <a:bodyPr wrap="square" rtlCol="0">
            <a:spAutoFit/>
          </a:bodyPr>
          <a:lstStyle/>
          <a:p>
            <a:pPr defTabSz="913686"/>
            <a:r>
              <a:rPr lang="en-US" sz="1300" dirty="0"/>
              <a:t>it is here to show how this document will look</a:t>
            </a:r>
            <a:endParaRPr lang="en-US" sz="1300" dirty="0">
              <a:solidFill>
                <a:srgbClr val="44546A"/>
              </a:solidFill>
            </a:endParaRPr>
          </a:p>
        </p:txBody>
      </p:sp>
      <p:cxnSp>
        <p:nvCxnSpPr>
          <p:cNvPr id="130" name="Straight Connector 129">
            <a:extLst>
              <a:ext uri="{FF2B5EF4-FFF2-40B4-BE49-F238E27FC236}">
                <a16:creationId xmlns:a16="http://schemas.microsoft.com/office/drawing/2014/main" id="{C8DA6646-FDF7-A141-A028-7CE431185285}"/>
              </a:ext>
            </a:extLst>
          </p:cNvPr>
          <p:cNvCxnSpPr/>
          <p:nvPr/>
        </p:nvCxnSpPr>
        <p:spPr>
          <a:xfrm flipH="1">
            <a:off x="11066503" y="2875883"/>
            <a:ext cx="417320" cy="1942"/>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8" name="Freeform 7">
            <a:extLst>
              <a:ext uri="{FF2B5EF4-FFF2-40B4-BE49-F238E27FC236}">
                <a16:creationId xmlns:a16="http://schemas.microsoft.com/office/drawing/2014/main" id="{F1529FB7-BCB0-1343-8556-E6F3C98F650B}"/>
              </a:ext>
            </a:extLst>
          </p:cNvPr>
          <p:cNvSpPr>
            <a:spLocks/>
          </p:cNvSpPr>
          <p:nvPr/>
        </p:nvSpPr>
        <p:spPr bwMode="gray">
          <a:xfrm rot="107936" flipH="1">
            <a:off x="5504931" y="2607677"/>
            <a:ext cx="1478981" cy="1493739"/>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chemeClr val="accent2"/>
          </a:solidFill>
          <a:ln>
            <a:noFill/>
            <a:headEnd/>
            <a:tailEnd/>
          </a:ln>
          <a:effectLst/>
        </p:spPr>
        <p:style>
          <a:lnRef idx="3">
            <a:schemeClr val="lt1"/>
          </a:lnRef>
          <a:fillRef idx="1">
            <a:schemeClr val="accent5"/>
          </a:fillRef>
          <a:effectRef idx="1">
            <a:schemeClr val="accent5"/>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r>
              <a:rPr lang="en-US" sz="1200" b="1" dirty="0">
                <a:solidFill>
                  <a:srgbClr val="FFFFFF"/>
                </a:solidFill>
                <a:cs typeface="Arial" panose="020B0604020202020204" pitchFamily="34" charset="0"/>
              </a:rPr>
              <a:t>Acquisition </a:t>
            </a:r>
            <a:br>
              <a:rPr lang="en-US" sz="1200" b="1" dirty="0">
                <a:solidFill>
                  <a:srgbClr val="FFFFFF"/>
                </a:solidFill>
                <a:cs typeface="Arial" panose="020B0604020202020204" pitchFamily="34" charset="0"/>
              </a:rPr>
            </a:br>
            <a:r>
              <a:rPr lang="en-US" sz="1200" b="1" dirty="0">
                <a:solidFill>
                  <a:srgbClr val="FFFFFF"/>
                </a:solidFill>
                <a:cs typeface="Arial" panose="020B0604020202020204" pitchFamily="34" charset="0"/>
              </a:rPr>
              <a:t>Expertise</a:t>
            </a:r>
          </a:p>
        </p:txBody>
      </p:sp>
      <p:sp>
        <p:nvSpPr>
          <p:cNvPr id="119" name="Freeform 118">
            <a:extLst>
              <a:ext uri="{FF2B5EF4-FFF2-40B4-BE49-F238E27FC236}">
                <a16:creationId xmlns:a16="http://schemas.microsoft.com/office/drawing/2014/main" id="{801FF0E4-88B7-2647-AB44-7CCC9AE1A0B5}"/>
              </a:ext>
            </a:extLst>
          </p:cNvPr>
          <p:cNvSpPr>
            <a:spLocks/>
          </p:cNvSpPr>
          <p:nvPr/>
        </p:nvSpPr>
        <p:spPr bwMode="gray">
          <a:xfrm rot="107936" flipH="1">
            <a:off x="6344504" y="3904248"/>
            <a:ext cx="1503328" cy="1493739"/>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chemeClr val="accent3"/>
          </a:solidFill>
          <a:ln>
            <a:noFill/>
            <a:headEnd/>
            <a:tailEnd/>
          </a:ln>
          <a:effectLst/>
        </p:spPr>
        <p:style>
          <a:lnRef idx="3">
            <a:schemeClr val="lt1"/>
          </a:lnRef>
          <a:fillRef idx="1">
            <a:schemeClr val="accent6"/>
          </a:fillRef>
          <a:effectRef idx="1">
            <a:schemeClr val="accent6"/>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r>
              <a:rPr lang="en-US" sz="1200" b="1" dirty="0">
                <a:solidFill>
                  <a:prstClr val="white"/>
                </a:solidFill>
                <a:cs typeface="Arial" panose="020B0604020202020204" pitchFamily="34" charset="0"/>
              </a:rPr>
              <a:t>Industry </a:t>
            </a:r>
            <a:br>
              <a:rPr lang="en-US" sz="1200" b="1" dirty="0">
                <a:solidFill>
                  <a:prstClr val="white"/>
                </a:solidFill>
                <a:cs typeface="Arial" panose="020B0604020202020204" pitchFamily="34" charset="0"/>
              </a:rPr>
            </a:br>
            <a:r>
              <a:rPr lang="en-US" sz="1200" b="1" dirty="0">
                <a:solidFill>
                  <a:prstClr val="white"/>
                </a:solidFill>
                <a:cs typeface="Arial" panose="020B0604020202020204" pitchFamily="34" charset="0"/>
              </a:rPr>
              <a:t>Insight</a:t>
            </a:r>
          </a:p>
        </p:txBody>
      </p:sp>
      <p:sp>
        <p:nvSpPr>
          <p:cNvPr id="120" name="Freeform 7">
            <a:extLst>
              <a:ext uri="{FF2B5EF4-FFF2-40B4-BE49-F238E27FC236}">
                <a16:creationId xmlns:a16="http://schemas.microsoft.com/office/drawing/2014/main" id="{83FBC48F-93C3-DA40-B954-DDA7FD933E5A}"/>
              </a:ext>
            </a:extLst>
          </p:cNvPr>
          <p:cNvSpPr>
            <a:spLocks/>
          </p:cNvSpPr>
          <p:nvPr/>
        </p:nvSpPr>
        <p:spPr bwMode="gray">
          <a:xfrm rot="107936" flipH="1">
            <a:off x="4627132" y="3858270"/>
            <a:ext cx="1478981" cy="1493739"/>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chemeClr val="accent1"/>
          </a:solidFill>
          <a:ln>
            <a:noFill/>
            <a:headEnd/>
            <a:tailEnd/>
          </a:ln>
          <a:effectLst/>
        </p:spPr>
        <p:style>
          <a:lnRef idx="3">
            <a:schemeClr val="lt1"/>
          </a:lnRef>
          <a:fillRef idx="1">
            <a:schemeClr val="accent2"/>
          </a:fillRef>
          <a:effectRef idx="1">
            <a:schemeClr val="accent2"/>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r>
              <a:rPr lang="en-US" sz="1200" b="1" dirty="0">
                <a:solidFill>
                  <a:prstClr val="white"/>
                </a:solidFill>
                <a:cs typeface="Arial" panose="020B0604020202020204" pitchFamily="34" charset="0"/>
              </a:rPr>
              <a:t>Efficient </a:t>
            </a:r>
            <a:br>
              <a:rPr lang="en-US" sz="1200" b="1" dirty="0">
                <a:solidFill>
                  <a:prstClr val="white"/>
                </a:solidFill>
                <a:cs typeface="Arial" panose="020B0604020202020204" pitchFamily="34" charset="0"/>
              </a:rPr>
            </a:br>
            <a:r>
              <a:rPr lang="en-US" sz="1200" b="1" dirty="0">
                <a:solidFill>
                  <a:prstClr val="white"/>
                </a:solidFill>
                <a:cs typeface="Arial" panose="020B0604020202020204" pitchFamily="34" charset="0"/>
              </a:rPr>
              <a:t>Management</a:t>
            </a:r>
          </a:p>
        </p:txBody>
      </p:sp>
      <p:sp>
        <p:nvSpPr>
          <p:cNvPr id="121" name="Arc 120">
            <a:extLst>
              <a:ext uri="{FF2B5EF4-FFF2-40B4-BE49-F238E27FC236}">
                <a16:creationId xmlns:a16="http://schemas.microsoft.com/office/drawing/2014/main" id="{735F22D1-7C79-304E-B662-5D96FF7643A8}"/>
              </a:ext>
            </a:extLst>
          </p:cNvPr>
          <p:cNvSpPr/>
          <p:nvPr/>
        </p:nvSpPr>
        <p:spPr bwMode="gray">
          <a:xfrm rot="617810">
            <a:off x="6123553" y="3719622"/>
            <a:ext cx="1883664" cy="1867174"/>
          </a:xfrm>
          <a:prstGeom prst="arc">
            <a:avLst>
              <a:gd name="adj1" fmla="val 16686941"/>
              <a:gd name="adj2" fmla="val 8034923"/>
            </a:avLst>
          </a:prstGeom>
          <a:ln w="28575">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1200" dirty="0">
              <a:solidFill>
                <a:srgbClr val="000000"/>
              </a:solidFill>
            </a:endParaRPr>
          </a:p>
        </p:txBody>
      </p:sp>
      <p:sp>
        <p:nvSpPr>
          <p:cNvPr id="122" name="Arc 121">
            <a:extLst>
              <a:ext uri="{FF2B5EF4-FFF2-40B4-BE49-F238E27FC236}">
                <a16:creationId xmlns:a16="http://schemas.microsoft.com/office/drawing/2014/main" id="{096C02BE-7FE9-1F46-B5D6-00963DA0BAF4}"/>
              </a:ext>
            </a:extLst>
          </p:cNvPr>
          <p:cNvSpPr/>
          <p:nvPr/>
        </p:nvSpPr>
        <p:spPr bwMode="gray">
          <a:xfrm rot="617810">
            <a:off x="5354343" y="2428666"/>
            <a:ext cx="1792224" cy="1773816"/>
          </a:xfrm>
          <a:prstGeom prst="arc">
            <a:avLst>
              <a:gd name="adj1" fmla="val 10210110"/>
              <a:gd name="adj2" fmla="val 175146"/>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1200" dirty="0">
              <a:solidFill>
                <a:srgbClr val="000000"/>
              </a:solidFill>
            </a:endParaRPr>
          </a:p>
        </p:txBody>
      </p:sp>
      <p:sp>
        <p:nvSpPr>
          <p:cNvPr id="123" name="Arc 122">
            <a:extLst>
              <a:ext uri="{FF2B5EF4-FFF2-40B4-BE49-F238E27FC236}">
                <a16:creationId xmlns:a16="http://schemas.microsoft.com/office/drawing/2014/main" id="{99709557-5945-9340-B658-D4B86768A178}"/>
              </a:ext>
            </a:extLst>
          </p:cNvPr>
          <p:cNvSpPr/>
          <p:nvPr/>
        </p:nvSpPr>
        <p:spPr bwMode="gray">
          <a:xfrm rot="5756245" flipH="1">
            <a:off x="4439398" y="3701656"/>
            <a:ext cx="1829831" cy="1788753"/>
          </a:xfrm>
          <a:prstGeom prst="arc">
            <a:avLst>
              <a:gd name="adj1" fmla="val 1078623"/>
              <a:gd name="adj2" fmla="val 13769744"/>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1200" dirty="0">
              <a:solidFill>
                <a:srgbClr val="000000"/>
              </a:solidFill>
              <a:cs typeface="Arial" panose="020B0604020202020204" pitchFamily="34" charset="0"/>
            </a:endParaRPr>
          </a:p>
        </p:txBody>
      </p:sp>
      <p:sp>
        <p:nvSpPr>
          <p:cNvPr id="140" name="Rectangular Callout 139">
            <a:extLst>
              <a:ext uri="{FF2B5EF4-FFF2-40B4-BE49-F238E27FC236}">
                <a16:creationId xmlns:a16="http://schemas.microsoft.com/office/drawing/2014/main" id="{5D466F04-54F0-894C-A237-E46368A67502}"/>
              </a:ext>
            </a:extLst>
          </p:cNvPr>
          <p:cNvSpPr/>
          <p:nvPr/>
        </p:nvSpPr>
        <p:spPr>
          <a:xfrm>
            <a:off x="457199" y="4903697"/>
            <a:ext cx="3649583" cy="379591"/>
          </a:xfrm>
          <a:prstGeom prst="wedgeRectCallout">
            <a:avLst>
              <a:gd name="adj1" fmla="val 58612"/>
              <a:gd name="adj2" fmla="val -34523"/>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88900" rIns="88900" bIns="88900" rtlCol="0" anchor="ctr">
            <a:spAutoFit/>
          </a:bodyPr>
          <a:lstStyle/>
          <a:p>
            <a:pPr defTabSz="913686"/>
            <a:r>
              <a:rPr lang="en-US" sz="1300" dirty="0">
                <a:solidFill>
                  <a:prstClr val="white"/>
                </a:solidFill>
              </a:rPr>
              <a:t>it is here to show how this document will look</a:t>
            </a:r>
          </a:p>
        </p:txBody>
      </p:sp>
      <p:sp>
        <p:nvSpPr>
          <p:cNvPr id="142" name="Rectangular Callout 141">
            <a:extLst>
              <a:ext uri="{FF2B5EF4-FFF2-40B4-BE49-F238E27FC236}">
                <a16:creationId xmlns:a16="http://schemas.microsoft.com/office/drawing/2014/main" id="{BC9196B5-059F-3746-866D-AC9442904B0B}"/>
              </a:ext>
            </a:extLst>
          </p:cNvPr>
          <p:cNvSpPr/>
          <p:nvPr/>
        </p:nvSpPr>
        <p:spPr>
          <a:xfrm flipH="1">
            <a:off x="4318000" y="1714500"/>
            <a:ext cx="3552908" cy="379591"/>
          </a:xfrm>
          <a:prstGeom prst="wedgeRectCallout">
            <a:avLst>
              <a:gd name="adj1" fmla="val 4727"/>
              <a:gd name="adj2" fmla="val 78615"/>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88900" rIns="88900" bIns="88900" rtlCol="0" anchor="ctr">
            <a:spAutoFit/>
          </a:bodyPr>
          <a:lstStyle/>
          <a:p>
            <a:pPr defTabSz="913686"/>
            <a:r>
              <a:rPr lang="en-US" sz="1300" dirty="0">
                <a:solidFill>
                  <a:prstClr val="white"/>
                </a:solidFill>
              </a:rPr>
              <a:t>it is here to show how this document will look</a:t>
            </a:r>
            <a:endParaRPr lang="en-US" sz="1300" b="1" dirty="0">
              <a:solidFill>
                <a:prstClr val="white"/>
              </a:solidFill>
            </a:endParaRPr>
          </a:p>
        </p:txBody>
      </p:sp>
      <p:sp>
        <p:nvSpPr>
          <p:cNvPr id="29" name="Rectangular Callout 28">
            <a:extLst>
              <a:ext uri="{FF2B5EF4-FFF2-40B4-BE49-F238E27FC236}">
                <a16:creationId xmlns:a16="http://schemas.microsoft.com/office/drawing/2014/main" id="{75A209DD-16F4-034E-8925-020CBCAAB5FB}"/>
              </a:ext>
            </a:extLst>
          </p:cNvPr>
          <p:cNvSpPr/>
          <p:nvPr/>
        </p:nvSpPr>
        <p:spPr>
          <a:xfrm>
            <a:off x="8275658" y="5297976"/>
            <a:ext cx="3459141" cy="379591"/>
          </a:xfrm>
          <a:prstGeom prst="wedgeRectCallout">
            <a:avLst>
              <a:gd name="adj1" fmla="val -58137"/>
              <a:gd name="adj2" fmla="val -56152"/>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88900" rIns="88900" bIns="88900" rtlCol="0" anchor="ctr">
            <a:spAutoFit/>
          </a:bodyPr>
          <a:lstStyle/>
          <a:p>
            <a:pPr defTabSz="913686"/>
            <a:r>
              <a:rPr lang="en-US" sz="1300" dirty="0">
                <a:solidFill>
                  <a:prstClr val="white"/>
                </a:solidFill>
              </a:rPr>
              <a:t>it is here to show how this document will look</a:t>
            </a:r>
          </a:p>
        </p:txBody>
      </p:sp>
      <p:grpSp>
        <p:nvGrpSpPr>
          <p:cNvPr id="30" name="Group 449">
            <a:extLst>
              <a:ext uri="{FF2B5EF4-FFF2-40B4-BE49-F238E27FC236}">
                <a16:creationId xmlns:a16="http://schemas.microsoft.com/office/drawing/2014/main" id="{923FA6BE-2318-406E-B70D-568082C8D977}"/>
              </a:ext>
            </a:extLst>
          </p:cNvPr>
          <p:cNvGrpSpPr>
            <a:grpSpLocks noChangeAspect="1"/>
          </p:cNvGrpSpPr>
          <p:nvPr/>
        </p:nvGrpSpPr>
        <p:grpSpPr bwMode="auto">
          <a:xfrm>
            <a:off x="6093713" y="2879877"/>
            <a:ext cx="316218" cy="316218"/>
            <a:chOff x="2276" y="1587"/>
            <a:chExt cx="340" cy="340"/>
          </a:xfrm>
          <a:solidFill>
            <a:schemeClr val="bg1"/>
          </a:solidFill>
        </p:grpSpPr>
        <p:sp>
          <p:nvSpPr>
            <p:cNvPr id="31" name="Freeform 450">
              <a:extLst>
                <a:ext uri="{FF2B5EF4-FFF2-40B4-BE49-F238E27FC236}">
                  <a16:creationId xmlns:a16="http://schemas.microsoft.com/office/drawing/2014/main" id="{22B68382-B312-4C0F-AE86-A45A27F2D337}"/>
                </a:ext>
              </a:extLst>
            </p:cNvPr>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2" name="Freeform 451">
              <a:extLst>
                <a:ext uri="{FF2B5EF4-FFF2-40B4-BE49-F238E27FC236}">
                  <a16:creationId xmlns:a16="http://schemas.microsoft.com/office/drawing/2014/main" id="{3BA6234A-CE4D-4C28-9DC1-0959030463A4}"/>
                </a:ext>
              </a:extLst>
            </p:cNvPr>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33" name="Freeform 884">
            <a:extLst>
              <a:ext uri="{FF2B5EF4-FFF2-40B4-BE49-F238E27FC236}">
                <a16:creationId xmlns:a16="http://schemas.microsoft.com/office/drawing/2014/main" id="{78AFEB6A-87D8-4327-A0DF-CB8F5EF5376E}"/>
              </a:ext>
            </a:extLst>
          </p:cNvPr>
          <p:cNvSpPr>
            <a:spLocks noChangeAspect="1" noEditPoints="1"/>
          </p:cNvSpPr>
          <p:nvPr/>
        </p:nvSpPr>
        <p:spPr bwMode="auto">
          <a:xfrm>
            <a:off x="5202064" y="4115423"/>
            <a:ext cx="314521" cy="3145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06 w 512"/>
              <a:gd name="T13" fmla="*/ 266 h 512"/>
              <a:gd name="T14" fmla="*/ 96 w 512"/>
              <a:gd name="T15" fmla="*/ 256 h 512"/>
              <a:gd name="T16" fmla="*/ 106 w 512"/>
              <a:gd name="T17" fmla="*/ 245 h 512"/>
              <a:gd name="T18" fmla="*/ 405 w 512"/>
              <a:gd name="T19" fmla="*/ 245 h 512"/>
              <a:gd name="T20" fmla="*/ 416 w 512"/>
              <a:gd name="T21" fmla="*/ 256 h 512"/>
              <a:gd name="T22" fmla="*/ 405 w 512"/>
              <a:gd name="T2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06" y="266"/>
                  <a:pt x="106" y="266"/>
                  <a:pt x="106" y="266"/>
                </a:cubicBezTo>
                <a:cubicBezTo>
                  <a:pt x="100" y="266"/>
                  <a:pt x="96" y="262"/>
                  <a:pt x="96" y="256"/>
                </a:cubicBezTo>
                <a:cubicBezTo>
                  <a:pt x="96" y="250"/>
                  <a:pt x="100" y="245"/>
                  <a:pt x="10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34" name="Freeform 598">
            <a:extLst>
              <a:ext uri="{FF2B5EF4-FFF2-40B4-BE49-F238E27FC236}">
                <a16:creationId xmlns:a16="http://schemas.microsoft.com/office/drawing/2014/main" id="{689A395C-0267-4D4B-B1ED-B2B21FA4CB23}"/>
              </a:ext>
            </a:extLst>
          </p:cNvPr>
          <p:cNvSpPr>
            <a:spLocks noChangeAspect="1" noEditPoints="1"/>
          </p:cNvSpPr>
          <p:nvPr/>
        </p:nvSpPr>
        <p:spPr bwMode="auto">
          <a:xfrm>
            <a:off x="6926936" y="4205710"/>
            <a:ext cx="316779" cy="31677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35" name="Freeform 974">
            <a:extLst>
              <a:ext uri="{FF2B5EF4-FFF2-40B4-BE49-F238E27FC236}">
                <a16:creationId xmlns:a16="http://schemas.microsoft.com/office/drawing/2014/main" id="{1B6607B0-B057-4767-A4D0-403D7A6CA9E1}"/>
              </a:ext>
            </a:extLst>
          </p:cNvPr>
          <p:cNvSpPr>
            <a:spLocks noChangeAspect="1" noEditPoints="1"/>
          </p:cNvSpPr>
          <p:nvPr/>
        </p:nvSpPr>
        <p:spPr bwMode="auto">
          <a:xfrm>
            <a:off x="457199" y="2587052"/>
            <a:ext cx="421630" cy="421630"/>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rgbClr val="000000"/>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36" name="Freeform 603">
            <a:extLst>
              <a:ext uri="{FF2B5EF4-FFF2-40B4-BE49-F238E27FC236}">
                <a16:creationId xmlns:a16="http://schemas.microsoft.com/office/drawing/2014/main" id="{9DB6703D-8959-4F09-ABE7-FBE0ED732EA4}"/>
              </a:ext>
            </a:extLst>
          </p:cNvPr>
          <p:cNvSpPr>
            <a:spLocks noChangeAspect="1" noEditPoints="1"/>
          </p:cNvSpPr>
          <p:nvPr/>
        </p:nvSpPr>
        <p:spPr bwMode="auto">
          <a:xfrm>
            <a:off x="11313169" y="2875883"/>
            <a:ext cx="421630" cy="42163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000000"/>
          </a:solidFill>
          <a:ln>
            <a:noFill/>
          </a:ln>
        </p:spPr>
        <p:txBody>
          <a:bodyPr vert="horz" wrap="square" lIns="72477" tIns="36238" rIns="72477" bIns="36238" numCol="1" anchor="t" anchorCtr="0" compatLnSpc="1">
            <a:prstTxWarp prst="textNoShape">
              <a:avLst/>
            </a:prstTxWarp>
          </a:bodyPr>
          <a:lstStyle/>
          <a:p>
            <a:endParaRPr lang="en-GB" sz="1427" dirty="0"/>
          </a:p>
        </p:txBody>
      </p:sp>
    </p:spTree>
    <p:custDataLst>
      <p:tags r:id="rId1"/>
    </p:custDataLst>
    <p:extLst>
      <p:ext uri="{BB962C8B-B14F-4D97-AF65-F5344CB8AC3E}">
        <p14:creationId xmlns:p14="http://schemas.microsoft.com/office/powerpoint/2010/main" val="1353132502"/>
      </p:ext>
    </p:extLst>
  </p:cSld>
  <p:clrMapOvr>
    <a:masterClrMapping/>
  </p:clrMapOvr>
  <p:transition>
    <p:fade/>
  </p:transition>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Isosceles Triangle 87">
            <a:extLst>
              <a:ext uri="{FF2B5EF4-FFF2-40B4-BE49-F238E27FC236}">
                <a16:creationId xmlns:a16="http://schemas.microsoft.com/office/drawing/2014/main" id="{8050751C-D1D5-1E45-926A-A8088F939D87}"/>
              </a:ext>
            </a:extLst>
          </p:cNvPr>
          <p:cNvSpPr/>
          <p:nvPr/>
        </p:nvSpPr>
        <p:spPr bwMode="gray">
          <a:xfrm>
            <a:off x="4083946" y="2136033"/>
            <a:ext cx="122336" cy="112438"/>
          </a:xfrm>
          <a:prstGeom prst="triangl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78" name="Isosceles Triangle 223">
            <a:extLst>
              <a:ext uri="{FF2B5EF4-FFF2-40B4-BE49-F238E27FC236}">
                <a16:creationId xmlns:a16="http://schemas.microsoft.com/office/drawing/2014/main" id="{922EAE1D-F002-364C-9FC5-1C1DEAD5C25D}"/>
              </a:ext>
            </a:extLst>
          </p:cNvPr>
          <p:cNvSpPr/>
          <p:nvPr/>
        </p:nvSpPr>
        <p:spPr bwMode="gray">
          <a:xfrm>
            <a:off x="2402282" y="2136033"/>
            <a:ext cx="122336" cy="112438"/>
          </a:xfrm>
          <a:prstGeom prst="triangl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80" name="Arc 79">
            <a:extLst>
              <a:ext uri="{FF2B5EF4-FFF2-40B4-BE49-F238E27FC236}">
                <a16:creationId xmlns:a16="http://schemas.microsoft.com/office/drawing/2014/main" id="{CEA9208D-7AC9-6243-91BB-9C7E77889951}"/>
              </a:ext>
            </a:extLst>
          </p:cNvPr>
          <p:cNvSpPr/>
          <p:nvPr/>
        </p:nvSpPr>
        <p:spPr>
          <a:xfrm rot="15387437">
            <a:off x="4932620" y="2777672"/>
            <a:ext cx="4093937" cy="4093937"/>
          </a:xfrm>
          <a:prstGeom prst="arc">
            <a:avLst>
              <a:gd name="adj1" fmla="val 16200000"/>
              <a:gd name="adj2" fmla="val 971924"/>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dirty="0"/>
          </a:p>
        </p:txBody>
      </p:sp>
      <p:grpSp>
        <p:nvGrpSpPr>
          <p:cNvPr id="81" name="Group 80">
            <a:extLst>
              <a:ext uri="{FF2B5EF4-FFF2-40B4-BE49-F238E27FC236}">
                <a16:creationId xmlns:a16="http://schemas.microsoft.com/office/drawing/2014/main" id="{D28FE676-6A80-F14B-B8B4-28FF497D1A76}"/>
              </a:ext>
            </a:extLst>
          </p:cNvPr>
          <p:cNvGrpSpPr/>
          <p:nvPr/>
        </p:nvGrpSpPr>
        <p:grpSpPr>
          <a:xfrm>
            <a:off x="6999853" y="2276476"/>
            <a:ext cx="659246" cy="659246"/>
            <a:chOff x="3774872" y="1353765"/>
            <a:chExt cx="1143000" cy="1143000"/>
          </a:xfrm>
        </p:grpSpPr>
        <p:sp>
          <p:nvSpPr>
            <p:cNvPr id="82" name="Freeform 33">
              <a:extLst>
                <a:ext uri="{FF2B5EF4-FFF2-40B4-BE49-F238E27FC236}">
                  <a16:creationId xmlns:a16="http://schemas.microsoft.com/office/drawing/2014/main" id="{8106A337-6F11-3846-9637-A5E98D355107}"/>
                </a:ext>
              </a:extLst>
            </p:cNvPr>
            <p:cNvSpPr>
              <a:spLocks noChangeAspect="1" noEditPoints="1"/>
            </p:cNvSpPr>
            <p:nvPr/>
          </p:nvSpPr>
          <p:spPr bwMode="auto">
            <a:xfrm rot="20958838">
              <a:off x="3774872" y="1353765"/>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83" name="Oval 82">
              <a:extLst>
                <a:ext uri="{FF2B5EF4-FFF2-40B4-BE49-F238E27FC236}">
                  <a16:creationId xmlns:a16="http://schemas.microsoft.com/office/drawing/2014/main" id="{845CE1FF-AB49-1A46-8297-362065D1B61D}"/>
                </a:ext>
              </a:extLst>
            </p:cNvPr>
            <p:cNvSpPr/>
            <p:nvPr/>
          </p:nvSpPr>
          <p:spPr bwMode="gray">
            <a:xfrm>
              <a:off x="3968285" y="1551096"/>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grpSp>
        <p:nvGrpSpPr>
          <p:cNvPr id="84" name="Group 83">
            <a:extLst>
              <a:ext uri="{FF2B5EF4-FFF2-40B4-BE49-F238E27FC236}">
                <a16:creationId xmlns:a16="http://schemas.microsoft.com/office/drawing/2014/main" id="{C16C30BC-05A3-4E4B-BD22-F673FC2CFDDA}"/>
              </a:ext>
            </a:extLst>
          </p:cNvPr>
          <p:cNvGrpSpPr/>
          <p:nvPr/>
        </p:nvGrpSpPr>
        <p:grpSpPr>
          <a:xfrm rot="20965737">
            <a:off x="6999853" y="3858839"/>
            <a:ext cx="659246" cy="659246"/>
            <a:chOff x="2816958" y="2887291"/>
            <a:chExt cx="1530942" cy="1546969"/>
          </a:xfrm>
        </p:grpSpPr>
        <p:sp>
          <p:nvSpPr>
            <p:cNvPr id="85" name="Freeform 33">
              <a:extLst>
                <a:ext uri="{FF2B5EF4-FFF2-40B4-BE49-F238E27FC236}">
                  <a16:creationId xmlns:a16="http://schemas.microsoft.com/office/drawing/2014/main" id="{19DC3919-7126-F745-8769-FBAB7EE336DD}"/>
                </a:ext>
              </a:extLst>
            </p:cNvPr>
            <p:cNvSpPr>
              <a:spLocks noChangeAspect="1" noEditPoints="1"/>
            </p:cNvSpPr>
            <p:nvPr/>
          </p:nvSpPr>
          <p:spPr bwMode="auto">
            <a:xfrm>
              <a:off x="2816958" y="2887291"/>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86" name="Oval 85">
              <a:extLst>
                <a:ext uri="{FF2B5EF4-FFF2-40B4-BE49-F238E27FC236}">
                  <a16:creationId xmlns:a16="http://schemas.microsoft.com/office/drawing/2014/main" id="{2660FFA5-23C8-A149-A4D9-83D183643778}"/>
                </a:ext>
              </a:extLst>
            </p:cNvPr>
            <p:cNvSpPr/>
            <p:nvPr/>
          </p:nvSpPr>
          <p:spPr bwMode="gray">
            <a:xfrm>
              <a:off x="3076668" y="3154364"/>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grpSp>
        <p:nvGrpSpPr>
          <p:cNvPr id="87" name="Group 86">
            <a:extLst>
              <a:ext uri="{FF2B5EF4-FFF2-40B4-BE49-F238E27FC236}">
                <a16:creationId xmlns:a16="http://schemas.microsoft.com/office/drawing/2014/main" id="{8F0AA68D-7188-384E-88D9-3F2D41A31120}"/>
              </a:ext>
            </a:extLst>
          </p:cNvPr>
          <p:cNvGrpSpPr/>
          <p:nvPr/>
        </p:nvGrpSpPr>
        <p:grpSpPr>
          <a:xfrm rot="823653">
            <a:off x="4617109" y="4725760"/>
            <a:ext cx="659246" cy="659246"/>
            <a:chOff x="788598" y="3923134"/>
            <a:chExt cx="1530942" cy="1546969"/>
          </a:xfrm>
        </p:grpSpPr>
        <p:sp>
          <p:nvSpPr>
            <p:cNvPr id="88" name="Freeform 33">
              <a:extLst>
                <a:ext uri="{FF2B5EF4-FFF2-40B4-BE49-F238E27FC236}">
                  <a16:creationId xmlns:a16="http://schemas.microsoft.com/office/drawing/2014/main" id="{C283292A-0DDB-B84D-A354-B2A540183660}"/>
                </a:ext>
              </a:extLst>
            </p:cNvPr>
            <p:cNvSpPr>
              <a:spLocks noChangeAspect="1" noEditPoints="1"/>
            </p:cNvSpPr>
            <p:nvPr/>
          </p:nvSpPr>
          <p:spPr bwMode="auto">
            <a:xfrm>
              <a:off x="788598" y="3923134"/>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89" name="Oval 88">
              <a:extLst>
                <a:ext uri="{FF2B5EF4-FFF2-40B4-BE49-F238E27FC236}">
                  <a16:creationId xmlns:a16="http://schemas.microsoft.com/office/drawing/2014/main" id="{388BC411-B726-CE42-86B4-80AE07557677}"/>
                </a:ext>
              </a:extLst>
            </p:cNvPr>
            <p:cNvSpPr/>
            <p:nvPr/>
          </p:nvSpPr>
          <p:spPr bwMode="gray">
            <a:xfrm>
              <a:off x="1047657" y="4190206"/>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grpSp>
        <p:nvGrpSpPr>
          <p:cNvPr id="90" name="Group 89">
            <a:extLst>
              <a:ext uri="{FF2B5EF4-FFF2-40B4-BE49-F238E27FC236}">
                <a16:creationId xmlns:a16="http://schemas.microsoft.com/office/drawing/2014/main" id="{022C2A2C-55A9-A843-8374-047747952E13}"/>
              </a:ext>
            </a:extLst>
          </p:cNvPr>
          <p:cNvGrpSpPr/>
          <p:nvPr/>
        </p:nvGrpSpPr>
        <p:grpSpPr>
          <a:xfrm rot="222427">
            <a:off x="5153375" y="3020694"/>
            <a:ext cx="659246" cy="659246"/>
            <a:chOff x="1661570" y="1993316"/>
            <a:chExt cx="1530942" cy="1546969"/>
          </a:xfrm>
        </p:grpSpPr>
        <p:sp>
          <p:nvSpPr>
            <p:cNvPr id="91" name="Freeform 33">
              <a:extLst>
                <a:ext uri="{FF2B5EF4-FFF2-40B4-BE49-F238E27FC236}">
                  <a16:creationId xmlns:a16="http://schemas.microsoft.com/office/drawing/2014/main" id="{6CB953E6-7143-414D-AAF2-DFB096B6E2B3}"/>
                </a:ext>
              </a:extLst>
            </p:cNvPr>
            <p:cNvSpPr>
              <a:spLocks noChangeAspect="1" noEditPoints="1"/>
            </p:cNvSpPr>
            <p:nvPr/>
          </p:nvSpPr>
          <p:spPr bwMode="auto">
            <a:xfrm>
              <a:off x="1661570" y="1993316"/>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92" name="Oval 91">
              <a:extLst>
                <a:ext uri="{FF2B5EF4-FFF2-40B4-BE49-F238E27FC236}">
                  <a16:creationId xmlns:a16="http://schemas.microsoft.com/office/drawing/2014/main" id="{80FE6978-7BD3-B948-A742-2D539C70C17F}"/>
                </a:ext>
              </a:extLst>
            </p:cNvPr>
            <p:cNvSpPr/>
            <p:nvPr/>
          </p:nvSpPr>
          <p:spPr bwMode="gray">
            <a:xfrm>
              <a:off x="1920629" y="2267457"/>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sp>
        <p:nvSpPr>
          <p:cNvPr id="93" name="Isosceles Triangle 41">
            <a:extLst>
              <a:ext uri="{FF2B5EF4-FFF2-40B4-BE49-F238E27FC236}">
                <a16:creationId xmlns:a16="http://schemas.microsoft.com/office/drawing/2014/main" id="{4BEC86BF-71C5-1943-9EB4-E426E55F1A37}"/>
              </a:ext>
            </a:extLst>
          </p:cNvPr>
          <p:cNvSpPr/>
          <p:nvPr/>
        </p:nvSpPr>
        <p:spPr bwMode="gray">
          <a:xfrm rot="975897">
            <a:off x="4964198" y="4045162"/>
            <a:ext cx="173399" cy="149482"/>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
        <p:nvSpPr>
          <p:cNvPr id="94" name="Isosceles Triangle 42">
            <a:extLst>
              <a:ext uri="{FF2B5EF4-FFF2-40B4-BE49-F238E27FC236}">
                <a16:creationId xmlns:a16="http://schemas.microsoft.com/office/drawing/2014/main" id="{40950A98-E35B-9F48-B040-946883796996}"/>
              </a:ext>
            </a:extLst>
          </p:cNvPr>
          <p:cNvSpPr/>
          <p:nvPr/>
        </p:nvSpPr>
        <p:spPr bwMode="gray">
          <a:xfrm rot="4502492">
            <a:off x="6359174" y="2779154"/>
            <a:ext cx="173399" cy="149482"/>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grpSp>
        <p:nvGrpSpPr>
          <p:cNvPr id="95" name="Group 94">
            <a:extLst>
              <a:ext uri="{FF2B5EF4-FFF2-40B4-BE49-F238E27FC236}">
                <a16:creationId xmlns:a16="http://schemas.microsoft.com/office/drawing/2014/main" id="{A0B8373C-A936-494C-8CCA-08C17E45B7E2}"/>
              </a:ext>
            </a:extLst>
          </p:cNvPr>
          <p:cNvGrpSpPr/>
          <p:nvPr/>
        </p:nvGrpSpPr>
        <p:grpSpPr>
          <a:xfrm>
            <a:off x="6069274" y="4454875"/>
            <a:ext cx="659246" cy="659246"/>
            <a:chOff x="2642459" y="4339890"/>
            <a:chExt cx="1143000" cy="1143000"/>
          </a:xfrm>
        </p:grpSpPr>
        <p:sp>
          <p:nvSpPr>
            <p:cNvPr id="96" name="Freeform 33">
              <a:extLst>
                <a:ext uri="{FF2B5EF4-FFF2-40B4-BE49-F238E27FC236}">
                  <a16:creationId xmlns:a16="http://schemas.microsoft.com/office/drawing/2014/main" id="{585AF9B4-1C6A-7141-A3D7-7A549954034B}"/>
                </a:ext>
              </a:extLst>
            </p:cNvPr>
            <p:cNvSpPr>
              <a:spLocks noChangeAspect="1" noEditPoints="1"/>
            </p:cNvSpPr>
            <p:nvPr/>
          </p:nvSpPr>
          <p:spPr bwMode="auto">
            <a:xfrm rot="20854841">
              <a:off x="2642459" y="4339890"/>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97" name="Oval 96">
              <a:extLst>
                <a:ext uri="{FF2B5EF4-FFF2-40B4-BE49-F238E27FC236}">
                  <a16:creationId xmlns:a16="http://schemas.microsoft.com/office/drawing/2014/main" id="{AA34D4D4-DC96-B344-9D39-B7283E0E7668}"/>
                </a:ext>
              </a:extLst>
            </p:cNvPr>
            <p:cNvSpPr/>
            <p:nvPr/>
          </p:nvSpPr>
          <p:spPr bwMode="gray">
            <a:xfrm>
              <a:off x="2835872" y="4537221"/>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grpSp>
        <p:nvGrpSpPr>
          <p:cNvPr id="98" name="Group 97">
            <a:extLst>
              <a:ext uri="{FF2B5EF4-FFF2-40B4-BE49-F238E27FC236}">
                <a16:creationId xmlns:a16="http://schemas.microsoft.com/office/drawing/2014/main" id="{5F6266A0-8849-6A46-B657-E6B2AEC78134}"/>
              </a:ext>
            </a:extLst>
          </p:cNvPr>
          <p:cNvGrpSpPr/>
          <p:nvPr/>
        </p:nvGrpSpPr>
        <p:grpSpPr>
          <a:xfrm>
            <a:off x="8017125" y="4433456"/>
            <a:ext cx="659246" cy="659246"/>
            <a:chOff x="4604001" y="4555054"/>
            <a:chExt cx="1143000" cy="1143000"/>
          </a:xfrm>
        </p:grpSpPr>
        <p:sp>
          <p:nvSpPr>
            <p:cNvPr id="108" name="Freeform 33">
              <a:extLst>
                <a:ext uri="{FF2B5EF4-FFF2-40B4-BE49-F238E27FC236}">
                  <a16:creationId xmlns:a16="http://schemas.microsoft.com/office/drawing/2014/main" id="{A7F4CD04-A0F4-F544-83C6-8093ECD95FC6}"/>
                </a:ext>
              </a:extLst>
            </p:cNvPr>
            <p:cNvSpPr>
              <a:spLocks noChangeAspect="1" noEditPoints="1"/>
            </p:cNvSpPr>
            <p:nvPr/>
          </p:nvSpPr>
          <p:spPr bwMode="auto">
            <a:xfrm rot="20841122">
              <a:off x="4604001" y="4555054"/>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109" name="Oval 108">
              <a:extLst>
                <a:ext uri="{FF2B5EF4-FFF2-40B4-BE49-F238E27FC236}">
                  <a16:creationId xmlns:a16="http://schemas.microsoft.com/office/drawing/2014/main" id="{EE6DDB9B-A6E6-D142-98FE-F99E687A4FB5}"/>
                </a:ext>
              </a:extLst>
            </p:cNvPr>
            <p:cNvSpPr/>
            <p:nvPr/>
          </p:nvSpPr>
          <p:spPr bwMode="gray">
            <a:xfrm>
              <a:off x="4796482" y="4760780"/>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sp>
        <p:nvSpPr>
          <p:cNvPr id="110" name="Arc 109">
            <a:extLst>
              <a:ext uri="{FF2B5EF4-FFF2-40B4-BE49-F238E27FC236}">
                <a16:creationId xmlns:a16="http://schemas.microsoft.com/office/drawing/2014/main" id="{4A159F82-0AC6-E64B-B1E6-DEF517C5C1A8}"/>
              </a:ext>
            </a:extLst>
          </p:cNvPr>
          <p:cNvSpPr/>
          <p:nvPr/>
        </p:nvSpPr>
        <p:spPr>
          <a:xfrm rot="16463859" flipV="1">
            <a:off x="7575692" y="1988721"/>
            <a:ext cx="1895705" cy="2136899"/>
          </a:xfrm>
          <a:prstGeom prst="arc">
            <a:avLst>
              <a:gd name="adj1" fmla="val 19101977"/>
              <a:gd name="adj2" fmla="val 3892168"/>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a:p>
        </p:txBody>
      </p:sp>
      <p:grpSp>
        <p:nvGrpSpPr>
          <p:cNvPr id="111" name="Group 110">
            <a:extLst>
              <a:ext uri="{FF2B5EF4-FFF2-40B4-BE49-F238E27FC236}">
                <a16:creationId xmlns:a16="http://schemas.microsoft.com/office/drawing/2014/main" id="{1F4EF046-0559-D544-A6C0-8558A2C6FAA7}"/>
              </a:ext>
            </a:extLst>
          </p:cNvPr>
          <p:cNvGrpSpPr/>
          <p:nvPr/>
        </p:nvGrpSpPr>
        <p:grpSpPr>
          <a:xfrm rot="21185510">
            <a:off x="9142361" y="2259246"/>
            <a:ext cx="659246" cy="659246"/>
            <a:chOff x="6824459" y="1733313"/>
            <a:chExt cx="1530942" cy="1546969"/>
          </a:xfrm>
        </p:grpSpPr>
        <p:sp>
          <p:nvSpPr>
            <p:cNvPr id="112" name="Freeform 33">
              <a:extLst>
                <a:ext uri="{FF2B5EF4-FFF2-40B4-BE49-F238E27FC236}">
                  <a16:creationId xmlns:a16="http://schemas.microsoft.com/office/drawing/2014/main" id="{E89C19EE-F613-4C4A-8285-6F86CBFF3CC3}"/>
                </a:ext>
              </a:extLst>
            </p:cNvPr>
            <p:cNvSpPr>
              <a:spLocks noChangeAspect="1" noEditPoints="1"/>
            </p:cNvSpPr>
            <p:nvPr/>
          </p:nvSpPr>
          <p:spPr bwMode="auto">
            <a:xfrm>
              <a:off x="6824459" y="1733313"/>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113" name="Oval 112">
              <a:extLst>
                <a:ext uri="{FF2B5EF4-FFF2-40B4-BE49-F238E27FC236}">
                  <a16:creationId xmlns:a16="http://schemas.microsoft.com/office/drawing/2014/main" id="{1F2FDB86-7BB5-5A44-944B-FD1DB77C29DC}"/>
                </a:ext>
              </a:extLst>
            </p:cNvPr>
            <p:cNvSpPr/>
            <p:nvPr/>
          </p:nvSpPr>
          <p:spPr bwMode="gray">
            <a:xfrm>
              <a:off x="7083518" y="2013220"/>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sp>
        <p:nvSpPr>
          <p:cNvPr id="114" name="Isosceles Triangle 50">
            <a:extLst>
              <a:ext uri="{FF2B5EF4-FFF2-40B4-BE49-F238E27FC236}">
                <a16:creationId xmlns:a16="http://schemas.microsoft.com/office/drawing/2014/main" id="{0FF82F76-1198-1742-AB15-8064B43E3F9B}"/>
              </a:ext>
            </a:extLst>
          </p:cNvPr>
          <p:cNvSpPr/>
          <p:nvPr/>
        </p:nvSpPr>
        <p:spPr bwMode="gray">
          <a:xfrm rot="6709092" flipH="1">
            <a:off x="8668463" y="2072081"/>
            <a:ext cx="173399" cy="149482"/>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
        <p:nvSpPr>
          <p:cNvPr id="115" name="Arc 114">
            <a:extLst>
              <a:ext uri="{FF2B5EF4-FFF2-40B4-BE49-F238E27FC236}">
                <a16:creationId xmlns:a16="http://schemas.microsoft.com/office/drawing/2014/main" id="{15722866-70FF-B841-BB87-9D9CF95FC51F}"/>
              </a:ext>
            </a:extLst>
          </p:cNvPr>
          <p:cNvSpPr/>
          <p:nvPr/>
        </p:nvSpPr>
        <p:spPr>
          <a:xfrm rot="15871604" flipV="1">
            <a:off x="7460674" y="2335780"/>
            <a:ext cx="1083944" cy="1221855"/>
          </a:xfrm>
          <a:prstGeom prst="arc">
            <a:avLst>
              <a:gd name="adj1" fmla="val 16240629"/>
              <a:gd name="adj2" fmla="val 2199322"/>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a:p>
        </p:txBody>
      </p:sp>
      <p:grpSp>
        <p:nvGrpSpPr>
          <p:cNvPr id="116" name="Group 115">
            <a:extLst>
              <a:ext uri="{FF2B5EF4-FFF2-40B4-BE49-F238E27FC236}">
                <a16:creationId xmlns:a16="http://schemas.microsoft.com/office/drawing/2014/main" id="{B8850856-442D-E746-B167-041BB1C0F5E5}"/>
              </a:ext>
            </a:extLst>
          </p:cNvPr>
          <p:cNvGrpSpPr/>
          <p:nvPr/>
        </p:nvGrpSpPr>
        <p:grpSpPr>
          <a:xfrm>
            <a:off x="8339554" y="2794243"/>
            <a:ext cx="659246" cy="659246"/>
            <a:chOff x="6824459" y="1733313"/>
            <a:chExt cx="1530942" cy="1546969"/>
          </a:xfrm>
        </p:grpSpPr>
        <p:sp>
          <p:nvSpPr>
            <p:cNvPr id="117" name="Freeform 33">
              <a:extLst>
                <a:ext uri="{FF2B5EF4-FFF2-40B4-BE49-F238E27FC236}">
                  <a16:creationId xmlns:a16="http://schemas.microsoft.com/office/drawing/2014/main" id="{0B73B562-7C7F-1445-83D2-C0ED8959C987}"/>
                </a:ext>
              </a:extLst>
            </p:cNvPr>
            <p:cNvSpPr>
              <a:spLocks noChangeAspect="1" noEditPoints="1"/>
            </p:cNvSpPr>
            <p:nvPr/>
          </p:nvSpPr>
          <p:spPr bwMode="auto">
            <a:xfrm>
              <a:off x="6824459" y="1733313"/>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118" name="Oval 117">
              <a:extLst>
                <a:ext uri="{FF2B5EF4-FFF2-40B4-BE49-F238E27FC236}">
                  <a16:creationId xmlns:a16="http://schemas.microsoft.com/office/drawing/2014/main" id="{47FEFC31-226F-A441-A86D-3A46DA48FC6D}"/>
                </a:ext>
              </a:extLst>
            </p:cNvPr>
            <p:cNvSpPr/>
            <p:nvPr/>
          </p:nvSpPr>
          <p:spPr bwMode="gray">
            <a:xfrm>
              <a:off x="7083518" y="2013220"/>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sp>
        <p:nvSpPr>
          <p:cNvPr id="119" name="Isosceles Triangle 50">
            <a:extLst>
              <a:ext uri="{FF2B5EF4-FFF2-40B4-BE49-F238E27FC236}">
                <a16:creationId xmlns:a16="http://schemas.microsoft.com/office/drawing/2014/main" id="{4F3555AC-ABE9-8646-AA2F-20E43A8466E4}"/>
              </a:ext>
            </a:extLst>
          </p:cNvPr>
          <p:cNvSpPr/>
          <p:nvPr/>
        </p:nvSpPr>
        <p:spPr bwMode="gray">
          <a:xfrm rot="7351820" flipH="1">
            <a:off x="8178552" y="2382641"/>
            <a:ext cx="173399" cy="149482"/>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
        <p:nvSpPr>
          <p:cNvPr id="120" name="object 91">
            <a:extLst>
              <a:ext uri="{FF2B5EF4-FFF2-40B4-BE49-F238E27FC236}">
                <a16:creationId xmlns:a16="http://schemas.microsoft.com/office/drawing/2014/main" id="{CDB35B23-BB55-DC46-9579-EA9E02CE0AE3}"/>
              </a:ext>
            </a:extLst>
          </p:cNvPr>
          <p:cNvSpPr txBox="1"/>
          <p:nvPr/>
        </p:nvSpPr>
        <p:spPr>
          <a:xfrm>
            <a:off x="5295047" y="4990630"/>
            <a:ext cx="251671" cy="115416"/>
          </a:xfrm>
          <a:prstGeom prst="rect">
            <a:avLst/>
          </a:prstGeom>
        </p:spPr>
        <p:txBody>
          <a:bodyPr vert="horz"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ea typeface="Open Sans" charset="0"/>
                <a:cs typeface="Open Sans" charset="0"/>
              </a:rPr>
              <a:t>Lorem</a:t>
            </a:r>
            <a:endParaRPr lang="en-US" sz="750" dirty="0">
              <a:ea typeface="Open Sans" charset="0"/>
              <a:cs typeface="Open Sans" charset="0"/>
            </a:endParaRPr>
          </a:p>
        </p:txBody>
      </p:sp>
      <p:sp>
        <p:nvSpPr>
          <p:cNvPr id="121" name="object 91">
            <a:extLst>
              <a:ext uri="{FF2B5EF4-FFF2-40B4-BE49-F238E27FC236}">
                <a16:creationId xmlns:a16="http://schemas.microsoft.com/office/drawing/2014/main" id="{679BCE5F-BB84-474F-89AB-667045CAE51D}"/>
              </a:ext>
            </a:extLst>
          </p:cNvPr>
          <p:cNvSpPr txBox="1"/>
          <p:nvPr/>
        </p:nvSpPr>
        <p:spPr>
          <a:xfrm>
            <a:off x="5267141" y="3706576"/>
            <a:ext cx="1087158" cy="11541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ea typeface="Open Sans" charset="0"/>
                <a:cs typeface="Open Sans" charset="0"/>
              </a:rPr>
              <a:t>Lorem </a:t>
            </a:r>
            <a:r>
              <a:rPr lang="en-US" sz="750" b="1" dirty="0" err="1">
                <a:ea typeface="Open Sans" charset="0"/>
                <a:cs typeface="Open Sans" charset="0"/>
              </a:rPr>
              <a:t>ipsumLorem</a:t>
            </a:r>
            <a:r>
              <a:rPr lang="en-US" sz="750" b="1" dirty="0">
                <a:ea typeface="Open Sans" charset="0"/>
                <a:cs typeface="Open Sans" charset="0"/>
              </a:rPr>
              <a:t> ipsum</a:t>
            </a:r>
            <a:endParaRPr lang="en-US" sz="750" dirty="0">
              <a:ea typeface="Open Sans" charset="0"/>
              <a:cs typeface="Open Sans" charset="0"/>
            </a:endParaRPr>
          </a:p>
        </p:txBody>
      </p:sp>
      <p:sp>
        <p:nvSpPr>
          <p:cNvPr id="122" name="object 91">
            <a:extLst>
              <a:ext uri="{FF2B5EF4-FFF2-40B4-BE49-F238E27FC236}">
                <a16:creationId xmlns:a16="http://schemas.microsoft.com/office/drawing/2014/main" id="{673F1832-55A6-5F43-AED2-BF0810C4774E}"/>
              </a:ext>
            </a:extLst>
          </p:cNvPr>
          <p:cNvSpPr txBox="1"/>
          <p:nvPr/>
        </p:nvSpPr>
        <p:spPr>
          <a:xfrm>
            <a:off x="5753039" y="2254144"/>
            <a:ext cx="1251991" cy="230832"/>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latin typeface="+mj-lt"/>
                <a:ea typeface="Open Sans" charset="0"/>
                <a:cs typeface="Open Sans" charset="0"/>
              </a:rPr>
              <a:t>Lorem </a:t>
            </a:r>
            <a:r>
              <a:rPr lang="en-US" sz="750" b="1" dirty="0" err="1">
                <a:latin typeface="+mj-lt"/>
                <a:ea typeface="Open Sans" charset="0"/>
                <a:cs typeface="Open Sans" charset="0"/>
              </a:rPr>
              <a:t>ipsumLorem</a:t>
            </a:r>
            <a:r>
              <a:rPr lang="en-US" sz="750" b="1" dirty="0">
                <a:latin typeface="+mj-lt"/>
                <a:ea typeface="Open Sans" charset="0"/>
                <a:cs typeface="Open Sans" charset="0"/>
              </a:rPr>
              <a:t> </a:t>
            </a:r>
            <a:r>
              <a:rPr lang="en-US" sz="750" b="1" dirty="0" err="1">
                <a:latin typeface="+mj-lt"/>
                <a:ea typeface="Open Sans" charset="0"/>
                <a:cs typeface="Open Sans" charset="0"/>
              </a:rPr>
              <a:t>ipsumLorem</a:t>
            </a:r>
            <a:r>
              <a:rPr lang="en-US" sz="750" b="1" dirty="0">
                <a:latin typeface="+mj-lt"/>
                <a:ea typeface="Open Sans" charset="0"/>
                <a:cs typeface="Open Sans" charset="0"/>
              </a:rPr>
              <a:t> ipsum</a:t>
            </a:r>
            <a:endParaRPr sz="750" b="1" dirty="0">
              <a:latin typeface="+mj-lt"/>
              <a:ea typeface="Open Sans" charset="0"/>
              <a:cs typeface="Open Sans" charset="0"/>
            </a:endParaRPr>
          </a:p>
        </p:txBody>
      </p:sp>
      <p:sp>
        <p:nvSpPr>
          <p:cNvPr id="123" name="object 91">
            <a:extLst>
              <a:ext uri="{FF2B5EF4-FFF2-40B4-BE49-F238E27FC236}">
                <a16:creationId xmlns:a16="http://schemas.microsoft.com/office/drawing/2014/main" id="{5745D873-4A10-464B-A440-8B86B8619B73}"/>
              </a:ext>
            </a:extLst>
          </p:cNvPr>
          <p:cNvSpPr txBox="1"/>
          <p:nvPr/>
        </p:nvSpPr>
        <p:spPr>
          <a:xfrm>
            <a:off x="8197622" y="3477266"/>
            <a:ext cx="1012584" cy="230832"/>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latin typeface="+mj-lt"/>
                <a:ea typeface="Open Sans" charset="0"/>
                <a:cs typeface="Open Sans" charset="0"/>
              </a:rPr>
              <a:t>Lorem </a:t>
            </a:r>
            <a:r>
              <a:rPr lang="en-US" sz="750" b="1" dirty="0" err="1">
                <a:latin typeface="+mj-lt"/>
                <a:ea typeface="Open Sans" charset="0"/>
                <a:cs typeface="Open Sans" charset="0"/>
              </a:rPr>
              <a:t>ipsumLorem</a:t>
            </a:r>
            <a:r>
              <a:rPr lang="en-US" sz="750" b="1" dirty="0">
                <a:latin typeface="+mj-lt"/>
                <a:ea typeface="Open Sans" charset="0"/>
                <a:cs typeface="Open Sans" charset="0"/>
              </a:rPr>
              <a:t> </a:t>
            </a:r>
            <a:r>
              <a:rPr lang="en-US" sz="750" b="1" dirty="0" err="1">
                <a:latin typeface="+mj-lt"/>
                <a:ea typeface="Open Sans" charset="0"/>
                <a:cs typeface="Open Sans" charset="0"/>
              </a:rPr>
              <a:t>ipsumLorem</a:t>
            </a:r>
            <a:r>
              <a:rPr lang="en-US" sz="750" b="1" dirty="0">
                <a:latin typeface="+mj-lt"/>
                <a:ea typeface="Open Sans" charset="0"/>
                <a:cs typeface="Open Sans" charset="0"/>
              </a:rPr>
              <a:t> ipsum</a:t>
            </a:r>
            <a:endParaRPr sz="750" dirty="0">
              <a:latin typeface="+mj-lt"/>
              <a:ea typeface="Open Sans" charset="0"/>
              <a:cs typeface="Open Sans" charset="0"/>
            </a:endParaRPr>
          </a:p>
        </p:txBody>
      </p:sp>
      <p:sp>
        <p:nvSpPr>
          <p:cNvPr id="124" name="object 91">
            <a:extLst>
              <a:ext uri="{FF2B5EF4-FFF2-40B4-BE49-F238E27FC236}">
                <a16:creationId xmlns:a16="http://schemas.microsoft.com/office/drawing/2014/main" id="{0AE3DEFA-F974-9A4C-8190-682DF82DAF27}"/>
              </a:ext>
            </a:extLst>
          </p:cNvPr>
          <p:cNvSpPr txBox="1"/>
          <p:nvPr/>
        </p:nvSpPr>
        <p:spPr>
          <a:xfrm>
            <a:off x="9276864" y="2970966"/>
            <a:ext cx="1042922" cy="11541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latin typeface="+mj-lt"/>
                <a:ea typeface="Open Sans" charset="0"/>
                <a:cs typeface="Open Sans" charset="0"/>
              </a:rPr>
              <a:t>Lorem </a:t>
            </a:r>
            <a:r>
              <a:rPr lang="en-US" sz="750" b="1" dirty="0" err="1">
                <a:latin typeface="+mj-lt"/>
                <a:ea typeface="Open Sans" charset="0"/>
                <a:cs typeface="Open Sans" charset="0"/>
              </a:rPr>
              <a:t>ipsumLorem</a:t>
            </a:r>
            <a:r>
              <a:rPr lang="en-US" sz="750" b="1" dirty="0">
                <a:latin typeface="+mj-lt"/>
                <a:ea typeface="Open Sans" charset="0"/>
                <a:cs typeface="Open Sans" charset="0"/>
              </a:rPr>
              <a:t> ipsum</a:t>
            </a:r>
            <a:endParaRPr sz="750" dirty="0">
              <a:latin typeface="+mj-lt"/>
              <a:ea typeface="Open Sans" charset="0"/>
              <a:cs typeface="Open Sans" charset="0"/>
            </a:endParaRPr>
          </a:p>
        </p:txBody>
      </p:sp>
      <p:sp>
        <p:nvSpPr>
          <p:cNvPr id="125" name="object 91">
            <a:extLst>
              <a:ext uri="{FF2B5EF4-FFF2-40B4-BE49-F238E27FC236}">
                <a16:creationId xmlns:a16="http://schemas.microsoft.com/office/drawing/2014/main" id="{9A569408-D98B-7446-A724-9C8FDEFD42EF}"/>
              </a:ext>
            </a:extLst>
          </p:cNvPr>
          <p:cNvSpPr txBox="1"/>
          <p:nvPr/>
        </p:nvSpPr>
        <p:spPr>
          <a:xfrm>
            <a:off x="6112666" y="5196770"/>
            <a:ext cx="535975" cy="346249"/>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ea typeface="Open Sans" charset="0"/>
                <a:cs typeface="Open Sans" charset="0"/>
              </a:rPr>
              <a:t>Lorem </a:t>
            </a:r>
            <a:r>
              <a:rPr lang="en-US" sz="750" b="1" dirty="0" err="1">
                <a:ea typeface="Open Sans" charset="0"/>
                <a:cs typeface="Open Sans" charset="0"/>
              </a:rPr>
              <a:t>ipsumLorem</a:t>
            </a:r>
            <a:r>
              <a:rPr lang="en-US" sz="750" b="1" dirty="0">
                <a:ea typeface="Open Sans" charset="0"/>
                <a:cs typeface="Open Sans" charset="0"/>
              </a:rPr>
              <a:t> ipsum</a:t>
            </a:r>
            <a:endParaRPr lang="en-US" sz="750" dirty="0">
              <a:ea typeface="Open Sans" charset="0"/>
              <a:cs typeface="Open Sans" charset="0"/>
            </a:endParaRPr>
          </a:p>
        </p:txBody>
      </p:sp>
      <p:sp>
        <p:nvSpPr>
          <p:cNvPr id="126" name="object 91">
            <a:extLst>
              <a:ext uri="{FF2B5EF4-FFF2-40B4-BE49-F238E27FC236}">
                <a16:creationId xmlns:a16="http://schemas.microsoft.com/office/drawing/2014/main" id="{152490BB-020A-344C-8919-E8F5E367326B}"/>
              </a:ext>
            </a:extLst>
          </p:cNvPr>
          <p:cNvSpPr txBox="1"/>
          <p:nvPr/>
        </p:nvSpPr>
        <p:spPr>
          <a:xfrm>
            <a:off x="6829242" y="4588447"/>
            <a:ext cx="1035975" cy="11541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ea typeface="Open Sans" charset="0"/>
                <a:cs typeface="Open Sans" charset="0"/>
              </a:rPr>
              <a:t>Lorem </a:t>
            </a:r>
            <a:r>
              <a:rPr lang="en-US" sz="750" b="1" dirty="0" err="1">
                <a:ea typeface="Open Sans" charset="0"/>
                <a:cs typeface="Open Sans" charset="0"/>
              </a:rPr>
              <a:t>ipsumLorem</a:t>
            </a:r>
            <a:r>
              <a:rPr lang="en-US" sz="750" b="1" dirty="0">
                <a:ea typeface="Open Sans" charset="0"/>
                <a:cs typeface="Open Sans" charset="0"/>
              </a:rPr>
              <a:t> ipsum</a:t>
            </a:r>
            <a:endParaRPr lang="en-US" sz="750" dirty="0">
              <a:ea typeface="Open Sans" charset="0"/>
              <a:cs typeface="Open Sans" charset="0"/>
            </a:endParaRPr>
          </a:p>
        </p:txBody>
      </p:sp>
      <p:sp>
        <p:nvSpPr>
          <p:cNvPr id="127" name="object 91">
            <a:extLst>
              <a:ext uri="{FF2B5EF4-FFF2-40B4-BE49-F238E27FC236}">
                <a16:creationId xmlns:a16="http://schemas.microsoft.com/office/drawing/2014/main" id="{3F3B96DA-D4BC-5B40-BF6F-F348A9BFA188}"/>
              </a:ext>
            </a:extLst>
          </p:cNvPr>
          <p:cNvSpPr txBox="1"/>
          <p:nvPr/>
        </p:nvSpPr>
        <p:spPr>
          <a:xfrm>
            <a:off x="7816031" y="5163767"/>
            <a:ext cx="1175381" cy="11541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ea typeface="Open Sans" charset="0"/>
                <a:cs typeface="Open Sans" charset="0"/>
              </a:rPr>
              <a:t>Lorem </a:t>
            </a:r>
            <a:r>
              <a:rPr lang="en-US" sz="750" b="1" dirty="0" err="1">
                <a:ea typeface="Open Sans" charset="0"/>
                <a:cs typeface="Open Sans" charset="0"/>
              </a:rPr>
              <a:t>ipsumLorem</a:t>
            </a:r>
            <a:r>
              <a:rPr lang="en-US" sz="750" b="1" dirty="0">
                <a:ea typeface="Open Sans" charset="0"/>
                <a:cs typeface="Open Sans" charset="0"/>
              </a:rPr>
              <a:t> ipsum</a:t>
            </a:r>
            <a:endParaRPr lang="en-US" sz="750" dirty="0">
              <a:ea typeface="Open Sans" charset="0"/>
              <a:cs typeface="Open Sans" charset="0"/>
            </a:endParaRPr>
          </a:p>
        </p:txBody>
      </p:sp>
      <p:sp>
        <p:nvSpPr>
          <p:cNvPr id="128" name="Rectangle: Top Corners Rounded 62">
            <a:extLst>
              <a:ext uri="{FF2B5EF4-FFF2-40B4-BE49-F238E27FC236}">
                <a16:creationId xmlns:a16="http://schemas.microsoft.com/office/drawing/2014/main" id="{7EAC548C-E407-5149-B8BE-3B68C20618B1}"/>
              </a:ext>
            </a:extLst>
          </p:cNvPr>
          <p:cNvSpPr/>
          <p:nvPr/>
        </p:nvSpPr>
        <p:spPr bwMode="gray">
          <a:xfrm flipV="1">
            <a:off x="1876425" y="2248471"/>
            <a:ext cx="3142380" cy="1687789"/>
          </a:xfrm>
          <a:prstGeom prst="round2SameRect">
            <a:avLst>
              <a:gd name="adj1" fmla="val 8431"/>
              <a:gd name="adj2" fmla="val 0"/>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29" name="Rectangle 128">
            <a:extLst>
              <a:ext uri="{FF2B5EF4-FFF2-40B4-BE49-F238E27FC236}">
                <a16:creationId xmlns:a16="http://schemas.microsoft.com/office/drawing/2014/main" id="{CA577726-8A73-2C49-9FA0-0A3FC311DA7E}"/>
              </a:ext>
            </a:extLst>
          </p:cNvPr>
          <p:cNvSpPr/>
          <p:nvPr/>
        </p:nvSpPr>
        <p:spPr>
          <a:xfrm>
            <a:off x="3642123" y="2446816"/>
            <a:ext cx="1318461" cy="936154"/>
          </a:xfrm>
          <a:prstGeom prst="rect">
            <a:avLst/>
          </a:prstGeom>
          <a:noFill/>
        </p:spPr>
        <p:txBody>
          <a:bodyPr wrap="square" lIns="0" tIns="0" rIns="0" bIns="0">
            <a:spAutoFit/>
          </a:bodyPr>
          <a:lstStyle/>
          <a:p>
            <a:pPr>
              <a:spcBef>
                <a:spcPts val="450"/>
              </a:spcBef>
            </a:pPr>
            <a:r>
              <a:rPr lang="en-US" sz="750" b="1" dirty="0"/>
              <a:t>Lorem ipsum: </a:t>
            </a:r>
          </a:p>
          <a:p>
            <a:pPr marL="85725" indent="-85725">
              <a:spcBef>
                <a:spcPts val="450"/>
              </a:spcBef>
              <a:buFont typeface="Arial" panose="020B0604020202020204" pitchFamily="34" charset="0"/>
              <a:buChar char="•"/>
            </a:pPr>
            <a:r>
              <a:rPr lang="en-US" sz="750" dirty="0"/>
              <a:t>Lorem </a:t>
            </a:r>
            <a:r>
              <a:rPr lang="en-US" sz="750" dirty="0" err="1"/>
              <a:t>ipsumLorem</a:t>
            </a:r>
            <a:r>
              <a:rPr lang="en-US" sz="750" dirty="0"/>
              <a:t> </a:t>
            </a:r>
            <a:r>
              <a:rPr lang="en-US" sz="750" dirty="0" err="1"/>
              <a:t>ipsumLorem</a:t>
            </a:r>
            <a:r>
              <a:rPr lang="en-US" sz="750" dirty="0"/>
              <a:t> </a:t>
            </a:r>
            <a:r>
              <a:rPr lang="en-US" sz="750" dirty="0" err="1"/>
              <a:t>ipsumLorem</a:t>
            </a:r>
            <a:r>
              <a:rPr lang="en-US" sz="750" dirty="0"/>
              <a:t> </a:t>
            </a:r>
            <a:r>
              <a:rPr lang="en-US" sz="750" dirty="0" err="1"/>
              <a:t>ipsumLorem</a:t>
            </a:r>
            <a:r>
              <a:rPr lang="en-US" sz="750" dirty="0"/>
              <a:t> ipsum</a:t>
            </a:r>
          </a:p>
          <a:p>
            <a:pPr marL="85725" indent="-85725">
              <a:spcBef>
                <a:spcPts val="450"/>
              </a:spcBef>
              <a:buFont typeface="Arial" panose="020B0604020202020204" pitchFamily="34" charset="0"/>
              <a:buChar char="•"/>
            </a:pPr>
            <a:r>
              <a:rPr lang="en-US" sz="750" dirty="0"/>
              <a:t>Lorem </a:t>
            </a:r>
            <a:r>
              <a:rPr lang="en-US" sz="750" dirty="0" err="1"/>
              <a:t>ipsumLorem</a:t>
            </a:r>
            <a:r>
              <a:rPr lang="en-US" sz="750" dirty="0"/>
              <a:t> </a:t>
            </a:r>
            <a:r>
              <a:rPr lang="en-US" sz="750" dirty="0" err="1"/>
              <a:t>ipsumLorem</a:t>
            </a:r>
            <a:r>
              <a:rPr lang="en-US" sz="750" dirty="0"/>
              <a:t> </a:t>
            </a:r>
            <a:r>
              <a:rPr lang="en-US" sz="750" dirty="0" err="1"/>
              <a:t>ipsumLorem</a:t>
            </a:r>
            <a:r>
              <a:rPr lang="en-US" sz="750" dirty="0"/>
              <a:t> ipsum</a:t>
            </a:r>
          </a:p>
        </p:txBody>
      </p:sp>
      <p:sp>
        <p:nvSpPr>
          <p:cNvPr id="130" name="Rectangle 129">
            <a:extLst>
              <a:ext uri="{FF2B5EF4-FFF2-40B4-BE49-F238E27FC236}">
                <a16:creationId xmlns:a16="http://schemas.microsoft.com/office/drawing/2014/main" id="{B4B5040E-399D-BB4D-8A86-CF99B8436722}"/>
              </a:ext>
            </a:extLst>
          </p:cNvPr>
          <p:cNvSpPr/>
          <p:nvPr/>
        </p:nvSpPr>
        <p:spPr>
          <a:xfrm>
            <a:off x="1939865" y="2446816"/>
            <a:ext cx="1602767" cy="705321"/>
          </a:xfrm>
          <a:prstGeom prst="rect">
            <a:avLst/>
          </a:prstGeom>
          <a:noFill/>
        </p:spPr>
        <p:txBody>
          <a:bodyPr wrap="square" lIns="0" tIns="0" rIns="0" bIns="0">
            <a:spAutoFit/>
          </a:bodyPr>
          <a:lstStyle/>
          <a:p>
            <a:pPr>
              <a:spcBef>
                <a:spcPts val="450"/>
              </a:spcBef>
            </a:pPr>
            <a:r>
              <a:rPr lang="en-US" sz="750" b="1" dirty="0"/>
              <a:t>Lorem ipsum: </a:t>
            </a:r>
          </a:p>
          <a:p>
            <a:pPr marL="85725" indent="-85725">
              <a:spcBef>
                <a:spcPts val="450"/>
              </a:spcBef>
              <a:buFont typeface="Arial" panose="020B0604020202020204" pitchFamily="34" charset="0"/>
              <a:buChar char="•"/>
            </a:pPr>
            <a:r>
              <a:rPr lang="en-US" sz="750" dirty="0"/>
              <a:t>Lorem </a:t>
            </a:r>
            <a:r>
              <a:rPr lang="en-US" sz="750" dirty="0" err="1"/>
              <a:t>ipsumLorem</a:t>
            </a:r>
            <a:r>
              <a:rPr lang="en-US" sz="750" dirty="0"/>
              <a:t> </a:t>
            </a:r>
            <a:r>
              <a:rPr lang="en-US" sz="750" dirty="0" err="1"/>
              <a:t>ipsumLorem</a:t>
            </a:r>
            <a:r>
              <a:rPr lang="en-US" sz="750" dirty="0"/>
              <a:t> </a:t>
            </a:r>
            <a:r>
              <a:rPr lang="en-US" sz="750" dirty="0" err="1"/>
              <a:t>ipsumLorem</a:t>
            </a:r>
            <a:r>
              <a:rPr lang="en-US" sz="750" dirty="0"/>
              <a:t> </a:t>
            </a:r>
            <a:r>
              <a:rPr lang="en-US" sz="750" dirty="0" err="1"/>
              <a:t>ipsumLorem</a:t>
            </a:r>
            <a:r>
              <a:rPr lang="en-US" sz="750" dirty="0"/>
              <a:t> ipsum</a:t>
            </a:r>
          </a:p>
          <a:p>
            <a:pPr marL="85725" indent="-85725">
              <a:spcBef>
                <a:spcPts val="450"/>
              </a:spcBef>
              <a:buFont typeface="Arial" panose="020B0604020202020204" pitchFamily="34" charset="0"/>
              <a:buChar char="•"/>
            </a:pPr>
            <a:r>
              <a:rPr lang="en-US" sz="750" dirty="0"/>
              <a:t>Lorem </a:t>
            </a:r>
            <a:r>
              <a:rPr lang="en-US" sz="750" dirty="0" err="1"/>
              <a:t>ipsumLorem</a:t>
            </a:r>
            <a:r>
              <a:rPr lang="en-US" sz="750" dirty="0"/>
              <a:t> </a:t>
            </a:r>
            <a:r>
              <a:rPr lang="en-US" sz="750" dirty="0" err="1"/>
              <a:t>ipsumLorem</a:t>
            </a:r>
            <a:r>
              <a:rPr lang="en-US" sz="750" dirty="0"/>
              <a:t> </a:t>
            </a:r>
            <a:r>
              <a:rPr lang="en-US" sz="750" dirty="0" err="1"/>
              <a:t>ipsumLorem</a:t>
            </a:r>
            <a:r>
              <a:rPr lang="en-US" sz="750" dirty="0"/>
              <a:t> ipsum</a:t>
            </a:r>
          </a:p>
        </p:txBody>
      </p:sp>
      <p:sp>
        <p:nvSpPr>
          <p:cNvPr id="131" name="Rectangle 130">
            <a:extLst>
              <a:ext uri="{FF2B5EF4-FFF2-40B4-BE49-F238E27FC236}">
                <a16:creationId xmlns:a16="http://schemas.microsoft.com/office/drawing/2014/main" id="{2DE7A5F5-A798-3143-B940-3FC49C2CC378}"/>
              </a:ext>
            </a:extLst>
          </p:cNvPr>
          <p:cNvSpPr/>
          <p:nvPr/>
        </p:nvSpPr>
        <p:spPr>
          <a:xfrm>
            <a:off x="1939863" y="3476569"/>
            <a:ext cx="1583386" cy="410369"/>
          </a:xfrm>
          <a:prstGeom prst="rect">
            <a:avLst/>
          </a:prstGeom>
          <a:noFill/>
        </p:spPr>
        <p:txBody>
          <a:bodyPr wrap="square" lIns="0" tIns="0" rIns="0" bIns="0">
            <a:spAutoFit/>
          </a:bodyPr>
          <a:lstStyle/>
          <a:p>
            <a:pPr>
              <a:spcBef>
                <a:spcPts val="450"/>
              </a:spcBef>
            </a:pPr>
            <a:r>
              <a:rPr lang="en-US" sz="750" b="1" dirty="0"/>
              <a:t>Lorem ipsum: </a:t>
            </a:r>
          </a:p>
          <a:p>
            <a:pPr marL="85725" indent="-85725">
              <a:spcBef>
                <a:spcPts val="450"/>
              </a:spcBef>
              <a:buFont typeface="Arial" panose="020B0604020202020204" pitchFamily="34" charset="0"/>
              <a:buChar char="•"/>
            </a:pPr>
            <a:r>
              <a:rPr lang="en-US" sz="750" dirty="0"/>
              <a:t>Lorem </a:t>
            </a:r>
            <a:r>
              <a:rPr lang="en-US" sz="750" dirty="0" err="1"/>
              <a:t>ipsumLorem</a:t>
            </a:r>
            <a:r>
              <a:rPr lang="en-US" sz="750" dirty="0"/>
              <a:t> </a:t>
            </a:r>
            <a:r>
              <a:rPr lang="en-US" sz="750" dirty="0" err="1"/>
              <a:t>ipsumLorem</a:t>
            </a:r>
            <a:r>
              <a:rPr lang="en-US" sz="750" dirty="0"/>
              <a:t> </a:t>
            </a:r>
            <a:r>
              <a:rPr lang="en-US" sz="750" dirty="0" err="1"/>
              <a:t>ipsumLorem</a:t>
            </a:r>
            <a:r>
              <a:rPr lang="en-US" sz="750" dirty="0"/>
              <a:t> </a:t>
            </a:r>
            <a:r>
              <a:rPr lang="en-US" sz="750" dirty="0" err="1"/>
              <a:t>ipsumLorem</a:t>
            </a:r>
            <a:r>
              <a:rPr lang="en-US" sz="750" dirty="0"/>
              <a:t> ipsum</a:t>
            </a:r>
          </a:p>
        </p:txBody>
      </p:sp>
      <p:grpSp>
        <p:nvGrpSpPr>
          <p:cNvPr id="132" name="Group 498">
            <a:extLst>
              <a:ext uri="{FF2B5EF4-FFF2-40B4-BE49-F238E27FC236}">
                <a16:creationId xmlns:a16="http://schemas.microsoft.com/office/drawing/2014/main" id="{04E94E50-DC5E-5043-9E38-A060ACBECF88}"/>
              </a:ext>
            </a:extLst>
          </p:cNvPr>
          <p:cNvGrpSpPr>
            <a:grpSpLocks noChangeAspect="1"/>
          </p:cNvGrpSpPr>
          <p:nvPr/>
        </p:nvGrpSpPr>
        <p:grpSpPr bwMode="auto">
          <a:xfrm>
            <a:off x="4808873" y="4917523"/>
            <a:ext cx="275723" cy="275723"/>
            <a:chOff x="1543" y="2005"/>
            <a:chExt cx="340" cy="340"/>
          </a:xfrm>
          <a:solidFill>
            <a:schemeClr val="accent5"/>
          </a:solidFill>
        </p:grpSpPr>
        <p:sp>
          <p:nvSpPr>
            <p:cNvPr id="133" name="Freeform 499">
              <a:extLst>
                <a:ext uri="{FF2B5EF4-FFF2-40B4-BE49-F238E27FC236}">
                  <a16:creationId xmlns:a16="http://schemas.microsoft.com/office/drawing/2014/main" id="{30E4555B-3E55-6146-865F-17F13427CF5C}"/>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34" name="Freeform 500">
              <a:extLst>
                <a:ext uri="{FF2B5EF4-FFF2-40B4-BE49-F238E27FC236}">
                  <a16:creationId xmlns:a16="http://schemas.microsoft.com/office/drawing/2014/main" id="{24C652EF-7D08-F148-8220-83DCD05BE323}"/>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sp>
        <p:nvSpPr>
          <p:cNvPr id="135" name="Freeform 254">
            <a:extLst>
              <a:ext uri="{FF2B5EF4-FFF2-40B4-BE49-F238E27FC236}">
                <a16:creationId xmlns:a16="http://schemas.microsoft.com/office/drawing/2014/main" id="{504A9460-DBE1-3647-8C54-57E0DA4A6E4B}"/>
              </a:ext>
            </a:extLst>
          </p:cNvPr>
          <p:cNvSpPr>
            <a:spLocks noChangeAspect="1" noEditPoints="1"/>
          </p:cNvSpPr>
          <p:nvPr/>
        </p:nvSpPr>
        <p:spPr bwMode="auto">
          <a:xfrm>
            <a:off x="5343963" y="3211689"/>
            <a:ext cx="278072" cy="2772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rgbClr val="00ABAB"/>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36" name="Freeform 242">
            <a:extLst>
              <a:ext uri="{FF2B5EF4-FFF2-40B4-BE49-F238E27FC236}">
                <a16:creationId xmlns:a16="http://schemas.microsoft.com/office/drawing/2014/main" id="{8311776A-DD9E-9149-B80B-E47E5A839C32}"/>
              </a:ext>
            </a:extLst>
          </p:cNvPr>
          <p:cNvSpPr>
            <a:spLocks noChangeAspect="1" noEditPoints="1"/>
          </p:cNvSpPr>
          <p:nvPr/>
        </p:nvSpPr>
        <p:spPr bwMode="auto">
          <a:xfrm>
            <a:off x="7190848" y="2467471"/>
            <a:ext cx="277257" cy="277257"/>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rgbClr val="00ABAB"/>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37" name="Freeform 598">
            <a:extLst>
              <a:ext uri="{FF2B5EF4-FFF2-40B4-BE49-F238E27FC236}">
                <a16:creationId xmlns:a16="http://schemas.microsoft.com/office/drawing/2014/main" id="{0F6830B1-77CE-844A-9556-EF9D0C2B28C0}"/>
              </a:ext>
            </a:extLst>
          </p:cNvPr>
          <p:cNvSpPr>
            <a:spLocks noChangeAspect="1" noEditPoints="1"/>
          </p:cNvSpPr>
          <p:nvPr/>
        </p:nvSpPr>
        <p:spPr bwMode="auto">
          <a:xfrm>
            <a:off x="6260270" y="4645871"/>
            <a:ext cx="277257" cy="2772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38" name="Freeform 132">
            <a:extLst>
              <a:ext uri="{FF2B5EF4-FFF2-40B4-BE49-F238E27FC236}">
                <a16:creationId xmlns:a16="http://schemas.microsoft.com/office/drawing/2014/main" id="{34A95136-9C68-E747-AA85-E5D8A813FFB2}"/>
              </a:ext>
            </a:extLst>
          </p:cNvPr>
          <p:cNvSpPr>
            <a:spLocks noChangeAspect="1" noEditPoints="1"/>
          </p:cNvSpPr>
          <p:nvPr/>
        </p:nvSpPr>
        <p:spPr bwMode="auto">
          <a:xfrm>
            <a:off x="8208888" y="4625219"/>
            <a:ext cx="275723" cy="27572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65 h 512"/>
              <a:gd name="T12" fmla="*/ 381 w 512"/>
              <a:gd name="T13" fmla="*/ 381 h 512"/>
              <a:gd name="T14" fmla="*/ 373 w 512"/>
              <a:gd name="T15" fmla="*/ 384 h 512"/>
              <a:gd name="T16" fmla="*/ 365 w 512"/>
              <a:gd name="T17" fmla="*/ 381 h 512"/>
              <a:gd name="T18" fmla="*/ 256 w 512"/>
              <a:gd name="T19" fmla="*/ 271 h 512"/>
              <a:gd name="T20" fmla="*/ 146 w 512"/>
              <a:gd name="T21" fmla="*/ 381 h 512"/>
              <a:gd name="T22" fmla="*/ 138 w 512"/>
              <a:gd name="T23" fmla="*/ 384 h 512"/>
              <a:gd name="T24" fmla="*/ 131 w 512"/>
              <a:gd name="T25" fmla="*/ 381 h 512"/>
              <a:gd name="T26" fmla="*/ 131 w 512"/>
              <a:gd name="T27" fmla="*/ 365 h 512"/>
              <a:gd name="T28" fmla="*/ 241 w 512"/>
              <a:gd name="T29" fmla="*/ 256 h 512"/>
              <a:gd name="T30" fmla="*/ 131 w 512"/>
              <a:gd name="T31" fmla="*/ 146 h 512"/>
              <a:gd name="T32" fmla="*/ 131 w 512"/>
              <a:gd name="T33" fmla="*/ 131 h 512"/>
              <a:gd name="T34" fmla="*/ 146 w 512"/>
              <a:gd name="T35" fmla="*/ 131 h 512"/>
              <a:gd name="T36" fmla="*/ 256 w 512"/>
              <a:gd name="T37" fmla="*/ 241 h 512"/>
              <a:gd name="T38" fmla="*/ 365 w 512"/>
              <a:gd name="T39" fmla="*/ 131 h 512"/>
              <a:gd name="T40" fmla="*/ 381 w 512"/>
              <a:gd name="T41" fmla="*/ 131 h 512"/>
              <a:gd name="T42" fmla="*/ 381 w 512"/>
              <a:gd name="T43" fmla="*/ 146 h 512"/>
              <a:gd name="T44" fmla="*/ 271 w 512"/>
              <a:gd name="T45" fmla="*/ 256 h 512"/>
              <a:gd name="T46" fmla="*/ 381 w 512"/>
              <a:gd name="T47"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65"/>
                </a:moveTo>
                <a:cubicBezTo>
                  <a:pt x="385" y="370"/>
                  <a:pt x="385" y="376"/>
                  <a:pt x="381" y="381"/>
                </a:cubicBezTo>
                <a:cubicBezTo>
                  <a:pt x="378" y="383"/>
                  <a:pt x="376" y="384"/>
                  <a:pt x="373" y="384"/>
                </a:cubicBezTo>
                <a:cubicBezTo>
                  <a:pt x="370" y="384"/>
                  <a:pt x="368" y="383"/>
                  <a:pt x="365" y="381"/>
                </a:cubicBezTo>
                <a:cubicBezTo>
                  <a:pt x="256" y="271"/>
                  <a:pt x="256" y="271"/>
                  <a:pt x="256" y="271"/>
                </a:cubicBezTo>
                <a:cubicBezTo>
                  <a:pt x="146" y="381"/>
                  <a:pt x="146" y="381"/>
                  <a:pt x="146" y="381"/>
                </a:cubicBezTo>
                <a:cubicBezTo>
                  <a:pt x="144" y="383"/>
                  <a:pt x="141" y="384"/>
                  <a:pt x="138" y="384"/>
                </a:cubicBezTo>
                <a:cubicBezTo>
                  <a:pt x="136" y="384"/>
                  <a:pt x="133" y="383"/>
                  <a:pt x="131" y="381"/>
                </a:cubicBezTo>
                <a:cubicBezTo>
                  <a:pt x="127" y="376"/>
                  <a:pt x="127" y="370"/>
                  <a:pt x="131" y="365"/>
                </a:cubicBezTo>
                <a:cubicBezTo>
                  <a:pt x="241" y="256"/>
                  <a:pt x="241" y="256"/>
                  <a:pt x="241" y="256"/>
                </a:cubicBezTo>
                <a:cubicBezTo>
                  <a:pt x="131" y="146"/>
                  <a:pt x="131" y="146"/>
                  <a:pt x="131" y="146"/>
                </a:cubicBezTo>
                <a:cubicBezTo>
                  <a:pt x="127" y="142"/>
                  <a:pt x="127" y="135"/>
                  <a:pt x="131" y="131"/>
                </a:cubicBezTo>
                <a:cubicBezTo>
                  <a:pt x="135" y="127"/>
                  <a:pt x="142" y="127"/>
                  <a:pt x="146" y="131"/>
                </a:cubicBezTo>
                <a:cubicBezTo>
                  <a:pt x="256" y="241"/>
                  <a:pt x="256" y="241"/>
                  <a:pt x="256" y="241"/>
                </a:cubicBezTo>
                <a:cubicBezTo>
                  <a:pt x="365" y="131"/>
                  <a:pt x="365" y="131"/>
                  <a:pt x="365" y="131"/>
                </a:cubicBezTo>
                <a:cubicBezTo>
                  <a:pt x="370" y="127"/>
                  <a:pt x="376" y="127"/>
                  <a:pt x="381" y="131"/>
                </a:cubicBezTo>
                <a:cubicBezTo>
                  <a:pt x="385" y="135"/>
                  <a:pt x="385" y="142"/>
                  <a:pt x="381" y="146"/>
                </a:cubicBezTo>
                <a:cubicBezTo>
                  <a:pt x="271" y="256"/>
                  <a:pt x="271" y="256"/>
                  <a:pt x="271" y="256"/>
                </a:cubicBezTo>
                <a:lnTo>
                  <a:pt x="381" y="365"/>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39" name="Freeform 189">
            <a:extLst>
              <a:ext uri="{FF2B5EF4-FFF2-40B4-BE49-F238E27FC236}">
                <a16:creationId xmlns:a16="http://schemas.microsoft.com/office/drawing/2014/main" id="{0B9AB420-0646-744E-82B7-AFCEEC839C57}"/>
              </a:ext>
            </a:extLst>
          </p:cNvPr>
          <p:cNvSpPr>
            <a:spLocks noChangeAspect="1" noEditPoints="1"/>
          </p:cNvSpPr>
          <p:nvPr/>
        </p:nvSpPr>
        <p:spPr bwMode="auto">
          <a:xfrm>
            <a:off x="8531536" y="2986227"/>
            <a:ext cx="275282" cy="275281"/>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00ABAB"/>
          </a:solidFill>
          <a:ln>
            <a:noFill/>
          </a:ln>
        </p:spPr>
        <p:txBody>
          <a:bodyPr vert="horz" wrap="square" lIns="68580" tIns="34290" rIns="68580" bIns="34290" numCol="1" anchor="t" anchorCtr="0" compatLnSpc="1">
            <a:prstTxWarp prst="textNoShape">
              <a:avLst/>
            </a:prstTxWarp>
          </a:bodyPr>
          <a:lstStyle/>
          <a:p>
            <a:endParaRPr lang="en-GB" sz="1350" dirty="0"/>
          </a:p>
        </p:txBody>
      </p:sp>
      <p:grpSp>
        <p:nvGrpSpPr>
          <p:cNvPr id="140" name="Group 867">
            <a:extLst>
              <a:ext uri="{FF2B5EF4-FFF2-40B4-BE49-F238E27FC236}">
                <a16:creationId xmlns:a16="http://schemas.microsoft.com/office/drawing/2014/main" id="{3CC28492-E32F-084F-82EA-4721996CEF04}"/>
              </a:ext>
            </a:extLst>
          </p:cNvPr>
          <p:cNvGrpSpPr>
            <a:grpSpLocks noChangeAspect="1"/>
          </p:cNvGrpSpPr>
          <p:nvPr/>
        </p:nvGrpSpPr>
        <p:grpSpPr bwMode="auto">
          <a:xfrm>
            <a:off x="9333602" y="2450487"/>
            <a:ext cx="276766" cy="276766"/>
            <a:chOff x="6248" y="3438"/>
            <a:chExt cx="340" cy="340"/>
          </a:xfrm>
          <a:solidFill>
            <a:srgbClr val="00ABAB"/>
          </a:solidFill>
        </p:grpSpPr>
        <p:sp>
          <p:nvSpPr>
            <p:cNvPr id="141" name="Oval 868">
              <a:extLst>
                <a:ext uri="{FF2B5EF4-FFF2-40B4-BE49-F238E27FC236}">
                  <a16:creationId xmlns:a16="http://schemas.microsoft.com/office/drawing/2014/main" id="{33876277-B310-7747-96E3-C48FC77791C2}"/>
                </a:ext>
              </a:extLst>
            </p:cNvPr>
            <p:cNvSpPr>
              <a:spLocks noChangeArrowheads="1"/>
            </p:cNvSpPr>
            <p:nvPr/>
          </p:nvSpPr>
          <p:spPr bwMode="auto">
            <a:xfrm>
              <a:off x="6326" y="3593"/>
              <a:ext cx="28" cy="29"/>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2" name="Oval 869">
              <a:extLst>
                <a:ext uri="{FF2B5EF4-FFF2-40B4-BE49-F238E27FC236}">
                  <a16:creationId xmlns:a16="http://schemas.microsoft.com/office/drawing/2014/main" id="{9C88AB7B-961E-D944-BA5B-8897C7CE90FF}"/>
                </a:ext>
              </a:extLst>
            </p:cNvPr>
            <p:cNvSpPr>
              <a:spLocks noChangeArrowheads="1"/>
            </p:cNvSpPr>
            <p:nvPr/>
          </p:nvSpPr>
          <p:spPr bwMode="auto">
            <a:xfrm>
              <a:off x="6467" y="3530"/>
              <a:ext cx="29" cy="28"/>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3" name="Oval 870">
              <a:extLst>
                <a:ext uri="{FF2B5EF4-FFF2-40B4-BE49-F238E27FC236}">
                  <a16:creationId xmlns:a16="http://schemas.microsoft.com/office/drawing/2014/main" id="{315FFC3D-B9B1-3441-AD65-395890276FAF}"/>
                </a:ext>
              </a:extLst>
            </p:cNvPr>
            <p:cNvSpPr>
              <a:spLocks noChangeArrowheads="1"/>
            </p:cNvSpPr>
            <p:nvPr/>
          </p:nvSpPr>
          <p:spPr bwMode="auto">
            <a:xfrm>
              <a:off x="6467" y="3657"/>
              <a:ext cx="29" cy="29"/>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4" name="Freeform 871">
              <a:extLst>
                <a:ext uri="{FF2B5EF4-FFF2-40B4-BE49-F238E27FC236}">
                  <a16:creationId xmlns:a16="http://schemas.microsoft.com/office/drawing/2014/main" id="{888FD3D6-735A-3F44-9557-0DB376754C91}"/>
                </a:ext>
              </a:extLst>
            </p:cNvPr>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grpSp>
        <p:nvGrpSpPr>
          <p:cNvPr id="145" name="Group 867">
            <a:extLst>
              <a:ext uri="{FF2B5EF4-FFF2-40B4-BE49-F238E27FC236}">
                <a16:creationId xmlns:a16="http://schemas.microsoft.com/office/drawing/2014/main" id="{4F02AB27-6389-4149-957F-B2DA92AFBFF6}"/>
              </a:ext>
            </a:extLst>
          </p:cNvPr>
          <p:cNvGrpSpPr>
            <a:grpSpLocks noChangeAspect="1"/>
          </p:cNvGrpSpPr>
          <p:nvPr/>
        </p:nvGrpSpPr>
        <p:grpSpPr bwMode="auto">
          <a:xfrm>
            <a:off x="7191093" y="4050080"/>
            <a:ext cx="276766" cy="276766"/>
            <a:chOff x="6248" y="3438"/>
            <a:chExt cx="340" cy="340"/>
          </a:xfrm>
          <a:solidFill>
            <a:srgbClr val="00ABAB"/>
          </a:solidFill>
        </p:grpSpPr>
        <p:sp>
          <p:nvSpPr>
            <p:cNvPr id="146" name="Oval 868">
              <a:extLst>
                <a:ext uri="{FF2B5EF4-FFF2-40B4-BE49-F238E27FC236}">
                  <a16:creationId xmlns:a16="http://schemas.microsoft.com/office/drawing/2014/main" id="{75C88E09-9103-5B48-B65E-7B5FF5DCC56D}"/>
                </a:ext>
              </a:extLst>
            </p:cNvPr>
            <p:cNvSpPr>
              <a:spLocks noChangeArrowheads="1"/>
            </p:cNvSpPr>
            <p:nvPr/>
          </p:nvSpPr>
          <p:spPr bwMode="auto">
            <a:xfrm>
              <a:off x="6326" y="3593"/>
              <a:ext cx="28" cy="29"/>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7" name="Oval 869">
              <a:extLst>
                <a:ext uri="{FF2B5EF4-FFF2-40B4-BE49-F238E27FC236}">
                  <a16:creationId xmlns:a16="http://schemas.microsoft.com/office/drawing/2014/main" id="{94C210C8-3D08-704E-B302-3008B0E1913A}"/>
                </a:ext>
              </a:extLst>
            </p:cNvPr>
            <p:cNvSpPr>
              <a:spLocks noChangeArrowheads="1"/>
            </p:cNvSpPr>
            <p:nvPr/>
          </p:nvSpPr>
          <p:spPr bwMode="auto">
            <a:xfrm>
              <a:off x="6467" y="3530"/>
              <a:ext cx="29" cy="28"/>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8" name="Oval 870">
              <a:extLst>
                <a:ext uri="{FF2B5EF4-FFF2-40B4-BE49-F238E27FC236}">
                  <a16:creationId xmlns:a16="http://schemas.microsoft.com/office/drawing/2014/main" id="{0164D7A2-6E8A-EB41-9C8A-56E70A813A3E}"/>
                </a:ext>
              </a:extLst>
            </p:cNvPr>
            <p:cNvSpPr>
              <a:spLocks noChangeArrowheads="1"/>
            </p:cNvSpPr>
            <p:nvPr/>
          </p:nvSpPr>
          <p:spPr bwMode="auto">
            <a:xfrm>
              <a:off x="6467" y="3657"/>
              <a:ext cx="29" cy="29"/>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9" name="Freeform 871">
              <a:extLst>
                <a:ext uri="{FF2B5EF4-FFF2-40B4-BE49-F238E27FC236}">
                  <a16:creationId xmlns:a16="http://schemas.microsoft.com/office/drawing/2014/main" id="{8F7E9529-C4D0-B548-9ADC-F6D71AB8F436}"/>
                </a:ext>
              </a:extLst>
            </p:cNvPr>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sp>
        <p:nvSpPr>
          <p:cNvPr id="150" name="Rectangle: Top Corners Rounded 85">
            <a:extLst>
              <a:ext uri="{FF2B5EF4-FFF2-40B4-BE49-F238E27FC236}">
                <a16:creationId xmlns:a16="http://schemas.microsoft.com/office/drawing/2014/main" id="{260678BF-8006-BB41-A5B0-F8D31745BD49}"/>
              </a:ext>
            </a:extLst>
          </p:cNvPr>
          <p:cNvSpPr/>
          <p:nvPr/>
        </p:nvSpPr>
        <p:spPr>
          <a:xfrm flipV="1">
            <a:off x="2463451" y="2136033"/>
            <a:ext cx="1681117" cy="241995"/>
          </a:xfrm>
          <a:prstGeom prst="round2SameRect">
            <a:avLst/>
          </a:prstGeom>
          <a:solidFill>
            <a:schemeClr val="accent5"/>
          </a:solidFill>
        </p:spPr>
        <p:txBody>
          <a:bodyPr wrap="square">
            <a:spAutoFit/>
          </a:bodyPr>
          <a:lstStyle/>
          <a:p>
            <a:pPr algn="ctr">
              <a:spcBef>
                <a:spcPts val="450"/>
              </a:spcBef>
            </a:pPr>
            <a:endParaRPr lang="en-US" sz="900" b="1" dirty="0">
              <a:solidFill>
                <a:schemeClr val="bg1"/>
              </a:solidFill>
            </a:endParaRPr>
          </a:p>
        </p:txBody>
      </p:sp>
      <p:sp>
        <p:nvSpPr>
          <p:cNvPr id="151" name="Rectangle 150">
            <a:extLst>
              <a:ext uri="{FF2B5EF4-FFF2-40B4-BE49-F238E27FC236}">
                <a16:creationId xmlns:a16="http://schemas.microsoft.com/office/drawing/2014/main" id="{29EF34C6-FEA3-6844-9EEC-D72518B2B85A}"/>
              </a:ext>
            </a:extLst>
          </p:cNvPr>
          <p:cNvSpPr/>
          <p:nvPr/>
        </p:nvSpPr>
        <p:spPr>
          <a:xfrm>
            <a:off x="2991424" y="2175680"/>
            <a:ext cx="625171" cy="138499"/>
          </a:xfrm>
          <a:prstGeom prst="rect">
            <a:avLst/>
          </a:prstGeom>
        </p:spPr>
        <p:txBody>
          <a:bodyPr wrap="none" lIns="0" tIns="0" rIns="0" bIns="0">
            <a:spAutoFit/>
          </a:bodyPr>
          <a:lstStyle/>
          <a:p>
            <a:pPr algn="ctr"/>
            <a:r>
              <a:rPr lang="en-US" sz="900" b="1" dirty="0">
                <a:solidFill>
                  <a:schemeClr val="bg1"/>
                </a:solidFill>
              </a:rPr>
              <a:t>Lorem ipsum</a:t>
            </a:r>
          </a:p>
        </p:txBody>
      </p:sp>
      <p:sp>
        <p:nvSpPr>
          <p:cNvPr id="152" name="Arc 151">
            <a:extLst>
              <a:ext uri="{FF2B5EF4-FFF2-40B4-BE49-F238E27FC236}">
                <a16:creationId xmlns:a16="http://schemas.microsoft.com/office/drawing/2014/main" id="{756B78D0-CEB5-AC4D-ADB0-780402A67C16}"/>
              </a:ext>
            </a:extLst>
          </p:cNvPr>
          <p:cNvSpPr/>
          <p:nvPr/>
        </p:nvSpPr>
        <p:spPr>
          <a:xfrm rot="11274206" flipV="1">
            <a:off x="7418887" y="3068578"/>
            <a:ext cx="1623914" cy="1830527"/>
          </a:xfrm>
          <a:prstGeom prst="arc">
            <a:avLst>
              <a:gd name="adj1" fmla="val 16262166"/>
              <a:gd name="adj2" fmla="val 459086"/>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a:p>
        </p:txBody>
      </p:sp>
      <p:sp>
        <p:nvSpPr>
          <p:cNvPr id="153" name="Arc 152">
            <a:extLst>
              <a:ext uri="{FF2B5EF4-FFF2-40B4-BE49-F238E27FC236}">
                <a16:creationId xmlns:a16="http://schemas.microsoft.com/office/drawing/2014/main" id="{8628C15C-01E1-354E-B0FF-DF58E2EF0D5B}"/>
              </a:ext>
            </a:extLst>
          </p:cNvPr>
          <p:cNvSpPr/>
          <p:nvPr/>
        </p:nvSpPr>
        <p:spPr>
          <a:xfrm rot="11274206" flipV="1">
            <a:off x="6531608" y="4171022"/>
            <a:ext cx="717041" cy="683084"/>
          </a:xfrm>
          <a:prstGeom prst="arc">
            <a:avLst>
              <a:gd name="adj1" fmla="val 15529317"/>
              <a:gd name="adj2" fmla="val 265268"/>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a:p>
        </p:txBody>
      </p:sp>
      <p:sp>
        <p:nvSpPr>
          <p:cNvPr id="154" name="Arc 153">
            <a:extLst>
              <a:ext uri="{FF2B5EF4-FFF2-40B4-BE49-F238E27FC236}">
                <a16:creationId xmlns:a16="http://schemas.microsoft.com/office/drawing/2014/main" id="{C03296BB-76BF-D447-AED7-DCF8DB3CB6CB}"/>
              </a:ext>
            </a:extLst>
          </p:cNvPr>
          <p:cNvSpPr/>
          <p:nvPr/>
        </p:nvSpPr>
        <p:spPr>
          <a:xfrm rot="10325794" flipH="1" flipV="1">
            <a:off x="7417290" y="4156683"/>
            <a:ext cx="717041" cy="683084"/>
          </a:xfrm>
          <a:prstGeom prst="arc">
            <a:avLst>
              <a:gd name="adj1" fmla="val 15529317"/>
              <a:gd name="adj2" fmla="val 269530"/>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a:p>
        </p:txBody>
      </p:sp>
      <p:sp>
        <p:nvSpPr>
          <p:cNvPr id="155" name="object 91">
            <a:extLst>
              <a:ext uri="{FF2B5EF4-FFF2-40B4-BE49-F238E27FC236}">
                <a16:creationId xmlns:a16="http://schemas.microsoft.com/office/drawing/2014/main" id="{5D870E38-4729-1A4E-AEB7-8174887B9544}"/>
              </a:ext>
            </a:extLst>
          </p:cNvPr>
          <p:cNvSpPr txBox="1"/>
          <p:nvPr/>
        </p:nvSpPr>
        <p:spPr>
          <a:xfrm>
            <a:off x="6525251" y="4227822"/>
            <a:ext cx="282129" cy="101668"/>
          </a:xfrm>
          <a:prstGeom prst="rect">
            <a:avLst/>
          </a:prstGeom>
          <a:solidFill>
            <a:schemeClr val="bg1"/>
          </a:solidFill>
          <a:ln>
            <a:noFill/>
          </a:ln>
        </p:spPr>
        <p:txBody>
          <a:bodyPr vert="horz" wrap="none" lIns="0" tIns="9245"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spcBef>
                <a:spcPts val="73"/>
              </a:spcBef>
            </a:pPr>
            <a:r>
              <a:rPr lang="en-US" sz="600" dirty="0">
                <a:solidFill>
                  <a:prstClr val="black"/>
                </a:solidFill>
                <a:latin typeface="+mj-lt"/>
                <a:ea typeface="Open Sans" charset="0"/>
                <a:cs typeface="Open Sans" charset="0"/>
              </a:rPr>
              <a:t>Resolved</a:t>
            </a:r>
            <a:endParaRPr sz="600" dirty="0">
              <a:solidFill>
                <a:prstClr val="black"/>
              </a:solidFill>
              <a:latin typeface="+mj-lt"/>
              <a:ea typeface="Open Sans" charset="0"/>
              <a:cs typeface="Open Sans" charset="0"/>
            </a:endParaRPr>
          </a:p>
        </p:txBody>
      </p:sp>
      <p:sp>
        <p:nvSpPr>
          <p:cNvPr id="156" name="object 91">
            <a:extLst>
              <a:ext uri="{FF2B5EF4-FFF2-40B4-BE49-F238E27FC236}">
                <a16:creationId xmlns:a16="http://schemas.microsoft.com/office/drawing/2014/main" id="{4FE63B57-81D5-714C-A2C3-F235ED545CBA}"/>
              </a:ext>
            </a:extLst>
          </p:cNvPr>
          <p:cNvSpPr txBox="1"/>
          <p:nvPr/>
        </p:nvSpPr>
        <p:spPr>
          <a:xfrm>
            <a:off x="7828854" y="4265008"/>
            <a:ext cx="415178" cy="101668"/>
          </a:xfrm>
          <a:prstGeom prst="rect">
            <a:avLst/>
          </a:prstGeom>
          <a:solidFill>
            <a:schemeClr val="bg1"/>
          </a:solidFill>
          <a:ln>
            <a:noFill/>
          </a:ln>
        </p:spPr>
        <p:txBody>
          <a:bodyPr vert="horz" wrap="none" lIns="0" tIns="9245" rIns="0" bIns="0" rtlCol="0" anchor="ctr">
            <a:spAutoFit/>
          </a:bodyPr>
          <a:lstStyle>
            <a:defPPr>
              <a:defRPr lang="en-US"/>
            </a:defPPr>
            <a:lvl1pPr algn="ctr" defTabSz="1005840">
              <a:spcBef>
                <a:spcPts val="97"/>
              </a:spcBef>
              <a:defRPr sz="1000">
                <a:solidFill>
                  <a:prstClr val="black"/>
                </a:solidFill>
                <a:latin typeface="+mj-lt"/>
                <a:ea typeface="Open Sans" charset="0"/>
                <a:cs typeface="Open Sans"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r>
              <a:rPr lang="en-US" sz="600" dirty="0"/>
              <a:t>Lorem ipsum</a:t>
            </a:r>
            <a:endParaRPr sz="600" dirty="0"/>
          </a:p>
        </p:txBody>
      </p:sp>
      <p:sp>
        <p:nvSpPr>
          <p:cNvPr id="157" name="Isosceles Triangle 50">
            <a:extLst>
              <a:ext uri="{FF2B5EF4-FFF2-40B4-BE49-F238E27FC236}">
                <a16:creationId xmlns:a16="http://schemas.microsoft.com/office/drawing/2014/main" id="{ACFB87D9-6DEE-9F4E-83E3-0F71411A3DD2}"/>
              </a:ext>
            </a:extLst>
          </p:cNvPr>
          <p:cNvSpPr/>
          <p:nvPr/>
        </p:nvSpPr>
        <p:spPr bwMode="gray">
          <a:xfrm rot="14008067" flipH="1">
            <a:off x="6642787" y="4151337"/>
            <a:ext cx="145213" cy="125183"/>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
        <p:nvSpPr>
          <p:cNvPr id="158" name="Isosceles Triangle 50">
            <a:extLst>
              <a:ext uri="{FF2B5EF4-FFF2-40B4-BE49-F238E27FC236}">
                <a16:creationId xmlns:a16="http://schemas.microsoft.com/office/drawing/2014/main" id="{A5B47D55-FA23-C949-9D9F-B969A0533059}"/>
              </a:ext>
            </a:extLst>
          </p:cNvPr>
          <p:cNvSpPr/>
          <p:nvPr/>
        </p:nvSpPr>
        <p:spPr bwMode="gray">
          <a:xfrm rot="13264755">
            <a:off x="7607522" y="3250180"/>
            <a:ext cx="173399" cy="149482"/>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
        <p:nvSpPr>
          <p:cNvPr id="159" name="Isosceles Triangle 50">
            <a:extLst>
              <a:ext uri="{FF2B5EF4-FFF2-40B4-BE49-F238E27FC236}">
                <a16:creationId xmlns:a16="http://schemas.microsoft.com/office/drawing/2014/main" id="{45A678BA-D2EE-EB47-A12E-3CFF880D8174}"/>
              </a:ext>
            </a:extLst>
          </p:cNvPr>
          <p:cNvSpPr/>
          <p:nvPr/>
        </p:nvSpPr>
        <p:spPr bwMode="gray">
          <a:xfrm rot="15217949" flipH="1">
            <a:off x="7875314" y="4159637"/>
            <a:ext cx="145213" cy="125183"/>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Tree>
    <p:custDataLst>
      <p:tags r:id="rId1"/>
    </p:custDataLst>
    <p:extLst>
      <p:ext uri="{BB962C8B-B14F-4D97-AF65-F5344CB8AC3E}">
        <p14:creationId xmlns:p14="http://schemas.microsoft.com/office/powerpoint/2010/main" val="423699252"/>
      </p:ext>
    </p:extLst>
  </p:cSld>
  <p:clrMapOvr>
    <a:masterClrMapping/>
  </p:clrMapOvr>
  <p:transition>
    <p:fade/>
  </p:transition>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Hexagon 238">
            <a:extLst>
              <a:ext uri="{FF2B5EF4-FFF2-40B4-BE49-F238E27FC236}">
                <a16:creationId xmlns:a16="http://schemas.microsoft.com/office/drawing/2014/main" id="{CE40FDEC-9712-6C49-B57C-DA0087396453}"/>
              </a:ext>
            </a:extLst>
          </p:cNvPr>
          <p:cNvSpPr/>
          <p:nvPr/>
        </p:nvSpPr>
        <p:spPr bwMode="gray">
          <a:xfrm rot="5400000">
            <a:off x="7081467" y="2433753"/>
            <a:ext cx="1409366" cy="1214969"/>
          </a:xfrm>
          <a:prstGeom prst="hexagon">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38" name="Hexagon 237">
            <a:extLst>
              <a:ext uri="{FF2B5EF4-FFF2-40B4-BE49-F238E27FC236}">
                <a16:creationId xmlns:a16="http://schemas.microsoft.com/office/drawing/2014/main" id="{395D87F1-1459-154D-BE66-2613B1FD8E88}"/>
              </a:ext>
            </a:extLst>
          </p:cNvPr>
          <p:cNvSpPr/>
          <p:nvPr/>
        </p:nvSpPr>
        <p:spPr bwMode="gray">
          <a:xfrm rot="5400000">
            <a:off x="4792532" y="2333226"/>
            <a:ext cx="1409366" cy="1214969"/>
          </a:xfrm>
          <a:prstGeom prst="hexagon">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0" name="Hexagon 109">
            <a:extLst>
              <a:ext uri="{FF2B5EF4-FFF2-40B4-BE49-F238E27FC236}">
                <a16:creationId xmlns:a16="http://schemas.microsoft.com/office/drawing/2014/main" id="{81771563-4D2A-CF46-80BB-29C75FBAA4FC}"/>
              </a:ext>
            </a:extLst>
          </p:cNvPr>
          <p:cNvSpPr/>
          <p:nvPr/>
        </p:nvSpPr>
        <p:spPr bwMode="gray">
          <a:xfrm rot="5400000">
            <a:off x="3589998" y="3555412"/>
            <a:ext cx="962615" cy="829840"/>
          </a:xfrm>
          <a:prstGeom prst="hexagon">
            <a:avLst/>
          </a:prstGeom>
          <a:solidFill>
            <a:schemeClr val="bg1"/>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1" name="Hexagon 110">
            <a:extLst>
              <a:ext uri="{FF2B5EF4-FFF2-40B4-BE49-F238E27FC236}">
                <a16:creationId xmlns:a16="http://schemas.microsoft.com/office/drawing/2014/main" id="{E517C969-68C4-9A4F-ABA8-2F798D8E0A7E}"/>
              </a:ext>
            </a:extLst>
          </p:cNvPr>
          <p:cNvSpPr/>
          <p:nvPr/>
        </p:nvSpPr>
        <p:spPr bwMode="gray">
          <a:xfrm rot="5400000">
            <a:off x="5061940" y="871350"/>
            <a:ext cx="962615" cy="829840"/>
          </a:xfrm>
          <a:prstGeom prst="hexagon">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3" name="Hexagon 112">
            <a:extLst>
              <a:ext uri="{FF2B5EF4-FFF2-40B4-BE49-F238E27FC236}">
                <a16:creationId xmlns:a16="http://schemas.microsoft.com/office/drawing/2014/main" id="{18B09802-6288-5F4C-BB8C-1475DE80FFA1}"/>
              </a:ext>
            </a:extLst>
          </p:cNvPr>
          <p:cNvSpPr/>
          <p:nvPr/>
        </p:nvSpPr>
        <p:spPr bwMode="gray">
          <a:xfrm rot="5400000">
            <a:off x="6153220" y="4348940"/>
            <a:ext cx="962615" cy="829840"/>
          </a:xfrm>
          <a:prstGeom prst="hexagon">
            <a:avLst/>
          </a:prstGeom>
          <a:solidFill>
            <a:schemeClr val="bg1"/>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Hexagon 1">
            <a:extLst>
              <a:ext uri="{FF2B5EF4-FFF2-40B4-BE49-F238E27FC236}">
                <a16:creationId xmlns:a16="http://schemas.microsoft.com/office/drawing/2014/main" id="{314DD99A-04C0-AB47-BA7C-54E79314AABE}"/>
              </a:ext>
            </a:extLst>
          </p:cNvPr>
          <p:cNvSpPr/>
          <p:nvPr/>
        </p:nvSpPr>
        <p:spPr bwMode="gray">
          <a:xfrm rot="5400000">
            <a:off x="4838563" y="2381567"/>
            <a:ext cx="1409366" cy="1214969"/>
          </a:xfrm>
          <a:prstGeom prst="hexagon">
            <a:avLst/>
          </a:prstGeom>
          <a:pattFill prst="pct5">
            <a:fgClr>
              <a:schemeClr val="accent1"/>
            </a:fgClr>
            <a:bgClr>
              <a:schemeClr val="bg1"/>
            </a:bgClr>
          </a:patt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8" name="Hexagon 97">
            <a:extLst>
              <a:ext uri="{FF2B5EF4-FFF2-40B4-BE49-F238E27FC236}">
                <a16:creationId xmlns:a16="http://schemas.microsoft.com/office/drawing/2014/main" id="{EEC591FE-5853-D44F-BDFC-7D5C5AE7751A}"/>
              </a:ext>
            </a:extLst>
          </p:cNvPr>
          <p:cNvSpPr/>
          <p:nvPr/>
        </p:nvSpPr>
        <p:spPr bwMode="gray">
          <a:xfrm rot="5400000">
            <a:off x="7017662" y="2381567"/>
            <a:ext cx="1409366" cy="1214969"/>
          </a:xfrm>
          <a:prstGeom prst="hexagon">
            <a:avLst/>
          </a:prstGeom>
          <a:pattFill prst="pct5">
            <a:fgClr>
              <a:srgbClr val="00A3E0"/>
            </a:fgClr>
            <a:bgClr>
              <a:schemeClr val="bg1"/>
            </a:bgClr>
          </a:patt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4" name="TextBox 23">
            <a:extLst>
              <a:ext uri="{FF2B5EF4-FFF2-40B4-BE49-F238E27FC236}">
                <a16:creationId xmlns:a16="http://schemas.microsoft.com/office/drawing/2014/main" id="{2DBFE601-2663-4CC2-A9FD-B1D228DD78D0}"/>
              </a:ext>
            </a:extLst>
          </p:cNvPr>
          <p:cNvSpPr txBox="1"/>
          <p:nvPr/>
        </p:nvSpPr>
        <p:spPr>
          <a:xfrm>
            <a:off x="2536161" y="1642626"/>
            <a:ext cx="1840967" cy="507831"/>
          </a:xfrm>
          <a:prstGeom prst="rect">
            <a:avLst/>
          </a:prstGeom>
          <a:noFill/>
        </p:spPr>
        <p:txBody>
          <a:bodyPr wrap="square" lIns="0" tIns="0" rIns="0" bIns="0" rtlCol="0">
            <a:spAutoFit/>
          </a:bodyPr>
          <a:lstStyle/>
          <a:p>
            <a:pPr algn="r">
              <a:buSzPct val="100000"/>
            </a:pPr>
            <a:r>
              <a:rPr lang="en-US" sz="1100" dirty="0">
                <a:solidFill>
                  <a:srgbClr val="313131"/>
                </a:solidFill>
              </a:rPr>
              <a:t>Lorem ipsum dolor sit </a:t>
            </a:r>
            <a:r>
              <a:rPr lang="en-US" sz="1100" dirty="0" err="1">
                <a:solidFill>
                  <a:srgbClr val="313131"/>
                </a:solidFill>
              </a:rPr>
              <a:t>amet</a:t>
            </a:r>
            <a:r>
              <a:rPr lang="en-US" sz="1100" dirty="0">
                <a:solidFill>
                  <a:srgbClr val="313131"/>
                </a:solidFill>
              </a:rPr>
              <a:t>, </a:t>
            </a:r>
            <a:r>
              <a:rPr lang="en-US" sz="1100" dirty="0" err="1">
                <a:solidFill>
                  <a:srgbClr val="313131"/>
                </a:solidFill>
              </a:rPr>
              <a:t>consectetur</a:t>
            </a:r>
            <a:r>
              <a:rPr lang="en-US" sz="1100" dirty="0">
                <a:solidFill>
                  <a:srgbClr val="313131"/>
                </a:solidFill>
              </a:rPr>
              <a:t> </a:t>
            </a:r>
            <a:r>
              <a:rPr lang="en-US" sz="1100" dirty="0" err="1">
                <a:solidFill>
                  <a:srgbClr val="313131"/>
                </a:solidFill>
              </a:rPr>
              <a:t>adiLorem</a:t>
            </a:r>
            <a:r>
              <a:rPr lang="en-US" sz="1100" dirty="0">
                <a:solidFill>
                  <a:srgbClr val="313131"/>
                </a:solidFill>
              </a:rPr>
              <a:t> ipsum dolor sit </a:t>
            </a:r>
            <a:r>
              <a:rPr lang="en-US" sz="1100" dirty="0" err="1">
                <a:solidFill>
                  <a:srgbClr val="313131"/>
                </a:solidFill>
              </a:rPr>
              <a:t>amet</a:t>
            </a:r>
            <a:r>
              <a:rPr lang="en-US" sz="1100" dirty="0">
                <a:solidFill>
                  <a:srgbClr val="313131"/>
                </a:solidFill>
              </a:rPr>
              <a:t>, </a:t>
            </a:r>
            <a:r>
              <a:rPr lang="en-US" sz="1100" dirty="0" err="1">
                <a:solidFill>
                  <a:srgbClr val="313131"/>
                </a:solidFill>
              </a:rPr>
              <a:t>consectetur</a:t>
            </a:r>
            <a:r>
              <a:rPr lang="en-US" sz="1100" dirty="0">
                <a:solidFill>
                  <a:srgbClr val="313131"/>
                </a:solidFill>
              </a:rPr>
              <a:t> </a:t>
            </a:r>
            <a:r>
              <a:rPr lang="en-US" sz="1100" dirty="0" err="1">
                <a:solidFill>
                  <a:srgbClr val="313131"/>
                </a:solidFill>
              </a:rPr>
              <a:t>adi</a:t>
            </a:r>
            <a:endParaRPr lang="en-US" sz="1100" dirty="0">
              <a:solidFill>
                <a:srgbClr val="313131"/>
              </a:solidFill>
            </a:endParaRPr>
          </a:p>
        </p:txBody>
      </p:sp>
      <p:sp>
        <p:nvSpPr>
          <p:cNvPr id="25" name="TextBox 24">
            <a:extLst>
              <a:ext uri="{FF2B5EF4-FFF2-40B4-BE49-F238E27FC236}">
                <a16:creationId xmlns:a16="http://schemas.microsoft.com/office/drawing/2014/main" id="{43BAF83F-3309-402D-B30C-B6DAC73402C2}"/>
              </a:ext>
            </a:extLst>
          </p:cNvPr>
          <p:cNvSpPr txBox="1"/>
          <p:nvPr/>
        </p:nvSpPr>
        <p:spPr>
          <a:xfrm>
            <a:off x="6365503" y="965841"/>
            <a:ext cx="1840967" cy="507831"/>
          </a:xfrm>
          <a:prstGeom prst="rect">
            <a:avLst/>
          </a:prstGeom>
          <a:noFill/>
        </p:spPr>
        <p:txBody>
          <a:bodyPr wrap="square" lIns="0" tIns="0" rIns="0" bIns="0" rtlCol="0">
            <a:spAutoFit/>
          </a:bodyPr>
          <a:lstStyle/>
          <a:p>
            <a:pPr>
              <a:buSzPct val="100000"/>
            </a:pPr>
            <a:r>
              <a:rPr lang="en-US" sz="1100" dirty="0">
                <a:solidFill>
                  <a:srgbClr val="313131"/>
                </a:solidFill>
              </a:rPr>
              <a:t>Lorem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ipsum</a:t>
            </a:r>
          </a:p>
        </p:txBody>
      </p:sp>
      <p:sp>
        <p:nvSpPr>
          <p:cNvPr id="26" name="TextBox 25">
            <a:extLst>
              <a:ext uri="{FF2B5EF4-FFF2-40B4-BE49-F238E27FC236}">
                <a16:creationId xmlns:a16="http://schemas.microsoft.com/office/drawing/2014/main" id="{CFD87430-9B65-4B27-8E42-C44C5280F8A5}"/>
              </a:ext>
            </a:extLst>
          </p:cNvPr>
          <p:cNvSpPr txBox="1"/>
          <p:nvPr/>
        </p:nvSpPr>
        <p:spPr>
          <a:xfrm>
            <a:off x="1831438" y="4445324"/>
            <a:ext cx="1518723" cy="677108"/>
          </a:xfrm>
          <a:prstGeom prst="rect">
            <a:avLst/>
          </a:prstGeom>
          <a:noFill/>
        </p:spPr>
        <p:txBody>
          <a:bodyPr wrap="square" lIns="0" tIns="0" rIns="0" bIns="0" rtlCol="0">
            <a:spAutoFit/>
          </a:bodyPr>
          <a:lstStyle/>
          <a:p>
            <a:pPr algn="r">
              <a:buSzPct val="100000"/>
            </a:pPr>
            <a:r>
              <a:rPr lang="en-US" sz="1100" dirty="0">
                <a:solidFill>
                  <a:srgbClr val="313131"/>
                </a:solidFill>
              </a:rPr>
              <a:t>Lorem ipsum dolor sit </a:t>
            </a:r>
            <a:r>
              <a:rPr lang="en-US" sz="1100" dirty="0" err="1">
                <a:solidFill>
                  <a:srgbClr val="313131"/>
                </a:solidFill>
              </a:rPr>
              <a:t>amet</a:t>
            </a:r>
            <a:r>
              <a:rPr lang="en-US" sz="1100" dirty="0">
                <a:solidFill>
                  <a:srgbClr val="313131"/>
                </a:solidFill>
              </a:rPr>
              <a:t>, </a:t>
            </a:r>
            <a:r>
              <a:rPr lang="en-US" sz="1100" dirty="0" err="1">
                <a:solidFill>
                  <a:srgbClr val="313131"/>
                </a:solidFill>
              </a:rPr>
              <a:t>consectetur</a:t>
            </a:r>
            <a:r>
              <a:rPr lang="en-US" sz="1100" dirty="0">
                <a:solidFill>
                  <a:srgbClr val="313131"/>
                </a:solidFill>
              </a:rPr>
              <a:t> </a:t>
            </a:r>
            <a:r>
              <a:rPr lang="en-US" sz="1100" dirty="0" err="1">
                <a:solidFill>
                  <a:srgbClr val="313131"/>
                </a:solidFill>
              </a:rPr>
              <a:t>adiLorem</a:t>
            </a:r>
            <a:r>
              <a:rPr lang="en-US" sz="1100" dirty="0">
                <a:solidFill>
                  <a:srgbClr val="313131"/>
                </a:solidFill>
              </a:rPr>
              <a:t> ipsum dolor sit </a:t>
            </a:r>
            <a:r>
              <a:rPr lang="en-US" sz="1100" dirty="0" err="1">
                <a:solidFill>
                  <a:srgbClr val="313131"/>
                </a:solidFill>
              </a:rPr>
              <a:t>amet</a:t>
            </a:r>
            <a:r>
              <a:rPr lang="en-US" sz="1100" dirty="0">
                <a:solidFill>
                  <a:srgbClr val="313131"/>
                </a:solidFill>
              </a:rPr>
              <a:t>, </a:t>
            </a:r>
            <a:r>
              <a:rPr lang="en-US" sz="1100" dirty="0" err="1">
                <a:solidFill>
                  <a:srgbClr val="313131"/>
                </a:solidFill>
              </a:rPr>
              <a:t>consectetur</a:t>
            </a:r>
            <a:r>
              <a:rPr lang="en-US" sz="1100" dirty="0">
                <a:solidFill>
                  <a:srgbClr val="313131"/>
                </a:solidFill>
              </a:rPr>
              <a:t> </a:t>
            </a:r>
            <a:r>
              <a:rPr lang="en-US" sz="1100" dirty="0" err="1">
                <a:solidFill>
                  <a:srgbClr val="313131"/>
                </a:solidFill>
              </a:rPr>
              <a:t>adi</a:t>
            </a:r>
            <a:endParaRPr lang="en-US" sz="1100" dirty="0">
              <a:solidFill>
                <a:srgbClr val="313131"/>
              </a:solidFill>
            </a:endParaRPr>
          </a:p>
        </p:txBody>
      </p:sp>
      <p:sp>
        <p:nvSpPr>
          <p:cNvPr id="27" name="TextBox 26">
            <a:extLst>
              <a:ext uri="{FF2B5EF4-FFF2-40B4-BE49-F238E27FC236}">
                <a16:creationId xmlns:a16="http://schemas.microsoft.com/office/drawing/2014/main" id="{0D1E33C8-0B6B-4ABD-AEC0-09B96411553E}"/>
              </a:ext>
            </a:extLst>
          </p:cNvPr>
          <p:cNvSpPr txBox="1"/>
          <p:nvPr/>
        </p:nvSpPr>
        <p:spPr>
          <a:xfrm>
            <a:off x="8987515" y="2517580"/>
            <a:ext cx="1675228" cy="677108"/>
          </a:xfrm>
          <a:prstGeom prst="rect">
            <a:avLst/>
          </a:prstGeom>
          <a:noFill/>
        </p:spPr>
        <p:txBody>
          <a:bodyPr wrap="square" lIns="0" tIns="0" rIns="0" bIns="0" rtlCol="0">
            <a:spAutoFit/>
          </a:bodyPr>
          <a:lstStyle/>
          <a:p>
            <a:pPr>
              <a:buSzPct val="100000"/>
            </a:pPr>
            <a:r>
              <a:rPr lang="en-US" sz="1100" dirty="0">
                <a:solidFill>
                  <a:srgbClr val="313131"/>
                </a:solidFill>
              </a:rPr>
              <a:t>Lorem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ipsum</a:t>
            </a:r>
          </a:p>
        </p:txBody>
      </p:sp>
      <p:sp>
        <p:nvSpPr>
          <p:cNvPr id="28" name="TextBox 27">
            <a:extLst>
              <a:ext uri="{FF2B5EF4-FFF2-40B4-BE49-F238E27FC236}">
                <a16:creationId xmlns:a16="http://schemas.microsoft.com/office/drawing/2014/main" id="{791EECAD-03DE-462F-B6A8-F8D0CF731E1C}"/>
              </a:ext>
            </a:extLst>
          </p:cNvPr>
          <p:cNvSpPr txBox="1"/>
          <p:nvPr/>
        </p:nvSpPr>
        <p:spPr>
          <a:xfrm>
            <a:off x="7568128" y="4660495"/>
            <a:ext cx="1518723" cy="677108"/>
          </a:xfrm>
          <a:prstGeom prst="rect">
            <a:avLst/>
          </a:prstGeom>
          <a:noFill/>
        </p:spPr>
        <p:txBody>
          <a:bodyPr wrap="square" lIns="0" tIns="0" rIns="0" bIns="0" rtlCol="0">
            <a:spAutoFit/>
          </a:bodyPr>
          <a:lstStyle/>
          <a:p>
            <a:pPr>
              <a:buSzPct val="100000"/>
            </a:pPr>
            <a:r>
              <a:rPr lang="en-US" sz="1100" dirty="0">
                <a:solidFill>
                  <a:srgbClr val="313131"/>
                </a:solidFill>
              </a:rPr>
              <a:t>Lorem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ipsum</a:t>
            </a:r>
          </a:p>
        </p:txBody>
      </p:sp>
      <p:cxnSp>
        <p:nvCxnSpPr>
          <p:cNvPr id="35" name="Straight Connector 34">
            <a:extLst>
              <a:ext uri="{FF2B5EF4-FFF2-40B4-BE49-F238E27FC236}">
                <a16:creationId xmlns:a16="http://schemas.microsoft.com/office/drawing/2014/main" id="{C19979C1-5CC3-4422-8843-15E2AEA7733D}"/>
              </a:ext>
            </a:extLst>
          </p:cNvPr>
          <p:cNvCxnSpPr/>
          <p:nvPr/>
        </p:nvCxnSpPr>
        <p:spPr>
          <a:xfrm>
            <a:off x="3443766" y="4412842"/>
            <a:ext cx="0" cy="727512"/>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C5A0C6F-69EC-4547-8350-4BE2E533CFCA}"/>
              </a:ext>
            </a:extLst>
          </p:cNvPr>
          <p:cNvCxnSpPr/>
          <p:nvPr/>
        </p:nvCxnSpPr>
        <p:spPr>
          <a:xfrm>
            <a:off x="7444845" y="4671646"/>
            <a:ext cx="0" cy="727512"/>
          </a:xfrm>
          <a:prstGeom prst="line">
            <a:avLst/>
          </a:prstGeom>
          <a:ln w="19050">
            <a:solidFill>
              <a:srgbClr val="0076A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D724F5D-611D-4CFE-81CF-9800A57AFB3F}"/>
              </a:ext>
            </a:extLst>
          </p:cNvPr>
          <p:cNvCxnSpPr>
            <a:cxnSpLocks/>
          </p:cNvCxnSpPr>
          <p:nvPr/>
        </p:nvCxnSpPr>
        <p:spPr>
          <a:xfrm>
            <a:off x="6272001" y="939555"/>
            <a:ext cx="0" cy="68943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2F0C0EA-2DDA-48D7-84DA-02E345ECE3FB}"/>
              </a:ext>
            </a:extLst>
          </p:cNvPr>
          <p:cNvCxnSpPr>
            <a:cxnSpLocks/>
          </p:cNvCxnSpPr>
          <p:nvPr/>
        </p:nvCxnSpPr>
        <p:spPr>
          <a:xfrm flipH="1">
            <a:off x="7059899" y="5035700"/>
            <a:ext cx="384947" cy="0"/>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63" name="Group 18">
            <a:extLst>
              <a:ext uri="{FF2B5EF4-FFF2-40B4-BE49-F238E27FC236}">
                <a16:creationId xmlns:a16="http://schemas.microsoft.com/office/drawing/2014/main" id="{60D73834-563F-4D97-BC8A-AA6D4C170F94}"/>
              </a:ext>
            </a:extLst>
          </p:cNvPr>
          <p:cNvGrpSpPr>
            <a:grpSpLocks noChangeAspect="1"/>
          </p:cNvGrpSpPr>
          <p:nvPr/>
        </p:nvGrpSpPr>
        <p:grpSpPr bwMode="auto">
          <a:xfrm>
            <a:off x="5215629" y="2583376"/>
            <a:ext cx="645245" cy="793839"/>
            <a:chOff x="-647" y="2626"/>
            <a:chExt cx="964" cy="1186"/>
          </a:xfrm>
          <a:solidFill>
            <a:schemeClr val="accent1"/>
          </a:solidFill>
        </p:grpSpPr>
        <p:sp>
          <p:nvSpPr>
            <p:cNvPr id="65" name="Freeform 19">
              <a:extLst>
                <a:ext uri="{FF2B5EF4-FFF2-40B4-BE49-F238E27FC236}">
                  <a16:creationId xmlns:a16="http://schemas.microsoft.com/office/drawing/2014/main" id="{994E4666-3926-4E56-BB1E-95987CCB4DBE}"/>
                </a:ext>
              </a:extLst>
            </p:cNvPr>
            <p:cNvSpPr>
              <a:spLocks noEditPoints="1"/>
            </p:cNvSpPr>
            <p:nvPr/>
          </p:nvSpPr>
          <p:spPr bwMode="auto">
            <a:xfrm>
              <a:off x="-647" y="2626"/>
              <a:ext cx="964" cy="1186"/>
            </a:xfrm>
            <a:custGeom>
              <a:avLst/>
              <a:gdLst>
                <a:gd name="T0" fmla="*/ 408 w 432"/>
                <a:gd name="T1" fmla="*/ 102 h 548"/>
                <a:gd name="T2" fmla="*/ 431 w 432"/>
                <a:gd name="T3" fmla="*/ 70 h 548"/>
                <a:gd name="T4" fmla="*/ 404 w 432"/>
                <a:gd name="T5" fmla="*/ 51 h 548"/>
                <a:gd name="T6" fmla="*/ 386 w 432"/>
                <a:gd name="T7" fmla="*/ 25 h 548"/>
                <a:gd name="T8" fmla="*/ 354 w 432"/>
                <a:gd name="T9" fmla="*/ 48 h 548"/>
                <a:gd name="T10" fmla="*/ 359 w 432"/>
                <a:gd name="T11" fmla="*/ 86 h 548"/>
                <a:gd name="T12" fmla="*/ 347 w 432"/>
                <a:gd name="T13" fmla="*/ 96 h 548"/>
                <a:gd name="T14" fmla="*/ 226 w 432"/>
                <a:gd name="T15" fmla="*/ 19 h 548"/>
                <a:gd name="T16" fmla="*/ 188 w 432"/>
                <a:gd name="T17" fmla="*/ 19 h 548"/>
                <a:gd name="T18" fmla="*/ 0 w 432"/>
                <a:gd name="T19" fmla="*/ 249 h 548"/>
                <a:gd name="T20" fmla="*/ 134 w 432"/>
                <a:gd name="T21" fmla="*/ 442 h 548"/>
                <a:gd name="T22" fmla="*/ 126 w 432"/>
                <a:gd name="T23" fmla="*/ 545 h 548"/>
                <a:gd name="T24" fmla="*/ 171 w 432"/>
                <a:gd name="T25" fmla="*/ 452 h 548"/>
                <a:gd name="T26" fmla="*/ 196 w 432"/>
                <a:gd name="T27" fmla="*/ 447 h 548"/>
                <a:gd name="T28" fmla="*/ 16 w 432"/>
                <a:gd name="T29" fmla="*/ 249 h 548"/>
                <a:gd name="T30" fmla="*/ 207 w 432"/>
                <a:gd name="T31" fmla="*/ 58 h 548"/>
                <a:gd name="T32" fmla="*/ 337 w 432"/>
                <a:gd name="T33" fmla="*/ 108 h 548"/>
                <a:gd name="T34" fmla="*/ 207 w 432"/>
                <a:gd name="T35" fmla="*/ 81 h 548"/>
                <a:gd name="T36" fmla="*/ 207 w 432"/>
                <a:gd name="T37" fmla="*/ 416 h 548"/>
                <a:gd name="T38" fmla="*/ 331 w 432"/>
                <a:gd name="T39" fmla="*/ 136 h 548"/>
                <a:gd name="T40" fmla="*/ 397 w 432"/>
                <a:gd name="T41" fmla="*/ 231 h 548"/>
                <a:gd name="T42" fmla="*/ 413 w 432"/>
                <a:gd name="T43" fmla="*/ 229 h 548"/>
                <a:gd name="T44" fmla="*/ 370 w 432"/>
                <a:gd name="T45" fmla="*/ 97 h 548"/>
                <a:gd name="T46" fmla="*/ 150 w 432"/>
                <a:gd name="T47" fmla="*/ 447 h 548"/>
                <a:gd name="T48" fmla="*/ 156 w 432"/>
                <a:gd name="T49" fmla="*/ 449 h 548"/>
                <a:gd name="T50" fmla="*/ 130 w 432"/>
                <a:gd name="T51" fmla="*/ 530 h 548"/>
                <a:gd name="T52" fmla="*/ 149 w 432"/>
                <a:gd name="T53" fmla="*/ 447 h 548"/>
                <a:gd name="T54" fmla="*/ 210 w 432"/>
                <a:gd name="T55" fmla="*/ 42 h 548"/>
                <a:gd name="T56" fmla="*/ 204 w 432"/>
                <a:gd name="T57" fmla="*/ 19 h 548"/>
                <a:gd name="T58" fmla="*/ 210 w 432"/>
                <a:gd name="T59" fmla="*/ 19 h 548"/>
                <a:gd name="T60" fmla="*/ 359 w 432"/>
                <a:gd name="T61" fmla="*/ 249 h 548"/>
                <a:gd name="T62" fmla="*/ 55 w 432"/>
                <a:gd name="T63" fmla="*/ 249 h 548"/>
                <a:gd name="T64" fmla="*/ 309 w 432"/>
                <a:gd name="T65" fmla="*/ 136 h 548"/>
                <a:gd name="T66" fmla="*/ 207 w 432"/>
                <a:gd name="T67" fmla="*/ 122 h 548"/>
                <a:gd name="T68" fmla="*/ 207 w 432"/>
                <a:gd name="T69" fmla="*/ 375 h 548"/>
                <a:gd name="T70" fmla="*/ 302 w 432"/>
                <a:gd name="T71" fmla="*/ 165 h 548"/>
                <a:gd name="T72" fmla="*/ 359 w 432"/>
                <a:gd name="T73" fmla="*/ 249 h 548"/>
                <a:gd name="T74" fmla="*/ 213 w 432"/>
                <a:gd name="T75" fmla="*/ 254 h 548"/>
                <a:gd name="T76" fmla="*/ 236 w 432"/>
                <a:gd name="T77" fmla="*/ 249 h 548"/>
                <a:gd name="T78" fmla="*/ 178 w 432"/>
                <a:gd name="T79" fmla="*/ 249 h 548"/>
                <a:gd name="T80" fmla="*/ 221 w 432"/>
                <a:gd name="T81" fmla="*/ 223 h 548"/>
                <a:gd name="T82" fmla="*/ 202 w 432"/>
                <a:gd name="T83" fmla="*/ 254 h 548"/>
                <a:gd name="T84" fmla="*/ 207 w 432"/>
                <a:gd name="T85" fmla="*/ 204 h 548"/>
                <a:gd name="T86" fmla="*/ 207 w 432"/>
                <a:gd name="T87" fmla="*/ 293 h 548"/>
                <a:gd name="T88" fmla="*/ 244 w 432"/>
                <a:gd name="T89" fmla="*/ 223 h 548"/>
                <a:gd name="T90" fmla="*/ 275 w 432"/>
                <a:gd name="T91" fmla="*/ 249 h 548"/>
                <a:gd name="T92" fmla="*/ 139 w 432"/>
                <a:gd name="T93" fmla="*/ 249 h 548"/>
                <a:gd name="T94" fmla="*/ 249 w 432"/>
                <a:gd name="T95" fmla="*/ 195 h 548"/>
                <a:gd name="T96" fmla="*/ 207 w 432"/>
                <a:gd name="T97" fmla="*/ 165 h 548"/>
                <a:gd name="T98" fmla="*/ 207 w 432"/>
                <a:gd name="T99" fmla="*/ 333 h 548"/>
                <a:gd name="T100" fmla="*/ 272 w 432"/>
                <a:gd name="T101" fmla="*/ 195 h 548"/>
                <a:gd name="T102" fmla="*/ 318 w 432"/>
                <a:gd name="T103" fmla="*/ 249 h 548"/>
                <a:gd name="T104" fmla="*/ 97 w 432"/>
                <a:gd name="T105" fmla="*/ 249 h 548"/>
                <a:gd name="T106" fmla="*/ 280 w 432"/>
                <a:gd name="T107" fmla="*/ 165 h 548"/>
                <a:gd name="T108" fmla="*/ 207 w 432"/>
                <a:gd name="T109" fmla="*/ 165 h 548"/>
                <a:gd name="T110" fmla="*/ 413 w 432"/>
                <a:gd name="T111" fmla="*/ 73 h 548"/>
                <a:gd name="T112" fmla="*/ 395 w 432"/>
                <a:gd name="T113" fmla="*/ 91 h 548"/>
                <a:gd name="T114" fmla="*/ 400 w 432"/>
                <a:gd name="T115" fmla="*/ 67 h 548"/>
                <a:gd name="T116" fmla="*/ 383 w 432"/>
                <a:gd name="T117" fmla="*/ 42 h 548"/>
                <a:gd name="T118" fmla="*/ 371 w 432"/>
                <a:gd name="T119" fmla="*/ 74 h 548"/>
                <a:gd name="T120" fmla="*/ 366 w 432"/>
                <a:gd name="T121" fmla="*/ 59 h 548"/>
                <a:gd name="T122" fmla="*/ 366 w 432"/>
                <a:gd name="T123" fmla="*/ 59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2" h="548">
                  <a:moveTo>
                    <a:pt x="389" y="106"/>
                  </a:moveTo>
                  <a:cubicBezTo>
                    <a:pt x="395" y="108"/>
                    <a:pt x="403" y="107"/>
                    <a:pt x="408" y="102"/>
                  </a:cubicBezTo>
                  <a:cubicBezTo>
                    <a:pt x="426" y="83"/>
                    <a:pt x="426" y="83"/>
                    <a:pt x="426" y="83"/>
                  </a:cubicBezTo>
                  <a:cubicBezTo>
                    <a:pt x="430" y="79"/>
                    <a:pt x="432" y="74"/>
                    <a:pt x="431" y="70"/>
                  </a:cubicBezTo>
                  <a:cubicBezTo>
                    <a:pt x="430" y="66"/>
                    <a:pt x="428" y="62"/>
                    <a:pt x="424" y="60"/>
                  </a:cubicBezTo>
                  <a:cubicBezTo>
                    <a:pt x="404" y="51"/>
                    <a:pt x="404" y="51"/>
                    <a:pt x="404" y="51"/>
                  </a:cubicBezTo>
                  <a:cubicBezTo>
                    <a:pt x="395" y="32"/>
                    <a:pt x="395" y="32"/>
                    <a:pt x="395" y="32"/>
                  </a:cubicBezTo>
                  <a:cubicBezTo>
                    <a:pt x="394" y="28"/>
                    <a:pt x="390" y="26"/>
                    <a:pt x="386" y="25"/>
                  </a:cubicBezTo>
                  <a:cubicBezTo>
                    <a:pt x="382" y="24"/>
                    <a:pt x="376" y="26"/>
                    <a:pt x="373" y="29"/>
                  </a:cubicBezTo>
                  <a:cubicBezTo>
                    <a:pt x="354" y="48"/>
                    <a:pt x="354" y="48"/>
                    <a:pt x="354" y="48"/>
                  </a:cubicBezTo>
                  <a:cubicBezTo>
                    <a:pt x="349" y="53"/>
                    <a:pt x="347" y="61"/>
                    <a:pt x="350" y="67"/>
                  </a:cubicBezTo>
                  <a:cubicBezTo>
                    <a:pt x="359" y="86"/>
                    <a:pt x="359" y="86"/>
                    <a:pt x="359" y="86"/>
                  </a:cubicBezTo>
                  <a:cubicBezTo>
                    <a:pt x="348" y="97"/>
                    <a:pt x="348" y="97"/>
                    <a:pt x="348" y="97"/>
                  </a:cubicBezTo>
                  <a:cubicBezTo>
                    <a:pt x="347" y="97"/>
                    <a:pt x="347" y="96"/>
                    <a:pt x="347" y="96"/>
                  </a:cubicBezTo>
                  <a:cubicBezTo>
                    <a:pt x="313" y="65"/>
                    <a:pt x="271" y="47"/>
                    <a:pt x="226" y="43"/>
                  </a:cubicBezTo>
                  <a:cubicBezTo>
                    <a:pt x="226" y="19"/>
                    <a:pt x="226" y="19"/>
                    <a:pt x="226" y="19"/>
                  </a:cubicBezTo>
                  <a:cubicBezTo>
                    <a:pt x="226" y="8"/>
                    <a:pt x="218" y="0"/>
                    <a:pt x="207" y="0"/>
                  </a:cubicBezTo>
                  <a:cubicBezTo>
                    <a:pt x="197" y="0"/>
                    <a:pt x="188" y="8"/>
                    <a:pt x="188" y="19"/>
                  </a:cubicBezTo>
                  <a:cubicBezTo>
                    <a:pt x="188" y="43"/>
                    <a:pt x="188" y="43"/>
                    <a:pt x="188" y="43"/>
                  </a:cubicBezTo>
                  <a:cubicBezTo>
                    <a:pt x="83" y="52"/>
                    <a:pt x="0" y="141"/>
                    <a:pt x="0" y="249"/>
                  </a:cubicBezTo>
                  <a:cubicBezTo>
                    <a:pt x="0" y="301"/>
                    <a:pt x="20" y="350"/>
                    <a:pt x="55" y="388"/>
                  </a:cubicBezTo>
                  <a:cubicBezTo>
                    <a:pt x="77" y="413"/>
                    <a:pt x="104" y="431"/>
                    <a:pt x="134" y="442"/>
                  </a:cubicBezTo>
                  <a:cubicBezTo>
                    <a:pt x="112" y="522"/>
                    <a:pt x="112" y="522"/>
                    <a:pt x="112" y="522"/>
                  </a:cubicBezTo>
                  <a:cubicBezTo>
                    <a:pt x="110" y="532"/>
                    <a:pt x="116" y="542"/>
                    <a:pt x="126" y="545"/>
                  </a:cubicBezTo>
                  <a:cubicBezTo>
                    <a:pt x="136" y="548"/>
                    <a:pt x="147" y="542"/>
                    <a:pt x="150" y="532"/>
                  </a:cubicBezTo>
                  <a:cubicBezTo>
                    <a:pt x="171" y="452"/>
                    <a:pt x="171" y="452"/>
                    <a:pt x="171" y="452"/>
                  </a:cubicBezTo>
                  <a:cubicBezTo>
                    <a:pt x="177" y="453"/>
                    <a:pt x="182" y="454"/>
                    <a:pt x="188" y="455"/>
                  </a:cubicBezTo>
                  <a:cubicBezTo>
                    <a:pt x="192" y="455"/>
                    <a:pt x="196" y="452"/>
                    <a:pt x="196" y="447"/>
                  </a:cubicBezTo>
                  <a:cubicBezTo>
                    <a:pt x="197" y="443"/>
                    <a:pt x="194" y="439"/>
                    <a:pt x="189" y="439"/>
                  </a:cubicBezTo>
                  <a:cubicBezTo>
                    <a:pt x="91" y="430"/>
                    <a:pt x="16" y="348"/>
                    <a:pt x="16" y="249"/>
                  </a:cubicBezTo>
                  <a:cubicBezTo>
                    <a:pt x="16" y="143"/>
                    <a:pt x="102" y="58"/>
                    <a:pt x="207" y="58"/>
                  </a:cubicBezTo>
                  <a:cubicBezTo>
                    <a:pt x="207" y="58"/>
                    <a:pt x="207" y="58"/>
                    <a:pt x="207" y="58"/>
                  </a:cubicBezTo>
                  <a:cubicBezTo>
                    <a:pt x="207" y="58"/>
                    <a:pt x="207" y="58"/>
                    <a:pt x="207" y="58"/>
                  </a:cubicBezTo>
                  <a:cubicBezTo>
                    <a:pt x="255" y="58"/>
                    <a:pt x="301" y="76"/>
                    <a:pt x="337" y="108"/>
                  </a:cubicBezTo>
                  <a:cubicBezTo>
                    <a:pt x="320" y="125"/>
                    <a:pt x="320" y="125"/>
                    <a:pt x="320" y="125"/>
                  </a:cubicBezTo>
                  <a:cubicBezTo>
                    <a:pt x="290" y="97"/>
                    <a:pt x="251" y="81"/>
                    <a:pt x="207" y="81"/>
                  </a:cubicBezTo>
                  <a:cubicBezTo>
                    <a:pt x="115" y="81"/>
                    <a:pt x="39" y="156"/>
                    <a:pt x="39" y="249"/>
                  </a:cubicBezTo>
                  <a:cubicBezTo>
                    <a:pt x="39" y="341"/>
                    <a:pt x="115" y="416"/>
                    <a:pt x="207" y="416"/>
                  </a:cubicBezTo>
                  <a:cubicBezTo>
                    <a:pt x="300" y="416"/>
                    <a:pt x="375" y="341"/>
                    <a:pt x="375" y="249"/>
                  </a:cubicBezTo>
                  <a:cubicBezTo>
                    <a:pt x="375" y="205"/>
                    <a:pt x="358" y="166"/>
                    <a:pt x="331" y="136"/>
                  </a:cubicBezTo>
                  <a:cubicBezTo>
                    <a:pt x="348" y="119"/>
                    <a:pt x="348" y="119"/>
                    <a:pt x="348" y="119"/>
                  </a:cubicBezTo>
                  <a:cubicBezTo>
                    <a:pt x="375" y="149"/>
                    <a:pt x="393" y="188"/>
                    <a:pt x="397" y="231"/>
                  </a:cubicBezTo>
                  <a:cubicBezTo>
                    <a:pt x="398" y="235"/>
                    <a:pt x="401" y="238"/>
                    <a:pt x="406" y="238"/>
                  </a:cubicBezTo>
                  <a:cubicBezTo>
                    <a:pt x="410" y="238"/>
                    <a:pt x="413" y="234"/>
                    <a:pt x="413" y="229"/>
                  </a:cubicBezTo>
                  <a:cubicBezTo>
                    <a:pt x="409" y="184"/>
                    <a:pt x="390" y="141"/>
                    <a:pt x="359" y="108"/>
                  </a:cubicBezTo>
                  <a:cubicBezTo>
                    <a:pt x="370" y="97"/>
                    <a:pt x="370" y="97"/>
                    <a:pt x="370" y="97"/>
                  </a:cubicBezTo>
                  <a:lnTo>
                    <a:pt x="389" y="106"/>
                  </a:lnTo>
                  <a:close/>
                  <a:moveTo>
                    <a:pt x="150" y="447"/>
                  </a:moveTo>
                  <a:cubicBezTo>
                    <a:pt x="152" y="448"/>
                    <a:pt x="153" y="448"/>
                    <a:pt x="155" y="449"/>
                  </a:cubicBezTo>
                  <a:cubicBezTo>
                    <a:pt x="155" y="449"/>
                    <a:pt x="156" y="449"/>
                    <a:pt x="156" y="449"/>
                  </a:cubicBezTo>
                  <a:cubicBezTo>
                    <a:pt x="134" y="527"/>
                    <a:pt x="134" y="527"/>
                    <a:pt x="134" y="527"/>
                  </a:cubicBezTo>
                  <a:cubicBezTo>
                    <a:pt x="134" y="529"/>
                    <a:pt x="132" y="530"/>
                    <a:pt x="130" y="530"/>
                  </a:cubicBezTo>
                  <a:cubicBezTo>
                    <a:pt x="128" y="529"/>
                    <a:pt x="127" y="527"/>
                    <a:pt x="128" y="526"/>
                  </a:cubicBezTo>
                  <a:cubicBezTo>
                    <a:pt x="149" y="447"/>
                    <a:pt x="149" y="447"/>
                    <a:pt x="149" y="447"/>
                  </a:cubicBezTo>
                  <a:cubicBezTo>
                    <a:pt x="150" y="447"/>
                    <a:pt x="150" y="447"/>
                    <a:pt x="150" y="447"/>
                  </a:cubicBezTo>
                  <a:close/>
                  <a:moveTo>
                    <a:pt x="210" y="42"/>
                  </a:moveTo>
                  <a:cubicBezTo>
                    <a:pt x="208" y="42"/>
                    <a:pt x="206" y="42"/>
                    <a:pt x="204" y="42"/>
                  </a:cubicBezTo>
                  <a:cubicBezTo>
                    <a:pt x="204" y="19"/>
                    <a:pt x="204" y="19"/>
                    <a:pt x="204" y="19"/>
                  </a:cubicBezTo>
                  <a:cubicBezTo>
                    <a:pt x="204" y="17"/>
                    <a:pt x="205" y="16"/>
                    <a:pt x="207" y="16"/>
                  </a:cubicBezTo>
                  <a:cubicBezTo>
                    <a:pt x="209" y="16"/>
                    <a:pt x="210" y="17"/>
                    <a:pt x="210" y="19"/>
                  </a:cubicBezTo>
                  <a:lnTo>
                    <a:pt x="210" y="42"/>
                  </a:lnTo>
                  <a:close/>
                  <a:moveTo>
                    <a:pt x="359" y="249"/>
                  </a:moveTo>
                  <a:cubicBezTo>
                    <a:pt x="359" y="332"/>
                    <a:pt x="291" y="400"/>
                    <a:pt x="207" y="400"/>
                  </a:cubicBezTo>
                  <a:cubicBezTo>
                    <a:pt x="124" y="400"/>
                    <a:pt x="55" y="332"/>
                    <a:pt x="55" y="249"/>
                  </a:cubicBezTo>
                  <a:cubicBezTo>
                    <a:pt x="55" y="165"/>
                    <a:pt x="124" y="97"/>
                    <a:pt x="207" y="97"/>
                  </a:cubicBezTo>
                  <a:cubicBezTo>
                    <a:pt x="246" y="97"/>
                    <a:pt x="282" y="112"/>
                    <a:pt x="309" y="136"/>
                  </a:cubicBezTo>
                  <a:cubicBezTo>
                    <a:pt x="291" y="154"/>
                    <a:pt x="291" y="154"/>
                    <a:pt x="291" y="154"/>
                  </a:cubicBezTo>
                  <a:cubicBezTo>
                    <a:pt x="269" y="134"/>
                    <a:pt x="239" y="122"/>
                    <a:pt x="207" y="122"/>
                  </a:cubicBezTo>
                  <a:cubicBezTo>
                    <a:pt x="137" y="122"/>
                    <a:pt x="81" y="179"/>
                    <a:pt x="81" y="249"/>
                  </a:cubicBezTo>
                  <a:cubicBezTo>
                    <a:pt x="81" y="318"/>
                    <a:pt x="137" y="375"/>
                    <a:pt x="207" y="375"/>
                  </a:cubicBezTo>
                  <a:cubicBezTo>
                    <a:pt x="277" y="375"/>
                    <a:pt x="334" y="318"/>
                    <a:pt x="334" y="249"/>
                  </a:cubicBezTo>
                  <a:cubicBezTo>
                    <a:pt x="334" y="217"/>
                    <a:pt x="322" y="187"/>
                    <a:pt x="302" y="165"/>
                  </a:cubicBezTo>
                  <a:cubicBezTo>
                    <a:pt x="320" y="147"/>
                    <a:pt x="320" y="147"/>
                    <a:pt x="320" y="147"/>
                  </a:cubicBezTo>
                  <a:cubicBezTo>
                    <a:pt x="344" y="174"/>
                    <a:pt x="359" y="210"/>
                    <a:pt x="359" y="249"/>
                  </a:cubicBezTo>
                  <a:close/>
                  <a:moveTo>
                    <a:pt x="202" y="254"/>
                  </a:moveTo>
                  <a:cubicBezTo>
                    <a:pt x="205" y="257"/>
                    <a:pt x="210" y="257"/>
                    <a:pt x="213" y="254"/>
                  </a:cubicBezTo>
                  <a:cubicBezTo>
                    <a:pt x="232" y="235"/>
                    <a:pt x="232" y="235"/>
                    <a:pt x="232" y="235"/>
                  </a:cubicBezTo>
                  <a:cubicBezTo>
                    <a:pt x="235" y="239"/>
                    <a:pt x="236" y="244"/>
                    <a:pt x="236" y="249"/>
                  </a:cubicBezTo>
                  <a:cubicBezTo>
                    <a:pt x="236" y="265"/>
                    <a:pt x="223" y="277"/>
                    <a:pt x="207" y="277"/>
                  </a:cubicBezTo>
                  <a:cubicBezTo>
                    <a:pt x="191" y="277"/>
                    <a:pt x="178" y="265"/>
                    <a:pt x="178" y="249"/>
                  </a:cubicBezTo>
                  <a:cubicBezTo>
                    <a:pt x="178" y="233"/>
                    <a:pt x="191" y="220"/>
                    <a:pt x="207" y="220"/>
                  </a:cubicBezTo>
                  <a:cubicBezTo>
                    <a:pt x="212" y="220"/>
                    <a:pt x="217" y="221"/>
                    <a:pt x="221" y="223"/>
                  </a:cubicBezTo>
                  <a:cubicBezTo>
                    <a:pt x="202" y="243"/>
                    <a:pt x="202" y="243"/>
                    <a:pt x="202" y="243"/>
                  </a:cubicBezTo>
                  <a:cubicBezTo>
                    <a:pt x="198" y="246"/>
                    <a:pt x="198" y="251"/>
                    <a:pt x="202" y="254"/>
                  </a:cubicBezTo>
                  <a:close/>
                  <a:moveTo>
                    <a:pt x="233" y="212"/>
                  </a:moveTo>
                  <a:cubicBezTo>
                    <a:pt x="225" y="207"/>
                    <a:pt x="217" y="204"/>
                    <a:pt x="207" y="204"/>
                  </a:cubicBezTo>
                  <a:cubicBezTo>
                    <a:pt x="182" y="204"/>
                    <a:pt x="162" y="224"/>
                    <a:pt x="162" y="249"/>
                  </a:cubicBezTo>
                  <a:cubicBezTo>
                    <a:pt x="162" y="273"/>
                    <a:pt x="182" y="293"/>
                    <a:pt x="207" y="293"/>
                  </a:cubicBezTo>
                  <a:cubicBezTo>
                    <a:pt x="232" y="293"/>
                    <a:pt x="252" y="273"/>
                    <a:pt x="252" y="249"/>
                  </a:cubicBezTo>
                  <a:cubicBezTo>
                    <a:pt x="252" y="239"/>
                    <a:pt x="249" y="230"/>
                    <a:pt x="244" y="223"/>
                  </a:cubicBezTo>
                  <a:cubicBezTo>
                    <a:pt x="261" y="206"/>
                    <a:pt x="261" y="206"/>
                    <a:pt x="261" y="206"/>
                  </a:cubicBezTo>
                  <a:cubicBezTo>
                    <a:pt x="270" y="218"/>
                    <a:pt x="275" y="233"/>
                    <a:pt x="275" y="249"/>
                  </a:cubicBezTo>
                  <a:cubicBezTo>
                    <a:pt x="275" y="286"/>
                    <a:pt x="245" y="317"/>
                    <a:pt x="207" y="317"/>
                  </a:cubicBezTo>
                  <a:cubicBezTo>
                    <a:pt x="170" y="317"/>
                    <a:pt x="139" y="286"/>
                    <a:pt x="139" y="249"/>
                  </a:cubicBezTo>
                  <a:cubicBezTo>
                    <a:pt x="139" y="211"/>
                    <a:pt x="170" y="181"/>
                    <a:pt x="207" y="181"/>
                  </a:cubicBezTo>
                  <a:cubicBezTo>
                    <a:pt x="223" y="181"/>
                    <a:pt x="238" y="186"/>
                    <a:pt x="249" y="195"/>
                  </a:cubicBezTo>
                  <a:lnTo>
                    <a:pt x="233" y="212"/>
                  </a:lnTo>
                  <a:close/>
                  <a:moveTo>
                    <a:pt x="207" y="165"/>
                  </a:moveTo>
                  <a:cubicBezTo>
                    <a:pt x="161" y="165"/>
                    <a:pt x="123" y="202"/>
                    <a:pt x="123" y="249"/>
                  </a:cubicBezTo>
                  <a:cubicBezTo>
                    <a:pt x="123" y="295"/>
                    <a:pt x="161" y="333"/>
                    <a:pt x="207" y="333"/>
                  </a:cubicBezTo>
                  <a:cubicBezTo>
                    <a:pt x="254" y="333"/>
                    <a:pt x="291" y="295"/>
                    <a:pt x="291" y="249"/>
                  </a:cubicBezTo>
                  <a:cubicBezTo>
                    <a:pt x="291" y="228"/>
                    <a:pt x="284" y="210"/>
                    <a:pt x="272" y="195"/>
                  </a:cubicBezTo>
                  <a:cubicBezTo>
                    <a:pt x="291" y="176"/>
                    <a:pt x="291" y="176"/>
                    <a:pt x="291" y="176"/>
                  </a:cubicBezTo>
                  <a:cubicBezTo>
                    <a:pt x="308" y="196"/>
                    <a:pt x="318" y="221"/>
                    <a:pt x="318" y="249"/>
                  </a:cubicBezTo>
                  <a:cubicBezTo>
                    <a:pt x="318" y="310"/>
                    <a:pt x="268" y="359"/>
                    <a:pt x="207" y="359"/>
                  </a:cubicBezTo>
                  <a:cubicBezTo>
                    <a:pt x="146" y="359"/>
                    <a:pt x="97" y="310"/>
                    <a:pt x="97" y="249"/>
                  </a:cubicBezTo>
                  <a:cubicBezTo>
                    <a:pt x="97" y="188"/>
                    <a:pt x="146" y="138"/>
                    <a:pt x="207" y="138"/>
                  </a:cubicBezTo>
                  <a:cubicBezTo>
                    <a:pt x="235" y="138"/>
                    <a:pt x="260" y="148"/>
                    <a:pt x="280" y="165"/>
                  </a:cubicBezTo>
                  <a:cubicBezTo>
                    <a:pt x="261" y="184"/>
                    <a:pt x="261" y="184"/>
                    <a:pt x="261" y="184"/>
                  </a:cubicBezTo>
                  <a:cubicBezTo>
                    <a:pt x="246" y="172"/>
                    <a:pt x="227" y="165"/>
                    <a:pt x="207" y="165"/>
                  </a:cubicBezTo>
                  <a:close/>
                  <a:moveTo>
                    <a:pt x="400" y="67"/>
                  </a:moveTo>
                  <a:cubicBezTo>
                    <a:pt x="413" y="73"/>
                    <a:pt x="413" y="73"/>
                    <a:pt x="413" y="73"/>
                  </a:cubicBezTo>
                  <a:cubicBezTo>
                    <a:pt x="396" y="90"/>
                    <a:pt x="396" y="90"/>
                    <a:pt x="396" y="90"/>
                  </a:cubicBezTo>
                  <a:cubicBezTo>
                    <a:pt x="396" y="91"/>
                    <a:pt x="396" y="91"/>
                    <a:pt x="395" y="91"/>
                  </a:cubicBezTo>
                  <a:cubicBezTo>
                    <a:pt x="382" y="85"/>
                    <a:pt x="382" y="85"/>
                    <a:pt x="382" y="85"/>
                  </a:cubicBezTo>
                  <a:lnTo>
                    <a:pt x="400" y="67"/>
                  </a:lnTo>
                  <a:close/>
                  <a:moveTo>
                    <a:pt x="366" y="59"/>
                  </a:moveTo>
                  <a:cubicBezTo>
                    <a:pt x="383" y="42"/>
                    <a:pt x="383" y="42"/>
                    <a:pt x="383" y="42"/>
                  </a:cubicBezTo>
                  <a:cubicBezTo>
                    <a:pt x="389" y="56"/>
                    <a:pt x="389" y="56"/>
                    <a:pt x="389" y="56"/>
                  </a:cubicBezTo>
                  <a:cubicBezTo>
                    <a:pt x="371" y="74"/>
                    <a:pt x="371" y="74"/>
                    <a:pt x="371" y="74"/>
                  </a:cubicBezTo>
                  <a:cubicBezTo>
                    <a:pt x="365" y="60"/>
                    <a:pt x="365" y="60"/>
                    <a:pt x="365" y="60"/>
                  </a:cubicBezTo>
                  <a:cubicBezTo>
                    <a:pt x="365" y="60"/>
                    <a:pt x="365" y="60"/>
                    <a:pt x="366" y="59"/>
                  </a:cubicBezTo>
                  <a:close/>
                  <a:moveTo>
                    <a:pt x="366" y="59"/>
                  </a:moveTo>
                  <a:cubicBezTo>
                    <a:pt x="366" y="59"/>
                    <a:pt x="366" y="59"/>
                    <a:pt x="366" y="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0">
              <a:extLst>
                <a:ext uri="{FF2B5EF4-FFF2-40B4-BE49-F238E27FC236}">
                  <a16:creationId xmlns:a16="http://schemas.microsoft.com/office/drawing/2014/main" id="{FE708371-EFC4-440D-9A63-708EC83AE458}"/>
                </a:ext>
              </a:extLst>
            </p:cNvPr>
            <p:cNvSpPr>
              <a:spLocks noEditPoints="1"/>
            </p:cNvSpPr>
            <p:nvPr/>
          </p:nvSpPr>
          <p:spPr bwMode="auto">
            <a:xfrm>
              <a:off x="-163" y="3187"/>
              <a:ext cx="438" cy="625"/>
            </a:xfrm>
            <a:custGeom>
              <a:avLst/>
              <a:gdLst>
                <a:gd name="T0" fmla="*/ 189 w 196"/>
                <a:gd name="T1" fmla="*/ 0 h 289"/>
                <a:gd name="T2" fmla="*/ 180 w 196"/>
                <a:gd name="T3" fmla="*/ 8 h 289"/>
                <a:gd name="T4" fmla="*/ 8 w 196"/>
                <a:gd name="T5" fmla="*/ 180 h 289"/>
                <a:gd name="T6" fmla="*/ 1 w 196"/>
                <a:gd name="T7" fmla="*/ 188 h 289"/>
                <a:gd name="T8" fmla="*/ 10 w 196"/>
                <a:gd name="T9" fmla="*/ 196 h 289"/>
                <a:gd name="T10" fmla="*/ 26 w 196"/>
                <a:gd name="T11" fmla="*/ 193 h 289"/>
                <a:gd name="T12" fmla="*/ 48 w 196"/>
                <a:gd name="T13" fmla="*/ 273 h 289"/>
                <a:gd name="T14" fmla="*/ 71 w 196"/>
                <a:gd name="T15" fmla="*/ 286 h 289"/>
                <a:gd name="T16" fmla="*/ 85 w 196"/>
                <a:gd name="T17" fmla="*/ 263 h 289"/>
                <a:gd name="T18" fmla="*/ 63 w 196"/>
                <a:gd name="T19" fmla="*/ 183 h 289"/>
                <a:gd name="T20" fmla="*/ 196 w 196"/>
                <a:gd name="T21" fmla="*/ 9 h 289"/>
                <a:gd name="T22" fmla="*/ 189 w 196"/>
                <a:gd name="T23" fmla="*/ 0 h 289"/>
                <a:gd name="T24" fmla="*/ 69 w 196"/>
                <a:gd name="T25" fmla="*/ 267 h 289"/>
                <a:gd name="T26" fmla="*/ 67 w 196"/>
                <a:gd name="T27" fmla="*/ 271 h 289"/>
                <a:gd name="T28" fmla="*/ 63 w 196"/>
                <a:gd name="T29" fmla="*/ 268 h 289"/>
                <a:gd name="T30" fmla="*/ 42 w 196"/>
                <a:gd name="T31" fmla="*/ 190 h 289"/>
                <a:gd name="T32" fmla="*/ 48 w 196"/>
                <a:gd name="T33" fmla="*/ 188 h 289"/>
                <a:gd name="T34" fmla="*/ 48 w 196"/>
                <a:gd name="T35" fmla="*/ 188 h 289"/>
                <a:gd name="T36" fmla="*/ 69 w 196"/>
                <a:gd name="T37" fmla="*/ 267 h 289"/>
                <a:gd name="T38" fmla="*/ 69 w 196"/>
                <a:gd name="T39" fmla="*/ 267 h 289"/>
                <a:gd name="T40" fmla="*/ 69 w 196"/>
                <a:gd name="T41" fmla="*/ 26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6" h="289">
                  <a:moveTo>
                    <a:pt x="189" y="0"/>
                  </a:moveTo>
                  <a:cubicBezTo>
                    <a:pt x="184" y="0"/>
                    <a:pt x="181" y="3"/>
                    <a:pt x="180" y="8"/>
                  </a:cubicBezTo>
                  <a:cubicBezTo>
                    <a:pt x="172" y="99"/>
                    <a:pt x="99" y="171"/>
                    <a:pt x="8" y="180"/>
                  </a:cubicBezTo>
                  <a:cubicBezTo>
                    <a:pt x="4" y="180"/>
                    <a:pt x="0" y="184"/>
                    <a:pt x="1" y="188"/>
                  </a:cubicBezTo>
                  <a:cubicBezTo>
                    <a:pt x="1" y="193"/>
                    <a:pt x="5" y="196"/>
                    <a:pt x="10" y="196"/>
                  </a:cubicBezTo>
                  <a:cubicBezTo>
                    <a:pt x="15" y="195"/>
                    <a:pt x="21" y="194"/>
                    <a:pt x="26" y="193"/>
                  </a:cubicBezTo>
                  <a:cubicBezTo>
                    <a:pt x="48" y="273"/>
                    <a:pt x="48" y="273"/>
                    <a:pt x="48" y="273"/>
                  </a:cubicBezTo>
                  <a:cubicBezTo>
                    <a:pt x="51" y="283"/>
                    <a:pt x="61" y="289"/>
                    <a:pt x="71" y="286"/>
                  </a:cubicBezTo>
                  <a:cubicBezTo>
                    <a:pt x="82" y="283"/>
                    <a:pt x="88" y="273"/>
                    <a:pt x="85" y="263"/>
                  </a:cubicBezTo>
                  <a:cubicBezTo>
                    <a:pt x="63" y="183"/>
                    <a:pt x="63" y="183"/>
                    <a:pt x="63" y="183"/>
                  </a:cubicBezTo>
                  <a:cubicBezTo>
                    <a:pt x="136" y="156"/>
                    <a:pt x="189" y="89"/>
                    <a:pt x="196" y="9"/>
                  </a:cubicBezTo>
                  <a:cubicBezTo>
                    <a:pt x="196" y="5"/>
                    <a:pt x="193" y="1"/>
                    <a:pt x="189" y="0"/>
                  </a:cubicBezTo>
                  <a:close/>
                  <a:moveTo>
                    <a:pt x="69" y="267"/>
                  </a:moveTo>
                  <a:cubicBezTo>
                    <a:pt x="70" y="268"/>
                    <a:pt x="69" y="270"/>
                    <a:pt x="67" y="271"/>
                  </a:cubicBezTo>
                  <a:cubicBezTo>
                    <a:pt x="65" y="271"/>
                    <a:pt x="64" y="270"/>
                    <a:pt x="63" y="268"/>
                  </a:cubicBezTo>
                  <a:cubicBezTo>
                    <a:pt x="42" y="190"/>
                    <a:pt x="42" y="190"/>
                    <a:pt x="42" y="190"/>
                  </a:cubicBezTo>
                  <a:cubicBezTo>
                    <a:pt x="44" y="189"/>
                    <a:pt x="46" y="189"/>
                    <a:pt x="48" y="188"/>
                  </a:cubicBezTo>
                  <a:cubicBezTo>
                    <a:pt x="48" y="188"/>
                    <a:pt x="48" y="188"/>
                    <a:pt x="48" y="188"/>
                  </a:cubicBezTo>
                  <a:lnTo>
                    <a:pt x="69" y="267"/>
                  </a:lnTo>
                  <a:close/>
                  <a:moveTo>
                    <a:pt x="69" y="267"/>
                  </a:moveTo>
                  <a:cubicBezTo>
                    <a:pt x="69" y="267"/>
                    <a:pt x="69" y="267"/>
                    <a:pt x="69" y="2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Group 23">
            <a:extLst>
              <a:ext uri="{FF2B5EF4-FFF2-40B4-BE49-F238E27FC236}">
                <a16:creationId xmlns:a16="http://schemas.microsoft.com/office/drawing/2014/main" id="{99CEFCB5-5C47-4D8A-9B39-AD9E895A1861}"/>
              </a:ext>
            </a:extLst>
          </p:cNvPr>
          <p:cNvGrpSpPr>
            <a:grpSpLocks noChangeAspect="1"/>
          </p:cNvGrpSpPr>
          <p:nvPr/>
        </p:nvGrpSpPr>
        <p:grpSpPr bwMode="auto">
          <a:xfrm>
            <a:off x="3740587" y="3712798"/>
            <a:ext cx="670678" cy="595850"/>
            <a:chOff x="340" y="3394"/>
            <a:chExt cx="484" cy="430"/>
          </a:xfrm>
          <a:solidFill>
            <a:srgbClr val="009A44"/>
          </a:solidFill>
        </p:grpSpPr>
        <p:sp>
          <p:nvSpPr>
            <p:cNvPr id="71" name="Freeform 24">
              <a:extLst>
                <a:ext uri="{FF2B5EF4-FFF2-40B4-BE49-F238E27FC236}">
                  <a16:creationId xmlns:a16="http://schemas.microsoft.com/office/drawing/2014/main" id="{661F28E8-D3A9-49F5-A4E2-1991E72C4D4F}"/>
                </a:ext>
              </a:extLst>
            </p:cNvPr>
            <p:cNvSpPr>
              <a:spLocks noEditPoints="1"/>
            </p:cNvSpPr>
            <p:nvPr/>
          </p:nvSpPr>
          <p:spPr bwMode="auto">
            <a:xfrm>
              <a:off x="340" y="3394"/>
              <a:ext cx="484" cy="352"/>
            </a:xfrm>
            <a:custGeom>
              <a:avLst/>
              <a:gdLst>
                <a:gd name="T0" fmla="*/ 452 w 512"/>
                <a:gd name="T1" fmla="*/ 0 h 384"/>
                <a:gd name="T2" fmla="*/ 324 w 512"/>
                <a:gd name="T3" fmla="*/ 52 h 384"/>
                <a:gd name="T4" fmla="*/ 188 w 512"/>
                <a:gd name="T5" fmla="*/ 26 h 384"/>
                <a:gd name="T6" fmla="*/ 145 w 512"/>
                <a:gd name="T7" fmla="*/ 0 h 384"/>
                <a:gd name="T8" fmla="*/ 9 w 512"/>
                <a:gd name="T9" fmla="*/ 52 h 384"/>
                <a:gd name="T10" fmla="*/ 34 w 512"/>
                <a:gd name="T11" fmla="*/ 103 h 384"/>
                <a:gd name="T12" fmla="*/ 171 w 512"/>
                <a:gd name="T13" fmla="*/ 128 h 384"/>
                <a:gd name="T14" fmla="*/ 213 w 512"/>
                <a:gd name="T15" fmla="*/ 154 h 384"/>
                <a:gd name="T16" fmla="*/ 162 w 512"/>
                <a:gd name="T17" fmla="*/ 231 h 384"/>
                <a:gd name="T18" fmla="*/ 350 w 512"/>
                <a:gd name="T19" fmla="*/ 359 h 384"/>
                <a:gd name="T20" fmla="*/ 282 w 512"/>
                <a:gd name="T21" fmla="*/ 154 h 384"/>
                <a:gd name="T22" fmla="*/ 341 w 512"/>
                <a:gd name="T23" fmla="*/ 103 h 384"/>
                <a:gd name="T24" fmla="*/ 478 w 512"/>
                <a:gd name="T25" fmla="*/ 128 h 384"/>
                <a:gd name="T26" fmla="*/ 512 w 512"/>
                <a:gd name="T27" fmla="*/ 60 h 384"/>
                <a:gd name="T28" fmla="*/ 452 w 512"/>
                <a:gd name="T29" fmla="*/ 17 h 384"/>
                <a:gd name="T30" fmla="*/ 444 w 512"/>
                <a:gd name="T31" fmla="*/ 43 h 384"/>
                <a:gd name="T32" fmla="*/ 375 w 512"/>
                <a:gd name="T33" fmla="*/ 52 h 384"/>
                <a:gd name="T34" fmla="*/ 393 w 512"/>
                <a:gd name="T35" fmla="*/ 103 h 384"/>
                <a:gd name="T36" fmla="*/ 427 w 512"/>
                <a:gd name="T37" fmla="*/ 52 h 384"/>
                <a:gd name="T38" fmla="*/ 205 w 512"/>
                <a:gd name="T39" fmla="*/ 26 h 384"/>
                <a:gd name="T40" fmla="*/ 307 w 512"/>
                <a:gd name="T41" fmla="*/ 52 h 384"/>
                <a:gd name="T42" fmla="*/ 230 w 512"/>
                <a:gd name="T43" fmla="*/ 34 h 384"/>
                <a:gd name="T44" fmla="*/ 205 w 512"/>
                <a:gd name="T45" fmla="*/ 26 h 384"/>
                <a:gd name="T46" fmla="*/ 247 w 512"/>
                <a:gd name="T47" fmla="*/ 60 h 384"/>
                <a:gd name="T48" fmla="*/ 265 w 512"/>
                <a:gd name="T49" fmla="*/ 94 h 384"/>
                <a:gd name="T50" fmla="*/ 145 w 512"/>
                <a:gd name="T51" fmla="*/ 17 h 384"/>
                <a:gd name="T52" fmla="*/ 137 w 512"/>
                <a:gd name="T53" fmla="*/ 43 h 384"/>
                <a:gd name="T54" fmla="*/ 68 w 512"/>
                <a:gd name="T55" fmla="*/ 52 h 384"/>
                <a:gd name="T56" fmla="*/ 85 w 512"/>
                <a:gd name="T57" fmla="*/ 103 h 384"/>
                <a:gd name="T58" fmla="*/ 119 w 512"/>
                <a:gd name="T59" fmla="*/ 52 h 384"/>
                <a:gd name="T60" fmla="*/ 17 w 512"/>
                <a:gd name="T61" fmla="*/ 86 h 384"/>
                <a:gd name="T62" fmla="*/ 17 w 512"/>
                <a:gd name="T63" fmla="*/ 86 h 384"/>
                <a:gd name="T64" fmla="*/ 51 w 512"/>
                <a:gd name="T65" fmla="*/ 128 h 384"/>
                <a:gd name="T66" fmla="*/ 77 w 512"/>
                <a:gd name="T67" fmla="*/ 120 h 384"/>
                <a:gd name="T68" fmla="*/ 154 w 512"/>
                <a:gd name="T69" fmla="*/ 103 h 384"/>
                <a:gd name="T70" fmla="*/ 128 w 512"/>
                <a:gd name="T71" fmla="*/ 69 h 384"/>
                <a:gd name="T72" fmla="*/ 324 w 512"/>
                <a:gd name="T73" fmla="*/ 222 h 384"/>
                <a:gd name="T74" fmla="*/ 188 w 512"/>
                <a:gd name="T75" fmla="*/ 367 h 384"/>
                <a:gd name="T76" fmla="*/ 324 w 512"/>
                <a:gd name="T77" fmla="*/ 222 h 384"/>
                <a:gd name="T78" fmla="*/ 265 w 512"/>
                <a:gd name="T79" fmla="*/ 205 h 384"/>
                <a:gd name="T80" fmla="*/ 213 w 512"/>
                <a:gd name="T81" fmla="*/ 137 h 384"/>
                <a:gd name="T82" fmla="*/ 222 w 512"/>
                <a:gd name="T83" fmla="*/ 111 h 384"/>
                <a:gd name="T84" fmla="*/ 290 w 512"/>
                <a:gd name="T85" fmla="*/ 103 h 384"/>
                <a:gd name="T86" fmla="*/ 282 w 512"/>
                <a:gd name="T87" fmla="*/ 86 h 384"/>
                <a:gd name="T88" fmla="*/ 316 w 512"/>
                <a:gd name="T89" fmla="*/ 86 h 384"/>
                <a:gd name="T90" fmla="*/ 358 w 512"/>
                <a:gd name="T91" fmla="*/ 128 h 384"/>
                <a:gd name="T92" fmla="*/ 384 w 512"/>
                <a:gd name="T93" fmla="*/ 120 h 384"/>
                <a:gd name="T94" fmla="*/ 461 w 512"/>
                <a:gd name="T95" fmla="*/ 103 h 384"/>
                <a:gd name="T96" fmla="*/ 435 w 512"/>
                <a:gd name="T97" fmla="*/ 69 h 384"/>
                <a:gd name="T98" fmla="*/ 495 w 512"/>
                <a:gd name="T99" fmla="*/ 8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384">
                  <a:moveTo>
                    <a:pt x="503" y="52"/>
                  </a:moveTo>
                  <a:cubicBezTo>
                    <a:pt x="478" y="52"/>
                    <a:pt x="478" y="52"/>
                    <a:pt x="478" y="52"/>
                  </a:cubicBezTo>
                  <a:cubicBezTo>
                    <a:pt x="478" y="26"/>
                    <a:pt x="478" y="26"/>
                    <a:pt x="478" y="26"/>
                  </a:cubicBezTo>
                  <a:cubicBezTo>
                    <a:pt x="478" y="12"/>
                    <a:pt x="466" y="0"/>
                    <a:pt x="452" y="0"/>
                  </a:cubicBezTo>
                  <a:cubicBezTo>
                    <a:pt x="367" y="0"/>
                    <a:pt x="367" y="0"/>
                    <a:pt x="367" y="0"/>
                  </a:cubicBezTo>
                  <a:cubicBezTo>
                    <a:pt x="353" y="0"/>
                    <a:pt x="341" y="12"/>
                    <a:pt x="341" y="26"/>
                  </a:cubicBezTo>
                  <a:cubicBezTo>
                    <a:pt x="341" y="52"/>
                    <a:pt x="341" y="52"/>
                    <a:pt x="341" y="52"/>
                  </a:cubicBezTo>
                  <a:cubicBezTo>
                    <a:pt x="324" y="52"/>
                    <a:pt x="324" y="52"/>
                    <a:pt x="324" y="52"/>
                  </a:cubicBezTo>
                  <a:cubicBezTo>
                    <a:pt x="324" y="26"/>
                    <a:pt x="324" y="26"/>
                    <a:pt x="324" y="26"/>
                  </a:cubicBezTo>
                  <a:cubicBezTo>
                    <a:pt x="324" y="12"/>
                    <a:pt x="313" y="0"/>
                    <a:pt x="299" y="0"/>
                  </a:cubicBezTo>
                  <a:cubicBezTo>
                    <a:pt x="213" y="0"/>
                    <a:pt x="213" y="0"/>
                    <a:pt x="213" y="0"/>
                  </a:cubicBezTo>
                  <a:cubicBezTo>
                    <a:pt x="199" y="0"/>
                    <a:pt x="188" y="12"/>
                    <a:pt x="188" y="26"/>
                  </a:cubicBezTo>
                  <a:cubicBezTo>
                    <a:pt x="188" y="52"/>
                    <a:pt x="188" y="52"/>
                    <a:pt x="188" y="52"/>
                  </a:cubicBezTo>
                  <a:cubicBezTo>
                    <a:pt x="171" y="52"/>
                    <a:pt x="171" y="52"/>
                    <a:pt x="171" y="52"/>
                  </a:cubicBezTo>
                  <a:cubicBezTo>
                    <a:pt x="171" y="26"/>
                    <a:pt x="171" y="26"/>
                    <a:pt x="171" y="26"/>
                  </a:cubicBezTo>
                  <a:cubicBezTo>
                    <a:pt x="171" y="12"/>
                    <a:pt x="159" y="0"/>
                    <a:pt x="145" y="0"/>
                  </a:cubicBezTo>
                  <a:cubicBezTo>
                    <a:pt x="60" y="0"/>
                    <a:pt x="60" y="0"/>
                    <a:pt x="60" y="0"/>
                  </a:cubicBezTo>
                  <a:cubicBezTo>
                    <a:pt x="46" y="0"/>
                    <a:pt x="34" y="12"/>
                    <a:pt x="34" y="26"/>
                  </a:cubicBezTo>
                  <a:cubicBezTo>
                    <a:pt x="34" y="52"/>
                    <a:pt x="34" y="52"/>
                    <a:pt x="34" y="52"/>
                  </a:cubicBezTo>
                  <a:cubicBezTo>
                    <a:pt x="9" y="52"/>
                    <a:pt x="9" y="52"/>
                    <a:pt x="9" y="52"/>
                  </a:cubicBezTo>
                  <a:cubicBezTo>
                    <a:pt x="4" y="52"/>
                    <a:pt x="0" y="55"/>
                    <a:pt x="0" y="60"/>
                  </a:cubicBezTo>
                  <a:cubicBezTo>
                    <a:pt x="0" y="94"/>
                    <a:pt x="0" y="94"/>
                    <a:pt x="0" y="94"/>
                  </a:cubicBezTo>
                  <a:cubicBezTo>
                    <a:pt x="0" y="99"/>
                    <a:pt x="4" y="103"/>
                    <a:pt x="9" y="103"/>
                  </a:cubicBezTo>
                  <a:cubicBezTo>
                    <a:pt x="34" y="103"/>
                    <a:pt x="34" y="103"/>
                    <a:pt x="34" y="103"/>
                  </a:cubicBezTo>
                  <a:cubicBezTo>
                    <a:pt x="34" y="128"/>
                    <a:pt x="34" y="128"/>
                    <a:pt x="34" y="128"/>
                  </a:cubicBezTo>
                  <a:cubicBezTo>
                    <a:pt x="34" y="142"/>
                    <a:pt x="46" y="154"/>
                    <a:pt x="60" y="154"/>
                  </a:cubicBezTo>
                  <a:cubicBezTo>
                    <a:pt x="145" y="154"/>
                    <a:pt x="145" y="154"/>
                    <a:pt x="145" y="154"/>
                  </a:cubicBezTo>
                  <a:cubicBezTo>
                    <a:pt x="159" y="154"/>
                    <a:pt x="171" y="142"/>
                    <a:pt x="171" y="128"/>
                  </a:cubicBezTo>
                  <a:cubicBezTo>
                    <a:pt x="171" y="103"/>
                    <a:pt x="171" y="103"/>
                    <a:pt x="171" y="103"/>
                  </a:cubicBezTo>
                  <a:cubicBezTo>
                    <a:pt x="188" y="103"/>
                    <a:pt x="188" y="103"/>
                    <a:pt x="188" y="103"/>
                  </a:cubicBezTo>
                  <a:cubicBezTo>
                    <a:pt x="188" y="128"/>
                    <a:pt x="188" y="128"/>
                    <a:pt x="188" y="128"/>
                  </a:cubicBezTo>
                  <a:cubicBezTo>
                    <a:pt x="188" y="142"/>
                    <a:pt x="199" y="154"/>
                    <a:pt x="213" y="154"/>
                  </a:cubicBezTo>
                  <a:cubicBezTo>
                    <a:pt x="230" y="154"/>
                    <a:pt x="230" y="154"/>
                    <a:pt x="230" y="154"/>
                  </a:cubicBezTo>
                  <a:cubicBezTo>
                    <a:pt x="230" y="205"/>
                    <a:pt x="230" y="205"/>
                    <a:pt x="230" y="205"/>
                  </a:cubicBezTo>
                  <a:cubicBezTo>
                    <a:pt x="188" y="205"/>
                    <a:pt x="188" y="205"/>
                    <a:pt x="188" y="205"/>
                  </a:cubicBezTo>
                  <a:cubicBezTo>
                    <a:pt x="174" y="205"/>
                    <a:pt x="162" y="217"/>
                    <a:pt x="162" y="231"/>
                  </a:cubicBezTo>
                  <a:cubicBezTo>
                    <a:pt x="162" y="359"/>
                    <a:pt x="162" y="359"/>
                    <a:pt x="162" y="359"/>
                  </a:cubicBezTo>
                  <a:cubicBezTo>
                    <a:pt x="162" y="373"/>
                    <a:pt x="174" y="384"/>
                    <a:pt x="188" y="384"/>
                  </a:cubicBezTo>
                  <a:cubicBezTo>
                    <a:pt x="324" y="384"/>
                    <a:pt x="324" y="384"/>
                    <a:pt x="324" y="384"/>
                  </a:cubicBezTo>
                  <a:cubicBezTo>
                    <a:pt x="338" y="384"/>
                    <a:pt x="350" y="373"/>
                    <a:pt x="350" y="359"/>
                  </a:cubicBezTo>
                  <a:cubicBezTo>
                    <a:pt x="350" y="231"/>
                    <a:pt x="350" y="231"/>
                    <a:pt x="350" y="231"/>
                  </a:cubicBezTo>
                  <a:cubicBezTo>
                    <a:pt x="350" y="217"/>
                    <a:pt x="338" y="205"/>
                    <a:pt x="324" y="205"/>
                  </a:cubicBezTo>
                  <a:cubicBezTo>
                    <a:pt x="282" y="205"/>
                    <a:pt x="282" y="205"/>
                    <a:pt x="282" y="205"/>
                  </a:cubicBezTo>
                  <a:cubicBezTo>
                    <a:pt x="282" y="154"/>
                    <a:pt x="282" y="154"/>
                    <a:pt x="282" y="154"/>
                  </a:cubicBezTo>
                  <a:cubicBezTo>
                    <a:pt x="299" y="154"/>
                    <a:pt x="299" y="154"/>
                    <a:pt x="299" y="154"/>
                  </a:cubicBezTo>
                  <a:cubicBezTo>
                    <a:pt x="313" y="154"/>
                    <a:pt x="324" y="142"/>
                    <a:pt x="324" y="128"/>
                  </a:cubicBezTo>
                  <a:cubicBezTo>
                    <a:pt x="324" y="103"/>
                    <a:pt x="324" y="103"/>
                    <a:pt x="324" y="103"/>
                  </a:cubicBezTo>
                  <a:cubicBezTo>
                    <a:pt x="341" y="103"/>
                    <a:pt x="341" y="103"/>
                    <a:pt x="341" y="103"/>
                  </a:cubicBezTo>
                  <a:cubicBezTo>
                    <a:pt x="341" y="128"/>
                    <a:pt x="341" y="128"/>
                    <a:pt x="341" y="128"/>
                  </a:cubicBezTo>
                  <a:cubicBezTo>
                    <a:pt x="341" y="142"/>
                    <a:pt x="353" y="154"/>
                    <a:pt x="367" y="154"/>
                  </a:cubicBezTo>
                  <a:cubicBezTo>
                    <a:pt x="452" y="154"/>
                    <a:pt x="452" y="154"/>
                    <a:pt x="452" y="154"/>
                  </a:cubicBezTo>
                  <a:cubicBezTo>
                    <a:pt x="466" y="154"/>
                    <a:pt x="478" y="142"/>
                    <a:pt x="478" y="128"/>
                  </a:cubicBezTo>
                  <a:cubicBezTo>
                    <a:pt x="478" y="103"/>
                    <a:pt x="478" y="103"/>
                    <a:pt x="478" y="103"/>
                  </a:cubicBezTo>
                  <a:cubicBezTo>
                    <a:pt x="503" y="103"/>
                    <a:pt x="503" y="103"/>
                    <a:pt x="503" y="103"/>
                  </a:cubicBezTo>
                  <a:cubicBezTo>
                    <a:pt x="508" y="103"/>
                    <a:pt x="512" y="99"/>
                    <a:pt x="512" y="94"/>
                  </a:cubicBezTo>
                  <a:cubicBezTo>
                    <a:pt x="512" y="60"/>
                    <a:pt x="512" y="60"/>
                    <a:pt x="512" y="60"/>
                  </a:cubicBezTo>
                  <a:cubicBezTo>
                    <a:pt x="512" y="55"/>
                    <a:pt x="508" y="52"/>
                    <a:pt x="503" y="52"/>
                  </a:cubicBezTo>
                  <a:close/>
                  <a:moveTo>
                    <a:pt x="358" y="26"/>
                  </a:moveTo>
                  <a:cubicBezTo>
                    <a:pt x="358" y="21"/>
                    <a:pt x="362" y="17"/>
                    <a:pt x="367" y="17"/>
                  </a:cubicBezTo>
                  <a:cubicBezTo>
                    <a:pt x="452" y="17"/>
                    <a:pt x="452" y="17"/>
                    <a:pt x="452" y="17"/>
                  </a:cubicBezTo>
                  <a:cubicBezTo>
                    <a:pt x="457" y="17"/>
                    <a:pt x="461" y="21"/>
                    <a:pt x="461" y="26"/>
                  </a:cubicBezTo>
                  <a:cubicBezTo>
                    <a:pt x="461" y="52"/>
                    <a:pt x="461" y="52"/>
                    <a:pt x="461" y="52"/>
                  </a:cubicBezTo>
                  <a:cubicBezTo>
                    <a:pt x="444" y="52"/>
                    <a:pt x="444" y="52"/>
                    <a:pt x="444" y="52"/>
                  </a:cubicBezTo>
                  <a:cubicBezTo>
                    <a:pt x="444" y="43"/>
                    <a:pt x="444" y="43"/>
                    <a:pt x="444" y="43"/>
                  </a:cubicBezTo>
                  <a:cubicBezTo>
                    <a:pt x="444" y="38"/>
                    <a:pt x="440" y="34"/>
                    <a:pt x="435" y="34"/>
                  </a:cubicBezTo>
                  <a:cubicBezTo>
                    <a:pt x="384" y="34"/>
                    <a:pt x="384" y="34"/>
                    <a:pt x="384" y="34"/>
                  </a:cubicBezTo>
                  <a:cubicBezTo>
                    <a:pt x="379" y="34"/>
                    <a:pt x="375" y="38"/>
                    <a:pt x="375" y="43"/>
                  </a:cubicBezTo>
                  <a:cubicBezTo>
                    <a:pt x="375" y="52"/>
                    <a:pt x="375" y="52"/>
                    <a:pt x="375" y="52"/>
                  </a:cubicBezTo>
                  <a:cubicBezTo>
                    <a:pt x="358" y="52"/>
                    <a:pt x="358" y="52"/>
                    <a:pt x="358" y="52"/>
                  </a:cubicBezTo>
                  <a:lnTo>
                    <a:pt x="358" y="26"/>
                  </a:lnTo>
                  <a:close/>
                  <a:moveTo>
                    <a:pt x="427" y="103"/>
                  </a:moveTo>
                  <a:cubicBezTo>
                    <a:pt x="393" y="103"/>
                    <a:pt x="393" y="103"/>
                    <a:pt x="393" y="103"/>
                  </a:cubicBezTo>
                  <a:cubicBezTo>
                    <a:pt x="397" y="103"/>
                    <a:pt x="401" y="99"/>
                    <a:pt x="401" y="94"/>
                  </a:cubicBezTo>
                  <a:cubicBezTo>
                    <a:pt x="401" y="60"/>
                    <a:pt x="401" y="60"/>
                    <a:pt x="401" y="60"/>
                  </a:cubicBezTo>
                  <a:cubicBezTo>
                    <a:pt x="401" y="55"/>
                    <a:pt x="397" y="52"/>
                    <a:pt x="393" y="52"/>
                  </a:cubicBezTo>
                  <a:cubicBezTo>
                    <a:pt x="427" y="52"/>
                    <a:pt x="427" y="52"/>
                    <a:pt x="427" y="52"/>
                  </a:cubicBezTo>
                  <a:cubicBezTo>
                    <a:pt x="422" y="52"/>
                    <a:pt x="418" y="55"/>
                    <a:pt x="418" y="60"/>
                  </a:cubicBezTo>
                  <a:cubicBezTo>
                    <a:pt x="418" y="94"/>
                    <a:pt x="418" y="94"/>
                    <a:pt x="418" y="94"/>
                  </a:cubicBezTo>
                  <a:cubicBezTo>
                    <a:pt x="418" y="99"/>
                    <a:pt x="422" y="103"/>
                    <a:pt x="427" y="103"/>
                  </a:cubicBezTo>
                  <a:close/>
                  <a:moveTo>
                    <a:pt x="205" y="26"/>
                  </a:moveTo>
                  <a:cubicBezTo>
                    <a:pt x="205" y="21"/>
                    <a:pt x="209" y="17"/>
                    <a:pt x="213" y="17"/>
                  </a:cubicBezTo>
                  <a:cubicBezTo>
                    <a:pt x="299" y="17"/>
                    <a:pt x="299" y="17"/>
                    <a:pt x="299" y="17"/>
                  </a:cubicBezTo>
                  <a:cubicBezTo>
                    <a:pt x="303" y="17"/>
                    <a:pt x="307" y="21"/>
                    <a:pt x="307" y="26"/>
                  </a:cubicBezTo>
                  <a:cubicBezTo>
                    <a:pt x="307" y="52"/>
                    <a:pt x="307" y="52"/>
                    <a:pt x="307" y="52"/>
                  </a:cubicBezTo>
                  <a:cubicBezTo>
                    <a:pt x="290" y="52"/>
                    <a:pt x="290" y="52"/>
                    <a:pt x="290" y="52"/>
                  </a:cubicBezTo>
                  <a:cubicBezTo>
                    <a:pt x="290" y="43"/>
                    <a:pt x="290" y="43"/>
                    <a:pt x="290" y="43"/>
                  </a:cubicBezTo>
                  <a:cubicBezTo>
                    <a:pt x="290" y="38"/>
                    <a:pt x="286" y="34"/>
                    <a:pt x="282" y="34"/>
                  </a:cubicBezTo>
                  <a:cubicBezTo>
                    <a:pt x="230" y="34"/>
                    <a:pt x="230" y="34"/>
                    <a:pt x="230" y="34"/>
                  </a:cubicBezTo>
                  <a:cubicBezTo>
                    <a:pt x="226" y="34"/>
                    <a:pt x="222" y="38"/>
                    <a:pt x="222" y="43"/>
                  </a:cubicBezTo>
                  <a:cubicBezTo>
                    <a:pt x="222" y="52"/>
                    <a:pt x="222" y="52"/>
                    <a:pt x="222" y="52"/>
                  </a:cubicBezTo>
                  <a:cubicBezTo>
                    <a:pt x="205" y="52"/>
                    <a:pt x="205" y="52"/>
                    <a:pt x="205" y="52"/>
                  </a:cubicBezTo>
                  <a:lnTo>
                    <a:pt x="205" y="26"/>
                  </a:lnTo>
                  <a:close/>
                  <a:moveTo>
                    <a:pt x="273" y="103"/>
                  </a:moveTo>
                  <a:cubicBezTo>
                    <a:pt x="239" y="103"/>
                    <a:pt x="239" y="103"/>
                    <a:pt x="239" y="103"/>
                  </a:cubicBezTo>
                  <a:cubicBezTo>
                    <a:pt x="244" y="103"/>
                    <a:pt x="247" y="99"/>
                    <a:pt x="247" y="94"/>
                  </a:cubicBezTo>
                  <a:cubicBezTo>
                    <a:pt x="247" y="60"/>
                    <a:pt x="247" y="60"/>
                    <a:pt x="247" y="60"/>
                  </a:cubicBezTo>
                  <a:cubicBezTo>
                    <a:pt x="247" y="55"/>
                    <a:pt x="244" y="52"/>
                    <a:pt x="239" y="52"/>
                  </a:cubicBezTo>
                  <a:cubicBezTo>
                    <a:pt x="273" y="52"/>
                    <a:pt x="273" y="52"/>
                    <a:pt x="273" y="52"/>
                  </a:cubicBezTo>
                  <a:cubicBezTo>
                    <a:pt x="268" y="52"/>
                    <a:pt x="265" y="55"/>
                    <a:pt x="265" y="60"/>
                  </a:cubicBezTo>
                  <a:cubicBezTo>
                    <a:pt x="265" y="94"/>
                    <a:pt x="265" y="94"/>
                    <a:pt x="265" y="94"/>
                  </a:cubicBezTo>
                  <a:cubicBezTo>
                    <a:pt x="265" y="99"/>
                    <a:pt x="268" y="103"/>
                    <a:pt x="273" y="103"/>
                  </a:cubicBezTo>
                  <a:close/>
                  <a:moveTo>
                    <a:pt x="51" y="26"/>
                  </a:moveTo>
                  <a:cubicBezTo>
                    <a:pt x="51" y="21"/>
                    <a:pt x="55" y="17"/>
                    <a:pt x="60" y="17"/>
                  </a:cubicBezTo>
                  <a:cubicBezTo>
                    <a:pt x="145" y="17"/>
                    <a:pt x="145" y="17"/>
                    <a:pt x="145" y="17"/>
                  </a:cubicBezTo>
                  <a:cubicBezTo>
                    <a:pt x="150" y="17"/>
                    <a:pt x="154" y="21"/>
                    <a:pt x="154" y="26"/>
                  </a:cubicBezTo>
                  <a:cubicBezTo>
                    <a:pt x="154" y="52"/>
                    <a:pt x="154" y="52"/>
                    <a:pt x="154" y="52"/>
                  </a:cubicBezTo>
                  <a:cubicBezTo>
                    <a:pt x="137" y="52"/>
                    <a:pt x="137" y="52"/>
                    <a:pt x="137" y="52"/>
                  </a:cubicBezTo>
                  <a:cubicBezTo>
                    <a:pt x="137" y="43"/>
                    <a:pt x="137" y="43"/>
                    <a:pt x="137" y="43"/>
                  </a:cubicBezTo>
                  <a:cubicBezTo>
                    <a:pt x="137" y="38"/>
                    <a:pt x="133" y="34"/>
                    <a:pt x="128" y="34"/>
                  </a:cubicBezTo>
                  <a:cubicBezTo>
                    <a:pt x="77" y="34"/>
                    <a:pt x="77" y="34"/>
                    <a:pt x="77" y="34"/>
                  </a:cubicBezTo>
                  <a:cubicBezTo>
                    <a:pt x="72" y="34"/>
                    <a:pt x="68" y="38"/>
                    <a:pt x="68" y="43"/>
                  </a:cubicBezTo>
                  <a:cubicBezTo>
                    <a:pt x="68" y="52"/>
                    <a:pt x="68" y="52"/>
                    <a:pt x="68" y="52"/>
                  </a:cubicBezTo>
                  <a:cubicBezTo>
                    <a:pt x="51" y="52"/>
                    <a:pt x="51" y="52"/>
                    <a:pt x="51" y="52"/>
                  </a:cubicBezTo>
                  <a:lnTo>
                    <a:pt x="51" y="26"/>
                  </a:lnTo>
                  <a:close/>
                  <a:moveTo>
                    <a:pt x="119" y="103"/>
                  </a:moveTo>
                  <a:cubicBezTo>
                    <a:pt x="85" y="103"/>
                    <a:pt x="85" y="103"/>
                    <a:pt x="85" y="103"/>
                  </a:cubicBezTo>
                  <a:cubicBezTo>
                    <a:pt x="90" y="103"/>
                    <a:pt x="94" y="99"/>
                    <a:pt x="94" y="94"/>
                  </a:cubicBezTo>
                  <a:cubicBezTo>
                    <a:pt x="94" y="60"/>
                    <a:pt x="94" y="60"/>
                    <a:pt x="94" y="60"/>
                  </a:cubicBezTo>
                  <a:cubicBezTo>
                    <a:pt x="94" y="55"/>
                    <a:pt x="90" y="52"/>
                    <a:pt x="85" y="52"/>
                  </a:cubicBezTo>
                  <a:cubicBezTo>
                    <a:pt x="119" y="52"/>
                    <a:pt x="119" y="52"/>
                    <a:pt x="119" y="52"/>
                  </a:cubicBezTo>
                  <a:cubicBezTo>
                    <a:pt x="115" y="52"/>
                    <a:pt x="111" y="55"/>
                    <a:pt x="111" y="60"/>
                  </a:cubicBezTo>
                  <a:cubicBezTo>
                    <a:pt x="111" y="94"/>
                    <a:pt x="111" y="94"/>
                    <a:pt x="111" y="94"/>
                  </a:cubicBezTo>
                  <a:cubicBezTo>
                    <a:pt x="111" y="99"/>
                    <a:pt x="115" y="103"/>
                    <a:pt x="119" y="103"/>
                  </a:cubicBezTo>
                  <a:close/>
                  <a:moveTo>
                    <a:pt x="17" y="86"/>
                  </a:moveTo>
                  <a:cubicBezTo>
                    <a:pt x="17" y="69"/>
                    <a:pt x="17" y="69"/>
                    <a:pt x="17" y="69"/>
                  </a:cubicBezTo>
                  <a:cubicBezTo>
                    <a:pt x="77" y="69"/>
                    <a:pt x="77" y="69"/>
                    <a:pt x="77" y="69"/>
                  </a:cubicBezTo>
                  <a:cubicBezTo>
                    <a:pt x="77" y="86"/>
                    <a:pt x="77" y="86"/>
                    <a:pt x="77" y="86"/>
                  </a:cubicBezTo>
                  <a:lnTo>
                    <a:pt x="17" y="86"/>
                  </a:lnTo>
                  <a:close/>
                  <a:moveTo>
                    <a:pt x="154" y="128"/>
                  </a:moveTo>
                  <a:cubicBezTo>
                    <a:pt x="154" y="133"/>
                    <a:pt x="150" y="137"/>
                    <a:pt x="145" y="137"/>
                  </a:cubicBezTo>
                  <a:cubicBezTo>
                    <a:pt x="60" y="137"/>
                    <a:pt x="60" y="137"/>
                    <a:pt x="60" y="137"/>
                  </a:cubicBezTo>
                  <a:cubicBezTo>
                    <a:pt x="55" y="137"/>
                    <a:pt x="51" y="133"/>
                    <a:pt x="51" y="128"/>
                  </a:cubicBezTo>
                  <a:cubicBezTo>
                    <a:pt x="51" y="103"/>
                    <a:pt x="51" y="103"/>
                    <a:pt x="51" y="103"/>
                  </a:cubicBezTo>
                  <a:cubicBezTo>
                    <a:pt x="68" y="103"/>
                    <a:pt x="68" y="103"/>
                    <a:pt x="68" y="103"/>
                  </a:cubicBezTo>
                  <a:cubicBezTo>
                    <a:pt x="68" y="111"/>
                    <a:pt x="68" y="111"/>
                    <a:pt x="68" y="111"/>
                  </a:cubicBezTo>
                  <a:cubicBezTo>
                    <a:pt x="68" y="116"/>
                    <a:pt x="72" y="120"/>
                    <a:pt x="77" y="120"/>
                  </a:cubicBezTo>
                  <a:cubicBezTo>
                    <a:pt x="128" y="120"/>
                    <a:pt x="128" y="120"/>
                    <a:pt x="128" y="120"/>
                  </a:cubicBezTo>
                  <a:cubicBezTo>
                    <a:pt x="133" y="120"/>
                    <a:pt x="137" y="116"/>
                    <a:pt x="137" y="111"/>
                  </a:cubicBezTo>
                  <a:cubicBezTo>
                    <a:pt x="137" y="103"/>
                    <a:pt x="137" y="103"/>
                    <a:pt x="137" y="103"/>
                  </a:cubicBezTo>
                  <a:cubicBezTo>
                    <a:pt x="154" y="103"/>
                    <a:pt x="154" y="103"/>
                    <a:pt x="154" y="103"/>
                  </a:cubicBezTo>
                  <a:lnTo>
                    <a:pt x="154" y="128"/>
                  </a:lnTo>
                  <a:close/>
                  <a:moveTo>
                    <a:pt x="162" y="86"/>
                  </a:moveTo>
                  <a:cubicBezTo>
                    <a:pt x="128" y="86"/>
                    <a:pt x="128" y="86"/>
                    <a:pt x="128" y="86"/>
                  </a:cubicBezTo>
                  <a:cubicBezTo>
                    <a:pt x="128" y="69"/>
                    <a:pt x="128" y="69"/>
                    <a:pt x="128" y="69"/>
                  </a:cubicBezTo>
                  <a:cubicBezTo>
                    <a:pt x="230" y="69"/>
                    <a:pt x="230" y="69"/>
                    <a:pt x="230" y="69"/>
                  </a:cubicBezTo>
                  <a:cubicBezTo>
                    <a:pt x="230" y="86"/>
                    <a:pt x="230" y="86"/>
                    <a:pt x="230" y="86"/>
                  </a:cubicBezTo>
                  <a:lnTo>
                    <a:pt x="162" y="86"/>
                  </a:lnTo>
                  <a:close/>
                  <a:moveTo>
                    <a:pt x="324" y="222"/>
                  </a:moveTo>
                  <a:cubicBezTo>
                    <a:pt x="329" y="222"/>
                    <a:pt x="333" y="226"/>
                    <a:pt x="333" y="231"/>
                  </a:cubicBezTo>
                  <a:cubicBezTo>
                    <a:pt x="333" y="359"/>
                    <a:pt x="333" y="359"/>
                    <a:pt x="333" y="359"/>
                  </a:cubicBezTo>
                  <a:cubicBezTo>
                    <a:pt x="333" y="363"/>
                    <a:pt x="329" y="367"/>
                    <a:pt x="324" y="367"/>
                  </a:cubicBezTo>
                  <a:cubicBezTo>
                    <a:pt x="188" y="367"/>
                    <a:pt x="188" y="367"/>
                    <a:pt x="188" y="367"/>
                  </a:cubicBezTo>
                  <a:cubicBezTo>
                    <a:pt x="183" y="367"/>
                    <a:pt x="179" y="363"/>
                    <a:pt x="179" y="359"/>
                  </a:cubicBezTo>
                  <a:cubicBezTo>
                    <a:pt x="179" y="231"/>
                    <a:pt x="179" y="231"/>
                    <a:pt x="179" y="231"/>
                  </a:cubicBezTo>
                  <a:cubicBezTo>
                    <a:pt x="179" y="226"/>
                    <a:pt x="183" y="222"/>
                    <a:pt x="188" y="222"/>
                  </a:cubicBezTo>
                  <a:lnTo>
                    <a:pt x="324" y="222"/>
                  </a:lnTo>
                  <a:close/>
                  <a:moveTo>
                    <a:pt x="247" y="205"/>
                  </a:moveTo>
                  <a:cubicBezTo>
                    <a:pt x="247" y="154"/>
                    <a:pt x="247" y="154"/>
                    <a:pt x="247" y="154"/>
                  </a:cubicBezTo>
                  <a:cubicBezTo>
                    <a:pt x="265" y="154"/>
                    <a:pt x="265" y="154"/>
                    <a:pt x="265" y="154"/>
                  </a:cubicBezTo>
                  <a:cubicBezTo>
                    <a:pt x="265" y="205"/>
                    <a:pt x="265" y="205"/>
                    <a:pt x="265" y="205"/>
                  </a:cubicBezTo>
                  <a:lnTo>
                    <a:pt x="247" y="205"/>
                  </a:lnTo>
                  <a:close/>
                  <a:moveTo>
                    <a:pt x="307" y="128"/>
                  </a:moveTo>
                  <a:cubicBezTo>
                    <a:pt x="307" y="133"/>
                    <a:pt x="303" y="137"/>
                    <a:pt x="299" y="137"/>
                  </a:cubicBezTo>
                  <a:cubicBezTo>
                    <a:pt x="213" y="137"/>
                    <a:pt x="213" y="137"/>
                    <a:pt x="213" y="137"/>
                  </a:cubicBezTo>
                  <a:cubicBezTo>
                    <a:pt x="209" y="137"/>
                    <a:pt x="205" y="133"/>
                    <a:pt x="205" y="128"/>
                  </a:cubicBezTo>
                  <a:cubicBezTo>
                    <a:pt x="205" y="103"/>
                    <a:pt x="205" y="103"/>
                    <a:pt x="205" y="103"/>
                  </a:cubicBezTo>
                  <a:cubicBezTo>
                    <a:pt x="222" y="103"/>
                    <a:pt x="222" y="103"/>
                    <a:pt x="222" y="103"/>
                  </a:cubicBezTo>
                  <a:cubicBezTo>
                    <a:pt x="222" y="111"/>
                    <a:pt x="222" y="111"/>
                    <a:pt x="222" y="111"/>
                  </a:cubicBezTo>
                  <a:cubicBezTo>
                    <a:pt x="222" y="116"/>
                    <a:pt x="226" y="120"/>
                    <a:pt x="230" y="120"/>
                  </a:cubicBezTo>
                  <a:cubicBezTo>
                    <a:pt x="282" y="120"/>
                    <a:pt x="282" y="120"/>
                    <a:pt x="282" y="120"/>
                  </a:cubicBezTo>
                  <a:cubicBezTo>
                    <a:pt x="286" y="120"/>
                    <a:pt x="290" y="116"/>
                    <a:pt x="290" y="111"/>
                  </a:cubicBezTo>
                  <a:cubicBezTo>
                    <a:pt x="290" y="103"/>
                    <a:pt x="290" y="103"/>
                    <a:pt x="290" y="103"/>
                  </a:cubicBezTo>
                  <a:cubicBezTo>
                    <a:pt x="307" y="103"/>
                    <a:pt x="307" y="103"/>
                    <a:pt x="307" y="103"/>
                  </a:cubicBezTo>
                  <a:lnTo>
                    <a:pt x="307" y="128"/>
                  </a:lnTo>
                  <a:close/>
                  <a:moveTo>
                    <a:pt x="316" y="86"/>
                  </a:moveTo>
                  <a:cubicBezTo>
                    <a:pt x="282" y="86"/>
                    <a:pt x="282" y="86"/>
                    <a:pt x="282" y="86"/>
                  </a:cubicBezTo>
                  <a:cubicBezTo>
                    <a:pt x="282" y="69"/>
                    <a:pt x="282" y="69"/>
                    <a:pt x="282" y="69"/>
                  </a:cubicBezTo>
                  <a:cubicBezTo>
                    <a:pt x="384" y="69"/>
                    <a:pt x="384" y="69"/>
                    <a:pt x="384" y="69"/>
                  </a:cubicBezTo>
                  <a:cubicBezTo>
                    <a:pt x="384" y="86"/>
                    <a:pt x="384" y="86"/>
                    <a:pt x="384" y="86"/>
                  </a:cubicBezTo>
                  <a:lnTo>
                    <a:pt x="316" y="86"/>
                  </a:lnTo>
                  <a:close/>
                  <a:moveTo>
                    <a:pt x="461" y="128"/>
                  </a:moveTo>
                  <a:cubicBezTo>
                    <a:pt x="461" y="133"/>
                    <a:pt x="457" y="137"/>
                    <a:pt x="452" y="137"/>
                  </a:cubicBezTo>
                  <a:cubicBezTo>
                    <a:pt x="367" y="137"/>
                    <a:pt x="367" y="137"/>
                    <a:pt x="367" y="137"/>
                  </a:cubicBezTo>
                  <a:cubicBezTo>
                    <a:pt x="362" y="137"/>
                    <a:pt x="358" y="133"/>
                    <a:pt x="358" y="128"/>
                  </a:cubicBezTo>
                  <a:cubicBezTo>
                    <a:pt x="358" y="103"/>
                    <a:pt x="358" y="103"/>
                    <a:pt x="358" y="103"/>
                  </a:cubicBezTo>
                  <a:cubicBezTo>
                    <a:pt x="375" y="103"/>
                    <a:pt x="375" y="103"/>
                    <a:pt x="375" y="103"/>
                  </a:cubicBezTo>
                  <a:cubicBezTo>
                    <a:pt x="375" y="111"/>
                    <a:pt x="375" y="111"/>
                    <a:pt x="375" y="111"/>
                  </a:cubicBezTo>
                  <a:cubicBezTo>
                    <a:pt x="375" y="116"/>
                    <a:pt x="379" y="120"/>
                    <a:pt x="384" y="120"/>
                  </a:cubicBezTo>
                  <a:cubicBezTo>
                    <a:pt x="435" y="120"/>
                    <a:pt x="435" y="120"/>
                    <a:pt x="435" y="120"/>
                  </a:cubicBezTo>
                  <a:cubicBezTo>
                    <a:pt x="440" y="120"/>
                    <a:pt x="444" y="116"/>
                    <a:pt x="444" y="111"/>
                  </a:cubicBezTo>
                  <a:cubicBezTo>
                    <a:pt x="444" y="103"/>
                    <a:pt x="444" y="103"/>
                    <a:pt x="444" y="103"/>
                  </a:cubicBezTo>
                  <a:cubicBezTo>
                    <a:pt x="461" y="103"/>
                    <a:pt x="461" y="103"/>
                    <a:pt x="461" y="103"/>
                  </a:cubicBezTo>
                  <a:lnTo>
                    <a:pt x="461" y="128"/>
                  </a:lnTo>
                  <a:close/>
                  <a:moveTo>
                    <a:pt x="495" y="86"/>
                  </a:moveTo>
                  <a:cubicBezTo>
                    <a:pt x="435" y="86"/>
                    <a:pt x="435" y="86"/>
                    <a:pt x="435" y="86"/>
                  </a:cubicBezTo>
                  <a:cubicBezTo>
                    <a:pt x="435" y="69"/>
                    <a:pt x="435" y="69"/>
                    <a:pt x="435" y="69"/>
                  </a:cubicBezTo>
                  <a:cubicBezTo>
                    <a:pt x="495" y="69"/>
                    <a:pt x="495" y="69"/>
                    <a:pt x="495" y="69"/>
                  </a:cubicBezTo>
                  <a:lnTo>
                    <a:pt x="495" y="86"/>
                  </a:lnTo>
                  <a:close/>
                  <a:moveTo>
                    <a:pt x="495" y="86"/>
                  </a:moveTo>
                  <a:cubicBezTo>
                    <a:pt x="495" y="86"/>
                    <a:pt x="495" y="86"/>
                    <a:pt x="495" y="8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5">
              <a:extLst>
                <a:ext uri="{FF2B5EF4-FFF2-40B4-BE49-F238E27FC236}">
                  <a16:creationId xmlns:a16="http://schemas.microsoft.com/office/drawing/2014/main" id="{1C799458-DA02-4C27-9671-7F9ECF66BDDD}"/>
                </a:ext>
              </a:extLst>
            </p:cNvPr>
            <p:cNvSpPr>
              <a:spLocks noEditPoints="1"/>
            </p:cNvSpPr>
            <p:nvPr/>
          </p:nvSpPr>
          <p:spPr bwMode="auto">
            <a:xfrm>
              <a:off x="547" y="3610"/>
              <a:ext cx="71" cy="105"/>
            </a:xfrm>
            <a:custGeom>
              <a:avLst/>
              <a:gdLst>
                <a:gd name="T0" fmla="*/ 60 w 75"/>
                <a:gd name="T1" fmla="*/ 13 h 115"/>
                <a:gd name="T2" fmla="*/ 11 w 75"/>
                <a:gd name="T3" fmla="*/ 16 h 115"/>
                <a:gd name="T4" fmla="*/ 11 w 75"/>
                <a:gd name="T5" fmla="*/ 61 h 115"/>
                <a:gd name="T6" fmla="*/ 11 w 75"/>
                <a:gd name="T7" fmla="*/ 107 h 115"/>
                <a:gd name="T8" fmla="*/ 20 w 75"/>
                <a:gd name="T9" fmla="*/ 115 h 115"/>
                <a:gd name="T10" fmla="*/ 54 w 75"/>
                <a:gd name="T11" fmla="*/ 115 h 115"/>
                <a:gd name="T12" fmla="*/ 63 w 75"/>
                <a:gd name="T13" fmla="*/ 107 h 115"/>
                <a:gd name="T14" fmla="*/ 63 w 75"/>
                <a:gd name="T15" fmla="*/ 61 h 115"/>
                <a:gd name="T16" fmla="*/ 60 w 75"/>
                <a:gd name="T17" fmla="*/ 13 h 115"/>
                <a:gd name="T18" fmla="*/ 48 w 75"/>
                <a:gd name="T19" fmla="*/ 51 h 115"/>
                <a:gd name="T20" fmla="*/ 46 w 75"/>
                <a:gd name="T21" fmla="*/ 57 h 115"/>
                <a:gd name="T22" fmla="*/ 46 w 75"/>
                <a:gd name="T23" fmla="*/ 98 h 115"/>
                <a:gd name="T24" fmla="*/ 28 w 75"/>
                <a:gd name="T25" fmla="*/ 98 h 115"/>
                <a:gd name="T26" fmla="*/ 28 w 75"/>
                <a:gd name="T27" fmla="*/ 57 h 115"/>
                <a:gd name="T28" fmla="*/ 26 w 75"/>
                <a:gd name="T29" fmla="*/ 51 h 115"/>
                <a:gd name="T30" fmla="*/ 20 w 75"/>
                <a:gd name="T31" fmla="*/ 38 h 115"/>
                <a:gd name="T32" fmla="*/ 37 w 75"/>
                <a:gd name="T33" fmla="*/ 21 h 115"/>
                <a:gd name="T34" fmla="*/ 54 w 75"/>
                <a:gd name="T35" fmla="*/ 38 h 115"/>
                <a:gd name="T36" fmla="*/ 48 w 75"/>
                <a:gd name="T37" fmla="*/ 51 h 115"/>
                <a:gd name="T38" fmla="*/ 48 w 75"/>
                <a:gd name="T39" fmla="*/ 51 h 115"/>
                <a:gd name="T40" fmla="*/ 48 w 75"/>
                <a:gd name="T41" fmla="*/ 5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 h="115">
                  <a:moveTo>
                    <a:pt x="60" y="13"/>
                  </a:moveTo>
                  <a:cubicBezTo>
                    <a:pt x="45" y="0"/>
                    <a:pt x="24" y="2"/>
                    <a:pt x="11" y="16"/>
                  </a:cubicBezTo>
                  <a:cubicBezTo>
                    <a:pt x="0" y="29"/>
                    <a:pt x="0" y="48"/>
                    <a:pt x="11" y="61"/>
                  </a:cubicBezTo>
                  <a:cubicBezTo>
                    <a:pt x="11" y="107"/>
                    <a:pt x="11" y="107"/>
                    <a:pt x="11" y="107"/>
                  </a:cubicBezTo>
                  <a:cubicBezTo>
                    <a:pt x="11" y="111"/>
                    <a:pt x="15" y="115"/>
                    <a:pt x="20" y="115"/>
                  </a:cubicBezTo>
                  <a:cubicBezTo>
                    <a:pt x="54" y="115"/>
                    <a:pt x="54" y="115"/>
                    <a:pt x="54" y="115"/>
                  </a:cubicBezTo>
                  <a:cubicBezTo>
                    <a:pt x="59" y="115"/>
                    <a:pt x="63" y="111"/>
                    <a:pt x="63" y="107"/>
                  </a:cubicBezTo>
                  <a:cubicBezTo>
                    <a:pt x="63" y="61"/>
                    <a:pt x="63" y="61"/>
                    <a:pt x="63" y="61"/>
                  </a:cubicBezTo>
                  <a:cubicBezTo>
                    <a:pt x="75" y="47"/>
                    <a:pt x="74" y="25"/>
                    <a:pt x="60" y="13"/>
                  </a:cubicBezTo>
                  <a:close/>
                  <a:moveTo>
                    <a:pt x="48" y="51"/>
                  </a:moveTo>
                  <a:cubicBezTo>
                    <a:pt x="47" y="53"/>
                    <a:pt x="46" y="55"/>
                    <a:pt x="46" y="57"/>
                  </a:cubicBezTo>
                  <a:cubicBezTo>
                    <a:pt x="46" y="98"/>
                    <a:pt x="46" y="98"/>
                    <a:pt x="46" y="98"/>
                  </a:cubicBezTo>
                  <a:cubicBezTo>
                    <a:pt x="28" y="98"/>
                    <a:pt x="28" y="98"/>
                    <a:pt x="28" y="98"/>
                  </a:cubicBezTo>
                  <a:cubicBezTo>
                    <a:pt x="28" y="57"/>
                    <a:pt x="28" y="57"/>
                    <a:pt x="28" y="57"/>
                  </a:cubicBezTo>
                  <a:cubicBezTo>
                    <a:pt x="28" y="55"/>
                    <a:pt x="27" y="53"/>
                    <a:pt x="26" y="51"/>
                  </a:cubicBezTo>
                  <a:cubicBezTo>
                    <a:pt x="22" y="48"/>
                    <a:pt x="20" y="43"/>
                    <a:pt x="20" y="38"/>
                  </a:cubicBezTo>
                  <a:cubicBezTo>
                    <a:pt x="20" y="29"/>
                    <a:pt x="28" y="21"/>
                    <a:pt x="37" y="21"/>
                  </a:cubicBezTo>
                  <a:cubicBezTo>
                    <a:pt x="46" y="21"/>
                    <a:pt x="54" y="29"/>
                    <a:pt x="54" y="38"/>
                  </a:cubicBezTo>
                  <a:cubicBezTo>
                    <a:pt x="54" y="43"/>
                    <a:pt x="52" y="48"/>
                    <a:pt x="48" y="51"/>
                  </a:cubicBezTo>
                  <a:close/>
                  <a:moveTo>
                    <a:pt x="48" y="51"/>
                  </a:moveTo>
                  <a:cubicBezTo>
                    <a:pt x="48" y="51"/>
                    <a:pt x="48" y="51"/>
                    <a:pt x="48"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6">
              <a:extLst>
                <a:ext uri="{FF2B5EF4-FFF2-40B4-BE49-F238E27FC236}">
                  <a16:creationId xmlns:a16="http://schemas.microsoft.com/office/drawing/2014/main" id="{0F753C83-047D-4FB6-B857-D5AB8ACC183C}"/>
                </a:ext>
              </a:extLst>
            </p:cNvPr>
            <p:cNvSpPr>
              <a:spLocks noEditPoints="1"/>
            </p:cNvSpPr>
            <p:nvPr/>
          </p:nvSpPr>
          <p:spPr bwMode="auto">
            <a:xfrm>
              <a:off x="557" y="3808"/>
              <a:ext cx="17" cy="16"/>
            </a:xfrm>
            <a:custGeom>
              <a:avLst/>
              <a:gdLst>
                <a:gd name="T0" fmla="*/ 3 w 19"/>
                <a:gd name="T1" fmla="*/ 0 h 18"/>
                <a:gd name="T2" fmla="*/ 0 w 19"/>
                <a:gd name="T3" fmla="*/ 17 h 18"/>
                <a:gd name="T4" fmla="*/ 18 w 19"/>
                <a:gd name="T5" fmla="*/ 18 h 18"/>
                <a:gd name="T6" fmla="*/ 19 w 19"/>
                <a:gd name="T7" fmla="*/ 1 h 18"/>
                <a:gd name="T8" fmla="*/ 3 w 19"/>
                <a:gd name="T9" fmla="*/ 0 h 18"/>
                <a:gd name="T10" fmla="*/ 3 w 19"/>
                <a:gd name="T11" fmla="*/ 0 h 18"/>
                <a:gd name="T12" fmla="*/ 3 w 1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9" h="18">
                  <a:moveTo>
                    <a:pt x="3" y="0"/>
                  </a:moveTo>
                  <a:cubicBezTo>
                    <a:pt x="0" y="17"/>
                    <a:pt x="0" y="17"/>
                    <a:pt x="0" y="17"/>
                  </a:cubicBezTo>
                  <a:cubicBezTo>
                    <a:pt x="6" y="18"/>
                    <a:pt x="12" y="18"/>
                    <a:pt x="18" y="18"/>
                  </a:cubicBezTo>
                  <a:cubicBezTo>
                    <a:pt x="19" y="1"/>
                    <a:pt x="19" y="1"/>
                    <a:pt x="19" y="1"/>
                  </a:cubicBezTo>
                  <a:cubicBezTo>
                    <a:pt x="13" y="1"/>
                    <a:pt x="8" y="1"/>
                    <a:pt x="3" y="0"/>
                  </a:cubicBezTo>
                  <a:close/>
                  <a:moveTo>
                    <a:pt x="3" y="0"/>
                  </a:move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7">
              <a:extLst>
                <a:ext uri="{FF2B5EF4-FFF2-40B4-BE49-F238E27FC236}">
                  <a16:creationId xmlns:a16="http://schemas.microsoft.com/office/drawing/2014/main" id="{04B6ACA4-3543-4DBD-AB79-545B16EBCED9}"/>
                </a:ext>
              </a:extLst>
            </p:cNvPr>
            <p:cNvSpPr>
              <a:spLocks noEditPoints="1"/>
            </p:cNvSpPr>
            <p:nvPr/>
          </p:nvSpPr>
          <p:spPr bwMode="auto">
            <a:xfrm>
              <a:off x="591" y="3808"/>
              <a:ext cx="18" cy="16"/>
            </a:xfrm>
            <a:custGeom>
              <a:avLst/>
              <a:gdLst>
                <a:gd name="T0" fmla="*/ 16 w 19"/>
                <a:gd name="T1" fmla="*/ 0 h 18"/>
                <a:gd name="T2" fmla="*/ 0 w 19"/>
                <a:gd name="T3" fmla="*/ 1 h 18"/>
                <a:gd name="T4" fmla="*/ 0 w 19"/>
                <a:gd name="T5" fmla="*/ 18 h 18"/>
                <a:gd name="T6" fmla="*/ 19 w 19"/>
                <a:gd name="T7" fmla="*/ 17 h 18"/>
                <a:gd name="T8" fmla="*/ 16 w 19"/>
                <a:gd name="T9" fmla="*/ 0 h 18"/>
                <a:gd name="T10" fmla="*/ 16 w 19"/>
                <a:gd name="T11" fmla="*/ 0 h 18"/>
                <a:gd name="T12" fmla="*/ 16 w 1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9" h="18">
                  <a:moveTo>
                    <a:pt x="16" y="0"/>
                  </a:moveTo>
                  <a:cubicBezTo>
                    <a:pt x="11" y="1"/>
                    <a:pt x="5" y="1"/>
                    <a:pt x="0" y="1"/>
                  </a:cubicBezTo>
                  <a:cubicBezTo>
                    <a:pt x="0" y="18"/>
                    <a:pt x="0" y="18"/>
                    <a:pt x="0" y="18"/>
                  </a:cubicBezTo>
                  <a:cubicBezTo>
                    <a:pt x="6" y="18"/>
                    <a:pt x="13" y="18"/>
                    <a:pt x="19" y="17"/>
                  </a:cubicBezTo>
                  <a:lnTo>
                    <a:pt x="16" y="0"/>
                  </a:lnTo>
                  <a:close/>
                  <a:moveTo>
                    <a:pt x="16" y="0"/>
                  </a:move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8">
              <a:extLst>
                <a:ext uri="{FF2B5EF4-FFF2-40B4-BE49-F238E27FC236}">
                  <a16:creationId xmlns:a16="http://schemas.microsoft.com/office/drawing/2014/main" id="{F905ECA2-A11E-4FC0-9FC3-522AF0A59D10}"/>
                </a:ext>
              </a:extLst>
            </p:cNvPr>
            <p:cNvSpPr>
              <a:spLocks noEditPoints="1"/>
            </p:cNvSpPr>
            <p:nvPr/>
          </p:nvSpPr>
          <p:spPr bwMode="auto">
            <a:xfrm>
              <a:off x="621" y="3799"/>
              <a:ext cx="21" cy="21"/>
            </a:xfrm>
            <a:custGeom>
              <a:avLst/>
              <a:gdLst>
                <a:gd name="T0" fmla="*/ 16 w 22"/>
                <a:gd name="T1" fmla="*/ 0 h 22"/>
                <a:gd name="T2" fmla="*/ 0 w 22"/>
                <a:gd name="T3" fmla="*/ 5 h 22"/>
                <a:gd name="T4" fmla="*/ 4 w 22"/>
                <a:gd name="T5" fmla="*/ 22 h 22"/>
                <a:gd name="T6" fmla="*/ 22 w 22"/>
                <a:gd name="T7" fmla="*/ 16 h 22"/>
                <a:gd name="T8" fmla="*/ 16 w 22"/>
                <a:gd name="T9" fmla="*/ 0 h 22"/>
                <a:gd name="T10" fmla="*/ 16 w 22"/>
                <a:gd name="T11" fmla="*/ 0 h 22"/>
                <a:gd name="T12" fmla="*/ 16 w 2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16" y="0"/>
                  </a:moveTo>
                  <a:cubicBezTo>
                    <a:pt x="11" y="2"/>
                    <a:pt x="5" y="4"/>
                    <a:pt x="0" y="5"/>
                  </a:cubicBezTo>
                  <a:cubicBezTo>
                    <a:pt x="4" y="22"/>
                    <a:pt x="4" y="22"/>
                    <a:pt x="4" y="22"/>
                  </a:cubicBezTo>
                  <a:cubicBezTo>
                    <a:pt x="10" y="20"/>
                    <a:pt x="16" y="18"/>
                    <a:pt x="22" y="16"/>
                  </a:cubicBezTo>
                  <a:lnTo>
                    <a:pt x="16" y="0"/>
                  </a:lnTo>
                  <a:close/>
                  <a:moveTo>
                    <a:pt x="16" y="0"/>
                  </a:move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9">
              <a:extLst>
                <a:ext uri="{FF2B5EF4-FFF2-40B4-BE49-F238E27FC236}">
                  <a16:creationId xmlns:a16="http://schemas.microsoft.com/office/drawing/2014/main" id="{6BE67F43-8308-40E0-B667-D952658D99BB}"/>
                </a:ext>
              </a:extLst>
            </p:cNvPr>
            <p:cNvSpPr>
              <a:spLocks noEditPoints="1"/>
            </p:cNvSpPr>
            <p:nvPr/>
          </p:nvSpPr>
          <p:spPr bwMode="auto">
            <a:xfrm>
              <a:off x="523" y="3800"/>
              <a:ext cx="20" cy="20"/>
            </a:xfrm>
            <a:custGeom>
              <a:avLst/>
              <a:gdLst>
                <a:gd name="T0" fmla="*/ 6 w 21"/>
                <a:gd name="T1" fmla="*/ 0 h 21"/>
                <a:gd name="T2" fmla="*/ 0 w 21"/>
                <a:gd name="T3" fmla="*/ 15 h 21"/>
                <a:gd name="T4" fmla="*/ 17 w 21"/>
                <a:gd name="T5" fmla="*/ 21 h 21"/>
                <a:gd name="T6" fmla="*/ 21 w 21"/>
                <a:gd name="T7" fmla="*/ 4 h 21"/>
                <a:gd name="T8" fmla="*/ 6 w 21"/>
                <a:gd name="T9" fmla="*/ 0 h 21"/>
                <a:gd name="T10" fmla="*/ 6 w 21"/>
                <a:gd name="T11" fmla="*/ 0 h 21"/>
                <a:gd name="T12" fmla="*/ 6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6" y="0"/>
                  </a:moveTo>
                  <a:cubicBezTo>
                    <a:pt x="0" y="15"/>
                    <a:pt x="0" y="15"/>
                    <a:pt x="0" y="15"/>
                  </a:cubicBezTo>
                  <a:cubicBezTo>
                    <a:pt x="5" y="18"/>
                    <a:pt x="11" y="19"/>
                    <a:pt x="17" y="21"/>
                  </a:cubicBezTo>
                  <a:cubicBezTo>
                    <a:pt x="21" y="4"/>
                    <a:pt x="21" y="4"/>
                    <a:pt x="21" y="4"/>
                  </a:cubicBezTo>
                  <a:cubicBezTo>
                    <a:pt x="16" y="3"/>
                    <a:pt x="11" y="1"/>
                    <a:pt x="6" y="0"/>
                  </a:cubicBezTo>
                  <a:close/>
                  <a:moveTo>
                    <a:pt x="6" y="0"/>
                  </a:move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30">
              <a:extLst>
                <a:ext uri="{FF2B5EF4-FFF2-40B4-BE49-F238E27FC236}">
                  <a16:creationId xmlns:a16="http://schemas.microsoft.com/office/drawing/2014/main" id="{11659F6C-D4DA-4094-B44E-5C67EFF8B5A6}"/>
                </a:ext>
              </a:extLst>
            </p:cNvPr>
            <p:cNvSpPr>
              <a:spLocks noEditPoints="1"/>
            </p:cNvSpPr>
            <p:nvPr/>
          </p:nvSpPr>
          <p:spPr bwMode="auto">
            <a:xfrm>
              <a:off x="465" y="3768"/>
              <a:ext cx="23" cy="22"/>
            </a:xfrm>
            <a:custGeom>
              <a:avLst/>
              <a:gdLst>
                <a:gd name="T0" fmla="*/ 12 w 24"/>
                <a:gd name="T1" fmla="*/ 0 h 24"/>
                <a:gd name="T2" fmla="*/ 0 w 24"/>
                <a:gd name="T3" fmla="*/ 12 h 24"/>
                <a:gd name="T4" fmla="*/ 14 w 24"/>
                <a:gd name="T5" fmla="*/ 24 h 24"/>
                <a:gd name="T6" fmla="*/ 24 w 24"/>
                <a:gd name="T7" fmla="*/ 10 h 24"/>
                <a:gd name="T8" fmla="*/ 12 w 24"/>
                <a:gd name="T9" fmla="*/ 0 h 24"/>
                <a:gd name="T10" fmla="*/ 12 w 24"/>
                <a:gd name="T11" fmla="*/ 0 h 24"/>
                <a:gd name="T12" fmla="*/ 12 w 24"/>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0"/>
                  </a:moveTo>
                  <a:cubicBezTo>
                    <a:pt x="0" y="12"/>
                    <a:pt x="0" y="12"/>
                    <a:pt x="0" y="12"/>
                  </a:cubicBezTo>
                  <a:cubicBezTo>
                    <a:pt x="4" y="16"/>
                    <a:pt x="9" y="20"/>
                    <a:pt x="14" y="24"/>
                  </a:cubicBezTo>
                  <a:cubicBezTo>
                    <a:pt x="24" y="10"/>
                    <a:pt x="24" y="10"/>
                    <a:pt x="24" y="10"/>
                  </a:cubicBezTo>
                  <a:cubicBezTo>
                    <a:pt x="20" y="7"/>
                    <a:pt x="16" y="3"/>
                    <a:pt x="12" y="0"/>
                  </a:cubicBezTo>
                  <a:close/>
                  <a:moveTo>
                    <a:pt x="12" y="0"/>
                  </a:move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31">
              <a:extLst>
                <a:ext uri="{FF2B5EF4-FFF2-40B4-BE49-F238E27FC236}">
                  <a16:creationId xmlns:a16="http://schemas.microsoft.com/office/drawing/2014/main" id="{1EEAEDBB-48AA-4D54-A95A-FFF7789A0907}"/>
                </a:ext>
              </a:extLst>
            </p:cNvPr>
            <p:cNvSpPr>
              <a:spLocks noEditPoints="1"/>
            </p:cNvSpPr>
            <p:nvPr/>
          </p:nvSpPr>
          <p:spPr bwMode="auto">
            <a:xfrm>
              <a:off x="650" y="3787"/>
              <a:ext cx="23" cy="21"/>
            </a:xfrm>
            <a:custGeom>
              <a:avLst/>
              <a:gdLst>
                <a:gd name="T0" fmla="*/ 14 w 24"/>
                <a:gd name="T1" fmla="*/ 0 h 23"/>
                <a:gd name="T2" fmla="*/ 0 w 24"/>
                <a:gd name="T3" fmla="*/ 8 h 23"/>
                <a:gd name="T4" fmla="*/ 8 w 24"/>
                <a:gd name="T5" fmla="*/ 23 h 23"/>
                <a:gd name="T6" fmla="*/ 24 w 24"/>
                <a:gd name="T7" fmla="*/ 14 h 23"/>
                <a:gd name="T8" fmla="*/ 14 w 24"/>
                <a:gd name="T9" fmla="*/ 0 h 23"/>
                <a:gd name="T10" fmla="*/ 14 w 24"/>
                <a:gd name="T11" fmla="*/ 0 h 23"/>
                <a:gd name="T12" fmla="*/ 14 w 2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4" h="23">
                  <a:moveTo>
                    <a:pt x="14" y="0"/>
                  </a:moveTo>
                  <a:cubicBezTo>
                    <a:pt x="10" y="3"/>
                    <a:pt x="5" y="5"/>
                    <a:pt x="0" y="8"/>
                  </a:cubicBezTo>
                  <a:cubicBezTo>
                    <a:pt x="8" y="23"/>
                    <a:pt x="8" y="23"/>
                    <a:pt x="8" y="23"/>
                  </a:cubicBezTo>
                  <a:cubicBezTo>
                    <a:pt x="13" y="20"/>
                    <a:pt x="18" y="17"/>
                    <a:pt x="24" y="14"/>
                  </a:cubicBezTo>
                  <a:lnTo>
                    <a:pt x="14" y="0"/>
                  </a:lnTo>
                  <a:close/>
                  <a:moveTo>
                    <a:pt x="14" y="0"/>
                  </a:move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32">
              <a:extLst>
                <a:ext uri="{FF2B5EF4-FFF2-40B4-BE49-F238E27FC236}">
                  <a16:creationId xmlns:a16="http://schemas.microsoft.com/office/drawing/2014/main" id="{E6ABB67F-917B-4ABC-9F41-96823B50AF6F}"/>
                </a:ext>
              </a:extLst>
            </p:cNvPr>
            <p:cNvSpPr>
              <a:spLocks noEditPoints="1"/>
            </p:cNvSpPr>
            <p:nvPr/>
          </p:nvSpPr>
          <p:spPr bwMode="auto">
            <a:xfrm>
              <a:off x="492" y="3787"/>
              <a:ext cx="22" cy="21"/>
            </a:xfrm>
            <a:custGeom>
              <a:avLst/>
              <a:gdLst>
                <a:gd name="T0" fmla="*/ 9 w 23"/>
                <a:gd name="T1" fmla="*/ 0 h 23"/>
                <a:gd name="T2" fmla="*/ 0 w 23"/>
                <a:gd name="T3" fmla="*/ 14 h 23"/>
                <a:gd name="T4" fmla="*/ 16 w 23"/>
                <a:gd name="T5" fmla="*/ 23 h 23"/>
                <a:gd name="T6" fmla="*/ 23 w 23"/>
                <a:gd name="T7" fmla="*/ 8 h 23"/>
                <a:gd name="T8" fmla="*/ 9 w 23"/>
                <a:gd name="T9" fmla="*/ 0 h 23"/>
                <a:gd name="T10" fmla="*/ 9 w 23"/>
                <a:gd name="T11" fmla="*/ 0 h 23"/>
                <a:gd name="T12" fmla="*/ 9 w 23"/>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9" y="0"/>
                  </a:moveTo>
                  <a:cubicBezTo>
                    <a:pt x="0" y="14"/>
                    <a:pt x="0" y="14"/>
                    <a:pt x="0" y="14"/>
                  </a:cubicBezTo>
                  <a:cubicBezTo>
                    <a:pt x="5" y="18"/>
                    <a:pt x="10" y="21"/>
                    <a:pt x="16" y="23"/>
                  </a:cubicBezTo>
                  <a:cubicBezTo>
                    <a:pt x="23" y="8"/>
                    <a:pt x="23" y="8"/>
                    <a:pt x="23" y="8"/>
                  </a:cubicBezTo>
                  <a:cubicBezTo>
                    <a:pt x="18" y="6"/>
                    <a:pt x="14" y="3"/>
                    <a:pt x="9" y="0"/>
                  </a:cubicBezTo>
                  <a:close/>
                  <a:moveTo>
                    <a:pt x="9" y="0"/>
                  </a:move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33">
              <a:extLst>
                <a:ext uri="{FF2B5EF4-FFF2-40B4-BE49-F238E27FC236}">
                  <a16:creationId xmlns:a16="http://schemas.microsoft.com/office/drawing/2014/main" id="{093F2572-7951-4143-A24F-730C4FE1D2D6}"/>
                </a:ext>
              </a:extLst>
            </p:cNvPr>
            <p:cNvSpPr>
              <a:spLocks noEditPoints="1"/>
            </p:cNvSpPr>
            <p:nvPr/>
          </p:nvSpPr>
          <p:spPr bwMode="auto">
            <a:xfrm>
              <a:off x="716" y="3718"/>
              <a:ext cx="22" cy="21"/>
            </a:xfrm>
            <a:custGeom>
              <a:avLst/>
              <a:gdLst>
                <a:gd name="T0" fmla="*/ 8 w 23"/>
                <a:gd name="T1" fmla="*/ 0 h 23"/>
                <a:gd name="T2" fmla="*/ 0 w 23"/>
                <a:gd name="T3" fmla="*/ 15 h 23"/>
                <a:gd name="T4" fmla="*/ 15 w 23"/>
                <a:gd name="T5" fmla="*/ 23 h 23"/>
                <a:gd name="T6" fmla="*/ 23 w 23"/>
                <a:gd name="T7" fmla="*/ 7 h 23"/>
                <a:gd name="T8" fmla="*/ 8 w 23"/>
                <a:gd name="T9" fmla="*/ 0 h 23"/>
                <a:gd name="T10" fmla="*/ 8 w 23"/>
                <a:gd name="T11" fmla="*/ 0 h 23"/>
                <a:gd name="T12" fmla="*/ 8 w 23"/>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8" y="0"/>
                  </a:moveTo>
                  <a:cubicBezTo>
                    <a:pt x="5" y="5"/>
                    <a:pt x="3" y="10"/>
                    <a:pt x="0" y="15"/>
                  </a:cubicBezTo>
                  <a:cubicBezTo>
                    <a:pt x="15" y="23"/>
                    <a:pt x="15" y="23"/>
                    <a:pt x="15" y="23"/>
                  </a:cubicBezTo>
                  <a:cubicBezTo>
                    <a:pt x="18" y="18"/>
                    <a:pt x="21" y="12"/>
                    <a:pt x="23" y="7"/>
                  </a:cubicBezTo>
                  <a:lnTo>
                    <a:pt x="8" y="0"/>
                  </a:lnTo>
                  <a:close/>
                  <a:moveTo>
                    <a:pt x="8" y="0"/>
                  </a:move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34">
              <a:extLst>
                <a:ext uri="{FF2B5EF4-FFF2-40B4-BE49-F238E27FC236}">
                  <a16:creationId xmlns:a16="http://schemas.microsoft.com/office/drawing/2014/main" id="{E1434395-3907-47BD-9E51-95CE4574AF2E}"/>
                </a:ext>
              </a:extLst>
            </p:cNvPr>
            <p:cNvSpPr>
              <a:spLocks noEditPoints="1"/>
            </p:cNvSpPr>
            <p:nvPr/>
          </p:nvSpPr>
          <p:spPr bwMode="auto">
            <a:xfrm>
              <a:off x="707" y="3565"/>
              <a:ext cx="22" cy="22"/>
            </a:xfrm>
            <a:custGeom>
              <a:avLst/>
              <a:gdLst>
                <a:gd name="T0" fmla="*/ 14 w 23"/>
                <a:gd name="T1" fmla="*/ 0 h 24"/>
                <a:gd name="T2" fmla="*/ 0 w 23"/>
                <a:gd name="T3" fmla="*/ 10 h 24"/>
                <a:gd name="T4" fmla="*/ 9 w 23"/>
                <a:gd name="T5" fmla="*/ 24 h 24"/>
                <a:gd name="T6" fmla="*/ 23 w 23"/>
                <a:gd name="T7" fmla="*/ 15 h 24"/>
                <a:gd name="T8" fmla="*/ 14 w 23"/>
                <a:gd name="T9" fmla="*/ 0 h 24"/>
                <a:gd name="T10" fmla="*/ 14 w 23"/>
                <a:gd name="T11" fmla="*/ 0 h 24"/>
                <a:gd name="T12" fmla="*/ 14 w 23"/>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3" h="24">
                  <a:moveTo>
                    <a:pt x="14" y="0"/>
                  </a:moveTo>
                  <a:cubicBezTo>
                    <a:pt x="0" y="10"/>
                    <a:pt x="0" y="10"/>
                    <a:pt x="0" y="10"/>
                  </a:cubicBezTo>
                  <a:cubicBezTo>
                    <a:pt x="3" y="14"/>
                    <a:pt x="6" y="19"/>
                    <a:pt x="9" y="24"/>
                  </a:cubicBezTo>
                  <a:cubicBezTo>
                    <a:pt x="23" y="15"/>
                    <a:pt x="23" y="15"/>
                    <a:pt x="23" y="15"/>
                  </a:cubicBezTo>
                  <a:cubicBezTo>
                    <a:pt x="20" y="10"/>
                    <a:pt x="17" y="5"/>
                    <a:pt x="14" y="0"/>
                  </a:cubicBezTo>
                  <a:close/>
                  <a:moveTo>
                    <a:pt x="14" y="0"/>
                  </a:move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35">
              <a:extLst>
                <a:ext uri="{FF2B5EF4-FFF2-40B4-BE49-F238E27FC236}">
                  <a16:creationId xmlns:a16="http://schemas.microsoft.com/office/drawing/2014/main" id="{70A7B014-8247-484A-9D8C-F7C320F61F3F}"/>
                </a:ext>
              </a:extLst>
            </p:cNvPr>
            <p:cNvSpPr>
              <a:spLocks noEditPoints="1"/>
            </p:cNvSpPr>
            <p:nvPr/>
          </p:nvSpPr>
          <p:spPr bwMode="auto">
            <a:xfrm>
              <a:off x="729" y="3689"/>
              <a:ext cx="19" cy="19"/>
            </a:xfrm>
            <a:custGeom>
              <a:avLst/>
              <a:gdLst>
                <a:gd name="T0" fmla="*/ 4 w 21"/>
                <a:gd name="T1" fmla="*/ 0 h 20"/>
                <a:gd name="T2" fmla="*/ 0 w 21"/>
                <a:gd name="T3" fmla="*/ 16 h 20"/>
                <a:gd name="T4" fmla="*/ 17 w 21"/>
                <a:gd name="T5" fmla="*/ 20 h 20"/>
                <a:gd name="T6" fmla="*/ 21 w 21"/>
                <a:gd name="T7" fmla="*/ 3 h 20"/>
                <a:gd name="T8" fmla="*/ 4 w 21"/>
                <a:gd name="T9" fmla="*/ 0 h 20"/>
                <a:gd name="T10" fmla="*/ 4 w 21"/>
                <a:gd name="T11" fmla="*/ 0 h 20"/>
                <a:gd name="T12" fmla="*/ 4 w 2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4" y="0"/>
                  </a:moveTo>
                  <a:cubicBezTo>
                    <a:pt x="3" y="5"/>
                    <a:pt x="2" y="10"/>
                    <a:pt x="0" y="16"/>
                  </a:cubicBezTo>
                  <a:cubicBezTo>
                    <a:pt x="17" y="20"/>
                    <a:pt x="17" y="20"/>
                    <a:pt x="17" y="20"/>
                  </a:cubicBezTo>
                  <a:cubicBezTo>
                    <a:pt x="18" y="15"/>
                    <a:pt x="20" y="9"/>
                    <a:pt x="21" y="3"/>
                  </a:cubicBezTo>
                  <a:lnTo>
                    <a:pt x="4" y="0"/>
                  </a:lnTo>
                  <a:close/>
                  <a:moveTo>
                    <a:pt x="4" y="0"/>
                  </a:move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36">
              <a:extLst>
                <a:ext uri="{FF2B5EF4-FFF2-40B4-BE49-F238E27FC236}">
                  <a16:creationId xmlns:a16="http://schemas.microsoft.com/office/drawing/2014/main" id="{3B75B312-6BB9-4968-99A0-B364879C0063}"/>
                </a:ext>
              </a:extLst>
            </p:cNvPr>
            <p:cNvSpPr>
              <a:spLocks noEditPoints="1"/>
            </p:cNvSpPr>
            <p:nvPr/>
          </p:nvSpPr>
          <p:spPr bwMode="auto">
            <a:xfrm>
              <a:off x="442" y="3744"/>
              <a:ext cx="24" cy="23"/>
            </a:xfrm>
            <a:custGeom>
              <a:avLst/>
              <a:gdLst>
                <a:gd name="T0" fmla="*/ 14 w 25"/>
                <a:gd name="T1" fmla="*/ 0 h 25"/>
                <a:gd name="T2" fmla="*/ 0 w 25"/>
                <a:gd name="T3" fmla="*/ 10 h 25"/>
                <a:gd name="T4" fmla="*/ 12 w 25"/>
                <a:gd name="T5" fmla="*/ 25 h 25"/>
                <a:gd name="T6" fmla="*/ 25 w 25"/>
                <a:gd name="T7" fmla="*/ 14 h 25"/>
                <a:gd name="T8" fmla="*/ 14 w 25"/>
                <a:gd name="T9" fmla="*/ 0 h 25"/>
                <a:gd name="T10" fmla="*/ 14 w 25"/>
                <a:gd name="T11" fmla="*/ 0 h 25"/>
                <a:gd name="T12" fmla="*/ 14 w 25"/>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5" h="25">
                  <a:moveTo>
                    <a:pt x="14" y="0"/>
                  </a:moveTo>
                  <a:cubicBezTo>
                    <a:pt x="0" y="10"/>
                    <a:pt x="0" y="10"/>
                    <a:pt x="0" y="10"/>
                  </a:cubicBezTo>
                  <a:cubicBezTo>
                    <a:pt x="4" y="15"/>
                    <a:pt x="8" y="20"/>
                    <a:pt x="12" y="25"/>
                  </a:cubicBezTo>
                  <a:cubicBezTo>
                    <a:pt x="25" y="14"/>
                    <a:pt x="25" y="14"/>
                    <a:pt x="25" y="14"/>
                  </a:cubicBezTo>
                  <a:cubicBezTo>
                    <a:pt x="21" y="9"/>
                    <a:pt x="18" y="5"/>
                    <a:pt x="14" y="0"/>
                  </a:cubicBezTo>
                  <a:close/>
                  <a:moveTo>
                    <a:pt x="14" y="0"/>
                  </a:move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7">
              <a:extLst>
                <a:ext uri="{FF2B5EF4-FFF2-40B4-BE49-F238E27FC236}">
                  <a16:creationId xmlns:a16="http://schemas.microsoft.com/office/drawing/2014/main" id="{5521B944-F77B-471E-B79D-5E4EB9037716}"/>
                </a:ext>
              </a:extLst>
            </p:cNvPr>
            <p:cNvSpPr>
              <a:spLocks noEditPoints="1"/>
            </p:cNvSpPr>
            <p:nvPr/>
          </p:nvSpPr>
          <p:spPr bwMode="auto">
            <a:xfrm>
              <a:off x="734" y="3658"/>
              <a:ext cx="17" cy="18"/>
            </a:xfrm>
            <a:custGeom>
              <a:avLst/>
              <a:gdLst>
                <a:gd name="T0" fmla="*/ 1 w 18"/>
                <a:gd name="T1" fmla="*/ 1 h 19"/>
                <a:gd name="T2" fmla="*/ 1 w 18"/>
                <a:gd name="T3" fmla="*/ 2 h 19"/>
                <a:gd name="T4" fmla="*/ 0 w 18"/>
                <a:gd name="T5" fmla="*/ 17 h 19"/>
                <a:gd name="T6" fmla="*/ 17 w 18"/>
                <a:gd name="T7" fmla="*/ 19 h 19"/>
                <a:gd name="T8" fmla="*/ 18 w 18"/>
                <a:gd name="T9" fmla="*/ 2 h 19"/>
                <a:gd name="T10" fmla="*/ 18 w 18"/>
                <a:gd name="T11" fmla="*/ 0 h 19"/>
                <a:gd name="T12" fmla="*/ 1 w 18"/>
                <a:gd name="T13" fmla="*/ 1 h 19"/>
                <a:gd name="T14" fmla="*/ 1 w 18"/>
                <a:gd name="T15" fmla="*/ 1 h 19"/>
                <a:gd name="T16" fmla="*/ 1 w 18"/>
                <a:gd name="T17"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 y="1"/>
                  </a:moveTo>
                  <a:cubicBezTo>
                    <a:pt x="1" y="2"/>
                    <a:pt x="1" y="2"/>
                    <a:pt x="1" y="2"/>
                  </a:cubicBezTo>
                  <a:cubicBezTo>
                    <a:pt x="1" y="7"/>
                    <a:pt x="1" y="12"/>
                    <a:pt x="0" y="17"/>
                  </a:cubicBezTo>
                  <a:cubicBezTo>
                    <a:pt x="17" y="19"/>
                    <a:pt x="17" y="19"/>
                    <a:pt x="17" y="19"/>
                  </a:cubicBezTo>
                  <a:cubicBezTo>
                    <a:pt x="18" y="13"/>
                    <a:pt x="18" y="8"/>
                    <a:pt x="18" y="2"/>
                  </a:cubicBezTo>
                  <a:cubicBezTo>
                    <a:pt x="18" y="0"/>
                    <a:pt x="18" y="0"/>
                    <a:pt x="18" y="0"/>
                  </a:cubicBezTo>
                  <a:lnTo>
                    <a:pt x="1" y="1"/>
                  </a:ln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8">
              <a:extLst>
                <a:ext uri="{FF2B5EF4-FFF2-40B4-BE49-F238E27FC236}">
                  <a16:creationId xmlns:a16="http://schemas.microsoft.com/office/drawing/2014/main" id="{5C2F9380-D754-4AF1-B973-19A30DED2A85}"/>
                </a:ext>
              </a:extLst>
            </p:cNvPr>
            <p:cNvSpPr>
              <a:spLocks noEditPoints="1"/>
            </p:cNvSpPr>
            <p:nvPr/>
          </p:nvSpPr>
          <p:spPr bwMode="auto">
            <a:xfrm>
              <a:off x="722" y="3593"/>
              <a:ext cx="21" cy="21"/>
            </a:xfrm>
            <a:custGeom>
              <a:avLst/>
              <a:gdLst>
                <a:gd name="T0" fmla="*/ 16 w 22"/>
                <a:gd name="T1" fmla="*/ 0 h 23"/>
                <a:gd name="T2" fmla="*/ 0 w 22"/>
                <a:gd name="T3" fmla="*/ 7 h 23"/>
                <a:gd name="T4" fmla="*/ 6 w 22"/>
                <a:gd name="T5" fmla="*/ 23 h 23"/>
                <a:gd name="T6" fmla="*/ 22 w 22"/>
                <a:gd name="T7" fmla="*/ 18 h 23"/>
                <a:gd name="T8" fmla="*/ 16 w 22"/>
                <a:gd name="T9" fmla="*/ 0 h 23"/>
                <a:gd name="T10" fmla="*/ 16 w 22"/>
                <a:gd name="T11" fmla="*/ 0 h 23"/>
                <a:gd name="T12" fmla="*/ 16 w 2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2" h="23">
                  <a:moveTo>
                    <a:pt x="16" y="0"/>
                  </a:moveTo>
                  <a:cubicBezTo>
                    <a:pt x="0" y="7"/>
                    <a:pt x="0" y="7"/>
                    <a:pt x="0" y="7"/>
                  </a:cubicBezTo>
                  <a:cubicBezTo>
                    <a:pt x="2" y="12"/>
                    <a:pt x="4" y="18"/>
                    <a:pt x="6" y="23"/>
                  </a:cubicBezTo>
                  <a:cubicBezTo>
                    <a:pt x="22" y="18"/>
                    <a:pt x="22" y="18"/>
                    <a:pt x="22" y="18"/>
                  </a:cubicBezTo>
                  <a:cubicBezTo>
                    <a:pt x="20" y="12"/>
                    <a:pt x="18" y="6"/>
                    <a:pt x="16" y="0"/>
                  </a:cubicBezTo>
                  <a:close/>
                  <a:moveTo>
                    <a:pt x="16" y="0"/>
                  </a:move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9">
              <a:extLst>
                <a:ext uri="{FF2B5EF4-FFF2-40B4-BE49-F238E27FC236}">
                  <a16:creationId xmlns:a16="http://schemas.microsoft.com/office/drawing/2014/main" id="{1C61CAA2-C5FA-4166-AEC1-056E427F392B}"/>
                </a:ext>
              </a:extLst>
            </p:cNvPr>
            <p:cNvSpPr>
              <a:spLocks noEditPoints="1"/>
            </p:cNvSpPr>
            <p:nvPr/>
          </p:nvSpPr>
          <p:spPr bwMode="auto">
            <a:xfrm>
              <a:off x="699" y="3744"/>
              <a:ext cx="23" cy="22"/>
            </a:xfrm>
            <a:custGeom>
              <a:avLst/>
              <a:gdLst>
                <a:gd name="T0" fmla="*/ 10 w 24"/>
                <a:gd name="T1" fmla="*/ 0 h 24"/>
                <a:gd name="T2" fmla="*/ 0 w 24"/>
                <a:gd name="T3" fmla="*/ 13 h 24"/>
                <a:gd name="T4" fmla="*/ 13 w 24"/>
                <a:gd name="T5" fmla="*/ 24 h 24"/>
                <a:gd name="T6" fmla="*/ 24 w 24"/>
                <a:gd name="T7" fmla="*/ 10 h 24"/>
                <a:gd name="T8" fmla="*/ 10 w 24"/>
                <a:gd name="T9" fmla="*/ 0 h 24"/>
                <a:gd name="T10" fmla="*/ 10 w 24"/>
                <a:gd name="T11" fmla="*/ 0 h 24"/>
                <a:gd name="T12" fmla="*/ 10 w 24"/>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0" y="0"/>
                  </a:moveTo>
                  <a:cubicBezTo>
                    <a:pt x="7" y="5"/>
                    <a:pt x="3" y="9"/>
                    <a:pt x="0" y="13"/>
                  </a:cubicBezTo>
                  <a:cubicBezTo>
                    <a:pt x="13" y="24"/>
                    <a:pt x="13" y="24"/>
                    <a:pt x="13" y="24"/>
                  </a:cubicBezTo>
                  <a:cubicBezTo>
                    <a:pt x="17" y="20"/>
                    <a:pt x="20" y="15"/>
                    <a:pt x="24" y="10"/>
                  </a:cubicBezTo>
                  <a:lnTo>
                    <a:pt x="10" y="0"/>
                  </a:lnTo>
                  <a:close/>
                  <a:moveTo>
                    <a:pt x="10" y="0"/>
                  </a:move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40">
              <a:extLst>
                <a:ext uri="{FF2B5EF4-FFF2-40B4-BE49-F238E27FC236}">
                  <a16:creationId xmlns:a16="http://schemas.microsoft.com/office/drawing/2014/main" id="{0188619B-5407-4ABD-8A57-F84F54A07F79}"/>
                </a:ext>
              </a:extLst>
            </p:cNvPr>
            <p:cNvSpPr>
              <a:spLocks noEditPoints="1"/>
            </p:cNvSpPr>
            <p:nvPr/>
          </p:nvSpPr>
          <p:spPr bwMode="auto">
            <a:xfrm>
              <a:off x="677" y="3767"/>
              <a:ext cx="22" cy="23"/>
            </a:xfrm>
            <a:custGeom>
              <a:avLst/>
              <a:gdLst>
                <a:gd name="T0" fmla="*/ 12 w 24"/>
                <a:gd name="T1" fmla="*/ 0 h 25"/>
                <a:gd name="T2" fmla="*/ 0 w 24"/>
                <a:gd name="T3" fmla="*/ 11 h 25"/>
                <a:gd name="T4" fmla="*/ 10 w 24"/>
                <a:gd name="T5" fmla="*/ 25 h 25"/>
                <a:gd name="T6" fmla="*/ 24 w 24"/>
                <a:gd name="T7" fmla="*/ 13 h 25"/>
                <a:gd name="T8" fmla="*/ 12 w 24"/>
                <a:gd name="T9" fmla="*/ 0 h 25"/>
                <a:gd name="T10" fmla="*/ 12 w 24"/>
                <a:gd name="T11" fmla="*/ 0 h 25"/>
                <a:gd name="T12" fmla="*/ 12 w 24"/>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4" h="25">
                  <a:moveTo>
                    <a:pt x="12" y="0"/>
                  </a:moveTo>
                  <a:cubicBezTo>
                    <a:pt x="8" y="4"/>
                    <a:pt x="4" y="8"/>
                    <a:pt x="0" y="11"/>
                  </a:cubicBezTo>
                  <a:cubicBezTo>
                    <a:pt x="10" y="25"/>
                    <a:pt x="10" y="25"/>
                    <a:pt x="10" y="25"/>
                  </a:cubicBezTo>
                  <a:cubicBezTo>
                    <a:pt x="15" y="21"/>
                    <a:pt x="20" y="17"/>
                    <a:pt x="24" y="13"/>
                  </a:cubicBezTo>
                  <a:lnTo>
                    <a:pt x="12" y="0"/>
                  </a:lnTo>
                  <a:close/>
                  <a:moveTo>
                    <a:pt x="12" y="0"/>
                  </a:move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41">
              <a:extLst>
                <a:ext uri="{FF2B5EF4-FFF2-40B4-BE49-F238E27FC236}">
                  <a16:creationId xmlns:a16="http://schemas.microsoft.com/office/drawing/2014/main" id="{C2213AB7-241E-4302-B400-7DA53B57DBCC}"/>
                </a:ext>
              </a:extLst>
            </p:cNvPr>
            <p:cNvSpPr>
              <a:spLocks noEditPoints="1"/>
            </p:cNvSpPr>
            <p:nvPr/>
          </p:nvSpPr>
          <p:spPr bwMode="auto">
            <a:xfrm>
              <a:off x="731" y="3625"/>
              <a:ext cx="19" cy="18"/>
            </a:xfrm>
            <a:custGeom>
              <a:avLst/>
              <a:gdLst>
                <a:gd name="T0" fmla="*/ 17 w 20"/>
                <a:gd name="T1" fmla="*/ 0 h 20"/>
                <a:gd name="T2" fmla="*/ 0 w 20"/>
                <a:gd name="T3" fmla="*/ 4 h 20"/>
                <a:gd name="T4" fmla="*/ 3 w 20"/>
                <a:gd name="T5" fmla="*/ 20 h 20"/>
                <a:gd name="T6" fmla="*/ 20 w 20"/>
                <a:gd name="T7" fmla="*/ 18 h 20"/>
                <a:gd name="T8" fmla="*/ 17 w 20"/>
                <a:gd name="T9" fmla="*/ 0 h 20"/>
                <a:gd name="T10" fmla="*/ 17 w 20"/>
                <a:gd name="T11" fmla="*/ 0 h 20"/>
                <a:gd name="T12" fmla="*/ 17 w 2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7" y="0"/>
                  </a:moveTo>
                  <a:cubicBezTo>
                    <a:pt x="0" y="4"/>
                    <a:pt x="0" y="4"/>
                    <a:pt x="0" y="4"/>
                  </a:cubicBezTo>
                  <a:cubicBezTo>
                    <a:pt x="2" y="9"/>
                    <a:pt x="2" y="15"/>
                    <a:pt x="3" y="20"/>
                  </a:cubicBezTo>
                  <a:cubicBezTo>
                    <a:pt x="20" y="18"/>
                    <a:pt x="20" y="18"/>
                    <a:pt x="20" y="18"/>
                  </a:cubicBezTo>
                  <a:cubicBezTo>
                    <a:pt x="19" y="12"/>
                    <a:pt x="18" y="6"/>
                    <a:pt x="17" y="0"/>
                  </a:cubicBezTo>
                  <a:close/>
                  <a:moveTo>
                    <a:pt x="17" y="0"/>
                  </a:moveTo>
                  <a:cubicBezTo>
                    <a:pt x="17" y="0"/>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42">
              <a:extLst>
                <a:ext uri="{FF2B5EF4-FFF2-40B4-BE49-F238E27FC236}">
                  <a16:creationId xmlns:a16="http://schemas.microsoft.com/office/drawing/2014/main" id="{4E267358-0FE8-4652-A206-9CD5B2683FD1}"/>
                </a:ext>
              </a:extLst>
            </p:cNvPr>
            <p:cNvSpPr>
              <a:spLocks noEditPoints="1"/>
            </p:cNvSpPr>
            <p:nvPr/>
          </p:nvSpPr>
          <p:spPr bwMode="auto">
            <a:xfrm>
              <a:off x="414" y="3626"/>
              <a:ext cx="18" cy="18"/>
            </a:xfrm>
            <a:custGeom>
              <a:avLst/>
              <a:gdLst>
                <a:gd name="T0" fmla="*/ 3 w 19"/>
                <a:gd name="T1" fmla="*/ 0 h 20"/>
                <a:gd name="T2" fmla="*/ 0 w 19"/>
                <a:gd name="T3" fmla="*/ 18 h 20"/>
                <a:gd name="T4" fmla="*/ 17 w 19"/>
                <a:gd name="T5" fmla="*/ 20 h 20"/>
                <a:gd name="T6" fmla="*/ 19 w 19"/>
                <a:gd name="T7" fmla="*/ 3 h 20"/>
                <a:gd name="T8" fmla="*/ 3 w 19"/>
                <a:gd name="T9" fmla="*/ 0 h 20"/>
                <a:gd name="T10" fmla="*/ 3 w 19"/>
                <a:gd name="T11" fmla="*/ 0 h 20"/>
                <a:gd name="T12" fmla="*/ 3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3" y="0"/>
                  </a:moveTo>
                  <a:cubicBezTo>
                    <a:pt x="2" y="6"/>
                    <a:pt x="1" y="12"/>
                    <a:pt x="0" y="18"/>
                  </a:cubicBezTo>
                  <a:cubicBezTo>
                    <a:pt x="17" y="20"/>
                    <a:pt x="17" y="20"/>
                    <a:pt x="17" y="20"/>
                  </a:cubicBezTo>
                  <a:cubicBezTo>
                    <a:pt x="17" y="14"/>
                    <a:pt x="18" y="9"/>
                    <a:pt x="19" y="3"/>
                  </a:cubicBezTo>
                  <a:lnTo>
                    <a:pt x="3" y="0"/>
                  </a:lnTo>
                  <a:close/>
                  <a:moveTo>
                    <a:pt x="3" y="0"/>
                  </a:move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43">
              <a:extLst>
                <a:ext uri="{FF2B5EF4-FFF2-40B4-BE49-F238E27FC236}">
                  <a16:creationId xmlns:a16="http://schemas.microsoft.com/office/drawing/2014/main" id="{8A107778-F1E3-4214-A521-BA903B54FD2B}"/>
                </a:ext>
              </a:extLst>
            </p:cNvPr>
            <p:cNvSpPr>
              <a:spLocks noEditPoints="1"/>
            </p:cNvSpPr>
            <p:nvPr/>
          </p:nvSpPr>
          <p:spPr bwMode="auto">
            <a:xfrm>
              <a:off x="426" y="3719"/>
              <a:ext cx="22" cy="21"/>
            </a:xfrm>
            <a:custGeom>
              <a:avLst/>
              <a:gdLst>
                <a:gd name="T0" fmla="*/ 16 w 23"/>
                <a:gd name="T1" fmla="*/ 0 h 23"/>
                <a:gd name="T2" fmla="*/ 0 w 23"/>
                <a:gd name="T3" fmla="*/ 6 h 23"/>
                <a:gd name="T4" fmla="*/ 8 w 23"/>
                <a:gd name="T5" fmla="*/ 23 h 23"/>
                <a:gd name="T6" fmla="*/ 23 w 23"/>
                <a:gd name="T7" fmla="*/ 14 h 23"/>
                <a:gd name="T8" fmla="*/ 16 w 23"/>
                <a:gd name="T9" fmla="*/ 0 h 23"/>
                <a:gd name="T10" fmla="*/ 16 w 23"/>
                <a:gd name="T11" fmla="*/ 0 h 23"/>
                <a:gd name="T12" fmla="*/ 16 w 23"/>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16" y="0"/>
                  </a:moveTo>
                  <a:cubicBezTo>
                    <a:pt x="0" y="6"/>
                    <a:pt x="0" y="6"/>
                    <a:pt x="0" y="6"/>
                  </a:cubicBezTo>
                  <a:cubicBezTo>
                    <a:pt x="2" y="12"/>
                    <a:pt x="5" y="17"/>
                    <a:pt x="8" y="23"/>
                  </a:cubicBezTo>
                  <a:cubicBezTo>
                    <a:pt x="23" y="14"/>
                    <a:pt x="23" y="14"/>
                    <a:pt x="23" y="14"/>
                  </a:cubicBezTo>
                  <a:cubicBezTo>
                    <a:pt x="20" y="10"/>
                    <a:pt x="18" y="5"/>
                    <a:pt x="16" y="0"/>
                  </a:cubicBezTo>
                  <a:close/>
                  <a:moveTo>
                    <a:pt x="16" y="0"/>
                  </a:move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44">
              <a:extLst>
                <a:ext uri="{FF2B5EF4-FFF2-40B4-BE49-F238E27FC236}">
                  <a16:creationId xmlns:a16="http://schemas.microsoft.com/office/drawing/2014/main" id="{65C04DE0-E092-44A7-85CD-4F42B05804DF}"/>
                </a:ext>
              </a:extLst>
            </p:cNvPr>
            <p:cNvSpPr>
              <a:spLocks noEditPoints="1"/>
            </p:cNvSpPr>
            <p:nvPr/>
          </p:nvSpPr>
          <p:spPr bwMode="auto">
            <a:xfrm>
              <a:off x="413" y="3659"/>
              <a:ext cx="17" cy="17"/>
            </a:xfrm>
            <a:custGeom>
              <a:avLst/>
              <a:gdLst>
                <a:gd name="T0" fmla="*/ 17 w 18"/>
                <a:gd name="T1" fmla="*/ 1 h 18"/>
                <a:gd name="T2" fmla="*/ 17 w 18"/>
                <a:gd name="T3" fmla="*/ 0 h 18"/>
                <a:gd name="T4" fmla="*/ 0 w 18"/>
                <a:gd name="T5" fmla="*/ 0 h 18"/>
                <a:gd name="T6" fmla="*/ 0 w 18"/>
                <a:gd name="T7" fmla="*/ 1 h 18"/>
                <a:gd name="T8" fmla="*/ 1 w 18"/>
                <a:gd name="T9" fmla="*/ 18 h 18"/>
                <a:gd name="T10" fmla="*/ 18 w 18"/>
                <a:gd name="T11" fmla="*/ 17 h 18"/>
                <a:gd name="T12" fmla="*/ 17 w 18"/>
                <a:gd name="T13" fmla="*/ 1 h 18"/>
                <a:gd name="T14" fmla="*/ 17 w 18"/>
                <a:gd name="T15" fmla="*/ 1 h 18"/>
                <a:gd name="T16" fmla="*/ 17 w 18"/>
                <a:gd name="T17"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8">
                  <a:moveTo>
                    <a:pt x="17" y="1"/>
                  </a:moveTo>
                  <a:cubicBezTo>
                    <a:pt x="17" y="0"/>
                    <a:pt x="17" y="0"/>
                    <a:pt x="17" y="0"/>
                  </a:cubicBezTo>
                  <a:cubicBezTo>
                    <a:pt x="0" y="0"/>
                    <a:pt x="0" y="0"/>
                    <a:pt x="0" y="0"/>
                  </a:cubicBezTo>
                  <a:cubicBezTo>
                    <a:pt x="0" y="1"/>
                    <a:pt x="0" y="1"/>
                    <a:pt x="0" y="1"/>
                  </a:cubicBezTo>
                  <a:cubicBezTo>
                    <a:pt x="0" y="7"/>
                    <a:pt x="0" y="13"/>
                    <a:pt x="1" y="18"/>
                  </a:cubicBezTo>
                  <a:cubicBezTo>
                    <a:pt x="18" y="17"/>
                    <a:pt x="18" y="17"/>
                    <a:pt x="18" y="17"/>
                  </a:cubicBezTo>
                  <a:cubicBezTo>
                    <a:pt x="17" y="12"/>
                    <a:pt x="17" y="7"/>
                    <a:pt x="17" y="1"/>
                  </a:cubicBezTo>
                  <a:close/>
                  <a:moveTo>
                    <a:pt x="17" y="1"/>
                  </a:moveTo>
                  <a:cubicBezTo>
                    <a:pt x="17" y="1"/>
                    <a:pt x="17" y="1"/>
                    <a:pt x="1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45">
              <a:extLst>
                <a:ext uri="{FF2B5EF4-FFF2-40B4-BE49-F238E27FC236}">
                  <a16:creationId xmlns:a16="http://schemas.microsoft.com/office/drawing/2014/main" id="{EDA28908-DB29-461A-BF97-0DBBF9C7D8D7}"/>
                </a:ext>
              </a:extLst>
            </p:cNvPr>
            <p:cNvSpPr>
              <a:spLocks noEditPoints="1"/>
            </p:cNvSpPr>
            <p:nvPr/>
          </p:nvSpPr>
          <p:spPr bwMode="auto">
            <a:xfrm>
              <a:off x="421" y="3594"/>
              <a:ext cx="21" cy="20"/>
            </a:xfrm>
            <a:custGeom>
              <a:avLst/>
              <a:gdLst>
                <a:gd name="T0" fmla="*/ 6 w 22"/>
                <a:gd name="T1" fmla="*/ 0 h 22"/>
                <a:gd name="T2" fmla="*/ 0 w 22"/>
                <a:gd name="T3" fmla="*/ 17 h 22"/>
                <a:gd name="T4" fmla="*/ 16 w 22"/>
                <a:gd name="T5" fmla="*/ 22 h 22"/>
                <a:gd name="T6" fmla="*/ 22 w 22"/>
                <a:gd name="T7" fmla="*/ 7 h 22"/>
                <a:gd name="T8" fmla="*/ 6 w 22"/>
                <a:gd name="T9" fmla="*/ 0 h 22"/>
                <a:gd name="T10" fmla="*/ 6 w 22"/>
                <a:gd name="T11" fmla="*/ 0 h 22"/>
                <a:gd name="T12" fmla="*/ 6 w 2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6" y="0"/>
                  </a:moveTo>
                  <a:cubicBezTo>
                    <a:pt x="4" y="6"/>
                    <a:pt x="1" y="11"/>
                    <a:pt x="0" y="17"/>
                  </a:cubicBezTo>
                  <a:cubicBezTo>
                    <a:pt x="16" y="22"/>
                    <a:pt x="16" y="22"/>
                    <a:pt x="16" y="22"/>
                  </a:cubicBezTo>
                  <a:cubicBezTo>
                    <a:pt x="17" y="17"/>
                    <a:pt x="19" y="12"/>
                    <a:pt x="22" y="7"/>
                  </a:cubicBezTo>
                  <a:lnTo>
                    <a:pt x="6" y="0"/>
                  </a:lnTo>
                  <a:close/>
                  <a:moveTo>
                    <a:pt x="6" y="0"/>
                  </a:move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46">
              <a:extLst>
                <a:ext uri="{FF2B5EF4-FFF2-40B4-BE49-F238E27FC236}">
                  <a16:creationId xmlns:a16="http://schemas.microsoft.com/office/drawing/2014/main" id="{891FD791-D7A6-4E73-AED0-C09CAC40AA1C}"/>
                </a:ext>
              </a:extLst>
            </p:cNvPr>
            <p:cNvSpPr>
              <a:spLocks noEditPoints="1"/>
            </p:cNvSpPr>
            <p:nvPr/>
          </p:nvSpPr>
          <p:spPr bwMode="auto">
            <a:xfrm>
              <a:off x="416" y="3689"/>
              <a:ext cx="20" cy="20"/>
            </a:xfrm>
            <a:custGeom>
              <a:avLst/>
              <a:gdLst>
                <a:gd name="T0" fmla="*/ 17 w 21"/>
                <a:gd name="T1" fmla="*/ 0 h 21"/>
                <a:gd name="T2" fmla="*/ 0 w 21"/>
                <a:gd name="T3" fmla="*/ 3 h 21"/>
                <a:gd name="T4" fmla="*/ 5 w 21"/>
                <a:gd name="T5" fmla="*/ 21 h 21"/>
                <a:gd name="T6" fmla="*/ 21 w 21"/>
                <a:gd name="T7" fmla="*/ 16 h 21"/>
                <a:gd name="T8" fmla="*/ 17 w 21"/>
                <a:gd name="T9" fmla="*/ 0 h 21"/>
                <a:gd name="T10" fmla="*/ 17 w 21"/>
                <a:gd name="T11" fmla="*/ 0 h 21"/>
                <a:gd name="T12" fmla="*/ 17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17" y="0"/>
                  </a:moveTo>
                  <a:cubicBezTo>
                    <a:pt x="0" y="3"/>
                    <a:pt x="0" y="3"/>
                    <a:pt x="0" y="3"/>
                  </a:cubicBezTo>
                  <a:cubicBezTo>
                    <a:pt x="1" y="9"/>
                    <a:pt x="3" y="15"/>
                    <a:pt x="5" y="21"/>
                  </a:cubicBezTo>
                  <a:cubicBezTo>
                    <a:pt x="21" y="16"/>
                    <a:pt x="21" y="16"/>
                    <a:pt x="21" y="16"/>
                  </a:cubicBezTo>
                  <a:cubicBezTo>
                    <a:pt x="19" y="11"/>
                    <a:pt x="18" y="5"/>
                    <a:pt x="17" y="0"/>
                  </a:cubicBezTo>
                  <a:close/>
                  <a:moveTo>
                    <a:pt x="17" y="0"/>
                  </a:moveTo>
                  <a:cubicBezTo>
                    <a:pt x="17" y="0"/>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7">
              <a:extLst>
                <a:ext uri="{FF2B5EF4-FFF2-40B4-BE49-F238E27FC236}">
                  <a16:creationId xmlns:a16="http://schemas.microsoft.com/office/drawing/2014/main" id="{8BCE2D4D-884E-48E1-9A56-E41E18A15581}"/>
                </a:ext>
              </a:extLst>
            </p:cNvPr>
            <p:cNvSpPr>
              <a:spLocks noEditPoints="1"/>
            </p:cNvSpPr>
            <p:nvPr/>
          </p:nvSpPr>
          <p:spPr bwMode="auto">
            <a:xfrm>
              <a:off x="435" y="3565"/>
              <a:ext cx="22" cy="22"/>
            </a:xfrm>
            <a:custGeom>
              <a:avLst/>
              <a:gdLst>
                <a:gd name="T0" fmla="*/ 10 w 24"/>
                <a:gd name="T1" fmla="*/ 0 h 24"/>
                <a:gd name="T2" fmla="*/ 0 w 24"/>
                <a:gd name="T3" fmla="*/ 16 h 24"/>
                <a:gd name="T4" fmla="*/ 15 w 24"/>
                <a:gd name="T5" fmla="*/ 24 h 24"/>
                <a:gd name="T6" fmla="*/ 24 w 24"/>
                <a:gd name="T7" fmla="*/ 10 h 24"/>
                <a:gd name="T8" fmla="*/ 10 w 24"/>
                <a:gd name="T9" fmla="*/ 0 h 24"/>
                <a:gd name="T10" fmla="*/ 10 w 24"/>
                <a:gd name="T11" fmla="*/ 0 h 24"/>
                <a:gd name="T12" fmla="*/ 10 w 24"/>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0" y="0"/>
                  </a:moveTo>
                  <a:cubicBezTo>
                    <a:pt x="7" y="5"/>
                    <a:pt x="3" y="10"/>
                    <a:pt x="0" y="16"/>
                  </a:cubicBezTo>
                  <a:cubicBezTo>
                    <a:pt x="15" y="24"/>
                    <a:pt x="15" y="24"/>
                    <a:pt x="15" y="24"/>
                  </a:cubicBezTo>
                  <a:cubicBezTo>
                    <a:pt x="18" y="19"/>
                    <a:pt x="21" y="15"/>
                    <a:pt x="24" y="10"/>
                  </a:cubicBezTo>
                  <a:lnTo>
                    <a:pt x="10" y="0"/>
                  </a:lnTo>
                  <a:close/>
                  <a:moveTo>
                    <a:pt x="10" y="0"/>
                  </a:move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7" name="Group 50">
            <a:extLst>
              <a:ext uri="{FF2B5EF4-FFF2-40B4-BE49-F238E27FC236}">
                <a16:creationId xmlns:a16="http://schemas.microsoft.com/office/drawing/2014/main" id="{69BC8C7B-18D5-4C02-9B86-C38448FFFBA3}"/>
              </a:ext>
            </a:extLst>
          </p:cNvPr>
          <p:cNvGrpSpPr>
            <a:grpSpLocks noChangeAspect="1"/>
          </p:cNvGrpSpPr>
          <p:nvPr/>
        </p:nvGrpSpPr>
        <p:grpSpPr bwMode="auto">
          <a:xfrm>
            <a:off x="5249833" y="988829"/>
            <a:ext cx="586826" cy="599695"/>
            <a:chOff x="2842" y="3468"/>
            <a:chExt cx="684" cy="699"/>
          </a:xfrm>
          <a:solidFill>
            <a:schemeClr val="accent5"/>
          </a:solidFill>
        </p:grpSpPr>
        <p:sp>
          <p:nvSpPr>
            <p:cNvPr id="99" name="Freeform 51">
              <a:extLst>
                <a:ext uri="{FF2B5EF4-FFF2-40B4-BE49-F238E27FC236}">
                  <a16:creationId xmlns:a16="http://schemas.microsoft.com/office/drawing/2014/main" id="{99E05DAE-D79F-447C-A8CA-D8E82A5F1AEF}"/>
                </a:ext>
              </a:extLst>
            </p:cNvPr>
            <p:cNvSpPr>
              <a:spLocks noEditPoints="1"/>
            </p:cNvSpPr>
            <p:nvPr/>
          </p:nvSpPr>
          <p:spPr bwMode="auto">
            <a:xfrm>
              <a:off x="3002" y="3468"/>
              <a:ext cx="365" cy="355"/>
            </a:xfrm>
            <a:custGeom>
              <a:avLst/>
              <a:gdLst>
                <a:gd name="T0" fmla="*/ 346 w 346"/>
                <a:gd name="T1" fmla="*/ 173 h 346"/>
                <a:gd name="T2" fmla="*/ 0 w 346"/>
                <a:gd name="T3" fmla="*/ 173 h 346"/>
                <a:gd name="T4" fmla="*/ 42 w 346"/>
                <a:gd name="T5" fmla="*/ 106 h 346"/>
                <a:gd name="T6" fmla="*/ 108 w 346"/>
                <a:gd name="T7" fmla="*/ 160 h 346"/>
                <a:gd name="T8" fmla="*/ 42 w 346"/>
                <a:gd name="T9" fmla="*/ 106 h 346"/>
                <a:gd name="T10" fmla="*/ 197 w 346"/>
                <a:gd name="T11" fmla="*/ 64 h 346"/>
                <a:gd name="T12" fmla="*/ 145 w 346"/>
                <a:gd name="T13" fmla="*/ 80 h 346"/>
                <a:gd name="T14" fmla="*/ 173 w 346"/>
                <a:gd name="T15" fmla="*/ 26 h 346"/>
                <a:gd name="T16" fmla="*/ 211 w 346"/>
                <a:gd name="T17" fmla="*/ 160 h 346"/>
                <a:gd name="T18" fmla="*/ 140 w 346"/>
                <a:gd name="T19" fmla="*/ 106 h 346"/>
                <a:gd name="T20" fmla="*/ 319 w 346"/>
                <a:gd name="T21" fmla="*/ 160 h 346"/>
                <a:gd name="T22" fmla="*/ 233 w 346"/>
                <a:gd name="T23" fmla="*/ 106 h 346"/>
                <a:gd name="T24" fmla="*/ 319 w 346"/>
                <a:gd name="T25" fmla="*/ 160 h 346"/>
                <a:gd name="T26" fmla="*/ 233 w 346"/>
                <a:gd name="T27" fmla="*/ 240 h 346"/>
                <a:gd name="T28" fmla="*/ 319 w 346"/>
                <a:gd name="T29" fmla="*/ 186 h 346"/>
                <a:gd name="T30" fmla="*/ 173 w 346"/>
                <a:gd name="T31" fmla="*/ 320 h 346"/>
                <a:gd name="T32" fmla="*/ 145 w 346"/>
                <a:gd name="T33" fmla="*/ 266 h 346"/>
                <a:gd name="T34" fmla="*/ 197 w 346"/>
                <a:gd name="T35" fmla="*/ 282 h 346"/>
                <a:gd name="T36" fmla="*/ 140 w 346"/>
                <a:gd name="T37" fmla="*/ 240 h 346"/>
                <a:gd name="T38" fmla="*/ 211 w 346"/>
                <a:gd name="T39" fmla="*/ 186 h 346"/>
                <a:gd name="T40" fmla="*/ 140 w 346"/>
                <a:gd name="T41" fmla="*/ 240 h 346"/>
                <a:gd name="T42" fmla="*/ 113 w 346"/>
                <a:gd name="T43" fmla="*/ 240 h 346"/>
                <a:gd name="T44" fmla="*/ 27 w 346"/>
                <a:gd name="T45" fmla="*/ 186 h 346"/>
                <a:gd name="T46" fmla="*/ 60 w 346"/>
                <a:gd name="T47" fmla="*/ 266 h 346"/>
                <a:gd name="T48" fmla="*/ 124 w 346"/>
                <a:gd name="T49" fmla="*/ 290 h 346"/>
                <a:gd name="T50" fmla="*/ 60 w 346"/>
                <a:gd name="T51" fmla="*/ 266 h 346"/>
                <a:gd name="T52" fmla="*/ 222 w 346"/>
                <a:gd name="T53" fmla="*/ 290 h 346"/>
                <a:gd name="T54" fmla="*/ 286 w 346"/>
                <a:gd name="T55" fmla="*/ 266 h 346"/>
                <a:gd name="T56" fmla="*/ 286 w 346"/>
                <a:gd name="T57" fmla="*/ 80 h 346"/>
                <a:gd name="T58" fmla="*/ 222 w 346"/>
                <a:gd name="T59" fmla="*/ 56 h 346"/>
                <a:gd name="T60" fmla="*/ 286 w 346"/>
                <a:gd name="T61" fmla="*/ 80 h 346"/>
                <a:gd name="T62" fmla="*/ 124 w 346"/>
                <a:gd name="T63" fmla="*/ 56 h 346"/>
                <a:gd name="T64" fmla="*/ 60 w 346"/>
                <a:gd name="T65" fmla="*/ 80 h 346"/>
                <a:gd name="T66" fmla="*/ 134 w 346"/>
                <a:gd name="T67" fmla="*/ 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6" h="346">
                  <a:moveTo>
                    <a:pt x="173" y="346"/>
                  </a:moveTo>
                  <a:cubicBezTo>
                    <a:pt x="269" y="346"/>
                    <a:pt x="346" y="269"/>
                    <a:pt x="346" y="173"/>
                  </a:cubicBezTo>
                  <a:cubicBezTo>
                    <a:pt x="346" y="77"/>
                    <a:pt x="269" y="0"/>
                    <a:pt x="173" y="0"/>
                  </a:cubicBezTo>
                  <a:cubicBezTo>
                    <a:pt x="77" y="0"/>
                    <a:pt x="0" y="77"/>
                    <a:pt x="0" y="173"/>
                  </a:cubicBezTo>
                  <a:cubicBezTo>
                    <a:pt x="0" y="269"/>
                    <a:pt x="77" y="346"/>
                    <a:pt x="173" y="346"/>
                  </a:cubicBezTo>
                  <a:close/>
                  <a:moveTo>
                    <a:pt x="42" y="106"/>
                  </a:moveTo>
                  <a:cubicBezTo>
                    <a:pt x="113" y="106"/>
                    <a:pt x="113" y="106"/>
                    <a:pt x="113" y="106"/>
                  </a:cubicBezTo>
                  <a:cubicBezTo>
                    <a:pt x="110" y="123"/>
                    <a:pt x="109" y="141"/>
                    <a:pt x="108" y="160"/>
                  </a:cubicBezTo>
                  <a:cubicBezTo>
                    <a:pt x="27" y="160"/>
                    <a:pt x="27" y="160"/>
                    <a:pt x="27" y="160"/>
                  </a:cubicBezTo>
                  <a:cubicBezTo>
                    <a:pt x="29" y="141"/>
                    <a:pt x="34" y="123"/>
                    <a:pt x="42" y="106"/>
                  </a:cubicBezTo>
                  <a:close/>
                  <a:moveTo>
                    <a:pt x="173" y="26"/>
                  </a:moveTo>
                  <a:cubicBezTo>
                    <a:pt x="178" y="26"/>
                    <a:pt x="188" y="36"/>
                    <a:pt x="197" y="64"/>
                  </a:cubicBezTo>
                  <a:cubicBezTo>
                    <a:pt x="198" y="69"/>
                    <a:pt x="200" y="74"/>
                    <a:pt x="201" y="80"/>
                  </a:cubicBezTo>
                  <a:cubicBezTo>
                    <a:pt x="145" y="80"/>
                    <a:pt x="145" y="80"/>
                    <a:pt x="145" y="80"/>
                  </a:cubicBezTo>
                  <a:cubicBezTo>
                    <a:pt x="146" y="74"/>
                    <a:pt x="148" y="69"/>
                    <a:pt x="149" y="64"/>
                  </a:cubicBezTo>
                  <a:cubicBezTo>
                    <a:pt x="158" y="36"/>
                    <a:pt x="168" y="26"/>
                    <a:pt x="173" y="26"/>
                  </a:cubicBezTo>
                  <a:close/>
                  <a:moveTo>
                    <a:pt x="206" y="106"/>
                  </a:moveTo>
                  <a:cubicBezTo>
                    <a:pt x="209" y="123"/>
                    <a:pt x="211" y="141"/>
                    <a:pt x="211" y="160"/>
                  </a:cubicBezTo>
                  <a:cubicBezTo>
                    <a:pt x="135" y="160"/>
                    <a:pt x="135" y="160"/>
                    <a:pt x="135" y="160"/>
                  </a:cubicBezTo>
                  <a:cubicBezTo>
                    <a:pt x="135" y="141"/>
                    <a:pt x="137" y="123"/>
                    <a:pt x="140" y="106"/>
                  </a:cubicBezTo>
                  <a:lnTo>
                    <a:pt x="206" y="106"/>
                  </a:lnTo>
                  <a:close/>
                  <a:moveTo>
                    <a:pt x="319" y="160"/>
                  </a:moveTo>
                  <a:cubicBezTo>
                    <a:pt x="238" y="160"/>
                    <a:pt x="238" y="160"/>
                    <a:pt x="238" y="160"/>
                  </a:cubicBezTo>
                  <a:cubicBezTo>
                    <a:pt x="237" y="141"/>
                    <a:pt x="236" y="123"/>
                    <a:pt x="233" y="106"/>
                  </a:cubicBezTo>
                  <a:cubicBezTo>
                    <a:pt x="304" y="106"/>
                    <a:pt x="304" y="106"/>
                    <a:pt x="304" y="106"/>
                  </a:cubicBezTo>
                  <a:cubicBezTo>
                    <a:pt x="312" y="123"/>
                    <a:pt x="317" y="141"/>
                    <a:pt x="319" y="160"/>
                  </a:cubicBezTo>
                  <a:close/>
                  <a:moveTo>
                    <a:pt x="304" y="240"/>
                  </a:moveTo>
                  <a:cubicBezTo>
                    <a:pt x="233" y="240"/>
                    <a:pt x="233" y="240"/>
                    <a:pt x="233" y="240"/>
                  </a:cubicBezTo>
                  <a:cubicBezTo>
                    <a:pt x="236" y="223"/>
                    <a:pt x="237" y="205"/>
                    <a:pt x="238" y="186"/>
                  </a:cubicBezTo>
                  <a:cubicBezTo>
                    <a:pt x="319" y="186"/>
                    <a:pt x="319" y="186"/>
                    <a:pt x="319" y="186"/>
                  </a:cubicBezTo>
                  <a:cubicBezTo>
                    <a:pt x="317" y="205"/>
                    <a:pt x="312" y="223"/>
                    <a:pt x="304" y="240"/>
                  </a:cubicBezTo>
                  <a:close/>
                  <a:moveTo>
                    <a:pt x="173" y="320"/>
                  </a:moveTo>
                  <a:cubicBezTo>
                    <a:pt x="168" y="320"/>
                    <a:pt x="158" y="310"/>
                    <a:pt x="149" y="282"/>
                  </a:cubicBezTo>
                  <a:cubicBezTo>
                    <a:pt x="148" y="277"/>
                    <a:pt x="146" y="272"/>
                    <a:pt x="145" y="266"/>
                  </a:cubicBezTo>
                  <a:cubicBezTo>
                    <a:pt x="201" y="266"/>
                    <a:pt x="201" y="266"/>
                    <a:pt x="201" y="266"/>
                  </a:cubicBezTo>
                  <a:cubicBezTo>
                    <a:pt x="200" y="272"/>
                    <a:pt x="198" y="277"/>
                    <a:pt x="197" y="282"/>
                  </a:cubicBezTo>
                  <a:cubicBezTo>
                    <a:pt x="188" y="310"/>
                    <a:pt x="178" y="320"/>
                    <a:pt x="173" y="320"/>
                  </a:cubicBezTo>
                  <a:close/>
                  <a:moveTo>
                    <a:pt x="140" y="240"/>
                  </a:moveTo>
                  <a:cubicBezTo>
                    <a:pt x="137" y="223"/>
                    <a:pt x="135" y="205"/>
                    <a:pt x="135" y="186"/>
                  </a:cubicBezTo>
                  <a:cubicBezTo>
                    <a:pt x="211" y="186"/>
                    <a:pt x="211" y="186"/>
                    <a:pt x="211" y="186"/>
                  </a:cubicBezTo>
                  <a:cubicBezTo>
                    <a:pt x="211" y="205"/>
                    <a:pt x="209" y="223"/>
                    <a:pt x="206" y="240"/>
                  </a:cubicBezTo>
                  <a:lnTo>
                    <a:pt x="140" y="240"/>
                  </a:lnTo>
                  <a:close/>
                  <a:moveTo>
                    <a:pt x="108" y="186"/>
                  </a:moveTo>
                  <a:cubicBezTo>
                    <a:pt x="109" y="205"/>
                    <a:pt x="110" y="223"/>
                    <a:pt x="113" y="240"/>
                  </a:cubicBezTo>
                  <a:cubicBezTo>
                    <a:pt x="42" y="240"/>
                    <a:pt x="42" y="240"/>
                    <a:pt x="42" y="240"/>
                  </a:cubicBezTo>
                  <a:cubicBezTo>
                    <a:pt x="34" y="223"/>
                    <a:pt x="29" y="205"/>
                    <a:pt x="27" y="186"/>
                  </a:cubicBezTo>
                  <a:lnTo>
                    <a:pt x="108" y="186"/>
                  </a:lnTo>
                  <a:close/>
                  <a:moveTo>
                    <a:pt x="60" y="266"/>
                  </a:moveTo>
                  <a:cubicBezTo>
                    <a:pt x="117" y="266"/>
                    <a:pt x="117" y="266"/>
                    <a:pt x="117" y="266"/>
                  </a:cubicBezTo>
                  <a:cubicBezTo>
                    <a:pt x="119" y="275"/>
                    <a:pt x="121" y="283"/>
                    <a:pt x="124" y="290"/>
                  </a:cubicBezTo>
                  <a:cubicBezTo>
                    <a:pt x="127" y="300"/>
                    <a:pt x="130" y="308"/>
                    <a:pt x="134" y="314"/>
                  </a:cubicBezTo>
                  <a:cubicBezTo>
                    <a:pt x="104" y="306"/>
                    <a:pt x="79" y="289"/>
                    <a:pt x="60" y="266"/>
                  </a:cubicBezTo>
                  <a:close/>
                  <a:moveTo>
                    <a:pt x="212" y="314"/>
                  </a:moveTo>
                  <a:cubicBezTo>
                    <a:pt x="216" y="308"/>
                    <a:pt x="219" y="300"/>
                    <a:pt x="222" y="290"/>
                  </a:cubicBezTo>
                  <a:cubicBezTo>
                    <a:pt x="225" y="283"/>
                    <a:pt x="227" y="275"/>
                    <a:pt x="229" y="266"/>
                  </a:cubicBezTo>
                  <a:cubicBezTo>
                    <a:pt x="286" y="266"/>
                    <a:pt x="286" y="266"/>
                    <a:pt x="286" y="266"/>
                  </a:cubicBezTo>
                  <a:cubicBezTo>
                    <a:pt x="267" y="289"/>
                    <a:pt x="242" y="306"/>
                    <a:pt x="212" y="314"/>
                  </a:cubicBezTo>
                  <a:close/>
                  <a:moveTo>
                    <a:pt x="286" y="80"/>
                  </a:moveTo>
                  <a:cubicBezTo>
                    <a:pt x="229" y="80"/>
                    <a:pt x="229" y="80"/>
                    <a:pt x="229" y="80"/>
                  </a:cubicBezTo>
                  <a:cubicBezTo>
                    <a:pt x="227" y="71"/>
                    <a:pt x="225" y="63"/>
                    <a:pt x="222" y="56"/>
                  </a:cubicBezTo>
                  <a:cubicBezTo>
                    <a:pt x="219" y="46"/>
                    <a:pt x="216" y="38"/>
                    <a:pt x="212" y="32"/>
                  </a:cubicBezTo>
                  <a:cubicBezTo>
                    <a:pt x="242" y="40"/>
                    <a:pt x="267" y="57"/>
                    <a:pt x="286" y="80"/>
                  </a:cubicBezTo>
                  <a:close/>
                  <a:moveTo>
                    <a:pt x="134" y="32"/>
                  </a:moveTo>
                  <a:cubicBezTo>
                    <a:pt x="130" y="38"/>
                    <a:pt x="127" y="46"/>
                    <a:pt x="124" y="56"/>
                  </a:cubicBezTo>
                  <a:cubicBezTo>
                    <a:pt x="121" y="63"/>
                    <a:pt x="119" y="71"/>
                    <a:pt x="117" y="80"/>
                  </a:cubicBezTo>
                  <a:cubicBezTo>
                    <a:pt x="60" y="80"/>
                    <a:pt x="60" y="80"/>
                    <a:pt x="60" y="80"/>
                  </a:cubicBezTo>
                  <a:cubicBezTo>
                    <a:pt x="79" y="57"/>
                    <a:pt x="104" y="40"/>
                    <a:pt x="134" y="32"/>
                  </a:cubicBezTo>
                  <a:close/>
                  <a:moveTo>
                    <a:pt x="134" y="32"/>
                  </a:moveTo>
                  <a:cubicBezTo>
                    <a:pt x="134" y="32"/>
                    <a:pt x="134" y="32"/>
                    <a:pt x="134" y="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52">
              <a:extLst>
                <a:ext uri="{FF2B5EF4-FFF2-40B4-BE49-F238E27FC236}">
                  <a16:creationId xmlns:a16="http://schemas.microsoft.com/office/drawing/2014/main" id="{089E25D9-45B7-48FC-B61C-3B5BDEB7BECB}"/>
                </a:ext>
              </a:extLst>
            </p:cNvPr>
            <p:cNvSpPr>
              <a:spLocks noEditPoints="1"/>
            </p:cNvSpPr>
            <p:nvPr/>
          </p:nvSpPr>
          <p:spPr bwMode="auto">
            <a:xfrm>
              <a:off x="3171" y="3850"/>
              <a:ext cx="27" cy="28"/>
            </a:xfrm>
            <a:custGeom>
              <a:avLst/>
              <a:gdLst>
                <a:gd name="T0" fmla="*/ 4 w 26"/>
                <a:gd name="T1" fmla="*/ 4 h 27"/>
                <a:gd name="T2" fmla="*/ 0 w 26"/>
                <a:gd name="T3" fmla="*/ 13 h 27"/>
                <a:gd name="T4" fmla="*/ 4 w 26"/>
                <a:gd name="T5" fmla="*/ 23 h 27"/>
                <a:gd name="T6" fmla="*/ 13 w 26"/>
                <a:gd name="T7" fmla="*/ 27 h 27"/>
                <a:gd name="T8" fmla="*/ 22 w 26"/>
                <a:gd name="T9" fmla="*/ 23 h 27"/>
                <a:gd name="T10" fmla="*/ 26 w 26"/>
                <a:gd name="T11" fmla="*/ 13 h 27"/>
                <a:gd name="T12" fmla="*/ 22 w 26"/>
                <a:gd name="T13" fmla="*/ 4 h 27"/>
                <a:gd name="T14" fmla="*/ 13 w 26"/>
                <a:gd name="T15" fmla="*/ 0 h 27"/>
                <a:gd name="T16" fmla="*/ 4 w 26"/>
                <a:gd name="T17" fmla="*/ 4 h 27"/>
                <a:gd name="T18" fmla="*/ 4 w 26"/>
                <a:gd name="T19" fmla="*/ 4 h 27"/>
                <a:gd name="T20" fmla="*/ 4 w 26"/>
                <a:gd name="T2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7">
                  <a:moveTo>
                    <a:pt x="4" y="4"/>
                  </a:moveTo>
                  <a:cubicBezTo>
                    <a:pt x="1" y="6"/>
                    <a:pt x="0" y="10"/>
                    <a:pt x="0" y="13"/>
                  </a:cubicBezTo>
                  <a:cubicBezTo>
                    <a:pt x="0" y="17"/>
                    <a:pt x="1" y="20"/>
                    <a:pt x="4" y="23"/>
                  </a:cubicBezTo>
                  <a:cubicBezTo>
                    <a:pt x="6" y="25"/>
                    <a:pt x="9" y="27"/>
                    <a:pt x="13" y="27"/>
                  </a:cubicBezTo>
                  <a:cubicBezTo>
                    <a:pt x="17" y="27"/>
                    <a:pt x="20" y="25"/>
                    <a:pt x="22" y="23"/>
                  </a:cubicBezTo>
                  <a:cubicBezTo>
                    <a:pt x="25" y="20"/>
                    <a:pt x="26" y="17"/>
                    <a:pt x="26" y="13"/>
                  </a:cubicBezTo>
                  <a:cubicBezTo>
                    <a:pt x="26" y="10"/>
                    <a:pt x="25" y="6"/>
                    <a:pt x="22" y="4"/>
                  </a:cubicBezTo>
                  <a:cubicBezTo>
                    <a:pt x="20" y="1"/>
                    <a:pt x="17" y="0"/>
                    <a:pt x="13" y="0"/>
                  </a:cubicBezTo>
                  <a:cubicBezTo>
                    <a:pt x="9" y="0"/>
                    <a:pt x="6" y="1"/>
                    <a:pt x="4" y="4"/>
                  </a:cubicBezTo>
                  <a:close/>
                  <a:moveTo>
                    <a:pt x="4" y="4"/>
                  </a:moveTo>
                  <a:cubicBezTo>
                    <a:pt x="4" y="4"/>
                    <a:pt x="4" y="4"/>
                    <a:pt x="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53">
              <a:extLst>
                <a:ext uri="{FF2B5EF4-FFF2-40B4-BE49-F238E27FC236}">
                  <a16:creationId xmlns:a16="http://schemas.microsoft.com/office/drawing/2014/main" id="{FC2F2030-F870-45F9-B045-F0A921DA7525}"/>
                </a:ext>
              </a:extLst>
            </p:cNvPr>
            <p:cNvSpPr>
              <a:spLocks noEditPoints="1"/>
            </p:cNvSpPr>
            <p:nvPr/>
          </p:nvSpPr>
          <p:spPr bwMode="auto">
            <a:xfrm>
              <a:off x="2973" y="3801"/>
              <a:ext cx="440" cy="366"/>
            </a:xfrm>
            <a:custGeom>
              <a:avLst/>
              <a:gdLst>
                <a:gd name="T0" fmla="*/ 408 w 416"/>
                <a:gd name="T1" fmla="*/ 48 h 357"/>
                <a:gd name="T2" fmla="*/ 397 w 416"/>
                <a:gd name="T3" fmla="*/ 37 h 357"/>
                <a:gd name="T4" fmla="*/ 279 w 416"/>
                <a:gd name="T5" fmla="*/ 74 h 357"/>
                <a:gd name="T6" fmla="*/ 241 w 416"/>
                <a:gd name="T7" fmla="*/ 185 h 357"/>
                <a:gd name="T8" fmla="*/ 213 w 416"/>
                <a:gd name="T9" fmla="*/ 213 h 357"/>
                <a:gd name="T10" fmla="*/ 213 w 416"/>
                <a:gd name="T11" fmla="*/ 115 h 357"/>
                <a:gd name="T12" fmla="*/ 200 w 416"/>
                <a:gd name="T13" fmla="*/ 101 h 357"/>
                <a:gd name="T14" fmla="*/ 187 w 416"/>
                <a:gd name="T15" fmla="*/ 115 h 357"/>
                <a:gd name="T16" fmla="*/ 187 w 416"/>
                <a:gd name="T17" fmla="*/ 168 h 357"/>
                <a:gd name="T18" fmla="*/ 159 w 416"/>
                <a:gd name="T19" fmla="*/ 140 h 357"/>
                <a:gd name="T20" fmla="*/ 125 w 416"/>
                <a:gd name="T21" fmla="*/ 41 h 357"/>
                <a:gd name="T22" fmla="*/ 18 w 416"/>
                <a:gd name="T23" fmla="*/ 7 h 357"/>
                <a:gd name="T24" fmla="*/ 7 w 416"/>
                <a:gd name="T25" fmla="*/ 18 h 357"/>
                <a:gd name="T26" fmla="*/ 41 w 416"/>
                <a:gd name="T27" fmla="*/ 125 h 357"/>
                <a:gd name="T28" fmla="*/ 126 w 416"/>
                <a:gd name="T29" fmla="*/ 160 h 357"/>
                <a:gd name="T30" fmla="*/ 140 w 416"/>
                <a:gd name="T31" fmla="*/ 159 h 357"/>
                <a:gd name="T32" fmla="*/ 187 w 416"/>
                <a:gd name="T33" fmla="*/ 206 h 357"/>
                <a:gd name="T34" fmla="*/ 187 w 416"/>
                <a:gd name="T35" fmla="*/ 269 h 357"/>
                <a:gd name="T36" fmla="*/ 155 w 416"/>
                <a:gd name="T37" fmla="*/ 312 h 357"/>
                <a:gd name="T38" fmla="*/ 200 w 416"/>
                <a:gd name="T39" fmla="*/ 357 h 357"/>
                <a:gd name="T40" fmla="*/ 245 w 416"/>
                <a:gd name="T41" fmla="*/ 312 h 357"/>
                <a:gd name="T42" fmla="*/ 213 w 416"/>
                <a:gd name="T43" fmla="*/ 269 h 357"/>
                <a:gd name="T44" fmla="*/ 213 w 416"/>
                <a:gd name="T45" fmla="*/ 251 h 357"/>
                <a:gd name="T46" fmla="*/ 260 w 416"/>
                <a:gd name="T47" fmla="*/ 204 h 357"/>
                <a:gd name="T48" fmla="*/ 276 w 416"/>
                <a:gd name="T49" fmla="*/ 205 h 357"/>
                <a:gd name="T50" fmla="*/ 371 w 416"/>
                <a:gd name="T51" fmla="*/ 166 h 357"/>
                <a:gd name="T52" fmla="*/ 408 w 416"/>
                <a:gd name="T53" fmla="*/ 48 h 357"/>
                <a:gd name="T54" fmla="*/ 59 w 416"/>
                <a:gd name="T55" fmla="*/ 106 h 357"/>
                <a:gd name="T56" fmla="*/ 32 w 416"/>
                <a:gd name="T57" fmla="*/ 32 h 357"/>
                <a:gd name="T58" fmla="*/ 106 w 416"/>
                <a:gd name="T59" fmla="*/ 59 h 357"/>
                <a:gd name="T60" fmla="*/ 133 w 416"/>
                <a:gd name="T61" fmla="*/ 114 h 357"/>
                <a:gd name="T62" fmla="*/ 108 w 416"/>
                <a:gd name="T63" fmla="*/ 89 h 357"/>
                <a:gd name="T64" fmla="*/ 89 w 416"/>
                <a:gd name="T65" fmla="*/ 89 h 357"/>
                <a:gd name="T66" fmla="*/ 89 w 416"/>
                <a:gd name="T67" fmla="*/ 108 h 357"/>
                <a:gd name="T68" fmla="*/ 114 w 416"/>
                <a:gd name="T69" fmla="*/ 133 h 357"/>
                <a:gd name="T70" fmla="*/ 59 w 416"/>
                <a:gd name="T71" fmla="*/ 106 h 357"/>
                <a:gd name="T72" fmla="*/ 200 w 416"/>
                <a:gd name="T73" fmla="*/ 331 h 357"/>
                <a:gd name="T74" fmla="*/ 181 w 416"/>
                <a:gd name="T75" fmla="*/ 312 h 357"/>
                <a:gd name="T76" fmla="*/ 200 w 416"/>
                <a:gd name="T77" fmla="*/ 293 h 357"/>
                <a:gd name="T78" fmla="*/ 219 w 416"/>
                <a:gd name="T79" fmla="*/ 312 h 357"/>
                <a:gd name="T80" fmla="*/ 200 w 416"/>
                <a:gd name="T81" fmla="*/ 331 h 357"/>
                <a:gd name="T82" fmla="*/ 352 w 416"/>
                <a:gd name="T83" fmla="*/ 147 h 357"/>
                <a:gd name="T84" fmla="*/ 286 w 416"/>
                <a:gd name="T85" fmla="*/ 178 h 357"/>
                <a:gd name="T86" fmla="*/ 319 w 416"/>
                <a:gd name="T87" fmla="*/ 145 h 357"/>
                <a:gd name="T88" fmla="*/ 319 w 416"/>
                <a:gd name="T89" fmla="*/ 126 h 357"/>
                <a:gd name="T90" fmla="*/ 300 w 416"/>
                <a:gd name="T91" fmla="*/ 126 h 357"/>
                <a:gd name="T92" fmla="*/ 267 w 416"/>
                <a:gd name="T93" fmla="*/ 159 h 357"/>
                <a:gd name="T94" fmla="*/ 298 w 416"/>
                <a:gd name="T95" fmla="*/ 93 h 357"/>
                <a:gd name="T96" fmla="*/ 383 w 416"/>
                <a:gd name="T97" fmla="*/ 62 h 357"/>
                <a:gd name="T98" fmla="*/ 352 w 416"/>
                <a:gd name="T99" fmla="*/ 147 h 357"/>
                <a:gd name="T100" fmla="*/ 352 w 416"/>
                <a:gd name="T101" fmla="*/ 147 h 357"/>
                <a:gd name="T102" fmla="*/ 352 w 416"/>
                <a:gd name="T103" fmla="*/ 14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6" h="357">
                  <a:moveTo>
                    <a:pt x="408" y="48"/>
                  </a:moveTo>
                  <a:cubicBezTo>
                    <a:pt x="407" y="42"/>
                    <a:pt x="403" y="38"/>
                    <a:pt x="397" y="37"/>
                  </a:cubicBezTo>
                  <a:cubicBezTo>
                    <a:pt x="354" y="30"/>
                    <a:pt x="310" y="43"/>
                    <a:pt x="279" y="74"/>
                  </a:cubicBezTo>
                  <a:cubicBezTo>
                    <a:pt x="250" y="103"/>
                    <a:pt x="236" y="145"/>
                    <a:pt x="241" y="185"/>
                  </a:cubicBezTo>
                  <a:cubicBezTo>
                    <a:pt x="213" y="213"/>
                    <a:pt x="213" y="213"/>
                    <a:pt x="213" y="213"/>
                  </a:cubicBezTo>
                  <a:cubicBezTo>
                    <a:pt x="213" y="115"/>
                    <a:pt x="213" y="115"/>
                    <a:pt x="213" y="115"/>
                  </a:cubicBezTo>
                  <a:cubicBezTo>
                    <a:pt x="213" y="107"/>
                    <a:pt x="207" y="101"/>
                    <a:pt x="200" y="101"/>
                  </a:cubicBezTo>
                  <a:cubicBezTo>
                    <a:pt x="193" y="101"/>
                    <a:pt x="187" y="107"/>
                    <a:pt x="187" y="115"/>
                  </a:cubicBezTo>
                  <a:cubicBezTo>
                    <a:pt x="187" y="168"/>
                    <a:pt x="187" y="168"/>
                    <a:pt x="187" y="168"/>
                  </a:cubicBezTo>
                  <a:cubicBezTo>
                    <a:pt x="159" y="140"/>
                    <a:pt x="159" y="140"/>
                    <a:pt x="159" y="140"/>
                  </a:cubicBezTo>
                  <a:cubicBezTo>
                    <a:pt x="164" y="104"/>
                    <a:pt x="151" y="67"/>
                    <a:pt x="125" y="41"/>
                  </a:cubicBezTo>
                  <a:cubicBezTo>
                    <a:pt x="97" y="13"/>
                    <a:pt x="57" y="0"/>
                    <a:pt x="18" y="7"/>
                  </a:cubicBezTo>
                  <a:cubicBezTo>
                    <a:pt x="12" y="8"/>
                    <a:pt x="8" y="12"/>
                    <a:pt x="7" y="18"/>
                  </a:cubicBezTo>
                  <a:cubicBezTo>
                    <a:pt x="0" y="57"/>
                    <a:pt x="13" y="97"/>
                    <a:pt x="41" y="125"/>
                  </a:cubicBezTo>
                  <a:cubicBezTo>
                    <a:pt x="63" y="147"/>
                    <a:pt x="94" y="160"/>
                    <a:pt x="126" y="160"/>
                  </a:cubicBezTo>
                  <a:cubicBezTo>
                    <a:pt x="131" y="160"/>
                    <a:pt x="136" y="160"/>
                    <a:pt x="140" y="159"/>
                  </a:cubicBezTo>
                  <a:cubicBezTo>
                    <a:pt x="187" y="206"/>
                    <a:pt x="187" y="206"/>
                    <a:pt x="187" y="206"/>
                  </a:cubicBezTo>
                  <a:cubicBezTo>
                    <a:pt x="187" y="269"/>
                    <a:pt x="187" y="269"/>
                    <a:pt x="187" y="269"/>
                  </a:cubicBezTo>
                  <a:cubicBezTo>
                    <a:pt x="168" y="274"/>
                    <a:pt x="155" y="292"/>
                    <a:pt x="155" y="312"/>
                  </a:cubicBezTo>
                  <a:cubicBezTo>
                    <a:pt x="155" y="337"/>
                    <a:pt x="175" y="357"/>
                    <a:pt x="200" y="357"/>
                  </a:cubicBezTo>
                  <a:cubicBezTo>
                    <a:pt x="225" y="357"/>
                    <a:pt x="245" y="337"/>
                    <a:pt x="245" y="312"/>
                  </a:cubicBezTo>
                  <a:cubicBezTo>
                    <a:pt x="245" y="292"/>
                    <a:pt x="232" y="274"/>
                    <a:pt x="213" y="269"/>
                  </a:cubicBezTo>
                  <a:cubicBezTo>
                    <a:pt x="213" y="251"/>
                    <a:pt x="213" y="251"/>
                    <a:pt x="213" y="251"/>
                  </a:cubicBezTo>
                  <a:cubicBezTo>
                    <a:pt x="260" y="204"/>
                    <a:pt x="260" y="204"/>
                    <a:pt x="260" y="204"/>
                  </a:cubicBezTo>
                  <a:cubicBezTo>
                    <a:pt x="265" y="205"/>
                    <a:pt x="271" y="205"/>
                    <a:pt x="276" y="205"/>
                  </a:cubicBezTo>
                  <a:cubicBezTo>
                    <a:pt x="312" y="205"/>
                    <a:pt x="346" y="191"/>
                    <a:pt x="371" y="166"/>
                  </a:cubicBezTo>
                  <a:cubicBezTo>
                    <a:pt x="402" y="135"/>
                    <a:pt x="416" y="91"/>
                    <a:pt x="408" y="48"/>
                  </a:cubicBezTo>
                  <a:close/>
                  <a:moveTo>
                    <a:pt x="59" y="106"/>
                  </a:moveTo>
                  <a:cubicBezTo>
                    <a:pt x="40" y="86"/>
                    <a:pt x="30" y="59"/>
                    <a:pt x="32" y="32"/>
                  </a:cubicBezTo>
                  <a:cubicBezTo>
                    <a:pt x="59" y="30"/>
                    <a:pt x="86" y="40"/>
                    <a:pt x="106" y="59"/>
                  </a:cubicBezTo>
                  <a:cubicBezTo>
                    <a:pt x="121" y="74"/>
                    <a:pt x="130" y="93"/>
                    <a:pt x="133" y="114"/>
                  </a:cubicBezTo>
                  <a:cubicBezTo>
                    <a:pt x="108" y="89"/>
                    <a:pt x="108" y="89"/>
                    <a:pt x="108" y="89"/>
                  </a:cubicBezTo>
                  <a:cubicBezTo>
                    <a:pt x="103" y="84"/>
                    <a:pt x="94" y="84"/>
                    <a:pt x="89" y="89"/>
                  </a:cubicBezTo>
                  <a:cubicBezTo>
                    <a:pt x="84" y="94"/>
                    <a:pt x="84" y="103"/>
                    <a:pt x="89" y="108"/>
                  </a:cubicBezTo>
                  <a:cubicBezTo>
                    <a:pt x="114" y="133"/>
                    <a:pt x="114" y="133"/>
                    <a:pt x="114" y="133"/>
                  </a:cubicBezTo>
                  <a:cubicBezTo>
                    <a:pt x="93" y="130"/>
                    <a:pt x="74" y="121"/>
                    <a:pt x="59" y="106"/>
                  </a:cubicBezTo>
                  <a:close/>
                  <a:moveTo>
                    <a:pt x="200" y="331"/>
                  </a:moveTo>
                  <a:cubicBezTo>
                    <a:pt x="190" y="331"/>
                    <a:pt x="181" y="322"/>
                    <a:pt x="181" y="312"/>
                  </a:cubicBezTo>
                  <a:cubicBezTo>
                    <a:pt x="181" y="302"/>
                    <a:pt x="190" y="293"/>
                    <a:pt x="200" y="293"/>
                  </a:cubicBezTo>
                  <a:cubicBezTo>
                    <a:pt x="210" y="293"/>
                    <a:pt x="219" y="302"/>
                    <a:pt x="219" y="312"/>
                  </a:cubicBezTo>
                  <a:cubicBezTo>
                    <a:pt x="219" y="322"/>
                    <a:pt x="210" y="331"/>
                    <a:pt x="200" y="331"/>
                  </a:cubicBezTo>
                  <a:close/>
                  <a:moveTo>
                    <a:pt x="352" y="147"/>
                  </a:moveTo>
                  <a:cubicBezTo>
                    <a:pt x="334" y="165"/>
                    <a:pt x="311" y="176"/>
                    <a:pt x="286" y="178"/>
                  </a:cubicBezTo>
                  <a:cubicBezTo>
                    <a:pt x="319" y="145"/>
                    <a:pt x="319" y="145"/>
                    <a:pt x="319" y="145"/>
                  </a:cubicBezTo>
                  <a:cubicBezTo>
                    <a:pt x="324" y="140"/>
                    <a:pt x="324" y="131"/>
                    <a:pt x="319" y="126"/>
                  </a:cubicBezTo>
                  <a:cubicBezTo>
                    <a:pt x="314" y="121"/>
                    <a:pt x="305" y="121"/>
                    <a:pt x="300" y="126"/>
                  </a:cubicBezTo>
                  <a:cubicBezTo>
                    <a:pt x="267" y="159"/>
                    <a:pt x="267" y="159"/>
                    <a:pt x="267" y="159"/>
                  </a:cubicBezTo>
                  <a:cubicBezTo>
                    <a:pt x="269" y="135"/>
                    <a:pt x="280" y="111"/>
                    <a:pt x="298" y="93"/>
                  </a:cubicBezTo>
                  <a:cubicBezTo>
                    <a:pt x="320" y="71"/>
                    <a:pt x="352" y="59"/>
                    <a:pt x="383" y="62"/>
                  </a:cubicBezTo>
                  <a:cubicBezTo>
                    <a:pt x="386" y="94"/>
                    <a:pt x="375" y="125"/>
                    <a:pt x="352" y="147"/>
                  </a:cubicBezTo>
                  <a:close/>
                  <a:moveTo>
                    <a:pt x="352" y="147"/>
                  </a:moveTo>
                  <a:cubicBezTo>
                    <a:pt x="352" y="147"/>
                    <a:pt x="352" y="147"/>
                    <a:pt x="352" y="1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54">
              <a:extLst>
                <a:ext uri="{FF2B5EF4-FFF2-40B4-BE49-F238E27FC236}">
                  <a16:creationId xmlns:a16="http://schemas.microsoft.com/office/drawing/2014/main" id="{EB108356-43FF-4269-A898-AFD5EC9F18EA}"/>
                </a:ext>
              </a:extLst>
            </p:cNvPr>
            <p:cNvSpPr>
              <a:spLocks noEditPoints="1"/>
            </p:cNvSpPr>
            <p:nvPr/>
          </p:nvSpPr>
          <p:spPr bwMode="auto">
            <a:xfrm>
              <a:off x="2933" y="3686"/>
              <a:ext cx="52" cy="28"/>
            </a:xfrm>
            <a:custGeom>
              <a:avLst/>
              <a:gdLst>
                <a:gd name="T0" fmla="*/ 49 w 49"/>
                <a:gd name="T1" fmla="*/ 14 h 27"/>
                <a:gd name="T2" fmla="*/ 35 w 49"/>
                <a:gd name="T3" fmla="*/ 0 h 27"/>
                <a:gd name="T4" fmla="*/ 14 w 49"/>
                <a:gd name="T5" fmla="*/ 0 h 27"/>
                <a:gd name="T6" fmla="*/ 0 w 49"/>
                <a:gd name="T7" fmla="*/ 14 h 27"/>
                <a:gd name="T8" fmla="*/ 14 w 49"/>
                <a:gd name="T9" fmla="*/ 27 h 27"/>
                <a:gd name="T10" fmla="*/ 35 w 49"/>
                <a:gd name="T11" fmla="*/ 27 h 27"/>
                <a:gd name="T12" fmla="*/ 49 w 49"/>
                <a:gd name="T13" fmla="*/ 14 h 27"/>
                <a:gd name="T14" fmla="*/ 49 w 49"/>
                <a:gd name="T15" fmla="*/ 14 h 27"/>
                <a:gd name="T16" fmla="*/ 49 w 49"/>
                <a:gd name="T17"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7">
                  <a:moveTo>
                    <a:pt x="49" y="14"/>
                  </a:moveTo>
                  <a:cubicBezTo>
                    <a:pt x="49" y="6"/>
                    <a:pt x="43" y="0"/>
                    <a:pt x="35" y="0"/>
                  </a:cubicBezTo>
                  <a:cubicBezTo>
                    <a:pt x="14" y="0"/>
                    <a:pt x="14" y="0"/>
                    <a:pt x="14" y="0"/>
                  </a:cubicBezTo>
                  <a:cubicBezTo>
                    <a:pt x="6" y="0"/>
                    <a:pt x="0" y="6"/>
                    <a:pt x="0" y="14"/>
                  </a:cubicBezTo>
                  <a:cubicBezTo>
                    <a:pt x="0" y="21"/>
                    <a:pt x="6" y="27"/>
                    <a:pt x="14" y="27"/>
                  </a:cubicBezTo>
                  <a:cubicBezTo>
                    <a:pt x="35" y="27"/>
                    <a:pt x="35" y="27"/>
                    <a:pt x="35" y="27"/>
                  </a:cubicBezTo>
                  <a:cubicBezTo>
                    <a:pt x="43" y="27"/>
                    <a:pt x="49" y="21"/>
                    <a:pt x="49" y="14"/>
                  </a:cubicBezTo>
                  <a:close/>
                  <a:moveTo>
                    <a:pt x="49" y="14"/>
                  </a:moveTo>
                  <a:cubicBezTo>
                    <a:pt x="49" y="14"/>
                    <a:pt x="49" y="14"/>
                    <a:pt x="49"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55">
              <a:extLst>
                <a:ext uri="{FF2B5EF4-FFF2-40B4-BE49-F238E27FC236}">
                  <a16:creationId xmlns:a16="http://schemas.microsoft.com/office/drawing/2014/main" id="{AEC96C9C-8BFD-4243-A6DA-9F2CBE450029}"/>
                </a:ext>
              </a:extLst>
            </p:cNvPr>
            <p:cNvSpPr>
              <a:spLocks noEditPoints="1"/>
            </p:cNvSpPr>
            <p:nvPr/>
          </p:nvSpPr>
          <p:spPr bwMode="auto">
            <a:xfrm>
              <a:off x="2900" y="3632"/>
              <a:ext cx="28" cy="47"/>
            </a:xfrm>
            <a:custGeom>
              <a:avLst/>
              <a:gdLst>
                <a:gd name="T0" fmla="*/ 13 w 26"/>
                <a:gd name="T1" fmla="*/ 0 h 46"/>
                <a:gd name="T2" fmla="*/ 0 w 26"/>
                <a:gd name="T3" fmla="*/ 13 h 46"/>
                <a:gd name="T4" fmla="*/ 0 w 26"/>
                <a:gd name="T5" fmla="*/ 32 h 46"/>
                <a:gd name="T6" fmla="*/ 13 w 26"/>
                <a:gd name="T7" fmla="*/ 46 h 46"/>
                <a:gd name="T8" fmla="*/ 26 w 26"/>
                <a:gd name="T9" fmla="*/ 32 h 46"/>
                <a:gd name="T10" fmla="*/ 26 w 26"/>
                <a:gd name="T11" fmla="*/ 13 h 46"/>
                <a:gd name="T12" fmla="*/ 13 w 26"/>
                <a:gd name="T13" fmla="*/ 0 h 46"/>
                <a:gd name="T14" fmla="*/ 13 w 26"/>
                <a:gd name="T15" fmla="*/ 0 h 46"/>
                <a:gd name="T16" fmla="*/ 13 w 26"/>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6">
                  <a:moveTo>
                    <a:pt x="13" y="0"/>
                  </a:moveTo>
                  <a:cubicBezTo>
                    <a:pt x="6" y="0"/>
                    <a:pt x="0" y="6"/>
                    <a:pt x="0" y="13"/>
                  </a:cubicBezTo>
                  <a:cubicBezTo>
                    <a:pt x="0" y="32"/>
                    <a:pt x="0" y="32"/>
                    <a:pt x="0" y="32"/>
                  </a:cubicBezTo>
                  <a:cubicBezTo>
                    <a:pt x="0" y="40"/>
                    <a:pt x="6" y="46"/>
                    <a:pt x="13" y="46"/>
                  </a:cubicBezTo>
                  <a:cubicBezTo>
                    <a:pt x="20" y="46"/>
                    <a:pt x="26" y="40"/>
                    <a:pt x="26" y="32"/>
                  </a:cubicBezTo>
                  <a:cubicBezTo>
                    <a:pt x="26" y="13"/>
                    <a:pt x="26" y="13"/>
                    <a:pt x="26" y="13"/>
                  </a:cubicBezTo>
                  <a:cubicBezTo>
                    <a:pt x="26" y="6"/>
                    <a:pt x="20" y="0"/>
                    <a:pt x="13" y="0"/>
                  </a:cubicBez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56">
              <a:extLst>
                <a:ext uri="{FF2B5EF4-FFF2-40B4-BE49-F238E27FC236}">
                  <a16:creationId xmlns:a16="http://schemas.microsoft.com/office/drawing/2014/main" id="{BBF5A768-FD1F-44D7-8366-9D6F02392906}"/>
                </a:ext>
              </a:extLst>
            </p:cNvPr>
            <p:cNvSpPr>
              <a:spLocks noEditPoints="1"/>
            </p:cNvSpPr>
            <p:nvPr/>
          </p:nvSpPr>
          <p:spPr bwMode="auto">
            <a:xfrm>
              <a:off x="2842" y="3686"/>
              <a:ext cx="50" cy="28"/>
            </a:xfrm>
            <a:custGeom>
              <a:avLst/>
              <a:gdLst>
                <a:gd name="T0" fmla="*/ 34 w 47"/>
                <a:gd name="T1" fmla="*/ 0 h 27"/>
                <a:gd name="T2" fmla="*/ 14 w 47"/>
                <a:gd name="T3" fmla="*/ 0 h 27"/>
                <a:gd name="T4" fmla="*/ 0 w 47"/>
                <a:gd name="T5" fmla="*/ 14 h 27"/>
                <a:gd name="T6" fmla="*/ 14 w 47"/>
                <a:gd name="T7" fmla="*/ 27 h 27"/>
                <a:gd name="T8" fmla="*/ 34 w 47"/>
                <a:gd name="T9" fmla="*/ 27 h 27"/>
                <a:gd name="T10" fmla="*/ 47 w 47"/>
                <a:gd name="T11" fmla="*/ 14 h 27"/>
                <a:gd name="T12" fmla="*/ 34 w 47"/>
                <a:gd name="T13" fmla="*/ 0 h 27"/>
                <a:gd name="T14" fmla="*/ 34 w 47"/>
                <a:gd name="T15" fmla="*/ 0 h 27"/>
                <a:gd name="T16" fmla="*/ 34 w 47"/>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7">
                  <a:moveTo>
                    <a:pt x="34" y="0"/>
                  </a:moveTo>
                  <a:cubicBezTo>
                    <a:pt x="14" y="0"/>
                    <a:pt x="14" y="0"/>
                    <a:pt x="14" y="0"/>
                  </a:cubicBezTo>
                  <a:cubicBezTo>
                    <a:pt x="6" y="0"/>
                    <a:pt x="0" y="6"/>
                    <a:pt x="0" y="14"/>
                  </a:cubicBezTo>
                  <a:cubicBezTo>
                    <a:pt x="0" y="21"/>
                    <a:pt x="6" y="27"/>
                    <a:pt x="14" y="27"/>
                  </a:cubicBezTo>
                  <a:cubicBezTo>
                    <a:pt x="34" y="27"/>
                    <a:pt x="34" y="27"/>
                    <a:pt x="34" y="27"/>
                  </a:cubicBezTo>
                  <a:cubicBezTo>
                    <a:pt x="41" y="27"/>
                    <a:pt x="47" y="21"/>
                    <a:pt x="47" y="14"/>
                  </a:cubicBezTo>
                  <a:cubicBezTo>
                    <a:pt x="47" y="6"/>
                    <a:pt x="41" y="0"/>
                    <a:pt x="34" y="0"/>
                  </a:cubicBezTo>
                  <a:close/>
                  <a:moveTo>
                    <a:pt x="34" y="0"/>
                  </a:moveTo>
                  <a:cubicBezTo>
                    <a:pt x="34" y="0"/>
                    <a:pt x="34"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57">
              <a:extLst>
                <a:ext uri="{FF2B5EF4-FFF2-40B4-BE49-F238E27FC236}">
                  <a16:creationId xmlns:a16="http://schemas.microsoft.com/office/drawing/2014/main" id="{86E9DACF-039E-4C39-A877-61D25C7A2A17}"/>
                </a:ext>
              </a:extLst>
            </p:cNvPr>
            <p:cNvSpPr>
              <a:spLocks noEditPoints="1"/>
            </p:cNvSpPr>
            <p:nvPr/>
          </p:nvSpPr>
          <p:spPr bwMode="auto">
            <a:xfrm>
              <a:off x="2900" y="3723"/>
              <a:ext cx="28" cy="44"/>
            </a:xfrm>
            <a:custGeom>
              <a:avLst/>
              <a:gdLst>
                <a:gd name="T0" fmla="*/ 13 w 26"/>
                <a:gd name="T1" fmla="*/ 0 h 43"/>
                <a:gd name="T2" fmla="*/ 0 w 26"/>
                <a:gd name="T3" fmla="*/ 14 h 43"/>
                <a:gd name="T4" fmla="*/ 0 w 26"/>
                <a:gd name="T5" fmla="*/ 29 h 43"/>
                <a:gd name="T6" fmla="*/ 13 w 26"/>
                <a:gd name="T7" fmla="*/ 43 h 43"/>
                <a:gd name="T8" fmla="*/ 26 w 26"/>
                <a:gd name="T9" fmla="*/ 29 h 43"/>
                <a:gd name="T10" fmla="*/ 26 w 26"/>
                <a:gd name="T11" fmla="*/ 14 h 43"/>
                <a:gd name="T12" fmla="*/ 13 w 26"/>
                <a:gd name="T13" fmla="*/ 0 h 43"/>
                <a:gd name="T14" fmla="*/ 13 w 26"/>
                <a:gd name="T15" fmla="*/ 0 h 43"/>
                <a:gd name="T16" fmla="*/ 13 w 26"/>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3">
                  <a:moveTo>
                    <a:pt x="13" y="0"/>
                  </a:moveTo>
                  <a:cubicBezTo>
                    <a:pt x="6" y="0"/>
                    <a:pt x="0" y="6"/>
                    <a:pt x="0" y="14"/>
                  </a:cubicBezTo>
                  <a:cubicBezTo>
                    <a:pt x="0" y="29"/>
                    <a:pt x="0" y="29"/>
                    <a:pt x="0" y="29"/>
                  </a:cubicBezTo>
                  <a:cubicBezTo>
                    <a:pt x="0" y="37"/>
                    <a:pt x="6" y="43"/>
                    <a:pt x="13" y="43"/>
                  </a:cubicBezTo>
                  <a:cubicBezTo>
                    <a:pt x="20" y="43"/>
                    <a:pt x="26" y="37"/>
                    <a:pt x="26" y="29"/>
                  </a:cubicBezTo>
                  <a:cubicBezTo>
                    <a:pt x="26" y="14"/>
                    <a:pt x="26" y="14"/>
                    <a:pt x="26" y="14"/>
                  </a:cubicBezTo>
                  <a:cubicBezTo>
                    <a:pt x="26" y="6"/>
                    <a:pt x="20" y="0"/>
                    <a:pt x="13" y="0"/>
                  </a:cubicBez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58">
              <a:extLst>
                <a:ext uri="{FF2B5EF4-FFF2-40B4-BE49-F238E27FC236}">
                  <a16:creationId xmlns:a16="http://schemas.microsoft.com/office/drawing/2014/main" id="{67D49520-352D-485D-AF27-AE2ECF6479BC}"/>
                </a:ext>
              </a:extLst>
            </p:cNvPr>
            <p:cNvSpPr>
              <a:spLocks noEditPoints="1"/>
            </p:cNvSpPr>
            <p:nvPr/>
          </p:nvSpPr>
          <p:spPr bwMode="auto">
            <a:xfrm>
              <a:off x="3474" y="4067"/>
              <a:ext cx="52" cy="26"/>
            </a:xfrm>
            <a:custGeom>
              <a:avLst/>
              <a:gdLst>
                <a:gd name="T0" fmla="*/ 35 w 49"/>
                <a:gd name="T1" fmla="*/ 0 h 26"/>
                <a:gd name="T2" fmla="*/ 13 w 49"/>
                <a:gd name="T3" fmla="*/ 0 h 26"/>
                <a:gd name="T4" fmla="*/ 0 w 49"/>
                <a:gd name="T5" fmla="*/ 13 h 26"/>
                <a:gd name="T6" fmla="*/ 13 w 49"/>
                <a:gd name="T7" fmla="*/ 26 h 26"/>
                <a:gd name="T8" fmla="*/ 35 w 49"/>
                <a:gd name="T9" fmla="*/ 26 h 26"/>
                <a:gd name="T10" fmla="*/ 49 w 49"/>
                <a:gd name="T11" fmla="*/ 13 h 26"/>
                <a:gd name="T12" fmla="*/ 35 w 49"/>
                <a:gd name="T13" fmla="*/ 0 h 26"/>
                <a:gd name="T14" fmla="*/ 35 w 49"/>
                <a:gd name="T15" fmla="*/ 0 h 26"/>
                <a:gd name="T16" fmla="*/ 35 w 49"/>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6">
                  <a:moveTo>
                    <a:pt x="35" y="0"/>
                  </a:moveTo>
                  <a:cubicBezTo>
                    <a:pt x="13" y="0"/>
                    <a:pt x="13" y="0"/>
                    <a:pt x="13" y="0"/>
                  </a:cubicBezTo>
                  <a:cubicBezTo>
                    <a:pt x="6" y="0"/>
                    <a:pt x="0" y="6"/>
                    <a:pt x="0" y="13"/>
                  </a:cubicBezTo>
                  <a:cubicBezTo>
                    <a:pt x="0" y="20"/>
                    <a:pt x="6" y="26"/>
                    <a:pt x="13" y="26"/>
                  </a:cubicBezTo>
                  <a:cubicBezTo>
                    <a:pt x="35" y="26"/>
                    <a:pt x="35" y="26"/>
                    <a:pt x="35" y="26"/>
                  </a:cubicBezTo>
                  <a:cubicBezTo>
                    <a:pt x="43" y="26"/>
                    <a:pt x="49" y="20"/>
                    <a:pt x="49" y="13"/>
                  </a:cubicBezTo>
                  <a:cubicBezTo>
                    <a:pt x="49" y="6"/>
                    <a:pt x="43" y="0"/>
                    <a:pt x="35" y="0"/>
                  </a:cubicBezTo>
                  <a:close/>
                  <a:moveTo>
                    <a:pt x="35" y="0"/>
                  </a:moveTo>
                  <a:cubicBezTo>
                    <a:pt x="35" y="0"/>
                    <a:pt x="35"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59">
              <a:extLst>
                <a:ext uri="{FF2B5EF4-FFF2-40B4-BE49-F238E27FC236}">
                  <a16:creationId xmlns:a16="http://schemas.microsoft.com/office/drawing/2014/main" id="{09D1637F-92C3-4982-B947-0F325DD2E477}"/>
                </a:ext>
              </a:extLst>
            </p:cNvPr>
            <p:cNvSpPr>
              <a:spLocks noEditPoints="1"/>
            </p:cNvSpPr>
            <p:nvPr/>
          </p:nvSpPr>
          <p:spPr bwMode="auto">
            <a:xfrm>
              <a:off x="3441" y="4011"/>
              <a:ext cx="28" cy="47"/>
            </a:xfrm>
            <a:custGeom>
              <a:avLst/>
              <a:gdLst>
                <a:gd name="T0" fmla="*/ 13 w 26"/>
                <a:gd name="T1" fmla="*/ 0 h 46"/>
                <a:gd name="T2" fmla="*/ 0 w 26"/>
                <a:gd name="T3" fmla="*/ 13 h 46"/>
                <a:gd name="T4" fmla="*/ 0 w 26"/>
                <a:gd name="T5" fmla="*/ 32 h 46"/>
                <a:gd name="T6" fmla="*/ 13 w 26"/>
                <a:gd name="T7" fmla="*/ 46 h 46"/>
                <a:gd name="T8" fmla="*/ 26 w 26"/>
                <a:gd name="T9" fmla="*/ 32 h 46"/>
                <a:gd name="T10" fmla="*/ 26 w 26"/>
                <a:gd name="T11" fmla="*/ 13 h 46"/>
                <a:gd name="T12" fmla="*/ 13 w 26"/>
                <a:gd name="T13" fmla="*/ 0 h 46"/>
                <a:gd name="T14" fmla="*/ 13 w 26"/>
                <a:gd name="T15" fmla="*/ 0 h 46"/>
                <a:gd name="T16" fmla="*/ 13 w 26"/>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6">
                  <a:moveTo>
                    <a:pt x="13" y="0"/>
                  </a:moveTo>
                  <a:cubicBezTo>
                    <a:pt x="6" y="0"/>
                    <a:pt x="0" y="6"/>
                    <a:pt x="0" y="13"/>
                  </a:cubicBezTo>
                  <a:cubicBezTo>
                    <a:pt x="0" y="32"/>
                    <a:pt x="0" y="32"/>
                    <a:pt x="0" y="32"/>
                  </a:cubicBezTo>
                  <a:cubicBezTo>
                    <a:pt x="0" y="40"/>
                    <a:pt x="6" y="46"/>
                    <a:pt x="13" y="46"/>
                  </a:cubicBezTo>
                  <a:cubicBezTo>
                    <a:pt x="20" y="46"/>
                    <a:pt x="26" y="40"/>
                    <a:pt x="26" y="32"/>
                  </a:cubicBezTo>
                  <a:cubicBezTo>
                    <a:pt x="26" y="13"/>
                    <a:pt x="26" y="13"/>
                    <a:pt x="26" y="13"/>
                  </a:cubicBezTo>
                  <a:cubicBezTo>
                    <a:pt x="26" y="6"/>
                    <a:pt x="20" y="0"/>
                    <a:pt x="13" y="0"/>
                  </a:cubicBez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60">
              <a:extLst>
                <a:ext uri="{FF2B5EF4-FFF2-40B4-BE49-F238E27FC236}">
                  <a16:creationId xmlns:a16="http://schemas.microsoft.com/office/drawing/2014/main" id="{F2D92FE7-F4D7-485A-AA9B-4FBAE0869642}"/>
                </a:ext>
              </a:extLst>
            </p:cNvPr>
            <p:cNvSpPr>
              <a:spLocks noEditPoints="1"/>
            </p:cNvSpPr>
            <p:nvPr/>
          </p:nvSpPr>
          <p:spPr bwMode="auto">
            <a:xfrm>
              <a:off x="3383" y="4067"/>
              <a:ext cx="50" cy="26"/>
            </a:xfrm>
            <a:custGeom>
              <a:avLst/>
              <a:gdLst>
                <a:gd name="T0" fmla="*/ 34 w 47"/>
                <a:gd name="T1" fmla="*/ 0 h 26"/>
                <a:gd name="T2" fmla="*/ 14 w 47"/>
                <a:gd name="T3" fmla="*/ 0 h 26"/>
                <a:gd name="T4" fmla="*/ 0 w 47"/>
                <a:gd name="T5" fmla="*/ 13 h 26"/>
                <a:gd name="T6" fmla="*/ 14 w 47"/>
                <a:gd name="T7" fmla="*/ 26 h 26"/>
                <a:gd name="T8" fmla="*/ 34 w 47"/>
                <a:gd name="T9" fmla="*/ 26 h 26"/>
                <a:gd name="T10" fmla="*/ 47 w 47"/>
                <a:gd name="T11" fmla="*/ 13 h 26"/>
                <a:gd name="T12" fmla="*/ 34 w 47"/>
                <a:gd name="T13" fmla="*/ 0 h 26"/>
                <a:gd name="T14" fmla="*/ 34 w 47"/>
                <a:gd name="T15" fmla="*/ 0 h 26"/>
                <a:gd name="T16" fmla="*/ 34 w 47"/>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6">
                  <a:moveTo>
                    <a:pt x="34" y="0"/>
                  </a:moveTo>
                  <a:cubicBezTo>
                    <a:pt x="14" y="0"/>
                    <a:pt x="14" y="0"/>
                    <a:pt x="14" y="0"/>
                  </a:cubicBezTo>
                  <a:cubicBezTo>
                    <a:pt x="6" y="0"/>
                    <a:pt x="0" y="6"/>
                    <a:pt x="0" y="13"/>
                  </a:cubicBezTo>
                  <a:cubicBezTo>
                    <a:pt x="0" y="20"/>
                    <a:pt x="6" y="26"/>
                    <a:pt x="14" y="26"/>
                  </a:cubicBezTo>
                  <a:cubicBezTo>
                    <a:pt x="34" y="26"/>
                    <a:pt x="34" y="26"/>
                    <a:pt x="34" y="26"/>
                  </a:cubicBezTo>
                  <a:cubicBezTo>
                    <a:pt x="41" y="26"/>
                    <a:pt x="47" y="20"/>
                    <a:pt x="47" y="13"/>
                  </a:cubicBezTo>
                  <a:cubicBezTo>
                    <a:pt x="47" y="6"/>
                    <a:pt x="41" y="0"/>
                    <a:pt x="34" y="0"/>
                  </a:cubicBezTo>
                  <a:close/>
                  <a:moveTo>
                    <a:pt x="34" y="0"/>
                  </a:moveTo>
                  <a:cubicBezTo>
                    <a:pt x="34" y="0"/>
                    <a:pt x="34"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61">
              <a:extLst>
                <a:ext uri="{FF2B5EF4-FFF2-40B4-BE49-F238E27FC236}">
                  <a16:creationId xmlns:a16="http://schemas.microsoft.com/office/drawing/2014/main" id="{01D2536F-8E84-40F0-A4DF-A1D7233EA0B0}"/>
                </a:ext>
              </a:extLst>
            </p:cNvPr>
            <p:cNvSpPr>
              <a:spLocks noEditPoints="1"/>
            </p:cNvSpPr>
            <p:nvPr/>
          </p:nvSpPr>
          <p:spPr bwMode="auto">
            <a:xfrm>
              <a:off x="3441" y="4104"/>
              <a:ext cx="28" cy="43"/>
            </a:xfrm>
            <a:custGeom>
              <a:avLst/>
              <a:gdLst>
                <a:gd name="T0" fmla="*/ 13 w 26"/>
                <a:gd name="T1" fmla="*/ 0 h 42"/>
                <a:gd name="T2" fmla="*/ 0 w 26"/>
                <a:gd name="T3" fmla="*/ 13 h 42"/>
                <a:gd name="T4" fmla="*/ 0 w 26"/>
                <a:gd name="T5" fmla="*/ 28 h 42"/>
                <a:gd name="T6" fmla="*/ 13 w 26"/>
                <a:gd name="T7" fmla="*/ 42 h 42"/>
                <a:gd name="T8" fmla="*/ 26 w 26"/>
                <a:gd name="T9" fmla="*/ 28 h 42"/>
                <a:gd name="T10" fmla="*/ 26 w 26"/>
                <a:gd name="T11" fmla="*/ 13 h 42"/>
                <a:gd name="T12" fmla="*/ 13 w 26"/>
                <a:gd name="T13" fmla="*/ 0 h 42"/>
                <a:gd name="T14" fmla="*/ 13 w 26"/>
                <a:gd name="T15" fmla="*/ 0 h 42"/>
                <a:gd name="T16" fmla="*/ 13 w 26"/>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2">
                  <a:moveTo>
                    <a:pt x="13" y="0"/>
                  </a:moveTo>
                  <a:cubicBezTo>
                    <a:pt x="6" y="0"/>
                    <a:pt x="0" y="6"/>
                    <a:pt x="0" y="13"/>
                  </a:cubicBezTo>
                  <a:cubicBezTo>
                    <a:pt x="0" y="28"/>
                    <a:pt x="0" y="28"/>
                    <a:pt x="0" y="28"/>
                  </a:cubicBezTo>
                  <a:cubicBezTo>
                    <a:pt x="0" y="36"/>
                    <a:pt x="6" y="42"/>
                    <a:pt x="13" y="42"/>
                  </a:cubicBezTo>
                  <a:cubicBezTo>
                    <a:pt x="20" y="42"/>
                    <a:pt x="26" y="36"/>
                    <a:pt x="26" y="28"/>
                  </a:cubicBezTo>
                  <a:cubicBezTo>
                    <a:pt x="26" y="13"/>
                    <a:pt x="26" y="13"/>
                    <a:pt x="26" y="13"/>
                  </a:cubicBezTo>
                  <a:cubicBezTo>
                    <a:pt x="26" y="6"/>
                    <a:pt x="20" y="0"/>
                    <a:pt x="13" y="0"/>
                  </a:cubicBez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Group 64">
            <a:extLst>
              <a:ext uri="{FF2B5EF4-FFF2-40B4-BE49-F238E27FC236}">
                <a16:creationId xmlns:a16="http://schemas.microsoft.com/office/drawing/2014/main" id="{8D6150D9-83BE-4753-9905-FED5DA641912}"/>
              </a:ext>
            </a:extLst>
          </p:cNvPr>
          <p:cNvGrpSpPr>
            <a:grpSpLocks noChangeAspect="1"/>
          </p:cNvGrpSpPr>
          <p:nvPr/>
        </p:nvGrpSpPr>
        <p:grpSpPr bwMode="auto">
          <a:xfrm>
            <a:off x="6332959" y="4449104"/>
            <a:ext cx="578585" cy="560217"/>
            <a:chOff x="3605" y="2862"/>
            <a:chExt cx="441" cy="427"/>
          </a:xfrm>
          <a:solidFill>
            <a:srgbClr val="0076A8"/>
          </a:solidFill>
        </p:grpSpPr>
        <p:sp>
          <p:nvSpPr>
            <p:cNvPr id="114" name="Freeform 65">
              <a:extLst>
                <a:ext uri="{FF2B5EF4-FFF2-40B4-BE49-F238E27FC236}">
                  <a16:creationId xmlns:a16="http://schemas.microsoft.com/office/drawing/2014/main" id="{2A5AD9AF-74B7-4C0E-B454-B64955615839}"/>
                </a:ext>
              </a:extLst>
            </p:cNvPr>
            <p:cNvSpPr>
              <a:spLocks noEditPoints="1"/>
            </p:cNvSpPr>
            <p:nvPr/>
          </p:nvSpPr>
          <p:spPr bwMode="auto">
            <a:xfrm>
              <a:off x="3774" y="2997"/>
              <a:ext cx="44" cy="21"/>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1" y="0"/>
                    <a:pt x="0" y="11"/>
                    <a:pt x="0" y="25"/>
                  </a:cubicBezTo>
                  <a:cubicBezTo>
                    <a:pt x="17" y="25"/>
                    <a:pt x="17" y="25"/>
                    <a:pt x="17" y="25"/>
                  </a:cubicBezTo>
                  <a:cubicBezTo>
                    <a:pt x="17" y="21"/>
                    <a:pt x="21" y="17"/>
                    <a:pt x="26" y="17"/>
                  </a:cubicBezTo>
                  <a:cubicBezTo>
                    <a:pt x="30"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66">
              <a:extLst>
                <a:ext uri="{FF2B5EF4-FFF2-40B4-BE49-F238E27FC236}">
                  <a16:creationId xmlns:a16="http://schemas.microsoft.com/office/drawing/2014/main" id="{A72CDDC7-1AFA-4515-A146-488B9CD7D110}"/>
                </a:ext>
              </a:extLst>
            </p:cNvPr>
            <p:cNvSpPr>
              <a:spLocks noEditPoints="1"/>
            </p:cNvSpPr>
            <p:nvPr/>
          </p:nvSpPr>
          <p:spPr bwMode="auto">
            <a:xfrm>
              <a:off x="3832" y="2997"/>
              <a:ext cx="44" cy="21"/>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2" y="0"/>
                    <a:pt x="0" y="11"/>
                    <a:pt x="0" y="25"/>
                  </a:cubicBezTo>
                  <a:cubicBezTo>
                    <a:pt x="17" y="25"/>
                    <a:pt x="17" y="25"/>
                    <a:pt x="17" y="25"/>
                  </a:cubicBezTo>
                  <a:cubicBezTo>
                    <a:pt x="17" y="21"/>
                    <a:pt x="21" y="17"/>
                    <a:pt x="26" y="17"/>
                  </a:cubicBezTo>
                  <a:cubicBezTo>
                    <a:pt x="31"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67">
              <a:extLst>
                <a:ext uri="{FF2B5EF4-FFF2-40B4-BE49-F238E27FC236}">
                  <a16:creationId xmlns:a16="http://schemas.microsoft.com/office/drawing/2014/main" id="{9D302A22-FA57-4DA2-8636-175F7EC3D127}"/>
                </a:ext>
              </a:extLst>
            </p:cNvPr>
            <p:cNvSpPr>
              <a:spLocks noEditPoints="1"/>
            </p:cNvSpPr>
            <p:nvPr/>
          </p:nvSpPr>
          <p:spPr bwMode="auto">
            <a:xfrm>
              <a:off x="3796" y="3189"/>
              <a:ext cx="59" cy="57"/>
            </a:xfrm>
            <a:custGeom>
              <a:avLst/>
              <a:gdLst>
                <a:gd name="T0" fmla="*/ 34 w 68"/>
                <a:gd name="T1" fmla="*/ 0 h 68"/>
                <a:gd name="T2" fmla="*/ 0 w 68"/>
                <a:gd name="T3" fmla="*/ 34 h 68"/>
                <a:gd name="T4" fmla="*/ 34 w 68"/>
                <a:gd name="T5" fmla="*/ 68 h 68"/>
                <a:gd name="T6" fmla="*/ 68 w 68"/>
                <a:gd name="T7" fmla="*/ 34 h 68"/>
                <a:gd name="T8" fmla="*/ 34 w 68"/>
                <a:gd name="T9" fmla="*/ 0 h 68"/>
                <a:gd name="T10" fmla="*/ 34 w 68"/>
                <a:gd name="T11" fmla="*/ 51 h 68"/>
                <a:gd name="T12" fmla="*/ 17 w 68"/>
                <a:gd name="T13" fmla="*/ 34 h 68"/>
                <a:gd name="T14" fmla="*/ 34 w 68"/>
                <a:gd name="T15" fmla="*/ 17 h 68"/>
                <a:gd name="T16" fmla="*/ 51 w 68"/>
                <a:gd name="T17" fmla="*/ 34 h 68"/>
                <a:gd name="T18" fmla="*/ 34 w 68"/>
                <a:gd name="T19" fmla="*/ 51 h 68"/>
                <a:gd name="T20" fmla="*/ 34 w 68"/>
                <a:gd name="T21" fmla="*/ 51 h 68"/>
                <a:gd name="T22" fmla="*/ 34 w 68"/>
                <a:gd name="T23"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68">
                  <a:moveTo>
                    <a:pt x="34" y="0"/>
                  </a:moveTo>
                  <a:cubicBezTo>
                    <a:pt x="15" y="0"/>
                    <a:pt x="0" y="16"/>
                    <a:pt x="0" y="34"/>
                  </a:cubicBezTo>
                  <a:cubicBezTo>
                    <a:pt x="0" y="53"/>
                    <a:pt x="15" y="68"/>
                    <a:pt x="34" y="68"/>
                  </a:cubicBezTo>
                  <a:cubicBezTo>
                    <a:pt x="52" y="68"/>
                    <a:pt x="68" y="53"/>
                    <a:pt x="68" y="34"/>
                  </a:cubicBezTo>
                  <a:cubicBezTo>
                    <a:pt x="68" y="16"/>
                    <a:pt x="52" y="0"/>
                    <a:pt x="34" y="0"/>
                  </a:cubicBezTo>
                  <a:close/>
                  <a:moveTo>
                    <a:pt x="34" y="51"/>
                  </a:moveTo>
                  <a:cubicBezTo>
                    <a:pt x="24" y="51"/>
                    <a:pt x="17" y="44"/>
                    <a:pt x="17" y="34"/>
                  </a:cubicBezTo>
                  <a:cubicBezTo>
                    <a:pt x="17" y="25"/>
                    <a:pt x="24" y="17"/>
                    <a:pt x="34" y="17"/>
                  </a:cubicBezTo>
                  <a:cubicBezTo>
                    <a:pt x="43" y="17"/>
                    <a:pt x="51" y="25"/>
                    <a:pt x="51" y="34"/>
                  </a:cubicBezTo>
                  <a:cubicBezTo>
                    <a:pt x="51" y="44"/>
                    <a:pt x="43" y="51"/>
                    <a:pt x="34" y="51"/>
                  </a:cubicBezTo>
                  <a:close/>
                  <a:moveTo>
                    <a:pt x="34" y="51"/>
                  </a:moveTo>
                  <a:cubicBezTo>
                    <a:pt x="34" y="51"/>
                    <a:pt x="34" y="51"/>
                    <a:pt x="34"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68">
              <a:extLst>
                <a:ext uri="{FF2B5EF4-FFF2-40B4-BE49-F238E27FC236}">
                  <a16:creationId xmlns:a16="http://schemas.microsoft.com/office/drawing/2014/main" id="{A69218E2-0D25-4C01-8CC4-AD2AAC166371}"/>
                </a:ext>
              </a:extLst>
            </p:cNvPr>
            <p:cNvSpPr>
              <a:spLocks noEditPoints="1"/>
            </p:cNvSpPr>
            <p:nvPr/>
          </p:nvSpPr>
          <p:spPr bwMode="auto">
            <a:xfrm>
              <a:off x="3605" y="2862"/>
              <a:ext cx="441" cy="427"/>
            </a:xfrm>
            <a:custGeom>
              <a:avLst/>
              <a:gdLst>
                <a:gd name="T0" fmla="*/ 460 w 512"/>
                <a:gd name="T1" fmla="*/ 384 h 512"/>
                <a:gd name="T2" fmla="*/ 323 w 512"/>
                <a:gd name="T3" fmla="*/ 256 h 512"/>
                <a:gd name="T4" fmla="*/ 341 w 512"/>
                <a:gd name="T5" fmla="*/ 247 h 512"/>
                <a:gd name="T6" fmla="*/ 384 w 512"/>
                <a:gd name="T7" fmla="*/ 189 h 512"/>
                <a:gd name="T8" fmla="*/ 384 w 512"/>
                <a:gd name="T9" fmla="*/ 126 h 512"/>
                <a:gd name="T10" fmla="*/ 128 w 512"/>
                <a:gd name="T11" fmla="*/ 126 h 512"/>
                <a:gd name="T12" fmla="*/ 149 w 512"/>
                <a:gd name="T13" fmla="*/ 196 h 512"/>
                <a:gd name="T14" fmla="*/ 188 w 512"/>
                <a:gd name="T15" fmla="*/ 256 h 512"/>
                <a:gd name="T16" fmla="*/ 51 w 512"/>
                <a:gd name="T17" fmla="*/ 384 h 512"/>
                <a:gd name="T18" fmla="*/ 0 w 512"/>
                <a:gd name="T19" fmla="*/ 495 h 512"/>
                <a:gd name="T20" fmla="*/ 512 w 512"/>
                <a:gd name="T21" fmla="*/ 512 h 512"/>
                <a:gd name="T22" fmla="*/ 460 w 512"/>
                <a:gd name="T23" fmla="*/ 495 h 512"/>
                <a:gd name="T24" fmla="*/ 344 w 512"/>
                <a:gd name="T25" fmla="*/ 230 h 512"/>
                <a:gd name="T26" fmla="*/ 362 w 512"/>
                <a:gd name="T27" fmla="*/ 196 h 512"/>
                <a:gd name="T28" fmla="*/ 367 w 512"/>
                <a:gd name="T29" fmla="*/ 204 h 512"/>
                <a:gd name="T30" fmla="*/ 362 w 512"/>
                <a:gd name="T31" fmla="*/ 179 h 512"/>
                <a:gd name="T32" fmla="*/ 358 w 512"/>
                <a:gd name="T33" fmla="*/ 136 h 512"/>
                <a:gd name="T34" fmla="*/ 384 w 512"/>
                <a:gd name="T35" fmla="*/ 158 h 512"/>
                <a:gd name="T36" fmla="*/ 149 w 512"/>
                <a:gd name="T37" fmla="*/ 179 h 512"/>
                <a:gd name="T38" fmla="*/ 149 w 512"/>
                <a:gd name="T39" fmla="*/ 136 h 512"/>
                <a:gd name="T40" fmla="*/ 153 w 512"/>
                <a:gd name="T41" fmla="*/ 179 h 512"/>
                <a:gd name="T42" fmla="*/ 145 w 512"/>
                <a:gd name="T43" fmla="*/ 120 h 512"/>
                <a:gd name="T44" fmla="*/ 366 w 512"/>
                <a:gd name="T45" fmla="*/ 120 h 512"/>
                <a:gd name="T46" fmla="*/ 357 w 512"/>
                <a:gd name="T47" fmla="*/ 119 h 512"/>
                <a:gd name="T48" fmla="*/ 155 w 512"/>
                <a:gd name="T49" fmla="*/ 119 h 512"/>
                <a:gd name="T50" fmla="*/ 341 w 512"/>
                <a:gd name="T51" fmla="*/ 136 h 512"/>
                <a:gd name="T52" fmla="*/ 230 w 512"/>
                <a:gd name="T53" fmla="*/ 76 h 512"/>
                <a:gd name="T54" fmla="*/ 171 w 512"/>
                <a:gd name="T55" fmla="*/ 127 h 512"/>
                <a:gd name="T56" fmla="*/ 341 w 512"/>
                <a:gd name="T57" fmla="*/ 136 h 512"/>
                <a:gd name="T58" fmla="*/ 170 w 512"/>
                <a:gd name="T59" fmla="*/ 144 h 512"/>
                <a:gd name="T60" fmla="*/ 341 w 512"/>
                <a:gd name="T61" fmla="*/ 153 h 512"/>
                <a:gd name="T62" fmla="*/ 324 w 512"/>
                <a:gd name="T63" fmla="*/ 230 h 512"/>
                <a:gd name="T64" fmla="*/ 256 w 512"/>
                <a:gd name="T65" fmla="*/ 247 h 512"/>
                <a:gd name="T66" fmla="*/ 291 w 512"/>
                <a:gd name="T67" fmla="*/ 257 h 512"/>
                <a:gd name="T68" fmla="*/ 170 w 512"/>
                <a:gd name="T69" fmla="*/ 179 h 512"/>
                <a:gd name="T70" fmla="*/ 256 w 512"/>
                <a:gd name="T71" fmla="*/ 281 h 512"/>
                <a:gd name="T72" fmla="*/ 256 w 512"/>
                <a:gd name="T73" fmla="*/ 330 h 512"/>
                <a:gd name="T74" fmla="*/ 242 w 512"/>
                <a:gd name="T75" fmla="*/ 341 h 512"/>
                <a:gd name="T76" fmla="*/ 193 w 512"/>
                <a:gd name="T77" fmla="*/ 273 h 512"/>
                <a:gd name="T78" fmla="*/ 242 w 512"/>
                <a:gd name="T79" fmla="*/ 341 h 512"/>
                <a:gd name="T80" fmla="*/ 319 w 512"/>
                <a:gd name="T81" fmla="*/ 273 h 512"/>
                <a:gd name="T82" fmla="*/ 269 w 512"/>
                <a:gd name="T83" fmla="*/ 341 h 512"/>
                <a:gd name="T84" fmla="*/ 94 w 512"/>
                <a:gd name="T85" fmla="*/ 384 h 512"/>
                <a:gd name="T86" fmla="*/ 68 w 512"/>
                <a:gd name="T87" fmla="*/ 495 h 512"/>
                <a:gd name="T88" fmla="*/ 174 w 512"/>
                <a:gd name="T89" fmla="*/ 273 h 512"/>
                <a:gd name="T90" fmla="*/ 136 w 512"/>
                <a:gd name="T91" fmla="*/ 341 h 512"/>
                <a:gd name="T92" fmla="*/ 401 w 512"/>
                <a:gd name="T93" fmla="*/ 495 h 512"/>
                <a:gd name="T94" fmla="*/ 111 w 512"/>
                <a:gd name="T95" fmla="*/ 384 h 512"/>
                <a:gd name="T96" fmla="*/ 375 w 512"/>
                <a:gd name="T97" fmla="*/ 358 h 512"/>
                <a:gd name="T98" fmla="*/ 401 w 512"/>
                <a:gd name="T99" fmla="*/ 495 h 512"/>
                <a:gd name="T100" fmla="*/ 418 w 512"/>
                <a:gd name="T101" fmla="*/ 495 h 512"/>
                <a:gd name="T102" fmla="*/ 375 w 512"/>
                <a:gd name="T103" fmla="*/ 341 h 512"/>
                <a:gd name="T104" fmla="*/ 338 w 512"/>
                <a:gd name="T105" fmla="*/ 273 h 512"/>
                <a:gd name="T106" fmla="*/ 443 w 512"/>
                <a:gd name="T107" fmla="*/ 495 h 512"/>
                <a:gd name="T108" fmla="*/ 443 w 512"/>
                <a:gd name="T109" fmla="*/ 4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460" y="495"/>
                  </a:moveTo>
                  <a:cubicBezTo>
                    <a:pt x="460" y="384"/>
                    <a:pt x="460" y="384"/>
                    <a:pt x="460" y="384"/>
                  </a:cubicBezTo>
                  <a:cubicBezTo>
                    <a:pt x="460" y="313"/>
                    <a:pt x="403" y="256"/>
                    <a:pt x="332" y="256"/>
                  </a:cubicBezTo>
                  <a:cubicBezTo>
                    <a:pt x="323" y="256"/>
                    <a:pt x="323" y="256"/>
                    <a:pt x="323" y="256"/>
                  </a:cubicBezTo>
                  <a:cubicBezTo>
                    <a:pt x="326" y="253"/>
                    <a:pt x="329" y="250"/>
                    <a:pt x="332" y="247"/>
                  </a:cubicBezTo>
                  <a:cubicBezTo>
                    <a:pt x="341" y="247"/>
                    <a:pt x="341" y="247"/>
                    <a:pt x="341" y="247"/>
                  </a:cubicBezTo>
                  <a:cubicBezTo>
                    <a:pt x="365" y="247"/>
                    <a:pt x="384" y="228"/>
                    <a:pt x="384" y="204"/>
                  </a:cubicBezTo>
                  <a:cubicBezTo>
                    <a:pt x="384" y="189"/>
                    <a:pt x="384" y="189"/>
                    <a:pt x="384" y="189"/>
                  </a:cubicBezTo>
                  <a:cubicBezTo>
                    <a:pt x="394" y="183"/>
                    <a:pt x="401" y="171"/>
                    <a:pt x="401" y="158"/>
                  </a:cubicBezTo>
                  <a:cubicBezTo>
                    <a:pt x="401" y="144"/>
                    <a:pt x="394" y="132"/>
                    <a:pt x="384" y="126"/>
                  </a:cubicBezTo>
                  <a:cubicBezTo>
                    <a:pt x="382" y="56"/>
                    <a:pt x="326" y="0"/>
                    <a:pt x="256" y="0"/>
                  </a:cubicBezTo>
                  <a:cubicBezTo>
                    <a:pt x="186" y="0"/>
                    <a:pt x="129" y="56"/>
                    <a:pt x="128" y="126"/>
                  </a:cubicBezTo>
                  <a:cubicBezTo>
                    <a:pt x="117" y="132"/>
                    <a:pt x="111" y="144"/>
                    <a:pt x="111" y="158"/>
                  </a:cubicBezTo>
                  <a:cubicBezTo>
                    <a:pt x="111" y="179"/>
                    <a:pt x="128" y="196"/>
                    <a:pt x="149" y="196"/>
                  </a:cubicBezTo>
                  <a:cubicBezTo>
                    <a:pt x="155" y="196"/>
                    <a:pt x="155" y="196"/>
                    <a:pt x="155" y="196"/>
                  </a:cubicBezTo>
                  <a:cubicBezTo>
                    <a:pt x="159" y="220"/>
                    <a:pt x="171" y="240"/>
                    <a:pt x="188" y="256"/>
                  </a:cubicBezTo>
                  <a:cubicBezTo>
                    <a:pt x="179" y="256"/>
                    <a:pt x="179" y="256"/>
                    <a:pt x="179" y="256"/>
                  </a:cubicBezTo>
                  <a:cubicBezTo>
                    <a:pt x="108" y="256"/>
                    <a:pt x="51" y="313"/>
                    <a:pt x="51" y="384"/>
                  </a:cubicBezTo>
                  <a:cubicBezTo>
                    <a:pt x="51" y="495"/>
                    <a:pt x="51" y="495"/>
                    <a:pt x="51" y="495"/>
                  </a:cubicBezTo>
                  <a:cubicBezTo>
                    <a:pt x="0" y="495"/>
                    <a:pt x="0" y="495"/>
                    <a:pt x="0" y="495"/>
                  </a:cubicBezTo>
                  <a:cubicBezTo>
                    <a:pt x="0" y="512"/>
                    <a:pt x="0" y="512"/>
                    <a:pt x="0" y="512"/>
                  </a:cubicBezTo>
                  <a:cubicBezTo>
                    <a:pt x="512" y="512"/>
                    <a:pt x="512" y="512"/>
                    <a:pt x="512" y="512"/>
                  </a:cubicBezTo>
                  <a:cubicBezTo>
                    <a:pt x="512" y="495"/>
                    <a:pt x="512" y="495"/>
                    <a:pt x="512" y="495"/>
                  </a:cubicBezTo>
                  <a:lnTo>
                    <a:pt x="460" y="495"/>
                  </a:lnTo>
                  <a:close/>
                  <a:moveTo>
                    <a:pt x="367" y="204"/>
                  </a:moveTo>
                  <a:cubicBezTo>
                    <a:pt x="367" y="217"/>
                    <a:pt x="357" y="228"/>
                    <a:pt x="344" y="230"/>
                  </a:cubicBezTo>
                  <a:cubicBezTo>
                    <a:pt x="350" y="219"/>
                    <a:pt x="354" y="208"/>
                    <a:pt x="357" y="196"/>
                  </a:cubicBezTo>
                  <a:cubicBezTo>
                    <a:pt x="362" y="196"/>
                    <a:pt x="362" y="196"/>
                    <a:pt x="362" y="196"/>
                  </a:cubicBezTo>
                  <a:cubicBezTo>
                    <a:pt x="364" y="196"/>
                    <a:pt x="365" y="196"/>
                    <a:pt x="367" y="196"/>
                  </a:cubicBezTo>
                  <a:lnTo>
                    <a:pt x="367" y="204"/>
                  </a:lnTo>
                  <a:close/>
                  <a:moveTo>
                    <a:pt x="384" y="158"/>
                  </a:moveTo>
                  <a:cubicBezTo>
                    <a:pt x="384" y="169"/>
                    <a:pt x="374" y="179"/>
                    <a:pt x="362" y="179"/>
                  </a:cubicBezTo>
                  <a:cubicBezTo>
                    <a:pt x="358" y="179"/>
                    <a:pt x="358" y="179"/>
                    <a:pt x="358" y="179"/>
                  </a:cubicBezTo>
                  <a:cubicBezTo>
                    <a:pt x="358" y="136"/>
                    <a:pt x="358" y="136"/>
                    <a:pt x="358" y="136"/>
                  </a:cubicBezTo>
                  <a:cubicBezTo>
                    <a:pt x="362" y="136"/>
                    <a:pt x="362" y="136"/>
                    <a:pt x="362" y="136"/>
                  </a:cubicBezTo>
                  <a:cubicBezTo>
                    <a:pt x="374" y="136"/>
                    <a:pt x="384" y="146"/>
                    <a:pt x="384" y="158"/>
                  </a:cubicBezTo>
                  <a:close/>
                  <a:moveTo>
                    <a:pt x="153" y="179"/>
                  </a:moveTo>
                  <a:cubicBezTo>
                    <a:pt x="149" y="179"/>
                    <a:pt x="149" y="179"/>
                    <a:pt x="149" y="179"/>
                  </a:cubicBezTo>
                  <a:cubicBezTo>
                    <a:pt x="137" y="179"/>
                    <a:pt x="128" y="169"/>
                    <a:pt x="128" y="158"/>
                  </a:cubicBezTo>
                  <a:cubicBezTo>
                    <a:pt x="128" y="146"/>
                    <a:pt x="137" y="136"/>
                    <a:pt x="149" y="136"/>
                  </a:cubicBezTo>
                  <a:cubicBezTo>
                    <a:pt x="153" y="136"/>
                    <a:pt x="153" y="136"/>
                    <a:pt x="153" y="136"/>
                  </a:cubicBezTo>
                  <a:lnTo>
                    <a:pt x="153" y="179"/>
                  </a:lnTo>
                  <a:close/>
                  <a:moveTo>
                    <a:pt x="149" y="119"/>
                  </a:moveTo>
                  <a:cubicBezTo>
                    <a:pt x="148" y="119"/>
                    <a:pt x="146" y="119"/>
                    <a:pt x="145" y="120"/>
                  </a:cubicBezTo>
                  <a:cubicBezTo>
                    <a:pt x="149" y="62"/>
                    <a:pt x="197" y="17"/>
                    <a:pt x="256" y="17"/>
                  </a:cubicBezTo>
                  <a:cubicBezTo>
                    <a:pt x="314" y="17"/>
                    <a:pt x="362" y="62"/>
                    <a:pt x="366" y="120"/>
                  </a:cubicBezTo>
                  <a:cubicBezTo>
                    <a:pt x="365" y="119"/>
                    <a:pt x="364" y="119"/>
                    <a:pt x="362" y="119"/>
                  </a:cubicBezTo>
                  <a:cubicBezTo>
                    <a:pt x="357" y="119"/>
                    <a:pt x="357" y="119"/>
                    <a:pt x="357" y="119"/>
                  </a:cubicBezTo>
                  <a:cubicBezTo>
                    <a:pt x="348" y="71"/>
                    <a:pt x="306" y="34"/>
                    <a:pt x="256" y="34"/>
                  </a:cubicBezTo>
                  <a:cubicBezTo>
                    <a:pt x="205" y="34"/>
                    <a:pt x="163" y="71"/>
                    <a:pt x="155" y="119"/>
                  </a:cubicBezTo>
                  <a:lnTo>
                    <a:pt x="149" y="119"/>
                  </a:lnTo>
                  <a:close/>
                  <a:moveTo>
                    <a:pt x="341" y="136"/>
                  </a:moveTo>
                  <a:cubicBezTo>
                    <a:pt x="279" y="134"/>
                    <a:pt x="239" y="109"/>
                    <a:pt x="239" y="85"/>
                  </a:cubicBezTo>
                  <a:cubicBezTo>
                    <a:pt x="239" y="80"/>
                    <a:pt x="235" y="76"/>
                    <a:pt x="230" y="76"/>
                  </a:cubicBezTo>
                  <a:cubicBezTo>
                    <a:pt x="225" y="76"/>
                    <a:pt x="222" y="80"/>
                    <a:pt x="222" y="85"/>
                  </a:cubicBezTo>
                  <a:cubicBezTo>
                    <a:pt x="222" y="106"/>
                    <a:pt x="199" y="124"/>
                    <a:pt x="171" y="127"/>
                  </a:cubicBezTo>
                  <a:cubicBezTo>
                    <a:pt x="175" y="84"/>
                    <a:pt x="212" y="51"/>
                    <a:pt x="256" y="51"/>
                  </a:cubicBezTo>
                  <a:cubicBezTo>
                    <a:pt x="303" y="51"/>
                    <a:pt x="341" y="89"/>
                    <a:pt x="341" y="136"/>
                  </a:cubicBezTo>
                  <a:close/>
                  <a:moveTo>
                    <a:pt x="170" y="179"/>
                  </a:moveTo>
                  <a:cubicBezTo>
                    <a:pt x="170" y="144"/>
                    <a:pt x="170" y="144"/>
                    <a:pt x="170" y="144"/>
                  </a:cubicBezTo>
                  <a:cubicBezTo>
                    <a:pt x="197" y="142"/>
                    <a:pt x="220" y="129"/>
                    <a:pt x="231" y="111"/>
                  </a:cubicBezTo>
                  <a:cubicBezTo>
                    <a:pt x="249" y="135"/>
                    <a:pt x="290" y="151"/>
                    <a:pt x="341" y="153"/>
                  </a:cubicBezTo>
                  <a:cubicBezTo>
                    <a:pt x="341" y="179"/>
                    <a:pt x="341" y="179"/>
                    <a:pt x="341" y="179"/>
                  </a:cubicBezTo>
                  <a:cubicBezTo>
                    <a:pt x="341" y="198"/>
                    <a:pt x="335" y="216"/>
                    <a:pt x="324" y="230"/>
                  </a:cubicBezTo>
                  <a:cubicBezTo>
                    <a:pt x="256" y="230"/>
                    <a:pt x="256" y="230"/>
                    <a:pt x="256" y="230"/>
                  </a:cubicBezTo>
                  <a:cubicBezTo>
                    <a:pt x="256" y="247"/>
                    <a:pt x="256" y="247"/>
                    <a:pt x="256" y="247"/>
                  </a:cubicBezTo>
                  <a:cubicBezTo>
                    <a:pt x="307" y="247"/>
                    <a:pt x="307" y="247"/>
                    <a:pt x="307" y="247"/>
                  </a:cubicBezTo>
                  <a:cubicBezTo>
                    <a:pt x="302" y="251"/>
                    <a:pt x="296" y="254"/>
                    <a:pt x="291" y="257"/>
                  </a:cubicBezTo>
                  <a:cubicBezTo>
                    <a:pt x="268" y="267"/>
                    <a:pt x="243" y="267"/>
                    <a:pt x="220" y="257"/>
                  </a:cubicBezTo>
                  <a:cubicBezTo>
                    <a:pt x="191" y="243"/>
                    <a:pt x="170" y="213"/>
                    <a:pt x="170" y="179"/>
                  </a:cubicBezTo>
                  <a:close/>
                  <a:moveTo>
                    <a:pt x="229" y="278"/>
                  </a:moveTo>
                  <a:cubicBezTo>
                    <a:pt x="238" y="280"/>
                    <a:pt x="247" y="281"/>
                    <a:pt x="256" y="281"/>
                  </a:cubicBezTo>
                  <a:cubicBezTo>
                    <a:pt x="265" y="281"/>
                    <a:pt x="274" y="280"/>
                    <a:pt x="282" y="278"/>
                  </a:cubicBezTo>
                  <a:cubicBezTo>
                    <a:pt x="256" y="330"/>
                    <a:pt x="256" y="330"/>
                    <a:pt x="256" y="330"/>
                  </a:cubicBezTo>
                  <a:lnTo>
                    <a:pt x="229" y="278"/>
                  </a:lnTo>
                  <a:close/>
                  <a:moveTo>
                    <a:pt x="242" y="341"/>
                  </a:moveTo>
                  <a:cubicBezTo>
                    <a:pt x="227" y="341"/>
                    <a:pt x="227" y="341"/>
                    <a:pt x="227" y="341"/>
                  </a:cubicBezTo>
                  <a:cubicBezTo>
                    <a:pt x="193" y="273"/>
                    <a:pt x="193" y="273"/>
                    <a:pt x="193" y="273"/>
                  </a:cubicBezTo>
                  <a:cubicBezTo>
                    <a:pt x="208" y="273"/>
                    <a:pt x="208" y="273"/>
                    <a:pt x="208" y="273"/>
                  </a:cubicBezTo>
                  <a:lnTo>
                    <a:pt x="242" y="341"/>
                  </a:lnTo>
                  <a:close/>
                  <a:moveTo>
                    <a:pt x="304" y="273"/>
                  </a:moveTo>
                  <a:cubicBezTo>
                    <a:pt x="319" y="273"/>
                    <a:pt x="319" y="273"/>
                    <a:pt x="319" y="273"/>
                  </a:cubicBezTo>
                  <a:cubicBezTo>
                    <a:pt x="285" y="341"/>
                    <a:pt x="285" y="341"/>
                    <a:pt x="285" y="341"/>
                  </a:cubicBezTo>
                  <a:cubicBezTo>
                    <a:pt x="269" y="341"/>
                    <a:pt x="269" y="341"/>
                    <a:pt x="269" y="341"/>
                  </a:cubicBezTo>
                  <a:lnTo>
                    <a:pt x="304" y="273"/>
                  </a:lnTo>
                  <a:close/>
                  <a:moveTo>
                    <a:pt x="94" y="384"/>
                  </a:moveTo>
                  <a:cubicBezTo>
                    <a:pt x="94" y="495"/>
                    <a:pt x="94" y="495"/>
                    <a:pt x="94" y="495"/>
                  </a:cubicBezTo>
                  <a:cubicBezTo>
                    <a:pt x="68" y="495"/>
                    <a:pt x="68" y="495"/>
                    <a:pt x="68" y="495"/>
                  </a:cubicBezTo>
                  <a:cubicBezTo>
                    <a:pt x="68" y="384"/>
                    <a:pt x="68" y="384"/>
                    <a:pt x="68" y="384"/>
                  </a:cubicBezTo>
                  <a:cubicBezTo>
                    <a:pt x="68" y="324"/>
                    <a:pt x="115" y="276"/>
                    <a:pt x="174" y="273"/>
                  </a:cubicBezTo>
                  <a:cubicBezTo>
                    <a:pt x="208" y="341"/>
                    <a:pt x="208" y="341"/>
                    <a:pt x="208" y="341"/>
                  </a:cubicBezTo>
                  <a:cubicBezTo>
                    <a:pt x="136" y="341"/>
                    <a:pt x="136" y="341"/>
                    <a:pt x="136" y="341"/>
                  </a:cubicBezTo>
                  <a:cubicBezTo>
                    <a:pt x="113" y="341"/>
                    <a:pt x="94" y="360"/>
                    <a:pt x="94" y="384"/>
                  </a:cubicBezTo>
                  <a:close/>
                  <a:moveTo>
                    <a:pt x="401" y="495"/>
                  </a:moveTo>
                  <a:cubicBezTo>
                    <a:pt x="111" y="495"/>
                    <a:pt x="111" y="495"/>
                    <a:pt x="111" y="495"/>
                  </a:cubicBezTo>
                  <a:cubicBezTo>
                    <a:pt x="111" y="384"/>
                    <a:pt x="111" y="384"/>
                    <a:pt x="111" y="384"/>
                  </a:cubicBezTo>
                  <a:cubicBezTo>
                    <a:pt x="111" y="370"/>
                    <a:pt x="122" y="358"/>
                    <a:pt x="136" y="358"/>
                  </a:cubicBezTo>
                  <a:cubicBezTo>
                    <a:pt x="375" y="358"/>
                    <a:pt x="375" y="358"/>
                    <a:pt x="375" y="358"/>
                  </a:cubicBezTo>
                  <a:cubicBezTo>
                    <a:pt x="389" y="358"/>
                    <a:pt x="401" y="370"/>
                    <a:pt x="401" y="384"/>
                  </a:cubicBezTo>
                  <a:lnTo>
                    <a:pt x="401" y="495"/>
                  </a:lnTo>
                  <a:close/>
                  <a:moveTo>
                    <a:pt x="443" y="495"/>
                  </a:moveTo>
                  <a:cubicBezTo>
                    <a:pt x="418" y="495"/>
                    <a:pt x="418" y="495"/>
                    <a:pt x="418" y="495"/>
                  </a:cubicBezTo>
                  <a:cubicBezTo>
                    <a:pt x="418" y="384"/>
                    <a:pt x="418" y="384"/>
                    <a:pt x="418" y="384"/>
                  </a:cubicBezTo>
                  <a:cubicBezTo>
                    <a:pt x="418" y="360"/>
                    <a:pt x="399" y="341"/>
                    <a:pt x="375" y="341"/>
                  </a:cubicBezTo>
                  <a:cubicBezTo>
                    <a:pt x="304" y="341"/>
                    <a:pt x="304" y="341"/>
                    <a:pt x="304" y="341"/>
                  </a:cubicBezTo>
                  <a:cubicBezTo>
                    <a:pt x="338" y="273"/>
                    <a:pt x="338" y="273"/>
                    <a:pt x="338" y="273"/>
                  </a:cubicBezTo>
                  <a:cubicBezTo>
                    <a:pt x="396" y="276"/>
                    <a:pt x="443" y="324"/>
                    <a:pt x="443" y="384"/>
                  </a:cubicBezTo>
                  <a:lnTo>
                    <a:pt x="443" y="495"/>
                  </a:lnTo>
                  <a:close/>
                  <a:moveTo>
                    <a:pt x="443" y="495"/>
                  </a:moveTo>
                  <a:cubicBezTo>
                    <a:pt x="443" y="495"/>
                    <a:pt x="443" y="495"/>
                    <a:pt x="443" y="49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69">
              <a:extLst>
                <a:ext uri="{FF2B5EF4-FFF2-40B4-BE49-F238E27FC236}">
                  <a16:creationId xmlns:a16="http://schemas.microsoft.com/office/drawing/2014/main" id="{8EA9D58F-FFB7-412C-8B7C-BD0BB258F6C4}"/>
                </a:ext>
              </a:extLst>
            </p:cNvPr>
            <p:cNvSpPr>
              <a:spLocks noChangeArrowheads="1"/>
            </p:cNvSpPr>
            <p:nvPr/>
          </p:nvSpPr>
          <p:spPr bwMode="auto">
            <a:xfrm>
              <a:off x="3921" y="3211"/>
              <a:ext cx="15" cy="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70">
              <a:extLst>
                <a:ext uri="{FF2B5EF4-FFF2-40B4-BE49-F238E27FC236}">
                  <a16:creationId xmlns:a16="http://schemas.microsoft.com/office/drawing/2014/main" id="{B1665579-B084-4787-8FDF-9D81FE63A5AF}"/>
                </a:ext>
              </a:extLst>
            </p:cNvPr>
            <p:cNvSpPr>
              <a:spLocks noChangeArrowheads="1"/>
            </p:cNvSpPr>
            <p:nvPr/>
          </p:nvSpPr>
          <p:spPr bwMode="auto">
            <a:xfrm>
              <a:off x="3921" y="3182"/>
              <a:ext cx="15"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71">
              <a:extLst>
                <a:ext uri="{FF2B5EF4-FFF2-40B4-BE49-F238E27FC236}">
                  <a16:creationId xmlns:a16="http://schemas.microsoft.com/office/drawing/2014/main" id="{373F8D32-35E7-4BDF-84AB-79620C349BCC}"/>
                </a:ext>
              </a:extLst>
            </p:cNvPr>
            <p:cNvSpPr>
              <a:spLocks noChangeArrowheads="1"/>
            </p:cNvSpPr>
            <p:nvPr/>
          </p:nvSpPr>
          <p:spPr bwMode="auto">
            <a:xfrm>
              <a:off x="3987" y="2925"/>
              <a:ext cx="14"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72">
              <a:extLst>
                <a:ext uri="{FF2B5EF4-FFF2-40B4-BE49-F238E27FC236}">
                  <a16:creationId xmlns:a16="http://schemas.microsoft.com/office/drawing/2014/main" id="{EE4BB6D1-C3F5-486A-957A-AD083F428AE2}"/>
                </a:ext>
              </a:extLst>
            </p:cNvPr>
            <p:cNvSpPr>
              <a:spLocks noChangeArrowheads="1"/>
            </p:cNvSpPr>
            <p:nvPr/>
          </p:nvSpPr>
          <p:spPr bwMode="auto">
            <a:xfrm>
              <a:off x="3987" y="2955"/>
              <a:ext cx="14"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73">
              <a:extLst>
                <a:ext uri="{FF2B5EF4-FFF2-40B4-BE49-F238E27FC236}">
                  <a16:creationId xmlns:a16="http://schemas.microsoft.com/office/drawing/2014/main" id="{9AA84745-AFC3-4688-ABE4-3031DCF11D68}"/>
                </a:ext>
              </a:extLst>
            </p:cNvPr>
            <p:cNvSpPr>
              <a:spLocks noChangeArrowheads="1"/>
            </p:cNvSpPr>
            <p:nvPr/>
          </p:nvSpPr>
          <p:spPr bwMode="auto">
            <a:xfrm>
              <a:off x="3987" y="2983"/>
              <a:ext cx="14"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74">
              <a:extLst>
                <a:ext uri="{FF2B5EF4-FFF2-40B4-BE49-F238E27FC236}">
                  <a16:creationId xmlns:a16="http://schemas.microsoft.com/office/drawing/2014/main" id="{93235327-2543-41EF-95AA-02D8BE576493}"/>
                </a:ext>
              </a:extLst>
            </p:cNvPr>
            <p:cNvSpPr>
              <a:spLocks noChangeArrowheads="1"/>
            </p:cNvSpPr>
            <p:nvPr/>
          </p:nvSpPr>
          <p:spPr bwMode="auto">
            <a:xfrm>
              <a:off x="3649" y="3011"/>
              <a:ext cx="15"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75">
              <a:extLst>
                <a:ext uri="{FF2B5EF4-FFF2-40B4-BE49-F238E27FC236}">
                  <a16:creationId xmlns:a16="http://schemas.microsoft.com/office/drawing/2014/main" id="{0E404E7F-7B5E-48EE-8D51-30FBD8D8F734}"/>
                </a:ext>
              </a:extLst>
            </p:cNvPr>
            <p:cNvSpPr>
              <a:spLocks noChangeArrowheads="1"/>
            </p:cNvSpPr>
            <p:nvPr/>
          </p:nvSpPr>
          <p:spPr bwMode="auto">
            <a:xfrm>
              <a:off x="3649" y="3040"/>
              <a:ext cx="15"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76">
              <a:extLst>
                <a:ext uri="{FF2B5EF4-FFF2-40B4-BE49-F238E27FC236}">
                  <a16:creationId xmlns:a16="http://schemas.microsoft.com/office/drawing/2014/main" id="{EBF6DFF6-38E5-49BF-A642-D95871239B85}"/>
                </a:ext>
              </a:extLst>
            </p:cNvPr>
            <p:cNvSpPr>
              <a:spLocks noChangeArrowheads="1"/>
            </p:cNvSpPr>
            <p:nvPr/>
          </p:nvSpPr>
          <p:spPr bwMode="auto">
            <a:xfrm>
              <a:off x="3649" y="3068"/>
              <a:ext cx="15"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8" name="Group 79">
            <a:extLst>
              <a:ext uri="{FF2B5EF4-FFF2-40B4-BE49-F238E27FC236}">
                <a16:creationId xmlns:a16="http://schemas.microsoft.com/office/drawing/2014/main" id="{E401E34B-E088-4BAE-BB07-55CD55BFC1CD}"/>
              </a:ext>
            </a:extLst>
          </p:cNvPr>
          <p:cNvGrpSpPr>
            <a:grpSpLocks noChangeAspect="1"/>
          </p:cNvGrpSpPr>
          <p:nvPr/>
        </p:nvGrpSpPr>
        <p:grpSpPr bwMode="auto">
          <a:xfrm>
            <a:off x="7298135" y="2583376"/>
            <a:ext cx="846890" cy="821291"/>
            <a:chOff x="2119" y="1422"/>
            <a:chExt cx="1522" cy="1476"/>
          </a:xfrm>
          <a:solidFill>
            <a:schemeClr val="tx1"/>
          </a:solidFill>
        </p:grpSpPr>
        <p:sp>
          <p:nvSpPr>
            <p:cNvPr id="130" name="Freeform 80">
              <a:extLst>
                <a:ext uri="{FF2B5EF4-FFF2-40B4-BE49-F238E27FC236}">
                  <a16:creationId xmlns:a16="http://schemas.microsoft.com/office/drawing/2014/main" id="{B8EB8F3D-67E4-4466-B4B8-E93A125EFFA2}"/>
                </a:ext>
              </a:extLst>
            </p:cNvPr>
            <p:cNvSpPr>
              <a:spLocks noEditPoints="1"/>
            </p:cNvSpPr>
            <p:nvPr/>
          </p:nvSpPr>
          <p:spPr bwMode="auto">
            <a:xfrm>
              <a:off x="2260" y="1558"/>
              <a:ext cx="1240" cy="1204"/>
            </a:xfrm>
            <a:custGeom>
              <a:avLst/>
              <a:gdLst>
                <a:gd name="T0" fmla="*/ 532 w 556"/>
                <a:gd name="T1" fmla="*/ 164 h 556"/>
                <a:gd name="T2" fmla="*/ 514 w 556"/>
                <a:gd name="T3" fmla="*/ 157 h 556"/>
                <a:gd name="T4" fmla="*/ 508 w 556"/>
                <a:gd name="T5" fmla="*/ 175 h 556"/>
                <a:gd name="T6" fmla="*/ 530 w 556"/>
                <a:gd name="T7" fmla="*/ 278 h 556"/>
                <a:gd name="T8" fmla="*/ 278 w 556"/>
                <a:gd name="T9" fmla="*/ 530 h 556"/>
                <a:gd name="T10" fmla="*/ 26 w 556"/>
                <a:gd name="T11" fmla="*/ 278 h 556"/>
                <a:gd name="T12" fmla="*/ 278 w 556"/>
                <a:gd name="T13" fmla="*/ 26 h 556"/>
                <a:gd name="T14" fmla="*/ 439 w 556"/>
                <a:gd name="T15" fmla="*/ 85 h 556"/>
                <a:gd name="T16" fmla="*/ 458 w 556"/>
                <a:gd name="T17" fmla="*/ 83 h 556"/>
                <a:gd name="T18" fmla="*/ 456 w 556"/>
                <a:gd name="T19" fmla="*/ 64 h 556"/>
                <a:gd name="T20" fmla="*/ 278 w 556"/>
                <a:gd name="T21" fmla="*/ 0 h 556"/>
                <a:gd name="T22" fmla="*/ 0 w 556"/>
                <a:gd name="T23" fmla="*/ 278 h 556"/>
                <a:gd name="T24" fmla="*/ 278 w 556"/>
                <a:gd name="T25" fmla="*/ 556 h 556"/>
                <a:gd name="T26" fmla="*/ 556 w 556"/>
                <a:gd name="T27" fmla="*/ 278 h 556"/>
                <a:gd name="T28" fmla="*/ 532 w 556"/>
                <a:gd name="T29" fmla="*/ 164 h 556"/>
                <a:gd name="T30" fmla="*/ 532 w 556"/>
                <a:gd name="T31" fmla="*/ 164 h 556"/>
                <a:gd name="T32" fmla="*/ 532 w 556"/>
                <a:gd name="T33" fmla="*/ 164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6" h="556">
                  <a:moveTo>
                    <a:pt x="532" y="164"/>
                  </a:moveTo>
                  <a:cubicBezTo>
                    <a:pt x="529" y="157"/>
                    <a:pt x="521" y="154"/>
                    <a:pt x="514" y="157"/>
                  </a:cubicBezTo>
                  <a:cubicBezTo>
                    <a:pt x="508" y="160"/>
                    <a:pt x="505" y="168"/>
                    <a:pt x="508" y="175"/>
                  </a:cubicBezTo>
                  <a:cubicBezTo>
                    <a:pt x="522" y="207"/>
                    <a:pt x="530" y="242"/>
                    <a:pt x="530" y="278"/>
                  </a:cubicBezTo>
                  <a:cubicBezTo>
                    <a:pt x="530" y="417"/>
                    <a:pt x="417" y="530"/>
                    <a:pt x="278" y="530"/>
                  </a:cubicBezTo>
                  <a:cubicBezTo>
                    <a:pt x="139" y="530"/>
                    <a:pt x="26" y="417"/>
                    <a:pt x="26" y="278"/>
                  </a:cubicBezTo>
                  <a:cubicBezTo>
                    <a:pt x="26" y="139"/>
                    <a:pt x="139" y="26"/>
                    <a:pt x="278" y="26"/>
                  </a:cubicBezTo>
                  <a:cubicBezTo>
                    <a:pt x="337" y="26"/>
                    <a:pt x="394" y="47"/>
                    <a:pt x="439" y="85"/>
                  </a:cubicBezTo>
                  <a:cubicBezTo>
                    <a:pt x="445" y="89"/>
                    <a:pt x="453" y="89"/>
                    <a:pt x="458" y="83"/>
                  </a:cubicBezTo>
                  <a:cubicBezTo>
                    <a:pt x="463" y="77"/>
                    <a:pt x="462" y="69"/>
                    <a:pt x="456" y="64"/>
                  </a:cubicBezTo>
                  <a:cubicBezTo>
                    <a:pt x="406" y="23"/>
                    <a:pt x="343" y="0"/>
                    <a:pt x="278" y="0"/>
                  </a:cubicBezTo>
                  <a:cubicBezTo>
                    <a:pt x="125" y="0"/>
                    <a:pt x="0" y="125"/>
                    <a:pt x="0" y="278"/>
                  </a:cubicBezTo>
                  <a:cubicBezTo>
                    <a:pt x="0" y="431"/>
                    <a:pt x="125" y="556"/>
                    <a:pt x="278" y="556"/>
                  </a:cubicBezTo>
                  <a:cubicBezTo>
                    <a:pt x="431" y="556"/>
                    <a:pt x="556" y="431"/>
                    <a:pt x="556" y="278"/>
                  </a:cubicBezTo>
                  <a:cubicBezTo>
                    <a:pt x="556" y="238"/>
                    <a:pt x="548" y="200"/>
                    <a:pt x="532" y="164"/>
                  </a:cubicBezTo>
                  <a:close/>
                  <a:moveTo>
                    <a:pt x="532" y="164"/>
                  </a:moveTo>
                  <a:cubicBezTo>
                    <a:pt x="532" y="164"/>
                    <a:pt x="532" y="164"/>
                    <a:pt x="532" y="1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81">
              <a:extLst>
                <a:ext uri="{FF2B5EF4-FFF2-40B4-BE49-F238E27FC236}">
                  <a16:creationId xmlns:a16="http://schemas.microsoft.com/office/drawing/2014/main" id="{20854356-9B65-4241-B70C-991CC87E309C}"/>
                </a:ext>
              </a:extLst>
            </p:cNvPr>
            <p:cNvSpPr>
              <a:spLocks noEditPoints="1"/>
            </p:cNvSpPr>
            <p:nvPr/>
          </p:nvSpPr>
          <p:spPr bwMode="auto">
            <a:xfrm>
              <a:off x="2119" y="1422"/>
              <a:ext cx="1522" cy="1476"/>
            </a:xfrm>
            <a:custGeom>
              <a:avLst/>
              <a:gdLst>
                <a:gd name="T0" fmla="*/ 582 w 682"/>
                <a:gd name="T1" fmla="*/ 100 h 682"/>
                <a:gd name="T2" fmla="*/ 341 w 682"/>
                <a:gd name="T3" fmla="*/ 0 h 682"/>
                <a:gd name="T4" fmla="*/ 100 w 682"/>
                <a:gd name="T5" fmla="*/ 100 h 682"/>
                <a:gd name="T6" fmla="*/ 0 w 682"/>
                <a:gd name="T7" fmla="*/ 341 h 682"/>
                <a:gd name="T8" fmla="*/ 100 w 682"/>
                <a:gd name="T9" fmla="*/ 582 h 682"/>
                <a:gd name="T10" fmla="*/ 341 w 682"/>
                <a:gd name="T11" fmla="*/ 682 h 682"/>
                <a:gd name="T12" fmla="*/ 582 w 682"/>
                <a:gd name="T13" fmla="*/ 582 h 682"/>
                <a:gd name="T14" fmla="*/ 682 w 682"/>
                <a:gd name="T15" fmla="*/ 341 h 682"/>
                <a:gd name="T16" fmla="*/ 582 w 682"/>
                <a:gd name="T17" fmla="*/ 100 h 682"/>
                <a:gd name="T18" fmla="*/ 564 w 682"/>
                <a:gd name="T19" fmla="*/ 564 h 682"/>
                <a:gd name="T20" fmla="*/ 341 w 682"/>
                <a:gd name="T21" fmla="*/ 656 h 682"/>
                <a:gd name="T22" fmla="*/ 118 w 682"/>
                <a:gd name="T23" fmla="*/ 564 h 682"/>
                <a:gd name="T24" fmla="*/ 26 w 682"/>
                <a:gd name="T25" fmla="*/ 341 h 682"/>
                <a:gd name="T26" fmla="*/ 118 w 682"/>
                <a:gd name="T27" fmla="*/ 118 h 682"/>
                <a:gd name="T28" fmla="*/ 341 w 682"/>
                <a:gd name="T29" fmla="*/ 26 h 682"/>
                <a:gd name="T30" fmla="*/ 564 w 682"/>
                <a:gd name="T31" fmla="*/ 118 h 682"/>
                <a:gd name="T32" fmla="*/ 656 w 682"/>
                <a:gd name="T33" fmla="*/ 341 h 682"/>
                <a:gd name="T34" fmla="*/ 564 w 682"/>
                <a:gd name="T35" fmla="*/ 564 h 682"/>
                <a:gd name="T36" fmla="*/ 564 w 682"/>
                <a:gd name="T37" fmla="*/ 564 h 682"/>
                <a:gd name="T38" fmla="*/ 564 w 682"/>
                <a:gd name="T39" fmla="*/ 564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82" h="682">
                  <a:moveTo>
                    <a:pt x="582" y="100"/>
                  </a:moveTo>
                  <a:cubicBezTo>
                    <a:pt x="518" y="35"/>
                    <a:pt x="432" y="0"/>
                    <a:pt x="341" y="0"/>
                  </a:cubicBezTo>
                  <a:cubicBezTo>
                    <a:pt x="250" y="0"/>
                    <a:pt x="164" y="35"/>
                    <a:pt x="100" y="100"/>
                  </a:cubicBezTo>
                  <a:cubicBezTo>
                    <a:pt x="35" y="164"/>
                    <a:pt x="0" y="250"/>
                    <a:pt x="0" y="341"/>
                  </a:cubicBezTo>
                  <a:cubicBezTo>
                    <a:pt x="0" y="432"/>
                    <a:pt x="35" y="518"/>
                    <a:pt x="100" y="582"/>
                  </a:cubicBezTo>
                  <a:cubicBezTo>
                    <a:pt x="164" y="647"/>
                    <a:pt x="250" y="682"/>
                    <a:pt x="341" y="682"/>
                  </a:cubicBezTo>
                  <a:cubicBezTo>
                    <a:pt x="432" y="682"/>
                    <a:pt x="518" y="647"/>
                    <a:pt x="582" y="582"/>
                  </a:cubicBezTo>
                  <a:cubicBezTo>
                    <a:pt x="647" y="518"/>
                    <a:pt x="682" y="432"/>
                    <a:pt x="682" y="341"/>
                  </a:cubicBezTo>
                  <a:cubicBezTo>
                    <a:pt x="682" y="250"/>
                    <a:pt x="647" y="164"/>
                    <a:pt x="582" y="100"/>
                  </a:cubicBezTo>
                  <a:close/>
                  <a:moveTo>
                    <a:pt x="564" y="564"/>
                  </a:moveTo>
                  <a:cubicBezTo>
                    <a:pt x="504" y="623"/>
                    <a:pt x="425" y="656"/>
                    <a:pt x="341" y="656"/>
                  </a:cubicBezTo>
                  <a:cubicBezTo>
                    <a:pt x="257" y="656"/>
                    <a:pt x="178" y="623"/>
                    <a:pt x="118" y="564"/>
                  </a:cubicBezTo>
                  <a:cubicBezTo>
                    <a:pt x="59" y="504"/>
                    <a:pt x="26" y="425"/>
                    <a:pt x="26" y="341"/>
                  </a:cubicBezTo>
                  <a:cubicBezTo>
                    <a:pt x="26" y="257"/>
                    <a:pt x="59" y="178"/>
                    <a:pt x="118" y="118"/>
                  </a:cubicBezTo>
                  <a:cubicBezTo>
                    <a:pt x="178" y="59"/>
                    <a:pt x="257" y="26"/>
                    <a:pt x="341" y="26"/>
                  </a:cubicBezTo>
                  <a:cubicBezTo>
                    <a:pt x="425" y="26"/>
                    <a:pt x="504" y="59"/>
                    <a:pt x="564" y="118"/>
                  </a:cubicBezTo>
                  <a:cubicBezTo>
                    <a:pt x="623" y="178"/>
                    <a:pt x="656" y="257"/>
                    <a:pt x="656" y="341"/>
                  </a:cubicBezTo>
                  <a:cubicBezTo>
                    <a:pt x="656" y="425"/>
                    <a:pt x="623" y="504"/>
                    <a:pt x="564" y="564"/>
                  </a:cubicBezTo>
                  <a:close/>
                  <a:moveTo>
                    <a:pt x="564" y="564"/>
                  </a:moveTo>
                  <a:cubicBezTo>
                    <a:pt x="564" y="564"/>
                    <a:pt x="564" y="564"/>
                    <a:pt x="564" y="5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82">
              <a:extLst>
                <a:ext uri="{FF2B5EF4-FFF2-40B4-BE49-F238E27FC236}">
                  <a16:creationId xmlns:a16="http://schemas.microsoft.com/office/drawing/2014/main" id="{1529AC03-F6BF-40D3-9DB2-15C90B34CCC6}"/>
                </a:ext>
              </a:extLst>
            </p:cNvPr>
            <p:cNvSpPr>
              <a:spLocks noEditPoints="1"/>
            </p:cNvSpPr>
            <p:nvPr/>
          </p:nvSpPr>
          <p:spPr bwMode="auto">
            <a:xfrm>
              <a:off x="2536" y="1716"/>
              <a:ext cx="692" cy="905"/>
            </a:xfrm>
            <a:custGeom>
              <a:avLst/>
              <a:gdLst>
                <a:gd name="T0" fmla="*/ 154 w 310"/>
                <a:gd name="T1" fmla="*/ 418 h 418"/>
                <a:gd name="T2" fmla="*/ 168 w 310"/>
                <a:gd name="T3" fmla="*/ 404 h 418"/>
                <a:gd name="T4" fmla="*/ 168 w 310"/>
                <a:gd name="T5" fmla="*/ 358 h 418"/>
                <a:gd name="T6" fmla="*/ 225 w 310"/>
                <a:gd name="T7" fmla="*/ 377 h 418"/>
                <a:gd name="T8" fmla="*/ 229 w 310"/>
                <a:gd name="T9" fmla="*/ 377 h 418"/>
                <a:gd name="T10" fmla="*/ 305 w 310"/>
                <a:gd name="T11" fmla="*/ 339 h 418"/>
                <a:gd name="T12" fmla="*/ 308 w 310"/>
                <a:gd name="T13" fmla="*/ 335 h 418"/>
                <a:gd name="T14" fmla="*/ 308 w 310"/>
                <a:gd name="T15" fmla="*/ 323 h 418"/>
                <a:gd name="T16" fmla="*/ 305 w 310"/>
                <a:gd name="T17" fmla="*/ 320 h 418"/>
                <a:gd name="T18" fmla="*/ 236 w 310"/>
                <a:gd name="T19" fmla="*/ 283 h 418"/>
                <a:gd name="T20" fmla="*/ 277 w 310"/>
                <a:gd name="T21" fmla="*/ 176 h 418"/>
                <a:gd name="T22" fmla="*/ 218 w 310"/>
                <a:gd name="T23" fmla="*/ 48 h 418"/>
                <a:gd name="T24" fmla="*/ 161 w 310"/>
                <a:gd name="T25" fmla="*/ 2 h 418"/>
                <a:gd name="T26" fmla="*/ 148 w 310"/>
                <a:gd name="T27" fmla="*/ 2 h 418"/>
                <a:gd name="T28" fmla="*/ 90 w 310"/>
                <a:gd name="T29" fmla="*/ 48 h 418"/>
                <a:gd name="T30" fmla="*/ 31 w 310"/>
                <a:gd name="T31" fmla="*/ 176 h 418"/>
                <a:gd name="T32" fmla="*/ 72 w 310"/>
                <a:gd name="T33" fmla="*/ 283 h 418"/>
                <a:gd name="T34" fmla="*/ 4 w 310"/>
                <a:gd name="T35" fmla="*/ 320 h 418"/>
                <a:gd name="T36" fmla="*/ 0 w 310"/>
                <a:gd name="T37" fmla="*/ 330 h 418"/>
                <a:gd name="T38" fmla="*/ 0 w 310"/>
                <a:gd name="T39" fmla="*/ 330 h 418"/>
                <a:gd name="T40" fmla="*/ 4 w 310"/>
                <a:gd name="T41" fmla="*/ 340 h 418"/>
                <a:gd name="T42" fmla="*/ 83 w 310"/>
                <a:gd name="T43" fmla="*/ 377 h 418"/>
                <a:gd name="T44" fmla="*/ 141 w 310"/>
                <a:gd name="T45" fmla="*/ 358 h 418"/>
                <a:gd name="T46" fmla="*/ 141 w 310"/>
                <a:gd name="T47" fmla="*/ 404 h 418"/>
                <a:gd name="T48" fmla="*/ 154 w 310"/>
                <a:gd name="T49" fmla="*/ 418 h 418"/>
                <a:gd name="T50" fmla="*/ 276 w 310"/>
                <a:gd name="T51" fmla="*/ 330 h 418"/>
                <a:gd name="T52" fmla="*/ 228 w 310"/>
                <a:gd name="T53" fmla="*/ 350 h 418"/>
                <a:gd name="T54" fmla="*/ 181 w 310"/>
                <a:gd name="T55" fmla="*/ 335 h 418"/>
                <a:gd name="T56" fmla="*/ 211 w 310"/>
                <a:gd name="T57" fmla="*/ 310 h 418"/>
                <a:gd name="T58" fmla="*/ 276 w 310"/>
                <a:gd name="T59" fmla="*/ 330 h 418"/>
                <a:gd name="T60" fmla="*/ 96 w 310"/>
                <a:gd name="T61" fmla="*/ 349 h 418"/>
                <a:gd name="T62" fmla="*/ 33 w 310"/>
                <a:gd name="T63" fmla="*/ 330 h 418"/>
                <a:gd name="T64" fmla="*/ 97 w 310"/>
                <a:gd name="T65" fmla="*/ 310 h 418"/>
                <a:gd name="T66" fmla="*/ 127 w 310"/>
                <a:gd name="T67" fmla="*/ 335 h 418"/>
                <a:gd name="T68" fmla="*/ 96 w 310"/>
                <a:gd name="T69" fmla="*/ 349 h 418"/>
                <a:gd name="T70" fmla="*/ 58 w 310"/>
                <a:gd name="T71" fmla="*/ 176 h 418"/>
                <a:gd name="T72" fmla="*/ 154 w 310"/>
                <a:gd name="T73" fmla="*/ 29 h 418"/>
                <a:gd name="T74" fmla="*/ 250 w 310"/>
                <a:gd name="T75" fmla="*/ 176 h 418"/>
                <a:gd name="T76" fmla="*/ 154 w 310"/>
                <a:gd name="T77" fmla="*/ 321 h 418"/>
                <a:gd name="T78" fmla="*/ 58 w 310"/>
                <a:gd name="T79" fmla="*/ 176 h 418"/>
                <a:gd name="T80" fmla="*/ 58 w 310"/>
                <a:gd name="T81" fmla="*/ 176 h 418"/>
                <a:gd name="T82" fmla="*/ 58 w 310"/>
                <a:gd name="T83" fmla="*/ 176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0" h="418">
                  <a:moveTo>
                    <a:pt x="154" y="418"/>
                  </a:moveTo>
                  <a:cubicBezTo>
                    <a:pt x="162" y="418"/>
                    <a:pt x="168" y="412"/>
                    <a:pt x="168" y="404"/>
                  </a:cubicBezTo>
                  <a:cubicBezTo>
                    <a:pt x="168" y="358"/>
                    <a:pt x="168" y="358"/>
                    <a:pt x="168" y="358"/>
                  </a:cubicBezTo>
                  <a:cubicBezTo>
                    <a:pt x="186" y="371"/>
                    <a:pt x="205" y="377"/>
                    <a:pt x="225" y="377"/>
                  </a:cubicBezTo>
                  <a:cubicBezTo>
                    <a:pt x="226" y="377"/>
                    <a:pt x="228" y="377"/>
                    <a:pt x="229" y="377"/>
                  </a:cubicBezTo>
                  <a:cubicBezTo>
                    <a:pt x="271" y="375"/>
                    <a:pt x="301" y="344"/>
                    <a:pt x="305" y="339"/>
                  </a:cubicBezTo>
                  <a:cubicBezTo>
                    <a:pt x="306" y="338"/>
                    <a:pt x="307" y="337"/>
                    <a:pt x="308" y="335"/>
                  </a:cubicBezTo>
                  <a:cubicBezTo>
                    <a:pt x="310" y="331"/>
                    <a:pt x="310" y="327"/>
                    <a:pt x="308" y="323"/>
                  </a:cubicBezTo>
                  <a:cubicBezTo>
                    <a:pt x="307" y="322"/>
                    <a:pt x="306" y="321"/>
                    <a:pt x="305" y="320"/>
                  </a:cubicBezTo>
                  <a:cubicBezTo>
                    <a:pt x="302" y="316"/>
                    <a:pt x="275" y="288"/>
                    <a:pt x="236" y="283"/>
                  </a:cubicBezTo>
                  <a:cubicBezTo>
                    <a:pt x="263" y="249"/>
                    <a:pt x="277" y="213"/>
                    <a:pt x="277" y="176"/>
                  </a:cubicBezTo>
                  <a:cubicBezTo>
                    <a:pt x="277" y="131"/>
                    <a:pt x="257" y="87"/>
                    <a:pt x="218" y="48"/>
                  </a:cubicBezTo>
                  <a:cubicBezTo>
                    <a:pt x="190" y="19"/>
                    <a:pt x="162" y="3"/>
                    <a:pt x="161" y="2"/>
                  </a:cubicBezTo>
                  <a:cubicBezTo>
                    <a:pt x="157" y="0"/>
                    <a:pt x="152" y="0"/>
                    <a:pt x="148" y="2"/>
                  </a:cubicBezTo>
                  <a:cubicBezTo>
                    <a:pt x="146" y="3"/>
                    <a:pt x="118" y="19"/>
                    <a:pt x="90" y="48"/>
                  </a:cubicBezTo>
                  <a:cubicBezTo>
                    <a:pt x="51" y="87"/>
                    <a:pt x="31" y="131"/>
                    <a:pt x="31" y="176"/>
                  </a:cubicBezTo>
                  <a:cubicBezTo>
                    <a:pt x="31" y="213"/>
                    <a:pt x="45" y="249"/>
                    <a:pt x="72" y="283"/>
                  </a:cubicBezTo>
                  <a:cubicBezTo>
                    <a:pt x="43" y="286"/>
                    <a:pt x="20" y="303"/>
                    <a:pt x="4" y="320"/>
                  </a:cubicBezTo>
                  <a:cubicBezTo>
                    <a:pt x="1" y="322"/>
                    <a:pt x="0" y="326"/>
                    <a:pt x="0" y="330"/>
                  </a:cubicBezTo>
                  <a:cubicBezTo>
                    <a:pt x="0" y="330"/>
                    <a:pt x="0" y="330"/>
                    <a:pt x="0" y="330"/>
                  </a:cubicBezTo>
                  <a:cubicBezTo>
                    <a:pt x="0" y="334"/>
                    <a:pt x="1" y="337"/>
                    <a:pt x="4" y="340"/>
                  </a:cubicBezTo>
                  <a:cubicBezTo>
                    <a:pt x="31" y="367"/>
                    <a:pt x="58" y="377"/>
                    <a:pt x="83" y="377"/>
                  </a:cubicBezTo>
                  <a:cubicBezTo>
                    <a:pt x="104" y="377"/>
                    <a:pt x="124" y="370"/>
                    <a:pt x="141" y="358"/>
                  </a:cubicBezTo>
                  <a:cubicBezTo>
                    <a:pt x="141" y="404"/>
                    <a:pt x="141" y="404"/>
                    <a:pt x="141" y="404"/>
                  </a:cubicBezTo>
                  <a:cubicBezTo>
                    <a:pt x="141" y="412"/>
                    <a:pt x="147" y="418"/>
                    <a:pt x="154" y="418"/>
                  </a:cubicBezTo>
                  <a:close/>
                  <a:moveTo>
                    <a:pt x="276" y="330"/>
                  </a:moveTo>
                  <a:cubicBezTo>
                    <a:pt x="266" y="338"/>
                    <a:pt x="249" y="349"/>
                    <a:pt x="228" y="350"/>
                  </a:cubicBezTo>
                  <a:cubicBezTo>
                    <a:pt x="212" y="351"/>
                    <a:pt x="196" y="346"/>
                    <a:pt x="181" y="335"/>
                  </a:cubicBezTo>
                  <a:cubicBezTo>
                    <a:pt x="192" y="327"/>
                    <a:pt x="202" y="319"/>
                    <a:pt x="211" y="310"/>
                  </a:cubicBezTo>
                  <a:cubicBezTo>
                    <a:pt x="240" y="304"/>
                    <a:pt x="264" y="319"/>
                    <a:pt x="276" y="330"/>
                  </a:cubicBezTo>
                  <a:close/>
                  <a:moveTo>
                    <a:pt x="96" y="349"/>
                  </a:moveTo>
                  <a:cubicBezTo>
                    <a:pt x="75" y="354"/>
                    <a:pt x="53" y="347"/>
                    <a:pt x="33" y="330"/>
                  </a:cubicBezTo>
                  <a:cubicBezTo>
                    <a:pt x="53" y="312"/>
                    <a:pt x="75" y="305"/>
                    <a:pt x="97" y="310"/>
                  </a:cubicBezTo>
                  <a:cubicBezTo>
                    <a:pt x="106" y="319"/>
                    <a:pt x="117" y="328"/>
                    <a:pt x="127" y="335"/>
                  </a:cubicBezTo>
                  <a:cubicBezTo>
                    <a:pt x="119" y="341"/>
                    <a:pt x="109" y="347"/>
                    <a:pt x="96" y="349"/>
                  </a:cubicBezTo>
                  <a:close/>
                  <a:moveTo>
                    <a:pt x="58" y="176"/>
                  </a:moveTo>
                  <a:cubicBezTo>
                    <a:pt x="58" y="98"/>
                    <a:pt x="131" y="44"/>
                    <a:pt x="154" y="29"/>
                  </a:cubicBezTo>
                  <a:cubicBezTo>
                    <a:pt x="177" y="44"/>
                    <a:pt x="250" y="98"/>
                    <a:pt x="250" y="176"/>
                  </a:cubicBezTo>
                  <a:cubicBezTo>
                    <a:pt x="250" y="253"/>
                    <a:pt x="177" y="307"/>
                    <a:pt x="154" y="321"/>
                  </a:cubicBezTo>
                  <a:cubicBezTo>
                    <a:pt x="132" y="307"/>
                    <a:pt x="58" y="253"/>
                    <a:pt x="58" y="176"/>
                  </a:cubicBezTo>
                  <a:close/>
                  <a:moveTo>
                    <a:pt x="58" y="176"/>
                  </a:moveTo>
                  <a:cubicBezTo>
                    <a:pt x="58" y="176"/>
                    <a:pt x="58" y="176"/>
                    <a:pt x="58" y="1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83">
              <a:extLst>
                <a:ext uri="{FF2B5EF4-FFF2-40B4-BE49-F238E27FC236}">
                  <a16:creationId xmlns:a16="http://schemas.microsoft.com/office/drawing/2014/main" id="{56E0456A-1E1A-486B-BDFD-9D951658D16E}"/>
                </a:ext>
              </a:extLst>
            </p:cNvPr>
            <p:cNvSpPr>
              <a:spLocks noEditPoints="1"/>
            </p:cNvSpPr>
            <p:nvPr/>
          </p:nvSpPr>
          <p:spPr bwMode="auto">
            <a:xfrm>
              <a:off x="2773" y="1885"/>
              <a:ext cx="216" cy="433"/>
            </a:xfrm>
            <a:custGeom>
              <a:avLst/>
              <a:gdLst>
                <a:gd name="T0" fmla="*/ 51 w 97"/>
                <a:gd name="T1" fmla="*/ 193 h 200"/>
                <a:gd name="T2" fmla="*/ 95 w 97"/>
                <a:gd name="T3" fmla="*/ 103 h 200"/>
                <a:gd name="T4" fmla="*/ 95 w 97"/>
                <a:gd name="T5" fmla="*/ 90 h 200"/>
                <a:gd name="T6" fmla="*/ 83 w 97"/>
                <a:gd name="T7" fmla="*/ 84 h 200"/>
                <a:gd name="T8" fmla="*/ 36 w 97"/>
                <a:gd name="T9" fmla="*/ 84 h 200"/>
                <a:gd name="T10" fmla="*/ 69 w 97"/>
                <a:gd name="T11" fmla="*/ 22 h 200"/>
                <a:gd name="T12" fmla="*/ 63 w 97"/>
                <a:gd name="T13" fmla="*/ 4 h 200"/>
                <a:gd name="T14" fmla="*/ 45 w 97"/>
                <a:gd name="T15" fmla="*/ 9 h 200"/>
                <a:gd name="T16" fmla="*/ 3 w 97"/>
                <a:gd name="T17" fmla="*/ 91 h 200"/>
                <a:gd name="T18" fmla="*/ 3 w 97"/>
                <a:gd name="T19" fmla="*/ 104 h 200"/>
                <a:gd name="T20" fmla="*/ 14 w 97"/>
                <a:gd name="T21" fmla="*/ 111 h 200"/>
                <a:gd name="T22" fmla="*/ 62 w 97"/>
                <a:gd name="T23" fmla="*/ 111 h 200"/>
                <a:gd name="T24" fmla="*/ 28 w 97"/>
                <a:gd name="T25" fmla="*/ 181 h 200"/>
                <a:gd name="T26" fmla="*/ 34 w 97"/>
                <a:gd name="T27" fmla="*/ 199 h 200"/>
                <a:gd name="T28" fmla="*/ 40 w 97"/>
                <a:gd name="T29" fmla="*/ 200 h 200"/>
                <a:gd name="T30" fmla="*/ 51 w 97"/>
                <a:gd name="T31" fmla="*/ 193 h 200"/>
                <a:gd name="T32" fmla="*/ 51 w 97"/>
                <a:gd name="T33" fmla="*/ 193 h 200"/>
                <a:gd name="T34" fmla="*/ 51 w 97"/>
                <a:gd name="T35" fmla="*/ 1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 h="200">
                  <a:moveTo>
                    <a:pt x="51" y="193"/>
                  </a:moveTo>
                  <a:cubicBezTo>
                    <a:pt x="95" y="103"/>
                    <a:pt x="95" y="103"/>
                    <a:pt x="95" y="103"/>
                  </a:cubicBezTo>
                  <a:cubicBezTo>
                    <a:pt x="97" y="99"/>
                    <a:pt x="97" y="94"/>
                    <a:pt x="95" y="90"/>
                  </a:cubicBezTo>
                  <a:cubicBezTo>
                    <a:pt x="92" y="86"/>
                    <a:pt x="88" y="84"/>
                    <a:pt x="83" y="84"/>
                  </a:cubicBezTo>
                  <a:cubicBezTo>
                    <a:pt x="36" y="84"/>
                    <a:pt x="36" y="84"/>
                    <a:pt x="36" y="84"/>
                  </a:cubicBezTo>
                  <a:cubicBezTo>
                    <a:pt x="69" y="22"/>
                    <a:pt x="69" y="22"/>
                    <a:pt x="69" y="22"/>
                  </a:cubicBezTo>
                  <a:cubicBezTo>
                    <a:pt x="72" y="15"/>
                    <a:pt x="70" y="7"/>
                    <a:pt x="63" y="4"/>
                  </a:cubicBezTo>
                  <a:cubicBezTo>
                    <a:pt x="57" y="0"/>
                    <a:pt x="49" y="3"/>
                    <a:pt x="45" y="9"/>
                  </a:cubicBezTo>
                  <a:cubicBezTo>
                    <a:pt x="3" y="91"/>
                    <a:pt x="3" y="91"/>
                    <a:pt x="3" y="91"/>
                  </a:cubicBezTo>
                  <a:cubicBezTo>
                    <a:pt x="0" y="95"/>
                    <a:pt x="1" y="100"/>
                    <a:pt x="3" y="104"/>
                  </a:cubicBezTo>
                  <a:cubicBezTo>
                    <a:pt x="6" y="108"/>
                    <a:pt x="10" y="111"/>
                    <a:pt x="14" y="111"/>
                  </a:cubicBezTo>
                  <a:cubicBezTo>
                    <a:pt x="62" y="111"/>
                    <a:pt x="62" y="111"/>
                    <a:pt x="62" y="111"/>
                  </a:cubicBezTo>
                  <a:cubicBezTo>
                    <a:pt x="28" y="181"/>
                    <a:pt x="28" y="181"/>
                    <a:pt x="28" y="181"/>
                  </a:cubicBezTo>
                  <a:cubicBezTo>
                    <a:pt x="24" y="188"/>
                    <a:pt x="27" y="196"/>
                    <a:pt x="34" y="199"/>
                  </a:cubicBezTo>
                  <a:cubicBezTo>
                    <a:pt x="36" y="200"/>
                    <a:pt x="38" y="200"/>
                    <a:pt x="40" y="200"/>
                  </a:cubicBezTo>
                  <a:cubicBezTo>
                    <a:pt x="44" y="200"/>
                    <a:pt x="49" y="198"/>
                    <a:pt x="51" y="193"/>
                  </a:cubicBezTo>
                  <a:close/>
                  <a:moveTo>
                    <a:pt x="51" y="193"/>
                  </a:moveTo>
                  <a:cubicBezTo>
                    <a:pt x="51" y="193"/>
                    <a:pt x="51" y="193"/>
                    <a:pt x="51" y="1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84">
              <a:extLst>
                <a:ext uri="{FF2B5EF4-FFF2-40B4-BE49-F238E27FC236}">
                  <a16:creationId xmlns:a16="http://schemas.microsoft.com/office/drawing/2014/main" id="{364C0838-D5BF-45AC-A191-A37EBEB46F13}"/>
                </a:ext>
              </a:extLst>
            </p:cNvPr>
            <p:cNvSpPr>
              <a:spLocks noEditPoints="1"/>
            </p:cNvSpPr>
            <p:nvPr/>
          </p:nvSpPr>
          <p:spPr bwMode="auto">
            <a:xfrm>
              <a:off x="3317" y="1783"/>
              <a:ext cx="65" cy="59"/>
            </a:xfrm>
            <a:custGeom>
              <a:avLst/>
              <a:gdLst>
                <a:gd name="T0" fmla="*/ 2 w 29"/>
                <a:gd name="T1" fmla="*/ 19 h 27"/>
                <a:gd name="T2" fmla="*/ 15 w 29"/>
                <a:gd name="T3" fmla="*/ 27 h 27"/>
                <a:gd name="T4" fmla="*/ 28 w 29"/>
                <a:gd name="T5" fmla="*/ 18 h 27"/>
                <a:gd name="T6" fmla="*/ 23 w 29"/>
                <a:gd name="T7" fmla="*/ 3 h 27"/>
                <a:gd name="T8" fmla="*/ 7 w 29"/>
                <a:gd name="T9" fmla="*/ 3 h 27"/>
                <a:gd name="T10" fmla="*/ 2 w 29"/>
                <a:gd name="T11" fmla="*/ 19 h 27"/>
                <a:gd name="T12" fmla="*/ 2 w 29"/>
                <a:gd name="T13" fmla="*/ 19 h 27"/>
                <a:gd name="T14" fmla="*/ 2 w 29"/>
                <a:gd name="T15" fmla="*/ 19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7">
                  <a:moveTo>
                    <a:pt x="2" y="19"/>
                  </a:moveTo>
                  <a:cubicBezTo>
                    <a:pt x="5" y="24"/>
                    <a:pt x="10" y="27"/>
                    <a:pt x="15" y="27"/>
                  </a:cubicBezTo>
                  <a:cubicBezTo>
                    <a:pt x="21" y="27"/>
                    <a:pt x="26" y="23"/>
                    <a:pt x="28" y="18"/>
                  </a:cubicBezTo>
                  <a:cubicBezTo>
                    <a:pt x="29" y="12"/>
                    <a:pt x="27" y="7"/>
                    <a:pt x="23" y="3"/>
                  </a:cubicBezTo>
                  <a:cubicBezTo>
                    <a:pt x="18" y="0"/>
                    <a:pt x="12" y="0"/>
                    <a:pt x="7" y="3"/>
                  </a:cubicBezTo>
                  <a:cubicBezTo>
                    <a:pt x="2" y="6"/>
                    <a:pt x="0" y="13"/>
                    <a:pt x="2" y="19"/>
                  </a:cubicBezTo>
                  <a:close/>
                  <a:moveTo>
                    <a:pt x="2" y="19"/>
                  </a:moveTo>
                  <a:cubicBezTo>
                    <a:pt x="2" y="19"/>
                    <a:pt x="2" y="19"/>
                    <a:pt x="2"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4" name="Straight Connector 3">
            <a:extLst>
              <a:ext uri="{FF2B5EF4-FFF2-40B4-BE49-F238E27FC236}">
                <a16:creationId xmlns:a16="http://schemas.microsoft.com/office/drawing/2014/main" id="{E92DE13E-DD58-5743-ACA6-6F8203042443}"/>
              </a:ext>
            </a:extLst>
          </p:cNvPr>
          <p:cNvCxnSpPr>
            <a:cxnSpLocks/>
            <a:stCxn id="110" idx="4"/>
            <a:endCxn id="2" idx="1"/>
          </p:cNvCxnSpPr>
          <p:nvPr/>
        </p:nvCxnSpPr>
        <p:spPr>
          <a:xfrm flipV="1">
            <a:off x="4486226" y="3389993"/>
            <a:ext cx="449537" cy="3064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C9216E0-23B3-674A-994B-0B0B5252AF61}"/>
              </a:ext>
            </a:extLst>
          </p:cNvPr>
          <p:cNvCxnSpPr>
            <a:cxnSpLocks/>
            <a:stCxn id="2" idx="3"/>
            <a:endCxn id="111" idx="0"/>
          </p:cNvCxnSpPr>
          <p:nvPr/>
        </p:nvCxnSpPr>
        <p:spPr>
          <a:xfrm flipV="1">
            <a:off x="5543247" y="1767578"/>
            <a:ext cx="1" cy="51679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1A25B294-BEA5-F640-903C-FBB6F4F8A9B1}"/>
              </a:ext>
            </a:extLst>
          </p:cNvPr>
          <p:cNvSpPr>
            <a:spLocks noChangeAspect="1"/>
          </p:cNvSpPr>
          <p:nvPr/>
        </p:nvSpPr>
        <p:spPr bwMode="gray">
          <a:xfrm>
            <a:off x="6573457" y="3647592"/>
            <a:ext cx="121035" cy="121035"/>
          </a:xfrm>
          <a:prstGeom prst="ellips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136" name="Straight Connector 135">
            <a:extLst>
              <a:ext uri="{FF2B5EF4-FFF2-40B4-BE49-F238E27FC236}">
                <a16:creationId xmlns:a16="http://schemas.microsoft.com/office/drawing/2014/main" id="{6E798854-CE52-0B42-BA49-5BC0536AEC09}"/>
              </a:ext>
            </a:extLst>
          </p:cNvPr>
          <p:cNvCxnSpPr>
            <a:cxnSpLocks/>
            <a:stCxn id="113" idx="3"/>
            <a:endCxn id="42" idx="4"/>
          </p:cNvCxnSpPr>
          <p:nvPr/>
        </p:nvCxnSpPr>
        <p:spPr>
          <a:xfrm flipH="1" flipV="1">
            <a:off x="6633975" y="3768627"/>
            <a:ext cx="553" cy="51392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5FF19313-ED64-334D-A36E-F492E7DAC7A6}"/>
              </a:ext>
            </a:extLst>
          </p:cNvPr>
          <p:cNvCxnSpPr>
            <a:cxnSpLocks/>
          </p:cNvCxnSpPr>
          <p:nvPr/>
        </p:nvCxnSpPr>
        <p:spPr>
          <a:xfrm flipH="1" flipV="1">
            <a:off x="7713192" y="2014969"/>
            <a:ext cx="1" cy="268404"/>
          </a:xfrm>
          <a:prstGeom prst="line">
            <a:avLst/>
          </a:prstGeom>
          <a:ln>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C2764D99-1A0D-6041-94BC-3518EE4F9FA2}"/>
              </a:ext>
            </a:extLst>
          </p:cNvPr>
          <p:cNvCxnSpPr>
            <a:cxnSpLocks/>
          </p:cNvCxnSpPr>
          <p:nvPr/>
        </p:nvCxnSpPr>
        <p:spPr>
          <a:xfrm flipH="1">
            <a:off x="5958169" y="1299466"/>
            <a:ext cx="313832" cy="5512"/>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A42CDFC0-BCD8-0E40-BBF3-4BD430021E0E}"/>
              </a:ext>
            </a:extLst>
          </p:cNvPr>
          <p:cNvCxnSpPr>
            <a:cxnSpLocks/>
          </p:cNvCxnSpPr>
          <p:nvPr/>
        </p:nvCxnSpPr>
        <p:spPr>
          <a:xfrm flipH="1" flipV="1">
            <a:off x="3207807" y="3389993"/>
            <a:ext cx="449537" cy="3064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C31FB22F-A4F7-104C-A9FF-99064FA73043}"/>
              </a:ext>
            </a:extLst>
          </p:cNvPr>
          <p:cNvCxnSpPr>
            <a:cxnSpLocks/>
          </p:cNvCxnSpPr>
          <p:nvPr/>
        </p:nvCxnSpPr>
        <p:spPr>
          <a:xfrm flipV="1">
            <a:off x="6653365" y="3387242"/>
            <a:ext cx="449537" cy="3064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1C444D39-F94B-4949-9D84-43DF57ABCBCD}"/>
              </a:ext>
            </a:extLst>
          </p:cNvPr>
          <p:cNvCxnSpPr>
            <a:cxnSpLocks/>
          </p:cNvCxnSpPr>
          <p:nvPr/>
        </p:nvCxnSpPr>
        <p:spPr>
          <a:xfrm flipH="1" flipV="1">
            <a:off x="6137666" y="3387242"/>
            <a:ext cx="449537" cy="3064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F45B2DD4-B81D-5C49-B109-EBA3C83340E8}"/>
              </a:ext>
            </a:extLst>
          </p:cNvPr>
          <p:cNvCxnSpPr>
            <a:cxnSpLocks/>
          </p:cNvCxnSpPr>
          <p:nvPr/>
        </p:nvCxnSpPr>
        <p:spPr>
          <a:xfrm flipH="1" flipV="1">
            <a:off x="8308509" y="3373250"/>
            <a:ext cx="449537" cy="3064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B1A14883-AA23-2B4F-A27A-518FFED0197B}"/>
              </a:ext>
            </a:extLst>
          </p:cNvPr>
          <p:cNvCxnSpPr>
            <a:cxnSpLocks/>
          </p:cNvCxnSpPr>
          <p:nvPr/>
        </p:nvCxnSpPr>
        <p:spPr>
          <a:xfrm flipH="1" flipV="1">
            <a:off x="4478732" y="2279713"/>
            <a:ext cx="449537" cy="306493"/>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9DC3CB1-0130-254C-B72C-20D92C98A167}"/>
              </a:ext>
            </a:extLst>
          </p:cNvPr>
          <p:cNvCxnSpPr>
            <a:cxnSpLocks/>
            <a:stCxn id="110" idx="0"/>
          </p:cNvCxnSpPr>
          <p:nvPr/>
        </p:nvCxnSpPr>
        <p:spPr>
          <a:xfrm rot="5400000">
            <a:off x="3594775" y="4290214"/>
            <a:ext cx="315105" cy="637959"/>
          </a:xfrm>
          <a:prstGeom prst="bentConnector2">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0A257D79-3FA5-964E-801A-98F8DFD6FE2E}"/>
              </a:ext>
            </a:extLst>
          </p:cNvPr>
          <p:cNvCxnSpPr>
            <a:cxnSpLocks/>
          </p:cNvCxnSpPr>
          <p:nvPr/>
        </p:nvCxnSpPr>
        <p:spPr>
          <a:xfrm>
            <a:off x="8329830" y="2940773"/>
            <a:ext cx="533454"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31585752"/>
      </p:ext>
    </p:extLst>
  </p:cSld>
  <p:clrMapOvr>
    <a:masterClrMapping/>
  </p:clrMapOvr>
  <p:transition>
    <p:fade/>
  </p:transition>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4"/>
          <p:cNvSpPr>
            <a:spLocks noChangeArrowheads="1"/>
          </p:cNvSpPr>
          <p:nvPr/>
        </p:nvSpPr>
        <p:spPr bwMode="auto">
          <a:xfrm>
            <a:off x="8767763" y="4611751"/>
            <a:ext cx="1265237" cy="1265238"/>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19" name="TextBox 31"/>
          <p:cNvSpPr txBox="1">
            <a:spLocks noChangeArrowheads="1"/>
          </p:cNvSpPr>
          <p:nvPr/>
        </p:nvSpPr>
        <p:spPr bwMode="auto">
          <a:xfrm>
            <a:off x="8759825" y="4645089"/>
            <a:ext cx="1284288"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dirty="0">
                <a:solidFill>
                  <a:schemeClr val="bg1"/>
                </a:solidFill>
                <a:latin typeface="+mn-lt"/>
                <a:ea typeface="华文仿宋" panose="02010600040101010101" pitchFamily="2" charset="-122"/>
                <a:sym typeface="+mn-lt"/>
              </a:rPr>
              <a:t>Strength</a:t>
            </a:r>
          </a:p>
          <a:p>
            <a:pPr eaLnBrk="1" hangingPunct="1"/>
            <a:endParaRPr lang="en-US" altLang="zh-CN" sz="1000" dirty="0">
              <a:solidFill>
                <a:schemeClr val="bg1"/>
              </a:solidFill>
              <a:latin typeface="+mn-lt"/>
              <a:ea typeface="华文仿宋" panose="02010600040101010101" pitchFamily="2" charset="-122"/>
              <a:sym typeface="+mn-lt"/>
            </a:endParaRPr>
          </a:p>
          <a:p>
            <a:pPr eaLnBrk="1" hangingPunct="1"/>
            <a:r>
              <a:rPr lang="en-US" altLang="zh-CN" sz="1000" dirty="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dirty="0">
              <a:solidFill>
                <a:schemeClr val="bg1"/>
              </a:solidFill>
              <a:latin typeface="+mn-lt"/>
              <a:ea typeface="华文仿宋" panose="02010600040101010101" pitchFamily="2" charset="-122"/>
              <a:sym typeface="+mn-lt"/>
            </a:endParaRPr>
          </a:p>
        </p:txBody>
      </p:sp>
      <p:sp>
        <p:nvSpPr>
          <p:cNvPr id="2" name="Rectangle 1"/>
          <p:cNvSpPr>
            <a:spLocks noChangeArrowheads="1"/>
          </p:cNvSpPr>
          <p:nvPr/>
        </p:nvSpPr>
        <p:spPr bwMode="auto">
          <a:xfrm>
            <a:off x="5541963" y="1004425"/>
            <a:ext cx="1266825" cy="1266825"/>
          </a:xfrm>
          <a:prstGeom prst="rect">
            <a:avLst/>
          </a:prstGeom>
          <a:solidFill>
            <a:schemeClr val="accent1"/>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2800">
              <a:solidFill>
                <a:srgbClr val="FFFFFF"/>
              </a:solidFill>
              <a:latin typeface="微软雅黑" panose="020B0503020204020204" pitchFamily="34" charset="-122"/>
              <a:ea typeface="微软雅黑" panose="020B0503020204020204" pitchFamily="34" charset="-122"/>
              <a:sym typeface="+mn-lt"/>
            </a:endParaRPr>
          </a:p>
        </p:txBody>
      </p:sp>
      <p:sp>
        <p:nvSpPr>
          <p:cNvPr id="4" name="Rectangle 7"/>
          <p:cNvSpPr>
            <a:spLocks noChangeArrowheads="1"/>
          </p:cNvSpPr>
          <p:nvPr/>
        </p:nvSpPr>
        <p:spPr bwMode="auto">
          <a:xfrm>
            <a:off x="3686175" y="2843276"/>
            <a:ext cx="1266825" cy="1266825"/>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5" name="Rectangle 9"/>
          <p:cNvSpPr>
            <a:spLocks noChangeArrowheads="1"/>
          </p:cNvSpPr>
          <p:nvPr/>
        </p:nvSpPr>
        <p:spPr bwMode="auto">
          <a:xfrm>
            <a:off x="7277100" y="2843276"/>
            <a:ext cx="1266825" cy="1266825"/>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6" name="Rectangle 12"/>
          <p:cNvSpPr>
            <a:spLocks noChangeArrowheads="1"/>
          </p:cNvSpPr>
          <p:nvPr/>
        </p:nvSpPr>
        <p:spPr bwMode="auto">
          <a:xfrm>
            <a:off x="5530850" y="2843276"/>
            <a:ext cx="1266825" cy="1266825"/>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7" name="Rectangle 13"/>
          <p:cNvSpPr>
            <a:spLocks noChangeArrowheads="1"/>
          </p:cNvSpPr>
          <p:nvPr/>
        </p:nvSpPr>
        <p:spPr bwMode="auto">
          <a:xfrm>
            <a:off x="2462213" y="4611751"/>
            <a:ext cx="1266825" cy="1265238"/>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9" name="Rectangle 15"/>
          <p:cNvSpPr>
            <a:spLocks noChangeArrowheads="1"/>
          </p:cNvSpPr>
          <p:nvPr/>
        </p:nvSpPr>
        <p:spPr bwMode="auto">
          <a:xfrm>
            <a:off x="5530850" y="4611751"/>
            <a:ext cx="1266825" cy="1265238"/>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10" name="Nedadbuet pil 24"/>
          <p:cNvSpPr>
            <a:spLocks/>
          </p:cNvSpPr>
          <p:nvPr/>
        </p:nvSpPr>
        <p:spPr bwMode="auto">
          <a:xfrm>
            <a:off x="6889750" y="1660589"/>
            <a:ext cx="966788" cy="833437"/>
          </a:xfrm>
          <a:custGeom>
            <a:avLst/>
            <a:gdLst>
              <a:gd name="T0" fmla="*/ 387272 w 1203728"/>
              <a:gd name="T1" fmla="*/ 431032 h 1038311"/>
              <a:gd name="T2" fmla="*/ 176408 w 1203728"/>
              <a:gd name="T3" fmla="*/ 220041 h 1038311"/>
              <a:gd name="T4" fmla="*/ 275810 w 1203728"/>
              <a:gd name="T5" fmla="*/ 220041 h 1038311"/>
              <a:gd name="T6" fmla="*/ 0 w 1203728"/>
              <a:gd name="T7" fmla="*/ 30350 h 1038311"/>
              <a:gd name="T8" fmla="*/ 125675 w 1203728"/>
              <a:gd name="T9" fmla="*/ 30350 h 1038311"/>
              <a:gd name="T10" fmla="*/ 401484 w 1203728"/>
              <a:gd name="T11" fmla="*/ 220041 h 1038311"/>
              <a:gd name="T12" fmla="*/ 500887 w 1203728"/>
              <a:gd name="T13" fmla="*/ 220041 h 1038311"/>
              <a:gd name="T14" fmla="*/ 387272 w 1203728"/>
              <a:gd name="T15" fmla="*/ 431032 h 1038311"/>
              <a:gd name="T16" fmla="*/ 62838 w 1203728"/>
              <a:gd name="T17" fmla="*/ 37939 h 1038311"/>
              <a:gd name="T18" fmla="*/ 59525 w 1203728"/>
              <a:gd name="T19" fmla="*/ 38917 h 1038311"/>
              <a:gd name="T20" fmla="*/ 60682 w 1203728"/>
              <a:gd name="T21" fmla="*/ 38917 h 1038311"/>
              <a:gd name="T22" fmla="*/ 62838 w 1203728"/>
              <a:gd name="T23" fmla="*/ 37939 h 1038311"/>
              <a:gd name="T24" fmla="*/ 62837 w 1203728"/>
              <a:gd name="T25" fmla="*/ 37938 h 1038311"/>
              <a:gd name="T26" fmla="*/ 125675 w 1203728"/>
              <a:gd name="T27" fmla="*/ 30350 h 1038311"/>
              <a:gd name="T28" fmla="*/ 401484 w 1203728"/>
              <a:gd name="T29" fmla="*/ 220041 h 1038311"/>
              <a:gd name="T30" fmla="*/ 500887 w 1203728"/>
              <a:gd name="T31" fmla="*/ 220041 h 1038311"/>
              <a:gd name="T32" fmla="*/ 387272 w 1203728"/>
              <a:gd name="T33" fmla="*/ 431032 h 1038311"/>
              <a:gd name="T34" fmla="*/ 176408 w 1203728"/>
              <a:gd name="T35" fmla="*/ 220041 h 1038311"/>
              <a:gd name="T36" fmla="*/ 275810 w 1203728"/>
              <a:gd name="T37" fmla="*/ 220041 h 1038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03728"/>
              <a:gd name="T58" fmla="*/ 0 h 1038311"/>
              <a:gd name="T59" fmla="*/ 1203728 w 1203728"/>
              <a:gd name="T60" fmla="*/ 1038311 h 10383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03728" h="1038311" stroke="0" extrusionOk="0">
                <a:moveTo>
                  <a:pt x="930689" y="1038311"/>
                </a:moveTo>
                <a:lnTo>
                  <a:pt x="423943" y="530056"/>
                </a:lnTo>
                <a:lnTo>
                  <a:pt x="662825" y="530056"/>
                </a:lnTo>
                <a:cubicBezTo>
                  <a:pt x="520679" y="245966"/>
                  <a:pt x="269942" y="73111"/>
                  <a:pt x="0" y="73110"/>
                </a:cubicBezTo>
                <a:lnTo>
                  <a:pt x="302020" y="73111"/>
                </a:lnTo>
                <a:cubicBezTo>
                  <a:pt x="571963" y="73111"/>
                  <a:pt x="822699" y="245967"/>
                  <a:pt x="964845" y="530057"/>
                </a:cubicBezTo>
                <a:lnTo>
                  <a:pt x="1203728" y="530056"/>
                </a:lnTo>
                <a:lnTo>
                  <a:pt x="930689" y="1038311"/>
                </a:lnTo>
                <a:close/>
              </a:path>
              <a:path w="1203728" h="1038311" stroke="0" extrusionOk="0">
                <a:moveTo>
                  <a:pt x="151011" y="91389"/>
                </a:moveTo>
                <a:cubicBezTo>
                  <a:pt x="150548" y="91389"/>
                  <a:pt x="143913" y="93355"/>
                  <a:pt x="143050" y="93748"/>
                </a:cubicBezTo>
                <a:lnTo>
                  <a:pt x="145831" y="93748"/>
                </a:lnTo>
                <a:cubicBezTo>
                  <a:pt x="147158" y="93355"/>
                  <a:pt x="150148" y="91782"/>
                  <a:pt x="151011" y="91389"/>
                </a:cubicBezTo>
                <a:close/>
              </a:path>
              <a:path w="1203728" h="1038311" fill="none" extrusionOk="0">
                <a:moveTo>
                  <a:pt x="151009" y="91388"/>
                </a:moveTo>
                <a:cubicBezTo>
                  <a:pt x="182470" y="87580"/>
                  <a:pt x="166381" y="0"/>
                  <a:pt x="302020" y="73111"/>
                </a:cubicBezTo>
                <a:cubicBezTo>
                  <a:pt x="571963" y="73111"/>
                  <a:pt x="822699" y="245967"/>
                  <a:pt x="964845" y="530057"/>
                </a:cubicBezTo>
                <a:lnTo>
                  <a:pt x="1203728" y="530056"/>
                </a:lnTo>
                <a:lnTo>
                  <a:pt x="930689" y="1038311"/>
                </a:lnTo>
                <a:lnTo>
                  <a:pt x="423943" y="530056"/>
                </a:lnTo>
                <a:lnTo>
                  <a:pt x="662825" y="530056"/>
                </a:lnTo>
              </a:path>
            </a:pathLst>
          </a:custGeom>
          <a:solidFill>
            <a:srgbClr val="D0D0CE"/>
          </a:solidFill>
          <a:ln>
            <a:noFill/>
          </a:ln>
        </p:spPr>
        <p:txBody>
          <a:bodyPr anchor="ctr"/>
          <a:lstStyle/>
          <a:p>
            <a:endParaRPr lang="en-US"/>
          </a:p>
        </p:txBody>
      </p:sp>
      <p:sp>
        <p:nvSpPr>
          <p:cNvPr id="11" name="Nedadbuet pil 24"/>
          <p:cNvSpPr>
            <a:spLocks/>
          </p:cNvSpPr>
          <p:nvPr/>
        </p:nvSpPr>
        <p:spPr bwMode="auto">
          <a:xfrm flipH="1">
            <a:off x="4411663" y="1660589"/>
            <a:ext cx="966787" cy="833437"/>
          </a:xfrm>
          <a:custGeom>
            <a:avLst/>
            <a:gdLst>
              <a:gd name="T0" fmla="*/ 387270 w 1203728"/>
              <a:gd name="T1" fmla="*/ 431032 h 1038311"/>
              <a:gd name="T2" fmla="*/ 176407 w 1203728"/>
              <a:gd name="T3" fmla="*/ 220041 h 1038311"/>
              <a:gd name="T4" fmla="*/ 275809 w 1203728"/>
              <a:gd name="T5" fmla="*/ 220041 h 1038311"/>
              <a:gd name="T6" fmla="*/ 0 w 1203728"/>
              <a:gd name="T7" fmla="*/ 30350 h 1038311"/>
              <a:gd name="T8" fmla="*/ 125674 w 1203728"/>
              <a:gd name="T9" fmla="*/ 30350 h 1038311"/>
              <a:gd name="T10" fmla="*/ 401483 w 1203728"/>
              <a:gd name="T11" fmla="*/ 220041 h 1038311"/>
              <a:gd name="T12" fmla="*/ 500885 w 1203728"/>
              <a:gd name="T13" fmla="*/ 220041 h 1038311"/>
              <a:gd name="T14" fmla="*/ 387270 w 1203728"/>
              <a:gd name="T15" fmla="*/ 431032 h 1038311"/>
              <a:gd name="T16" fmla="*/ 62837 w 1203728"/>
              <a:gd name="T17" fmla="*/ 37939 h 1038311"/>
              <a:gd name="T18" fmla="*/ 59525 w 1203728"/>
              <a:gd name="T19" fmla="*/ 38917 h 1038311"/>
              <a:gd name="T20" fmla="*/ 60682 w 1203728"/>
              <a:gd name="T21" fmla="*/ 38917 h 1038311"/>
              <a:gd name="T22" fmla="*/ 62837 w 1203728"/>
              <a:gd name="T23" fmla="*/ 37939 h 1038311"/>
              <a:gd name="T24" fmla="*/ 62837 w 1203728"/>
              <a:gd name="T25" fmla="*/ 37938 h 1038311"/>
              <a:gd name="T26" fmla="*/ 125674 w 1203728"/>
              <a:gd name="T27" fmla="*/ 30350 h 1038311"/>
              <a:gd name="T28" fmla="*/ 401483 w 1203728"/>
              <a:gd name="T29" fmla="*/ 220041 h 1038311"/>
              <a:gd name="T30" fmla="*/ 500885 w 1203728"/>
              <a:gd name="T31" fmla="*/ 220041 h 1038311"/>
              <a:gd name="T32" fmla="*/ 387270 w 1203728"/>
              <a:gd name="T33" fmla="*/ 431032 h 1038311"/>
              <a:gd name="T34" fmla="*/ 176407 w 1203728"/>
              <a:gd name="T35" fmla="*/ 220041 h 1038311"/>
              <a:gd name="T36" fmla="*/ 275809 w 1203728"/>
              <a:gd name="T37" fmla="*/ 220041 h 1038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03728"/>
              <a:gd name="T58" fmla="*/ 0 h 1038311"/>
              <a:gd name="T59" fmla="*/ 1203728 w 1203728"/>
              <a:gd name="T60" fmla="*/ 1038311 h 10383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03728" h="1038311" stroke="0" extrusionOk="0">
                <a:moveTo>
                  <a:pt x="930689" y="1038311"/>
                </a:moveTo>
                <a:lnTo>
                  <a:pt x="423943" y="530056"/>
                </a:lnTo>
                <a:lnTo>
                  <a:pt x="662825" y="530056"/>
                </a:lnTo>
                <a:cubicBezTo>
                  <a:pt x="520679" y="245966"/>
                  <a:pt x="269942" y="73111"/>
                  <a:pt x="0" y="73110"/>
                </a:cubicBezTo>
                <a:lnTo>
                  <a:pt x="302020" y="73111"/>
                </a:lnTo>
                <a:cubicBezTo>
                  <a:pt x="571963" y="73111"/>
                  <a:pt x="822699" y="245967"/>
                  <a:pt x="964845" y="530057"/>
                </a:cubicBezTo>
                <a:lnTo>
                  <a:pt x="1203728" y="530056"/>
                </a:lnTo>
                <a:lnTo>
                  <a:pt x="930689" y="1038311"/>
                </a:lnTo>
                <a:close/>
              </a:path>
              <a:path w="1203728" h="1038311" stroke="0" extrusionOk="0">
                <a:moveTo>
                  <a:pt x="151011" y="91389"/>
                </a:moveTo>
                <a:cubicBezTo>
                  <a:pt x="150548" y="91389"/>
                  <a:pt x="143913" y="93355"/>
                  <a:pt x="143050" y="93748"/>
                </a:cubicBezTo>
                <a:lnTo>
                  <a:pt x="145831" y="93748"/>
                </a:lnTo>
                <a:cubicBezTo>
                  <a:pt x="147158" y="93355"/>
                  <a:pt x="150148" y="91782"/>
                  <a:pt x="151011" y="91389"/>
                </a:cubicBezTo>
                <a:close/>
              </a:path>
              <a:path w="1203728" h="1038311" fill="none" extrusionOk="0">
                <a:moveTo>
                  <a:pt x="151009" y="91388"/>
                </a:moveTo>
                <a:cubicBezTo>
                  <a:pt x="182470" y="87580"/>
                  <a:pt x="166381" y="0"/>
                  <a:pt x="302020" y="73111"/>
                </a:cubicBezTo>
                <a:cubicBezTo>
                  <a:pt x="571963" y="73111"/>
                  <a:pt x="822699" y="245967"/>
                  <a:pt x="964845" y="530057"/>
                </a:cubicBezTo>
                <a:lnTo>
                  <a:pt x="1203728" y="530056"/>
                </a:lnTo>
                <a:lnTo>
                  <a:pt x="930689" y="1038311"/>
                </a:lnTo>
                <a:lnTo>
                  <a:pt x="423943" y="530056"/>
                </a:lnTo>
                <a:lnTo>
                  <a:pt x="662825" y="530056"/>
                </a:lnTo>
              </a:path>
            </a:pathLst>
          </a:custGeom>
          <a:solidFill>
            <a:srgbClr val="D0D0CE"/>
          </a:solidFill>
          <a:ln>
            <a:noFill/>
          </a:ln>
        </p:spPr>
        <p:txBody>
          <a:bodyPr anchor="ctr"/>
          <a:lstStyle/>
          <a:p>
            <a:endParaRPr lang="en-US"/>
          </a:p>
        </p:txBody>
      </p:sp>
      <p:sp>
        <p:nvSpPr>
          <p:cNvPr id="12" name="Nedadbuet pil 24"/>
          <p:cNvSpPr>
            <a:spLocks/>
          </p:cNvSpPr>
          <p:nvPr/>
        </p:nvSpPr>
        <p:spPr bwMode="auto">
          <a:xfrm>
            <a:off x="8583613" y="3497326"/>
            <a:ext cx="966787" cy="833438"/>
          </a:xfrm>
          <a:custGeom>
            <a:avLst/>
            <a:gdLst>
              <a:gd name="T0" fmla="*/ 387270 w 1203728"/>
              <a:gd name="T1" fmla="*/ 431033 h 1038311"/>
              <a:gd name="T2" fmla="*/ 176407 w 1203728"/>
              <a:gd name="T3" fmla="*/ 220042 h 1038311"/>
              <a:gd name="T4" fmla="*/ 275809 w 1203728"/>
              <a:gd name="T5" fmla="*/ 220042 h 1038311"/>
              <a:gd name="T6" fmla="*/ 0 w 1203728"/>
              <a:gd name="T7" fmla="*/ 30350 h 1038311"/>
              <a:gd name="T8" fmla="*/ 125674 w 1203728"/>
              <a:gd name="T9" fmla="*/ 30350 h 1038311"/>
              <a:gd name="T10" fmla="*/ 401483 w 1203728"/>
              <a:gd name="T11" fmla="*/ 220042 h 1038311"/>
              <a:gd name="T12" fmla="*/ 500885 w 1203728"/>
              <a:gd name="T13" fmla="*/ 220042 h 1038311"/>
              <a:gd name="T14" fmla="*/ 387270 w 1203728"/>
              <a:gd name="T15" fmla="*/ 431033 h 1038311"/>
              <a:gd name="T16" fmla="*/ 62837 w 1203728"/>
              <a:gd name="T17" fmla="*/ 37939 h 1038311"/>
              <a:gd name="T18" fmla="*/ 59525 w 1203728"/>
              <a:gd name="T19" fmla="*/ 38917 h 1038311"/>
              <a:gd name="T20" fmla="*/ 60682 w 1203728"/>
              <a:gd name="T21" fmla="*/ 38917 h 1038311"/>
              <a:gd name="T22" fmla="*/ 62837 w 1203728"/>
              <a:gd name="T23" fmla="*/ 37939 h 1038311"/>
              <a:gd name="T24" fmla="*/ 62837 w 1203728"/>
              <a:gd name="T25" fmla="*/ 37938 h 1038311"/>
              <a:gd name="T26" fmla="*/ 125674 w 1203728"/>
              <a:gd name="T27" fmla="*/ 30350 h 1038311"/>
              <a:gd name="T28" fmla="*/ 401483 w 1203728"/>
              <a:gd name="T29" fmla="*/ 220042 h 1038311"/>
              <a:gd name="T30" fmla="*/ 500885 w 1203728"/>
              <a:gd name="T31" fmla="*/ 220042 h 1038311"/>
              <a:gd name="T32" fmla="*/ 387270 w 1203728"/>
              <a:gd name="T33" fmla="*/ 431033 h 1038311"/>
              <a:gd name="T34" fmla="*/ 176407 w 1203728"/>
              <a:gd name="T35" fmla="*/ 220042 h 1038311"/>
              <a:gd name="T36" fmla="*/ 275809 w 1203728"/>
              <a:gd name="T37" fmla="*/ 220042 h 1038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03728"/>
              <a:gd name="T58" fmla="*/ 0 h 1038311"/>
              <a:gd name="T59" fmla="*/ 1203728 w 1203728"/>
              <a:gd name="T60" fmla="*/ 1038311 h 10383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03728" h="1038311" stroke="0" extrusionOk="0">
                <a:moveTo>
                  <a:pt x="930689" y="1038311"/>
                </a:moveTo>
                <a:lnTo>
                  <a:pt x="423943" y="530056"/>
                </a:lnTo>
                <a:lnTo>
                  <a:pt x="662825" y="530056"/>
                </a:lnTo>
                <a:cubicBezTo>
                  <a:pt x="520679" y="245966"/>
                  <a:pt x="269942" y="73111"/>
                  <a:pt x="0" y="73110"/>
                </a:cubicBezTo>
                <a:lnTo>
                  <a:pt x="302020" y="73111"/>
                </a:lnTo>
                <a:cubicBezTo>
                  <a:pt x="571963" y="73111"/>
                  <a:pt x="822699" y="245967"/>
                  <a:pt x="964845" y="530057"/>
                </a:cubicBezTo>
                <a:lnTo>
                  <a:pt x="1203728" y="530056"/>
                </a:lnTo>
                <a:lnTo>
                  <a:pt x="930689" y="1038311"/>
                </a:lnTo>
                <a:close/>
              </a:path>
              <a:path w="1203728" h="1038311" stroke="0" extrusionOk="0">
                <a:moveTo>
                  <a:pt x="151011" y="91389"/>
                </a:moveTo>
                <a:cubicBezTo>
                  <a:pt x="150548" y="91389"/>
                  <a:pt x="143913" y="93355"/>
                  <a:pt x="143050" y="93748"/>
                </a:cubicBezTo>
                <a:lnTo>
                  <a:pt x="145831" y="93748"/>
                </a:lnTo>
                <a:cubicBezTo>
                  <a:pt x="147158" y="93355"/>
                  <a:pt x="150148" y="91782"/>
                  <a:pt x="151011" y="91389"/>
                </a:cubicBezTo>
                <a:close/>
              </a:path>
              <a:path w="1203728" h="1038311" fill="none" extrusionOk="0">
                <a:moveTo>
                  <a:pt x="151009" y="91388"/>
                </a:moveTo>
                <a:cubicBezTo>
                  <a:pt x="182470" y="87580"/>
                  <a:pt x="166381" y="0"/>
                  <a:pt x="302020" y="73111"/>
                </a:cubicBezTo>
                <a:cubicBezTo>
                  <a:pt x="571963" y="73111"/>
                  <a:pt x="822699" y="245967"/>
                  <a:pt x="964845" y="530057"/>
                </a:cubicBezTo>
                <a:lnTo>
                  <a:pt x="1203728" y="530056"/>
                </a:lnTo>
                <a:lnTo>
                  <a:pt x="930689" y="1038311"/>
                </a:lnTo>
                <a:lnTo>
                  <a:pt x="423943" y="530056"/>
                </a:lnTo>
                <a:lnTo>
                  <a:pt x="662825" y="530056"/>
                </a:lnTo>
              </a:path>
            </a:pathLst>
          </a:custGeom>
          <a:solidFill>
            <a:srgbClr val="D0D0CE"/>
          </a:solidFill>
          <a:ln>
            <a:noFill/>
          </a:ln>
        </p:spPr>
        <p:txBody>
          <a:bodyPr anchor="ctr"/>
          <a:lstStyle/>
          <a:p>
            <a:endParaRPr lang="en-US"/>
          </a:p>
        </p:txBody>
      </p:sp>
      <p:sp>
        <p:nvSpPr>
          <p:cNvPr id="13" name="Nedadbuet pil 24"/>
          <p:cNvSpPr>
            <a:spLocks/>
          </p:cNvSpPr>
          <p:nvPr/>
        </p:nvSpPr>
        <p:spPr bwMode="auto">
          <a:xfrm flipH="1">
            <a:off x="2643188" y="3497326"/>
            <a:ext cx="966787" cy="833438"/>
          </a:xfrm>
          <a:custGeom>
            <a:avLst/>
            <a:gdLst>
              <a:gd name="T0" fmla="*/ 387270 w 1203728"/>
              <a:gd name="T1" fmla="*/ 431033 h 1038311"/>
              <a:gd name="T2" fmla="*/ 176407 w 1203728"/>
              <a:gd name="T3" fmla="*/ 220042 h 1038311"/>
              <a:gd name="T4" fmla="*/ 275809 w 1203728"/>
              <a:gd name="T5" fmla="*/ 220042 h 1038311"/>
              <a:gd name="T6" fmla="*/ 0 w 1203728"/>
              <a:gd name="T7" fmla="*/ 30350 h 1038311"/>
              <a:gd name="T8" fmla="*/ 125674 w 1203728"/>
              <a:gd name="T9" fmla="*/ 30350 h 1038311"/>
              <a:gd name="T10" fmla="*/ 401483 w 1203728"/>
              <a:gd name="T11" fmla="*/ 220042 h 1038311"/>
              <a:gd name="T12" fmla="*/ 500885 w 1203728"/>
              <a:gd name="T13" fmla="*/ 220042 h 1038311"/>
              <a:gd name="T14" fmla="*/ 387270 w 1203728"/>
              <a:gd name="T15" fmla="*/ 431033 h 1038311"/>
              <a:gd name="T16" fmla="*/ 62837 w 1203728"/>
              <a:gd name="T17" fmla="*/ 37939 h 1038311"/>
              <a:gd name="T18" fmla="*/ 59525 w 1203728"/>
              <a:gd name="T19" fmla="*/ 38917 h 1038311"/>
              <a:gd name="T20" fmla="*/ 60682 w 1203728"/>
              <a:gd name="T21" fmla="*/ 38917 h 1038311"/>
              <a:gd name="T22" fmla="*/ 62837 w 1203728"/>
              <a:gd name="T23" fmla="*/ 37939 h 1038311"/>
              <a:gd name="T24" fmla="*/ 62837 w 1203728"/>
              <a:gd name="T25" fmla="*/ 37938 h 1038311"/>
              <a:gd name="T26" fmla="*/ 125674 w 1203728"/>
              <a:gd name="T27" fmla="*/ 30350 h 1038311"/>
              <a:gd name="T28" fmla="*/ 401483 w 1203728"/>
              <a:gd name="T29" fmla="*/ 220042 h 1038311"/>
              <a:gd name="T30" fmla="*/ 500885 w 1203728"/>
              <a:gd name="T31" fmla="*/ 220042 h 1038311"/>
              <a:gd name="T32" fmla="*/ 387270 w 1203728"/>
              <a:gd name="T33" fmla="*/ 431033 h 1038311"/>
              <a:gd name="T34" fmla="*/ 176407 w 1203728"/>
              <a:gd name="T35" fmla="*/ 220042 h 1038311"/>
              <a:gd name="T36" fmla="*/ 275809 w 1203728"/>
              <a:gd name="T37" fmla="*/ 220042 h 1038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03728"/>
              <a:gd name="T58" fmla="*/ 0 h 1038311"/>
              <a:gd name="T59" fmla="*/ 1203728 w 1203728"/>
              <a:gd name="T60" fmla="*/ 1038311 h 10383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03728" h="1038311" stroke="0" extrusionOk="0">
                <a:moveTo>
                  <a:pt x="930689" y="1038311"/>
                </a:moveTo>
                <a:lnTo>
                  <a:pt x="423943" y="530056"/>
                </a:lnTo>
                <a:lnTo>
                  <a:pt x="662825" y="530056"/>
                </a:lnTo>
                <a:cubicBezTo>
                  <a:pt x="520679" y="245966"/>
                  <a:pt x="269942" y="73111"/>
                  <a:pt x="0" y="73110"/>
                </a:cubicBezTo>
                <a:lnTo>
                  <a:pt x="302020" y="73111"/>
                </a:lnTo>
                <a:cubicBezTo>
                  <a:pt x="571963" y="73111"/>
                  <a:pt x="822699" y="245967"/>
                  <a:pt x="964845" y="530057"/>
                </a:cubicBezTo>
                <a:lnTo>
                  <a:pt x="1203728" y="530056"/>
                </a:lnTo>
                <a:lnTo>
                  <a:pt x="930689" y="1038311"/>
                </a:lnTo>
                <a:close/>
              </a:path>
              <a:path w="1203728" h="1038311" stroke="0" extrusionOk="0">
                <a:moveTo>
                  <a:pt x="151011" y="91389"/>
                </a:moveTo>
                <a:cubicBezTo>
                  <a:pt x="150548" y="91389"/>
                  <a:pt x="143913" y="93355"/>
                  <a:pt x="143050" y="93748"/>
                </a:cubicBezTo>
                <a:lnTo>
                  <a:pt x="145831" y="93748"/>
                </a:lnTo>
                <a:cubicBezTo>
                  <a:pt x="147158" y="93355"/>
                  <a:pt x="150148" y="91782"/>
                  <a:pt x="151011" y="91389"/>
                </a:cubicBezTo>
                <a:close/>
              </a:path>
              <a:path w="1203728" h="1038311" fill="none" extrusionOk="0">
                <a:moveTo>
                  <a:pt x="151009" y="91388"/>
                </a:moveTo>
                <a:cubicBezTo>
                  <a:pt x="182470" y="87580"/>
                  <a:pt x="166381" y="0"/>
                  <a:pt x="302020" y="73111"/>
                </a:cubicBezTo>
                <a:cubicBezTo>
                  <a:pt x="571963" y="73111"/>
                  <a:pt x="822699" y="245967"/>
                  <a:pt x="964845" y="530057"/>
                </a:cubicBezTo>
                <a:lnTo>
                  <a:pt x="1203728" y="530056"/>
                </a:lnTo>
                <a:lnTo>
                  <a:pt x="930689" y="1038311"/>
                </a:lnTo>
                <a:lnTo>
                  <a:pt x="423943" y="530056"/>
                </a:lnTo>
                <a:lnTo>
                  <a:pt x="662825" y="530056"/>
                </a:lnTo>
              </a:path>
            </a:pathLst>
          </a:custGeom>
          <a:solidFill>
            <a:srgbClr val="D0D0CE"/>
          </a:solidFill>
          <a:ln>
            <a:noFill/>
          </a:ln>
        </p:spPr>
        <p:txBody>
          <a:bodyPr anchor="ctr"/>
          <a:lstStyle/>
          <a:p>
            <a:endParaRPr lang="en-US"/>
          </a:p>
        </p:txBody>
      </p:sp>
      <p:sp>
        <p:nvSpPr>
          <p:cNvPr id="14" name="TextBox 16"/>
          <p:cNvSpPr txBox="1">
            <a:spLocks noChangeArrowheads="1"/>
          </p:cNvSpPr>
          <p:nvPr/>
        </p:nvSpPr>
        <p:spPr bwMode="auto">
          <a:xfrm>
            <a:off x="3694113" y="2892489"/>
            <a:ext cx="128587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a:solidFill>
                  <a:schemeClr val="bg1"/>
                </a:solidFill>
                <a:latin typeface="+mn-lt"/>
                <a:ea typeface="华文仿宋" panose="02010600040101010101" pitchFamily="2" charset="-122"/>
                <a:sym typeface="+mn-lt"/>
              </a:rPr>
              <a:t>Strength</a:t>
            </a:r>
          </a:p>
          <a:p>
            <a:pPr eaLnBrk="1" hangingPunct="1"/>
            <a:endParaRPr lang="en-US" altLang="zh-CN" sz="1000">
              <a:solidFill>
                <a:schemeClr val="bg1"/>
              </a:solidFill>
              <a:latin typeface="+mn-lt"/>
              <a:ea typeface="华文仿宋" panose="02010600040101010101" pitchFamily="2" charset="-122"/>
              <a:sym typeface="+mn-lt"/>
            </a:endParaRPr>
          </a:p>
          <a:p>
            <a:pPr eaLnBrk="1" hangingPunct="1"/>
            <a:r>
              <a:rPr lang="en-US" altLang="zh-CN" sz="100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a:solidFill>
                <a:schemeClr val="bg1"/>
              </a:solidFill>
              <a:latin typeface="+mn-lt"/>
              <a:ea typeface="华文仿宋" panose="02010600040101010101" pitchFamily="2" charset="-122"/>
              <a:sym typeface="+mn-lt"/>
            </a:endParaRPr>
          </a:p>
        </p:txBody>
      </p:sp>
      <p:sp>
        <p:nvSpPr>
          <p:cNvPr id="15" name="TextBox 27"/>
          <p:cNvSpPr txBox="1">
            <a:spLocks noChangeArrowheads="1"/>
          </p:cNvSpPr>
          <p:nvPr/>
        </p:nvSpPr>
        <p:spPr bwMode="auto">
          <a:xfrm>
            <a:off x="5522913" y="2892489"/>
            <a:ext cx="128587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dirty="0">
                <a:solidFill>
                  <a:schemeClr val="bg1"/>
                </a:solidFill>
                <a:latin typeface="+mn-lt"/>
                <a:ea typeface="华文仿宋" panose="02010600040101010101" pitchFamily="2" charset="-122"/>
                <a:sym typeface="+mn-lt"/>
              </a:rPr>
              <a:t>Strength</a:t>
            </a:r>
          </a:p>
          <a:p>
            <a:pPr eaLnBrk="1" hangingPunct="1"/>
            <a:endParaRPr lang="en-US" altLang="zh-CN" sz="1000" dirty="0">
              <a:solidFill>
                <a:schemeClr val="bg1"/>
              </a:solidFill>
              <a:latin typeface="+mn-lt"/>
              <a:ea typeface="华文仿宋" panose="02010600040101010101" pitchFamily="2" charset="-122"/>
              <a:sym typeface="+mn-lt"/>
            </a:endParaRPr>
          </a:p>
          <a:p>
            <a:pPr eaLnBrk="1" hangingPunct="1"/>
            <a:r>
              <a:rPr lang="en-US" altLang="zh-CN" sz="1000" dirty="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dirty="0">
              <a:solidFill>
                <a:schemeClr val="bg1"/>
              </a:solidFill>
              <a:latin typeface="+mn-lt"/>
              <a:ea typeface="华文仿宋" panose="02010600040101010101" pitchFamily="2" charset="-122"/>
              <a:sym typeface="+mn-lt"/>
            </a:endParaRPr>
          </a:p>
        </p:txBody>
      </p:sp>
      <p:sp>
        <p:nvSpPr>
          <p:cNvPr id="16" name="TextBox 28"/>
          <p:cNvSpPr txBox="1">
            <a:spLocks noChangeArrowheads="1"/>
          </p:cNvSpPr>
          <p:nvPr/>
        </p:nvSpPr>
        <p:spPr bwMode="auto">
          <a:xfrm>
            <a:off x="7267575" y="2892489"/>
            <a:ext cx="128587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a:solidFill>
                  <a:schemeClr val="bg1"/>
                </a:solidFill>
                <a:latin typeface="+mn-lt"/>
                <a:ea typeface="华文仿宋" panose="02010600040101010101" pitchFamily="2" charset="-122"/>
                <a:sym typeface="+mn-lt"/>
              </a:rPr>
              <a:t>Strength</a:t>
            </a:r>
          </a:p>
          <a:p>
            <a:pPr eaLnBrk="1" hangingPunct="1"/>
            <a:endParaRPr lang="en-US" altLang="zh-CN" sz="1000">
              <a:solidFill>
                <a:schemeClr val="bg1"/>
              </a:solidFill>
              <a:latin typeface="+mn-lt"/>
              <a:ea typeface="华文仿宋" panose="02010600040101010101" pitchFamily="2" charset="-122"/>
              <a:sym typeface="+mn-lt"/>
            </a:endParaRPr>
          </a:p>
          <a:p>
            <a:pPr eaLnBrk="1" hangingPunct="1"/>
            <a:r>
              <a:rPr lang="en-US" altLang="zh-CN" sz="100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a:solidFill>
                <a:schemeClr val="bg1"/>
              </a:solidFill>
              <a:latin typeface="+mn-lt"/>
              <a:ea typeface="华文仿宋" panose="02010600040101010101" pitchFamily="2" charset="-122"/>
              <a:sym typeface="+mn-lt"/>
            </a:endParaRPr>
          </a:p>
        </p:txBody>
      </p:sp>
      <p:sp>
        <p:nvSpPr>
          <p:cNvPr id="17" name="TextBox 29"/>
          <p:cNvSpPr txBox="1">
            <a:spLocks noChangeArrowheads="1"/>
          </p:cNvSpPr>
          <p:nvPr/>
        </p:nvSpPr>
        <p:spPr bwMode="auto">
          <a:xfrm>
            <a:off x="2447925" y="4645089"/>
            <a:ext cx="1284288"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a:solidFill>
                  <a:schemeClr val="bg1"/>
                </a:solidFill>
                <a:latin typeface="+mn-lt"/>
                <a:ea typeface="华文仿宋" panose="02010600040101010101" pitchFamily="2" charset="-122"/>
                <a:sym typeface="+mn-lt"/>
              </a:rPr>
              <a:t>Strength </a:t>
            </a:r>
          </a:p>
          <a:p>
            <a:pPr eaLnBrk="1" hangingPunct="1"/>
            <a:endParaRPr lang="en-US" altLang="zh-CN" sz="1000">
              <a:solidFill>
                <a:schemeClr val="bg1"/>
              </a:solidFill>
              <a:latin typeface="+mn-lt"/>
              <a:ea typeface="华文仿宋" panose="02010600040101010101" pitchFamily="2" charset="-122"/>
              <a:sym typeface="+mn-lt"/>
            </a:endParaRPr>
          </a:p>
          <a:p>
            <a:pPr eaLnBrk="1" hangingPunct="1"/>
            <a:r>
              <a:rPr lang="en-US" altLang="zh-CN" sz="100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a:solidFill>
                <a:schemeClr val="bg1"/>
              </a:solidFill>
              <a:latin typeface="+mn-lt"/>
              <a:ea typeface="华文仿宋" panose="02010600040101010101" pitchFamily="2" charset="-122"/>
              <a:sym typeface="+mn-lt"/>
            </a:endParaRPr>
          </a:p>
        </p:txBody>
      </p:sp>
      <p:sp>
        <p:nvSpPr>
          <p:cNvPr id="18" name="TextBox 30"/>
          <p:cNvSpPr txBox="1">
            <a:spLocks noChangeArrowheads="1"/>
          </p:cNvSpPr>
          <p:nvPr/>
        </p:nvSpPr>
        <p:spPr bwMode="auto">
          <a:xfrm>
            <a:off x="5514975" y="4645089"/>
            <a:ext cx="128587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a:solidFill>
                  <a:schemeClr val="bg1"/>
                </a:solidFill>
                <a:latin typeface="+mn-lt"/>
                <a:ea typeface="华文仿宋" panose="02010600040101010101" pitchFamily="2" charset="-122"/>
                <a:sym typeface="+mn-lt"/>
              </a:rPr>
              <a:t>Strength </a:t>
            </a:r>
          </a:p>
          <a:p>
            <a:pPr eaLnBrk="1" hangingPunct="1"/>
            <a:endParaRPr lang="en-US" altLang="zh-CN" sz="1000">
              <a:solidFill>
                <a:schemeClr val="bg1"/>
              </a:solidFill>
              <a:latin typeface="+mn-lt"/>
              <a:ea typeface="华文仿宋" panose="02010600040101010101" pitchFamily="2" charset="-122"/>
              <a:sym typeface="+mn-lt"/>
            </a:endParaRPr>
          </a:p>
          <a:p>
            <a:pPr eaLnBrk="1" hangingPunct="1"/>
            <a:r>
              <a:rPr lang="en-US" altLang="zh-CN" sz="100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a:solidFill>
                <a:schemeClr val="bg1"/>
              </a:solidFill>
              <a:latin typeface="+mn-lt"/>
              <a:ea typeface="华文仿宋" panose="02010600040101010101" pitchFamily="2" charset="-122"/>
              <a:sym typeface="+mn-lt"/>
            </a:endParaRPr>
          </a:p>
        </p:txBody>
      </p:sp>
      <p:sp>
        <p:nvSpPr>
          <p:cNvPr id="20" name="Down Arrow 32"/>
          <p:cNvSpPr>
            <a:spLocks noChangeArrowheads="1"/>
          </p:cNvSpPr>
          <p:nvPr/>
        </p:nvSpPr>
        <p:spPr bwMode="auto">
          <a:xfrm>
            <a:off x="6005513" y="2400364"/>
            <a:ext cx="306387" cy="306387"/>
          </a:xfrm>
          <a:prstGeom prst="downArrow">
            <a:avLst>
              <a:gd name="adj1" fmla="val 50000"/>
              <a:gd name="adj2" fmla="val 50000"/>
            </a:avLst>
          </a:prstGeom>
          <a:solidFill>
            <a:srgbClr val="D0D0CE"/>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en-US" sz="1600" noProof="1">
              <a:solidFill>
                <a:srgbClr val="FFFFFF"/>
              </a:solidFill>
              <a:latin typeface="微软雅黑" panose="020B0503020204020204" pitchFamily="34" charset="-122"/>
              <a:ea typeface="微软雅黑" panose="020B0503020204020204" pitchFamily="34" charset="-122"/>
              <a:sym typeface="+mn-lt"/>
            </a:endParaRPr>
          </a:p>
        </p:txBody>
      </p:sp>
      <p:sp>
        <p:nvSpPr>
          <p:cNvPr id="21" name="Down Arrow 33"/>
          <p:cNvSpPr>
            <a:spLocks noChangeArrowheads="1"/>
          </p:cNvSpPr>
          <p:nvPr/>
        </p:nvSpPr>
        <p:spPr bwMode="auto">
          <a:xfrm>
            <a:off x="6005513" y="4167251"/>
            <a:ext cx="306387" cy="306388"/>
          </a:xfrm>
          <a:prstGeom prst="downArrow">
            <a:avLst>
              <a:gd name="adj1" fmla="val 50000"/>
              <a:gd name="adj2" fmla="val 50000"/>
            </a:avLst>
          </a:prstGeom>
          <a:solidFill>
            <a:srgbClr val="D0D0CE"/>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en-US" sz="1600" noProof="1">
              <a:solidFill>
                <a:srgbClr val="FFFFFF"/>
              </a:solidFill>
              <a:latin typeface="微软雅黑" panose="020B0503020204020204" pitchFamily="34" charset="-122"/>
              <a:ea typeface="微软雅黑" panose="020B0503020204020204" pitchFamily="34" charset="-122"/>
              <a:sym typeface="+mn-lt"/>
            </a:endParaRPr>
          </a:p>
        </p:txBody>
      </p:sp>
      <p:sp>
        <p:nvSpPr>
          <p:cNvPr id="22" name="TextBox 27"/>
          <p:cNvSpPr txBox="1">
            <a:spLocks noChangeArrowheads="1"/>
          </p:cNvSpPr>
          <p:nvPr/>
        </p:nvSpPr>
        <p:spPr bwMode="auto">
          <a:xfrm>
            <a:off x="5541963" y="1406885"/>
            <a:ext cx="12668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b="1" dirty="0">
                <a:solidFill>
                  <a:schemeClr val="bg1"/>
                </a:solidFill>
                <a:latin typeface="+mn-lt"/>
                <a:ea typeface="华文仿宋" panose="02010600040101010101" pitchFamily="2" charset="-122"/>
                <a:sym typeface="+mn-lt"/>
              </a:rPr>
              <a:t>Strength</a:t>
            </a:r>
          </a:p>
        </p:txBody>
      </p:sp>
    </p:spTree>
    <p:custDataLst>
      <p:tags r:id="rId1"/>
    </p:custDataLst>
    <p:extLst>
      <p:ext uri="{BB962C8B-B14F-4D97-AF65-F5344CB8AC3E}">
        <p14:creationId xmlns:p14="http://schemas.microsoft.com/office/powerpoint/2010/main" val="359959506"/>
      </p:ext>
    </p:extLst>
  </p:cSld>
  <p:clrMapOvr>
    <a:masterClrMapping/>
  </p:clrMapOvr>
  <p:transition>
    <p:fade/>
  </p:transition>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Elbow Connector 48">
            <a:extLst>
              <a:ext uri="{FF2B5EF4-FFF2-40B4-BE49-F238E27FC236}">
                <a16:creationId xmlns:a16="http://schemas.microsoft.com/office/drawing/2014/main" id="{1F63FA8F-6E2A-4DC9-949B-80BB9CC5181F}"/>
              </a:ext>
            </a:extLst>
          </p:cNvPr>
          <p:cNvCxnSpPr>
            <a:stCxn id="18" idx="5"/>
            <a:endCxn id="27" idx="0"/>
          </p:cNvCxnSpPr>
          <p:nvPr/>
        </p:nvCxnSpPr>
        <p:spPr>
          <a:xfrm rot="16200000" flipH="1" flipV="1">
            <a:off x="3004267" y="2010531"/>
            <a:ext cx="341102" cy="1049004"/>
          </a:xfrm>
          <a:prstGeom prst="bentConnector3">
            <a:avLst>
              <a:gd name="adj1" fmla="val -111767"/>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6" name="Elbow Connector 46">
            <a:extLst>
              <a:ext uri="{FF2B5EF4-FFF2-40B4-BE49-F238E27FC236}">
                <a16:creationId xmlns:a16="http://schemas.microsoft.com/office/drawing/2014/main" id="{012FD8E4-60F5-4506-8C74-E29930C04F2B}"/>
              </a:ext>
            </a:extLst>
          </p:cNvPr>
          <p:cNvCxnSpPr/>
          <p:nvPr/>
        </p:nvCxnSpPr>
        <p:spPr>
          <a:xfrm rot="16200000" flipH="1">
            <a:off x="8219531" y="2830849"/>
            <a:ext cx="645877" cy="616555"/>
          </a:xfrm>
          <a:prstGeom prst="bentConnector3">
            <a:avLst>
              <a:gd name="adj1" fmla="val 3622"/>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7" name="Elbow Connector 47">
            <a:extLst>
              <a:ext uri="{FF2B5EF4-FFF2-40B4-BE49-F238E27FC236}">
                <a16:creationId xmlns:a16="http://schemas.microsoft.com/office/drawing/2014/main" id="{5AA9C1F2-4BFB-4CB6-AD0A-0363429FF6A7}"/>
              </a:ext>
            </a:extLst>
          </p:cNvPr>
          <p:cNvCxnSpPr/>
          <p:nvPr/>
        </p:nvCxnSpPr>
        <p:spPr>
          <a:xfrm flipV="1">
            <a:off x="8261124" y="3462066"/>
            <a:ext cx="1202360" cy="721666"/>
          </a:xfrm>
          <a:prstGeom prst="bentConnector3">
            <a:avLst>
              <a:gd name="adj1" fmla="val 48689"/>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 name="Elbow Connector 49">
            <a:extLst>
              <a:ext uri="{FF2B5EF4-FFF2-40B4-BE49-F238E27FC236}">
                <a16:creationId xmlns:a16="http://schemas.microsoft.com/office/drawing/2014/main" id="{5FF85BD9-FD02-4888-A27F-69044DADF5EA}"/>
              </a:ext>
            </a:extLst>
          </p:cNvPr>
          <p:cNvCxnSpPr>
            <a:endCxn id="27" idx="4"/>
          </p:cNvCxnSpPr>
          <p:nvPr/>
        </p:nvCxnSpPr>
        <p:spPr>
          <a:xfrm rot="10800000">
            <a:off x="2650317" y="4151969"/>
            <a:ext cx="1417503" cy="321135"/>
          </a:xfrm>
          <a:prstGeom prst="bentConnector2">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2" name="Line 31">
            <a:extLst>
              <a:ext uri="{FF2B5EF4-FFF2-40B4-BE49-F238E27FC236}">
                <a16:creationId xmlns:a16="http://schemas.microsoft.com/office/drawing/2014/main" id="{DD5D953A-EB50-43B5-9796-5B6647DF199E}"/>
              </a:ext>
            </a:extLst>
          </p:cNvPr>
          <p:cNvSpPr>
            <a:spLocks noChangeShapeType="1"/>
          </p:cNvSpPr>
          <p:nvPr/>
        </p:nvSpPr>
        <p:spPr bwMode="blackWhite">
          <a:xfrm>
            <a:off x="7806747" y="2705584"/>
            <a:ext cx="0" cy="1130945"/>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3" name="Line 32">
            <a:extLst>
              <a:ext uri="{FF2B5EF4-FFF2-40B4-BE49-F238E27FC236}">
                <a16:creationId xmlns:a16="http://schemas.microsoft.com/office/drawing/2014/main" id="{45414204-BEE1-4B66-8BCA-3814A0CE008A}"/>
              </a:ext>
            </a:extLst>
          </p:cNvPr>
          <p:cNvSpPr>
            <a:spLocks noChangeShapeType="1"/>
          </p:cNvSpPr>
          <p:nvPr/>
        </p:nvSpPr>
        <p:spPr bwMode="blackWhite">
          <a:xfrm>
            <a:off x="4061526" y="2737247"/>
            <a:ext cx="0" cy="1130945"/>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4" name="Line 33">
            <a:extLst>
              <a:ext uri="{FF2B5EF4-FFF2-40B4-BE49-F238E27FC236}">
                <a16:creationId xmlns:a16="http://schemas.microsoft.com/office/drawing/2014/main" id="{8ABD2430-0660-48F2-AAFB-2799FBBCC747}"/>
              </a:ext>
            </a:extLst>
          </p:cNvPr>
          <p:cNvSpPr>
            <a:spLocks noChangeShapeType="1"/>
          </p:cNvSpPr>
          <p:nvPr/>
        </p:nvSpPr>
        <p:spPr bwMode="blackWhite">
          <a:xfrm rot="16200000" flipH="1" flipV="1">
            <a:off x="4709040" y="1355474"/>
            <a:ext cx="704417" cy="1995803"/>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5" name="Line 34">
            <a:extLst>
              <a:ext uri="{FF2B5EF4-FFF2-40B4-BE49-F238E27FC236}">
                <a16:creationId xmlns:a16="http://schemas.microsoft.com/office/drawing/2014/main" id="{EFA7E472-3C44-4437-8FB2-E4ACB084BEE1}"/>
              </a:ext>
            </a:extLst>
          </p:cNvPr>
          <p:cNvSpPr>
            <a:spLocks noChangeShapeType="1"/>
          </p:cNvSpPr>
          <p:nvPr/>
        </p:nvSpPr>
        <p:spPr bwMode="blackWhite">
          <a:xfrm rot="5400000" flipV="1">
            <a:off x="6744714" y="1365011"/>
            <a:ext cx="704417" cy="1993525"/>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6" name="Line 35">
            <a:extLst>
              <a:ext uri="{FF2B5EF4-FFF2-40B4-BE49-F238E27FC236}">
                <a16:creationId xmlns:a16="http://schemas.microsoft.com/office/drawing/2014/main" id="{60D7BBFE-890F-43DB-9BEF-487CCB944D99}"/>
              </a:ext>
            </a:extLst>
          </p:cNvPr>
          <p:cNvSpPr>
            <a:spLocks noChangeShapeType="1"/>
          </p:cNvSpPr>
          <p:nvPr/>
        </p:nvSpPr>
        <p:spPr bwMode="blackWhite">
          <a:xfrm rot="5400000" flipH="1">
            <a:off x="4709040" y="3522868"/>
            <a:ext cx="704417" cy="1995803"/>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7" name="Line 36">
            <a:extLst>
              <a:ext uri="{FF2B5EF4-FFF2-40B4-BE49-F238E27FC236}">
                <a16:creationId xmlns:a16="http://schemas.microsoft.com/office/drawing/2014/main" id="{EF58E5BF-C787-4529-A010-EADF10FD5E94}"/>
              </a:ext>
            </a:extLst>
          </p:cNvPr>
          <p:cNvSpPr>
            <a:spLocks noChangeShapeType="1"/>
          </p:cNvSpPr>
          <p:nvPr/>
        </p:nvSpPr>
        <p:spPr bwMode="blackWhite">
          <a:xfrm rot="16200000">
            <a:off x="6744714" y="3453060"/>
            <a:ext cx="704417" cy="1993525"/>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8" name="Oval 40">
            <a:extLst>
              <a:ext uri="{FF2B5EF4-FFF2-40B4-BE49-F238E27FC236}">
                <a16:creationId xmlns:a16="http://schemas.microsoft.com/office/drawing/2014/main" id="{E7EF73CF-EF87-4A53-8127-6D94751D7884}"/>
              </a:ext>
            </a:extLst>
          </p:cNvPr>
          <p:cNvSpPr>
            <a:spLocks noChangeArrowheads="1"/>
          </p:cNvSpPr>
          <p:nvPr/>
        </p:nvSpPr>
        <p:spPr bwMode="auto">
          <a:xfrm>
            <a:off x="3546430" y="2211844"/>
            <a:ext cx="1044000" cy="1042278"/>
          </a:xfrm>
          <a:prstGeom prst="teardrop">
            <a:avLst/>
          </a:prstGeom>
          <a:solidFill>
            <a:schemeClr val="accent6">
              <a:lumMod val="75000"/>
            </a:schemeClr>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19" name="Oval 41">
            <a:extLst>
              <a:ext uri="{FF2B5EF4-FFF2-40B4-BE49-F238E27FC236}">
                <a16:creationId xmlns:a16="http://schemas.microsoft.com/office/drawing/2014/main" id="{8E76CC73-29DD-4543-A8F7-8DB33ECA2C06}"/>
              </a:ext>
            </a:extLst>
          </p:cNvPr>
          <p:cNvSpPr>
            <a:spLocks noChangeArrowheads="1"/>
          </p:cNvSpPr>
          <p:nvPr/>
        </p:nvSpPr>
        <p:spPr bwMode="auto">
          <a:xfrm>
            <a:off x="7283470" y="2211844"/>
            <a:ext cx="1044000" cy="1042278"/>
          </a:xfrm>
          <a:prstGeom prst="teardrop">
            <a:avLst/>
          </a:prstGeom>
          <a:solidFill>
            <a:schemeClr val="accent3"/>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20" name="Oval 42">
            <a:extLst>
              <a:ext uri="{FF2B5EF4-FFF2-40B4-BE49-F238E27FC236}">
                <a16:creationId xmlns:a16="http://schemas.microsoft.com/office/drawing/2014/main" id="{33537C37-B480-4F99-A990-07FB9A6E237A}"/>
              </a:ext>
            </a:extLst>
          </p:cNvPr>
          <p:cNvSpPr>
            <a:spLocks noChangeArrowheads="1"/>
          </p:cNvSpPr>
          <p:nvPr/>
        </p:nvSpPr>
        <p:spPr bwMode="auto">
          <a:xfrm>
            <a:off x="7283470" y="3575441"/>
            <a:ext cx="1044000" cy="1042278"/>
          </a:xfrm>
          <a:prstGeom prst="teardrop">
            <a:avLst/>
          </a:prstGeom>
          <a:solidFill>
            <a:schemeClr val="accent2"/>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21" name="Oval 43">
            <a:extLst>
              <a:ext uri="{FF2B5EF4-FFF2-40B4-BE49-F238E27FC236}">
                <a16:creationId xmlns:a16="http://schemas.microsoft.com/office/drawing/2014/main" id="{0DBFB52F-AF7E-45E7-9F17-94AE655CD985}"/>
              </a:ext>
            </a:extLst>
          </p:cNvPr>
          <p:cNvSpPr>
            <a:spLocks noChangeArrowheads="1"/>
          </p:cNvSpPr>
          <p:nvPr/>
        </p:nvSpPr>
        <p:spPr bwMode="auto">
          <a:xfrm>
            <a:off x="3544266" y="3575441"/>
            <a:ext cx="1044000" cy="1042278"/>
          </a:xfrm>
          <a:prstGeom prst="teardrop">
            <a:avLst/>
          </a:prstGeom>
          <a:solidFill>
            <a:schemeClr val="accent6">
              <a:lumMod val="75000"/>
            </a:schemeClr>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22" name="Oval 45">
            <a:extLst>
              <a:ext uri="{FF2B5EF4-FFF2-40B4-BE49-F238E27FC236}">
                <a16:creationId xmlns:a16="http://schemas.microsoft.com/office/drawing/2014/main" id="{62A30A96-B3E4-4F33-B191-8B7A7FBDBE04}"/>
              </a:ext>
            </a:extLst>
          </p:cNvPr>
          <p:cNvSpPr>
            <a:spLocks noChangeArrowheads="1"/>
          </p:cNvSpPr>
          <p:nvPr/>
        </p:nvSpPr>
        <p:spPr bwMode="auto">
          <a:xfrm>
            <a:off x="5409788" y="4272755"/>
            <a:ext cx="1044000" cy="1042278"/>
          </a:xfrm>
          <a:prstGeom prst="teardrop">
            <a:avLst/>
          </a:prstGeom>
          <a:solidFill>
            <a:schemeClr val="accent2"/>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23" name="Oval 46">
            <a:extLst>
              <a:ext uri="{FF2B5EF4-FFF2-40B4-BE49-F238E27FC236}">
                <a16:creationId xmlns:a16="http://schemas.microsoft.com/office/drawing/2014/main" id="{F25C0B34-C492-4581-B46A-4A0A72266E3B}"/>
              </a:ext>
            </a:extLst>
          </p:cNvPr>
          <p:cNvSpPr>
            <a:spLocks noChangeArrowheads="1"/>
          </p:cNvSpPr>
          <p:nvPr/>
        </p:nvSpPr>
        <p:spPr bwMode="auto">
          <a:xfrm>
            <a:off x="5409788" y="1490625"/>
            <a:ext cx="1044000" cy="1042278"/>
          </a:xfrm>
          <a:prstGeom prst="teardrop">
            <a:avLst/>
          </a:prstGeom>
          <a:solidFill>
            <a:schemeClr val="accent2"/>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cxnSp>
        <p:nvCxnSpPr>
          <p:cNvPr id="24" name="Elbow Connector 50">
            <a:extLst>
              <a:ext uri="{FF2B5EF4-FFF2-40B4-BE49-F238E27FC236}">
                <a16:creationId xmlns:a16="http://schemas.microsoft.com/office/drawing/2014/main" id="{F860B741-9D70-4E71-8A9F-5B12D8623071}"/>
              </a:ext>
            </a:extLst>
          </p:cNvPr>
          <p:cNvCxnSpPr/>
          <p:nvPr/>
        </p:nvCxnSpPr>
        <p:spPr>
          <a:xfrm>
            <a:off x="6423176" y="1845965"/>
            <a:ext cx="3685414" cy="1111120"/>
          </a:xfrm>
          <a:prstGeom prst="bentConnector2">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5" name="Elbow Connector 51">
            <a:extLst>
              <a:ext uri="{FF2B5EF4-FFF2-40B4-BE49-F238E27FC236}">
                <a16:creationId xmlns:a16="http://schemas.microsoft.com/office/drawing/2014/main" id="{B1FD69E1-0A26-458F-8F29-B30587063657}"/>
              </a:ext>
            </a:extLst>
          </p:cNvPr>
          <p:cNvCxnSpPr/>
          <p:nvPr/>
        </p:nvCxnSpPr>
        <p:spPr>
          <a:xfrm flipV="1">
            <a:off x="6453788" y="3759463"/>
            <a:ext cx="3685414" cy="1160232"/>
          </a:xfrm>
          <a:prstGeom prst="bentConnector2">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6" name="Rectangle 53">
            <a:extLst>
              <a:ext uri="{FF2B5EF4-FFF2-40B4-BE49-F238E27FC236}">
                <a16:creationId xmlns:a16="http://schemas.microsoft.com/office/drawing/2014/main" id="{4BB796C8-AE87-4A80-9BED-EC83903B408A}"/>
              </a:ext>
            </a:extLst>
          </p:cNvPr>
          <p:cNvSpPr/>
          <p:nvPr/>
        </p:nvSpPr>
        <p:spPr>
          <a:xfrm>
            <a:off x="9424069" y="2685511"/>
            <a:ext cx="1440000" cy="1440000"/>
          </a:xfrm>
          <a:prstGeom prst="ellipse">
            <a:avLst/>
          </a:prstGeom>
          <a:solidFill>
            <a:schemeClr val="bg1"/>
          </a:solidFill>
          <a:ln w="19050">
            <a:noFill/>
          </a:ln>
          <a:effectLst>
            <a:outerShdw blurRad="63500" sx="102000" sy="102000" algn="ctr" rotWithShape="0">
              <a:prstClr val="black">
                <a:alpha val="40000"/>
              </a:prstClr>
            </a:outerShdw>
          </a:effectLst>
        </p:spPr>
        <p:txBody>
          <a:bodyPr wrap="square" lIns="0" tIns="0" rIns="0" bIns="0" anchor="ctr">
            <a:noAutofit/>
          </a:bodyPr>
          <a:lstStyle/>
          <a:p>
            <a:pPr lvl="0" algn="ctr">
              <a:defRPr/>
            </a:pPr>
            <a:r>
              <a:rPr lang="en-US" altLang="zh-CN" sz="1200" b="1" spc="-40" dirty="0">
                <a:latin typeface="+mn-ea"/>
              </a:rPr>
              <a:t>Lorem ipsum</a:t>
            </a:r>
            <a:endParaRPr kumimoji="0" lang="en-US" sz="1200" b="0" i="0" u="none" strike="noStrike" kern="1200" cap="none" spc="-40" normalizeH="0" noProof="0" dirty="0">
              <a:ln>
                <a:noFill/>
              </a:ln>
              <a:effectLst/>
              <a:uLnTx/>
              <a:uFillTx/>
              <a:latin typeface="+mn-ea"/>
              <a:cs typeface="+mn-cs"/>
            </a:endParaRPr>
          </a:p>
        </p:txBody>
      </p:sp>
      <p:sp>
        <p:nvSpPr>
          <p:cNvPr id="27" name="Rectangle 54">
            <a:extLst>
              <a:ext uri="{FF2B5EF4-FFF2-40B4-BE49-F238E27FC236}">
                <a16:creationId xmlns:a16="http://schemas.microsoft.com/office/drawing/2014/main" id="{9C8EB860-C903-4057-8AEB-0EE2360A0B4C}"/>
              </a:ext>
            </a:extLst>
          </p:cNvPr>
          <p:cNvSpPr>
            <a:spLocks noChangeAspect="1"/>
          </p:cNvSpPr>
          <p:nvPr/>
        </p:nvSpPr>
        <p:spPr>
          <a:xfrm>
            <a:off x="1930316" y="2705584"/>
            <a:ext cx="1440000" cy="1446384"/>
          </a:xfrm>
          <a:prstGeom prst="ellipse">
            <a:avLst/>
          </a:prstGeom>
          <a:solidFill>
            <a:schemeClr val="accent6"/>
          </a:solidFill>
          <a:ln w="19050">
            <a:noFill/>
          </a:ln>
          <a:effectLst>
            <a:outerShdw blurRad="63500" sx="102000" sy="102000" algn="ctr" rotWithShape="0">
              <a:prstClr val="black">
                <a:alpha val="40000"/>
              </a:prstClr>
            </a:outerShdw>
          </a:effectLst>
        </p:spPr>
        <p:txBody>
          <a:bodyPr wrap="square" anchor="ctr">
            <a:noAutofit/>
          </a:bodyPr>
          <a:lstStyle/>
          <a:p>
            <a:pPr lvl="0" algn="ctr">
              <a:defRPr/>
            </a:pPr>
            <a:r>
              <a:rPr lang="en-US" altLang="zh-CN" sz="1200" b="1" dirty="0">
                <a:solidFill>
                  <a:srgbClr val="FFFFFF"/>
                </a:solidFill>
                <a:latin typeface="+mn-ea"/>
              </a:rPr>
              <a:t>Lorem ipsum</a:t>
            </a:r>
            <a:endParaRPr kumimoji="0" lang="en-US" sz="1200" b="0" i="0" u="none" strike="noStrike" kern="1200" cap="none" spc="0" normalizeH="0" baseline="0" noProof="0" dirty="0">
              <a:ln>
                <a:noFill/>
              </a:ln>
              <a:solidFill>
                <a:srgbClr val="FFFFFF"/>
              </a:solidFill>
              <a:effectLst/>
              <a:uLnTx/>
              <a:uFillTx/>
              <a:latin typeface="+mn-ea"/>
              <a:cs typeface="+mn-cs"/>
            </a:endParaRPr>
          </a:p>
        </p:txBody>
      </p:sp>
      <p:grpSp>
        <p:nvGrpSpPr>
          <p:cNvPr id="28" name="组合 27"/>
          <p:cNvGrpSpPr/>
          <p:nvPr/>
        </p:nvGrpSpPr>
        <p:grpSpPr>
          <a:xfrm>
            <a:off x="5114808" y="2585362"/>
            <a:ext cx="1640555" cy="1640299"/>
            <a:chOff x="3649937" y="3559161"/>
            <a:chExt cx="1641600" cy="1641343"/>
          </a:xfrm>
        </p:grpSpPr>
        <p:sp>
          <p:nvSpPr>
            <p:cNvPr id="29" name="Oval 44">
              <a:extLst>
                <a:ext uri="{FF2B5EF4-FFF2-40B4-BE49-F238E27FC236}">
                  <a16:creationId xmlns:a16="http://schemas.microsoft.com/office/drawing/2014/main" id="{F716A3BA-D477-454E-A2C5-DAEA7A0BDADF}"/>
                </a:ext>
              </a:extLst>
            </p:cNvPr>
            <p:cNvSpPr>
              <a:spLocks noChangeArrowheads="1"/>
            </p:cNvSpPr>
            <p:nvPr/>
          </p:nvSpPr>
          <p:spPr bwMode="auto">
            <a:xfrm>
              <a:off x="3649937" y="3559161"/>
              <a:ext cx="1641600" cy="1641343"/>
            </a:xfrm>
            <a:prstGeom prst="ellipse">
              <a:avLst/>
            </a:prstGeom>
            <a:solidFill>
              <a:schemeClr val="accent1"/>
            </a:solidFill>
            <a:ln w="12700">
              <a:noFill/>
              <a:round/>
              <a:headEnd/>
              <a:tailEnd/>
            </a:ln>
            <a:effectLst>
              <a:outerShdw blurRad="63500" sx="102000" sy="102000" algn="ctr" rotWithShape="0">
                <a:prstClr val="black">
                  <a:alpha val="40000"/>
                </a:prstClr>
              </a:outerShdw>
            </a:effectLst>
          </p:spPr>
          <p:txBody>
            <a:bodyPr wrap="square" lIns="0" tIns="504000" rIns="0" bIns="0" anchor="ctr">
              <a:noAutofit/>
            </a:bodyPr>
            <a:lstStyle/>
            <a:p>
              <a:pPr lvl="0" algn="ctr" defTabSz="912813">
                <a:spcBef>
                  <a:spcPct val="0"/>
                </a:spcBef>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30" name="Donut 52">
              <a:extLst>
                <a:ext uri="{FF2B5EF4-FFF2-40B4-BE49-F238E27FC236}">
                  <a16:creationId xmlns:a16="http://schemas.microsoft.com/office/drawing/2014/main" id="{FCE9E0EB-EFB2-419F-ACC7-6B34BA0F1E61}"/>
                </a:ext>
              </a:extLst>
            </p:cNvPr>
            <p:cNvSpPr/>
            <p:nvPr/>
          </p:nvSpPr>
          <p:spPr bwMode="gray">
            <a:xfrm>
              <a:off x="3721937" y="3630209"/>
              <a:ext cx="1497601" cy="1495892"/>
            </a:xfrm>
            <a:prstGeom prst="donut">
              <a:avLst>
                <a:gd name="adj" fmla="val 1748"/>
              </a:avLst>
            </a:prstGeom>
            <a:solidFill>
              <a:srgbClr val="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31" name="Freeform 377"/>
            <p:cNvSpPr>
              <a:spLocks noEditPoints="1"/>
            </p:cNvSpPr>
            <p:nvPr/>
          </p:nvSpPr>
          <p:spPr bwMode="auto">
            <a:xfrm>
              <a:off x="4192642" y="3924280"/>
              <a:ext cx="546030" cy="40179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
        <p:nvSpPr>
          <p:cNvPr id="32" name="椭圆 31"/>
          <p:cNvSpPr/>
          <p:nvPr/>
        </p:nvSpPr>
        <p:spPr bwMode="gray">
          <a:xfrm>
            <a:off x="2588287" y="2656365"/>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3" name="椭圆 32"/>
          <p:cNvSpPr/>
          <p:nvPr/>
        </p:nvSpPr>
        <p:spPr bwMode="gray">
          <a:xfrm>
            <a:off x="3599455" y="2365982"/>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4" name="椭圆 33"/>
          <p:cNvSpPr/>
          <p:nvPr/>
        </p:nvSpPr>
        <p:spPr bwMode="gray">
          <a:xfrm>
            <a:off x="2595772" y="4097616"/>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5" name="椭圆 34"/>
          <p:cNvSpPr/>
          <p:nvPr/>
        </p:nvSpPr>
        <p:spPr bwMode="gray">
          <a:xfrm>
            <a:off x="3994953" y="3186616"/>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6" name="椭圆 35"/>
          <p:cNvSpPr/>
          <p:nvPr/>
        </p:nvSpPr>
        <p:spPr bwMode="gray">
          <a:xfrm>
            <a:off x="3612736" y="4386760"/>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 name="椭圆 36"/>
          <p:cNvSpPr/>
          <p:nvPr/>
        </p:nvSpPr>
        <p:spPr bwMode="gray">
          <a:xfrm>
            <a:off x="3995854" y="3525775"/>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8" name="椭圆 37"/>
          <p:cNvSpPr/>
          <p:nvPr/>
        </p:nvSpPr>
        <p:spPr bwMode="gray">
          <a:xfrm>
            <a:off x="4523316" y="2461934"/>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9" name="椭圆 38"/>
          <p:cNvSpPr/>
          <p:nvPr/>
        </p:nvSpPr>
        <p:spPr bwMode="gray">
          <a:xfrm>
            <a:off x="5403585" y="2148782"/>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椭圆 39"/>
          <p:cNvSpPr/>
          <p:nvPr/>
        </p:nvSpPr>
        <p:spPr bwMode="gray">
          <a:xfrm>
            <a:off x="5374321" y="4597361"/>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1" name="椭圆 40"/>
          <p:cNvSpPr/>
          <p:nvPr/>
        </p:nvSpPr>
        <p:spPr bwMode="gray">
          <a:xfrm>
            <a:off x="4471734" y="4247781"/>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椭圆 41"/>
          <p:cNvSpPr/>
          <p:nvPr/>
        </p:nvSpPr>
        <p:spPr bwMode="gray">
          <a:xfrm>
            <a:off x="6396917" y="2077358"/>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椭圆 42"/>
          <p:cNvSpPr/>
          <p:nvPr/>
        </p:nvSpPr>
        <p:spPr bwMode="gray">
          <a:xfrm>
            <a:off x="7328202" y="2406779"/>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椭圆 43"/>
          <p:cNvSpPr/>
          <p:nvPr/>
        </p:nvSpPr>
        <p:spPr bwMode="gray">
          <a:xfrm>
            <a:off x="6377263" y="1799405"/>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5" name="椭圆 44"/>
          <p:cNvSpPr/>
          <p:nvPr/>
        </p:nvSpPr>
        <p:spPr bwMode="gray">
          <a:xfrm>
            <a:off x="10057000" y="2627290"/>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椭圆 45"/>
          <p:cNvSpPr/>
          <p:nvPr/>
        </p:nvSpPr>
        <p:spPr bwMode="gray">
          <a:xfrm>
            <a:off x="7748406" y="3176595"/>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7" name="椭圆 46"/>
          <p:cNvSpPr/>
          <p:nvPr/>
        </p:nvSpPr>
        <p:spPr bwMode="gray">
          <a:xfrm>
            <a:off x="7747163" y="3517892"/>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椭圆 47"/>
          <p:cNvSpPr/>
          <p:nvPr/>
        </p:nvSpPr>
        <p:spPr bwMode="gray">
          <a:xfrm>
            <a:off x="7287360" y="4272755"/>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椭圆 48"/>
          <p:cNvSpPr/>
          <p:nvPr/>
        </p:nvSpPr>
        <p:spPr bwMode="gray">
          <a:xfrm>
            <a:off x="6388407" y="4617719"/>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椭圆 49"/>
          <p:cNvSpPr/>
          <p:nvPr/>
        </p:nvSpPr>
        <p:spPr bwMode="gray">
          <a:xfrm>
            <a:off x="6383624" y="4841951"/>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椭圆 50"/>
          <p:cNvSpPr/>
          <p:nvPr/>
        </p:nvSpPr>
        <p:spPr bwMode="gray">
          <a:xfrm>
            <a:off x="8273104" y="4125511"/>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椭圆 51"/>
          <p:cNvSpPr/>
          <p:nvPr/>
        </p:nvSpPr>
        <p:spPr bwMode="gray">
          <a:xfrm>
            <a:off x="8266963" y="2768930"/>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椭圆 52"/>
          <p:cNvSpPr/>
          <p:nvPr/>
        </p:nvSpPr>
        <p:spPr bwMode="gray">
          <a:xfrm>
            <a:off x="9361007" y="3417011"/>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椭圆 53"/>
          <p:cNvSpPr/>
          <p:nvPr/>
        </p:nvSpPr>
        <p:spPr bwMode="gray">
          <a:xfrm>
            <a:off x="10076140" y="4070896"/>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custDataLst>
      <p:tags r:id="rId1"/>
    </p:custDataLst>
    <p:extLst>
      <p:ext uri="{BB962C8B-B14F-4D97-AF65-F5344CB8AC3E}">
        <p14:creationId xmlns:p14="http://schemas.microsoft.com/office/powerpoint/2010/main" val="1665437003"/>
      </p:ext>
    </p:extLst>
  </p:cSld>
  <p:clrMapOvr>
    <a:masterClrMapping/>
  </p:clrMapOvr>
  <p:transition>
    <p:fade/>
  </p:transition>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932055A3-C4A9-A64F-97D1-E4CFABC7D4D9}"/>
              </a:ext>
            </a:extLst>
          </p:cNvPr>
          <p:cNvGrpSpPr/>
          <p:nvPr/>
        </p:nvGrpSpPr>
        <p:grpSpPr>
          <a:xfrm>
            <a:off x="2842777" y="1231184"/>
            <a:ext cx="6780956" cy="5126754"/>
            <a:chOff x="1318776" y="1154113"/>
            <a:chExt cx="6780956" cy="5126754"/>
          </a:xfrm>
        </p:grpSpPr>
        <p:sp>
          <p:nvSpPr>
            <p:cNvPr id="22" name="Rectangle 21">
              <a:extLst>
                <a:ext uri="{FF2B5EF4-FFF2-40B4-BE49-F238E27FC236}">
                  <a16:creationId xmlns:a16="http://schemas.microsoft.com/office/drawing/2014/main" id="{E749CC36-FD4B-9747-BB7C-475D16D64365}"/>
                </a:ext>
              </a:extLst>
            </p:cNvPr>
            <p:cNvSpPr/>
            <p:nvPr/>
          </p:nvSpPr>
          <p:spPr>
            <a:xfrm>
              <a:off x="1318776" y="5043688"/>
              <a:ext cx="1031437" cy="184666"/>
            </a:xfrm>
            <a:prstGeom prst="rect">
              <a:avLst/>
            </a:prstGeom>
          </p:spPr>
          <p:txBody>
            <a:bodyPr wrap="none" lIns="0" tIns="0" rIns="0" bIns="0">
              <a:spAutoFit/>
            </a:bodyPr>
            <a:lstStyle/>
            <a:p>
              <a:pPr algn="r" defTabSz="913686"/>
              <a:r>
                <a:rPr lang="en-US" sz="1200" b="1" dirty="0">
                  <a:solidFill>
                    <a:srgbClr val="313131"/>
                  </a:solidFill>
                </a:rPr>
                <a:t>Lorem ipsum do</a:t>
              </a:r>
            </a:p>
          </p:txBody>
        </p:sp>
        <p:sp>
          <p:nvSpPr>
            <p:cNvPr id="23" name="Rectangle 22">
              <a:extLst>
                <a:ext uri="{FF2B5EF4-FFF2-40B4-BE49-F238E27FC236}">
                  <a16:creationId xmlns:a16="http://schemas.microsoft.com/office/drawing/2014/main" id="{EB6CFCAF-2825-B04C-877F-63C6DBB8E4CE}"/>
                </a:ext>
              </a:extLst>
            </p:cNvPr>
            <p:cNvSpPr/>
            <p:nvPr/>
          </p:nvSpPr>
          <p:spPr>
            <a:xfrm>
              <a:off x="1335310" y="3082634"/>
              <a:ext cx="1031436" cy="184666"/>
            </a:xfrm>
            <a:prstGeom prst="rect">
              <a:avLst/>
            </a:prstGeom>
          </p:spPr>
          <p:txBody>
            <a:bodyPr wrap="none" lIns="0" tIns="0" rIns="0" bIns="0">
              <a:spAutoFit/>
            </a:bodyPr>
            <a:lstStyle/>
            <a:p>
              <a:pPr algn="r" defTabSz="913686"/>
              <a:r>
                <a:rPr lang="en-US" sz="1200" b="1" dirty="0">
                  <a:solidFill>
                    <a:srgbClr val="313131"/>
                  </a:solidFill>
                </a:rPr>
                <a:t>Lorem ipsum do</a:t>
              </a:r>
            </a:p>
          </p:txBody>
        </p:sp>
        <p:sp>
          <p:nvSpPr>
            <p:cNvPr id="24" name="Rectangle 23">
              <a:extLst>
                <a:ext uri="{FF2B5EF4-FFF2-40B4-BE49-F238E27FC236}">
                  <a16:creationId xmlns:a16="http://schemas.microsoft.com/office/drawing/2014/main" id="{4054FF4D-4B04-B04E-B6E5-374C2D2C4A70}"/>
                </a:ext>
              </a:extLst>
            </p:cNvPr>
            <p:cNvSpPr/>
            <p:nvPr/>
          </p:nvSpPr>
          <p:spPr>
            <a:xfrm>
              <a:off x="1340557" y="1677976"/>
              <a:ext cx="1031436" cy="184666"/>
            </a:xfrm>
            <a:prstGeom prst="rect">
              <a:avLst/>
            </a:prstGeom>
          </p:spPr>
          <p:txBody>
            <a:bodyPr wrap="none" lIns="0" tIns="0" rIns="0" bIns="0">
              <a:spAutoFit/>
            </a:bodyPr>
            <a:lstStyle/>
            <a:p>
              <a:pPr algn="r" defTabSz="913686"/>
              <a:r>
                <a:rPr lang="en-US" sz="1200" b="1" dirty="0">
                  <a:solidFill>
                    <a:srgbClr val="313131"/>
                  </a:solidFill>
                </a:rPr>
                <a:t>Lorem ipsum do</a:t>
              </a:r>
            </a:p>
          </p:txBody>
        </p:sp>
        <p:sp>
          <p:nvSpPr>
            <p:cNvPr id="25" name="Arc 23">
              <a:extLst>
                <a:ext uri="{FF2B5EF4-FFF2-40B4-BE49-F238E27FC236}">
                  <a16:creationId xmlns:a16="http://schemas.microsoft.com/office/drawing/2014/main" id="{FB1BD96D-4F09-9645-952A-14AF6E0232C3}"/>
                </a:ext>
              </a:extLst>
            </p:cNvPr>
            <p:cNvSpPr>
              <a:spLocks noChangeAspect="1"/>
            </p:cNvSpPr>
            <p:nvPr>
              <p:custDataLst>
                <p:tags r:id="rId1"/>
              </p:custDataLst>
            </p:nvPr>
          </p:nvSpPr>
          <p:spPr bwMode="gray">
            <a:xfrm>
              <a:off x="2477376" y="1154113"/>
              <a:ext cx="5622356" cy="512675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3"/>
            </a:solidFill>
            <a:ln w="19050">
              <a:solidFill>
                <a:schemeClr val="bg1"/>
              </a:solidFill>
              <a:round/>
              <a:headEnd/>
              <a:tailEnd/>
            </a:ln>
          </p:spPr>
          <p:txBody>
            <a:bodyPr wrap="none" anchor="ctr"/>
            <a:lstStyle/>
            <a:p>
              <a:pPr algn="ctr" defTabSz="913686">
                <a:defRPr/>
              </a:pPr>
              <a:endParaRPr lang="en-US" sz="800" kern="0" dirty="0">
                <a:solidFill>
                  <a:srgbClr val="002776"/>
                </a:solidFill>
                <a:cs typeface="Arial" pitchFamily="34" charset="0"/>
              </a:endParaRPr>
            </a:p>
          </p:txBody>
        </p:sp>
        <p:sp>
          <p:nvSpPr>
            <p:cNvPr id="26" name="Arc 23">
              <a:extLst>
                <a:ext uri="{FF2B5EF4-FFF2-40B4-BE49-F238E27FC236}">
                  <a16:creationId xmlns:a16="http://schemas.microsoft.com/office/drawing/2014/main" id="{2888C629-96D3-CB43-B7EC-C349AE778652}"/>
                </a:ext>
              </a:extLst>
            </p:cNvPr>
            <p:cNvSpPr>
              <a:spLocks noChangeAspect="1"/>
            </p:cNvSpPr>
            <p:nvPr>
              <p:custDataLst>
                <p:tags r:id="rId2"/>
              </p:custDataLst>
            </p:nvPr>
          </p:nvSpPr>
          <p:spPr bwMode="gray">
            <a:xfrm>
              <a:off x="2477376" y="2435801"/>
              <a:ext cx="4216768" cy="384506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2"/>
            </a:solidFill>
            <a:ln w="19050">
              <a:solidFill>
                <a:schemeClr val="bg1"/>
              </a:solidFill>
              <a:round/>
              <a:headEnd/>
              <a:tailEnd/>
            </a:ln>
          </p:spPr>
          <p:txBody>
            <a:bodyPr wrap="none" anchor="ctr"/>
            <a:lstStyle/>
            <a:p>
              <a:pPr algn="ctr" defTabSz="913686">
                <a:defRPr/>
              </a:pPr>
              <a:endParaRPr lang="en-US" sz="800" kern="0" dirty="0">
                <a:solidFill>
                  <a:srgbClr val="002776"/>
                </a:solidFill>
                <a:cs typeface="Arial" pitchFamily="34" charset="0"/>
              </a:endParaRPr>
            </a:p>
          </p:txBody>
        </p:sp>
        <p:sp>
          <p:nvSpPr>
            <p:cNvPr id="27" name="Arc 23">
              <a:extLst>
                <a:ext uri="{FF2B5EF4-FFF2-40B4-BE49-F238E27FC236}">
                  <a16:creationId xmlns:a16="http://schemas.microsoft.com/office/drawing/2014/main" id="{783644E3-ECAA-5E4E-9712-4C4163C1C90F}"/>
                </a:ext>
              </a:extLst>
            </p:cNvPr>
            <p:cNvSpPr>
              <a:spLocks noChangeAspect="1"/>
            </p:cNvSpPr>
            <p:nvPr>
              <p:custDataLst>
                <p:tags r:id="rId3"/>
              </p:custDataLst>
            </p:nvPr>
          </p:nvSpPr>
          <p:spPr bwMode="gray">
            <a:xfrm>
              <a:off x="2477376" y="3912304"/>
              <a:ext cx="2594933" cy="2366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19050">
              <a:solidFill>
                <a:schemeClr val="bg1"/>
              </a:solidFill>
              <a:round/>
              <a:headEnd/>
              <a:tailEnd/>
            </a:ln>
          </p:spPr>
          <p:txBody>
            <a:bodyPr wrap="none" anchor="ctr"/>
            <a:lstStyle/>
            <a:p>
              <a:pPr algn="ctr" defTabSz="913686">
                <a:defRPr/>
              </a:pPr>
              <a:endParaRPr lang="en-US" sz="800" kern="0" dirty="0">
                <a:solidFill>
                  <a:srgbClr val="002776"/>
                </a:solidFill>
                <a:cs typeface="Arial" pitchFamily="34" charset="0"/>
              </a:endParaRPr>
            </a:p>
          </p:txBody>
        </p:sp>
        <p:sp>
          <p:nvSpPr>
            <p:cNvPr id="28" name="TextBox 27">
              <a:extLst>
                <a:ext uri="{FF2B5EF4-FFF2-40B4-BE49-F238E27FC236}">
                  <a16:creationId xmlns:a16="http://schemas.microsoft.com/office/drawing/2014/main" id="{58A0EF5C-F437-CF4F-9B82-BDA68A5423A2}"/>
                </a:ext>
              </a:extLst>
            </p:cNvPr>
            <p:cNvSpPr txBox="1"/>
            <p:nvPr/>
          </p:nvSpPr>
          <p:spPr>
            <a:xfrm>
              <a:off x="2629776" y="4830809"/>
              <a:ext cx="1853324" cy="987450"/>
            </a:xfrm>
            <a:prstGeom prst="rect">
              <a:avLst/>
            </a:prstGeom>
            <a:noFill/>
          </p:spPr>
          <p:txBody>
            <a:bodyPr wrap="square" lIns="0" tIns="0" rIns="0" bIns="0" rtlCol="0">
              <a:spAutoFit/>
            </a:bodyPr>
            <a:lstStyle>
              <a:defPPr>
                <a:defRPr lang="en-US"/>
              </a:defPPr>
              <a:lvl2pPr marL="123825" lvl="1" indent="-123825">
                <a:spcBef>
                  <a:spcPts val="100"/>
                </a:spcBef>
                <a:buSzPct val="100000"/>
                <a:buFont typeface="Arial"/>
                <a:buChar char="•"/>
                <a:defRPr sz="1000">
                  <a:solidFill>
                    <a:schemeClr val="bg1"/>
                  </a:solidFill>
                </a:defRPr>
              </a:lvl2pPr>
            </a:lstStyle>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a:t>
              </a:r>
              <a:r>
                <a:rPr lang="en-US" dirty="0" err="1">
                  <a:solidFill>
                    <a:prstClr val="white"/>
                  </a:solidFill>
                </a:rPr>
                <a:t>doLorem</a:t>
              </a:r>
              <a:r>
                <a:rPr lang="en-US" dirty="0">
                  <a:solidFill>
                    <a:prstClr val="white"/>
                  </a:solidFill>
                </a:rPr>
                <a:t> ipsum do</a:t>
              </a:r>
            </a:p>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a:p>
              <a:pPr marL="123727" lvl="1" indent="-123727" defTabSz="913686">
                <a:defRPr/>
              </a:pPr>
              <a:endParaRPr lang="en-US" dirty="0">
                <a:solidFill>
                  <a:prstClr val="white"/>
                </a:solidFill>
              </a:endParaRPr>
            </a:p>
          </p:txBody>
        </p:sp>
        <p:sp>
          <p:nvSpPr>
            <p:cNvPr id="29" name="TextBox 28">
              <a:extLst>
                <a:ext uri="{FF2B5EF4-FFF2-40B4-BE49-F238E27FC236}">
                  <a16:creationId xmlns:a16="http://schemas.microsoft.com/office/drawing/2014/main" id="{C5C44E6C-7E3A-5A4D-A674-7336C51A96FE}"/>
                </a:ext>
              </a:extLst>
            </p:cNvPr>
            <p:cNvSpPr txBox="1"/>
            <p:nvPr/>
          </p:nvSpPr>
          <p:spPr>
            <a:xfrm>
              <a:off x="2629776" y="2977171"/>
              <a:ext cx="966611" cy="487313"/>
            </a:xfrm>
            <a:prstGeom prst="rect">
              <a:avLst/>
            </a:prstGeom>
            <a:noFill/>
          </p:spPr>
          <p:txBody>
            <a:bodyPr wrap="none" lIns="0" tIns="0" rIns="0" bIns="0" rtlCol="0">
              <a:spAutoFit/>
            </a:bodyPr>
            <a:lstStyle/>
            <a:p>
              <a:pPr marL="123727" lvl="1" indent="-123727" defTabSz="913686">
                <a:spcBef>
                  <a:spcPts val="100"/>
                </a:spcBef>
                <a:buSzPct val="100000"/>
                <a:buFont typeface="Arial"/>
                <a:buChar char="•"/>
                <a:defRPr/>
              </a:pPr>
              <a:r>
                <a:rPr lang="en-US" sz="1000" dirty="0">
                  <a:solidFill>
                    <a:prstClr val="white"/>
                  </a:solidFill>
                </a:rPr>
                <a:t>Lorem ipsum do</a:t>
              </a:r>
            </a:p>
            <a:p>
              <a:pPr marL="123727" lvl="1" indent="-123727" defTabSz="913686">
                <a:spcBef>
                  <a:spcPts val="100"/>
                </a:spcBef>
                <a:buSzPct val="100000"/>
                <a:buFont typeface="Arial"/>
                <a:buChar char="•"/>
                <a:defRPr/>
              </a:pPr>
              <a:r>
                <a:rPr lang="en-US" sz="1000" dirty="0">
                  <a:solidFill>
                    <a:prstClr val="white"/>
                  </a:solidFill>
                </a:rPr>
                <a:t>Lorem ipsum do</a:t>
              </a:r>
            </a:p>
            <a:p>
              <a:pPr marL="123727" lvl="1" indent="-123727" defTabSz="913686">
                <a:spcBef>
                  <a:spcPts val="100"/>
                </a:spcBef>
                <a:buSzPct val="100000"/>
                <a:buFont typeface="Arial"/>
                <a:buChar char="•"/>
                <a:defRPr/>
              </a:pPr>
              <a:r>
                <a:rPr lang="en-US" sz="1000" dirty="0">
                  <a:solidFill>
                    <a:prstClr val="white"/>
                  </a:solidFill>
                </a:rPr>
                <a:t>Lorem ipsum do</a:t>
              </a:r>
            </a:p>
          </p:txBody>
        </p:sp>
        <p:sp>
          <p:nvSpPr>
            <p:cNvPr id="30" name="TextBox 29">
              <a:extLst>
                <a:ext uri="{FF2B5EF4-FFF2-40B4-BE49-F238E27FC236}">
                  <a16:creationId xmlns:a16="http://schemas.microsoft.com/office/drawing/2014/main" id="{48F51143-72D5-1B4A-B919-5AF4B414CCF5}"/>
                </a:ext>
              </a:extLst>
            </p:cNvPr>
            <p:cNvSpPr txBox="1"/>
            <p:nvPr/>
          </p:nvSpPr>
          <p:spPr>
            <a:xfrm>
              <a:off x="4476793" y="3727419"/>
              <a:ext cx="966611" cy="487313"/>
            </a:xfrm>
            <a:prstGeom prst="rect">
              <a:avLst/>
            </a:prstGeom>
            <a:noFill/>
          </p:spPr>
          <p:txBody>
            <a:bodyPr wrap="none" lIns="0" tIns="0" rIns="0" bIns="0" rtlCol="0">
              <a:spAutoFit/>
            </a:bodyPr>
            <a:lstStyle>
              <a:defPPr>
                <a:defRPr lang="en-US"/>
              </a:defPPr>
              <a:lvl2pPr marL="123825" lvl="1" indent="-123825">
                <a:spcBef>
                  <a:spcPts val="100"/>
                </a:spcBef>
                <a:buSzPct val="100000"/>
                <a:buFont typeface="Arial"/>
                <a:buChar char="•"/>
                <a:defRPr sz="1000">
                  <a:solidFill>
                    <a:schemeClr val="bg1"/>
                  </a:solidFill>
                </a:defRPr>
              </a:lvl2pPr>
            </a:lstStyle>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p:txBody>
        </p:sp>
        <p:sp>
          <p:nvSpPr>
            <p:cNvPr id="31" name="TextBox 30">
              <a:extLst>
                <a:ext uri="{FF2B5EF4-FFF2-40B4-BE49-F238E27FC236}">
                  <a16:creationId xmlns:a16="http://schemas.microsoft.com/office/drawing/2014/main" id="{173DE0D1-40D2-8647-A7CC-0F780FDF6BB1}"/>
                </a:ext>
              </a:extLst>
            </p:cNvPr>
            <p:cNvSpPr txBox="1"/>
            <p:nvPr/>
          </p:nvSpPr>
          <p:spPr>
            <a:xfrm>
              <a:off x="3100889" y="1880609"/>
              <a:ext cx="1683153" cy="153888"/>
            </a:xfrm>
            <a:prstGeom prst="rect">
              <a:avLst/>
            </a:prstGeom>
            <a:noFill/>
          </p:spPr>
          <p:txBody>
            <a:bodyPr wrap="none" lIns="0" tIns="0" rIns="0" bIns="0" rtlCol="0">
              <a:spAutoFit/>
            </a:bodyPr>
            <a:lstStyle>
              <a:defPPr>
                <a:defRPr lang="en-US"/>
              </a:defPPr>
              <a:lvl1pPr>
                <a:defRPr sz="1000">
                  <a:solidFill>
                    <a:schemeClr val="tx2"/>
                  </a:solidFill>
                </a:defRPr>
              </a:lvl1pPr>
              <a:lvl2pPr marL="123825" lvl="1" indent="-123825">
                <a:spcBef>
                  <a:spcPts val="100"/>
                </a:spcBef>
                <a:buSzPct val="100000"/>
                <a:buFont typeface="Arial"/>
                <a:buChar char="•"/>
                <a:defRPr sz="1000">
                  <a:solidFill>
                    <a:schemeClr val="bg1"/>
                  </a:solidFill>
                </a:defRPr>
              </a:lvl2pPr>
            </a:lstStyle>
            <a:p>
              <a:pPr defTabSz="913686"/>
              <a:r>
                <a:rPr lang="en-US" dirty="0">
                  <a:solidFill>
                    <a:prstClr val="white"/>
                  </a:solidFill>
                </a:rPr>
                <a:t>Lorem ipsum </a:t>
              </a:r>
              <a:r>
                <a:rPr lang="en-US" dirty="0" err="1">
                  <a:solidFill>
                    <a:prstClr val="white"/>
                  </a:solidFill>
                </a:rPr>
                <a:t>doLorem</a:t>
              </a:r>
              <a:r>
                <a:rPr lang="en-US" dirty="0">
                  <a:solidFill>
                    <a:prstClr val="white"/>
                  </a:solidFill>
                </a:rPr>
                <a:t> ipsum do</a:t>
              </a:r>
            </a:p>
          </p:txBody>
        </p:sp>
        <p:sp>
          <p:nvSpPr>
            <p:cNvPr id="32" name="TextBox 31">
              <a:extLst>
                <a:ext uri="{FF2B5EF4-FFF2-40B4-BE49-F238E27FC236}">
                  <a16:creationId xmlns:a16="http://schemas.microsoft.com/office/drawing/2014/main" id="{4400EABD-BCBB-4945-908B-BB83E2A46D26}"/>
                </a:ext>
              </a:extLst>
            </p:cNvPr>
            <p:cNvSpPr txBox="1"/>
            <p:nvPr/>
          </p:nvSpPr>
          <p:spPr>
            <a:xfrm>
              <a:off x="5806080" y="3227239"/>
              <a:ext cx="841577" cy="153888"/>
            </a:xfrm>
            <a:prstGeom prst="rect">
              <a:avLst/>
            </a:prstGeom>
            <a:noFill/>
          </p:spPr>
          <p:txBody>
            <a:bodyPr wrap="none" lIns="0" tIns="0" rIns="0" bIns="0" rtlCol="0">
              <a:spAutoFit/>
            </a:bodyPr>
            <a:lstStyle>
              <a:defPPr>
                <a:defRPr lang="en-US"/>
              </a:defPPr>
              <a:lvl1pPr>
                <a:defRPr sz="1000">
                  <a:solidFill>
                    <a:schemeClr val="tx2"/>
                  </a:solidFill>
                </a:defRPr>
              </a:lvl1pPr>
              <a:lvl2pPr marL="123825" lvl="1" indent="-123825">
                <a:spcBef>
                  <a:spcPts val="100"/>
                </a:spcBef>
                <a:buSzPct val="100000"/>
                <a:buFont typeface="Arial"/>
                <a:buChar char="•"/>
                <a:defRPr sz="1000">
                  <a:solidFill>
                    <a:schemeClr val="bg1"/>
                  </a:solidFill>
                </a:defRPr>
              </a:lvl2pPr>
            </a:lstStyle>
            <a:p>
              <a:pPr defTabSz="913686"/>
              <a:r>
                <a:rPr lang="en-US" dirty="0">
                  <a:solidFill>
                    <a:prstClr val="white"/>
                  </a:solidFill>
                </a:rPr>
                <a:t>Lorem ipsum do</a:t>
              </a:r>
            </a:p>
          </p:txBody>
        </p:sp>
        <p:sp>
          <p:nvSpPr>
            <p:cNvPr id="33" name="TextBox 32">
              <a:extLst>
                <a:ext uri="{FF2B5EF4-FFF2-40B4-BE49-F238E27FC236}">
                  <a16:creationId xmlns:a16="http://schemas.microsoft.com/office/drawing/2014/main" id="{9D22CC00-633A-2B40-9254-91C834E879A0}"/>
                </a:ext>
              </a:extLst>
            </p:cNvPr>
            <p:cNvSpPr txBox="1"/>
            <p:nvPr/>
          </p:nvSpPr>
          <p:spPr>
            <a:xfrm>
              <a:off x="6694144" y="5074465"/>
              <a:ext cx="1261158" cy="153888"/>
            </a:xfrm>
            <a:prstGeom prst="rect">
              <a:avLst/>
            </a:prstGeom>
            <a:noFill/>
          </p:spPr>
          <p:txBody>
            <a:bodyPr wrap="square" lIns="0" tIns="0" rIns="0" bIns="0" rtlCol="0">
              <a:spAutoFit/>
            </a:bodyPr>
            <a:lstStyle>
              <a:defPPr>
                <a:defRPr lang="en-US"/>
              </a:defPPr>
              <a:lvl1pPr>
                <a:defRPr sz="1000">
                  <a:solidFill>
                    <a:schemeClr val="tx2"/>
                  </a:solidFill>
                </a:defRPr>
              </a:lvl1pPr>
              <a:lvl2pPr marL="123825" lvl="1" indent="-123825">
                <a:spcBef>
                  <a:spcPts val="100"/>
                </a:spcBef>
                <a:buSzPct val="100000"/>
                <a:buFont typeface="Arial"/>
                <a:buChar char="•"/>
                <a:defRPr sz="1000">
                  <a:solidFill>
                    <a:schemeClr val="bg1"/>
                  </a:solidFill>
                </a:defRPr>
              </a:lvl2pPr>
            </a:lstStyle>
            <a:p>
              <a:pPr defTabSz="913686"/>
              <a:r>
                <a:rPr lang="en-US" dirty="0">
                  <a:solidFill>
                    <a:prstClr val="white"/>
                  </a:solidFill>
                </a:rPr>
                <a:t>Lorem ipsum do</a:t>
              </a:r>
            </a:p>
          </p:txBody>
        </p:sp>
        <p:sp>
          <p:nvSpPr>
            <p:cNvPr id="34" name="TextBox 33">
              <a:extLst>
                <a:ext uri="{FF2B5EF4-FFF2-40B4-BE49-F238E27FC236}">
                  <a16:creationId xmlns:a16="http://schemas.microsoft.com/office/drawing/2014/main" id="{8A289503-53F8-2548-8C7F-B67D032E042D}"/>
                </a:ext>
              </a:extLst>
            </p:cNvPr>
            <p:cNvSpPr txBox="1"/>
            <p:nvPr/>
          </p:nvSpPr>
          <p:spPr>
            <a:xfrm>
              <a:off x="5020103" y="4984696"/>
              <a:ext cx="966611" cy="487313"/>
            </a:xfrm>
            <a:prstGeom prst="rect">
              <a:avLst/>
            </a:prstGeom>
            <a:noFill/>
          </p:spPr>
          <p:txBody>
            <a:bodyPr wrap="none" lIns="0" tIns="0" rIns="0" bIns="0" rtlCol="0">
              <a:spAutoFit/>
            </a:bodyPr>
            <a:lstStyle>
              <a:defPPr>
                <a:defRPr lang="en-US"/>
              </a:defPPr>
              <a:lvl2pPr marL="123825" lvl="1" indent="-123825">
                <a:spcBef>
                  <a:spcPts val="100"/>
                </a:spcBef>
                <a:buSzPct val="100000"/>
                <a:buFont typeface="Arial"/>
                <a:buChar char="•"/>
                <a:defRPr sz="1000">
                  <a:solidFill>
                    <a:schemeClr val="bg1"/>
                  </a:solidFill>
                </a:defRPr>
              </a:lvl2pPr>
            </a:lstStyle>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p:txBody>
        </p:sp>
      </p:grpSp>
    </p:spTree>
    <p:extLst>
      <p:ext uri="{BB962C8B-B14F-4D97-AF65-F5344CB8AC3E}">
        <p14:creationId xmlns:p14="http://schemas.microsoft.com/office/powerpoint/2010/main" val="4211673218"/>
      </p:ext>
    </p:extLst>
  </p:cSld>
  <p:clrMapOvr>
    <a:masterClrMapping/>
  </p:clrMapOvr>
  <p:transition>
    <p:fade/>
  </p:transition>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59">
            <a:extLst>
              <a:ext uri="{FF2B5EF4-FFF2-40B4-BE49-F238E27FC236}">
                <a16:creationId xmlns:a16="http://schemas.microsoft.com/office/drawing/2014/main" id="{6C450778-92D1-4FC4-9236-6716D0E8A521}"/>
              </a:ext>
            </a:extLst>
          </p:cNvPr>
          <p:cNvSpPr>
            <a:spLocks noChangeArrowheads="1"/>
          </p:cNvSpPr>
          <p:nvPr/>
        </p:nvSpPr>
        <p:spPr bwMode="gray">
          <a:xfrm>
            <a:off x="2564148" y="2203064"/>
            <a:ext cx="2882399" cy="1064547"/>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458788" marR="0" lvl="0" algn="l" defTabSz="914400" rtl="0" eaLnBrk="1" fontAlgn="auto" latinLnBrk="0" hangingPunct="1">
              <a:lnSpc>
                <a:spcPct val="150000"/>
              </a:lnSpc>
              <a:spcBef>
                <a:spcPts val="600"/>
              </a:spcBef>
              <a:spcAft>
                <a:spcPts val="0"/>
              </a:spcAft>
              <a:buClrTx/>
              <a:buSzTx/>
              <a:buFontTx/>
              <a:buNone/>
              <a:defRPr/>
            </a:pPr>
            <a:endParaRPr kumimoji="0" lang="en-US" sz="1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r>
              <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rPr>
              <a:t>**</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r>
              <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rPr>
              <a:t>**</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r>
              <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rPr>
              <a:t>d**</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62" name="Text Box 60">
            <a:extLst>
              <a:ext uri="{FF2B5EF4-FFF2-40B4-BE49-F238E27FC236}">
                <a16:creationId xmlns:a16="http://schemas.microsoft.com/office/drawing/2014/main" id="{97587A12-B6CC-4E18-8C9E-40D7D710FEB6}"/>
              </a:ext>
            </a:extLst>
          </p:cNvPr>
          <p:cNvSpPr txBox="1">
            <a:spLocks noChangeArrowheads="1"/>
          </p:cNvSpPr>
          <p:nvPr/>
        </p:nvSpPr>
        <p:spPr bwMode="gray">
          <a:xfrm>
            <a:off x="3195349" y="2111510"/>
            <a:ext cx="1619995" cy="238527"/>
          </a:xfrm>
          <a:prstGeom prst="rect">
            <a:avLst/>
          </a:prstGeom>
          <a:solidFill>
            <a:schemeClr val="bg1"/>
          </a:solidFill>
          <a:ln w="12700" algn="ctr">
            <a:noFill/>
            <a:miter lim="800000"/>
            <a:headEnd/>
            <a:tailEnd type="none" w="sm" len="med"/>
          </a:ln>
        </p:spPr>
        <p:txBody>
          <a:bodyPr wrap="none" lIns="45720" tIns="45720" rIns="45720" bIns="45720" anchor="ctr" anchorCtr="1">
            <a:spAutoFit/>
          </a:bodyPr>
          <a:lstStyle>
            <a:defPPr>
              <a:defRPr lang="en-US"/>
            </a:defPPr>
            <a:lvl1pPr marR="0" lvl="0" indent="0" algn="ctr" defTabSz="914400" fontAlgn="auto">
              <a:lnSpc>
                <a:spcPct val="95000"/>
              </a:lnSpc>
              <a:spcBef>
                <a:spcPts val="0"/>
              </a:spcBef>
              <a:spcAft>
                <a:spcPts val="0"/>
              </a:spcAft>
              <a:buClrTx/>
              <a:buSzTx/>
              <a:buFontTx/>
              <a:buNone/>
              <a:tabLst/>
              <a:defRPr kumimoji="0" sz="1000" i="0" u="none" strike="noStrike" cap="none" spc="0" normalizeH="0" baseline="0">
                <a:ln>
                  <a:noFill/>
                </a:ln>
                <a:solidFill>
                  <a:srgbClr val="000000"/>
                </a:solidFill>
                <a:effectLst/>
                <a:uLnTx/>
                <a:uFillTx/>
                <a:ea typeface="Verdana" panose="020B0604030504040204" pitchFamily="34" charset="0"/>
                <a:cs typeface="Verdana" panose="020B0604030504040204" pitchFamily="34" charset="0"/>
              </a:defRPr>
            </a:lvl1pPr>
          </a:lstStyle>
          <a:p>
            <a:r>
              <a:rPr lang="da-DK" b="1" dirty="0"/>
              <a:t>Lorem ipsum dolor sit amet, </a:t>
            </a:r>
            <a:endParaRPr lang="en-US" b="1" dirty="0"/>
          </a:p>
        </p:txBody>
      </p:sp>
      <p:sp>
        <p:nvSpPr>
          <p:cNvPr id="63" name="Rectangle 56">
            <a:extLst>
              <a:ext uri="{FF2B5EF4-FFF2-40B4-BE49-F238E27FC236}">
                <a16:creationId xmlns:a16="http://schemas.microsoft.com/office/drawing/2014/main" id="{810B84AC-D4E8-40D1-8761-A07778B7C812}"/>
              </a:ext>
            </a:extLst>
          </p:cNvPr>
          <p:cNvSpPr>
            <a:spLocks noChangeArrowheads="1"/>
          </p:cNvSpPr>
          <p:nvPr/>
        </p:nvSpPr>
        <p:spPr bwMode="gray">
          <a:xfrm>
            <a:off x="4449860" y="1238045"/>
            <a:ext cx="2682429"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endParaRPr lang="en-US" sz="800" dirty="0">
              <a:solidFill>
                <a:prstClr val="black"/>
              </a:solidFill>
              <a:ea typeface="Verdana" panose="020B0604030504040204" pitchFamily="34" charset="0"/>
              <a:cs typeface="Verdana" panose="020B0604030504040204" pitchFamily="34" charset="0"/>
            </a:endParaRPr>
          </a:p>
        </p:txBody>
      </p:sp>
      <p:sp>
        <p:nvSpPr>
          <p:cNvPr id="64" name="Text Box 57">
            <a:extLst>
              <a:ext uri="{FF2B5EF4-FFF2-40B4-BE49-F238E27FC236}">
                <a16:creationId xmlns:a16="http://schemas.microsoft.com/office/drawing/2014/main" id="{0540605E-1A1D-47CF-BF51-6AA535254415}"/>
              </a:ext>
            </a:extLst>
          </p:cNvPr>
          <p:cNvSpPr txBox="1">
            <a:spLocks noChangeArrowheads="1"/>
          </p:cNvSpPr>
          <p:nvPr/>
        </p:nvSpPr>
        <p:spPr bwMode="gray">
          <a:xfrm>
            <a:off x="4981077" y="1115923"/>
            <a:ext cx="1619995" cy="238527"/>
          </a:xfrm>
          <a:prstGeom prst="rect">
            <a:avLst/>
          </a:prstGeom>
          <a:solidFill>
            <a:schemeClr val="bg1"/>
          </a:solidFill>
          <a:ln w="12700" algn="ctr">
            <a:noFill/>
            <a:miter lim="800000"/>
            <a:headEnd/>
            <a:tailEnd type="none" w="sm" len="med"/>
          </a:ln>
        </p:spPr>
        <p:txBody>
          <a:bodyPr wrap="none" lIns="45720" tIns="45720" rIns="45720" bIns="45720" anchor="ctr" anchorCtr="1">
            <a:spAutoFit/>
          </a:bodyPr>
          <a:lstStyle>
            <a:defPPr>
              <a:defRPr lang="en-US"/>
            </a:defPPr>
            <a:lvl1pPr marR="0" lvl="0" indent="0" algn="ctr" defTabSz="914400" fontAlgn="auto">
              <a:lnSpc>
                <a:spcPct val="95000"/>
              </a:lnSpc>
              <a:spcBef>
                <a:spcPts val="0"/>
              </a:spcBef>
              <a:spcAft>
                <a:spcPts val="0"/>
              </a:spcAft>
              <a:buClrTx/>
              <a:buSzTx/>
              <a:buFontTx/>
              <a:buNone/>
              <a:tabLst/>
              <a:defRPr kumimoji="0" sz="1000" i="0" u="none" strike="noStrike" cap="none" spc="0" normalizeH="0" baseline="0">
                <a:ln>
                  <a:noFill/>
                </a:ln>
                <a:solidFill>
                  <a:srgbClr val="000000"/>
                </a:solidFill>
                <a:effectLst/>
                <a:uLnTx/>
                <a:uFillTx/>
                <a:ea typeface="Verdana" panose="020B0604030504040204" pitchFamily="34" charset="0"/>
                <a:cs typeface="Verdana" panose="020B0604030504040204" pitchFamily="34" charset="0"/>
              </a:defRPr>
            </a:lvl1pPr>
          </a:lstStyle>
          <a:p>
            <a:r>
              <a:rPr lang="da-DK" b="1" dirty="0"/>
              <a:t>Lorem ipsum dolor sit amet, </a:t>
            </a:r>
            <a:endParaRPr lang="en-US" b="1" dirty="0"/>
          </a:p>
        </p:txBody>
      </p:sp>
      <p:sp>
        <p:nvSpPr>
          <p:cNvPr id="66" name="Rectangle 59">
            <a:extLst>
              <a:ext uri="{FF2B5EF4-FFF2-40B4-BE49-F238E27FC236}">
                <a16:creationId xmlns:a16="http://schemas.microsoft.com/office/drawing/2014/main" id="{C759C0BE-1F43-441B-8D62-6670C2B17505}"/>
              </a:ext>
            </a:extLst>
          </p:cNvPr>
          <p:cNvSpPr>
            <a:spLocks noChangeArrowheads="1"/>
          </p:cNvSpPr>
          <p:nvPr/>
        </p:nvSpPr>
        <p:spPr bwMode="gray">
          <a:xfrm>
            <a:off x="887506" y="1238045"/>
            <a:ext cx="2735718"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67" name="Text Box 60">
            <a:extLst>
              <a:ext uri="{FF2B5EF4-FFF2-40B4-BE49-F238E27FC236}">
                <a16:creationId xmlns:a16="http://schemas.microsoft.com/office/drawing/2014/main" id="{9C5C67DC-6A79-4EE1-A0C0-D16A649B469C}"/>
              </a:ext>
            </a:extLst>
          </p:cNvPr>
          <p:cNvSpPr txBox="1">
            <a:spLocks noChangeArrowheads="1"/>
          </p:cNvSpPr>
          <p:nvPr/>
        </p:nvSpPr>
        <p:spPr bwMode="gray">
          <a:xfrm>
            <a:off x="1445368" y="1146025"/>
            <a:ext cx="1619995" cy="238527"/>
          </a:xfrm>
          <a:prstGeom prst="rect">
            <a:avLst/>
          </a:prstGeom>
          <a:solidFill>
            <a:schemeClr val="bg1"/>
          </a:solidFill>
          <a:ln w="12700" algn="ctr">
            <a:noFill/>
            <a:miter lim="800000"/>
            <a:headEnd/>
            <a:tailEnd type="none" w="sm" len="med"/>
          </a:ln>
        </p:spPr>
        <p:txBody>
          <a:bodyPr wrap="none" lIns="45720" tIns="45720" rIns="45720" bIns="45720" anchor="ctr" anchorCtr="1">
            <a:spAutoFit/>
          </a:bodyPr>
          <a:lstStyle>
            <a:defPPr>
              <a:defRPr lang="en-US"/>
            </a:defPPr>
            <a:lvl1pPr marR="0" lvl="0" indent="0" algn="ctr" defTabSz="914400" fontAlgn="auto">
              <a:lnSpc>
                <a:spcPct val="95000"/>
              </a:lnSpc>
              <a:spcBef>
                <a:spcPts val="0"/>
              </a:spcBef>
              <a:spcAft>
                <a:spcPts val="0"/>
              </a:spcAft>
              <a:buClrTx/>
              <a:buSzTx/>
              <a:buFontTx/>
              <a:buNone/>
              <a:tabLst/>
              <a:defRPr kumimoji="0" sz="1000" i="0" u="none" strike="noStrike" cap="none" spc="0" normalizeH="0" baseline="0">
                <a:ln>
                  <a:noFill/>
                </a:ln>
                <a:solidFill>
                  <a:srgbClr val="000000"/>
                </a:solidFill>
                <a:effectLst/>
                <a:uLnTx/>
                <a:uFillTx/>
                <a:ea typeface="Verdana" panose="020B0604030504040204" pitchFamily="34" charset="0"/>
                <a:cs typeface="Verdana" panose="020B0604030504040204" pitchFamily="34" charset="0"/>
              </a:defRPr>
            </a:lvl1pPr>
          </a:lstStyle>
          <a:p>
            <a:r>
              <a:rPr lang="da-DK" b="1" dirty="0"/>
              <a:t>Lorem ipsum dolor sit amet, </a:t>
            </a:r>
            <a:endParaRPr lang="en-US" b="1" dirty="0"/>
          </a:p>
        </p:txBody>
      </p:sp>
      <p:cxnSp>
        <p:nvCxnSpPr>
          <p:cNvPr id="68" name="Straight Connector 67">
            <a:extLst>
              <a:ext uri="{FF2B5EF4-FFF2-40B4-BE49-F238E27FC236}">
                <a16:creationId xmlns:a16="http://schemas.microsoft.com/office/drawing/2014/main" id="{85A9E177-F7F9-4E46-B054-EB10CA9FF504}"/>
              </a:ext>
            </a:extLst>
          </p:cNvPr>
          <p:cNvCxnSpPr>
            <a:cxnSpLocks/>
            <a:stCxn id="66" idx="3"/>
            <a:endCxn id="63" idx="1"/>
          </p:cNvCxnSpPr>
          <p:nvPr/>
        </p:nvCxnSpPr>
        <p:spPr>
          <a:xfrm>
            <a:off x="3623224" y="1627688"/>
            <a:ext cx="826636"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9" name="Rectangle 59">
            <a:extLst>
              <a:ext uri="{FF2B5EF4-FFF2-40B4-BE49-F238E27FC236}">
                <a16:creationId xmlns:a16="http://schemas.microsoft.com/office/drawing/2014/main" id="{7EB37BE4-A7E4-4A31-BBBD-785F553158E1}"/>
              </a:ext>
            </a:extLst>
          </p:cNvPr>
          <p:cNvSpPr>
            <a:spLocks noChangeArrowheads="1"/>
          </p:cNvSpPr>
          <p:nvPr/>
        </p:nvSpPr>
        <p:spPr bwMode="gray">
          <a:xfrm>
            <a:off x="1124149" y="3676936"/>
            <a:ext cx="2319992" cy="627145"/>
          </a:xfrm>
          <a:prstGeom prst="rect">
            <a:avLst/>
          </a:prstGeom>
          <a:solidFill>
            <a:schemeClr val="bg1"/>
          </a:solidFill>
          <a:ln w="12700" algn="ctr">
            <a:solidFill>
              <a:schemeClr val="bg1">
                <a:lumMod val="75000"/>
              </a:schemeClr>
            </a:solidFill>
            <a:miter lim="800000"/>
            <a:headEnd/>
            <a:tailEnd/>
          </a:ln>
        </p:spPr>
        <p:txBody>
          <a:bodyPr lIns="91440" tIns="91440" rIns="45720" bIns="72000" anchor="ctr" anchorCtr="0"/>
          <a:lstStyle/>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GB" sz="800" b="0" i="0" u="none" strike="noStrike" kern="1200" cap="none" spc="0" normalizeH="0" baseline="3000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70" name="Rectangle 59">
            <a:extLst>
              <a:ext uri="{FF2B5EF4-FFF2-40B4-BE49-F238E27FC236}">
                <a16:creationId xmlns:a16="http://schemas.microsoft.com/office/drawing/2014/main" id="{D2279038-FC76-42AD-9BEA-08067081D3BA}"/>
              </a:ext>
            </a:extLst>
          </p:cNvPr>
          <p:cNvSpPr>
            <a:spLocks noChangeArrowheads="1"/>
          </p:cNvSpPr>
          <p:nvPr/>
        </p:nvSpPr>
        <p:spPr bwMode="gray">
          <a:xfrm>
            <a:off x="1124149" y="4446591"/>
            <a:ext cx="2319992" cy="627145"/>
          </a:xfrm>
          <a:prstGeom prst="rect">
            <a:avLst/>
          </a:prstGeom>
          <a:solidFill>
            <a:schemeClr val="bg1"/>
          </a:solidFill>
          <a:ln w="12700" algn="ctr">
            <a:solidFill>
              <a:schemeClr val="bg1">
                <a:lumMod val="75000"/>
              </a:schemeClr>
            </a:solidFill>
            <a:miter lim="800000"/>
            <a:headEnd/>
            <a:tailEnd/>
          </a:ln>
        </p:spPr>
        <p:txBody>
          <a:bodyPr lIns="91440" tIns="91440" rIns="45720" bIns="72000" anchor="ctr" anchorCtr="0"/>
          <a:lstStyle/>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71" name="Rectangle 59">
            <a:extLst>
              <a:ext uri="{FF2B5EF4-FFF2-40B4-BE49-F238E27FC236}">
                <a16:creationId xmlns:a16="http://schemas.microsoft.com/office/drawing/2014/main" id="{25124D59-2316-48EC-B533-3E6B3EB2F1FF}"/>
              </a:ext>
            </a:extLst>
          </p:cNvPr>
          <p:cNvSpPr>
            <a:spLocks noChangeArrowheads="1"/>
          </p:cNvSpPr>
          <p:nvPr/>
        </p:nvSpPr>
        <p:spPr bwMode="gray">
          <a:xfrm>
            <a:off x="887504" y="5523792"/>
            <a:ext cx="6244783" cy="898154"/>
          </a:xfrm>
          <a:prstGeom prst="rect">
            <a:avLst/>
          </a:prstGeom>
          <a:solidFill>
            <a:schemeClr val="bg1"/>
          </a:solidFill>
          <a:ln w="12700" algn="ctr">
            <a:solidFill>
              <a:schemeClr val="bg1">
                <a:lumMod val="75000"/>
              </a:schemeClr>
            </a:solidFill>
            <a:miter lim="800000"/>
            <a:headEnd/>
            <a:tailEnd/>
          </a:ln>
        </p:spPr>
        <p:txBody>
          <a:bodyPr tIns="182880" rIns="72000" bIns="72000" numCol="2" spcCol="274320"/>
          <a:lstStyle/>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p>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p>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p>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p>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p>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72" name="Text Box 60">
            <a:extLst>
              <a:ext uri="{FF2B5EF4-FFF2-40B4-BE49-F238E27FC236}">
                <a16:creationId xmlns:a16="http://schemas.microsoft.com/office/drawing/2014/main" id="{71733535-C7D5-4B9A-803E-AA3A197B54B8}"/>
              </a:ext>
            </a:extLst>
          </p:cNvPr>
          <p:cNvSpPr txBox="1">
            <a:spLocks noChangeArrowheads="1"/>
          </p:cNvSpPr>
          <p:nvPr/>
        </p:nvSpPr>
        <p:spPr bwMode="gray">
          <a:xfrm>
            <a:off x="3210953" y="5444692"/>
            <a:ext cx="1712328" cy="146194"/>
          </a:xfrm>
          <a:prstGeom prst="rect">
            <a:avLst/>
          </a:prstGeom>
          <a:solidFill>
            <a:schemeClr val="bg1"/>
          </a:solidFill>
          <a:ln w="12700" algn="ctr">
            <a:noFill/>
            <a:miter lim="800000"/>
            <a:headEnd/>
            <a:tailEnd type="none" w="sm" len="med"/>
          </a:ln>
        </p:spPr>
        <p:txBody>
          <a:bodyPr wrap="none" lIns="91440" tIns="0" rIns="91440" bIns="0" anchor="ctr" anchorCtr="1">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73" name="Text Box 60">
            <a:extLst>
              <a:ext uri="{FF2B5EF4-FFF2-40B4-BE49-F238E27FC236}">
                <a16:creationId xmlns:a16="http://schemas.microsoft.com/office/drawing/2014/main" id="{E4BC5B69-FA8A-431E-B1AE-310B1E7AC184}"/>
              </a:ext>
            </a:extLst>
          </p:cNvPr>
          <p:cNvSpPr txBox="1">
            <a:spLocks noChangeArrowheads="1"/>
          </p:cNvSpPr>
          <p:nvPr/>
        </p:nvSpPr>
        <p:spPr bwMode="gray">
          <a:xfrm>
            <a:off x="1930988" y="3513560"/>
            <a:ext cx="696649" cy="350865"/>
          </a:xfrm>
          <a:prstGeom prst="rect">
            <a:avLst/>
          </a:prstGeom>
          <a:solidFill>
            <a:schemeClr val="bg1"/>
          </a:solidFill>
          <a:ln w="12700" algn="ctr">
            <a:noFill/>
            <a:miter lim="800000"/>
            <a:headEnd/>
            <a:tailEnd type="none" w="sm" len="med"/>
          </a:ln>
        </p:spPr>
        <p:txBody>
          <a:bodyPr wrap="square" lIns="91440" tIns="0" rIns="91440" bIns="0" anchor="ctr" anchorCtr="1">
            <a:spAutoFit/>
          </a:bodyPr>
          <a:lstStyle/>
          <a:p>
            <a:pPr lvl="0" algn="ctr">
              <a:lnSpc>
                <a:spcPct val="95000"/>
              </a:lnSpc>
              <a:defRPr/>
            </a:pPr>
            <a:r>
              <a:rPr lang="da-DK" sz="800" b="1" dirty="0">
                <a:solidFill>
                  <a:srgbClr val="000000"/>
                </a:solidFill>
                <a:ea typeface="Verdana" panose="020B0604030504040204" pitchFamily="34" charset="0"/>
                <a:cs typeface="Verdana" panose="020B0604030504040204" pitchFamily="34" charset="0"/>
              </a:rPr>
              <a:t>Lorem ipsum dolor sit amet, </a:t>
            </a:r>
            <a:endParaRPr kumimoji="0" lang="en-US" sz="800" b="1" i="0" u="none" strike="noStrike" kern="1200" cap="none" spc="0" normalizeH="0" baseline="3000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74" name="Text Box 60">
            <a:extLst>
              <a:ext uri="{FF2B5EF4-FFF2-40B4-BE49-F238E27FC236}">
                <a16:creationId xmlns:a16="http://schemas.microsoft.com/office/drawing/2014/main" id="{1E098DED-488E-483F-8BCA-8510F6CA3FD0}"/>
              </a:ext>
            </a:extLst>
          </p:cNvPr>
          <p:cNvSpPr txBox="1">
            <a:spLocks noChangeArrowheads="1"/>
          </p:cNvSpPr>
          <p:nvPr/>
        </p:nvSpPr>
        <p:spPr bwMode="gray">
          <a:xfrm>
            <a:off x="1755082" y="4344302"/>
            <a:ext cx="1034257" cy="233910"/>
          </a:xfrm>
          <a:prstGeom prst="rect">
            <a:avLst/>
          </a:prstGeom>
          <a:solidFill>
            <a:schemeClr val="bg1"/>
          </a:solidFill>
          <a:ln w="12700" algn="ctr">
            <a:noFill/>
            <a:miter lim="800000"/>
            <a:headEnd/>
            <a:tailEnd type="none" w="sm" len="med"/>
          </a:ln>
        </p:spPr>
        <p:txBody>
          <a:bodyPr wrap="square" lIns="91440" tIns="0" rIns="91440" bIns="0" anchor="ctr" anchorCtr="1">
            <a:spAutoFit/>
          </a:bodyPr>
          <a:lstStyle/>
          <a:p>
            <a:pPr lvl="0" algn="ctr">
              <a:lnSpc>
                <a:spcPct val="95000"/>
              </a:lnSpc>
              <a:defRPr/>
            </a:pPr>
            <a:r>
              <a:rPr lang="da-DK" sz="800" b="1" dirty="0">
                <a:solidFill>
                  <a:srgbClr val="000000"/>
                </a:solidFill>
                <a:ea typeface="Verdana" panose="020B0604030504040204" pitchFamily="34" charset="0"/>
                <a:cs typeface="Verdana" panose="020B0604030504040204" pitchFamily="34" charset="0"/>
              </a:rPr>
              <a:t>Lorem ipsum dolor sit amet, </a:t>
            </a:r>
            <a:endParaRPr kumimoji="0" lang="en-US" sz="800" b="1" i="0" u="none" strike="noStrike" kern="1200" cap="none" spc="0" normalizeH="0" baseline="3000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80" name="Rectangle 59">
            <a:extLst>
              <a:ext uri="{FF2B5EF4-FFF2-40B4-BE49-F238E27FC236}">
                <a16:creationId xmlns:a16="http://schemas.microsoft.com/office/drawing/2014/main" id="{8495FDED-9A90-4AD8-8352-2C069F6405F9}"/>
              </a:ext>
            </a:extLst>
          </p:cNvPr>
          <p:cNvSpPr>
            <a:spLocks noChangeArrowheads="1"/>
          </p:cNvSpPr>
          <p:nvPr/>
        </p:nvSpPr>
        <p:spPr bwMode="gray">
          <a:xfrm>
            <a:off x="4504728" y="3676936"/>
            <a:ext cx="2379504" cy="627145"/>
          </a:xfrm>
          <a:prstGeom prst="rect">
            <a:avLst/>
          </a:prstGeom>
          <a:solidFill>
            <a:schemeClr val="bg1"/>
          </a:solidFill>
          <a:ln w="12700" algn="ctr">
            <a:solidFill>
              <a:schemeClr val="bg1">
                <a:lumMod val="75000"/>
              </a:schemeClr>
            </a:solidFill>
            <a:miter lim="800000"/>
            <a:headEnd/>
            <a:tailEnd/>
          </a:ln>
        </p:spPr>
        <p:txBody>
          <a:bodyPr lIns="91440" tIns="91440" rIns="45720" bIns="72000" anchor="ctr" anchorCtr="0"/>
          <a:lstStyle/>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81" name="Text Box 60">
            <a:extLst>
              <a:ext uri="{FF2B5EF4-FFF2-40B4-BE49-F238E27FC236}">
                <a16:creationId xmlns:a16="http://schemas.microsoft.com/office/drawing/2014/main" id="{52E9C4E8-D0F8-44F2-9983-9E9BE3CF43B1}"/>
              </a:ext>
            </a:extLst>
          </p:cNvPr>
          <p:cNvSpPr txBox="1">
            <a:spLocks noChangeArrowheads="1"/>
          </p:cNvSpPr>
          <p:nvPr/>
        </p:nvSpPr>
        <p:spPr bwMode="gray">
          <a:xfrm>
            <a:off x="5017135" y="3630515"/>
            <a:ext cx="1402949" cy="116955"/>
          </a:xfrm>
          <a:prstGeom prst="rect">
            <a:avLst/>
          </a:prstGeom>
          <a:solidFill>
            <a:schemeClr val="bg1"/>
          </a:solidFill>
          <a:ln w="12700" algn="ctr">
            <a:noFill/>
            <a:miter lim="800000"/>
            <a:headEnd/>
            <a:tailEnd type="none" w="sm" len="med"/>
          </a:ln>
        </p:spPr>
        <p:txBody>
          <a:bodyPr wrap="none" lIns="91440" tIns="0" rIns="91440" bIns="0" anchor="ctr" anchorCtr="1">
            <a:spAutoFit/>
          </a:bodyPr>
          <a:lstStyle/>
          <a:p>
            <a:pPr lvl="0" algn="ctr">
              <a:lnSpc>
                <a:spcPct val="95000"/>
              </a:lnSpc>
              <a:defRPr/>
            </a:pPr>
            <a:r>
              <a:rPr lang="da-DK" sz="800" b="1" dirty="0">
                <a:solidFill>
                  <a:srgbClr val="000000"/>
                </a:solidFill>
                <a:ea typeface="Verdana" panose="020B0604030504040204" pitchFamily="34" charset="0"/>
                <a:cs typeface="Verdana" panose="020B0604030504040204" pitchFamily="34" charset="0"/>
              </a:rPr>
              <a:t>Lorem ipsum dolor sit amet, </a:t>
            </a:r>
            <a:endParaRPr kumimoji="0" lang="en-US" sz="800" b="1" i="0" u="none" strike="noStrike" kern="1200" cap="none" spc="0" normalizeH="0" baseline="3000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85" name="Rectangle 59">
            <a:extLst>
              <a:ext uri="{FF2B5EF4-FFF2-40B4-BE49-F238E27FC236}">
                <a16:creationId xmlns:a16="http://schemas.microsoft.com/office/drawing/2014/main" id="{CCA08F1E-4135-46B2-ABD7-D5E3BCB9D0AD}"/>
              </a:ext>
            </a:extLst>
          </p:cNvPr>
          <p:cNvSpPr>
            <a:spLocks noChangeArrowheads="1"/>
          </p:cNvSpPr>
          <p:nvPr/>
        </p:nvSpPr>
        <p:spPr bwMode="gray">
          <a:xfrm>
            <a:off x="4504728" y="4446591"/>
            <a:ext cx="2379504" cy="627145"/>
          </a:xfrm>
          <a:prstGeom prst="rect">
            <a:avLst/>
          </a:prstGeom>
          <a:solidFill>
            <a:schemeClr val="bg1"/>
          </a:solidFill>
          <a:ln w="12700" algn="ctr">
            <a:solidFill>
              <a:schemeClr val="bg1">
                <a:lumMod val="75000"/>
              </a:schemeClr>
            </a:solidFill>
            <a:miter lim="800000"/>
            <a:headEnd/>
            <a:tailEnd/>
          </a:ln>
        </p:spPr>
        <p:txBody>
          <a:bodyPr lIns="91440" tIns="91440" rIns="45720" bIns="72000" anchor="ctr" anchorCtr="0"/>
          <a:lstStyle/>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3000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86" name="Text Box 60">
            <a:extLst>
              <a:ext uri="{FF2B5EF4-FFF2-40B4-BE49-F238E27FC236}">
                <a16:creationId xmlns:a16="http://schemas.microsoft.com/office/drawing/2014/main" id="{9D9A0E49-3294-4A00-9C08-8B080CF8F4C0}"/>
              </a:ext>
            </a:extLst>
          </p:cNvPr>
          <p:cNvSpPr txBox="1">
            <a:spLocks noChangeArrowheads="1"/>
          </p:cNvSpPr>
          <p:nvPr/>
        </p:nvSpPr>
        <p:spPr bwMode="gray">
          <a:xfrm>
            <a:off x="4946630" y="4402779"/>
            <a:ext cx="1402949" cy="116955"/>
          </a:xfrm>
          <a:prstGeom prst="rect">
            <a:avLst/>
          </a:prstGeom>
          <a:solidFill>
            <a:schemeClr val="bg1"/>
          </a:solidFill>
          <a:ln w="12700" algn="ctr">
            <a:noFill/>
            <a:miter lim="800000"/>
            <a:headEnd/>
            <a:tailEnd type="none" w="sm" len="med"/>
          </a:ln>
        </p:spPr>
        <p:txBody>
          <a:bodyPr wrap="none" lIns="91440" tIns="0" rIns="91440" bIns="0" anchor="ctr" anchorCtr="1">
            <a:spAutoFit/>
          </a:bodyPr>
          <a:lstStyle/>
          <a:p>
            <a:pPr lvl="0" algn="ctr">
              <a:lnSpc>
                <a:spcPct val="95000"/>
              </a:lnSpc>
              <a:defRPr/>
            </a:pPr>
            <a:r>
              <a:rPr lang="da-DK" sz="800" b="1" dirty="0">
                <a:solidFill>
                  <a:srgbClr val="000000"/>
                </a:solidFill>
                <a:ea typeface="Verdana" panose="020B0604030504040204" pitchFamily="34" charset="0"/>
                <a:cs typeface="Verdana" panose="020B0604030504040204" pitchFamily="34" charset="0"/>
              </a:rPr>
              <a:t>Lorem ipsum dolor sit amet, </a:t>
            </a:r>
            <a:endParaRPr kumimoji="0" lang="en-US" sz="800" b="1" i="0" u="none" strike="noStrike" kern="1200" cap="none" spc="0" normalizeH="0" baseline="3000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05" name="AutoShape 8">
            <a:extLst>
              <a:ext uri="{FF2B5EF4-FFF2-40B4-BE49-F238E27FC236}">
                <a16:creationId xmlns:a16="http://schemas.microsoft.com/office/drawing/2014/main" id="{D4A84AFA-FA95-4FB2-B046-49625E6BAD0A}"/>
              </a:ext>
            </a:extLst>
          </p:cNvPr>
          <p:cNvSpPr>
            <a:spLocks noChangeArrowheads="1"/>
          </p:cNvSpPr>
          <p:nvPr/>
        </p:nvSpPr>
        <p:spPr bwMode="auto">
          <a:xfrm>
            <a:off x="7790724" y="1461930"/>
            <a:ext cx="3931375" cy="3436735"/>
          </a:xfrm>
          <a:prstGeom prst="rect">
            <a:avLst/>
          </a:prstGeom>
          <a:noFill/>
          <a:ln w="19050" algn="ctr">
            <a:noFill/>
            <a:miter lim="800000"/>
            <a:headEnd/>
            <a:tailEnd/>
          </a:ln>
        </p:spPr>
        <p:txBody>
          <a:bodyPr lIns="73152" rIns="0" bIns="36576" anchor="t" anchorCtr="0"/>
          <a:lstStyle/>
          <a:p>
            <a:pPr lvl="0">
              <a:spcAft>
                <a:spcPts val="300"/>
              </a:spcAft>
              <a:defRPr/>
            </a:pPr>
            <a:r>
              <a:rPr lang="da-DK" sz="900" b="1" kern="0" dirty="0">
                <a:ea typeface="Verdana" panose="020B0604030504040204" pitchFamily="34" charset="0"/>
                <a:cs typeface="Verdana" panose="020B0604030504040204" pitchFamily="34" charset="0"/>
              </a:rPr>
              <a:t>Lorem ipsum dolor sit amet, </a:t>
            </a:r>
            <a:r>
              <a:rPr kumimoji="0" lang="en-US" sz="900" b="1" i="0" u="none" strike="noStrike" kern="0" cap="none" spc="0" normalizeH="0" baseline="0" noProof="0" dirty="0">
                <a:ln>
                  <a:noFill/>
                </a:ln>
                <a:effectLst/>
                <a:uLnTx/>
                <a:uFillTx/>
                <a:ea typeface="Verdana" panose="020B0604030504040204" pitchFamily="34" charset="0"/>
                <a:cs typeface="Verdana" panose="020B0604030504040204" pitchFamily="34" charset="0"/>
              </a:rPr>
              <a:t>s</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 </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a:t>
            </a:r>
            <a:endParaRPr kumimoji="0" lang="en-US" sz="900" b="0" i="0" u="none" strike="noStrike" kern="0" cap="none" spc="0" normalizeH="0" baseline="0" noProof="0" dirty="0">
              <a:ln>
                <a:noFill/>
              </a:ln>
              <a:effectLst/>
              <a:uLnTx/>
              <a:uFillTx/>
              <a:ea typeface="Verdana" panose="020B0604030504040204" pitchFamily="34" charset="0"/>
              <a:cs typeface="Verdana" panose="020B0604030504040204" pitchFamily="34" charset="0"/>
            </a:endParaRPr>
          </a:p>
          <a:p>
            <a:pPr marL="171450" marR="0" lvl="0" indent="-171450" defTabSz="914400" rtl="0" eaLnBrk="1" fontAlgn="auto" latinLnBrk="0" hangingPunct="1">
              <a:spcBef>
                <a:spcPts val="0"/>
              </a:spcBef>
              <a:spcAft>
                <a:spcPts val="300"/>
              </a:spcAft>
              <a:buClrTx/>
              <a:buSzTx/>
              <a:buFont typeface="Arial" panose="020B0604020202020204" pitchFamily="34" charset="0"/>
              <a:buChar char="•"/>
              <a:tabLst/>
              <a:defRPr/>
            </a:pPr>
            <a:endParaRPr kumimoji="0" lang="en-US" sz="900" b="1" i="0" u="none" strike="noStrike" kern="0" cap="none" spc="0" normalizeH="0" baseline="0" noProof="0" dirty="0">
              <a:ln>
                <a:noFill/>
              </a:ln>
              <a:effectLst/>
              <a:uLnTx/>
              <a:uFillTx/>
              <a:ea typeface="Verdana" panose="020B0604030504040204" pitchFamily="34" charset="0"/>
              <a:cs typeface="Verdana" panose="020B0604030504040204" pitchFamily="34" charset="0"/>
            </a:endParaRPr>
          </a:p>
          <a:p>
            <a:pPr lvl="0">
              <a:spcAft>
                <a:spcPts val="300"/>
              </a:spcAft>
              <a:defRPr/>
            </a:pPr>
            <a:r>
              <a:rPr lang="da-DK" sz="900" b="1" kern="0" dirty="0">
                <a:ea typeface="Verdana" panose="020B0604030504040204" pitchFamily="34" charset="0"/>
                <a:cs typeface="Verdana" panose="020B0604030504040204" pitchFamily="34" charset="0"/>
              </a:rPr>
              <a:t>Lorem ipsum dolor sit amet, </a:t>
            </a:r>
            <a:r>
              <a:rPr lang="en-US" sz="900" b="1" kern="0" dirty="0">
                <a:ea typeface="Verdana" panose="020B0604030504040204" pitchFamily="34" charset="0"/>
                <a:cs typeface="Verdana" panose="020B0604030504040204" pitchFamily="34" charset="0"/>
              </a:rPr>
              <a:t>s</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 </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a:t>
            </a:r>
            <a:endParaRPr lang="en-US" sz="900" kern="0" dirty="0">
              <a:ea typeface="Verdana" panose="020B0604030504040204" pitchFamily="34" charset="0"/>
              <a:cs typeface="Verdana" panose="020B0604030504040204" pitchFamily="34" charset="0"/>
            </a:endParaRPr>
          </a:p>
          <a:p>
            <a:pPr marL="344488" marR="0" lvl="0" indent="-171450" defTabSz="914400" rtl="0" eaLnBrk="1" fontAlgn="auto" latinLnBrk="0" hangingPunct="1">
              <a:spcBef>
                <a:spcPts val="0"/>
              </a:spcBef>
              <a:spcAft>
                <a:spcPts val="300"/>
              </a:spcAft>
              <a:buClrTx/>
              <a:buSzTx/>
              <a:buFont typeface="Arial" panose="020B0604020202020204" pitchFamily="34" charset="0"/>
              <a:buChar char="•"/>
              <a:tabLst/>
              <a:defRPr/>
            </a:pPr>
            <a:endParaRPr kumimoji="0" lang="en-US" sz="900" b="0" i="0" u="none" strike="noStrike" kern="0" cap="none" spc="0" normalizeH="0" baseline="0" noProof="0" dirty="0">
              <a:ln>
                <a:noFill/>
              </a:ln>
              <a:effectLst/>
              <a:uLnTx/>
              <a:uFillTx/>
              <a:ea typeface="Verdana" panose="020B0604030504040204" pitchFamily="34" charset="0"/>
              <a:cs typeface="Verdana" panose="020B0604030504040204" pitchFamily="34" charset="0"/>
            </a:endParaRPr>
          </a:p>
          <a:p>
            <a:pPr lvl="0">
              <a:spcAft>
                <a:spcPts val="300"/>
              </a:spcAft>
              <a:defRPr/>
            </a:pPr>
            <a:r>
              <a:rPr lang="da-DK" sz="900" b="1" kern="0" dirty="0">
                <a:ea typeface="Verdana" panose="020B0604030504040204" pitchFamily="34" charset="0"/>
                <a:cs typeface="Verdana" panose="020B0604030504040204" pitchFamily="34" charset="0"/>
              </a:rPr>
              <a:t>Lorem ipsum dolor sit amet, </a:t>
            </a:r>
            <a:r>
              <a:rPr lang="en-US" sz="900" b="1" kern="0" dirty="0">
                <a:ea typeface="Verdana" panose="020B0604030504040204" pitchFamily="34" charset="0"/>
                <a:cs typeface="Verdana" panose="020B0604030504040204" pitchFamily="34" charset="0"/>
              </a:rPr>
              <a:t>s</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 </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a:t>
            </a:r>
            <a:endParaRPr lang="en-US" sz="900" kern="0" dirty="0">
              <a:ea typeface="Verdana" panose="020B0604030504040204" pitchFamily="34" charset="0"/>
              <a:cs typeface="Verdana" panose="020B0604030504040204" pitchFamily="34" charset="0"/>
            </a:endParaRPr>
          </a:p>
        </p:txBody>
      </p:sp>
      <p:sp>
        <p:nvSpPr>
          <p:cNvPr id="106" name="TextBox 105">
            <a:extLst>
              <a:ext uri="{FF2B5EF4-FFF2-40B4-BE49-F238E27FC236}">
                <a16:creationId xmlns:a16="http://schemas.microsoft.com/office/drawing/2014/main" id="{7AD94D4A-5B39-4060-9A5A-AC853FEF99EF}"/>
              </a:ext>
            </a:extLst>
          </p:cNvPr>
          <p:cNvSpPr txBox="1"/>
          <p:nvPr/>
        </p:nvSpPr>
        <p:spPr>
          <a:xfrm>
            <a:off x="7750666" y="1166386"/>
            <a:ext cx="3664024" cy="276999"/>
          </a:xfrm>
          <a:prstGeom prst="rect">
            <a:avLst/>
          </a:prstGeom>
          <a:noFill/>
        </p:spPr>
        <p:txBody>
          <a:bodyPr wrap="square" rtlCol="0">
            <a:spAutoFit/>
          </a:bodyPr>
          <a:lstStyle/>
          <a:p>
            <a:pPr lvl="0">
              <a:defRPr/>
            </a:pPr>
            <a:r>
              <a:rPr lang="da-DK" sz="1200" b="1" dirty="0">
                <a:solidFill>
                  <a:prstClr val="black"/>
                </a:solidFill>
                <a:ea typeface="Verdana" panose="020B0604030504040204" pitchFamily="34" charset="0"/>
                <a:cs typeface="Verdana" panose="020B0604030504040204" pitchFamily="34" charset="0"/>
              </a:rPr>
              <a:t>Lorem ipsum dolor sit amet, </a:t>
            </a:r>
            <a:endParaRPr kumimoji="0" lang="en-US" sz="1200" b="1"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112" name="Rectangle 111">
            <a:extLst>
              <a:ext uri="{FF2B5EF4-FFF2-40B4-BE49-F238E27FC236}">
                <a16:creationId xmlns:a16="http://schemas.microsoft.com/office/drawing/2014/main" id="{99D50D8C-3ADB-4C94-971A-C91A65CB6470}"/>
              </a:ext>
            </a:extLst>
          </p:cNvPr>
          <p:cNvSpPr/>
          <p:nvPr/>
        </p:nvSpPr>
        <p:spPr bwMode="gray">
          <a:xfrm>
            <a:off x="7922392" y="5984816"/>
            <a:ext cx="3565713" cy="443334"/>
          </a:xfrm>
          <a:prstGeom prst="rect">
            <a:avLst/>
          </a:prstGeom>
          <a:noFill/>
          <a:ln w="19050" algn="ctr">
            <a:noFill/>
            <a:miter lim="800000"/>
            <a:headEnd/>
            <a:tailEnd/>
          </a:ln>
        </p:spPr>
        <p:txBody>
          <a:bodyPr wrap="square" lIns="0" tIns="88900" rIns="45720" bIns="88900" rtlCol="0" anchor="ctr"/>
          <a:lstStyle/>
          <a:p>
            <a:pPr lvl="0" defTabSz="1219170">
              <a:lnSpc>
                <a:spcPct val="106000"/>
              </a:lnSpc>
              <a:defRPr/>
            </a:pPr>
            <a:r>
              <a:rPr kumimoji="0" lang="en-US" sz="700" i="0" u="none" strike="noStrike" kern="0" cap="none" spc="0" normalizeH="0" baseline="0" noProof="0" dirty="0">
                <a:ln>
                  <a:noFill/>
                </a:ln>
                <a:effectLst/>
                <a:uLnTx/>
                <a:uFillTx/>
                <a:ea typeface="+mn-ea"/>
                <a:cs typeface="+mn-cs"/>
              </a:rPr>
              <a:t>*</a:t>
            </a:r>
            <a:r>
              <a:rPr lang="da-DK" sz="700" kern="0" dirty="0"/>
              <a:t>Lorem ipsum dolor sit amet, </a:t>
            </a:r>
            <a:endParaRPr kumimoji="0" lang="en-US" sz="700" i="0" u="none" strike="noStrike" kern="0" cap="none" spc="0" normalizeH="0" baseline="0" noProof="0" dirty="0">
              <a:ln>
                <a:noFill/>
              </a:ln>
              <a:effectLst/>
              <a:uLnTx/>
              <a:uFillTx/>
              <a:ea typeface="+mn-ea"/>
              <a:cs typeface="+mn-cs"/>
            </a:endParaRPr>
          </a:p>
          <a:p>
            <a:pPr lvl="0" defTabSz="1219170">
              <a:lnSpc>
                <a:spcPct val="106000"/>
              </a:lnSpc>
              <a:defRPr/>
            </a:pPr>
            <a:r>
              <a:rPr kumimoji="0" lang="en-US" sz="700" i="0" u="none" strike="noStrike" kern="0" cap="none" spc="0" normalizeH="0" baseline="0" noProof="0" dirty="0">
                <a:ln>
                  <a:noFill/>
                </a:ln>
                <a:effectLst/>
                <a:uLnTx/>
                <a:uFillTx/>
                <a:ea typeface="+mn-ea"/>
                <a:cs typeface="+mn-cs"/>
              </a:rPr>
              <a:t>**</a:t>
            </a:r>
            <a:r>
              <a:rPr lang="da-DK" sz="700" kern="0" dirty="0"/>
              <a:t>Lorem ipsum dolor sit amet, </a:t>
            </a:r>
            <a:endParaRPr kumimoji="0" lang="en-US" sz="700" i="0" u="none" strike="noStrike" kern="0" cap="none" spc="0" normalizeH="0" baseline="0" noProof="0" dirty="0">
              <a:ln>
                <a:noFill/>
              </a:ln>
              <a:effectLst/>
              <a:uLnTx/>
              <a:uFillTx/>
              <a:ea typeface="+mn-ea"/>
              <a:cs typeface="+mn-cs"/>
            </a:endParaRPr>
          </a:p>
          <a:p>
            <a:pPr lvl="0" defTabSz="1219170">
              <a:lnSpc>
                <a:spcPct val="106000"/>
              </a:lnSpc>
              <a:defRPr/>
            </a:pPr>
            <a:r>
              <a:rPr kumimoji="0" lang="en-US" sz="700" i="0" u="none" strike="noStrike" kern="0" cap="none" spc="0" normalizeH="0" baseline="0" noProof="0" dirty="0">
                <a:ln>
                  <a:noFill/>
                </a:ln>
                <a:effectLst/>
                <a:uLnTx/>
                <a:uFillTx/>
                <a:ea typeface="+mn-ea"/>
                <a:cs typeface="+mn-cs"/>
              </a:rPr>
              <a:t>***R</a:t>
            </a:r>
            <a:r>
              <a:rPr lang="da-DK" sz="700" kern="0" dirty="0"/>
              <a:t>Lorem ipsum dolor sit amet, </a:t>
            </a:r>
            <a:endParaRPr kumimoji="0" lang="en-US" sz="700" i="0" u="none" strike="noStrike" kern="0" cap="none" spc="0" normalizeH="0" baseline="0" noProof="0" dirty="0">
              <a:ln>
                <a:noFill/>
              </a:ln>
              <a:effectLst/>
              <a:uLnTx/>
              <a:uFillTx/>
              <a:ea typeface="+mn-ea"/>
              <a:cs typeface="+mn-cs"/>
            </a:endParaRPr>
          </a:p>
        </p:txBody>
      </p:sp>
      <p:sp>
        <p:nvSpPr>
          <p:cNvPr id="114" name="Rectangle 113">
            <a:extLst>
              <a:ext uri="{FF2B5EF4-FFF2-40B4-BE49-F238E27FC236}">
                <a16:creationId xmlns:a16="http://schemas.microsoft.com/office/drawing/2014/main" id="{3795B1A3-61CB-4732-8974-E357073BA715}"/>
              </a:ext>
            </a:extLst>
          </p:cNvPr>
          <p:cNvSpPr/>
          <p:nvPr/>
        </p:nvSpPr>
        <p:spPr bwMode="gray">
          <a:xfrm>
            <a:off x="887505" y="3526566"/>
            <a:ext cx="6244783" cy="1650320"/>
          </a:xfrm>
          <a:prstGeom prst="rect">
            <a:avLst/>
          </a:prstGeom>
          <a:noFill/>
          <a:ln w="12700" algn="ctr">
            <a:solidFill>
              <a:schemeClr val="bg1">
                <a:lumMod val="75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cxnSp>
        <p:nvCxnSpPr>
          <p:cNvPr id="117" name="Straight Connector 116">
            <a:extLst>
              <a:ext uri="{FF2B5EF4-FFF2-40B4-BE49-F238E27FC236}">
                <a16:creationId xmlns:a16="http://schemas.microsoft.com/office/drawing/2014/main" id="{23B20042-A81D-42B0-B880-543964D6E587}"/>
              </a:ext>
            </a:extLst>
          </p:cNvPr>
          <p:cNvCxnSpPr>
            <a:cxnSpLocks/>
          </p:cNvCxnSpPr>
          <p:nvPr/>
        </p:nvCxnSpPr>
        <p:spPr>
          <a:xfrm flipV="1">
            <a:off x="4036542" y="1621479"/>
            <a:ext cx="0" cy="398081"/>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9" name="Text Box 60">
            <a:extLst>
              <a:ext uri="{FF2B5EF4-FFF2-40B4-BE49-F238E27FC236}">
                <a16:creationId xmlns:a16="http://schemas.microsoft.com/office/drawing/2014/main" id="{20865C4B-4527-4199-B496-4C0FCCCB6461}"/>
              </a:ext>
            </a:extLst>
          </p:cNvPr>
          <p:cNvSpPr txBox="1">
            <a:spLocks noChangeArrowheads="1"/>
          </p:cNvSpPr>
          <p:nvPr/>
        </p:nvSpPr>
        <p:spPr bwMode="gray">
          <a:xfrm>
            <a:off x="3217096" y="3410121"/>
            <a:ext cx="1619995" cy="238527"/>
          </a:xfrm>
          <a:prstGeom prst="rect">
            <a:avLst/>
          </a:prstGeom>
          <a:solidFill>
            <a:schemeClr val="bg1"/>
          </a:solidFill>
          <a:ln w="12700" algn="ctr">
            <a:noFill/>
            <a:miter lim="800000"/>
            <a:headEnd/>
            <a:tailEnd type="none" w="sm" len="med"/>
          </a:ln>
        </p:spPr>
        <p:txBody>
          <a:bodyPr wrap="none" lIns="45720" tIns="45720" rIns="45720" bIns="45720" anchor="ctr" anchorCtr="1">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3000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32" name="Group 31">
            <a:extLst>
              <a:ext uri="{FF2B5EF4-FFF2-40B4-BE49-F238E27FC236}">
                <a16:creationId xmlns:a16="http://schemas.microsoft.com/office/drawing/2014/main" id="{28EA179A-B5F1-3244-A732-F754CAE60B29}"/>
              </a:ext>
            </a:extLst>
          </p:cNvPr>
          <p:cNvGrpSpPr/>
          <p:nvPr/>
        </p:nvGrpSpPr>
        <p:grpSpPr>
          <a:xfrm>
            <a:off x="3443565" y="3990510"/>
            <a:ext cx="1061250" cy="802596"/>
            <a:chOff x="3443565" y="3990510"/>
            <a:chExt cx="1061250" cy="802596"/>
          </a:xfrm>
        </p:grpSpPr>
        <p:cxnSp>
          <p:nvCxnSpPr>
            <p:cNvPr id="123" name="Straight Connector 122">
              <a:extLst>
                <a:ext uri="{FF2B5EF4-FFF2-40B4-BE49-F238E27FC236}">
                  <a16:creationId xmlns:a16="http://schemas.microsoft.com/office/drawing/2014/main" id="{D6CF02A6-7AD6-7F4D-80AA-B3CE250806D2}"/>
                </a:ext>
              </a:extLst>
            </p:cNvPr>
            <p:cNvCxnSpPr>
              <a:cxnSpLocks/>
            </p:cNvCxnSpPr>
            <p:nvPr/>
          </p:nvCxnSpPr>
          <p:spPr>
            <a:xfrm>
              <a:off x="3443565" y="4001841"/>
              <a:ext cx="277478"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FD285EF2-D8C1-1B4D-848D-05CB41DC03F5}"/>
                </a:ext>
              </a:extLst>
            </p:cNvPr>
            <p:cNvCxnSpPr>
              <a:cxnSpLocks/>
            </p:cNvCxnSpPr>
            <p:nvPr/>
          </p:nvCxnSpPr>
          <p:spPr>
            <a:xfrm>
              <a:off x="3443565" y="4793105"/>
              <a:ext cx="277478"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111A594-1F90-1346-9D24-1800B9976DB8}"/>
                </a:ext>
              </a:extLst>
            </p:cNvPr>
            <p:cNvCxnSpPr>
              <a:cxnSpLocks/>
            </p:cNvCxnSpPr>
            <p:nvPr/>
          </p:nvCxnSpPr>
          <p:spPr>
            <a:xfrm>
              <a:off x="4227337" y="4001841"/>
              <a:ext cx="277478"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41D2E481-84C6-B548-8EF8-2B27993186E2}"/>
                </a:ext>
              </a:extLst>
            </p:cNvPr>
            <p:cNvCxnSpPr>
              <a:cxnSpLocks/>
            </p:cNvCxnSpPr>
            <p:nvPr/>
          </p:nvCxnSpPr>
          <p:spPr>
            <a:xfrm>
              <a:off x="4227337" y="4793105"/>
              <a:ext cx="277478"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F2A912B8-569A-2140-8DFC-0A36E27513A1}"/>
                </a:ext>
              </a:extLst>
            </p:cNvPr>
            <p:cNvCxnSpPr>
              <a:cxnSpLocks/>
            </p:cNvCxnSpPr>
            <p:nvPr/>
          </p:nvCxnSpPr>
          <p:spPr>
            <a:xfrm flipV="1">
              <a:off x="3705887" y="3990510"/>
              <a:ext cx="0" cy="802596"/>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FEA943C1-D4D5-A443-9A2E-1A14B903FAD2}"/>
                </a:ext>
              </a:extLst>
            </p:cNvPr>
            <p:cNvCxnSpPr>
              <a:cxnSpLocks/>
            </p:cNvCxnSpPr>
            <p:nvPr/>
          </p:nvCxnSpPr>
          <p:spPr>
            <a:xfrm flipV="1">
              <a:off x="4228401" y="3990510"/>
              <a:ext cx="0" cy="802596"/>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4E523D26-4E13-444B-BA31-E3734758C11F}"/>
                </a:ext>
              </a:extLst>
            </p:cNvPr>
            <p:cNvCxnSpPr>
              <a:cxnSpLocks/>
            </p:cNvCxnSpPr>
            <p:nvPr/>
          </p:nvCxnSpPr>
          <p:spPr>
            <a:xfrm>
              <a:off x="3705887" y="4409621"/>
              <a:ext cx="521450"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cxnSp>
        <p:nvCxnSpPr>
          <p:cNvPr id="132" name="Straight Connector 131">
            <a:extLst>
              <a:ext uri="{FF2B5EF4-FFF2-40B4-BE49-F238E27FC236}">
                <a16:creationId xmlns:a16="http://schemas.microsoft.com/office/drawing/2014/main" id="{554EA44D-A979-D44E-9AC3-233195506C72}"/>
              </a:ext>
            </a:extLst>
          </p:cNvPr>
          <p:cNvCxnSpPr>
            <a:cxnSpLocks/>
          </p:cNvCxnSpPr>
          <p:nvPr/>
        </p:nvCxnSpPr>
        <p:spPr>
          <a:xfrm flipV="1">
            <a:off x="4036542" y="5176886"/>
            <a:ext cx="0" cy="190761"/>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997388D7-1867-C749-9496-E7D13FAE42E7}"/>
              </a:ext>
            </a:extLst>
          </p:cNvPr>
          <p:cNvCxnSpPr>
            <a:cxnSpLocks/>
          </p:cNvCxnSpPr>
          <p:nvPr/>
        </p:nvCxnSpPr>
        <p:spPr>
          <a:xfrm flipV="1">
            <a:off x="4036542" y="3257016"/>
            <a:ext cx="0" cy="144861"/>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E1A68662-88CD-4D7B-AC88-6C8B515E14C5}"/>
              </a:ext>
            </a:extLst>
          </p:cNvPr>
          <p:cNvSpPr/>
          <p:nvPr/>
        </p:nvSpPr>
        <p:spPr bwMode="gray">
          <a:xfrm>
            <a:off x="8220234" y="5675007"/>
            <a:ext cx="1256121" cy="14688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109" name="Rectangle 108">
            <a:extLst>
              <a:ext uri="{FF2B5EF4-FFF2-40B4-BE49-F238E27FC236}">
                <a16:creationId xmlns:a16="http://schemas.microsoft.com/office/drawing/2014/main" id="{633C52CD-4C29-4E7C-9A83-4FAC335C82AB}"/>
              </a:ext>
            </a:extLst>
          </p:cNvPr>
          <p:cNvSpPr/>
          <p:nvPr/>
        </p:nvSpPr>
        <p:spPr bwMode="gray">
          <a:xfrm>
            <a:off x="10147552" y="5484816"/>
            <a:ext cx="1280160" cy="14688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111" name="Rectangle 110">
            <a:extLst>
              <a:ext uri="{FF2B5EF4-FFF2-40B4-BE49-F238E27FC236}">
                <a16:creationId xmlns:a16="http://schemas.microsoft.com/office/drawing/2014/main" id="{47ED480D-96F4-445E-B47A-AABFFB0346CB}"/>
              </a:ext>
            </a:extLst>
          </p:cNvPr>
          <p:cNvSpPr/>
          <p:nvPr/>
        </p:nvSpPr>
        <p:spPr bwMode="gray">
          <a:xfrm>
            <a:off x="10147552" y="5675007"/>
            <a:ext cx="1300050" cy="14688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92" name="Rectangle 91">
            <a:extLst>
              <a:ext uri="{FF2B5EF4-FFF2-40B4-BE49-F238E27FC236}">
                <a16:creationId xmlns:a16="http://schemas.microsoft.com/office/drawing/2014/main" id="{2CADC139-F518-4CC9-A7E4-F195E983BAB6}"/>
              </a:ext>
            </a:extLst>
          </p:cNvPr>
          <p:cNvSpPr/>
          <p:nvPr/>
        </p:nvSpPr>
        <p:spPr bwMode="gray">
          <a:xfrm>
            <a:off x="8220234" y="5484816"/>
            <a:ext cx="1790436" cy="11050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136" name="Rectangle 72">
            <a:extLst>
              <a:ext uri="{FF2B5EF4-FFF2-40B4-BE49-F238E27FC236}">
                <a16:creationId xmlns:a16="http://schemas.microsoft.com/office/drawing/2014/main" id="{8FFFC2A3-CF8B-934E-8B30-FC247551FFAF}"/>
              </a:ext>
            </a:extLst>
          </p:cNvPr>
          <p:cNvSpPr>
            <a:spLocks noChangeArrowheads="1"/>
          </p:cNvSpPr>
          <p:nvPr/>
        </p:nvSpPr>
        <p:spPr bwMode="gray">
          <a:xfrm>
            <a:off x="9909214" y="5461447"/>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29" name="Rectangle 28">
            <a:extLst>
              <a:ext uri="{FF2B5EF4-FFF2-40B4-BE49-F238E27FC236}">
                <a16:creationId xmlns:a16="http://schemas.microsoft.com/office/drawing/2014/main" id="{F80DD5DB-966B-CA40-86BB-D2DAA802CE8C}"/>
              </a:ext>
            </a:extLst>
          </p:cNvPr>
          <p:cNvSpPr/>
          <p:nvPr/>
        </p:nvSpPr>
        <p:spPr bwMode="gray">
          <a:xfrm>
            <a:off x="7847434" y="5342394"/>
            <a:ext cx="3664024" cy="599109"/>
          </a:xfrm>
          <a:prstGeom prst="rect">
            <a:avLst/>
          </a:prstGeom>
          <a:noFill/>
          <a:ln w="12700" algn="ctr">
            <a:solidFill>
              <a:schemeClr val="bg1">
                <a:lumMod val="7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144" name="TextBox 77">
            <a:extLst>
              <a:ext uri="{FF2B5EF4-FFF2-40B4-BE49-F238E27FC236}">
                <a16:creationId xmlns:a16="http://schemas.microsoft.com/office/drawing/2014/main" id="{00FC8406-4155-2948-9663-5544956E66E8}"/>
              </a:ext>
            </a:extLst>
          </p:cNvPr>
          <p:cNvSpPr txBox="1">
            <a:spLocks noChangeArrowheads="1"/>
          </p:cNvSpPr>
          <p:nvPr/>
        </p:nvSpPr>
        <p:spPr bwMode="gray">
          <a:xfrm>
            <a:off x="7935208" y="5232614"/>
            <a:ext cx="550835" cy="153888"/>
          </a:xfrm>
          <a:prstGeom prst="rect">
            <a:avLst/>
          </a:prstGeom>
          <a:solidFill>
            <a:schemeClr val="bg1"/>
          </a:solidFill>
          <a:ln>
            <a:noFill/>
          </a:ln>
        </p:spPr>
        <p:txBody>
          <a:bodyPr wrap="square" lIns="45720" tIns="0" rIns="0" bIns="0" anchor="ctr">
            <a:spAutoFit/>
          </a:bodyPr>
          <a:lstStyle>
            <a:lvl1pPr>
              <a:defRPr sz="1100" b="1">
                <a:solidFill>
                  <a:schemeClr val="tx1"/>
                </a:solidFill>
                <a:latin typeface="Arial" charset="0"/>
                <a:ea typeface="ＭＳ Ｐゴシック" pitchFamily="34" charset="-128"/>
              </a:defRPr>
            </a:lvl1pPr>
            <a:lvl2pPr marL="742950" indent="-285750">
              <a:defRPr sz="1100" b="1">
                <a:solidFill>
                  <a:schemeClr val="tx1"/>
                </a:solidFill>
                <a:latin typeface="Arial" charset="0"/>
                <a:ea typeface="ＭＳ Ｐゴシック" pitchFamily="34" charset="-128"/>
              </a:defRPr>
            </a:lvl2pPr>
            <a:lvl3pPr marL="1143000" indent="-228600">
              <a:defRPr sz="1100" b="1">
                <a:solidFill>
                  <a:schemeClr val="tx1"/>
                </a:solidFill>
                <a:latin typeface="Arial" charset="0"/>
                <a:ea typeface="ＭＳ Ｐゴシック" pitchFamily="34" charset="-128"/>
              </a:defRPr>
            </a:lvl3pPr>
            <a:lvl4pPr marL="1600200" indent="-228600">
              <a:defRPr sz="1100" b="1">
                <a:solidFill>
                  <a:schemeClr val="tx1"/>
                </a:solidFill>
                <a:latin typeface="Arial" charset="0"/>
                <a:ea typeface="ＭＳ Ｐゴシック" pitchFamily="34" charset="-128"/>
              </a:defRPr>
            </a:lvl4pPr>
            <a:lvl5pPr marL="2057400" indent="-228600">
              <a:defRPr sz="1100" b="1">
                <a:solidFill>
                  <a:schemeClr val="tx1"/>
                </a:solidFill>
                <a:latin typeface="Arial" charset="0"/>
                <a:ea typeface="ＭＳ Ｐゴシック" pitchFamily="34" charset="-128"/>
              </a:defRPr>
            </a:lvl5pPr>
            <a:lvl6pPr marL="25146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6pPr>
            <a:lvl7pPr marL="29718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7pPr>
            <a:lvl8pPr marL="34290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8pPr>
            <a:lvl9pPr marL="38862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9pPr>
          </a:lstStyle>
          <a:p>
            <a:pPr marL="0" marR="0" lvl="0" indent="0" algn="l" defTabSz="914400" rtl="0" eaLnBrk="1" fontAlgn="auto" latinLnBrk="0" hangingPunct="1">
              <a:lnSpc>
                <a:spcPct val="100000"/>
              </a:lnSpc>
              <a:spcBef>
                <a:spcPts val="0"/>
              </a:spcBef>
              <a:spcAft>
                <a:spcPts val="0"/>
              </a:spcAft>
              <a:buClrTx/>
              <a:buSzPct val="100000"/>
              <a:buFont typeface="Wingdings 2" pitchFamily="18" charset="2"/>
              <a:buNone/>
              <a:tabLst/>
              <a:defRPr/>
            </a:pPr>
            <a:r>
              <a:rPr kumimoji="0" lang="en-US" sz="1000" b="1" i="0" u="none" strike="noStrike" kern="1200" cap="none" spc="0" normalizeH="0" baseline="0" noProof="0" dirty="0">
                <a:ln>
                  <a:noFill/>
                </a:ln>
                <a:effectLst/>
                <a:uLnTx/>
                <a:uFillTx/>
                <a:latin typeface="Open Sans"/>
                <a:ea typeface="ＭＳ Ｐゴシック" pitchFamily="34" charset="-128"/>
                <a:cs typeface="Arial" pitchFamily="34" charset="0"/>
              </a:rPr>
              <a:t>Legend</a:t>
            </a:r>
          </a:p>
        </p:txBody>
      </p:sp>
      <p:sp>
        <p:nvSpPr>
          <p:cNvPr id="110" name="Rectangle 72">
            <a:extLst>
              <a:ext uri="{FF2B5EF4-FFF2-40B4-BE49-F238E27FC236}">
                <a16:creationId xmlns:a16="http://schemas.microsoft.com/office/drawing/2014/main" id="{20DDF581-73DA-5C47-A841-BD5D1BFB1584}"/>
              </a:ext>
            </a:extLst>
          </p:cNvPr>
          <p:cNvSpPr>
            <a:spLocks noChangeArrowheads="1"/>
          </p:cNvSpPr>
          <p:nvPr/>
        </p:nvSpPr>
        <p:spPr bwMode="gray">
          <a:xfrm>
            <a:off x="9909214" y="5674098"/>
            <a:ext cx="221404" cy="157243"/>
          </a:xfrm>
          <a:prstGeom prst="rect">
            <a:avLst/>
          </a:prstGeom>
          <a:solidFill>
            <a:schemeClr val="bg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1"/>
                </a:solidFill>
                <a:effectLst/>
                <a:uLnTx/>
                <a:uFillTx/>
                <a:ea typeface="Verdana" panose="020B0604030504040204" pitchFamily="34" charset="0"/>
                <a:cs typeface="Verdana" panose="020B0604030504040204" pitchFamily="34" charset="0"/>
              </a:rPr>
              <a:t>D</a:t>
            </a:r>
          </a:p>
        </p:txBody>
      </p:sp>
      <p:sp>
        <p:nvSpPr>
          <p:cNvPr id="115" name="Rectangle 72">
            <a:extLst>
              <a:ext uri="{FF2B5EF4-FFF2-40B4-BE49-F238E27FC236}">
                <a16:creationId xmlns:a16="http://schemas.microsoft.com/office/drawing/2014/main" id="{F3F52358-1343-A24E-ADDA-02C97A870C6A}"/>
              </a:ext>
            </a:extLst>
          </p:cNvPr>
          <p:cNvSpPr>
            <a:spLocks noChangeArrowheads="1"/>
          </p:cNvSpPr>
          <p:nvPr/>
        </p:nvSpPr>
        <p:spPr bwMode="gray">
          <a:xfrm>
            <a:off x="7984721" y="5461447"/>
            <a:ext cx="221404" cy="157243"/>
          </a:xfrm>
          <a:prstGeom prst="rect">
            <a:avLst/>
          </a:prstGeom>
          <a:solidFill>
            <a:schemeClr val="accent5"/>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N</a:t>
            </a:r>
          </a:p>
        </p:txBody>
      </p:sp>
      <p:sp>
        <p:nvSpPr>
          <p:cNvPr id="116" name="Rectangle 72">
            <a:extLst>
              <a:ext uri="{FF2B5EF4-FFF2-40B4-BE49-F238E27FC236}">
                <a16:creationId xmlns:a16="http://schemas.microsoft.com/office/drawing/2014/main" id="{621B6650-0289-FB4B-A56C-9777CA31FC4A}"/>
              </a:ext>
            </a:extLst>
          </p:cNvPr>
          <p:cNvSpPr>
            <a:spLocks noChangeArrowheads="1"/>
          </p:cNvSpPr>
          <p:nvPr/>
        </p:nvSpPr>
        <p:spPr bwMode="gray">
          <a:xfrm>
            <a:off x="7984721" y="5674098"/>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20" name="Rectangle 72">
            <a:extLst>
              <a:ext uri="{FF2B5EF4-FFF2-40B4-BE49-F238E27FC236}">
                <a16:creationId xmlns:a16="http://schemas.microsoft.com/office/drawing/2014/main" id="{D906D849-EDB3-B44D-BCD8-1257DFE1A945}"/>
              </a:ext>
            </a:extLst>
          </p:cNvPr>
          <p:cNvSpPr>
            <a:spLocks noChangeArrowheads="1"/>
          </p:cNvSpPr>
          <p:nvPr/>
        </p:nvSpPr>
        <p:spPr bwMode="gray">
          <a:xfrm>
            <a:off x="1161322" y="1393071"/>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21" name="Rectangle 72">
            <a:extLst>
              <a:ext uri="{FF2B5EF4-FFF2-40B4-BE49-F238E27FC236}">
                <a16:creationId xmlns:a16="http://schemas.microsoft.com/office/drawing/2014/main" id="{E7E73A91-C719-8D43-9406-9A03A42836C3}"/>
              </a:ext>
            </a:extLst>
          </p:cNvPr>
          <p:cNvSpPr>
            <a:spLocks noChangeArrowheads="1"/>
          </p:cNvSpPr>
          <p:nvPr/>
        </p:nvSpPr>
        <p:spPr bwMode="gray">
          <a:xfrm>
            <a:off x="1161322" y="1583372"/>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22" name="Rectangle 72">
            <a:extLst>
              <a:ext uri="{FF2B5EF4-FFF2-40B4-BE49-F238E27FC236}">
                <a16:creationId xmlns:a16="http://schemas.microsoft.com/office/drawing/2014/main" id="{75786FCC-E794-2A49-B66E-4D62585B4F93}"/>
              </a:ext>
            </a:extLst>
          </p:cNvPr>
          <p:cNvSpPr>
            <a:spLocks noChangeArrowheads="1"/>
          </p:cNvSpPr>
          <p:nvPr/>
        </p:nvSpPr>
        <p:spPr bwMode="gray">
          <a:xfrm>
            <a:off x="1161322" y="1770454"/>
            <a:ext cx="221404" cy="157243"/>
          </a:xfrm>
          <a:prstGeom prst="rect">
            <a:avLst/>
          </a:prstGeom>
          <a:solidFill>
            <a:schemeClr val="bg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1"/>
                </a:solidFill>
                <a:effectLst/>
                <a:uLnTx/>
                <a:uFillTx/>
                <a:ea typeface="Verdana" panose="020B0604030504040204" pitchFamily="34" charset="0"/>
                <a:cs typeface="Verdana" panose="020B0604030504040204" pitchFamily="34" charset="0"/>
              </a:rPr>
              <a:t>D</a:t>
            </a:r>
          </a:p>
        </p:txBody>
      </p:sp>
      <p:sp>
        <p:nvSpPr>
          <p:cNvPr id="130" name="Rectangle 72">
            <a:extLst>
              <a:ext uri="{FF2B5EF4-FFF2-40B4-BE49-F238E27FC236}">
                <a16:creationId xmlns:a16="http://schemas.microsoft.com/office/drawing/2014/main" id="{3F69CAF5-7589-6E4B-BB2A-6829995FA0DC}"/>
              </a:ext>
            </a:extLst>
          </p:cNvPr>
          <p:cNvSpPr>
            <a:spLocks noChangeArrowheads="1"/>
          </p:cNvSpPr>
          <p:nvPr/>
        </p:nvSpPr>
        <p:spPr bwMode="gray">
          <a:xfrm>
            <a:off x="4677895" y="1393071"/>
            <a:ext cx="221404" cy="157243"/>
          </a:xfrm>
          <a:prstGeom prst="rect">
            <a:avLst/>
          </a:prstGeom>
          <a:solidFill>
            <a:schemeClr val="bg1"/>
          </a:solidFill>
          <a:ln w="19050" cap="rnd" algn="ctr">
            <a:solidFill>
              <a:schemeClr val="accent1"/>
            </a:solidFill>
            <a:miter lim="800000"/>
            <a:headEnd/>
            <a:tailEnd/>
          </a:ln>
        </p:spPr>
        <p:txBody>
          <a:bodyPr lIns="0" tIns="0" rIns="0" bIns="0" anchor="ctr" anchorCtr="1"/>
          <a:lstStyle/>
          <a:p>
            <a:pPr lvl="0" algn="ctr" defTabSz="914400" eaLnBrk="0" hangingPunct="0">
              <a:defRPr/>
            </a:pPr>
            <a:r>
              <a:rPr lang="en-US" sz="800" b="1" dirty="0">
                <a:solidFill>
                  <a:schemeClr val="accent1"/>
                </a:solidFill>
                <a:ea typeface="Verdana" panose="020B0604030504040204" pitchFamily="34" charset="0"/>
                <a:cs typeface="Verdana" panose="020B0604030504040204" pitchFamily="34" charset="0"/>
              </a:rPr>
              <a:t>D</a:t>
            </a:r>
          </a:p>
        </p:txBody>
      </p:sp>
      <p:sp>
        <p:nvSpPr>
          <p:cNvPr id="131" name="Rectangle 72">
            <a:extLst>
              <a:ext uri="{FF2B5EF4-FFF2-40B4-BE49-F238E27FC236}">
                <a16:creationId xmlns:a16="http://schemas.microsoft.com/office/drawing/2014/main" id="{09818103-D156-694D-890C-D6CCC67E3856}"/>
              </a:ext>
            </a:extLst>
          </p:cNvPr>
          <p:cNvSpPr>
            <a:spLocks noChangeArrowheads="1"/>
          </p:cNvSpPr>
          <p:nvPr/>
        </p:nvSpPr>
        <p:spPr bwMode="gray">
          <a:xfrm>
            <a:off x="4677895" y="1583372"/>
            <a:ext cx="221404" cy="157243"/>
          </a:xfrm>
          <a:prstGeom prst="rect">
            <a:avLst/>
          </a:prstGeom>
          <a:solidFill>
            <a:schemeClr val="bg1"/>
          </a:solidFill>
          <a:ln w="19050" cap="rnd" algn="ctr">
            <a:solidFill>
              <a:schemeClr val="accent1"/>
            </a:solidFill>
            <a:miter lim="800000"/>
            <a:headEnd/>
            <a:tailEnd/>
          </a:ln>
        </p:spPr>
        <p:txBody>
          <a:bodyPr lIns="0" tIns="0" rIns="0" bIns="0" anchor="ctr" anchorCtr="1"/>
          <a:lstStyle/>
          <a:p>
            <a:pPr lvl="0" algn="ctr" defTabSz="914400" eaLnBrk="0" hangingPunct="0">
              <a:defRPr/>
            </a:pPr>
            <a:r>
              <a:rPr lang="en-US" sz="800" b="1" dirty="0">
                <a:solidFill>
                  <a:schemeClr val="accent1"/>
                </a:solidFill>
                <a:ea typeface="Verdana" panose="020B0604030504040204" pitchFamily="34" charset="0"/>
                <a:cs typeface="Verdana" panose="020B0604030504040204" pitchFamily="34" charset="0"/>
              </a:rPr>
              <a:t>D</a:t>
            </a:r>
          </a:p>
        </p:txBody>
      </p:sp>
      <p:sp>
        <p:nvSpPr>
          <p:cNvPr id="134" name="Rectangle 72">
            <a:extLst>
              <a:ext uri="{FF2B5EF4-FFF2-40B4-BE49-F238E27FC236}">
                <a16:creationId xmlns:a16="http://schemas.microsoft.com/office/drawing/2014/main" id="{6DFEC176-0358-C24C-ACED-201D771D71A6}"/>
              </a:ext>
            </a:extLst>
          </p:cNvPr>
          <p:cNvSpPr>
            <a:spLocks noChangeArrowheads="1"/>
          </p:cNvSpPr>
          <p:nvPr/>
        </p:nvSpPr>
        <p:spPr bwMode="gray">
          <a:xfrm>
            <a:off x="4677895" y="1770454"/>
            <a:ext cx="221404" cy="157243"/>
          </a:xfrm>
          <a:prstGeom prst="rect">
            <a:avLst/>
          </a:prstGeom>
          <a:solidFill>
            <a:schemeClr val="bg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1"/>
                </a:solidFill>
                <a:effectLst/>
                <a:uLnTx/>
                <a:uFillTx/>
                <a:ea typeface="Verdana" panose="020B0604030504040204" pitchFamily="34" charset="0"/>
                <a:cs typeface="Verdana" panose="020B0604030504040204" pitchFamily="34" charset="0"/>
              </a:rPr>
              <a:t>D</a:t>
            </a:r>
          </a:p>
        </p:txBody>
      </p:sp>
      <p:sp>
        <p:nvSpPr>
          <p:cNvPr id="137" name="Rectangle 72">
            <a:extLst>
              <a:ext uri="{FF2B5EF4-FFF2-40B4-BE49-F238E27FC236}">
                <a16:creationId xmlns:a16="http://schemas.microsoft.com/office/drawing/2014/main" id="{B1911045-E3A4-3F43-9F0C-AF1996F31757}"/>
              </a:ext>
            </a:extLst>
          </p:cNvPr>
          <p:cNvSpPr>
            <a:spLocks noChangeArrowheads="1"/>
          </p:cNvSpPr>
          <p:nvPr/>
        </p:nvSpPr>
        <p:spPr bwMode="gray">
          <a:xfrm>
            <a:off x="2840193" y="2415240"/>
            <a:ext cx="221404" cy="157243"/>
          </a:xfrm>
          <a:prstGeom prst="rect">
            <a:avLst/>
          </a:prstGeom>
          <a:solidFill>
            <a:schemeClr val="accent5"/>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N</a:t>
            </a:r>
          </a:p>
        </p:txBody>
      </p:sp>
      <p:sp>
        <p:nvSpPr>
          <p:cNvPr id="138" name="Rectangle 72">
            <a:extLst>
              <a:ext uri="{FF2B5EF4-FFF2-40B4-BE49-F238E27FC236}">
                <a16:creationId xmlns:a16="http://schemas.microsoft.com/office/drawing/2014/main" id="{82F82DC4-4D6C-C341-BD97-FA21184C232B}"/>
              </a:ext>
            </a:extLst>
          </p:cNvPr>
          <p:cNvSpPr>
            <a:spLocks noChangeArrowheads="1"/>
          </p:cNvSpPr>
          <p:nvPr/>
        </p:nvSpPr>
        <p:spPr bwMode="gray">
          <a:xfrm>
            <a:off x="2840193" y="2970414"/>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39" name="Rectangle 72">
            <a:extLst>
              <a:ext uri="{FF2B5EF4-FFF2-40B4-BE49-F238E27FC236}">
                <a16:creationId xmlns:a16="http://schemas.microsoft.com/office/drawing/2014/main" id="{0FDDCBEC-5CE8-0345-AA7E-9BFD56A78301}"/>
              </a:ext>
            </a:extLst>
          </p:cNvPr>
          <p:cNvSpPr>
            <a:spLocks noChangeArrowheads="1"/>
          </p:cNvSpPr>
          <p:nvPr/>
        </p:nvSpPr>
        <p:spPr bwMode="gray">
          <a:xfrm>
            <a:off x="2840193" y="2600298"/>
            <a:ext cx="221404" cy="157243"/>
          </a:xfrm>
          <a:prstGeom prst="rect">
            <a:avLst/>
          </a:prstGeom>
          <a:solidFill>
            <a:schemeClr val="accent5"/>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N</a:t>
            </a:r>
          </a:p>
        </p:txBody>
      </p:sp>
      <p:sp>
        <p:nvSpPr>
          <p:cNvPr id="140" name="Rectangle 72">
            <a:extLst>
              <a:ext uri="{FF2B5EF4-FFF2-40B4-BE49-F238E27FC236}">
                <a16:creationId xmlns:a16="http://schemas.microsoft.com/office/drawing/2014/main" id="{C94BEEBB-2B40-834B-8C83-62D3F903C245}"/>
              </a:ext>
            </a:extLst>
          </p:cNvPr>
          <p:cNvSpPr>
            <a:spLocks noChangeArrowheads="1"/>
          </p:cNvSpPr>
          <p:nvPr/>
        </p:nvSpPr>
        <p:spPr bwMode="gray">
          <a:xfrm>
            <a:off x="2840193" y="2785356"/>
            <a:ext cx="221404" cy="157243"/>
          </a:xfrm>
          <a:prstGeom prst="rect">
            <a:avLst/>
          </a:prstGeom>
          <a:solidFill>
            <a:schemeClr val="accent5"/>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N</a:t>
            </a:r>
          </a:p>
        </p:txBody>
      </p:sp>
      <p:sp>
        <p:nvSpPr>
          <p:cNvPr id="141" name="Rectangle 72">
            <a:extLst>
              <a:ext uri="{FF2B5EF4-FFF2-40B4-BE49-F238E27FC236}">
                <a16:creationId xmlns:a16="http://schemas.microsoft.com/office/drawing/2014/main" id="{A63ED547-36D6-7B4B-B9B5-457D21F5C3C8}"/>
              </a:ext>
            </a:extLst>
          </p:cNvPr>
          <p:cNvSpPr>
            <a:spLocks noChangeArrowheads="1"/>
          </p:cNvSpPr>
          <p:nvPr/>
        </p:nvSpPr>
        <p:spPr bwMode="gray">
          <a:xfrm>
            <a:off x="1382726" y="393101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2" name="Rectangle 72">
            <a:extLst>
              <a:ext uri="{FF2B5EF4-FFF2-40B4-BE49-F238E27FC236}">
                <a16:creationId xmlns:a16="http://schemas.microsoft.com/office/drawing/2014/main" id="{08A17525-F9D4-094E-96FB-DDA828517FE8}"/>
              </a:ext>
            </a:extLst>
          </p:cNvPr>
          <p:cNvSpPr>
            <a:spLocks noChangeArrowheads="1"/>
          </p:cNvSpPr>
          <p:nvPr/>
        </p:nvSpPr>
        <p:spPr bwMode="gray">
          <a:xfrm>
            <a:off x="1382726" y="4619325"/>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3" name="Rectangle 72">
            <a:extLst>
              <a:ext uri="{FF2B5EF4-FFF2-40B4-BE49-F238E27FC236}">
                <a16:creationId xmlns:a16="http://schemas.microsoft.com/office/drawing/2014/main" id="{8C583356-F834-564C-9881-DC5563206DF5}"/>
              </a:ext>
            </a:extLst>
          </p:cNvPr>
          <p:cNvSpPr>
            <a:spLocks noChangeArrowheads="1"/>
          </p:cNvSpPr>
          <p:nvPr/>
        </p:nvSpPr>
        <p:spPr bwMode="gray">
          <a:xfrm>
            <a:off x="1382726" y="4814391"/>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5" name="Rectangle 72">
            <a:extLst>
              <a:ext uri="{FF2B5EF4-FFF2-40B4-BE49-F238E27FC236}">
                <a16:creationId xmlns:a16="http://schemas.microsoft.com/office/drawing/2014/main" id="{8424604A-4ACA-DF4C-9272-A4B3DC04A588}"/>
              </a:ext>
            </a:extLst>
          </p:cNvPr>
          <p:cNvSpPr>
            <a:spLocks noChangeArrowheads="1"/>
          </p:cNvSpPr>
          <p:nvPr/>
        </p:nvSpPr>
        <p:spPr bwMode="gray">
          <a:xfrm>
            <a:off x="4761268" y="3850014"/>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6" name="Rectangle 72">
            <a:extLst>
              <a:ext uri="{FF2B5EF4-FFF2-40B4-BE49-F238E27FC236}">
                <a16:creationId xmlns:a16="http://schemas.microsoft.com/office/drawing/2014/main" id="{E3368156-8E33-7246-8C9D-C2713D573EB0}"/>
              </a:ext>
            </a:extLst>
          </p:cNvPr>
          <p:cNvSpPr>
            <a:spLocks noChangeArrowheads="1"/>
          </p:cNvSpPr>
          <p:nvPr/>
        </p:nvSpPr>
        <p:spPr bwMode="gray">
          <a:xfrm>
            <a:off x="4761268" y="4045080"/>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7" name="Rectangle 72">
            <a:extLst>
              <a:ext uri="{FF2B5EF4-FFF2-40B4-BE49-F238E27FC236}">
                <a16:creationId xmlns:a16="http://schemas.microsoft.com/office/drawing/2014/main" id="{CAF577CF-24FE-3941-98D9-819395D4E57E}"/>
              </a:ext>
            </a:extLst>
          </p:cNvPr>
          <p:cNvSpPr>
            <a:spLocks noChangeArrowheads="1"/>
          </p:cNvSpPr>
          <p:nvPr/>
        </p:nvSpPr>
        <p:spPr bwMode="gray">
          <a:xfrm>
            <a:off x="4761268" y="4713296"/>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8" name="Rectangle 72">
            <a:extLst>
              <a:ext uri="{FF2B5EF4-FFF2-40B4-BE49-F238E27FC236}">
                <a16:creationId xmlns:a16="http://schemas.microsoft.com/office/drawing/2014/main" id="{0B5B4F8F-32B5-BC42-8662-B9904CD447BF}"/>
              </a:ext>
            </a:extLst>
          </p:cNvPr>
          <p:cNvSpPr>
            <a:spLocks noChangeArrowheads="1"/>
          </p:cNvSpPr>
          <p:nvPr/>
        </p:nvSpPr>
        <p:spPr bwMode="gray">
          <a:xfrm>
            <a:off x="1382726" y="5689213"/>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49" name="Rectangle 72">
            <a:extLst>
              <a:ext uri="{FF2B5EF4-FFF2-40B4-BE49-F238E27FC236}">
                <a16:creationId xmlns:a16="http://schemas.microsoft.com/office/drawing/2014/main" id="{2DC8C7E0-FA40-4443-8466-EE8ED80915C8}"/>
              </a:ext>
            </a:extLst>
          </p:cNvPr>
          <p:cNvSpPr>
            <a:spLocks noChangeArrowheads="1"/>
          </p:cNvSpPr>
          <p:nvPr/>
        </p:nvSpPr>
        <p:spPr bwMode="gray">
          <a:xfrm>
            <a:off x="1382726" y="5887362"/>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50" name="Rectangle 72">
            <a:extLst>
              <a:ext uri="{FF2B5EF4-FFF2-40B4-BE49-F238E27FC236}">
                <a16:creationId xmlns:a16="http://schemas.microsoft.com/office/drawing/2014/main" id="{404E151F-6FF3-D143-8CDC-9EABA05157FA}"/>
              </a:ext>
            </a:extLst>
          </p:cNvPr>
          <p:cNvSpPr>
            <a:spLocks noChangeArrowheads="1"/>
          </p:cNvSpPr>
          <p:nvPr/>
        </p:nvSpPr>
        <p:spPr bwMode="gray">
          <a:xfrm>
            <a:off x="1382726" y="6085512"/>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51" name="Rectangle 72">
            <a:extLst>
              <a:ext uri="{FF2B5EF4-FFF2-40B4-BE49-F238E27FC236}">
                <a16:creationId xmlns:a16="http://schemas.microsoft.com/office/drawing/2014/main" id="{28FC46D2-B835-D641-A859-36059320A1E6}"/>
              </a:ext>
            </a:extLst>
          </p:cNvPr>
          <p:cNvSpPr>
            <a:spLocks noChangeArrowheads="1"/>
          </p:cNvSpPr>
          <p:nvPr/>
        </p:nvSpPr>
        <p:spPr bwMode="gray">
          <a:xfrm>
            <a:off x="4567193" y="5689213"/>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52" name="Rectangle 72">
            <a:extLst>
              <a:ext uri="{FF2B5EF4-FFF2-40B4-BE49-F238E27FC236}">
                <a16:creationId xmlns:a16="http://schemas.microsoft.com/office/drawing/2014/main" id="{E374E2A2-29DF-6D42-B2DF-90B1902B4179}"/>
              </a:ext>
            </a:extLst>
          </p:cNvPr>
          <p:cNvSpPr>
            <a:spLocks noChangeArrowheads="1"/>
          </p:cNvSpPr>
          <p:nvPr/>
        </p:nvSpPr>
        <p:spPr bwMode="gray">
          <a:xfrm>
            <a:off x="4567193" y="5887362"/>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53" name="Rectangle 72">
            <a:extLst>
              <a:ext uri="{FF2B5EF4-FFF2-40B4-BE49-F238E27FC236}">
                <a16:creationId xmlns:a16="http://schemas.microsoft.com/office/drawing/2014/main" id="{018BC400-42E5-3343-BA9E-89E38EC983B7}"/>
              </a:ext>
            </a:extLst>
          </p:cNvPr>
          <p:cNvSpPr>
            <a:spLocks noChangeArrowheads="1"/>
          </p:cNvSpPr>
          <p:nvPr/>
        </p:nvSpPr>
        <p:spPr bwMode="gray">
          <a:xfrm>
            <a:off x="4567193" y="6085512"/>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Tree>
    <p:custDataLst>
      <p:tags r:id="rId1"/>
    </p:custDataLst>
    <p:extLst>
      <p:ext uri="{BB962C8B-B14F-4D97-AF65-F5344CB8AC3E}">
        <p14:creationId xmlns:p14="http://schemas.microsoft.com/office/powerpoint/2010/main" val="3837285023"/>
      </p:ext>
    </p:extLst>
  </p:cSld>
  <p:clrMapOvr>
    <a:masterClrMapping/>
  </p:clrMapOvr>
  <mc:AlternateContent xmlns:mc="http://schemas.openxmlformats.org/markup-compatibility/2006" xmlns:p14="http://schemas.microsoft.com/office/powerpoint/2010/main">
    <mc:Choice Requires="p14">
      <p:transition p14:dur="0"/>
    </mc:Choice>
    <mc:Fallback xmlns:a16="http://schemas.microsoft.com/office/drawing/2014/main" xmlns="">
      <p:transition/>
    </mc:Fallback>
  </mc:AlternateContent>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9EE43DB0-D1C3-4345-B204-301430456389}"/>
              </a:ext>
            </a:extLst>
          </p:cNvPr>
          <p:cNvSpPr>
            <a:spLocks noChangeArrowheads="1"/>
          </p:cNvSpPr>
          <p:nvPr/>
        </p:nvSpPr>
        <p:spPr bwMode="auto">
          <a:xfrm>
            <a:off x="4267604" y="1896133"/>
            <a:ext cx="2322483" cy="110704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a:t>
            </a:r>
            <a:endParaRPr kumimoji="0" lang="en-US" sz="1000" b="0" i="0" u="none" strike="noStrike" kern="0" cap="none" spc="0" normalizeH="0" baseline="0" noProof="0" dirty="0">
              <a:ln>
                <a:noFill/>
              </a:ln>
              <a:solidFill>
                <a:srgbClr val="000000">
                  <a:lumMod val="75000"/>
                </a:srgbClr>
              </a:solidFill>
              <a:effectLst/>
              <a:uLnTx/>
              <a:uFillTx/>
              <a:cs typeface="Arial" pitchFamily="34" charset="0"/>
            </a:endParaRPr>
          </a:p>
        </p:txBody>
      </p:sp>
      <p:sp>
        <p:nvSpPr>
          <p:cNvPr id="44" name="Rectangle 43">
            <a:extLst>
              <a:ext uri="{FF2B5EF4-FFF2-40B4-BE49-F238E27FC236}">
                <a16:creationId xmlns:a16="http://schemas.microsoft.com/office/drawing/2014/main" id="{BFF1EBD4-EE4B-4528-9CA1-B851C78E29E2}"/>
              </a:ext>
            </a:extLst>
          </p:cNvPr>
          <p:cNvSpPr>
            <a:spLocks noChangeArrowheads="1"/>
          </p:cNvSpPr>
          <p:nvPr/>
        </p:nvSpPr>
        <p:spPr bwMode="auto">
          <a:xfrm>
            <a:off x="6751101" y="1896133"/>
            <a:ext cx="2266156" cy="868069"/>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a:t>
            </a:r>
            <a:endParaRPr lang="en-US" sz="1000" kern="0" dirty="0">
              <a:solidFill>
                <a:srgbClr val="000000">
                  <a:lumMod val="75000"/>
                </a:srgbClr>
              </a:solidFill>
              <a:cs typeface="Arial" pitchFamily="34" charset="0"/>
            </a:endParaRPr>
          </a:p>
        </p:txBody>
      </p:sp>
      <p:sp>
        <p:nvSpPr>
          <p:cNvPr id="46" name="Rectangle 45">
            <a:extLst>
              <a:ext uri="{FF2B5EF4-FFF2-40B4-BE49-F238E27FC236}">
                <a16:creationId xmlns:a16="http://schemas.microsoft.com/office/drawing/2014/main" id="{D6B2C48F-E54F-413F-9A80-F8AC1D51F6C6}"/>
              </a:ext>
            </a:extLst>
          </p:cNvPr>
          <p:cNvSpPr>
            <a:spLocks noChangeArrowheads="1"/>
          </p:cNvSpPr>
          <p:nvPr/>
        </p:nvSpPr>
        <p:spPr bwMode="auto">
          <a:xfrm>
            <a:off x="9306287" y="1896133"/>
            <a:ext cx="2378780" cy="74648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a:t>
            </a:r>
            <a:endParaRPr lang="en-US" sz="1000" kern="0" dirty="0">
              <a:solidFill>
                <a:srgbClr val="000000">
                  <a:lumMod val="75000"/>
                </a:srgbClr>
              </a:solidFill>
              <a:cs typeface="Arial" pitchFamily="34" charset="0"/>
            </a:endParaRPr>
          </a:p>
        </p:txBody>
      </p:sp>
      <p:sp>
        <p:nvSpPr>
          <p:cNvPr id="90" name="Rectangle 23">
            <a:extLst>
              <a:ext uri="{FF2B5EF4-FFF2-40B4-BE49-F238E27FC236}">
                <a16:creationId xmlns:a16="http://schemas.microsoft.com/office/drawing/2014/main" id="{A6337089-3CC6-4DA6-88A2-6589714C958F}"/>
              </a:ext>
            </a:extLst>
          </p:cNvPr>
          <p:cNvSpPr>
            <a:spLocks noChangeArrowheads="1"/>
          </p:cNvSpPr>
          <p:nvPr/>
        </p:nvSpPr>
        <p:spPr bwMode="gray">
          <a:xfrm>
            <a:off x="469900" y="5815245"/>
            <a:ext cx="7954048" cy="365284"/>
          </a:xfrm>
          <a:prstGeom prst="rect">
            <a:avLst/>
          </a:prstGeom>
          <a:noFill/>
          <a:ln w="12700">
            <a:solidFill>
              <a:schemeClr val="bg1">
                <a:lumMod val="75000"/>
              </a:schemeClr>
            </a:solidFill>
            <a:miter lim="800000"/>
            <a:headEnd/>
            <a:tailEnd/>
          </a:ln>
          <a:effectLst/>
        </p:spPr>
        <p:txBody>
          <a:bodyPr wrap="square" lIns="45720" tIns="45714" rIns="45714" bIns="45714" anchor="ctr"/>
          <a:lstStyle/>
          <a:p>
            <a:pPr lvl="0" algn="ctr">
              <a:spcBef>
                <a:spcPct val="50000"/>
              </a:spcBef>
              <a:buSzPct val="100000"/>
              <a:defRPr/>
            </a:pPr>
            <a:r>
              <a:rPr lang="da-DK" sz="1000" b="1" dirty="0"/>
              <a:t>Lorem ipsum dolor sit amet, </a:t>
            </a:r>
            <a:endParaRPr kumimoji="0" lang="en-US" sz="1000" b="1" i="0" u="none" strike="noStrike" kern="0" cap="none" spc="0" normalizeH="0" baseline="0" noProof="0" dirty="0">
              <a:ln>
                <a:noFill/>
              </a:ln>
              <a:effectLst/>
              <a:uLnTx/>
              <a:uFillTx/>
              <a:cs typeface="Arial" pitchFamily="34" charset="0"/>
            </a:endParaRPr>
          </a:p>
        </p:txBody>
      </p:sp>
      <p:sp>
        <p:nvSpPr>
          <p:cNvPr id="68" name="Rectangle 67">
            <a:extLst>
              <a:ext uri="{FF2B5EF4-FFF2-40B4-BE49-F238E27FC236}">
                <a16:creationId xmlns:a16="http://schemas.microsoft.com/office/drawing/2014/main" id="{A78E169F-B5B8-024D-8244-09F8AE9E56B5}"/>
              </a:ext>
            </a:extLst>
          </p:cNvPr>
          <p:cNvSpPr/>
          <p:nvPr/>
        </p:nvSpPr>
        <p:spPr bwMode="gray">
          <a:xfrm>
            <a:off x="10410657" y="5946756"/>
            <a:ext cx="1256121" cy="14688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ndParaRPr>
          </a:p>
        </p:txBody>
      </p:sp>
      <p:sp>
        <p:nvSpPr>
          <p:cNvPr id="73" name="Rectangle 72">
            <a:extLst>
              <a:ext uri="{FF2B5EF4-FFF2-40B4-BE49-F238E27FC236}">
                <a16:creationId xmlns:a16="http://schemas.microsoft.com/office/drawing/2014/main" id="{B0607723-A41E-814E-8A41-EBA432E53D64}"/>
              </a:ext>
            </a:extLst>
          </p:cNvPr>
          <p:cNvSpPr/>
          <p:nvPr/>
        </p:nvSpPr>
        <p:spPr bwMode="gray">
          <a:xfrm>
            <a:off x="10410656" y="5756565"/>
            <a:ext cx="1397791" cy="133874"/>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ndParaRPr>
          </a:p>
        </p:txBody>
      </p:sp>
      <p:sp>
        <p:nvSpPr>
          <p:cNvPr id="76" name="Rectangle 75">
            <a:extLst>
              <a:ext uri="{FF2B5EF4-FFF2-40B4-BE49-F238E27FC236}">
                <a16:creationId xmlns:a16="http://schemas.microsoft.com/office/drawing/2014/main" id="{A31E3B07-EE6B-A047-B8B5-220AC876762C}"/>
              </a:ext>
            </a:extLst>
          </p:cNvPr>
          <p:cNvSpPr/>
          <p:nvPr/>
        </p:nvSpPr>
        <p:spPr bwMode="gray">
          <a:xfrm>
            <a:off x="9998297" y="5580821"/>
            <a:ext cx="1717550" cy="643266"/>
          </a:xfrm>
          <a:prstGeom prst="rect">
            <a:avLst/>
          </a:prstGeom>
          <a:noFill/>
          <a:ln w="12700" algn="ctr">
            <a:solidFill>
              <a:schemeClr val="bg1">
                <a:lumMod val="7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89" name="TextBox 77">
            <a:extLst>
              <a:ext uri="{FF2B5EF4-FFF2-40B4-BE49-F238E27FC236}">
                <a16:creationId xmlns:a16="http://schemas.microsoft.com/office/drawing/2014/main" id="{A5EB97C9-E8F6-AC4D-8860-8D6A08143884}"/>
              </a:ext>
            </a:extLst>
          </p:cNvPr>
          <p:cNvSpPr txBox="1">
            <a:spLocks noChangeArrowheads="1"/>
          </p:cNvSpPr>
          <p:nvPr/>
        </p:nvSpPr>
        <p:spPr bwMode="gray">
          <a:xfrm>
            <a:off x="10121714" y="5506451"/>
            <a:ext cx="550835" cy="153888"/>
          </a:xfrm>
          <a:prstGeom prst="rect">
            <a:avLst/>
          </a:prstGeom>
          <a:solidFill>
            <a:schemeClr val="bg1"/>
          </a:solidFill>
          <a:ln>
            <a:noFill/>
          </a:ln>
        </p:spPr>
        <p:txBody>
          <a:bodyPr wrap="square" lIns="45720" tIns="0" rIns="0" bIns="0" anchor="ctr">
            <a:spAutoFit/>
          </a:bodyPr>
          <a:lstStyle>
            <a:lvl1pPr>
              <a:defRPr sz="1100" b="1">
                <a:solidFill>
                  <a:schemeClr val="tx1"/>
                </a:solidFill>
                <a:latin typeface="Arial" charset="0"/>
                <a:ea typeface="ＭＳ Ｐゴシック" pitchFamily="34" charset="-128"/>
              </a:defRPr>
            </a:lvl1pPr>
            <a:lvl2pPr marL="742950" indent="-285750">
              <a:defRPr sz="1100" b="1">
                <a:solidFill>
                  <a:schemeClr val="tx1"/>
                </a:solidFill>
                <a:latin typeface="Arial" charset="0"/>
                <a:ea typeface="ＭＳ Ｐゴシック" pitchFamily="34" charset="-128"/>
              </a:defRPr>
            </a:lvl2pPr>
            <a:lvl3pPr marL="1143000" indent="-228600">
              <a:defRPr sz="1100" b="1">
                <a:solidFill>
                  <a:schemeClr val="tx1"/>
                </a:solidFill>
                <a:latin typeface="Arial" charset="0"/>
                <a:ea typeface="ＭＳ Ｐゴシック" pitchFamily="34" charset="-128"/>
              </a:defRPr>
            </a:lvl3pPr>
            <a:lvl4pPr marL="1600200" indent="-228600">
              <a:defRPr sz="1100" b="1">
                <a:solidFill>
                  <a:schemeClr val="tx1"/>
                </a:solidFill>
                <a:latin typeface="Arial" charset="0"/>
                <a:ea typeface="ＭＳ Ｐゴシック" pitchFamily="34" charset="-128"/>
              </a:defRPr>
            </a:lvl4pPr>
            <a:lvl5pPr marL="2057400" indent="-228600">
              <a:defRPr sz="1100" b="1">
                <a:solidFill>
                  <a:schemeClr val="tx1"/>
                </a:solidFill>
                <a:latin typeface="Arial" charset="0"/>
                <a:ea typeface="ＭＳ Ｐゴシック" pitchFamily="34" charset="-128"/>
              </a:defRPr>
            </a:lvl5pPr>
            <a:lvl6pPr marL="25146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6pPr>
            <a:lvl7pPr marL="29718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7pPr>
            <a:lvl8pPr marL="34290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8pPr>
            <a:lvl9pPr marL="38862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9pPr>
          </a:lstStyle>
          <a:p>
            <a:pPr marL="0" marR="0" lvl="0" indent="0" algn="l" defTabSz="914400" rtl="0" eaLnBrk="1" fontAlgn="auto" latinLnBrk="0" hangingPunct="1">
              <a:lnSpc>
                <a:spcPct val="100000"/>
              </a:lnSpc>
              <a:spcBef>
                <a:spcPts val="0"/>
              </a:spcBef>
              <a:spcAft>
                <a:spcPts val="0"/>
              </a:spcAft>
              <a:buClrTx/>
              <a:buSzPct val="100000"/>
              <a:buFont typeface="Wingdings 2" pitchFamily="18" charset="2"/>
              <a:buNone/>
              <a:tabLst/>
              <a:defRPr/>
            </a:pPr>
            <a:r>
              <a:rPr kumimoji="0" lang="en-US" sz="1000" b="1" i="0" u="none" strike="noStrike" kern="1200" cap="none" spc="0" normalizeH="0" baseline="0" noProof="0" dirty="0">
                <a:ln>
                  <a:noFill/>
                </a:ln>
                <a:effectLst/>
                <a:uLnTx/>
                <a:uFillTx/>
                <a:latin typeface="+mn-lt"/>
                <a:ea typeface="ＭＳ Ｐゴシック" pitchFamily="34" charset="-128"/>
                <a:cs typeface="Arial" pitchFamily="34" charset="0"/>
              </a:rPr>
              <a:t>Legend</a:t>
            </a:r>
          </a:p>
        </p:txBody>
      </p:sp>
      <p:sp>
        <p:nvSpPr>
          <p:cNvPr id="92" name="Rectangle 59">
            <a:extLst>
              <a:ext uri="{FF2B5EF4-FFF2-40B4-BE49-F238E27FC236}">
                <a16:creationId xmlns:a16="http://schemas.microsoft.com/office/drawing/2014/main" id="{D9414034-6441-E149-A592-088C07B93347}"/>
              </a:ext>
            </a:extLst>
          </p:cNvPr>
          <p:cNvSpPr>
            <a:spLocks noChangeArrowheads="1"/>
          </p:cNvSpPr>
          <p:nvPr/>
        </p:nvSpPr>
        <p:spPr bwMode="gray">
          <a:xfrm>
            <a:off x="471583" y="1788358"/>
            <a:ext cx="3519669"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571500" lvl="0">
              <a:spcBef>
                <a:spcPts val="500"/>
              </a:spcBef>
              <a:buSzPct val="100000"/>
              <a:defRPr/>
            </a:pPr>
            <a:r>
              <a:rPr lang="da-DK" sz="1000" kern="0" dirty="0">
                <a:solidFill>
                  <a:prstClr val="black"/>
                </a:solidFill>
                <a:cs typeface="Arial" pitchFamily="34" charset="0"/>
              </a:rPr>
              <a:t>Lorem ipsum dolor sit amet, </a:t>
            </a:r>
          </a:p>
          <a:p>
            <a:pPr marL="571500" lvl="0">
              <a:spcBef>
                <a:spcPts val="500"/>
              </a:spcBef>
              <a:buSzPct val="100000"/>
              <a:defRPr/>
            </a:pPr>
            <a:r>
              <a:rPr lang="da-DK" sz="1000" kern="0" dirty="0">
                <a:solidFill>
                  <a:prstClr val="black"/>
                </a:solidFill>
                <a:cs typeface="Arial" pitchFamily="34" charset="0"/>
              </a:rPr>
              <a:t>Lorem ipsum dolor sit amet, </a:t>
            </a:r>
            <a:endParaRPr lang="en-US" sz="1000" kern="0" dirty="0">
              <a:solidFill>
                <a:prstClr val="black"/>
              </a:solidFill>
              <a:cs typeface="Arial" pitchFamily="34" charset="0"/>
            </a:endParaRPr>
          </a:p>
        </p:txBody>
      </p:sp>
      <p:sp>
        <p:nvSpPr>
          <p:cNvPr id="93" name="Text Box 60">
            <a:extLst>
              <a:ext uri="{FF2B5EF4-FFF2-40B4-BE49-F238E27FC236}">
                <a16:creationId xmlns:a16="http://schemas.microsoft.com/office/drawing/2014/main" id="{DD171B9D-F41E-9F47-AC2F-782AEED9252E}"/>
              </a:ext>
            </a:extLst>
          </p:cNvPr>
          <p:cNvSpPr txBox="1">
            <a:spLocks noChangeArrowheads="1"/>
          </p:cNvSpPr>
          <p:nvPr/>
        </p:nvSpPr>
        <p:spPr bwMode="gray">
          <a:xfrm>
            <a:off x="1370088" y="1717316"/>
            <a:ext cx="1725246"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cxnSp>
        <p:nvCxnSpPr>
          <p:cNvPr id="51" name="Straight Connector 50">
            <a:extLst>
              <a:ext uri="{FF2B5EF4-FFF2-40B4-BE49-F238E27FC236}">
                <a16:creationId xmlns:a16="http://schemas.microsoft.com/office/drawing/2014/main" id="{75FF324A-160D-E744-BA0C-C6F87019782C}"/>
              </a:ext>
            </a:extLst>
          </p:cNvPr>
          <p:cNvCxnSpPr>
            <a:cxnSpLocks/>
          </p:cNvCxnSpPr>
          <p:nvPr/>
        </p:nvCxnSpPr>
        <p:spPr>
          <a:xfrm>
            <a:off x="469900" y="1335474"/>
            <a:ext cx="352135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455A9527-55BE-A94F-A1D3-1A57B93ADFA3}"/>
              </a:ext>
            </a:extLst>
          </p:cNvPr>
          <p:cNvSpPr txBox="1"/>
          <p:nvPr/>
        </p:nvSpPr>
        <p:spPr>
          <a:xfrm>
            <a:off x="469900" y="1212997"/>
            <a:ext cx="1953260" cy="215444"/>
          </a:xfrm>
          <a:prstGeom prst="rect">
            <a:avLst/>
          </a:prstGeom>
          <a:solidFill>
            <a:schemeClr val="bg1"/>
          </a:solidFill>
        </p:spPr>
        <p:txBody>
          <a:bodyPr vert="horz" wrap="square" lIns="0" tIns="0" rIns="0" bIns="0" rtlCol="0" anchor="t" anchorCtr="0">
            <a:spAutoFit/>
          </a:bodyPr>
          <a:lstStyle/>
          <a:p>
            <a:pPr lvl="0">
              <a:spcBef>
                <a:spcPts val="200"/>
              </a:spcBef>
              <a:buSzPct val="100000"/>
              <a:defRPr/>
            </a:pPr>
            <a:r>
              <a:rPr lang="da-DK" sz="1400" b="1" dirty="0">
                <a:solidFill>
                  <a:srgbClr val="000000"/>
                </a:solidFill>
              </a:rPr>
              <a:t>Lorem ipsum dolor</a:t>
            </a:r>
            <a:endParaRPr kumimoji="0" lang="en-US" sz="1400" b="1" i="0" u="none" strike="noStrike" kern="1200" cap="none" spc="0" normalizeH="0" baseline="0" noProof="0" dirty="0">
              <a:ln>
                <a:noFill/>
              </a:ln>
              <a:solidFill>
                <a:srgbClr val="000000"/>
              </a:solidFill>
              <a:effectLst/>
              <a:uLnTx/>
              <a:uFillTx/>
            </a:endParaRPr>
          </a:p>
        </p:txBody>
      </p:sp>
      <p:cxnSp>
        <p:nvCxnSpPr>
          <p:cNvPr id="99" name="Straight Connector 98">
            <a:extLst>
              <a:ext uri="{FF2B5EF4-FFF2-40B4-BE49-F238E27FC236}">
                <a16:creationId xmlns:a16="http://schemas.microsoft.com/office/drawing/2014/main" id="{5A924337-4AAF-5249-B3DD-ADBE2EBD89BF}"/>
              </a:ext>
            </a:extLst>
          </p:cNvPr>
          <p:cNvCxnSpPr>
            <a:cxnSpLocks/>
          </p:cNvCxnSpPr>
          <p:nvPr/>
        </p:nvCxnSpPr>
        <p:spPr>
          <a:xfrm>
            <a:off x="4328668" y="1335474"/>
            <a:ext cx="739343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577F40B4-B4E7-E04B-9F4D-1F8B39138D53}"/>
              </a:ext>
            </a:extLst>
          </p:cNvPr>
          <p:cNvSpPr txBox="1"/>
          <p:nvPr/>
        </p:nvSpPr>
        <p:spPr>
          <a:xfrm>
            <a:off x="4264239" y="1212997"/>
            <a:ext cx="2131281" cy="215444"/>
          </a:xfrm>
          <a:prstGeom prst="rect">
            <a:avLst/>
          </a:prstGeom>
          <a:solidFill>
            <a:schemeClr val="bg1"/>
          </a:solidFill>
        </p:spPr>
        <p:txBody>
          <a:bodyPr vert="horz" wrap="square" lIns="0" tIns="0" rIns="0" bIns="0" rtlCol="0" anchor="t" anchorCtr="0">
            <a:spAutoFit/>
          </a:bodyPr>
          <a:lstStyle/>
          <a:p>
            <a:pPr lvl="0" algn="ctr">
              <a:spcBef>
                <a:spcPts val="200"/>
              </a:spcBef>
              <a:buSzPct val="100000"/>
              <a:defRPr/>
            </a:pPr>
            <a:r>
              <a:rPr lang="da-DK" sz="1400" b="1" dirty="0">
                <a:solidFill>
                  <a:srgbClr val="000000"/>
                </a:solidFill>
              </a:rPr>
              <a:t>Lorem ipsum dolor sit amet, </a:t>
            </a:r>
            <a:endParaRPr lang="en-US" sz="1400" b="1" dirty="0">
              <a:solidFill>
                <a:srgbClr val="000000"/>
              </a:solidFill>
            </a:endParaRPr>
          </a:p>
        </p:txBody>
      </p:sp>
      <p:sp>
        <p:nvSpPr>
          <p:cNvPr id="103" name="Rectangle 59">
            <a:extLst>
              <a:ext uri="{FF2B5EF4-FFF2-40B4-BE49-F238E27FC236}">
                <a16:creationId xmlns:a16="http://schemas.microsoft.com/office/drawing/2014/main" id="{768AE076-E42F-8B4B-9134-76944E1EE977}"/>
              </a:ext>
            </a:extLst>
          </p:cNvPr>
          <p:cNvSpPr>
            <a:spLocks noChangeArrowheads="1"/>
          </p:cNvSpPr>
          <p:nvPr/>
        </p:nvSpPr>
        <p:spPr bwMode="gray">
          <a:xfrm>
            <a:off x="471583" y="2982181"/>
            <a:ext cx="3519669" cy="951959"/>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571500" lvl="0">
              <a:spcBef>
                <a:spcPts val="500"/>
              </a:spcBef>
              <a:buSzPct val="100000"/>
              <a:defRPr/>
            </a:pPr>
            <a:r>
              <a:rPr lang="da-DK" sz="1000" kern="0" dirty="0">
                <a:solidFill>
                  <a:prstClr val="black"/>
                </a:solidFill>
                <a:cs typeface="Arial" pitchFamily="34" charset="0"/>
              </a:rPr>
              <a:t>Lorem ipsum dolor sit amet, </a:t>
            </a:r>
          </a:p>
          <a:p>
            <a:pPr marL="571500" lvl="0">
              <a:spcBef>
                <a:spcPts val="500"/>
              </a:spcBef>
              <a:buSzPct val="100000"/>
              <a:defRPr/>
            </a:pPr>
            <a:r>
              <a:rPr lang="da-DK" sz="1000" kern="0" dirty="0">
                <a:solidFill>
                  <a:prstClr val="black"/>
                </a:solidFill>
                <a:cs typeface="Arial" pitchFamily="34" charset="0"/>
              </a:rPr>
              <a:t>Lorem ipsum dolor sit amet, </a:t>
            </a:r>
          </a:p>
          <a:p>
            <a:pPr marL="571500" lvl="0">
              <a:spcBef>
                <a:spcPts val="500"/>
              </a:spcBef>
              <a:buSzPct val="100000"/>
              <a:defRPr/>
            </a:pPr>
            <a:r>
              <a:rPr lang="da-DK" sz="1000" kern="0" dirty="0">
                <a:solidFill>
                  <a:prstClr val="black"/>
                </a:solidFill>
                <a:cs typeface="Arial" pitchFamily="34" charset="0"/>
              </a:rPr>
              <a:t>Lorem ipsum dolor sit amet, </a:t>
            </a:r>
            <a:endParaRPr lang="en-US" sz="1000" kern="0" dirty="0">
              <a:solidFill>
                <a:prstClr val="black"/>
              </a:solidFill>
              <a:cs typeface="Arial" pitchFamily="34" charset="0"/>
            </a:endParaRPr>
          </a:p>
        </p:txBody>
      </p:sp>
      <p:sp>
        <p:nvSpPr>
          <p:cNvPr id="104" name="Text Box 60">
            <a:extLst>
              <a:ext uri="{FF2B5EF4-FFF2-40B4-BE49-F238E27FC236}">
                <a16:creationId xmlns:a16="http://schemas.microsoft.com/office/drawing/2014/main" id="{EB22095E-C307-3548-86B1-4B9769379427}"/>
              </a:ext>
            </a:extLst>
          </p:cNvPr>
          <p:cNvSpPr txBox="1">
            <a:spLocks noChangeArrowheads="1"/>
          </p:cNvSpPr>
          <p:nvPr/>
        </p:nvSpPr>
        <p:spPr bwMode="gray">
          <a:xfrm>
            <a:off x="1139360" y="2911139"/>
            <a:ext cx="2098230"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08" name="Rectangle 59">
            <a:extLst>
              <a:ext uri="{FF2B5EF4-FFF2-40B4-BE49-F238E27FC236}">
                <a16:creationId xmlns:a16="http://schemas.microsoft.com/office/drawing/2014/main" id="{C908FDBC-9985-1145-97C7-730442261A7B}"/>
              </a:ext>
            </a:extLst>
          </p:cNvPr>
          <p:cNvSpPr>
            <a:spLocks noChangeArrowheads="1"/>
          </p:cNvSpPr>
          <p:nvPr/>
        </p:nvSpPr>
        <p:spPr bwMode="gray">
          <a:xfrm>
            <a:off x="471584" y="4610559"/>
            <a:ext cx="2597768" cy="1132735"/>
          </a:xfrm>
          <a:prstGeom prst="rect">
            <a:avLst/>
          </a:prstGeom>
          <a:solidFill>
            <a:schemeClr val="bg1"/>
          </a:solidFill>
          <a:ln w="12700" algn="ctr">
            <a:solidFill>
              <a:schemeClr val="bg1">
                <a:lumMod val="75000"/>
              </a:schemeClr>
            </a:solidFill>
            <a:miter lim="800000"/>
            <a:headEnd/>
            <a:tailEnd/>
          </a:ln>
        </p:spPr>
        <p:txBody>
          <a:bodyPr tIns="18288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endParaRPr lang="en-US" sz="1000" kern="0" dirty="0">
              <a:solidFill>
                <a:prstClr val="black"/>
              </a:solidFill>
              <a:cs typeface="Arial" pitchFamily="34" charset="0"/>
            </a:endParaRPr>
          </a:p>
        </p:txBody>
      </p:sp>
      <p:sp>
        <p:nvSpPr>
          <p:cNvPr id="109" name="Text Box 60">
            <a:extLst>
              <a:ext uri="{FF2B5EF4-FFF2-40B4-BE49-F238E27FC236}">
                <a16:creationId xmlns:a16="http://schemas.microsoft.com/office/drawing/2014/main" id="{763CB90C-E357-B145-A04E-B971A60FAF2B}"/>
              </a:ext>
            </a:extLst>
          </p:cNvPr>
          <p:cNvSpPr txBox="1">
            <a:spLocks noChangeArrowheads="1"/>
          </p:cNvSpPr>
          <p:nvPr/>
        </p:nvSpPr>
        <p:spPr bwMode="gray">
          <a:xfrm>
            <a:off x="893015" y="4539516"/>
            <a:ext cx="1778802" cy="150519"/>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10" name="Rectangle 59">
            <a:extLst>
              <a:ext uri="{FF2B5EF4-FFF2-40B4-BE49-F238E27FC236}">
                <a16:creationId xmlns:a16="http://schemas.microsoft.com/office/drawing/2014/main" id="{B9E2C6A8-095D-B840-9445-177FCE7BEDF5}"/>
              </a:ext>
            </a:extLst>
          </p:cNvPr>
          <p:cNvSpPr>
            <a:spLocks noChangeArrowheads="1"/>
          </p:cNvSpPr>
          <p:nvPr/>
        </p:nvSpPr>
        <p:spPr bwMode="gray">
          <a:xfrm>
            <a:off x="3148882" y="4610559"/>
            <a:ext cx="2597768" cy="1132735"/>
          </a:xfrm>
          <a:prstGeom prst="rect">
            <a:avLst/>
          </a:prstGeom>
          <a:solidFill>
            <a:schemeClr val="bg1"/>
          </a:solidFill>
          <a:ln w="12700" algn="ctr">
            <a:solidFill>
              <a:schemeClr val="bg1">
                <a:lumMod val="75000"/>
              </a:schemeClr>
            </a:solidFill>
            <a:miter lim="800000"/>
            <a:headEnd/>
            <a:tailEnd/>
          </a:ln>
        </p:spPr>
        <p:txBody>
          <a:bodyPr tIns="18288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endParaRPr lang="en-US" sz="1000" kern="0" dirty="0">
              <a:solidFill>
                <a:prstClr val="black"/>
              </a:solidFill>
              <a:cs typeface="Arial" pitchFamily="34" charset="0"/>
            </a:endParaRPr>
          </a:p>
        </p:txBody>
      </p:sp>
      <p:sp>
        <p:nvSpPr>
          <p:cNvPr id="111" name="Text Box 60">
            <a:extLst>
              <a:ext uri="{FF2B5EF4-FFF2-40B4-BE49-F238E27FC236}">
                <a16:creationId xmlns:a16="http://schemas.microsoft.com/office/drawing/2014/main" id="{7CCEA341-38A9-F547-A56C-33CBD081A95A}"/>
              </a:ext>
            </a:extLst>
          </p:cNvPr>
          <p:cNvSpPr txBox="1">
            <a:spLocks noChangeArrowheads="1"/>
          </p:cNvSpPr>
          <p:nvPr/>
        </p:nvSpPr>
        <p:spPr bwMode="gray">
          <a:xfrm>
            <a:off x="3472313" y="4539516"/>
            <a:ext cx="1790804"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13" name="Rectangle 59">
            <a:extLst>
              <a:ext uri="{FF2B5EF4-FFF2-40B4-BE49-F238E27FC236}">
                <a16:creationId xmlns:a16="http://schemas.microsoft.com/office/drawing/2014/main" id="{553A694F-9906-CC48-9FB7-FC8F0DCE2A52}"/>
              </a:ext>
            </a:extLst>
          </p:cNvPr>
          <p:cNvSpPr>
            <a:spLocks noChangeArrowheads="1"/>
          </p:cNvSpPr>
          <p:nvPr/>
        </p:nvSpPr>
        <p:spPr bwMode="gray">
          <a:xfrm>
            <a:off x="5826180" y="4610559"/>
            <a:ext cx="2597768" cy="1132735"/>
          </a:xfrm>
          <a:prstGeom prst="rect">
            <a:avLst/>
          </a:prstGeom>
          <a:solidFill>
            <a:schemeClr val="bg1"/>
          </a:solidFill>
          <a:ln w="12700" algn="ctr">
            <a:solidFill>
              <a:schemeClr val="bg1">
                <a:lumMod val="75000"/>
              </a:schemeClr>
            </a:solidFill>
            <a:miter lim="800000"/>
            <a:headEnd/>
            <a:tailEnd/>
          </a:ln>
        </p:spPr>
        <p:txBody>
          <a:bodyPr tIns="18288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endParaRPr lang="en-US" sz="1000" kern="0" dirty="0">
              <a:solidFill>
                <a:prstClr val="black"/>
              </a:solidFill>
              <a:cs typeface="Arial" pitchFamily="34" charset="0"/>
            </a:endParaRPr>
          </a:p>
        </p:txBody>
      </p:sp>
      <p:sp>
        <p:nvSpPr>
          <p:cNvPr id="114" name="Text Box 60">
            <a:extLst>
              <a:ext uri="{FF2B5EF4-FFF2-40B4-BE49-F238E27FC236}">
                <a16:creationId xmlns:a16="http://schemas.microsoft.com/office/drawing/2014/main" id="{E7ED4352-0212-444D-A52E-88C4DEA08FC2}"/>
              </a:ext>
            </a:extLst>
          </p:cNvPr>
          <p:cNvSpPr txBox="1">
            <a:spLocks noChangeArrowheads="1"/>
          </p:cNvSpPr>
          <p:nvPr/>
        </p:nvSpPr>
        <p:spPr bwMode="gray">
          <a:xfrm>
            <a:off x="6246849" y="4539516"/>
            <a:ext cx="1669092"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cxnSp>
        <p:nvCxnSpPr>
          <p:cNvPr id="63" name="Straight Connector 62">
            <a:extLst>
              <a:ext uri="{FF2B5EF4-FFF2-40B4-BE49-F238E27FC236}">
                <a16:creationId xmlns:a16="http://schemas.microsoft.com/office/drawing/2014/main" id="{4924AB97-824B-1446-95FF-FFD98D0C3EC2}"/>
              </a:ext>
            </a:extLst>
          </p:cNvPr>
          <p:cNvCxnSpPr>
            <a:cxnSpLocks/>
          </p:cNvCxnSpPr>
          <p:nvPr/>
        </p:nvCxnSpPr>
        <p:spPr>
          <a:xfrm>
            <a:off x="2188474" y="2585730"/>
            <a:ext cx="0" cy="255317"/>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39" name="Group 138">
            <a:extLst>
              <a:ext uri="{FF2B5EF4-FFF2-40B4-BE49-F238E27FC236}">
                <a16:creationId xmlns:a16="http://schemas.microsoft.com/office/drawing/2014/main" id="{39688DE8-C573-8A47-82FA-6DA7C9E0BE83}"/>
              </a:ext>
            </a:extLst>
          </p:cNvPr>
          <p:cNvGrpSpPr/>
          <p:nvPr/>
        </p:nvGrpSpPr>
        <p:grpSpPr>
          <a:xfrm>
            <a:off x="1782416" y="3957330"/>
            <a:ext cx="5287377" cy="524729"/>
            <a:chOff x="1782416" y="4167192"/>
            <a:chExt cx="5287377" cy="524729"/>
          </a:xfrm>
        </p:grpSpPr>
        <p:cxnSp>
          <p:nvCxnSpPr>
            <p:cNvPr id="130" name="Straight Connector 129">
              <a:extLst>
                <a:ext uri="{FF2B5EF4-FFF2-40B4-BE49-F238E27FC236}">
                  <a16:creationId xmlns:a16="http://schemas.microsoft.com/office/drawing/2014/main" id="{E6C025C8-7D4E-424E-A2F1-781208DF71C9}"/>
                </a:ext>
              </a:extLst>
            </p:cNvPr>
            <p:cNvCxnSpPr>
              <a:cxnSpLocks/>
            </p:cNvCxnSpPr>
            <p:nvPr/>
          </p:nvCxnSpPr>
          <p:spPr>
            <a:xfrm>
              <a:off x="1782416" y="4167192"/>
              <a:ext cx="0" cy="524729"/>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1C4DD797-5E97-4E4A-8A51-ED8848B8BC0A}"/>
                </a:ext>
              </a:extLst>
            </p:cNvPr>
            <p:cNvCxnSpPr>
              <a:cxnSpLocks/>
            </p:cNvCxnSpPr>
            <p:nvPr/>
          </p:nvCxnSpPr>
          <p:spPr>
            <a:xfrm>
              <a:off x="4381151" y="4519534"/>
              <a:ext cx="0" cy="172387"/>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6850C13-0607-AC40-85D8-A27DAE2C5D22}"/>
                </a:ext>
              </a:extLst>
            </p:cNvPr>
            <p:cNvCxnSpPr>
              <a:cxnSpLocks/>
            </p:cNvCxnSpPr>
            <p:nvPr/>
          </p:nvCxnSpPr>
          <p:spPr>
            <a:xfrm>
              <a:off x="7069793" y="4519534"/>
              <a:ext cx="0" cy="172387"/>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D98F229-AC2D-B64E-AA2B-765DE73D18CD}"/>
                </a:ext>
              </a:extLst>
            </p:cNvPr>
            <p:cNvCxnSpPr>
              <a:cxnSpLocks/>
            </p:cNvCxnSpPr>
            <p:nvPr/>
          </p:nvCxnSpPr>
          <p:spPr>
            <a:xfrm>
              <a:off x="1782416" y="4519534"/>
              <a:ext cx="5287377"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43" name="Text Box 60">
            <a:extLst>
              <a:ext uri="{FF2B5EF4-FFF2-40B4-BE49-F238E27FC236}">
                <a16:creationId xmlns:a16="http://schemas.microsoft.com/office/drawing/2014/main" id="{7E97CF58-F073-D64F-A159-6F0EB1D6D791}"/>
              </a:ext>
            </a:extLst>
          </p:cNvPr>
          <p:cNvSpPr txBox="1">
            <a:spLocks noChangeArrowheads="1"/>
          </p:cNvSpPr>
          <p:nvPr/>
        </p:nvSpPr>
        <p:spPr bwMode="gray">
          <a:xfrm>
            <a:off x="4209974" y="1717316"/>
            <a:ext cx="1782907"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148" name="Text Box 60">
            <a:extLst>
              <a:ext uri="{FF2B5EF4-FFF2-40B4-BE49-F238E27FC236}">
                <a16:creationId xmlns:a16="http://schemas.microsoft.com/office/drawing/2014/main" id="{C8CA2F78-C7B6-EF46-9B3F-F94070D64331}"/>
              </a:ext>
            </a:extLst>
          </p:cNvPr>
          <p:cNvSpPr txBox="1">
            <a:spLocks noChangeArrowheads="1"/>
          </p:cNvSpPr>
          <p:nvPr/>
        </p:nvSpPr>
        <p:spPr bwMode="gray">
          <a:xfrm>
            <a:off x="6712464" y="1717316"/>
            <a:ext cx="1782907" cy="153888"/>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spcBef>
                <a:spcPts val="200"/>
              </a:spcBef>
              <a:buSzPct val="100000"/>
              <a:defRPr/>
            </a:pPr>
            <a:r>
              <a:rPr lang="da-DK" sz="1000" b="1" dirty="0"/>
              <a:t>Lorem ipsum dolor sit amet, </a:t>
            </a:r>
            <a:endParaRPr lang="en-US" sz="1000" b="1" dirty="0"/>
          </a:p>
        </p:txBody>
      </p:sp>
      <p:sp>
        <p:nvSpPr>
          <p:cNvPr id="149" name="Text Box 60">
            <a:extLst>
              <a:ext uri="{FF2B5EF4-FFF2-40B4-BE49-F238E27FC236}">
                <a16:creationId xmlns:a16="http://schemas.microsoft.com/office/drawing/2014/main" id="{603D581B-2252-7949-919C-C54014D4287D}"/>
              </a:ext>
            </a:extLst>
          </p:cNvPr>
          <p:cNvSpPr txBox="1">
            <a:spLocks noChangeArrowheads="1"/>
          </p:cNvSpPr>
          <p:nvPr/>
        </p:nvSpPr>
        <p:spPr bwMode="gray">
          <a:xfrm>
            <a:off x="9249718" y="1717316"/>
            <a:ext cx="2014026" cy="153888"/>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spcBef>
                <a:spcPts val="200"/>
              </a:spcBef>
              <a:buSzPct val="100000"/>
              <a:defRPr/>
            </a:pPr>
            <a:r>
              <a:rPr lang="da-DK" sz="1000" b="1" dirty="0"/>
              <a:t>Lorem ipsum dolor sit amet, </a:t>
            </a:r>
            <a:endParaRPr lang="en-US" sz="1000" b="1" dirty="0"/>
          </a:p>
        </p:txBody>
      </p:sp>
      <p:sp>
        <p:nvSpPr>
          <p:cNvPr id="60" name="Rectangle 72">
            <a:extLst>
              <a:ext uri="{FF2B5EF4-FFF2-40B4-BE49-F238E27FC236}">
                <a16:creationId xmlns:a16="http://schemas.microsoft.com/office/drawing/2014/main" id="{73CEFF90-DAFF-1C40-BE64-2FEF8F7B8D2B}"/>
              </a:ext>
            </a:extLst>
          </p:cNvPr>
          <p:cNvSpPr>
            <a:spLocks noChangeArrowheads="1"/>
          </p:cNvSpPr>
          <p:nvPr/>
        </p:nvSpPr>
        <p:spPr bwMode="gray">
          <a:xfrm>
            <a:off x="10162225" y="5952046"/>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61" name="Rectangle 72">
            <a:extLst>
              <a:ext uri="{FF2B5EF4-FFF2-40B4-BE49-F238E27FC236}">
                <a16:creationId xmlns:a16="http://schemas.microsoft.com/office/drawing/2014/main" id="{41D2754D-5C3E-AF49-BEC1-57D74D5BE4D0}"/>
              </a:ext>
            </a:extLst>
          </p:cNvPr>
          <p:cNvSpPr>
            <a:spLocks noChangeArrowheads="1"/>
          </p:cNvSpPr>
          <p:nvPr/>
        </p:nvSpPr>
        <p:spPr bwMode="gray">
          <a:xfrm>
            <a:off x="10158729" y="5736623"/>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C</a:t>
            </a:r>
          </a:p>
        </p:txBody>
      </p:sp>
      <p:sp>
        <p:nvSpPr>
          <p:cNvPr id="62" name="Rectangle 72">
            <a:extLst>
              <a:ext uri="{FF2B5EF4-FFF2-40B4-BE49-F238E27FC236}">
                <a16:creationId xmlns:a16="http://schemas.microsoft.com/office/drawing/2014/main" id="{1BA393FE-52E9-8840-B6DB-582918A1957C}"/>
              </a:ext>
            </a:extLst>
          </p:cNvPr>
          <p:cNvSpPr>
            <a:spLocks noChangeArrowheads="1"/>
          </p:cNvSpPr>
          <p:nvPr/>
        </p:nvSpPr>
        <p:spPr bwMode="gray">
          <a:xfrm>
            <a:off x="831707" y="2219562"/>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64" name="Rectangle 72">
            <a:extLst>
              <a:ext uri="{FF2B5EF4-FFF2-40B4-BE49-F238E27FC236}">
                <a16:creationId xmlns:a16="http://schemas.microsoft.com/office/drawing/2014/main" id="{799CF1D5-10B0-FD45-943F-32A839262332}"/>
              </a:ext>
            </a:extLst>
          </p:cNvPr>
          <p:cNvSpPr>
            <a:spLocks noChangeArrowheads="1"/>
          </p:cNvSpPr>
          <p:nvPr/>
        </p:nvSpPr>
        <p:spPr bwMode="gray">
          <a:xfrm>
            <a:off x="828211" y="2004139"/>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C</a:t>
            </a:r>
          </a:p>
        </p:txBody>
      </p:sp>
      <p:sp>
        <p:nvSpPr>
          <p:cNvPr id="65" name="Rectangle 72">
            <a:extLst>
              <a:ext uri="{FF2B5EF4-FFF2-40B4-BE49-F238E27FC236}">
                <a16:creationId xmlns:a16="http://schemas.microsoft.com/office/drawing/2014/main" id="{D4CC97A9-E3D2-414B-A345-CCF4EA33D4FE}"/>
              </a:ext>
            </a:extLst>
          </p:cNvPr>
          <p:cNvSpPr>
            <a:spLocks noChangeArrowheads="1"/>
          </p:cNvSpPr>
          <p:nvPr/>
        </p:nvSpPr>
        <p:spPr bwMode="gray">
          <a:xfrm>
            <a:off x="831707" y="3377802"/>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67" name="Rectangle 72">
            <a:extLst>
              <a:ext uri="{FF2B5EF4-FFF2-40B4-BE49-F238E27FC236}">
                <a16:creationId xmlns:a16="http://schemas.microsoft.com/office/drawing/2014/main" id="{231CDAED-729D-5446-BA2E-31C5045D7724}"/>
              </a:ext>
            </a:extLst>
          </p:cNvPr>
          <p:cNvSpPr>
            <a:spLocks noChangeArrowheads="1"/>
          </p:cNvSpPr>
          <p:nvPr/>
        </p:nvSpPr>
        <p:spPr bwMode="gray">
          <a:xfrm>
            <a:off x="828211" y="3162379"/>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C</a:t>
            </a:r>
          </a:p>
        </p:txBody>
      </p:sp>
      <p:sp>
        <p:nvSpPr>
          <p:cNvPr id="69" name="Rectangle 72">
            <a:extLst>
              <a:ext uri="{FF2B5EF4-FFF2-40B4-BE49-F238E27FC236}">
                <a16:creationId xmlns:a16="http://schemas.microsoft.com/office/drawing/2014/main" id="{347E9C45-9FBC-6F46-93A2-AC885276F935}"/>
              </a:ext>
            </a:extLst>
          </p:cNvPr>
          <p:cNvSpPr>
            <a:spLocks noChangeArrowheads="1"/>
          </p:cNvSpPr>
          <p:nvPr/>
        </p:nvSpPr>
        <p:spPr bwMode="gray">
          <a:xfrm>
            <a:off x="831707" y="3595980"/>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0" name="Rectangle 72">
            <a:extLst>
              <a:ext uri="{FF2B5EF4-FFF2-40B4-BE49-F238E27FC236}">
                <a16:creationId xmlns:a16="http://schemas.microsoft.com/office/drawing/2014/main" id="{7BFB8D59-D3CD-E64A-9C3E-FEAE8C185E2F}"/>
              </a:ext>
            </a:extLst>
          </p:cNvPr>
          <p:cNvSpPr>
            <a:spLocks noChangeArrowheads="1"/>
          </p:cNvSpPr>
          <p:nvPr/>
        </p:nvSpPr>
        <p:spPr bwMode="gray">
          <a:xfrm>
            <a:off x="606807" y="4787179"/>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4" name="Rectangle 72">
            <a:extLst>
              <a:ext uri="{FF2B5EF4-FFF2-40B4-BE49-F238E27FC236}">
                <a16:creationId xmlns:a16="http://schemas.microsoft.com/office/drawing/2014/main" id="{86325841-EECB-BC4D-86BD-FB0A482C0D04}"/>
              </a:ext>
            </a:extLst>
          </p:cNvPr>
          <p:cNvSpPr>
            <a:spLocks noChangeArrowheads="1"/>
          </p:cNvSpPr>
          <p:nvPr/>
        </p:nvSpPr>
        <p:spPr bwMode="gray">
          <a:xfrm>
            <a:off x="606807" y="4999052"/>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5" name="Rectangle 72">
            <a:extLst>
              <a:ext uri="{FF2B5EF4-FFF2-40B4-BE49-F238E27FC236}">
                <a16:creationId xmlns:a16="http://schemas.microsoft.com/office/drawing/2014/main" id="{6E0080B3-73B0-1D40-ADE2-D054CF04D8E9}"/>
              </a:ext>
            </a:extLst>
          </p:cNvPr>
          <p:cNvSpPr>
            <a:spLocks noChangeArrowheads="1"/>
          </p:cNvSpPr>
          <p:nvPr/>
        </p:nvSpPr>
        <p:spPr bwMode="gray">
          <a:xfrm>
            <a:off x="606807" y="5205349"/>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7" name="Rectangle 72">
            <a:extLst>
              <a:ext uri="{FF2B5EF4-FFF2-40B4-BE49-F238E27FC236}">
                <a16:creationId xmlns:a16="http://schemas.microsoft.com/office/drawing/2014/main" id="{995D394B-320B-C747-8A07-8DEB7F475A7F}"/>
              </a:ext>
            </a:extLst>
          </p:cNvPr>
          <p:cNvSpPr>
            <a:spLocks noChangeArrowheads="1"/>
          </p:cNvSpPr>
          <p:nvPr/>
        </p:nvSpPr>
        <p:spPr bwMode="gray">
          <a:xfrm>
            <a:off x="3293300" y="4787179"/>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8" name="Rectangle 72">
            <a:extLst>
              <a:ext uri="{FF2B5EF4-FFF2-40B4-BE49-F238E27FC236}">
                <a16:creationId xmlns:a16="http://schemas.microsoft.com/office/drawing/2014/main" id="{0B83B52B-3664-7D44-B344-C4D14DFE0AC0}"/>
              </a:ext>
            </a:extLst>
          </p:cNvPr>
          <p:cNvSpPr>
            <a:spLocks noChangeArrowheads="1"/>
          </p:cNvSpPr>
          <p:nvPr/>
        </p:nvSpPr>
        <p:spPr bwMode="gray">
          <a:xfrm>
            <a:off x="3293300" y="499745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9" name="Rectangle 72">
            <a:extLst>
              <a:ext uri="{FF2B5EF4-FFF2-40B4-BE49-F238E27FC236}">
                <a16:creationId xmlns:a16="http://schemas.microsoft.com/office/drawing/2014/main" id="{FF29C060-832A-674A-A844-185DD939E36F}"/>
              </a:ext>
            </a:extLst>
          </p:cNvPr>
          <p:cNvSpPr>
            <a:spLocks noChangeArrowheads="1"/>
          </p:cNvSpPr>
          <p:nvPr/>
        </p:nvSpPr>
        <p:spPr bwMode="gray">
          <a:xfrm>
            <a:off x="3293300" y="5207727"/>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0" name="Rectangle 72">
            <a:extLst>
              <a:ext uri="{FF2B5EF4-FFF2-40B4-BE49-F238E27FC236}">
                <a16:creationId xmlns:a16="http://schemas.microsoft.com/office/drawing/2014/main" id="{626AD535-C1DA-014D-8AD6-9638CBE951C5}"/>
              </a:ext>
            </a:extLst>
          </p:cNvPr>
          <p:cNvSpPr>
            <a:spLocks noChangeArrowheads="1"/>
          </p:cNvSpPr>
          <p:nvPr/>
        </p:nvSpPr>
        <p:spPr bwMode="gray">
          <a:xfrm>
            <a:off x="3293300" y="5418000"/>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1" name="Rectangle 72">
            <a:extLst>
              <a:ext uri="{FF2B5EF4-FFF2-40B4-BE49-F238E27FC236}">
                <a16:creationId xmlns:a16="http://schemas.microsoft.com/office/drawing/2014/main" id="{C76352C1-11EC-B74F-A6F5-FBE76BA22A40}"/>
              </a:ext>
            </a:extLst>
          </p:cNvPr>
          <p:cNvSpPr>
            <a:spLocks noChangeArrowheads="1"/>
          </p:cNvSpPr>
          <p:nvPr/>
        </p:nvSpPr>
        <p:spPr bwMode="gray">
          <a:xfrm>
            <a:off x="5979793" y="4787179"/>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2" name="Rectangle 72">
            <a:extLst>
              <a:ext uri="{FF2B5EF4-FFF2-40B4-BE49-F238E27FC236}">
                <a16:creationId xmlns:a16="http://schemas.microsoft.com/office/drawing/2014/main" id="{B98DAAB4-B701-D741-8684-BD5155603E96}"/>
              </a:ext>
            </a:extLst>
          </p:cNvPr>
          <p:cNvSpPr>
            <a:spLocks noChangeArrowheads="1"/>
          </p:cNvSpPr>
          <p:nvPr/>
        </p:nvSpPr>
        <p:spPr bwMode="gray">
          <a:xfrm>
            <a:off x="5979793" y="499745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3" name="Rectangle 72">
            <a:extLst>
              <a:ext uri="{FF2B5EF4-FFF2-40B4-BE49-F238E27FC236}">
                <a16:creationId xmlns:a16="http://schemas.microsoft.com/office/drawing/2014/main" id="{5E66D3AC-541F-194A-A0E6-7CC6A3D4E179}"/>
              </a:ext>
            </a:extLst>
          </p:cNvPr>
          <p:cNvSpPr>
            <a:spLocks noChangeArrowheads="1"/>
          </p:cNvSpPr>
          <p:nvPr/>
        </p:nvSpPr>
        <p:spPr bwMode="gray">
          <a:xfrm>
            <a:off x="5979793" y="5207727"/>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4" name="Rectangle 72">
            <a:extLst>
              <a:ext uri="{FF2B5EF4-FFF2-40B4-BE49-F238E27FC236}">
                <a16:creationId xmlns:a16="http://schemas.microsoft.com/office/drawing/2014/main" id="{90738D1A-23B4-BA40-B112-BA0B24BAD8E4}"/>
              </a:ext>
            </a:extLst>
          </p:cNvPr>
          <p:cNvSpPr>
            <a:spLocks noChangeArrowheads="1"/>
          </p:cNvSpPr>
          <p:nvPr/>
        </p:nvSpPr>
        <p:spPr bwMode="gray">
          <a:xfrm>
            <a:off x="5979793" y="5418000"/>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Tree>
    <p:custDataLst>
      <p:tags r:id="rId1"/>
    </p:custDataLst>
    <p:extLst>
      <p:ext uri="{BB962C8B-B14F-4D97-AF65-F5344CB8AC3E}">
        <p14:creationId xmlns:p14="http://schemas.microsoft.com/office/powerpoint/2010/main" val="3323133767"/>
      </p:ext>
    </p:extLst>
  </p:cSld>
  <p:clrMapOvr>
    <a:masterClrMapping/>
  </p:clrMapOvr>
  <mc:AlternateContent xmlns:mc="http://schemas.openxmlformats.org/markup-compatibility/2006" xmlns:p14="http://schemas.microsoft.com/office/powerpoint/2010/main">
    <mc:Choice Requires="p14">
      <p:transition p14:dur="0"/>
    </mc:Choice>
    <mc:Fallback xmlns:a16="http://schemas.microsoft.com/office/drawing/2014/main" xmlns="">
      <p:transition/>
    </mc:Fallback>
  </mc:AlternateContent>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1" name="Straight Connector 160">
            <a:extLst>
              <a:ext uri="{FF2B5EF4-FFF2-40B4-BE49-F238E27FC236}">
                <a16:creationId xmlns:a16="http://schemas.microsoft.com/office/drawing/2014/main" id="{3EDDEEE4-CB1F-224C-BD2D-1CFBDBA62351}"/>
              </a:ext>
            </a:extLst>
          </p:cNvPr>
          <p:cNvCxnSpPr>
            <a:cxnSpLocks/>
          </p:cNvCxnSpPr>
          <p:nvPr/>
        </p:nvCxnSpPr>
        <p:spPr>
          <a:xfrm>
            <a:off x="2013463" y="2104524"/>
            <a:ext cx="5079676"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7" name="Rectangle 23">
            <a:extLst>
              <a:ext uri="{FF2B5EF4-FFF2-40B4-BE49-F238E27FC236}">
                <a16:creationId xmlns:a16="http://schemas.microsoft.com/office/drawing/2014/main" id="{C00A290A-D973-CF40-AA77-89BE63C002BB}"/>
              </a:ext>
            </a:extLst>
          </p:cNvPr>
          <p:cNvSpPr>
            <a:spLocks noChangeArrowheads="1"/>
          </p:cNvSpPr>
          <p:nvPr/>
        </p:nvSpPr>
        <p:spPr bwMode="gray">
          <a:xfrm>
            <a:off x="469899" y="5100637"/>
            <a:ext cx="7408249" cy="454985"/>
          </a:xfrm>
          <a:prstGeom prst="rect">
            <a:avLst/>
          </a:prstGeom>
          <a:noFill/>
          <a:ln w="28575">
            <a:solidFill>
              <a:schemeClr val="accent5"/>
            </a:solidFill>
            <a:miter lim="800000"/>
            <a:headEnd/>
            <a:tailEnd/>
          </a:ln>
          <a:effectLst/>
        </p:spPr>
        <p:txBody>
          <a:bodyPr wrap="none" lIns="91429" tIns="45714" rIns="45714" bIns="45714" anchor="ctr"/>
          <a:lstStyle/>
          <a:p>
            <a:pPr algn="ctr">
              <a:spcBef>
                <a:spcPct val="50000"/>
              </a:spcBef>
              <a:buSzPct val="100000"/>
              <a:defRPr/>
            </a:pPr>
            <a:r>
              <a:rPr lang="da-DK" sz="1000" b="1" dirty="0">
                <a:solidFill>
                  <a:schemeClr val="accent5"/>
                </a:solidFill>
              </a:rPr>
              <a:t>Lorem ipsum dolor sit amet, </a:t>
            </a:r>
            <a:endParaRPr lang="en-US" sz="1000" b="1" kern="0" dirty="0">
              <a:solidFill>
                <a:schemeClr val="accent5"/>
              </a:solidFill>
              <a:cs typeface="Arial" pitchFamily="34" charset="0"/>
            </a:endParaRPr>
          </a:p>
        </p:txBody>
      </p:sp>
      <p:sp>
        <p:nvSpPr>
          <p:cNvPr id="90" name="Rectangle 89">
            <a:extLst>
              <a:ext uri="{FF2B5EF4-FFF2-40B4-BE49-F238E27FC236}">
                <a16:creationId xmlns:a16="http://schemas.microsoft.com/office/drawing/2014/main" id="{8BAD397C-BFC7-1B49-BDC7-4A65F342BD37}"/>
              </a:ext>
            </a:extLst>
          </p:cNvPr>
          <p:cNvSpPr/>
          <p:nvPr/>
        </p:nvSpPr>
        <p:spPr bwMode="gray">
          <a:xfrm>
            <a:off x="1677521" y="6262615"/>
            <a:ext cx="554932" cy="14688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en-US" sz="800" kern="0" dirty="0">
                <a:solidFill>
                  <a:prstClr val="black"/>
                </a:solidFill>
              </a:rPr>
              <a:t>Lorem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100" name="Rectangle 99">
            <a:extLst>
              <a:ext uri="{FF2B5EF4-FFF2-40B4-BE49-F238E27FC236}">
                <a16:creationId xmlns:a16="http://schemas.microsoft.com/office/drawing/2014/main" id="{F4B11D16-908E-6B48-8C2C-3BE8E16DA735}"/>
              </a:ext>
            </a:extLst>
          </p:cNvPr>
          <p:cNvSpPr/>
          <p:nvPr/>
        </p:nvSpPr>
        <p:spPr bwMode="gray">
          <a:xfrm>
            <a:off x="875164" y="6271303"/>
            <a:ext cx="577485" cy="133874"/>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en-US" sz="800" kern="0" dirty="0">
                <a:solidFill>
                  <a:prstClr val="black"/>
                </a:solidFill>
              </a:rPr>
              <a:t>Lorem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101" name="Rectangle 100">
            <a:extLst>
              <a:ext uri="{FF2B5EF4-FFF2-40B4-BE49-F238E27FC236}">
                <a16:creationId xmlns:a16="http://schemas.microsoft.com/office/drawing/2014/main" id="{A20A488C-06A5-7A4E-B5B1-F2DD3FDE1881}"/>
              </a:ext>
            </a:extLst>
          </p:cNvPr>
          <p:cNvSpPr/>
          <p:nvPr/>
        </p:nvSpPr>
        <p:spPr bwMode="gray">
          <a:xfrm>
            <a:off x="462804" y="6100017"/>
            <a:ext cx="2820432" cy="452269"/>
          </a:xfrm>
          <a:prstGeom prst="rect">
            <a:avLst/>
          </a:prstGeom>
          <a:noFill/>
          <a:ln w="12700" algn="ctr">
            <a:solidFill>
              <a:schemeClr val="bg1">
                <a:lumMod val="7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103" name="TextBox 77">
            <a:extLst>
              <a:ext uri="{FF2B5EF4-FFF2-40B4-BE49-F238E27FC236}">
                <a16:creationId xmlns:a16="http://schemas.microsoft.com/office/drawing/2014/main" id="{31DB1139-2E75-EC48-A17F-B67F2F130F40}"/>
              </a:ext>
            </a:extLst>
          </p:cNvPr>
          <p:cNvSpPr txBox="1">
            <a:spLocks noChangeArrowheads="1"/>
          </p:cNvSpPr>
          <p:nvPr/>
        </p:nvSpPr>
        <p:spPr bwMode="gray">
          <a:xfrm>
            <a:off x="586221" y="6025648"/>
            <a:ext cx="550835" cy="153888"/>
          </a:xfrm>
          <a:prstGeom prst="rect">
            <a:avLst/>
          </a:prstGeom>
          <a:solidFill>
            <a:schemeClr val="bg1"/>
          </a:solidFill>
          <a:ln>
            <a:noFill/>
          </a:ln>
        </p:spPr>
        <p:txBody>
          <a:bodyPr wrap="square" lIns="45720" tIns="0" rIns="0" bIns="0" anchor="ctr">
            <a:spAutoFit/>
          </a:bodyPr>
          <a:lstStyle>
            <a:lvl1pPr>
              <a:defRPr sz="1100" b="1">
                <a:solidFill>
                  <a:schemeClr val="tx1"/>
                </a:solidFill>
                <a:latin typeface="Arial" charset="0"/>
                <a:ea typeface="ＭＳ Ｐゴシック" pitchFamily="34" charset="-128"/>
              </a:defRPr>
            </a:lvl1pPr>
            <a:lvl2pPr marL="742950" indent="-285750">
              <a:defRPr sz="1100" b="1">
                <a:solidFill>
                  <a:schemeClr val="tx1"/>
                </a:solidFill>
                <a:latin typeface="Arial" charset="0"/>
                <a:ea typeface="ＭＳ Ｐゴシック" pitchFamily="34" charset="-128"/>
              </a:defRPr>
            </a:lvl2pPr>
            <a:lvl3pPr marL="1143000" indent="-228600">
              <a:defRPr sz="1100" b="1">
                <a:solidFill>
                  <a:schemeClr val="tx1"/>
                </a:solidFill>
                <a:latin typeface="Arial" charset="0"/>
                <a:ea typeface="ＭＳ Ｐゴシック" pitchFamily="34" charset="-128"/>
              </a:defRPr>
            </a:lvl3pPr>
            <a:lvl4pPr marL="1600200" indent="-228600">
              <a:defRPr sz="1100" b="1">
                <a:solidFill>
                  <a:schemeClr val="tx1"/>
                </a:solidFill>
                <a:latin typeface="Arial" charset="0"/>
                <a:ea typeface="ＭＳ Ｐゴシック" pitchFamily="34" charset="-128"/>
              </a:defRPr>
            </a:lvl4pPr>
            <a:lvl5pPr marL="2057400" indent="-228600">
              <a:defRPr sz="1100" b="1">
                <a:solidFill>
                  <a:schemeClr val="tx1"/>
                </a:solidFill>
                <a:latin typeface="Arial" charset="0"/>
                <a:ea typeface="ＭＳ Ｐゴシック" pitchFamily="34" charset="-128"/>
              </a:defRPr>
            </a:lvl5pPr>
            <a:lvl6pPr marL="25146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6pPr>
            <a:lvl7pPr marL="29718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7pPr>
            <a:lvl8pPr marL="34290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8pPr>
            <a:lvl9pPr marL="38862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9pPr>
          </a:lstStyle>
          <a:p>
            <a:pPr marL="0" marR="0" lvl="0" indent="0" algn="l" defTabSz="914400" rtl="0" eaLnBrk="1" fontAlgn="auto" latinLnBrk="0" hangingPunct="1">
              <a:lnSpc>
                <a:spcPct val="100000"/>
              </a:lnSpc>
              <a:spcBef>
                <a:spcPts val="0"/>
              </a:spcBef>
              <a:spcAft>
                <a:spcPts val="0"/>
              </a:spcAft>
              <a:buClrTx/>
              <a:buSzPct val="100000"/>
              <a:buFont typeface="Wingdings 2" pitchFamily="18" charset="2"/>
              <a:buNone/>
              <a:tabLst/>
              <a:defRPr/>
            </a:pPr>
            <a:r>
              <a:rPr kumimoji="0" lang="en-US" sz="1000" b="1" i="0" u="none" strike="noStrike" kern="1200" cap="none" spc="0" normalizeH="0" baseline="0" noProof="0" dirty="0">
                <a:ln>
                  <a:noFill/>
                </a:ln>
                <a:effectLst/>
                <a:uLnTx/>
                <a:uFillTx/>
                <a:latin typeface="Open Sans"/>
                <a:ea typeface="ＭＳ Ｐゴシック" pitchFamily="34" charset="-128"/>
                <a:cs typeface="Arial" pitchFamily="34" charset="0"/>
              </a:rPr>
              <a:t>Legend</a:t>
            </a:r>
          </a:p>
        </p:txBody>
      </p:sp>
      <p:sp>
        <p:nvSpPr>
          <p:cNvPr id="105" name="Rectangle 104">
            <a:extLst>
              <a:ext uri="{FF2B5EF4-FFF2-40B4-BE49-F238E27FC236}">
                <a16:creationId xmlns:a16="http://schemas.microsoft.com/office/drawing/2014/main" id="{1B02D5E8-D923-664D-9BDD-746E23353727}"/>
              </a:ext>
            </a:extLst>
          </p:cNvPr>
          <p:cNvSpPr/>
          <p:nvPr/>
        </p:nvSpPr>
        <p:spPr bwMode="gray">
          <a:xfrm>
            <a:off x="2496435" y="6261677"/>
            <a:ext cx="710046" cy="156080"/>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en-US" sz="800" kern="0" dirty="0">
                <a:solidFill>
                  <a:prstClr val="black"/>
                </a:solidFill>
              </a:rPr>
              <a:t>Lorem </a:t>
            </a:r>
            <a:endParaRPr kumimoji="0" lang="en-US" sz="800" b="0" i="0" u="none" strike="noStrike" kern="0" cap="none" spc="0" normalizeH="0" baseline="0" noProof="0" dirty="0">
              <a:ln>
                <a:noFill/>
              </a:ln>
              <a:solidFill>
                <a:prstClr val="black"/>
              </a:solidFill>
              <a:effectLst/>
              <a:uLnTx/>
              <a:uFillTx/>
              <a:ea typeface="+mn-ea"/>
              <a:cs typeface="+mn-cs"/>
            </a:endParaRPr>
          </a:p>
        </p:txBody>
      </p:sp>
      <p:cxnSp>
        <p:nvCxnSpPr>
          <p:cNvPr id="115" name="Straight Connector 114">
            <a:extLst>
              <a:ext uri="{FF2B5EF4-FFF2-40B4-BE49-F238E27FC236}">
                <a16:creationId xmlns:a16="http://schemas.microsoft.com/office/drawing/2014/main" id="{6D90E07C-A6CB-6947-A0FD-1710A4CFDA9B}"/>
              </a:ext>
            </a:extLst>
          </p:cNvPr>
          <p:cNvCxnSpPr>
            <a:cxnSpLocks/>
          </p:cNvCxnSpPr>
          <p:nvPr/>
        </p:nvCxnSpPr>
        <p:spPr>
          <a:xfrm>
            <a:off x="469900" y="1387404"/>
            <a:ext cx="738677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7A19901A-0DA9-D540-B16A-A26879C920EE}"/>
              </a:ext>
            </a:extLst>
          </p:cNvPr>
          <p:cNvSpPr txBox="1"/>
          <p:nvPr/>
        </p:nvSpPr>
        <p:spPr>
          <a:xfrm>
            <a:off x="469899" y="1264927"/>
            <a:ext cx="3410831" cy="215444"/>
          </a:xfrm>
          <a:prstGeom prst="rect">
            <a:avLst/>
          </a:prstGeom>
          <a:solidFill>
            <a:schemeClr val="bg1"/>
          </a:solidFill>
        </p:spPr>
        <p:txBody>
          <a:bodyPr vert="horz" wrap="square" lIns="0" tIns="0" rIns="0" bIns="0" rtlCol="0" anchor="t" anchorCtr="0">
            <a:spAutoFit/>
          </a:bodyPr>
          <a:lstStyle/>
          <a:p>
            <a:pPr lvl="0">
              <a:spcBef>
                <a:spcPts val="200"/>
              </a:spcBef>
              <a:buSzPct val="100000"/>
              <a:defRPr/>
            </a:pPr>
            <a:r>
              <a:rPr lang="da-DK" sz="1400" b="1" dirty="0">
                <a:solidFill>
                  <a:srgbClr val="000000"/>
                </a:solidFill>
                <a:latin typeface="Open Sans"/>
              </a:rPr>
              <a:t>Lorem ipsum dolor sit amet, </a:t>
            </a: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117" name="Straight Connector 116">
            <a:extLst>
              <a:ext uri="{FF2B5EF4-FFF2-40B4-BE49-F238E27FC236}">
                <a16:creationId xmlns:a16="http://schemas.microsoft.com/office/drawing/2014/main" id="{DF3BB37F-E4BB-5B49-AB11-6565FE6D8EEA}"/>
              </a:ext>
            </a:extLst>
          </p:cNvPr>
          <p:cNvCxnSpPr>
            <a:cxnSpLocks/>
          </p:cNvCxnSpPr>
          <p:nvPr/>
        </p:nvCxnSpPr>
        <p:spPr>
          <a:xfrm>
            <a:off x="8650224" y="1387404"/>
            <a:ext cx="307187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C82E7255-8E5B-D944-9E21-39CE65DE017B}"/>
              </a:ext>
            </a:extLst>
          </p:cNvPr>
          <p:cNvSpPr txBox="1"/>
          <p:nvPr/>
        </p:nvSpPr>
        <p:spPr>
          <a:xfrm>
            <a:off x="8194495" y="1264927"/>
            <a:ext cx="2445796" cy="215444"/>
          </a:xfrm>
          <a:prstGeom prst="rect">
            <a:avLst/>
          </a:prstGeom>
          <a:solidFill>
            <a:schemeClr val="bg1"/>
          </a:solidFill>
        </p:spPr>
        <p:txBody>
          <a:bodyPr vert="horz" wrap="square" lIns="0" tIns="0" rIns="0" bIns="0" rtlCol="0" anchor="t" anchorCtr="0">
            <a:spAutoFit/>
          </a:bodyPr>
          <a:lstStyle/>
          <a:p>
            <a:pPr lvl="0">
              <a:spcBef>
                <a:spcPts val="200"/>
              </a:spcBef>
              <a:buSzPct val="100000"/>
              <a:defRPr/>
            </a:pPr>
            <a:r>
              <a:rPr lang="da-DK" sz="1400" b="1" dirty="0">
                <a:solidFill>
                  <a:srgbClr val="000000"/>
                </a:solidFill>
              </a:rPr>
              <a:t>Lorem ipsum dolor sit amet, </a:t>
            </a:r>
            <a:endParaRPr lang="en-US" sz="1400" b="1" dirty="0">
              <a:solidFill>
                <a:srgbClr val="000000"/>
              </a:solidFill>
            </a:endParaRPr>
          </a:p>
        </p:txBody>
      </p:sp>
      <p:sp>
        <p:nvSpPr>
          <p:cNvPr id="119" name="Rectangle 59">
            <a:extLst>
              <a:ext uri="{FF2B5EF4-FFF2-40B4-BE49-F238E27FC236}">
                <a16:creationId xmlns:a16="http://schemas.microsoft.com/office/drawing/2014/main" id="{A994312F-8AFB-DD47-A65F-930DB6FA6C16}"/>
              </a:ext>
            </a:extLst>
          </p:cNvPr>
          <p:cNvSpPr>
            <a:spLocks noChangeArrowheads="1"/>
          </p:cNvSpPr>
          <p:nvPr/>
        </p:nvSpPr>
        <p:spPr bwMode="gray">
          <a:xfrm>
            <a:off x="465058" y="1712924"/>
            <a:ext cx="2235041"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p:txBody>
      </p:sp>
      <p:sp>
        <p:nvSpPr>
          <p:cNvPr id="120" name="Text Box 60">
            <a:extLst>
              <a:ext uri="{FF2B5EF4-FFF2-40B4-BE49-F238E27FC236}">
                <a16:creationId xmlns:a16="http://schemas.microsoft.com/office/drawing/2014/main" id="{4FCE7DCD-F337-5E41-AB31-20FE4270683B}"/>
              </a:ext>
            </a:extLst>
          </p:cNvPr>
          <p:cNvSpPr txBox="1">
            <a:spLocks noChangeArrowheads="1"/>
          </p:cNvSpPr>
          <p:nvPr/>
        </p:nvSpPr>
        <p:spPr bwMode="gray">
          <a:xfrm>
            <a:off x="811153" y="1641882"/>
            <a:ext cx="1233314"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24" name="Rectangle 59">
            <a:extLst>
              <a:ext uri="{FF2B5EF4-FFF2-40B4-BE49-F238E27FC236}">
                <a16:creationId xmlns:a16="http://schemas.microsoft.com/office/drawing/2014/main" id="{C17CAF6E-5995-764B-BE85-7A003B930351}"/>
              </a:ext>
            </a:extLst>
          </p:cNvPr>
          <p:cNvSpPr>
            <a:spLocks noChangeArrowheads="1"/>
          </p:cNvSpPr>
          <p:nvPr/>
        </p:nvSpPr>
        <p:spPr bwMode="gray">
          <a:xfrm>
            <a:off x="3046898" y="1712924"/>
            <a:ext cx="2235041"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p:txBody>
      </p:sp>
      <p:sp>
        <p:nvSpPr>
          <p:cNvPr id="126" name="Text Box 60">
            <a:extLst>
              <a:ext uri="{FF2B5EF4-FFF2-40B4-BE49-F238E27FC236}">
                <a16:creationId xmlns:a16="http://schemas.microsoft.com/office/drawing/2014/main" id="{5B70EEEC-FFA8-4441-83CB-4E9904539A0D}"/>
              </a:ext>
            </a:extLst>
          </p:cNvPr>
          <p:cNvSpPr txBox="1">
            <a:spLocks noChangeArrowheads="1"/>
          </p:cNvSpPr>
          <p:nvPr/>
        </p:nvSpPr>
        <p:spPr bwMode="gray">
          <a:xfrm>
            <a:off x="3393938" y="1641882"/>
            <a:ext cx="1520658" cy="292388"/>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32" name="Rectangle 59">
            <a:extLst>
              <a:ext uri="{FF2B5EF4-FFF2-40B4-BE49-F238E27FC236}">
                <a16:creationId xmlns:a16="http://schemas.microsoft.com/office/drawing/2014/main" id="{7696009D-6578-484A-B9B5-B68411DAA138}"/>
              </a:ext>
            </a:extLst>
          </p:cNvPr>
          <p:cNvSpPr>
            <a:spLocks noChangeArrowheads="1"/>
          </p:cNvSpPr>
          <p:nvPr/>
        </p:nvSpPr>
        <p:spPr bwMode="gray">
          <a:xfrm>
            <a:off x="5623002" y="1712924"/>
            <a:ext cx="2235041"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p:txBody>
      </p:sp>
      <p:sp>
        <p:nvSpPr>
          <p:cNvPr id="133" name="Text Box 60">
            <a:extLst>
              <a:ext uri="{FF2B5EF4-FFF2-40B4-BE49-F238E27FC236}">
                <a16:creationId xmlns:a16="http://schemas.microsoft.com/office/drawing/2014/main" id="{53B872D5-66CA-2149-86A2-46F9AA30EC5F}"/>
              </a:ext>
            </a:extLst>
          </p:cNvPr>
          <p:cNvSpPr txBox="1">
            <a:spLocks noChangeArrowheads="1"/>
          </p:cNvSpPr>
          <p:nvPr/>
        </p:nvSpPr>
        <p:spPr bwMode="gray">
          <a:xfrm>
            <a:off x="5965193" y="1641882"/>
            <a:ext cx="1699232"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63" name="Rectangle 59">
            <a:extLst>
              <a:ext uri="{FF2B5EF4-FFF2-40B4-BE49-F238E27FC236}">
                <a16:creationId xmlns:a16="http://schemas.microsoft.com/office/drawing/2014/main" id="{AC1AF717-5B86-B94E-BAAF-A13BA999F737}"/>
              </a:ext>
            </a:extLst>
          </p:cNvPr>
          <p:cNvSpPr>
            <a:spLocks noChangeArrowheads="1"/>
          </p:cNvSpPr>
          <p:nvPr/>
        </p:nvSpPr>
        <p:spPr bwMode="gray">
          <a:xfrm>
            <a:off x="465058" y="2897784"/>
            <a:ext cx="2235041" cy="2074578"/>
          </a:xfrm>
          <a:prstGeom prst="rect">
            <a:avLst/>
          </a:prstGeom>
          <a:solidFill>
            <a:schemeClr val="bg1"/>
          </a:solidFill>
          <a:ln w="28575" algn="ctr">
            <a:solidFill>
              <a:schemeClr val="accent5"/>
            </a:solidFill>
            <a:miter lim="800000"/>
            <a:headEnd/>
            <a:tailEnd/>
          </a:ln>
        </p:spPr>
        <p:txBody>
          <a:bodyPr tIns="13716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r>
              <a:rPr lang="da-DK" sz="1000" kern="0" dirty="0">
                <a:solidFill>
                  <a:prstClr val="black"/>
                </a:solidFill>
                <a:cs typeface="Arial" pitchFamily="34" charset="0"/>
              </a:rPr>
              <a:t>Lorem ipsum dolor sit amet,</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p:txBody>
      </p:sp>
      <p:sp>
        <p:nvSpPr>
          <p:cNvPr id="164" name="Text Box 60">
            <a:extLst>
              <a:ext uri="{FF2B5EF4-FFF2-40B4-BE49-F238E27FC236}">
                <a16:creationId xmlns:a16="http://schemas.microsoft.com/office/drawing/2014/main" id="{E8D39E00-A2C7-0D4A-B666-C08A569001BE}"/>
              </a:ext>
            </a:extLst>
          </p:cNvPr>
          <p:cNvSpPr txBox="1">
            <a:spLocks noChangeArrowheads="1"/>
          </p:cNvSpPr>
          <p:nvPr/>
        </p:nvSpPr>
        <p:spPr bwMode="gray">
          <a:xfrm>
            <a:off x="811153" y="2826742"/>
            <a:ext cx="1445910"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chemeClr val="accent5"/>
                </a:solidFill>
                <a:ea typeface="Verdana" panose="020B0604030504040204" pitchFamily="34" charset="0"/>
                <a:cs typeface="Verdana" panose="020B0604030504040204" pitchFamily="34" charset="0"/>
              </a:rPr>
              <a:t>Lorem ipsum dolor</a:t>
            </a:r>
            <a:endParaRPr kumimoji="0" lang="en-US" sz="10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endParaRPr>
          </a:p>
        </p:txBody>
      </p:sp>
      <p:sp>
        <p:nvSpPr>
          <p:cNvPr id="172" name="Rectangle 59">
            <a:extLst>
              <a:ext uri="{FF2B5EF4-FFF2-40B4-BE49-F238E27FC236}">
                <a16:creationId xmlns:a16="http://schemas.microsoft.com/office/drawing/2014/main" id="{2114E1BD-E757-7D45-B11C-0BE30BE7DE5D}"/>
              </a:ext>
            </a:extLst>
          </p:cNvPr>
          <p:cNvSpPr>
            <a:spLocks noChangeArrowheads="1"/>
          </p:cNvSpPr>
          <p:nvPr/>
        </p:nvSpPr>
        <p:spPr bwMode="gray">
          <a:xfrm>
            <a:off x="3046212" y="2897784"/>
            <a:ext cx="2235041" cy="2074578"/>
          </a:xfrm>
          <a:prstGeom prst="rect">
            <a:avLst/>
          </a:prstGeom>
          <a:solidFill>
            <a:schemeClr val="bg1"/>
          </a:solidFill>
          <a:ln w="28575" algn="ctr">
            <a:solidFill>
              <a:schemeClr val="accent5"/>
            </a:solidFill>
            <a:miter lim="800000"/>
            <a:headEnd/>
            <a:tailEnd/>
          </a:ln>
        </p:spPr>
        <p:txBody>
          <a:bodyPr tIns="13716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Lorem ipsum d</a:t>
            </a:r>
          </a:p>
          <a:p>
            <a:pPr marL="342900" lvl="0">
              <a:spcBef>
                <a:spcPts val="500"/>
              </a:spcBef>
              <a:buSzPct val="100000"/>
              <a:defRPr/>
            </a:pPr>
            <a:r>
              <a:rPr lang="da-DK" sz="1000" kern="0" dirty="0">
                <a:solidFill>
                  <a:prstClr val="black"/>
                </a:solidFill>
                <a:cs typeface="Arial" pitchFamily="34" charset="0"/>
              </a:rPr>
              <a:t>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endParaRPr lang="en-US" sz="1000" kern="0" dirty="0">
              <a:solidFill>
                <a:prstClr val="black"/>
              </a:solidFill>
              <a:cs typeface="Arial" pitchFamily="34" charset="0"/>
            </a:endParaRPr>
          </a:p>
        </p:txBody>
      </p:sp>
      <p:sp>
        <p:nvSpPr>
          <p:cNvPr id="173" name="Text Box 60">
            <a:extLst>
              <a:ext uri="{FF2B5EF4-FFF2-40B4-BE49-F238E27FC236}">
                <a16:creationId xmlns:a16="http://schemas.microsoft.com/office/drawing/2014/main" id="{6A2702E3-B670-3E44-9B3F-A6A885317349}"/>
              </a:ext>
            </a:extLst>
          </p:cNvPr>
          <p:cNvSpPr txBox="1">
            <a:spLocks noChangeArrowheads="1"/>
          </p:cNvSpPr>
          <p:nvPr/>
        </p:nvSpPr>
        <p:spPr bwMode="gray">
          <a:xfrm>
            <a:off x="3392307" y="2826742"/>
            <a:ext cx="1330474"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chemeClr val="accent5"/>
                </a:solidFill>
                <a:ea typeface="Verdana" panose="020B0604030504040204" pitchFamily="34" charset="0"/>
                <a:cs typeface="Verdana" panose="020B0604030504040204" pitchFamily="34" charset="0"/>
              </a:rPr>
              <a:t>Lorem ipsum dolor</a:t>
            </a:r>
            <a:endParaRPr lang="en-US" sz="1000" b="1" dirty="0">
              <a:solidFill>
                <a:schemeClr val="accent5"/>
              </a:solidFill>
              <a:ea typeface="Verdana" panose="020B0604030504040204" pitchFamily="34" charset="0"/>
              <a:cs typeface="Verdana" panose="020B0604030504040204" pitchFamily="34" charset="0"/>
            </a:endParaRPr>
          </a:p>
        </p:txBody>
      </p:sp>
      <p:sp>
        <p:nvSpPr>
          <p:cNvPr id="182" name="Rectangle 59">
            <a:extLst>
              <a:ext uri="{FF2B5EF4-FFF2-40B4-BE49-F238E27FC236}">
                <a16:creationId xmlns:a16="http://schemas.microsoft.com/office/drawing/2014/main" id="{D372CDF3-05B3-0242-8325-30C9F0EE844C}"/>
              </a:ext>
            </a:extLst>
          </p:cNvPr>
          <p:cNvSpPr>
            <a:spLocks noChangeArrowheads="1"/>
          </p:cNvSpPr>
          <p:nvPr/>
        </p:nvSpPr>
        <p:spPr bwMode="gray">
          <a:xfrm>
            <a:off x="5643108" y="2897784"/>
            <a:ext cx="2235041" cy="2074578"/>
          </a:xfrm>
          <a:prstGeom prst="rect">
            <a:avLst/>
          </a:prstGeom>
          <a:solidFill>
            <a:schemeClr val="bg1"/>
          </a:solidFill>
          <a:ln w="28575" algn="ctr">
            <a:solidFill>
              <a:schemeClr val="accent3"/>
            </a:solidFill>
            <a:miter lim="800000"/>
            <a:headEnd/>
            <a:tailEnd/>
          </a:ln>
        </p:spPr>
        <p:txBody>
          <a:bodyPr tIns="13716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p:txBody>
      </p:sp>
      <p:sp>
        <p:nvSpPr>
          <p:cNvPr id="183" name="Text Box 60">
            <a:extLst>
              <a:ext uri="{FF2B5EF4-FFF2-40B4-BE49-F238E27FC236}">
                <a16:creationId xmlns:a16="http://schemas.microsoft.com/office/drawing/2014/main" id="{E28A051E-6B4C-4641-B2B7-AF7A568CD37A}"/>
              </a:ext>
            </a:extLst>
          </p:cNvPr>
          <p:cNvSpPr txBox="1">
            <a:spLocks noChangeArrowheads="1"/>
          </p:cNvSpPr>
          <p:nvPr/>
        </p:nvSpPr>
        <p:spPr bwMode="gray">
          <a:xfrm>
            <a:off x="5989203" y="2826742"/>
            <a:ext cx="1220631"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chemeClr val="accent5"/>
                </a:solidFill>
                <a:ea typeface="Verdana" panose="020B0604030504040204" pitchFamily="34" charset="0"/>
                <a:cs typeface="Verdana" panose="020B0604030504040204" pitchFamily="34" charset="0"/>
              </a:rPr>
              <a:t>Lorem ipsum dolor</a:t>
            </a:r>
            <a:endParaRPr lang="en-US" sz="1000" b="1" dirty="0">
              <a:solidFill>
                <a:schemeClr val="accent5"/>
              </a:solidFill>
              <a:ea typeface="Verdana" panose="020B0604030504040204" pitchFamily="34" charset="0"/>
              <a:cs typeface="Verdana" panose="020B0604030504040204" pitchFamily="34" charset="0"/>
            </a:endParaRPr>
          </a:p>
        </p:txBody>
      </p:sp>
      <p:grpSp>
        <p:nvGrpSpPr>
          <p:cNvPr id="14" name="Group 13">
            <a:extLst>
              <a:ext uri="{FF2B5EF4-FFF2-40B4-BE49-F238E27FC236}">
                <a16:creationId xmlns:a16="http://schemas.microsoft.com/office/drawing/2014/main" id="{1065FDCE-C8E4-6947-BD9F-9E7254616B3C}"/>
              </a:ext>
            </a:extLst>
          </p:cNvPr>
          <p:cNvGrpSpPr/>
          <p:nvPr/>
        </p:nvGrpSpPr>
        <p:grpSpPr>
          <a:xfrm>
            <a:off x="1569170" y="2492209"/>
            <a:ext cx="5151474" cy="334533"/>
            <a:chOff x="1569170" y="2751038"/>
            <a:chExt cx="5151474" cy="334533"/>
          </a:xfrm>
        </p:grpSpPr>
        <p:cxnSp>
          <p:nvCxnSpPr>
            <p:cNvPr id="162" name="Straight Connector 161">
              <a:extLst>
                <a:ext uri="{FF2B5EF4-FFF2-40B4-BE49-F238E27FC236}">
                  <a16:creationId xmlns:a16="http://schemas.microsoft.com/office/drawing/2014/main" id="{FB3C6A00-FF0F-1047-8873-743E7FD4A3B9}"/>
                </a:ext>
              </a:extLst>
            </p:cNvPr>
            <p:cNvCxnSpPr>
              <a:cxnSpLocks/>
            </p:cNvCxnSpPr>
            <p:nvPr/>
          </p:nvCxnSpPr>
          <p:spPr>
            <a:xfrm>
              <a:off x="4137797" y="2751038"/>
              <a:ext cx="0" cy="334533"/>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79AE6BD8-6BB4-CF49-BE6C-F1214128784F}"/>
                </a:ext>
              </a:extLst>
            </p:cNvPr>
            <p:cNvCxnSpPr>
              <a:cxnSpLocks/>
            </p:cNvCxnSpPr>
            <p:nvPr/>
          </p:nvCxnSpPr>
          <p:spPr>
            <a:xfrm>
              <a:off x="1569170" y="2884561"/>
              <a:ext cx="5151474"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830DDD3B-402B-9D47-B3FC-8BED4F373FCA}"/>
                </a:ext>
              </a:extLst>
            </p:cNvPr>
            <p:cNvCxnSpPr>
              <a:cxnSpLocks/>
            </p:cNvCxnSpPr>
            <p:nvPr/>
          </p:nvCxnSpPr>
          <p:spPr>
            <a:xfrm>
              <a:off x="1569170" y="2898648"/>
              <a:ext cx="0" cy="14761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3AE79950-B0D9-6D44-8AC6-D7B8F584D430}"/>
                </a:ext>
              </a:extLst>
            </p:cNvPr>
            <p:cNvCxnSpPr>
              <a:cxnSpLocks/>
            </p:cNvCxnSpPr>
            <p:nvPr/>
          </p:nvCxnSpPr>
          <p:spPr>
            <a:xfrm>
              <a:off x="6720644" y="2898648"/>
              <a:ext cx="0" cy="14761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95" name="Rectangle 194">
            <a:extLst>
              <a:ext uri="{FF2B5EF4-FFF2-40B4-BE49-F238E27FC236}">
                <a16:creationId xmlns:a16="http://schemas.microsoft.com/office/drawing/2014/main" id="{A6AE9AB5-5683-6747-A617-A5C49C9F8528}"/>
              </a:ext>
            </a:extLst>
          </p:cNvPr>
          <p:cNvSpPr>
            <a:spLocks noChangeArrowheads="1"/>
          </p:cNvSpPr>
          <p:nvPr/>
        </p:nvSpPr>
        <p:spPr bwMode="auto">
          <a:xfrm>
            <a:off x="8187791" y="1801595"/>
            <a:ext cx="3528056" cy="110704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endParaRPr lang="en-US" sz="1000" kern="0" dirty="0">
              <a:solidFill>
                <a:srgbClr val="000000">
                  <a:lumMod val="75000"/>
                </a:srgbClr>
              </a:solidFill>
              <a:cs typeface="Arial" pitchFamily="34" charset="0"/>
            </a:endParaRPr>
          </a:p>
        </p:txBody>
      </p:sp>
      <p:sp>
        <p:nvSpPr>
          <p:cNvPr id="198" name="Text Box 60">
            <a:extLst>
              <a:ext uri="{FF2B5EF4-FFF2-40B4-BE49-F238E27FC236}">
                <a16:creationId xmlns:a16="http://schemas.microsoft.com/office/drawing/2014/main" id="{95378747-6B4B-CF4D-AAAF-4402FE6707B2}"/>
              </a:ext>
            </a:extLst>
          </p:cNvPr>
          <p:cNvSpPr txBox="1">
            <a:spLocks noChangeArrowheads="1"/>
          </p:cNvSpPr>
          <p:nvPr/>
        </p:nvSpPr>
        <p:spPr bwMode="gray">
          <a:xfrm>
            <a:off x="8130161" y="1623143"/>
            <a:ext cx="2648910"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201" name="Rectangle 200">
            <a:extLst>
              <a:ext uri="{FF2B5EF4-FFF2-40B4-BE49-F238E27FC236}">
                <a16:creationId xmlns:a16="http://schemas.microsoft.com/office/drawing/2014/main" id="{1ED3CBDE-CDE6-704F-801A-B47413F9CF68}"/>
              </a:ext>
            </a:extLst>
          </p:cNvPr>
          <p:cNvSpPr>
            <a:spLocks noChangeArrowheads="1"/>
          </p:cNvSpPr>
          <p:nvPr/>
        </p:nvSpPr>
        <p:spPr bwMode="auto">
          <a:xfrm>
            <a:off x="8187791" y="2917477"/>
            <a:ext cx="3528056" cy="110704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a:t>
            </a:r>
            <a:endParaRPr lang="en-US" sz="1000" kern="0" dirty="0">
              <a:solidFill>
                <a:srgbClr val="000000">
                  <a:lumMod val="75000"/>
                </a:srgbClr>
              </a:solidFill>
              <a:cs typeface="Arial" pitchFamily="34" charset="0"/>
            </a:endParaRPr>
          </a:p>
        </p:txBody>
      </p:sp>
      <p:sp>
        <p:nvSpPr>
          <p:cNvPr id="202" name="Text Box 60">
            <a:extLst>
              <a:ext uri="{FF2B5EF4-FFF2-40B4-BE49-F238E27FC236}">
                <a16:creationId xmlns:a16="http://schemas.microsoft.com/office/drawing/2014/main" id="{4E1CD2FD-B982-B245-BDBE-1FF5764320F9}"/>
              </a:ext>
            </a:extLst>
          </p:cNvPr>
          <p:cNvSpPr txBox="1">
            <a:spLocks noChangeArrowheads="1"/>
          </p:cNvSpPr>
          <p:nvPr/>
        </p:nvSpPr>
        <p:spPr bwMode="gray">
          <a:xfrm>
            <a:off x="8130161" y="2739025"/>
            <a:ext cx="2648910"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203" name="Rectangle 202">
            <a:extLst>
              <a:ext uri="{FF2B5EF4-FFF2-40B4-BE49-F238E27FC236}">
                <a16:creationId xmlns:a16="http://schemas.microsoft.com/office/drawing/2014/main" id="{8E0D5C79-DFC0-F148-9108-832589DB3716}"/>
              </a:ext>
            </a:extLst>
          </p:cNvPr>
          <p:cNvSpPr>
            <a:spLocks noChangeArrowheads="1"/>
          </p:cNvSpPr>
          <p:nvPr/>
        </p:nvSpPr>
        <p:spPr bwMode="auto">
          <a:xfrm>
            <a:off x="8187791" y="4225564"/>
            <a:ext cx="3528056" cy="110704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endParaRPr lang="en-US" sz="1000" kern="0" dirty="0">
              <a:solidFill>
                <a:srgbClr val="000000">
                  <a:lumMod val="75000"/>
                </a:srgbClr>
              </a:solidFill>
              <a:cs typeface="Arial" pitchFamily="34" charset="0"/>
            </a:endParaRPr>
          </a:p>
        </p:txBody>
      </p:sp>
      <p:sp>
        <p:nvSpPr>
          <p:cNvPr id="204" name="Text Box 60">
            <a:extLst>
              <a:ext uri="{FF2B5EF4-FFF2-40B4-BE49-F238E27FC236}">
                <a16:creationId xmlns:a16="http://schemas.microsoft.com/office/drawing/2014/main" id="{351E265B-3876-9C43-BE4F-E9A125BA8FE5}"/>
              </a:ext>
            </a:extLst>
          </p:cNvPr>
          <p:cNvSpPr txBox="1">
            <a:spLocks noChangeArrowheads="1"/>
          </p:cNvSpPr>
          <p:nvPr/>
        </p:nvSpPr>
        <p:spPr bwMode="gray">
          <a:xfrm>
            <a:off x="8130161" y="4047112"/>
            <a:ext cx="2648910"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205" name="Rectangle 204">
            <a:extLst>
              <a:ext uri="{FF2B5EF4-FFF2-40B4-BE49-F238E27FC236}">
                <a16:creationId xmlns:a16="http://schemas.microsoft.com/office/drawing/2014/main" id="{806C59C1-F95A-8D44-BA36-C3358738DD34}"/>
              </a:ext>
            </a:extLst>
          </p:cNvPr>
          <p:cNvSpPr>
            <a:spLocks noChangeArrowheads="1"/>
          </p:cNvSpPr>
          <p:nvPr/>
        </p:nvSpPr>
        <p:spPr bwMode="auto">
          <a:xfrm>
            <a:off x="8187791" y="5150814"/>
            <a:ext cx="3528056" cy="110704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a:t>
            </a:r>
            <a:endParaRPr lang="en-US" sz="1000" kern="0" dirty="0">
              <a:solidFill>
                <a:srgbClr val="000000">
                  <a:lumMod val="75000"/>
                </a:srgbClr>
              </a:solidFill>
              <a:cs typeface="Arial" pitchFamily="34" charset="0"/>
            </a:endParaRPr>
          </a:p>
        </p:txBody>
      </p:sp>
      <p:sp>
        <p:nvSpPr>
          <p:cNvPr id="206" name="Text Box 60">
            <a:extLst>
              <a:ext uri="{FF2B5EF4-FFF2-40B4-BE49-F238E27FC236}">
                <a16:creationId xmlns:a16="http://schemas.microsoft.com/office/drawing/2014/main" id="{4A1845E4-D4D5-684B-B191-C803FBF145E6}"/>
              </a:ext>
            </a:extLst>
          </p:cNvPr>
          <p:cNvSpPr txBox="1">
            <a:spLocks noChangeArrowheads="1"/>
          </p:cNvSpPr>
          <p:nvPr/>
        </p:nvSpPr>
        <p:spPr bwMode="gray">
          <a:xfrm>
            <a:off x="8130161" y="4972362"/>
            <a:ext cx="3585686"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78" name="Rectangle 72">
            <a:extLst>
              <a:ext uri="{FF2B5EF4-FFF2-40B4-BE49-F238E27FC236}">
                <a16:creationId xmlns:a16="http://schemas.microsoft.com/office/drawing/2014/main" id="{E6443232-A356-9047-997D-77D8820D35D2}"/>
              </a:ext>
            </a:extLst>
          </p:cNvPr>
          <p:cNvSpPr>
            <a:spLocks noChangeArrowheads="1"/>
          </p:cNvSpPr>
          <p:nvPr/>
        </p:nvSpPr>
        <p:spPr bwMode="gray">
          <a:xfrm>
            <a:off x="1434828" y="6247934"/>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9" name="Rectangle 72">
            <a:extLst>
              <a:ext uri="{FF2B5EF4-FFF2-40B4-BE49-F238E27FC236}">
                <a16:creationId xmlns:a16="http://schemas.microsoft.com/office/drawing/2014/main" id="{61CD446B-B67C-B54C-BA68-D4F851E011D9}"/>
              </a:ext>
            </a:extLst>
          </p:cNvPr>
          <p:cNvSpPr>
            <a:spLocks noChangeArrowheads="1"/>
          </p:cNvSpPr>
          <p:nvPr/>
        </p:nvSpPr>
        <p:spPr bwMode="gray">
          <a:xfrm>
            <a:off x="2277976" y="6247934"/>
            <a:ext cx="221404" cy="157243"/>
          </a:xfrm>
          <a:prstGeom prst="rect">
            <a:avLst/>
          </a:prstGeom>
          <a:solidFill>
            <a:schemeClr val="accent2"/>
          </a:solidFill>
          <a:ln w="19050" cap="rnd" algn="ctr">
            <a:solidFill>
              <a:schemeClr val="accent2"/>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C</a:t>
            </a:r>
          </a:p>
        </p:txBody>
      </p:sp>
      <p:sp>
        <p:nvSpPr>
          <p:cNvPr id="80" name="Rectangle 72">
            <a:extLst>
              <a:ext uri="{FF2B5EF4-FFF2-40B4-BE49-F238E27FC236}">
                <a16:creationId xmlns:a16="http://schemas.microsoft.com/office/drawing/2014/main" id="{3CD6C0AA-A6CE-8F44-A6DB-3A502E5348A0}"/>
              </a:ext>
            </a:extLst>
          </p:cNvPr>
          <p:cNvSpPr>
            <a:spLocks noChangeArrowheads="1"/>
          </p:cNvSpPr>
          <p:nvPr/>
        </p:nvSpPr>
        <p:spPr bwMode="gray">
          <a:xfrm>
            <a:off x="615430" y="6247934"/>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800" b="1" dirty="0">
                <a:solidFill>
                  <a:srgbClr val="FFFFFF"/>
                </a:solidFill>
                <a:ea typeface="Verdana" panose="020B0604030504040204" pitchFamily="34" charset="0"/>
                <a:cs typeface="Verdana" panose="020B0604030504040204" pitchFamily="34" charset="0"/>
              </a:rPr>
              <a:t>A</a:t>
            </a:r>
            <a:endPar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81" name="Rectangle 72">
            <a:extLst>
              <a:ext uri="{FF2B5EF4-FFF2-40B4-BE49-F238E27FC236}">
                <a16:creationId xmlns:a16="http://schemas.microsoft.com/office/drawing/2014/main" id="{F6E510CE-C7DF-5E48-8308-FAE4071CE20F}"/>
              </a:ext>
            </a:extLst>
          </p:cNvPr>
          <p:cNvSpPr>
            <a:spLocks noChangeArrowheads="1"/>
          </p:cNvSpPr>
          <p:nvPr/>
        </p:nvSpPr>
        <p:spPr bwMode="gray">
          <a:xfrm>
            <a:off x="615430" y="3050738"/>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800" b="1" dirty="0">
                <a:solidFill>
                  <a:srgbClr val="FFFFFF"/>
                </a:solidFill>
                <a:ea typeface="Verdana" panose="020B0604030504040204" pitchFamily="34" charset="0"/>
                <a:cs typeface="Verdana" panose="020B0604030504040204" pitchFamily="34" charset="0"/>
              </a:rPr>
              <a:t>A</a:t>
            </a:r>
            <a:endPar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82" name="Rectangle 72">
            <a:extLst>
              <a:ext uri="{FF2B5EF4-FFF2-40B4-BE49-F238E27FC236}">
                <a16:creationId xmlns:a16="http://schemas.microsoft.com/office/drawing/2014/main" id="{B3D55EB0-E213-A94B-9B01-B11B4133C1C7}"/>
              </a:ext>
            </a:extLst>
          </p:cNvPr>
          <p:cNvSpPr>
            <a:spLocks noChangeArrowheads="1"/>
          </p:cNvSpPr>
          <p:nvPr/>
        </p:nvSpPr>
        <p:spPr bwMode="gray">
          <a:xfrm>
            <a:off x="615430" y="3301704"/>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3" name="Rectangle 72">
            <a:extLst>
              <a:ext uri="{FF2B5EF4-FFF2-40B4-BE49-F238E27FC236}">
                <a16:creationId xmlns:a16="http://schemas.microsoft.com/office/drawing/2014/main" id="{33EE277E-B7C0-F841-A582-5AB58809480A}"/>
              </a:ext>
            </a:extLst>
          </p:cNvPr>
          <p:cNvSpPr>
            <a:spLocks noChangeArrowheads="1"/>
          </p:cNvSpPr>
          <p:nvPr/>
        </p:nvSpPr>
        <p:spPr bwMode="gray">
          <a:xfrm>
            <a:off x="615430" y="3552670"/>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5" name="Rectangle 72">
            <a:extLst>
              <a:ext uri="{FF2B5EF4-FFF2-40B4-BE49-F238E27FC236}">
                <a16:creationId xmlns:a16="http://schemas.microsoft.com/office/drawing/2014/main" id="{45516536-C123-8946-96BE-2D68CD5630FC}"/>
              </a:ext>
            </a:extLst>
          </p:cNvPr>
          <p:cNvSpPr>
            <a:spLocks noChangeArrowheads="1"/>
          </p:cNvSpPr>
          <p:nvPr/>
        </p:nvSpPr>
        <p:spPr bwMode="gray">
          <a:xfrm>
            <a:off x="615430" y="3803636"/>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6" name="Rectangle 72">
            <a:extLst>
              <a:ext uri="{FF2B5EF4-FFF2-40B4-BE49-F238E27FC236}">
                <a16:creationId xmlns:a16="http://schemas.microsoft.com/office/drawing/2014/main" id="{D0C0C0F1-38BB-7B47-AB74-E34F802F0369}"/>
              </a:ext>
            </a:extLst>
          </p:cNvPr>
          <p:cNvSpPr>
            <a:spLocks noChangeArrowheads="1"/>
          </p:cNvSpPr>
          <p:nvPr/>
        </p:nvSpPr>
        <p:spPr bwMode="gray">
          <a:xfrm>
            <a:off x="615430" y="4054602"/>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7" name="Rectangle 72">
            <a:extLst>
              <a:ext uri="{FF2B5EF4-FFF2-40B4-BE49-F238E27FC236}">
                <a16:creationId xmlns:a16="http://schemas.microsoft.com/office/drawing/2014/main" id="{0B774A4C-8E02-8A4A-8172-799B5916235B}"/>
              </a:ext>
            </a:extLst>
          </p:cNvPr>
          <p:cNvSpPr>
            <a:spLocks noChangeArrowheads="1"/>
          </p:cNvSpPr>
          <p:nvPr/>
        </p:nvSpPr>
        <p:spPr bwMode="gray">
          <a:xfrm>
            <a:off x="615430" y="4305568"/>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8" name="Rectangle 72">
            <a:extLst>
              <a:ext uri="{FF2B5EF4-FFF2-40B4-BE49-F238E27FC236}">
                <a16:creationId xmlns:a16="http://schemas.microsoft.com/office/drawing/2014/main" id="{98310748-1D36-3C4D-A9A1-C374A67BFD8F}"/>
              </a:ext>
            </a:extLst>
          </p:cNvPr>
          <p:cNvSpPr>
            <a:spLocks noChangeArrowheads="1"/>
          </p:cNvSpPr>
          <p:nvPr/>
        </p:nvSpPr>
        <p:spPr bwMode="gray">
          <a:xfrm>
            <a:off x="615430" y="4556534"/>
            <a:ext cx="221404" cy="157243"/>
          </a:xfrm>
          <a:prstGeom prst="rect">
            <a:avLst/>
          </a:prstGeom>
          <a:solidFill>
            <a:schemeClr val="accent2"/>
          </a:solidFill>
          <a:ln w="19050" cap="rnd" algn="ctr">
            <a:solidFill>
              <a:schemeClr val="accent2"/>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C</a:t>
            </a:r>
          </a:p>
        </p:txBody>
      </p:sp>
      <p:sp>
        <p:nvSpPr>
          <p:cNvPr id="91" name="Rectangle 72">
            <a:extLst>
              <a:ext uri="{FF2B5EF4-FFF2-40B4-BE49-F238E27FC236}">
                <a16:creationId xmlns:a16="http://schemas.microsoft.com/office/drawing/2014/main" id="{F915C702-E447-C943-B808-4FEE8F20412E}"/>
              </a:ext>
            </a:extLst>
          </p:cNvPr>
          <p:cNvSpPr>
            <a:spLocks noChangeArrowheads="1"/>
          </p:cNvSpPr>
          <p:nvPr/>
        </p:nvSpPr>
        <p:spPr bwMode="gray">
          <a:xfrm>
            <a:off x="3171253" y="328641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3" name="Rectangle 72">
            <a:extLst>
              <a:ext uri="{FF2B5EF4-FFF2-40B4-BE49-F238E27FC236}">
                <a16:creationId xmlns:a16="http://schemas.microsoft.com/office/drawing/2014/main" id="{B10D8776-1520-8F41-8E2A-EE4473F8443B}"/>
              </a:ext>
            </a:extLst>
          </p:cNvPr>
          <p:cNvSpPr>
            <a:spLocks noChangeArrowheads="1"/>
          </p:cNvSpPr>
          <p:nvPr/>
        </p:nvSpPr>
        <p:spPr bwMode="gray">
          <a:xfrm>
            <a:off x="3171253" y="3522088"/>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4" name="Rectangle 72">
            <a:extLst>
              <a:ext uri="{FF2B5EF4-FFF2-40B4-BE49-F238E27FC236}">
                <a16:creationId xmlns:a16="http://schemas.microsoft.com/office/drawing/2014/main" id="{9D3498FE-C5F8-5A40-9277-8293059B8F45}"/>
              </a:ext>
            </a:extLst>
          </p:cNvPr>
          <p:cNvSpPr>
            <a:spLocks noChangeArrowheads="1"/>
          </p:cNvSpPr>
          <p:nvPr/>
        </p:nvSpPr>
        <p:spPr bwMode="gray">
          <a:xfrm>
            <a:off x="3171253" y="375776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5" name="Rectangle 72">
            <a:extLst>
              <a:ext uri="{FF2B5EF4-FFF2-40B4-BE49-F238E27FC236}">
                <a16:creationId xmlns:a16="http://schemas.microsoft.com/office/drawing/2014/main" id="{BBD876E2-89D4-184C-9C59-00095E82BE51}"/>
              </a:ext>
            </a:extLst>
          </p:cNvPr>
          <p:cNvSpPr>
            <a:spLocks noChangeArrowheads="1"/>
          </p:cNvSpPr>
          <p:nvPr/>
        </p:nvSpPr>
        <p:spPr bwMode="gray">
          <a:xfrm>
            <a:off x="3171253" y="3993438"/>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6" name="Rectangle 72">
            <a:extLst>
              <a:ext uri="{FF2B5EF4-FFF2-40B4-BE49-F238E27FC236}">
                <a16:creationId xmlns:a16="http://schemas.microsoft.com/office/drawing/2014/main" id="{E7B481E5-8AE7-FD41-AC66-12F767C73E4E}"/>
              </a:ext>
            </a:extLst>
          </p:cNvPr>
          <p:cNvSpPr>
            <a:spLocks noChangeArrowheads="1"/>
          </p:cNvSpPr>
          <p:nvPr/>
        </p:nvSpPr>
        <p:spPr bwMode="gray">
          <a:xfrm>
            <a:off x="3171253" y="422911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7" name="Rectangle 72">
            <a:extLst>
              <a:ext uri="{FF2B5EF4-FFF2-40B4-BE49-F238E27FC236}">
                <a16:creationId xmlns:a16="http://schemas.microsoft.com/office/drawing/2014/main" id="{D2603683-20AD-9144-B4EA-4F59313D6274}"/>
              </a:ext>
            </a:extLst>
          </p:cNvPr>
          <p:cNvSpPr>
            <a:spLocks noChangeArrowheads="1"/>
          </p:cNvSpPr>
          <p:nvPr/>
        </p:nvSpPr>
        <p:spPr bwMode="gray">
          <a:xfrm>
            <a:off x="3171253" y="4464788"/>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9" name="Rectangle 72">
            <a:extLst>
              <a:ext uri="{FF2B5EF4-FFF2-40B4-BE49-F238E27FC236}">
                <a16:creationId xmlns:a16="http://schemas.microsoft.com/office/drawing/2014/main" id="{A9ABD518-19F2-9445-BE38-EF08D3389C53}"/>
              </a:ext>
            </a:extLst>
          </p:cNvPr>
          <p:cNvSpPr>
            <a:spLocks noChangeArrowheads="1"/>
          </p:cNvSpPr>
          <p:nvPr/>
        </p:nvSpPr>
        <p:spPr bwMode="gray">
          <a:xfrm>
            <a:off x="3171253" y="4700463"/>
            <a:ext cx="221404" cy="157243"/>
          </a:xfrm>
          <a:prstGeom prst="rect">
            <a:avLst/>
          </a:prstGeom>
          <a:solidFill>
            <a:schemeClr val="accent2"/>
          </a:solidFill>
          <a:ln w="19050" cap="rnd" algn="ctr">
            <a:solidFill>
              <a:schemeClr val="accent2"/>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C</a:t>
            </a:r>
          </a:p>
        </p:txBody>
      </p:sp>
      <p:sp>
        <p:nvSpPr>
          <p:cNvPr id="102" name="Rectangle 72">
            <a:extLst>
              <a:ext uri="{FF2B5EF4-FFF2-40B4-BE49-F238E27FC236}">
                <a16:creationId xmlns:a16="http://schemas.microsoft.com/office/drawing/2014/main" id="{DE447A89-2AE8-E749-8391-FCF8FE45A226}"/>
              </a:ext>
            </a:extLst>
          </p:cNvPr>
          <p:cNvSpPr>
            <a:spLocks noChangeArrowheads="1"/>
          </p:cNvSpPr>
          <p:nvPr/>
        </p:nvSpPr>
        <p:spPr bwMode="gray">
          <a:xfrm>
            <a:off x="3171253" y="3050738"/>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12" name="Rectangle 72">
            <a:extLst>
              <a:ext uri="{FF2B5EF4-FFF2-40B4-BE49-F238E27FC236}">
                <a16:creationId xmlns:a16="http://schemas.microsoft.com/office/drawing/2014/main" id="{07A5FA84-BA3D-AF47-A24E-7DA18C43BF3D}"/>
              </a:ext>
            </a:extLst>
          </p:cNvPr>
          <p:cNvSpPr>
            <a:spLocks noChangeArrowheads="1"/>
          </p:cNvSpPr>
          <p:nvPr/>
        </p:nvSpPr>
        <p:spPr bwMode="gray">
          <a:xfrm>
            <a:off x="5779541" y="3050738"/>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800" b="1" dirty="0">
                <a:solidFill>
                  <a:srgbClr val="FFFFFF"/>
                </a:solidFill>
                <a:ea typeface="Verdana" panose="020B0604030504040204" pitchFamily="34" charset="0"/>
                <a:cs typeface="Verdana" panose="020B0604030504040204" pitchFamily="34" charset="0"/>
              </a:rPr>
              <a:t>A</a:t>
            </a:r>
            <a:endPar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3" name="Rectangle 72">
            <a:extLst>
              <a:ext uri="{FF2B5EF4-FFF2-40B4-BE49-F238E27FC236}">
                <a16:creationId xmlns:a16="http://schemas.microsoft.com/office/drawing/2014/main" id="{0A7F7281-0250-C141-B5B6-F6A0784AB234}"/>
              </a:ext>
            </a:extLst>
          </p:cNvPr>
          <p:cNvSpPr>
            <a:spLocks noChangeArrowheads="1"/>
          </p:cNvSpPr>
          <p:nvPr/>
        </p:nvSpPr>
        <p:spPr bwMode="gray">
          <a:xfrm>
            <a:off x="5779541" y="328328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14" name="Rectangle 72">
            <a:extLst>
              <a:ext uri="{FF2B5EF4-FFF2-40B4-BE49-F238E27FC236}">
                <a16:creationId xmlns:a16="http://schemas.microsoft.com/office/drawing/2014/main" id="{0DA139B7-C438-9044-B49D-313431753D12}"/>
              </a:ext>
            </a:extLst>
          </p:cNvPr>
          <p:cNvSpPr>
            <a:spLocks noChangeArrowheads="1"/>
          </p:cNvSpPr>
          <p:nvPr/>
        </p:nvSpPr>
        <p:spPr bwMode="gray">
          <a:xfrm>
            <a:off x="5779541" y="3515827"/>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23" name="Rectangle 72">
            <a:extLst>
              <a:ext uri="{FF2B5EF4-FFF2-40B4-BE49-F238E27FC236}">
                <a16:creationId xmlns:a16="http://schemas.microsoft.com/office/drawing/2014/main" id="{E11BDEA2-7B3A-CC4C-A823-E4A74FFF6A12}"/>
              </a:ext>
            </a:extLst>
          </p:cNvPr>
          <p:cNvSpPr>
            <a:spLocks noChangeArrowheads="1"/>
          </p:cNvSpPr>
          <p:nvPr/>
        </p:nvSpPr>
        <p:spPr bwMode="gray">
          <a:xfrm>
            <a:off x="5779541" y="3748371"/>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25" name="Rectangle 72">
            <a:extLst>
              <a:ext uri="{FF2B5EF4-FFF2-40B4-BE49-F238E27FC236}">
                <a16:creationId xmlns:a16="http://schemas.microsoft.com/office/drawing/2014/main" id="{253C8BE5-700A-2349-A5DA-ABDC9836355F}"/>
              </a:ext>
            </a:extLst>
          </p:cNvPr>
          <p:cNvSpPr>
            <a:spLocks noChangeArrowheads="1"/>
          </p:cNvSpPr>
          <p:nvPr/>
        </p:nvSpPr>
        <p:spPr bwMode="gray">
          <a:xfrm>
            <a:off x="5779541" y="3980916"/>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28" name="Rectangle 72">
            <a:extLst>
              <a:ext uri="{FF2B5EF4-FFF2-40B4-BE49-F238E27FC236}">
                <a16:creationId xmlns:a16="http://schemas.microsoft.com/office/drawing/2014/main" id="{1D222BBE-7F05-F344-A616-5BFE88CD505E}"/>
              </a:ext>
            </a:extLst>
          </p:cNvPr>
          <p:cNvSpPr>
            <a:spLocks noChangeArrowheads="1"/>
          </p:cNvSpPr>
          <p:nvPr/>
        </p:nvSpPr>
        <p:spPr bwMode="gray">
          <a:xfrm>
            <a:off x="615430" y="1926026"/>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800" b="1" dirty="0">
                <a:solidFill>
                  <a:srgbClr val="FFFFFF"/>
                </a:solidFill>
                <a:ea typeface="Verdana" panose="020B0604030504040204" pitchFamily="34" charset="0"/>
                <a:cs typeface="Verdana" panose="020B0604030504040204" pitchFamily="34" charset="0"/>
              </a:rPr>
              <a:t>A</a:t>
            </a:r>
            <a:endPar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29" name="Rectangle 72">
            <a:extLst>
              <a:ext uri="{FF2B5EF4-FFF2-40B4-BE49-F238E27FC236}">
                <a16:creationId xmlns:a16="http://schemas.microsoft.com/office/drawing/2014/main" id="{B0AE65E2-443A-E048-BAF8-FCA99F9AABF3}"/>
              </a:ext>
            </a:extLst>
          </p:cNvPr>
          <p:cNvSpPr>
            <a:spLocks noChangeArrowheads="1"/>
          </p:cNvSpPr>
          <p:nvPr/>
        </p:nvSpPr>
        <p:spPr bwMode="gray">
          <a:xfrm>
            <a:off x="615430" y="2158571"/>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30" name="Rectangle 72">
            <a:extLst>
              <a:ext uri="{FF2B5EF4-FFF2-40B4-BE49-F238E27FC236}">
                <a16:creationId xmlns:a16="http://schemas.microsoft.com/office/drawing/2014/main" id="{BD338403-EEB9-7A47-BD0E-2AB37F77F7D7}"/>
              </a:ext>
            </a:extLst>
          </p:cNvPr>
          <p:cNvSpPr>
            <a:spLocks noChangeArrowheads="1"/>
          </p:cNvSpPr>
          <p:nvPr/>
        </p:nvSpPr>
        <p:spPr bwMode="gray">
          <a:xfrm>
            <a:off x="3166606" y="1926026"/>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800" b="1" dirty="0">
                <a:solidFill>
                  <a:srgbClr val="FFFFFF"/>
                </a:solidFill>
                <a:ea typeface="Verdana" panose="020B0604030504040204" pitchFamily="34" charset="0"/>
                <a:cs typeface="Verdana" panose="020B0604030504040204" pitchFamily="34" charset="0"/>
              </a:rPr>
              <a:t>A</a:t>
            </a:r>
            <a:endPar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6" name="Rectangle 72">
            <a:extLst>
              <a:ext uri="{FF2B5EF4-FFF2-40B4-BE49-F238E27FC236}">
                <a16:creationId xmlns:a16="http://schemas.microsoft.com/office/drawing/2014/main" id="{0FB5E269-F17D-5A4C-BF19-120DE06A7736}"/>
              </a:ext>
            </a:extLst>
          </p:cNvPr>
          <p:cNvSpPr>
            <a:spLocks noChangeArrowheads="1"/>
          </p:cNvSpPr>
          <p:nvPr/>
        </p:nvSpPr>
        <p:spPr bwMode="gray">
          <a:xfrm>
            <a:off x="3166606" y="2158571"/>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38" name="Rectangle 72">
            <a:extLst>
              <a:ext uri="{FF2B5EF4-FFF2-40B4-BE49-F238E27FC236}">
                <a16:creationId xmlns:a16="http://schemas.microsoft.com/office/drawing/2014/main" id="{354714CC-7A2E-4044-B3AA-6854404E7BE4}"/>
              </a:ext>
            </a:extLst>
          </p:cNvPr>
          <p:cNvSpPr>
            <a:spLocks noChangeArrowheads="1"/>
          </p:cNvSpPr>
          <p:nvPr/>
        </p:nvSpPr>
        <p:spPr bwMode="gray">
          <a:xfrm>
            <a:off x="5773482" y="2159912"/>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39" name="Rectangle 72">
            <a:extLst>
              <a:ext uri="{FF2B5EF4-FFF2-40B4-BE49-F238E27FC236}">
                <a16:creationId xmlns:a16="http://schemas.microsoft.com/office/drawing/2014/main" id="{9599B367-D798-6740-ACAC-C6C3B050E951}"/>
              </a:ext>
            </a:extLst>
          </p:cNvPr>
          <p:cNvSpPr>
            <a:spLocks noChangeArrowheads="1"/>
          </p:cNvSpPr>
          <p:nvPr/>
        </p:nvSpPr>
        <p:spPr bwMode="gray">
          <a:xfrm>
            <a:off x="5773482" y="192834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Tree>
    <p:custDataLst>
      <p:tags r:id="rId1"/>
    </p:custDataLst>
    <p:extLst>
      <p:ext uri="{BB962C8B-B14F-4D97-AF65-F5344CB8AC3E}">
        <p14:creationId xmlns:p14="http://schemas.microsoft.com/office/powerpoint/2010/main" val="1194355145"/>
      </p:ext>
    </p:extLst>
  </p:cSld>
  <p:clrMapOvr>
    <a:masterClrMapping/>
  </p:clrMapOvr>
  <mc:AlternateContent xmlns:mc="http://schemas.openxmlformats.org/markup-compatibility/2006" xmlns:p14="http://schemas.microsoft.com/office/powerpoint/2010/main">
    <mc:Choice Requires="p14">
      <p:transition p14:dur="0"/>
    </mc:Choice>
    <mc:Fallback xmlns:a16="http://schemas.microsoft.com/office/drawing/2014/main" xmlns="">
      <p:transition/>
    </mc:Fallback>
  </mc:AlternateContent>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74B44E-D5C5-134F-BFE7-A6F82C0C06B1}"/>
              </a:ext>
            </a:extLst>
          </p:cNvPr>
          <p:cNvSpPr/>
          <p:nvPr/>
        </p:nvSpPr>
        <p:spPr bwMode="gray">
          <a:xfrm>
            <a:off x="6231835" y="0"/>
            <a:ext cx="5960165" cy="68580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 name="Straight Connector 2">
            <a:extLst>
              <a:ext uri="{FF2B5EF4-FFF2-40B4-BE49-F238E27FC236}">
                <a16:creationId xmlns:a16="http://schemas.microsoft.com/office/drawing/2014/main" id="{F2D9510A-6FC1-164D-9D94-74E1FD36AE1B}"/>
              </a:ext>
            </a:extLst>
          </p:cNvPr>
          <p:cNvCxnSpPr/>
          <p:nvPr/>
        </p:nvCxnSpPr>
        <p:spPr>
          <a:xfrm>
            <a:off x="469900" y="2352957"/>
            <a:ext cx="11188700" cy="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D3DFE23-FCD0-4741-BFA3-DB8955212495}"/>
              </a:ext>
            </a:extLst>
          </p:cNvPr>
          <p:cNvCxnSpPr/>
          <p:nvPr/>
        </p:nvCxnSpPr>
        <p:spPr>
          <a:xfrm>
            <a:off x="469900" y="3456357"/>
            <a:ext cx="11188700" cy="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5132D56-F9AF-6145-A71A-459C8BB89074}"/>
              </a:ext>
            </a:extLst>
          </p:cNvPr>
          <p:cNvCxnSpPr/>
          <p:nvPr/>
        </p:nvCxnSpPr>
        <p:spPr>
          <a:xfrm>
            <a:off x="469900" y="4213561"/>
            <a:ext cx="11188700" cy="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08" name="Line 11">
            <a:extLst>
              <a:ext uri="{FF2B5EF4-FFF2-40B4-BE49-F238E27FC236}">
                <a16:creationId xmlns:a16="http://schemas.microsoft.com/office/drawing/2014/main" id="{B2C481A4-F57D-4EE8-8575-3BE3DEFA6952}"/>
              </a:ext>
            </a:extLst>
          </p:cNvPr>
          <p:cNvSpPr>
            <a:spLocks noChangeShapeType="1"/>
          </p:cNvSpPr>
          <p:nvPr/>
        </p:nvSpPr>
        <p:spPr bwMode="gray">
          <a:xfrm>
            <a:off x="3141929" y="2152428"/>
            <a:ext cx="0" cy="2353928"/>
          </a:xfrm>
          <a:prstGeom prst="line">
            <a:avLst/>
          </a:prstGeom>
          <a:solidFill>
            <a:sysClr val="window" lastClr="FFFFFF"/>
          </a:solidFill>
          <a:ln w="19050" algn="ctr">
            <a:solidFill>
              <a:schemeClr val="accent1"/>
            </a:solidFill>
            <a:miter lim="800000"/>
            <a:headEnd/>
            <a:tailEnd/>
          </a:ln>
          <a:effectLst/>
        </p:spPr>
        <p:txBody>
          <a:bodyPr lIns="72000" tIns="137160" rIns="72000" bIns="72000" anchor="ctr" anchorCtr="1">
            <a:noAutofit/>
          </a:bodyPr>
          <a:lstStyle/>
          <a:p>
            <a:pPr marL="0" marR="0" lvl="0" indent="0" defTabSz="1219170" eaLnBrk="1" fontAlgn="base" latinLnBrk="0" hangingPunct="1">
              <a:lnSpc>
                <a:spcPct val="100000"/>
              </a:lnSpc>
              <a:spcBef>
                <a:spcPct val="10000"/>
              </a:spcBef>
              <a:spcAft>
                <a:spcPct val="0"/>
              </a:spcAft>
              <a:buClr>
                <a:srgbClr val="000000"/>
              </a:buClr>
              <a:buSzTx/>
              <a:buFontTx/>
              <a:buNone/>
              <a:tabLst>
                <a:tab pos="2173288" algn="l"/>
              </a:tabLst>
              <a:defRPr/>
            </a:pPr>
            <a:endParaRPr kumimoji="0" lang="en-US" sz="1000" b="0" i="0" u="none" strike="noStrike" kern="0" cap="none" spc="0" normalizeH="0" baseline="0" noProof="0">
              <a:ln>
                <a:noFill/>
              </a:ln>
              <a:solidFill>
                <a:srgbClr val="000000"/>
              </a:solidFill>
              <a:effectLst/>
              <a:uLnTx/>
              <a:uFillTx/>
              <a:cs typeface="Arial" pitchFamily="34" charset="0"/>
            </a:endParaRPr>
          </a:p>
        </p:txBody>
      </p:sp>
      <p:sp>
        <p:nvSpPr>
          <p:cNvPr id="88" name="Rectangle 87">
            <a:extLst>
              <a:ext uri="{FF2B5EF4-FFF2-40B4-BE49-F238E27FC236}">
                <a16:creationId xmlns:a16="http://schemas.microsoft.com/office/drawing/2014/main" id="{41ACAF35-1664-4247-8E67-5E8F89948E2D}"/>
              </a:ext>
            </a:extLst>
          </p:cNvPr>
          <p:cNvSpPr>
            <a:spLocks noChangeArrowheads="1"/>
          </p:cNvSpPr>
          <p:nvPr/>
        </p:nvSpPr>
        <p:spPr bwMode="gray">
          <a:xfrm>
            <a:off x="469900" y="4370338"/>
            <a:ext cx="5345450" cy="1337093"/>
          </a:xfrm>
          <a:prstGeom prst="rect">
            <a:avLst/>
          </a:prstGeom>
          <a:solidFill>
            <a:sysClr val="window" lastClr="FFFFFF"/>
          </a:solidFill>
          <a:ln w="19050" algn="ctr">
            <a:solidFill>
              <a:schemeClr val="accent1"/>
            </a:solidFill>
            <a:miter lim="800000"/>
            <a:headEnd/>
            <a:tailEnd/>
          </a:ln>
          <a:effectLst/>
        </p:spPr>
        <p:txBody>
          <a:bodyPr lIns="72000" tIns="137160" rIns="72000" bIns="72000" anchor="ctr" anchorCtr="1">
            <a:noAutofit/>
          </a:bodyPr>
          <a:lstStyle/>
          <a:p>
            <a:pPr marL="0" marR="0" lvl="0" indent="0" defTabSz="1219170" eaLnBrk="1" fontAlgn="base" latinLnBrk="0" hangingPunct="1">
              <a:lnSpc>
                <a:spcPct val="100000"/>
              </a:lnSpc>
              <a:spcBef>
                <a:spcPct val="10000"/>
              </a:spcBef>
              <a:spcAft>
                <a:spcPct val="0"/>
              </a:spcAft>
              <a:buClr>
                <a:srgbClr val="000000"/>
              </a:buClr>
              <a:buSzTx/>
              <a:buFont typeface="Wingdings 2" pitchFamily="18" charset="2"/>
              <a:buNone/>
              <a:tabLst>
                <a:tab pos="2173288" algn="l"/>
              </a:tabLst>
              <a:defRPr/>
            </a:pPr>
            <a:endParaRPr kumimoji="0" lang="en-GB" sz="1000" b="0" i="0" u="none" strike="noStrike" kern="0" cap="none" spc="0" normalizeH="0" baseline="0" noProof="0">
              <a:ln>
                <a:noFill/>
              </a:ln>
              <a:solidFill>
                <a:srgbClr val="000000"/>
              </a:solidFill>
              <a:effectLst/>
              <a:uLnTx/>
              <a:uFillTx/>
              <a:cs typeface="Arial" pitchFamily="34" charset="0"/>
            </a:endParaRPr>
          </a:p>
        </p:txBody>
      </p:sp>
      <p:grpSp>
        <p:nvGrpSpPr>
          <p:cNvPr id="9" name="Group 8">
            <a:extLst>
              <a:ext uri="{FF2B5EF4-FFF2-40B4-BE49-F238E27FC236}">
                <a16:creationId xmlns:a16="http://schemas.microsoft.com/office/drawing/2014/main" id="{6B409687-6D22-D14B-ABCC-8597E8876C38}"/>
              </a:ext>
            </a:extLst>
          </p:cNvPr>
          <p:cNvGrpSpPr/>
          <p:nvPr/>
        </p:nvGrpSpPr>
        <p:grpSpPr>
          <a:xfrm>
            <a:off x="668013" y="4578866"/>
            <a:ext cx="4947280" cy="996763"/>
            <a:chOff x="6771058" y="5159642"/>
            <a:chExt cx="4318752" cy="996763"/>
          </a:xfrm>
        </p:grpSpPr>
        <p:sp>
          <p:nvSpPr>
            <p:cNvPr id="104" name="Rectangle 103">
              <a:extLst>
                <a:ext uri="{FF2B5EF4-FFF2-40B4-BE49-F238E27FC236}">
                  <a16:creationId xmlns:a16="http://schemas.microsoft.com/office/drawing/2014/main" id="{AA5AE336-D6E0-427C-81F5-34B1300C6964}"/>
                </a:ext>
              </a:extLst>
            </p:cNvPr>
            <p:cNvSpPr>
              <a:spLocks noChangeArrowheads="1"/>
            </p:cNvSpPr>
            <p:nvPr/>
          </p:nvSpPr>
          <p:spPr bwMode="gray">
            <a:xfrm>
              <a:off x="6771058" y="5159642"/>
              <a:ext cx="2094809" cy="996763"/>
            </a:xfrm>
            <a:prstGeom prst="rect">
              <a:avLst/>
            </a:prstGeom>
            <a:solidFill>
              <a:sysClr val="window" lastClr="FFFFFF"/>
            </a:solidFill>
            <a:ln w="19050" algn="ctr">
              <a:solidFill>
                <a:schemeClr val="accent1"/>
              </a:solidFill>
              <a:miter lim="800000"/>
              <a:headEnd/>
              <a:tailEnd/>
            </a:ln>
            <a:effectLst/>
          </p:spPr>
          <p:txBody>
            <a:bodyPr lIns="72000" tIns="137160" rIns="72000" bIns="72000" anchor="t" anchorCtr="1">
              <a:noAutofit/>
            </a:bodyPr>
            <a:lstStyle/>
            <a:p>
              <a:pPr marL="171450" lvl="0" indent="-171450" defTabSz="1219170" fontAlgn="base">
                <a:spcBef>
                  <a:spcPct val="10000"/>
                </a:spcBef>
                <a:spcAft>
                  <a:spcPct val="0"/>
                </a:spcAft>
                <a:buClr>
                  <a:srgbClr val="000000"/>
                </a:buClr>
                <a:buFont typeface="Arial" panose="020B0604020202020204" pitchFamily="34" charset="0"/>
                <a:buChar char="•"/>
                <a:tabLst>
                  <a:tab pos="2173288" algn="l"/>
                </a:tabLst>
                <a:defRPr/>
              </a:pPr>
              <a:r>
                <a:rPr lang="en-US" sz="800" kern="0" dirty="0">
                  <a:solidFill>
                    <a:srgbClr val="000000"/>
                  </a:solidFill>
                  <a:cs typeface="Arial" pitchFamily="34" charset="0"/>
                </a:rPr>
                <a:t>Lorem ipsum dolor sit </a:t>
              </a:r>
              <a:r>
                <a:rPr lang="en-US" sz="800" kern="0" dirty="0" err="1">
                  <a:solidFill>
                    <a:srgbClr val="000000"/>
                  </a:solidFill>
                  <a:cs typeface="Arial" pitchFamily="34" charset="0"/>
                </a:rPr>
                <a:t>amet</a:t>
              </a:r>
              <a:r>
                <a:rPr lang="en-US" sz="800" kern="0" dirty="0">
                  <a:solidFill>
                    <a:srgbClr val="000000"/>
                  </a:solidFill>
                  <a:cs typeface="Arial" pitchFamily="34" charset="0"/>
                </a:rPr>
                <a:t>, </a:t>
              </a:r>
              <a:r>
                <a:rPr lang="en-US" sz="800" kern="0" dirty="0" err="1">
                  <a:solidFill>
                    <a:srgbClr val="000000"/>
                  </a:solidFill>
                  <a:cs typeface="Arial" pitchFamily="34" charset="0"/>
                </a:rPr>
                <a:t>consect</a:t>
              </a:r>
              <a:endParaRPr kumimoji="0" lang="en-GB" sz="800" b="0" i="0" u="none" strike="noStrike" kern="0" cap="none" spc="0" normalizeH="0" baseline="0" noProof="0" dirty="0">
                <a:ln>
                  <a:noFill/>
                </a:ln>
                <a:solidFill>
                  <a:srgbClr val="000000"/>
                </a:solidFill>
                <a:effectLst/>
                <a:uLnTx/>
                <a:uFillTx/>
                <a:cs typeface="Arial" pitchFamily="34" charset="0"/>
              </a:endParaRPr>
            </a:p>
          </p:txBody>
        </p:sp>
        <p:sp>
          <p:nvSpPr>
            <p:cNvPr id="106" name="Rectangle 105">
              <a:extLst>
                <a:ext uri="{FF2B5EF4-FFF2-40B4-BE49-F238E27FC236}">
                  <a16:creationId xmlns:a16="http://schemas.microsoft.com/office/drawing/2014/main" id="{542166F2-E0A9-4A5C-97EA-90FEAF200834}"/>
                </a:ext>
              </a:extLst>
            </p:cNvPr>
            <p:cNvSpPr>
              <a:spLocks noChangeArrowheads="1"/>
            </p:cNvSpPr>
            <p:nvPr/>
          </p:nvSpPr>
          <p:spPr bwMode="gray">
            <a:xfrm>
              <a:off x="8995001" y="5159642"/>
              <a:ext cx="2094809" cy="996763"/>
            </a:xfrm>
            <a:prstGeom prst="rect">
              <a:avLst/>
            </a:prstGeom>
            <a:solidFill>
              <a:sysClr val="window" lastClr="FFFFFF"/>
            </a:solidFill>
            <a:ln w="19050" algn="ctr">
              <a:solidFill>
                <a:schemeClr val="accent1"/>
              </a:solidFill>
              <a:miter lim="800000"/>
              <a:headEnd/>
              <a:tailEnd/>
            </a:ln>
            <a:effectLst/>
          </p:spPr>
          <p:txBody>
            <a:bodyPr lIns="72000" tIns="137160" rIns="72000" bIns="72000" anchor="t" anchorCtr="1">
              <a:noAutofit/>
            </a:bodyPr>
            <a:lstStyle/>
            <a:p>
              <a:pPr marL="171450" lvl="0" indent="-171450" defTabSz="1219170" fontAlgn="base">
                <a:spcBef>
                  <a:spcPct val="10000"/>
                </a:spcBef>
                <a:spcAft>
                  <a:spcPct val="0"/>
                </a:spcAft>
                <a:buClr>
                  <a:srgbClr val="000000"/>
                </a:buClr>
                <a:buFont typeface="Arial" panose="020B0604020202020204" pitchFamily="34" charset="0"/>
                <a:buChar char="•"/>
                <a:tabLst>
                  <a:tab pos="2173288" algn="l"/>
                </a:tabLst>
                <a:defRPr/>
              </a:pPr>
              <a:r>
                <a:rPr lang="en-US" sz="800" kern="0" dirty="0">
                  <a:solidFill>
                    <a:srgbClr val="000000"/>
                  </a:solidFill>
                  <a:cs typeface="Arial" pitchFamily="34" charset="0"/>
                </a:rPr>
                <a:t>Lorem ipsum dolor sit </a:t>
              </a:r>
              <a:r>
                <a:rPr lang="en-US" sz="800" kern="0" dirty="0" err="1">
                  <a:solidFill>
                    <a:srgbClr val="000000"/>
                  </a:solidFill>
                  <a:cs typeface="Arial" pitchFamily="34" charset="0"/>
                </a:rPr>
                <a:t>amet</a:t>
              </a:r>
              <a:r>
                <a:rPr lang="en-US" sz="800" kern="0" dirty="0">
                  <a:solidFill>
                    <a:srgbClr val="000000"/>
                  </a:solidFill>
                  <a:cs typeface="Arial" pitchFamily="34" charset="0"/>
                </a:rPr>
                <a:t>, </a:t>
              </a:r>
              <a:r>
                <a:rPr lang="en-US" sz="800" kern="0" dirty="0" err="1">
                  <a:solidFill>
                    <a:srgbClr val="000000"/>
                  </a:solidFill>
                  <a:cs typeface="Arial" pitchFamily="34" charset="0"/>
                </a:rPr>
                <a:t>consect</a:t>
              </a:r>
              <a:endParaRPr kumimoji="0" lang="en-GB" sz="800" b="0" i="0" u="none" strike="noStrike" kern="0" cap="none" spc="0" normalizeH="0" baseline="0" noProof="0" dirty="0">
                <a:ln>
                  <a:noFill/>
                </a:ln>
                <a:solidFill>
                  <a:srgbClr val="000000"/>
                </a:solidFill>
                <a:effectLst/>
                <a:uLnTx/>
                <a:uFillTx/>
                <a:cs typeface="Arial" pitchFamily="34" charset="0"/>
              </a:endParaRPr>
            </a:p>
          </p:txBody>
        </p:sp>
      </p:grpSp>
      <p:sp>
        <p:nvSpPr>
          <p:cNvPr id="89" name="Rectangle 144">
            <a:extLst>
              <a:ext uri="{FF2B5EF4-FFF2-40B4-BE49-F238E27FC236}">
                <a16:creationId xmlns:a16="http://schemas.microsoft.com/office/drawing/2014/main" id="{E8148104-6C5E-493C-BEAC-E94F09104A98}"/>
              </a:ext>
            </a:extLst>
          </p:cNvPr>
          <p:cNvSpPr>
            <a:spLocks noChangeArrowheads="1"/>
          </p:cNvSpPr>
          <p:nvPr/>
        </p:nvSpPr>
        <p:spPr bwMode="gray">
          <a:xfrm>
            <a:off x="1406680" y="1626235"/>
            <a:ext cx="3485489" cy="526192"/>
          </a:xfrm>
          <a:prstGeom prst="rect">
            <a:avLst/>
          </a:prstGeom>
          <a:solidFill>
            <a:sysClr val="window" lastClr="FFFFFF"/>
          </a:solidFill>
          <a:ln w="19050" algn="ctr">
            <a:solidFill>
              <a:schemeClr val="accent1"/>
            </a:solidFill>
            <a:miter lim="800000"/>
            <a:headEnd/>
            <a:tailEnd/>
          </a:ln>
          <a:effectLst/>
        </p:spPr>
        <p:txBody>
          <a:bodyPr lIns="72000" tIns="137160" rIns="72000" bIns="72000" anchor="ctr" anchorCtr="1">
            <a:noAutofit/>
          </a:bodyPr>
          <a:lstStyle/>
          <a:p>
            <a:pPr lvl="0" algn="ctr" defTabSz="1219170" fontAlgn="base">
              <a:spcBef>
                <a:spcPct val="10000"/>
              </a:spcBef>
              <a:spcAft>
                <a:spcPct val="0"/>
              </a:spcAft>
              <a:buClr>
                <a:srgbClr val="000000"/>
              </a:buClr>
              <a:tabLst>
                <a:tab pos="2173288" algn="l"/>
              </a:tabLst>
              <a:defRPr/>
            </a:pPr>
            <a:r>
              <a:rPr lang="it-IT" sz="800" kern="0" dirty="0">
                <a:solidFill>
                  <a:srgbClr val="000000"/>
                </a:solidFill>
                <a:cs typeface="Arial" pitchFamily="34" charset="0"/>
              </a:rPr>
              <a:t>Lorem ipsum dolor sit amet, consect</a:t>
            </a:r>
            <a:endParaRPr kumimoji="0" lang="it-IT" sz="800" b="0" i="0" u="none" strike="noStrike" kern="0" cap="none" spc="0" normalizeH="0" baseline="0" noProof="0" dirty="0">
              <a:ln>
                <a:noFill/>
              </a:ln>
              <a:solidFill>
                <a:srgbClr val="000000"/>
              </a:solidFill>
              <a:effectLst/>
              <a:uLnTx/>
              <a:uFillTx/>
              <a:cs typeface="Arial" pitchFamily="34" charset="0"/>
            </a:endParaRPr>
          </a:p>
        </p:txBody>
      </p:sp>
      <p:sp>
        <p:nvSpPr>
          <p:cNvPr id="90" name="Text Box 145">
            <a:extLst>
              <a:ext uri="{FF2B5EF4-FFF2-40B4-BE49-F238E27FC236}">
                <a16:creationId xmlns:a16="http://schemas.microsoft.com/office/drawing/2014/main" id="{93640D3C-4AA5-4772-AC9A-243187AFBE44}"/>
              </a:ext>
            </a:extLst>
          </p:cNvPr>
          <p:cNvSpPr txBox="1">
            <a:spLocks noChangeArrowheads="1"/>
          </p:cNvSpPr>
          <p:nvPr/>
        </p:nvSpPr>
        <p:spPr bwMode="gray">
          <a:xfrm>
            <a:off x="2258210" y="1536376"/>
            <a:ext cx="1802093"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chemeClr val="accent2"/>
                </a:solidFill>
                <a:cs typeface="Arial" pitchFamily="34" charset="0"/>
              </a:rPr>
              <a:t>Lorem </a:t>
            </a:r>
            <a:endParaRPr kumimoji="0" lang="en-US" sz="1000" b="1" i="0" u="none" strike="noStrike" kern="0" cap="none" spc="0" normalizeH="0" baseline="0" noProof="0" dirty="0">
              <a:ln>
                <a:noFill/>
              </a:ln>
              <a:solidFill>
                <a:schemeClr val="accent2"/>
              </a:solidFill>
              <a:effectLst/>
              <a:uLnTx/>
              <a:uFillTx/>
              <a:cs typeface="Arial" pitchFamily="34" charset="0"/>
            </a:endParaRPr>
          </a:p>
        </p:txBody>
      </p:sp>
      <p:sp>
        <p:nvSpPr>
          <p:cNvPr id="91" name="Rectangle 97">
            <a:extLst>
              <a:ext uri="{FF2B5EF4-FFF2-40B4-BE49-F238E27FC236}">
                <a16:creationId xmlns:a16="http://schemas.microsoft.com/office/drawing/2014/main" id="{6DB03C77-93C9-4DF0-B859-34AA6585383A}"/>
              </a:ext>
            </a:extLst>
          </p:cNvPr>
          <p:cNvSpPr>
            <a:spLocks noChangeArrowheads="1"/>
          </p:cNvSpPr>
          <p:nvPr/>
        </p:nvSpPr>
        <p:spPr bwMode="gray">
          <a:xfrm>
            <a:off x="1406681" y="3544086"/>
            <a:ext cx="3485488" cy="600821"/>
          </a:xfrm>
          <a:prstGeom prst="rect">
            <a:avLst/>
          </a:prstGeom>
          <a:solidFill>
            <a:schemeClr val="bg1"/>
          </a:solidFill>
          <a:ln w="19050" algn="ctr">
            <a:solidFill>
              <a:schemeClr val="accent1"/>
            </a:solidFill>
            <a:miter lim="800000"/>
            <a:headEnd/>
            <a:tailEnd/>
          </a:ln>
          <a:effectLst/>
        </p:spPr>
        <p:txBody>
          <a:bodyPr lIns="72000" tIns="137160" rIns="72000" bIns="72000" anchor="ctr" anchorCtr="1">
            <a:noAutofit/>
          </a:bodyPr>
          <a:lstStyle/>
          <a:p>
            <a:pPr lvl="0" algn="ctr" defTabSz="1219170" fontAlgn="base">
              <a:spcBef>
                <a:spcPct val="10000"/>
              </a:spcBef>
              <a:spcAft>
                <a:spcPct val="0"/>
              </a:spcAft>
              <a:buClr>
                <a:srgbClr val="000000"/>
              </a:buClr>
              <a:tabLst>
                <a:tab pos="2173288" algn="l"/>
              </a:tabLst>
              <a:defRPr/>
            </a:pPr>
            <a:r>
              <a:rPr lang="en-US" sz="800" kern="0" dirty="0">
                <a:solidFill>
                  <a:srgbClr val="000000"/>
                </a:solidFill>
                <a:cs typeface="Arial" pitchFamily="34" charset="0"/>
              </a:rPr>
              <a:t>Lorem ipsum dolor sit </a:t>
            </a:r>
            <a:r>
              <a:rPr lang="en-US" sz="800" kern="0" dirty="0" err="1">
                <a:solidFill>
                  <a:srgbClr val="000000"/>
                </a:solidFill>
                <a:cs typeface="Arial" pitchFamily="34" charset="0"/>
              </a:rPr>
              <a:t>amet</a:t>
            </a:r>
            <a:r>
              <a:rPr lang="en-US" sz="800" kern="0" dirty="0">
                <a:solidFill>
                  <a:srgbClr val="000000"/>
                </a:solidFill>
                <a:cs typeface="Arial" pitchFamily="34" charset="0"/>
              </a:rPr>
              <a:t>, </a:t>
            </a:r>
            <a:r>
              <a:rPr lang="en-US" sz="800" kern="0" dirty="0" err="1">
                <a:solidFill>
                  <a:srgbClr val="000000"/>
                </a:solidFill>
                <a:cs typeface="Arial" pitchFamily="34" charset="0"/>
              </a:rPr>
              <a:t>consect</a:t>
            </a:r>
            <a:endParaRPr kumimoji="0" lang="en-GB" sz="800" b="0" i="0" u="none" strike="noStrike" kern="0" cap="none" spc="0" normalizeH="0" baseline="0" noProof="0" dirty="0">
              <a:ln>
                <a:noFill/>
              </a:ln>
              <a:solidFill>
                <a:srgbClr val="000000"/>
              </a:solidFill>
              <a:effectLst/>
              <a:uLnTx/>
              <a:uFillTx/>
              <a:cs typeface="Arial" pitchFamily="34" charset="0"/>
            </a:endParaRPr>
          </a:p>
        </p:txBody>
      </p:sp>
      <p:sp>
        <p:nvSpPr>
          <p:cNvPr id="92" name="Text Box 98">
            <a:extLst>
              <a:ext uri="{FF2B5EF4-FFF2-40B4-BE49-F238E27FC236}">
                <a16:creationId xmlns:a16="http://schemas.microsoft.com/office/drawing/2014/main" id="{63771B02-CEB3-4A09-B6F1-D8B841C6AD01}"/>
              </a:ext>
            </a:extLst>
          </p:cNvPr>
          <p:cNvSpPr txBox="1">
            <a:spLocks noChangeArrowheads="1"/>
          </p:cNvSpPr>
          <p:nvPr/>
        </p:nvSpPr>
        <p:spPr bwMode="gray">
          <a:xfrm>
            <a:off x="2453179" y="3456357"/>
            <a:ext cx="1392490"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chemeClr val="accent2"/>
                </a:solidFill>
                <a:cs typeface="Arial" pitchFamily="34" charset="0"/>
              </a:rPr>
              <a:t>Lorem </a:t>
            </a:r>
            <a:endParaRPr kumimoji="0" lang="en-US" sz="1000" b="1" i="0" u="none" strike="noStrike" kern="0" cap="none" spc="0" normalizeH="0" baseline="0" noProof="0" dirty="0">
              <a:ln>
                <a:noFill/>
              </a:ln>
              <a:solidFill>
                <a:schemeClr val="accent2"/>
              </a:solidFill>
              <a:effectLst/>
              <a:uLnTx/>
              <a:uFillTx/>
              <a:cs typeface="Arial" pitchFamily="34" charset="0"/>
            </a:endParaRPr>
          </a:p>
        </p:txBody>
      </p:sp>
      <p:sp>
        <p:nvSpPr>
          <p:cNvPr id="93" name="Text Box 98">
            <a:extLst>
              <a:ext uri="{FF2B5EF4-FFF2-40B4-BE49-F238E27FC236}">
                <a16:creationId xmlns:a16="http://schemas.microsoft.com/office/drawing/2014/main" id="{70CFC100-FB60-4E7C-A389-F25AD73C6EC8}"/>
              </a:ext>
            </a:extLst>
          </p:cNvPr>
          <p:cNvSpPr txBox="1">
            <a:spLocks noChangeArrowheads="1"/>
          </p:cNvSpPr>
          <p:nvPr/>
        </p:nvSpPr>
        <p:spPr bwMode="gray">
          <a:xfrm>
            <a:off x="2290213" y="4297827"/>
            <a:ext cx="1607922"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chemeClr val="accent2"/>
                </a:solidFill>
                <a:cs typeface="Arial" pitchFamily="34" charset="0"/>
              </a:rPr>
              <a:t>Lorem </a:t>
            </a:r>
            <a:endParaRPr kumimoji="0" lang="en-US" sz="1000" b="1" i="0" u="none" strike="noStrike" kern="0" cap="none" spc="0" normalizeH="0" baseline="0" noProof="0" dirty="0">
              <a:ln>
                <a:noFill/>
              </a:ln>
              <a:solidFill>
                <a:schemeClr val="accent2"/>
              </a:solidFill>
              <a:effectLst/>
              <a:uLnTx/>
              <a:uFillTx/>
              <a:cs typeface="Arial" pitchFamily="34" charset="0"/>
            </a:endParaRPr>
          </a:p>
        </p:txBody>
      </p:sp>
      <p:sp>
        <p:nvSpPr>
          <p:cNvPr id="105" name="Text Box 98">
            <a:extLst>
              <a:ext uri="{FF2B5EF4-FFF2-40B4-BE49-F238E27FC236}">
                <a16:creationId xmlns:a16="http://schemas.microsoft.com/office/drawing/2014/main" id="{8E0C71D1-1BF8-4B4F-9BFF-538E9191E8D5}"/>
              </a:ext>
            </a:extLst>
          </p:cNvPr>
          <p:cNvSpPr txBox="1">
            <a:spLocks noChangeArrowheads="1"/>
          </p:cNvSpPr>
          <p:nvPr/>
        </p:nvSpPr>
        <p:spPr bwMode="gray">
          <a:xfrm>
            <a:off x="1527952" y="4492900"/>
            <a:ext cx="730258"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rgbClr val="000000"/>
                </a:solidFill>
                <a:cs typeface="Arial" pitchFamily="34" charset="0"/>
              </a:rPr>
              <a:t>Lorem </a:t>
            </a:r>
            <a:endParaRPr kumimoji="0" lang="en-US" sz="1000" b="1" i="0" u="none" strike="noStrike" kern="0" cap="none" spc="0" normalizeH="0" baseline="0" noProof="0" dirty="0">
              <a:ln>
                <a:noFill/>
              </a:ln>
              <a:solidFill>
                <a:srgbClr val="000000"/>
              </a:solidFill>
              <a:effectLst/>
              <a:uLnTx/>
              <a:uFillTx/>
              <a:cs typeface="Arial" pitchFamily="34" charset="0"/>
            </a:endParaRPr>
          </a:p>
        </p:txBody>
      </p:sp>
      <p:sp>
        <p:nvSpPr>
          <p:cNvPr id="107" name="Text Box 98">
            <a:extLst>
              <a:ext uri="{FF2B5EF4-FFF2-40B4-BE49-F238E27FC236}">
                <a16:creationId xmlns:a16="http://schemas.microsoft.com/office/drawing/2014/main" id="{222D0425-A9FC-40FE-B4DF-5BBC93888169}"/>
              </a:ext>
            </a:extLst>
          </p:cNvPr>
          <p:cNvSpPr txBox="1">
            <a:spLocks noChangeArrowheads="1"/>
          </p:cNvSpPr>
          <p:nvPr/>
        </p:nvSpPr>
        <p:spPr bwMode="gray">
          <a:xfrm>
            <a:off x="3732217" y="4492900"/>
            <a:ext cx="769614"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rgbClr val="000000"/>
                </a:solidFill>
                <a:cs typeface="Arial" pitchFamily="34" charset="0"/>
              </a:rPr>
              <a:t>Lorem </a:t>
            </a:r>
            <a:endParaRPr kumimoji="0" lang="en-US" sz="1000" b="1" i="0" u="none" strike="noStrike" kern="0" cap="none" spc="0" normalizeH="0" baseline="0" noProof="0" dirty="0">
              <a:ln>
                <a:noFill/>
              </a:ln>
              <a:solidFill>
                <a:srgbClr val="000000"/>
              </a:solidFill>
              <a:effectLst/>
              <a:uLnTx/>
              <a:uFillTx/>
              <a:cs typeface="Arial" pitchFamily="34" charset="0"/>
            </a:endParaRPr>
          </a:p>
        </p:txBody>
      </p:sp>
      <p:sp>
        <p:nvSpPr>
          <p:cNvPr id="110" name="Line 11">
            <a:extLst>
              <a:ext uri="{FF2B5EF4-FFF2-40B4-BE49-F238E27FC236}">
                <a16:creationId xmlns:a16="http://schemas.microsoft.com/office/drawing/2014/main" id="{EC566ADC-EE07-488C-8FB9-5D6BB87D5C26}"/>
              </a:ext>
            </a:extLst>
          </p:cNvPr>
          <p:cNvSpPr>
            <a:spLocks noChangeShapeType="1"/>
          </p:cNvSpPr>
          <p:nvPr/>
        </p:nvSpPr>
        <p:spPr bwMode="gray">
          <a:xfrm>
            <a:off x="2638589" y="2921694"/>
            <a:ext cx="1020156" cy="0"/>
          </a:xfrm>
          <a:prstGeom prst="line">
            <a:avLst/>
          </a:prstGeom>
          <a:solidFill>
            <a:sysClr val="window" lastClr="FFFFFF"/>
          </a:solidFill>
          <a:ln w="19050" algn="ctr">
            <a:solidFill>
              <a:schemeClr val="accent5"/>
            </a:solidFill>
            <a:prstDash val="sysDot"/>
            <a:miter lim="800000"/>
            <a:headEnd/>
            <a:tailEnd/>
          </a:ln>
          <a:effectLst/>
        </p:spPr>
        <p:txBody>
          <a:bodyPr lIns="72000" tIns="137160" rIns="72000" bIns="72000" anchor="ctr" anchorCtr="1">
            <a:noAutofit/>
          </a:bodyPr>
          <a:lstStyle/>
          <a:p>
            <a:pPr marL="0" marR="0" lvl="0" indent="0" defTabSz="1219170" eaLnBrk="1" fontAlgn="base" latinLnBrk="0" hangingPunct="1">
              <a:lnSpc>
                <a:spcPct val="100000"/>
              </a:lnSpc>
              <a:spcBef>
                <a:spcPct val="10000"/>
              </a:spcBef>
              <a:spcAft>
                <a:spcPct val="0"/>
              </a:spcAft>
              <a:buClr>
                <a:srgbClr val="000000"/>
              </a:buClr>
              <a:buSzTx/>
              <a:buFontTx/>
              <a:buNone/>
              <a:tabLst>
                <a:tab pos="2173288" algn="l"/>
              </a:tabLst>
              <a:defRPr/>
            </a:pPr>
            <a:endParaRPr kumimoji="0" lang="en-US" sz="1000" b="0" i="0" u="none" strike="noStrike" kern="0" cap="none" spc="0" normalizeH="0" baseline="0" noProof="0">
              <a:ln>
                <a:noFill/>
              </a:ln>
              <a:solidFill>
                <a:srgbClr val="000000"/>
              </a:solidFill>
              <a:effectLst/>
              <a:uLnTx/>
              <a:uFillTx/>
              <a:cs typeface="Arial" pitchFamily="34" charset="0"/>
            </a:endParaRPr>
          </a:p>
        </p:txBody>
      </p:sp>
      <p:sp>
        <p:nvSpPr>
          <p:cNvPr id="97" name="Rectangle 97">
            <a:extLst>
              <a:ext uri="{FF2B5EF4-FFF2-40B4-BE49-F238E27FC236}">
                <a16:creationId xmlns:a16="http://schemas.microsoft.com/office/drawing/2014/main" id="{B853AAD1-0916-4DE3-8764-71873BF934B2}"/>
              </a:ext>
            </a:extLst>
          </p:cNvPr>
          <p:cNvSpPr>
            <a:spLocks noChangeArrowheads="1"/>
          </p:cNvSpPr>
          <p:nvPr/>
        </p:nvSpPr>
        <p:spPr bwMode="gray">
          <a:xfrm>
            <a:off x="469900" y="2519443"/>
            <a:ext cx="2156605" cy="809302"/>
          </a:xfrm>
          <a:prstGeom prst="rect">
            <a:avLst/>
          </a:prstGeom>
          <a:solidFill>
            <a:sysClr val="window" lastClr="FFFFFF"/>
          </a:solidFill>
          <a:ln w="19050" algn="ctr">
            <a:solidFill>
              <a:schemeClr val="accent1"/>
            </a:solidFill>
            <a:prstDash val="sysDot"/>
            <a:miter lim="800000"/>
            <a:headEnd/>
            <a:tailEnd/>
          </a:ln>
          <a:effectLst/>
        </p:spPr>
        <p:txBody>
          <a:bodyPr lIns="72000" tIns="137160" rIns="72000" bIns="72000" anchor="ctr" anchorCtr="1">
            <a:noAutofit/>
          </a:bodyPr>
          <a:lstStyle/>
          <a:p>
            <a:pPr lvl="0" algn="ctr" defTabSz="1219170" fontAlgn="base">
              <a:spcBef>
                <a:spcPct val="10000"/>
              </a:spcBef>
              <a:spcAft>
                <a:spcPct val="0"/>
              </a:spcAft>
              <a:buClr>
                <a:srgbClr val="000000"/>
              </a:buClr>
              <a:tabLst>
                <a:tab pos="2173288" algn="l"/>
              </a:tabLst>
              <a:defRPr/>
            </a:pPr>
            <a:r>
              <a:rPr lang="en-US" sz="800" kern="0" dirty="0">
                <a:solidFill>
                  <a:srgbClr val="000000"/>
                </a:solidFill>
                <a:cs typeface="Arial" pitchFamily="34" charset="0"/>
              </a:rPr>
              <a:t>Lorem ipsum dolor sit </a:t>
            </a:r>
            <a:r>
              <a:rPr lang="en-US" sz="800" kern="0" dirty="0" err="1">
                <a:solidFill>
                  <a:srgbClr val="000000"/>
                </a:solidFill>
                <a:cs typeface="Arial" pitchFamily="34" charset="0"/>
              </a:rPr>
              <a:t>amet</a:t>
            </a:r>
            <a:r>
              <a:rPr lang="en-US" sz="800" kern="0" dirty="0">
                <a:solidFill>
                  <a:srgbClr val="000000"/>
                </a:solidFill>
                <a:cs typeface="Arial" pitchFamily="34" charset="0"/>
              </a:rPr>
              <a:t>, </a:t>
            </a:r>
            <a:r>
              <a:rPr lang="en-US" sz="800" kern="0" dirty="0" err="1">
                <a:solidFill>
                  <a:srgbClr val="000000"/>
                </a:solidFill>
                <a:cs typeface="Arial" pitchFamily="34" charset="0"/>
              </a:rPr>
              <a:t>consect</a:t>
            </a:r>
            <a:endParaRPr kumimoji="0" lang="en-US" sz="800" b="0" i="0" u="none" strike="noStrike" kern="0" cap="none" spc="0" normalizeH="0" baseline="0" noProof="0" dirty="0">
              <a:ln>
                <a:noFill/>
              </a:ln>
              <a:solidFill>
                <a:srgbClr val="000000"/>
              </a:solidFill>
              <a:effectLst/>
              <a:uLnTx/>
              <a:uFillTx/>
              <a:cs typeface="Arial" pitchFamily="34" charset="0"/>
            </a:endParaRPr>
          </a:p>
        </p:txBody>
      </p:sp>
      <p:sp>
        <p:nvSpPr>
          <p:cNvPr id="111" name="Rectangle 97">
            <a:extLst>
              <a:ext uri="{FF2B5EF4-FFF2-40B4-BE49-F238E27FC236}">
                <a16:creationId xmlns:a16="http://schemas.microsoft.com/office/drawing/2014/main" id="{E06FE7DD-0A15-45CD-A09A-4DF9565CDC01}"/>
              </a:ext>
            </a:extLst>
          </p:cNvPr>
          <p:cNvSpPr>
            <a:spLocks noChangeArrowheads="1"/>
          </p:cNvSpPr>
          <p:nvPr/>
        </p:nvSpPr>
        <p:spPr bwMode="gray">
          <a:xfrm>
            <a:off x="3658745" y="2519443"/>
            <a:ext cx="2156605" cy="809302"/>
          </a:xfrm>
          <a:prstGeom prst="rect">
            <a:avLst/>
          </a:prstGeom>
          <a:solidFill>
            <a:sysClr val="window" lastClr="FFFFFF"/>
          </a:solidFill>
          <a:ln w="19050" algn="ctr">
            <a:solidFill>
              <a:schemeClr val="accent1"/>
            </a:solidFill>
            <a:prstDash val="sysDot"/>
            <a:miter lim="800000"/>
            <a:headEnd/>
            <a:tailEnd/>
          </a:ln>
          <a:effectLst/>
        </p:spPr>
        <p:txBody>
          <a:bodyPr lIns="72000" tIns="137160" rIns="72000" bIns="72000" anchor="ctr" anchorCtr="1">
            <a:noAutofit/>
          </a:bodyPr>
          <a:lstStyle/>
          <a:p>
            <a:pPr lvl="0" algn="ctr" defTabSz="1219170" fontAlgn="base">
              <a:spcBef>
                <a:spcPct val="10000"/>
              </a:spcBef>
              <a:spcAft>
                <a:spcPct val="0"/>
              </a:spcAft>
              <a:buClr>
                <a:srgbClr val="000000"/>
              </a:buClr>
              <a:tabLst>
                <a:tab pos="2173288" algn="l"/>
              </a:tabLst>
              <a:defRPr/>
            </a:pPr>
            <a:r>
              <a:rPr lang="en-US" sz="800" kern="0" dirty="0">
                <a:solidFill>
                  <a:srgbClr val="000000"/>
                </a:solidFill>
                <a:cs typeface="Arial" pitchFamily="34" charset="0"/>
              </a:rPr>
              <a:t>Lorem ipsum dolor sit </a:t>
            </a:r>
            <a:r>
              <a:rPr lang="en-US" sz="800" kern="0" dirty="0" err="1">
                <a:solidFill>
                  <a:srgbClr val="000000"/>
                </a:solidFill>
                <a:cs typeface="Arial" pitchFamily="34" charset="0"/>
              </a:rPr>
              <a:t>amet</a:t>
            </a:r>
            <a:r>
              <a:rPr lang="en-US" sz="800" kern="0" dirty="0">
                <a:solidFill>
                  <a:srgbClr val="000000"/>
                </a:solidFill>
                <a:cs typeface="Arial" pitchFamily="34" charset="0"/>
              </a:rPr>
              <a:t>, </a:t>
            </a:r>
            <a:r>
              <a:rPr lang="en-US" sz="800" kern="0" dirty="0" err="1">
                <a:solidFill>
                  <a:srgbClr val="000000"/>
                </a:solidFill>
                <a:cs typeface="Arial" pitchFamily="34" charset="0"/>
              </a:rPr>
              <a:t>consect</a:t>
            </a:r>
            <a:endParaRPr kumimoji="0" lang="en-US" sz="800" b="0" i="0" u="none" strike="noStrike" kern="0" cap="none" spc="0" normalizeH="0" baseline="0" noProof="0" dirty="0">
              <a:ln>
                <a:noFill/>
              </a:ln>
              <a:solidFill>
                <a:srgbClr val="000000"/>
              </a:solidFill>
              <a:effectLst/>
              <a:uLnTx/>
              <a:uFillTx/>
              <a:cs typeface="Arial" pitchFamily="34" charset="0"/>
            </a:endParaRPr>
          </a:p>
        </p:txBody>
      </p:sp>
      <p:sp>
        <p:nvSpPr>
          <p:cNvPr id="112" name="Text Box 98">
            <a:extLst>
              <a:ext uri="{FF2B5EF4-FFF2-40B4-BE49-F238E27FC236}">
                <a16:creationId xmlns:a16="http://schemas.microsoft.com/office/drawing/2014/main" id="{C0B60348-9C0E-43D8-BB42-FCBDAF5171DA}"/>
              </a:ext>
            </a:extLst>
          </p:cNvPr>
          <p:cNvSpPr txBox="1">
            <a:spLocks noChangeArrowheads="1"/>
          </p:cNvSpPr>
          <p:nvPr/>
        </p:nvSpPr>
        <p:spPr bwMode="gray">
          <a:xfrm>
            <a:off x="4273838" y="2430338"/>
            <a:ext cx="926417"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chemeClr val="accent2"/>
                </a:solidFill>
                <a:cs typeface="Arial" pitchFamily="34" charset="0"/>
              </a:rPr>
              <a:t>Lorem </a:t>
            </a:r>
            <a:endParaRPr kumimoji="0" lang="en-US" sz="1000" b="1" i="0" u="none" strike="noStrike" kern="0" cap="none" spc="0" normalizeH="0" baseline="0" noProof="0" dirty="0">
              <a:ln>
                <a:noFill/>
              </a:ln>
              <a:solidFill>
                <a:schemeClr val="accent2"/>
              </a:solidFill>
              <a:effectLst/>
              <a:uLnTx/>
              <a:uFillTx/>
              <a:cs typeface="Arial" pitchFamily="34" charset="0"/>
            </a:endParaRPr>
          </a:p>
        </p:txBody>
      </p:sp>
      <p:sp>
        <p:nvSpPr>
          <p:cNvPr id="54" name="TextBox 53">
            <a:extLst>
              <a:ext uri="{FF2B5EF4-FFF2-40B4-BE49-F238E27FC236}">
                <a16:creationId xmlns:a16="http://schemas.microsoft.com/office/drawing/2014/main" id="{DD1CCB5D-781C-8244-ACDE-09600A2103BE}"/>
              </a:ext>
            </a:extLst>
          </p:cNvPr>
          <p:cNvSpPr txBox="1"/>
          <p:nvPr/>
        </p:nvSpPr>
        <p:spPr>
          <a:xfrm>
            <a:off x="469900" y="1016071"/>
            <a:ext cx="2079772" cy="215444"/>
          </a:xfrm>
          <a:prstGeom prst="rect">
            <a:avLst/>
          </a:prstGeom>
          <a:solidFill>
            <a:schemeClr val="bg1"/>
          </a:solidFill>
        </p:spPr>
        <p:txBody>
          <a:bodyPr vert="horz" wrap="square" lIns="0" tIns="0" rIns="0" bIns="0" rtlCol="0" anchor="t" anchorCtr="0">
            <a:spAutoFit/>
          </a:bodyPr>
          <a:lstStyle/>
          <a:p>
            <a:pPr lvl="0">
              <a:spcBef>
                <a:spcPts val="200"/>
              </a:spcBef>
              <a:buSzPct val="100000"/>
              <a:defRPr/>
            </a:pPr>
            <a:r>
              <a:rPr lang="en-US" sz="1400" dirty="0">
                <a:solidFill>
                  <a:srgbClr val="000000"/>
                </a:solidFill>
                <a:latin typeface="Calibri Light" panose="020F0302020204030204" pitchFamily="34" charset="0"/>
                <a:cs typeface="Calibri Light" panose="020F0302020204030204" pitchFamily="34" charset="0"/>
              </a:rPr>
              <a:t>LOREM </a:t>
            </a:r>
          </a:p>
        </p:txBody>
      </p:sp>
      <p:sp>
        <p:nvSpPr>
          <p:cNvPr id="59" name="Rectangle 58">
            <a:extLst>
              <a:ext uri="{FF2B5EF4-FFF2-40B4-BE49-F238E27FC236}">
                <a16:creationId xmlns:a16="http://schemas.microsoft.com/office/drawing/2014/main" id="{6B2403ED-4AE4-F142-9AB3-E3F89FCD00FC}"/>
              </a:ext>
            </a:extLst>
          </p:cNvPr>
          <p:cNvSpPr>
            <a:spLocks noChangeArrowheads="1"/>
          </p:cNvSpPr>
          <p:nvPr/>
        </p:nvSpPr>
        <p:spPr bwMode="auto">
          <a:xfrm>
            <a:off x="7743155" y="2426120"/>
            <a:ext cx="3777049" cy="939351"/>
          </a:xfrm>
          <a:prstGeom prst="rect">
            <a:avLst/>
          </a:prstGeom>
          <a:noFill/>
          <a:ln w="9525">
            <a:noFill/>
            <a:miter lim="800000"/>
            <a:headEnd/>
            <a:tailEnd/>
          </a:ln>
          <a:effectLst/>
        </p:spPr>
        <p:txBody>
          <a:bodyPr lIns="91440" tIns="0" rIns="91440" bIns="46033">
            <a:noAutofit/>
          </a:bodyPr>
          <a:lstStyle/>
          <a:p>
            <a:pPr marL="171450" indent="-171450" fontAlgn="base">
              <a:spcAft>
                <a:spcPts val="300"/>
              </a:spcAft>
              <a:buFont typeface="Arial" panose="020B0604020202020204" pitchFamily="34" charset="0"/>
              <a:buChar char="•"/>
              <a:defRPr/>
            </a:pPr>
            <a:r>
              <a:rPr lang="en-US" sz="1000" dirty="0"/>
              <a:t>Lorem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p:txBody>
      </p:sp>
      <p:sp>
        <p:nvSpPr>
          <p:cNvPr id="60" name="Text Box 60">
            <a:extLst>
              <a:ext uri="{FF2B5EF4-FFF2-40B4-BE49-F238E27FC236}">
                <a16:creationId xmlns:a16="http://schemas.microsoft.com/office/drawing/2014/main" id="{2F320850-D369-6C44-8525-791D4DD0B5D9}"/>
              </a:ext>
            </a:extLst>
          </p:cNvPr>
          <p:cNvSpPr txBox="1">
            <a:spLocks noChangeArrowheads="1"/>
          </p:cNvSpPr>
          <p:nvPr/>
        </p:nvSpPr>
        <p:spPr bwMode="gray">
          <a:xfrm>
            <a:off x="6699069" y="2426120"/>
            <a:ext cx="980810" cy="292388"/>
          </a:xfrm>
          <a:prstGeom prst="rect">
            <a:avLst/>
          </a:prstGeom>
          <a:noFill/>
          <a:ln w="12700" algn="ctr">
            <a:noFill/>
            <a:miter lim="800000"/>
            <a:headEnd/>
            <a:tailEnd type="none" w="sm" len="med"/>
          </a:ln>
        </p:spPr>
        <p:txBody>
          <a:bodyPr wrap="square" lIns="91440" tIns="0" rIns="91440" bIns="0" anchor="t" anchorCtr="0">
            <a:noAutofit/>
          </a:bodyPr>
          <a:lstStyle/>
          <a:p>
            <a:pPr lvl="0">
              <a:lnSpc>
                <a:spcPct val="95000"/>
              </a:lnSpc>
              <a:defRPr/>
            </a:pPr>
            <a:r>
              <a:rPr lang="en-US" sz="1000" b="1" dirty="0">
                <a:solidFill>
                  <a:schemeClr val="accent6"/>
                </a:solidFill>
                <a:ea typeface="Verdana" panose="020B0604030504040204" pitchFamily="34" charset="0"/>
                <a:cs typeface="Verdana" panose="020B0604030504040204" pitchFamily="34" charset="0"/>
              </a:rPr>
              <a:t>Lorem </a:t>
            </a:r>
            <a:endParaRPr kumimoji="0" lang="en-US" sz="1000" b="1" i="0" u="none" strike="noStrike" kern="1200" cap="none" spc="0" normalizeH="0" baseline="0" noProof="0" dirty="0">
              <a:ln>
                <a:noFill/>
              </a:ln>
              <a:solidFill>
                <a:schemeClr val="accent6"/>
              </a:solidFill>
              <a:effectLst/>
              <a:uLnTx/>
              <a:uFillTx/>
              <a:ea typeface="Verdana" panose="020B0604030504040204" pitchFamily="34" charset="0"/>
              <a:cs typeface="Verdana" panose="020B0604030504040204" pitchFamily="34" charset="0"/>
            </a:endParaRPr>
          </a:p>
        </p:txBody>
      </p:sp>
      <p:sp>
        <p:nvSpPr>
          <p:cNvPr id="61" name="Rectangle 60">
            <a:extLst>
              <a:ext uri="{FF2B5EF4-FFF2-40B4-BE49-F238E27FC236}">
                <a16:creationId xmlns:a16="http://schemas.microsoft.com/office/drawing/2014/main" id="{00A4C23D-2CCB-C54D-A4C7-26E0FCC08F0C}"/>
              </a:ext>
            </a:extLst>
          </p:cNvPr>
          <p:cNvSpPr>
            <a:spLocks noChangeArrowheads="1"/>
          </p:cNvSpPr>
          <p:nvPr/>
        </p:nvSpPr>
        <p:spPr bwMode="auto">
          <a:xfrm>
            <a:off x="7743156" y="3495185"/>
            <a:ext cx="3898900" cy="631574"/>
          </a:xfrm>
          <a:prstGeom prst="rect">
            <a:avLst/>
          </a:prstGeom>
          <a:noFill/>
          <a:ln w="9525">
            <a:noFill/>
            <a:miter lim="800000"/>
            <a:headEnd/>
            <a:tailEnd/>
          </a:ln>
          <a:effectLst/>
        </p:spPr>
        <p:txBody>
          <a:bodyPr lIns="91440" tIns="0" rIns="91440" bIns="46033">
            <a:noAutofit/>
          </a:bodyPr>
          <a:lstStyle/>
          <a:p>
            <a:pPr marL="171450" indent="-171450" fontAlgn="base">
              <a:spcAft>
                <a:spcPts val="300"/>
              </a:spcAft>
              <a:buFont typeface="Arial" panose="020B0604020202020204" pitchFamily="34" charset="0"/>
              <a:buChar char="•"/>
              <a:defRPr/>
            </a:pPr>
            <a:r>
              <a:rPr lang="en-US" sz="1000" dirty="0"/>
              <a:t>Lorem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p:txBody>
      </p:sp>
      <p:sp>
        <p:nvSpPr>
          <p:cNvPr id="62" name="Text Box 60">
            <a:extLst>
              <a:ext uri="{FF2B5EF4-FFF2-40B4-BE49-F238E27FC236}">
                <a16:creationId xmlns:a16="http://schemas.microsoft.com/office/drawing/2014/main" id="{9E46971F-9036-8C47-8FAA-57052875A1FA}"/>
              </a:ext>
            </a:extLst>
          </p:cNvPr>
          <p:cNvSpPr txBox="1">
            <a:spLocks noChangeArrowheads="1"/>
          </p:cNvSpPr>
          <p:nvPr/>
        </p:nvSpPr>
        <p:spPr bwMode="gray">
          <a:xfrm>
            <a:off x="6699069" y="3610245"/>
            <a:ext cx="1063548" cy="292388"/>
          </a:xfrm>
          <a:prstGeom prst="rect">
            <a:avLst/>
          </a:prstGeom>
          <a:noFill/>
          <a:ln w="12700" algn="ctr">
            <a:noFill/>
            <a:miter lim="800000"/>
            <a:headEnd/>
            <a:tailEnd type="none" w="sm" len="med"/>
          </a:ln>
        </p:spPr>
        <p:txBody>
          <a:bodyPr wrap="square" lIns="91440" tIns="0" rIns="91440" bIns="0" anchor="t" anchorCtr="0">
            <a:noAutofit/>
          </a:bodyPr>
          <a:lstStyle/>
          <a:p>
            <a:pPr lvl="0">
              <a:lnSpc>
                <a:spcPct val="95000"/>
              </a:lnSpc>
              <a:defRPr/>
            </a:pPr>
            <a:r>
              <a:rPr lang="en-US" sz="1000" b="1" dirty="0">
                <a:solidFill>
                  <a:schemeClr val="accent6"/>
                </a:solidFill>
                <a:ea typeface="Verdana" panose="020B0604030504040204" pitchFamily="34" charset="0"/>
                <a:cs typeface="Verdana" panose="020B0604030504040204" pitchFamily="34" charset="0"/>
              </a:rPr>
              <a:t>Lorem </a:t>
            </a:r>
            <a:endParaRPr kumimoji="0" lang="en-US" sz="1000" b="1" i="0" u="none" strike="noStrike" kern="1200" cap="none" spc="0" normalizeH="0" baseline="0" noProof="0" dirty="0">
              <a:ln>
                <a:noFill/>
              </a:ln>
              <a:solidFill>
                <a:schemeClr val="accent6"/>
              </a:solidFill>
              <a:effectLst/>
              <a:uLnTx/>
              <a:uFillTx/>
              <a:ea typeface="Verdana" panose="020B0604030504040204" pitchFamily="34" charset="0"/>
              <a:cs typeface="Verdana" panose="020B0604030504040204" pitchFamily="34" charset="0"/>
            </a:endParaRPr>
          </a:p>
        </p:txBody>
      </p:sp>
      <p:sp>
        <p:nvSpPr>
          <p:cNvPr id="63" name="Rectangle 62">
            <a:extLst>
              <a:ext uri="{FF2B5EF4-FFF2-40B4-BE49-F238E27FC236}">
                <a16:creationId xmlns:a16="http://schemas.microsoft.com/office/drawing/2014/main" id="{95DF9F85-C854-3D45-8D9D-734E19A09FA7}"/>
              </a:ext>
            </a:extLst>
          </p:cNvPr>
          <p:cNvSpPr>
            <a:spLocks noChangeArrowheads="1"/>
          </p:cNvSpPr>
          <p:nvPr/>
        </p:nvSpPr>
        <p:spPr bwMode="auto">
          <a:xfrm>
            <a:off x="7743155" y="4375910"/>
            <a:ext cx="3737159" cy="939351"/>
          </a:xfrm>
          <a:prstGeom prst="rect">
            <a:avLst/>
          </a:prstGeom>
          <a:noFill/>
          <a:ln w="9525">
            <a:noFill/>
            <a:miter lim="800000"/>
            <a:headEnd/>
            <a:tailEnd/>
          </a:ln>
          <a:effectLst/>
        </p:spPr>
        <p:txBody>
          <a:bodyPr lIns="91440" tIns="0" rIns="91440" bIns="46033">
            <a:noAutofit/>
          </a:bodyPr>
          <a:lstStyle/>
          <a:p>
            <a:pPr marL="171450" indent="-171450" fontAlgn="base">
              <a:spcAft>
                <a:spcPts val="300"/>
              </a:spcAft>
              <a:buFont typeface="Arial" panose="020B0604020202020204" pitchFamily="34" charset="0"/>
              <a:buChar char="•"/>
              <a:defRPr/>
            </a:pPr>
            <a:r>
              <a:rPr lang="en-US" sz="1000" dirty="0"/>
              <a:t>Lorem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p:txBody>
      </p:sp>
      <p:sp>
        <p:nvSpPr>
          <p:cNvPr id="64" name="Text Box 60">
            <a:extLst>
              <a:ext uri="{FF2B5EF4-FFF2-40B4-BE49-F238E27FC236}">
                <a16:creationId xmlns:a16="http://schemas.microsoft.com/office/drawing/2014/main" id="{19070D69-7076-B543-B3C1-4A8B9B2E27A7}"/>
              </a:ext>
            </a:extLst>
          </p:cNvPr>
          <p:cNvSpPr txBox="1">
            <a:spLocks noChangeArrowheads="1"/>
          </p:cNvSpPr>
          <p:nvPr/>
        </p:nvSpPr>
        <p:spPr bwMode="gray">
          <a:xfrm>
            <a:off x="6699069" y="4375910"/>
            <a:ext cx="980810" cy="146194"/>
          </a:xfrm>
          <a:prstGeom prst="rect">
            <a:avLst/>
          </a:prstGeom>
          <a:noFill/>
          <a:ln w="12700" algn="ctr">
            <a:noFill/>
            <a:miter lim="800000"/>
            <a:headEnd/>
            <a:tailEnd type="none" w="sm" len="med"/>
          </a:ln>
        </p:spPr>
        <p:txBody>
          <a:bodyPr wrap="square" lIns="91440" tIns="0" rIns="91440" bIns="0" anchor="t" anchorCtr="0">
            <a:noAutofit/>
          </a:bodyPr>
          <a:lstStyle/>
          <a:p>
            <a:pPr lvl="0">
              <a:lnSpc>
                <a:spcPct val="95000"/>
              </a:lnSpc>
              <a:defRPr/>
            </a:pPr>
            <a:r>
              <a:rPr lang="en-US" sz="1000" b="1" dirty="0">
                <a:solidFill>
                  <a:schemeClr val="accent6"/>
                </a:solidFill>
                <a:ea typeface="Verdana" panose="020B0604030504040204" pitchFamily="34" charset="0"/>
                <a:cs typeface="Verdana" panose="020B0604030504040204" pitchFamily="34" charset="0"/>
              </a:rPr>
              <a:t>Lorem </a:t>
            </a:r>
            <a:endParaRPr kumimoji="0" lang="en-US" sz="1000" b="1" i="0" u="none" strike="noStrike" kern="1200" cap="none" spc="0" normalizeH="0" baseline="0" noProof="0" dirty="0">
              <a:ln>
                <a:noFill/>
              </a:ln>
              <a:solidFill>
                <a:schemeClr val="accent6"/>
              </a:solidFill>
              <a:effectLst/>
              <a:uLnTx/>
              <a:uFillTx/>
              <a:ea typeface="Verdana" panose="020B0604030504040204" pitchFamily="34" charset="0"/>
              <a:cs typeface="Verdana" panose="020B0604030504040204" pitchFamily="34" charset="0"/>
            </a:endParaRPr>
          </a:p>
        </p:txBody>
      </p:sp>
      <p:sp>
        <p:nvSpPr>
          <p:cNvPr id="37" name="Rectangle 36">
            <a:extLst>
              <a:ext uri="{FF2B5EF4-FFF2-40B4-BE49-F238E27FC236}">
                <a16:creationId xmlns:a16="http://schemas.microsoft.com/office/drawing/2014/main" id="{BAC0BCF2-934A-AC41-B715-161910BF51BF}"/>
              </a:ext>
            </a:extLst>
          </p:cNvPr>
          <p:cNvSpPr>
            <a:spLocks noChangeArrowheads="1"/>
          </p:cNvSpPr>
          <p:nvPr/>
        </p:nvSpPr>
        <p:spPr bwMode="auto">
          <a:xfrm>
            <a:off x="7743155" y="1482718"/>
            <a:ext cx="3898900" cy="977823"/>
          </a:xfrm>
          <a:prstGeom prst="rect">
            <a:avLst/>
          </a:prstGeom>
          <a:noFill/>
          <a:ln w="9525">
            <a:noFill/>
            <a:miter lim="800000"/>
            <a:headEnd/>
            <a:tailEnd/>
          </a:ln>
          <a:effectLst/>
        </p:spPr>
        <p:txBody>
          <a:bodyPr lIns="91440" tIns="0" rIns="91440" bIns="46033">
            <a:noAutofit/>
          </a:bodyPr>
          <a:lstStyle/>
          <a:p>
            <a:pPr marL="171450" indent="-171450" fontAlgn="base">
              <a:spcAft>
                <a:spcPts val="300"/>
              </a:spcAft>
              <a:buFont typeface="Arial" panose="020B0604020202020204" pitchFamily="34" charset="0"/>
              <a:buChar char="•"/>
              <a:defRPr/>
            </a:pPr>
            <a:r>
              <a:rPr lang="en-US" sz="1000" dirty="0"/>
              <a:t>Lorem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p:txBody>
      </p:sp>
      <p:sp>
        <p:nvSpPr>
          <p:cNvPr id="38" name="Text Box 60">
            <a:extLst>
              <a:ext uri="{FF2B5EF4-FFF2-40B4-BE49-F238E27FC236}">
                <a16:creationId xmlns:a16="http://schemas.microsoft.com/office/drawing/2014/main" id="{1D3F8D8B-0BBB-FF40-94F6-B736F9C6D4DE}"/>
              </a:ext>
            </a:extLst>
          </p:cNvPr>
          <p:cNvSpPr txBox="1">
            <a:spLocks noChangeArrowheads="1"/>
          </p:cNvSpPr>
          <p:nvPr/>
        </p:nvSpPr>
        <p:spPr bwMode="gray">
          <a:xfrm>
            <a:off x="6699069" y="1482717"/>
            <a:ext cx="980810" cy="292388"/>
          </a:xfrm>
          <a:prstGeom prst="rect">
            <a:avLst/>
          </a:prstGeom>
          <a:noFill/>
          <a:ln w="12700" algn="ctr">
            <a:noFill/>
            <a:miter lim="800000"/>
            <a:headEnd/>
            <a:tailEnd type="none" w="sm" len="med"/>
          </a:ln>
        </p:spPr>
        <p:txBody>
          <a:bodyPr wrap="square" lIns="91440" tIns="0" rIns="91440" bIns="0" anchor="t" anchorCtr="0">
            <a:noAutofit/>
          </a:bodyPr>
          <a:lstStyle/>
          <a:p>
            <a:pPr lvl="0">
              <a:lnSpc>
                <a:spcPct val="95000"/>
              </a:lnSpc>
              <a:defRPr/>
            </a:pPr>
            <a:r>
              <a:rPr lang="en-US" sz="1000" b="1" dirty="0">
                <a:solidFill>
                  <a:schemeClr val="accent6"/>
                </a:solidFill>
                <a:ea typeface="Verdana" panose="020B0604030504040204" pitchFamily="34" charset="0"/>
                <a:cs typeface="Verdana" panose="020B0604030504040204" pitchFamily="34" charset="0"/>
              </a:rPr>
              <a:t>Lorem </a:t>
            </a:r>
          </a:p>
        </p:txBody>
      </p:sp>
      <p:sp>
        <p:nvSpPr>
          <p:cNvPr id="98" name="Text Box 98">
            <a:extLst>
              <a:ext uri="{FF2B5EF4-FFF2-40B4-BE49-F238E27FC236}">
                <a16:creationId xmlns:a16="http://schemas.microsoft.com/office/drawing/2014/main" id="{7C16930D-C037-469F-A4D9-84DFCA8DC681}"/>
              </a:ext>
            </a:extLst>
          </p:cNvPr>
          <p:cNvSpPr txBox="1">
            <a:spLocks noChangeArrowheads="1"/>
          </p:cNvSpPr>
          <p:nvPr/>
        </p:nvSpPr>
        <p:spPr bwMode="gray">
          <a:xfrm>
            <a:off x="680063" y="2426120"/>
            <a:ext cx="1744251" cy="158105"/>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chemeClr val="accent2"/>
                </a:solidFill>
                <a:cs typeface="Arial" pitchFamily="34" charset="0"/>
              </a:rPr>
              <a:t>Lorem </a:t>
            </a:r>
            <a:endParaRPr kumimoji="0" lang="en-US" sz="1000" b="1" i="0" u="none" strike="noStrike" kern="0" cap="none" spc="0" normalizeH="0" baseline="0" noProof="0" dirty="0">
              <a:ln>
                <a:noFill/>
              </a:ln>
              <a:solidFill>
                <a:schemeClr val="accent2"/>
              </a:solidFill>
              <a:effectLst/>
              <a:uLnTx/>
              <a:uFillTx/>
              <a:cs typeface="Arial" pitchFamily="34" charset="0"/>
            </a:endParaRPr>
          </a:p>
        </p:txBody>
      </p:sp>
      <p:sp>
        <p:nvSpPr>
          <p:cNvPr id="39" name="TextBox 38">
            <a:extLst>
              <a:ext uri="{FF2B5EF4-FFF2-40B4-BE49-F238E27FC236}">
                <a16:creationId xmlns:a16="http://schemas.microsoft.com/office/drawing/2014/main" id="{D7C535BF-97D7-B64D-9A3E-C78072516CF4}"/>
              </a:ext>
            </a:extLst>
          </p:cNvPr>
          <p:cNvSpPr txBox="1"/>
          <p:nvPr/>
        </p:nvSpPr>
        <p:spPr>
          <a:xfrm>
            <a:off x="6751431" y="1016071"/>
            <a:ext cx="2079772" cy="215444"/>
          </a:xfrm>
          <a:prstGeom prst="rect">
            <a:avLst/>
          </a:prstGeom>
          <a:noFill/>
        </p:spPr>
        <p:txBody>
          <a:bodyPr vert="horz" wrap="square" lIns="0" tIns="0" rIns="0" bIns="0" rtlCol="0" anchor="t" anchorCtr="0">
            <a:spAutoFit/>
          </a:bodyPr>
          <a:lstStyle/>
          <a:p>
            <a:pPr lvl="0">
              <a:spcBef>
                <a:spcPts val="200"/>
              </a:spcBef>
              <a:buSzPct val="100000"/>
              <a:defRPr/>
            </a:pPr>
            <a:r>
              <a:rPr lang="en-US" sz="1400" dirty="0">
                <a:solidFill>
                  <a:srgbClr val="000000"/>
                </a:solidFill>
                <a:latin typeface="Calibri Light" panose="020F0302020204030204" pitchFamily="34" charset="0"/>
                <a:cs typeface="Calibri Light" panose="020F0302020204030204" pitchFamily="34" charset="0"/>
              </a:rPr>
              <a:t>LOREM </a:t>
            </a:r>
          </a:p>
        </p:txBody>
      </p:sp>
    </p:spTree>
    <p:custDataLst>
      <p:tags r:id="rId1"/>
    </p:custDataLst>
    <p:extLst>
      <p:ext uri="{BB962C8B-B14F-4D97-AF65-F5344CB8AC3E}">
        <p14:creationId xmlns:p14="http://schemas.microsoft.com/office/powerpoint/2010/main" val="3982298649"/>
      </p:ext>
    </p:extLst>
  </p:cSld>
  <p:clrMapOvr>
    <a:masterClrMapping/>
  </p:clrMapOvr>
  <mc:AlternateContent xmlns:mc="http://schemas.openxmlformats.org/markup-compatibility/2006" xmlns:p14="http://schemas.microsoft.com/office/powerpoint/2010/main">
    <mc:Choice Requires="p14">
      <p:transition p14:dur="0"/>
    </mc:Choice>
    <mc:Fallback xmlns:a14="http://schemas.microsoft.com/office/drawing/2010/main" xmlns:a16="http://schemas.microsoft.com/office/drawing/2014/main" xmlns="">
      <p:transition/>
    </mc:Fallback>
  </mc:AlternateContent>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文本占位符 3"/>
          <p:cNvSpPr>
            <a:spLocks noGrp="1"/>
          </p:cNvSpPr>
          <p:nvPr>
            <p:ph type="body" sz="quarter" idx="4294967295"/>
          </p:nvPr>
        </p:nvSpPr>
        <p:spPr>
          <a:xfrm>
            <a:off x="0" y="1901825"/>
            <a:ext cx="11252200" cy="250825"/>
          </a:xfrm>
          <a:prstGeom prst="roundRect">
            <a:avLst/>
          </a:prstGeom>
          <a:solidFill>
            <a:srgbClr val="43B02A"/>
          </a:solidFill>
        </p:spPr>
        <p:txBody>
          <a:bodyPr tIns="36000" rIns="0" bIns="36000">
            <a:spAutoFit/>
          </a:bodyPr>
          <a:lstStyle/>
          <a:p>
            <a:pPr algn="ctr"/>
            <a:r>
              <a:rPr lang="en-US" altLang="zh-CN" sz="1000" b="1" dirty="0"/>
              <a:t>Lorem ipsum dolor sit </a:t>
            </a:r>
            <a:r>
              <a:rPr lang="en-US" altLang="zh-CN" sz="1000" b="1" dirty="0" err="1"/>
              <a:t>amet</a:t>
            </a:r>
            <a:r>
              <a:rPr lang="en-US" altLang="zh-CN" sz="1000" b="1" dirty="0"/>
              <a:t>, </a:t>
            </a:r>
            <a:r>
              <a:rPr lang="en-US" altLang="zh-CN" sz="1000" b="1" dirty="0" err="1"/>
              <a:t>consect</a:t>
            </a:r>
            <a:endParaRPr lang="en-US" altLang="zh-CN" sz="1000" b="1" dirty="0"/>
          </a:p>
        </p:txBody>
      </p:sp>
      <p:sp>
        <p:nvSpPr>
          <p:cNvPr id="115" name="文本占位符 3"/>
          <p:cNvSpPr>
            <a:spLocks noGrp="1"/>
          </p:cNvSpPr>
          <p:nvPr>
            <p:ph type="body" sz="quarter" idx="4294967295"/>
          </p:nvPr>
        </p:nvSpPr>
        <p:spPr>
          <a:xfrm>
            <a:off x="0" y="3876675"/>
            <a:ext cx="11252200" cy="122238"/>
          </a:xfrm>
        </p:spPr>
        <p:txBody>
          <a:bodyPr>
            <a:spAutoFit/>
          </a:bodyPr>
          <a:lstStyle/>
          <a:p>
            <a:r>
              <a:rPr lang="en-US" altLang="zh-CN" sz="800" dirty="0"/>
              <a:t>* UBS is still designated as a Joint Investment, not included in the numbers above. Other recent changes (losses, designations have occurred since the download of the July CPM portfolio</a:t>
            </a:r>
          </a:p>
        </p:txBody>
      </p:sp>
      <p:sp>
        <p:nvSpPr>
          <p:cNvPr id="116" name="文本占位符 3"/>
          <p:cNvSpPr>
            <a:spLocks noGrp="1"/>
          </p:cNvSpPr>
          <p:nvPr>
            <p:ph type="body" sz="quarter" idx="4294967295"/>
          </p:nvPr>
        </p:nvSpPr>
        <p:spPr>
          <a:xfrm>
            <a:off x="0" y="4081463"/>
            <a:ext cx="11252200" cy="250825"/>
          </a:xfrm>
          <a:prstGeom prst="roundRect">
            <a:avLst/>
          </a:prstGeom>
          <a:solidFill>
            <a:srgbClr val="86BC25"/>
          </a:solidFill>
        </p:spPr>
        <p:txBody>
          <a:bodyPr tIns="36000" rIns="0" bIns="36000">
            <a:spAutoFit/>
          </a:bodyPr>
          <a:lstStyle/>
          <a:p>
            <a:pPr algn="ctr"/>
            <a:r>
              <a:rPr lang="en-US" altLang="zh-CN" sz="1000" b="1" dirty="0">
                <a:solidFill>
                  <a:srgbClr val="000000"/>
                </a:solidFill>
              </a:rPr>
              <a:t>Lorem ipsum d</a:t>
            </a:r>
          </a:p>
        </p:txBody>
      </p:sp>
      <p:sp>
        <p:nvSpPr>
          <p:cNvPr id="133" name="文本占位符 3"/>
          <p:cNvSpPr>
            <a:spLocks noGrp="1"/>
          </p:cNvSpPr>
          <p:nvPr>
            <p:ph type="body" sz="quarter" idx="4294967295"/>
          </p:nvPr>
        </p:nvSpPr>
        <p:spPr>
          <a:xfrm>
            <a:off x="0" y="6178550"/>
            <a:ext cx="5537200" cy="107950"/>
          </a:xfrm>
        </p:spPr>
        <p:txBody>
          <a:bodyPr wrap="square">
            <a:spAutoFit/>
          </a:bodyPr>
          <a:lstStyle/>
          <a:p>
            <a:r>
              <a:rPr lang="en-US" altLang="zh-CN" sz="700" dirty="0"/>
              <a:t>1. Korean company and audit selections are made by the regulator hence, not a proactive target</a:t>
            </a:r>
          </a:p>
        </p:txBody>
      </p:sp>
      <p:sp>
        <p:nvSpPr>
          <p:cNvPr id="47" name="Rounded Rectangle 1">
            <a:extLst>
              <a:ext uri="{FF2B5EF4-FFF2-40B4-BE49-F238E27FC236}">
                <a16:creationId xmlns:a16="http://schemas.microsoft.com/office/drawing/2014/main" id="{F6B8C120-599F-4DD7-BC13-E420878D249C}"/>
              </a:ext>
            </a:extLst>
          </p:cNvPr>
          <p:cNvSpPr/>
          <p:nvPr/>
        </p:nvSpPr>
        <p:spPr>
          <a:xfrm>
            <a:off x="3295473" y="2797770"/>
            <a:ext cx="2711940" cy="278634"/>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rPr>
              <a:t>Lorem ipsum dolor sit </a:t>
            </a:r>
            <a:r>
              <a:rPr lang="en-US" altLang="ja-JP" sz="900" b="1" dirty="0" err="1">
                <a:solidFill>
                  <a:srgbClr val="FFFFFF"/>
                </a:solidFill>
                <a:ea typeface="Verdana" panose="020B0604030504040204" pitchFamily="34" charset="0"/>
              </a:rPr>
              <a:t>amet</a:t>
            </a:r>
            <a:r>
              <a:rPr lang="en-US" altLang="ja-JP" sz="900" b="1" dirty="0">
                <a:solidFill>
                  <a:srgbClr val="FFFFFF"/>
                </a:solidFill>
                <a:ea typeface="Verdana" panose="020B0604030504040204" pitchFamily="34" charset="0"/>
              </a:rPr>
              <a:t>, </a:t>
            </a:r>
            <a:r>
              <a:rPr lang="en-US" altLang="ja-JP" sz="900" b="1" dirty="0" err="1">
                <a:solidFill>
                  <a:srgbClr val="FFFFFF"/>
                </a:solidFill>
                <a:ea typeface="Verdana" panose="020B0604030504040204" pitchFamily="34" charset="0"/>
              </a:rPr>
              <a:t>consect</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endParaRPr>
          </a:p>
        </p:txBody>
      </p:sp>
      <p:sp>
        <p:nvSpPr>
          <p:cNvPr id="48" name="Rounded Rectangle 1">
            <a:extLst>
              <a:ext uri="{FF2B5EF4-FFF2-40B4-BE49-F238E27FC236}">
                <a16:creationId xmlns:a16="http://schemas.microsoft.com/office/drawing/2014/main" id="{5BCB02A9-BA08-42BF-B17A-9DD3CEC5BBBB}"/>
              </a:ext>
            </a:extLst>
          </p:cNvPr>
          <p:cNvSpPr/>
          <p:nvPr/>
        </p:nvSpPr>
        <p:spPr>
          <a:xfrm>
            <a:off x="4259608" y="3242262"/>
            <a:ext cx="771807"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49" name="Rounded Rectangle 1"/>
          <p:cNvSpPr/>
          <p:nvPr/>
        </p:nvSpPr>
        <p:spPr>
          <a:xfrm>
            <a:off x="469900" y="2248665"/>
            <a:ext cx="5537513" cy="38606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olor sit </a:t>
            </a:r>
            <a:r>
              <a:rPr lang="en-US" altLang="ja-JP" sz="900" b="1" dirty="0" err="1">
                <a:solidFill>
                  <a:srgbClr val="FFFFFF"/>
                </a:solidFill>
                <a:ea typeface="Verdana" panose="020B0604030504040204" pitchFamily="34" charset="0"/>
                <a:cs typeface="Verdana" panose="020B0604030504040204" pitchFamily="34" charset="0"/>
              </a:rPr>
              <a:t>amet</a:t>
            </a:r>
            <a:r>
              <a:rPr lang="en-US" altLang="ja-JP" sz="900" b="1" dirty="0">
                <a:solidFill>
                  <a:srgbClr val="FFFFFF"/>
                </a:solidFill>
                <a:ea typeface="Verdana" panose="020B0604030504040204" pitchFamily="34" charset="0"/>
                <a:cs typeface="Verdana" panose="020B0604030504040204" pitchFamily="34" charset="0"/>
              </a:rPr>
              <a:t>, </a:t>
            </a:r>
            <a:r>
              <a:rPr lang="en-US" altLang="ja-JP" sz="900" b="1" dirty="0" err="1">
                <a:solidFill>
                  <a:srgbClr val="FFFFFF"/>
                </a:solidFill>
                <a:ea typeface="Verdana" panose="020B0604030504040204" pitchFamily="34" charset="0"/>
                <a:cs typeface="Verdana" panose="020B0604030504040204" pitchFamily="34" charset="0"/>
              </a:rPr>
              <a:t>consect</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53" name="Rounded Rectangle 1">
            <a:extLst>
              <a:ext uri="{FF2B5EF4-FFF2-40B4-BE49-F238E27FC236}">
                <a16:creationId xmlns:a16="http://schemas.microsoft.com/office/drawing/2014/main" id="{79E2BB2E-4C1F-4C63-BD8C-6E3EDEBD5729}"/>
              </a:ext>
            </a:extLst>
          </p:cNvPr>
          <p:cNvSpPr/>
          <p:nvPr/>
        </p:nvSpPr>
        <p:spPr>
          <a:xfrm>
            <a:off x="1644353" y="3242262"/>
            <a:ext cx="1438771"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54" name="Rounded Rectangle 1">
            <a:extLst>
              <a:ext uri="{FF2B5EF4-FFF2-40B4-BE49-F238E27FC236}">
                <a16:creationId xmlns:a16="http://schemas.microsoft.com/office/drawing/2014/main" id="{D4F891AE-98A8-4387-97E9-2F1A31900E0B}"/>
              </a:ext>
            </a:extLst>
          </p:cNvPr>
          <p:cNvSpPr/>
          <p:nvPr/>
        </p:nvSpPr>
        <p:spPr>
          <a:xfrm>
            <a:off x="471799" y="2797771"/>
            <a:ext cx="2611325" cy="28237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olor sit </a:t>
            </a:r>
            <a:r>
              <a:rPr lang="en-US" altLang="ja-JP" sz="900" b="1" dirty="0" err="1">
                <a:solidFill>
                  <a:srgbClr val="FFFFFF"/>
                </a:solidFill>
                <a:ea typeface="Verdana" panose="020B0604030504040204" pitchFamily="34" charset="0"/>
                <a:cs typeface="Verdana" panose="020B0604030504040204" pitchFamily="34" charset="0"/>
              </a:rPr>
              <a:t>amet</a:t>
            </a:r>
            <a:r>
              <a:rPr lang="en-US" altLang="ja-JP" sz="900" b="1" dirty="0">
                <a:solidFill>
                  <a:srgbClr val="FFFFFF"/>
                </a:solidFill>
                <a:ea typeface="Verdana" panose="020B0604030504040204" pitchFamily="34" charset="0"/>
                <a:cs typeface="Verdana" panose="020B0604030504040204" pitchFamily="34" charset="0"/>
              </a:rPr>
              <a:t>, </a:t>
            </a:r>
            <a:r>
              <a:rPr lang="en-US" altLang="ja-JP" sz="900" b="1" dirty="0" err="1">
                <a:solidFill>
                  <a:srgbClr val="FFFFFF"/>
                </a:solidFill>
                <a:ea typeface="Verdana" panose="020B0604030504040204" pitchFamily="34" charset="0"/>
                <a:cs typeface="Verdana" panose="020B0604030504040204" pitchFamily="34" charset="0"/>
              </a:rPr>
              <a:t>consect</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55" name="Rounded Rectangle 1">
            <a:extLst>
              <a:ext uri="{FF2B5EF4-FFF2-40B4-BE49-F238E27FC236}">
                <a16:creationId xmlns:a16="http://schemas.microsoft.com/office/drawing/2014/main" id="{62C9A82A-B7C1-426B-95BC-F637BA913E76}"/>
              </a:ext>
            </a:extLst>
          </p:cNvPr>
          <p:cNvSpPr/>
          <p:nvPr/>
        </p:nvSpPr>
        <p:spPr>
          <a:xfrm>
            <a:off x="3301334" y="3242262"/>
            <a:ext cx="822022"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58" name="Rounded Rectangle 1">
            <a:extLst>
              <a:ext uri="{FF2B5EF4-FFF2-40B4-BE49-F238E27FC236}">
                <a16:creationId xmlns:a16="http://schemas.microsoft.com/office/drawing/2014/main" id="{4BB75DD6-E4B7-4274-98FD-CDE81711FDC6}"/>
              </a:ext>
            </a:extLst>
          </p:cNvPr>
          <p:cNvSpPr/>
          <p:nvPr/>
        </p:nvSpPr>
        <p:spPr>
          <a:xfrm>
            <a:off x="471800" y="3242262"/>
            <a:ext cx="1042544"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61" name="Rounded Rectangle 1">
            <a:extLst>
              <a:ext uri="{FF2B5EF4-FFF2-40B4-BE49-F238E27FC236}">
                <a16:creationId xmlns:a16="http://schemas.microsoft.com/office/drawing/2014/main" id="{7E170EC5-6924-45D7-8833-FC91B5877863}"/>
              </a:ext>
            </a:extLst>
          </p:cNvPr>
          <p:cNvSpPr/>
          <p:nvPr/>
        </p:nvSpPr>
        <p:spPr>
          <a:xfrm>
            <a:off x="5233706" y="3242262"/>
            <a:ext cx="771807"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0" name="Rounded Rectangle 1">
            <a:extLst>
              <a:ext uri="{FF2B5EF4-FFF2-40B4-BE49-F238E27FC236}">
                <a16:creationId xmlns:a16="http://schemas.microsoft.com/office/drawing/2014/main" id="{1FEB8D1C-1BFD-4814-8819-F9ABF3592357}"/>
              </a:ext>
            </a:extLst>
          </p:cNvPr>
          <p:cNvSpPr/>
          <p:nvPr/>
        </p:nvSpPr>
        <p:spPr>
          <a:xfrm>
            <a:off x="6194289" y="3242262"/>
            <a:ext cx="768096"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1" name="Rounded Rectangle 1">
            <a:extLst>
              <a:ext uri="{FF2B5EF4-FFF2-40B4-BE49-F238E27FC236}">
                <a16:creationId xmlns:a16="http://schemas.microsoft.com/office/drawing/2014/main" id="{80D7426F-07C4-4BE3-83AC-F7CC72FA0E30}"/>
              </a:ext>
            </a:extLst>
          </p:cNvPr>
          <p:cNvSpPr/>
          <p:nvPr/>
        </p:nvSpPr>
        <p:spPr>
          <a:xfrm>
            <a:off x="8968463" y="3242262"/>
            <a:ext cx="2753637"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2" name="Rounded Rectangle 1">
            <a:extLst>
              <a:ext uri="{FF2B5EF4-FFF2-40B4-BE49-F238E27FC236}">
                <a16:creationId xmlns:a16="http://schemas.microsoft.com/office/drawing/2014/main" id="{846E49DD-1CB9-4F3C-9547-7349604B35C1}"/>
              </a:ext>
            </a:extLst>
          </p:cNvPr>
          <p:cNvSpPr/>
          <p:nvPr/>
        </p:nvSpPr>
        <p:spPr>
          <a:xfrm>
            <a:off x="7119014" y="3242262"/>
            <a:ext cx="768096"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3" name="Rounded Rectangle 1">
            <a:extLst>
              <a:ext uri="{FF2B5EF4-FFF2-40B4-BE49-F238E27FC236}">
                <a16:creationId xmlns:a16="http://schemas.microsoft.com/office/drawing/2014/main" id="{A42B7BD7-BA4F-454C-9798-6A0158DE26B1}"/>
              </a:ext>
            </a:extLst>
          </p:cNvPr>
          <p:cNvSpPr/>
          <p:nvPr/>
        </p:nvSpPr>
        <p:spPr>
          <a:xfrm>
            <a:off x="6184900" y="2226605"/>
            <a:ext cx="5535300" cy="40812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4" name="Rounded Rectangle 1">
            <a:extLst>
              <a:ext uri="{FF2B5EF4-FFF2-40B4-BE49-F238E27FC236}">
                <a16:creationId xmlns:a16="http://schemas.microsoft.com/office/drawing/2014/main" id="{46D0487F-95BF-45EE-9324-133C812F130F}"/>
              </a:ext>
            </a:extLst>
          </p:cNvPr>
          <p:cNvSpPr/>
          <p:nvPr/>
        </p:nvSpPr>
        <p:spPr>
          <a:xfrm>
            <a:off x="8043739" y="3242262"/>
            <a:ext cx="768096"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25" name="Rounded Rectangle 1">
            <a:extLst>
              <a:ext uri="{FF2B5EF4-FFF2-40B4-BE49-F238E27FC236}">
                <a16:creationId xmlns:a16="http://schemas.microsoft.com/office/drawing/2014/main" id="{E279BB24-CB28-4847-B60C-92A7C6BBFDAF}"/>
              </a:ext>
            </a:extLst>
          </p:cNvPr>
          <p:cNvSpPr/>
          <p:nvPr/>
        </p:nvSpPr>
        <p:spPr>
          <a:xfrm>
            <a:off x="468001" y="4442062"/>
            <a:ext cx="5537512" cy="357834"/>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27" name="Rounded Rectangle 1">
            <a:extLst>
              <a:ext uri="{FF2B5EF4-FFF2-40B4-BE49-F238E27FC236}">
                <a16:creationId xmlns:a16="http://schemas.microsoft.com/office/drawing/2014/main" id="{2AF9E938-D1DE-4F5D-B201-D69876598915}"/>
              </a:ext>
            </a:extLst>
          </p:cNvPr>
          <p:cNvSpPr/>
          <p:nvPr/>
        </p:nvSpPr>
        <p:spPr>
          <a:xfrm>
            <a:off x="469899" y="5469040"/>
            <a:ext cx="873531"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28" name="Rounded Rectangle 1">
            <a:extLst>
              <a:ext uri="{FF2B5EF4-FFF2-40B4-BE49-F238E27FC236}">
                <a16:creationId xmlns:a16="http://schemas.microsoft.com/office/drawing/2014/main" id="{9C2733CF-7247-46A0-8502-C59949B804AF}"/>
              </a:ext>
            </a:extLst>
          </p:cNvPr>
          <p:cNvSpPr/>
          <p:nvPr/>
        </p:nvSpPr>
        <p:spPr>
          <a:xfrm>
            <a:off x="1506198" y="5469040"/>
            <a:ext cx="1577388"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0" name="Rounded Rectangle 1">
            <a:extLst>
              <a:ext uri="{FF2B5EF4-FFF2-40B4-BE49-F238E27FC236}">
                <a16:creationId xmlns:a16="http://schemas.microsoft.com/office/drawing/2014/main" id="{5BD11CB2-526C-47BC-8488-FB8AD0925D62}"/>
              </a:ext>
            </a:extLst>
          </p:cNvPr>
          <p:cNvSpPr/>
          <p:nvPr/>
        </p:nvSpPr>
        <p:spPr>
          <a:xfrm>
            <a:off x="469900" y="4964055"/>
            <a:ext cx="2611324" cy="342865"/>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26" name="Rounded Rectangle 1">
            <a:extLst>
              <a:ext uri="{FF2B5EF4-FFF2-40B4-BE49-F238E27FC236}">
                <a16:creationId xmlns:a16="http://schemas.microsoft.com/office/drawing/2014/main" id="{3FF21AA7-B106-419F-8067-13DD37A081FB}"/>
              </a:ext>
            </a:extLst>
          </p:cNvPr>
          <p:cNvSpPr/>
          <p:nvPr/>
        </p:nvSpPr>
        <p:spPr>
          <a:xfrm>
            <a:off x="3283428" y="5469040"/>
            <a:ext cx="809904"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30000" noProof="0" dirty="0">
              <a:ln>
                <a:noFill/>
              </a:ln>
              <a:solidFill>
                <a:srgbClr val="FFFFFF"/>
              </a:solidFill>
              <a:effectLst/>
              <a:uLnTx/>
              <a:uFillTx/>
              <a:ea typeface="Verdana" panose="020B0604030504040204" pitchFamily="34" charset="0"/>
            </a:endParaRPr>
          </a:p>
        </p:txBody>
      </p:sp>
      <p:sp>
        <p:nvSpPr>
          <p:cNvPr id="129" name="Rounded Rectangle 1">
            <a:extLst>
              <a:ext uri="{FF2B5EF4-FFF2-40B4-BE49-F238E27FC236}">
                <a16:creationId xmlns:a16="http://schemas.microsoft.com/office/drawing/2014/main" id="{3EC9D3FE-835F-4B80-87CB-105552DD1A15}"/>
              </a:ext>
            </a:extLst>
          </p:cNvPr>
          <p:cNvSpPr/>
          <p:nvPr/>
        </p:nvSpPr>
        <p:spPr>
          <a:xfrm>
            <a:off x="4237562" y="5469040"/>
            <a:ext cx="809904"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1" name="Rounded Rectangle 1">
            <a:extLst>
              <a:ext uri="{FF2B5EF4-FFF2-40B4-BE49-F238E27FC236}">
                <a16:creationId xmlns:a16="http://schemas.microsoft.com/office/drawing/2014/main" id="{C85F0B21-1B8D-40DB-A270-9B8C5511EAA2}"/>
              </a:ext>
            </a:extLst>
          </p:cNvPr>
          <p:cNvSpPr/>
          <p:nvPr/>
        </p:nvSpPr>
        <p:spPr>
          <a:xfrm>
            <a:off x="5191696" y="5469040"/>
            <a:ext cx="813817"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2" name="Rounded Rectangle 1">
            <a:extLst>
              <a:ext uri="{FF2B5EF4-FFF2-40B4-BE49-F238E27FC236}">
                <a16:creationId xmlns:a16="http://schemas.microsoft.com/office/drawing/2014/main" id="{19E45D14-D331-4E81-88BB-8BD2E43426CD}"/>
              </a:ext>
            </a:extLst>
          </p:cNvPr>
          <p:cNvSpPr/>
          <p:nvPr/>
        </p:nvSpPr>
        <p:spPr>
          <a:xfrm>
            <a:off x="3283428" y="4968592"/>
            <a:ext cx="2722085" cy="338328"/>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endParaRPr>
          </a:p>
        </p:txBody>
      </p:sp>
      <p:sp>
        <p:nvSpPr>
          <p:cNvPr id="137" name="Rounded Rectangle 1">
            <a:extLst>
              <a:ext uri="{FF2B5EF4-FFF2-40B4-BE49-F238E27FC236}">
                <a16:creationId xmlns:a16="http://schemas.microsoft.com/office/drawing/2014/main" id="{37400586-E742-43F4-964D-EF8F5F156446}"/>
              </a:ext>
            </a:extLst>
          </p:cNvPr>
          <p:cNvSpPr/>
          <p:nvPr/>
        </p:nvSpPr>
        <p:spPr>
          <a:xfrm>
            <a:off x="8963636" y="5467546"/>
            <a:ext cx="2753637"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8" name="Rounded Rectangle 1">
            <a:extLst>
              <a:ext uri="{FF2B5EF4-FFF2-40B4-BE49-F238E27FC236}">
                <a16:creationId xmlns:a16="http://schemas.microsoft.com/office/drawing/2014/main" id="{6F676D6E-4ECC-4510-A26A-CFCBF18137F6}"/>
              </a:ext>
            </a:extLst>
          </p:cNvPr>
          <p:cNvSpPr/>
          <p:nvPr/>
        </p:nvSpPr>
        <p:spPr>
          <a:xfrm>
            <a:off x="6194288" y="5467546"/>
            <a:ext cx="758707"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ja-JP" sz="9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4 </a:t>
            </a:r>
          </a:p>
          <a:p>
            <a:pPr lvl="0" algn="ctr" defTabSz="1219170">
              <a:defRPr/>
            </a:pPr>
            <a:r>
              <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Audit </a:t>
            </a:r>
            <a:r>
              <a:rPr lang="en-US" altLang="ja-JP" sz="900" dirty="0" err="1">
                <a:solidFill>
                  <a:srgbClr val="FFFFFF"/>
                </a:solidFill>
                <a:ea typeface="Verdana" panose="020B0604030504040204" pitchFamily="34" charset="0"/>
                <a:cs typeface="Verdana" panose="020B0604030504040204" pitchFamily="34" charset="0"/>
              </a:rPr>
              <a:t>targeLorem</a:t>
            </a:r>
            <a:r>
              <a:rPr lang="en-US" altLang="ja-JP" sz="900" dirty="0">
                <a:solidFill>
                  <a:srgbClr val="FFFFFF"/>
                </a:solidFill>
                <a:ea typeface="Verdana" panose="020B0604030504040204" pitchFamily="34" charset="0"/>
                <a:cs typeface="Verdana" panose="020B0604030504040204" pitchFamily="34" charset="0"/>
              </a:rPr>
              <a:t> ipsum </a:t>
            </a:r>
            <a:r>
              <a:rPr lang="en-US" altLang="ja-JP" sz="900" dirty="0" err="1">
                <a:solidFill>
                  <a:srgbClr val="FFFFFF"/>
                </a:solidFill>
                <a:ea typeface="Verdana" panose="020B0604030504040204" pitchFamily="34" charset="0"/>
                <a:cs typeface="Verdana" panose="020B0604030504040204" pitchFamily="34" charset="0"/>
              </a:rPr>
              <a:t>dts</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9" name="Rounded Rectangle 1">
            <a:extLst>
              <a:ext uri="{FF2B5EF4-FFF2-40B4-BE49-F238E27FC236}">
                <a16:creationId xmlns:a16="http://schemas.microsoft.com/office/drawing/2014/main" id="{6DA27FAC-9AA1-4194-BDE3-3063D83E8EB9}"/>
              </a:ext>
            </a:extLst>
          </p:cNvPr>
          <p:cNvSpPr/>
          <p:nvPr/>
        </p:nvSpPr>
        <p:spPr>
          <a:xfrm>
            <a:off x="7111145" y="5467546"/>
            <a:ext cx="768096"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40" name="Rounded Rectangle 1">
            <a:extLst>
              <a:ext uri="{FF2B5EF4-FFF2-40B4-BE49-F238E27FC236}">
                <a16:creationId xmlns:a16="http://schemas.microsoft.com/office/drawing/2014/main" id="{309EB044-1B86-491F-B65E-3E1DF5C55B53}"/>
              </a:ext>
            </a:extLst>
          </p:cNvPr>
          <p:cNvSpPr/>
          <p:nvPr/>
        </p:nvSpPr>
        <p:spPr>
          <a:xfrm>
            <a:off x="8037391" y="5467546"/>
            <a:ext cx="768096"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41" name="Rounded Rectangle 1">
            <a:extLst>
              <a:ext uri="{FF2B5EF4-FFF2-40B4-BE49-F238E27FC236}">
                <a16:creationId xmlns:a16="http://schemas.microsoft.com/office/drawing/2014/main" id="{762D50A0-D985-468F-AB20-0FB73A9E4894}"/>
              </a:ext>
            </a:extLst>
          </p:cNvPr>
          <p:cNvSpPr/>
          <p:nvPr/>
        </p:nvSpPr>
        <p:spPr>
          <a:xfrm>
            <a:off x="6194289" y="4419426"/>
            <a:ext cx="5527811" cy="394150"/>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grpSp>
        <p:nvGrpSpPr>
          <p:cNvPr id="39" name="组合 38"/>
          <p:cNvGrpSpPr/>
          <p:nvPr/>
        </p:nvGrpSpPr>
        <p:grpSpPr>
          <a:xfrm>
            <a:off x="1745976" y="2565446"/>
            <a:ext cx="59171" cy="297034"/>
            <a:chOff x="1745976" y="1297776"/>
            <a:chExt cx="59171" cy="297034"/>
          </a:xfrm>
        </p:grpSpPr>
        <p:sp>
          <p:nvSpPr>
            <p:cNvPr id="147" name="椭圆 146"/>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49" name="直接连接符 148"/>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52" name="椭圆 151"/>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70" name="组合 69"/>
          <p:cNvGrpSpPr/>
          <p:nvPr/>
        </p:nvGrpSpPr>
        <p:grpSpPr>
          <a:xfrm>
            <a:off x="6557645" y="2553827"/>
            <a:ext cx="59171" cy="755942"/>
            <a:chOff x="11841466" y="2597298"/>
            <a:chExt cx="59171" cy="755942"/>
          </a:xfrm>
        </p:grpSpPr>
        <p:sp>
          <p:nvSpPr>
            <p:cNvPr id="155" name="椭圆 154"/>
            <p:cNvSpPr>
              <a:spLocks noChangeAspect="1"/>
            </p:cNvSpPr>
            <p:nvPr/>
          </p:nvSpPr>
          <p:spPr bwMode="gray">
            <a:xfrm flipV="1">
              <a:off x="11841466" y="2597298"/>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56" name="直接连接符 155"/>
            <p:cNvCxnSpPr/>
            <p:nvPr/>
          </p:nvCxnSpPr>
          <p:spPr>
            <a:xfrm flipH="1">
              <a:off x="11867701" y="2646037"/>
              <a:ext cx="6701" cy="639696"/>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57" name="椭圆 156"/>
            <p:cNvSpPr>
              <a:spLocks noChangeAspect="1"/>
            </p:cNvSpPr>
            <p:nvPr/>
          </p:nvSpPr>
          <p:spPr bwMode="gray">
            <a:xfrm flipV="1">
              <a:off x="11841466" y="329406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58" name="组合 157"/>
          <p:cNvGrpSpPr/>
          <p:nvPr/>
        </p:nvGrpSpPr>
        <p:grpSpPr>
          <a:xfrm>
            <a:off x="963486" y="3006836"/>
            <a:ext cx="59171" cy="297034"/>
            <a:chOff x="1745976" y="1297776"/>
            <a:chExt cx="59171" cy="297034"/>
          </a:xfrm>
        </p:grpSpPr>
        <p:sp>
          <p:nvSpPr>
            <p:cNvPr id="159" name="椭圆 158"/>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60" name="直接连接符 159"/>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61" name="椭圆 160"/>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62" name="组合 161"/>
          <p:cNvGrpSpPr/>
          <p:nvPr/>
        </p:nvGrpSpPr>
        <p:grpSpPr>
          <a:xfrm>
            <a:off x="2367151" y="3006836"/>
            <a:ext cx="59171" cy="297034"/>
            <a:chOff x="1745976" y="1297776"/>
            <a:chExt cx="59171" cy="297034"/>
          </a:xfrm>
        </p:grpSpPr>
        <p:sp>
          <p:nvSpPr>
            <p:cNvPr id="163" name="椭圆 162"/>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64" name="直接连接符 163"/>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65" name="椭圆 164"/>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66" name="组合 165"/>
          <p:cNvGrpSpPr/>
          <p:nvPr/>
        </p:nvGrpSpPr>
        <p:grpSpPr>
          <a:xfrm>
            <a:off x="3682664" y="3006836"/>
            <a:ext cx="59171" cy="297034"/>
            <a:chOff x="1745976" y="1297776"/>
            <a:chExt cx="59171" cy="297034"/>
          </a:xfrm>
        </p:grpSpPr>
        <p:sp>
          <p:nvSpPr>
            <p:cNvPr id="167" name="椭圆 166"/>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68" name="直接连接符 167"/>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69" name="椭圆 168"/>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70" name="组合 169"/>
          <p:cNvGrpSpPr/>
          <p:nvPr/>
        </p:nvGrpSpPr>
        <p:grpSpPr>
          <a:xfrm>
            <a:off x="4609655" y="3006836"/>
            <a:ext cx="59171" cy="297034"/>
            <a:chOff x="1745976" y="1297776"/>
            <a:chExt cx="59171" cy="297034"/>
          </a:xfrm>
        </p:grpSpPr>
        <p:sp>
          <p:nvSpPr>
            <p:cNvPr id="171" name="椭圆 170"/>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72" name="直接连接符 171"/>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73" name="椭圆 172"/>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74" name="组合 173"/>
          <p:cNvGrpSpPr/>
          <p:nvPr/>
        </p:nvGrpSpPr>
        <p:grpSpPr>
          <a:xfrm>
            <a:off x="5590513" y="3006836"/>
            <a:ext cx="59171" cy="297034"/>
            <a:chOff x="1745976" y="1297776"/>
            <a:chExt cx="59171" cy="297034"/>
          </a:xfrm>
        </p:grpSpPr>
        <p:sp>
          <p:nvSpPr>
            <p:cNvPr id="175" name="椭圆 174"/>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76" name="直接连接符 175"/>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77" name="椭圆 176"/>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78" name="组合 177"/>
          <p:cNvGrpSpPr/>
          <p:nvPr/>
        </p:nvGrpSpPr>
        <p:grpSpPr>
          <a:xfrm>
            <a:off x="7495546" y="2553827"/>
            <a:ext cx="59171" cy="755942"/>
            <a:chOff x="11841466" y="2597298"/>
            <a:chExt cx="59171" cy="755942"/>
          </a:xfrm>
        </p:grpSpPr>
        <p:sp>
          <p:nvSpPr>
            <p:cNvPr id="179" name="椭圆 178"/>
            <p:cNvSpPr>
              <a:spLocks noChangeAspect="1"/>
            </p:cNvSpPr>
            <p:nvPr/>
          </p:nvSpPr>
          <p:spPr bwMode="gray">
            <a:xfrm flipV="1">
              <a:off x="11841466" y="2597298"/>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80" name="直接连接符 179"/>
            <p:cNvCxnSpPr/>
            <p:nvPr/>
          </p:nvCxnSpPr>
          <p:spPr>
            <a:xfrm flipH="1">
              <a:off x="11867701" y="2646037"/>
              <a:ext cx="6701" cy="639696"/>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81" name="椭圆 180"/>
            <p:cNvSpPr>
              <a:spLocks noChangeAspect="1"/>
            </p:cNvSpPr>
            <p:nvPr/>
          </p:nvSpPr>
          <p:spPr bwMode="gray">
            <a:xfrm flipV="1">
              <a:off x="11841466" y="329406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82" name="组合 181"/>
          <p:cNvGrpSpPr/>
          <p:nvPr/>
        </p:nvGrpSpPr>
        <p:grpSpPr>
          <a:xfrm>
            <a:off x="8391853" y="2553827"/>
            <a:ext cx="59171" cy="755942"/>
            <a:chOff x="11841466" y="2597298"/>
            <a:chExt cx="59171" cy="755942"/>
          </a:xfrm>
        </p:grpSpPr>
        <p:sp>
          <p:nvSpPr>
            <p:cNvPr id="183" name="椭圆 182"/>
            <p:cNvSpPr>
              <a:spLocks noChangeAspect="1"/>
            </p:cNvSpPr>
            <p:nvPr/>
          </p:nvSpPr>
          <p:spPr bwMode="gray">
            <a:xfrm flipV="1">
              <a:off x="11841466" y="2597298"/>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84" name="直接连接符 183"/>
            <p:cNvCxnSpPr/>
            <p:nvPr/>
          </p:nvCxnSpPr>
          <p:spPr>
            <a:xfrm flipH="1">
              <a:off x="11867701" y="2646037"/>
              <a:ext cx="6701" cy="639696"/>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85" name="椭圆 184"/>
            <p:cNvSpPr>
              <a:spLocks noChangeAspect="1"/>
            </p:cNvSpPr>
            <p:nvPr/>
          </p:nvSpPr>
          <p:spPr bwMode="gray">
            <a:xfrm flipV="1">
              <a:off x="11841466" y="329406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86" name="组合 185"/>
          <p:cNvGrpSpPr/>
          <p:nvPr/>
        </p:nvGrpSpPr>
        <p:grpSpPr>
          <a:xfrm>
            <a:off x="10310868" y="2553827"/>
            <a:ext cx="59171" cy="755942"/>
            <a:chOff x="11841466" y="2597298"/>
            <a:chExt cx="59171" cy="755942"/>
          </a:xfrm>
        </p:grpSpPr>
        <p:sp>
          <p:nvSpPr>
            <p:cNvPr id="187" name="椭圆 186"/>
            <p:cNvSpPr>
              <a:spLocks noChangeAspect="1"/>
            </p:cNvSpPr>
            <p:nvPr/>
          </p:nvSpPr>
          <p:spPr bwMode="gray">
            <a:xfrm flipV="1">
              <a:off x="11841466" y="2597298"/>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88" name="直接连接符 187"/>
            <p:cNvCxnSpPr/>
            <p:nvPr/>
          </p:nvCxnSpPr>
          <p:spPr>
            <a:xfrm flipH="1">
              <a:off x="11867701" y="2646037"/>
              <a:ext cx="6701" cy="639696"/>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89" name="椭圆 188"/>
            <p:cNvSpPr>
              <a:spLocks noChangeAspect="1"/>
            </p:cNvSpPr>
            <p:nvPr/>
          </p:nvSpPr>
          <p:spPr bwMode="gray">
            <a:xfrm flipV="1">
              <a:off x="11841466" y="329406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90" name="组合 189"/>
          <p:cNvGrpSpPr/>
          <p:nvPr/>
        </p:nvGrpSpPr>
        <p:grpSpPr>
          <a:xfrm>
            <a:off x="4601894" y="2565446"/>
            <a:ext cx="59171" cy="297034"/>
            <a:chOff x="1745976" y="1297776"/>
            <a:chExt cx="59171" cy="297034"/>
          </a:xfrm>
        </p:grpSpPr>
        <p:sp>
          <p:nvSpPr>
            <p:cNvPr id="191" name="椭圆 190"/>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92" name="直接连接符 191"/>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93" name="椭圆 192"/>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98" name="组合 197"/>
          <p:cNvGrpSpPr/>
          <p:nvPr/>
        </p:nvGrpSpPr>
        <p:grpSpPr>
          <a:xfrm>
            <a:off x="1745976" y="4739444"/>
            <a:ext cx="59171" cy="297034"/>
            <a:chOff x="215199" y="4436366"/>
            <a:chExt cx="59171" cy="297034"/>
          </a:xfrm>
        </p:grpSpPr>
        <p:sp>
          <p:nvSpPr>
            <p:cNvPr id="199" name="椭圆 198"/>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00" name="直接连接符 199"/>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01" name="椭圆 200"/>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02" name="组合 201"/>
          <p:cNvGrpSpPr/>
          <p:nvPr/>
        </p:nvGrpSpPr>
        <p:grpSpPr>
          <a:xfrm>
            <a:off x="4614884" y="4739444"/>
            <a:ext cx="59171" cy="297034"/>
            <a:chOff x="215199" y="4436366"/>
            <a:chExt cx="59171" cy="297034"/>
          </a:xfrm>
        </p:grpSpPr>
        <p:sp>
          <p:nvSpPr>
            <p:cNvPr id="203" name="椭圆 202"/>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04" name="直接连接符 203"/>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05" name="椭圆 204"/>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06" name="组合 205"/>
          <p:cNvGrpSpPr/>
          <p:nvPr/>
        </p:nvGrpSpPr>
        <p:grpSpPr>
          <a:xfrm>
            <a:off x="873616" y="5238633"/>
            <a:ext cx="59171" cy="297034"/>
            <a:chOff x="215199" y="4436366"/>
            <a:chExt cx="59171" cy="297034"/>
          </a:xfrm>
        </p:grpSpPr>
        <p:sp>
          <p:nvSpPr>
            <p:cNvPr id="207" name="椭圆 206"/>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08" name="直接连接符 207"/>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09" name="椭圆 208"/>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10" name="组合 209"/>
          <p:cNvGrpSpPr/>
          <p:nvPr/>
        </p:nvGrpSpPr>
        <p:grpSpPr>
          <a:xfrm>
            <a:off x="2265306" y="5255444"/>
            <a:ext cx="59171" cy="297034"/>
            <a:chOff x="215199" y="4436366"/>
            <a:chExt cx="59171" cy="297034"/>
          </a:xfrm>
        </p:grpSpPr>
        <p:sp>
          <p:nvSpPr>
            <p:cNvPr id="211" name="椭圆 210"/>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12" name="直接连接符 211"/>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13" name="椭圆 212"/>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14" name="组合 213"/>
          <p:cNvGrpSpPr/>
          <p:nvPr/>
        </p:nvGrpSpPr>
        <p:grpSpPr>
          <a:xfrm>
            <a:off x="3650886" y="5255444"/>
            <a:ext cx="59171" cy="297034"/>
            <a:chOff x="215199" y="4436366"/>
            <a:chExt cx="59171" cy="297034"/>
          </a:xfrm>
        </p:grpSpPr>
        <p:sp>
          <p:nvSpPr>
            <p:cNvPr id="215" name="椭圆 214"/>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16" name="直接连接符 215"/>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17" name="椭圆 216"/>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18" name="组合 217"/>
          <p:cNvGrpSpPr/>
          <p:nvPr/>
        </p:nvGrpSpPr>
        <p:grpSpPr>
          <a:xfrm>
            <a:off x="4608717" y="5255444"/>
            <a:ext cx="59171" cy="297034"/>
            <a:chOff x="215199" y="4436366"/>
            <a:chExt cx="59171" cy="297034"/>
          </a:xfrm>
        </p:grpSpPr>
        <p:sp>
          <p:nvSpPr>
            <p:cNvPr id="219" name="椭圆 218"/>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20" name="直接连接符 219"/>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21" name="椭圆 220"/>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22" name="组合 221"/>
          <p:cNvGrpSpPr/>
          <p:nvPr/>
        </p:nvGrpSpPr>
        <p:grpSpPr>
          <a:xfrm>
            <a:off x="5570696" y="5255444"/>
            <a:ext cx="59171" cy="297034"/>
            <a:chOff x="215199" y="4436366"/>
            <a:chExt cx="59171" cy="297034"/>
          </a:xfrm>
        </p:grpSpPr>
        <p:sp>
          <p:nvSpPr>
            <p:cNvPr id="223" name="椭圆 222"/>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24" name="直接连接符 223"/>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25" name="椭圆 224"/>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74" name="组合 73"/>
          <p:cNvGrpSpPr/>
          <p:nvPr/>
        </p:nvGrpSpPr>
        <p:grpSpPr>
          <a:xfrm>
            <a:off x="6547187" y="4736157"/>
            <a:ext cx="59171" cy="799510"/>
            <a:chOff x="6932799" y="4658927"/>
            <a:chExt cx="59171" cy="799510"/>
          </a:xfrm>
        </p:grpSpPr>
        <p:sp>
          <p:nvSpPr>
            <p:cNvPr id="227" name="椭圆 226"/>
            <p:cNvSpPr>
              <a:spLocks noChangeAspect="1"/>
            </p:cNvSpPr>
            <p:nvPr/>
          </p:nvSpPr>
          <p:spPr bwMode="gray">
            <a:xfrm flipV="1">
              <a:off x="6932799" y="4658927"/>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28" name="直接连接符 227"/>
            <p:cNvCxnSpPr>
              <a:endCxn id="229" idx="4"/>
            </p:cNvCxnSpPr>
            <p:nvPr/>
          </p:nvCxnSpPr>
          <p:spPr>
            <a:xfrm>
              <a:off x="6962385" y="4691799"/>
              <a:ext cx="0" cy="707467"/>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29" name="椭圆 228"/>
            <p:cNvSpPr>
              <a:spLocks noChangeAspect="1"/>
            </p:cNvSpPr>
            <p:nvPr/>
          </p:nvSpPr>
          <p:spPr bwMode="gray">
            <a:xfrm flipV="1">
              <a:off x="6932799" y="53992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30" name="组合 229"/>
          <p:cNvGrpSpPr/>
          <p:nvPr/>
        </p:nvGrpSpPr>
        <p:grpSpPr>
          <a:xfrm>
            <a:off x="7474125" y="4736157"/>
            <a:ext cx="59171" cy="799510"/>
            <a:chOff x="6932799" y="4658927"/>
            <a:chExt cx="59171" cy="799510"/>
          </a:xfrm>
        </p:grpSpPr>
        <p:sp>
          <p:nvSpPr>
            <p:cNvPr id="231" name="椭圆 230"/>
            <p:cNvSpPr>
              <a:spLocks noChangeAspect="1"/>
            </p:cNvSpPr>
            <p:nvPr/>
          </p:nvSpPr>
          <p:spPr bwMode="gray">
            <a:xfrm flipV="1">
              <a:off x="6932799" y="4658927"/>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32" name="直接连接符 231"/>
            <p:cNvCxnSpPr>
              <a:endCxn id="233" idx="4"/>
            </p:cNvCxnSpPr>
            <p:nvPr/>
          </p:nvCxnSpPr>
          <p:spPr>
            <a:xfrm>
              <a:off x="6962385" y="4691799"/>
              <a:ext cx="0" cy="707467"/>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33" name="椭圆 232"/>
            <p:cNvSpPr>
              <a:spLocks noChangeAspect="1"/>
            </p:cNvSpPr>
            <p:nvPr/>
          </p:nvSpPr>
          <p:spPr bwMode="gray">
            <a:xfrm flipV="1">
              <a:off x="6932799" y="53992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34" name="组合 233"/>
          <p:cNvGrpSpPr/>
          <p:nvPr/>
        </p:nvGrpSpPr>
        <p:grpSpPr>
          <a:xfrm>
            <a:off x="8391853" y="4736157"/>
            <a:ext cx="59171" cy="799510"/>
            <a:chOff x="6932799" y="4658927"/>
            <a:chExt cx="59171" cy="799510"/>
          </a:xfrm>
        </p:grpSpPr>
        <p:sp>
          <p:nvSpPr>
            <p:cNvPr id="235" name="椭圆 234"/>
            <p:cNvSpPr>
              <a:spLocks noChangeAspect="1"/>
            </p:cNvSpPr>
            <p:nvPr/>
          </p:nvSpPr>
          <p:spPr bwMode="gray">
            <a:xfrm flipV="1">
              <a:off x="6932799" y="4658927"/>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36" name="直接连接符 235"/>
            <p:cNvCxnSpPr>
              <a:endCxn id="237" idx="4"/>
            </p:cNvCxnSpPr>
            <p:nvPr/>
          </p:nvCxnSpPr>
          <p:spPr>
            <a:xfrm>
              <a:off x="6962385" y="4691799"/>
              <a:ext cx="0" cy="707467"/>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37" name="椭圆 236"/>
            <p:cNvSpPr>
              <a:spLocks noChangeAspect="1"/>
            </p:cNvSpPr>
            <p:nvPr/>
          </p:nvSpPr>
          <p:spPr bwMode="gray">
            <a:xfrm flipV="1">
              <a:off x="6932799" y="53992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38" name="组合 237"/>
          <p:cNvGrpSpPr/>
          <p:nvPr/>
        </p:nvGrpSpPr>
        <p:grpSpPr>
          <a:xfrm>
            <a:off x="10307517" y="4736157"/>
            <a:ext cx="59171" cy="799510"/>
            <a:chOff x="6932799" y="4658927"/>
            <a:chExt cx="59171" cy="799510"/>
          </a:xfrm>
        </p:grpSpPr>
        <p:sp>
          <p:nvSpPr>
            <p:cNvPr id="239" name="椭圆 238"/>
            <p:cNvSpPr>
              <a:spLocks noChangeAspect="1"/>
            </p:cNvSpPr>
            <p:nvPr/>
          </p:nvSpPr>
          <p:spPr bwMode="gray">
            <a:xfrm flipV="1">
              <a:off x="6932799" y="4658927"/>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40" name="直接连接符 239"/>
            <p:cNvCxnSpPr>
              <a:endCxn id="241" idx="4"/>
            </p:cNvCxnSpPr>
            <p:nvPr/>
          </p:nvCxnSpPr>
          <p:spPr>
            <a:xfrm>
              <a:off x="6962385" y="4691799"/>
              <a:ext cx="0" cy="707467"/>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41" name="椭圆 240"/>
            <p:cNvSpPr>
              <a:spLocks noChangeAspect="1"/>
            </p:cNvSpPr>
            <p:nvPr/>
          </p:nvSpPr>
          <p:spPr bwMode="gray">
            <a:xfrm flipV="1">
              <a:off x="6932799" y="53992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spTree>
    <p:custDataLst>
      <p:tags r:id="rId1"/>
    </p:custDataLst>
    <p:extLst>
      <p:ext uri="{BB962C8B-B14F-4D97-AF65-F5344CB8AC3E}">
        <p14:creationId xmlns:p14="http://schemas.microsoft.com/office/powerpoint/2010/main" val="3235129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15"/>
          <p:cNvSpPr>
            <a:spLocks noEditPoints="1"/>
          </p:cNvSpPr>
          <p:nvPr/>
        </p:nvSpPr>
        <p:spPr bwMode="auto">
          <a:xfrm>
            <a:off x="5046336" y="3221745"/>
            <a:ext cx="984763" cy="979258"/>
          </a:xfrm>
          <a:custGeom>
            <a:avLst/>
            <a:gdLst>
              <a:gd name="T0" fmla="*/ 592 w 605"/>
              <a:gd name="T1" fmla="*/ 213 h 602"/>
              <a:gd name="T2" fmla="*/ 544 w 605"/>
              <a:gd name="T3" fmla="*/ 119 h 602"/>
              <a:gd name="T4" fmla="*/ 467 w 605"/>
              <a:gd name="T5" fmla="*/ 47 h 602"/>
              <a:gd name="T6" fmla="*/ 371 w 605"/>
              <a:gd name="T7" fmla="*/ 6 h 602"/>
              <a:gd name="T8" fmla="*/ 266 w 605"/>
              <a:gd name="T9" fmla="*/ 0 h 602"/>
              <a:gd name="T10" fmla="*/ 165 w 605"/>
              <a:gd name="T11" fmla="*/ 31 h 602"/>
              <a:gd name="T12" fmla="*/ 81 w 605"/>
              <a:gd name="T13" fmla="*/ 94 h 602"/>
              <a:gd name="T14" fmla="*/ 23 w 605"/>
              <a:gd name="T15" fmla="*/ 183 h 602"/>
              <a:gd name="T16" fmla="*/ 0 w 605"/>
              <a:gd name="T17" fmla="*/ 285 h 602"/>
              <a:gd name="T18" fmla="*/ 0 w 605"/>
              <a:gd name="T19" fmla="*/ 317 h 602"/>
              <a:gd name="T20" fmla="*/ 23 w 605"/>
              <a:gd name="T21" fmla="*/ 420 h 602"/>
              <a:gd name="T22" fmla="*/ 81 w 605"/>
              <a:gd name="T23" fmla="*/ 508 h 602"/>
              <a:gd name="T24" fmla="*/ 165 w 605"/>
              <a:gd name="T25" fmla="*/ 571 h 602"/>
              <a:gd name="T26" fmla="*/ 266 w 605"/>
              <a:gd name="T27" fmla="*/ 602 h 602"/>
              <a:gd name="T28" fmla="*/ 371 w 605"/>
              <a:gd name="T29" fmla="*/ 597 h 602"/>
              <a:gd name="T30" fmla="*/ 467 w 605"/>
              <a:gd name="T31" fmla="*/ 555 h 602"/>
              <a:gd name="T32" fmla="*/ 544 w 605"/>
              <a:gd name="T33" fmla="*/ 484 h 602"/>
              <a:gd name="T34" fmla="*/ 592 w 605"/>
              <a:gd name="T35" fmla="*/ 390 h 602"/>
              <a:gd name="T36" fmla="*/ 336 w 605"/>
              <a:gd name="T37" fmla="*/ 100 h 602"/>
              <a:gd name="T38" fmla="*/ 336 w 605"/>
              <a:gd name="T39" fmla="*/ 100 h 602"/>
              <a:gd name="T40" fmla="*/ 388 w 605"/>
              <a:gd name="T41" fmla="*/ 235 h 602"/>
              <a:gd name="T42" fmla="*/ 366 w 605"/>
              <a:gd name="T43" fmla="*/ 377 h 602"/>
              <a:gd name="T44" fmla="*/ 388 w 605"/>
              <a:gd name="T45" fmla="*/ 251 h 602"/>
              <a:gd name="T46" fmla="*/ 407 w 605"/>
              <a:gd name="T47" fmla="*/ 271 h 602"/>
              <a:gd name="T48" fmla="*/ 407 w 605"/>
              <a:gd name="T49" fmla="*/ 271 h 602"/>
              <a:gd name="T50" fmla="*/ 383 w 605"/>
              <a:gd name="T51" fmla="*/ 359 h 602"/>
              <a:gd name="T52" fmla="*/ 408 w 605"/>
              <a:gd name="T53" fmla="*/ 328 h 602"/>
              <a:gd name="T54" fmla="*/ 401 w 605"/>
              <a:gd name="T55" fmla="*/ 301 h 602"/>
              <a:gd name="T56" fmla="*/ 410 w 605"/>
              <a:gd name="T57" fmla="*/ 315 h 602"/>
              <a:gd name="T58" fmla="*/ 353 w 605"/>
              <a:gd name="T59" fmla="*/ 216 h 602"/>
              <a:gd name="T60" fmla="*/ 346 w 605"/>
              <a:gd name="T61" fmla="*/ 201 h 602"/>
              <a:gd name="T62" fmla="*/ 306 w 605"/>
              <a:gd name="T63" fmla="*/ 192 h 602"/>
              <a:gd name="T64" fmla="*/ 306 w 605"/>
              <a:gd name="T65" fmla="*/ 192 h 602"/>
              <a:gd name="T66" fmla="*/ 302 w 605"/>
              <a:gd name="T67" fmla="*/ 231 h 602"/>
              <a:gd name="T68" fmla="*/ 345 w 605"/>
              <a:gd name="T69" fmla="*/ 391 h 602"/>
              <a:gd name="T70" fmla="*/ 257 w 605"/>
              <a:gd name="T71" fmla="*/ 400 h 602"/>
              <a:gd name="T72" fmla="*/ 206 w 605"/>
              <a:gd name="T73" fmla="*/ 278 h 602"/>
              <a:gd name="T74" fmla="*/ 206 w 605"/>
              <a:gd name="T75" fmla="*/ 278 h 602"/>
              <a:gd name="T76" fmla="*/ 209 w 605"/>
              <a:gd name="T77" fmla="*/ 267 h 602"/>
              <a:gd name="T78" fmla="*/ 194 w 605"/>
              <a:gd name="T79" fmla="*/ 317 h 602"/>
              <a:gd name="T80" fmla="*/ 211 w 605"/>
              <a:gd name="T81" fmla="*/ 339 h 602"/>
              <a:gd name="T82" fmla="*/ 216 w 605"/>
              <a:gd name="T83" fmla="*/ 350 h 602"/>
              <a:gd name="T84" fmla="*/ 216 w 605"/>
              <a:gd name="T85" fmla="*/ 350 h 602"/>
              <a:gd name="T86" fmla="*/ 229 w 605"/>
              <a:gd name="T87" fmla="*/ 235 h 602"/>
              <a:gd name="T88" fmla="*/ 234 w 605"/>
              <a:gd name="T89" fmla="*/ 386 h 602"/>
              <a:gd name="T90" fmla="*/ 242 w 605"/>
              <a:gd name="T91" fmla="*/ 211 h 602"/>
              <a:gd name="T92" fmla="*/ 293 w 605"/>
              <a:gd name="T93" fmla="*/ 193 h 602"/>
              <a:gd name="T94" fmla="*/ 293 w 605"/>
              <a:gd name="T95" fmla="*/ 193 h 602"/>
              <a:gd name="T96" fmla="*/ 269 w 605"/>
              <a:gd name="T97" fmla="*/ 208 h 602"/>
              <a:gd name="T98" fmla="*/ 210 w 605"/>
              <a:gd name="T99" fmla="*/ 210 h 602"/>
              <a:gd name="T100" fmla="*/ 99 w 605"/>
              <a:gd name="T101" fmla="*/ 301 h 602"/>
              <a:gd name="T102" fmla="*/ 177 w 605"/>
              <a:gd name="T103" fmla="*/ 335 h 602"/>
              <a:gd name="T104" fmla="*/ 210 w 605"/>
              <a:gd name="T105" fmla="*/ 393 h 602"/>
              <a:gd name="T106" fmla="*/ 270 w 605"/>
              <a:gd name="T107" fmla="*/ 405 h 602"/>
              <a:gd name="T108" fmla="*/ 302 w 605"/>
              <a:gd name="T109" fmla="*/ 410 h 602"/>
              <a:gd name="T110" fmla="*/ 310 w 605"/>
              <a:gd name="T111" fmla="*/ 410 h 602"/>
              <a:gd name="T112" fmla="*/ 337 w 605"/>
              <a:gd name="T113" fmla="*/ 405 h 602"/>
              <a:gd name="T114" fmla="*/ 336 w 605"/>
              <a:gd name="T115" fmla="*/ 427 h 602"/>
              <a:gd name="T116" fmla="*/ 493 w 605"/>
              <a:gd name="T117" fmla="*/ 373 h 602"/>
              <a:gd name="T118" fmla="*/ 493 w 605"/>
              <a:gd name="T119" fmla="*/ 23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5" h="602">
                <a:moveTo>
                  <a:pt x="557" y="301"/>
                </a:moveTo>
                <a:cubicBezTo>
                  <a:pt x="557" y="299"/>
                  <a:pt x="557" y="296"/>
                  <a:pt x="557" y="294"/>
                </a:cubicBezTo>
                <a:cubicBezTo>
                  <a:pt x="605" y="285"/>
                  <a:pt x="605" y="285"/>
                  <a:pt x="605" y="285"/>
                </a:cubicBezTo>
                <a:cubicBezTo>
                  <a:pt x="592" y="213"/>
                  <a:pt x="592" y="213"/>
                  <a:pt x="592" y="213"/>
                </a:cubicBezTo>
                <a:cubicBezTo>
                  <a:pt x="544" y="221"/>
                  <a:pt x="544" y="221"/>
                  <a:pt x="544" y="221"/>
                </a:cubicBezTo>
                <a:cubicBezTo>
                  <a:pt x="543" y="216"/>
                  <a:pt x="541" y="212"/>
                  <a:pt x="539" y="207"/>
                </a:cubicBezTo>
                <a:cubicBezTo>
                  <a:pt x="581" y="183"/>
                  <a:pt x="581" y="183"/>
                  <a:pt x="581" y="183"/>
                </a:cubicBezTo>
                <a:cubicBezTo>
                  <a:pt x="544" y="119"/>
                  <a:pt x="544" y="119"/>
                  <a:pt x="544" y="119"/>
                </a:cubicBezTo>
                <a:cubicBezTo>
                  <a:pt x="502" y="143"/>
                  <a:pt x="502" y="143"/>
                  <a:pt x="502" y="143"/>
                </a:cubicBezTo>
                <a:cubicBezTo>
                  <a:pt x="499" y="139"/>
                  <a:pt x="496" y="135"/>
                  <a:pt x="493" y="132"/>
                </a:cubicBezTo>
                <a:cubicBezTo>
                  <a:pt x="524" y="94"/>
                  <a:pt x="524" y="94"/>
                  <a:pt x="524" y="94"/>
                </a:cubicBezTo>
                <a:cubicBezTo>
                  <a:pt x="467" y="47"/>
                  <a:pt x="467" y="47"/>
                  <a:pt x="467" y="47"/>
                </a:cubicBezTo>
                <a:cubicBezTo>
                  <a:pt x="436" y="84"/>
                  <a:pt x="436" y="84"/>
                  <a:pt x="436" y="84"/>
                </a:cubicBezTo>
                <a:cubicBezTo>
                  <a:pt x="432" y="82"/>
                  <a:pt x="428" y="79"/>
                  <a:pt x="423" y="77"/>
                </a:cubicBezTo>
                <a:cubicBezTo>
                  <a:pt x="440" y="31"/>
                  <a:pt x="440" y="31"/>
                  <a:pt x="440" y="31"/>
                </a:cubicBezTo>
                <a:cubicBezTo>
                  <a:pt x="371" y="6"/>
                  <a:pt x="371" y="6"/>
                  <a:pt x="371" y="6"/>
                </a:cubicBezTo>
                <a:cubicBezTo>
                  <a:pt x="354" y="52"/>
                  <a:pt x="354" y="52"/>
                  <a:pt x="354" y="52"/>
                </a:cubicBezTo>
                <a:cubicBezTo>
                  <a:pt x="349" y="51"/>
                  <a:pt x="344" y="50"/>
                  <a:pt x="339" y="49"/>
                </a:cubicBezTo>
                <a:cubicBezTo>
                  <a:pt x="339" y="0"/>
                  <a:pt x="339" y="0"/>
                  <a:pt x="339" y="0"/>
                </a:cubicBezTo>
                <a:cubicBezTo>
                  <a:pt x="266" y="0"/>
                  <a:pt x="266" y="0"/>
                  <a:pt x="266" y="0"/>
                </a:cubicBezTo>
                <a:cubicBezTo>
                  <a:pt x="266" y="49"/>
                  <a:pt x="266" y="49"/>
                  <a:pt x="266" y="49"/>
                </a:cubicBezTo>
                <a:cubicBezTo>
                  <a:pt x="260" y="50"/>
                  <a:pt x="255" y="51"/>
                  <a:pt x="250" y="52"/>
                </a:cubicBezTo>
                <a:cubicBezTo>
                  <a:pt x="234" y="6"/>
                  <a:pt x="234" y="6"/>
                  <a:pt x="234" y="6"/>
                </a:cubicBezTo>
                <a:cubicBezTo>
                  <a:pt x="165" y="31"/>
                  <a:pt x="165" y="31"/>
                  <a:pt x="165" y="31"/>
                </a:cubicBezTo>
                <a:cubicBezTo>
                  <a:pt x="181" y="77"/>
                  <a:pt x="181" y="77"/>
                  <a:pt x="181" y="77"/>
                </a:cubicBezTo>
                <a:cubicBezTo>
                  <a:pt x="177" y="79"/>
                  <a:pt x="173" y="82"/>
                  <a:pt x="168" y="84"/>
                </a:cubicBezTo>
                <a:cubicBezTo>
                  <a:pt x="137" y="47"/>
                  <a:pt x="137" y="47"/>
                  <a:pt x="137" y="47"/>
                </a:cubicBezTo>
                <a:cubicBezTo>
                  <a:pt x="81" y="94"/>
                  <a:pt x="81" y="94"/>
                  <a:pt x="81" y="94"/>
                </a:cubicBezTo>
                <a:cubicBezTo>
                  <a:pt x="112" y="132"/>
                  <a:pt x="112" y="132"/>
                  <a:pt x="112" y="132"/>
                </a:cubicBezTo>
                <a:cubicBezTo>
                  <a:pt x="109" y="135"/>
                  <a:pt x="105" y="139"/>
                  <a:pt x="102" y="143"/>
                </a:cubicBezTo>
                <a:cubicBezTo>
                  <a:pt x="60" y="119"/>
                  <a:pt x="60" y="119"/>
                  <a:pt x="60" y="119"/>
                </a:cubicBezTo>
                <a:cubicBezTo>
                  <a:pt x="23" y="183"/>
                  <a:pt x="23" y="183"/>
                  <a:pt x="23" y="183"/>
                </a:cubicBezTo>
                <a:cubicBezTo>
                  <a:pt x="65" y="207"/>
                  <a:pt x="65" y="207"/>
                  <a:pt x="65" y="207"/>
                </a:cubicBezTo>
                <a:cubicBezTo>
                  <a:pt x="64" y="212"/>
                  <a:pt x="62" y="216"/>
                  <a:pt x="60" y="221"/>
                </a:cubicBezTo>
                <a:cubicBezTo>
                  <a:pt x="12" y="213"/>
                  <a:pt x="12" y="213"/>
                  <a:pt x="12" y="213"/>
                </a:cubicBezTo>
                <a:cubicBezTo>
                  <a:pt x="0" y="285"/>
                  <a:pt x="0" y="285"/>
                  <a:pt x="0" y="285"/>
                </a:cubicBezTo>
                <a:cubicBezTo>
                  <a:pt x="48" y="294"/>
                  <a:pt x="48" y="294"/>
                  <a:pt x="48" y="294"/>
                </a:cubicBezTo>
                <a:cubicBezTo>
                  <a:pt x="47" y="296"/>
                  <a:pt x="47" y="299"/>
                  <a:pt x="47" y="301"/>
                </a:cubicBezTo>
                <a:cubicBezTo>
                  <a:pt x="47" y="304"/>
                  <a:pt x="47" y="306"/>
                  <a:pt x="48" y="309"/>
                </a:cubicBezTo>
                <a:cubicBezTo>
                  <a:pt x="0" y="317"/>
                  <a:pt x="0" y="317"/>
                  <a:pt x="0" y="317"/>
                </a:cubicBezTo>
                <a:cubicBezTo>
                  <a:pt x="12" y="390"/>
                  <a:pt x="12" y="390"/>
                  <a:pt x="12" y="390"/>
                </a:cubicBezTo>
                <a:cubicBezTo>
                  <a:pt x="60" y="381"/>
                  <a:pt x="60" y="381"/>
                  <a:pt x="60" y="381"/>
                </a:cubicBezTo>
                <a:cubicBezTo>
                  <a:pt x="62" y="386"/>
                  <a:pt x="64" y="391"/>
                  <a:pt x="65" y="396"/>
                </a:cubicBezTo>
                <a:cubicBezTo>
                  <a:pt x="23" y="420"/>
                  <a:pt x="23" y="420"/>
                  <a:pt x="23" y="420"/>
                </a:cubicBezTo>
                <a:cubicBezTo>
                  <a:pt x="60" y="484"/>
                  <a:pt x="60" y="484"/>
                  <a:pt x="60" y="484"/>
                </a:cubicBezTo>
                <a:cubicBezTo>
                  <a:pt x="102" y="459"/>
                  <a:pt x="102" y="459"/>
                  <a:pt x="102" y="459"/>
                </a:cubicBezTo>
                <a:cubicBezTo>
                  <a:pt x="105" y="463"/>
                  <a:pt x="109" y="467"/>
                  <a:pt x="112" y="471"/>
                </a:cubicBezTo>
                <a:cubicBezTo>
                  <a:pt x="81" y="508"/>
                  <a:pt x="81" y="508"/>
                  <a:pt x="81" y="508"/>
                </a:cubicBezTo>
                <a:cubicBezTo>
                  <a:pt x="137" y="555"/>
                  <a:pt x="137" y="555"/>
                  <a:pt x="137" y="555"/>
                </a:cubicBezTo>
                <a:cubicBezTo>
                  <a:pt x="168" y="518"/>
                  <a:pt x="168" y="518"/>
                  <a:pt x="168" y="518"/>
                </a:cubicBezTo>
                <a:cubicBezTo>
                  <a:pt x="173" y="521"/>
                  <a:pt x="177" y="523"/>
                  <a:pt x="181" y="526"/>
                </a:cubicBezTo>
                <a:cubicBezTo>
                  <a:pt x="165" y="571"/>
                  <a:pt x="165" y="571"/>
                  <a:pt x="165" y="571"/>
                </a:cubicBezTo>
                <a:cubicBezTo>
                  <a:pt x="234" y="597"/>
                  <a:pt x="234" y="597"/>
                  <a:pt x="234" y="597"/>
                </a:cubicBezTo>
                <a:cubicBezTo>
                  <a:pt x="250" y="551"/>
                  <a:pt x="250" y="551"/>
                  <a:pt x="250" y="551"/>
                </a:cubicBezTo>
                <a:cubicBezTo>
                  <a:pt x="255" y="552"/>
                  <a:pt x="260" y="553"/>
                  <a:pt x="266" y="554"/>
                </a:cubicBezTo>
                <a:cubicBezTo>
                  <a:pt x="266" y="602"/>
                  <a:pt x="266" y="602"/>
                  <a:pt x="266" y="602"/>
                </a:cubicBezTo>
                <a:cubicBezTo>
                  <a:pt x="339" y="602"/>
                  <a:pt x="339" y="602"/>
                  <a:pt x="339" y="602"/>
                </a:cubicBezTo>
                <a:cubicBezTo>
                  <a:pt x="339" y="554"/>
                  <a:pt x="339" y="554"/>
                  <a:pt x="339" y="554"/>
                </a:cubicBezTo>
                <a:cubicBezTo>
                  <a:pt x="344" y="553"/>
                  <a:pt x="349" y="552"/>
                  <a:pt x="354" y="551"/>
                </a:cubicBezTo>
                <a:cubicBezTo>
                  <a:pt x="371" y="597"/>
                  <a:pt x="371" y="597"/>
                  <a:pt x="371" y="597"/>
                </a:cubicBezTo>
                <a:cubicBezTo>
                  <a:pt x="440" y="571"/>
                  <a:pt x="440" y="571"/>
                  <a:pt x="440" y="571"/>
                </a:cubicBezTo>
                <a:cubicBezTo>
                  <a:pt x="423" y="526"/>
                  <a:pt x="423" y="526"/>
                  <a:pt x="423" y="526"/>
                </a:cubicBezTo>
                <a:cubicBezTo>
                  <a:pt x="428" y="523"/>
                  <a:pt x="432" y="521"/>
                  <a:pt x="436" y="518"/>
                </a:cubicBezTo>
                <a:cubicBezTo>
                  <a:pt x="467" y="555"/>
                  <a:pt x="467" y="555"/>
                  <a:pt x="467" y="555"/>
                </a:cubicBezTo>
                <a:cubicBezTo>
                  <a:pt x="524" y="508"/>
                  <a:pt x="524" y="508"/>
                  <a:pt x="524" y="508"/>
                </a:cubicBezTo>
                <a:cubicBezTo>
                  <a:pt x="493" y="471"/>
                  <a:pt x="493" y="471"/>
                  <a:pt x="493" y="471"/>
                </a:cubicBezTo>
                <a:cubicBezTo>
                  <a:pt x="496" y="467"/>
                  <a:pt x="499" y="463"/>
                  <a:pt x="502" y="459"/>
                </a:cubicBezTo>
                <a:cubicBezTo>
                  <a:pt x="544" y="484"/>
                  <a:pt x="544" y="484"/>
                  <a:pt x="544" y="484"/>
                </a:cubicBezTo>
                <a:cubicBezTo>
                  <a:pt x="581" y="420"/>
                  <a:pt x="581" y="420"/>
                  <a:pt x="581" y="420"/>
                </a:cubicBezTo>
                <a:cubicBezTo>
                  <a:pt x="539" y="396"/>
                  <a:pt x="539" y="396"/>
                  <a:pt x="539" y="396"/>
                </a:cubicBezTo>
                <a:cubicBezTo>
                  <a:pt x="541" y="391"/>
                  <a:pt x="543" y="386"/>
                  <a:pt x="544" y="381"/>
                </a:cubicBezTo>
                <a:cubicBezTo>
                  <a:pt x="592" y="390"/>
                  <a:pt x="592" y="390"/>
                  <a:pt x="592" y="390"/>
                </a:cubicBezTo>
                <a:cubicBezTo>
                  <a:pt x="605" y="317"/>
                  <a:pt x="605" y="317"/>
                  <a:pt x="605" y="317"/>
                </a:cubicBezTo>
                <a:cubicBezTo>
                  <a:pt x="557" y="309"/>
                  <a:pt x="557" y="309"/>
                  <a:pt x="557" y="309"/>
                </a:cubicBezTo>
                <a:cubicBezTo>
                  <a:pt x="557" y="306"/>
                  <a:pt x="557" y="304"/>
                  <a:pt x="557" y="301"/>
                </a:cubicBezTo>
                <a:close/>
                <a:moveTo>
                  <a:pt x="336" y="100"/>
                </a:moveTo>
                <a:cubicBezTo>
                  <a:pt x="385" y="109"/>
                  <a:pt x="429" y="135"/>
                  <a:pt x="459" y="172"/>
                </a:cubicBezTo>
                <a:cubicBezTo>
                  <a:pt x="394" y="210"/>
                  <a:pt x="394" y="210"/>
                  <a:pt x="394" y="210"/>
                </a:cubicBezTo>
                <a:cubicBezTo>
                  <a:pt x="378" y="194"/>
                  <a:pt x="358" y="182"/>
                  <a:pt x="336" y="176"/>
                </a:cubicBezTo>
                <a:lnTo>
                  <a:pt x="336" y="100"/>
                </a:lnTo>
                <a:close/>
                <a:moveTo>
                  <a:pt x="381" y="241"/>
                </a:moveTo>
                <a:cubicBezTo>
                  <a:pt x="378" y="237"/>
                  <a:pt x="375" y="234"/>
                  <a:pt x="372" y="231"/>
                </a:cubicBezTo>
                <a:cubicBezTo>
                  <a:pt x="379" y="224"/>
                  <a:pt x="379" y="224"/>
                  <a:pt x="379" y="224"/>
                </a:cubicBezTo>
                <a:cubicBezTo>
                  <a:pt x="383" y="228"/>
                  <a:pt x="386" y="231"/>
                  <a:pt x="388" y="235"/>
                </a:cubicBezTo>
                <a:lnTo>
                  <a:pt x="381" y="241"/>
                </a:lnTo>
                <a:close/>
                <a:moveTo>
                  <a:pt x="382" y="376"/>
                </a:moveTo>
                <a:cubicBezTo>
                  <a:pt x="379" y="379"/>
                  <a:pt x="376" y="382"/>
                  <a:pt x="372" y="385"/>
                </a:cubicBezTo>
                <a:cubicBezTo>
                  <a:pt x="366" y="377"/>
                  <a:pt x="366" y="377"/>
                  <a:pt x="366" y="377"/>
                </a:cubicBezTo>
                <a:cubicBezTo>
                  <a:pt x="369" y="375"/>
                  <a:pt x="372" y="372"/>
                  <a:pt x="375" y="369"/>
                </a:cubicBezTo>
                <a:lnTo>
                  <a:pt x="382" y="376"/>
                </a:lnTo>
                <a:close/>
                <a:moveTo>
                  <a:pt x="393" y="262"/>
                </a:moveTo>
                <a:cubicBezTo>
                  <a:pt x="392" y="258"/>
                  <a:pt x="390" y="254"/>
                  <a:pt x="388" y="251"/>
                </a:cubicBezTo>
                <a:cubicBezTo>
                  <a:pt x="396" y="246"/>
                  <a:pt x="396" y="246"/>
                  <a:pt x="396" y="246"/>
                </a:cubicBezTo>
                <a:cubicBezTo>
                  <a:pt x="398" y="250"/>
                  <a:pt x="400" y="254"/>
                  <a:pt x="402" y="258"/>
                </a:cubicBezTo>
                <a:lnTo>
                  <a:pt x="393" y="262"/>
                </a:lnTo>
                <a:close/>
                <a:moveTo>
                  <a:pt x="407" y="271"/>
                </a:moveTo>
                <a:cubicBezTo>
                  <a:pt x="408" y="275"/>
                  <a:pt x="409" y="280"/>
                  <a:pt x="410" y="284"/>
                </a:cubicBezTo>
                <a:cubicBezTo>
                  <a:pt x="400" y="286"/>
                  <a:pt x="400" y="286"/>
                  <a:pt x="400" y="286"/>
                </a:cubicBezTo>
                <a:cubicBezTo>
                  <a:pt x="400" y="281"/>
                  <a:pt x="399" y="277"/>
                  <a:pt x="397" y="273"/>
                </a:cubicBezTo>
                <a:lnTo>
                  <a:pt x="407" y="271"/>
                </a:lnTo>
                <a:close/>
                <a:moveTo>
                  <a:pt x="389" y="349"/>
                </a:moveTo>
                <a:cubicBezTo>
                  <a:pt x="398" y="354"/>
                  <a:pt x="398" y="354"/>
                  <a:pt x="398" y="354"/>
                </a:cubicBezTo>
                <a:cubicBezTo>
                  <a:pt x="396" y="357"/>
                  <a:pt x="393" y="361"/>
                  <a:pt x="391" y="365"/>
                </a:cubicBezTo>
                <a:cubicBezTo>
                  <a:pt x="383" y="359"/>
                  <a:pt x="383" y="359"/>
                  <a:pt x="383" y="359"/>
                </a:cubicBezTo>
                <a:cubicBezTo>
                  <a:pt x="385" y="356"/>
                  <a:pt x="387" y="352"/>
                  <a:pt x="389" y="349"/>
                </a:cubicBezTo>
                <a:close/>
                <a:moveTo>
                  <a:pt x="395" y="338"/>
                </a:moveTo>
                <a:cubicBezTo>
                  <a:pt x="396" y="334"/>
                  <a:pt x="397" y="330"/>
                  <a:pt x="398" y="326"/>
                </a:cubicBezTo>
                <a:cubicBezTo>
                  <a:pt x="408" y="328"/>
                  <a:pt x="408" y="328"/>
                  <a:pt x="408" y="328"/>
                </a:cubicBezTo>
                <a:cubicBezTo>
                  <a:pt x="407" y="333"/>
                  <a:pt x="405" y="337"/>
                  <a:pt x="404" y="341"/>
                </a:cubicBezTo>
                <a:lnTo>
                  <a:pt x="395" y="338"/>
                </a:lnTo>
                <a:close/>
                <a:moveTo>
                  <a:pt x="401" y="314"/>
                </a:moveTo>
                <a:cubicBezTo>
                  <a:pt x="401" y="310"/>
                  <a:pt x="401" y="305"/>
                  <a:pt x="401" y="301"/>
                </a:cubicBezTo>
                <a:cubicBezTo>
                  <a:pt x="401" y="300"/>
                  <a:pt x="401" y="299"/>
                  <a:pt x="401" y="298"/>
                </a:cubicBezTo>
                <a:cubicBezTo>
                  <a:pt x="411" y="298"/>
                  <a:pt x="411" y="298"/>
                  <a:pt x="411" y="298"/>
                </a:cubicBezTo>
                <a:cubicBezTo>
                  <a:pt x="411" y="299"/>
                  <a:pt x="411" y="300"/>
                  <a:pt x="411" y="301"/>
                </a:cubicBezTo>
                <a:cubicBezTo>
                  <a:pt x="411" y="306"/>
                  <a:pt x="411" y="310"/>
                  <a:pt x="410" y="315"/>
                </a:cubicBezTo>
                <a:lnTo>
                  <a:pt x="401" y="314"/>
                </a:lnTo>
                <a:close/>
                <a:moveTo>
                  <a:pt x="369" y="215"/>
                </a:moveTo>
                <a:cubicBezTo>
                  <a:pt x="363" y="223"/>
                  <a:pt x="363" y="223"/>
                  <a:pt x="363" y="223"/>
                </a:cubicBezTo>
                <a:cubicBezTo>
                  <a:pt x="360" y="221"/>
                  <a:pt x="356" y="218"/>
                  <a:pt x="353" y="216"/>
                </a:cubicBezTo>
                <a:cubicBezTo>
                  <a:pt x="358" y="208"/>
                  <a:pt x="358" y="208"/>
                  <a:pt x="358" y="208"/>
                </a:cubicBezTo>
                <a:cubicBezTo>
                  <a:pt x="362" y="210"/>
                  <a:pt x="366" y="213"/>
                  <a:pt x="369" y="215"/>
                </a:cubicBezTo>
                <a:close/>
                <a:moveTo>
                  <a:pt x="333" y="197"/>
                </a:moveTo>
                <a:cubicBezTo>
                  <a:pt x="337" y="198"/>
                  <a:pt x="342" y="200"/>
                  <a:pt x="346" y="201"/>
                </a:cubicBezTo>
                <a:cubicBezTo>
                  <a:pt x="342" y="210"/>
                  <a:pt x="342" y="210"/>
                  <a:pt x="342" y="210"/>
                </a:cubicBezTo>
                <a:cubicBezTo>
                  <a:pt x="338" y="209"/>
                  <a:pt x="334" y="207"/>
                  <a:pt x="330" y="206"/>
                </a:cubicBezTo>
                <a:lnTo>
                  <a:pt x="333" y="197"/>
                </a:lnTo>
                <a:close/>
                <a:moveTo>
                  <a:pt x="306" y="192"/>
                </a:moveTo>
                <a:cubicBezTo>
                  <a:pt x="311" y="193"/>
                  <a:pt x="315" y="193"/>
                  <a:pt x="320" y="194"/>
                </a:cubicBezTo>
                <a:cubicBezTo>
                  <a:pt x="318" y="203"/>
                  <a:pt x="318" y="203"/>
                  <a:pt x="318" y="203"/>
                </a:cubicBezTo>
                <a:cubicBezTo>
                  <a:pt x="314" y="203"/>
                  <a:pt x="310" y="202"/>
                  <a:pt x="306" y="202"/>
                </a:cubicBezTo>
                <a:lnTo>
                  <a:pt x="306" y="192"/>
                </a:lnTo>
                <a:close/>
                <a:moveTo>
                  <a:pt x="373" y="301"/>
                </a:moveTo>
                <a:cubicBezTo>
                  <a:pt x="373" y="340"/>
                  <a:pt x="341" y="372"/>
                  <a:pt x="302" y="372"/>
                </a:cubicBezTo>
                <a:cubicBezTo>
                  <a:pt x="263" y="372"/>
                  <a:pt x="232" y="340"/>
                  <a:pt x="232" y="301"/>
                </a:cubicBezTo>
                <a:cubicBezTo>
                  <a:pt x="232" y="262"/>
                  <a:pt x="263" y="231"/>
                  <a:pt x="302" y="231"/>
                </a:cubicBezTo>
                <a:cubicBezTo>
                  <a:pt x="341" y="231"/>
                  <a:pt x="373" y="262"/>
                  <a:pt x="373" y="301"/>
                </a:cubicBezTo>
                <a:close/>
                <a:moveTo>
                  <a:pt x="361" y="393"/>
                </a:moveTo>
                <a:cubicBezTo>
                  <a:pt x="357" y="395"/>
                  <a:pt x="353" y="398"/>
                  <a:pt x="349" y="400"/>
                </a:cubicBezTo>
                <a:cubicBezTo>
                  <a:pt x="345" y="391"/>
                  <a:pt x="345" y="391"/>
                  <a:pt x="345" y="391"/>
                </a:cubicBezTo>
                <a:cubicBezTo>
                  <a:pt x="349" y="389"/>
                  <a:pt x="352" y="387"/>
                  <a:pt x="356" y="385"/>
                </a:cubicBezTo>
                <a:lnTo>
                  <a:pt x="361" y="393"/>
                </a:lnTo>
                <a:close/>
                <a:moveTo>
                  <a:pt x="261" y="391"/>
                </a:moveTo>
                <a:cubicBezTo>
                  <a:pt x="257" y="400"/>
                  <a:pt x="257" y="400"/>
                  <a:pt x="257" y="400"/>
                </a:cubicBezTo>
                <a:cubicBezTo>
                  <a:pt x="253" y="398"/>
                  <a:pt x="249" y="396"/>
                  <a:pt x="245" y="394"/>
                </a:cubicBezTo>
                <a:cubicBezTo>
                  <a:pt x="250" y="386"/>
                  <a:pt x="250" y="386"/>
                  <a:pt x="250" y="386"/>
                </a:cubicBezTo>
                <a:cubicBezTo>
                  <a:pt x="254" y="388"/>
                  <a:pt x="257" y="390"/>
                  <a:pt x="261" y="391"/>
                </a:cubicBezTo>
                <a:close/>
                <a:moveTo>
                  <a:pt x="206" y="278"/>
                </a:moveTo>
                <a:cubicBezTo>
                  <a:pt x="205" y="282"/>
                  <a:pt x="204" y="287"/>
                  <a:pt x="204" y="291"/>
                </a:cubicBezTo>
                <a:cubicBezTo>
                  <a:pt x="194" y="290"/>
                  <a:pt x="194" y="290"/>
                  <a:pt x="194" y="290"/>
                </a:cubicBezTo>
                <a:cubicBezTo>
                  <a:pt x="194" y="285"/>
                  <a:pt x="195" y="281"/>
                  <a:pt x="196" y="276"/>
                </a:cubicBezTo>
                <a:lnTo>
                  <a:pt x="206" y="278"/>
                </a:lnTo>
                <a:close/>
                <a:moveTo>
                  <a:pt x="200" y="263"/>
                </a:moveTo>
                <a:cubicBezTo>
                  <a:pt x="202" y="259"/>
                  <a:pt x="204" y="255"/>
                  <a:pt x="206" y="251"/>
                </a:cubicBezTo>
                <a:cubicBezTo>
                  <a:pt x="214" y="255"/>
                  <a:pt x="214" y="255"/>
                  <a:pt x="214" y="255"/>
                </a:cubicBezTo>
                <a:cubicBezTo>
                  <a:pt x="212" y="259"/>
                  <a:pt x="211" y="263"/>
                  <a:pt x="209" y="267"/>
                </a:cubicBezTo>
                <a:lnTo>
                  <a:pt x="200" y="263"/>
                </a:lnTo>
                <a:close/>
                <a:moveTo>
                  <a:pt x="203" y="303"/>
                </a:moveTo>
                <a:cubicBezTo>
                  <a:pt x="203" y="307"/>
                  <a:pt x="204" y="311"/>
                  <a:pt x="204" y="315"/>
                </a:cubicBezTo>
                <a:cubicBezTo>
                  <a:pt x="194" y="317"/>
                  <a:pt x="194" y="317"/>
                  <a:pt x="194" y="317"/>
                </a:cubicBezTo>
                <a:cubicBezTo>
                  <a:pt x="194" y="312"/>
                  <a:pt x="193" y="308"/>
                  <a:pt x="193" y="303"/>
                </a:cubicBezTo>
                <a:lnTo>
                  <a:pt x="203" y="303"/>
                </a:lnTo>
                <a:close/>
                <a:moveTo>
                  <a:pt x="207" y="327"/>
                </a:moveTo>
                <a:cubicBezTo>
                  <a:pt x="208" y="331"/>
                  <a:pt x="209" y="335"/>
                  <a:pt x="211" y="339"/>
                </a:cubicBezTo>
                <a:cubicBezTo>
                  <a:pt x="202" y="343"/>
                  <a:pt x="202" y="343"/>
                  <a:pt x="202" y="343"/>
                </a:cubicBezTo>
                <a:cubicBezTo>
                  <a:pt x="200" y="339"/>
                  <a:pt x="198" y="334"/>
                  <a:pt x="197" y="330"/>
                </a:cubicBezTo>
                <a:lnTo>
                  <a:pt x="207" y="327"/>
                </a:lnTo>
                <a:close/>
                <a:moveTo>
                  <a:pt x="216" y="350"/>
                </a:moveTo>
                <a:cubicBezTo>
                  <a:pt x="218" y="354"/>
                  <a:pt x="220" y="357"/>
                  <a:pt x="223" y="361"/>
                </a:cubicBezTo>
                <a:cubicBezTo>
                  <a:pt x="215" y="366"/>
                  <a:pt x="215" y="366"/>
                  <a:pt x="215" y="366"/>
                </a:cubicBezTo>
                <a:cubicBezTo>
                  <a:pt x="212" y="363"/>
                  <a:pt x="210" y="359"/>
                  <a:pt x="208" y="355"/>
                </a:cubicBezTo>
                <a:lnTo>
                  <a:pt x="216" y="350"/>
                </a:lnTo>
                <a:close/>
                <a:moveTo>
                  <a:pt x="221" y="245"/>
                </a:moveTo>
                <a:cubicBezTo>
                  <a:pt x="213" y="239"/>
                  <a:pt x="213" y="239"/>
                  <a:pt x="213" y="239"/>
                </a:cubicBezTo>
                <a:cubicBezTo>
                  <a:pt x="215" y="235"/>
                  <a:pt x="218" y="232"/>
                  <a:pt x="221" y="228"/>
                </a:cubicBezTo>
                <a:cubicBezTo>
                  <a:pt x="229" y="235"/>
                  <a:pt x="229" y="235"/>
                  <a:pt x="229" y="235"/>
                </a:cubicBezTo>
                <a:cubicBezTo>
                  <a:pt x="226" y="238"/>
                  <a:pt x="223" y="241"/>
                  <a:pt x="221" y="245"/>
                </a:cubicBezTo>
                <a:close/>
                <a:moveTo>
                  <a:pt x="231" y="370"/>
                </a:moveTo>
                <a:cubicBezTo>
                  <a:pt x="234" y="373"/>
                  <a:pt x="237" y="376"/>
                  <a:pt x="240" y="378"/>
                </a:cubicBezTo>
                <a:cubicBezTo>
                  <a:pt x="234" y="386"/>
                  <a:pt x="234" y="386"/>
                  <a:pt x="234" y="386"/>
                </a:cubicBezTo>
                <a:cubicBezTo>
                  <a:pt x="230" y="383"/>
                  <a:pt x="227" y="380"/>
                  <a:pt x="224" y="377"/>
                </a:cubicBezTo>
                <a:lnTo>
                  <a:pt x="231" y="370"/>
                </a:lnTo>
                <a:close/>
                <a:moveTo>
                  <a:pt x="231" y="219"/>
                </a:moveTo>
                <a:cubicBezTo>
                  <a:pt x="234" y="216"/>
                  <a:pt x="238" y="213"/>
                  <a:pt x="242" y="211"/>
                </a:cubicBezTo>
                <a:cubicBezTo>
                  <a:pt x="247" y="219"/>
                  <a:pt x="247" y="219"/>
                  <a:pt x="247" y="219"/>
                </a:cubicBezTo>
                <a:cubicBezTo>
                  <a:pt x="244" y="221"/>
                  <a:pt x="241" y="224"/>
                  <a:pt x="237" y="226"/>
                </a:cubicBezTo>
                <a:lnTo>
                  <a:pt x="231" y="219"/>
                </a:lnTo>
                <a:close/>
                <a:moveTo>
                  <a:pt x="293" y="193"/>
                </a:moveTo>
                <a:cubicBezTo>
                  <a:pt x="294" y="203"/>
                  <a:pt x="294" y="203"/>
                  <a:pt x="294" y="203"/>
                </a:cubicBezTo>
                <a:cubicBezTo>
                  <a:pt x="289" y="203"/>
                  <a:pt x="285" y="203"/>
                  <a:pt x="281" y="204"/>
                </a:cubicBezTo>
                <a:cubicBezTo>
                  <a:pt x="279" y="195"/>
                  <a:pt x="279" y="195"/>
                  <a:pt x="279" y="195"/>
                </a:cubicBezTo>
                <a:cubicBezTo>
                  <a:pt x="284" y="194"/>
                  <a:pt x="288" y="193"/>
                  <a:pt x="293" y="193"/>
                </a:cubicBezTo>
                <a:close/>
                <a:moveTo>
                  <a:pt x="258" y="213"/>
                </a:moveTo>
                <a:cubicBezTo>
                  <a:pt x="254" y="204"/>
                  <a:pt x="254" y="204"/>
                  <a:pt x="254" y="204"/>
                </a:cubicBezTo>
                <a:cubicBezTo>
                  <a:pt x="258" y="202"/>
                  <a:pt x="262" y="200"/>
                  <a:pt x="266" y="199"/>
                </a:cubicBezTo>
                <a:cubicBezTo>
                  <a:pt x="269" y="208"/>
                  <a:pt x="269" y="208"/>
                  <a:pt x="269" y="208"/>
                </a:cubicBezTo>
                <a:cubicBezTo>
                  <a:pt x="265" y="209"/>
                  <a:pt x="262" y="211"/>
                  <a:pt x="258" y="213"/>
                </a:cubicBezTo>
                <a:close/>
                <a:moveTo>
                  <a:pt x="269" y="101"/>
                </a:moveTo>
                <a:cubicBezTo>
                  <a:pt x="269" y="176"/>
                  <a:pt x="269" y="176"/>
                  <a:pt x="269" y="176"/>
                </a:cubicBezTo>
                <a:cubicBezTo>
                  <a:pt x="246" y="182"/>
                  <a:pt x="226" y="194"/>
                  <a:pt x="210" y="210"/>
                </a:cubicBezTo>
                <a:cubicBezTo>
                  <a:pt x="145" y="172"/>
                  <a:pt x="145" y="172"/>
                  <a:pt x="145" y="172"/>
                </a:cubicBezTo>
                <a:cubicBezTo>
                  <a:pt x="176" y="135"/>
                  <a:pt x="219" y="109"/>
                  <a:pt x="269" y="101"/>
                </a:cubicBezTo>
                <a:close/>
                <a:moveTo>
                  <a:pt x="112" y="373"/>
                </a:moveTo>
                <a:cubicBezTo>
                  <a:pt x="103" y="351"/>
                  <a:pt x="99" y="326"/>
                  <a:pt x="99" y="301"/>
                </a:cubicBezTo>
                <a:cubicBezTo>
                  <a:pt x="99" y="276"/>
                  <a:pt x="103" y="252"/>
                  <a:pt x="112" y="230"/>
                </a:cubicBezTo>
                <a:cubicBezTo>
                  <a:pt x="177" y="267"/>
                  <a:pt x="177" y="267"/>
                  <a:pt x="177" y="267"/>
                </a:cubicBezTo>
                <a:cubicBezTo>
                  <a:pt x="174" y="278"/>
                  <a:pt x="172" y="290"/>
                  <a:pt x="172" y="301"/>
                </a:cubicBezTo>
                <a:cubicBezTo>
                  <a:pt x="172" y="313"/>
                  <a:pt x="174" y="324"/>
                  <a:pt x="177" y="335"/>
                </a:cubicBezTo>
                <a:lnTo>
                  <a:pt x="112" y="373"/>
                </a:lnTo>
                <a:close/>
                <a:moveTo>
                  <a:pt x="269" y="502"/>
                </a:moveTo>
                <a:cubicBezTo>
                  <a:pt x="219" y="494"/>
                  <a:pt x="176" y="468"/>
                  <a:pt x="145" y="431"/>
                </a:cubicBezTo>
                <a:cubicBezTo>
                  <a:pt x="210" y="393"/>
                  <a:pt x="210" y="393"/>
                  <a:pt x="210" y="393"/>
                </a:cubicBezTo>
                <a:cubicBezTo>
                  <a:pt x="226" y="409"/>
                  <a:pt x="246" y="421"/>
                  <a:pt x="269" y="427"/>
                </a:cubicBezTo>
                <a:lnTo>
                  <a:pt x="269" y="502"/>
                </a:lnTo>
                <a:close/>
                <a:moveTo>
                  <a:pt x="283" y="408"/>
                </a:moveTo>
                <a:cubicBezTo>
                  <a:pt x="278" y="408"/>
                  <a:pt x="274" y="407"/>
                  <a:pt x="270" y="405"/>
                </a:cubicBezTo>
                <a:cubicBezTo>
                  <a:pt x="273" y="396"/>
                  <a:pt x="273" y="396"/>
                  <a:pt x="273" y="396"/>
                </a:cubicBezTo>
                <a:cubicBezTo>
                  <a:pt x="277" y="397"/>
                  <a:pt x="281" y="398"/>
                  <a:pt x="285" y="399"/>
                </a:cubicBezTo>
                <a:lnTo>
                  <a:pt x="283" y="408"/>
                </a:lnTo>
                <a:close/>
                <a:moveTo>
                  <a:pt x="302" y="410"/>
                </a:moveTo>
                <a:cubicBezTo>
                  <a:pt x="300" y="410"/>
                  <a:pt x="298" y="410"/>
                  <a:pt x="296" y="410"/>
                </a:cubicBezTo>
                <a:cubicBezTo>
                  <a:pt x="297" y="400"/>
                  <a:pt x="297" y="400"/>
                  <a:pt x="297" y="400"/>
                </a:cubicBezTo>
                <a:cubicBezTo>
                  <a:pt x="301" y="401"/>
                  <a:pt x="305" y="400"/>
                  <a:pt x="309" y="400"/>
                </a:cubicBezTo>
                <a:cubicBezTo>
                  <a:pt x="310" y="410"/>
                  <a:pt x="310" y="410"/>
                  <a:pt x="310" y="410"/>
                </a:cubicBezTo>
                <a:cubicBezTo>
                  <a:pt x="307" y="410"/>
                  <a:pt x="305" y="410"/>
                  <a:pt x="302" y="410"/>
                </a:cubicBezTo>
                <a:close/>
                <a:moveTo>
                  <a:pt x="322" y="399"/>
                </a:moveTo>
                <a:cubicBezTo>
                  <a:pt x="326" y="398"/>
                  <a:pt x="330" y="397"/>
                  <a:pt x="334" y="395"/>
                </a:cubicBezTo>
                <a:cubicBezTo>
                  <a:pt x="337" y="405"/>
                  <a:pt x="337" y="405"/>
                  <a:pt x="337" y="405"/>
                </a:cubicBezTo>
                <a:cubicBezTo>
                  <a:pt x="332" y="406"/>
                  <a:pt x="328" y="407"/>
                  <a:pt x="323" y="408"/>
                </a:cubicBezTo>
                <a:lnTo>
                  <a:pt x="322" y="399"/>
                </a:lnTo>
                <a:close/>
                <a:moveTo>
                  <a:pt x="336" y="502"/>
                </a:moveTo>
                <a:cubicBezTo>
                  <a:pt x="336" y="427"/>
                  <a:pt x="336" y="427"/>
                  <a:pt x="336" y="427"/>
                </a:cubicBezTo>
                <a:cubicBezTo>
                  <a:pt x="358" y="421"/>
                  <a:pt x="378" y="409"/>
                  <a:pt x="394" y="393"/>
                </a:cubicBezTo>
                <a:cubicBezTo>
                  <a:pt x="459" y="431"/>
                  <a:pt x="459" y="431"/>
                  <a:pt x="459" y="431"/>
                </a:cubicBezTo>
                <a:cubicBezTo>
                  <a:pt x="429" y="468"/>
                  <a:pt x="385" y="494"/>
                  <a:pt x="336" y="502"/>
                </a:cubicBezTo>
                <a:close/>
                <a:moveTo>
                  <a:pt x="493" y="373"/>
                </a:moveTo>
                <a:cubicBezTo>
                  <a:pt x="428" y="335"/>
                  <a:pt x="428" y="335"/>
                  <a:pt x="428" y="335"/>
                </a:cubicBezTo>
                <a:cubicBezTo>
                  <a:pt x="431" y="324"/>
                  <a:pt x="432" y="313"/>
                  <a:pt x="432" y="301"/>
                </a:cubicBezTo>
                <a:cubicBezTo>
                  <a:pt x="432" y="290"/>
                  <a:pt x="431" y="278"/>
                  <a:pt x="428" y="267"/>
                </a:cubicBezTo>
                <a:cubicBezTo>
                  <a:pt x="493" y="230"/>
                  <a:pt x="493" y="230"/>
                  <a:pt x="493" y="230"/>
                </a:cubicBezTo>
                <a:cubicBezTo>
                  <a:pt x="501" y="252"/>
                  <a:pt x="506" y="276"/>
                  <a:pt x="506" y="301"/>
                </a:cubicBezTo>
                <a:cubicBezTo>
                  <a:pt x="506" y="326"/>
                  <a:pt x="501" y="351"/>
                  <a:pt x="493" y="373"/>
                </a:cubicBez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Freeform 16"/>
          <p:cNvSpPr>
            <a:spLocks noEditPoints="1"/>
          </p:cNvSpPr>
          <p:nvPr/>
        </p:nvSpPr>
        <p:spPr bwMode="auto">
          <a:xfrm>
            <a:off x="4825017" y="2425098"/>
            <a:ext cx="782517" cy="778320"/>
          </a:xfrm>
          <a:custGeom>
            <a:avLst/>
            <a:gdLst>
              <a:gd name="T0" fmla="*/ 351 w 394"/>
              <a:gd name="T1" fmla="*/ 134 h 392"/>
              <a:gd name="T2" fmla="*/ 355 w 394"/>
              <a:gd name="T3" fmla="*/ 77 h 392"/>
              <a:gd name="T4" fmla="*/ 321 w 394"/>
              <a:gd name="T5" fmla="*/ 85 h 392"/>
              <a:gd name="T6" fmla="*/ 305 w 394"/>
              <a:gd name="T7" fmla="*/ 30 h 392"/>
              <a:gd name="T8" fmla="*/ 276 w 394"/>
              <a:gd name="T9" fmla="*/ 49 h 392"/>
              <a:gd name="T10" fmla="*/ 242 w 394"/>
              <a:gd name="T11" fmla="*/ 3 h 392"/>
              <a:gd name="T12" fmla="*/ 221 w 394"/>
              <a:gd name="T13" fmla="*/ 31 h 392"/>
              <a:gd name="T14" fmla="*/ 173 w 394"/>
              <a:gd name="T15" fmla="*/ 0 h 392"/>
              <a:gd name="T16" fmla="*/ 163 w 394"/>
              <a:gd name="T17" fmla="*/ 33 h 392"/>
              <a:gd name="T18" fmla="*/ 107 w 394"/>
              <a:gd name="T19" fmla="*/ 20 h 392"/>
              <a:gd name="T20" fmla="*/ 110 w 394"/>
              <a:gd name="T21" fmla="*/ 54 h 392"/>
              <a:gd name="T22" fmla="*/ 53 w 394"/>
              <a:gd name="T23" fmla="*/ 61 h 392"/>
              <a:gd name="T24" fmla="*/ 67 w 394"/>
              <a:gd name="T25" fmla="*/ 93 h 392"/>
              <a:gd name="T26" fmla="*/ 15 w 394"/>
              <a:gd name="T27" fmla="*/ 118 h 392"/>
              <a:gd name="T28" fmla="*/ 39 w 394"/>
              <a:gd name="T29" fmla="*/ 144 h 392"/>
              <a:gd name="T30" fmla="*/ 0 w 394"/>
              <a:gd name="T31" fmla="*/ 185 h 392"/>
              <a:gd name="T32" fmla="*/ 31 w 394"/>
              <a:gd name="T33" fmla="*/ 196 h 392"/>
              <a:gd name="T34" fmla="*/ 0 w 394"/>
              <a:gd name="T35" fmla="*/ 206 h 392"/>
              <a:gd name="T36" fmla="*/ 39 w 394"/>
              <a:gd name="T37" fmla="*/ 248 h 392"/>
              <a:gd name="T38" fmla="*/ 15 w 394"/>
              <a:gd name="T39" fmla="*/ 273 h 392"/>
              <a:gd name="T40" fmla="*/ 67 w 394"/>
              <a:gd name="T41" fmla="*/ 299 h 392"/>
              <a:gd name="T42" fmla="*/ 53 w 394"/>
              <a:gd name="T43" fmla="*/ 331 h 392"/>
              <a:gd name="T44" fmla="*/ 110 w 394"/>
              <a:gd name="T45" fmla="*/ 337 h 392"/>
              <a:gd name="T46" fmla="*/ 107 w 394"/>
              <a:gd name="T47" fmla="*/ 372 h 392"/>
              <a:gd name="T48" fmla="*/ 163 w 394"/>
              <a:gd name="T49" fmla="*/ 359 h 392"/>
              <a:gd name="T50" fmla="*/ 173 w 394"/>
              <a:gd name="T51" fmla="*/ 392 h 392"/>
              <a:gd name="T52" fmla="*/ 221 w 394"/>
              <a:gd name="T53" fmla="*/ 360 h 392"/>
              <a:gd name="T54" fmla="*/ 242 w 394"/>
              <a:gd name="T55" fmla="*/ 388 h 392"/>
              <a:gd name="T56" fmla="*/ 276 w 394"/>
              <a:gd name="T57" fmla="*/ 342 h 392"/>
              <a:gd name="T58" fmla="*/ 305 w 394"/>
              <a:gd name="T59" fmla="*/ 361 h 392"/>
              <a:gd name="T60" fmla="*/ 321 w 394"/>
              <a:gd name="T61" fmla="*/ 306 h 392"/>
              <a:gd name="T62" fmla="*/ 355 w 394"/>
              <a:gd name="T63" fmla="*/ 315 h 392"/>
              <a:gd name="T64" fmla="*/ 351 w 394"/>
              <a:gd name="T65" fmla="*/ 257 h 392"/>
              <a:gd name="T66" fmla="*/ 386 w 394"/>
              <a:gd name="T67" fmla="*/ 253 h 392"/>
              <a:gd name="T68" fmla="*/ 363 w 394"/>
              <a:gd name="T69" fmla="*/ 201 h 392"/>
              <a:gd name="T70" fmla="*/ 363 w 394"/>
              <a:gd name="T71" fmla="*/ 191 h 392"/>
              <a:gd name="T72" fmla="*/ 386 w 394"/>
              <a:gd name="T73" fmla="*/ 138 h 392"/>
              <a:gd name="T74" fmla="*/ 221 w 394"/>
              <a:gd name="T75" fmla="*/ 330 h 392"/>
              <a:gd name="T76" fmla="*/ 267 w 394"/>
              <a:gd name="T77" fmla="*/ 220 h 392"/>
              <a:gd name="T78" fmla="*/ 221 w 394"/>
              <a:gd name="T79" fmla="*/ 330 h 392"/>
              <a:gd name="T80" fmla="*/ 234 w 394"/>
              <a:gd name="T81" fmla="*/ 196 h 392"/>
              <a:gd name="T82" fmla="*/ 160 w 394"/>
              <a:gd name="T83" fmla="*/ 196 h 392"/>
              <a:gd name="T84" fmla="*/ 63 w 394"/>
              <a:gd name="T85" fmla="*/ 220 h 392"/>
              <a:gd name="T86" fmla="*/ 173 w 394"/>
              <a:gd name="T87" fmla="*/ 266 h 392"/>
              <a:gd name="T88" fmla="*/ 63 w 394"/>
              <a:gd name="T89" fmla="*/ 220 h 392"/>
              <a:gd name="T90" fmla="*/ 173 w 394"/>
              <a:gd name="T91" fmla="*/ 126 h 392"/>
              <a:gd name="T92" fmla="*/ 63 w 394"/>
              <a:gd name="T93" fmla="*/ 172 h 392"/>
              <a:gd name="T94" fmla="*/ 331 w 394"/>
              <a:gd name="T95" fmla="*/ 172 h 392"/>
              <a:gd name="T96" fmla="*/ 221 w 394"/>
              <a:gd name="T97" fmla="*/ 126 h 392"/>
              <a:gd name="T98" fmla="*/ 331 w 394"/>
              <a:gd name="T99" fmla="*/ 17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4" h="392">
                <a:moveTo>
                  <a:pt x="355" y="144"/>
                </a:moveTo>
                <a:cubicBezTo>
                  <a:pt x="354" y="141"/>
                  <a:pt x="353" y="137"/>
                  <a:pt x="351" y="134"/>
                </a:cubicBezTo>
                <a:cubicBezTo>
                  <a:pt x="379" y="118"/>
                  <a:pt x="379" y="118"/>
                  <a:pt x="379" y="118"/>
                </a:cubicBezTo>
                <a:cubicBezTo>
                  <a:pt x="355" y="77"/>
                  <a:pt x="355" y="77"/>
                  <a:pt x="355" y="77"/>
                </a:cubicBezTo>
                <a:cubicBezTo>
                  <a:pt x="327" y="93"/>
                  <a:pt x="327" y="93"/>
                  <a:pt x="327" y="93"/>
                </a:cubicBezTo>
                <a:cubicBezTo>
                  <a:pt x="325" y="90"/>
                  <a:pt x="323" y="88"/>
                  <a:pt x="321" y="85"/>
                </a:cubicBezTo>
                <a:cubicBezTo>
                  <a:pt x="341" y="61"/>
                  <a:pt x="341" y="61"/>
                  <a:pt x="341" y="61"/>
                </a:cubicBezTo>
                <a:cubicBezTo>
                  <a:pt x="305" y="30"/>
                  <a:pt x="305" y="30"/>
                  <a:pt x="305" y="30"/>
                </a:cubicBezTo>
                <a:cubicBezTo>
                  <a:pt x="284" y="54"/>
                  <a:pt x="284" y="54"/>
                  <a:pt x="284" y="54"/>
                </a:cubicBezTo>
                <a:cubicBezTo>
                  <a:pt x="282" y="53"/>
                  <a:pt x="279" y="51"/>
                  <a:pt x="276" y="49"/>
                </a:cubicBezTo>
                <a:cubicBezTo>
                  <a:pt x="287" y="20"/>
                  <a:pt x="287" y="20"/>
                  <a:pt x="287" y="20"/>
                </a:cubicBezTo>
                <a:cubicBezTo>
                  <a:pt x="242" y="3"/>
                  <a:pt x="242" y="3"/>
                  <a:pt x="242" y="3"/>
                </a:cubicBezTo>
                <a:cubicBezTo>
                  <a:pt x="231" y="33"/>
                  <a:pt x="231" y="33"/>
                  <a:pt x="231" y="33"/>
                </a:cubicBezTo>
                <a:cubicBezTo>
                  <a:pt x="227" y="32"/>
                  <a:pt x="224" y="32"/>
                  <a:pt x="221" y="31"/>
                </a:cubicBezTo>
                <a:cubicBezTo>
                  <a:pt x="221" y="0"/>
                  <a:pt x="221" y="0"/>
                  <a:pt x="221" y="0"/>
                </a:cubicBezTo>
                <a:cubicBezTo>
                  <a:pt x="173" y="0"/>
                  <a:pt x="173" y="0"/>
                  <a:pt x="173" y="0"/>
                </a:cubicBezTo>
                <a:cubicBezTo>
                  <a:pt x="173" y="31"/>
                  <a:pt x="173" y="31"/>
                  <a:pt x="173" y="31"/>
                </a:cubicBezTo>
                <a:cubicBezTo>
                  <a:pt x="170" y="32"/>
                  <a:pt x="166" y="32"/>
                  <a:pt x="163" y="33"/>
                </a:cubicBezTo>
                <a:cubicBezTo>
                  <a:pt x="152" y="3"/>
                  <a:pt x="152" y="3"/>
                  <a:pt x="152" y="3"/>
                </a:cubicBezTo>
                <a:cubicBezTo>
                  <a:pt x="107" y="20"/>
                  <a:pt x="107" y="20"/>
                  <a:pt x="107" y="20"/>
                </a:cubicBezTo>
                <a:cubicBezTo>
                  <a:pt x="118" y="49"/>
                  <a:pt x="118" y="49"/>
                  <a:pt x="118" y="49"/>
                </a:cubicBezTo>
                <a:cubicBezTo>
                  <a:pt x="115" y="51"/>
                  <a:pt x="112" y="53"/>
                  <a:pt x="110" y="54"/>
                </a:cubicBezTo>
                <a:cubicBezTo>
                  <a:pt x="89" y="30"/>
                  <a:pt x="89" y="30"/>
                  <a:pt x="89" y="30"/>
                </a:cubicBezTo>
                <a:cubicBezTo>
                  <a:pt x="53" y="61"/>
                  <a:pt x="53" y="61"/>
                  <a:pt x="53" y="61"/>
                </a:cubicBezTo>
                <a:cubicBezTo>
                  <a:pt x="73" y="85"/>
                  <a:pt x="73" y="85"/>
                  <a:pt x="73" y="85"/>
                </a:cubicBezTo>
                <a:cubicBezTo>
                  <a:pt x="71" y="88"/>
                  <a:pt x="69" y="90"/>
                  <a:pt x="67" y="93"/>
                </a:cubicBezTo>
                <a:cubicBezTo>
                  <a:pt x="39" y="77"/>
                  <a:pt x="39" y="77"/>
                  <a:pt x="39" y="77"/>
                </a:cubicBezTo>
                <a:cubicBezTo>
                  <a:pt x="15" y="118"/>
                  <a:pt x="15" y="118"/>
                  <a:pt x="15" y="118"/>
                </a:cubicBezTo>
                <a:cubicBezTo>
                  <a:pt x="43" y="134"/>
                  <a:pt x="43" y="134"/>
                  <a:pt x="43" y="134"/>
                </a:cubicBezTo>
                <a:cubicBezTo>
                  <a:pt x="41" y="137"/>
                  <a:pt x="40" y="141"/>
                  <a:pt x="39" y="144"/>
                </a:cubicBezTo>
                <a:cubicBezTo>
                  <a:pt x="8" y="138"/>
                  <a:pt x="8" y="138"/>
                  <a:pt x="8" y="138"/>
                </a:cubicBezTo>
                <a:cubicBezTo>
                  <a:pt x="0" y="185"/>
                  <a:pt x="0" y="185"/>
                  <a:pt x="0" y="185"/>
                </a:cubicBezTo>
                <a:cubicBezTo>
                  <a:pt x="31" y="191"/>
                  <a:pt x="31" y="191"/>
                  <a:pt x="31" y="191"/>
                </a:cubicBezTo>
                <a:cubicBezTo>
                  <a:pt x="31" y="193"/>
                  <a:pt x="31" y="194"/>
                  <a:pt x="31" y="196"/>
                </a:cubicBezTo>
                <a:cubicBezTo>
                  <a:pt x="31" y="197"/>
                  <a:pt x="31" y="199"/>
                  <a:pt x="31" y="201"/>
                </a:cubicBezTo>
                <a:cubicBezTo>
                  <a:pt x="0" y="206"/>
                  <a:pt x="0" y="206"/>
                  <a:pt x="0" y="206"/>
                </a:cubicBezTo>
                <a:cubicBezTo>
                  <a:pt x="8" y="253"/>
                  <a:pt x="8" y="253"/>
                  <a:pt x="8" y="253"/>
                </a:cubicBezTo>
                <a:cubicBezTo>
                  <a:pt x="39" y="248"/>
                  <a:pt x="39" y="248"/>
                  <a:pt x="39" y="248"/>
                </a:cubicBezTo>
                <a:cubicBezTo>
                  <a:pt x="40" y="251"/>
                  <a:pt x="41" y="254"/>
                  <a:pt x="43" y="257"/>
                </a:cubicBezTo>
                <a:cubicBezTo>
                  <a:pt x="15" y="273"/>
                  <a:pt x="15" y="273"/>
                  <a:pt x="15" y="273"/>
                </a:cubicBezTo>
                <a:cubicBezTo>
                  <a:pt x="39" y="315"/>
                  <a:pt x="39" y="315"/>
                  <a:pt x="39" y="315"/>
                </a:cubicBezTo>
                <a:cubicBezTo>
                  <a:pt x="67" y="299"/>
                  <a:pt x="67" y="299"/>
                  <a:pt x="67" y="299"/>
                </a:cubicBezTo>
                <a:cubicBezTo>
                  <a:pt x="69" y="301"/>
                  <a:pt x="71" y="304"/>
                  <a:pt x="73" y="306"/>
                </a:cubicBezTo>
                <a:cubicBezTo>
                  <a:pt x="53" y="331"/>
                  <a:pt x="53" y="331"/>
                  <a:pt x="53" y="331"/>
                </a:cubicBezTo>
                <a:cubicBezTo>
                  <a:pt x="89" y="361"/>
                  <a:pt x="89" y="361"/>
                  <a:pt x="89" y="361"/>
                </a:cubicBezTo>
                <a:cubicBezTo>
                  <a:pt x="110" y="337"/>
                  <a:pt x="110" y="337"/>
                  <a:pt x="110" y="337"/>
                </a:cubicBezTo>
                <a:cubicBezTo>
                  <a:pt x="112" y="339"/>
                  <a:pt x="115" y="341"/>
                  <a:pt x="118" y="342"/>
                </a:cubicBezTo>
                <a:cubicBezTo>
                  <a:pt x="107" y="372"/>
                  <a:pt x="107" y="372"/>
                  <a:pt x="107" y="372"/>
                </a:cubicBezTo>
                <a:cubicBezTo>
                  <a:pt x="152" y="388"/>
                  <a:pt x="152" y="388"/>
                  <a:pt x="152" y="388"/>
                </a:cubicBezTo>
                <a:cubicBezTo>
                  <a:pt x="163" y="359"/>
                  <a:pt x="163" y="359"/>
                  <a:pt x="163" y="359"/>
                </a:cubicBezTo>
                <a:cubicBezTo>
                  <a:pt x="166" y="359"/>
                  <a:pt x="170" y="360"/>
                  <a:pt x="173" y="360"/>
                </a:cubicBezTo>
                <a:cubicBezTo>
                  <a:pt x="173" y="392"/>
                  <a:pt x="173" y="392"/>
                  <a:pt x="173" y="392"/>
                </a:cubicBezTo>
                <a:cubicBezTo>
                  <a:pt x="221" y="392"/>
                  <a:pt x="221" y="392"/>
                  <a:pt x="221" y="392"/>
                </a:cubicBezTo>
                <a:cubicBezTo>
                  <a:pt x="221" y="360"/>
                  <a:pt x="221" y="360"/>
                  <a:pt x="221" y="360"/>
                </a:cubicBezTo>
                <a:cubicBezTo>
                  <a:pt x="224" y="360"/>
                  <a:pt x="227" y="359"/>
                  <a:pt x="231" y="359"/>
                </a:cubicBezTo>
                <a:cubicBezTo>
                  <a:pt x="242" y="388"/>
                  <a:pt x="242" y="388"/>
                  <a:pt x="242" y="388"/>
                </a:cubicBezTo>
                <a:cubicBezTo>
                  <a:pt x="287" y="372"/>
                  <a:pt x="287" y="372"/>
                  <a:pt x="287" y="372"/>
                </a:cubicBezTo>
                <a:cubicBezTo>
                  <a:pt x="276" y="342"/>
                  <a:pt x="276" y="342"/>
                  <a:pt x="276" y="342"/>
                </a:cubicBezTo>
                <a:cubicBezTo>
                  <a:pt x="279" y="341"/>
                  <a:pt x="282" y="339"/>
                  <a:pt x="284" y="337"/>
                </a:cubicBezTo>
                <a:cubicBezTo>
                  <a:pt x="305" y="361"/>
                  <a:pt x="305" y="361"/>
                  <a:pt x="305" y="361"/>
                </a:cubicBezTo>
                <a:cubicBezTo>
                  <a:pt x="341" y="331"/>
                  <a:pt x="341" y="331"/>
                  <a:pt x="341" y="331"/>
                </a:cubicBezTo>
                <a:cubicBezTo>
                  <a:pt x="321" y="306"/>
                  <a:pt x="321" y="306"/>
                  <a:pt x="321" y="306"/>
                </a:cubicBezTo>
                <a:cubicBezTo>
                  <a:pt x="323" y="304"/>
                  <a:pt x="325" y="301"/>
                  <a:pt x="327" y="299"/>
                </a:cubicBezTo>
                <a:cubicBezTo>
                  <a:pt x="355" y="315"/>
                  <a:pt x="355" y="315"/>
                  <a:pt x="355" y="315"/>
                </a:cubicBezTo>
                <a:cubicBezTo>
                  <a:pt x="379" y="273"/>
                  <a:pt x="379" y="273"/>
                  <a:pt x="379" y="273"/>
                </a:cubicBezTo>
                <a:cubicBezTo>
                  <a:pt x="351" y="257"/>
                  <a:pt x="351" y="257"/>
                  <a:pt x="351" y="257"/>
                </a:cubicBezTo>
                <a:cubicBezTo>
                  <a:pt x="353" y="254"/>
                  <a:pt x="354" y="251"/>
                  <a:pt x="355" y="248"/>
                </a:cubicBezTo>
                <a:cubicBezTo>
                  <a:pt x="386" y="253"/>
                  <a:pt x="386" y="253"/>
                  <a:pt x="386" y="253"/>
                </a:cubicBezTo>
                <a:cubicBezTo>
                  <a:pt x="394" y="206"/>
                  <a:pt x="394" y="206"/>
                  <a:pt x="394" y="206"/>
                </a:cubicBezTo>
                <a:cubicBezTo>
                  <a:pt x="363" y="201"/>
                  <a:pt x="363" y="201"/>
                  <a:pt x="363" y="201"/>
                </a:cubicBezTo>
                <a:cubicBezTo>
                  <a:pt x="363" y="199"/>
                  <a:pt x="363" y="197"/>
                  <a:pt x="363" y="196"/>
                </a:cubicBezTo>
                <a:cubicBezTo>
                  <a:pt x="363" y="194"/>
                  <a:pt x="363" y="193"/>
                  <a:pt x="363" y="191"/>
                </a:cubicBezTo>
                <a:cubicBezTo>
                  <a:pt x="394" y="185"/>
                  <a:pt x="394" y="185"/>
                  <a:pt x="394" y="185"/>
                </a:cubicBezTo>
                <a:cubicBezTo>
                  <a:pt x="386" y="138"/>
                  <a:pt x="386" y="138"/>
                  <a:pt x="386" y="138"/>
                </a:cubicBezTo>
                <a:lnTo>
                  <a:pt x="355" y="144"/>
                </a:lnTo>
                <a:close/>
                <a:moveTo>
                  <a:pt x="221" y="330"/>
                </a:moveTo>
                <a:cubicBezTo>
                  <a:pt x="221" y="266"/>
                  <a:pt x="221" y="266"/>
                  <a:pt x="221" y="266"/>
                </a:cubicBezTo>
                <a:cubicBezTo>
                  <a:pt x="243" y="259"/>
                  <a:pt x="260" y="241"/>
                  <a:pt x="267" y="220"/>
                </a:cubicBezTo>
                <a:cubicBezTo>
                  <a:pt x="331" y="220"/>
                  <a:pt x="331" y="220"/>
                  <a:pt x="331" y="220"/>
                </a:cubicBezTo>
                <a:cubicBezTo>
                  <a:pt x="321" y="276"/>
                  <a:pt x="277" y="320"/>
                  <a:pt x="221" y="330"/>
                </a:cubicBezTo>
                <a:close/>
                <a:moveTo>
                  <a:pt x="197" y="158"/>
                </a:moveTo>
                <a:cubicBezTo>
                  <a:pt x="218" y="158"/>
                  <a:pt x="234" y="175"/>
                  <a:pt x="234" y="196"/>
                </a:cubicBezTo>
                <a:cubicBezTo>
                  <a:pt x="234" y="216"/>
                  <a:pt x="218" y="233"/>
                  <a:pt x="197" y="233"/>
                </a:cubicBezTo>
                <a:cubicBezTo>
                  <a:pt x="176" y="233"/>
                  <a:pt x="160" y="216"/>
                  <a:pt x="160" y="196"/>
                </a:cubicBezTo>
                <a:cubicBezTo>
                  <a:pt x="160" y="175"/>
                  <a:pt x="176" y="158"/>
                  <a:pt x="197" y="158"/>
                </a:cubicBezTo>
                <a:close/>
                <a:moveTo>
                  <a:pt x="63" y="220"/>
                </a:moveTo>
                <a:cubicBezTo>
                  <a:pt x="127" y="220"/>
                  <a:pt x="127" y="220"/>
                  <a:pt x="127" y="220"/>
                </a:cubicBezTo>
                <a:cubicBezTo>
                  <a:pt x="134" y="241"/>
                  <a:pt x="151" y="259"/>
                  <a:pt x="173" y="266"/>
                </a:cubicBezTo>
                <a:cubicBezTo>
                  <a:pt x="173" y="330"/>
                  <a:pt x="173" y="330"/>
                  <a:pt x="173" y="330"/>
                </a:cubicBezTo>
                <a:cubicBezTo>
                  <a:pt x="117" y="320"/>
                  <a:pt x="73" y="276"/>
                  <a:pt x="63" y="220"/>
                </a:cubicBezTo>
                <a:close/>
                <a:moveTo>
                  <a:pt x="173" y="62"/>
                </a:moveTo>
                <a:cubicBezTo>
                  <a:pt x="173" y="126"/>
                  <a:pt x="173" y="126"/>
                  <a:pt x="173" y="126"/>
                </a:cubicBezTo>
                <a:cubicBezTo>
                  <a:pt x="151" y="133"/>
                  <a:pt x="134" y="150"/>
                  <a:pt x="127" y="172"/>
                </a:cubicBezTo>
                <a:cubicBezTo>
                  <a:pt x="63" y="172"/>
                  <a:pt x="63" y="172"/>
                  <a:pt x="63" y="172"/>
                </a:cubicBezTo>
                <a:cubicBezTo>
                  <a:pt x="73" y="116"/>
                  <a:pt x="117" y="72"/>
                  <a:pt x="173" y="62"/>
                </a:cubicBezTo>
                <a:close/>
                <a:moveTo>
                  <a:pt x="331" y="172"/>
                </a:moveTo>
                <a:cubicBezTo>
                  <a:pt x="267" y="172"/>
                  <a:pt x="267" y="172"/>
                  <a:pt x="267" y="172"/>
                </a:cubicBezTo>
                <a:cubicBezTo>
                  <a:pt x="260" y="150"/>
                  <a:pt x="243" y="133"/>
                  <a:pt x="221" y="126"/>
                </a:cubicBezTo>
                <a:cubicBezTo>
                  <a:pt x="221" y="62"/>
                  <a:pt x="221" y="62"/>
                  <a:pt x="221" y="62"/>
                </a:cubicBezTo>
                <a:cubicBezTo>
                  <a:pt x="277" y="72"/>
                  <a:pt x="321" y="116"/>
                  <a:pt x="331" y="17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33" name="Group 20"/>
          <p:cNvGrpSpPr/>
          <p:nvPr/>
        </p:nvGrpSpPr>
        <p:grpSpPr>
          <a:xfrm>
            <a:off x="5783360" y="2591386"/>
            <a:ext cx="877410" cy="871216"/>
            <a:chOff x="5686767" y="3296748"/>
            <a:chExt cx="877410" cy="871216"/>
          </a:xfrm>
          <a:solidFill>
            <a:schemeClr val="accent4"/>
          </a:solidFill>
        </p:grpSpPr>
        <p:sp>
          <p:nvSpPr>
            <p:cNvPr id="55" name="Freeform 19"/>
            <p:cNvSpPr>
              <a:spLocks noEditPoints="1"/>
            </p:cNvSpPr>
            <p:nvPr/>
          </p:nvSpPr>
          <p:spPr bwMode="auto">
            <a:xfrm>
              <a:off x="5686767" y="3296748"/>
              <a:ext cx="877410" cy="871216"/>
            </a:xfrm>
            <a:custGeom>
              <a:avLst/>
              <a:gdLst>
                <a:gd name="T0" fmla="*/ 480 w 539"/>
                <a:gd name="T1" fmla="*/ 183 h 535"/>
                <a:gd name="T2" fmla="*/ 485 w 539"/>
                <a:gd name="T3" fmla="*/ 105 h 535"/>
                <a:gd name="T4" fmla="*/ 439 w 539"/>
                <a:gd name="T5" fmla="*/ 116 h 535"/>
                <a:gd name="T6" fmla="*/ 417 w 539"/>
                <a:gd name="T7" fmla="*/ 41 h 535"/>
                <a:gd name="T8" fmla="*/ 377 w 539"/>
                <a:gd name="T9" fmla="*/ 67 h 535"/>
                <a:gd name="T10" fmla="*/ 331 w 539"/>
                <a:gd name="T11" fmla="*/ 5 h 535"/>
                <a:gd name="T12" fmla="*/ 302 w 539"/>
                <a:gd name="T13" fmla="*/ 43 h 535"/>
                <a:gd name="T14" fmla="*/ 237 w 539"/>
                <a:gd name="T15" fmla="*/ 0 h 535"/>
                <a:gd name="T16" fmla="*/ 224 w 539"/>
                <a:gd name="T17" fmla="*/ 45 h 535"/>
                <a:gd name="T18" fmla="*/ 147 w 539"/>
                <a:gd name="T19" fmla="*/ 27 h 535"/>
                <a:gd name="T20" fmla="*/ 150 w 539"/>
                <a:gd name="T21" fmla="*/ 74 h 535"/>
                <a:gd name="T22" fmla="*/ 72 w 539"/>
                <a:gd name="T23" fmla="*/ 83 h 535"/>
                <a:gd name="T24" fmla="*/ 92 w 539"/>
                <a:gd name="T25" fmla="*/ 127 h 535"/>
                <a:gd name="T26" fmla="*/ 21 w 539"/>
                <a:gd name="T27" fmla="*/ 162 h 535"/>
                <a:gd name="T28" fmla="*/ 54 w 539"/>
                <a:gd name="T29" fmla="*/ 196 h 535"/>
                <a:gd name="T30" fmla="*/ 0 w 539"/>
                <a:gd name="T31" fmla="*/ 253 h 535"/>
                <a:gd name="T32" fmla="*/ 43 w 539"/>
                <a:gd name="T33" fmla="*/ 267 h 535"/>
                <a:gd name="T34" fmla="*/ 0 w 539"/>
                <a:gd name="T35" fmla="*/ 282 h 535"/>
                <a:gd name="T36" fmla="*/ 54 w 539"/>
                <a:gd name="T37" fmla="*/ 338 h 535"/>
                <a:gd name="T38" fmla="*/ 21 w 539"/>
                <a:gd name="T39" fmla="*/ 373 h 535"/>
                <a:gd name="T40" fmla="*/ 92 w 539"/>
                <a:gd name="T41" fmla="*/ 408 h 535"/>
                <a:gd name="T42" fmla="*/ 72 w 539"/>
                <a:gd name="T43" fmla="*/ 451 h 535"/>
                <a:gd name="T44" fmla="*/ 150 w 539"/>
                <a:gd name="T45" fmla="*/ 460 h 535"/>
                <a:gd name="T46" fmla="*/ 147 w 539"/>
                <a:gd name="T47" fmla="*/ 508 h 535"/>
                <a:gd name="T48" fmla="*/ 224 w 539"/>
                <a:gd name="T49" fmla="*/ 489 h 535"/>
                <a:gd name="T50" fmla="*/ 237 w 539"/>
                <a:gd name="T51" fmla="*/ 535 h 535"/>
                <a:gd name="T52" fmla="*/ 302 w 539"/>
                <a:gd name="T53" fmla="*/ 492 h 535"/>
                <a:gd name="T54" fmla="*/ 331 w 539"/>
                <a:gd name="T55" fmla="*/ 530 h 535"/>
                <a:gd name="T56" fmla="*/ 377 w 539"/>
                <a:gd name="T57" fmla="*/ 467 h 535"/>
                <a:gd name="T58" fmla="*/ 417 w 539"/>
                <a:gd name="T59" fmla="*/ 493 h 535"/>
                <a:gd name="T60" fmla="*/ 439 w 539"/>
                <a:gd name="T61" fmla="*/ 418 h 535"/>
                <a:gd name="T62" fmla="*/ 485 w 539"/>
                <a:gd name="T63" fmla="*/ 430 h 535"/>
                <a:gd name="T64" fmla="*/ 480 w 539"/>
                <a:gd name="T65" fmla="*/ 351 h 535"/>
                <a:gd name="T66" fmla="*/ 528 w 539"/>
                <a:gd name="T67" fmla="*/ 346 h 535"/>
                <a:gd name="T68" fmla="*/ 496 w 539"/>
                <a:gd name="T69" fmla="*/ 274 h 535"/>
                <a:gd name="T70" fmla="*/ 496 w 539"/>
                <a:gd name="T71" fmla="*/ 261 h 535"/>
                <a:gd name="T72" fmla="*/ 528 w 539"/>
                <a:gd name="T73" fmla="*/ 189 h 535"/>
                <a:gd name="T74" fmla="*/ 454 w 539"/>
                <a:gd name="T75" fmla="*/ 267 h 535"/>
                <a:gd name="T76" fmla="*/ 85 w 539"/>
                <a:gd name="T77" fmla="*/ 267 h 535"/>
                <a:gd name="T78" fmla="*/ 454 w 539"/>
                <a:gd name="T79"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9" h="535">
                  <a:moveTo>
                    <a:pt x="485" y="196"/>
                  </a:moveTo>
                  <a:cubicBezTo>
                    <a:pt x="484" y="192"/>
                    <a:pt x="482" y="188"/>
                    <a:pt x="480" y="183"/>
                  </a:cubicBezTo>
                  <a:cubicBezTo>
                    <a:pt x="518" y="162"/>
                    <a:pt x="518" y="162"/>
                    <a:pt x="518" y="162"/>
                  </a:cubicBezTo>
                  <a:cubicBezTo>
                    <a:pt x="485" y="105"/>
                    <a:pt x="485" y="105"/>
                    <a:pt x="485" y="105"/>
                  </a:cubicBezTo>
                  <a:cubicBezTo>
                    <a:pt x="448" y="127"/>
                    <a:pt x="448" y="127"/>
                    <a:pt x="448" y="127"/>
                  </a:cubicBezTo>
                  <a:cubicBezTo>
                    <a:pt x="445" y="123"/>
                    <a:pt x="442" y="120"/>
                    <a:pt x="439" y="116"/>
                  </a:cubicBezTo>
                  <a:cubicBezTo>
                    <a:pt x="467" y="83"/>
                    <a:pt x="467" y="83"/>
                    <a:pt x="467" y="83"/>
                  </a:cubicBezTo>
                  <a:cubicBezTo>
                    <a:pt x="417" y="41"/>
                    <a:pt x="417" y="41"/>
                    <a:pt x="417" y="41"/>
                  </a:cubicBezTo>
                  <a:cubicBezTo>
                    <a:pt x="389" y="74"/>
                    <a:pt x="389" y="74"/>
                    <a:pt x="389" y="74"/>
                  </a:cubicBezTo>
                  <a:cubicBezTo>
                    <a:pt x="385" y="72"/>
                    <a:pt x="381" y="70"/>
                    <a:pt x="377" y="67"/>
                  </a:cubicBezTo>
                  <a:cubicBezTo>
                    <a:pt x="392" y="27"/>
                    <a:pt x="392" y="27"/>
                    <a:pt x="392" y="27"/>
                  </a:cubicBezTo>
                  <a:cubicBezTo>
                    <a:pt x="331" y="5"/>
                    <a:pt x="331" y="5"/>
                    <a:pt x="331" y="5"/>
                  </a:cubicBezTo>
                  <a:cubicBezTo>
                    <a:pt x="316" y="45"/>
                    <a:pt x="316" y="45"/>
                    <a:pt x="316" y="45"/>
                  </a:cubicBezTo>
                  <a:cubicBezTo>
                    <a:pt x="311" y="44"/>
                    <a:pt x="307" y="43"/>
                    <a:pt x="302" y="43"/>
                  </a:cubicBezTo>
                  <a:cubicBezTo>
                    <a:pt x="302" y="0"/>
                    <a:pt x="302" y="0"/>
                    <a:pt x="302" y="0"/>
                  </a:cubicBezTo>
                  <a:cubicBezTo>
                    <a:pt x="237" y="0"/>
                    <a:pt x="237" y="0"/>
                    <a:pt x="237" y="0"/>
                  </a:cubicBezTo>
                  <a:cubicBezTo>
                    <a:pt x="237" y="43"/>
                    <a:pt x="237" y="43"/>
                    <a:pt x="237" y="43"/>
                  </a:cubicBezTo>
                  <a:cubicBezTo>
                    <a:pt x="232" y="43"/>
                    <a:pt x="228" y="44"/>
                    <a:pt x="224" y="45"/>
                  </a:cubicBezTo>
                  <a:cubicBezTo>
                    <a:pt x="209" y="4"/>
                    <a:pt x="209" y="4"/>
                    <a:pt x="209" y="4"/>
                  </a:cubicBezTo>
                  <a:cubicBezTo>
                    <a:pt x="147" y="27"/>
                    <a:pt x="147" y="27"/>
                    <a:pt x="147" y="27"/>
                  </a:cubicBezTo>
                  <a:cubicBezTo>
                    <a:pt x="162" y="67"/>
                    <a:pt x="162" y="67"/>
                    <a:pt x="162" y="67"/>
                  </a:cubicBezTo>
                  <a:cubicBezTo>
                    <a:pt x="158" y="70"/>
                    <a:pt x="154" y="72"/>
                    <a:pt x="150" y="74"/>
                  </a:cubicBezTo>
                  <a:cubicBezTo>
                    <a:pt x="123" y="41"/>
                    <a:pt x="123" y="41"/>
                    <a:pt x="123" y="41"/>
                  </a:cubicBezTo>
                  <a:cubicBezTo>
                    <a:pt x="72" y="83"/>
                    <a:pt x="72" y="83"/>
                    <a:pt x="72" y="83"/>
                  </a:cubicBezTo>
                  <a:cubicBezTo>
                    <a:pt x="100" y="116"/>
                    <a:pt x="100" y="116"/>
                    <a:pt x="100" y="116"/>
                  </a:cubicBezTo>
                  <a:cubicBezTo>
                    <a:pt x="97" y="120"/>
                    <a:pt x="94" y="123"/>
                    <a:pt x="92" y="127"/>
                  </a:cubicBezTo>
                  <a:cubicBezTo>
                    <a:pt x="54" y="105"/>
                    <a:pt x="54" y="105"/>
                    <a:pt x="54" y="105"/>
                  </a:cubicBezTo>
                  <a:cubicBezTo>
                    <a:pt x="21" y="162"/>
                    <a:pt x="21" y="162"/>
                    <a:pt x="21" y="162"/>
                  </a:cubicBezTo>
                  <a:cubicBezTo>
                    <a:pt x="59" y="183"/>
                    <a:pt x="59" y="183"/>
                    <a:pt x="59" y="183"/>
                  </a:cubicBezTo>
                  <a:cubicBezTo>
                    <a:pt x="57" y="188"/>
                    <a:pt x="56" y="192"/>
                    <a:pt x="54" y="196"/>
                  </a:cubicBezTo>
                  <a:cubicBezTo>
                    <a:pt x="12" y="189"/>
                    <a:pt x="12" y="189"/>
                    <a:pt x="12" y="189"/>
                  </a:cubicBezTo>
                  <a:cubicBezTo>
                    <a:pt x="0" y="253"/>
                    <a:pt x="0" y="253"/>
                    <a:pt x="0" y="253"/>
                  </a:cubicBezTo>
                  <a:cubicBezTo>
                    <a:pt x="43" y="261"/>
                    <a:pt x="43" y="261"/>
                    <a:pt x="43" y="261"/>
                  </a:cubicBezTo>
                  <a:cubicBezTo>
                    <a:pt x="43" y="263"/>
                    <a:pt x="43" y="265"/>
                    <a:pt x="43" y="267"/>
                  </a:cubicBezTo>
                  <a:cubicBezTo>
                    <a:pt x="43" y="270"/>
                    <a:pt x="43" y="272"/>
                    <a:pt x="43" y="274"/>
                  </a:cubicBezTo>
                  <a:cubicBezTo>
                    <a:pt x="0" y="282"/>
                    <a:pt x="0" y="282"/>
                    <a:pt x="0" y="282"/>
                  </a:cubicBezTo>
                  <a:cubicBezTo>
                    <a:pt x="12" y="346"/>
                    <a:pt x="12" y="346"/>
                    <a:pt x="12" y="346"/>
                  </a:cubicBezTo>
                  <a:cubicBezTo>
                    <a:pt x="54" y="338"/>
                    <a:pt x="54" y="338"/>
                    <a:pt x="54" y="338"/>
                  </a:cubicBezTo>
                  <a:cubicBezTo>
                    <a:pt x="56" y="343"/>
                    <a:pt x="57" y="347"/>
                    <a:pt x="59" y="351"/>
                  </a:cubicBezTo>
                  <a:cubicBezTo>
                    <a:pt x="21" y="373"/>
                    <a:pt x="21" y="373"/>
                    <a:pt x="21" y="373"/>
                  </a:cubicBezTo>
                  <a:cubicBezTo>
                    <a:pt x="54" y="430"/>
                    <a:pt x="54" y="430"/>
                    <a:pt x="54" y="430"/>
                  </a:cubicBezTo>
                  <a:cubicBezTo>
                    <a:pt x="92" y="408"/>
                    <a:pt x="92" y="408"/>
                    <a:pt x="92" y="408"/>
                  </a:cubicBezTo>
                  <a:cubicBezTo>
                    <a:pt x="94" y="411"/>
                    <a:pt x="97" y="415"/>
                    <a:pt x="100" y="418"/>
                  </a:cubicBezTo>
                  <a:cubicBezTo>
                    <a:pt x="72" y="451"/>
                    <a:pt x="72" y="451"/>
                    <a:pt x="72" y="451"/>
                  </a:cubicBezTo>
                  <a:cubicBezTo>
                    <a:pt x="123" y="493"/>
                    <a:pt x="123" y="493"/>
                    <a:pt x="123" y="493"/>
                  </a:cubicBezTo>
                  <a:cubicBezTo>
                    <a:pt x="150" y="460"/>
                    <a:pt x="150" y="460"/>
                    <a:pt x="150" y="460"/>
                  </a:cubicBezTo>
                  <a:cubicBezTo>
                    <a:pt x="154" y="463"/>
                    <a:pt x="158" y="465"/>
                    <a:pt x="162" y="467"/>
                  </a:cubicBezTo>
                  <a:cubicBezTo>
                    <a:pt x="147" y="508"/>
                    <a:pt x="147" y="508"/>
                    <a:pt x="147" y="508"/>
                  </a:cubicBezTo>
                  <a:cubicBezTo>
                    <a:pt x="209" y="530"/>
                    <a:pt x="209" y="530"/>
                    <a:pt x="209" y="530"/>
                  </a:cubicBezTo>
                  <a:cubicBezTo>
                    <a:pt x="224" y="489"/>
                    <a:pt x="224" y="489"/>
                    <a:pt x="224" y="489"/>
                  </a:cubicBezTo>
                  <a:cubicBezTo>
                    <a:pt x="228" y="490"/>
                    <a:pt x="232" y="491"/>
                    <a:pt x="237" y="492"/>
                  </a:cubicBezTo>
                  <a:cubicBezTo>
                    <a:pt x="237" y="535"/>
                    <a:pt x="237" y="535"/>
                    <a:pt x="237" y="535"/>
                  </a:cubicBezTo>
                  <a:cubicBezTo>
                    <a:pt x="302" y="535"/>
                    <a:pt x="302" y="535"/>
                    <a:pt x="302" y="535"/>
                  </a:cubicBezTo>
                  <a:cubicBezTo>
                    <a:pt x="302" y="492"/>
                    <a:pt x="302" y="492"/>
                    <a:pt x="302" y="492"/>
                  </a:cubicBezTo>
                  <a:cubicBezTo>
                    <a:pt x="307" y="491"/>
                    <a:pt x="311" y="490"/>
                    <a:pt x="316" y="489"/>
                  </a:cubicBezTo>
                  <a:cubicBezTo>
                    <a:pt x="331" y="530"/>
                    <a:pt x="331" y="530"/>
                    <a:pt x="331" y="530"/>
                  </a:cubicBezTo>
                  <a:cubicBezTo>
                    <a:pt x="392" y="508"/>
                    <a:pt x="392" y="508"/>
                    <a:pt x="392" y="508"/>
                  </a:cubicBezTo>
                  <a:cubicBezTo>
                    <a:pt x="377" y="467"/>
                    <a:pt x="377" y="467"/>
                    <a:pt x="377" y="467"/>
                  </a:cubicBezTo>
                  <a:cubicBezTo>
                    <a:pt x="381" y="465"/>
                    <a:pt x="385" y="463"/>
                    <a:pt x="389" y="460"/>
                  </a:cubicBezTo>
                  <a:cubicBezTo>
                    <a:pt x="417" y="493"/>
                    <a:pt x="417" y="493"/>
                    <a:pt x="417" y="493"/>
                  </a:cubicBezTo>
                  <a:cubicBezTo>
                    <a:pt x="467" y="451"/>
                    <a:pt x="467" y="451"/>
                    <a:pt x="467" y="451"/>
                  </a:cubicBezTo>
                  <a:cubicBezTo>
                    <a:pt x="439" y="418"/>
                    <a:pt x="439" y="418"/>
                    <a:pt x="439" y="418"/>
                  </a:cubicBezTo>
                  <a:cubicBezTo>
                    <a:pt x="442" y="415"/>
                    <a:pt x="445" y="411"/>
                    <a:pt x="448" y="408"/>
                  </a:cubicBezTo>
                  <a:cubicBezTo>
                    <a:pt x="485" y="430"/>
                    <a:pt x="485" y="430"/>
                    <a:pt x="485" y="430"/>
                  </a:cubicBezTo>
                  <a:cubicBezTo>
                    <a:pt x="518" y="373"/>
                    <a:pt x="518" y="373"/>
                    <a:pt x="518" y="373"/>
                  </a:cubicBezTo>
                  <a:cubicBezTo>
                    <a:pt x="480" y="351"/>
                    <a:pt x="480" y="351"/>
                    <a:pt x="480" y="351"/>
                  </a:cubicBezTo>
                  <a:cubicBezTo>
                    <a:pt x="482" y="347"/>
                    <a:pt x="484" y="343"/>
                    <a:pt x="485" y="338"/>
                  </a:cubicBezTo>
                  <a:cubicBezTo>
                    <a:pt x="528" y="346"/>
                    <a:pt x="528" y="346"/>
                    <a:pt x="528" y="346"/>
                  </a:cubicBezTo>
                  <a:cubicBezTo>
                    <a:pt x="539" y="282"/>
                    <a:pt x="539" y="282"/>
                    <a:pt x="539" y="282"/>
                  </a:cubicBezTo>
                  <a:cubicBezTo>
                    <a:pt x="496" y="274"/>
                    <a:pt x="496" y="274"/>
                    <a:pt x="496" y="274"/>
                  </a:cubicBezTo>
                  <a:cubicBezTo>
                    <a:pt x="496" y="272"/>
                    <a:pt x="497" y="270"/>
                    <a:pt x="497" y="267"/>
                  </a:cubicBezTo>
                  <a:cubicBezTo>
                    <a:pt x="497" y="265"/>
                    <a:pt x="496" y="263"/>
                    <a:pt x="496" y="261"/>
                  </a:cubicBezTo>
                  <a:cubicBezTo>
                    <a:pt x="539" y="253"/>
                    <a:pt x="539" y="253"/>
                    <a:pt x="539" y="253"/>
                  </a:cubicBezTo>
                  <a:cubicBezTo>
                    <a:pt x="528" y="189"/>
                    <a:pt x="528" y="189"/>
                    <a:pt x="528" y="189"/>
                  </a:cubicBezTo>
                  <a:lnTo>
                    <a:pt x="485" y="196"/>
                  </a:lnTo>
                  <a:close/>
                  <a:moveTo>
                    <a:pt x="454" y="267"/>
                  </a:moveTo>
                  <a:cubicBezTo>
                    <a:pt x="454" y="369"/>
                    <a:pt x="372" y="452"/>
                    <a:pt x="270" y="452"/>
                  </a:cubicBezTo>
                  <a:cubicBezTo>
                    <a:pt x="168" y="452"/>
                    <a:pt x="85" y="369"/>
                    <a:pt x="85" y="267"/>
                  </a:cubicBezTo>
                  <a:cubicBezTo>
                    <a:pt x="85" y="165"/>
                    <a:pt x="168" y="83"/>
                    <a:pt x="270" y="83"/>
                  </a:cubicBezTo>
                  <a:cubicBezTo>
                    <a:pt x="372" y="83"/>
                    <a:pt x="454" y="165"/>
                    <a:pt x="454" y="267"/>
                  </a:cubicBezTo>
                  <a:close/>
                </a:path>
              </a:pathLst>
            </a:custGeom>
            <a:solidFill>
              <a:srgbClr val="BB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6" name="Freeform 20"/>
            <p:cNvSpPr>
              <a:spLocks noEditPoints="1"/>
            </p:cNvSpPr>
            <p:nvPr/>
          </p:nvSpPr>
          <p:spPr bwMode="auto">
            <a:xfrm>
              <a:off x="5916614" y="3525219"/>
              <a:ext cx="417716" cy="414963"/>
            </a:xfrm>
            <a:custGeom>
              <a:avLst/>
              <a:gdLst>
                <a:gd name="T0" fmla="*/ 229 w 257"/>
                <a:gd name="T1" fmla="*/ 87 h 255"/>
                <a:gd name="T2" fmla="*/ 231 w 257"/>
                <a:gd name="T3" fmla="*/ 50 h 255"/>
                <a:gd name="T4" fmla="*/ 209 w 257"/>
                <a:gd name="T5" fmla="*/ 55 h 255"/>
                <a:gd name="T6" fmla="*/ 199 w 257"/>
                <a:gd name="T7" fmla="*/ 19 h 255"/>
                <a:gd name="T8" fmla="*/ 180 w 257"/>
                <a:gd name="T9" fmla="*/ 32 h 255"/>
                <a:gd name="T10" fmla="*/ 158 w 257"/>
                <a:gd name="T11" fmla="*/ 2 h 255"/>
                <a:gd name="T12" fmla="*/ 144 w 257"/>
                <a:gd name="T13" fmla="*/ 20 h 255"/>
                <a:gd name="T14" fmla="*/ 113 w 257"/>
                <a:gd name="T15" fmla="*/ 0 h 255"/>
                <a:gd name="T16" fmla="*/ 107 w 257"/>
                <a:gd name="T17" fmla="*/ 21 h 255"/>
                <a:gd name="T18" fmla="*/ 70 w 257"/>
                <a:gd name="T19" fmla="*/ 13 h 255"/>
                <a:gd name="T20" fmla="*/ 72 w 257"/>
                <a:gd name="T21" fmla="*/ 35 h 255"/>
                <a:gd name="T22" fmla="*/ 35 w 257"/>
                <a:gd name="T23" fmla="*/ 39 h 255"/>
                <a:gd name="T24" fmla="*/ 44 w 257"/>
                <a:gd name="T25" fmla="*/ 60 h 255"/>
                <a:gd name="T26" fmla="*/ 10 w 257"/>
                <a:gd name="T27" fmla="*/ 77 h 255"/>
                <a:gd name="T28" fmla="*/ 26 w 257"/>
                <a:gd name="T29" fmla="*/ 93 h 255"/>
                <a:gd name="T30" fmla="*/ 0 w 257"/>
                <a:gd name="T31" fmla="*/ 120 h 255"/>
                <a:gd name="T32" fmla="*/ 20 w 257"/>
                <a:gd name="T33" fmla="*/ 127 h 255"/>
                <a:gd name="T34" fmla="*/ 0 w 257"/>
                <a:gd name="T35" fmla="*/ 134 h 255"/>
                <a:gd name="T36" fmla="*/ 26 w 257"/>
                <a:gd name="T37" fmla="*/ 161 h 255"/>
                <a:gd name="T38" fmla="*/ 10 w 257"/>
                <a:gd name="T39" fmla="*/ 178 h 255"/>
                <a:gd name="T40" fmla="*/ 44 w 257"/>
                <a:gd name="T41" fmla="*/ 194 h 255"/>
                <a:gd name="T42" fmla="*/ 35 w 257"/>
                <a:gd name="T43" fmla="*/ 215 h 255"/>
                <a:gd name="T44" fmla="*/ 72 w 257"/>
                <a:gd name="T45" fmla="*/ 219 h 255"/>
                <a:gd name="T46" fmla="*/ 70 w 257"/>
                <a:gd name="T47" fmla="*/ 242 h 255"/>
                <a:gd name="T48" fmla="*/ 107 w 257"/>
                <a:gd name="T49" fmla="*/ 233 h 255"/>
                <a:gd name="T50" fmla="*/ 113 w 257"/>
                <a:gd name="T51" fmla="*/ 255 h 255"/>
                <a:gd name="T52" fmla="*/ 144 w 257"/>
                <a:gd name="T53" fmla="*/ 234 h 255"/>
                <a:gd name="T54" fmla="*/ 158 w 257"/>
                <a:gd name="T55" fmla="*/ 253 h 255"/>
                <a:gd name="T56" fmla="*/ 180 w 257"/>
                <a:gd name="T57" fmla="*/ 223 h 255"/>
                <a:gd name="T58" fmla="*/ 199 w 257"/>
                <a:gd name="T59" fmla="*/ 235 h 255"/>
                <a:gd name="T60" fmla="*/ 209 w 257"/>
                <a:gd name="T61" fmla="*/ 199 h 255"/>
                <a:gd name="T62" fmla="*/ 231 w 257"/>
                <a:gd name="T63" fmla="*/ 205 h 255"/>
                <a:gd name="T64" fmla="*/ 229 w 257"/>
                <a:gd name="T65" fmla="*/ 167 h 255"/>
                <a:gd name="T66" fmla="*/ 252 w 257"/>
                <a:gd name="T67" fmla="*/ 165 h 255"/>
                <a:gd name="T68" fmla="*/ 237 w 257"/>
                <a:gd name="T69" fmla="*/ 131 h 255"/>
                <a:gd name="T70" fmla="*/ 237 w 257"/>
                <a:gd name="T71" fmla="*/ 124 h 255"/>
                <a:gd name="T72" fmla="*/ 252 w 257"/>
                <a:gd name="T73" fmla="*/ 90 h 255"/>
                <a:gd name="T74" fmla="*/ 217 w 257"/>
                <a:gd name="T75" fmla="*/ 127 h 255"/>
                <a:gd name="T76" fmla="*/ 41 w 257"/>
                <a:gd name="T77" fmla="*/ 127 h 255"/>
                <a:gd name="T78" fmla="*/ 217 w 257"/>
                <a:gd name="T79" fmla="*/ 12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7" h="255">
                  <a:moveTo>
                    <a:pt x="231" y="93"/>
                  </a:moveTo>
                  <a:cubicBezTo>
                    <a:pt x="231" y="91"/>
                    <a:pt x="230" y="89"/>
                    <a:pt x="229" y="87"/>
                  </a:cubicBezTo>
                  <a:cubicBezTo>
                    <a:pt x="247" y="77"/>
                    <a:pt x="247" y="77"/>
                    <a:pt x="247" y="77"/>
                  </a:cubicBezTo>
                  <a:cubicBezTo>
                    <a:pt x="231" y="50"/>
                    <a:pt x="231" y="50"/>
                    <a:pt x="231" y="50"/>
                  </a:cubicBezTo>
                  <a:cubicBezTo>
                    <a:pt x="214" y="60"/>
                    <a:pt x="214" y="60"/>
                    <a:pt x="214" y="60"/>
                  </a:cubicBezTo>
                  <a:cubicBezTo>
                    <a:pt x="212" y="59"/>
                    <a:pt x="211" y="57"/>
                    <a:pt x="209" y="55"/>
                  </a:cubicBezTo>
                  <a:cubicBezTo>
                    <a:pt x="223" y="39"/>
                    <a:pt x="223" y="39"/>
                    <a:pt x="223" y="39"/>
                  </a:cubicBezTo>
                  <a:cubicBezTo>
                    <a:pt x="199" y="19"/>
                    <a:pt x="199" y="19"/>
                    <a:pt x="199" y="19"/>
                  </a:cubicBezTo>
                  <a:cubicBezTo>
                    <a:pt x="186" y="35"/>
                    <a:pt x="186" y="35"/>
                    <a:pt x="186" y="35"/>
                  </a:cubicBezTo>
                  <a:cubicBezTo>
                    <a:pt x="184" y="34"/>
                    <a:pt x="182" y="33"/>
                    <a:pt x="180" y="32"/>
                  </a:cubicBezTo>
                  <a:cubicBezTo>
                    <a:pt x="187" y="13"/>
                    <a:pt x="187" y="13"/>
                    <a:pt x="187" y="13"/>
                  </a:cubicBezTo>
                  <a:cubicBezTo>
                    <a:pt x="158" y="2"/>
                    <a:pt x="158" y="2"/>
                    <a:pt x="158" y="2"/>
                  </a:cubicBezTo>
                  <a:cubicBezTo>
                    <a:pt x="151" y="21"/>
                    <a:pt x="151" y="21"/>
                    <a:pt x="151" y="21"/>
                  </a:cubicBezTo>
                  <a:cubicBezTo>
                    <a:pt x="149" y="21"/>
                    <a:pt x="146" y="21"/>
                    <a:pt x="144" y="20"/>
                  </a:cubicBezTo>
                  <a:cubicBezTo>
                    <a:pt x="144" y="0"/>
                    <a:pt x="144" y="0"/>
                    <a:pt x="144" y="0"/>
                  </a:cubicBezTo>
                  <a:cubicBezTo>
                    <a:pt x="113" y="0"/>
                    <a:pt x="113" y="0"/>
                    <a:pt x="113" y="0"/>
                  </a:cubicBezTo>
                  <a:cubicBezTo>
                    <a:pt x="113" y="20"/>
                    <a:pt x="113" y="20"/>
                    <a:pt x="113" y="20"/>
                  </a:cubicBezTo>
                  <a:cubicBezTo>
                    <a:pt x="111" y="21"/>
                    <a:pt x="109" y="21"/>
                    <a:pt x="107" y="21"/>
                  </a:cubicBezTo>
                  <a:cubicBezTo>
                    <a:pt x="100" y="2"/>
                    <a:pt x="100" y="2"/>
                    <a:pt x="100" y="2"/>
                  </a:cubicBezTo>
                  <a:cubicBezTo>
                    <a:pt x="70" y="13"/>
                    <a:pt x="70" y="13"/>
                    <a:pt x="70" y="13"/>
                  </a:cubicBezTo>
                  <a:cubicBezTo>
                    <a:pt x="77" y="32"/>
                    <a:pt x="77" y="32"/>
                    <a:pt x="77" y="32"/>
                  </a:cubicBezTo>
                  <a:cubicBezTo>
                    <a:pt x="75" y="33"/>
                    <a:pt x="74" y="34"/>
                    <a:pt x="72" y="35"/>
                  </a:cubicBezTo>
                  <a:cubicBezTo>
                    <a:pt x="58" y="19"/>
                    <a:pt x="58" y="19"/>
                    <a:pt x="58" y="19"/>
                  </a:cubicBezTo>
                  <a:cubicBezTo>
                    <a:pt x="35" y="39"/>
                    <a:pt x="35" y="39"/>
                    <a:pt x="35" y="39"/>
                  </a:cubicBezTo>
                  <a:cubicBezTo>
                    <a:pt x="48" y="55"/>
                    <a:pt x="48" y="55"/>
                    <a:pt x="48" y="55"/>
                  </a:cubicBezTo>
                  <a:cubicBezTo>
                    <a:pt x="46" y="57"/>
                    <a:pt x="45" y="59"/>
                    <a:pt x="44" y="60"/>
                  </a:cubicBezTo>
                  <a:cubicBezTo>
                    <a:pt x="26" y="50"/>
                    <a:pt x="26" y="50"/>
                    <a:pt x="26" y="50"/>
                  </a:cubicBezTo>
                  <a:cubicBezTo>
                    <a:pt x="10" y="77"/>
                    <a:pt x="10" y="77"/>
                    <a:pt x="10" y="77"/>
                  </a:cubicBezTo>
                  <a:cubicBezTo>
                    <a:pt x="28" y="87"/>
                    <a:pt x="28" y="87"/>
                    <a:pt x="28" y="87"/>
                  </a:cubicBezTo>
                  <a:cubicBezTo>
                    <a:pt x="27" y="89"/>
                    <a:pt x="27" y="91"/>
                    <a:pt x="26" y="93"/>
                  </a:cubicBezTo>
                  <a:cubicBezTo>
                    <a:pt x="6" y="90"/>
                    <a:pt x="6" y="90"/>
                    <a:pt x="6" y="90"/>
                  </a:cubicBezTo>
                  <a:cubicBezTo>
                    <a:pt x="0" y="120"/>
                    <a:pt x="0" y="120"/>
                    <a:pt x="0" y="120"/>
                  </a:cubicBezTo>
                  <a:cubicBezTo>
                    <a:pt x="21" y="124"/>
                    <a:pt x="21" y="124"/>
                    <a:pt x="21" y="124"/>
                  </a:cubicBezTo>
                  <a:cubicBezTo>
                    <a:pt x="20" y="125"/>
                    <a:pt x="20" y="126"/>
                    <a:pt x="20" y="127"/>
                  </a:cubicBezTo>
                  <a:cubicBezTo>
                    <a:pt x="20" y="128"/>
                    <a:pt x="20" y="129"/>
                    <a:pt x="21" y="131"/>
                  </a:cubicBezTo>
                  <a:cubicBezTo>
                    <a:pt x="0" y="134"/>
                    <a:pt x="0" y="134"/>
                    <a:pt x="0" y="134"/>
                  </a:cubicBezTo>
                  <a:cubicBezTo>
                    <a:pt x="6" y="165"/>
                    <a:pt x="6" y="165"/>
                    <a:pt x="6" y="165"/>
                  </a:cubicBezTo>
                  <a:cubicBezTo>
                    <a:pt x="26" y="161"/>
                    <a:pt x="26" y="161"/>
                    <a:pt x="26" y="161"/>
                  </a:cubicBezTo>
                  <a:cubicBezTo>
                    <a:pt x="27" y="163"/>
                    <a:pt x="27" y="165"/>
                    <a:pt x="28" y="167"/>
                  </a:cubicBezTo>
                  <a:cubicBezTo>
                    <a:pt x="10" y="178"/>
                    <a:pt x="10" y="178"/>
                    <a:pt x="10" y="178"/>
                  </a:cubicBezTo>
                  <a:cubicBezTo>
                    <a:pt x="26" y="205"/>
                    <a:pt x="26" y="205"/>
                    <a:pt x="26" y="205"/>
                  </a:cubicBezTo>
                  <a:cubicBezTo>
                    <a:pt x="44" y="194"/>
                    <a:pt x="44" y="194"/>
                    <a:pt x="44" y="194"/>
                  </a:cubicBezTo>
                  <a:cubicBezTo>
                    <a:pt x="45" y="196"/>
                    <a:pt x="46" y="198"/>
                    <a:pt x="48" y="199"/>
                  </a:cubicBezTo>
                  <a:cubicBezTo>
                    <a:pt x="35" y="215"/>
                    <a:pt x="35" y="215"/>
                    <a:pt x="35" y="215"/>
                  </a:cubicBezTo>
                  <a:cubicBezTo>
                    <a:pt x="59" y="235"/>
                    <a:pt x="59" y="235"/>
                    <a:pt x="59" y="235"/>
                  </a:cubicBezTo>
                  <a:cubicBezTo>
                    <a:pt x="72" y="219"/>
                    <a:pt x="72" y="219"/>
                    <a:pt x="72" y="219"/>
                  </a:cubicBezTo>
                  <a:cubicBezTo>
                    <a:pt x="74" y="220"/>
                    <a:pt x="75" y="222"/>
                    <a:pt x="77" y="223"/>
                  </a:cubicBezTo>
                  <a:cubicBezTo>
                    <a:pt x="70" y="242"/>
                    <a:pt x="70" y="242"/>
                    <a:pt x="70" y="242"/>
                  </a:cubicBezTo>
                  <a:cubicBezTo>
                    <a:pt x="100" y="253"/>
                    <a:pt x="100" y="253"/>
                    <a:pt x="100" y="253"/>
                  </a:cubicBezTo>
                  <a:cubicBezTo>
                    <a:pt x="107" y="233"/>
                    <a:pt x="107" y="233"/>
                    <a:pt x="107" y="233"/>
                  </a:cubicBezTo>
                  <a:cubicBezTo>
                    <a:pt x="109" y="234"/>
                    <a:pt x="111" y="234"/>
                    <a:pt x="113" y="234"/>
                  </a:cubicBezTo>
                  <a:cubicBezTo>
                    <a:pt x="113" y="255"/>
                    <a:pt x="113" y="255"/>
                    <a:pt x="113" y="255"/>
                  </a:cubicBezTo>
                  <a:cubicBezTo>
                    <a:pt x="144" y="255"/>
                    <a:pt x="144" y="255"/>
                    <a:pt x="144" y="255"/>
                  </a:cubicBezTo>
                  <a:cubicBezTo>
                    <a:pt x="144" y="234"/>
                    <a:pt x="144" y="234"/>
                    <a:pt x="144" y="234"/>
                  </a:cubicBezTo>
                  <a:cubicBezTo>
                    <a:pt x="146" y="234"/>
                    <a:pt x="149" y="234"/>
                    <a:pt x="151" y="233"/>
                  </a:cubicBezTo>
                  <a:cubicBezTo>
                    <a:pt x="158" y="253"/>
                    <a:pt x="158" y="253"/>
                    <a:pt x="158" y="253"/>
                  </a:cubicBezTo>
                  <a:cubicBezTo>
                    <a:pt x="187" y="242"/>
                    <a:pt x="187" y="242"/>
                    <a:pt x="187" y="242"/>
                  </a:cubicBezTo>
                  <a:cubicBezTo>
                    <a:pt x="180" y="223"/>
                    <a:pt x="180" y="223"/>
                    <a:pt x="180" y="223"/>
                  </a:cubicBezTo>
                  <a:cubicBezTo>
                    <a:pt x="182" y="222"/>
                    <a:pt x="184" y="220"/>
                    <a:pt x="186" y="219"/>
                  </a:cubicBezTo>
                  <a:cubicBezTo>
                    <a:pt x="199" y="235"/>
                    <a:pt x="199" y="235"/>
                    <a:pt x="199" y="235"/>
                  </a:cubicBezTo>
                  <a:cubicBezTo>
                    <a:pt x="223" y="215"/>
                    <a:pt x="223" y="215"/>
                    <a:pt x="223" y="215"/>
                  </a:cubicBezTo>
                  <a:cubicBezTo>
                    <a:pt x="209" y="199"/>
                    <a:pt x="209" y="199"/>
                    <a:pt x="209" y="199"/>
                  </a:cubicBezTo>
                  <a:cubicBezTo>
                    <a:pt x="211" y="198"/>
                    <a:pt x="212" y="196"/>
                    <a:pt x="214" y="194"/>
                  </a:cubicBezTo>
                  <a:cubicBezTo>
                    <a:pt x="231" y="205"/>
                    <a:pt x="231" y="205"/>
                    <a:pt x="231" y="205"/>
                  </a:cubicBezTo>
                  <a:cubicBezTo>
                    <a:pt x="247" y="178"/>
                    <a:pt x="247" y="178"/>
                    <a:pt x="247" y="178"/>
                  </a:cubicBezTo>
                  <a:cubicBezTo>
                    <a:pt x="229" y="167"/>
                    <a:pt x="229" y="167"/>
                    <a:pt x="229" y="167"/>
                  </a:cubicBezTo>
                  <a:cubicBezTo>
                    <a:pt x="230" y="165"/>
                    <a:pt x="231" y="163"/>
                    <a:pt x="231" y="161"/>
                  </a:cubicBezTo>
                  <a:cubicBezTo>
                    <a:pt x="252" y="165"/>
                    <a:pt x="252" y="165"/>
                    <a:pt x="252" y="165"/>
                  </a:cubicBezTo>
                  <a:cubicBezTo>
                    <a:pt x="257" y="134"/>
                    <a:pt x="257" y="134"/>
                    <a:pt x="257" y="134"/>
                  </a:cubicBezTo>
                  <a:cubicBezTo>
                    <a:pt x="237" y="131"/>
                    <a:pt x="237" y="131"/>
                    <a:pt x="237" y="131"/>
                  </a:cubicBezTo>
                  <a:cubicBezTo>
                    <a:pt x="237" y="129"/>
                    <a:pt x="237" y="128"/>
                    <a:pt x="237" y="127"/>
                  </a:cubicBezTo>
                  <a:cubicBezTo>
                    <a:pt x="237" y="126"/>
                    <a:pt x="237" y="125"/>
                    <a:pt x="237" y="124"/>
                  </a:cubicBezTo>
                  <a:cubicBezTo>
                    <a:pt x="257" y="120"/>
                    <a:pt x="257" y="120"/>
                    <a:pt x="257" y="120"/>
                  </a:cubicBezTo>
                  <a:cubicBezTo>
                    <a:pt x="252" y="90"/>
                    <a:pt x="252" y="90"/>
                    <a:pt x="252" y="90"/>
                  </a:cubicBezTo>
                  <a:lnTo>
                    <a:pt x="231" y="93"/>
                  </a:lnTo>
                  <a:close/>
                  <a:moveTo>
                    <a:pt x="217" y="127"/>
                  </a:moveTo>
                  <a:cubicBezTo>
                    <a:pt x="217" y="176"/>
                    <a:pt x="177" y="215"/>
                    <a:pt x="129" y="215"/>
                  </a:cubicBezTo>
                  <a:cubicBezTo>
                    <a:pt x="80" y="215"/>
                    <a:pt x="41" y="176"/>
                    <a:pt x="41" y="127"/>
                  </a:cubicBezTo>
                  <a:cubicBezTo>
                    <a:pt x="41" y="79"/>
                    <a:pt x="80" y="39"/>
                    <a:pt x="129" y="39"/>
                  </a:cubicBezTo>
                  <a:cubicBezTo>
                    <a:pt x="177" y="39"/>
                    <a:pt x="217" y="79"/>
                    <a:pt x="217" y="127"/>
                  </a:cubicBezTo>
                  <a:close/>
                </a:path>
              </a:pathLst>
            </a:custGeom>
            <a:solidFill>
              <a:srgbClr val="BB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7" name="Rectangle 21"/>
            <p:cNvSpPr>
              <a:spLocks noChangeArrowheads="1"/>
            </p:cNvSpPr>
            <p:nvPr/>
          </p:nvSpPr>
          <p:spPr bwMode="auto">
            <a:xfrm>
              <a:off x="6112053" y="3409607"/>
              <a:ext cx="28903" cy="657197"/>
            </a:xfrm>
            <a:prstGeom prst="rect">
              <a:avLst/>
            </a:prstGeom>
            <a:solidFill>
              <a:srgbClr val="BBBC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8" name="Rectangle 22"/>
            <p:cNvSpPr>
              <a:spLocks noChangeArrowheads="1"/>
            </p:cNvSpPr>
            <p:nvPr/>
          </p:nvSpPr>
          <p:spPr bwMode="auto">
            <a:xfrm>
              <a:off x="5797562" y="3723410"/>
              <a:ext cx="657197" cy="29591"/>
            </a:xfrm>
            <a:prstGeom prst="rect">
              <a:avLst/>
            </a:prstGeom>
            <a:solidFill>
              <a:srgbClr val="BBBC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34" name="Group 21"/>
          <p:cNvGrpSpPr/>
          <p:nvPr/>
        </p:nvGrpSpPr>
        <p:grpSpPr>
          <a:xfrm>
            <a:off x="5376655" y="1777976"/>
            <a:ext cx="887044" cy="1038440"/>
            <a:chOff x="5280062" y="2483338"/>
            <a:chExt cx="887044" cy="1038440"/>
          </a:xfrm>
          <a:solidFill>
            <a:srgbClr val="000000"/>
          </a:solidFill>
        </p:grpSpPr>
        <p:sp>
          <p:nvSpPr>
            <p:cNvPr id="51" name="Line 17"/>
            <p:cNvSpPr>
              <a:spLocks noChangeShapeType="1"/>
            </p:cNvSpPr>
            <p:nvPr/>
          </p:nvSpPr>
          <p:spPr bwMode="auto">
            <a:xfrm>
              <a:off x="5320664" y="352177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2" name="Line 18"/>
            <p:cNvSpPr>
              <a:spLocks noChangeShapeType="1"/>
            </p:cNvSpPr>
            <p:nvPr/>
          </p:nvSpPr>
          <p:spPr bwMode="auto">
            <a:xfrm>
              <a:off x="5320664" y="352177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3" name="Freeform 23"/>
            <p:cNvSpPr>
              <a:spLocks noEditPoints="1"/>
            </p:cNvSpPr>
            <p:nvPr/>
          </p:nvSpPr>
          <p:spPr bwMode="auto">
            <a:xfrm>
              <a:off x="5280062" y="2483338"/>
              <a:ext cx="887044" cy="880163"/>
            </a:xfrm>
            <a:custGeom>
              <a:avLst/>
              <a:gdLst>
                <a:gd name="T0" fmla="*/ 533 w 545"/>
                <a:gd name="T1" fmla="*/ 191 h 541"/>
                <a:gd name="T2" fmla="*/ 490 w 545"/>
                <a:gd name="T3" fmla="*/ 106 h 541"/>
                <a:gd name="T4" fmla="*/ 421 w 545"/>
                <a:gd name="T5" fmla="*/ 42 h 541"/>
                <a:gd name="T6" fmla="*/ 334 w 545"/>
                <a:gd name="T7" fmla="*/ 5 h 541"/>
                <a:gd name="T8" fmla="*/ 239 w 545"/>
                <a:gd name="T9" fmla="*/ 0 h 541"/>
                <a:gd name="T10" fmla="*/ 149 w 545"/>
                <a:gd name="T11" fmla="*/ 27 h 541"/>
                <a:gd name="T12" fmla="*/ 73 w 545"/>
                <a:gd name="T13" fmla="*/ 84 h 541"/>
                <a:gd name="T14" fmla="*/ 22 w 545"/>
                <a:gd name="T15" fmla="*/ 164 h 541"/>
                <a:gd name="T16" fmla="*/ 0 w 545"/>
                <a:gd name="T17" fmla="*/ 256 h 541"/>
                <a:gd name="T18" fmla="*/ 0 w 545"/>
                <a:gd name="T19" fmla="*/ 285 h 541"/>
                <a:gd name="T20" fmla="*/ 22 w 545"/>
                <a:gd name="T21" fmla="*/ 377 h 541"/>
                <a:gd name="T22" fmla="*/ 73 w 545"/>
                <a:gd name="T23" fmla="*/ 456 h 541"/>
                <a:gd name="T24" fmla="*/ 149 w 545"/>
                <a:gd name="T25" fmla="*/ 513 h 541"/>
                <a:gd name="T26" fmla="*/ 239 w 545"/>
                <a:gd name="T27" fmla="*/ 541 h 541"/>
                <a:gd name="T28" fmla="*/ 334 w 545"/>
                <a:gd name="T29" fmla="*/ 536 h 541"/>
                <a:gd name="T30" fmla="*/ 421 w 545"/>
                <a:gd name="T31" fmla="*/ 499 h 541"/>
                <a:gd name="T32" fmla="*/ 490 w 545"/>
                <a:gd name="T33" fmla="*/ 434 h 541"/>
                <a:gd name="T34" fmla="*/ 533 w 545"/>
                <a:gd name="T35" fmla="*/ 350 h 541"/>
                <a:gd name="T36" fmla="*/ 448 w 545"/>
                <a:gd name="T37" fmla="*/ 154 h 541"/>
                <a:gd name="T38" fmla="*/ 448 w 545"/>
                <a:gd name="T39" fmla="*/ 154 h 541"/>
                <a:gd name="T40" fmla="*/ 399 w 545"/>
                <a:gd name="T41" fmla="*/ 114 h 541"/>
                <a:gd name="T42" fmla="*/ 349 w 545"/>
                <a:gd name="T43" fmla="*/ 74 h 541"/>
                <a:gd name="T44" fmla="*/ 277 w 545"/>
                <a:gd name="T45" fmla="*/ 60 h 541"/>
                <a:gd name="T46" fmla="*/ 194 w 545"/>
                <a:gd name="T47" fmla="*/ 66 h 541"/>
                <a:gd name="T48" fmla="*/ 194 w 545"/>
                <a:gd name="T49" fmla="*/ 66 h 541"/>
                <a:gd name="T50" fmla="*/ 128 w 545"/>
                <a:gd name="T51" fmla="*/ 117 h 541"/>
                <a:gd name="T52" fmla="*/ 74 w 545"/>
                <a:gd name="T53" fmla="*/ 239 h 541"/>
                <a:gd name="T54" fmla="*/ 58 w 545"/>
                <a:gd name="T55" fmla="*/ 312 h 541"/>
                <a:gd name="T56" fmla="*/ 81 w 545"/>
                <a:gd name="T57" fmla="*/ 164 h 541"/>
                <a:gd name="T58" fmla="*/ 81 w 545"/>
                <a:gd name="T59" fmla="*/ 164 h 541"/>
                <a:gd name="T60" fmla="*/ 100 w 545"/>
                <a:gd name="T61" fmla="*/ 374 h 541"/>
                <a:gd name="T62" fmla="*/ 134 w 545"/>
                <a:gd name="T63" fmla="*/ 428 h 541"/>
                <a:gd name="T64" fmla="*/ 201 w 545"/>
                <a:gd name="T65" fmla="*/ 477 h 541"/>
                <a:gd name="T66" fmla="*/ 276 w 545"/>
                <a:gd name="T67" fmla="*/ 489 h 541"/>
                <a:gd name="T68" fmla="*/ 276 w 545"/>
                <a:gd name="T69" fmla="*/ 489 h 541"/>
                <a:gd name="T70" fmla="*/ 356 w 545"/>
                <a:gd name="T71" fmla="*/ 463 h 541"/>
                <a:gd name="T72" fmla="*/ 405 w 545"/>
                <a:gd name="T73" fmla="*/ 422 h 541"/>
                <a:gd name="T74" fmla="*/ 413 w 545"/>
                <a:gd name="T75" fmla="*/ 317 h 541"/>
                <a:gd name="T76" fmla="*/ 389 w 545"/>
                <a:gd name="T77" fmla="*/ 362 h 541"/>
                <a:gd name="T78" fmla="*/ 350 w 545"/>
                <a:gd name="T79" fmla="*/ 396 h 541"/>
                <a:gd name="T80" fmla="*/ 303 w 545"/>
                <a:gd name="T81" fmla="*/ 416 h 541"/>
                <a:gd name="T82" fmla="*/ 251 w 545"/>
                <a:gd name="T83" fmla="*/ 417 h 541"/>
                <a:gd name="T84" fmla="*/ 202 w 545"/>
                <a:gd name="T85" fmla="*/ 401 h 541"/>
                <a:gd name="T86" fmla="*/ 162 w 545"/>
                <a:gd name="T87" fmla="*/ 369 h 541"/>
                <a:gd name="T88" fmla="*/ 135 w 545"/>
                <a:gd name="T89" fmla="*/ 325 h 541"/>
                <a:gd name="T90" fmla="*/ 124 w 545"/>
                <a:gd name="T91" fmla="*/ 275 h 541"/>
                <a:gd name="T92" fmla="*/ 104 w 545"/>
                <a:gd name="T93" fmla="*/ 219 h 541"/>
                <a:gd name="T94" fmla="*/ 131 w 545"/>
                <a:gd name="T95" fmla="*/ 164 h 541"/>
                <a:gd name="T96" fmla="*/ 176 w 545"/>
                <a:gd name="T97" fmla="*/ 122 h 541"/>
                <a:gd name="T98" fmla="*/ 233 w 545"/>
                <a:gd name="T99" fmla="*/ 98 h 541"/>
                <a:gd name="T100" fmla="*/ 294 w 545"/>
                <a:gd name="T101" fmla="*/ 95 h 541"/>
                <a:gd name="T102" fmla="*/ 352 w 545"/>
                <a:gd name="T103" fmla="*/ 113 h 541"/>
                <a:gd name="T104" fmla="*/ 401 w 545"/>
                <a:gd name="T105" fmla="*/ 150 h 541"/>
                <a:gd name="T106" fmla="*/ 435 w 545"/>
                <a:gd name="T107" fmla="*/ 201 h 541"/>
                <a:gd name="T108" fmla="*/ 449 w 545"/>
                <a:gd name="T109" fmla="*/ 261 h 541"/>
                <a:gd name="T110" fmla="*/ 449 w 545"/>
                <a:gd name="T111" fmla="*/ 280 h 541"/>
                <a:gd name="T112" fmla="*/ 449 w 545"/>
                <a:gd name="T113" fmla="*/ 368 h 541"/>
                <a:gd name="T114" fmla="*/ 487 w 545"/>
                <a:gd name="T115" fmla="*/ 228 h 541"/>
                <a:gd name="T116" fmla="*/ 489 w 545"/>
                <a:gd name="T117" fmla="*/ 304 h 541"/>
                <a:gd name="T118" fmla="*/ 489 w 545"/>
                <a:gd name="T119" fmla="*/ 304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5" h="541">
                  <a:moveTo>
                    <a:pt x="502" y="270"/>
                  </a:moveTo>
                  <a:cubicBezTo>
                    <a:pt x="502" y="268"/>
                    <a:pt x="502" y="266"/>
                    <a:pt x="501" y="263"/>
                  </a:cubicBezTo>
                  <a:cubicBezTo>
                    <a:pt x="545" y="256"/>
                    <a:pt x="545" y="256"/>
                    <a:pt x="545" y="256"/>
                  </a:cubicBezTo>
                  <a:cubicBezTo>
                    <a:pt x="533" y="191"/>
                    <a:pt x="533" y="191"/>
                    <a:pt x="533" y="191"/>
                  </a:cubicBezTo>
                  <a:cubicBezTo>
                    <a:pt x="490" y="198"/>
                    <a:pt x="490" y="198"/>
                    <a:pt x="490" y="198"/>
                  </a:cubicBezTo>
                  <a:cubicBezTo>
                    <a:pt x="489" y="194"/>
                    <a:pt x="487" y="190"/>
                    <a:pt x="485" y="185"/>
                  </a:cubicBezTo>
                  <a:cubicBezTo>
                    <a:pt x="523" y="164"/>
                    <a:pt x="523" y="164"/>
                    <a:pt x="523" y="164"/>
                  </a:cubicBezTo>
                  <a:cubicBezTo>
                    <a:pt x="490" y="106"/>
                    <a:pt x="490" y="106"/>
                    <a:pt x="490" y="106"/>
                  </a:cubicBezTo>
                  <a:cubicBezTo>
                    <a:pt x="452" y="128"/>
                    <a:pt x="452" y="128"/>
                    <a:pt x="452" y="128"/>
                  </a:cubicBezTo>
                  <a:cubicBezTo>
                    <a:pt x="449" y="125"/>
                    <a:pt x="447" y="121"/>
                    <a:pt x="444" y="118"/>
                  </a:cubicBezTo>
                  <a:cubicBezTo>
                    <a:pt x="472" y="84"/>
                    <a:pt x="472" y="84"/>
                    <a:pt x="472" y="84"/>
                  </a:cubicBezTo>
                  <a:cubicBezTo>
                    <a:pt x="421" y="42"/>
                    <a:pt x="421" y="42"/>
                    <a:pt x="421" y="42"/>
                  </a:cubicBezTo>
                  <a:cubicBezTo>
                    <a:pt x="393" y="75"/>
                    <a:pt x="393" y="75"/>
                    <a:pt x="393" y="75"/>
                  </a:cubicBezTo>
                  <a:cubicBezTo>
                    <a:pt x="389" y="73"/>
                    <a:pt x="385" y="70"/>
                    <a:pt x="381" y="68"/>
                  </a:cubicBezTo>
                  <a:cubicBezTo>
                    <a:pt x="396" y="27"/>
                    <a:pt x="396" y="27"/>
                    <a:pt x="396" y="27"/>
                  </a:cubicBezTo>
                  <a:cubicBezTo>
                    <a:pt x="334" y="5"/>
                    <a:pt x="334" y="5"/>
                    <a:pt x="334" y="5"/>
                  </a:cubicBezTo>
                  <a:cubicBezTo>
                    <a:pt x="319" y="46"/>
                    <a:pt x="319" y="46"/>
                    <a:pt x="319" y="46"/>
                  </a:cubicBezTo>
                  <a:cubicBezTo>
                    <a:pt x="315" y="45"/>
                    <a:pt x="310" y="44"/>
                    <a:pt x="305" y="43"/>
                  </a:cubicBezTo>
                  <a:cubicBezTo>
                    <a:pt x="305" y="0"/>
                    <a:pt x="305" y="0"/>
                    <a:pt x="305" y="0"/>
                  </a:cubicBezTo>
                  <a:cubicBezTo>
                    <a:pt x="239" y="0"/>
                    <a:pt x="239" y="0"/>
                    <a:pt x="239" y="0"/>
                  </a:cubicBezTo>
                  <a:cubicBezTo>
                    <a:pt x="239" y="43"/>
                    <a:pt x="239" y="43"/>
                    <a:pt x="239" y="43"/>
                  </a:cubicBezTo>
                  <a:cubicBezTo>
                    <a:pt x="235" y="44"/>
                    <a:pt x="230" y="45"/>
                    <a:pt x="226" y="46"/>
                  </a:cubicBezTo>
                  <a:cubicBezTo>
                    <a:pt x="211" y="5"/>
                    <a:pt x="211" y="5"/>
                    <a:pt x="211" y="5"/>
                  </a:cubicBezTo>
                  <a:cubicBezTo>
                    <a:pt x="149" y="27"/>
                    <a:pt x="149" y="27"/>
                    <a:pt x="149" y="27"/>
                  </a:cubicBezTo>
                  <a:cubicBezTo>
                    <a:pt x="164" y="68"/>
                    <a:pt x="164" y="68"/>
                    <a:pt x="164" y="68"/>
                  </a:cubicBezTo>
                  <a:cubicBezTo>
                    <a:pt x="160" y="70"/>
                    <a:pt x="156" y="73"/>
                    <a:pt x="152" y="75"/>
                  </a:cubicBezTo>
                  <a:cubicBezTo>
                    <a:pt x="124" y="42"/>
                    <a:pt x="124" y="42"/>
                    <a:pt x="124" y="42"/>
                  </a:cubicBezTo>
                  <a:cubicBezTo>
                    <a:pt x="73" y="84"/>
                    <a:pt x="73" y="84"/>
                    <a:pt x="73" y="84"/>
                  </a:cubicBezTo>
                  <a:cubicBezTo>
                    <a:pt x="101" y="118"/>
                    <a:pt x="101" y="118"/>
                    <a:pt x="101" y="118"/>
                  </a:cubicBezTo>
                  <a:cubicBezTo>
                    <a:pt x="98" y="121"/>
                    <a:pt x="95" y="125"/>
                    <a:pt x="93" y="128"/>
                  </a:cubicBezTo>
                  <a:cubicBezTo>
                    <a:pt x="55" y="106"/>
                    <a:pt x="55" y="106"/>
                    <a:pt x="55" y="106"/>
                  </a:cubicBezTo>
                  <a:cubicBezTo>
                    <a:pt x="22" y="164"/>
                    <a:pt x="22" y="164"/>
                    <a:pt x="22" y="164"/>
                  </a:cubicBezTo>
                  <a:cubicBezTo>
                    <a:pt x="59" y="185"/>
                    <a:pt x="59" y="185"/>
                    <a:pt x="59" y="185"/>
                  </a:cubicBezTo>
                  <a:cubicBezTo>
                    <a:pt x="58" y="190"/>
                    <a:pt x="56" y="194"/>
                    <a:pt x="55" y="198"/>
                  </a:cubicBezTo>
                  <a:cubicBezTo>
                    <a:pt x="12" y="191"/>
                    <a:pt x="12" y="191"/>
                    <a:pt x="12" y="191"/>
                  </a:cubicBezTo>
                  <a:cubicBezTo>
                    <a:pt x="0" y="256"/>
                    <a:pt x="0" y="256"/>
                    <a:pt x="0" y="256"/>
                  </a:cubicBezTo>
                  <a:cubicBezTo>
                    <a:pt x="43" y="263"/>
                    <a:pt x="43" y="263"/>
                    <a:pt x="43" y="263"/>
                  </a:cubicBezTo>
                  <a:cubicBezTo>
                    <a:pt x="43" y="266"/>
                    <a:pt x="43" y="268"/>
                    <a:pt x="43" y="270"/>
                  </a:cubicBezTo>
                  <a:cubicBezTo>
                    <a:pt x="43" y="272"/>
                    <a:pt x="43" y="275"/>
                    <a:pt x="43" y="277"/>
                  </a:cubicBezTo>
                  <a:cubicBezTo>
                    <a:pt x="0" y="285"/>
                    <a:pt x="0" y="285"/>
                    <a:pt x="0" y="285"/>
                  </a:cubicBezTo>
                  <a:cubicBezTo>
                    <a:pt x="12" y="350"/>
                    <a:pt x="12" y="350"/>
                    <a:pt x="12" y="350"/>
                  </a:cubicBezTo>
                  <a:cubicBezTo>
                    <a:pt x="55" y="342"/>
                    <a:pt x="55" y="342"/>
                    <a:pt x="55" y="342"/>
                  </a:cubicBezTo>
                  <a:cubicBezTo>
                    <a:pt x="56" y="346"/>
                    <a:pt x="58" y="351"/>
                    <a:pt x="59" y="355"/>
                  </a:cubicBezTo>
                  <a:cubicBezTo>
                    <a:pt x="22" y="377"/>
                    <a:pt x="22" y="377"/>
                    <a:pt x="22" y="377"/>
                  </a:cubicBezTo>
                  <a:cubicBezTo>
                    <a:pt x="55" y="434"/>
                    <a:pt x="55" y="434"/>
                    <a:pt x="55" y="434"/>
                  </a:cubicBezTo>
                  <a:cubicBezTo>
                    <a:pt x="93" y="412"/>
                    <a:pt x="93" y="412"/>
                    <a:pt x="93" y="412"/>
                  </a:cubicBezTo>
                  <a:cubicBezTo>
                    <a:pt x="95" y="416"/>
                    <a:pt x="98" y="419"/>
                    <a:pt x="101" y="423"/>
                  </a:cubicBezTo>
                  <a:cubicBezTo>
                    <a:pt x="73" y="456"/>
                    <a:pt x="73" y="456"/>
                    <a:pt x="73" y="456"/>
                  </a:cubicBezTo>
                  <a:cubicBezTo>
                    <a:pt x="124" y="499"/>
                    <a:pt x="124" y="499"/>
                    <a:pt x="124" y="499"/>
                  </a:cubicBezTo>
                  <a:cubicBezTo>
                    <a:pt x="152" y="465"/>
                    <a:pt x="152" y="465"/>
                    <a:pt x="152" y="465"/>
                  </a:cubicBezTo>
                  <a:cubicBezTo>
                    <a:pt x="156" y="468"/>
                    <a:pt x="160" y="470"/>
                    <a:pt x="164" y="472"/>
                  </a:cubicBezTo>
                  <a:cubicBezTo>
                    <a:pt x="149" y="513"/>
                    <a:pt x="149" y="513"/>
                    <a:pt x="149" y="513"/>
                  </a:cubicBezTo>
                  <a:cubicBezTo>
                    <a:pt x="211" y="536"/>
                    <a:pt x="211" y="536"/>
                    <a:pt x="211" y="536"/>
                  </a:cubicBezTo>
                  <a:cubicBezTo>
                    <a:pt x="226" y="495"/>
                    <a:pt x="226" y="495"/>
                    <a:pt x="226" y="495"/>
                  </a:cubicBezTo>
                  <a:cubicBezTo>
                    <a:pt x="230" y="496"/>
                    <a:pt x="235" y="496"/>
                    <a:pt x="239" y="497"/>
                  </a:cubicBezTo>
                  <a:cubicBezTo>
                    <a:pt x="239" y="541"/>
                    <a:pt x="239" y="541"/>
                    <a:pt x="239" y="541"/>
                  </a:cubicBezTo>
                  <a:cubicBezTo>
                    <a:pt x="305" y="541"/>
                    <a:pt x="305" y="541"/>
                    <a:pt x="305" y="541"/>
                  </a:cubicBezTo>
                  <a:cubicBezTo>
                    <a:pt x="305" y="497"/>
                    <a:pt x="305" y="497"/>
                    <a:pt x="305" y="497"/>
                  </a:cubicBezTo>
                  <a:cubicBezTo>
                    <a:pt x="310" y="496"/>
                    <a:pt x="315" y="496"/>
                    <a:pt x="319" y="495"/>
                  </a:cubicBezTo>
                  <a:cubicBezTo>
                    <a:pt x="334" y="536"/>
                    <a:pt x="334" y="536"/>
                    <a:pt x="334" y="536"/>
                  </a:cubicBezTo>
                  <a:cubicBezTo>
                    <a:pt x="396" y="513"/>
                    <a:pt x="396" y="513"/>
                    <a:pt x="396" y="513"/>
                  </a:cubicBezTo>
                  <a:cubicBezTo>
                    <a:pt x="381" y="472"/>
                    <a:pt x="381" y="472"/>
                    <a:pt x="381" y="472"/>
                  </a:cubicBezTo>
                  <a:cubicBezTo>
                    <a:pt x="385" y="470"/>
                    <a:pt x="389" y="468"/>
                    <a:pt x="393" y="465"/>
                  </a:cubicBezTo>
                  <a:cubicBezTo>
                    <a:pt x="421" y="499"/>
                    <a:pt x="421" y="499"/>
                    <a:pt x="421" y="499"/>
                  </a:cubicBezTo>
                  <a:cubicBezTo>
                    <a:pt x="472" y="456"/>
                    <a:pt x="472" y="456"/>
                    <a:pt x="472" y="456"/>
                  </a:cubicBezTo>
                  <a:cubicBezTo>
                    <a:pt x="444" y="423"/>
                    <a:pt x="444" y="423"/>
                    <a:pt x="444" y="423"/>
                  </a:cubicBezTo>
                  <a:cubicBezTo>
                    <a:pt x="447" y="419"/>
                    <a:pt x="449" y="416"/>
                    <a:pt x="452" y="412"/>
                  </a:cubicBezTo>
                  <a:cubicBezTo>
                    <a:pt x="490" y="434"/>
                    <a:pt x="490" y="434"/>
                    <a:pt x="490" y="434"/>
                  </a:cubicBezTo>
                  <a:cubicBezTo>
                    <a:pt x="523" y="377"/>
                    <a:pt x="523" y="377"/>
                    <a:pt x="523" y="377"/>
                  </a:cubicBezTo>
                  <a:cubicBezTo>
                    <a:pt x="485" y="355"/>
                    <a:pt x="485" y="355"/>
                    <a:pt x="485" y="355"/>
                  </a:cubicBezTo>
                  <a:cubicBezTo>
                    <a:pt x="487" y="351"/>
                    <a:pt x="489" y="346"/>
                    <a:pt x="490" y="342"/>
                  </a:cubicBezTo>
                  <a:cubicBezTo>
                    <a:pt x="533" y="350"/>
                    <a:pt x="533" y="350"/>
                    <a:pt x="533" y="350"/>
                  </a:cubicBezTo>
                  <a:cubicBezTo>
                    <a:pt x="545" y="285"/>
                    <a:pt x="545" y="285"/>
                    <a:pt x="545" y="285"/>
                  </a:cubicBezTo>
                  <a:cubicBezTo>
                    <a:pt x="501" y="277"/>
                    <a:pt x="501" y="277"/>
                    <a:pt x="501" y="277"/>
                  </a:cubicBezTo>
                  <a:cubicBezTo>
                    <a:pt x="502" y="275"/>
                    <a:pt x="502" y="272"/>
                    <a:pt x="502" y="270"/>
                  </a:cubicBezTo>
                  <a:close/>
                  <a:moveTo>
                    <a:pt x="448" y="154"/>
                  </a:moveTo>
                  <a:cubicBezTo>
                    <a:pt x="452" y="152"/>
                    <a:pt x="458" y="153"/>
                    <a:pt x="460" y="157"/>
                  </a:cubicBezTo>
                  <a:cubicBezTo>
                    <a:pt x="462" y="162"/>
                    <a:pt x="461" y="167"/>
                    <a:pt x="457" y="169"/>
                  </a:cubicBezTo>
                  <a:cubicBezTo>
                    <a:pt x="453" y="172"/>
                    <a:pt x="447" y="170"/>
                    <a:pt x="445" y="166"/>
                  </a:cubicBezTo>
                  <a:cubicBezTo>
                    <a:pt x="442" y="162"/>
                    <a:pt x="444" y="157"/>
                    <a:pt x="448" y="154"/>
                  </a:cubicBezTo>
                  <a:close/>
                  <a:moveTo>
                    <a:pt x="398" y="101"/>
                  </a:moveTo>
                  <a:cubicBezTo>
                    <a:pt x="401" y="97"/>
                    <a:pt x="406" y="97"/>
                    <a:pt x="410" y="100"/>
                  </a:cubicBezTo>
                  <a:cubicBezTo>
                    <a:pt x="414" y="103"/>
                    <a:pt x="414" y="109"/>
                    <a:pt x="411" y="112"/>
                  </a:cubicBezTo>
                  <a:cubicBezTo>
                    <a:pt x="408" y="116"/>
                    <a:pt x="403" y="117"/>
                    <a:pt x="399" y="114"/>
                  </a:cubicBezTo>
                  <a:cubicBezTo>
                    <a:pt x="395" y="110"/>
                    <a:pt x="395" y="105"/>
                    <a:pt x="398" y="101"/>
                  </a:cubicBezTo>
                  <a:close/>
                  <a:moveTo>
                    <a:pt x="332" y="68"/>
                  </a:moveTo>
                  <a:cubicBezTo>
                    <a:pt x="334" y="64"/>
                    <a:pt x="339" y="62"/>
                    <a:pt x="344" y="63"/>
                  </a:cubicBezTo>
                  <a:cubicBezTo>
                    <a:pt x="348" y="65"/>
                    <a:pt x="351" y="70"/>
                    <a:pt x="349" y="74"/>
                  </a:cubicBezTo>
                  <a:cubicBezTo>
                    <a:pt x="347" y="79"/>
                    <a:pt x="342" y="81"/>
                    <a:pt x="338" y="80"/>
                  </a:cubicBezTo>
                  <a:cubicBezTo>
                    <a:pt x="333" y="78"/>
                    <a:pt x="331" y="73"/>
                    <a:pt x="332" y="68"/>
                  </a:cubicBezTo>
                  <a:close/>
                  <a:moveTo>
                    <a:pt x="269" y="51"/>
                  </a:moveTo>
                  <a:cubicBezTo>
                    <a:pt x="273" y="51"/>
                    <a:pt x="277" y="55"/>
                    <a:pt x="277" y="60"/>
                  </a:cubicBezTo>
                  <a:cubicBezTo>
                    <a:pt x="277" y="65"/>
                    <a:pt x="273" y="69"/>
                    <a:pt x="269" y="69"/>
                  </a:cubicBezTo>
                  <a:cubicBezTo>
                    <a:pt x="264" y="69"/>
                    <a:pt x="260" y="65"/>
                    <a:pt x="260" y="60"/>
                  </a:cubicBezTo>
                  <a:cubicBezTo>
                    <a:pt x="260" y="55"/>
                    <a:pt x="264" y="51"/>
                    <a:pt x="269" y="51"/>
                  </a:cubicBezTo>
                  <a:close/>
                  <a:moveTo>
                    <a:pt x="194" y="66"/>
                  </a:moveTo>
                  <a:cubicBezTo>
                    <a:pt x="199" y="64"/>
                    <a:pt x="204" y="67"/>
                    <a:pt x="205" y="71"/>
                  </a:cubicBezTo>
                  <a:cubicBezTo>
                    <a:pt x="207" y="76"/>
                    <a:pt x="205" y="81"/>
                    <a:pt x="200" y="82"/>
                  </a:cubicBezTo>
                  <a:cubicBezTo>
                    <a:pt x="195" y="84"/>
                    <a:pt x="190" y="82"/>
                    <a:pt x="189" y="77"/>
                  </a:cubicBezTo>
                  <a:cubicBezTo>
                    <a:pt x="187" y="73"/>
                    <a:pt x="189" y="67"/>
                    <a:pt x="194" y="66"/>
                  </a:cubicBezTo>
                  <a:close/>
                  <a:moveTo>
                    <a:pt x="129" y="105"/>
                  </a:moveTo>
                  <a:cubicBezTo>
                    <a:pt x="133" y="102"/>
                    <a:pt x="138" y="102"/>
                    <a:pt x="141" y="106"/>
                  </a:cubicBezTo>
                  <a:cubicBezTo>
                    <a:pt x="144" y="110"/>
                    <a:pt x="144" y="115"/>
                    <a:pt x="140" y="118"/>
                  </a:cubicBezTo>
                  <a:cubicBezTo>
                    <a:pt x="136" y="122"/>
                    <a:pt x="131" y="121"/>
                    <a:pt x="128" y="117"/>
                  </a:cubicBezTo>
                  <a:cubicBezTo>
                    <a:pt x="125" y="114"/>
                    <a:pt x="125" y="108"/>
                    <a:pt x="129" y="105"/>
                  </a:cubicBezTo>
                  <a:close/>
                  <a:moveTo>
                    <a:pt x="56" y="236"/>
                  </a:moveTo>
                  <a:cubicBezTo>
                    <a:pt x="57" y="231"/>
                    <a:pt x="62" y="228"/>
                    <a:pt x="66" y="229"/>
                  </a:cubicBezTo>
                  <a:cubicBezTo>
                    <a:pt x="71" y="230"/>
                    <a:pt x="74" y="234"/>
                    <a:pt x="74" y="239"/>
                  </a:cubicBezTo>
                  <a:cubicBezTo>
                    <a:pt x="73" y="244"/>
                    <a:pt x="68" y="247"/>
                    <a:pt x="63" y="246"/>
                  </a:cubicBezTo>
                  <a:cubicBezTo>
                    <a:pt x="59" y="245"/>
                    <a:pt x="55" y="241"/>
                    <a:pt x="56" y="236"/>
                  </a:cubicBezTo>
                  <a:close/>
                  <a:moveTo>
                    <a:pt x="68" y="319"/>
                  </a:moveTo>
                  <a:cubicBezTo>
                    <a:pt x="63" y="320"/>
                    <a:pt x="58" y="317"/>
                    <a:pt x="58" y="312"/>
                  </a:cubicBezTo>
                  <a:cubicBezTo>
                    <a:pt x="57" y="307"/>
                    <a:pt x="60" y="303"/>
                    <a:pt x="65" y="302"/>
                  </a:cubicBezTo>
                  <a:cubicBezTo>
                    <a:pt x="69" y="301"/>
                    <a:pt x="74" y="304"/>
                    <a:pt x="75" y="309"/>
                  </a:cubicBezTo>
                  <a:cubicBezTo>
                    <a:pt x="76" y="314"/>
                    <a:pt x="72" y="318"/>
                    <a:pt x="68" y="319"/>
                  </a:cubicBezTo>
                  <a:close/>
                  <a:moveTo>
                    <a:pt x="81" y="164"/>
                  </a:moveTo>
                  <a:cubicBezTo>
                    <a:pt x="83" y="160"/>
                    <a:pt x="89" y="158"/>
                    <a:pt x="93" y="161"/>
                  </a:cubicBezTo>
                  <a:cubicBezTo>
                    <a:pt x="97" y="163"/>
                    <a:pt x="99" y="169"/>
                    <a:pt x="96" y="173"/>
                  </a:cubicBezTo>
                  <a:cubicBezTo>
                    <a:pt x="94" y="177"/>
                    <a:pt x="88" y="178"/>
                    <a:pt x="84" y="176"/>
                  </a:cubicBezTo>
                  <a:cubicBezTo>
                    <a:pt x="80" y="174"/>
                    <a:pt x="79" y="168"/>
                    <a:pt x="81" y="164"/>
                  </a:cubicBezTo>
                  <a:close/>
                  <a:moveTo>
                    <a:pt x="97" y="386"/>
                  </a:moveTo>
                  <a:cubicBezTo>
                    <a:pt x="93" y="389"/>
                    <a:pt x="87" y="387"/>
                    <a:pt x="85" y="383"/>
                  </a:cubicBezTo>
                  <a:cubicBezTo>
                    <a:pt x="82" y="379"/>
                    <a:pt x="84" y="373"/>
                    <a:pt x="88" y="371"/>
                  </a:cubicBezTo>
                  <a:cubicBezTo>
                    <a:pt x="92" y="368"/>
                    <a:pt x="98" y="370"/>
                    <a:pt x="100" y="374"/>
                  </a:cubicBezTo>
                  <a:cubicBezTo>
                    <a:pt x="102" y="378"/>
                    <a:pt x="101" y="384"/>
                    <a:pt x="97" y="386"/>
                  </a:cubicBezTo>
                  <a:close/>
                  <a:moveTo>
                    <a:pt x="147" y="439"/>
                  </a:moveTo>
                  <a:cubicBezTo>
                    <a:pt x="144" y="443"/>
                    <a:pt x="138" y="443"/>
                    <a:pt x="135" y="440"/>
                  </a:cubicBezTo>
                  <a:cubicBezTo>
                    <a:pt x="131" y="437"/>
                    <a:pt x="130" y="432"/>
                    <a:pt x="134" y="428"/>
                  </a:cubicBezTo>
                  <a:cubicBezTo>
                    <a:pt x="137" y="424"/>
                    <a:pt x="142" y="424"/>
                    <a:pt x="146" y="427"/>
                  </a:cubicBezTo>
                  <a:cubicBezTo>
                    <a:pt x="150" y="430"/>
                    <a:pt x="150" y="435"/>
                    <a:pt x="147" y="439"/>
                  </a:cubicBezTo>
                  <a:close/>
                  <a:moveTo>
                    <a:pt x="212" y="472"/>
                  </a:moveTo>
                  <a:cubicBezTo>
                    <a:pt x="211" y="476"/>
                    <a:pt x="206" y="479"/>
                    <a:pt x="201" y="477"/>
                  </a:cubicBezTo>
                  <a:cubicBezTo>
                    <a:pt x="197" y="475"/>
                    <a:pt x="194" y="470"/>
                    <a:pt x="196" y="466"/>
                  </a:cubicBezTo>
                  <a:cubicBezTo>
                    <a:pt x="198" y="461"/>
                    <a:pt x="203" y="459"/>
                    <a:pt x="207" y="461"/>
                  </a:cubicBezTo>
                  <a:cubicBezTo>
                    <a:pt x="212" y="462"/>
                    <a:pt x="214" y="467"/>
                    <a:pt x="212" y="472"/>
                  </a:cubicBezTo>
                  <a:close/>
                  <a:moveTo>
                    <a:pt x="276" y="489"/>
                  </a:moveTo>
                  <a:cubicBezTo>
                    <a:pt x="271" y="489"/>
                    <a:pt x="267" y="485"/>
                    <a:pt x="267" y="480"/>
                  </a:cubicBezTo>
                  <a:cubicBezTo>
                    <a:pt x="267" y="475"/>
                    <a:pt x="271" y="471"/>
                    <a:pt x="276" y="471"/>
                  </a:cubicBezTo>
                  <a:cubicBezTo>
                    <a:pt x="281" y="471"/>
                    <a:pt x="285" y="475"/>
                    <a:pt x="285" y="480"/>
                  </a:cubicBezTo>
                  <a:cubicBezTo>
                    <a:pt x="285" y="485"/>
                    <a:pt x="281" y="489"/>
                    <a:pt x="276" y="489"/>
                  </a:cubicBezTo>
                  <a:close/>
                  <a:moveTo>
                    <a:pt x="351" y="475"/>
                  </a:moveTo>
                  <a:cubicBezTo>
                    <a:pt x="346" y="476"/>
                    <a:pt x="341" y="474"/>
                    <a:pt x="340" y="469"/>
                  </a:cubicBezTo>
                  <a:cubicBezTo>
                    <a:pt x="338" y="465"/>
                    <a:pt x="340" y="460"/>
                    <a:pt x="345" y="458"/>
                  </a:cubicBezTo>
                  <a:cubicBezTo>
                    <a:pt x="349" y="456"/>
                    <a:pt x="354" y="459"/>
                    <a:pt x="356" y="463"/>
                  </a:cubicBezTo>
                  <a:cubicBezTo>
                    <a:pt x="358" y="468"/>
                    <a:pt x="355" y="473"/>
                    <a:pt x="351" y="475"/>
                  </a:cubicBezTo>
                  <a:close/>
                  <a:moveTo>
                    <a:pt x="416" y="435"/>
                  </a:moveTo>
                  <a:cubicBezTo>
                    <a:pt x="412" y="439"/>
                    <a:pt x="407" y="438"/>
                    <a:pt x="404" y="434"/>
                  </a:cubicBezTo>
                  <a:cubicBezTo>
                    <a:pt x="401" y="431"/>
                    <a:pt x="401" y="425"/>
                    <a:pt x="405" y="422"/>
                  </a:cubicBezTo>
                  <a:cubicBezTo>
                    <a:pt x="408" y="419"/>
                    <a:pt x="414" y="419"/>
                    <a:pt x="417" y="423"/>
                  </a:cubicBezTo>
                  <a:cubicBezTo>
                    <a:pt x="420" y="427"/>
                    <a:pt x="420" y="432"/>
                    <a:pt x="416" y="435"/>
                  </a:cubicBezTo>
                  <a:close/>
                  <a:moveTo>
                    <a:pt x="441" y="322"/>
                  </a:moveTo>
                  <a:cubicBezTo>
                    <a:pt x="413" y="317"/>
                    <a:pt x="413" y="317"/>
                    <a:pt x="413" y="317"/>
                  </a:cubicBezTo>
                  <a:cubicBezTo>
                    <a:pt x="412" y="320"/>
                    <a:pt x="411" y="322"/>
                    <a:pt x="410" y="325"/>
                  </a:cubicBezTo>
                  <a:cubicBezTo>
                    <a:pt x="435" y="339"/>
                    <a:pt x="435" y="339"/>
                    <a:pt x="435" y="339"/>
                  </a:cubicBezTo>
                  <a:cubicBezTo>
                    <a:pt x="413" y="376"/>
                    <a:pt x="413" y="376"/>
                    <a:pt x="413" y="376"/>
                  </a:cubicBezTo>
                  <a:cubicBezTo>
                    <a:pt x="389" y="362"/>
                    <a:pt x="389" y="362"/>
                    <a:pt x="389" y="362"/>
                  </a:cubicBezTo>
                  <a:cubicBezTo>
                    <a:pt x="387" y="364"/>
                    <a:pt x="385" y="367"/>
                    <a:pt x="383" y="369"/>
                  </a:cubicBezTo>
                  <a:cubicBezTo>
                    <a:pt x="401" y="391"/>
                    <a:pt x="401" y="391"/>
                    <a:pt x="401" y="391"/>
                  </a:cubicBezTo>
                  <a:cubicBezTo>
                    <a:pt x="369" y="418"/>
                    <a:pt x="369" y="418"/>
                    <a:pt x="369" y="418"/>
                  </a:cubicBezTo>
                  <a:cubicBezTo>
                    <a:pt x="350" y="396"/>
                    <a:pt x="350" y="396"/>
                    <a:pt x="350" y="396"/>
                  </a:cubicBezTo>
                  <a:cubicBezTo>
                    <a:pt x="348" y="398"/>
                    <a:pt x="345" y="399"/>
                    <a:pt x="343" y="401"/>
                  </a:cubicBezTo>
                  <a:cubicBezTo>
                    <a:pt x="352" y="427"/>
                    <a:pt x="352" y="427"/>
                    <a:pt x="352" y="427"/>
                  </a:cubicBezTo>
                  <a:cubicBezTo>
                    <a:pt x="312" y="442"/>
                    <a:pt x="312" y="442"/>
                    <a:pt x="312" y="442"/>
                  </a:cubicBezTo>
                  <a:cubicBezTo>
                    <a:pt x="303" y="416"/>
                    <a:pt x="303" y="416"/>
                    <a:pt x="303" y="416"/>
                  </a:cubicBezTo>
                  <a:cubicBezTo>
                    <a:pt x="300" y="416"/>
                    <a:pt x="297" y="417"/>
                    <a:pt x="294" y="417"/>
                  </a:cubicBezTo>
                  <a:cubicBezTo>
                    <a:pt x="294" y="445"/>
                    <a:pt x="294" y="445"/>
                    <a:pt x="294" y="445"/>
                  </a:cubicBezTo>
                  <a:cubicBezTo>
                    <a:pt x="251" y="445"/>
                    <a:pt x="251" y="445"/>
                    <a:pt x="251" y="445"/>
                  </a:cubicBezTo>
                  <a:cubicBezTo>
                    <a:pt x="251" y="417"/>
                    <a:pt x="251" y="417"/>
                    <a:pt x="251" y="417"/>
                  </a:cubicBezTo>
                  <a:cubicBezTo>
                    <a:pt x="248" y="417"/>
                    <a:pt x="245" y="416"/>
                    <a:pt x="242" y="416"/>
                  </a:cubicBezTo>
                  <a:cubicBezTo>
                    <a:pt x="233" y="442"/>
                    <a:pt x="233" y="442"/>
                    <a:pt x="233" y="442"/>
                  </a:cubicBezTo>
                  <a:cubicBezTo>
                    <a:pt x="192" y="427"/>
                    <a:pt x="192" y="427"/>
                    <a:pt x="192" y="427"/>
                  </a:cubicBezTo>
                  <a:cubicBezTo>
                    <a:pt x="202" y="401"/>
                    <a:pt x="202" y="401"/>
                    <a:pt x="202" y="401"/>
                  </a:cubicBezTo>
                  <a:cubicBezTo>
                    <a:pt x="199" y="399"/>
                    <a:pt x="197" y="398"/>
                    <a:pt x="194" y="396"/>
                  </a:cubicBezTo>
                  <a:cubicBezTo>
                    <a:pt x="176" y="418"/>
                    <a:pt x="176" y="418"/>
                    <a:pt x="176" y="418"/>
                  </a:cubicBezTo>
                  <a:cubicBezTo>
                    <a:pt x="143" y="391"/>
                    <a:pt x="143" y="391"/>
                    <a:pt x="143" y="391"/>
                  </a:cubicBezTo>
                  <a:cubicBezTo>
                    <a:pt x="162" y="369"/>
                    <a:pt x="162" y="369"/>
                    <a:pt x="162" y="369"/>
                  </a:cubicBezTo>
                  <a:cubicBezTo>
                    <a:pt x="160" y="367"/>
                    <a:pt x="158" y="364"/>
                    <a:pt x="156" y="362"/>
                  </a:cubicBezTo>
                  <a:cubicBezTo>
                    <a:pt x="131" y="376"/>
                    <a:pt x="131" y="376"/>
                    <a:pt x="131" y="376"/>
                  </a:cubicBezTo>
                  <a:cubicBezTo>
                    <a:pt x="110" y="339"/>
                    <a:pt x="110" y="339"/>
                    <a:pt x="110" y="339"/>
                  </a:cubicBezTo>
                  <a:cubicBezTo>
                    <a:pt x="135" y="325"/>
                    <a:pt x="135" y="325"/>
                    <a:pt x="135" y="325"/>
                  </a:cubicBezTo>
                  <a:cubicBezTo>
                    <a:pt x="133" y="322"/>
                    <a:pt x="132" y="320"/>
                    <a:pt x="132" y="317"/>
                  </a:cubicBezTo>
                  <a:cubicBezTo>
                    <a:pt x="104" y="322"/>
                    <a:pt x="104" y="322"/>
                    <a:pt x="104" y="322"/>
                  </a:cubicBezTo>
                  <a:cubicBezTo>
                    <a:pt x="96" y="280"/>
                    <a:pt x="96" y="280"/>
                    <a:pt x="96" y="280"/>
                  </a:cubicBezTo>
                  <a:cubicBezTo>
                    <a:pt x="124" y="275"/>
                    <a:pt x="124" y="275"/>
                    <a:pt x="124" y="275"/>
                  </a:cubicBezTo>
                  <a:cubicBezTo>
                    <a:pt x="124" y="273"/>
                    <a:pt x="124" y="272"/>
                    <a:pt x="124" y="270"/>
                  </a:cubicBezTo>
                  <a:cubicBezTo>
                    <a:pt x="124" y="269"/>
                    <a:pt x="124" y="267"/>
                    <a:pt x="124" y="266"/>
                  </a:cubicBezTo>
                  <a:cubicBezTo>
                    <a:pt x="96" y="261"/>
                    <a:pt x="96" y="261"/>
                    <a:pt x="96" y="261"/>
                  </a:cubicBezTo>
                  <a:cubicBezTo>
                    <a:pt x="104" y="219"/>
                    <a:pt x="104" y="219"/>
                    <a:pt x="104" y="219"/>
                  </a:cubicBezTo>
                  <a:cubicBezTo>
                    <a:pt x="132" y="224"/>
                    <a:pt x="132" y="224"/>
                    <a:pt x="132" y="224"/>
                  </a:cubicBezTo>
                  <a:cubicBezTo>
                    <a:pt x="132" y="221"/>
                    <a:pt x="133" y="218"/>
                    <a:pt x="135" y="215"/>
                  </a:cubicBezTo>
                  <a:cubicBezTo>
                    <a:pt x="110" y="201"/>
                    <a:pt x="110" y="201"/>
                    <a:pt x="110" y="201"/>
                  </a:cubicBezTo>
                  <a:cubicBezTo>
                    <a:pt x="131" y="164"/>
                    <a:pt x="131" y="164"/>
                    <a:pt x="131" y="164"/>
                  </a:cubicBezTo>
                  <a:cubicBezTo>
                    <a:pt x="156" y="178"/>
                    <a:pt x="156" y="178"/>
                    <a:pt x="156" y="178"/>
                  </a:cubicBezTo>
                  <a:cubicBezTo>
                    <a:pt x="158" y="176"/>
                    <a:pt x="160" y="174"/>
                    <a:pt x="162" y="171"/>
                  </a:cubicBezTo>
                  <a:cubicBezTo>
                    <a:pt x="143" y="150"/>
                    <a:pt x="143" y="150"/>
                    <a:pt x="143" y="150"/>
                  </a:cubicBezTo>
                  <a:cubicBezTo>
                    <a:pt x="176" y="122"/>
                    <a:pt x="176" y="122"/>
                    <a:pt x="176" y="122"/>
                  </a:cubicBezTo>
                  <a:cubicBezTo>
                    <a:pt x="194" y="144"/>
                    <a:pt x="194" y="144"/>
                    <a:pt x="194" y="144"/>
                  </a:cubicBezTo>
                  <a:cubicBezTo>
                    <a:pt x="197" y="142"/>
                    <a:pt x="199" y="141"/>
                    <a:pt x="202" y="139"/>
                  </a:cubicBezTo>
                  <a:cubicBezTo>
                    <a:pt x="192" y="113"/>
                    <a:pt x="192" y="113"/>
                    <a:pt x="192" y="113"/>
                  </a:cubicBezTo>
                  <a:cubicBezTo>
                    <a:pt x="233" y="98"/>
                    <a:pt x="233" y="98"/>
                    <a:pt x="233" y="98"/>
                  </a:cubicBezTo>
                  <a:cubicBezTo>
                    <a:pt x="242" y="125"/>
                    <a:pt x="242" y="125"/>
                    <a:pt x="242" y="125"/>
                  </a:cubicBezTo>
                  <a:cubicBezTo>
                    <a:pt x="245" y="124"/>
                    <a:pt x="248" y="124"/>
                    <a:pt x="251" y="123"/>
                  </a:cubicBezTo>
                  <a:cubicBezTo>
                    <a:pt x="251" y="95"/>
                    <a:pt x="251" y="95"/>
                    <a:pt x="251" y="95"/>
                  </a:cubicBezTo>
                  <a:cubicBezTo>
                    <a:pt x="294" y="95"/>
                    <a:pt x="294" y="95"/>
                    <a:pt x="294" y="95"/>
                  </a:cubicBezTo>
                  <a:cubicBezTo>
                    <a:pt x="294" y="123"/>
                    <a:pt x="294" y="123"/>
                    <a:pt x="294" y="123"/>
                  </a:cubicBezTo>
                  <a:cubicBezTo>
                    <a:pt x="297" y="124"/>
                    <a:pt x="300" y="124"/>
                    <a:pt x="303" y="125"/>
                  </a:cubicBezTo>
                  <a:cubicBezTo>
                    <a:pt x="312" y="98"/>
                    <a:pt x="312" y="98"/>
                    <a:pt x="312" y="98"/>
                  </a:cubicBezTo>
                  <a:cubicBezTo>
                    <a:pt x="352" y="113"/>
                    <a:pt x="352" y="113"/>
                    <a:pt x="352" y="113"/>
                  </a:cubicBezTo>
                  <a:cubicBezTo>
                    <a:pt x="343" y="139"/>
                    <a:pt x="343" y="139"/>
                    <a:pt x="343" y="139"/>
                  </a:cubicBezTo>
                  <a:cubicBezTo>
                    <a:pt x="345" y="141"/>
                    <a:pt x="348" y="142"/>
                    <a:pt x="350" y="144"/>
                  </a:cubicBezTo>
                  <a:cubicBezTo>
                    <a:pt x="369" y="122"/>
                    <a:pt x="369" y="122"/>
                    <a:pt x="369" y="122"/>
                  </a:cubicBezTo>
                  <a:cubicBezTo>
                    <a:pt x="401" y="150"/>
                    <a:pt x="401" y="150"/>
                    <a:pt x="401" y="150"/>
                  </a:cubicBezTo>
                  <a:cubicBezTo>
                    <a:pt x="383" y="171"/>
                    <a:pt x="383" y="171"/>
                    <a:pt x="383" y="171"/>
                  </a:cubicBezTo>
                  <a:cubicBezTo>
                    <a:pt x="385" y="174"/>
                    <a:pt x="387" y="176"/>
                    <a:pt x="389" y="178"/>
                  </a:cubicBezTo>
                  <a:cubicBezTo>
                    <a:pt x="413" y="164"/>
                    <a:pt x="413" y="164"/>
                    <a:pt x="413" y="164"/>
                  </a:cubicBezTo>
                  <a:cubicBezTo>
                    <a:pt x="435" y="201"/>
                    <a:pt x="435" y="201"/>
                    <a:pt x="435" y="201"/>
                  </a:cubicBezTo>
                  <a:cubicBezTo>
                    <a:pt x="410" y="215"/>
                    <a:pt x="410" y="215"/>
                    <a:pt x="410" y="215"/>
                  </a:cubicBezTo>
                  <a:cubicBezTo>
                    <a:pt x="411" y="218"/>
                    <a:pt x="412" y="221"/>
                    <a:pt x="413" y="224"/>
                  </a:cubicBezTo>
                  <a:cubicBezTo>
                    <a:pt x="441" y="219"/>
                    <a:pt x="441" y="219"/>
                    <a:pt x="441" y="219"/>
                  </a:cubicBezTo>
                  <a:cubicBezTo>
                    <a:pt x="449" y="261"/>
                    <a:pt x="449" y="261"/>
                    <a:pt x="449" y="261"/>
                  </a:cubicBezTo>
                  <a:cubicBezTo>
                    <a:pt x="421" y="266"/>
                    <a:pt x="421" y="266"/>
                    <a:pt x="421" y="266"/>
                  </a:cubicBezTo>
                  <a:cubicBezTo>
                    <a:pt x="421" y="267"/>
                    <a:pt x="421" y="269"/>
                    <a:pt x="421" y="270"/>
                  </a:cubicBezTo>
                  <a:cubicBezTo>
                    <a:pt x="421" y="272"/>
                    <a:pt x="421" y="273"/>
                    <a:pt x="421" y="275"/>
                  </a:cubicBezTo>
                  <a:cubicBezTo>
                    <a:pt x="449" y="280"/>
                    <a:pt x="449" y="280"/>
                    <a:pt x="449" y="280"/>
                  </a:cubicBezTo>
                  <a:lnTo>
                    <a:pt x="441" y="322"/>
                  </a:lnTo>
                  <a:close/>
                  <a:moveTo>
                    <a:pt x="464" y="376"/>
                  </a:moveTo>
                  <a:cubicBezTo>
                    <a:pt x="461" y="381"/>
                    <a:pt x="456" y="382"/>
                    <a:pt x="452" y="380"/>
                  </a:cubicBezTo>
                  <a:cubicBezTo>
                    <a:pt x="448" y="377"/>
                    <a:pt x="446" y="372"/>
                    <a:pt x="449" y="368"/>
                  </a:cubicBezTo>
                  <a:cubicBezTo>
                    <a:pt x="451" y="363"/>
                    <a:pt x="456" y="362"/>
                    <a:pt x="461" y="364"/>
                  </a:cubicBezTo>
                  <a:cubicBezTo>
                    <a:pt x="465" y="367"/>
                    <a:pt x="466" y="372"/>
                    <a:pt x="464" y="376"/>
                  </a:cubicBezTo>
                  <a:close/>
                  <a:moveTo>
                    <a:pt x="477" y="221"/>
                  </a:moveTo>
                  <a:cubicBezTo>
                    <a:pt x="482" y="220"/>
                    <a:pt x="486" y="224"/>
                    <a:pt x="487" y="228"/>
                  </a:cubicBezTo>
                  <a:cubicBezTo>
                    <a:pt x="488" y="233"/>
                    <a:pt x="485" y="238"/>
                    <a:pt x="480" y="239"/>
                  </a:cubicBezTo>
                  <a:cubicBezTo>
                    <a:pt x="475" y="239"/>
                    <a:pt x="471" y="236"/>
                    <a:pt x="470" y="231"/>
                  </a:cubicBezTo>
                  <a:cubicBezTo>
                    <a:pt x="469" y="227"/>
                    <a:pt x="472" y="222"/>
                    <a:pt x="477" y="221"/>
                  </a:cubicBezTo>
                  <a:close/>
                  <a:moveTo>
                    <a:pt x="489" y="304"/>
                  </a:moveTo>
                  <a:cubicBezTo>
                    <a:pt x="488" y="309"/>
                    <a:pt x="483" y="312"/>
                    <a:pt x="478" y="312"/>
                  </a:cubicBezTo>
                  <a:cubicBezTo>
                    <a:pt x="474" y="311"/>
                    <a:pt x="470" y="306"/>
                    <a:pt x="471" y="301"/>
                  </a:cubicBezTo>
                  <a:cubicBezTo>
                    <a:pt x="472" y="297"/>
                    <a:pt x="477" y="293"/>
                    <a:pt x="481" y="294"/>
                  </a:cubicBezTo>
                  <a:cubicBezTo>
                    <a:pt x="486" y="295"/>
                    <a:pt x="489" y="300"/>
                    <a:pt x="489" y="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4" name="Freeform 24"/>
            <p:cNvSpPr>
              <a:spLocks noEditPoints="1"/>
            </p:cNvSpPr>
            <p:nvPr/>
          </p:nvSpPr>
          <p:spPr bwMode="auto">
            <a:xfrm>
              <a:off x="5517479" y="2719378"/>
              <a:ext cx="412211" cy="408770"/>
            </a:xfrm>
            <a:custGeom>
              <a:avLst/>
              <a:gdLst>
                <a:gd name="T0" fmla="*/ 225 w 253"/>
                <a:gd name="T1" fmla="*/ 86 h 251"/>
                <a:gd name="T2" fmla="*/ 227 w 253"/>
                <a:gd name="T3" fmla="*/ 49 h 251"/>
                <a:gd name="T4" fmla="*/ 206 w 253"/>
                <a:gd name="T5" fmla="*/ 54 h 251"/>
                <a:gd name="T6" fmla="*/ 195 w 253"/>
                <a:gd name="T7" fmla="*/ 19 h 251"/>
                <a:gd name="T8" fmla="*/ 177 w 253"/>
                <a:gd name="T9" fmla="*/ 32 h 251"/>
                <a:gd name="T10" fmla="*/ 155 w 253"/>
                <a:gd name="T11" fmla="*/ 2 h 251"/>
                <a:gd name="T12" fmla="*/ 142 w 253"/>
                <a:gd name="T13" fmla="*/ 20 h 251"/>
                <a:gd name="T14" fmla="*/ 111 w 253"/>
                <a:gd name="T15" fmla="*/ 0 h 251"/>
                <a:gd name="T16" fmla="*/ 105 w 253"/>
                <a:gd name="T17" fmla="*/ 21 h 251"/>
                <a:gd name="T18" fmla="*/ 69 w 253"/>
                <a:gd name="T19" fmla="*/ 12 h 251"/>
                <a:gd name="T20" fmla="*/ 71 w 253"/>
                <a:gd name="T21" fmla="*/ 35 h 251"/>
                <a:gd name="T22" fmla="*/ 34 w 253"/>
                <a:gd name="T23" fmla="*/ 39 h 251"/>
                <a:gd name="T24" fmla="*/ 43 w 253"/>
                <a:gd name="T25" fmla="*/ 59 h 251"/>
                <a:gd name="T26" fmla="*/ 10 w 253"/>
                <a:gd name="T27" fmla="*/ 76 h 251"/>
                <a:gd name="T28" fmla="*/ 25 w 253"/>
                <a:gd name="T29" fmla="*/ 92 h 251"/>
                <a:gd name="T30" fmla="*/ 0 w 253"/>
                <a:gd name="T31" fmla="*/ 118 h 251"/>
                <a:gd name="T32" fmla="*/ 20 w 253"/>
                <a:gd name="T33" fmla="*/ 125 h 251"/>
                <a:gd name="T34" fmla="*/ 0 w 253"/>
                <a:gd name="T35" fmla="*/ 132 h 251"/>
                <a:gd name="T36" fmla="*/ 25 w 253"/>
                <a:gd name="T37" fmla="*/ 159 h 251"/>
                <a:gd name="T38" fmla="*/ 10 w 253"/>
                <a:gd name="T39" fmla="*/ 175 h 251"/>
                <a:gd name="T40" fmla="*/ 43 w 253"/>
                <a:gd name="T41" fmla="*/ 191 h 251"/>
                <a:gd name="T42" fmla="*/ 34 w 253"/>
                <a:gd name="T43" fmla="*/ 212 h 251"/>
                <a:gd name="T44" fmla="*/ 71 w 253"/>
                <a:gd name="T45" fmla="*/ 216 h 251"/>
                <a:gd name="T46" fmla="*/ 69 w 253"/>
                <a:gd name="T47" fmla="*/ 238 h 251"/>
                <a:gd name="T48" fmla="*/ 105 w 253"/>
                <a:gd name="T49" fmla="*/ 229 h 251"/>
                <a:gd name="T50" fmla="*/ 111 w 253"/>
                <a:gd name="T51" fmla="*/ 251 h 251"/>
                <a:gd name="T52" fmla="*/ 142 w 253"/>
                <a:gd name="T53" fmla="*/ 230 h 251"/>
                <a:gd name="T54" fmla="*/ 155 w 253"/>
                <a:gd name="T55" fmla="*/ 248 h 251"/>
                <a:gd name="T56" fmla="*/ 177 w 253"/>
                <a:gd name="T57" fmla="*/ 219 h 251"/>
                <a:gd name="T58" fmla="*/ 195 w 253"/>
                <a:gd name="T59" fmla="*/ 231 h 251"/>
                <a:gd name="T60" fmla="*/ 206 w 253"/>
                <a:gd name="T61" fmla="*/ 196 h 251"/>
                <a:gd name="T62" fmla="*/ 227 w 253"/>
                <a:gd name="T63" fmla="*/ 201 h 251"/>
                <a:gd name="T64" fmla="*/ 225 w 253"/>
                <a:gd name="T65" fmla="*/ 165 h 251"/>
                <a:gd name="T66" fmla="*/ 247 w 253"/>
                <a:gd name="T67" fmla="*/ 162 h 251"/>
                <a:gd name="T68" fmla="*/ 233 w 253"/>
                <a:gd name="T69" fmla="*/ 128 h 251"/>
                <a:gd name="T70" fmla="*/ 233 w 253"/>
                <a:gd name="T71" fmla="*/ 122 h 251"/>
                <a:gd name="T72" fmla="*/ 247 w 253"/>
                <a:gd name="T73" fmla="*/ 88 h 251"/>
                <a:gd name="T74" fmla="*/ 213 w 253"/>
                <a:gd name="T75" fmla="*/ 125 h 251"/>
                <a:gd name="T76" fmla="*/ 40 w 253"/>
                <a:gd name="T77" fmla="*/ 125 h 251"/>
                <a:gd name="T78" fmla="*/ 213 w 253"/>
                <a:gd name="T79" fmla="*/ 12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3" h="251">
                  <a:moveTo>
                    <a:pt x="227" y="92"/>
                  </a:moveTo>
                  <a:cubicBezTo>
                    <a:pt x="227" y="90"/>
                    <a:pt x="226" y="88"/>
                    <a:pt x="225" y="86"/>
                  </a:cubicBezTo>
                  <a:cubicBezTo>
                    <a:pt x="243" y="76"/>
                    <a:pt x="243" y="76"/>
                    <a:pt x="243" y="76"/>
                  </a:cubicBezTo>
                  <a:cubicBezTo>
                    <a:pt x="227" y="49"/>
                    <a:pt x="227" y="49"/>
                    <a:pt x="227" y="49"/>
                  </a:cubicBezTo>
                  <a:cubicBezTo>
                    <a:pt x="210" y="59"/>
                    <a:pt x="210" y="59"/>
                    <a:pt x="210" y="59"/>
                  </a:cubicBezTo>
                  <a:cubicBezTo>
                    <a:pt x="209" y="58"/>
                    <a:pt x="207" y="56"/>
                    <a:pt x="206" y="54"/>
                  </a:cubicBezTo>
                  <a:cubicBezTo>
                    <a:pt x="219" y="39"/>
                    <a:pt x="219" y="39"/>
                    <a:pt x="219" y="39"/>
                  </a:cubicBezTo>
                  <a:cubicBezTo>
                    <a:pt x="195" y="19"/>
                    <a:pt x="195" y="19"/>
                    <a:pt x="195" y="19"/>
                  </a:cubicBezTo>
                  <a:cubicBezTo>
                    <a:pt x="182" y="35"/>
                    <a:pt x="182" y="35"/>
                    <a:pt x="182" y="35"/>
                  </a:cubicBezTo>
                  <a:cubicBezTo>
                    <a:pt x="181" y="34"/>
                    <a:pt x="179" y="33"/>
                    <a:pt x="177" y="32"/>
                  </a:cubicBezTo>
                  <a:cubicBezTo>
                    <a:pt x="184" y="12"/>
                    <a:pt x="184" y="12"/>
                    <a:pt x="184" y="12"/>
                  </a:cubicBezTo>
                  <a:cubicBezTo>
                    <a:pt x="155" y="2"/>
                    <a:pt x="155" y="2"/>
                    <a:pt x="155" y="2"/>
                  </a:cubicBezTo>
                  <a:cubicBezTo>
                    <a:pt x="148" y="21"/>
                    <a:pt x="148" y="21"/>
                    <a:pt x="148" y="21"/>
                  </a:cubicBezTo>
                  <a:cubicBezTo>
                    <a:pt x="146" y="21"/>
                    <a:pt x="144" y="20"/>
                    <a:pt x="142" y="20"/>
                  </a:cubicBezTo>
                  <a:cubicBezTo>
                    <a:pt x="142" y="0"/>
                    <a:pt x="142" y="0"/>
                    <a:pt x="142" y="0"/>
                  </a:cubicBezTo>
                  <a:cubicBezTo>
                    <a:pt x="111" y="0"/>
                    <a:pt x="111" y="0"/>
                    <a:pt x="111" y="0"/>
                  </a:cubicBezTo>
                  <a:cubicBezTo>
                    <a:pt x="111" y="20"/>
                    <a:pt x="111" y="20"/>
                    <a:pt x="111" y="20"/>
                  </a:cubicBezTo>
                  <a:cubicBezTo>
                    <a:pt x="109" y="20"/>
                    <a:pt x="107" y="21"/>
                    <a:pt x="105" y="21"/>
                  </a:cubicBezTo>
                  <a:cubicBezTo>
                    <a:pt x="98" y="2"/>
                    <a:pt x="98" y="2"/>
                    <a:pt x="98" y="2"/>
                  </a:cubicBezTo>
                  <a:cubicBezTo>
                    <a:pt x="69" y="12"/>
                    <a:pt x="69" y="12"/>
                    <a:pt x="69" y="12"/>
                  </a:cubicBezTo>
                  <a:cubicBezTo>
                    <a:pt x="76" y="32"/>
                    <a:pt x="76" y="32"/>
                    <a:pt x="76" y="32"/>
                  </a:cubicBezTo>
                  <a:cubicBezTo>
                    <a:pt x="74" y="33"/>
                    <a:pt x="72" y="34"/>
                    <a:pt x="71" y="35"/>
                  </a:cubicBezTo>
                  <a:cubicBezTo>
                    <a:pt x="57" y="19"/>
                    <a:pt x="57" y="19"/>
                    <a:pt x="57" y="19"/>
                  </a:cubicBezTo>
                  <a:cubicBezTo>
                    <a:pt x="34" y="39"/>
                    <a:pt x="34" y="39"/>
                    <a:pt x="34" y="39"/>
                  </a:cubicBezTo>
                  <a:cubicBezTo>
                    <a:pt x="47" y="54"/>
                    <a:pt x="47" y="54"/>
                    <a:pt x="47" y="54"/>
                  </a:cubicBezTo>
                  <a:cubicBezTo>
                    <a:pt x="46" y="56"/>
                    <a:pt x="44" y="58"/>
                    <a:pt x="43" y="59"/>
                  </a:cubicBezTo>
                  <a:cubicBezTo>
                    <a:pt x="25" y="49"/>
                    <a:pt x="25" y="49"/>
                    <a:pt x="25" y="49"/>
                  </a:cubicBezTo>
                  <a:cubicBezTo>
                    <a:pt x="10" y="76"/>
                    <a:pt x="10" y="76"/>
                    <a:pt x="10" y="76"/>
                  </a:cubicBezTo>
                  <a:cubicBezTo>
                    <a:pt x="28" y="86"/>
                    <a:pt x="28" y="86"/>
                    <a:pt x="28" y="86"/>
                  </a:cubicBezTo>
                  <a:cubicBezTo>
                    <a:pt x="27" y="88"/>
                    <a:pt x="26" y="90"/>
                    <a:pt x="25" y="92"/>
                  </a:cubicBezTo>
                  <a:cubicBezTo>
                    <a:pt x="5" y="88"/>
                    <a:pt x="5" y="88"/>
                    <a:pt x="5" y="88"/>
                  </a:cubicBezTo>
                  <a:cubicBezTo>
                    <a:pt x="0" y="118"/>
                    <a:pt x="0" y="118"/>
                    <a:pt x="0" y="118"/>
                  </a:cubicBezTo>
                  <a:cubicBezTo>
                    <a:pt x="20" y="122"/>
                    <a:pt x="20" y="122"/>
                    <a:pt x="20" y="122"/>
                  </a:cubicBezTo>
                  <a:cubicBezTo>
                    <a:pt x="20" y="123"/>
                    <a:pt x="20" y="124"/>
                    <a:pt x="20" y="125"/>
                  </a:cubicBezTo>
                  <a:cubicBezTo>
                    <a:pt x="20" y="126"/>
                    <a:pt x="20" y="127"/>
                    <a:pt x="20" y="128"/>
                  </a:cubicBezTo>
                  <a:cubicBezTo>
                    <a:pt x="0" y="132"/>
                    <a:pt x="0" y="132"/>
                    <a:pt x="0" y="132"/>
                  </a:cubicBezTo>
                  <a:cubicBezTo>
                    <a:pt x="5" y="162"/>
                    <a:pt x="5" y="162"/>
                    <a:pt x="5" y="162"/>
                  </a:cubicBezTo>
                  <a:cubicBezTo>
                    <a:pt x="25" y="159"/>
                    <a:pt x="25" y="159"/>
                    <a:pt x="25" y="159"/>
                  </a:cubicBezTo>
                  <a:cubicBezTo>
                    <a:pt x="26" y="161"/>
                    <a:pt x="27" y="163"/>
                    <a:pt x="28" y="165"/>
                  </a:cubicBezTo>
                  <a:cubicBezTo>
                    <a:pt x="10" y="175"/>
                    <a:pt x="10" y="175"/>
                    <a:pt x="10" y="175"/>
                  </a:cubicBezTo>
                  <a:cubicBezTo>
                    <a:pt x="25" y="201"/>
                    <a:pt x="25" y="201"/>
                    <a:pt x="25" y="201"/>
                  </a:cubicBezTo>
                  <a:cubicBezTo>
                    <a:pt x="43" y="191"/>
                    <a:pt x="43" y="191"/>
                    <a:pt x="43" y="191"/>
                  </a:cubicBezTo>
                  <a:cubicBezTo>
                    <a:pt x="44" y="193"/>
                    <a:pt x="46" y="194"/>
                    <a:pt x="47" y="196"/>
                  </a:cubicBezTo>
                  <a:cubicBezTo>
                    <a:pt x="34" y="212"/>
                    <a:pt x="34" y="212"/>
                    <a:pt x="34" y="212"/>
                  </a:cubicBezTo>
                  <a:cubicBezTo>
                    <a:pt x="57" y="231"/>
                    <a:pt x="57" y="231"/>
                    <a:pt x="57" y="231"/>
                  </a:cubicBezTo>
                  <a:cubicBezTo>
                    <a:pt x="71" y="216"/>
                    <a:pt x="71" y="216"/>
                    <a:pt x="71" y="216"/>
                  </a:cubicBezTo>
                  <a:cubicBezTo>
                    <a:pt x="72" y="217"/>
                    <a:pt x="74" y="218"/>
                    <a:pt x="76" y="219"/>
                  </a:cubicBezTo>
                  <a:cubicBezTo>
                    <a:pt x="69" y="238"/>
                    <a:pt x="69" y="238"/>
                    <a:pt x="69" y="238"/>
                  </a:cubicBezTo>
                  <a:cubicBezTo>
                    <a:pt x="98" y="248"/>
                    <a:pt x="98" y="248"/>
                    <a:pt x="98" y="248"/>
                  </a:cubicBezTo>
                  <a:cubicBezTo>
                    <a:pt x="105" y="229"/>
                    <a:pt x="105" y="229"/>
                    <a:pt x="105" y="229"/>
                  </a:cubicBezTo>
                  <a:cubicBezTo>
                    <a:pt x="107" y="230"/>
                    <a:pt x="109" y="230"/>
                    <a:pt x="111" y="230"/>
                  </a:cubicBezTo>
                  <a:cubicBezTo>
                    <a:pt x="111" y="251"/>
                    <a:pt x="111" y="251"/>
                    <a:pt x="111" y="251"/>
                  </a:cubicBezTo>
                  <a:cubicBezTo>
                    <a:pt x="142" y="251"/>
                    <a:pt x="142" y="251"/>
                    <a:pt x="142" y="251"/>
                  </a:cubicBezTo>
                  <a:cubicBezTo>
                    <a:pt x="142" y="230"/>
                    <a:pt x="142" y="230"/>
                    <a:pt x="142" y="230"/>
                  </a:cubicBezTo>
                  <a:cubicBezTo>
                    <a:pt x="144" y="230"/>
                    <a:pt x="146" y="230"/>
                    <a:pt x="148" y="229"/>
                  </a:cubicBezTo>
                  <a:cubicBezTo>
                    <a:pt x="155" y="248"/>
                    <a:pt x="155" y="248"/>
                    <a:pt x="155" y="248"/>
                  </a:cubicBezTo>
                  <a:cubicBezTo>
                    <a:pt x="184" y="238"/>
                    <a:pt x="184" y="238"/>
                    <a:pt x="184" y="238"/>
                  </a:cubicBezTo>
                  <a:cubicBezTo>
                    <a:pt x="177" y="219"/>
                    <a:pt x="177" y="219"/>
                    <a:pt x="177" y="219"/>
                  </a:cubicBezTo>
                  <a:cubicBezTo>
                    <a:pt x="179" y="218"/>
                    <a:pt x="181" y="217"/>
                    <a:pt x="182" y="216"/>
                  </a:cubicBezTo>
                  <a:cubicBezTo>
                    <a:pt x="195" y="231"/>
                    <a:pt x="195" y="231"/>
                    <a:pt x="195" y="231"/>
                  </a:cubicBezTo>
                  <a:cubicBezTo>
                    <a:pt x="219" y="211"/>
                    <a:pt x="219" y="211"/>
                    <a:pt x="219" y="211"/>
                  </a:cubicBezTo>
                  <a:cubicBezTo>
                    <a:pt x="206" y="196"/>
                    <a:pt x="206" y="196"/>
                    <a:pt x="206" y="196"/>
                  </a:cubicBezTo>
                  <a:cubicBezTo>
                    <a:pt x="207" y="194"/>
                    <a:pt x="209" y="193"/>
                    <a:pt x="210" y="191"/>
                  </a:cubicBezTo>
                  <a:cubicBezTo>
                    <a:pt x="227" y="201"/>
                    <a:pt x="227" y="201"/>
                    <a:pt x="227" y="201"/>
                  </a:cubicBezTo>
                  <a:cubicBezTo>
                    <a:pt x="243" y="175"/>
                    <a:pt x="243" y="175"/>
                    <a:pt x="243" y="175"/>
                  </a:cubicBezTo>
                  <a:cubicBezTo>
                    <a:pt x="225" y="165"/>
                    <a:pt x="225" y="165"/>
                    <a:pt x="225" y="165"/>
                  </a:cubicBezTo>
                  <a:cubicBezTo>
                    <a:pt x="226" y="163"/>
                    <a:pt x="227" y="161"/>
                    <a:pt x="227" y="159"/>
                  </a:cubicBezTo>
                  <a:cubicBezTo>
                    <a:pt x="247" y="162"/>
                    <a:pt x="247" y="162"/>
                    <a:pt x="247" y="162"/>
                  </a:cubicBezTo>
                  <a:cubicBezTo>
                    <a:pt x="253" y="132"/>
                    <a:pt x="253" y="132"/>
                    <a:pt x="253" y="132"/>
                  </a:cubicBezTo>
                  <a:cubicBezTo>
                    <a:pt x="233" y="128"/>
                    <a:pt x="233" y="128"/>
                    <a:pt x="233" y="128"/>
                  </a:cubicBezTo>
                  <a:cubicBezTo>
                    <a:pt x="233" y="127"/>
                    <a:pt x="233" y="126"/>
                    <a:pt x="233" y="125"/>
                  </a:cubicBezTo>
                  <a:cubicBezTo>
                    <a:pt x="233" y="124"/>
                    <a:pt x="233" y="123"/>
                    <a:pt x="233" y="122"/>
                  </a:cubicBezTo>
                  <a:cubicBezTo>
                    <a:pt x="253" y="118"/>
                    <a:pt x="253" y="118"/>
                    <a:pt x="253" y="118"/>
                  </a:cubicBezTo>
                  <a:cubicBezTo>
                    <a:pt x="247" y="88"/>
                    <a:pt x="247" y="88"/>
                    <a:pt x="247" y="88"/>
                  </a:cubicBezTo>
                  <a:lnTo>
                    <a:pt x="227" y="92"/>
                  </a:lnTo>
                  <a:close/>
                  <a:moveTo>
                    <a:pt x="213" y="125"/>
                  </a:moveTo>
                  <a:cubicBezTo>
                    <a:pt x="213" y="173"/>
                    <a:pt x="174" y="212"/>
                    <a:pt x="126" y="212"/>
                  </a:cubicBezTo>
                  <a:cubicBezTo>
                    <a:pt x="79" y="212"/>
                    <a:pt x="40" y="173"/>
                    <a:pt x="40" y="125"/>
                  </a:cubicBezTo>
                  <a:cubicBezTo>
                    <a:pt x="40" y="77"/>
                    <a:pt x="79" y="39"/>
                    <a:pt x="126" y="39"/>
                  </a:cubicBezTo>
                  <a:cubicBezTo>
                    <a:pt x="174" y="39"/>
                    <a:pt x="213" y="77"/>
                    <a:pt x="213"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2" name="Group 1"/>
          <p:cNvGrpSpPr/>
          <p:nvPr/>
        </p:nvGrpSpPr>
        <p:grpSpPr>
          <a:xfrm>
            <a:off x="4447633" y="3993177"/>
            <a:ext cx="887044" cy="880163"/>
            <a:chOff x="4447633" y="3993177"/>
            <a:chExt cx="887044" cy="880163"/>
          </a:xfrm>
          <a:solidFill>
            <a:srgbClr val="000000"/>
          </a:solidFill>
        </p:grpSpPr>
        <p:sp>
          <p:nvSpPr>
            <p:cNvPr id="35" name="Freeform 28"/>
            <p:cNvSpPr>
              <a:spLocks/>
            </p:cNvSpPr>
            <p:nvPr/>
          </p:nvSpPr>
          <p:spPr bwMode="auto">
            <a:xfrm>
              <a:off x="4733909" y="4276013"/>
              <a:ext cx="314491" cy="312427"/>
            </a:xfrm>
            <a:custGeom>
              <a:avLst/>
              <a:gdLst>
                <a:gd name="T0" fmla="*/ 173 w 193"/>
                <a:gd name="T1" fmla="*/ 71 h 192"/>
                <a:gd name="T2" fmla="*/ 185 w 193"/>
                <a:gd name="T3" fmla="*/ 58 h 192"/>
                <a:gd name="T4" fmla="*/ 160 w 193"/>
                <a:gd name="T5" fmla="*/ 46 h 192"/>
                <a:gd name="T6" fmla="*/ 167 w 193"/>
                <a:gd name="T7" fmla="*/ 30 h 192"/>
                <a:gd name="T8" fmla="*/ 139 w 193"/>
                <a:gd name="T9" fmla="*/ 27 h 192"/>
                <a:gd name="T10" fmla="*/ 140 w 193"/>
                <a:gd name="T11" fmla="*/ 10 h 192"/>
                <a:gd name="T12" fmla="*/ 113 w 193"/>
                <a:gd name="T13" fmla="*/ 17 h 192"/>
                <a:gd name="T14" fmla="*/ 108 w 193"/>
                <a:gd name="T15" fmla="*/ 0 h 192"/>
                <a:gd name="T16" fmla="*/ 85 w 193"/>
                <a:gd name="T17" fmla="*/ 16 h 192"/>
                <a:gd name="T18" fmla="*/ 75 w 193"/>
                <a:gd name="T19" fmla="*/ 2 h 192"/>
                <a:gd name="T20" fmla="*/ 58 w 193"/>
                <a:gd name="T21" fmla="*/ 25 h 192"/>
                <a:gd name="T22" fmla="*/ 44 w 193"/>
                <a:gd name="T23" fmla="*/ 15 h 192"/>
                <a:gd name="T24" fmla="*/ 36 w 193"/>
                <a:gd name="T25" fmla="*/ 42 h 192"/>
                <a:gd name="T26" fmla="*/ 19 w 193"/>
                <a:gd name="T27" fmla="*/ 38 h 192"/>
                <a:gd name="T28" fmla="*/ 21 w 193"/>
                <a:gd name="T29" fmla="*/ 66 h 192"/>
                <a:gd name="T30" fmla="*/ 4 w 193"/>
                <a:gd name="T31" fmla="*/ 68 h 192"/>
                <a:gd name="T32" fmla="*/ 15 w 193"/>
                <a:gd name="T33" fmla="*/ 94 h 192"/>
                <a:gd name="T34" fmla="*/ 15 w 193"/>
                <a:gd name="T35" fmla="*/ 99 h 192"/>
                <a:gd name="T36" fmla="*/ 4 w 193"/>
                <a:gd name="T37" fmla="*/ 124 h 192"/>
                <a:gd name="T38" fmla="*/ 21 w 193"/>
                <a:gd name="T39" fmla="*/ 126 h 192"/>
                <a:gd name="T40" fmla="*/ 19 w 193"/>
                <a:gd name="T41" fmla="*/ 154 h 192"/>
                <a:gd name="T42" fmla="*/ 36 w 193"/>
                <a:gd name="T43" fmla="*/ 150 h 192"/>
                <a:gd name="T44" fmla="*/ 44 w 193"/>
                <a:gd name="T45" fmla="*/ 177 h 192"/>
                <a:gd name="T46" fmla="*/ 58 w 193"/>
                <a:gd name="T47" fmla="*/ 168 h 192"/>
                <a:gd name="T48" fmla="*/ 75 w 193"/>
                <a:gd name="T49" fmla="*/ 190 h 192"/>
                <a:gd name="T50" fmla="*/ 85 w 193"/>
                <a:gd name="T51" fmla="*/ 176 h 192"/>
                <a:gd name="T52" fmla="*/ 108 w 193"/>
                <a:gd name="T53" fmla="*/ 192 h 192"/>
                <a:gd name="T54" fmla="*/ 113 w 193"/>
                <a:gd name="T55" fmla="*/ 176 h 192"/>
                <a:gd name="T56" fmla="*/ 140 w 193"/>
                <a:gd name="T57" fmla="*/ 182 h 192"/>
                <a:gd name="T58" fmla="*/ 139 w 193"/>
                <a:gd name="T59" fmla="*/ 165 h 192"/>
                <a:gd name="T60" fmla="*/ 167 w 193"/>
                <a:gd name="T61" fmla="*/ 162 h 192"/>
                <a:gd name="T62" fmla="*/ 160 w 193"/>
                <a:gd name="T63" fmla="*/ 146 h 192"/>
                <a:gd name="T64" fmla="*/ 185 w 193"/>
                <a:gd name="T65" fmla="*/ 134 h 192"/>
                <a:gd name="T66" fmla="*/ 173 w 193"/>
                <a:gd name="T67" fmla="*/ 122 h 192"/>
                <a:gd name="T68" fmla="*/ 193 w 193"/>
                <a:gd name="T69" fmla="*/ 101 h 192"/>
                <a:gd name="T70" fmla="*/ 178 w 193"/>
                <a:gd name="T71" fmla="*/ 96 h 192"/>
                <a:gd name="T72" fmla="*/ 193 w 193"/>
                <a:gd name="T73" fmla="*/ 9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 h="192">
                  <a:moveTo>
                    <a:pt x="189" y="68"/>
                  </a:moveTo>
                  <a:cubicBezTo>
                    <a:pt x="173" y="71"/>
                    <a:pt x="173" y="71"/>
                    <a:pt x="173" y="71"/>
                  </a:cubicBezTo>
                  <a:cubicBezTo>
                    <a:pt x="173" y="69"/>
                    <a:pt x="172" y="68"/>
                    <a:pt x="172" y="66"/>
                  </a:cubicBezTo>
                  <a:cubicBezTo>
                    <a:pt x="185" y="58"/>
                    <a:pt x="185" y="58"/>
                    <a:pt x="185" y="58"/>
                  </a:cubicBezTo>
                  <a:cubicBezTo>
                    <a:pt x="173" y="38"/>
                    <a:pt x="173" y="38"/>
                    <a:pt x="173" y="38"/>
                  </a:cubicBezTo>
                  <a:cubicBezTo>
                    <a:pt x="160" y="46"/>
                    <a:pt x="160" y="46"/>
                    <a:pt x="160" y="46"/>
                  </a:cubicBezTo>
                  <a:cubicBezTo>
                    <a:pt x="159" y="45"/>
                    <a:pt x="158" y="43"/>
                    <a:pt x="157" y="42"/>
                  </a:cubicBezTo>
                  <a:cubicBezTo>
                    <a:pt x="167" y="30"/>
                    <a:pt x="167" y="30"/>
                    <a:pt x="167" y="30"/>
                  </a:cubicBezTo>
                  <a:cubicBezTo>
                    <a:pt x="149" y="15"/>
                    <a:pt x="149" y="15"/>
                    <a:pt x="149" y="15"/>
                  </a:cubicBezTo>
                  <a:cubicBezTo>
                    <a:pt x="139" y="27"/>
                    <a:pt x="139" y="27"/>
                    <a:pt x="139" y="27"/>
                  </a:cubicBezTo>
                  <a:cubicBezTo>
                    <a:pt x="138" y="26"/>
                    <a:pt x="136" y="25"/>
                    <a:pt x="135" y="25"/>
                  </a:cubicBezTo>
                  <a:cubicBezTo>
                    <a:pt x="140" y="10"/>
                    <a:pt x="140" y="10"/>
                    <a:pt x="140" y="10"/>
                  </a:cubicBezTo>
                  <a:cubicBezTo>
                    <a:pt x="118" y="2"/>
                    <a:pt x="118" y="2"/>
                    <a:pt x="118" y="2"/>
                  </a:cubicBezTo>
                  <a:cubicBezTo>
                    <a:pt x="113" y="17"/>
                    <a:pt x="113" y="17"/>
                    <a:pt x="113" y="17"/>
                  </a:cubicBezTo>
                  <a:cubicBezTo>
                    <a:pt x="111" y="16"/>
                    <a:pt x="110" y="16"/>
                    <a:pt x="108" y="16"/>
                  </a:cubicBezTo>
                  <a:cubicBezTo>
                    <a:pt x="108" y="0"/>
                    <a:pt x="108" y="0"/>
                    <a:pt x="108" y="0"/>
                  </a:cubicBezTo>
                  <a:cubicBezTo>
                    <a:pt x="85" y="0"/>
                    <a:pt x="85" y="0"/>
                    <a:pt x="85" y="0"/>
                  </a:cubicBezTo>
                  <a:cubicBezTo>
                    <a:pt x="85" y="16"/>
                    <a:pt x="85" y="16"/>
                    <a:pt x="85" y="16"/>
                  </a:cubicBezTo>
                  <a:cubicBezTo>
                    <a:pt x="83" y="16"/>
                    <a:pt x="81" y="16"/>
                    <a:pt x="80" y="17"/>
                  </a:cubicBezTo>
                  <a:cubicBezTo>
                    <a:pt x="75" y="2"/>
                    <a:pt x="75" y="2"/>
                    <a:pt x="75" y="2"/>
                  </a:cubicBezTo>
                  <a:cubicBezTo>
                    <a:pt x="53" y="10"/>
                    <a:pt x="53" y="10"/>
                    <a:pt x="53" y="10"/>
                  </a:cubicBezTo>
                  <a:cubicBezTo>
                    <a:pt x="58" y="25"/>
                    <a:pt x="58" y="25"/>
                    <a:pt x="58" y="25"/>
                  </a:cubicBezTo>
                  <a:cubicBezTo>
                    <a:pt x="56" y="25"/>
                    <a:pt x="55" y="26"/>
                    <a:pt x="54" y="27"/>
                  </a:cubicBezTo>
                  <a:cubicBezTo>
                    <a:pt x="44" y="15"/>
                    <a:pt x="44" y="15"/>
                    <a:pt x="44" y="15"/>
                  </a:cubicBezTo>
                  <a:cubicBezTo>
                    <a:pt x="26" y="30"/>
                    <a:pt x="26" y="30"/>
                    <a:pt x="26" y="30"/>
                  </a:cubicBezTo>
                  <a:cubicBezTo>
                    <a:pt x="36" y="42"/>
                    <a:pt x="36" y="42"/>
                    <a:pt x="36" y="42"/>
                  </a:cubicBezTo>
                  <a:cubicBezTo>
                    <a:pt x="35" y="43"/>
                    <a:pt x="34" y="45"/>
                    <a:pt x="33" y="46"/>
                  </a:cubicBezTo>
                  <a:cubicBezTo>
                    <a:pt x="19" y="38"/>
                    <a:pt x="19" y="38"/>
                    <a:pt x="19" y="38"/>
                  </a:cubicBezTo>
                  <a:cubicBezTo>
                    <a:pt x="8" y="58"/>
                    <a:pt x="8" y="58"/>
                    <a:pt x="8" y="58"/>
                  </a:cubicBezTo>
                  <a:cubicBezTo>
                    <a:pt x="21" y="66"/>
                    <a:pt x="21" y="66"/>
                    <a:pt x="21" y="66"/>
                  </a:cubicBezTo>
                  <a:cubicBezTo>
                    <a:pt x="20" y="68"/>
                    <a:pt x="20" y="69"/>
                    <a:pt x="19" y="71"/>
                  </a:cubicBezTo>
                  <a:cubicBezTo>
                    <a:pt x="4" y="68"/>
                    <a:pt x="4" y="68"/>
                    <a:pt x="4" y="68"/>
                  </a:cubicBezTo>
                  <a:cubicBezTo>
                    <a:pt x="0" y="91"/>
                    <a:pt x="0" y="91"/>
                    <a:pt x="0" y="91"/>
                  </a:cubicBezTo>
                  <a:cubicBezTo>
                    <a:pt x="15" y="94"/>
                    <a:pt x="15" y="94"/>
                    <a:pt x="15" y="94"/>
                  </a:cubicBezTo>
                  <a:cubicBezTo>
                    <a:pt x="15" y="95"/>
                    <a:pt x="15" y="95"/>
                    <a:pt x="15" y="96"/>
                  </a:cubicBezTo>
                  <a:cubicBezTo>
                    <a:pt x="15" y="97"/>
                    <a:pt x="15" y="98"/>
                    <a:pt x="15" y="99"/>
                  </a:cubicBezTo>
                  <a:cubicBezTo>
                    <a:pt x="0" y="101"/>
                    <a:pt x="0" y="101"/>
                    <a:pt x="0" y="101"/>
                  </a:cubicBezTo>
                  <a:cubicBezTo>
                    <a:pt x="4" y="124"/>
                    <a:pt x="4" y="124"/>
                    <a:pt x="4" y="124"/>
                  </a:cubicBezTo>
                  <a:cubicBezTo>
                    <a:pt x="19" y="122"/>
                    <a:pt x="19" y="122"/>
                    <a:pt x="19" y="122"/>
                  </a:cubicBezTo>
                  <a:cubicBezTo>
                    <a:pt x="20" y="123"/>
                    <a:pt x="20" y="125"/>
                    <a:pt x="21" y="126"/>
                  </a:cubicBezTo>
                  <a:cubicBezTo>
                    <a:pt x="8" y="134"/>
                    <a:pt x="8" y="134"/>
                    <a:pt x="8" y="134"/>
                  </a:cubicBezTo>
                  <a:cubicBezTo>
                    <a:pt x="19" y="154"/>
                    <a:pt x="19" y="154"/>
                    <a:pt x="19" y="154"/>
                  </a:cubicBezTo>
                  <a:cubicBezTo>
                    <a:pt x="33" y="146"/>
                    <a:pt x="33" y="146"/>
                    <a:pt x="33" y="146"/>
                  </a:cubicBezTo>
                  <a:cubicBezTo>
                    <a:pt x="34" y="148"/>
                    <a:pt x="35" y="149"/>
                    <a:pt x="36" y="150"/>
                  </a:cubicBezTo>
                  <a:cubicBezTo>
                    <a:pt x="26" y="162"/>
                    <a:pt x="26" y="162"/>
                    <a:pt x="26" y="162"/>
                  </a:cubicBezTo>
                  <a:cubicBezTo>
                    <a:pt x="44" y="177"/>
                    <a:pt x="44" y="177"/>
                    <a:pt x="44" y="177"/>
                  </a:cubicBezTo>
                  <a:cubicBezTo>
                    <a:pt x="54" y="165"/>
                    <a:pt x="54" y="165"/>
                    <a:pt x="54" y="165"/>
                  </a:cubicBezTo>
                  <a:cubicBezTo>
                    <a:pt x="55" y="166"/>
                    <a:pt x="56" y="167"/>
                    <a:pt x="58" y="168"/>
                  </a:cubicBezTo>
                  <a:cubicBezTo>
                    <a:pt x="53" y="182"/>
                    <a:pt x="53" y="182"/>
                    <a:pt x="53" y="182"/>
                  </a:cubicBezTo>
                  <a:cubicBezTo>
                    <a:pt x="75" y="190"/>
                    <a:pt x="75" y="190"/>
                    <a:pt x="75" y="190"/>
                  </a:cubicBezTo>
                  <a:cubicBezTo>
                    <a:pt x="80" y="176"/>
                    <a:pt x="80" y="176"/>
                    <a:pt x="80" y="176"/>
                  </a:cubicBezTo>
                  <a:cubicBezTo>
                    <a:pt x="81" y="176"/>
                    <a:pt x="83" y="176"/>
                    <a:pt x="85" y="176"/>
                  </a:cubicBezTo>
                  <a:cubicBezTo>
                    <a:pt x="85" y="192"/>
                    <a:pt x="85" y="192"/>
                    <a:pt x="85" y="192"/>
                  </a:cubicBezTo>
                  <a:cubicBezTo>
                    <a:pt x="108" y="192"/>
                    <a:pt x="108" y="192"/>
                    <a:pt x="108" y="192"/>
                  </a:cubicBezTo>
                  <a:cubicBezTo>
                    <a:pt x="108" y="176"/>
                    <a:pt x="108" y="176"/>
                    <a:pt x="108" y="176"/>
                  </a:cubicBezTo>
                  <a:cubicBezTo>
                    <a:pt x="110" y="176"/>
                    <a:pt x="111" y="176"/>
                    <a:pt x="113" y="176"/>
                  </a:cubicBezTo>
                  <a:cubicBezTo>
                    <a:pt x="118" y="190"/>
                    <a:pt x="118" y="190"/>
                    <a:pt x="118" y="190"/>
                  </a:cubicBezTo>
                  <a:cubicBezTo>
                    <a:pt x="140" y="182"/>
                    <a:pt x="140" y="182"/>
                    <a:pt x="140" y="182"/>
                  </a:cubicBezTo>
                  <a:cubicBezTo>
                    <a:pt x="135" y="168"/>
                    <a:pt x="135" y="168"/>
                    <a:pt x="135" y="168"/>
                  </a:cubicBezTo>
                  <a:cubicBezTo>
                    <a:pt x="136" y="167"/>
                    <a:pt x="138" y="166"/>
                    <a:pt x="139" y="165"/>
                  </a:cubicBezTo>
                  <a:cubicBezTo>
                    <a:pt x="149" y="177"/>
                    <a:pt x="149" y="177"/>
                    <a:pt x="149" y="177"/>
                  </a:cubicBezTo>
                  <a:cubicBezTo>
                    <a:pt x="167" y="162"/>
                    <a:pt x="167" y="162"/>
                    <a:pt x="167" y="162"/>
                  </a:cubicBezTo>
                  <a:cubicBezTo>
                    <a:pt x="157" y="150"/>
                    <a:pt x="157" y="150"/>
                    <a:pt x="157" y="150"/>
                  </a:cubicBezTo>
                  <a:cubicBezTo>
                    <a:pt x="158" y="149"/>
                    <a:pt x="159" y="148"/>
                    <a:pt x="160" y="146"/>
                  </a:cubicBezTo>
                  <a:cubicBezTo>
                    <a:pt x="173" y="154"/>
                    <a:pt x="173" y="154"/>
                    <a:pt x="173" y="154"/>
                  </a:cubicBezTo>
                  <a:cubicBezTo>
                    <a:pt x="185" y="134"/>
                    <a:pt x="185" y="134"/>
                    <a:pt x="185" y="134"/>
                  </a:cubicBezTo>
                  <a:cubicBezTo>
                    <a:pt x="172" y="126"/>
                    <a:pt x="172" y="126"/>
                    <a:pt x="172" y="126"/>
                  </a:cubicBezTo>
                  <a:cubicBezTo>
                    <a:pt x="172" y="125"/>
                    <a:pt x="173" y="123"/>
                    <a:pt x="173" y="122"/>
                  </a:cubicBezTo>
                  <a:cubicBezTo>
                    <a:pt x="189" y="124"/>
                    <a:pt x="189" y="124"/>
                    <a:pt x="189" y="124"/>
                  </a:cubicBezTo>
                  <a:cubicBezTo>
                    <a:pt x="193" y="101"/>
                    <a:pt x="193" y="101"/>
                    <a:pt x="193" y="101"/>
                  </a:cubicBezTo>
                  <a:cubicBezTo>
                    <a:pt x="177" y="99"/>
                    <a:pt x="177" y="99"/>
                    <a:pt x="177" y="99"/>
                  </a:cubicBezTo>
                  <a:cubicBezTo>
                    <a:pt x="178" y="98"/>
                    <a:pt x="178" y="97"/>
                    <a:pt x="178" y="96"/>
                  </a:cubicBezTo>
                  <a:cubicBezTo>
                    <a:pt x="178" y="95"/>
                    <a:pt x="178" y="95"/>
                    <a:pt x="177" y="94"/>
                  </a:cubicBezTo>
                  <a:cubicBezTo>
                    <a:pt x="193" y="91"/>
                    <a:pt x="193" y="91"/>
                    <a:pt x="193" y="91"/>
                  </a:cubicBezTo>
                  <a:lnTo>
                    <a:pt x="189" y="6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Freeform 29"/>
            <p:cNvSpPr>
              <a:spLocks noEditPoints="1"/>
            </p:cNvSpPr>
            <p:nvPr/>
          </p:nvSpPr>
          <p:spPr bwMode="auto">
            <a:xfrm>
              <a:off x="4447633" y="3993177"/>
              <a:ext cx="887044" cy="880163"/>
            </a:xfrm>
            <a:custGeom>
              <a:avLst/>
              <a:gdLst>
                <a:gd name="T0" fmla="*/ 545 w 545"/>
                <a:gd name="T1" fmla="*/ 256 h 541"/>
                <a:gd name="T2" fmla="*/ 485 w 545"/>
                <a:gd name="T3" fmla="*/ 185 h 541"/>
                <a:gd name="T4" fmla="*/ 452 w 545"/>
                <a:gd name="T5" fmla="*/ 128 h 541"/>
                <a:gd name="T6" fmla="*/ 421 w 545"/>
                <a:gd name="T7" fmla="*/ 42 h 541"/>
                <a:gd name="T8" fmla="*/ 396 w 545"/>
                <a:gd name="T9" fmla="*/ 27 h 541"/>
                <a:gd name="T10" fmla="*/ 305 w 545"/>
                <a:gd name="T11" fmla="*/ 43 h 541"/>
                <a:gd name="T12" fmla="*/ 239 w 545"/>
                <a:gd name="T13" fmla="*/ 43 h 541"/>
                <a:gd name="T14" fmla="*/ 149 w 545"/>
                <a:gd name="T15" fmla="*/ 27 h 541"/>
                <a:gd name="T16" fmla="*/ 124 w 545"/>
                <a:gd name="T17" fmla="*/ 42 h 541"/>
                <a:gd name="T18" fmla="*/ 93 w 545"/>
                <a:gd name="T19" fmla="*/ 128 h 541"/>
                <a:gd name="T20" fmla="*/ 59 w 545"/>
                <a:gd name="T21" fmla="*/ 185 h 541"/>
                <a:gd name="T22" fmla="*/ 0 w 545"/>
                <a:gd name="T23" fmla="*/ 256 h 541"/>
                <a:gd name="T24" fmla="*/ 43 w 545"/>
                <a:gd name="T25" fmla="*/ 277 h 541"/>
                <a:gd name="T26" fmla="*/ 55 w 545"/>
                <a:gd name="T27" fmla="*/ 342 h 541"/>
                <a:gd name="T28" fmla="*/ 55 w 545"/>
                <a:gd name="T29" fmla="*/ 434 h 541"/>
                <a:gd name="T30" fmla="*/ 73 w 545"/>
                <a:gd name="T31" fmla="*/ 456 h 541"/>
                <a:gd name="T32" fmla="*/ 164 w 545"/>
                <a:gd name="T33" fmla="*/ 472 h 541"/>
                <a:gd name="T34" fmla="*/ 226 w 545"/>
                <a:gd name="T35" fmla="*/ 495 h 541"/>
                <a:gd name="T36" fmla="*/ 305 w 545"/>
                <a:gd name="T37" fmla="*/ 541 h 541"/>
                <a:gd name="T38" fmla="*/ 334 w 545"/>
                <a:gd name="T39" fmla="*/ 536 h 541"/>
                <a:gd name="T40" fmla="*/ 393 w 545"/>
                <a:gd name="T41" fmla="*/ 465 h 541"/>
                <a:gd name="T42" fmla="*/ 443 w 545"/>
                <a:gd name="T43" fmla="*/ 423 h 541"/>
                <a:gd name="T44" fmla="*/ 523 w 545"/>
                <a:gd name="T45" fmla="*/ 377 h 541"/>
                <a:gd name="T46" fmla="*/ 533 w 545"/>
                <a:gd name="T47" fmla="*/ 350 h 541"/>
                <a:gd name="T48" fmla="*/ 502 w 545"/>
                <a:gd name="T49" fmla="*/ 270 h 541"/>
                <a:gd name="T50" fmla="*/ 408 w 545"/>
                <a:gd name="T51" fmla="*/ 277 h 541"/>
                <a:gd name="T52" fmla="*/ 378 w 545"/>
                <a:gd name="T53" fmla="*/ 312 h 541"/>
                <a:gd name="T54" fmla="*/ 362 w 545"/>
                <a:gd name="T55" fmla="*/ 341 h 541"/>
                <a:gd name="T56" fmla="*/ 346 w 545"/>
                <a:gd name="T57" fmla="*/ 384 h 541"/>
                <a:gd name="T58" fmla="*/ 334 w 545"/>
                <a:gd name="T59" fmla="*/ 391 h 541"/>
                <a:gd name="T60" fmla="*/ 289 w 545"/>
                <a:gd name="T61" fmla="*/ 383 h 541"/>
                <a:gd name="T62" fmla="*/ 256 w 545"/>
                <a:gd name="T63" fmla="*/ 383 h 541"/>
                <a:gd name="T64" fmla="*/ 211 w 545"/>
                <a:gd name="T65" fmla="*/ 391 h 541"/>
                <a:gd name="T66" fmla="*/ 198 w 545"/>
                <a:gd name="T67" fmla="*/ 384 h 541"/>
                <a:gd name="T68" fmla="*/ 183 w 545"/>
                <a:gd name="T69" fmla="*/ 341 h 541"/>
                <a:gd name="T70" fmla="*/ 166 w 545"/>
                <a:gd name="T71" fmla="*/ 312 h 541"/>
                <a:gd name="T72" fmla="*/ 137 w 545"/>
                <a:gd name="T73" fmla="*/ 277 h 541"/>
                <a:gd name="T74" fmla="*/ 158 w 545"/>
                <a:gd name="T75" fmla="*/ 267 h 541"/>
                <a:gd name="T76" fmla="*/ 164 w 545"/>
                <a:gd name="T77" fmla="*/ 234 h 541"/>
                <a:gd name="T78" fmla="*/ 164 w 545"/>
                <a:gd name="T79" fmla="*/ 189 h 541"/>
                <a:gd name="T80" fmla="*/ 173 w 545"/>
                <a:gd name="T81" fmla="*/ 178 h 541"/>
                <a:gd name="T82" fmla="*/ 218 w 545"/>
                <a:gd name="T83" fmla="*/ 170 h 541"/>
                <a:gd name="T84" fmla="*/ 249 w 545"/>
                <a:gd name="T85" fmla="*/ 159 h 541"/>
                <a:gd name="T86" fmla="*/ 289 w 545"/>
                <a:gd name="T87" fmla="*/ 136 h 541"/>
                <a:gd name="T88" fmla="*/ 303 w 545"/>
                <a:gd name="T89" fmla="*/ 138 h 541"/>
                <a:gd name="T90" fmla="*/ 332 w 545"/>
                <a:gd name="T91" fmla="*/ 173 h 541"/>
                <a:gd name="T92" fmla="*/ 357 w 545"/>
                <a:gd name="T93" fmla="*/ 194 h 541"/>
                <a:gd name="T94" fmla="*/ 397 w 545"/>
                <a:gd name="T95" fmla="*/ 217 h 541"/>
                <a:gd name="T96" fmla="*/ 402 w 545"/>
                <a:gd name="T97" fmla="*/ 231 h 541"/>
                <a:gd name="T98" fmla="*/ 386 w 545"/>
                <a:gd name="T99" fmla="*/ 27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1">
                  <a:moveTo>
                    <a:pt x="502" y="270"/>
                  </a:moveTo>
                  <a:cubicBezTo>
                    <a:pt x="502" y="268"/>
                    <a:pt x="502" y="266"/>
                    <a:pt x="501" y="263"/>
                  </a:cubicBezTo>
                  <a:cubicBezTo>
                    <a:pt x="545" y="256"/>
                    <a:pt x="545" y="256"/>
                    <a:pt x="545" y="256"/>
                  </a:cubicBezTo>
                  <a:cubicBezTo>
                    <a:pt x="533" y="191"/>
                    <a:pt x="533" y="191"/>
                    <a:pt x="533" y="191"/>
                  </a:cubicBezTo>
                  <a:cubicBezTo>
                    <a:pt x="490" y="198"/>
                    <a:pt x="490" y="198"/>
                    <a:pt x="490" y="198"/>
                  </a:cubicBezTo>
                  <a:cubicBezTo>
                    <a:pt x="489" y="194"/>
                    <a:pt x="487" y="190"/>
                    <a:pt x="485" y="185"/>
                  </a:cubicBezTo>
                  <a:cubicBezTo>
                    <a:pt x="523" y="164"/>
                    <a:pt x="523" y="164"/>
                    <a:pt x="523" y="164"/>
                  </a:cubicBezTo>
                  <a:cubicBezTo>
                    <a:pt x="490" y="106"/>
                    <a:pt x="490" y="106"/>
                    <a:pt x="490" y="106"/>
                  </a:cubicBezTo>
                  <a:cubicBezTo>
                    <a:pt x="452" y="128"/>
                    <a:pt x="452" y="128"/>
                    <a:pt x="452" y="128"/>
                  </a:cubicBezTo>
                  <a:cubicBezTo>
                    <a:pt x="449" y="125"/>
                    <a:pt x="446" y="121"/>
                    <a:pt x="443" y="118"/>
                  </a:cubicBezTo>
                  <a:cubicBezTo>
                    <a:pt x="472" y="84"/>
                    <a:pt x="472" y="84"/>
                    <a:pt x="472" y="84"/>
                  </a:cubicBezTo>
                  <a:cubicBezTo>
                    <a:pt x="421" y="42"/>
                    <a:pt x="421" y="42"/>
                    <a:pt x="421" y="42"/>
                  </a:cubicBezTo>
                  <a:cubicBezTo>
                    <a:pt x="393" y="75"/>
                    <a:pt x="393" y="75"/>
                    <a:pt x="393" y="75"/>
                  </a:cubicBezTo>
                  <a:cubicBezTo>
                    <a:pt x="389" y="73"/>
                    <a:pt x="385" y="70"/>
                    <a:pt x="381" y="68"/>
                  </a:cubicBezTo>
                  <a:cubicBezTo>
                    <a:pt x="396" y="27"/>
                    <a:pt x="396" y="27"/>
                    <a:pt x="396" y="27"/>
                  </a:cubicBezTo>
                  <a:cubicBezTo>
                    <a:pt x="334" y="5"/>
                    <a:pt x="334" y="5"/>
                    <a:pt x="334" y="5"/>
                  </a:cubicBezTo>
                  <a:cubicBezTo>
                    <a:pt x="319" y="46"/>
                    <a:pt x="319" y="46"/>
                    <a:pt x="319" y="46"/>
                  </a:cubicBezTo>
                  <a:cubicBezTo>
                    <a:pt x="314" y="45"/>
                    <a:pt x="310" y="44"/>
                    <a:pt x="305" y="43"/>
                  </a:cubicBezTo>
                  <a:cubicBezTo>
                    <a:pt x="305" y="0"/>
                    <a:pt x="305" y="0"/>
                    <a:pt x="305" y="0"/>
                  </a:cubicBezTo>
                  <a:cubicBezTo>
                    <a:pt x="239" y="0"/>
                    <a:pt x="239" y="0"/>
                    <a:pt x="239" y="0"/>
                  </a:cubicBezTo>
                  <a:cubicBezTo>
                    <a:pt x="239" y="43"/>
                    <a:pt x="239" y="43"/>
                    <a:pt x="239" y="43"/>
                  </a:cubicBezTo>
                  <a:cubicBezTo>
                    <a:pt x="235" y="44"/>
                    <a:pt x="230" y="45"/>
                    <a:pt x="226" y="46"/>
                  </a:cubicBezTo>
                  <a:cubicBezTo>
                    <a:pt x="211" y="5"/>
                    <a:pt x="211" y="5"/>
                    <a:pt x="211" y="5"/>
                  </a:cubicBezTo>
                  <a:cubicBezTo>
                    <a:pt x="149" y="27"/>
                    <a:pt x="149" y="27"/>
                    <a:pt x="149" y="27"/>
                  </a:cubicBezTo>
                  <a:cubicBezTo>
                    <a:pt x="164" y="68"/>
                    <a:pt x="164" y="68"/>
                    <a:pt x="164" y="68"/>
                  </a:cubicBezTo>
                  <a:cubicBezTo>
                    <a:pt x="160" y="70"/>
                    <a:pt x="156" y="73"/>
                    <a:pt x="152" y="75"/>
                  </a:cubicBezTo>
                  <a:cubicBezTo>
                    <a:pt x="124" y="42"/>
                    <a:pt x="124" y="42"/>
                    <a:pt x="124" y="42"/>
                  </a:cubicBezTo>
                  <a:cubicBezTo>
                    <a:pt x="73" y="84"/>
                    <a:pt x="73" y="84"/>
                    <a:pt x="73" y="84"/>
                  </a:cubicBezTo>
                  <a:cubicBezTo>
                    <a:pt x="101" y="118"/>
                    <a:pt x="101" y="118"/>
                    <a:pt x="101" y="118"/>
                  </a:cubicBezTo>
                  <a:cubicBezTo>
                    <a:pt x="98" y="121"/>
                    <a:pt x="95" y="125"/>
                    <a:pt x="93" y="128"/>
                  </a:cubicBezTo>
                  <a:cubicBezTo>
                    <a:pt x="55" y="106"/>
                    <a:pt x="55" y="106"/>
                    <a:pt x="55" y="106"/>
                  </a:cubicBezTo>
                  <a:cubicBezTo>
                    <a:pt x="22" y="164"/>
                    <a:pt x="22" y="164"/>
                    <a:pt x="22" y="164"/>
                  </a:cubicBezTo>
                  <a:cubicBezTo>
                    <a:pt x="59" y="185"/>
                    <a:pt x="59" y="185"/>
                    <a:pt x="59" y="185"/>
                  </a:cubicBezTo>
                  <a:cubicBezTo>
                    <a:pt x="58" y="190"/>
                    <a:pt x="56" y="194"/>
                    <a:pt x="55" y="198"/>
                  </a:cubicBezTo>
                  <a:cubicBezTo>
                    <a:pt x="12" y="191"/>
                    <a:pt x="12" y="191"/>
                    <a:pt x="12" y="191"/>
                  </a:cubicBezTo>
                  <a:cubicBezTo>
                    <a:pt x="0" y="256"/>
                    <a:pt x="0" y="256"/>
                    <a:pt x="0" y="256"/>
                  </a:cubicBezTo>
                  <a:cubicBezTo>
                    <a:pt x="43" y="263"/>
                    <a:pt x="43" y="263"/>
                    <a:pt x="43" y="263"/>
                  </a:cubicBezTo>
                  <a:cubicBezTo>
                    <a:pt x="43" y="266"/>
                    <a:pt x="43" y="268"/>
                    <a:pt x="43" y="270"/>
                  </a:cubicBezTo>
                  <a:cubicBezTo>
                    <a:pt x="43" y="272"/>
                    <a:pt x="43" y="275"/>
                    <a:pt x="43" y="277"/>
                  </a:cubicBezTo>
                  <a:cubicBezTo>
                    <a:pt x="0" y="285"/>
                    <a:pt x="0" y="285"/>
                    <a:pt x="0" y="285"/>
                  </a:cubicBezTo>
                  <a:cubicBezTo>
                    <a:pt x="12" y="350"/>
                    <a:pt x="12" y="350"/>
                    <a:pt x="12" y="350"/>
                  </a:cubicBezTo>
                  <a:cubicBezTo>
                    <a:pt x="55" y="342"/>
                    <a:pt x="55" y="342"/>
                    <a:pt x="55" y="342"/>
                  </a:cubicBezTo>
                  <a:cubicBezTo>
                    <a:pt x="56" y="346"/>
                    <a:pt x="58" y="351"/>
                    <a:pt x="59" y="355"/>
                  </a:cubicBezTo>
                  <a:cubicBezTo>
                    <a:pt x="22" y="377"/>
                    <a:pt x="22" y="377"/>
                    <a:pt x="22" y="377"/>
                  </a:cubicBezTo>
                  <a:cubicBezTo>
                    <a:pt x="55" y="434"/>
                    <a:pt x="55" y="434"/>
                    <a:pt x="55" y="434"/>
                  </a:cubicBezTo>
                  <a:cubicBezTo>
                    <a:pt x="93" y="412"/>
                    <a:pt x="93" y="412"/>
                    <a:pt x="93" y="412"/>
                  </a:cubicBezTo>
                  <a:cubicBezTo>
                    <a:pt x="95" y="416"/>
                    <a:pt x="98" y="419"/>
                    <a:pt x="101" y="423"/>
                  </a:cubicBezTo>
                  <a:cubicBezTo>
                    <a:pt x="73" y="456"/>
                    <a:pt x="73" y="456"/>
                    <a:pt x="73" y="456"/>
                  </a:cubicBezTo>
                  <a:cubicBezTo>
                    <a:pt x="124" y="499"/>
                    <a:pt x="124" y="499"/>
                    <a:pt x="124" y="499"/>
                  </a:cubicBezTo>
                  <a:cubicBezTo>
                    <a:pt x="152" y="465"/>
                    <a:pt x="152" y="465"/>
                    <a:pt x="152" y="465"/>
                  </a:cubicBezTo>
                  <a:cubicBezTo>
                    <a:pt x="156" y="468"/>
                    <a:pt x="160" y="470"/>
                    <a:pt x="164" y="472"/>
                  </a:cubicBezTo>
                  <a:cubicBezTo>
                    <a:pt x="149" y="513"/>
                    <a:pt x="149" y="513"/>
                    <a:pt x="149" y="513"/>
                  </a:cubicBezTo>
                  <a:cubicBezTo>
                    <a:pt x="211" y="536"/>
                    <a:pt x="211" y="536"/>
                    <a:pt x="211" y="536"/>
                  </a:cubicBezTo>
                  <a:cubicBezTo>
                    <a:pt x="226" y="495"/>
                    <a:pt x="226" y="495"/>
                    <a:pt x="226" y="495"/>
                  </a:cubicBezTo>
                  <a:cubicBezTo>
                    <a:pt x="230" y="496"/>
                    <a:pt x="235" y="496"/>
                    <a:pt x="239" y="497"/>
                  </a:cubicBezTo>
                  <a:cubicBezTo>
                    <a:pt x="239" y="541"/>
                    <a:pt x="239" y="541"/>
                    <a:pt x="239" y="541"/>
                  </a:cubicBezTo>
                  <a:cubicBezTo>
                    <a:pt x="305" y="541"/>
                    <a:pt x="305" y="541"/>
                    <a:pt x="305" y="541"/>
                  </a:cubicBezTo>
                  <a:cubicBezTo>
                    <a:pt x="305" y="497"/>
                    <a:pt x="305" y="497"/>
                    <a:pt x="305" y="497"/>
                  </a:cubicBezTo>
                  <a:cubicBezTo>
                    <a:pt x="310" y="496"/>
                    <a:pt x="314" y="496"/>
                    <a:pt x="319" y="495"/>
                  </a:cubicBezTo>
                  <a:cubicBezTo>
                    <a:pt x="334" y="536"/>
                    <a:pt x="334" y="536"/>
                    <a:pt x="334" y="536"/>
                  </a:cubicBezTo>
                  <a:cubicBezTo>
                    <a:pt x="396" y="513"/>
                    <a:pt x="396" y="513"/>
                    <a:pt x="396" y="513"/>
                  </a:cubicBezTo>
                  <a:cubicBezTo>
                    <a:pt x="381" y="472"/>
                    <a:pt x="381" y="472"/>
                    <a:pt x="381" y="472"/>
                  </a:cubicBezTo>
                  <a:cubicBezTo>
                    <a:pt x="385" y="470"/>
                    <a:pt x="389" y="468"/>
                    <a:pt x="393" y="465"/>
                  </a:cubicBezTo>
                  <a:cubicBezTo>
                    <a:pt x="421" y="499"/>
                    <a:pt x="421" y="499"/>
                    <a:pt x="421" y="499"/>
                  </a:cubicBezTo>
                  <a:cubicBezTo>
                    <a:pt x="472" y="456"/>
                    <a:pt x="472" y="456"/>
                    <a:pt x="472" y="456"/>
                  </a:cubicBezTo>
                  <a:cubicBezTo>
                    <a:pt x="443" y="423"/>
                    <a:pt x="443" y="423"/>
                    <a:pt x="443" y="423"/>
                  </a:cubicBezTo>
                  <a:cubicBezTo>
                    <a:pt x="446" y="419"/>
                    <a:pt x="449" y="416"/>
                    <a:pt x="452" y="412"/>
                  </a:cubicBezTo>
                  <a:cubicBezTo>
                    <a:pt x="490" y="434"/>
                    <a:pt x="490" y="434"/>
                    <a:pt x="490" y="434"/>
                  </a:cubicBezTo>
                  <a:cubicBezTo>
                    <a:pt x="523" y="377"/>
                    <a:pt x="523" y="377"/>
                    <a:pt x="523" y="377"/>
                  </a:cubicBezTo>
                  <a:cubicBezTo>
                    <a:pt x="485" y="355"/>
                    <a:pt x="485" y="355"/>
                    <a:pt x="485" y="355"/>
                  </a:cubicBezTo>
                  <a:cubicBezTo>
                    <a:pt x="487" y="351"/>
                    <a:pt x="489" y="346"/>
                    <a:pt x="490" y="342"/>
                  </a:cubicBezTo>
                  <a:cubicBezTo>
                    <a:pt x="533" y="350"/>
                    <a:pt x="533" y="350"/>
                    <a:pt x="533" y="350"/>
                  </a:cubicBezTo>
                  <a:cubicBezTo>
                    <a:pt x="545" y="285"/>
                    <a:pt x="545" y="285"/>
                    <a:pt x="545" y="285"/>
                  </a:cubicBezTo>
                  <a:cubicBezTo>
                    <a:pt x="501" y="277"/>
                    <a:pt x="501" y="277"/>
                    <a:pt x="501" y="277"/>
                  </a:cubicBezTo>
                  <a:cubicBezTo>
                    <a:pt x="502" y="275"/>
                    <a:pt x="502" y="272"/>
                    <a:pt x="502" y="270"/>
                  </a:cubicBezTo>
                  <a:close/>
                  <a:moveTo>
                    <a:pt x="386" y="270"/>
                  </a:moveTo>
                  <a:cubicBezTo>
                    <a:pt x="386" y="271"/>
                    <a:pt x="386" y="272"/>
                    <a:pt x="386" y="274"/>
                  </a:cubicBezTo>
                  <a:cubicBezTo>
                    <a:pt x="408" y="277"/>
                    <a:pt x="408" y="277"/>
                    <a:pt x="408" y="277"/>
                  </a:cubicBezTo>
                  <a:cubicBezTo>
                    <a:pt x="402" y="310"/>
                    <a:pt x="402" y="310"/>
                    <a:pt x="402" y="310"/>
                  </a:cubicBezTo>
                  <a:cubicBezTo>
                    <a:pt x="381" y="306"/>
                    <a:pt x="381" y="306"/>
                    <a:pt x="381" y="306"/>
                  </a:cubicBezTo>
                  <a:cubicBezTo>
                    <a:pt x="380" y="308"/>
                    <a:pt x="379" y="310"/>
                    <a:pt x="378" y="312"/>
                  </a:cubicBezTo>
                  <a:cubicBezTo>
                    <a:pt x="397" y="323"/>
                    <a:pt x="397" y="323"/>
                    <a:pt x="397" y="323"/>
                  </a:cubicBezTo>
                  <a:cubicBezTo>
                    <a:pt x="381" y="352"/>
                    <a:pt x="381" y="352"/>
                    <a:pt x="381" y="352"/>
                  </a:cubicBezTo>
                  <a:cubicBezTo>
                    <a:pt x="362" y="341"/>
                    <a:pt x="362" y="341"/>
                    <a:pt x="362" y="341"/>
                  </a:cubicBezTo>
                  <a:cubicBezTo>
                    <a:pt x="360" y="343"/>
                    <a:pt x="359" y="344"/>
                    <a:pt x="357" y="346"/>
                  </a:cubicBezTo>
                  <a:cubicBezTo>
                    <a:pt x="371" y="363"/>
                    <a:pt x="371" y="363"/>
                    <a:pt x="371" y="363"/>
                  </a:cubicBezTo>
                  <a:cubicBezTo>
                    <a:pt x="346" y="384"/>
                    <a:pt x="346" y="384"/>
                    <a:pt x="346" y="384"/>
                  </a:cubicBezTo>
                  <a:cubicBezTo>
                    <a:pt x="332" y="367"/>
                    <a:pt x="332" y="367"/>
                    <a:pt x="332" y="367"/>
                  </a:cubicBezTo>
                  <a:cubicBezTo>
                    <a:pt x="330" y="368"/>
                    <a:pt x="328" y="370"/>
                    <a:pt x="326" y="371"/>
                  </a:cubicBezTo>
                  <a:cubicBezTo>
                    <a:pt x="334" y="391"/>
                    <a:pt x="334" y="391"/>
                    <a:pt x="334" y="391"/>
                  </a:cubicBezTo>
                  <a:cubicBezTo>
                    <a:pt x="303" y="402"/>
                    <a:pt x="303" y="402"/>
                    <a:pt x="303" y="402"/>
                  </a:cubicBezTo>
                  <a:cubicBezTo>
                    <a:pt x="296" y="382"/>
                    <a:pt x="296" y="382"/>
                    <a:pt x="296" y="382"/>
                  </a:cubicBezTo>
                  <a:cubicBezTo>
                    <a:pt x="293" y="382"/>
                    <a:pt x="291" y="383"/>
                    <a:pt x="289" y="383"/>
                  </a:cubicBezTo>
                  <a:cubicBezTo>
                    <a:pt x="289" y="405"/>
                    <a:pt x="289" y="405"/>
                    <a:pt x="289" y="405"/>
                  </a:cubicBezTo>
                  <a:cubicBezTo>
                    <a:pt x="256" y="405"/>
                    <a:pt x="256" y="405"/>
                    <a:pt x="256" y="405"/>
                  </a:cubicBezTo>
                  <a:cubicBezTo>
                    <a:pt x="256" y="383"/>
                    <a:pt x="256" y="383"/>
                    <a:pt x="256" y="383"/>
                  </a:cubicBezTo>
                  <a:cubicBezTo>
                    <a:pt x="254" y="383"/>
                    <a:pt x="251" y="382"/>
                    <a:pt x="249" y="382"/>
                  </a:cubicBezTo>
                  <a:cubicBezTo>
                    <a:pt x="242" y="402"/>
                    <a:pt x="242" y="402"/>
                    <a:pt x="242" y="402"/>
                  </a:cubicBezTo>
                  <a:cubicBezTo>
                    <a:pt x="211" y="391"/>
                    <a:pt x="211" y="391"/>
                    <a:pt x="211" y="391"/>
                  </a:cubicBezTo>
                  <a:cubicBezTo>
                    <a:pt x="218" y="371"/>
                    <a:pt x="218" y="371"/>
                    <a:pt x="218" y="371"/>
                  </a:cubicBezTo>
                  <a:cubicBezTo>
                    <a:pt x="216" y="370"/>
                    <a:pt x="214" y="368"/>
                    <a:pt x="212" y="367"/>
                  </a:cubicBezTo>
                  <a:cubicBezTo>
                    <a:pt x="198" y="384"/>
                    <a:pt x="198" y="384"/>
                    <a:pt x="198" y="384"/>
                  </a:cubicBezTo>
                  <a:cubicBezTo>
                    <a:pt x="173" y="363"/>
                    <a:pt x="173" y="363"/>
                    <a:pt x="173" y="363"/>
                  </a:cubicBezTo>
                  <a:cubicBezTo>
                    <a:pt x="187" y="346"/>
                    <a:pt x="187" y="346"/>
                    <a:pt x="187" y="346"/>
                  </a:cubicBezTo>
                  <a:cubicBezTo>
                    <a:pt x="186" y="344"/>
                    <a:pt x="184" y="343"/>
                    <a:pt x="183" y="341"/>
                  </a:cubicBezTo>
                  <a:cubicBezTo>
                    <a:pt x="164" y="352"/>
                    <a:pt x="164" y="352"/>
                    <a:pt x="164" y="352"/>
                  </a:cubicBezTo>
                  <a:cubicBezTo>
                    <a:pt x="148" y="323"/>
                    <a:pt x="148" y="323"/>
                    <a:pt x="148" y="323"/>
                  </a:cubicBezTo>
                  <a:cubicBezTo>
                    <a:pt x="166" y="312"/>
                    <a:pt x="166" y="312"/>
                    <a:pt x="166" y="312"/>
                  </a:cubicBezTo>
                  <a:cubicBezTo>
                    <a:pt x="166" y="310"/>
                    <a:pt x="165" y="308"/>
                    <a:pt x="164" y="306"/>
                  </a:cubicBezTo>
                  <a:cubicBezTo>
                    <a:pt x="143" y="310"/>
                    <a:pt x="143" y="310"/>
                    <a:pt x="143" y="310"/>
                  </a:cubicBezTo>
                  <a:cubicBezTo>
                    <a:pt x="137" y="277"/>
                    <a:pt x="137" y="277"/>
                    <a:pt x="137" y="277"/>
                  </a:cubicBezTo>
                  <a:cubicBezTo>
                    <a:pt x="158" y="274"/>
                    <a:pt x="158" y="274"/>
                    <a:pt x="158" y="274"/>
                  </a:cubicBezTo>
                  <a:cubicBezTo>
                    <a:pt x="158" y="272"/>
                    <a:pt x="158" y="271"/>
                    <a:pt x="158" y="270"/>
                  </a:cubicBezTo>
                  <a:cubicBezTo>
                    <a:pt x="158" y="269"/>
                    <a:pt x="158" y="268"/>
                    <a:pt x="158" y="267"/>
                  </a:cubicBezTo>
                  <a:cubicBezTo>
                    <a:pt x="137" y="263"/>
                    <a:pt x="137" y="263"/>
                    <a:pt x="137" y="263"/>
                  </a:cubicBezTo>
                  <a:cubicBezTo>
                    <a:pt x="143" y="231"/>
                    <a:pt x="143" y="231"/>
                    <a:pt x="143" y="231"/>
                  </a:cubicBezTo>
                  <a:cubicBezTo>
                    <a:pt x="164" y="234"/>
                    <a:pt x="164" y="234"/>
                    <a:pt x="164" y="234"/>
                  </a:cubicBezTo>
                  <a:cubicBezTo>
                    <a:pt x="165" y="232"/>
                    <a:pt x="166" y="230"/>
                    <a:pt x="166" y="228"/>
                  </a:cubicBezTo>
                  <a:cubicBezTo>
                    <a:pt x="148" y="217"/>
                    <a:pt x="148" y="217"/>
                    <a:pt x="148" y="217"/>
                  </a:cubicBezTo>
                  <a:cubicBezTo>
                    <a:pt x="164" y="189"/>
                    <a:pt x="164" y="189"/>
                    <a:pt x="164" y="189"/>
                  </a:cubicBezTo>
                  <a:cubicBezTo>
                    <a:pt x="183" y="200"/>
                    <a:pt x="183" y="200"/>
                    <a:pt x="183" y="200"/>
                  </a:cubicBezTo>
                  <a:cubicBezTo>
                    <a:pt x="184" y="198"/>
                    <a:pt x="186" y="196"/>
                    <a:pt x="187" y="194"/>
                  </a:cubicBezTo>
                  <a:cubicBezTo>
                    <a:pt x="173" y="178"/>
                    <a:pt x="173" y="178"/>
                    <a:pt x="173" y="178"/>
                  </a:cubicBezTo>
                  <a:cubicBezTo>
                    <a:pt x="198" y="157"/>
                    <a:pt x="198" y="157"/>
                    <a:pt x="198" y="157"/>
                  </a:cubicBezTo>
                  <a:cubicBezTo>
                    <a:pt x="212" y="173"/>
                    <a:pt x="212" y="173"/>
                    <a:pt x="212" y="173"/>
                  </a:cubicBezTo>
                  <a:cubicBezTo>
                    <a:pt x="214" y="172"/>
                    <a:pt x="216" y="171"/>
                    <a:pt x="218" y="170"/>
                  </a:cubicBezTo>
                  <a:cubicBezTo>
                    <a:pt x="211" y="149"/>
                    <a:pt x="211" y="149"/>
                    <a:pt x="211" y="149"/>
                  </a:cubicBezTo>
                  <a:cubicBezTo>
                    <a:pt x="242" y="138"/>
                    <a:pt x="242" y="138"/>
                    <a:pt x="242" y="138"/>
                  </a:cubicBezTo>
                  <a:cubicBezTo>
                    <a:pt x="249" y="159"/>
                    <a:pt x="249" y="159"/>
                    <a:pt x="249" y="159"/>
                  </a:cubicBezTo>
                  <a:cubicBezTo>
                    <a:pt x="251" y="158"/>
                    <a:pt x="254" y="158"/>
                    <a:pt x="256" y="157"/>
                  </a:cubicBezTo>
                  <a:cubicBezTo>
                    <a:pt x="256" y="136"/>
                    <a:pt x="256" y="136"/>
                    <a:pt x="256" y="136"/>
                  </a:cubicBezTo>
                  <a:cubicBezTo>
                    <a:pt x="289" y="136"/>
                    <a:pt x="289" y="136"/>
                    <a:pt x="289" y="136"/>
                  </a:cubicBezTo>
                  <a:cubicBezTo>
                    <a:pt x="289" y="157"/>
                    <a:pt x="289" y="157"/>
                    <a:pt x="289" y="157"/>
                  </a:cubicBezTo>
                  <a:cubicBezTo>
                    <a:pt x="291" y="158"/>
                    <a:pt x="293" y="158"/>
                    <a:pt x="296" y="159"/>
                  </a:cubicBezTo>
                  <a:cubicBezTo>
                    <a:pt x="303" y="138"/>
                    <a:pt x="303" y="138"/>
                    <a:pt x="303" y="138"/>
                  </a:cubicBezTo>
                  <a:cubicBezTo>
                    <a:pt x="334" y="149"/>
                    <a:pt x="334" y="149"/>
                    <a:pt x="334" y="149"/>
                  </a:cubicBezTo>
                  <a:cubicBezTo>
                    <a:pt x="326" y="170"/>
                    <a:pt x="326" y="170"/>
                    <a:pt x="326" y="170"/>
                  </a:cubicBezTo>
                  <a:cubicBezTo>
                    <a:pt x="328" y="171"/>
                    <a:pt x="330" y="172"/>
                    <a:pt x="332" y="173"/>
                  </a:cubicBezTo>
                  <a:cubicBezTo>
                    <a:pt x="346" y="157"/>
                    <a:pt x="346" y="157"/>
                    <a:pt x="346" y="157"/>
                  </a:cubicBezTo>
                  <a:cubicBezTo>
                    <a:pt x="371" y="178"/>
                    <a:pt x="371" y="178"/>
                    <a:pt x="371" y="178"/>
                  </a:cubicBezTo>
                  <a:cubicBezTo>
                    <a:pt x="357" y="194"/>
                    <a:pt x="357" y="194"/>
                    <a:pt x="357" y="194"/>
                  </a:cubicBezTo>
                  <a:cubicBezTo>
                    <a:pt x="359" y="196"/>
                    <a:pt x="360" y="198"/>
                    <a:pt x="362" y="200"/>
                  </a:cubicBezTo>
                  <a:cubicBezTo>
                    <a:pt x="381" y="189"/>
                    <a:pt x="381" y="189"/>
                    <a:pt x="381" y="189"/>
                  </a:cubicBezTo>
                  <a:cubicBezTo>
                    <a:pt x="397" y="217"/>
                    <a:pt x="397" y="217"/>
                    <a:pt x="397" y="217"/>
                  </a:cubicBezTo>
                  <a:cubicBezTo>
                    <a:pt x="378" y="228"/>
                    <a:pt x="378" y="228"/>
                    <a:pt x="378" y="228"/>
                  </a:cubicBezTo>
                  <a:cubicBezTo>
                    <a:pt x="379" y="230"/>
                    <a:pt x="380" y="232"/>
                    <a:pt x="381" y="234"/>
                  </a:cubicBezTo>
                  <a:cubicBezTo>
                    <a:pt x="402" y="231"/>
                    <a:pt x="402" y="231"/>
                    <a:pt x="402" y="231"/>
                  </a:cubicBezTo>
                  <a:cubicBezTo>
                    <a:pt x="408" y="263"/>
                    <a:pt x="408" y="263"/>
                    <a:pt x="408" y="263"/>
                  </a:cubicBezTo>
                  <a:cubicBezTo>
                    <a:pt x="386" y="267"/>
                    <a:pt x="386" y="267"/>
                    <a:pt x="386" y="267"/>
                  </a:cubicBezTo>
                  <a:cubicBezTo>
                    <a:pt x="386" y="268"/>
                    <a:pt x="386" y="269"/>
                    <a:pt x="386" y="27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37" name="Freeform 30"/>
          <p:cNvSpPr>
            <a:spLocks noEditPoints="1"/>
          </p:cNvSpPr>
          <p:nvPr/>
        </p:nvSpPr>
        <p:spPr bwMode="auto">
          <a:xfrm>
            <a:off x="6276774" y="1700213"/>
            <a:ext cx="727390" cy="722573"/>
          </a:xfrm>
          <a:custGeom>
            <a:avLst/>
            <a:gdLst>
              <a:gd name="T0" fmla="*/ 447 w 447"/>
              <a:gd name="T1" fmla="*/ 210 h 444"/>
              <a:gd name="T2" fmla="*/ 398 w 447"/>
              <a:gd name="T3" fmla="*/ 152 h 444"/>
              <a:gd name="T4" fmla="*/ 371 w 447"/>
              <a:gd name="T5" fmla="*/ 105 h 444"/>
              <a:gd name="T6" fmla="*/ 345 w 447"/>
              <a:gd name="T7" fmla="*/ 34 h 444"/>
              <a:gd name="T8" fmla="*/ 325 w 447"/>
              <a:gd name="T9" fmla="*/ 23 h 444"/>
              <a:gd name="T10" fmla="*/ 250 w 447"/>
              <a:gd name="T11" fmla="*/ 36 h 444"/>
              <a:gd name="T12" fmla="*/ 196 w 447"/>
              <a:gd name="T13" fmla="*/ 36 h 444"/>
              <a:gd name="T14" fmla="*/ 122 w 447"/>
              <a:gd name="T15" fmla="*/ 23 h 444"/>
              <a:gd name="T16" fmla="*/ 101 w 447"/>
              <a:gd name="T17" fmla="*/ 34 h 444"/>
              <a:gd name="T18" fmla="*/ 76 w 447"/>
              <a:gd name="T19" fmla="*/ 105 h 444"/>
              <a:gd name="T20" fmla="*/ 49 w 447"/>
              <a:gd name="T21" fmla="*/ 152 h 444"/>
              <a:gd name="T22" fmla="*/ 0 w 447"/>
              <a:gd name="T23" fmla="*/ 210 h 444"/>
              <a:gd name="T24" fmla="*/ 35 w 447"/>
              <a:gd name="T25" fmla="*/ 227 h 444"/>
              <a:gd name="T26" fmla="*/ 45 w 447"/>
              <a:gd name="T27" fmla="*/ 281 h 444"/>
              <a:gd name="T28" fmla="*/ 45 w 447"/>
              <a:gd name="T29" fmla="*/ 356 h 444"/>
              <a:gd name="T30" fmla="*/ 60 w 447"/>
              <a:gd name="T31" fmla="*/ 374 h 444"/>
              <a:gd name="T32" fmla="*/ 134 w 447"/>
              <a:gd name="T33" fmla="*/ 387 h 444"/>
              <a:gd name="T34" fmla="*/ 185 w 447"/>
              <a:gd name="T35" fmla="*/ 406 h 444"/>
              <a:gd name="T36" fmla="*/ 250 w 447"/>
              <a:gd name="T37" fmla="*/ 444 h 444"/>
              <a:gd name="T38" fmla="*/ 274 w 447"/>
              <a:gd name="T39" fmla="*/ 440 h 444"/>
              <a:gd name="T40" fmla="*/ 322 w 447"/>
              <a:gd name="T41" fmla="*/ 382 h 444"/>
              <a:gd name="T42" fmla="*/ 364 w 447"/>
              <a:gd name="T43" fmla="*/ 347 h 444"/>
              <a:gd name="T44" fmla="*/ 429 w 447"/>
              <a:gd name="T45" fmla="*/ 309 h 444"/>
              <a:gd name="T46" fmla="*/ 437 w 447"/>
              <a:gd name="T47" fmla="*/ 287 h 444"/>
              <a:gd name="T48" fmla="*/ 411 w 447"/>
              <a:gd name="T49" fmla="*/ 222 h 444"/>
              <a:gd name="T50" fmla="*/ 344 w 447"/>
              <a:gd name="T51" fmla="*/ 136 h 444"/>
              <a:gd name="T52" fmla="*/ 209 w 447"/>
              <a:gd name="T53" fmla="*/ 56 h 444"/>
              <a:gd name="T54" fmla="*/ 87 w 447"/>
              <a:gd name="T55" fmla="*/ 127 h 444"/>
              <a:gd name="T56" fmla="*/ 57 w 447"/>
              <a:gd name="T57" fmla="*/ 222 h 444"/>
              <a:gd name="T58" fmla="*/ 75 w 447"/>
              <a:gd name="T59" fmla="*/ 222 h 444"/>
              <a:gd name="T60" fmla="*/ 209 w 447"/>
              <a:gd name="T61" fmla="*/ 388 h 444"/>
              <a:gd name="T62" fmla="*/ 209 w 447"/>
              <a:gd name="T63" fmla="*/ 369 h 444"/>
              <a:gd name="T64" fmla="*/ 209 w 447"/>
              <a:gd name="T65" fmla="*/ 336 h 444"/>
              <a:gd name="T66" fmla="*/ 197 w 447"/>
              <a:gd name="T67" fmla="*/ 334 h 444"/>
              <a:gd name="T68" fmla="*/ 172 w 447"/>
              <a:gd name="T69" fmla="*/ 304 h 444"/>
              <a:gd name="T70" fmla="*/ 151 w 447"/>
              <a:gd name="T71" fmla="*/ 286 h 444"/>
              <a:gd name="T72" fmla="*/ 117 w 447"/>
              <a:gd name="T73" fmla="*/ 267 h 444"/>
              <a:gd name="T74" fmla="*/ 113 w 447"/>
              <a:gd name="T75" fmla="*/ 256 h 444"/>
              <a:gd name="T76" fmla="*/ 126 w 447"/>
              <a:gd name="T77" fmla="*/ 222 h 444"/>
              <a:gd name="T78" fmla="*/ 113 w 447"/>
              <a:gd name="T79" fmla="*/ 188 h 444"/>
              <a:gd name="T80" fmla="*/ 117 w 447"/>
              <a:gd name="T81" fmla="*/ 177 h 444"/>
              <a:gd name="T82" fmla="*/ 151 w 447"/>
              <a:gd name="T83" fmla="*/ 157 h 444"/>
              <a:gd name="T84" fmla="*/ 172 w 447"/>
              <a:gd name="T85" fmla="*/ 139 h 444"/>
              <a:gd name="T86" fmla="*/ 197 w 447"/>
              <a:gd name="T87" fmla="*/ 109 h 444"/>
              <a:gd name="T88" fmla="*/ 209 w 447"/>
              <a:gd name="T89" fmla="*/ 107 h 444"/>
              <a:gd name="T90" fmla="*/ 243 w 447"/>
              <a:gd name="T91" fmla="*/ 127 h 444"/>
              <a:gd name="T92" fmla="*/ 269 w 447"/>
              <a:gd name="T93" fmla="*/ 136 h 444"/>
              <a:gd name="T94" fmla="*/ 308 w 447"/>
              <a:gd name="T95" fmla="*/ 143 h 444"/>
              <a:gd name="T96" fmla="*/ 316 w 447"/>
              <a:gd name="T97" fmla="*/ 152 h 444"/>
              <a:gd name="T98" fmla="*/ 316 w 447"/>
              <a:gd name="T99" fmla="*/ 191 h 444"/>
              <a:gd name="T100" fmla="*/ 320 w 447"/>
              <a:gd name="T101" fmla="*/ 219 h 444"/>
              <a:gd name="T102" fmla="*/ 339 w 447"/>
              <a:gd name="T103" fmla="*/ 228 h 444"/>
              <a:gd name="T104" fmla="*/ 314 w 447"/>
              <a:gd name="T105" fmla="*/ 258 h 444"/>
              <a:gd name="T106" fmla="*/ 300 w 447"/>
              <a:gd name="T107" fmla="*/ 282 h 444"/>
              <a:gd name="T108" fmla="*/ 286 w 447"/>
              <a:gd name="T109" fmla="*/ 319 h 444"/>
              <a:gd name="T110" fmla="*/ 276 w 447"/>
              <a:gd name="T111" fmla="*/ 325 h 444"/>
              <a:gd name="T112" fmla="*/ 237 w 447"/>
              <a:gd name="T113" fmla="*/ 318 h 444"/>
              <a:gd name="T114" fmla="*/ 238 w 447"/>
              <a:gd name="T115" fmla="*/ 369 h 444"/>
              <a:gd name="T116" fmla="*/ 238 w 447"/>
              <a:gd name="T117" fmla="*/ 388 h 444"/>
              <a:gd name="T118" fmla="*/ 371 w 447"/>
              <a:gd name="T119" fmla="*/ 222 h 444"/>
              <a:gd name="T120" fmla="*/ 390 w 447"/>
              <a:gd name="T121" fmla="*/ 22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7" h="444">
                <a:moveTo>
                  <a:pt x="411" y="222"/>
                </a:moveTo>
                <a:cubicBezTo>
                  <a:pt x="411" y="220"/>
                  <a:pt x="411" y="218"/>
                  <a:pt x="411" y="216"/>
                </a:cubicBezTo>
                <a:cubicBezTo>
                  <a:pt x="447" y="210"/>
                  <a:pt x="447" y="210"/>
                  <a:pt x="447" y="210"/>
                </a:cubicBezTo>
                <a:cubicBezTo>
                  <a:pt x="437" y="157"/>
                  <a:pt x="437" y="157"/>
                  <a:pt x="437" y="157"/>
                </a:cubicBezTo>
                <a:cubicBezTo>
                  <a:pt x="402" y="163"/>
                  <a:pt x="402" y="163"/>
                  <a:pt x="402" y="163"/>
                </a:cubicBezTo>
                <a:cubicBezTo>
                  <a:pt x="401" y="159"/>
                  <a:pt x="399" y="156"/>
                  <a:pt x="398" y="152"/>
                </a:cubicBezTo>
                <a:cubicBezTo>
                  <a:pt x="429" y="134"/>
                  <a:pt x="429" y="134"/>
                  <a:pt x="429" y="134"/>
                </a:cubicBezTo>
                <a:cubicBezTo>
                  <a:pt x="402" y="87"/>
                  <a:pt x="402" y="87"/>
                  <a:pt x="402" y="87"/>
                </a:cubicBezTo>
                <a:cubicBezTo>
                  <a:pt x="371" y="105"/>
                  <a:pt x="371" y="105"/>
                  <a:pt x="371" y="105"/>
                </a:cubicBezTo>
                <a:cubicBezTo>
                  <a:pt x="369" y="102"/>
                  <a:pt x="366" y="100"/>
                  <a:pt x="364" y="97"/>
                </a:cubicBezTo>
                <a:cubicBezTo>
                  <a:pt x="387" y="69"/>
                  <a:pt x="387" y="69"/>
                  <a:pt x="387" y="69"/>
                </a:cubicBezTo>
                <a:cubicBezTo>
                  <a:pt x="345" y="34"/>
                  <a:pt x="345" y="34"/>
                  <a:pt x="345" y="34"/>
                </a:cubicBezTo>
                <a:cubicBezTo>
                  <a:pt x="322" y="62"/>
                  <a:pt x="322" y="62"/>
                  <a:pt x="322" y="62"/>
                </a:cubicBezTo>
                <a:cubicBezTo>
                  <a:pt x="319" y="60"/>
                  <a:pt x="316" y="58"/>
                  <a:pt x="312" y="56"/>
                </a:cubicBezTo>
                <a:cubicBezTo>
                  <a:pt x="325" y="23"/>
                  <a:pt x="325" y="23"/>
                  <a:pt x="325" y="23"/>
                </a:cubicBezTo>
                <a:cubicBezTo>
                  <a:pt x="274" y="4"/>
                  <a:pt x="274" y="4"/>
                  <a:pt x="274" y="4"/>
                </a:cubicBezTo>
                <a:cubicBezTo>
                  <a:pt x="261" y="38"/>
                  <a:pt x="261" y="38"/>
                  <a:pt x="261" y="38"/>
                </a:cubicBezTo>
                <a:cubicBezTo>
                  <a:pt x="258" y="37"/>
                  <a:pt x="254" y="36"/>
                  <a:pt x="250" y="36"/>
                </a:cubicBezTo>
                <a:cubicBezTo>
                  <a:pt x="250" y="0"/>
                  <a:pt x="250" y="0"/>
                  <a:pt x="250" y="0"/>
                </a:cubicBezTo>
                <a:cubicBezTo>
                  <a:pt x="196" y="0"/>
                  <a:pt x="196" y="0"/>
                  <a:pt x="196" y="0"/>
                </a:cubicBezTo>
                <a:cubicBezTo>
                  <a:pt x="196" y="36"/>
                  <a:pt x="196" y="36"/>
                  <a:pt x="196" y="36"/>
                </a:cubicBezTo>
                <a:cubicBezTo>
                  <a:pt x="192" y="36"/>
                  <a:pt x="189" y="37"/>
                  <a:pt x="185" y="38"/>
                </a:cubicBezTo>
                <a:cubicBezTo>
                  <a:pt x="173" y="4"/>
                  <a:pt x="173" y="4"/>
                  <a:pt x="173" y="4"/>
                </a:cubicBezTo>
                <a:cubicBezTo>
                  <a:pt x="122" y="23"/>
                  <a:pt x="122" y="23"/>
                  <a:pt x="122" y="23"/>
                </a:cubicBezTo>
                <a:cubicBezTo>
                  <a:pt x="134" y="56"/>
                  <a:pt x="134" y="56"/>
                  <a:pt x="134" y="56"/>
                </a:cubicBezTo>
                <a:cubicBezTo>
                  <a:pt x="131" y="58"/>
                  <a:pt x="128" y="60"/>
                  <a:pt x="124" y="62"/>
                </a:cubicBezTo>
                <a:cubicBezTo>
                  <a:pt x="101" y="34"/>
                  <a:pt x="101" y="34"/>
                  <a:pt x="101" y="34"/>
                </a:cubicBezTo>
                <a:cubicBezTo>
                  <a:pt x="60" y="69"/>
                  <a:pt x="60" y="69"/>
                  <a:pt x="60" y="69"/>
                </a:cubicBezTo>
                <a:cubicBezTo>
                  <a:pt x="83" y="97"/>
                  <a:pt x="83" y="97"/>
                  <a:pt x="83" y="97"/>
                </a:cubicBezTo>
                <a:cubicBezTo>
                  <a:pt x="80" y="100"/>
                  <a:pt x="78" y="102"/>
                  <a:pt x="76" y="105"/>
                </a:cubicBezTo>
                <a:cubicBezTo>
                  <a:pt x="45" y="87"/>
                  <a:pt x="45" y="87"/>
                  <a:pt x="45" y="87"/>
                </a:cubicBezTo>
                <a:cubicBezTo>
                  <a:pt x="18" y="134"/>
                  <a:pt x="18" y="134"/>
                  <a:pt x="18" y="134"/>
                </a:cubicBezTo>
                <a:cubicBezTo>
                  <a:pt x="49" y="152"/>
                  <a:pt x="49" y="152"/>
                  <a:pt x="49" y="152"/>
                </a:cubicBezTo>
                <a:cubicBezTo>
                  <a:pt x="47" y="156"/>
                  <a:pt x="46" y="159"/>
                  <a:pt x="45" y="163"/>
                </a:cubicBezTo>
                <a:cubicBezTo>
                  <a:pt x="9" y="157"/>
                  <a:pt x="9" y="157"/>
                  <a:pt x="9" y="157"/>
                </a:cubicBezTo>
                <a:cubicBezTo>
                  <a:pt x="0" y="210"/>
                  <a:pt x="0" y="210"/>
                  <a:pt x="0" y="210"/>
                </a:cubicBezTo>
                <a:cubicBezTo>
                  <a:pt x="35" y="216"/>
                  <a:pt x="35" y="216"/>
                  <a:pt x="35" y="216"/>
                </a:cubicBezTo>
                <a:cubicBezTo>
                  <a:pt x="35" y="218"/>
                  <a:pt x="35" y="220"/>
                  <a:pt x="35" y="222"/>
                </a:cubicBezTo>
                <a:cubicBezTo>
                  <a:pt x="35" y="224"/>
                  <a:pt x="35" y="226"/>
                  <a:pt x="35" y="227"/>
                </a:cubicBezTo>
                <a:cubicBezTo>
                  <a:pt x="0" y="234"/>
                  <a:pt x="0" y="234"/>
                  <a:pt x="0" y="234"/>
                </a:cubicBezTo>
                <a:cubicBezTo>
                  <a:pt x="9" y="287"/>
                  <a:pt x="9" y="287"/>
                  <a:pt x="9" y="287"/>
                </a:cubicBezTo>
                <a:cubicBezTo>
                  <a:pt x="45" y="281"/>
                  <a:pt x="45" y="281"/>
                  <a:pt x="45" y="281"/>
                </a:cubicBezTo>
                <a:cubicBezTo>
                  <a:pt x="46" y="284"/>
                  <a:pt x="47" y="288"/>
                  <a:pt x="49" y="291"/>
                </a:cubicBezTo>
                <a:cubicBezTo>
                  <a:pt x="18" y="309"/>
                  <a:pt x="18" y="309"/>
                  <a:pt x="18" y="309"/>
                </a:cubicBezTo>
                <a:cubicBezTo>
                  <a:pt x="45" y="356"/>
                  <a:pt x="45" y="356"/>
                  <a:pt x="45" y="356"/>
                </a:cubicBezTo>
                <a:cubicBezTo>
                  <a:pt x="76" y="338"/>
                  <a:pt x="76" y="338"/>
                  <a:pt x="76" y="338"/>
                </a:cubicBezTo>
                <a:cubicBezTo>
                  <a:pt x="78" y="341"/>
                  <a:pt x="80" y="344"/>
                  <a:pt x="83" y="347"/>
                </a:cubicBezTo>
                <a:cubicBezTo>
                  <a:pt x="60" y="374"/>
                  <a:pt x="60" y="374"/>
                  <a:pt x="60" y="374"/>
                </a:cubicBezTo>
                <a:cubicBezTo>
                  <a:pt x="101" y="409"/>
                  <a:pt x="101" y="409"/>
                  <a:pt x="101" y="409"/>
                </a:cubicBezTo>
                <a:cubicBezTo>
                  <a:pt x="124" y="382"/>
                  <a:pt x="124" y="382"/>
                  <a:pt x="124" y="382"/>
                </a:cubicBezTo>
                <a:cubicBezTo>
                  <a:pt x="128" y="384"/>
                  <a:pt x="131" y="386"/>
                  <a:pt x="134" y="387"/>
                </a:cubicBezTo>
                <a:cubicBezTo>
                  <a:pt x="122" y="421"/>
                  <a:pt x="122" y="421"/>
                  <a:pt x="122" y="421"/>
                </a:cubicBezTo>
                <a:cubicBezTo>
                  <a:pt x="173" y="440"/>
                  <a:pt x="173" y="440"/>
                  <a:pt x="173" y="440"/>
                </a:cubicBezTo>
                <a:cubicBezTo>
                  <a:pt x="185" y="406"/>
                  <a:pt x="185" y="406"/>
                  <a:pt x="185" y="406"/>
                </a:cubicBezTo>
                <a:cubicBezTo>
                  <a:pt x="189" y="407"/>
                  <a:pt x="192" y="407"/>
                  <a:pt x="196" y="408"/>
                </a:cubicBezTo>
                <a:cubicBezTo>
                  <a:pt x="196" y="444"/>
                  <a:pt x="196" y="444"/>
                  <a:pt x="196" y="444"/>
                </a:cubicBezTo>
                <a:cubicBezTo>
                  <a:pt x="250" y="444"/>
                  <a:pt x="250" y="444"/>
                  <a:pt x="250" y="444"/>
                </a:cubicBezTo>
                <a:cubicBezTo>
                  <a:pt x="250" y="408"/>
                  <a:pt x="250" y="408"/>
                  <a:pt x="250" y="408"/>
                </a:cubicBezTo>
                <a:cubicBezTo>
                  <a:pt x="254" y="407"/>
                  <a:pt x="258" y="407"/>
                  <a:pt x="261" y="406"/>
                </a:cubicBezTo>
                <a:cubicBezTo>
                  <a:pt x="274" y="440"/>
                  <a:pt x="274" y="440"/>
                  <a:pt x="274" y="440"/>
                </a:cubicBezTo>
                <a:cubicBezTo>
                  <a:pt x="325" y="421"/>
                  <a:pt x="325" y="421"/>
                  <a:pt x="325" y="421"/>
                </a:cubicBezTo>
                <a:cubicBezTo>
                  <a:pt x="312" y="387"/>
                  <a:pt x="312" y="387"/>
                  <a:pt x="312" y="387"/>
                </a:cubicBezTo>
                <a:cubicBezTo>
                  <a:pt x="316" y="386"/>
                  <a:pt x="319" y="384"/>
                  <a:pt x="322" y="382"/>
                </a:cubicBezTo>
                <a:cubicBezTo>
                  <a:pt x="345" y="409"/>
                  <a:pt x="345" y="409"/>
                  <a:pt x="345" y="409"/>
                </a:cubicBezTo>
                <a:cubicBezTo>
                  <a:pt x="387" y="374"/>
                  <a:pt x="387" y="374"/>
                  <a:pt x="387" y="374"/>
                </a:cubicBezTo>
                <a:cubicBezTo>
                  <a:pt x="364" y="347"/>
                  <a:pt x="364" y="347"/>
                  <a:pt x="364" y="347"/>
                </a:cubicBezTo>
                <a:cubicBezTo>
                  <a:pt x="366" y="344"/>
                  <a:pt x="368" y="341"/>
                  <a:pt x="371" y="338"/>
                </a:cubicBezTo>
                <a:cubicBezTo>
                  <a:pt x="402" y="356"/>
                  <a:pt x="402" y="356"/>
                  <a:pt x="402" y="356"/>
                </a:cubicBezTo>
                <a:cubicBezTo>
                  <a:pt x="429" y="309"/>
                  <a:pt x="429" y="309"/>
                  <a:pt x="429" y="309"/>
                </a:cubicBezTo>
                <a:cubicBezTo>
                  <a:pt x="398" y="291"/>
                  <a:pt x="398" y="291"/>
                  <a:pt x="398" y="291"/>
                </a:cubicBezTo>
                <a:cubicBezTo>
                  <a:pt x="399" y="288"/>
                  <a:pt x="401" y="284"/>
                  <a:pt x="402" y="281"/>
                </a:cubicBezTo>
                <a:cubicBezTo>
                  <a:pt x="437" y="287"/>
                  <a:pt x="437" y="287"/>
                  <a:pt x="437" y="287"/>
                </a:cubicBezTo>
                <a:cubicBezTo>
                  <a:pt x="447" y="234"/>
                  <a:pt x="447" y="234"/>
                  <a:pt x="447" y="234"/>
                </a:cubicBezTo>
                <a:cubicBezTo>
                  <a:pt x="411" y="227"/>
                  <a:pt x="411" y="227"/>
                  <a:pt x="411" y="227"/>
                </a:cubicBezTo>
                <a:cubicBezTo>
                  <a:pt x="411" y="226"/>
                  <a:pt x="411" y="224"/>
                  <a:pt x="411" y="222"/>
                </a:cubicBezTo>
                <a:close/>
                <a:moveTo>
                  <a:pt x="238" y="56"/>
                </a:moveTo>
                <a:cubicBezTo>
                  <a:pt x="288" y="60"/>
                  <a:pt x="332" y="87"/>
                  <a:pt x="360" y="127"/>
                </a:cubicBezTo>
                <a:cubicBezTo>
                  <a:pt x="344" y="136"/>
                  <a:pt x="344" y="136"/>
                  <a:pt x="344" y="136"/>
                </a:cubicBezTo>
                <a:cubicBezTo>
                  <a:pt x="320" y="102"/>
                  <a:pt x="281" y="78"/>
                  <a:pt x="238" y="74"/>
                </a:cubicBezTo>
                <a:lnTo>
                  <a:pt x="238" y="56"/>
                </a:lnTo>
                <a:close/>
                <a:moveTo>
                  <a:pt x="209" y="56"/>
                </a:moveTo>
                <a:cubicBezTo>
                  <a:pt x="209" y="74"/>
                  <a:pt x="209" y="74"/>
                  <a:pt x="209" y="74"/>
                </a:cubicBezTo>
                <a:cubicBezTo>
                  <a:pt x="165" y="78"/>
                  <a:pt x="127" y="102"/>
                  <a:pt x="103" y="136"/>
                </a:cubicBezTo>
                <a:cubicBezTo>
                  <a:pt x="87" y="127"/>
                  <a:pt x="87" y="127"/>
                  <a:pt x="87" y="127"/>
                </a:cubicBezTo>
                <a:cubicBezTo>
                  <a:pt x="114" y="87"/>
                  <a:pt x="158" y="60"/>
                  <a:pt x="209" y="56"/>
                </a:cubicBezTo>
                <a:close/>
                <a:moveTo>
                  <a:pt x="73" y="292"/>
                </a:moveTo>
                <a:cubicBezTo>
                  <a:pt x="63" y="271"/>
                  <a:pt x="57" y="247"/>
                  <a:pt x="57" y="222"/>
                </a:cubicBezTo>
                <a:cubicBezTo>
                  <a:pt x="57" y="197"/>
                  <a:pt x="63" y="173"/>
                  <a:pt x="73" y="151"/>
                </a:cubicBezTo>
                <a:cubicBezTo>
                  <a:pt x="88" y="160"/>
                  <a:pt x="88" y="160"/>
                  <a:pt x="88" y="160"/>
                </a:cubicBezTo>
                <a:cubicBezTo>
                  <a:pt x="80" y="179"/>
                  <a:pt x="75" y="200"/>
                  <a:pt x="75" y="222"/>
                </a:cubicBezTo>
                <a:cubicBezTo>
                  <a:pt x="75" y="244"/>
                  <a:pt x="80" y="265"/>
                  <a:pt x="88" y="283"/>
                </a:cubicBezTo>
                <a:lnTo>
                  <a:pt x="73" y="292"/>
                </a:lnTo>
                <a:close/>
                <a:moveTo>
                  <a:pt x="209" y="388"/>
                </a:moveTo>
                <a:cubicBezTo>
                  <a:pt x="158" y="383"/>
                  <a:pt x="114" y="356"/>
                  <a:pt x="87" y="317"/>
                </a:cubicBezTo>
                <a:cubicBezTo>
                  <a:pt x="103" y="308"/>
                  <a:pt x="103" y="308"/>
                  <a:pt x="103" y="308"/>
                </a:cubicBezTo>
                <a:cubicBezTo>
                  <a:pt x="127" y="342"/>
                  <a:pt x="165" y="365"/>
                  <a:pt x="209" y="369"/>
                </a:cubicBezTo>
                <a:lnTo>
                  <a:pt x="209" y="388"/>
                </a:lnTo>
                <a:close/>
                <a:moveTo>
                  <a:pt x="237" y="336"/>
                </a:moveTo>
                <a:cubicBezTo>
                  <a:pt x="209" y="336"/>
                  <a:pt x="209" y="336"/>
                  <a:pt x="209" y="336"/>
                </a:cubicBezTo>
                <a:cubicBezTo>
                  <a:pt x="209" y="318"/>
                  <a:pt x="209" y="318"/>
                  <a:pt x="209" y="318"/>
                </a:cubicBezTo>
                <a:cubicBezTo>
                  <a:pt x="207" y="318"/>
                  <a:pt x="205" y="317"/>
                  <a:pt x="204" y="317"/>
                </a:cubicBezTo>
                <a:cubicBezTo>
                  <a:pt x="197" y="334"/>
                  <a:pt x="197" y="334"/>
                  <a:pt x="197" y="334"/>
                </a:cubicBezTo>
                <a:cubicBezTo>
                  <a:pt x="171" y="325"/>
                  <a:pt x="171" y="325"/>
                  <a:pt x="171" y="325"/>
                </a:cubicBezTo>
                <a:cubicBezTo>
                  <a:pt x="177" y="307"/>
                  <a:pt x="177" y="307"/>
                  <a:pt x="177" y="307"/>
                </a:cubicBezTo>
                <a:cubicBezTo>
                  <a:pt x="176" y="306"/>
                  <a:pt x="174" y="305"/>
                  <a:pt x="172" y="304"/>
                </a:cubicBezTo>
                <a:cubicBezTo>
                  <a:pt x="160" y="319"/>
                  <a:pt x="160" y="319"/>
                  <a:pt x="160" y="319"/>
                </a:cubicBezTo>
                <a:cubicBezTo>
                  <a:pt x="139" y="301"/>
                  <a:pt x="139" y="301"/>
                  <a:pt x="139" y="301"/>
                </a:cubicBezTo>
                <a:cubicBezTo>
                  <a:pt x="151" y="286"/>
                  <a:pt x="151" y="286"/>
                  <a:pt x="151" y="286"/>
                </a:cubicBezTo>
                <a:cubicBezTo>
                  <a:pt x="149" y="285"/>
                  <a:pt x="148" y="284"/>
                  <a:pt x="147" y="282"/>
                </a:cubicBezTo>
                <a:cubicBezTo>
                  <a:pt x="131" y="291"/>
                  <a:pt x="131" y="291"/>
                  <a:pt x="131" y="291"/>
                </a:cubicBezTo>
                <a:cubicBezTo>
                  <a:pt x="117" y="267"/>
                  <a:pt x="117" y="267"/>
                  <a:pt x="117" y="267"/>
                </a:cubicBezTo>
                <a:cubicBezTo>
                  <a:pt x="133" y="258"/>
                  <a:pt x="133" y="258"/>
                  <a:pt x="133" y="258"/>
                </a:cubicBezTo>
                <a:cubicBezTo>
                  <a:pt x="132" y="256"/>
                  <a:pt x="132" y="254"/>
                  <a:pt x="131" y="252"/>
                </a:cubicBezTo>
                <a:cubicBezTo>
                  <a:pt x="113" y="256"/>
                  <a:pt x="113" y="256"/>
                  <a:pt x="113" y="256"/>
                </a:cubicBezTo>
                <a:cubicBezTo>
                  <a:pt x="108" y="228"/>
                  <a:pt x="108" y="228"/>
                  <a:pt x="108" y="228"/>
                </a:cubicBezTo>
                <a:cubicBezTo>
                  <a:pt x="126" y="225"/>
                  <a:pt x="126" y="225"/>
                  <a:pt x="126" y="225"/>
                </a:cubicBezTo>
                <a:cubicBezTo>
                  <a:pt x="126" y="224"/>
                  <a:pt x="126" y="223"/>
                  <a:pt x="126" y="222"/>
                </a:cubicBezTo>
                <a:cubicBezTo>
                  <a:pt x="126" y="221"/>
                  <a:pt x="126" y="220"/>
                  <a:pt x="126" y="219"/>
                </a:cubicBezTo>
                <a:cubicBezTo>
                  <a:pt x="108" y="216"/>
                  <a:pt x="108" y="216"/>
                  <a:pt x="108" y="216"/>
                </a:cubicBezTo>
                <a:cubicBezTo>
                  <a:pt x="113" y="188"/>
                  <a:pt x="113" y="188"/>
                  <a:pt x="113" y="188"/>
                </a:cubicBezTo>
                <a:cubicBezTo>
                  <a:pt x="131" y="191"/>
                  <a:pt x="131" y="191"/>
                  <a:pt x="131" y="191"/>
                </a:cubicBezTo>
                <a:cubicBezTo>
                  <a:pt x="132" y="189"/>
                  <a:pt x="132" y="188"/>
                  <a:pt x="133" y="186"/>
                </a:cubicBezTo>
                <a:cubicBezTo>
                  <a:pt x="117" y="177"/>
                  <a:pt x="117" y="177"/>
                  <a:pt x="117" y="177"/>
                </a:cubicBezTo>
                <a:cubicBezTo>
                  <a:pt x="131" y="152"/>
                  <a:pt x="131" y="152"/>
                  <a:pt x="131" y="152"/>
                </a:cubicBezTo>
                <a:cubicBezTo>
                  <a:pt x="147" y="162"/>
                  <a:pt x="147" y="162"/>
                  <a:pt x="147" y="162"/>
                </a:cubicBezTo>
                <a:cubicBezTo>
                  <a:pt x="148" y="160"/>
                  <a:pt x="149" y="159"/>
                  <a:pt x="151" y="157"/>
                </a:cubicBezTo>
                <a:cubicBezTo>
                  <a:pt x="139" y="143"/>
                  <a:pt x="139" y="143"/>
                  <a:pt x="139" y="143"/>
                </a:cubicBezTo>
                <a:cubicBezTo>
                  <a:pt x="160" y="125"/>
                  <a:pt x="160" y="125"/>
                  <a:pt x="160" y="125"/>
                </a:cubicBezTo>
                <a:cubicBezTo>
                  <a:pt x="172" y="139"/>
                  <a:pt x="172" y="139"/>
                  <a:pt x="172" y="139"/>
                </a:cubicBezTo>
                <a:cubicBezTo>
                  <a:pt x="174" y="138"/>
                  <a:pt x="176" y="137"/>
                  <a:pt x="177" y="136"/>
                </a:cubicBezTo>
                <a:cubicBezTo>
                  <a:pt x="171" y="119"/>
                  <a:pt x="171" y="119"/>
                  <a:pt x="171" y="119"/>
                </a:cubicBezTo>
                <a:cubicBezTo>
                  <a:pt x="197" y="109"/>
                  <a:pt x="197" y="109"/>
                  <a:pt x="197" y="109"/>
                </a:cubicBezTo>
                <a:cubicBezTo>
                  <a:pt x="204" y="127"/>
                  <a:pt x="204" y="127"/>
                  <a:pt x="204" y="127"/>
                </a:cubicBezTo>
                <a:cubicBezTo>
                  <a:pt x="205" y="126"/>
                  <a:pt x="207" y="126"/>
                  <a:pt x="209" y="126"/>
                </a:cubicBezTo>
                <a:cubicBezTo>
                  <a:pt x="209" y="107"/>
                  <a:pt x="209" y="107"/>
                  <a:pt x="209" y="107"/>
                </a:cubicBezTo>
                <a:cubicBezTo>
                  <a:pt x="237" y="107"/>
                  <a:pt x="237" y="107"/>
                  <a:pt x="237" y="107"/>
                </a:cubicBezTo>
                <a:cubicBezTo>
                  <a:pt x="237" y="126"/>
                  <a:pt x="237" y="126"/>
                  <a:pt x="237" y="126"/>
                </a:cubicBezTo>
                <a:cubicBezTo>
                  <a:pt x="239" y="126"/>
                  <a:pt x="241" y="126"/>
                  <a:pt x="243" y="127"/>
                </a:cubicBezTo>
                <a:cubicBezTo>
                  <a:pt x="249" y="109"/>
                  <a:pt x="249" y="109"/>
                  <a:pt x="249" y="109"/>
                </a:cubicBezTo>
                <a:cubicBezTo>
                  <a:pt x="276" y="119"/>
                  <a:pt x="276" y="119"/>
                  <a:pt x="276" y="119"/>
                </a:cubicBezTo>
                <a:cubicBezTo>
                  <a:pt x="269" y="136"/>
                  <a:pt x="269" y="136"/>
                  <a:pt x="269" y="136"/>
                </a:cubicBezTo>
                <a:cubicBezTo>
                  <a:pt x="271" y="137"/>
                  <a:pt x="273" y="138"/>
                  <a:pt x="274" y="139"/>
                </a:cubicBezTo>
                <a:cubicBezTo>
                  <a:pt x="286" y="125"/>
                  <a:pt x="286" y="125"/>
                  <a:pt x="286" y="125"/>
                </a:cubicBezTo>
                <a:cubicBezTo>
                  <a:pt x="308" y="143"/>
                  <a:pt x="308" y="143"/>
                  <a:pt x="308" y="143"/>
                </a:cubicBezTo>
                <a:cubicBezTo>
                  <a:pt x="296" y="157"/>
                  <a:pt x="296" y="157"/>
                  <a:pt x="296" y="157"/>
                </a:cubicBezTo>
                <a:cubicBezTo>
                  <a:pt x="297" y="159"/>
                  <a:pt x="298" y="160"/>
                  <a:pt x="300" y="162"/>
                </a:cubicBezTo>
                <a:cubicBezTo>
                  <a:pt x="316" y="152"/>
                  <a:pt x="316" y="152"/>
                  <a:pt x="316" y="152"/>
                </a:cubicBezTo>
                <a:cubicBezTo>
                  <a:pt x="330" y="177"/>
                  <a:pt x="330" y="177"/>
                  <a:pt x="330" y="177"/>
                </a:cubicBezTo>
                <a:cubicBezTo>
                  <a:pt x="314" y="186"/>
                  <a:pt x="314" y="186"/>
                  <a:pt x="314" y="186"/>
                </a:cubicBezTo>
                <a:cubicBezTo>
                  <a:pt x="314" y="188"/>
                  <a:pt x="315" y="189"/>
                  <a:pt x="316" y="191"/>
                </a:cubicBezTo>
                <a:cubicBezTo>
                  <a:pt x="334" y="188"/>
                  <a:pt x="334" y="188"/>
                  <a:pt x="334" y="188"/>
                </a:cubicBezTo>
                <a:cubicBezTo>
                  <a:pt x="339" y="216"/>
                  <a:pt x="339" y="216"/>
                  <a:pt x="339" y="216"/>
                </a:cubicBezTo>
                <a:cubicBezTo>
                  <a:pt x="320" y="219"/>
                  <a:pt x="320" y="219"/>
                  <a:pt x="320" y="219"/>
                </a:cubicBezTo>
                <a:cubicBezTo>
                  <a:pt x="320" y="220"/>
                  <a:pt x="320" y="221"/>
                  <a:pt x="320" y="222"/>
                </a:cubicBezTo>
                <a:cubicBezTo>
                  <a:pt x="320" y="223"/>
                  <a:pt x="320" y="224"/>
                  <a:pt x="320" y="225"/>
                </a:cubicBezTo>
                <a:cubicBezTo>
                  <a:pt x="339" y="228"/>
                  <a:pt x="339" y="228"/>
                  <a:pt x="339" y="228"/>
                </a:cubicBezTo>
                <a:cubicBezTo>
                  <a:pt x="334" y="256"/>
                  <a:pt x="334" y="256"/>
                  <a:pt x="334" y="256"/>
                </a:cubicBezTo>
                <a:cubicBezTo>
                  <a:pt x="316" y="252"/>
                  <a:pt x="316" y="252"/>
                  <a:pt x="316" y="252"/>
                </a:cubicBezTo>
                <a:cubicBezTo>
                  <a:pt x="315" y="254"/>
                  <a:pt x="314" y="256"/>
                  <a:pt x="314" y="258"/>
                </a:cubicBezTo>
                <a:cubicBezTo>
                  <a:pt x="330" y="267"/>
                  <a:pt x="330" y="267"/>
                  <a:pt x="330" y="267"/>
                </a:cubicBezTo>
                <a:cubicBezTo>
                  <a:pt x="316" y="291"/>
                  <a:pt x="316" y="291"/>
                  <a:pt x="316" y="291"/>
                </a:cubicBezTo>
                <a:cubicBezTo>
                  <a:pt x="300" y="282"/>
                  <a:pt x="300" y="282"/>
                  <a:pt x="300" y="282"/>
                </a:cubicBezTo>
                <a:cubicBezTo>
                  <a:pt x="298" y="284"/>
                  <a:pt x="297" y="285"/>
                  <a:pt x="296" y="286"/>
                </a:cubicBezTo>
                <a:cubicBezTo>
                  <a:pt x="308" y="301"/>
                  <a:pt x="308" y="301"/>
                  <a:pt x="308" y="301"/>
                </a:cubicBezTo>
                <a:cubicBezTo>
                  <a:pt x="286" y="319"/>
                  <a:pt x="286" y="319"/>
                  <a:pt x="286" y="319"/>
                </a:cubicBezTo>
                <a:cubicBezTo>
                  <a:pt x="274" y="304"/>
                  <a:pt x="274" y="304"/>
                  <a:pt x="274" y="304"/>
                </a:cubicBezTo>
                <a:cubicBezTo>
                  <a:pt x="273" y="305"/>
                  <a:pt x="271" y="306"/>
                  <a:pt x="269" y="307"/>
                </a:cubicBezTo>
                <a:cubicBezTo>
                  <a:pt x="276" y="325"/>
                  <a:pt x="276" y="325"/>
                  <a:pt x="276" y="325"/>
                </a:cubicBezTo>
                <a:cubicBezTo>
                  <a:pt x="249" y="334"/>
                  <a:pt x="249" y="334"/>
                  <a:pt x="249" y="334"/>
                </a:cubicBezTo>
                <a:cubicBezTo>
                  <a:pt x="243" y="317"/>
                  <a:pt x="243" y="317"/>
                  <a:pt x="243" y="317"/>
                </a:cubicBezTo>
                <a:cubicBezTo>
                  <a:pt x="241" y="317"/>
                  <a:pt x="239" y="318"/>
                  <a:pt x="237" y="318"/>
                </a:cubicBezTo>
                <a:lnTo>
                  <a:pt x="237" y="336"/>
                </a:lnTo>
                <a:close/>
                <a:moveTo>
                  <a:pt x="238" y="388"/>
                </a:moveTo>
                <a:cubicBezTo>
                  <a:pt x="238" y="369"/>
                  <a:pt x="238" y="369"/>
                  <a:pt x="238" y="369"/>
                </a:cubicBezTo>
                <a:cubicBezTo>
                  <a:pt x="281" y="365"/>
                  <a:pt x="320" y="342"/>
                  <a:pt x="344" y="308"/>
                </a:cubicBezTo>
                <a:cubicBezTo>
                  <a:pt x="360" y="317"/>
                  <a:pt x="360" y="317"/>
                  <a:pt x="360" y="317"/>
                </a:cubicBezTo>
                <a:cubicBezTo>
                  <a:pt x="332" y="356"/>
                  <a:pt x="288" y="383"/>
                  <a:pt x="238" y="388"/>
                </a:cubicBezTo>
                <a:close/>
                <a:moveTo>
                  <a:pt x="374" y="292"/>
                </a:moveTo>
                <a:cubicBezTo>
                  <a:pt x="358" y="283"/>
                  <a:pt x="358" y="283"/>
                  <a:pt x="358" y="283"/>
                </a:cubicBezTo>
                <a:cubicBezTo>
                  <a:pt x="367" y="265"/>
                  <a:pt x="371" y="244"/>
                  <a:pt x="371" y="222"/>
                </a:cubicBezTo>
                <a:cubicBezTo>
                  <a:pt x="371" y="200"/>
                  <a:pt x="367" y="179"/>
                  <a:pt x="358" y="160"/>
                </a:cubicBezTo>
                <a:cubicBezTo>
                  <a:pt x="374" y="151"/>
                  <a:pt x="374" y="151"/>
                  <a:pt x="374" y="151"/>
                </a:cubicBezTo>
                <a:cubicBezTo>
                  <a:pt x="384" y="173"/>
                  <a:pt x="390" y="197"/>
                  <a:pt x="390" y="222"/>
                </a:cubicBezTo>
                <a:cubicBezTo>
                  <a:pt x="390" y="247"/>
                  <a:pt x="384" y="271"/>
                  <a:pt x="374" y="292"/>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Freeform 31"/>
          <p:cNvSpPr>
            <a:spLocks noEditPoints="1"/>
          </p:cNvSpPr>
          <p:nvPr/>
        </p:nvSpPr>
        <p:spPr bwMode="auto">
          <a:xfrm>
            <a:off x="5685641" y="4067499"/>
            <a:ext cx="727390" cy="722573"/>
          </a:xfrm>
          <a:custGeom>
            <a:avLst/>
            <a:gdLst>
              <a:gd name="T0" fmla="*/ 437 w 447"/>
              <a:gd name="T1" fmla="*/ 157 h 444"/>
              <a:gd name="T2" fmla="*/ 402 w 447"/>
              <a:gd name="T3" fmla="*/ 88 h 444"/>
              <a:gd name="T4" fmla="*/ 346 w 447"/>
              <a:gd name="T5" fmla="*/ 35 h 444"/>
              <a:gd name="T6" fmla="*/ 274 w 447"/>
              <a:gd name="T7" fmla="*/ 4 h 444"/>
              <a:gd name="T8" fmla="*/ 197 w 447"/>
              <a:gd name="T9" fmla="*/ 0 h 444"/>
              <a:gd name="T10" fmla="*/ 122 w 447"/>
              <a:gd name="T11" fmla="*/ 23 h 444"/>
              <a:gd name="T12" fmla="*/ 60 w 447"/>
              <a:gd name="T13" fmla="*/ 70 h 444"/>
              <a:gd name="T14" fmla="*/ 18 w 447"/>
              <a:gd name="T15" fmla="*/ 135 h 444"/>
              <a:gd name="T16" fmla="*/ 0 w 447"/>
              <a:gd name="T17" fmla="*/ 210 h 444"/>
              <a:gd name="T18" fmla="*/ 0 w 447"/>
              <a:gd name="T19" fmla="*/ 234 h 444"/>
              <a:gd name="T20" fmla="*/ 18 w 447"/>
              <a:gd name="T21" fmla="*/ 310 h 444"/>
              <a:gd name="T22" fmla="*/ 60 w 447"/>
              <a:gd name="T23" fmla="*/ 375 h 444"/>
              <a:gd name="T24" fmla="*/ 122 w 447"/>
              <a:gd name="T25" fmla="*/ 421 h 444"/>
              <a:gd name="T26" fmla="*/ 197 w 447"/>
              <a:gd name="T27" fmla="*/ 444 h 444"/>
              <a:gd name="T28" fmla="*/ 274 w 447"/>
              <a:gd name="T29" fmla="*/ 440 h 444"/>
              <a:gd name="T30" fmla="*/ 346 w 447"/>
              <a:gd name="T31" fmla="*/ 410 h 444"/>
              <a:gd name="T32" fmla="*/ 402 w 447"/>
              <a:gd name="T33" fmla="*/ 357 h 444"/>
              <a:gd name="T34" fmla="*/ 437 w 447"/>
              <a:gd name="T35" fmla="*/ 287 h 444"/>
              <a:gd name="T36" fmla="*/ 238 w 447"/>
              <a:gd name="T37" fmla="*/ 56 h 444"/>
              <a:gd name="T38" fmla="*/ 238 w 447"/>
              <a:gd name="T39" fmla="*/ 56 h 444"/>
              <a:gd name="T40" fmla="*/ 314 w 447"/>
              <a:gd name="T41" fmla="*/ 258 h 444"/>
              <a:gd name="T42" fmla="*/ 296 w 447"/>
              <a:gd name="T43" fmla="*/ 287 h 444"/>
              <a:gd name="T44" fmla="*/ 339 w 447"/>
              <a:gd name="T45" fmla="*/ 228 h 444"/>
              <a:gd name="T46" fmla="*/ 133 w 447"/>
              <a:gd name="T47" fmla="*/ 258 h 444"/>
              <a:gd name="T48" fmla="*/ 113 w 447"/>
              <a:gd name="T49" fmla="*/ 227 h 444"/>
              <a:gd name="T50" fmla="*/ 147 w 447"/>
              <a:gd name="T51" fmla="*/ 282 h 444"/>
              <a:gd name="T52" fmla="*/ 133 w 447"/>
              <a:gd name="T53" fmla="*/ 186 h 444"/>
              <a:gd name="T54" fmla="*/ 151 w 447"/>
              <a:gd name="T55" fmla="*/ 158 h 444"/>
              <a:gd name="T56" fmla="*/ 108 w 447"/>
              <a:gd name="T57" fmla="*/ 216 h 444"/>
              <a:gd name="T58" fmla="*/ 314 w 447"/>
              <a:gd name="T59" fmla="*/ 186 h 444"/>
              <a:gd name="T60" fmla="*/ 334 w 447"/>
              <a:gd name="T61" fmla="*/ 217 h 444"/>
              <a:gd name="T62" fmla="*/ 300 w 447"/>
              <a:gd name="T63" fmla="*/ 162 h 444"/>
              <a:gd name="T64" fmla="*/ 270 w 447"/>
              <a:gd name="T65" fmla="*/ 137 h 444"/>
              <a:gd name="T66" fmla="*/ 229 w 447"/>
              <a:gd name="T67" fmla="*/ 210 h 444"/>
              <a:gd name="T68" fmla="*/ 243 w 447"/>
              <a:gd name="T69" fmla="*/ 127 h 444"/>
              <a:gd name="T70" fmla="*/ 146 w 447"/>
              <a:gd name="T71" fmla="*/ 137 h 444"/>
              <a:gd name="T72" fmla="*/ 171 w 447"/>
              <a:gd name="T73" fmla="*/ 119 h 444"/>
              <a:gd name="T74" fmla="*/ 210 w 447"/>
              <a:gd name="T75" fmla="*/ 107 h 444"/>
              <a:gd name="T76" fmla="*/ 87 w 447"/>
              <a:gd name="T77" fmla="*/ 127 h 444"/>
              <a:gd name="T78" fmla="*/ 73 w 447"/>
              <a:gd name="T79" fmla="*/ 152 h 444"/>
              <a:gd name="T80" fmla="*/ 73 w 447"/>
              <a:gd name="T81" fmla="*/ 293 h 444"/>
              <a:gd name="T82" fmla="*/ 209 w 447"/>
              <a:gd name="T83" fmla="*/ 370 h 444"/>
              <a:gd name="T84" fmla="*/ 171 w 447"/>
              <a:gd name="T85" fmla="*/ 325 h 444"/>
              <a:gd name="T86" fmla="*/ 146 w 447"/>
              <a:gd name="T87" fmla="*/ 307 h 444"/>
              <a:gd name="T88" fmla="*/ 210 w 447"/>
              <a:gd name="T89" fmla="*/ 318 h 444"/>
              <a:gd name="T90" fmla="*/ 229 w 447"/>
              <a:gd name="T91" fmla="*/ 235 h 444"/>
              <a:gd name="T92" fmla="*/ 270 w 447"/>
              <a:gd name="T93" fmla="*/ 308 h 444"/>
              <a:gd name="T94" fmla="*/ 238 w 447"/>
              <a:gd name="T95" fmla="*/ 318 h 444"/>
              <a:gd name="T96" fmla="*/ 344 w 447"/>
              <a:gd name="T97" fmla="*/ 308 h 444"/>
              <a:gd name="T98" fmla="*/ 359 w 447"/>
              <a:gd name="T99" fmla="*/ 284 h 444"/>
              <a:gd name="T100" fmla="*/ 390 w 447"/>
              <a:gd name="T101" fmla="*/ 22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7" h="444">
                <a:moveTo>
                  <a:pt x="412" y="222"/>
                </a:moveTo>
                <a:cubicBezTo>
                  <a:pt x="412" y="220"/>
                  <a:pt x="412" y="218"/>
                  <a:pt x="412" y="217"/>
                </a:cubicBezTo>
                <a:cubicBezTo>
                  <a:pt x="447" y="210"/>
                  <a:pt x="447" y="210"/>
                  <a:pt x="447" y="210"/>
                </a:cubicBezTo>
                <a:cubicBezTo>
                  <a:pt x="437" y="157"/>
                  <a:pt x="437" y="157"/>
                  <a:pt x="437" y="157"/>
                </a:cubicBezTo>
                <a:cubicBezTo>
                  <a:pt x="402" y="163"/>
                  <a:pt x="402" y="163"/>
                  <a:pt x="402" y="163"/>
                </a:cubicBezTo>
                <a:cubicBezTo>
                  <a:pt x="401" y="160"/>
                  <a:pt x="400" y="156"/>
                  <a:pt x="398" y="153"/>
                </a:cubicBezTo>
                <a:cubicBezTo>
                  <a:pt x="429" y="135"/>
                  <a:pt x="429" y="135"/>
                  <a:pt x="429" y="135"/>
                </a:cubicBezTo>
                <a:cubicBezTo>
                  <a:pt x="402" y="88"/>
                  <a:pt x="402" y="88"/>
                  <a:pt x="402" y="88"/>
                </a:cubicBezTo>
                <a:cubicBezTo>
                  <a:pt x="371" y="106"/>
                  <a:pt x="371" y="106"/>
                  <a:pt x="371" y="106"/>
                </a:cubicBezTo>
                <a:cubicBezTo>
                  <a:pt x="369" y="103"/>
                  <a:pt x="366" y="100"/>
                  <a:pt x="364" y="97"/>
                </a:cubicBezTo>
                <a:cubicBezTo>
                  <a:pt x="387" y="70"/>
                  <a:pt x="387" y="70"/>
                  <a:pt x="387" y="70"/>
                </a:cubicBezTo>
                <a:cubicBezTo>
                  <a:pt x="346" y="35"/>
                  <a:pt x="346" y="35"/>
                  <a:pt x="346" y="35"/>
                </a:cubicBezTo>
                <a:cubicBezTo>
                  <a:pt x="322" y="62"/>
                  <a:pt x="322" y="62"/>
                  <a:pt x="322" y="62"/>
                </a:cubicBezTo>
                <a:cubicBezTo>
                  <a:pt x="319" y="60"/>
                  <a:pt x="316" y="58"/>
                  <a:pt x="313" y="57"/>
                </a:cubicBezTo>
                <a:cubicBezTo>
                  <a:pt x="325" y="23"/>
                  <a:pt x="325" y="23"/>
                  <a:pt x="325" y="23"/>
                </a:cubicBezTo>
                <a:cubicBezTo>
                  <a:pt x="274" y="4"/>
                  <a:pt x="274" y="4"/>
                  <a:pt x="274" y="4"/>
                </a:cubicBezTo>
                <a:cubicBezTo>
                  <a:pt x="262" y="38"/>
                  <a:pt x="262" y="38"/>
                  <a:pt x="262" y="38"/>
                </a:cubicBezTo>
                <a:cubicBezTo>
                  <a:pt x="258" y="37"/>
                  <a:pt x="254" y="37"/>
                  <a:pt x="251" y="36"/>
                </a:cubicBezTo>
                <a:cubicBezTo>
                  <a:pt x="251" y="0"/>
                  <a:pt x="251" y="0"/>
                  <a:pt x="251" y="0"/>
                </a:cubicBezTo>
                <a:cubicBezTo>
                  <a:pt x="197" y="0"/>
                  <a:pt x="197" y="0"/>
                  <a:pt x="197" y="0"/>
                </a:cubicBezTo>
                <a:cubicBezTo>
                  <a:pt x="197" y="36"/>
                  <a:pt x="197" y="36"/>
                  <a:pt x="197" y="36"/>
                </a:cubicBezTo>
                <a:cubicBezTo>
                  <a:pt x="193" y="37"/>
                  <a:pt x="189" y="37"/>
                  <a:pt x="185" y="38"/>
                </a:cubicBezTo>
                <a:cubicBezTo>
                  <a:pt x="173" y="4"/>
                  <a:pt x="173" y="4"/>
                  <a:pt x="173" y="4"/>
                </a:cubicBezTo>
                <a:cubicBezTo>
                  <a:pt x="122" y="23"/>
                  <a:pt x="122" y="23"/>
                  <a:pt x="122" y="23"/>
                </a:cubicBezTo>
                <a:cubicBezTo>
                  <a:pt x="135" y="57"/>
                  <a:pt x="135" y="57"/>
                  <a:pt x="135" y="57"/>
                </a:cubicBezTo>
                <a:cubicBezTo>
                  <a:pt x="131" y="58"/>
                  <a:pt x="128" y="60"/>
                  <a:pt x="125" y="62"/>
                </a:cubicBezTo>
                <a:cubicBezTo>
                  <a:pt x="102" y="35"/>
                  <a:pt x="102" y="35"/>
                  <a:pt x="102" y="35"/>
                </a:cubicBezTo>
                <a:cubicBezTo>
                  <a:pt x="60" y="70"/>
                  <a:pt x="60" y="70"/>
                  <a:pt x="60" y="70"/>
                </a:cubicBezTo>
                <a:cubicBezTo>
                  <a:pt x="83" y="97"/>
                  <a:pt x="83" y="97"/>
                  <a:pt x="83" y="97"/>
                </a:cubicBezTo>
                <a:cubicBezTo>
                  <a:pt x="81" y="100"/>
                  <a:pt x="78" y="103"/>
                  <a:pt x="76" y="106"/>
                </a:cubicBezTo>
                <a:cubicBezTo>
                  <a:pt x="45" y="88"/>
                  <a:pt x="45" y="88"/>
                  <a:pt x="45" y="88"/>
                </a:cubicBezTo>
                <a:cubicBezTo>
                  <a:pt x="18" y="135"/>
                  <a:pt x="18" y="135"/>
                  <a:pt x="18" y="135"/>
                </a:cubicBezTo>
                <a:cubicBezTo>
                  <a:pt x="49" y="153"/>
                  <a:pt x="49" y="153"/>
                  <a:pt x="49" y="153"/>
                </a:cubicBezTo>
                <a:cubicBezTo>
                  <a:pt x="48" y="156"/>
                  <a:pt x="46" y="160"/>
                  <a:pt x="45" y="163"/>
                </a:cubicBezTo>
                <a:cubicBezTo>
                  <a:pt x="10" y="157"/>
                  <a:pt x="10" y="157"/>
                  <a:pt x="10" y="157"/>
                </a:cubicBezTo>
                <a:cubicBezTo>
                  <a:pt x="0" y="210"/>
                  <a:pt x="0" y="210"/>
                  <a:pt x="0" y="210"/>
                </a:cubicBezTo>
                <a:cubicBezTo>
                  <a:pt x="36" y="217"/>
                  <a:pt x="36" y="217"/>
                  <a:pt x="36" y="217"/>
                </a:cubicBezTo>
                <a:cubicBezTo>
                  <a:pt x="36" y="218"/>
                  <a:pt x="36" y="220"/>
                  <a:pt x="36" y="222"/>
                </a:cubicBezTo>
                <a:cubicBezTo>
                  <a:pt x="36" y="224"/>
                  <a:pt x="36" y="226"/>
                  <a:pt x="36" y="228"/>
                </a:cubicBezTo>
                <a:cubicBezTo>
                  <a:pt x="0" y="234"/>
                  <a:pt x="0" y="234"/>
                  <a:pt x="0" y="234"/>
                </a:cubicBezTo>
                <a:cubicBezTo>
                  <a:pt x="10" y="287"/>
                  <a:pt x="10" y="287"/>
                  <a:pt x="10" y="287"/>
                </a:cubicBezTo>
                <a:cubicBezTo>
                  <a:pt x="45" y="281"/>
                  <a:pt x="45" y="281"/>
                  <a:pt x="45" y="281"/>
                </a:cubicBezTo>
                <a:cubicBezTo>
                  <a:pt x="46" y="285"/>
                  <a:pt x="48" y="288"/>
                  <a:pt x="49" y="292"/>
                </a:cubicBezTo>
                <a:cubicBezTo>
                  <a:pt x="18" y="310"/>
                  <a:pt x="18" y="310"/>
                  <a:pt x="18" y="310"/>
                </a:cubicBezTo>
                <a:cubicBezTo>
                  <a:pt x="45" y="357"/>
                  <a:pt x="45" y="357"/>
                  <a:pt x="45" y="357"/>
                </a:cubicBezTo>
                <a:cubicBezTo>
                  <a:pt x="76" y="339"/>
                  <a:pt x="76" y="339"/>
                  <a:pt x="76" y="339"/>
                </a:cubicBezTo>
                <a:cubicBezTo>
                  <a:pt x="78" y="342"/>
                  <a:pt x="81" y="344"/>
                  <a:pt x="83" y="347"/>
                </a:cubicBezTo>
                <a:cubicBezTo>
                  <a:pt x="60" y="375"/>
                  <a:pt x="60" y="375"/>
                  <a:pt x="60" y="375"/>
                </a:cubicBezTo>
                <a:cubicBezTo>
                  <a:pt x="102" y="410"/>
                  <a:pt x="102" y="410"/>
                  <a:pt x="102" y="410"/>
                </a:cubicBezTo>
                <a:cubicBezTo>
                  <a:pt x="125" y="382"/>
                  <a:pt x="125" y="382"/>
                  <a:pt x="125" y="382"/>
                </a:cubicBezTo>
                <a:cubicBezTo>
                  <a:pt x="128" y="384"/>
                  <a:pt x="131" y="386"/>
                  <a:pt x="135" y="388"/>
                </a:cubicBezTo>
                <a:cubicBezTo>
                  <a:pt x="122" y="421"/>
                  <a:pt x="122" y="421"/>
                  <a:pt x="122" y="421"/>
                </a:cubicBezTo>
                <a:cubicBezTo>
                  <a:pt x="173" y="440"/>
                  <a:pt x="173" y="440"/>
                  <a:pt x="173" y="440"/>
                </a:cubicBezTo>
                <a:cubicBezTo>
                  <a:pt x="185" y="406"/>
                  <a:pt x="185" y="406"/>
                  <a:pt x="185" y="406"/>
                </a:cubicBezTo>
                <a:cubicBezTo>
                  <a:pt x="189" y="407"/>
                  <a:pt x="193" y="408"/>
                  <a:pt x="197" y="408"/>
                </a:cubicBezTo>
                <a:cubicBezTo>
                  <a:pt x="197" y="444"/>
                  <a:pt x="197" y="444"/>
                  <a:pt x="197" y="444"/>
                </a:cubicBezTo>
                <a:cubicBezTo>
                  <a:pt x="251" y="444"/>
                  <a:pt x="251" y="444"/>
                  <a:pt x="251" y="444"/>
                </a:cubicBezTo>
                <a:cubicBezTo>
                  <a:pt x="251" y="408"/>
                  <a:pt x="251" y="408"/>
                  <a:pt x="251" y="408"/>
                </a:cubicBezTo>
                <a:cubicBezTo>
                  <a:pt x="254" y="408"/>
                  <a:pt x="258" y="407"/>
                  <a:pt x="262" y="406"/>
                </a:cubicBezTo>
                <a:cubicBezTo>
                  <a:pt x="274" y="440"/>
                  <a:pt x="274" y="440"/>
                  <a:pt x="274" y="440"/>
                </a:cubicBezTo>
                <a:cubicBezTo>
                  <a:pt x="325" y="421"/>
                  <a:pt x="325" y="421"/>
                  <a:pt x="325" y="421"/>
                </a:cubicBezTo>
                <a:cubicBezTo>
                  <a:pt x="313" y="388"/>
                  <a:pt x="313" y="388"/>
                  <a:pt x="313" y="388"/>
                </a:cubicBezTo>
                <a:cubicBezTo>
                  <a:pt x="316" y="386"/>
                  <a:pt x="319" y="384"/>
                  <a:pt x="322" y="382"/>
                </a:cubicBezTo>
                <a:cubicBezTo>
                  <a:pt x="346" y="410"/>
                  <a:pt x="346" y="410"/>
                  <a:pt x="346" y="410"/>
                </a:cubicBezTo>
                <a:cubicBezTo>
                  <a:pt x="387" y="375"/>
                  <a:pt x="387" y="375"/>
                  <a:pt x="387" y="375"/>
                </a:cubicBezTo>
                <a:cubicBezTo>
                  <a:pt x="364" y="347"/>
                  <a:pt x="364" y="347"/>
                  <a:pt x="364" y="347"/>
                </a:cubicBezTo>
                <a:cubicBezTo>
                  <a:pt x="366" y="344"/>
                  <a:pt x="369" y="342"/>
                  <a:pt x="371" y="339"/>
                </a:cubicBezTo>
                <a:cubicBezTo>
                  <a:pt x="402" y="357"/>
                  <a:pt x="402" y="357"/>
                  <a:pt x="402" y="357"/>
                </a:cubicBezTo>
                <a:cubicBezTo>
                  <a:pt x="429" y="310"/>
                  <a:pt x="429" y="310"/>
                  <a:pt x="429" y="310"/>
                </a:cubicBezTo>
                <a:cubicBezTo>
                  <a:pt x="398" y="292"/>
                  <a:pt x="398" y="292"/>
                  <a:pt x="398" y="292"/>
                </a:cubicBezTo>
                <a:cubicBezTo>
                  <a:pt x="400" y="288"/>
                  <a:pt x="401" y="285"/>
                  <a:pt x="402" y="281"/>
                </a:cubicBezTo>
                <a:cubicBezTo>
                  <a:pt x="437" y="287"/>
                  <a:pt x="437" y="287"/>
                  <a:pt x="437" y="287"/>
                </a:cubicBezTo>
                <a:cubicBezTo>
                  <a:pt x="447" y="234"/>
                  <a:pt x="447" y="234"/>
                  <a:pt x="447" y="234"/>
                </a:cubicBezTo>
                <a:cubicBezTo>
                  <a:pt x="412" y="228"/>
                  <a:pt x="412" y="228"/>
                  <a:pt x="412" y="228"/>
                </a:cubicBezTo>
                <a:cubicBezTo>
                  <a:pt x="412" y="226"/>
                  <a:pt x="412" y="224"/>
                  <a:pt x="412" y="222"/>
                </a:cubicBezTo>
                <a:close/>
                <a:moveTo>
                  <a:pt x="238" y="56"/>
                </a:moveTo>
                <a:cubicBezTo>
                  <a:pt x="288" y="61"/>
                  <a:pt x="333" y="88"/>
                  <a:pt x="360" y="127"/>
                </a:cubicBezTo>
                <a:cubicBezTo>
                  <a:pt x="344" y="136"/>
                  <a:pt x="344" y="136"/>
                  <a:pt x="344" y="136"/>
                </a:cubicBezTo>
                <a:cubicBezTo>
                  <a:pt x="320" y="102"/>
                  <a:pt x="282" y="79"/>
                  <a:pt x="238" y="75"/>
                </a:cubicBezTo>
                <a:lnTo>
                  <a:pt x="238" y="56"/>
                </a:lnTo>
                <a:close/>
                <a:moveTo>
                  <a:pt x="339" y="228"/>
                </a:moveTo>
                <a:cubicBezTo>
                  <a:pt x="334" y="256"/>
                  <a:pt x="334" y="256"/>
                  <a:pt x="334" y="256"/>
                </a:cubicBezTo>
                <a:cubicBezTo>
                  <a:pt x="316" y="253"/>
                  <a:pt x="316" y="253"/>
                  <a:pt x="316" y="253"/>
                </a:cubicBezTo>
                <a:cubicBezTo>
                  <a:pt x="315" y="254"/>
                  <a:pt x="315" y="256"/>
                  <a:pt x="314" y="258"/>
                </a:cubicBezTo>
                <a:cubicBezTo>
                  <a:pt x="330" y="267"/>
                  <a:pt x="330" y="267"/>
                  <a:pt x="330" y="267"/>
                </a:cubicBezTo>
                <a:cubicBezTo>
                  <a:pt x="316" y="292"/>
                  <a:pt x="316" y="292"/>
                  <a:pt x="316" y="292"/>
                </a:cubicBezTo>
                <a:cubicBezTo>
                  <a:pt x="300" y="282"/>
                  <a:pt x="300" y="282"/>
                  <a:pt x="300" y="282"/>
                </a:cubicBezTo>
                <a:cubicBezTo>
                  <a:pt x="299" y="284"/>
                  <a:pt x="297" y="285"/>
                  <a:pt x="296" y="287"/>
                </a:cubicBezTo>
                <a:cubicBezTo>
                  <a:pt x="299" y="290"/>
                  <a:pt x="299" y="290"/>
                  <a:pt x="299" y="290"/>
                </a:cubicBezTo>
                <a:cubicBezTo>
                  <a:pt x="236" y="227"/>
                  <a:pt x="236" y="227"/>
                  <a:pt x="236" y="227"/>
                </a:cubicBezTo>
                <a:cubicBezTo>
                  <a:pt x="334" y="227"/>
                  <a:pt x="334" y="227"/>
                  <a:pt x="334" y="227"/>
                </a:cubicBezTo>
                <a:lnTo>
                  <a:pt x="339" y="228"/>
                </a:lnTo>
                <a:close/>
                <a:moveTo>
                  <a:pt x="147" y="282"/>
                </a:moveTo>
                <a:cubicBezTo>
                  <a:pt x="131" y="292"/>
                  <a:pt x="131" y="292"/>
                  <a:pt x="131" y="292"/>
                </a:cubicBezTo>
                <a:cubicBezTo>
                  <a:pt x="117" y="267"/>
                  <a:pt x="117" y="267"/>
                  <a:pt x="117" y="267"/>
                </a:cubicBezTo>
                <a:cubicBezTo>
                  <a:pt x="133" y="258"/>
                  <a:pt x="133" y="258"/>
                  <a:pt x="133" y="258"/>
                </a:cubicBezTo>
                <a:cubicBezTo>
                  <a:pt x="133" y="256"/>
                  <a:pt x="132" y="254"/>
                  <a:pt x="131" y="253"/>
                </a:cubicBezTo>
                <a:cubicBezTo>
                  <a:pt x="113" y="256"/>
                  <a:pt x="113" y="256"/>
                  <a:pt x="113" y="256"/>
                </a:cubicBezTo>
                <a:cubicBezTo>
                  <a:pt x="108" y="228"/>
                  <a:pt x="108" y="228"/>
                  <a:pt x="108" y="228"/>
                </a:cubicBezTo>
                <a:cubicBezTo>
                  <a:pt x="113" y="227"/>
                  <a:pt x="113" y="227"/>
                  <a:pt x="113" y="227"/>
                </a:cubicBezTo>
                <a:cubicBezTo>
                  <a:pt x="211" y="227"/>
                  <a:pt x="211" y="227"/>
                  <a:pt x="211" y="227"/>
                </a:cubicBezTo>
                <a:cubicBezTo>
                  <a:pt x="148" y="290"/>
                  <a:pt x="148" y="290"/>
                  <a:pt x="148" y="290"/>
                </a:cubicBezTo>
                <a:cubicBezTo>
                  <a:pt x="151" y="287"/>
                  <a:pt x="151" y="287"/>
                  <a:pt x="151" y="287"/>
                </a:cubicBezTo>
                <a:cubicBezTo>
                  <a:pt x="150" y="285"/>
                  <a:pt x="149" y="284"/>
                  <a:pt x="147" y="282"/>
                </a:cubicBezTo>
                <a:close/>
                <a:moveTo>
                  <a:pt x="108" y="216"/>
                </a:moveTo>
                <a:cubicBezTo>
                  <a:pt x="113" y="188"/>
                  <a:pt x="113" y="188"/>
                  <a:pt x="113" y="188"/>
                </a:cubicBezTo>
                <a:cubicBezTo>
                  <a:pt x="131" y="192"/>
                  <a:pt x="131" y="192"/>
                  <a:pt x="131" y="192"/>
                </a:cubicBezTo>
                <a:cubicBezTo>
                  <a:pt x="132" y="190"/>
                  <a:pt x="133" y="188"/>
                  <a:pt x="133" y="186"/>
                </a:cubicBezTo>
                <a:cubicBezTo>
                  <a:pt x="117" y="177"/>
                  <a:pt x="117" y="177"/>
                  <a:pt x="117" y="177"/>
                </a:cubicBezTo>
                <a:cubicBezTo>
                  <a:pt x="131" y="153"/>
                  <a:pt x="131" y="153"/>
                  <a:pt x="131" y="153"/>
                </a:cubicBezTo>
                <a:cubicBezTo>
                  <a:pt x="147" y="162"/>
                  <a:pt x="147" y="162"/>
                  <a:pt x="147" y="162"/>
                </a:cubicBezTo>
                <a:cubicBezTo>
                  <a:pt x="149" y="160"/>
                  <a:pt x="150" y="159"/>
                  <a:pt x="151" y="158"/>
                </a:cubicBezTo>
                <a:cubicBezTo>
                  <a:pt x="148" y="154"/>
                  <a:pt x="148" y="154"/>
                  <a:pt x="148" y="154"/>
                </a:cubicBezTo>
                <a:cubicBezTo>
                  <a:pt x="211" y="217"/>
                  <a:pt x="211" y="217"/>
                  <a:pt x="211" y="217"/>
                </a:cubicBezTo>
                <a:cubicBezTo>
                  <a:pt x="113" y="217"/>
                  <a:pt x="113" y="217"/>
                  <a:pt x="113" y="217"/>
                </a:cubicBezTo>
                <a:lnTo>
                  <a:pt x="108" y="216"/>
                </a:lnTo>
                <a:close/>
                <a:moveTo>
                  <a:pt x="300" y="162"/>
                </a:moveTo>
                <a:cubicBezTo>
                  <a:pt x="316" y="153"/>
                  <a:pt x="316" y="153"/>
                  <a:pt x="316" y="153"/>
                </a:cubicBezTo>
                <a:cubicBezTo>
                  <a:pt x="330" y="177"/>
                  <a:pt x="330" y="177"/>
                  <a:pt x="330" y="177"/>
                </a:cubicBezTo>
                <a:cubicBezTo>
                  <a:pt x="314" y="186"/>
                  <a:pt x="314" y="186"/>
                  <a:pt x="314" y="186"/>
                </a:cubicBezTo>
                <a:cubicBezTo>
                  <a:pt x="315" y="188"/>
                  <a:pt x="315" y="190"/>
                  <a:pt x="316" y="192"/>
                </a:cubicBezTo>
                <a:cubicBezTo>
                  <a:pt x="334" y="188"/>
                  <a:pt x="334" y="188"/>
                  <a:pt x="334" y="188"/>
                </a:cubicBezTo>
                <a:cubicBezTo>
                  <a:pt x="339" y="216"/>
                  <a:pt x="339" y="216"/>
                  <a:pt x="339" y="216"/>
                </a:cubicBezTo>
                <a:cubicBezTo>
                  <a:pt x="334" y="217"/>
                  <a:pt x="334" y="217"/>
                  <a:pt x="334" y="217"/>
                </a:cubicBezTo>
                <a:cubicBezTo>
                  <a:pt x="236" y="217"/>
                  <a:pt x="236" y="217"/>
                  <a:pt x="236" y="217"/>
                </a:cubicBezTo>
                <a:cubicBezTo>
                  <a:pt x="299" y="154"/>
                  <a:pt x="299" y="154"/>
                  <a:pt x="299" y="154"/>
                </a:cubicBezTo>
                <a:cubicBezTo>
                  <a:pt x="296" y="158"/>
                  <a:pt x="296" y="158"/>
                  <a:pt x="296" y="158"/>
                </a:cubicBezTo>
                <a:cubicBezTo>
                  <a:pt x="297" y="159"/>
                  <a:pt x="299" y="160"/>
                  <a:pt x="300" y="162"/>
                </a:cubicBezTo>
                <a:close/>
                <a:moveTo>
                  <a:pt x="243" y="127"/>
                </a:moveTo>
                <a:cubicBezTo>
                  <a:pt x="250" y="110"/>
                  <a:pt x="250" y="110"/>
                  <a:pt x="250" y="110"/>
                </a:cubicBezTo>
                <a:cubicBezTo>
                  <a:pt x="276" y="119"/>
                  <a:pt x="276" y="119"/>
                  <a:pt x="276" y="119"/>
                </a:cubicBezTo>
                <a:cubicBezTo>
                  <a:pt x="270" y="137"/>
                  <a:pt x="270" y="137"/>
                  <a:pt x="270" y="137"/>
                </a:cubicBezTo>
                <a:cubicBezTo>
                  <a:pt x="271" y="138"/>
                  <a:pt x="273" y="138"/>
                  <a:pt x="275" y="140"/>
                </a:cubicBezTo>
                <a:cubicBezTo>
                  <a:pt x="287" y="125"/>
                  <a:pt x="287" y="125"/>
                  <a:pt x="287" y="125"/>
                </a:cubicBezTo>
                <a:cubicBezTo>
                  <a:pt x="301" y="137"/>
                  <a:pt x="301" y="137"/>
                  <a:pt x="301" y="137"/>
                </a:cubicBezTo>
                <a:cubicBezTo>
                  <a:pt x="229" y="210"/>
                  <a:pt x="229" y="210"/>
                  <a:pt x="229" y="210"/>
                </a:cubicBezTo>
                <a:cubicBezTo>
                  <a:pt x="229" y="107"/>
                  <a:pt x="229" y="107"/>
                  <a:pt x="229" y="107"/>
                </a:cubicBezTo>
                <a:cubicBezTo>
                  <a:pt x="238" y="107"/>
                  <a:pt x="238" y="107"/>
                  <a:pt x="238" y="107"/>
                </a:cubicBezTo>
                <a:cubicBezTo>
                  <a:pt x="238" y="126"/>
                  <a:pt x="238" y="126"/>
                  <a:pt x="238" y="126"/>
                </a:cubicBezTo>
                <a:cubicBezTo>
                  <a:pt x="240" y="126"/>
                  <a:pt x="241" y="127"/>
                  <a:pt x="243" y="127"/>
                </a:cubicBezTo>
                <a:close/>
                <a:moveTo>
                  <a:pt x="210" y="107"/>
                </a:moveTo>
                <a:cubicBezTo>
                  <a:pt x="218" y="107"/>
                  <a:pt x="218" y="107"/>
                  <a:pt x="218" y="107"/>
                </a:cubicBezTo>
                <a:cubicBezTo>
                  <a:pt x="218" y="210"/>
                  <a:pt x="218" y="210"/>
                  <a:pt x="218" y="210"/>
                </a:cubicBezTo>
                <a:cubicBezTo>
                  <a:pt x="146" y="137"/>
                  <a:pt x="146" y="137"/>
                  <a:pt x="146" y="137"/>
                </a:cubicBezTo>
                <a:cubicBezTo>
                  <a:pt x="161" y="125"/>
                  <a:pt x="161" y="125"/>
                  <a:pt x="161" y="125"/>
                </a:cubicBezTo>
                <a:cubicBezTo>
                  <a:pt x="173" y="140"/>
                  <a:pt x="173" y="140"/>
                  <a:pt x="173" y="140"/>
                </a:cubicBezTo>
                <a:cubicBezTo>
                  <a:pt x="174" y="138"/>
                  <a:pt x="176" y="138"/>
                  <a:pt x="178" y="137"/>
                </a:cubicBezTo>
                <a:cubicBezTo>
                  <a:pt x="171" y="119"/>
                  <a:pt x="171" y="119"/>
                  <a:pt x="171" y="119"/>
                </a:cubicBezTo>
                <a:cubicBezTo>
                  <a:pt x="198" y="110"/>
                  <a:pt x="198" y="110"/>
                  <a:pt x="198" y="110"/>
                </a:cubicBezTo>
                <a:cubicBezTo>
                  <a:pt x="204" y="127"/>
                  <a:pt x="204" y="127"/>
                  <a:pt x="204" y="127"/>
                </a:cubicBezTo>
                <a:cubicBezTo>
                  <a:pt x="206" y="127"/>
                  <a:pt x="208" y="126"/>
                  <a:pt x="210" y="126"/>
                </a:cubicBezTo>
                <a:lnTo>
                  <a:pt x="210" y="107"/>
                </a:lnTo>
                <a:close/>
                <a:moveTo>
                  <a:pt x="209" y="56"/>
                </a:moveTo>
                <a:cubicBezTo>
                  <a:pt x="209" y="75"/>
                  <a:pt x="209" y="75"/>
                  <a:pt x="209" y="75"/>
                </a:cubicBezTo>
                <a:cubicBezTo>
                  <a:pt x="166" y="79"/>
                  <a:pt x="127" y="102"/>
                  <a:pt x="103" y="136"/>
                </a:cubicBezTo>
                <a:cubicBezTo>
                  <a:pt x="87" y="127"/>
                  <a:pt x="87" y="127"/>
                  <a:pt x="87" y="127"/>
                </a:cubicBezTo>
                <a:cubicBezTo>
                  <a:pt x="115" y="88"/>
                  <a:pt x="159" y="61"/>
                  <a:pt x="209" y="56"/>
                </a:cubicBezTo>
                <a:close/>
                <a:moveTo>
                  <a:pt x="73" y="293"/>
                </a:moveTo>
                <a:cubicBezTo>
                  <a:pt x="63" y="271"/>
                  <a:pt x="57" y="247"/>
                  <a:pt x="57" y="222"/>
                </a:cubicBezTo>
                <a:cubicBezTo>
                  <a:pt x="57" y="197"/>
                  <a:pt x="63" y="173"/>
                  <a:pt x="73" y="152"/>
                </a:cubicBezTo>
                <a:cubicBezTo>
                  <a:pt x="89" y="161"/>
                  <a:pt x="89" y="161"/>
                  <a:pt x="89" y="161"/>
                </a:cubicBezTo>
                <a:cubicBezTo>
                  <a:pt x="80" y="179"/>
                  <a:pt x="75" y="200"/>
                  <a:pt x="75" y="222"/>
                </a:cubicBezTo>
                <a:cubicBezTo>
                  <a:pt x="75" y="244"/>
                  <a:pt x="80" y="265"/>
                  <a:pt x="89" y="284"/>
                </a:cubicBezTo>
                <a:lnTo>
                  <a:pt x="73" y="293"/>
                </a:lnTo>
                <a:close/>
                <a:moveTo>
                  <a:pt x="209" y="388"/>
                </a:moveTo>
                <a:cubicBezTo>
                  <a:pt x="159" y="384"/>
                  <a:pt x="115" y="357"/>
                  <a:pt x="87" y="317"/>
                </a:cubicBezTo>
                <a:cubicBezTo>
                  <a:pt x="103" y="308"/>
                  <a:pt x="103" y="308"/>
                  <a:pt x="103" y="308"/>
                </a:cubicBezTo>
                <a:cubicBezTo>
                  <a:pt x="127" y="342"/>
                  <a:pt x="166" y="366"/>
                  <a:pt x="209" y="370"/>
                </a:cubicBezTo>
                <a:lnTo>
                  <a:pt x="209" y="388"/>
                </a:lnTo>
                <a:close/>
                <a:moveTo>
                  <a:pt x="204" y="317"/>
                </a:moveTo>
                <a:cubicBezTo>
                  <a:pt x="198" y="335"/>
                  <a:pt x="198" y="335"/>
                  <a:pt x="198" y="335"/>
                </a:cubicBezTo>
                <a:cubicBezTo>
                  <a:pt x="171" y="325"/>
                  <a:pt x="171" y="325"/>
                  <a:pt x="171" y="325"/>
                </a:cubicBezTo>
                <a:cubicBezTo>
                  <a:pt x="178" y="308"/>
                  <a:pt x="178" y="308"/>
                  <a:pt x="178" y="308"/>
                </a:cubicBezTo>
                <a:cubicBezTo>
                  <a:pt x="176" y="307"/>
                  <a:pt x="174" y="306"/>
                  <a:pt x="173" y="305"/>
                </a:cubicBezTo>
                <a:cubicBezTo>
                  <a:pt x="161" y="319"/>
                  <a:pt x="161" y="319"/>
                  <a:pt x="161" y="319"/>
                </a:cubicBezTo>
                <a:cubicBezTo>
                  <a:pt x="146" y="307"/>
                  <a:pt x="146" y="307"/>
                  <a:pt x="146" y="307"/>
                </a:cubicBezTo>
                <a:cubicBezTo>
                  <a:pt x="218" y="235"/>
                  <a:pt x="218" y="235"/>
                  <a:pt x="218" y="235"/>
                </a:cubicBezTo>
                <a:cubicBezTo>
                  <a:pt x="218" y="337"/>
                  <a:pt x="218" y="337"/>
                  <a:pt x="218" y="337"/>
                </a:cubicBezTo>
                <a:cubicBezTo>
                  <a:pt x="210" y="337"/>
                  <a:pt x="210" y="337"/>
                  <a:pt x="210" y="337"/>
                </a:cubicBezTo>
                <a:cubicBezTo>
                  <a:pt x="210" y="318"/>
                  <a:pt x="210" y="318"/>
                  <a:pt x="210" y="318"/>
                </a:cubicBezTo>
                <a:cubicBezTo>
                  <a:pt x="208" y="318"/>
                  <a:pt x="206" y="318"/>
                  <a:pt x="204" y="317"/>
                </a:cubicBezTo>
                <a:close/>
                <a:moveTo>
                  <a:pt x="238" y="337"/>
                </a:moveTo>
                <a:cubicBezTo>
                  <a:pt x="229" y="337"/>
                  <a:pt x="229" y="337"/>
                  <a:pt x="229" y="337"/>
                </a:cubicBezTo>
                <a:cubicBezTo>
                  <a:pt x="229" y="235"/>
                  <a:pt x="229" y="235"/>
                  <a:pt x="229" y="235"/>
                </a:cubicBezTo>
                <a:cubicBezTo>
                  <a:pt x="301" y="307"/>
                  <a:pt x="301" y="307"/>
                  <a:pt x="301" y="307"/>
                </a:cubicBezTo>
                <a:cubicBezTo>
                  <a:pt x="287" y="319"/>
                  <a:pt x="287" y="319"/>
                  <a:pt x="287" y="319"/>
                </a:cubicBezTo>
                <a:cubicBezTo>
                  <a:pt x="275" y="305"/>
                  <a:pt x="275" y="305"/>
                  <a:pt x="275" y="305"/>
                </a:cubicBezTo>
                <a:cubicBezTo>
                  <a:pt x="273" y="306"/>
                  <a:pt x="271" y="307"/>
                  <a:pt x="270" y="308"/>
                </a:cubicBezTo>
                <a:cubicBezTo>
                  <a:pt x="276" y="325"/>
                  <a:pt x="276" y="325"/>
                  <a:pt x="276" y="325"/>
                </a:cubicBezTo>
                <a:cubicBezTo>
                  <a:pt x="250" y="335"/>
                  <a:pt x="250" y="335"/>
                  <a:pt x="250" y="335"/>
                </a:cubicBezTo>
                <a:cubicBezTo>
                  <a:pt x="243" y="317"/>
                  <a:pt x="243" y="317"/>
                  <a:pt x="243" y="317"/>
                </a:cubicBezTo>
                <a:cubicBezTo>
                  <a:pt x="241" y="318"/>
                  <a:pt x="240" y="318"/>
                  <a:pt x="238" y="318"/>
                </a:cubicBezTo>
                <a:lnTo>
                  <a:pt x="238" y="337"/>
                </a:lnTo>
                <a:close/>
                <a:moveTo>
                  <a:pt x="238" y="388"/>
                </a:moveTo>
                <a:cubicBezTo>
                  <a:pt x="238" y="370"/>
                  <a:pt x="238" y="370"/>
                  <a:pt x="238" y="370"/>
                </a:cubicBezTo>
                <a:cubicBezTo>
                  <a:pt x="282" y="366"/>
                  <a:pt x="320" y="342"/>
                  <a:pt x="344" y="308"/>
                </a:cubicBezTo>
                <a:cubicBezTo>
                  <a:pt x="360" y="317"/>
                  <a:pt x="360" y="317"/>
                  <a:pt x="360" y="317"/>
                </a:cubicBezTo>
                <a:cubicBezTo>
                  <a:pt x="333" y="357"/>
                  <a:pt x="288" y="384"/>
                  <a:pt x="238" y="388"/>
                </a:cubicBezTo>
                <a:close/>
                <a:moveTo>
                  <a:pt x="374" y="293"/>
                </a:moveTo>
                <a:cubicBezTo>
                  <a:pt x="359" y="284"/>
                  <a:pt x="359" y="284"/>
                  <a:pt x="359" y="284"/>
                </a:cubicBezTo>
                <a:cubicBezTo>
                  <a:pt x="367" y="265"/>
                  <a:pt x="372" y="244"/>
                  <a:pt x="372" y="222"/>
                </a:cubicBezTo>
                <a:cubicBezTo>
                  <a:pt x="372" y="200"/>
                  <a:pt x="367" y="179"/>
                  <a:pt x="359" y="161"/>
                </a:cubicBezTo>
                <a:cubicBezTo>
                  <a:pt x="374" y="152"/>
                  <a:pt x="374" y="152"/>
                  <a:pt x="374" y="152"/>
                </a:cubicBezTo>
                <a:cubicBezTo>
                  <a:pt x="384" y="173"/>
                  <a:pt x="390" y="197"/>
                  <a:pt x="390" y="222"/>
                </a:cubicBezTo>
                <a:cubicBezTo>
                  <a:pt x="390" y="247"/>
                  <a:pt x="384" y="271"/>
                  <a:pt x="374" y="293"/>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3" name="Group 2"/>
          <p:cNvGrpSpPr/>
          <p:nvPr/>
        </p:nvGrpSpPr>
        <p:grpSpPr>
          <a:xfrm>
            <a:off x="6413031" y="4129434"/>
            <a:ext cx="885668" cy="880851"/>
            <a:chOff x="6413031" y="4129434"/>
            <a:chExt cx="885668" cy="880851"/>
          </a:xfrm>
          <a:solidFill>
            <a:srgbClr val="046A38"/>
          </a:solidFill>
        </p:grpSpPr>
        <p:sp>
          <p:nvSpPr>
            <p:cNvPr id="46" name="Freeform 25"/>
            <p:cNvSpPr>
              <a:spLocks noEditPoints="1"/>
            </p:cNvSpPr>
            <p:nvPr/>
          </p:nvSpPr>
          <p:spPr bwMode="auto">
            <a:xfrm>
              <a:off x="6639437" y="4352399"/>
              <a:ext cx="432855" cy="432856"/>
            </a:xfrm>
            <a:custGeom>
              <a:avLst/>
              <a:gdLst>
                <a:gd name="T0" fmla="*/ 133 w 266"/>
                <a:gd name="T1" fmla="*/ 0 h 266"/>
                <a:gd name="T2" fmla="*/ 0 w 266"/>
                <a:gd name="T3" fmla="*/ 133 h 266"/>
                <a:gd name="T4" fmla="*/ 133 w 266"/>
                <a:gd name="T5" fmla="*/ 266 h 266"/>
                <a:gd name="T6" fmla="*/ 266 w 266"/>
                <a:gd name="T7" fmla="*/ 133 h 266"/>
                <a:gd name="T8" fmla="*/ 133 w 266"/>
                <a:gd name="T9" fmla="*/ 0 h 266"/>
                <a:gd name="T10" fmla="*/ 133 w 266"/>
                <a:gd name="T11" fmla="*/ 219 h 266"/>
                <a:gd name="T12" fmla="*/ 47 w 266"/>
                <a:gd name="T13" fmla="*/ 133 h 266"/>
                <a:gd name="T14" fmla="*/ 133 w 266"/>
                <a:gd name="T15" fmla="*/ 47 h 266"/>
                <a:gd name="T16" fmla="*/ 219 w 266"/>
                <a:gd name="T17" fmla="*/ 133 h 266"/>
                <a:gd name="T18" fmla="*/ 133 w 266"/>
                <a:gd name="T19" fmla="*/ 219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6">
                  <a:moveTo>
                    <a:pt x="133" y="0"/>
                  </a:moveTo>
                  <a:cubicBezTo>
                    <a:pt x="60" y="0"/>
                    <a:pt x="0" y="60"/>
                    <a:pt x="0" y="133"/>
                  </a:cubicBezTo>
                  <a:cubicBezTo>
                    <a:pt x="0" y="207"/>
                    <a:pt x="60" y="266"/>
                    <a:pt x="133" y="266"/>
                  </a:cubicBezTo>
                  <a:cubicBezTo>
                    <a:pt x="206" y="266"/>
                    <a:pt x="266" y="207"/>
                    <a:pt x="266" y="133"/>
                  </a:cubicBezTo>
                  <a:cubicBezTo>
                    <a:pt x="266" y="60"/>
                    <a:pt x="206" y="0"/>
                    <a:pt x="133" y="0"/>
                  </a:cubicBezTo>
                  <a:close/>
                  <a:moveTo>
                    <a:pt x="133" y="219"/>
                  </a:moveTo>
                  <a:cubicBezTo>
                    <a:pt x="85" y="219"/>
                    <a:pt x="47" y="181"/>
                    <a:pt x="47" y="133"/>
                  </a:cubicBezTo>
                  <a:cubicBezTo>
                    <a:pt x="47" y="86"/>
                    <a:pt x="85" y="47"/>
                    <a:pt x="133" y="47"/>
                  </a:cubicBezTo>
                  <a:cubicBezTo>
                    <a:pt x="181" y="47"/>
                    <a:pt x="219" y="86"/>
                    <a:pt x="219" y="133"/>
                  </a:cubicBezTo>
                  <a:cubicBezTo>
                    <a:pt x="219" y="181"/>
                    <a:pt x="181" y="219"/>
                    <a:pt x="133" y="21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7" name="Freeform 26"/>
            <p:cNvSpPr>
              <a:spLocks noEditPoints="1"/>
            </p:cNvSpPr>
            <p:nvPr/>
          </p:nvSpPr>
          <p:spPr bwMode="auto">
            <a:xfrm>
              <a:off x="6758489" y="4471452"/>
              <a:ext cx="196815" cy="196815"/>
            </a:xfrm>
            <a:custGeom>
              <a:avLst/>
              <a:gdLst>
                <a:gd name="T0" fmla="*/ 60 w 121"/>
                <a:gd name="T1" fmla="*/ 0 h 121"/>
                <a:gd name="T2" fmla="*/ 0 w 121"/>
                <a:gd name="T3" fmla="*/ 60 h 121"/>
                <a:gd name="T4" fmla="*/ 60 w 121"/>
                <a:gd name="T5" fmla="*/ 121 h 121"/>
                <a:gd name="T6" fmla="*/ 121 w 121"/>
                <a:gd name="T7" fmla="*/ 60 h 121"/>
                <a:gd name="T8" fmla="*/ 60 w 121"/>
                <a:gd name="T9" fmla="*/ 0 h 121"/>
                <a:gd name="T10" fmla="*/ 60 w 121"/>
                <a:gd name="T11" fmla="*/ 100 h 121"/>
                <a:gd name="T12" fmla="*/ 21 w 121"/>
                <a:gd name="T13" fmla="*/ 60 h 121"/>
                <a:gd name="T14" fmla="*/ 60 w 121"/>
                <a:gd name="T15" fmla="*/ 21 h 121"/>
                <a:gd name="T16" fmla="*/ 99 w 121"/>
                <a:gd name="T17" fmla="*/ 60 h 121"/>
                <a:gd name="T18" fmla="*/ 60 w 121"/>
                <a:gd name="T19" fmla="*/ 10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60" y="0"/>
                  </a:moveTo>
                  <a:cubicBezTo>
                    <a:pt x="27" y="0"/>
                    <a:pt x="0" y="27"/>
                    <a:pt x="0" y="60"/>
                  </a:cubicBezTo>
                  <a:cubicBezTo>
                    <a:pt x="0" y="94"/>
                    <a:pt x="27" y="121"/>
                    <a:pt x="60" y="121"/>
                  </a:cubicBezTo>
                  <a:cubicBezTo>
                    <a:pt x="93" y="121"/>
                    <a:pt x="121" y="94"/>
                    <a:pt x="121" y="60"/>
                  </a:cubicBezTo>
                  <a:cubicBezTo>
                    <a:pt x="121" y="27"/>
                    <a:pt x="93" y="0"/>
                    <a:pt x="60" y="0"/>
                  </a:cubicBezTo>
                  <a:close/>
                  <a:moveTo>
                    <a:pt x="60" y="100"/>
                  </a:moveTo>
                  <a:cubicBezTo>
                    <a:pt x="38" y="100"/>
                    <a:pt x="21" y="82"/>
                    <a:pt x="21" y="60"/>
                  </a:cubicBezTo>
                  <a:cubicBezTo>
                    <a:pt x="21" y="39"/>
                    <a:pt x="38" y="21"/>
                    <a:pt x="60" y="21"/>
                  </a:cubicBezTo>
                  <a:cubicBezTo>
                    <a:pt x="82" y="21"/>
                    <a:pt x="99" y="39"/>
                    <a:pt x="99" y="60"/>
                  </a:cubicBezTo>
                  <a:cubicBezTo>
                    <a:pt x="99" y="82"/>
                    <a:pt x="82" y="100"/>
                    <a:pt x="60" y="10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8" name="Freeform 27"/>
            <p:cNvSpPr>
              <a:spLocks noEditPoints="1"/>
            </p:cNvSpPr>
            <p:nvPr/>
          </p:nvSpPr>
          <p:spPr bwMode="auto">
            <a:xfrm>
              <a:off x="6413031" y="4129434"/>
              <a:ext cx="885668" cy="880851"/>
            </a:xfrm>
            <a:custGeom>
              <a:avLst/>
              <a:gdLst>
                <a:gd name="T0" fmla="*/ 544 w 544"/>
                <a:gd name="T1" fmla="*/ 256 h 541"/>
                <a:gd name="T2" fmla="*/ 485 w 544"/>
                <a:gd name="T3" fmla="*/ 185 h 541"/>
                <a:gd name="T4" fmla="*/ 452 w 544"/>
                <a:gd name="T5" fmla="*/ 128 h 541"/>
                <a:gd name="T6" fmla="*/ 421 w 544"/>
                <a:gd name="T7" fmla="*/ 42 h 541"/>
                <a:gd name="T8" fmla="*/ 396 w 544"/>
                <a:gd name="T9" fmla="*/ 27 h 541"/>
                <a:gd name="T10" fmla="*/ 305 w 544"/>
                <a:gd name="T11" fmla="*/ 43 h 541"/>
                <a:gd name="T12" fmla="*/ 239 w 544"/>
                <a:gd name="T13" fmla="*/ 43 h 541"/>
                <a:gd name="T14" fmla="*/ 148 w 544"/>
                <a:gd name="T15" fmla="*/ 27 h 541"/>
                <a:gd name="T16" fmla="*/ 123 w 544"/>
                <a:gd name="T17" fmla="*/ 42 h 541"/>
                <a:gd name="T18" fmla="*/ 92 w 544"/>
                <a:gd name="T19" fmla="*/ 128 h 541"/>
                <a:gd name="T20" fmla="*/ 59 w 544"/>
                <a:gd name="T21" fmla="*/ 185 h 541"/>
                <a:gd name="T22" fmla="*/ 0 w 544"/>
                <a:gd name="T23" fmla="*/ 256 h 541"/>
                <a:gd name="T24" fmla="*/ 43 w 544"/>
                <a:gd name="T25" fmla="*/ 277 h 541"/>
                <a:gd name="T26" fmla="*/ 54 w 544"/>
                <a:gd name="T27" fmla="*/ 342 h 541"/>
                <a:gd name="T28" fmla="*/ 54 w 544"/>
                <a:gd name="T29" fmla="*/ 434 h 541"/>
                <a:gd name="T30" fmla="*/ 73 w 544"/>
                <a:gd name="T31" fmla="*/ 456 h 541"/>
                <a:gd name="T32" fmla="*/ 163 w 544"/>
                <a:gd name="T33" fmla="*/ 472 h 541"/>
                <a:gd name="T34" fmla="*/ 226 w 544"/>
                <a:gd name="T35" fmla="*/ 495 h 541"/>
                <a:gd name="T36" fmla="*/ 305 w 544"/>
                <a:gd name="T37" fmla="*/ 541 h 541"/>
                <a:gd name="T38" fmla="*/ 334 w 544"/>
                <a:gd name="T39" fmla="*/ 536 h 541"/>
                <a:gd name="T40" fmla="*/ 393 w 544"/>
                <a:gd name="T41" fmla="*/ 465 h 541"/>
                <a:gd name="T42" fmla="*/ 443 w 544"/>
                <a:gd name="T43" fmla="*/ 423 h 541"/>
                <a:gd name="T44" fmla="*/ 523 w 544"/>
                <a:gd name="T45" fmla="*/ 377 h 541"/>
                <a:gd name="T46" fmla="*/ 533 w 544"/>
                <a:gd name="T47" fmla="*/ 350 h 541"/>
                <a:gd name="T48" fmla="*/ 501 w 544"/>
                <a:gd name="T49" fmla="*/ 270 h 541"/>
                <a:gd name="T50" fmla="*/ 466 w 544"/>
                <a:gd name="T51" fmla="*/ 281 h 541"/>
                <a:gd name="T52" fmla="*/ 424 w 544"/>
                <a:gd name="T53" fmla="*/ 331 h 541"/>
                <a:gd name="T54" fmla="*/ 400 w 544"/>
                <a:gd name="T55" fmla="*/ 371 h 541"/>
                <a:gd name="T56" fmla="*/ 378 w 544"/>
                <a:gd name="T57" fmla="*/ 433 h 541"/>
                <a:gd name="T58" fmla="*/ 360 w 544"/>
                <a:gd name="T59" fmla="*/ 443 h 541"/>
                <a:gd name="T60" fmla="*/ 296 w 544"/>
                <a:gd name="T61" fmla="*/ 432 h 541"/>
                <a:gd name="T62" fmla="*/ 249 w 544"/>
                <a:gd name="T63" fmla="*/ 432 h 541"/>
                <a:gd name="T64" fmla="*/ 184 w 544"/>
                <a:gd name="T65" fmla="*/ 443 h 541"/>
                <a:gd name="T66" fmla="*/ 166 w 544"/>
                <a:gd name="T67" fmla="*/ 433 h 541"/>
                <a:gd name="T68" fmla="*/ 144 w 544"/>
                <a:gd name="T69" fmla="*/ 371 h 541"/>
                <a:gd name="T70" fmla="*/ 120 w 544"/>
                <a:gd name="T71" fmla="*/ 331 h 541"/>
                <a:gd name="T72" fmla="*/ 78 w 544"/>
                <a:gd name="T73" fmla="*/ 281 h 541"/>
                <a:gd name="T74" fmla="*/ 109 w 544"/>
                <a:gd name="T75" fmla="*/ 265 h 541"/>
                <a:gd name="T76" fmla="*/ 117 w 544"/>
                <a:gd name="T77" fmla="*/ 219 h 541"/>
                <a:gd name="T78" fmla="*/ 117 w 544"/>
                <a:gd name="T79" fmla="*/ 154 h 541"/>
                <a:gd name="T80" fmla="*/ 130 w 544"/>
                <a:gd name="T81" fmla="*/ 138 h 541"/>
                <a:gd name="T82" fmla="*/ 195 w 544"/>
                <a:gd name="T83" fmla="*/ 127 h 541"/>
                <a:gd name="T84" fmla="*/ 239 w 544"/>
                <a:gd name="T85" fmla="*/ 110 h 541"/>
                <a:gd name="T86" fmla="*/ 296 w 544"/>
                <a:gd name="T87" fmla="*/ 78 h 541"/>
                <a:gd name="T88" fmla="*/ 316 w 544"/>
                <a:gd name="T89" fmla="*/ 81 h 541"/>
                <a:gd name="T90" fmla="*/ 358 w 544"/>
                <a:gd name="T91" fmla="*/ 131 h 541"/>
                <a:gd name="T92" fmla="*/ 394 w 544"/>
                <a:gd name="T93" fmla="*/ 162 h 541"/>
                <a:gd name="T94" fmla="*/ 451 w 544"/>
                <a:gd name="T95" fmla="*/ 194 h 541"/>
                <a:gd name="T96" fmla="*/ 458 w 544"/>
                <a:gd name="T97" fmla="*/ 214 h 541"/>
                <a:gd name="T98" fmla="*/ 435 w 544"/>
                <a:gd name="T99" fmla="*/ 27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4" h="541">
                  <a:moveTo>
                    <a:pt x="501" y="270"/>
                  </a:moveTo>
                  <a:cubicBezTo>
                    <a:pt x="501" y="268"/>
                    <a:pt x="501" y="266"/>
                    <a:pt x="501" y="263"/>
                  </a:cubicBezTo>
                  <a:cubicBezTo>
                    <a:pt x="544" y="256"/>
                    <a:pt x="544" y="256"/>
                    <a:pt x="544" y="256"/>
                  </a:cubicBezTo>
                  <a:cubicBezTo>
                    <a:pt x="533" y="191"/>
                    <a:pt x="533" y="191"/>
                    <a:pt x="533" y="191"/>
                  </a:cubicBezTo>
                  <a:cubicBezTo>
                    <a:pt x="490" y="198"/>
                    <a:pt x="490" y="198"/>
                    <a:pt x="490" y="198"/>
                  </a:cubicBezTo>
                  <a:cubicBezTo>
                    <a:pt x="488" y="194"/>
                    <a:pt x="487" y="190"/>
                    <a:pt x="485" y="185"/>
                  </a:cubicBezTo>
                  <a:cubicBezTo>
                    <a:pt x="523" y="164"/>
                    <a:pt x="523" y="164"/>
                    <a:pt x="523" y="164"/>
                  </a:cubicBezTo>
                  <a:cubicBezTo>
                    <a:pt x="490" y="106"/>
                    <a:pt x="490" y="106"/>
                    <a:pt x="490" y="106"/>
                  </a:cubicBezTo>
                  <a:cubicBezTo>
                    <a:pt x="452" y="128"/>
                    <a:pt x="452" y="128"/>
                    <a:pt x="452" y="128"/>
                  </a:cubicBezTo>
                  <a:cubicBezTo>
                    <a:pt x="449" y="125"/>
                    <a:pt x="446" y="121"/>
                    <a:pt x="443" y="118"/>
                  </a:cubicBezTo>
                  <a:cubicBezTo>
                    <a:pt x="471" y="84"/>
                    <a:pt x="471" y="84"/>
                    <a:pt x="471" y="84"/>
                  </a:cubicBezTo>
                  <a:cubicBezTo>
                    <a:pt x="421" y="42"/>
                    <a:pt x="421" y="42"/>
                    <a:pt x="421" y="42"/>
                  </a:cubicBezTo>
                  <a:cubicBezTo>
                    <a:pt x="393" y="75"/>
                    <a:pt x="393" y="75"/>
                    <a:pt x="393" y="75"/>
                  </a:cubicBezTo>
                  <a:cubicBezTo>
                    <a:pt x="389" y="73"/>
                    <a:pt x="385" y="71"/>
                    <a:pt x="381" y="68"/>
                  </a:cubicBezTo>
                  <a:cubicBezTo>
                    <a:pt x="396" y="27"/>
                    <a:pt x="396" y="27"/>
                    <a:pt x="396" y="27"/>
                  </a:cubicBezTo>
                  <a:cubicBezTo>
                    <a:pt x="334" y="5"/>
                    <a:pt x="334" y="5"/>
                    <a:pt x="334" y="5"/>
                  </a:cubicBezTo>
                  <a:cubicBezTo>
                    <a:pt x="319" y="46"/>
                    <a:pt x="319" y="46"/>
                    <a:pt x="319" y="46"/>
                  </a:cubicBezTo>
                  <a:cubicBezTo>
                    <a:pt x="314" y="45"/>
                    <a:pt x="310" y="44"/>
                    <a:pt x="305" y="43"/>
                  </a:cubicBezTo>
                  <a:cubicBezTo>
                    <a:pt x="305" y="0"/>
                    <a:pt x="305" y="0"/>
                    <a:pt x="305" y="0"/>
                  </a:cubicBezTo>
                  <a:cubicBezTo>
                    <a:pt x="239" y="0"/>
                    <a:pt x="239" y="0"/>
                    <a:pt x="239" y="0"/>
                  </a:cubicBezTo>
                  <a:cubicBezTo>
                    <a:pt x="239" y="43"/>
                    <a:pt x="239" y="43"/>
                    <a:pt x="239" y="43"/>
                  </a:cubicBezTo>
                  <a:cubicBezTo>
                    <a:pt x="234" y="44"/>
                    <a:pt x="230" y="45"/>
                    <a:pt x="226" y="46"/>
                  </a:cubicBezTo>
                  <a:cubicBezTo>
                    <a:pt x="211" y="5"/>
                    <a:pt x="211" y="5"/>
                    <a:pt x="211" y="5"/>
                  </a:cubicBezTo>
                  <a:cubicBezTo>
                    <a:pt x="148" y="27"/>
                    <a:pt x="148" y="27"/>
                    <a:pt x="148" y="27"/>
                  </a:cubicBezTo>
                  <a:cubicBezTo>
                    <a:pt x="163" y="68"/>
                    <a:pt x="163" y="68"/>
                    <a:pt x="163" y="68"/>
                  </a:cubicBezTo>
                  <a:cubicBezTo>
                    <a:pt x="159" y="71"/>
                    <a:pt x="155" y="73"/>
                    <a:pt x="152" y="75"/>
                  </a:cubicBezTo>
                  <a:cubicBezTo>
                    <a:pt x="123" y="42"/>
                    <a:pt x="123" y="42"/>
                    <a:pt x="123" y="42"/>
                  </a:cubicBezTo>
                  <a:cubicBezTo>
                    <a:pt x="73" y="84"/>
                    <a:pt x="73" y="84"/>
                    <a:pt x="73" y="84"/>
                  </a:cubicBezTo>
                  <a:cubicBezTo>
                    <a:pt x="101" y="118"/>
                    <a:pt x="101" y="118"/>
                    <a:pt x="101" y="118"/>
                  </a:cubicBezTo>
                  <a:cubicBezTo>
                    <a:pt x="98" y="121"/>
                    <a:pt x="95" y="125"/>
                    <a:pt x="92" y="128"/>
                  </a:cubicBezTo>
                  <a:cubicBezTo>
                    <a:pt x="54" y="106"/>
                    <a:pt x="54" y="106"/>
                    <a:pt x="54" y="106"/>
                  </a:cubicBezTo>
                  <a:cubicBezTo>
                    <a:pt x="21" y="164"/>
                    <a:pt x="21" y="164"/>
                    <a:pt x="21" y="164"/>
                  </a:cubicBezTo>
                  <a:cubicBezTo>
                    <a:pt x="59" y="185"/>
                    <a:pt x="59" y="185"/>
                    <a:pt x="59" y="185"/>
                  </a:cubicBezTo>
                  <a:cubicBezTo>
                    <a:pt x="57" y="190"/>
                    <a:pt x="56" y="194"/>
                    <a:pt x="54" y="198"/>
                  </a:cubicBezTo>
                  <a:cubicBezTo>
                    <a:pt x="11" y="191"/>
                    <a:pt x="11" y="191"/>
                    <a:pt x="11" y="191"/>
                  </a:cubicBezTo>
                  <a:cubicBezTo>
                    <a:pt x="0" y="256"/>
                    <a:pt x="0" y="256"/>
                    <a:pt x="0" y="256"/>
                  </a:cubicBezTo>
                  <a:cubicBezTo>
                    <a:pt x="43" y="263"/>
                    <a:pt x="43" y="263"/>
                    <a:pt x="43" y="263"/>
                  </a:cubicBezTo>
                  <a:cubicBezTo>
                    <a:pt x="43" y="266"/>
                    <a:pt x="43" y="268"/>
                    <a:pt x="43" y="270"/>
                  </a:cubicBezTo>
                  <a:cubicBezTo>
                    <a:pt x="43" y="273"/>
                    <a:pt x="43" y="275"/>
                    <a:pt x="43" y="277"/>
                  </a:cubicBezTo>
                  <a:cubicBezTo>
                    <a:pt x="0" y="285"/>
                    <a:pt x="0" y="285"/>
                    <a:pt x="0" y="285"/>
                  </a:cubicBezTo>
                  <a:cubicBezTo>
                    <a:pt x="11" y="350"/>
                    <a:pt x="11" y="350"/>
                    <a:pt x="11" y="350"/>
                  </a:cubicBezTo>
                  <a:cubicBezTo>
                    <a:pt x="54" y="342"/>
                    <a:pt x="54" y="342"/>
                    <a:pt x="54" y="342"/>
                  </a:cubicBezTo>
                  <a:cubicBezTo>
                    <a:pt x="56" y="347"/>
                    <a:pt x="57" y="351"/>
                    <a:pt x="59" y="355"/>
                  </a:cubicBezTo>
                  <a:cubicBezTo>
                    <a:pt x="21" y="377"/>
                    <a:pt x="21" y="377"/>
                    <a:pt x="21" y="377"/>
                  </a:cubicBezTo>
                  <a:cubicBezTo>
                    <a:pt x="54" y="434"/>
                    <a:pt x="54" y="434"/>
                    <a:pt x="54" y="434"/>
                  </a:cubicBezTo>
                  <a:cubicBezTo>
                    <a:pt x="92" y="412"/>
                    <a:pt x="92" y="412"/>
                    <a:pt x="92" y="412"/>
                  </a:cubicBezTo>
                  <a:cubicBezTo>
                    <a:pt x="95" y="416"/>
                    <a:pt x="98" y="419"/>
                    <a:pt x="101" y="423"/>
                  </a:cubicBezTo>
                  <a:cubicBezTo>
                    <a:pt x="73" y="456"/>
                    <a:pt x="73" y="456"/>
                    <a:pt x="73" y="456"/>
                  </a:cubicBezTo>
                  <a:cubicBezTo>
                    <a:pt x="123" y="499"/>
                    <a:pt x="123" y="499"/>
                    <a:pt x="123" y="499"/>
                  </a:cubicBezTo>
                  <a:cubicBezTo>
                    <a:pt x="152" y="465"/>
                    <a:pt x="152" y="465"/>
                    <a:pt x="152" y="465"/>
                  </a:cubicBezTo>
                  <a:cubicBezTo>
                    <a:pt x="155" y="468"/>
                    <a:pt x="159" y="470"/>
                    <a:pt x="163" y="472"/>
                  </a:cubicBezTo>
                  <a:cubicBezTo>
                    <a:pt x="148" y="513"/>
                    <a:pt x="148" y="513"/>
                    <a:pt x="148" y="513"/>
                  </a:cubicBezTo>
                  <a:cubicBezTo>
                    <a:pt x="211" y="536"/>
                    <a:pt x="211" y="536"/>
                    <a:pt x="211" y="536"/>
                  </a:cubicBezTo>
                  <a:cubicBezTo>
                    <a:pt x="226" y="495"/>
                    <a:pt x="226" y="495"/>
                    <a:pt x="226" y="495"/>
                  </a:cubicBezTo>
                  <a:cubicBezTo>
                    <a:pt x="230" y="496"/>
                    <a:pt x="234" y="496"/>
                    <a:pt x="239" y="497"/>
                  </a:cubicBezTo>
                  <a:cubicBezTo>
                    <a:pt x="239" y="541"/>
                    <a:pt x="239" y="541"/>
                    <a:pt x="239" y="541"/>
                  </a:cubicBezTo>
                  <a:cubicBezTo>
                    <a:pt x="305" y="541"/>
                    <a:pt x="305" y="541"/>
                    <a:pt x="305" y="541"/>
                  </a:cubicBezTo>
                  <a:cubicBezTo>
                    <a:pt x="305" y="497"/>
                    <a:pt x="305" y="497"/>
                    <a:pt x="305" y="497"/>
                  </a:cubicBezTo>
                  <a:cubicBezTo>
                    <a:pt x="310" y="496"/>
                    <a:pt x="314" y="496"/>
                    <a:pt x="319" y="495"/>
                  </a:cubicBezTo>
                  <a:cubicBezTo>
                    <a:pt x="334" y="536"/>
                    <a:pt x="334" y="536"/>
                    <a:pt x="334" y="536"/>
                  </a:cubicBezTo>
                  <a:cubicBezTo>
                    <a:pt x="396" y="513"/>
                    <a:pt x="396" y="513"/>
                    <a:pt x="396" y="513"/>
                  </a:cubicBezTo>
                  <a:cubicBezTo>
                    <a:pt x="381" y="472"/>
                    <a:pt x="381" y="472"/>
                    <a:pt x="381" y="472"/>
                  </a:cubicBezTo>
                  <a:cubicBezTo>
                    <a:pt x="385" y="470"/>
                    <a:pt x="389" y="468"/>
                    <a:pt x="393" y="465"/>
                  </a:cubicBezTo>
                  <a:cubicBezTo>
                    <a:pt x="421" y="499"/>
                    <a:pt x="421" y="499"/>
                    <a:pt x="421" y="499"/>
                  </a:cubicBezTo>
                  <a:cubicBezTo>
                    <a:pt x="471" y="456"/>
                    <a:pt x="471" y="456"/>
                    <a:pt x="471" y="456"/>
                  </a:cubicBezTo>
                  <a:cubicBezTo>
                    <a:pt x="443" y="423"/>
                    <a:pt x="443" y="423"/>
                    <a:pt x="443" y="423"/>
                  </a:cubicBezTo>
                  <a:cubicBezTo>
                    <a:pt x="446" y="419"/>
                    <a:pt x="449" y="416"/>
                    <a:pt x="452" y="412"/>
                  </a:cubicBezTo>
                  <a:cubicBezTo>
                    <a:pt x="490" y="434"/>
                    <a:pt x="490" y="434"/>
                    <a:pt x="490" y="434"/>
                  </a:cubicBezTo>
                  <a:cubicBezTo>
                    <a:pt x="523" y="377"/>
                    <a:pt x="523" y="377"/>
                    <a:pt x="523" y="377"/>
                  </a:cubicBezTo>
                  <a:cubicBezTo>
                    <a:pt x="485" y="355"/>
                    <a:pt x="485" y="355"/>
                    <a:pt x="485" y="355"/>
                  </a:cubicBezTo>
                  <a:cubicBezTo>
                    <a:pt x="487" y="351"/>
                    <a:pt x="488" y="347"/>
                    <a:pt x="490" y="342"/>
                  </a:cubicBezTo>
                  <a:cubicBezTo>
                    <a:pt x="533" y="350"/>
                    <a:pt x="533" y="350"/>
                    <a:pt x="533" y="350"/>
                  </a:cubicBezTo>
                  <a:cubicBezTo>
                    <a:pt x="544" y="285"/>
                    <a:pt x="544" y="285"/>
                    <a:pt x="544" y="285"/>
                  </a:cubicBezTo>
                  <a:cubicBezTo>
                    <a:pt x="501" y="277"/>
                    <a:pt x="501" y="277"/>
                    <a:pt x="501" y="277"/>
                  </a:cubicBezTo>
                  <a:cubicBezTo>
                    <a:pt x="501" y="275"/>
                    <a:pt x="501" y="273"/>
                    <a:pt x="501" y="270"/>
                  </a:cubicBezTo>
                  <a:close/>
                  <a:moveTo>
                    <a:pt x="435" y="270"/>
                  </a:moveTo>
                  <a:cubicBezTo>
                    <a:pt x="435" y="272"/>
                    <a:pt x="435" y="274"/>
                    <a:pt x="435" y="275"/>
                  </a:cubicBezTo>
                  <a:cubicBezTo>
                    <a:pt x="466" y="281"/>
                    <a:pt x="466" y="281"/>
                    <a:pt x="466" y="281"/>
                  </a:cubicBezTo>
                  <a:cubicBezTo>
                    <a:pt x="458" y="327"/>
                    <a:pt x="458" y="327"/>
                    <a:pt x="458" y="327"/>
                  </a:cubicBezTo>
                  <a:cubicBezTo>
                    <a:pt x="427" y="321"/>
                    <a:pt x="427" y="321"/>
                    <a:pt x="427" y="321"/>
                  </a:cubicBezTo>
                  <a:cubicBezTo>
                    <a:pt x="426" y="325"/>
                    <a:pt x="425" y="328"/>
                    <a:pt x="424" y="331"/>
                  </a:cubicBezTo>
                  <a:cubicBezTo>
                    <a:pt x="451" y="346"/>
                    <a:pt x="451" y="346"/>
                    <a:pt x="451" y="346"/>
                  </a:cubicBezTo>
                  <a:cubicBezTo>
                    <a:pt x="427" y="387"/>
                    <a:pt x="427" y="387"/>
                    <a:pt x="427" y="387"/>
                  </a:cubicBezTo>
                  <a:cubicBezTo>
                    <a:pt x="400" y="371"/>
                    <a:pt x="400" y="371"/>
                    <a:pt x="400" y="371"/>
                  </a:cubicBezTo>
                  <a:cubicBezTo>
                    <a:pt x="398" y="374"/>
                    <a:pt x="396" y="376"/>
                    <a:pt x="394" y="379"/>
                  </a:cubicBezTo>
                  <a:cubicBezTo>
                    <a:pt x="414" y="403"/>
                    <a:pt x="414" y="403"/>
                    <a:pt x="414" y="403"/>
                  </a:cubicBezTo>
                  <a:cubicBezTo>
                    <a:pt x="378" y="433"/>
                    <a:pt x="378" y="433"/>
                    <a:pt x="378" y="433"/>
                  </a:cubicBezTo>
                  <a:cubicBezTo>
                    <a:pt x="358" y="409"/>
                    <a:pt x="358" y="409"/>
                    <a:pt x="358" y="409"/>
                  </a:cubicBezTo>
                  <a:cubicBezTo>
                    <a:pt x="355" y="411"/>
                    <a:pt x="352" y="412"/>
                    <a:pt x="349" y="414"/>
                  </a:cubicBezTo>
                  <a:cubicBezTo>
                    <a:pt x="360" y="443"/>
                    <a:pt x="360" y="443"/>
                    <a:pt x="360" y="443"/>
                  </a:cubicBezTo>
                  <a:cubicBezTo>
                    <a:pt x="316" y="459"/>
                    <a:pt x="316" y="459"/>
                    <a:pt x="316" y="459"/>
                  </a:cubicBezTo>
                  <a:cubicBezTo>
                    <a:pt x="305" y="430"/>
                    <a:pt x="305" y="430"/>
                    <a:pt x="305" y="430"/>
                  </a:cubicBezTo>
                  <a:cubicBezTo>
                    <a:pt x="302" y="431"/>
                    <a:pt x="299" y="431"/>
                    <a:pt x="296" y="432"/>
                  </a:cubicBezTo>
                  <a:cubicBezTo>
                    <a:pt x="296" y="463"/>
                    <a:pt x="296" y="463"/>
                    <a:pt x="296" y="463"/>
                  </a:cubicBezTo>
                  <a:cubicBezTo>
                    <a:pt x="249" y="463"/>
                    <a:pt x="249" y="463"/>
                    <a:pt x="249" y="463"/>
                  </a:cubicBezTo>
                  <a:cubicBezTo>
                    <a:pt x="249" y="432"/>
                    <a:pt x="249" y="432"/>
                    <a:pt x="249" y="432"/>
                  </a:cubicBezTo>
                  <a:cubicBezTo>
                    <a:pt x="245" y="431"/>
                    <a:pt x="242" y="431"/>
                    <a:pt x="239" y="430"/>
                  </a:cubicBezTo>
                  <a:cubicBezTo>
                    <a:pt x="228" y="459"/>
                    <a:pt x="228" y="459"/>
                    <a:pt x="228" y="459"/>
                  </a:cubicBezTo>
                  <a:cubicBezTo>
                    <a:pt x="184" y="443"/>
                    <a:pt x="184" y="443"/>
                    <a:pt x="184" y="443"/>
                  </a:cubicBezTo>
                  <a:cubicBezTo>
                    <a:pt x="195" y="414"/>
                    <a:pt x="195" y="414"/>
                    <a:pt x="195" y="414"/>
                  </a:cubicBezTo>
                  <a:cubicBezTo>
                    <a:pt x="192" y="412"/>
                    <a:pt x="189" y="411"/>
                    <a:pt x="186" y="409"/>
                  </a:cubicBezTo>
                  <a:cubicBezTo>
                    <a:pt x="166" y="433"/>
                    <a:pt x="166" y="433"/>
                    <a:pt x="166" y="433"/>
                  </a:cubicBezTo>
                  <a:cubicBezTo>
                    <a:pt x="130" y="403"/>
                    <a:pt x="130" y="403"/>
                    <a:pt x="130" y="403"/>
                  </a:cubicBezTo>
                  <a:cubicBezTo>
                    <a:pt x="150" y="379"/>
                    <a:pt x="150" y="379"/>
                    <a:pt x="150" y="379"/>
                  </a:cubicBezTo>
                  <a:cubicBezTo>
                    <a:pt x="148" y="376"/>
                    <a:pt x="146" y="374"/>
                    <a:pt x="144" y="371"/>
                  </a:cubicBezTo>
                  <a:cubicBezTo>
                    <a:pt x="117" y="387"/>
                    <a:pt x="117" y="387"/>
                    <a:pt x="117" y="387"/>
                  </a:cubicBezTo>
                  <a:cubicBezTo>
                    <a:pt x="94" y="346"/>
                    <a:pt x="94" y="346"/>
                    <a:pt x="94" y="346"/>
                  </a:cubicBezTo>
                  <a:cubicBezTo>
                    <a:pt x="120" y="331"/>
                    <a:pt x="120" y="331"/>
                    <a:pt x="120" y="331"/>
                  </a:cubicBezTo>
                  <a:cubicBezTo>
                    <a:pt x="119" y="328"/>
                    <a:pt x="118" y="325"/>
                    <a:pt x="117" y="321"/>
                  </a:cubicBezTo>
                  <a:cubicBezTo>
                    <a:pt x="86" y="327"/>
                    <a:pt x="86" y="327"/>
                    <a:pt x="86" y="327"/>
                  </a:cubicBezTo>
                  <a:cubicBezTo>
                    <a:pt x="78" y="281"/>
                    <a:pt x="78" y="281"/>
                    <a:pt x="78" y="281"/>
                  </a:cubicBezTo>
                  <a:cubicBezTo>
                    <a:pt x="109" y="275"/>
                    <a:pt x="109" y="275"/>
                    <a:pt x="109" y="275"/>
                  </a:cubicBezTo>
                  <a:cubicBezTo>
                    <a:pt x="109" y="274"/>
                    <a:pt x="109" y="272"/>
                    <a:pt x="109" y="270"/>
                  </a:cubicBezTo>
                  <a:cubicBezTo>
                    <a:pt x="109" y="269"/>
                    <a:pt x="109" y="267"/>
                    <a:pt x="109" y="265"/>
                  </a:cubicBezTo>
                  <a:cubicBezTo>
                    <a:pt x="78" y="260"/>
                    <a:pt x="78" y="260"/>
                    <a:pt x="78" y="260"/>
                  </a:cubicBezTo>
                  <a:cubicBezTo>
                    <a:pt x="86" y="214"/>
                    <a:pt x="86" y="214"/>
                    <a:pt x="86" y="214"/>
                  </a:cubicBezTo>
                  <a:cubicBezTo>
                    <a:pt x="117" y="219"/>
                    <a:pt x="117" y="219"/>
                    <a:pt x="117" y="219"/>
                  </a:cubicBezTo>
                  <a:cubicBezTo>
                    <a:pt x="118" y="216"/>
                    <a:pt x="119" y="213"/>
                    <a:pt x="120" y="210"/>
                  </a:cubicBezTo>
                  <a:cubicBezTo>
                    <a:pt x="94" y="194"/>
                    <a:pt x="94" y="194"/>
                    <a:pt x="94" y="194"/>
                  </a:cubicBezTo>
                  <a:cubicBezTo>
                    <a:pt x="117" y="154"/>
                    <a:pt x="117" y="154"/>
                    <a:pt x="117" y="154"/>
                  </a:cubicBezTo>
                  <a:cubicBezTo>
                    <a:pt x="144" y="169"/>
                    <a:pt x="144" y="169"/>
                    <a:pt x="144" y="169"/>
                  </a:cubicBezTo>
                  <a:cubicBezTo>
                    <a:pt x="146" y="167"/>
                    <a:pt x="148" y="164"/>
                    <a:pt x="150" y="162"/>
                  </a:cubicBezTo>
                  <a:cubicBezTo>
                    <a:pt x="130" y="138"/>
                    <a:pt x="130" y="138"/>
                    <a:pt x="130" y="138"/>
                  </a:cubicBezTo>
                  <a:cubicBezTo>
                    <a:pt x="166" y="108"/>
                    <a:pt x="166" y="108"/>
                    <a:pt x="166" y="108"/>
                  </a:cubicBezTo>
                  <a:cubicBezTo>
                    <a:pt x="186" y="131"/>
                    <a:pt x="186" y="131"/>
                    <a:pt x="186" y="131"/>
                  </a:cubicBezTo>
                  <a:cubicBezTo>
                    <a:pt x="189" y="130"/>
                    <a:pt x="192" y="128"/>
                    <a:pt x="195" y="127"/>
                  </a:cubicBezTo>
                  <a:cubicBezTo>
                    <a:pt x="184" y="97"/>
                    <a:pt x="184" y="97"/>
                    <a:pt x="184" y="97"/>
                  </a:cubicBezTo>
                  <a:cubicBezTo>
                    <a:pt x="228" y="81"/>
                    <a:pt x="228" y="81"/>
                    <a:pt x="228" y="81"/>
                  </a:cubicBezTo>
                  <a:cubicBezTo>
                    <a:pt x="239" y="110"/>
                    <a:pt x="239" y="110"/>
                    <a:pt x="239" y="110"/>
                  </a:cubicBezTo>
                  <a:cubicBezTo>
                    <a:pt x="242" y="110"/>
                    <a:pt x="245" y="109"/>
                    <a:pt x="249" y="109"/>
                  </a:cubicBezTo>
                  <a:cubicBezTo>
                    <a:pt x="249" y="78"/>
                    <a:pt x="249" y="78"/>
                    <a:pt x="249" y="78"/>
                  </a:cubicBezTo>
                  <a:cubicBezTo>
                    <a:pt x="296" y="78"/>
                    <a:pt x="296" y="78"/>
                    <a:pt x="296" y="78"/>
                  </a:cubicBezTo>
                  <a:cubicBezTo>
                    <a:pt x="296" y="109"/>
                    <a:pt x="296" y="109"/>
                    <a:pt x="296" y="109"/>
                  </a:cubicBezTo>
                  <a:cubicBezTo>
                    <a:pt x="299" y="109"/>
                    <a:pt x="302" y="110"/>
                    <a:pt x="305" y="110"/>
                  </a:cubicBezTo>
                  <a:cubicBezTo>
                    <a:pt x="316" y="81"/>
                    <a:pt x="316" y="81"/>
                    <a:pt x="316" y="81"/>
                  </a:cubicBezTo>
                  <a:cubicBezTo>
                    <a:pt x="360" y="97"/>
                    <a:pt x="360" y="97"/>
                    <a:pt x="360" y="97"/>
                  </a:cubicBezTo>
                  <a:cubicBezTo>
                    <a:pt x="349" y="127"/>
                    <a:pt x="349" y="127"/>
                    <a:pt x="349" y="127"/>
                  </a:cubicBezTo>
                  <a:cubicBezTo>
                    <a:pt x="352" y="128"/>
                    <a:pt x="355" y="130"/>
                    <a:pt x="358" y="131"/>
                  </a:cubicBezTo>
                  <a:cubicBezTo>
                    <a:pt x="378" y="108"/>
                    <a:pt x="378" y="108"/>
                    <a:pt x="378" y="108"/>
                  </a:cubicBezTo>
                  <a:cubicBezTo>
                    <a:pt x="414" y="138"/>
                    <a:pt x="414" y="138"/>
                    <a:pt x="414" y="138"/>
                  </a:cubicBezTo>
                  <a:cubicBezTo>
                    <a:pt x="394" y="162"/>
                    <a:pt x="394" y="162"/>
                    <a:pt x="394" y="162"/>
                  </a:cubicBezTo>
                  <a:cubicBezTo>
                    <a:pt x="396" y="164"/>
                    <a:pt x="398" y="167"/>
                    <a:pt x="400" y="169"/>
                  </a:cubicBezTo>
                  <a:cubicBezTo>
                    <a:pt x="427" y="154"/>
                    <a:pt x="427" y="154"/>
                    <a:pt x="427" y="154"/>
                  </a:cubicBezTo>
                  <a:cubicBezTo>
                    <a:pt x="451" y="194"/>
                    <a:pt x="451" y="194"/>
                    <a:pt x="451" y="194"/>
                  </a:cubicBezTo>
                  <a:cubicBezTo>
                    <a:pt x="424" y="210"/>
                    <a:pt x="424" y="210"/>
                    <a:pt x="424" y="210"/>
                  </a:cubicBezTo>
                  <a:cubicBezTo>
                    <a:pt x="425" y="213"/>
                    <a:pt x="426" y="216"/>
                    <a:pt x="427" y="219"/>
                  </a:cubicBezTo>
                  <a:cubicBezTo>
                    <a:pt x="458" y="214"/>
                    <a:pt x="458" y="214"/>
                    <a:pt x="458" y="214"/>
                  </a:cubicBezTo>
                  <a:cubicBezTo>
                    <a:pt x="466" y="260"/>
                    <a:pt x="466" y="260"/>
                    <a:pt x="466" y="260"/>
                  </a:cubicBezTo>
                  <a:cubicBezTo>
                    <a:pt x="435" y="265"/>
                    <a:pt x="435" y="265"/>
                    <a:pt x="435" y="265"/>
                  </a:cubicBezTo>
                  <a:cubicBezTo>
                    <a:pt x="435" y="267"/>
                    <a:pt x="435" y="269"/>
                    <a:pt x="435" y="27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59" name="文本框 58"/>
          <p:cNvSpPr txBox="1"/>
          <p:nvPr/>
        </p:nvSpPr>
        <p:spPr>
          <a:xfrm>
            <a:off x="457200" y="1770078"/>
            <a:ext cx="1631951" cy="800219"/>
          </a:xfrm>
          <a:prstGeom prst="rect">
            <a:avLst/>
          </a:prstGeom>
          <a:noFill/>
        </p:spPr>
        <p:txBody>
          <a:bodyPr wrap="square" lIns="0" tIns="0" rIns="0" bIns="0" rtlCol="0" anchor="t">
            <a:spAutoFit/>
          </a:bodyPr>
          <a:lstStyle/>
          <a:p>
            <a:r>
              <a:rPr lang="en-US" sz="1300" dirty="0"/>
              <a:t>this is dummy text it is not here to be read it is here to show how this document will look</a:t>
            </a:r>
          </a:p>
        </p:txBody>
      </p:sp>
      <p:cxnSp>
        <p:nvCxnSpPr>
          <p:cNvPr id="60" name="肘形连接符 59"/>
          <p:cNvCxnSpPr/>
          <p:nvPr/>
        </p:nvCxnSpPr>
        <p:spPr>
          <a:xfrm rot="10800000">
            <a:off x="2387600" y="2165350"/>
            <a:ext cx="2307360" cy="648910"/>
          </a:xfrm>
          <a:prstGeom prst="bentConnector3">
            <a:avLst/>
          </a:prstGeom>
          <a:ln w="12700">
            <a:solidFill>
              <a:srgbClr val="000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1" name="文本框 60"/>
          <p:cNvSpPr txBox="1"/>
          <p:nvPr/>
        </p:nvSpPr>
        <p:spPr>
          <a:xfrm>
            <a:off x="10093236" y="1583152"/>
            <a:ext cx="1631951" cy="800219"/>
          </a:xfrm>
          <a:prstGeom prst="rect">
            <a:avLst/>
          </a:prstGeom>
          <a:noFill/>
        </p:spPr>
        <p:txBody>
          <a:bodyPr wrap="square" lIns="0" tIns="0" rIns="0" bIns="0" rtlCol="0" anchor="t">
            <a:spAutoFit/>
          </a:bodyPr>
          <a:lstStyle/>
          <a:p>
            <a:r>
              <a:rPr lang="en-US" sz="1300" dirty="0"/>
              <a:t>this is dummy text it is not here to be read it is here to show how this document will look</a:t>
            </a:r>
          </a:p>
        </p:txBody>
      </p:sp>
      <p:cxnSp>
        <p:nvCxnSpPr>
          <p:cNvPr id="62" name="肘形连接符 61"/>
          <p:cNvCxnSpPr/>
          <p:nvPr/>
        </p:nvCxnSpPr>
        <p:spPr>
          <a:xfrm flipV="1">
            <a:off x="7298699" y="1700213"/>
            <a:ext cx="2505701" cy="313804"/>
          </a:xfrm>
          <a:prstGeom prst="bentConnector3">
            <a:avLst>
              <a:gd name="adj1" fmla="val 50000"/>
            </a:avLst>
          </a:prstGeom>
          <a:ln w="12700">
            <a:solidFill>
              <a:srgbClr val="000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3" name="文本框 62"/>
          <p:cNvSpPr txBox="1"/>
          <p:nvPr/>
        </p:nvSpPr>
        <p:spPr>
          <a:xfrm>
            <a:off x="9745473" y="4342942"/>
            <a:ext cx="1631951" cy="800219"/>
          </a:xfrm>
          <a:prstGeom prst="rect">
            <a:avLst/>
          </a:prstGeom>
          <a:noFill/>
        </p:spPr>
        <p:txBody>
          <a:bodyPr wrap="square" lIns="0" tIns="0" rIns="0" bIns="0" rtlCol="0" anchor="t">
            <a:spAutoFit/>
          </a:bodyPr>
          <a:lstStyle/>
          <a:p>
            <a:r>
              <a:rPr lang="en-US" sz="1300" dirty="0"/>
              <a:t>this is dummy text it is not here to be read it is here to show how this document will look</a:t>
            </a:r>
          </a:p>
        </p:txBody>
      </p:sp>
      <p:cxnSp>
        <p:nvCxnSpPr>
          <p:cNvPr id="64" name="肘形连接符 63"/>
          <p:cNvCxnSpPr/>
          <p:nvPr/>
        </p:nvCxnSpPr>
        <p:spPr>
          <a:xfrm>
            <a:off x="7308333" y="4220960"/>
            <a:ext cx="2216667" cy="489285"/>
          </a:xfrm>
          <a:prstGeom prst="bentConnector3">
            <a:avLst>
              <a:gd name="adj1" fmla="val 50000"/>
            </a:avLst>
          </a:prstGeom>
          <a:ln w="12700">
            <a:solidFill>
              <a:srgbClr val="000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066689085"/>
      </p:ext>
    </p:extLst>
  </p:cSld>
  <p:clrMapOvr>
    <a:masterClrMapping/>
  </p:clrMapOvr>
  <p:transition>
    <p:fade/>
  </p:transition>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0" name="Picture 259">
            <a:extLst>
              <a:ext uri="{FF2B5EF4-FFF2-40B4-BE49-F238E27FC236}">
                <a16:creationId xmlns:a16="http://schemas.microsoft.com/office/drawing/2014/main" id="{8D23A4B0-381B-5543-BA66-C78152584854}"/>
              </a:ext>
            </a:extLst>
          </p:cNvPr>
          <p:cNvPicPr>
            <a:picLocks noChangeAspect="1"/>
          </p:cNvPicPr>
          <p:nvPr/>
        </p:nvPicPr>
        <p:blipFill rotWithShape="1">
          <a:blip r:embed="rId4"/>
          <a:srcRect l="3705" r="3742"/>
          <a:stretch/>
        </p:blipFill>
        <p:spPr>
          <a:xfrm>
            <a:off x="542248" y="5188518"/>
            <a:ext cx="1295400" cy="910702"/>
          </a:xfrm>
          <a:prstGeom prst="rect">
            <a:avLst/>
          </a:prstGeom>
        </p:spPr>
      </p:pic>
      <p:pic>
        <p:nvPicPr>
          <p:cNvPr id="3" name="Picture 2">
            <a:extLst>
              <a:ext uri="{FF2B5EF4-FFF2-40B4-BE49-F238E27FC236}">
                <a16:creationId xmlns:a16="http://schemas.microsoft.com/office/drawing/2014/main" id="{DC7574E5-9C1A-4943-AA0E-2472E758FA7D}"/>
              </a:ext>
            </a:extLst>
          </p:cNvPr>
          <p:cNvPicPr>
            <a:picLocks noChangeAspect="1"/>
          </p:cNvPicPr>
          <p:nvPr/>
        </p:nvPicPr>
        <p:blipFill rotWithShape="1">
          <a:blip r:embed="rId5"/>
          <a:srcRect l="28357" r="26799"/>
          <a:stretch/>
        </p:blipFill>
        <p:spPr>
          <a:xfrm>
            <a:off x="2174295" y="1858617"/>
            <a:ext cx="2440402" cy="4386045"/>
          </a:xfrm>
          <a:prstGeom prst="rect">
            <a:avLst/>
          </a:prstGeom>
        </p:spPr>
      </p:pic>
      <p:pic>
        <p:nvPicPr>
          <p:cNvPr id="261" name="Picture 260">
            <a:extLst>
              <a:ext uri="{FF2B5EF4-FFF2-40B4-BE49-F238E27FC236}">
                <a16:creationId xmlns:a16="http://schemas.microsoft.com/office/drawing/2014/main" id="{628CB9D7-BA9A-CB47-A3B4-88C038C321BF}"/>
              </a:ext>
            </a:extLst>
          </p:cNvPr>
          <p:cNvPicPr>
            <a:picLocks noChangeAspect="1"/>
          </p:cNvPicPr>
          <p:nvPr/>
        </p:nvPicPr>
        <p:blipFill rotWithShape="1">
          <a:blip r:embed="rId4"/>
          <a:srcRect l="3705" r="3742"/>
          <a:stretch/>
        </p:blipFill>
        <p:spPr>
          <a:xfrm>
            <a:off x="4766300" y="1580683"/>
            <a:ext cx="7240170" cy="5090037"/>
          </a:xfrm>
          <a:prstGeom prst="rect">
            <a:avLst/>
          </a:prstGeom>
        </p:spPr>
      </p:pic>
      <p:cxnSp>
        <p:nvCxnSpPr>
          <p:cNvPr id="5" name="肘形连接符 4"/>
          <p:cNvCxnSpPr>
            <a:stCxn id="6" idx="3"/>
            <a:endCxn id="7" idx="1"/>
          </p:cNvCxnSpPr>
          <p:nvPr/>
        </p:nvCxnSpPr>
        <p:spPr>
          <a:xfrm flipV="1">
            <a:off x="4961472" y="3562072"/>
            <a:ext cx="399936" cy="752130"/>
          </a:xfrm>
          <a:prstGeom prst="bentConnector3">
            <a:avLst/>
          </a:prstGeom>
          <a:ln w="508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6" name="圆角矩形 5"/>
          <p:cNvSpPr/>
          <p:nvPr/>
        </p:nvSpPr>
        <p:spPr bwMode="gray">
          <a:xfrm>
            <a:off x="4770972" y="4254935"/>
            <a:ext cx="190500" cy="118533"/>
          </a:xfrm>
          <a:prstGeom prst="roundRect">
            <a:avLst/>
          </a:prstGeom>
          <a:solidFill>
            <a:srgbClr val="005587"/>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圆角矩形 6"/>
          <p:cNvSpPr/>
          <p:nvPr/>
        </p:nvSpPr>
        <p:spPr bwMode="gray">
          <a:xfrm>
            <a:off x="5361408" y="3502805"/>
            <a:ext cx="190500" cy="118533"/>
          </a:xfrm>
          <a:prstGeom prst="roundRect">
            <a:avLst/>
          </a:prstGeom>
          <a:solidFill>
            <a:srgbClr val="005587"/>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6" name="肘形连接符 15"/>
          <p:cNvCxnSpPr>
            <a:cxnSpLocks/>
          </p:cNvCxnSpPr>
          <p:nvPr/>
        </p:nvCxnSpPr>
        <p:spPr>
          <a:xfrm rot="5400000" flipH="1" flipV="1">
            <a:off x="741581" y="3539627"/>
            <a:ext cx="2020829" cy="1216725"/>
          </a:xfrm>
          <a:prstGeom prst="bentConnector3">
            <a:avLst>
              <a:gd name="adj1" fmla="val 100276"/>
            </a:avLst>
          </a:prstGeom>
          <a:ln w="15875">
            <a:solidFill>
              <a:schemeClr val="bg2"/>
            </a:solidFill>
            <a:prstDash val="sysDash"/>
            <a:headEnd type="oval"/>
            <a:tailEnd type="triangle"/>
          </a:ln>
        </p:spPr>
        <p:style>
          <a:lnRef idx="1">
            <a:schemeClr val="accent1"/>
          </a:lnRef>
          <a:fillRef idx="0">
            <a:schemeClr val="accent1"/>
          </a:fillRef>
          <a:effectRef idx="0">
            <a:schemeClr val="accent1"/>
          </a:effectRef>
          <a:fontRef idx="minor">
            <a:schemeClr val="tx1"/>
          </a:fontRef>
        </p:style>
      </p:cxnSp>
      <p:sp>
        <p:nvSpPr>
          <p:cNvPr id="204" name="Rectangle: Rounded Corners 16">
            <a:extLst>
              <a:ext uri="{FF2B5EF4-FFF2-40B4-BE49-F238E27FC236}">
                <a16:creationId xmlns:a16="http://schemas.microsoft.com/office/drawing/2014/main" id="{FC68A45E-18D7-4E1E-9351-2375849CA4CC}"/>
              </a:ext>
            </a:extLst>
          </p:cNvPr>
          <p:cNvSpPr/>
          <p:nvPr/>
        </p:nvSpPr>
        <p:spPr>
          <a:xfrm>
            <a:off x="475412" y="4413630"/>
            <a:ext cx="1298258" cy="508342"/>
          </a:xfrm>
          <a:prstGeom prst="roundRect">
            <a:avLst>
              <a:gd name="adj" fmla="val 0"/>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ysClr val="windowText" lastClr="000000"/>
                </a:solidFill>
              </a:rPr>
              <a:t>Lorem ipsum d</a:t>
            </a:r>
            <a:endParaRPr lang="en-US" sz="900" dirty="0">
              <a:solidFill>
                <a:sysClr val="windowText" lastClr="000000"/>
              </a:solidFill>
            </a:endParaRPr>
          </a:p>
        </p:txBody>
      </p:sp>
      <p:sp>
        <p:nvSpPr>
          <p:cNvPr id="205" name="圆角矩形 204"/>
          <p:cNvSpPr/>
          <p:nvPr/>
        </p:nvSpPr>
        <p:spPr bwMode="gray">
          <a:xfrm>
            <a:off x="2612463" y="3379703"/>
            <a:ext cx="1503783" cy="671936"/>
          </a:xfrm>
          <a:prstGeom prst="round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Lorem ipsum </a:t>
            </a:r>
            <a:r>
              <a:rPr lang="en-US" sz="800" b="1" dirty="0" err="1">
                <a:solidFill>
                  <a:schemeClr val="bg1"/>
                </a:solidFill>
              </a:rPr>
              <a:t>dLorem</a:t>
            </a:r>
            <a:r>
              <a:rPr lang="en-US" sz="800" b="1" dirty="0">
                <a:solidFill>
                  <a:schemeClr val="bg1"/>
                </a:solidFill>
              </a:rPr>
              <a:t> ipsum </a:t>
            </a:r>
            <a:r>
              <a:rPr lang="en-US" sz="800" b="1" dirty="0" err="1">
                <a:solidFill>
                  <a:schemeClr val="bg1"/>
                </a:solidFill>
              </a:rPr>
              <a:t>dLorem</a:t>
            </a:r>
            <a:r>
              <a:rPr lang="en-US" sz="800" b="1" dirty="0">
                <a:solidFill>
                  <a:schemeClr val="bg1"/>
                </a:solidFill>
              </a:rPr>
              <a:t> Lorem ipsum d</a:t>
            </a:r>
          </a:p>
        </p:txBody>
      </p:sp>
      <p:sp>
        <p:nvSpPr>
          <p:cNvPr id="206" name="Freeform 207"/>
          <p:cNvSpPr>
            <a:spLocks noChangeAspect="1" noEditPoints="1"/>
          </p:cNvSpPr>
          <p:nvPr/>
        </p:nvSpPr>
        <p:spPr bwMode="auto">
          <a:xfrm>
            <a:off x="2572165" y="4552212"/>
            <a:ext cx="540322" cy="538737"/>
          </a:xfrm>
          <a:custGeom>
            <a:avLst/>
            <a:gdLst>
              <a:gd name="T0" fmla="*/ 149 w 512"/>
              <a:gd name="T1" fmla="*/ 266 h 512"/>
              <a:gd name="T2" fmla="*/ 142 w 512"/>
              <a:gd name="T3" fmla="*/ 267 h 512"/>
              <a:gd name="T4" fmla="*/ 178 w 512"/>
              <a:gd name="T5" fmla="*/ 160 h 512"/>
              <a:gd name="T6" fmla="*/ 333 w 512"/>
              <a:gd name="T7" fmla="*/ 160 h 512"/>
              <a:gd name="T8" fmla="*/ 369 w 512"/>
              <a:gd name="T9" fmla="*/ 267 h 512"/>
              <a:gd name="T10" fmla="*/ 362 w 512"/>
              <a:gd name="T11" fmla="*/ 266 h 512"/>
              <a:gd name="T12" fmla="*/ 149 w 512"/>
              <a:gd name="T13" fmla="*/ 266 h 512"/>
              <a:gd name="T14" fmla="*/ 373 w 512"/>
              <a:gd name="T15" fmla="*/ 299 h 512"/>
              <a:gd name="T16" fmla="*/ 373 w 512"/>
              <a:gd name="T17" fmla="*/ 341 h 512"/>
              <a:gd name="T18" fmla="*/ 362 w 512"/>
              <a:gd name="T19" fmla="*/ 352 h 512"/>
              <a:gd name="T20" fmla="*/ 149 w 512"/>
              <a:gd name="T21" fmla="*/ 352 h 512"/>
              <a:gd name="T22" fmla="*/ 138 w 512"/>
              <a:gd name="T23" fmla="*/ 341 h 512"/>
              <a:gd name="T24" fmla="*/ 138 w 512"/>
              <a:gd name="T25" fmla="*/ 299 h 512"/>
              <a:gd name="T26" fmla="*/ 149 w 512"/>
              <a:gd name="T27" fmla="*/ 288 h 512"/>
              <a:gd name="T28" fmla="*/ 362 w 512"/>
              <a:gd name="T29" fmla="*/ 288 h 512"/>
              <a:gd name="T30" fmla="*/ 373 w 512"/>
              <a:gd name="T31" fmla="*/ 299 h 512"/>
              <a:gd name="T32" fmla="*/ 309 w 512"/>
              <a:gd name="T33" fmla="*/ 320 h 512"/>
              <a:gd name="T34" fmla="*/ 298 w 512"/>
              <a:gd name="T35" fmla="*/ 309 h 512"/>
              <a:gd name="T36" fmla="*/ 288 w 512"/>
              <a:gd name="T37" fmla="*/ 320 h 512"/>
              <a:gd name="T38" fmla="*/ 298 w 512"/>
              <a:gd name="T39" fmla="*/ 330 h 512"/>
              <a:gd name="T40" fmla="*/ 309 w 512"/>
              <a:gd name="T41" fmla="*/ 320 h 512"/>
              <a:gd name="T42" fmla="*/ 352 w 512"/>
              <a:gd name="T43" fmla="*/ 320 h 512"/>
              <a:gd name="T44" fmla="*/ 341 w 512"/>
              <a:gd name="T45" fmla="*/ 309 h 512"/>
              <a:gd name="T46" fmla="*/ 330 w 512"/>
              <a:gd name="T47" fmla="*/ 320 h 512"/>
              <a:gd name="T48" fmla="*/ 341 w 512"/>
              <a:gd name="T49" fmla="*/ 330 h 512"/>
              <a:gd name="T50" fmla="*/ 352 w 512"/>
              <a:gd name="T51" fmla="*/ 320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94 w 512"/>
              <a:gd name="T63" fmla="*/ 277 h 512"/>
              <a:gd name="T64" fmla="*/ 394 w 512"/>
              <a:gd name="T65" fmla="*/ 274 h 512"/>
              <a:gd name="T66" fmla="*/ 351 w 512"/>
              <a:gd name="T67" fmla="*/ 146 h 512"/>
              <a:gd name="T68" fmla="*/ 351 w 512"/>
              <a:gd name="T69" fmla="*/ 145 h 512"/>
              <a:gd name="T70" fmla="*/ 341 w 512"/>
              <a:gd name="T71" fmla="*/ 138 h 512"/>
              <a:gd name="T72" fmla="*/ 170 w 512"/>
              <a:gd name="T73" fmla="*/ 138 h 512"/>
              <a:gd name="T74" fmla="*/ 160 w 512"/>
              <a:gd name="T75" fmla="*/ 145 h 512"/>
              <a:gd name="T76" fmla="*/ 160 w 512"/>
              <a:gd name="T77" fmla="*/ 146 h 512"/>
              <a:gd name="T78" fmla="*/ 118 w 512"/>
              <a:gd name="T79" fmla="*/ 274 h 512"/>
              <a:gd name="T80" fmla="*/ 117 w 512"/>
              <a:gd name="T81" fmla="*/ 277 h 512"/>
              <a:gd name="T82" fmla="*/ 117 w 512"/>
              <a:gd name="T83" fmla="*/ 298 h 512"/>
              <a:gd name="T84" fmla="*/ 117 w 512"/>
              <a:gd name="T85" fmla="*/ 298 h 512"/>
              <a:gd name="T86" fmla="*/ 117 w 512"/>
              <a:gd name="T87" fmla="*/ 299 h 512"/>
              <a:gd name="T88" fmla="*/ 117 w 512"/>
              <a:gd name="T89" fmla="*/ 341 h 512"/>
              <a:gd name="T90" fmla="*/ 149 w 512"/>
              <a:gd name="T91" fmla="*/ 373 h 512"/>
              <a:gd name="T92" fmla="*/ 362 w 512"/>
              <a:gd name="T93" fmla="*/ 373 h 512"/>
              <a:gd name="T94" fmla="*/ 394 w 512"/>
              <a:gd name="T95" fmla="*/ 341 h 512"/>
              <a:gd name="T96" fmla="*/ 394 w 512"/>
              <a:gd name="T97" fmla="*/ 299 h 512"/>
              <a:gd name="T98" fmla="*/ 394 w 512"/>
              <a:gd name="T99" fmla="*/ 298 h 512"/>
              <a:gd name="T100" fmla="*/ 394 w 512"/>
              <a:gd name="T101" fmla="*/ 298 h 512"/>
              <a:gd name="T102" fmla="*/ 394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49" y="266"/>
                </a:moveTo>
                <a:cubicBezTo>
                  <a:pt x="147" y="266"/>
                  <a:pt x="144" y="267"/>
                  <a:pt x="142" y="267"/>
                </a:cubicBezTo>
                <a:cubicBezTo>
                  <a:pt x="178" y="160"/>
                  <a:pt x="178" y="160"/>
                  <a:pt x="178" y="160"/>
                </a:cubicBezTo>
                <a:cubicBezTo>
                  <a:pt x="333" y="160"/>
                  <a:pt x="333" y="160"/>
                  <a:pt x="333" y="160"/>
                </a:cubicBezTo>
                <a:cubicBezTo>
                  <a:pt x="369" y="267"/>
                  <a:pt x="369" y="267"/>
                  <a:pt x="369" y="267"/>
                </a:cubicBezTo>
                <a:cubicBezTo>
                  <a:pt x="367" y="267"/>
                  <a:pt x="365" y="266"/>
                  <a:pt x="362" y="266"/>
                </a:cubicBezTo>
                <a:lnTo>
                  <a:pt x="149" y="266"/>
                </a:lnTo>
                <a:close/>
                <a:moveTo>
                  <a:pt x="373" y="299"/>
                </a:moveTo>
                <a:cubicBezTo>
                  <a:pt x="373" y="341"/>
                  <a:pt x="373" y="341"/>
                  <a:pt x="373" y="341"/>
                </a:cubicBezTo>
                <a:cubicBezTo>
                  <a:pt x="373" y="347"/>
                  <a:pt x="368" y="352"/>
                  <a:pt x="362" y="352"/>
                </a:cubicBezTo>
                <a:cubicBezTo>
                  <a:pt x="149" y="352"/>
                  <a:pt x="149" y="352"/>
                  <a:pt x="149" y="352"/>
                </a:cubicBezTo>
                <a:cubicBezTo>
                  <a:pt x="143" y="352"/>
                  <a:pt x="138" y="347"/>
                  <a:pt x="138" y="341"/>
                </a:cubicBezTo>
                <a:cubicBezTo>
                  <a:pt x="138" y="299"/>
                  <a:pt x="138" y="299"/>
                  <a:pt x="138" y="299"/>
                </a:cubicBezTo>
                <a:cubicBezTo>
                  <a:pt x="138" y="293"/>
                  <a:pt x="143" y="288"/>
                  <a:pt x="149" y="288"/>
                </a:cubicBezTo>
                <a:cubicBezTo>
                  <a:pt x="362" y="288"/>
                  <a:pt x="362" y="288"/>
                  <a:pt x="362" y="288"/>
                </a:cubicBezTo>
                <a:cubicBezTo>
                  <a:pt x="368" y="288"/>
                  <a:pt x="373" y="293"/>
                  <a:pt x="373" y="299"/>
                </a:cubicBezTo>
                <a:close/>
                <a:moveTo>
                  <a:pt x="309" y="320"/>
                </a:moveTo>
                <a:cubicBezTo>
                  <a:pt x="309" y="314"/>
                  <a:pt x="304" y="309"/>
                  <a:pt x="298" y="309"/>
                </a:cubicBezTo>
                <a:cubicBezTo>
                  <a:pt x="292" y="309"/>
                  <a:pt x="288" y="314"/>
                  <a:pt x="288" y="320"/>
                </a:cubicBezTo>
                <a:cubicBezTo>
                  <a:pt x="288" y="326"/>
                  <a:pt x="292" y="330"/>
                  <a:pt x="298" y="330"/>
                </a:cubicBezTo>
                <a:cubicBezTo>
                  <a:pt x="304" y="330"/>
                  <a:pt x="309" y="326"/>
                  <a:pt x="309" y="320"/>
                </a:cubicBezTo>
                <a:close/>
                <a:moveTo>
                  <a:pt x="352" y="320"/>
                </a:moveTo>
                <a:cubicBezTo>
                  <a:pt x="352" y="314"/>
                  <a:pt x="347" y="309"/>
                  <a:pt x="341" y="309"/>
                </a:cubicBezTo>
                <a:cubicBezTo>
                  <a:pt x="335" y="309"/>
                  <a:pt x="330" y="314"/>
                  <a:pt x="330" y="320"/>
                </a:cubicBezTo>
                <a:cubicBezTo>
                  <a:pt x="330" y="326"/>
                  <a:pt x="335" y="330"/>
                  <a:pt x="341" y="330"/>
                </a:cubicBezTo>
                <a:cubicBezTo>
                  <a:pt x="347" y="330"/>
                  <a:pt x="352" y="326"/>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77"/>
                </a:moveTo>
                <a:cubicBezTo>
                  <a:pt x="394" y="276"/>
                  <a:pt x="394" y="275"/>
                  <a:pt x="394" y="274"/>
                </a:cubicBezTo>
                <a:cubicBezTo>
                  <a:pt x="351" y="146"/>
                  <a:pt x="351" y="146"/>
                  <a:pt x="351" y="146"/>
                </a:cubicBezTo>
                <a:cubicBezTo>
                  <a:pt x="351" y="145"/>
                  <a:pt x="351" y="145"/>
                  <a:pt x="351" y="145"/>
                </a:cubicBezTo>
                <a:cubicBezTo>
                  <a:pt x="349" y="141"/>
                  <a:pt x="346" y="138"/>
                  <a:pt x="341" y="138"/>
                </a:cubicBezTo>
                <a:cubicBezTo>
                  <a:pt x="170" y="138"/>
                  <a:pt x="170" y="138"/>
                  <a:pt x="170" y="138"/>
                </a:cubicBezTo>
                <a:cubicBezTo>
                  <a:pt x="166" y="138"/>
                  <a:pt x="162" y="141"/>
                  <a:pt x="160" y="145"/>
                </a:cubicBezTo>
                <a:cubicBezTo>
                  <a:pt x="160" y="145"/>
                  <a:pt x="160" y="145"/>
                  <a:pt x="160" y="146"/>
                </a:cubicBezTo>
                <a:cubicBezTo>
                  <a:pt x="118" y="274"/>
                  <a:pt x="118" y="274"/>
                  <a:pt x="118" y="274"/>
                </a:cubicBezTo>
                <a:cubicBezTo>
                  <a:pt x="117" y="275"/>
                  <a:pt x="117" y="276"/>
                  <a:pt x="117" y="277"/>
                </a:cubicBezTo>
                <a:cubicBezTo>
                  <a:pt x="117" y="298"/>
                  <a:pt x="117" y="298"/>
                  <a:pt x="117" y="298"/>
                </a:cubicBezTo>
                <a:cubicBezTo>
                  <a:pt x="117" y="298"/>
                  <a:pt x="117" y="298"/>
                  <a:pt x="117" y="298"/>
                </a:cubicBezTo>
                <a:cubicBezTo>
                  <a:pt x="117" y="298"/>
                  <a:pt x="117" y="298"/>
                  <a:pt x="117" y="299"/>
                </a:cubicBezTo>
                <a:cubicBezTo>
                  <a:pt x="117" y="341"/>
                  <a:pt x="117" y="341"/>
                  <a:pt x="117" y="341"/>
                </a:cubicBezTo>
                <a:cubicBezTo>
                  <a:pt x="117" y="359"/>
                  <a:pt x="131" y="373"/>
                  <a:pt x="149" y="373"/>
                </a:cubicBezTo>
                <a:cubicBezTo>
                  <a:pt x="362" y="373"/>
                  <a:pt x="362" y="373"/>
                  <a:pt x="362" y="373"/>
                </a:cubicBezTo>
                <a:cubicBezTo>
                  <a:pt x="380" y="373"/>
                  <a:pt x="394" y="359"/>
                  <a:pt x="394" y="341"/>
                </a:cubicBezTo>
                <a:cubicBezTo>
                  <a:pt x="394" y="299"/>
                  <a:pt x="394" y="299"/>
                  <a:pt x="394" y="299"/>
                </a:cubicBezTo>
                <a:cubicBezTo>
                  <a:pt x="394" y="298"/>
                  <a:pt x="394" y="298"/>
                  <a:pt x="394" y="298"/>
                </a:cubicBezTo>
                <a:cubicBezTo>
                  <a:pt x="394" y="298"/>
                  <a:pt x="394" y="298"/>
                  <a:pt x="394" y="298"/>
                </a:cubicBezTo>
                <a:lnTo>
                  <a:pt x="394" y="277"/>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p>
        </p:txBody>
      </p:sp>
      <p:sp>
        <p:nvSpPr>
          <p:cNvPr id="208" name="圆角矩形 207"/>
          <p:cNvSpPr/>
          <p:nvPr/>
        </p:nvSpPr>
        <p:spPr bwMode="gray">
          <a:xfrm>
            <a:off x="3202239" y="4657116"/>
            <a:ext cx="915041" cy="433833"/>
          </a:xfrm>
          <a:prstGeom prst="round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Lorem ipsum d</a:t>
            </a:r>
          </a:p>
        </p:txBody>
      </p:sp>
      <p:cxnSp>
        <p:nvCxnSpPr>
          <p:cNvPr id="209" name="直接箭头连接符 208"/>
          <p:cNvCxnSpPr/>
          <p:nvPr/>
        </p:nvCxnSpPr>
        <p:spPr>
          <a:xfrm>
            <a:off x="2811965" y="4233240"/>
            <a:ext cx="3202" cy="262560"/>
          </a:xfrm>
          <a:prstGeom prst="straightConnector1">
            <a:avLst/>
          </a:prstGeom>
          <a:ln w="15875">
            <a:solidFill>
              <a:schemeClr val="bg1">
                <a:lumMod val="75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11" name="五边形 210"/>
          <p:cNvSpPr/>
          <p:nvPr/>
        </p:nvSpPr>
        <p:spPr bwMode="gray">
          <a:xfrm>
            <a:off x="2474971" y="2455834"/>
            <a:ext cx="1570255" cy="221498"/>
          </a:xfrm>
          <a:prstGeom prst="homePlate">
            <a:avLst/>
          </a:prstGeom>
          <a:solidFill>
            <a:schemeClr val="tx1"/>
          </a:solidFill>
          <a:ln w="19050" algn="ctr">
            <a:noFill/>
            <a:miter lim="800000"/>
            <a:headEnd/>
            <a:tailEnd/>
          </a:ln>
        </p:spPr>
        <p:txBody>
          <a:bodyPr wrap="square" lIns="88900" tIns="88900" rIns="88900" bIns="88900" rtlCol="0" anchor="ctr"/>
          <a:lstStyle/>
          <a:p>
            <a:pPr algn="ctr">
              <a:lnSpc>
                <a:spcPct val="106000"/>
              </a:lnSpc>
            </a:pPr>
            <a:r>
              <a:rPr lang="en-US" sz="900" b="1" dirty="0">
                <a:solidFill>
                  <a:schemeClr val="bg1"/>
                </a:solidFill>
              </a:rPr>
              <a:t>Lorem ipsum d</a:t>
            </a:r>
          </a:p>
        </p:txBody>
      </p:sp>
      <p:sp>
        <p:nvSpPr>
          <p:cNvPr id="212" name="Freeform 214"/>
          <p:cNvSpPr>
            <a:spLocks noChangeAspect="1" noEditPoints="1"/>
          </p:cNvSpPr>
          <p:nvPr/>
        </p:nvSpPr>
        <p:spPr bwMode="auto">
          <a:xfrm>
            <a:off x="2568844" y="2774751"/>
            <a:ext cx="553350" cy="553350"/>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p>
        </p:txBody>
      </p:sp>
      <p:sp>
        <p:nvSpPr>
          <p:cNvPr id="213" name="五边形 212"/>
          <p:cNvSpPr/>
          <p:nvPr/>
        </p:nvSpPr>
        <p:spPr bwMode="gray">
          <a:xfrm>
            <a:off x="5659108" y="2334251"/>
            <a:ext cx="2426641" cy="286944"/>
          </a:xfrm>
          <a:prstGeom prst="homePlat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solidFill>
                  <a:schemeClr val="bg1"/>
                </a:solidFill>
              </a:rPr>
              <a:t>Lorem ipsum </a:t>
            </a:r>
            <a:r>
              <a:rPr lang="en-US" sz="900" b="1" dirty="0" err="1">
                <a:solidFill>
                  <a:schemeClr val="bg1"/>
                </a:solidFill>
              </a:rPr>
              <a:t>dLorem</a:t>
            </a:r>
            <a:r>
              <a:rPr lang="en-US" sz="900" b="1" dirty="0">
                <a:solidFill>
                  <a:schemeClr val="bg1"/>
                </a:solidFill>
              </a:rPr>
              <a:t> ipsum </a:t>
            </a:r>
            <a:r>
              <a:rPr lang="en-US" sz="900" b="1" dirty="0" err="1">
                <a:solidFill>
                  <a:schemeClr val="bg1"/>
                </a:solidFill>
              </a:rPr>
              <a:t>dLorem</a:t>
            </a:r>
            <a:r>
              <a:rPr lang="en-US" sz="900" b="1" dirty="0">
                <a:solidFill>
                  <a:schemeClr val="bg1"/>
                </a:solidFill>
              </a:rPr>
              <a:t> ipsum d</a:t>
            </a:r>
          </a:p>
        </p:txBody>
      </p:sp>
      <p:grpSp>
        <p:nvGrpSpPr>
          <p:cNvPr id="214" name="组合 213"/>
          <p:cNvGrpSpPr/>
          <p:nvPr/>
        </p:nvGrpSpPr>
        <p:grpSpPr>
          <a:xfrm>
            <a:off x="5685365" y="2879673"/>
            <a:ext cx="2264760" cy="2774378"/>
            <a:chOff x="5689673" y="2870281"/>
            <a:chExt cx="2586622" cy="2774378"/>
          </a:xfrm>
        </p:grpSpPr>
        <p:sp>
          <p:nvSpPr>
            <p:cNvPr id="215" name="圆角矩形 214"/>
            <p:cNvSpPr/>
            <p:nvPr/>
          </p:nvSpPr>
          <p:spPr bwMode="gray">
            <a:xfrm>
              <a:off x="5689673" y="2870281"/>
              <a:ext cx="2586622" cy="2774378"/>
            </a:xfrm>
            <a:prstGeom prst="roundRect">
              <a:avLst>
                <a:gd name="adj" fmla="val 4392"/>
              </a:avLst>
            </a:prstGeom>
            <a:solidFill>
              <a:schemeClr val="accent1"/>
            </a:solidFill>
            <a:ln w="19050" algn="ctr">
              <a:noFill/>
              <a:miter lim="800000"/>
              <a:headEnd/>
              <a:tailEnd/>
            </a:ln>
          </p:spPr>
          <p:txBody>
            <a:bodyPr wrap="square" lIns="88900" tIns="36000" rIns="88900" bIns="88900" rtlCol="0" anchor="t"/>
            <a:lstStyle/>
            <a:p>
              <a:pPr algn="ctr">
                <a:lnSpc>
                  <a:spcPct val="106000"/>
                </a:lnSpc>
              </a:pPr>
              <a:r>
                <a:rPr lang="en-US" sz="700" b="1" dirty="0">
                  <a:solidFill>
                    <a:schemeClr val="bg1"/>
                  </a:solidFill>
                </a:rPr>
                <a:t>Lorem ipsum d</a:t>
              </a:r>
            </a:p>
          </p:txBody>
        </p:sp>
        <p:sp>
          <p:nvSpPr>
            <p:cNvPr id="216" name="矩形 215"/>
            <p:cNvSpPr/>
            <p:nvPr/>
          </p:nvSpPr>
          <p:spPr bwMode="gray">
            <a:xfrm>
              <a:off x="5768211" y="3100114"/>
              <a:ext cx="2431756" cy="243523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18" name="圆角矩形 217"/>
          <p:cNvSpPr/>
          <p:nvPr/>
        </p:nvSpPr>
        <p:spPr bwMode="gray">
          <a:xfrm>
            <a:off x="5837510" y="4001078"/>
            <a:ext cx="1034919" cy="875722"/>
          </a:xfrm>
          <a:prstGeom prst="roundRect">
            <a:avLst>
              <a:gd name="adj" fmla="val 9304"/>
            </a:avLst>
          </a:prstGeom>
          <a:noFill/>
          <a:ln w="19050" algn="ctr">
            <a:solidFill>
              <a:schemeClr val="accent2"/>
            </a:solidFill>
            <a:miter lim="800000"/>
            <a:headEnd/>
            <a:tailEnd/>
          </a:ln>
        </p:spPr>
        <p:txBody>
          <a:bodyPr wrap="square" lIns="0" tIns="36000" rIns="0" bIns="88900" rtlCol="0" anchor="t"/>
          <a:lstStyle/>
          <a:p>
            <a:pPr algn="ctr">
              <a:lnSpc>
                <a:spcPct val="106000"/>
              </a:lnSpc>
              <a:buFont typeface="Wingdings 2" pitchFamily="18" charset="2"/>
              <a:buNone/>
            </a:pPr>
            <a:r>
              <a:rPr lang="en-US" sz="800" b="1" dirty="0">
                <a:solidFill>
                  <a:schemeClr val="accent2"/>
                </a:solidFill>
              </a:rPr>
              <a:t>Lorem ipsum d</a:t>
            </a:r>
          </a:p>
        </p:txBody>
      </p:sp>
      <p:sp>
        <p:nvSpPr>
          <p:cNvPr id="220" name="圆角矩形 219"/>
          <p:cNvSpPr/>
          <p:nvPr/>
        </p:nvSpPr>
        <p:spPr bwMode="gray">
          <a:xfrm>
            <a:off x="6978100" y="4001077"/>
            <a:ext cx="817517" cy="621959"/>
          </a:xfrm>
          <a:prstGeom prst="roundRect">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accent2"/>
                </a:solidFill>
              </a:rPr>
              <a:t>Lorem ipsum </a:t>
            </a:r>
            <a:r>
              <a:rPr lang="en-US" sz="800" b="1" dirty="0" err="1">
                <a:solidFill>
                  <a:schemeClr val="accent2"/>
                </a:solidFill>
              </a:rPr>
              <a:t>dLorem</a:t>
            </a:r>
            <a:r>
              <a:rPr lang="en-US" sz="800" b="1" dirty="0">
                <a:solidFill>
                  <a:schemeClr val="accent2"/>
                </a:solidFill>
              </a:rPr>
              <a:t> ipsum d</a:t>
            </a:r>
          </a:p>
        </p:txBody>
      </p:sp>
      <p:grpSp>
        <p:nvGrpSpPr>
          <p:cNvPr id="221" name="组合 220"/>
          <p:cNvGrpSpPr/>
          <p:nvPr/>
        </p:nvGrpSpPr>
        <p:grpSpPr>
          <a:xfrm>
            <a:off x="8073803" y="2867216"/>
            <a:ext cx="2955996" cy="2774378"/>
            <a:chOff x="5689673" y="2870281"/>
            <a:chExt cx="2586622" cy="2774378"/>
          </a:xfrm>
        </p:grpSpPr>
        <p:sp>
          <p:nvSpPr>
            <p:cNvPr id="222" name="圆角矩形 221"/>
            <p:cNvSpPr/>
            <p:nvPr/>
          </p:nvSpPr>
          <p:spPr bwMode="gray">
            <a:xfrm>
              <a:off x="5689673" y="2870281"/>
              <a:ext cx="2586622" cy="2774378"/>
            </a:xfrm>
            <a:prstGeom prst="roundRect">
              <a:avLst>
                <a:gd name="adj" fmla="val 4392"/>
              </a:avLst>
            </a:prstGeom>
            <a:solidFill>
              <a:srgbClr val="005587"/>
            </a:solidFill>
            <a:ln w="19050" algn="ctr">
              <a:noFill/>
              <a:miter lim="800000"/>
              <a:headEnd/>
              <a:tailEnd/>
            </a:ln>
          </p:spPr>
          <p:txBody>
            <a:bodyPr wrap="square" lIns="88900" tIns="36000" rIns="88900" bIns="88900" rtlCol="0" anchor="t"/>
            <a:lstStyle/>
            <a:p>
              <a:pPr algn="ctr">
                <a:lnSpc>
                  <a:spcPct val="106000"/>
                </a:lnSpc>
                <a:buFont typeface="Wingdings 2" pitchFamily="18" charset="2"/>
                <a:buNone/>
              </a:pPr>
              <a:r>
                <a:rPr lang="en-US" sz="800" b="1" dirty="0">
                  <a:solidFill>
                    <a:schemeClr val="bg1"/>
                  </a:solidFill>
                </a:rPr>
                <a:t>Lorem ipsum d</a:t>
              </a:r>
            </a:p>
          </p:txBody>
        </p:sp>
        <p:sp>
          <p:nvSpPr>
            <p:cNvPr id="223" name="矩形 222"/>
            <p:cNvSpPr/>
            <p:nvPr/>
          </p:nvSpPr>
          <p:spPr bwMode="gray">
            <a:xfrm>
              <a:off x="5768211" y="3100114"/>
              <a:ext cx="2431756" cy="243523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24" name="圆角矩形 223"/>
          <p:cNvSpPr/>
          <p:nvPr/>
        </p:nvSpPr>
        <p:spPr bwMode="gray">
          <a:xfrm>
            <a:off x="8281361" y="3318600"/>
            <a:ext cx="366252" cy="1991202"/>
          </a:xfrm>
          <a:prstGeom prst="roundRect">
            <a:avLst>
              <a:gd name="adj" fmla="val 50000"/>
            </a:avLst>
          </a:prstGeom>
          <a:solidFill>
            <a:schemeClr val="tx2"/>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US" sz="800" b="1" dirty="0">
                <a:solidFill>
                  <a:schemeClr val="bg1"/>
                </a:solidFill>
              </a:rPr>
              <a:t>Lorem ipsum d</a:t>
            </a:r>
          </a:p>
        </p:txBody>
      </p:sp>
      <p:grpSp>
        <p:nvGrpSpPr>
          <p:cNvPr id="225" name="组合 224"/>
          <p:cNvGrpSpPr/>
          <p:nvPr/>
        </p:nvGrpSpPr>
        <p:grpSpPr>
          <a:xfrm>
            <a:off x="8743103" y="3318600"/>
            <a:ext cx="2185046" cy="1990533"/>
            <a:chOff x="8354833" y="2904947"/>
            <a:chExt cx="2708374" cy="1971301"/>
          </a:xfrm>
          <a:solidFill>
            <a:schemeClr val="accent6">
              <a:lumMod val="75000"/>
            </a:schemeClr>
          </a:solidFill>
        </p:grpSpPr>
        <p:sp>
          <p:nvSpPr>
            <p:cNvPr id="226" name="圆角矩形 225"/>
            <p:cNvSpPr/>
            <p:nvPr/>
          </p:nvSpPr>
          <p:spPr bwMode="gray">
            <a:xfrm>
              <a:off x="8354833" y="2904947"/>
              <a:ext cx="2708374" cy="1971301"/>
            </a:xfrm>
            <a:prstGeom prst="roundRect">
              <a:avLst>
                <a:gd name="adj" fmla="val 5285"/>
              </a:avLst>
            </a:prstGeom>
            <a:solidFill>
              <a:srgbClr val="0076A8"/>
            </a:solidFill>
            <a:ln w="19050" algn="ctr">
              <a:noFill/>
              <a:miter lim="800000"/>
              <a:headEnd/>
              <a:tailEnd/>
            </a:ln>
          </p:spPr>
          <p:txBody>
            <a:bodyPr wrap="square" lIns="0" tIns="36000" rIns="0" bIns="88900" rtlCol="0" anchor="t"/>
            <a:lstStyle/>
            <a:p>
              <a:pPr algn="ctr">
                <a:lnSpc>
                  <a:spcPct val="106000"/>
                </a:lnSpc>
                <a:buFont typeface="Wingdings 2" pitchFamily="18" charset="2"/>
                <a:buNone/>
              </a:pPr>
              <a:r>
                <a:rPr lang="en-US" sz="800" b="1" dirty="0">
                  <a:solidFill>
                    <a:schemeClr val="bg1"/>
                  </a:solidFill>
                </a:rPr>
                <a:t>Lorem ipsum d</a:t>
              </a:r>
            </a:p>
          </p:txBody>
        </p:sp>
        <p:sp>
          <p:nvSpPr>
            <p:cNvPr id="227" name="矩形 226"/>
            <p:cNvSpPr/>
            <p:nvPr/>
          </p:nvSpPr>
          <p:spPr bwMode="gray">
            <a:xfrm>
              <a:off x="8462079" y="3146067"/>
              <a:ext cx="2507531" cy="166564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28" name="圆角矩形 227"/>
          <p:cNvSpPr/>
          <p:nvPr/>
        </p:nvSpPr>
        <p:spPr bwMode="gray">
          <a:xfrm>
            <a:off x="8928330" y="3649134"/>
            <a:ext cx="766664" cy="1525589"/>
          </a:xfrm>
          <a:prstGeom prst="roundRect">
            <a:avLst/>
          </a:prstGeom>
          <a:no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accent6">
                    <a:lumMod val="75000"/>
                  </a:schemeClr>
                </a:solidFill>
              </a:rPr>
              <a:t>Lorem ipsum d</a:t>
            </a:r>
          </a:p>
        </p:txBody>
      </p:sp>
      <p:sp>
        <p:nvSpPr>
          <p:cNvPr id="229" name="圆角矩形 228"/>
          <p:cNvSpPr/>
          <p:nvPr/>
        </p:nvSpPr>
        <p:spPr bwMode="gray">
          <a:xfrm>
            <a:off x="9968515" y="3649134"/>
            <a:ext cx="793119" cy="1525590"/>
          </a:xfrm>
          <a:prstGeom prst="roundRect">
            <a:avLst>
              <a:gd name="adj" fmla="val 10139"/>
            </a:avLst>
          </a:prstGeom>
          <a:no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accent6">
                    <a:lumMod val="75000"/>
                  </a:schemeClr>
                </a:solidFill>
              </a:rPr>
              <a:t>Lorem ipsum d</a:t>
            </a:r>
          </a:p>
        </p:txBody>
      </p:sp>
      <p:grpSp>
        <p:nvGrpSpPr>
          <p:cNvPr id="230" name="组合 229"/>
          <p:cNvGrpSpPr/>
          <p:nvPr/>
        </p:nvGrpSpPr>
        <p:grpSpPr>
          <a:xfrm>
            <a:off x="7316052" y="3731837"/>
            <a:ext cx="2654321" cy="1202336"/>
            <a:chOff x="7316052" y="3731837"/>
            <a:chExt cx="2654321" cy="1202336"/>
          </a:xfrm>
        </p:grpSpPr>
        <p:sp>
          <p:nvSpPr>
            <p:cNvPr id="231" name="圆角右箭头 230"/>
            <p:cNvSpPr/>
            <p:nvPr/>
          </p:nvSpPr>
          <p:spPr bwMode="gray">
            <a:xfrm>
              <a:off x="7337067" y="3731837"/>
              <a:ext cx="934858" cy="269240"/>
            </a:xfrm>
            <a:prstGeom prst="ben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2" name="圆角右箭头 231"/>
            <p:cNvSpPr/>
            <p:nvPr/>
          </p:nvSpPr>
          <p:spPr bwMode="gray">
            <a:xfrm rot="16200000">
              <a:off x="7666099" y="4262505"/>
              <a:ext cx="264248" cy="964341"/>
            </a:xfrm>
            <a:prstGeom prst="ben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3" name="右箭头 232"/>
            <p:cNvSpPr/>
            <p:nvPr/>
          </p:nvSpPr>
          <p:spPr bwMode="gray">
            <a:xfrm>
              <a:off x="8647613" y="3736070"/>
              <a:ext cx="280717" cy="145896"/>
            </a:xfrm>
            <a:prstGeom prst="righ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4" name="右箭头 233"/>
            <p:cNvSpPr/>
            <p:nvPr/>
          </p:nvSpPr>
          <p:spPr bwMode="gray">
            <a:xfrm>
              <a:off x="9694994" y="3751258"/>
              <a:ext cx="273521" cy="145896"/>
            </a:xfrm>
            <a:prstGeom prst="righ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5" name="右箭头 234"/>
            <p:cNvSpPr/>
            <p:nvPr/>
          </p:nvSpPr>
          <p:spPr bwMode="gray">
            <a:xfrm rot="10800000">
              <a:off x="8655443" y="4773203"/>
              <a:ext cx="273521" cy="145896"/>
            </a:xfrm>
            <a:prstGeom prst="righ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6" name="右箭头 235"/>
            <p:cNvSpPr/>
            <p:nvPr/>
          </p:nvSpPr>
          <p:spPr bwMode="gray">
            <a:xfrm rot="10800000">
              <a:off x="9696852" y="4788277"/>
              <a:ext cx="273521" cy="145896"/>
            </a:xfrm>
            <a:prstGeom prst="righ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37" name="Freeform 557"/>
          <p:cNvSpPr>
            <a:spLocks/>
          </p:cNvSpPr>
          <p:nvPr/>
        </p:nvSpPr>
        <p:spPr bwMode="auto">
          <a:xfrm>
            <a:off x="10349529" y="2376195"/>
            <a:ext cx="680269" cy="316973"/>
          </a:xfrm>
          <a:custGeom>
            <a:avLst/>
            <a:gdLst>
              <a:gd name="connsiteX0" fmla="*/ 4583 w 365386"/>
              <a:gd name="connsiteY0" fmla="*/ 102151 h 170252"/>
              <a:gd name="connsiteX1" fmla="*/ 6111 w 365386"/>
              <a:gd name="connsiteY1" fmla="*/ 103701 h 170252"/>
              <a:gd name="connsiteX2" fmla="*/ 9167 w 365386"/>
              <a:gd name="connsiteY2" fmla="*/ 125397 h 170252"/>
              <a:gd name="connsiteX3" fmla="*/ 6111 w 365386"/>
              <a:gd name="connsiteY3" fmla="*/ 147093 h 170252"/>
              <a:gd name="connsiteX4" fmla="*/ 4583 w 365386"/>
              <a:gd name="connsiteY4" fmla="*/ 148643 h 170252"/>
              <a:gd name="connsiteX5" fmla="*/ 3055 w 365386"/>
              <a:gd name="connsiteY5" fmla="*/ 147093 h 170252"/>
              <a:gd name="connsiteX6" fmla="*/ 0 w 365386"/>
              <a:gd name="connsiteY6" fmla="*/ 125397 h 170252"/>
              <a:gd name="connsiteX7" fmla="*/ 3055 w 365386"/>
              <a:gd name="connsiteY7" fmla="*/ 103701 h 170252"/>
              <a:gd name="connsiteX8" fmla="*/ 4583 w 365386"/>
              <a:gd name="connsiteY8" fmla="*/ 102151 h 170252"/>
              <a:gd name="connsiteX9" fmla="*/ 16932 w 365386"/>
              <a:gd name="connsiteY9" fmla="*/ 87745 h 170252"/>
              <a:gd name="connsiteX10" fmla="*/ 18429 w 365386"/>
              <a:gd name="connsiteY10" fmla="*/ 89306 h 170252"/>
              <a:gd name="connsiteX11" fmla="*/ 22919 w 365386"/>
              <a:gd name="connsiteY11" fmla="*/ 125195 h 170252"/>
              <a:gd name="connsiteX12" fmla="*/ 18429 w 365386"/>
              <a:gd name="connsiteY12" fmla="*/ 159524 h 170252"/>
              <a:gd name="connsiteX13" fmla="*/ 16932 w 365386"/>
              <a:gd name="connsiteY13" fmla="*/ 161084 h 170252"/>
              <a:gd name="connsiteX14" fmla="*/ 15435 w 365386"/>
              <a:gd name="connsiteY14" fmla="*/ 159524 h 170252"/>
              <a:gd name="connsiteX15" fmla="*/ 12442 w 365386"/>
              <a:gd name="connsiteY15" fmla="*/ 125195 h 170252"/>
              <a:gd name="connsiteX16" fmla="*/ 15435 w 365386"/>
              <a:gd name="connsiteY16" fmla="*/ 89306 h 170252"/>
              <a:gd name="connsiteX17" fmla="*/ 16932 w 365386"/>
              <a:gd name="connsiteY17" fmla="*/ 87745 h 170252"/>
              <a:gd name="connsiteX18" fmla="*/ 60431 w 365386"/>
              <a:gd name="connsiteY18" fmla="*/ 83161 h 170252"/>
              <a:gd name="connsiteX19" fmla="*/ 63611 w 365386"/>
              <a:gd name="connsiteY19" fmla="*/ 84716 h 170252"/>
              <a:gd name="connsiteX20" fmla="*/ 66792 w 365386"/>
              <a:gd name="connsiteY20" fmla="*/ 125151 h 170252"/>
              <a:gd name="connsiteX21" fmla="*/ 63611 w 365386"/>
              <a:gd name="connsiteY21" fmla="*/ 167141 h 170252"/>
              <a:gd name="connsiteX22" fmla="*/ 60431 w 365386"/>
              <a:gd name="connsiteY22" fmla="*/ 170251 h 170252"/>
              <a:gd name="connsiteX23" fmla="*/ 58840 w 365386"/>
              <a:gd name="connsiteY23" fmla="*/ 167141 h 170252"/>
              <a:gd name="connsiteX24" fmla="*/ 55660 w 365386"/>
              <a:gd name="connsiteY24" fmla="*/ 125151 h 170252"/>
              <a:gd name="connsiteX25" fmla="*/ 58840 w 365386"/>
              <a:gd name="connsiteY25" fmla="*/ 84716 h 170252"/>
              <a:gd name="connsiteX26" fmla="*/ 60431 w 365386"/>
              <a:gd name="connsiteY26" fmla="*/ 83161 h 170252"/>
              <a:gd name="connsiteX27" fmla="*/ 32554 w 365386"/>
              <a:gd name="connsiteY27" fmla="*/ 81851 h 170252"/>
              <a:gd name="connsiteX28" fmla="*/ 34144 w 365386"/>
              <a:gd name="connsiteY28" fmla="*/ 83399 h 170252"/>
              <a:gd name="connsiteX29" fmla="*/ 37325 w 365386"/>
              <a:gd name="connsiteY29" fmla="*/ 125188 h 170252"/>
              <a:gd name="connsiteX30" fmla="*/ 34144 w 365386"/>
              <a:gd name="connsiteY30" fmla="*/ 165429 h 170252"/>
              <a:gd name="connsiteX31" fmla="*/ 32554 w 365386"/>
              <a:gd name="connsiteY31" fmla="*/ 166977 h 170252"/>
              <a:gd name="connsiteX32" fmla="*/ 29373 w 365386"/>
              <a:gd name="connsiteY32" fmla="*/ 165429 h 170252"/>
              <a:gd name="connsiteX33" fmla="*/ 26193 w 365386"/>
              <a:gd name="connsiteY33" fmla="*/ 125188 h 170252"/>
              <a:gd name="connsiteX34" fmla="*/ 29373 w 365386"/>
              <a:gd name="connsiteY34" fmla="*/ 83399 h 170252"/>
              <a:gd name="connsiteX35" fmla="*/ 32554 w 365386"/>
              <a:gd name="connsiteY35" fmla="*/ 81851 h 170252"/>
              <a:gd name="connsiteX36" fmla="*/ 46164 w 365386"/>
              <a:gd name="connsiteY36" fmla="*/ 80542 h 170252"/>
              <a:gd name="connsiteX37" fmla="*/ 47719 w 365386"/>
              <a:gd name="connsiteY37" fmla="*/ 82082 h 170252"/>
              <a:gd name="connsiteX38" fmla="*/ 52385 w 365386"/>
              <a:gd name="connsiteY38" fmla="*/ 125184 h 170252"/>
              <a:gd name="connsiteX39" fmla="*/ 47719 w 365386"/>
              <a:gd name="connsiteY39" fmla="*/ 166748 h 170252"/>
              <a:gd name="connsiteX40" fmla="*/ 46164 w 365386"/>
              <a:gd name="connsiteY40" fmla="*/ 168287 h 170252"/>
              <a:gd name="connsiteX41" fmla="*/ 44609 w 365386"/>
              <a:gd name="connsiteY41" fmla="*/ 166748 h 170252"/>
              <a:gd name="connsiteX42" fmla="*/ 39944 w 365386"/>
              <a:gd name="connsiteY42" fmla="*/ 125184 h 170252"/>
              <a:gd name="connsiteX43" fmla="*/ 44609 w 365386"/>
              <a:gd name="connsiteY43" fmla="*/ 82082 h 170252"/>
              <a:gd name="connsiteX44" fmla="*/ 46164 w 365386"/>
              <a:gd name="connsiteY44" fmla="*/ 80542 h 170252"/>
              <a:gd name="connsiteX45" fmla="*/ 75631 w 365386"/>
              <a:gd name="connsiteY45" fmla="*/ 56969 h 170252"/>
              <a:gd name="connsiteX46" fmla="*/ 78742 w 365386"/>
              <a:gd name="connsiteY46" fmla="*/ 60073 h 170252"/>
              <a:gd name="connsiteX47" fmla="*/ 81852 w 365386"/>
              <a:gd name="connsiteY47" fmla="*/ 125249 h 170252"/>
              <a:gd name="connsiteX48" fmla="*/ 78742 w 365386"/>
              <a:gd name="connsiteY48" fmla="*/ 167148 h 170252"/>
              <a:gd name="connsiteX49" fmla="*/ 75631 w 365386"/>
              <a:gd name="connsiteY49" fmla="*/ 170252 h 170252"/>
              <a:gd name="connsiteX50" fmla="*/ 72521 w 365386"/>
              <a:gd name="connsiteY50" fmla="*/ 167148 h 170252"/>
              <a:gd name="connsiteX51" fmla="*/ 69411 w 365386"/>
              <a:gd name="connsiteY51" fmla="*/ 125249 h 170252"/>
              <a:gd name="connsiteX52" fmla="*/ 72521 w 365386"/>
              <a:gd name="connsiteY52" fmla="*/ 60073 h 170252"/>
              <a:gd name="connsiteX53" fmla="*/ 75631 w 365386"/>
              <a:gd name="connsiteY53" fmla="*/ 56969 h 170252"/>
              <a:gd name="connsiteX54" fmla="*/ 89616 w 365386"/>
              <a:gd name="connsiteY54" fmla="*/ 41908 h 170252"/>
              <a:gd name="connsiteX55" fmla="*/ 92609 w 365386"/>
              <a:gd name="connsiteY55" fmla="*/ 46547 h 170252"/>
              <a:gd name="connsiteX56" fmla="*/ 95603 w 365386"/>
              <a:gd name="connsiteY56" fmla="*/ 125408 h 170252"/>
              <a:gd name="connsiteX57" fmla="*/ 92609 w 365386"/>
              <a:gd name="connsiteY57" fmla="*/ 167159 h 170252"/>
              <a:gd name="connsiteX58" fmla="*/ 89616 w 365386"/>
              <a:gd name="connsiteY58" fmla="*/ 170251 h 170252"/>
              <a:gd name="connsiteX59" fmla="*/ 86622 w 365386"/>
              <a:gd name="connsiteY59" fmla="*/ 167159 h 170252"/>
              <a:gd name="connsiteX60" fmla="*/ 85126 w 365386"/>
              <a:gd name="connsiteY60" fmla="*/ 125408 h 170252"/>
              <a:gd name="connsiteX61" fmla="*/ 86622 w 365386"/>
              <a:gd name="connsiteY61" fmla="*/ 46547 h 170252"/>
              <a:gd name="connsiteX62" fmla="*/ 89616 w 365386"/>
              <a:gd name="connsiteY62" fmla="*/ 41908 h 170252"/>
              <a:gd name="connsiteX63" fmla="*/ 150171 w 365386"/>
              <a:gd name="connsiteY63" fmla="*/ 36669 h 170252"/>
              <a:gd name="connsiteX64" fmla="*/ 154754 w 365386"/>
              <a:gd name="connsiteY64" fmla="*/ 41329 h 170252"/>
              <a:gd name="connsiteX65" fmla="*/ 157810 w 365386"/>
              <a:gd name="connsiteY65" fmla="*/ 125206 h 170252"/>
              <a:gd name="connsiteX66" fmla="*/ 154754 w 365386"/>
              <a:gd name="connsiteY66" fmla="*/ 165591 h 170252"/>
              <a:gd name="connsiteX67" fmla="*/ 150171 w 365386"/>
              <a:gd name="connsiteY67" fmla="*/ 170251 h 170252"/>
              <a:gd name="connsiteX68" fmla="*/ 147115 w 365386"/>
              <a:gd name="connsiteY68" fmla="*/ 165591 h 170252"/>
              <a:gd name="connsiteX69" fmla="*/ 144059 w 365386"/>
              <a:gd name="connsiteY69" fmla="*/ 125206 h 170252"/>
              <a:gd name="connsiteX70" fmla="*/ 147115 w 365386"/>
              <a:gd name="connsiteY70" fmla="*/ 41329 h 170252"/>
              <a:gd name="connsiteX71" fmla="*/ 150171 w 365386"/>
              <a:gd name="connsiteY71" fmla="*/ 36669 h 170252"/>
              <a:gd name="connsiteX72" fmla="*/ 105097 w 365386"/>
              <a:gd name="connsiteY72" fmla="*/ 35360 h 170252"/>
              <a:gd name="connsiteX73" fmla="*/ 108208 w 365386"/>
              <a:gd name="connsiteY73" fmla="*/ 38461 h 170252"/>
              <a:gd name="connsiteX74" fmla="*/ 111318 w 365386"/>
              <a:gd name="connsiteY74" fmla="*/ 125288 h 170252"/>
              <a:gd name="connsiteX75" fmla="*/ 108208 w 365386"/>
              <a:gd name="connsiteY75" fmla="*/ 167151 h 170252"/>
              <a:gd name="connsiteX76" fmla="*/ 105097 w 365386"/>
              <a:gd name="connsiteY76" fmla="*/ 170252 h 170252"/>
              <a:gd name="connsiteX77" fmla="*/ 101987 w 365386"/>
              <a:gd name="connsiteY77" fmla="*/ 167151 h 170252"/>
              <a:gd name="connsiteX78" fmla="*/ 98877 w 365386"/>
              <a:gd name="connsiteY78" fmla="*/ 125288 h 170252"/>
              <a:gd name="connsiteX79" fmla="*/ 101987 w 365386"/>
              <a:gd name="connsiteY79" fmla="*/ 38461 h 170252"/>
              <a:gd name="connsiteX80" fmla="*/ 105097 w 365386"/>
              <a:gd name="connsiteY80" fmla="*/ 35360 h 170252"/>
              <a:gd name="connsiteX81" fmla="*/ 135873 w 365386"/>
              <a:gd name="connsiteY81" fmla="*/ 34050 h 170252"/>
              <a:gd name="connsiteX82" fmla="*/ 138984 w 365386"/>
              <a:gd name="connsiteY82" fmla="*/ 38693 h 170252"/>
              <a:gd name="connsiteX83" fmla="*/ 142094 w 365386"/>
              <a:gd name="connsiteY83" fmla="*/ 125367 h 170252"/>
              <a:gd name="connsiteX84" fmla="*/ 138984 w 365386"/>
              <a:gd name="connsiteY84" fmla="*/ 165608 h 170252"/>
              <a:gd name="connsiteX85" fmla="*/ 135873 w 365386"/>
              <a:gd name="connsiteY85" fmla="*/ 170251 h 170252"/>
              <a:gd name="connsiteX86" fmla="*/ 131208 w 365386"/>
              <a:gd name="connsiteY86" fmla="*/ 165608 h 170252"/>
              <a:gd name="connsiteX87" fmla="*/ 129653 w 365386"/>
              <a:gd name="connsiteY87" fmla="*/ 125367 h 170252"/>
              <a:gd name="connsiteX88" fmla="*/ 131208 w 365386"/>
              <a:gd name="connsiteY88" fmla="*/ 38693 h 170252"/>
              <a:gd name="connsiteX89" fmla="*/ 135873 w 365386"/>
              <a:gd name="connsiteY89" fmla="*/ 34050 h 170252"/>
              <a:gd name="connsiteX90" fmla="*/ 120813 w 365386"/>
              <a:gd name="connsiteY90" fmla="*/ 32086 h 170252"/>
              <a:gd name="connsiteX91" fmla="*/ 123924 w 365386"/>
              <a:gd name="connsiteY91" fmla="*/ 35191 h 170252"/>
              <a:gd name="connsiteX92" fmla="*/ 127034 w 365386"/>
              <a:gd name="connsiteY92" fmla="*/ 125232 h 170252"/>
              <a:gd name="connsiteX93" fmla="*/ 123924 w 365386"/>
              <a:gd name="connsiteY93" fmla="*/ 167147 h 170252"/>
              <a:gd name="connsiteX94" fmla="*/ 120813 w 365386"/>
              <a:gd name="connsiteY94" fmla="*/ 170252 h 170252"/>
              <a:gd name="connsiteX95" fmla="*/ 116148 w 365386"/>
              <a:gd name="connsiteY95" fmla="*/ 167147 h 170252"/>
              <a:gd name="connsiteX96" fmla="*/ 114593 w 365386"/>
              <a:gd name="connsiteY96" fmla="*/ 125232 h 170252"/>
              <a:gd name="connsiteX97" fmla="*/ 116148 w 365386"/>
              <a:gd name="connsiteY97" fmla="*/ 35191 h 170252"/>
              <a:gd name="connsiteX98" fmla="*/ 120813 w 365386"/>
              <a:gd name="connsiteY98" fmla="*/ 32086 h 170252"/>
              <a:gd name="connsiteX99" fmla="*/ 165523 w 365386"/>
              <a:gd name="connsiteY99" fmla="*/ 19644 h 170252"/>
              <a:gd name="connsiteX100" fmla="*/ 170325 w 365386"/>
              <a:gd name="connsiteY100" fmla="*/ 25854 h 170252"/>
              <a:gd name="connsiteX101" fmla="*/ 173526 w 365386"/>
              <a:gd name="connsiteY101" fmla="*/ 125224 h 170252"/>
              <a:gd name="connsiteX102" fmla="*/ 170325 w 365386"/>
              <a:gd name="connsiteY102" fmla="*/ 165593 h 170252"/>
              <a:gd name="connsiteX103" fmla="*/ 165523 w 365386"/>
              <a:gd name="connsiteY103" fmla="*/ 170251 h 170252"/>
              <a:gd name="connsiteX104" fmla="*/ 160721 w 365386"/>
              <a:gd name="connsiteY104" fmla="*/ 165593 h 170252"/>
              <a:gd name="connsiteX105" fmla="*/ 159120 w 365386"/>
              <a:gd name="connsiteY105" fmla="*/ 125224 h 170252"/>
              <a:gd name="connsiteX106" fmla="*/ 160721 w 365386"/>
              <a:gd name="connsiteY106" fmla="*/ 25854 h 170252"/>
              <a:gd name="connsiteX107" fmla="*/ 165523 w 365386"/>
              <a:gd name="connsiteY107" fmla="*/ 19644 h 170252"/>
              <a:gd name="connsiteX108" fmla="*/ 180948 w 365386"/>
              <a:gd name="connsiteY108" fmla="*/ 10477 h 170252"/>
              <a:gd name="connsiteX109" fmla="*/ 185531 w 365386"/>
              <a:gd name="connsiteY109" fmla="*/ 16682 h 170252"/>
              <a:gd name="connsiteX110" fmla="*/ 188587 w 365386"/>
              <a:gd name="connsiteY110" fmla="*/ 125266 h 170252"/>
              <a:gd name="connsiteX111" fmla="*/ 185531 w 365386"/>
              <a:gd name="connsiteY111" fmla="*/ 165598 h 170252"/>
              <a:gd name="connsiteX112" fmla="*/ 180948 w 365386"/>
              <a:gd name="connsiteY112" fmla="*/ 170251 h 170252"/>
              <a:gd name="connsiteX113" fmla="*/ 176364 w 365386"/>
              <a:gd name="connsiteY113" fmla="*/ 165598 h 170252"/>
              <a:gd name="connsiteX114" fmla="*/ 174836 w 365386"/>
              <a:gd name="connsiteY114" fmla="*/ 125266 h 170252"/>
              <a:gd name="connsiteX115" fmla="*/ 176364 w 365386"/>
              <a:gd name="connsiteY115" fmla="*/ 16682 h 170252"/>
              <a:gd name="connsiteX116" fmla="*/ 180948 w 365386"/>
              <a:gd name="connsiteY116" fmla="*/ 10477 h 170252"/>
              <a:gd name="connsiteX117" fmla="*/ 224590 w 365386"/>
              <a:gd name="connsiteY117" fmla="*/ 0 h 170252"/>
              <a:gd name="connsiteX118" fmla="*/ 303498 w 365386"/>
              <a:gd name="connsiteY118" fmla="*/ 77387 h 170252"/>
              <a:gd name="connsiteX119" fmla="*/ 320517 w 365386"/>
              <a:gd name="connsiteY119" fmla="*/ 74291 h 170252"/>
              <a:gd name="connsiteX120" fmla="*/ 365386 w 365386"/>
              <a:gd name="connsiteY120" fmla="*/ 122271 h 170252"/>
              <a:gd name="connsiteX121" fmla="*/ 320517 w 365386"/>
              <a:gd name="connsiteY121" fmla="*/ 170251 h 170252"/>
              <a:gd name="connsiteX122" fmla="*/ 195193 w 365386"/>
              <a:gd name="connsiteY122" fmla="*/ 170251 h 170252"/>
              <a:gd name="connsiteX123" fmla="*/ 190551 w 365386"/>
              <a:gd name="connsiteY123" fmla="*/ 164060 h 170252"/>
              <a:gd name="connsiteX124" fmla="*/ 190551 w 365386"/>
              <a:gd name="connsiteY124" fmla="*/ 12382 h 170252"/>
              <a:gd name="connsiteX125" fmla="*/ 195193 w 365386"/>
              <a:gd name="connsiteY125" fmla="*/ 6191 h 170252"/>
              <a:gd name="connsiteX126" fmla="*/ 224590 w 365386"/>
              <a:gd name="connsiteY126" fmla="*/ 0 h 17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365386" h="170252">
                <a:moveTo>
                  <a:pt x="4583" y="102151"/>
                </a:moveTo>
                <a:cubicBezTo>
                  <a:pt x="4583" y="102151"/>
                  <a:pt x="4583" y="102151"/>
                  <a:pt x="6111" y="103701"/>
                </a:cubicBezTo>
                <a:cubicBezTo>
                  <a:pt x="6111" y="103701"/>
                  <a:pt x="6111" y="103701"/>
                  <a:pt x="9167" y="125397"/>
                </a:cubicBezTo>
                <a:cubicBezTo>
                  <a:pt x="9167" y="125397"/>
                  <a:pt x="9167" y="125397"/>
                  <a:pt x="6111" y="147093"/>
                </a:cubicBezTo>
                <a:cubicBezTo>
                  <a:pt x="4583" y="147093"/>
                  <a:pt x="4583" y="148643"/>
                  <a:pt x="4583" y="148643"/>
                </a:cubicBezTo>
                <a:cubicBezTo>
                  <a:pt x="3055" y="148643"/>
                  <a:pt x="3055" y="147093"/>
                  <a:pt x="3055" y="147093"/>
                </a:cubicBezTo>
                <a:cubicBezTo>
                  <a:pt x="3055" y="147093"/>
                  <a:pt x="3055" y="147093"/>
                  <a:pt x="0" y="125397"/>
                </a:cubicBezTo>
                <a:cubicBezTo>
                  <a:pt x="0" y="125397"/>
                  <a:pt x="0" y="125397"/>
                  <a:pt x="3055" y="103701"/>
                </a:cubicBezTo>
                <a:cubicBezTo>
                  <a:pt x="3055" y="102151"/>
                  <a:pt x="3055" y="102151"/>
                  <a:pt x="4583" y="102151"/>
                </a:cubicBezTo>
                <a:close/>
                <a:moveTo>
                  <a:pt x="16932" y="87745"/>
                </a:moveTo>
                <a:cubicBezTo>
                  <a:pt x="18429" y="87745"/>
                  <a:pt x="18429" y="89306"/>
                  <a:pt x="18429" y="89306"/>
                </a:cubicBezTo>
                <a:cubicBezTo>
                  <a:pt x="18429" y="89306"/>
                  <a:pt x="18429" y="89306"/>
                  <a:pt x="22919" y="125195"/>
                </a:cubicBezTo>
                <a:cubicBezTo>
                  <a:pt x="22919" y="125195"/>
                  <a:pt x="22919" y="125195"/>
                  <a:pt x="18429" y="159524"/>
                </a:cubicBezTo>
                <a:cubicBezTo>
                  <a:pt x="18429" y="161084"/>
                  <a:pt x="18429" y="161084"/>
                  <a:pt x="16932" y="161084"/>
                </a:cubicBezTo>
                <a:cubicBezTo>
                  <a:pt x="16932" y="161084"/>
                  <a:pt x="15435" y="161084"/>
                  <a:pt x="15435" y="159524"/>
                </a:cubicBezTo>
                <a:cubicBezTo>
                  <a:pt x="15435" y="159524"/>
                  <a:pt x="15435" y="159524"/>
                  <a:pt x="12442" y="125195"/>
                </a:cubicBezTo>
                <a:cubicBezTo>
                  <a:pt x="12442" y="125195"/>
                  <a:pt x="12442" y="125195"/>
                  <a:pt x="15435" y="89306"/>
                </a:cubicBezTo>
                <a:cubicBezTo>
                  <a:pt x="15435" y="89306"/>
                  <a:pt x="16932" y="87745"/>
                  <a:pt x="16932" y="87745"/>
                </a:cubicBezTo>
                <a:close/>
                <a:moveTo>
                  <a:pt x="60431" y="83161"/>
                </a:moveTo>
                <a:cubicBezTo>
                  <a:pt x="62021" y="83161"/>
                  <a:pt x="63611" y="83161"/>
                  <a:pt x="63611" y="84716"/>
                </a:cubicBezTo>
                <a:cubicBezTo>
                  <a:pt x="63611" y="84716"/>
                  <a:pt x="63611" y="84716"/>
                  <a:pt x="66792" y="125151"/>
                </a:cubicBezTo>
                <a:cubicBezTo>
                  <a:pt x="66792" y="125151"/>
                  <a:pt x="66792" y="125151"/>
                  <a:pt x="63611" y="167141"/>
                </a:cubicBezTo>
                <a:cubicBezTo>
                  <a:pt x="63611" y="168696"/>
                  <a:pt x="62021" y="170251"/>
                  <a:pt x="60431" y="170251"/>
                </a:cubicBezTo>
                <a:cubicBezTo>
                  <a:pt x="58840" y="170251"/>
                  <a:pt x="58840" y="168696"/>
                  <a:pt x="58840" y="167141"/>
                </a:cubicBezTo>
                <a:cubicBezTo>
                  <a:pt x="58840" y="167141"/>
                  <a:pt x="58840" y="167141"/>
                  <a:pt x="55660" y="125151"/>
                </a:cubicBezTo>
                <a:cubicBezTo>
                  <a:pt x="55660" y="125151"/>
                  <a:pt x="55660" y="125151"/>
                  <a:pt x="58840" y="84716"/>
                </a:cubicBezTo>
                <a:cubicBezTo>
                  <a:pt x="58840" y="83161"/>
                  <a:pt x="58840" y="83161"/>
                  <a:pt x="60431" y="83161"/>
                </a:cubicBezTo>
                <a:close/>
                <a:moveTo>
                  <a:pt x="32554" y="81851"/>
                </a:moveTo>
                <a:cubicBezTo>
                  <a:pt x="32554" y="81851"/>
                  <a:pt x="34144" y="81851"/>
                  <a:pt x="34144" y="83399"/>
                </a:cubicBezTo>
                <a:cubicBezTo>
                  <a:pt x="34144" y="83399"/>
                  <a:pt x="34144" y="83399"/>
                  <a:pt x="37325" y="125188"/>
                </a:cubicBezTo>
                <a:cubicBezTo>
                  <a:pt x="37325" y="125188"/>
                  <a:pt x="37325" y="125188"/>
                  <a:pt x="34144" y="165429"/>
                </a:cubicBezTo>
                <a:cubicBezTo>
                  <a:pt x="34144" y="166977"/>
                  <a:pt x="32554" y="166977"/>
                  <a:pt x="32554" y="166977"/>
                </a:cubicBezTo>
                <a:cubicBezTo>
                  <a:pt x="30964" y="166977"/>
                  <a:pt x="29373" y="166977"/>
                  <a:pt x="29373" y="165429"/>
                </a:cubicBezTo>
                <a:cubicBezTo>
                  <a:pt x="29373" y="165429"/>
                  <a:pt x="29373" y="165429"/>
                  <a:pt x="26193" y="125188"/>
                </a:cubicBezTo>
                <a:cubicBezTo>
                  <a:pt x="26193" y="125188"/>
                  <a:pt x="26193" y="125188"/>
                  <a:pt x="29373" y="83399"/>
                </a:cubicBezTo>
                <a:cubicBezTo>
                  <a:pt x="29373" y="81851"/>
                  <a:pt x="30964" y="81851"/>
                  <a:pt x="32554" y="81851"/>
                </a:cubicBezTo>
                <a:close/>
                <a:moveTo>
                  <a:pt x="46164" y="80542"/>
                </a:moveTo>
                <a:cubicBezTo>
                  <a:pt x="47719" y="80542"/>
                  <a:pt x="47719" y="80542"/>
                  <a:pt x="47719" y="82082"/>
                </a:cubicBezTo>
                <a:cubicBezTo>
                  <a:pt x="47719" y="82082"/>
                  <a:pt x="47719" y="82082"/>
                  <a:pt x="52385" y="125184"/>
                </a:cubicBezTo>
                <a:cubicBezTo>
                  <a:pt x="52385" y="125184"/>
                  <a:pt x="52385" y="125184"/>
                  <a:pt x="47719" y="166748"/>
                </a:cubicBezTo>
                <a:cubicBezTo>
                  <a:pt x="47719" y="168287"/>
                  <a:pt x="47719" y="168287"/>
                  <a:pt x="46164" y="168287"/>
                </a:cubicBezTo>
                <a:cubicBezTo>
                  <a:pt x="44609" y="168287"/>
                  <a:pt x="44609" y="168287"/>
                  <a:pt x="44609" y="166748"/>
                </a:cubicBezTo>
                <a:cubicBezTo>
                  <a:pt x="44609" y="166748"/>
                  <a:pt x="44609" y="166748"/>
                  <a:pt x="39944" y="125184"/>
                </a:cubicBezTo>
                <a:cubicBezTo>
                  <a:pt x="39944" y="125184"/>
                  <a:pt x="39944" y="125184"/>
                  <a:pt x="44609" y="82082"/>
                </a:cubicBezTo>
                <a:cubicBezTo>
                  <a:pt x="44609" y="80542"/>
                  <a:pt x="44609" y="80542"/>
                  <a:pt x="46164" y="80542"/>
                </a:cubicBezTo>
                <a:close/>
                <a:moveTo>
                  <a:pt x="75631" y="56969"/>
                </a:moveTo>
                <a:cubicBezTo>
                  <a:pt x="77186" y="56969"/>
                  <a:pt x="78742" y="58521"/>
                  <a:pt x="78742" y="60073"/>
                </a:cubicBezTo>
                <a:cubicBezTo>
                  <a:pt x="78742" y="60073"/>
                  <a:pt x="78742" y="60073"/>
                  <a:pt x="81852" y="125249"/>
                </a:cubicBezTo>
                <a:cubicBezTo>
                  <a:pt x="81852" y="125249"/>
                  <a:pt x="81852" y="125249"/>
                  <a:pt x="78742" y="167148"/>
                </a:cubicBezTo>
                <a:cubicBezTo>
                  <a:pt x="78742" y="168700"/>
                  <a:pt x="77186" y="170252"/>
                  <a:pt x="75631" y="170252"/>
                </a:cubicBezTo>
                <a:cubicBezTo>
                  <a:pt x="74076" y="170252"/>
                  <a:pt x="72521" y="168700"/>
                  <a:pt x="72521" y="167148"/>
                </a:cubicBezTo>
                <a:cubicBezTo>
                  <a:pt x="72521" y="167148"/>
                  <a:pt x="72521" y="167148"/>
                  <a:pt x="69411" y="125249"/>
                </a:cubicBezTo>
                <a:cubicBezTo>
                  <a:pt x="69411" y="125249"/>
                  <a:pt x="69411" y="125249"/>
                  <a:pt x="72521" y="60073"/>
                </a:cubicBezTo>
                <a:cubicBezTo>
                  <a:pt x="72521" y="58521"/>
                  <a:pt x="74076" y="56969"/>
                  <a:pt x="75631" y="56969"/>
                </a:cubicBezTo>
                <a:close/>
                <a:moveTo>
                  <a:pt x="89616" y="41908"/>
                </a:moveTo>
                <a:cubicBezTo>
                  <a:pt x="91113" y="41908"/>
                  <a:pt x="92609" y="43454"/>
                  <a:pt x="92609" y="46547"/>
                </a:cubicBezTo>
                <a:cubicBezTo>
                  <a:pt x="92609" y="46547"/>
                  <a:pt x="92609" y="46547"/>
                  <a:pt x="95603" y="125408"/>
                </a:cubicBezTo>
                <a:cubicBezTo>
                  <a:pt x="95603" y="125408"/>
                  <a:pt x="95603" y="125408"/>
                  <a:pt x="92609" y="167159"/>
                </a:cubicBezTo>
                <a:cubicBezTo>
                  <a:pt x="92609" y="168705"/>
                  <a:pt x="91113" y="170251"/>
                  <a:pt x="89616" y="170251"/>
                </a:cubicBezTo>
                <a:cubicBezTo>
                  <a:pt x="88119" y="170251"/>
                  <a:pt x="86622" y="168705"/>
                  <a:pt x="86622" y="167159"/>
                </a:cubicBezTo>
                <a:cubicBezTo>
                  <a:pt x="86622" y="167159"/>
                  <a:pt x="86622" y="167159"/>
                  <a:pt x="85126" y="125408"/>
                </a:cubicBezTo>
                <a:cubicBezTo>
                  <a:pt x="85126" y="125408"/>
                  <a:pt x="85126" y="125408"/>
                  <a:pt x="86622" y="46547"/>
                </a:cubicBezTo>
                <a:cubicBezTo>
                  <a:pt x="86622" y="43454"/>
                  <a:pt x="88119" y="41908"/>
                  <a:pt x="89616" y="41908"/>
                </a:cubicBezTo>
                <a:close/>
                <a:moveTo>
                  <a:pt x="150171" y="36669"/>
                </a:moveTo>
                <a:cubicBezTo>
                  <a:pt x="153227" y="36669"/>
                  <a:pt x="154754" y="38222"/>
                  <a:pt x="154754" y="41329"/>
                </a:cubicBezTo>
                <a:cubicBezTo>
                  <a:pt x="154754" y="41329"/>
                  <a:pt x="154754" y="41329"/>
                  <a:pt x="157810" y="125206"/>
                </a:cubicBezTo>
                <a:cubicBezTo>
                  <a:pt x="157810" y="125206"/>
                  <a:pt x="157810" y="125206"/>
                  <a:pt x="154754" y="165591"/>
                </a:cubicBezTo>
                <a:cubicBezTo>
                  <a:pt x="154754" y="168698"/>
                  <a:pt x="153227" y="170251"/>
                  <a:pt x="150171" y="170251"/>
                </a:cubicBezTo>
                <a:cubicBezTo>
                  <a:pt x="148643" y="170251"/>
                  <a:pt x="147115" y="168698"/>
                  <a:pt x="147115" y="165591"/>
                </a:cubicBezTo>
                <a:cubicBezTo>
                  <a:pt x="147115" y="165591"/>
                  <a:pt x="147115" y="165591"/>
                  <a:pt x="144059" y="125206"/>
                </a:cubicBezTo>
                <a:cubicBezTo>
                  <a:pt x="144059" y="125206"/>
                  <a:pt x="144059" y="125206"/>
                  <a:pt x="147115" y="41329"/>
                </a:cubicBezTo>
                <a:cubicBezTo>
                  <a:pt x="147115" y="38222"/>
                  <a:pt x="148643" y="36669"/>
                  <a:pt x="150171" y="36669"/>
                </a:cubicBezTo>
                <a:close/>
                <a:moveTo>
                  <a:pt x="105097" y="35360"/>
                </a:moveTo>
                <a:cubicBezTo>
                  <a:pt x="106652" y="35360"/>
                  <a:pt x="108208" y="36911"/>
                  <a:pt x="108208" y="38461"/>
                </a:cubicBezTo>
                <a:cubicBezTo>
                  <a:pt x="108208" y="38461"/>
                  <a:pt x="108208" y="38461"/>
                  <a:pt x="111318" y="125288"/>
                </a:cubicBezTo>
                <a:cubicBezTo>
                  <a:pt x="111318" y="125288"/>
                  <a:pt x="111318" y="125288"/>
                  <a:pt x="108208" y="167151"/>
                </a:cubicBezTo>
                <a:cubicBezTo>
                  <a:pt x="108208" y="168702"/>
                  <a:pt x="106652" y="170252"/>
                  <a:pt x="105097" y="170252"/>
                </a:cubicBezTo>
                <a:cubicBezTo>
                  <a:pt x="103542" y="170252"/>
                  <a:pt x="101987" y="168702"/>
                  <a:pt x="101987" y="167151"/>
                </a:cubicBezTo>
                <a:cubicBezTo>
                  <a:pt x="101987" y="167151"/>
                  <a:pt x="101987" y="167151"/>
                  <a:pt x="98877" y="125288"/>
                </a:cubicBezTo>
                <a:cubicBezTo>
                  <a:pt x="98877" y="125288"/>
                  <a:pt x="98877" y="125288"/>
                  <a:pt x="101987" y="38461"/>
                </a:cubicBezTo>
                <a:cubicBezTo>
                  <a:pt x="101987" y="36911"/>
                  <a:pt x="103542" y="35360"/>
                  <a:pt x="105097" y="35360"/>
                </a:cubicBezTo>
                <a:close/>
                <a:moveTo>
                  <a:pt x="135873" y="34050"/>
                </a:moveTo>
                <a:cubicBezTo>
                  <a:pt x="137428" y="34050"/>
                  <a:pt x="138984" y="35598"/>
                  <a:pt x="138984" y="38693"/>
                </a:cubicBezTo>
                <a:cubicBezTo>
                  <a:pt x="138984" y="38693"/>
                  <a:pt x="138984" y="38693"/>
                  <a:pt x="142094" y="125367"/>
                </a:cubicBezTo>
                <a:cubicBezTo>
                  <a:pt x="142094" y="125367"/>
                  <a:pt x="142094" y="125367"/>
                  <a:pt x="138984" y="165608"/>
                </a:cubicBezTo>
                <a:cubicBezTo>
                  <a:pt x="138984" y="168703"/>
                  <a:pt x="137428" y="170251"/>
                  <a:pt x="135873" y="170251"/>
                </a:cubicBezTo>
                <a:cubicBezTo>
                  <a:pt x="132763" y="170251"/>
                  <a:pt x="131208" y="168703"/>
                  <a:pt x="131208" y="165608"/>
                </a:cubicBezTo>
                <a:cubicBezTo>
                  <a:pt x="131208" y="165608"/>
                  <a:pt x="131208" y="165608"/>
                  <a:pt x="129653" y="125367"/>
                </a:cubicBezTo>
                <a:cubicBezTo>
                  <a:pt x="129653" y="125367"/>
                  <a:pt x="129653" y="125367"/>
                  <a:pt x="131208" y="38693"/>
                </a:cubicBezTo>
                <a:cubicBezTo>
                  <a:pt x="131208" y="35598"/>
                  <a:pt x="132763" y="34050"/>
                  <a:pt x="135873" y="34050"/>
                </a:cubicBezTo>
                <a:close/>
                <a:moveTo>
                  <a:pt x="120813" y="32086"/>
                </a:moveTo>
                <a:cubicBezTo>
                  <a:pt x="122368" y="32086"/>
                  <a:pt x="123924" y="33638"/>
                  <a:pt x="123924" y="35191"/>
                </a:cubicBezTo>
                <a:cubicBezTo>
                  <a:pt x="123924" y="35191"/>
                  <a:pt x="123924" y="35191"/>
                  <a:pt x="127034" y="125232"/>
                </a:cubicBezTo>
                <a:cubicBezTo>
                  <a:pt x="127034" y="125232"/>
                  <a:pt x="127034" y="125232"/>
                  <a:pt x="123924" y="167147"/>
                </a:cubicBezTo>
                <a:cubicBezTo>
                  <a:pt x="123924" y="168700"/>
                  <a:pt x="122368" y="170252"/>
                  <a:pt x="120813" y="170252"/>
                </a:cubicBezTo>
                <a:cubicBezTo>
                  <a:pt x="117703" y="170252"/>
                  <a:pt x="116148" y="168700"/>
                  <a:pt x="116148" y="167147"/>
                </a:cubicBezTo>
                <a:cubicBezTo>
                  <a:pt x="116148" y="167147"/>
                  <a:pt x="116148" y="167147"/>
                  <a:pt x="114593" y="125232"/>
                </a:cubicBezTo>
                <a:cubicBezTo>
                  <a:pt x="114593" y="125232"/>
                  <a:pt x="114593" y="125232"/>
                  <a:pt x="116148" y="35191"/>
                </a:cubicBezTo>
                <a:cubicBezTo>
                  <a:pt x="116148" y="33638"/>
                  <a:pt x="117703" y="32086"/>
                  <a:pt x="120813" y="32086"/>
                </a:cubicBezTo>
                <a:close/>
                <a:moveTo>
                  <a:pt x="165523" y="19644"/>
                </a:moveTo>
                <a:cubicBezTo>
                  <a:pt x="168724" y="19644"/>
                  <a:pt x="170325" y="22749"/>
                  <a:pt x="170325" y="25854"/>
                </a:cubicBezTo>
                <a:cubicBezTo>
                  <a:pt x="170325" y="25854"/>
                  <a:pt x="170325" y="25854"/>
                  <a:pt x="173526" y="125224"/>
                </a:cubicBezTo>
                <a:cubicBezTo>
                  <a:pt x="173526" y="125224"/>
                  <a:pt x="173526" y="125224"/>
                  <a:pt x="170325" y="165593"/>
                </a:cubicBezTo>
                <a:cubicBezTo>
                  <a:pt x="170325" y="168698"/>
                  <a:pt x="168724" y="170251"/>
                  <a:pt x="165523" y="170251"/>
                </a:cubicBezTo>
                <a:cubicBezTo>
                  <a:pt x="163922" y="170251"/>
                  <a:pt x="160721" y="168698"/>
                  <a:pt x="160721" y="165593"/>
                </a:cubicBezTo>
                <a:cubicBezTo>
                  <a:pt x="160721" y="165593"/>
                  <a:pt x="160721" y="165593"/>
                  <a:pt x="159120" y="125224"/>
                </a:cubicBezTo>
                <a:cubicBezTo>
                  <a:pt x="159120" y="125224"/>
                  <a:pt x="159120" y="125224"/>
                  <a:pt x="160721" y="25854"/>
                </a:cubicBezTo>
                <a:cubicBezTo>
                  <a:pt x="160721" y="22749"/>
                  <a:pt x="163922" y="19644"/>
                  <a:pt x="165523" y="19644"/>
                </a:cubicBezTo>
                <a:close/>
                <a:moveTo>
                  <a:pt x="180948" y="10477"/>
                </a:moveTo>
                <a:cubicBezTo>
                  <a:pt x="184004" y="10477"/>
                  <a:pt x="185531" y="13579"/>
                  <a:pt x="185531" y="16682"/>
                </a:cubicBezTo>
                <a:cubicBezTo>
                  <a:pt x="185531" y="16682"/>
                  <a:pt x="185531" y="16682"/>
                  <a:pt x="188587" y="125266"/>
                </a:cubicBezTo>
                <a:cubicBezTo>
                  <a:pt x="188587" y="125266"/>
                  <a:pt x="188587" y="125266"/>
                  <a:pt x="185531" y="165598"/>
                </a:cubicBezTo>
                <a:cubicBezTo>
                  <a:pt x="185531" y="167149"/>
                  <a:pt x="184004" y="170251"/>
                  <a:pt x="180948" y="170251"/>
                </a:cubicBezTo>
                <a:cubicBezTo>
                  <a:pt x="179420" y="170251"/>
                  <a:pt x="176364" y="167149"/>
                  <a:pt x="176364" y="165598"/>
                </a:cubicBezTo>
                <a:cubicBezTo>
                  <a:pt x="176364" y="165598"/>
                  <a:pt x="176364" y="165598"/>
                  <a:pt x="174836" y="125266"/>
                </a:cubicBezTo>
                <a:cubicBezTo>
                  <a:pt x="174836" y="125266"/>
                  <a:pt x="174836" y="125266"/>
                  <a:pt x="176364" y="16682"/>
                </a:cubicBezTo>
                <a:cubicBezTo>
                  <a:pt x="176364" y="13579"/>
                  <a:pt x="179420" y="10477"/>
                  <a:pt x="180948" y="10477"/>
                </a:cubicBezTo>
                <a:close/>
                <a:moveTo>
                  <a:pt x="224590" y="0"/>
                </a:moveTo>
                <a:cubicBezTo>
                  <a:pt x="264817" y="0"/>
                  <a:pt x="298856" y="34050"/>
                  <a:pt x="303498" y="77387"/>
                </a:cubicBezTo>
                <a:cubicBezTo>
                  <a:pt x="308139" y="75839"/>
                  <a:pt x="314328" y="74291"/>
                  <a:pt x="320517" y="74291"/>
                </a:cubicBezTo>
                <a:cubicBezTo>
                  <a:pt x="345272" y="74291"/>
                  <a:pt x="365386" y="95960"/>
                  <a:pt x="365386" y="122271"/>
                </a:cubicBezTo>
                <a:cubicBezTo>
                  <a:pt x="365386" y="148583"/>
                  <a:pt x="345272" y="170251"/>
                  <a:pt x="320517" y="170251"/>
                </a:cubicBezTo>
                <a:cubicBezTo>
                  <a:pt x="318970" y="170251"/>
                  <a:pt x="195193" y="170251"/>
                  <a:pt x="195193" y="170251"/>
                </a:cubicBezTo>
                <a:cubicBezTo>
                  <a:pt x="193646" y="170251"/>
                  <a:pt x="190551" y="167156"/>
                  <a:pt x="190551" y="164060"/>
                </a:cubicBezTo>
                <a:cubicBezTo>
                  <a:pt x="190551" y="164060"/>
                  <a:pt x="190551" y="164060"/>
                  <a:pt x="190551" y="12382"/>
                </a:cubicBezTo>
                <a:cubicBezTo>
                  <a:pt x="190551" y="9286"/>
                  <a:pt x="192098" y="7739"/>
                  <a:pt x="195193" y="6191"/>
                </a:cubicBezTo>
                <a:cubicBezTo>
                  <a:pt x="204476" y="3095"/>
                  <a:pt x="213759" y="0"/>
                  <a:pt x="224590"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bg1"/>
              </a:solidFill>
            </a:endParaRPr>
          </a:p>
        </p:txBody>
      </p:sp>
      <p:sp>
        <p:nvSpPr>
          <p:cNvPr id="238" name="Freeform 570"/>
          <p:cNvSpPr>
            <a:spLocks/>
          </p:cNvSpPr>
          <p:nvPr/>
        </p:nvSpPr>
        <p:spPr bwMode="auto">
          <a:xfrm rot="16200000">
            <a:off x="11524590" y="5530173"/>
            <a:ext cx="219631" cy="221050"/>
          </a:xfrm>
          <a:custGeom>
            <a:avLst/>
            <a:gdLst>
              <a:gd name="connsiteX0" fmla="*/ 27175 w 202992"/>
              <a:gd name="connsiteY0" fmla="*/ 149953 h 204303"/>
              <a:gd name="connsiteX1" fmla="*/ 54350 w 202992"/>
              <a:gd name="connsiteY1" fmla="*/ 177128 h 204303"/>
              <a:gd name="connsiteX2" fmla="*/ 27175 w 202992"/>
              <a:gd name="connsiteY2" fmla="*/ 204303 h 204303"/>
              <a:gd name="connsiteX3" fmla="*/ 0 w 202992"/>
              <a:gd name="connsiteY3" fmla="*/ 177128 h 204303"/>
              <a:gd name="connsiteX4" fmla="*/ 27175 w 202992"/>
              <a:gd name="connsiteY4" fmla="*/ 149953 h 204303"/>
              <a:gd name="connsiteX5" fmla="*/ 0 w 202992"/>
              <a:gd name="connsiteY5" fmla="*/ 69410 h 204303"/>
              <a:gd name="connsiteX6" fmla="*/ 132927 w 202992"/>
              <a:gd name="connsiteY6" fmla="*/ 204302 h 204303"/>
              <a:gd name="connsiteX7" fmla="*/ 94285 w 202992"/>
              <a:gd name="connsiteY7" fmla="*/ 204302 h 204303"/>
              <a:gd name="connsiteX8" fmla="*/ 66464 w 202992"/>
              <a:gd name="connsiteY8" fmla="*/ 136081 h 204303"/>
              <a:gd name="connsiteX9" fmla="*/ 0 w 202992"/>
              <a:gd name="connsiteY9" fmla="*/ 108172 h 204303"/>
              <a:gd name="connsiteX10" fmla="*/ 0 w 202992"/>
              <a:gd name="connsiteY10" fmla="*/ 69410 h 204303"/>
              <a:gd name="connsiteX11" fmla="*/ 0 w 202992"/>
              <a:gd name="connsiteY11" fmla="*/ 0 h 204303"/>
              <a:gd name="connsiteX12" fmla="*/ 202992 w 202992"/>
              <a:gd name="connsiteY12" fmla="*/ 204302 h 204303"/>
              <a:gd name="connsiteX13" fmla="*/ 164253 w 202992"/>
              <a:gd name="connsiteY13" fmla="*/ 204302 h 204303"/>
              <a:gd name="connsiteX14" fmla="*/ 0 w 202992"/>
              <a:gd name="connsiteY14" fmla="*/ 38694 h 204303"/>
              <a:gd name="connsiteX15" fmla="*/ 0 w 202992"/>
              <a:gd name="connsiteY15" fmla="*/ 0 h 204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2992" h="204303">
                <a:moveTo>
                  <a:pt x="27175" y="149953"/>
                </a:moveTo>
                <a:cubicBezTo>
                  <a:pt x="42183" y="149953"/>
                  <a:pt x="54350" y="162120"/>
                  <a:pt x="54350" y="177128"/>
                </a:cubicBezTo>
                <a:cubicBezTo>
                  <a:pt x="54350" y="192136"/>
                  <a:pt x="42183" y="204303"/>
                  <a:pt x="27175" y="204303"/>
                </a:cubicBezTo>
                <a:cubicBezTo>
                  <a:pt x="12167" y="204303"/>
                  <a:pt x="0" y="192136"/>
                  <a:pt x="0" y="177128"/>
                </a:cubicBezTo>
                <a:cubicBezTo>
                  <a:pt x="0" y="162120"/>
                  <a:pt x="12167" y="149953"/>
                  <a:pt x="27175" y="149953"/>
                </a:cubicBezTo>
                <a:close/>
                <a:moveTo>
                  <a:pt x="0" y="69410"/>
                </a:moveTo>
                <a:cubicBezTo>
                  <a:pt x="72646" y="69410"/>
                  <a:pt x="132927" y="129879"/>
                  <a:pt x="132927" y="204302"/>
                </a:cubicBezTo>
                <a:cubicBezTo>
                  <a:pt x="132927" y="204302"/>
                  <a:pt x="132927" y="204302"/>
                  <a:pt x="94285" y="204302"/>
                </a:cubicBezTo>
                <a:cubicBezTo>
                  <a:pt x="94285" y="179495"/>
                  <a:pt x="85011" y="154687"/>
                  <a:pt x="66464" y="136081"/>
                </a:cubicBezTo>
                <a:cubicBezTo>
                  <a:pt x="47916" y="119026"/>
                  <a:pt x="24731" y="108172"/>
                  <a:pt x="0" y="108172"/>
                </a:cubicBezTo>
                <a:cubicBezTo>
                  <a:pt x="0" y="108172"/>
                  <a:pt x="0" y="108172"/>
                  <a:pt x="0" y="69410"/>
                </a:cubicBezTo>
                <a:close/>
                <a:moveTo>
                  <a:pt x="0" y="0"/>
                </a:moveTo>
                <a:cubicBezTo>
                  <a:pt x="111568" y="0"/>
                  <a:pt x="202992" y="91317"/>
                  <a:pt x="202992" y="204302"/>
                </a:cubicBezTo>
                <a:cubicBezTo>
                  <a:pt x="202992" y="204302"/>
                  <a:pt x="202992" y="204302"/>
                  <a:pt x="164253" y="204302"/>
                </a:cubicBezTo>
                <a:cubicBezTo>
                  <a:pt x="164253" y="112985"/>
                  <a:pt x="89874" y="38694"/>
                  <a:pt x="0" y="38694"/>
                </a:cubicBezTo>
                <a:cubicBezTo>
                  <a:pt x="0" y="38694"/>
                  <a:pt x="0" y="38694"/>
                  <a:pt x="0"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chemeClr val="bg1"/>
              </a:solidFill>
            </a:endParaRPr>
          </a:p>
        </p:txBody>
      </p:sp>
      <p:cxnSp>
        <p:nvCxnSpPr>
          <p:cNvPr id="239" name="肘形连接符 238"/>
          <p:cNvCxnSpPr/>
          <p:nvPr/>
        </p:nvCxnSpPr>
        <p:spPr>
          <a:xfrm>
            <a:off x="5583198" y="3562072"/>
            <a:ext cx="1617702" cy="387628"/>
          </a:xfrm>
          <a:prstGeom prst="bentConnector3">
            <a:avLst>
              <a:gd name="adj1" fmla="val 99982"/>
            </a:avLst>
          </a:prstGeom>
          <a:ln w="15875">
            <a:solidFill>
              <a:schemeClr val="bg1">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40" name="Freeform 214"/>
          <p:cNvSpPr>
            <a:spLocks noChangeAspect="1" noEditPoints="1"/>
          </p:cNvSpPr>
          <p:nvPr/>
        </p:nvSpPr>
        <p:spPr bwMode="auto">
          <a:xfrm>
            <a:off x="5944638" y="3268987"/>
            <a:ext cx="560063" cy="560063"/>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241" name="肘形连接符 240"/>
          <p:cNvCxnSpPr/>
          <p:nvPr/>
        </p:nvCxnSpPr>
        <p:spPr>
          <a:xfrm rot="10800000" flipV="1">
            <a:off x="4297035" y="4327123"/>
            <a:ext cx="414667" cy="340678"/>
          </a:xfrm>
          <a:prstGeom prst="bentConnector3">
            <a:avLst>
              <a:gd name="adj1" fmla="val 100024"/>
            </a:avLst>
          </a:prstGeom>
          <a:ln w="15875">
            <a:solidFill>
              <a:schemeClr val="bg1">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42" name="直接箭头连接符 241"/>
          <p:cNvCxnSpPr/>
          <p:nvPr/>
        </p:nvCxnSpPr>
        <p:spPr>
          <a:xfrm>
            <a:off x="3755603" y="4045677"/>
            <a:ext cx="0" cy="456049"/>
          </a:xfrm>
          <a:prstGeom prst="straightConnector1">
            <a:avLst/>
          </a:prstGeom>
          <a:ln w="15875">
            <a:solidFill>
              <a:schemeClr val="bg1">
                <a:lumMod val="75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肘形连接符 242"/>
          <p:cNvCxnSpPr>
            <a:endCxn id="244" idx="6"/>
          </p:cNvCxnSpPr>
          <p:nvPr/>
        </p:nvCxnSpPr>
        <p:spPr>
          <a:xfrm rot="5400000" flipH="1" flipV="1">
            <a:off x="4398986" y="4646930"/>
            <a:ext cx="1563241" cy="135667"/>
          </a:xfrm>
          <a:prstGeom prst="bentConnector4">
            <a:avLst>
              <a:gd name="adj1" fmla="val 46959"/>
              <a:gd name="adj2" fmla="val 268501"/>
            </a:avLst>
          </a:prstGeom>
          <a:ln w="50800">
            <a:solidFill>
              <a:srgbClr val="0076A8"/>
            </a:solidFill>
            <a:prstDash val="sysDash"/>
          </a:ln>
        </p:spPr>
        <p:style>
          <a:lnRef idx="1">
            <a:schemeClr val="accent1"/>
          </a:lnRef>
          <a:fillRef idx="0">
            <a:schemeClr val="accent1"/>
          </a:fillRef>
          <a:effectRef idx="0">
            <a:schemeClr val="accent1"/>
          </a:effectRef>
          <a:fontRef idx="minor">
            <a:schemeClr val="tx1"/>
          </a:fontRef>
        </p:style>
      </p:cxnSp>
      <p:sp>
        <p:nvSpPr>
          <p:cNvPr id="244" name="椭圆 243"/>
          <p:cNvSpPr/>
          <p:nvPr/>
        </p:nvSpPr>
        <p:spPr bwMode="gray">
          <a:xfrm>
            <a:off x="5058320" y="3838082"/>
            <a:ext cx="190120" cy="190120"/>
          </a:xfrm>
          <a:prstGeom prst="ellipse">
            <a:avLst/>
          </a:prstGeom>
          <a:solidFill>
            <a:srgbClr val="005587"/>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45" name="组合 244"/>
          <p:cNvGrpSpPr/>
          <p:nvPr/>
        </p:nvGrpSpPr>
        <p:grpSpPr>
          <a:xfrm>
            <a:off x="4547345" y="4924802"/>
            <a:ext cx="1214354" cy="696302"/>
            <a:chOff x="4609904" y="2448223"/>
            <a:chExt cx="1713647" cy="982593"/>
          </a:xfrm>
          <a:solidFill>
            <a:schemeClr val="bg1">
              <a:lumMod val="85000"/>
            </a:schemeClr>
          </a:solidFill>
        </p:grpSpPr>
        <p:sp>
          <p:nvSpPr>
            <p:cNvPr id="246" name="Freeform 50"/>
            <p:cNvSpPr>
              <a:spLocks/>
            </p:cNvSpPr>
            <p:nvPr/>
          </p:nvSpPr>
          <p:spPr bwMode="auto">
            <a:xfrm flipH="1">
              <a:off x="4609904" y="2448223"/>
              <a:ext cx="1713647" cy="982593"/>
            </a:xfrm>
            <a:custGeom>
              <a:avLst/>
              <a:gdLst>
                <a:gd name="T0" fmla="*/ 1136 w 1232"/>
                <a:gd name="T1" fmla="*/ 300 h 694"/>
                <a:gd name="T2" fmla="*/ 1136 w 1232"/>
                <a:gd name="T3" fmla="*/ 297 h 694"/>
                <a:gd name="T4" fmla="*/ 971 w 1232"/>
                <a:gd name="T5" fmla="*/ 131 h 694"/>
                <a:gd name="T6" fmla="*/ 913 w 1232"/>
                <a:gd name="T7" fmla="*/ 142 h 694"/>
                <a:gd name="T8" fmla="*/ 688 w 1232"/>
                <a:gd name="T9" fmla="*/ 0 h 694"/>
                <a:gd name="T10" fmla="*/ 449 w 1232"/>
                <a:gd name="T11" fmla="*/ 181 h 694"/>
                <a:gd name="T12" fmla="*/ 358 w 1232"/>
                <a:gd name="T13" fmla="*/ 157 h 694"/>
                <a:gd name="T14" fmla="*/ 179 w 1232"/>
                <a:gd name="T15" fmla="*/ 336 h 694"/>
                <a:gd name="T16" fmla="*/ 0 w 1232"/>
                <a:gd name="T17" fmla="*/ 515 h 694"/>
                <a:gd name="T18" fmla="*/ 179 w 1232"/>
                <a:gd name="T19" fmla="*/ 694 h 694"/>
                <a:gd name="T20" fmla="*/ 1016 w 1232"/>
                <a:gd name="T21" fmla="*/ 694 h 694"/>
                <a:gd name="T22" fmla="*/ 1232 w 1232"/>
                <a:gd name="T23" fmla="*/ 479 h 694"/>
                <a:gd name="T24" fmla="*/ 1136 w 1232"/>
                <a:gd name="T25" fmla="*/ 3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2" h="694">
                  <a:moveTo>
                    <a:pt x="1136" y="300"/>
                  </a:moveTo>
                  <a:cubicBezTo>
                    <a:pt x="1136" y="299"/>
                    <a:pt x="1136" y="298"/>
                    <a:pt x="1136" y="297"/>
                  </a:cubicBezTo>
                  <a:cubicBezTo>
                    <a:pt x="1136" y="205"/>
                    <a:pt x="1062" y="131"/>
                    <a:pt x="971" y="131"/>
                  </a:cubicBezTo>
                  <a:cubicBezTo>
                    <a:pt x="951" y="131"/>
                    <a:pt x="931" y="135"/>
                    <a:pt x="913" y="142"/>
                  </a:cubicBezTo>
                  <a:cubicBezTo>
                    <a:pt x="873" y="58"/>
                    <a:pt x="788" y="0"/>
                    <a:pt x="688" y="0"/>
                  </a:cubicBezTo>
                  <a:cubicBezTo>
                    <a:pt x="574" y="0"/>
                    <a:pt x="478" y="77"/>
                    <a:pt x="449" y="181"/>
                  </a:cubicBezTo>
                  <a:cubicBezTo>
                    <a:pt x="422" y="166"/>
                    <a:pt x="391" y="157"/>
                    <a:pt x="358" y="157"/>
                  </a:cubicBezTo>
                  <a:cubicBezTo>
                    <a:pt x="259" y="157"/>
                    <a:pt x="179" y="237"/>
                    <a:pt x="179" y="336"/>
                  </a:cubicBezTo>
                  <a:cubicBezTo>
                    <a:pt x="80" y="336"/>
                    <a:pt x="0" y="416"/>
                    <a:pt x="0" y="515"/>
                  </a:cubicBezTo>
                  <a:cubicBezTo>
                    <a:pt x="0" y="614"/>
                    <a:pt x="80" y="694"/>
                    <a:pt x="179" y="694"/>
                  </a:cubicBezTo>
                  <a:cubicBezTo>
                    <a:pt x="1016" y="694"/>
                    <a:pt x="1016" y="694"/>
                    <a:pt x="1016" y="694"/>
                  </a:cubicBezTo>
                  <a:cubicBezTo>
                    <a:pt x="1135" y="694"/>
                    <a:pt x="1232" y="598"/>
                    <a:pt x="1232" y="479"/>
                  </a:cubicBezTo>
                  <a:cubicBezTo>
                    <a:pt x="1232" y="404"/>
                    <a:pt x="1194" y="338"/>
                    <a:pt x="1136" y="300"/>
                  </a:cubicBezTo>
                  <a:close/>
                </a:path>
              </a:pathLst>
            </a:custGeom>
            <a:grpFill/>
            <a:ln w="69850">
              <a:noFill/>
            </a:ln>
          </p:spPr>
          <p:txBody>
            <a:bodyPr vert="horz" wrap="square" lIns="91440" tIns="45720" rIns="91440" bIns="45720" numCol="1" anchor="t" anchorCtr="0" compatLnSpc="1">
              <a:prstTxWarp prst="textNoShape">
                <a:avLst/>
              </a:prstTxWarp>
            </a:bodyPr>
            <a:lstStyle/>
            <a:p>
              <a:endParaRPr lang="id-ID" sz="2400" dirty="0">
                <a:solidFill>
                  <a:schemeClr val="tx2"/>
                </a:solidFill>
                <a:cs typeface="+mn-ea"/>
                <a:sym typeface="+mn-lt"/>
              </a:endParaRPr>
            </a:p>
          </p:txBody>
        </p:sp>
        <p:sp>
          <p:nvSpPr>
            <p:cNvPr id="247" name="文本框 246"/>
            <p:cNvSpPr txBox="1"/>
            <p:nvPr/>
          </p:nvSpPr>
          <p:spPr>
            <a:xfrm>
              <a:off x="4820240" y="2728564"/>
              <a:ext cx="1218494" cy="322303"/>
            </a:xfrm>
            <a:prstGeom prst="rect">
              <a:avLst/>
            </a:prstGeom>
            <a:grpFill/>
          </p:spPr>
          <p:txBody>
            <a:bodyPr wrap="square" lIns="0" tIns="0" rIns="0" bIns="0" rtlCol="0">
              <a:spAutoFit/>
            </a:bodyPr>
            <a:lstStyle/>
            <a:p>
              <a:pPr algn="ctr">
                <a:lnSpc>
                  <a:spcPct val="106000"/>
                </a:lnSpc>
                <a:buFont typeface="Wingdings 2" pitchFamily="18" charset="2"/>
                <a:buNone/>
              </a:pPr>
              <a:r>
                <a:rPr lang="en-US" sz="700" b="1" dirty="0">
                  <a:solidFill>
                    <a:schemeClr val="tx2"/>
                  </a:solidFill>
                </a:rPr>
                <a:t>Lorem ipsum </a:t>
              </a:r>
              <a:r>
                <a:rPr lang="en-US" sz="700" b="1" dirty="0" err="1">
                  <a:solidFill>
                    <a:schemeClr val="tx2"/>
                  </a:solidFill>
                </a:rPr>
                <a:t>dLorem</a:t>
              </a:r>
              <a:r>
                <a:rPr lang="en-US" sz="700" b="1" dirty="0">
                  <a:solidFill>
                    <a:schemeClr val="tx2"/>
                  </a:solidFill>
                </a:rPr>
                <a:t> ipsum </a:t>
              </a:r>
              <a:r>
                <a:rPr lang="en-US" sz="700" b="1" dirty="0" err="1">
                  <a:solidFill>
                    <a:schemeClr val="tx2"/>
                  </a:solidFill>
                </a:rPr>
                <a:t>dLorem</a:t>
              </a:r>
              <a:r>
                <a:rPr lang="en-US" sz="700" b="1" dirty="0">
                  <a:solidFill>
                    <a:schemeClr val="tx2"/>
                  </a:solidFill>
                </a:rPr>
                <a:t> ipsum d</a:t>
              </a:r>
            </a:p>
          </p:txBody>
        </p:sp>
      </p:grpSp>
      <p:grpSp>
        <p:nvGrpSpPr>
          <p:cNvPr id="248" name="组合 247"/>
          <p:cNvGrpSpPr/>
          <p:nvPr/>
        </p:nvGrpSpPr>
        <p:grpSpPr>
          <a:xfrm>
            <a:off x="1238781" y="2552282"/>
            <a:ext cx="879186" cy="504119"/>
            <a:chOff x="4609904" y="2448223"/>
            <a:chExt cx="1713647" cy="982593"/>
          </a:xfrm>
          <a:solidFill>
            <a:schemeClr val="bg1">
              <a:lumMod val="85000"/>
            </a:schemeClr>
          </a:solidFill>
        </p:grpSpPr>
        <p:sp>
          <p:nvSpPr>
            <p:cNvPr id="249" name="Freeform 50"/>
            <p:cNvSpPr>
              <a:spLocks/>
            </p:cNvSpPr>
            <p:nvPr/>
          </p:nvSpPr>
          <p:spPr bwMode="auto">
            <a:xfrm flipH="1">
              <a:off x="4609904" y="2448223"/>
              <a:ext cx="1713647" cy="982593"/>
            </a:xfrm>
            <a:custGeom>
              <a:avLst/>
              <a:gdLst>
                <a:gd name="T0" fmla="*/ 1136 w 1232"/>
                <a:gd name="T1" fmla="*/ 300 h 694"/>
                <a:gd name="T2" fmla="*/ 1136 w 1232"/>
                <a:gd name="T3" fmla="*/ 297 h 694"/>
                <a:gd name="T4" fmla="*/ 971 w 1232"/>
                <a:gd name="T5" fmla="*/ 131 h 694"/>
                <a:gd name="T6" fmla="*/ 913 w 1232"/>
                <a:gd name="T7" fmla="*/ 142 h 694"/>
                <a:gd name="T8" fmla="*/ 688 w 1232"/>
                <a:gd name="T9" fmla="*/ 0 h 694"/>
                <a:gd name="T10" fmla="*/ 449 w 1232"/>
                <a:gd name="T11" fmla="*/ 181 h 694"/>
                <a:gd name="T12" fmla="*/ 358 w 1232"/>
                <a:gd name="T13" fmla="*/ 157 h 694"/>
                <a:gd name="T14" fmla="*/ 179 w 1232"/>
                <a:gd name="T15" fmla="*/ 336 h 694"/>
                <a:gd name="T16" fmla="*/ 0 w 1232"/>
                <a:gd name="T17" fmla="*/ 515 h 694"/>
                <a:gd name="T18" fmla="*/ 179 w 1232"/>
                <a:gd name="T19" fmla="*/ 694 h 694"/>
                <a:gd name="T20" fmla="*/ 1016 w 1232"/>
                <a:gd name="T21" fmla="*/ 694 h 694"/>
                <a:gd name="T22" fmla="*/ 1232 w 1232"/>
                <a:gd name="T23" fmla="*/ 479 h 694"/>
                <a:gd name="T24" fmla="*/ 1136 w 1232"/>
                <a:gd name="T25" fmla="*/ 3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2" h="694">
                  <a:moveTo>
                    <a:pt x="1136" y="300"/>
                  </a:moveTo>
                  <a:cubicBezTo>
                    <a:pt x="1136" y="299"/>
                    <a:pt x="1136" y="298"/>
                    <a:pt x="1136" y="297"/>
                  </a:cubicBezTo>
                  <a:cubicBezTo>
                    <a:pt x="1136" y="205"/>
                    <a:pt x="1062" y="131"/>
                    <a:pt x="971" y="131"/>
                  </a:cubicBezTo>
                  <a:cubicBezTo>
                    <a:pt x="951" y="131"/>
                    <a:pt x="931" y="135"/>
                    <a:pt x="913" y="142"/>
                  </a:cubicBezTo>
                  <a:cubicBezTo>
                    <a:pt x="873" y="58"/>
                    <a:pt x="788" y="0"/>
                    <a:pt x="688" y="0"/>
                  </a:cubicBezTo>
                  <a:cubicBezTo>
                    <a:pt x="574" y="0"/>
                    <a:pt x="478" y="77"/>
                    <a:pt x="449" y="181"/>
                  </a:cubicBezTo>
                  <a:cubicBezTo>
                    <a:pt x="422" y="166"/>
                    <a:pt x="391" y="157"/>
                    <a:pt x="358" y="157"/>
                  </a:cubicBezTo>
                  <a:cubicBezTo>
                    <a:pt x="259" y="157"/>
                    <a:pt x="179" y="237"/>
                    <a:pt x="179" y="336"/>
                  </a:cubicBezTo>
                  <a:cubicBezTo>
                    <a:pt x="80" y="336"/>
                    <a:pt x="0" y="416"/>
                    <a:pt x="0" y="515"/>
                  </a:cubicBezTo>
                  <a:cubicBezTo>
                    <a:pt x="0" y="614"/>
                    <a:pt x="80" y="694"/>
                    <a:pt x="179" y="694"/>
                  </a:cubicBezTo>
                  <a:cubicBezTo>
                    <a:pt x="1016" y="694"/>
                    <a:pt x="1016" y="694"/>
                    <a:pt x="1016" y="694"/>
                  </a:cubicBezTo>
                  <a:cubicBezTo>
                    <a:pt x="1135" y="694"/>
                    <a:pt x="1232" y="598"/>
                    <a:pt x="1232" y="479"/>
                  </a:cubicBezTo>
                  <a:cubicBezTo>
                    <a:pt x="1232" y="404"/>
                    <a:pt x="1194" y="338"/>
                    <a:pt x="1136" y="300"/>
                  </a:cubicBezTo>
                  <a:close/>
                </a:path>
              </a:pathLst>
            </a:custGeom>
            <a:grpFill/>
            <a:ln w="69850">
              <a:noFill/>
            </a:ln>
          </p:spPr>
          <p:txBody>
            <a:bodyPr vert="horz" wrap="square" lIns="91440" tIns="45720" rIns="91440" bIns="45720" numCol="1" anchor="t" anchorCtr="0" compatLnSpc="1">
              <a:prstTxWarp prst="textNoShape">
                <a:avLst/>
              </a:prstTxWarp>
            </a:bodyPr>
            <a:lstStyle/>
            <a:p>
              <a:endParaRPr lang="id-ID" sz="2400" dirty="0">
                <a:solidFill>
                  <a:schemeClr val="tx2"/>
                </a:solidFill>
                <a:cs typeface="+mn-ea"/>
                <a:sym typeface="+mn-lt"/>
              </a:endParaRPr>
            </a:p>
          </p:txBody>
        </p:sp>
        <p:sp>
          <p:nvSpPr>
            <p:cNvPr id="250" name="文本框 249"/>
            <p:cNvSpPr txBox="1"/>
            <p:nvPr/>
          </p:nvSpPr>
          <p:spPr>
            <a:xfrm>
              <a:off x="4814432" y="2895306"/>
              <a:ext cx="1218494" cy="213213"/>
            </a:xfrm>
            <a:prstGeom prst="rect">
              <a:avLst/>
            </a:prstGeom>
            <a:grpFill/>
          </p:spPr>
          <p:txBody>
            <a:bodyPr wrap="square" lIns="0" tIns="0" rIns="0" bIns="0" rtlCol="0">
              <a:spAutoFit/>
            </a:bodyPr>
            <a:lstStyle/>
            <a:p>
              <a:pPr algn="ctr">
                <a:lnSpc>
                  <a:spcPct val="106000"/>
                </a:lnSpc>
                <a:buFont typeface="Wingdings 2" pitchFamily="18" charset="2"/>
                <a:buNone/>
              </a:pPr>
              <a:r>
                <a:rPr lang="en-US" sz="700" b="1" dirty="0">
                  <a:solidFill>
                    <a:schemeClr val="tx2"/>
                  </a:solidFill>
                </a:rPr>
                <a:t>connects to</a:t>
              </a:r>
            </a:p>
          </p:txBody>
        </p:sp>
      </p:grpSp>
      <p:sp>
        <p:nvSpPr>
          <p:cNvPr id="251" name="椭圆 250"/>
          <p:cNvSpPr/>
          <p:nvPr/>
        </p:nvSpPr>
        <p:spPr bwMode="gray">
          <a:xfrm>
            <a:off x="10154120" y="2547927"/>
            <a:ext cx="145241" cy="145241"/>
          </a:xfrm>
          <a:prstGeom prst="ellips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2" name="椭圆 251"/>
          <p:cNvSpPr/>
          <p:nvPr/>
        </p:nvSpPr>
        <p:spPr bwMode="gray">
          <a:xfrm>
            <a:off x="9971035" y="2547926"/>
            <a:ext cx="145241" cy="145241"/>
          </a:xfrm>
          <a:prstGeom prst="ellips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3" name="椭圆 252"/>
          <p:cNvSpPr/>
          <p:nvPr/>
        </p:nvSpPr>
        <p:spPr bwMode="gray">
          <a:xfrm>
            <a:off x="9779859" y="2547926"/>
            <a:ext cx="145241" cy="145241"/>
          </a:xfrm>
          <a:prstGeom prst="ellips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54" name="组合 253"/>
          <p:cNvGrpSpPr/>
          <p:nvPr/>
        </p:nvGrpSpPr>
        <p:grpSpPr>
          <a:xfrm>
            <a:off x="7349927" y="3202029"/>
            <a:ext cx="879186" cy="504119"/>
            <a:chOff x="4609904" y="2448223"/>
            <a:chExt cx="1713647" cy="982593"/>
          </a:xfrm>
          <a:solidFill>
            <a:schemeClr val="bg1">
              <a:lumMod val="85000"/>
            </a:schemeClr>
          </a:solidFill>
        </p:grpSpPr>
        <p:sp>
          <p:nvSpPr>
            <p:cNvPr id="255" name="Freeform 50"/>
            <p:cNvSpPr>
              <a:spLocks/>
            </p:cNvSpPr>
            <p:nvPr/>
          </p:nvSpPr>
          <p:spPr bwMode="auto">
            <a:xfrm flipH="1">
              <a:off x="4609904" y="2448223"/>
              <a:ext cx="1713647" cy="982593"/>
            </a:xfrm>
            <a:custGeom>
              <a:avLst/>
              <a:gdLst>
                <a:gd name="T0" fmla="*/ 1136 w 1232"/>
                <a:gd name="T1" fmla="*/ 300 h 694"/>
                <a:gd name="T2" fmla="*/ 1136 w 1232"/>
                <a:gd name="T3" fmla="*/ 297 h 694"/>
                <a:gd name="T4" fmla="*/ 971 w 1232"/>
                <a:gd name="T5" fmla="*/ 131 h 694"/>
                <a:gd name="T6" fmla="*/ 913 w 1232"/>
                <a:gd name="T7" fmla="*/ 142 h 694"/>
                <a:gd name="T8" fmla="*/ 688 w 1232"/>
                <a:gd name="T9" fmla="*/ 0 h 694"/>
                <a:gd name="T10" fmla="*/ 449 w 1232"/>
                <a:gd name="T11" fmla="*/ 181 h 694"/>
                <a:gd name="T12" fmla="*/ 358 w 1232"/>
                <a:gd name="T13" fmla="*/ 157 h 694"/>
                <a:gd name="T14" fmla="*/ 179 w 1232"/>
                <a:gd name="T15" fmla="*/ 336 h 694"/>
                <a:gd name="T16" fmla="*/ 0 w 1232"/>
                <a:gd name="T17" fmla="*/ 515 h 694"/>
                <a:gd name="T18" fmla="*/ 179 w 1232"/>
                <a:gd name="T19" fmla="*/ 694 h 694"/>
                <a:gd name="T20" fmla="*/ 1016 w 1232"/>
                <a:gd name="T21" fmla="*/ 694 h 694"/>
                <a:gd name="T22" fmla="*/ 1232 w 1232"/>
                <a:gd name="T23" fmla="*/ 479 h 694"/>
                <a:gd name="T24" fmla="*/ 1136 w 1232"/>
                <a:gd name="T25" fmla="*/ 3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2" h="694">
                  <a:moveTo>
                    <a:pt x="1136" y="300"/>
                  </a:moveTo>
                  <a:cubicBezTo>
                    <a:pt x="1136" y="299"/>
                    <a:pt x="1136" y="298"/>
                    <a:pt x="1136" y="297"/>
                  </a:cubicBezTo>
                  <a:cubicBezTo>
                    <a:pt x="1136" y="205"/>
                    <a:pt x="1062" y="131"/>
                    <a:pt x="971" y="131"/>
                  </a:cubicBezTo>
                  <a:cubicBezTo>
                    <a:pt x="951" y="131"/>
                    <a:pt x="931" y="135"/>
                    <a:pt x="913" y="142"/>
                  </a:cubicBezTo>
                  <a:cubicBezTo>
                    <a:pt x="873" y="58"/>
                    <a:pt x="788" y="0"/>
                    <a:pt x="688" y="0"/>
                  </a:cubicBezTo>
                  <a:cubicBezTo>
                    <a:pt x="574" y="0"/>
                    <a:pt x="478" y="77"/>
                    <a:pt x="449" y="181"/>
                  </a:cubicBezTo>
                  <a:cubicBezTo>
                    <a:pt x="422" y="166"/>
                    <a:pt x="391" y="157"/>
                    <a:pt x="358" y="157"/>
                  </a:cubicBezTo>
                  <a:cubicBezTo>
                    <a:pt x="259" y="157"/>
                    <a:pt x="179" y="237"/>
                    <a:pt x="179" y="336"/>
                  </a:cubicBezTo>
                  <a:cubicBezTo>
                    <a:pt x="80" y="336"/>
                    <a:pt x="0" y="416"/>
                    <a:pt x="0" y="515"/>
                  </a:cubicBezTo>
                  <a:cubicBezTo>
                    <a:pt x="0" y="614"/>
                    <a:pt x="80" y="694"/>
                    <a:pt x="179" y="694"/>
                  </a:cubicBezTo>
                  <a:cubicBezTo>
                    <a:pt x="1016" y="694"/>
                    <a:pt x="1016" y="694"/>
                    <a:pt x="1016" y="694"/>
                  </a:cubicBezTo>
                  <a:cubicBezTo>
                    <a:pt x="1135" y="694"/>
                    <a:pt x="1232" y="598"/>
                    <a:pt x="1232" y="479"/>
                  </a:cubicBezTo>
                  <a:cubicBezTo>
                    <a:pt x="1232" y="404"/>
                    <a:pt x="1194" y="338"/>
                    <a:pt x="1136" y="300"/>
                  </a:cubicBezTo>
                  <a:close/>
                </a:path>
              </a:pathLst>
            </a:custGeom>
            <a:grpFill/>
            <a:ln w="69850">
              <a:noFill/>
            </a:ln>
          </p:spPr>
          <p:txBody>
            <a:bodyPr vert="horz" wrap="square" lIns="91440" tIns="45720" rIns="91440" bIns="45720" numCol="1" anchor="t" anchorCtr="0" compatLnSpc="1">
              <a:prstTxWarp prst="textNoShape">
                <a:avLst/>
              </a:prstTxWarp>
            </a:bodyPr>
            <a:lstStyle/>
            <a:p>
              <a:endParaRPr lang="id-ID" sz="2400" dirty="0">
                <a:solidFill>
                  <a:schemeClr val="tx2"/>
                </a:solidFill>
                <a:cs typeface="+mn-ea"/>
                <a:sym typeface="+mn-lt"/>
              </a:endParaRPr>
            </a:p>
          </p:txBody>
        </p:sp>
        <p:sp>
          <p:nvSpPr>
            <p:cNvPr id="256" name="文本框 255"/>
            <p:cNvSpPr txBox="1"/>
            <p:nvPr/>
          </p:nvSpPr>
          <p:spPr>
            <a:xfrm>
              <a:off x="4832284" y="2713796"/>
              <a:ext cx="1218494" cy="445173"/>
            </a:xfrm>
            <a:prstGeom prst="rect">
              <a:avLst/>
            </a:prstGeom>
            <a:grpFill/>
          </p:spPr>
          <p:txBody>
            <a:bodyPr wrap="square" lIns="0" tIns="0" rIns="0" bIns="0" rtlCol="0">
              <a:spAutoFit/>
            </a:bodyPr>
            <a:lstStyle/>
            <a:p>
              <a:pPr algn="ctr">
                <a:lnSpc>
                  <a:spcPct val="106000"/>
                </a:lnSpc>
                <a:buFont typeface="Wingdings 2" pitchFamily="18" charset="2"/>
                <a:buNone/>
              </a:pPr>
              <a:r>
                <a:rPr lang="en-US" sz="700" b="1" dirty="0">
                  <a:solidFill>
                    <a:schemeClr val="tx2"/>
                  </a:solidFill>
                </a:rPr>
                <a:t>Lorem ipsum </a:t>
              </a:r>
              <a:r>
                <a:rPr lang="en-US" sz="700" b="1" dirty="0" err="1">
                  <a:solidFill>
                    <a:schemeClr val="tx2"/>
                  </a:solidFill>
                </a:rPr>
                <a:t>dLorem</a:t>
              </a:r>
              <a:r>
                <a:rPr lang="en-US" sz="700" b="1" dirty="0">
                  <a:solidFill>
                    <a:schemeClr val="tx2"/>
                  </a:solidFill>
                </a:rPr>
                <a:t> ipsum d</a:t>
              </a:r>
            </a:p>
          </p:txBody>
        </p:sp>
      </p:grpSp>
      <p:grpSp>
        <p:nvGrpSpPr>
          <p:cNvPr id="257" name="组合 256"/>
          <p:cNvGrpSpPr/>
          <p:nvPr/>
        </p:nvGrpSpPr>
        <p:grpSpPr>
          <a:xfrm>
            <a:off x="7362487" y="4954697"/>
            <a:ext cx="879186" cy="504119"/>
            <a:chOff x="4609904" y="2448223"/>
            <a:chExt cx="1713647" cy="982593"/>
          </a:xfrm>
          <a:solidFill>
            <a:schemeClr val="bg1">
              <a:lumMod val="85000"/>
            </a:schemeClr>
          </a:solidFill>
        </p:grpSpPr>
        <p:sp>
          <p:nvSpPr>
            <p:cNvPr id="258" name="Freeform 50"/>
            <p:cNvSpPr>
              <a:spLocks/>
            </p:cNvSpPr>
            <p:nvPr/>
          </p:nvSpPr>
          <p:spPr bwMode="auto">
            <a:xfrm flipH="1">
              <a:off x="4609904" y="2448223"/>
              <a:ext cx="1713647" cy="982593"/>
            </a:xfrm>
            <a:custGeom>
              <a:avLst/>
              <a:gdLst>
                <a:gd name="T0" fmla="*/ 1136 w 1232"/>
                <a:gd name="T1" fmla="*/ 300 h 694"/>
                <a:gd name="T2" fmla="*/ 1136 w 1232"/>
                <a:gd name="T3" fmla="*/ 297 h 694"/>
                <a:gd name="T4" fmla="*/ 971 w 1232"/>
                <a:gd name="T5" fmla="*/ 131 h 694"/>
                <a:gd name="T6" fmla="*/ 913 w 1232"/>
                <a:gd name="T7" fmla="*/ 142 h 694"/>
                <a:gd name="T8" fmla="*/ 688 w 1232"/>
                <a:gd name="T9" fmla="*/ 0 h 694"/>
                <a:gd name="T10" fmla="*/ 449 w 1232"/>
                <a:gd name="T11" fmla="*/ 181 h 694"/>
                <a:gd name="T12" fmla="*/ 358 w 1232"/>
                <a:gd name="T13" fmla="*/ 157 h 694"/>
                <a:gd name="T14" fmla="*/ 179 w 1232"/>
                <a:gd name="T15" fmla="*/ 336 h 694"/>
                <a:gd name="T16" fmla="*/ 0 w 1232"/>
                <a:gd name="T17" fmla="*/ 515 h 694"/>
                <a:gd name="T18" fmla="*/ 179 w 1232"/>
                <a:gd name="T19" fmla="*/ 694 h 694"/>
                <a:gd name="T20" fmla="*/ 1016 w 1232"/>
                <a:gd name="T21" fmla="*/ 694 h 694"/>
                <a:gd name="T22" fmla="*/ 1232 w 1232"/>
                <a:gd name="T23" fmla="*/ 479 h 694"/>
                <a:gd name="T24" fmla="*/ 1136 w 1232"/>
                <a:gd name="T25" fmla="*/ 3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2" h="694">
                  <a:moveTo>
                    <a:pt x="1136" y="300"/>
                  </a:moveTo>
                  <a:cubicBezTo>
                    <a:pt x="1136" y="299"/>
                    <a:pt x="1136" y="298"/>
                    <a:pt x="1136" y="297"/>
                  </a:cubicBezTo>
                  <a:cubicBezTo>
                    <a:pt x="1136" y="205"/>
                    <a:pt x="1062" y="131"/>
                    <a:pt x="971" y="131"/>
                  </a:cubicBezTo>
                  <a:cubicBezTo>
                    <a:pt x="951" y="131"/>
                    <a:pt x="931" y="135"/>
                    <a:pt x="913" y="142"/>
                  </a:cubicBezTo>
                  <a:cubicBezTo>
                    <a:pt x="873" y="58"/>
                    <a:pt x="788" y="0"/>
                    <a:pt x="688" y="0"/>
                  </a:cubicBezTo>
                  <a:cubicBezTo>
                    <a:pt x="574" y="0"/>
                    <a:pt x="478" y="77"/>
                    <a:pt x="449" y="181"/>
                  </a:cubicBezTo>
                  <a:cubicBezTo>
                    <a:pt x="422" y="166"/>
                    <a:pt x="391" y="157"/>
                    <a:pt x="358" y="157"/>
                  </a:cubicBezTo>
                  <a:cubicBezTo>
                    <a:pt x="259" y="157"/>
                    <a:pt x="179" y="237"/>
                    <a:pt x="179" y="336"/>
                  </a:cubicBezTo>
                  <a:cubicBezTo>
                    <a:pt x="80" y="336"/>
                    <a:pt x="0" y="416"/>
                    <a:pt x="0" y="515"/>
                  </a:cubicBezTo>
                  <a:cubicBezTo>
                    <a:pt x="0" y="614"/>
                    <a:pt x="80" y="694"/>
                    <a:pt x="179" y="694"/>
                  </a:cubicBezTo>
                  <a:cubicBezTo>
                    <a:pt x="1016" y="694"/>
                    <a:pt x="1016" y="694"/>
                    <a:pt x="1016" y="694"/>
                  </a:cubicBezTo>
                  <a:cubicBezTo>
                    <a:pt x="1135" y="694"/>
                    <a:pt x="1232" y="598"/>
                    <a:pt x="1232" y="479"/>
                  </a:cubicBezTo>
                  <a:cubicBezTo>
                    <a:pt x="1232" y="404"/>
                    <a:pt x="1194" y="338"/>
                    <a:pt x="1136" y="300"/>
                  </a:cubicBezTo>
                  <a:close/>
                </a:path>
              </a:pathLst>
            </a:custGeom>
            <a:grpFill/>
            <a:ln w="69850">
              <a:noFill/>
            </a:ln>
          </p:spPr>
          <p:txBody>
            <a:bodyPr vert="horz" wrap="square" lIns="91440" tIns="45720" rIns="91440" bIns="45720" numCol="1" anchor="t" anchorCtr="0" compatLnSpc="1">
              <a:prstTxWarp prst="textNoShape">
                <a:avLst/>
              </a:prstTxWarp>
            </a:bodyPr>
            <a:lstStyle/>
            <a:p>
              <a:endParaRPr lang="id-ID" sz="2400" dirty="0">
                <a:solidFill>
                  <a:schemeClr val="tx2"/>
                </a:solidFill>
                <a:cs typeface="+mn-ea"/>
                <a:sym typeface="+mn-lt"/>
              </a:endParaRPr>
            </a:p>
          </p:txBody>
        </p:sp>
        <p:sp>
          <p:nvSpPr>
            <p:cNvPr id="259" name="文本框 258"/>
            <p:cNvSpPr txBox="1"/>
            <p:nvPr/>
          </p:nvSpPr>
          <p:spPr>
            <a:xfrm>
              <a:off x="4832284" y="2713796"/>
              <a:ext cx="1218494" cy="213213"/>
            </a:xfrm>
            <a:prstGeom prst="rect">
              <a:avLst/>
            </a:prstGeom>
            <a:grpFill/>
          </p:spPr>
          <p:txBody>
            <a:bodyPr wrap="square" lIns="0" tIns="0" rIns="0" bIns="0" rtlCol="0">
              <a:spAutoFit/>
            </a:bodyPr>
            <a:lstStyle/>
            <a:p>
              <a:pPr algn="ctr">
                <a:lnSpc>
                  <a:spcPct val="106000"/>
                </a:lnSpc>
                <a:buFont typeface="Wingdings 2" pitchFamily="18" charset="2"/>
                <a:buNone/>
              </a:pPr>
              <a:r>
                <a:rPr lang="en-US" sz="700" b="1" dirty="0">
                  <a:solidFill>
                    <a:schemeClr val="tx2"/>
                  </a:solidFill>
                </a:rPr>
                <a:t>Lorem ipsum d</a:t>
              </a:r>
            </a:p>
          </p:txBody>
        </p:sp>
      </p:grpSp>
    </p:spTree>
    <p:custDataLst>
      <p:tags r:id="rId1"/>
    </p:custDataLst>
    <p:extLst>
      <p:ext uri="{BB962C8B-B14F-4D97-AF65-F5344CB8AC3E}">
        <p14:creationId xmlns:p14="http://schemas.microsoft.com/office/powerpoint/2010/main" val="2233887194"/>
      </p:ext>
    </p:extLst>
  </p:cSld>
  <p:clrMapOvr>
    <a:masterClrMapping/>
  </p:clrMapOvr>
  <p:transition>
    <p:fade/>
  </p:transition>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6C1B41-02FD-584A-AC63-60E3A80FD66B}"/>
              </a:ext>
            </a:extLst>
          </p:cNvPr>
          <p:cNvSpPr>
            <a:spLocks noGrp="1"/>
          </p:cNvSpPr>
          <p:nvPr>
            <p:ph type="body" sz="quarter" idx="13"/>
          </p:nvPr>
        </p:nvSpPr>
        <p:spPr/>
        <p:txBody>
          <a:bodyPr/>
          <a:lstStyle/>
          <a:p>
            <a:r>
              <a:rPr lang="en-GB" sz="1050" dirty="0"/>
              <a:t> </a:t>
            </a:r>
          </a:p>
          <a:p>
            <a:r>
              <a:rPr lang="en-GB" sz="1050" dirty="0"/>
              <a:t>Deloitte refers to one or more of Deloitte </a:t>
            </a:r>
            <a:r>
              <a:rPr lang="en-GB" sz="1050" dirty="0" err="1"/>
              <a:t>Touche</a:t>
            </a:r>
            <a:r>
              <a:rPr lang="en-GB" sz="1050"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GB" sz="1050" dirty="0">
                <a:hlinkClick r:id="rId3"/>
              </a:rPr>
              <a:t>www.deloitte.com/about</a:t>
            </a:r>
            <a:r>
              <a:rPr lang="en-GB" sz="1050" dirty="0"/>
              <a:t> to learn more.</a:t>
            </a:r>
          </a:p>
          <a:p>
            <a:endParaRPr lang="en-GB" sz="1050" dirty="0"/>
          </a:p>
          <a:p>
            <a:r>
              <a:rPr lang="en-GB" sz="1050" dirty="0"/>
              <a:t>© 2021. For information, contact Deloitte </a:t>
            </a:r>
            <a:r>
              <a:rPr lang="en-GB" sz="1050" dirty="0" err="1"/>
              <a:t>Touche</a:t>
            </a:r>
            <a:r>
              <a:rPr lang="en-GB" sz="1050" dirty="0"/>
              <a:t> Tohmatsu Limited.</a:t>
            </a:r>
          </a:p>
        </p:txBody>
      </p:sp>
      <p:sp>
        <p:nvSpPr>
          <p:cNvPr id="3" name="Picture Placeholder 2">
            <a:extLst>
              <a:ext uri="{FF2B5EF4-FFF2-40B4-BE49-F238E27FC236}">
                <a16:creationId xmlns:a16="http://schemas.microsoft.com/office/drawing/2014/main" id="{D802DC0D-1B96-EE45-B05F-41E7E53F007A}"/>
              </a:ext>
            </a:extLst>
          </p:cNvPr>
          <p:cNvSpPr>
            <a:spLocks noGrp="1"/>
          </p:cNvSpPr>
          <p:nvPr>
            <p:ph type="pic" sz="quarter" idx="14"/>
          </p:nvPr>
        </p:nvSpPr>
        <p:spPr/>
      </p:sp>
      <p:sp>
        <p:nvSpPr>
          <p:cNvPr id="4" name="Text Placeholder 3">
            <a:extLst>
              <a:ext uri="{FF2B5EF4-FFF2-40B4-BE49-F238E27FC236}">
                <a16:creationId xmlns:a16="http://schemas.microsoft.com/office/drawing/2014/main" id="{F27D9DDA-126F-3B49-9994-8C0D2F29211B}"/>
              </a:ext>
            </a:extLst>
          </p:cNvPr>
          <p:cNvSpPr>
            <a:spLocks noGrp="1"/>
          </p:cNvSpPr>
          <p:nvPr>
            <p:ph type="body" sz="quarter" idx="15"/>
          </p:nvPr>
        </p:nvSpPr>
        <p:spPr/>
        <p:txBody>
          <a:bodyPr/>
          <a:lstStyle/>
          <a:p>
            <a:endParaRPr lang="en-ES"/>
          </a:p>
        </p:txBody>
      </p:sp>
    </p:spTree>
    <p:custDataLst>
      <p:tags r:id="rId1"/>
    </p:custDataLst>
    <p:extLst>
      <p:ext uri="{BB962C8B-B14F-4D97-AF65-F5344CB8AC3E}">
        <p14:creationId xmlns:p14="http://schemas.microsoft.com/office/powerpoint/2010/main" val="22392656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0688C843-57FD-F24D-9D25-2EDCF27C64B0}"/>
              </a:ext>
            </a:extLst>
          </p:cNvPr>
          <p:cNvSpPr txBox="1"/>
          <p:nvPr/>
        </p:nvSpPr>
        <p:spPr>
          <a:xfrm>
            <a:off x="3575717" y="5483354"/>
            <a:ext cx="1625735" cy="200055"/>
          </a:xfrm>
          <a:prstGeom prst="rect">
            <a:avLst/>
          </a:prstGeom>
          <a:noFill/>
        </p:spPr>
        <p:txBody>
          <a:bodyPr wrap="square" lIns="0" tIns="0" rIns="0" bIns="0" rtlCol="0">
            <a:spAutoFit/>
          </a:bodyPr>
          <a:lstStyle/>
          <a:p>
            <a:pPr algn="r"/>
            <a:r>
              <a:rPr lang="en-US" sz="1300" dirty="0">
                <a:solidFill>
                  <a:srgbClr val="000000"/>
                </a:solidFill>
              </a:rPr>
              <a:t>Lorem ipsum</a:t>
            </a:r>
          </a:p>
        </p:txBody>
      </p:sp>
      <p:sp>
        <p:nvSpPr>
          <p:cNvPr id="25" name="TextBox 24">
            <a:extLst>
              <a:ext uri="{FF2B5EF4-FFF2-40B4-BE49-F238E27FC236}">
                <a16:creationId xmlns:a16="http://schemas.microsoft.com/office/drawing/2014/main" id="{4ECCE5D8-F3E8-DA44-A418-D4BAAF207DA3}"/>
              </a:ext>
            </a:extLst>
          </p:cNvPr>
          <p:cNvSpPr txBox="1"/>
          <p:nvPr/>
        </p:nvSpPr>
        <p:spPr>
          <a:xfrm>
            <a:off x="2924218" y="3681865"/>
            <a:ext cx="1122623" cy="200055"/>
          </a:xfrm>
          <a:prstGeom prst="rect">
            <a:avLst/>
          </a:prstGeom>
          <a:noFill/>
        </p:spPr>
        <p:txBody>
          <a:bodyPr wrap="square" lIns="0" tIns="0" rIns="0" bIns="0" rtlCol="0">
            <a:spAutoFit/>
          </a:bodyPr>
          <a:lstStyle>
            <a:defPPr>
              <a:defRPr lang="en-US"/>
            </a:defPPr>
            <a:lvl1pPr>
              <a:buSzPct val="100000"/>
              <a:defRPr sz="800" b="0">
                <a:solidFill>
                  <a:schemeClr val="tx2"/>
                </a:solidFill>
              </a:defRPr>
            </a:lvl1pPr>
          </a:lstStyle>
          <a:p>
            <a:pPr algn="r"/>
            <a:r>
              <a:rPr lang="en-US" sz="1300" dirty="0">
                <a:solidFill>
                  <a:srgbClr val="000000"/>
                </a:solidFill>
              </a:rPr>
              <a:t>Lorem ipsum</a:t>
            </a:r>
          </a:p>
        </p:txBody>
      </p:sp>
      <p:sp>
        <p:nvSpPr>
          <p:cNvPr id="26" name="TextBox 25">
            <a:extLst>
              <a:ext uri="{FF2B5EF4-FFF2-40B4-BE49-F238E27FC236}">
                <a16:creationId xmlns:a16="http://schemas.microsoft.com/office/drawing/2014/main" id="{667D33BE-8C77-E24D-87C7-7C23E13DDF94}"/>
              </a:ext>
            </a:extLst>
          </p:cNvPr>
          <p:cNvSpPr txBox="1"/>
          <p:nvPr/>
        </p:nvSpPr>
        <p:spPr>
          <a:xfrm>
            <a:off x="3489559" y="2207822"/>
            <a:ext cx="1270466" cy="200055"/>
          </a:xfrm>
          <a:prstGeom prst="rect">
            <a:avLst/>
          </a:prstGeom>
          <a:noFill/>
        </p:spPr>
        <p:txBody>
          <a:bodyPr wrap="square" lIns="0" tIns="0" rIns="0" bIns="0" rtlCol="0">
            <a:spAutoFit/>
          </a:bodyPr>
          <a:lstStyle>
            <a:defPPr>
              <a:defRPr lang="en-US"/>
            </a:defPPr>
            <a:lvl1pPr algn="ctr">
              <a:buSzPct val="100000"/>
              <a:defRPr sz="1000">
                <a:solidFill>
                  <a:schemeClr val="tx2"/>
                </a:solidFill>
              </a:defRPr>
            </a:lvl1pPr>
          </a:lstStyle>
          <a:p>
            <a:pPr algn="r"/>
            <a:r>
              <a:rPr lang="en-US" sz="1300" dirty="0">
                <a:solidFill>
                  <a:srgbClr val="000000"/>
                </a:solidFill>
              </a:rPr>
              <a:t>Lorem ipsum</a:t>
            </a:r>
          </a:p>
        </p:txBody>
      </p:sp>
      <p:sp>
        <p:nvSpPr>
          <p:cNvPr id="27" name="TextBox 26">
            <a:extLst>
              <a:ext uri="{FF2B5EF4-FFF2-40B4-BE49-F238E27FC236}">
                <a16:creationId xmlns:a16="http://schemas.microsoft.com/office/drawing/2014/main" id="{2ACDF80F-393D-B44D-80D4-9FDE60FA5D2B}"/>
              </a:ext>
            </a:extLst>
          </p:cNvPr>
          <p:cNvSpPr txBox="1"/>
          <p:nvPr/>
        </p:nvSpPr>
        <p:spPr>
          <a:xfrm>
            <a:off x="6563147" y="1714500"/>
            <a:ext cx="1410324" cy="200055"/>
          </a:xfrm>
          <a:prstGeom prst="rect">
            <a:avLst/>
          </a:prstGeom>
          <a:noFill/>
        </p:spPr>
        <p:txBody>
          <a:bodyPr wrap="square" lIns="0" tIns="0" rIns="0" bIns="0" rtlCol="0">
            <a:spAutoFit/>
          </a:bodyPr>
          <a:lstStyle>
            <a:defPPr>
              <a:defRPr lang="en-US"/>
            </a:defPPr>
            <a:lvl1pPr algn="ctr">
              <a:buSzPct val="100000"/>
              <a:defRPr sz="1000">
                <a:solidFill>
                  <a:schemeClr val="tx2"/>
                </a:solidFill>
              </a:defRPr>
            </a:lvl1pPr>
          </a:lstStyle>
          <a:p>
            <a:pPr algn="l"/>
            <a:r>
              <a:rPr lang="en-US" sz="1300" b="1" dirty="0">
                <a:solidFill>
                  <a:srgbClr val="000000"/>
                </a:solidFill>
              </a:rPr>
              <a:t>Lorem ipsum</a:t>
            </a:r>
          </a:p>
        </p:txBody>
      </p:sp>
      <p:sp>
        <p:nvSpPr>
          <p:cNvPr id="28" name="TextBox 27">
            <a:extLst>
              <a:ext uri="{FF2B5EF4-FFF2-40B4-BE49-F238E27FC236}">
                <a16:creationId xmlns:a16="http://schemas.microsoft.com/office/drawing/2014/main" id="{4F2C49DA-2D00-B447-A799-3407795DB64C}"/>
              </a:ext>
            </a:extLst>
          </p:cNvPr>
          <p:cNvSpPr txBox="1"/>
          <p:nvPr/>
        </p:nvSpPr>
        <p:spPr>
          <a:xfrm>
            <a:off x="8051142" y="4054920"/>
            <a:ext cx="1457370" cy="200055"/>
          </a:xfrm>
          <a:prstGeom prst="rect">
            <a:avLst/>
          </a:prstGeom>
          <a:noFill/>
        </p:spPr>
        <p:txBody>
          <a:bodyPr wrap="square" lIns="0" tIns="0" rIns="0" bIns="0" rtlCol="0">
            <a:spAutoFit/>
          </a:bodyPr>
          <a:lstStyle>
            <a:defPPr>
              <a:defRPr lang="en-US"/>
            </a:defPPr>
            <a:lvl1pPr>
              <a:buSzPct val="100000"/>
              <a:defRPr sz="1000" b="1">
                <a:solidFill>
                  <a:schemeClr val="tx2"/>
                </a:solidFill>
              </a:defRPr>
            </a:lvl1pPr>
          </a:lstStyle>
          <a:p>
            <a:r>
              <a:rPr lang="en-US" sz="1300" dirty="0">
                <a:solidFill>
                  <a:srgbClr val="000000"/>
                </a:solidFill>
              </a:rPr>
              <a:t>Lorem ipsum</a:t>
            </a:r>
          </a:p>
        </p:txBody>
      </p:sp>
      <p:sp>
        <p:nvSpPr>
          <p:cNvPr id="29" name="TextBox 28">
            <a:extLst>
              <a:ext uri="{FF2B5EF4-FFF2-40B4-BE49-F238E27FC236}">
                <a16:creationId xmlns:a16="http://schemas.microsoft.com/office/drawing/2014/main" id="{40E855A6-E631-7F42-A010-8E90F367644C}"/>
              </a:ext>
            </a:extLst>
          </p:cNvPr>
          <p:cNvSpPr txBox="1"/>
          <p:nvPr/>
        </p:nvSpPr>
        <p:spPr>
          <a:xfrm>
            <a:off x="6996404" y="5483354"/>
            <a:ext cx="1619611" cy="200055"/>
          </a:xfrm>
          <a:prstGeom prst="rect">
            <a:avLst/>
          </a:prstGeom>
          <a:noFill/>
        </p:spPr>
        <p:txBody>
          <a:bodyPr wrap="square" lIns="0" tIns="0" rIns="0" bIns="0" rtlCol="0">
            <a:spAutoFit/>
          </a:bodyPr>
          <a:lstStyle>
            <a:defPPr>
              <a:defRPr lang="en-US"/>
            </a:defPPr>
            <a:lvl1pPr algn="ctr">
              <a:buSzPct val="100000"/>
              <a:defRPr sz="1000">
                <a:solidFill>
                  <a:schemeClr val="tx2"/>
                </a:solidFill>
              </a:defRPr>
            </a:lvl1pPr>
          </a:lstStyle>
          <a:p>
            <a:pPr algn="l"/>
            <a:r>
              <a:rPr lang="en-US" sz="1300" dirty="0">
                <a:solidFill>
                  <a:srgbClr val="000000"/>
                </a:solidFill>
              </a:rPr>
              <a:t>Lorem ipsum</a:t>
            </a:r>
          </a:p>
        </p:txBody>
      </p:sp>
      <p:sp>
        <p:nvSpPr>
          <p:cNvPr id="30" name="TextBox 29">
            <a:extLst>
              <a:ext uri="{FF2B5EF4-FFF2-40B4-BE49-F238E27FC236}">
                <a16:creationId xmlns:a16="http://schemas.microsoft.com/office/drawing/2014/main" id="{29E9C486-5B8C-F347-A7CC-60BDB9523BB1}"/>
              </a:ext>
            </a:extLst>
          </p:cNvPr>
          <p:cNvSpPr txBox="1"/>
          <p:nvPr/>
        </p:nvSpPr>
        <p:spPr>
          <a:xfrm>
            <a:off x="8039228" y="3079473"/>
            <a:ext cx="1507413" cy="200055"/>
          </a:xfrm>
          <a:prstGeom prst="rect">
            <a:avLst/>
          </a:prstGeom>
          <a:noFill/>
        </p:spPr>
        <p:txBody>
          <a:bodyPr wrap="square" lIns="0" tIns="0" rIns="0" bIns="0" rtlCol="0">
            <a:spAutoFit/>
          </a:bodyPr>
          <a:lstStyle>
            <a:defPPr>
              <a:defRPr lang="en-US"/>
            </a:defPPr>
            <a:lvl1pPr>
              <a:buSzPct val="100000"/>
              <a:defRPr sz="800" b="1">
                <a:solidFill>
                  <a:schemeClr val="tx2"/>
                </a:solidFill>
              </a:defRPr>
            </a:lvl1pPr>
          </a:lstStyle>
          <a:p>
            <a:r>
              <a:rPr lang="en-US" sz="1300" dirty="0">
                <a:solidFill>
                  <a:srgbClr val="000000"/>
                </a:solidFill>
              </a:rPr>
              <a:t>Lorem ipsum</a:t>
            </a:r>
          </a:p>
        </p:txBody>
      </p:sp>
      <p:sp>
        <p:nvSpPr>
          <p:cNvPr id="31" name="TextBox 30">
            <a:extLst>
              <a:ext uri="{FF2B5EF4-FFF2-40B4-BE49-F238E27FC236}">
                <a16:creationId xmlns:a16="http://schemas.microsoft.com/office/drawing/2014/main" id="{55A846AD-C7E0-3A4F-B485-132ECAF01E7F}"/>
              </a:ext>
            </a:extLst>
          </p:cNvPr>
          <p:cNvSpPr txBox="1"/>
          <p:nvPr/>
        </p:nvSpPr>
        <p:spPr>
          <a:xfrm>
            <a:off x="7567669" y="2259198"/>
            <a:ext cx="1464274" cy="200055"/>
          </a:xfrm>
          <a:prstGeom prst="rect">
            <a:avLst/>
          </a:prstGeom>
          <a:noFill/>
        </p:spPr>
        <p:txBody>
          <a:bodyPr wrap="square" lIns="0" tIns="0" rIns="0" bIns="0" rtlCol="0">
            <a:spAutoFit/>
          </a:bodyPr>
          <a:lstStyle>
            <a:defPPr>
              <a:defRPr lang="en-US"/>
            </a:defPPr>
            <a:lvl1pPr>
              <a:buSzPct val="100000"/>
              <a:defRPr sz="800" b="1">
                <a:solidFill>
                  <a:schemeClr val="tx2"/>
                </a:solidFill>
              </a:defRPr>
            </a:lvl1pPr>
          </a:lstStyle>
          <a:p>
            <a:r>
              <a:rPr lang="en-US" sz="1300" dirty="0">
                <a:solidFill>
                  <a:srgbClr val="000000"/>
                </a:solidFill>
              </a:rPr>
              <a:t>Lorem ipsum</a:t>
            </a:r>
          </a:p>
        </p:txBody>
      </p:sp>
      <p:grpSp>
        <p:nvGrpSpPr>
          <p:cNvPr id="2" name="Group 1"/>
          <p:cNvGrpSpPr/>
          <p:nvPr/>
        </p:nvGrpSpPr>
        <p:grpSpPr>
          <a:xfrm>
            <a:off x="5055418" y="2789274"/>
            <a:ext cx="2081164" cy="2081164"/>
            <a:chOff x="-3441189" y="1413908"/>
            <a:chExt cx="2217600" cy="2217601"/>
          </a:xfrm>
        </p:grpSpPr>
        <p:sp>
          <p:nvSpPr>
            <p:cNvPr id="42" name="TextBox 41">
              <a:extLst>
                <a:ext uri="{FF2B5EF4-FFF2-40B4-BE49-F238E27FC236}">
                  <a16:creationId xmlns:a16="http://schemas.microsoft.com/office/drawing/2014/main" id="{B1BEFF66-8552-1A40-B24C-55DCE8448C12}"/>
                </a:ext>
              </a:extLst>
            </p:cNvPr>
            <p:cNvSpPr txBox="1"/>
            <p:nvPr/>
          </p:nvSpPr>
          <p:spPr>
            <a:xfrm>
              <a:off x="-3441189" y="1413908"/>
              <a:ext cx="2217600" cy="2217600"/>
            </a:xfrm>
            <a:prstGeom prst="rect">
              <a:avLst/>
            </a:prstGeom>
            <a:noFill/>
          </p:spPr>
          <p:txBody>
            <a:bodyPr spcFirstLastPara="1" wrap="none" lIns="0" tIns="0" rIns="0" bIns="0" numCol="1" rtlCol="0" anchor="b">
              <a:prstTxWarp prst="textArchDown">
                <a:avLst>
                  <a:gd name="adj" fmla="val 2973384"/>
                </a:avLst>
              </a:prstTxWarp>
              <a:noAutofit/>
            </a:bodyPr>
            <a:lstStyle>
              <a:defPPr>
                <a:defRPr lang="en-US"/>
              </a:defPPr>
              <a:lvl1pPr algn="ctr">
                <a:buSzPct val="100000"/>
                <a:defRPr sz="1000">
                  <a:solidFill>
                    <a:schemeClr val="tx2"/>
                  </a:solidFill>
                </a:defRPr>
              </a:lvl1pPr>
            </a:lstStyle>
            <a:p>
              <a:r>
                <a:rPr lang="en-US" sz="1300" b="1" dirty="0">
                  <a:solidFill>
                    <a:schemeClr val="bg1"/>
                  </a:solidFill>
                </a:rPr>
                <a:t>Lorem ipsum</a:t>
              </a:r>
            </a:p>
            <a:p>
              <a:endParaRPr lang="en-US" sz="1300" b="1" dirty="0">
                <a:solidFill>
                  <a:schemeClr val="bg1"/>
                </a:solidFill>
              </a:endParaRPr>
            </a:p>
          </p:txBody>
        </p:sp>
        <p:sp>
          <p:nvSpPr>
            <p:cNvPr id="40" name="TextBox 39">
              <a:extLst>
                <a:ext uri="{FF2B5EF4-FFF2-40B4-BE49-F238E27FC236}">
                  <a16:creationId xmlns:a16="http://schemas.microsoft.com/office/drawing/2014/main" id="{C571CD2B-A3D5-A04E-A64A-D7361444242A}"/>
                </a:ext>
              </a:extLst>
            </p:cNvPr>
            <p:cNvSpPr txBox="1"/>
            <p:nvPr/>
          </p:nvSpPr>
          <p:spPr>
            <a:xfrm rot="3600000">
              <a:off x="-3441189" y="1414108"/>
              <a:ext cx="2217600" cy="2217201"/>
            </a:xfrm>
            <a:prstGeom prst="rect">
              <a:avLst/>
            </a:prstGeom>
            <a:noFill/>
            <a:ln>
              <a:noFill/>
            </a:ln>
          </p:spPr>
          <p:txBody>
            <a:bodyPr spcFirstLastPara="1" wrap="none" lIns="0" tIns="0" rIns="0" bIns="0" numCol="1" rtlCol="0">
              <a:prstTxWarp prst="textArchUp">
                <a:avLst/>
              </a:prstTxWarp>
              <a:noAutofit/>
            </a:bodyPr>
            <a:lstStyle>
              <a:defPPr>
                <a:defRPr lang="en-US"/>
              </a:defPPr>
              <a:lvl1pPr algn="ctr">
                <a:buSzPct val="100000"/>
                <a:defRPr sz="1000">
                  <a:solidFill>
                    <a:schemeClr val="tx2"/>
                  </a:solidFill>
                </a:defRPr>
              </a:lvl1pPr>
            </a:lstStyle>
            <a:p>
              <a:r>
                <a:rPr lang="en-US" sz="1300" b="1" dirty="0">
                  <a:solidFill>
                    <a:schemeClr val="bg1"/>
                  </a:solidFill>
                </a:rPr>
                <a:t>Lorem ipsum</a:t>
              </a:r>
            </a:p>
          </p:txBody>
        </p:sp>
        <p:sp>
          <p:nvSpPr>
            <p:cNvPr id="41" name="TextBox 40">
              <a:extLst>
                <a:ext uri="{FF2B5EF4-FFF2-40B4-BE49-F238E27FC236}">
                  <a16:creationId xmlns:a16="http://schemas.microsoft.com/office/drawing/2014/main" id="{7ABE09C3-BE4A-1545-811E-B2C89F229C23}"/>
                </a:ext>
              </a:extLst>
            </p:cNvPr>
            <p:cNvSpPr txBox="1"/>
            <p:nvPr/>
          </p:nvSpPr>
          <p:spPr>
            <a:xfrm rot="7200000" flipH="1" flipV="1">
              <a:off x="-3441189" y="1413909"/>
              <a:ext cx="2217600" cy="2217600"/>
            </a:xfrm>
            <a:prstGeom prst="rect">
              <a:avLst/>
            </a:prstGeom>
            <a:noFill/>
          </p:spPr>
          <p:txBody>
            <a:bodyPr spcFirstLastPara="1" wrap="none" lIns="0" tIns="0" rIns="0" bIns="0" numCol="1" rtlCol="0">
              <a:prstTxWarp prst="textArchUp">
                <a:avLst>
                  <a:gd name="adj" fmla="val 13691098"/>
                </a:avLst>
              </a:prstTxWarp>
              <a:noAutofit/>
            </a:bodyPr>
            <a:lstStyle>
              <a:defPPr>
                <a:defRPr lang="en-US"/>
              </a:defPPr>
              <a:lvl1pPr algn="ctr">
                <a:buSzPct val="100000"/>
                <a:defRPr sz="1000">
                  <a:solidFill>
                    <a:schemeClr val="tx2"/>
                  </a:solidFill>
                </a:defRPr>
              </a:lvl1pPr>
            </a:lstStyle>
            <a:p>
              <a:r>
                <a:rPr lang="en-US" sz="1300" b="1" dirty="0">
                  <a:solidFill>
                    <a:schemeClr val="bg1"/>
                  </a:solidFill>
                </a:rPr>
                <a:t>Lorem ipsum</a:t>
              </a:r>
            </a:p>
          </p:txBody>
        </p:sp>
      </p:grpSp>
      <p:grpSp>
        <p:nvGrpSpPr>
          <p:cNvPr id="3" name="Group 2"/>
          <p:cNvGrpSpPr/>
          <p:nvPr/>
        </p:nvGrpSpPr>
        <p:grpSpPr>
          <a:xfrm>
            <a:off x="4345749" y="2056556"/>
            <a:ext cx="3500502" cy="3501585"/>
            <a:chOff x="4225250" y="1485137"/>
            <a:chExt cx="3500502" cy="3501585"/>
          </a:xfrm>
        </p:grpSpPr>
        <p:grpSp>
          <p:nvGrpSpPr>
            <p:cNvPr id="18" name="Group 17">
              <a:extLst>
                <a:ext uri="{FF2B5EF4-FFF2-40B4-BE49-F238E27FC236}">
                  <a16:creationId xmlns:a16="http://schemas.microsoft.com/office/drawing/2014/main" id="{A6B9B66F-4FBF-A54E-B209-FA4C91902EE2}"/>
                </a:ext>
              </a:extLst>
            </p:cNvPr>
            <p:cNvGrpSpPr/>
            <p:nvPr/>
          </p:nvGrpSpPr>
          <p:grpSpPr>
            <a:xfrm>
              <a:off x="4740791" y="1988190"/>
              <a:ext cx="2480480" cy="2480479"/>
              <a:chOff x="4965701" y="2634008"/>
              <a:chExt cx="2230437" cy="2230438"/>
            </a:xfrm>
          </p:grpSpPr>
          <p:sp>
            <p:nvSpPr>
              <p:cNvPr id="19" name="Freeform 6">
                <a:extLst>
                  <a:ext uri="{FF2B5EF4-FFF2-40B4-BE49-F238E27FC236}">
                    <a16:creationId xmlns:a16="http://schemas.microsoft.com/office/drawing/2014/main" id="{09499C62-2536-6243-9105-4305438C3A8E}"/>
                  </a:ext>
                </a:extLst>
              </p:cNvPr>
              <p:cNvSpPr>
                <a:spLocks/>
              </p:cNvSpPr>
              <p:nvPr/>
            </p:nvSpPr>
            <p:spPr bwMode="auto">
              <a:xfrm>
                <a:off x="6081713" y="2634008"/>
                <a:ext cx="1114425" cy="1673225"/>
              </a:xfrm>
              <a:custGeom>
                <a:avLst/>
                <a:gdLst>
                  <a:gd name="T0" fmla="*/ 1250 w 1403"/>
                  <a:gd name="T1" fmla="*/ 2045 h 2109"/>
                  <a:gd name="T2" fmla="*/ 1309 w 1403"/>
                  <a:gd name="T3" fmla="*/ 1915 h 2109"/>
                  <a:gd name="T4" fmla="*/ 1354 w 1403"/>
                  <a:gd name="T5" fmla="*/ 1782 h 2109"/>
                  <a:gd name="T6" fmla="*/ 1384 w 1403"/>
                  <a:gd name="T7" fmla="*/ 1648 h 2109"/>
                  <a:gd name="T8" fmla="*/ 1402 w 1403"/>
                  <a:gd name="T9" fmla="*/ 1512 h 2109"/>
                  <a:gd name="T10" fmla="*/ 1403 w 1403"/>
                  <a:gd name="T11" fmla="*/ 1375 h 2109"/>
                  <a:gd name="T12" fmla="*/ 1394 w 1403"/>
                  <a:gd name="T13" fmla="*/ 1241 h 2109"/>
                  <a:gd name="T14" fmla="*/ 1373 w 1403"/>
                  <a:gd name="T15" fmla="*/ 1108 h 2109"/>
                  <a:gd name="T16" fmla="*/ 1338 w 1403"/>
                  <a:gd name="T17" fmla="*/ 978 h 2109"/>
                  <a:gd name="T18" fmla="*/ 1290 w 1403"/>
                  <a:gd name="T19" fmla="*/ 851 h 2109"/>
                  <a:gd name="T20" fmla="*/ 1231 w 1403"/>
                  <a:gd name="T21" fmla="*/ 730 h 2109"/>
                  <a:gd name="T22" fmla="*/ 1160 w 1403"/>
                  <a:gd name="T23" fmla="*/ 613 h 2109"/>
                  <a:gd name="T24" fmla="*/ 1077 w 1403"/>
                  <a:gd name="T25" fmla="*/ 505 h 2109"/>
                  <a:gd name="T26" fmla="*/ 983 w 1403"/>
                  <a:gd name="T27" fmla="*/ 404 h 2109"/>
                  <a:gd name="T28" fmla="*/ 879 w 1403"/>
                  <a:gd name="T29" fmla="*/ 309 h 2109"/>
                  <a:gd name="T30" fmla="*/ 764 w 1403"/>
                  <a:gd name="T31" fmla="*/ 227 h 2109"/>
                  <a:gd name="T32" fmla="*/ 620 w 1403"/>
                  <a:gd name="T33" fmla="*/ 146 h 2109"/>
                  <a:gd name="T34" fmla="*/ 451 w 1403"/>
                  <a:gd name="T35" fmla="*/ 75 h 2109"/>
                  <a:gd name="T36" fmla="*/ 275 w 1403"/>
                  <a:gd name="T37" fmla="*/ 27 h 2109"/>
                  <a:gd name="T38" fmla="*/ 92 w 1403"/>
                  <a:gd name="T39" fmla="*/ 4 h 2109"/>
                  <a:gd name="T40" fmla="*/ 0 w 1403"/>
                  <a:gd name="T41" fmla="*/ 469 h 2109"/>
                  <a:gd name="T42" fmla="*/ 96 w 1403"/>
                  <a:gd name="T43" fmla="*/ 475 h 2109"/>
                  <a:gd name="T44" fmla="*/ 188 w 1403"/>
                  <a:gd name="T45" fmla="*/ 488 h 2109"/>
                  <a:gd name="T46" fmla="*/ 278 w 1403"/>
                  <a:gd name="T47" fmla="*/ 511 h 2109"/>
                  <a:gd name="T48" fmla="*/ 365 w 1403"/>
                  <a:gd name="T49" fmla="*/ 544 h 2109"/>
                  <a:gd name="T50" fmla="*/ 445 w 1403"/>
                  <a:gd name="T51" fmla="*/ 582 h 2109"/>
                  <a:gd name="T52" fmla="*/ 595 w 1403"/>
                  <a:gd name="T53" fmla="*/ 684 h 2109"/>
                  <a:gd name="T54" fmla="*/ 722 w 1403"/>
                  <a:gd name="T55" fmla="*/ 811 h 2109"/>
                  <a:gd name="T56" fmla="*/ 824 w 1403"/>
                  <a:gd name="T57" fmla="*/ 960 h 2109"/>
                  <a:gd name="T58" fmla="*/ 862 w 1403"/>
                  <a:gd name="T59" fmla="*/ 1041 h 2109"/>
                  <a:gd name="T60" fmla="*/ 895 w 1403"/>
                  <a:gd name="T61" fmla="*/ 1128 h 2109"/>
                  <a:gd name="T62" fmla="*/ 918 w 1403"/>
                  <a:gd name="T63" fmla="*/ 1218 h 2109"/>
                  <a:gd name="T64" fmla="*/ 931 w 1403"/>
                  <a:gd name="T65" fmla="*/ 1310 h 2109"/>
                  <a:gd name="T66" fmla="*/ 937 w 1403"/>
                  <a:gd name="T67" fmla="*/ 1406 h 2109"/>
                  <a:gd name="T68" fmla="*/ 927 w 1403"/>
                  <a:gd name="T69" fmla="*/ 1529 h 2109"/>
                  <a:gd name="T70" fmla="*/ 904 w 1403"/>
                  <a:gd name="T71" fmla="*/ 1648 h 2109"/>
                  <a:gd name="T72" fmla="*/ 866 w 1403"/>
                  <a:gd name="T73" fmla="*/ 1765 h 2109"/>
                  <a:gd name="T74" fmla="*/ 810 w 1403"/>
                  <a:gd name="T75" fmla="*/ 1875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3" h="2109">
                    <a:moveTo>
                      <a:pt x="1215" y="2109"/>
                    </a:moveTo>
                    <a:lnTo>
                      <a:pt x="1250" y="2045"/>
                    </a:lnTo>
                    <a:lnTo>
                      <a:pt x="1283" y="1980"/>
                    </a:lnTo>
                    <a:lnTo>
                      <a:pt x="1309" y="1915"/>
                    </a:lnTo>
                    <a:lnTo>
                      <a:pt x="1332" y="1850"/>
                    </a:lnTo>
                    <a:lnTo>
                      <a:pt x="1354" y="1782"/>
                    </a:lnTo>
                    <a:lnTo>
                      <a:pt x="1371" y="1715"/>
                    </a:lnTo>
                    <a:lnTo>
                      <a:pt x="1384" y="1648"/>
                    </a:lnTo>
                    <a:lnTo>
                      <a:pt x="1394" y="1581"/>
                    </a:lnTo>
                    <a:lnTo>
                      <a:pt x="1402" y="1512"/>
                    </a:lnTo>
                    <a:lnTo>
                      <a:pt x="1403" y="1444"/>
                    </a:lnTo>
                    <a:lnTo>
                      <a:pt x="1403" y="1375"/>
                    </a:lnTo>
                    <a:lnTo>
                      <a:pt x="1402" y="1308"/>
                    </a:lnTo>
                    <a:lnTo>
                      <a:pt x="1394" y="1241"/>
                    </a:lnTo>
                    <a:lnTo>
                      <a:pt x="1386" y="1174"/>
                    </a:lnTo>
                    <a:lnTo>
                      <a:pt x="1373" y="1108"/>
                    </a:lnTo>
                    <a:lnTo>
                      <a:pt x="1357" y="1043"/>
                    </a:lnTo>
                    <a:lnTo>
                      <a:pt x="1338" y="978"/>
                    </a:lnTo>
                    <a:lnTo>
                      <a:pt x="1315" y="914"/>
                    </a:lnTo>
                    <a:lnTo>
                      <a:pt x="1290" y="851"/>
                    </a:lnTo>
                    <a:lnTo>
                      <a:pt x="1261" y="790"/>
                    </a:lnTo>
                    <a:lnTo>
                      <a:pt x="1231" y="730"/>
                    </a:lnTo>
                    <a:lnTo>
                      <a:pt x="1198" y="671"/>
                    </a:lnTo>
                    <a:lnTo>
                      <a:pt x="1160" y="613"/>
                    </a:lnTo>
                    <a:lnTo>
                      <a:pt x="1121" y="559"/>
                    </a:lnTo>
                    <a:lnTo>
                      <a:pt x="1077" y="505"/>
                    </a:lnTo>
                    <a:lnTo>
                      <a:pt x="1033" y="454"/>
                    </a:lnTo>
                    <a:lnTo>
                      <a:pt x="983" y="404"/>
                    </a:lnTo>
                    <a:lnTo>
                      <a:pt x="933" y="356"/>
                    </a:lnTo>
                    <a:lnTo>
                      <a:pt x="879" y="309"/>
                    </a:lnTo>
                    <a:lnTo>
                      <a:pt x="824" y="267"/>
                    </a:lnTo>
                    <a:lnTo>
                      <a:pt x="764" y="227"/>
                    </a:lnTo>
                    <a:lnTo>
                      <a:pt x="703" y="189"/>
                    </a:lnTo>
                    <a:lnTo>
                      <a:pt x="620" y="146"/>
                    </a:lnTo>
                    <a:lnTo>
                      <a:pt x="538" y="108"/>
                    </a:lnTo>
                    <a:lnTo>
                      <a:pt x="451" y="75"/>
                    </a:lnTo>
                    <a:lnTo>
                      <a:pt x="363" y="48"/>
                    </a:lnTo>
                    <a:lnTo>
                      <a:pt x="275" y="27"/>
                    </a:lnTo>
                    <a:lnTo>
                      <a:pt x="182" y="14"/>
                    </a:lnTo>
                    <a:lnTo>
                      <a:pt x="92" y="4"/>
                    </a:lnTo>
                    <a:lnTo>
                      <a:pt x="0" y="0"/>
                    </a:lnTo>
                    <a:lnTo>
                      <a:pt x="0" y="469"/>
                    </a:lnTo>
                    <a:lnTo>
                      <a:pt x="48" y="471"/>
                    </a:lnTo>
                    <a:lnTo>
                      <a:pt x="96" y="475"/>
                    </a:lnTo>
                    <a:lnTo>
                      <a:pt x="142" y="480"/>
                    </a:lnTo>
                    <a:lnTo>
                      <a:pt x="188" y="488"/>
                    </a:lnTo>
                    <a:lnTo>
                      <a:pt x="234" y="500"/>
                    </a:lnTo>
                    <a:lnTo>
                      <a:pt x="278" y="511"/>
                    </a:lnTo>
                    <a:lnTo>
                      <a:pt x="321" y="526"/>
                    </a:lnTo>
                    <a:lnTo>
                      <a:pt x="365" y="544"/>
                    </a:lnTo>
                    <a:lnTo>
                      <a:pt x="405" y="561"/>
                    </a:lnTo>
                    <a:lnTo>
                      <a:pt x="445" y="582"/>
                    </a:lnTo>
                    <a:lnTo>
                      <a:pt x="524" y="630"/>
                    </a:lnTo>
                    <a:lnTo>
                      <a:pt x="595" y="684"/>
                    </a:lnTo>
                    <a:lnTo>
                      <a:pt x="662" y="743"/>
                    </a:lnTo>
                    <a:lnTo>
                      <a:pt x="722" y="811"/>
                    </a:lnTo>
                    <a:lnTo>
                      <a:pt x="776" y="882"/>
                    </a:lnTo>
                    <a:lnTo>
                      <a:pt x="824" y="960"/>
                    </a:lnTo>
                    <a:lnTo>
                      <a:pt x="843" y="1001"/>
                    </a:lnTo>
                    <a:lnTo>
                      <a:pt x="862" y="1041"/>
                    </a:lnTo>
                    <a:lnTo>
                      <a:pt x="879" y="1083"/>
                    </a:lnTo>
                    <a:lnTo>
                      <a:pt x="895" y="1128"/>
                    </a:lnTo>
                    <a:lnTo>
                      <a:pt x="906" y="1172"/>
                    </a:lnTo>
                    <a:lnTo>
                      <a:pt x="918" y="1218"/>
                    </a:lnTo>
                    <a:lnTo>
                      <a:pt x="925" y="1264"/>
                    </a:lnTo>
                    <a:lnTo>
                      <a:pt x="931" y="1310"/>
                    </a:lnTo>
                    <a:lnTo>
                      <a:pt x="935" y="1358"/>
                    </a:lnTo>
                    <a:lnTo>
                      <a:pt x="937" y="1406"/>
                    </a:lnTo>
                    <a:lnTo>
                      <a:pt x="935" y="1467"/>
                    </a:lnTo>
                    <a:lnTo>
                      <a:pt x="927" y="1529"/>
                    </a:lnTo>
                    <a:lnTo>
                      <a:pt x="918" y="1588"/>
                    </a:lnTo>
                    <a:lnTo>
                      <a:pt x="904" y="1648"/>
                    </a:lnTo>
                    <a:lnTo>
                      <a:pt x="887" y="1707"/>
                    </a:lnTo>
                    <a:lnTo>
                      <a:pt x="866" y="1765"/>
                    </a:lnTo>
                    <a:lnTo>
                      <a:pt x="839" y="1821"/>
                    </a:lnTo>
                    <a:lnTo>
                      <a:pt x="810" y="1875"/>
                    </a:lnTo>
                    <a:lnTo>
                      <a:pt x="1215" y="2109"/>
                    </a:lnTo>
                    <a:close/>
                  </a:path>
                </a:pathLst>
              </a:custGeom>
              <a:solidFill>
                <a:srgbClr val="000000"/>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sp>
            <p:nvSpPr>
              <p:cNvPr id="20" name="Freeform 7">
                <a:extLst>
                  <a:ext uri="{FF2B5EF4-FFF2-40B4-BE49-F238E27FC236}">
                    <a16:creationId xmlns:a16="http://schemas.microsoft.com/office/drawing/2014/main" id="{71DE9B98-75E6-0F4F-A95E-4D2EA2640650}"/>
                  </a:ext>
                </a:extLst>
              </p:cNvPr>
              <p:cNvSpPr>
                <a:spLocks/>
              </p:cNvSpPr>
              <p:nvPr/>
            </p:nvSpPr>
            <p:spPr bwMode="auto">
              <a:xfrm>
                <a:off x="5114926" y="4121496"/>
                <a:ext cx="1931987" cy="742950"/>
              </a:xfrm>
              <a:custGeom>
                <a:avLst/>
                <a:gdLst>
                  <a:gd name="T0" fmla="*/ 38 w 2432"/>
                  <a:gd name="T1" fmla="*/ 295 h 937"/>
                  <a:gd name="T2" fmla="*/ 121 w 2432"/>
                  <a:gd name="T3" fmla="*/ 411 h 937"/>
                  <a:gd name="T4" fmla="*/ 213 w 2432"/>
                  <a:gd name="T5" fmla="*/ 516 h 937"/>
                  <a:gd name="T6" fmla="*/ 315 w 2432"/>
                  <a:gd name="T7" fmla="*/ 610 h 937"/>
                  <a:gd name="T8" fmla="*/ 424 w 2432"/>
                  <a:gd name="T9" fmla="*/ 693 h 937"/>
                  <a:gd name="T10" fmla="*/ 539 w 2432"/>
                  <a:gd name="T11" fmla="*/ 764 h 937"/>
                  <a:gd name="T12" fmla="*/ 662 w 2432"/>
                  <a:gd name="T13" fmla="*/ 821 h 937"/>
                  <a:gd name="T14" fmla="*/ 789 w 2432"/>
                  <a:gd name="T15" fmla="*/ 869 h 937"/>
                  <a:gd name="T16" fmla="*/ 917 w 2432"/>
                  <a:gd name="T17" fmla="*/ 904 h 937"/>
                  <a:gd name="T18" fmla="*/ 1052 w 2432"/>
                  <a:gd name="T19" fmla="*/ 927 h 937"/>
                  <a:gd name="T20" fmla="*/ 1186 w 2432"/>
                  <a:gd name="T21" fmla="*/ 937 h 937"/>
                  <a:gd name="T22" fmla="*/ 1323 w 2432"/>
                  <a:gd name="T23" fmla="*/ 933 h 937"/>
                  <a:gd name="T24" fmla="*/ 1457 w 2432"/>
                  <a:gd name="T25" fmla="*/ 916 h 937"/>
                  <a:gd name="T26" fmla="*/ 1593 w 2432"/>
                  <a:gd name="T27" fmla="*/ 885 h 937"/>
                  <a:gd name="T28" fmla="*/ 1726 w 2432"/>
                  <a:gd name="T29" fmla="*/ 841 h 937"/>
                  <a:gd name="T30" fmla="*/ 1856 w 2432"/>
                  <a:gd name="T31" fmla="*/ 783 h 937"/>
                  <a:gd name="T32" fmla="*/ 1996 w 2432"/>
                  <a:gd name="T33" fmla="*/ 699 h 937"/>
                  <a:gd name="T34" fmla="*/ 2142 w 2432"/>
                  <a:gd name="T35" fmla="*/ 587 h 937"/>
                  <a:gd name="T36" fmla="*/ 2273 w 2432"/>
                  <a:gd name="T37" fmla="*/ 459 h 937"/>
                  <a:gd name="T38" fmla="*/ 2384 w 2432"/>
                  <a:gd name="T39" fmla="*/ 313 h 937"/>
                  <a:gd name="T40" fmla="*/ 2027 w 2432"/>
                  <a:gd name="T41" fmla="*/ 0 h 937"/>
                  <a:gd name="T42" fmla="*/ 1916 w 2432"/>
                  <a:gd name="T43" fmla="*/ 153 h 937"/>
                  <a:gd name="T44" fmla="*/ 1781 w 2432"/>
                  <a:gd name="T45" fmla="*/ 278 h 937"/>
                  <a:gd name="T46" fmla="*/ 1707 w 2432"/>
                  <a:gd name="T47" fmla="*/ 330 h 937"/>
                  <a:gd name="T48" fmla="*/ 1628 w 2432"/>
                  <a:gd name="T49" fmla="*/ 374 h 937"/>
                  <a:gd name="T50" fmla="*/ 1545 w 2432"/>
                  <a:gd name="T51" fmla="*/ 409 h 937"/>
                  <a:gd name="T52" fmla="*/ 1459 w 2432"/>
                  <a:gd name="T53" fmla="*/ 435 h 937"/>
                  <a:gd name="T54" fmla="*/ 1371 w 2432"/>
                  <a:gd name="T55" fmla="*/ 455 h 937"/>
                  <a:gd name="T56" fmla="*/ 1282 w 2432"/>
                  <a:gd name="T57" fmla="*/ 466 h 937"/>
                  <a:gd name="T58" fmla="*/ 1192 w 2432"/>
                  <a:gd name="T59" fmla="*/ 468 h 937"/>
                  <a:gd name="T60" fmla="*/ 1100 w 2432"/>
                  <a:gd name="T61" fmla="*/ 460 h 937"/>
                  <a:gd name="T62" fmla="*/ 1010 w 2432"/>
                  <a:gd name="T63" fmla="*/ 445 h 937"/>
                  <a:gd name="T64" fmla="*/ 921 w 2432"/>
                  <a:gd name="T65" fmla="*/ 420 h 937"/>
                  <a:gd name="T66" fmla="*/ 833 w 2432"/>
                  <a:gd name="T67" fmla="*/ 386 h 937"/>
                  <a:gd name="T68" fmla="*/ 748 w 2432"/>
                  <a:gd name="T69" fmla="*/ 343 h 937"/>
                  <a:gd name="T70" fmla="*/ 647 w 2432"/>
                  <a:gd name="T71" fmla="*/ 274 h 937"/>
                  <a:gd name="T72" fmla="*/ 555 w 2432"/>
                  <a:gd name="T73" fmla="*/ 194 h 937"/>
                  <a:gd name="T74" fmla="*/ 474 w 2432"/>
                  <a:gd name="T75" fmla="*/ 101 h 937"/>
                  <a:gd name="T76" fmla="*/ 405 w 2432"/>
                  <a:gd name="T77"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32" h="937">
                    <a:moveTo>
                      <a:pt x="0" y="234"/>
                    </a:moveTo>
                    <a:lnTo>
                      <a:pt x="38" y="295"/>
                    </a:lnTo>
                    <a:lnTo>
                      <a:pt x="78" y="355"/>
                    </a:lnTo>
                    <a:lnTo>
                      <a:pt x="121" y="411"/>
                    </a:lnTo>
                    <a:lnTo>
                      <a:pt x="167" y="464"/>
                    </a:lnTo>
                    <a:lnTo>
                      <a:pt x="213" y="516"/>
                    </a:lnTo>
                    <a:lnTo>
                      <a:pt x="263" y="564"/>
                    </a:lnTo>
                    <a:lnTo>
                      <a:pt x="315" y="610"/>
                    </a:lnTo>
                    <a:lnTo>
                      <a:pt x="368" y="652"/>
                    </a:lnTo>
                    <a:lnTo>
                      <a:pt x="424" y="693"/>
                    </a:lnTo>
                    <a:lnTo>
                      <a:pt x="482" y="729"/>
                    </a:lnTo>
                    <a:lnTo>
                      <a:pt x="539" y="764"/>
                    </a:lnTo>
                    <a:lnTo>
                      <a:pt x="601" y="795"/>
                    </a:lnTo>
                    <a:lnTo>
                      <a:pt x="662" y="821"/>
                    </a:lnTo>
                    <a:lnTo>
                      <a:pt x="724" y="848"/>
                    </a:lnTo>
                    <a:lnTo>
                      <a:pt x="789" y="869"/>
                    </a:lnTo>
                    <a:lnTo>
                      <a:pt x="852" y="889"/>
                    </a:lnTo>
                    <a:lnTo>
                      <a:pt x="917" y="904"/>
                    </a:lnTo>
                    <a:lnTo>
                      <a:pt x="985" y="917"/>
                    </a:lnTo>
                    <a:lnTo>
                      <a:pt x="1052" y="927"/>
                    </a:lnTo>
                    <a:lnTo>
                      <a:pt x="1119" y="933"/>
                    </a:lnTo>
                    <a:lnTo>
                      <a:pt x="1186" y="937"/>
                    </a:lnTo>
                    <a:lnTo>
                      <a:pt x="1253" y="937"/>
                    </a:lnTo>
                    <a:lnTo>
                      <a:pt x="1323" y="933"/>
                    </a:lnTo>
                    <a:lnTo>
                      <a:pt x="1390" y="925"/>
                    </a:lnTo>
                    <a:lnTo>
                      <a:pt x="1457" y="916"/>
                    </a:lnTo>
                    <a:lnTo>
                      <a:pt x="1526" y="902"/>
                    </a:lnTo>
                    <a:lnTo>
                      <a:pt x="1593" y="885"/>
                    </a:lnTo>
                    <a:lnTo>
                      <a:pt x="1659" y="866"/>
                    </a:lnTo>
                    <a:lnTo>
                      <a:pt x="1726" y="841"/>
                    </a:lnTo>
                    <a:lnTo>
                      <a:pt x="1791" y="814"/>
                    </a:lnTo>
                    <a:lnTo>
                      <a:pt x="1856" y="783"/>
                    </a:lnTo>
                    <a:lnTo>
                      <a:pt x="1920" y="748"/>
                    </a:lnTo>
                    <a:lnTo>
                      <a:pt x="1996" y="699"/>
                    </a:lnTo>
                    <a:lnTo>
                      <a:pt x="2071" y="647"/>
                    </a:lnTo>
                    <a:lnTo>
                      <a:pt x="2142" y="587"/>
                    </a:lnTo>
                    <a:lnTo>
                      <a:pt x="2210" y="526"/>
                    </a:lnTo>
                    <a:lnTo>
                      <a:pt x="2273" y="459"/>
                    </a:lnTo>
                    <a:lnTo>
                      <a:pt x="2331" y="387"/>
                    </a:lnTo>
                    <a:lnTo>
                      <a:pt x="2384" y="313"/>
                    </a:lnTo>
                    <a:lnTo>
                      <a:pt x="2432" y="234"/>
                    </a:lnTo>
                    <a:lnTo>
                      <a:pt x="2027" y="0"/>
                    </a:lnTo>
                    <a:lnTo>
                      <a:pt x="1975" y="80"/>
                    </a:lnTo>
                    <a:lnTo>
                      <a:pt x="1916" y="153"/>
                    </a:lnTo>
                    <a:lnTo>
                      <a:pt x="1852" y="220"/>
                    </a:lnTo>
                    <a:lnTo>
                      <a:pt x="1781" y="278"/>
                    </a:lnTo>
                    <a:lnTo>
                      <a:pt x="1745" y="305"/>
                    </a:lnTo>
                    <a:lnTo>
                      <a:pt x="1707" y="330"/>
                    </a:lnTo>
                    <a:lnTo>
                      <a:pt x="1668" y="353"/>
                    </a:lnTo>
                    <a:lnTo>
                      <a:pt x="1628" y="374"/>
                    </a:lnTo>
                    <a:lnTo>
                      <a:pt x="1586" y="391"/>
                    </a:lnTo>
                    <a:lnTo>
                      <a:pt x="1545" y="409"/>
                    </a:lnTo>
                    <a:lnTo>
                      <a:pt x="1501" y="424"/>
                    </a:lnTo>
                    <a:lnTo>
                      <a:pt x="1459" y="435"/>
                    </a:lnTo>
                    <a:lnTo>
                      <a:pt x="1415" y="447"/>
                    </a:lnTo>
                    <a:lnTo>
                      <a:pt x="1371" y="455"/>
                    </a:lnTo>
                    <a:lnTo>
                      <a:pt x="1326" y="462"/>
                    </a:lnTo>
                    <a:lnTo>
                      <a:pt x="1282" y="466"/>
                    </a:lnTo>
                    <a:lnTo>
                      <a:pt x="1236" y="468"/>
                    </a:lnTo>
                    <a:lnTo>
                      <a:pt x="1192" y="468"/>
                    </a:lnTo>
                    <a:lnTo>
                      <a:pt x="1146" y="466"/>
                    </a:lnTo>
                    <a:lnTo>
                      <a:pt x="1100" y="460"/>
                    </a:lnTo>
                    <a:lnTo>
                      <a:pt x="1056" y="455"/>
                    </a:lnTo>
                    <a:lnTo>
                      <a:pt x="1010" y="445"/>
                    </a:lnTo>
                    <a:lnTo>
                      <a:pt x="965" y="434"/>
                    </a:lnTo>
                    <a:lnTo>
                      <a:pt x="921" y="420"/>
                    </a:lnTo>
                    <a:lnTo>
                      <a:pt x="877" y="405"/>
                    </a:lnTo>
                    <a:lnTo>
                      <a:pt x="833" y="386"/>
                    </a:lnTo>
                    <a:lnTo>
                      <a:pt x="791" y="366"/>
                    </a:lnTo>
                    <a:lnTo>
                      <a:pt x="748" y="343"/>
                    </a:lnTo>
                    <a:lnTo>
                      <a:pt x="697" y="311"/>
                    </a:lnTo>
                    <a:lnTo>
                      <a:pt x="647" y="274"/>
                    </a:lnTo>
                    <a:lnTo>
                      <a:pt x="599" y="236"/>
                    </a:lnTo>
                    <a:lnTo>
                      <a:pt x="555" y="194"/>
                    </a:lnTo>
                    <a:lnTo>
                      <a:pt x="512" y="149"/>
                    </a:lnTo>
                    <a:lnTo>
                      <a:pt x="474" y="101"/>
                    </a:lnTo>
                    <a:lnTo>
                      <a:pt x="437" y="51"/>
                    </a:lnTo>
                    <a:lnTo>
                      <a:pt x="405" y="0"/>
                    </a:lnTo>
                    <a:lnTo>
                      <a:pt x="0" y="234"/>
                    </a:lnTo>
                    <a:close/>
                  </a:path>
                </a:pathLst>
              </a:custGeom>
              <a:solidFill>
                <a:schemeClr val="accent4"/>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sp>
            <p:nvSpPr>
              <p:cNvPr id="21" name="Freeform 8">
                <a:extLst>
                  <a:ext uri="{FF2B5EF4-FFF2-40B4-BE49-F238E27FC236}">
                    <a16:creationId xmlns:a16="http://schemas.microsoft.com/office/drawing/2014/main" id="{9E6F17D5-5051-3848-939F-0228699AF995}"/>
                  </a:ext>
                </a:extLst>
              </p:cNvPr>
              <p:cNvSpPr>
                <a:spLocks/>
              </p:cNvSpPr>
              <p:nvPr/>
            </p:nvSpPr>
            <p:spPr bwMode="auto">
              <a:xfrm>
                <a:off x="4965701" y="2634008"/>
                <a:ext cx="1116012" cy="1673225"/>
              </a:xfrm>
              <a:custGeom>
                <a:avLst/>
                <a:gdLst>
                  <a:gd name="T0" fmla="*/ 1332 w 1405"/>
                  <a:gd name="T1" fmla="*/ 2 h 2109"/>
                  <a:gd name="T2" fmla="*/ 1190 w 1405"/>
                  <a:gd name="T3" fmla="*/ 18 h 2109"/>
                  <a:gd name="T4" fmla="*/ 1054 w 1405"/>
                  <a:gd name="T5" fmla="*/ 44 h 2109"/>
                  <a:gd name="T6" fmla="*/ 921 w 1405"/>
                  <a:gd name="T7" fmla="*/ 87 h 2109"/>
                  <a:gd name="T8" fmla="*/ 794 w 1405"/>
                  <a:gd name="T9" fmla="*/ 139 h 2109"/>
                  <a:gd name="T10" fmla="*/ 675 w 1405"/>
                  <a:gd name="T11" fmla="*/ 204 h 2109"/>
                  <a:gd name="T12" fmla="*/ 564 w 1405"/>
                  <a:gd name="T13" fmla="*/ 281 h 2109"/>
                  <a:gd name="T14" fmla="*/ 460 w 1405"/>
                  <a:gd name="T15" fmla="*/ 365 h 2109"/>
                  <a:gd name="T16" fmla="*/ 364 w 1405"/>
                  <a:gd name="T17" fmla="*/ 461 h 2109"/>
                  <a:gd name="T18" fmla="*/ 278 w 1405"/>
                  <a:gd name="T19" fmla="*/ 565 h 2109"/>
                  <a:gd name="T20" fmla="*/ 203 w 1405"/>
                  <a:gd name="T21" fmla="*/ 676 h 2109"/>
                  <a:gd name="T22" fmla="*/ 138 w 1405"/>
                  <a:gd name="T23" fmla="*/ 797 h 2109"/>
                  <a:gd name="T24" fmla="*/ 84 w 1405"/>
                  <a:gd name="T25" fmla="*/ 922 h 2109"/>
                  <a:gd name="T26" fmla="*/ 44 w 1405"/>
                  <a:gd name="T27" fmla="*/ 1055 h 2109"/>
                  <a:gd name="T28" fmla="*/ 15 w 1405"/>
                  <a:gd name="T29" fmla="*/ 1193 h 2109"/>
                  <a:gd name="T30" fmla="*/ 1 w 1405"/>
                  <a:gd name="T31" fmla="*/ 1333 h 2109"/>
                  <a:gd name="T32" fmla="*/ 1 w 1405"/>
                  <a:gd name="T33" fmla="*/ 1498 h 2109"/>
                  <a:gd name="T34" fmla="*/ 26 w 1405"/>
                  <a:gd name="T35" fmla="*/ 1681 h 2109"/>
                  <a:gd name="T36" fmla="*/ 74 w 1405"/>
                  <a:gd name="T37" fmla="*/ 1857 h 2109"/>
                  <a:gd name="T38" fmla="*/ 144 w 1405"/>
                  <a:gd name="T39" fmla="*/ 2026 h 2109"/>
                  <a:gd name="T40" fmla="*/ 593 w 1405"/>
                  <a:gd name="T41" fmla="*/ 1875 h 2109"/>
                  <a:gd name="T42" fmla="*/ 549 w 1405"/>
                  <a:gd name="T43" fmla="*/ 1788 h 2109"/>
                  <a:gd name="T44" fmla="*/ 516 w 1405"/>
                  <a:gd name="T45" fmla="*/ 1702 h 2109"/>
                  <a:gd name="T46" fmla="*/ 491 w 1405"/>
                  <a:gd name="T47" fmla="*/ 1611 h 2109"/>
                  <a:gd name="T48" fmla="*/ 474 w 1405"/>
                  <a:gd name="T49" fmla="*/ 1521 h 2109"/>
                  <a:gd name="T50" fmla="*/ 468 w 1405"/>
                  <a:gd name="T51" fmla="*/ 1431 h 2109"/>
                  <a:gd name="T52" fmla="*/ 470 w 1405"/>
                  <a:gd name="T53" fmla="*/ 1341 h 2109"/>
                  <a:gd name="T54" fmla="*/ 480 w 1405"/>
                  <a:gd name="T55" fmla="*/ 1250 h 2109"/>
                  <a:gd name="T56" fmla="*/ 499 w 1405"/>
                  <a:gd name="T57" fmla="*/ 1164 h 2109"/>
                  <a:gd name="T58" fmla="*/ 528 w 1405"/>
                  <a:gd name="T59" fmla="*/ 1078 h 2109"/>
                  <a:gd name="T60" fmla="*/ 562 w 1405"/>
                  <a:gd name="T61" fmla="*/ 995 h 2109"/>
                  <a:gd name="T62" fmla="*/ 606 w 1405"/>
                  <a:gd name="T63" fmla="*/ 916 h 2109"/>
                  <a:gd name="T64" fmla="*/ 656 w 1405"/>
                  <a:gd name="T65" fmla="*/ 841 h 2109"/>
                  <a:gd name="T66" fmla="*/ 783 w 1405"/>
                  <a:gd name="T67" fmla="*/ 705 h 2109"/>
                  <a:gd name="T68" fmla="*/ 936 w 1405"/>
                  <a:gd name="T69" fmla="*/ 594 h 2109"/>
                  <a:gd name="T70" fmla="*/ 1046 w 1405"/>
                  <a:gd name="T71" fmla="*/ 540 h 2109"/>
                  <a:gd name="T72" fmla="*/ 1161 w 1405"/>
                  <a:gd name="T73" fmla="*/ 502 h 2109"/>
                  <a:gd name="T74" fmla="*/ 1282 w 1405"/>
                  <a:gd name="T75" fmla="*/ 477 h 2109"/>
                  <a:gd name="T76" fmla="*/ 1405 w 1405"/>
                  <a:gd name="T77" fmla="*/ 469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5" h="2109">
                    <a:moveTo>
                      <a:pt x="1405" y="0"/>
                    </a:moveTo>
                    <a:lnTo>
                      <a:pt x="1332" y="2"/>
                    </a:lnTo>
                    <a:lnTo>
                      <a:pt x="1261" y="8"/>
                    </a:lnTo>
                    <a:lnTo>
                      <a:pt x="1190" y="18"/>
                    </a:lnTo>
                    <a:lnTo>
                      <a:pt x="1121" y="29"/>
                    </a:lnTo>
                    <a:lnTo>
                      <a:pt x="1054" y="44"/>
                    </a:lnTo>
                    <a:lnTo>
                      <a:pt x="986" y="64"/>
                    </a:lnTo>
                    <a:lnTo>
                      <a:pt x="921" y="87"/>
                    </a:lnTo>
                    <a:lnTo>
                      <a:pt x="858" y="112"/>
                    </a:lnTo>
                    <a:lnTo>
                      <a:pt x="794" y="139"/>
                    </a:lnTo>
                    <a:lnTo>
                      <a:pt x="735" y="169"/>
                    </a:lnTo>
                    <a:lnTo>
                      <a:pt x="675" y="204"/>
                    </a:lnTo>
                    <a:lnTo>
                      <a:pt x="618" y="240"/>
                    </a:lnTo>
                    <a:lnTo>
                      <a:pt x="564" y="281"/>
                    </a:lnTo>
                    <a:lnTo>
                      <a:pt x="510" y="321"/>
                    </a:lnTo>
                    <a:lnTo>
                      <a:pt x="460" y="365"/>
                    </a:lnTo>
                    <a:lnTo>
                      <a:pt x="410" y="411"/>
                    </a:lnTo>
                    <a:lnTo>
                      <a:pt x="364" y="461"/>
                    </a:lnTo>
                    <a:lnTo>
                      <a:pt x="320" y="511"/>
                    </a:lnTo>
                    <a:lnTo>
                      <a:pt x="278" y="565"/>
                    </a:lnTo>
                    <a:lnTo>
                      <a:pt x="240" y="621"/>
                    </a:lnTo>
                    <a:lnTo>
                      <a:pt x="203" y="676"/>
                    </a:lnTo>
                    <a:lnTo>
                      <a:pt x="168" y="736"/>
                    </a:lnTo>
                    <a:lnTo>
                      <a:pt x="138" y="797"/>
                    </a:lnTo>
                    <a:lnTo>
                      <a:pt x="109" y="859"/>
                    </a:lnTo>
                    <a:lnTo>
                      <a:pt x="84" y="922"/>
                    </a:lnTo>
                    <a:lnTo>
                      <a:pt x="63" y="987"/>
                    </a:lnTo>
                    <a:lnTo>
                      <a:pt x="44" y="1055"/>
                    </a:lnTo>
                    <a:lnTo>
                      <a:pt x="28" y="1122"/>
                    </a:lnTo>
                    <a:lnTo>
                      <a:pt x="15" y="1193"/>
                    </a:lnTo>
                    <a:lnTo>
                      <a:pt x="7" y="1262"/>
                    </a:lnTo>
                    <a:lnTo>
                      <a:pt x="1" y="1333"/>
                    </a:lnTo>
                    <a:lnTo>
                      <a:pt x="0" y="1406"/>
                    </a:lnTo>
                    <a:lnTo>
                      <a:pt x="1" y="1498"/>
                    </a:lnTo>
                    <a:lnTo>
                      <a:pt x="11" y="1590"/>
                    </a:lnTo>
                    <a:lnTo>
                      <a:pt x="26" y="1681"/>
                    </a:lnTo>
                    <a:lnTo>
                      <a:pt x="48" y="1769"/>
                    </a:lnTo>
                    <a:lnTo>
                      <a:pt x="74" y="1857"/>
                    </a:lnTo>
                    <a:lnTo>
                      <a:pt x="105" y="1944"/>
                    </a:lnTo>
                    <a:lnTo>
                      <a:pt x="144" y="2026"/>
                    </a:lnTo>
                    <a:lnTo>
                      <a:pt x="188" y="2109"/>
                    </a:lnTo>
                    <a:lnTo>
                      <a:pt x="593" y="1875"/>
                    </a:lnTo>
                    <a:lnTo>
                      <a:pt x="570" y="1832"/>
                    </a:lnTo>
                    <a:lnTo>
                      <a:pt x="549" y="1788"/>
                    </a:lnTo>
                    <a:lnTo>
                      <a:pt x="531" y="1746"/>
                    </a:lnTo>
                    <a:lnTo>
                      <a:pt x="516" y="1702"/>
                    </a:lnTo>
                    <a:lnTo>
                      <a:pt x="501" y="1658"/>
                    </a:lnTo>
                    <a:lnTo>
                      <a:pt x="491" y="1611"/>
                    </a:lnTo>
                    <a:lnTo>
                      <a:pt x="481" y="1567"/>
                    </a:lnTo>
                    <a:lnTo>
                      <a:pt x="474" y="1521"/>
                    </a:lnTo>
                    <a:lnTo>
                      <a:pt x="470" y="1477"/>
                    </a:lnTo>
                    <a:lnTo>
                      <a:pt x="468" y="1431"/>
                    </a:lnTo>
                    <a:lnTo>
                      <a:pt x="468" y="1385"/>
                    </a:lnTo>
                    <a:lnTo>
                      <a:pt x="470" y="1341"/>
                    </a:lnTo>
                    <a:lnTo>
                      <a:pt x="474" y="1297"/>
                    </a:lnTo>
                    <a:lnTo>
                      <a:pt x="480" y="1250"/>
                    </a:lnTo>
                    <a:lnTo>
                      <a:pt x="489" y="1206"/>
                    </a:lnTo>
                    <a:lnTo>
                      <a:pt x="499" y="1164"/>
                    </a:lnTo>
                    <a:lnTo>
                      <a:pt x="512" y="1120"/>
                    </a:lnTo>
                    <a:lnTo>
                      <a:pt x="528" y="1078"/>
                    </a:lnTo>
                    <a:lnTo>
                      <a:pt x="543" y="1035"/>
                    </a:lnTo>
                    <a:lnTo>
                      <a:pt x="562" y="995"/>
                    </a:lnTo>
                    <a:lnTo>
                      <a:pt x="583" y="955"/>
                    </a:lnTo>
                    <a:lnTo>
                      <a:pt x="606" y="916"/>
                    </a:lnTo>
                    <a:lnTo>
                      <a:pt x="631" y="878"/>
                    </a:lnTo>
                    <a:lnTo>
                      <a:pt x="656" y="841"/>
                    </a:lnTo>
                    <a:lnTo>
                      <a:pt x="716" y="770"/>
                    </a:lnTo>
                    <a:lnTo>
                      <a:pt x="783" y="705"/>
                    </a:lnTo>
                    <a:lnTo>
                      <a:pt x="856" y="647"/>
                    </a:lnTo>
                    <a:lnTo>
                      <a:pt x="936" y="594"/>
                    </a:lnTo>
                    <a:lnTo>
                      <a:pt x="990" y="565"/>
                    </a:lnTo>
                    <a:lnTo>
                      <a:pt x="1046" y="540"/>
                    </a:lnTo>
                    <a:lnTo>
                      <a:pt x="1104" y="519"/>
                    </a:lnTo>
                    <a:lnTo>
                      <a:pt x="1161" y="502"/>
                    </a:lnTo>
                    <a:lnTo>
                      <a:pt x="1221" y="486"/>
                    </a:lnTo>
                    <a:lnTo>
                      <a:pt x="1282" y="477"/>
                    </a:lnTo>
                    <a:lnTo>
                      <a:pt x="1344" y="471"/>
                    </a:lnTo>
                    <a:lnTo>
                      <a:pt x="1405" y="469"/>
                    </a:lnTo>
                    <a:lnTo>
                      <a:pt x="1405" y="0"/>
                    </a:lnTo>
                    <a:close/>
                  </a:path>
                </a:pathLst>
              </a:custGeom>
              <a:solidFill>
                <a:schemeClr val="accent3"/>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grpSp>
        <p:sp>
          <p:nvSpPr>
            <p:cNvPr id="22" name="Oval 21">
              <a:extLst>
                <a:ext uri="{FF2B5EF4-FFF2-40B4-BE49-F238E27FC236}">
                  <a16:creationId xmlns:a16="http://schemas.microsoft.com/office/drawing/2014/main" id="{582D1516-6136-6147-9290-59B781AC96E3}"/>
                </a:ext>
              </a:extLst>
            </p:cNvPr>
            <p:cNvSpPr/>
            <p:nvPr/>
          </p:nvSpPr>
          <p:spPr bwMode="gray">
            <a:xfrm>
              <a:off x="5240955" y="2488354"/>
              <a:ext cx="1480150" cy="1480150"/>
            </a:xfrm>
            <a:prstGeom prst="ellipse">
              <a:avLst/>
            </a:prstGeom>
            <a:solidFill>
              <a:srgbClr val="FFFFFF"/>
            </a:solidFill>
            <a:ln w="19050" algn="ctr">
              <a:noFill/>
              <a:miter lim="800000"/>
              <a:headEnd/>
              <a:tailEnd/>
            </a:ln>
          </p:spPr>
          <p:txBody>
            <a:bodyPr wrap="square" lIns="66840" tIns="66840" rIns="66840" bIns="66840" rtlCol="0" anchor="t"/>
            <a:lstStyle/>
            <a:p>
              <a:pPr algn="ctr">
                <a:buFont typeface="Wingdings 2" pitchFamily="18" charset="2"/>
                <a:buNone/>
              </a:pPr>
              <a:r>
                <a:rPr lang="en-US" sz="1600" b="1" dirty="0">
                  <a:solidFill>
                    <a:srgbClr val="43B02A"/>
                  </a:solidFill>
                </a:rPr>
                <a:t>Design</a:t>
              </a:r>
            </a:p>
          </p:txBody>
        </p:sp>
        <p:sp>
          <p:nvSpPr>
            <p:cNvPr id="32" name="Freeform 36">
              <a:extLst>
                <a:ext uri="{FF2B5EF4-FFF2-40B4-BE49-F238E27FC236}">
                  <a16:creationId xmlns:a16="http://schemas.microsoft.com/office/drawing/2014/main" id="{50119A08-76FF-9644-B8EB-AECE3CB0CB71}"/>
                </a:ext>
              </a:extLst>
            </p:cNvPr>
            <p:cNvSpPr>
              <a:spLocks/>
            </p:cNvSpPr>
            <p:nvPr/>
          </p:nvSpPr>
          <p:spPr bwMode="auto">
            <a:xfrm>
              <a:off x="5974958" y="1485138"/>
              <a:ext cx="875938" cy="584321"/>
            </a:xfrm>
            <a:custGeom>
              <a:avLst/>
              <a:gdLst>
                <a:gd name="T0" fmla="*/ 1615 w 1615"/>
                <a:gd name="T1" fmla="*/ 434 h 1077"/>
                <a:gd name="T2" fmla="*/ 1520 w 1615"/>
                <a:gd name="T3" fmla="*/ 382 h 1077"/>
                <a:gd name="T4" fmla="*/ 1426 w 1615"/>
                <a:gd name="T5" fmla="*/ 334 h 1077"/>
                <a:gd name="T6" fmla="*/ 1330 w 1615"/>
                <a:gd name="T7" fmla="*/ 288 h 1077"/>
                <a:gd name="T8" fmla="*/ 1234 w 1615"/>
                <a:gd name="T9" fmla="*/ 245 h 1077"/>
                <a:gd name="T10" fmla="*/ 1136 w 1615"/>
                <a:gd name="T11" fmla="*/ 207 h 1077"/>
                <a:gd name="T12" fmla="*/ 1037 w 1615"/>
                <a:gd name="T13" fmla="*/ 171 h 1077"/>
                <a:gd name="T14" fmla="*/ 937 w 1615"/>
                <a:gd name="T15" fmla="*/ 140 h 1077"/>
                <a:gd name="T16" fmla="*/ 835 w 1615"/>
                <a:gd name="T17" fmla="*/ 111 h 1077"/>
                <a:gd name="T18" fmla="*/ 733 w 1615"/>
                <a:gd name="T19" fmla="*/ 84 h 1077"/>
                <a:gd name="T20" fmla="*/ 630 w 1615"/>
                <a:gd name="T21" fmla="*/ 63 h 1077"/>
                <a:gd name="T22" fmla="*/ 526 w 1615"/>
                <a:gd name="T23" fmla="*/ 44 h 1077"/>
                <a:gd name="T24" fmla="*/ 422 w 1615"/>
                <a:gd name="T25" fmla="*/ 29 h 1077"/>
                <a:gd name="T26" fmla="*/ 317 w 1615"/>
                <a:gd name="T27" fmla="*/ 15 h 1077"/>
                <a:gd name="T28" fmla="*/ 211 w 1615"/>
                <a:gd name="T29" fmla="*/ 7 h 1077"/>
                <a:gd name="T30" fmla="*/ 105 w 1615"/>
                <a:gd name="T31" fmla="*/ 2 h 1077"/>
                <a:gd name="T32" fmla="*/ 0 w 1615"/>
                <a:gd name="T33" fmla="*/ 0 h 1077"/>
                <a:gd name="T34" fmla="*/ 0 w 1615"/>
                <a:gd name="T35" fmla="*/ 743 h 1077"/>
                <a:gd name="T36" fmla="*/ 81 w 1615"/>
                <a:gd name="T37" fmla="*/ 745 h 1077"/>
                <a:gd name="T38" fmla="*/ 163 w 1615"/>
                <a:gd name="T39" fmla="*/ 748 h 1077"/>
                <a:gd name="T40" fmla="*/ 244 w 1615"/>
                <a:gd name="T41" fmla="*/ 754 h 1077"/>
                <a:gd name="T42" fmla="*/ 324 w 1615"/>
                <a:gd name="T43" fmla="*/ 764 h 1077"/>
                <a:gd name="T44" fmla="*/ 405 w 1615"/>
                <a:gd name="T45" fmla="*/ 775 h 1077"/>
                <a:gd name="T46" fmla="*/ 486 w 1615"/>
                <a:gd name="T47" fmla="*/ 791 h 1077"/>
                <a:gd name="T48" fmla="*/ 564 w 1615"/>
                <a:gd name="T49" fmla="*/ 808 h 1077"/>
                <a:gd name="T50" fmla="*/ 643 w 1615"/>
                <a:gd name="T51" fmla="*/ 827 h 1077"/>
                <a:gd name="T52" fmla="*/ 720 w 1615"/>
                <a:gd name="T53" fmla="*/ 850 h 1077"/>
                <a:gd name="T54" fmla="*/ 799 w 1615"/>
                <a:gd name="T55" fmla="*/ 875 h 1077"/>
                <a:gd name="T56" fmla="*/ 875 w 1615"/>
                <a:gd name="T57" fmla="*/ 902 h 1077"/>
                <a:gd name="T58" fmla="*/ 950 w 1615"/>
                <a:gd name="T59" fmla="*/ 933 h 1077"/>
                <a:gd name="T60" fmla="*/ 1025 w 1615"/>
                <a:gd name="T61" fmla="*/ 964 h 1077"/>
                <a:gd name="T62" fmla="*/ 1098 w 1615"/>
                <a:gd name="T63" fmla="*/ 1000 h 1077"/>
                <a:gd name="T64" fmla="*/ 1171 w 1615"/>
                <a:gd name="T65" fmla="*/ 1036 h 1077"/>
                <a:gd name="T66" fmla="*/ 1242 w 1615"/>
                <a:gd name="T67" fmla="*/ 1077 h 1077"/>
                <a:gd name="T68" fmla="*/ 1615 w 1615"/>
                <a:gd name="T69" fmla="*/ 434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5" h="1077">
                  <a:moveTo>
                    <a:pt x="1615" y="434"/>
                  </a:moveTo>
                  <a:lnTo>
                    <a:pt x="1520" y="382"/>
                  </a:lnTo>
                  <a:lnTo>
                    <a:pt x="1426" y="334"/>
                  </a:lnTo>
                  <a:lnTo>
                    <a:pt x="1330" y="288"/>
                  </a:lnTo>
                  <a:lnTo>
                    <a:pt x="1234" y="245"/>
                  </a:lnTo>
                  <a:lnTo>
                    <a:pt x="1136" y="207"/>
                  </a:lnTo>
                  <a:lnTo>
                    <a:pt x="1037" y="171"/>
                  </a:lnTo>
                  <a:lnTo>
                    <a:pt x="937" y="140"/>
                  </a:lnTo>
                  <a:lnTo>
                    <a:pt x="835" y="111"/>
                  </a:lnTo>
                  <a:lnTo>
                    <a:pt x="733" y="84"/>
                  </a:lnTo>
                  <a:lnTo>
                    <a:pt x="630" y="63"/>
                  </a:lnTo>
                  <a:lnTo>
                    <a:pt x="526" y="44"/>
                  </a:lnTo>
                  <a:lnTo>
                    <a:pt x="422" y="29"/>
                  </a:lnTo>
                  <a:lnTo>
                    <a:pt x="317" y="15"/>
                  </a:lnTo>
                  <a:lnTo>
                    <a:pt x="211" y="7"/>
                  </a:lnTo>
                  <a:lnTo>
                    <a:pt x="105" y="2"/>
                  </a:lnTo>
                  <a:lnTo>
                    <a:pt x="0" y="0"/>
                  </a:lnTo>
                  <a:lnTo>
                    <a:pt x="0" y="743"/>
                  </a:lnTo>
                  <a:lnTo>
                    <a:pt x="81" y="745"/>
                  </a:lnTo>
                  <a:lnTo>
                    <a:pt x="163" y="748"/>
                  </a:lnTo>
                  <a:lnTo>
                    <a:pt x="244" y="754"/>
                  </a:lnTo>
                  <a:lnTo>
                    <a:pt x="324" y="764"/>
                  </a:lnTo>
                  <a:lnTo>
                    <a:pt x="405" y="775"/>
                  </a:lnTo>
                  <a:lnTo>
                    <a:pt x="486" y="791"/>
                  </a:lnTo>
                  <a:lnTo>
                    <a:pt x="564" y="808"/>
                  </a:lnTo>
                  <a:lnTo>
                    <a:pt x="643" y="827"/>
                  </a:lnTo>
                  <a:lnTo>
                    <a:pt x="720" y="850"/>
                  </a:lnTo>
                  <a:lnTo>
                    <a:pt x="799" y="875"/>
                  </a:lnTo>
                  <a:lnTo>
                    <a:pt x="875" y="902"/>
                  </a:lnTo>
                  <a:lnTo>
                    <a:pt x="950" y="933"/>
                  </a:lnTo>
                  <a:lnTo>
                    <a:pt x="1025" y="964"/>
                  </a:lnTo>
                  <a:lnTo>
                    <a:pt x="1098" y="1000"/>
                  </a:lnTo>
                  <a:lnTo>
                    <a:pt x="1171" y="1036"/>
                  </a:lnTo>
                  <a:lnTo>
                    <a:pt x="1242" y="1077"/>
                  </a:lnTo>
                  <a:lnTo>
                    <a:pt x="1615" y="434"/>
                  </a:lnTo>
                  <a:close/>
                </a:path>
              </a:pathLst>
            </a:custGeom>
            <a:solidFill>
              <a:srgbClr val="53565A"/>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3" name="Freeform 37">
              <a:extLst>
                <a:ext uri="{FF2B5EF4-FFF2-40B4-BE49-F238E27FC236}">
                  <a16:creationId xmlns:a16="http://schemas.microsoft.com/office/drawing/2014/main" id="{561B9294-AB98-9940-ACDE-83C72C2769B3}"/>
                </a:ext>
              </a:extLst>
            </p:cNvPr>
            <p:cNvSpPr>
              <a:spLocks/>
            </p:cNvSpPr>
            <p:nvPr/>
          </p:nvSpPr>
          <p:spPr bwMode="auto">
            <a:xfrm>
              <a:off x="6649259" y="1720381"/>
              <a:ext cx="841247" cy="842332"/>
            </a:xfrm>
            <a:custGeom>
              <a:avLst/>
              <a:gdLst>
                <a:gd name="T0" fmla="*/ 1553 w 1553"/>
                <a:gd name="T1" fmla="*/ 1180 h 1553"/>
                <a:gd name="T2" fmla="*/ 1500 w 1553"/>
                <a:gd name="T3" fmla="*/ 1090 h 1553"/>
                <a:gd name="T4" fmla="*/ 1442 w 1553"/>
                <a:gd name="T5" fmla="*/ 1002 h 1553"/>
                <a:gd name="T6" fmla="*/ 1380 w 1553"/>
                <a:gd name="T7" fmla="*/ 913 h 1553"/>
                <a:gd name="T8" fmla="*/ 1319 w 1553"/>
                <a:gd name="T9" fmla="*/ 829 h 1553"/>
                <a:gd name="T10" fmla="*/ 1254 w 1553"/>
                <a:gd name="T11" fmla="*/ 746 h 1553"/>
                <a:gd name="T12" fmla="*/ 1185 w 1553"/>
                <a:gd name="T13" fmla="*/ 666 h 1553"/>
                <a:gd name="T14" fmla="*/ 1114 w 1553"/>
                <a:gd name="T15" fmla="*/ 587 h 1553"/>
                <a:gd name="T16" fmla="*/ 1041 w 1553"/>
                <a:gd name="T17" fmla="*/ 512 h 1553"/>
                <a:gd name="T18" fmla="*/ 966 w 1553"/>
                <a:gd name="T19" fmla="*/ 439 h 1553"/>
                <a:gd name="T20" fmla="*/ 887 w 1553"/>
                <a:gd name="T21" fmla="*/ 368 h 1553"/>
                <a:gd name="T22" fmla="*/ 806 w 1553"/>
                <a:gd name="T23" fmla="*/ 299 h 1553"/>
                <a:gd name="T24" fmla="*/ 724 w 1553"/>
                <a:gd name="T25" fmla="*/ 234 h 1553"/>
                <a:gd name="T26" fmla="*/ 639 w 1553"/>
                <a:gd name="T27" fmla="*/ 170 h 1553"/>
                <a:gd name="T28" fmla="*/ 551 w 1553"/>
                <a:gd name="T29" fmla="*/ 111 h 1553"/>
                <a:gd name="T30" fmla="*/ 463 w 1553"/>
                <a:gd name="T31" fmla="*/ 53 h 1553"/>
                <a:gd name="T32" fmla="*/ 373 w 1553"/>
                <a:gd name="T33" fmla="*/ 0 h 1553"/>
                <a:gd name="T34" fmla="*/ 0 w 1553"/>
                <a:gd name="T35" fmla="*/ 643 h 1553"/>
                <a:gd name="T36" fmla="*/ 71 w 1553"/>
                <a:gd name="T37" fmla="*/ 685 h 1553"/>
                <a:gd name="T38" fmla="*/ 140 w 1553"/>
                <a:gd name="T39" fmla="*/ 729 h 1553"/>
                <a:gd name="T40" fmla="*/ 205 w 1553"/>
                <a:gd name="T41" fmla="*/ 775 h 1553"/>
                <a:gd name="T42" fmla="*/ 271 w 1553"/>
                <a:gd name="T43" fmla="*/ 823 h 1553"/>
                <a:gd name="T44" fmla="*/ 336 w 1553"/>
                <a:gd name="T45" fmla="*/ 873 h 1553"/>
                <a:gd name="T46" fmla="*/ 397 w 1553"/>
                <a:gd name="T47" fmla="*/ 927 h 1553"/>
                <a:gd name="T48" fmla="*/ 457 w 1553"/>
                <a:gd name="T49" fmla="*/ 981 h 1553"/>
                <a:gd name="T50" fmla="*/ 517 w 1553"/>
                <a:gd name="T51" fmla="*/ 1038 h 1553"/>
                <a:gd name="T52" fmla="*/ 572 w 1553"/>
                <a:gd name="T53" fmla="*/ 1096 h 1553"/>
                <a:gd name="T54" fmla="*/ 626 w 1553"/>
                <a:gd name="T55" fmla="*/ 1155 h 1553"/>
                <a:gd name="T56" fmla="*/ 680 w 1553"/>
                <a:gd name="T57" fmla="*/ 1217 h 1553"/>
                <a:gd name="T58" fmla="*/ 730 w 1553"/>
                <a:gd name="T59" fmla="*/ 1282 h 1553"/>
                <a:gd name="T60" fmla="*/ 778 w 1553"/>
                <a:gd name="T61" fmla="*/ 1347 h 1553"/>
                <a:gd name="T62" fmla="*/ 824 w 1553"/>
                <a:gd name="T63" fmla="*/ 1413 h 1553"/>
                <a:gd name="T64" fmla="*/ 868 w 1553"/>
                <a:gd name="T65" fmla="*/ 1482 h 1553"/>
                <a:gd name="T66" fmla="*/ 910 w 1553"/>
                <a:gd name="T67" fmla="*/ 1553 h 1553"/>
                <a:gd name="T68" fmla="*/ 1553 w 1553"/>
                <a:gd name="T69" fmla="*/ 1180 h 1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53" h="1553">
                  <a:moveTo>
                    <a:pt x="1553" y="1180"/>
                  </a:moveTo>
                  <a:lnTo>
                    <a:pt x="1500" y="1090"/>
                  </a:lnTo>
                  <a:lnTo>
                    <a:pt x="1442" y="1002"/>
                  </a:lnTo>
                  <a:lnTo>
                    <a:pt x="1380" y="913"/>
                  </a:lnTo>
                  <a:lnTo>
                    <a:pt x="1319" y="829"/>
                  </a:lnTo>
                  <a:lnTo>
                    <a:pt x="1254" y="746"/>
                  </a:lnTo>
                  <a:lnTo>
                    <a:pt x="1185" y="666"/>
                  </a:lnTo>
                  <a:lnTo>
                    <a:pt x="1114" y="587"/>
                  </a:lnTo>
                  <a:lnTo>
                    <a:pt x="1041" y="512"/>
                  </a:lnTo>
                  <a:lnTo>
                    <a:pt x="966" y="439"/>
                  </a:lnTo>
                  <a:lnTo>
                    <a:pt x="887" y="368"/>
                  </a:lnTo>
                  <a:lnTo>
                    <a:pt x="806" y="299"/>
                  </a:lnTo>
                  <a:lnTo>
                    <a:pt x="724" y="234"/>
                  </a:lnTo>
                  <a:lnTo>
                    <a:pt x="639" y="170"/>
                  </a:lnTo>
                  <a:lnTo>
                    <a:pt x="551" y="111"/>
                  </a:lnTo>
                  <a:lnTo>
                    <a:pt x="463" y="53"/>
                  </a:lnTo>
                  <a:lnTo>
                    <a:pt x="373" y="0"/>
                  </a:lnTo>
                  <a:lnTo>
                    <a:pt x="0" y="643"/>
                  </a:lnTo>
                  <a:lnTo>
                    <a:pt x="71" y="685"/>
                  </a:lnTo>
                  <a:lnTo>
                    <a:pt x="140" y="729"/>
                  </a:lnTo>
                  <a:lnTo>
                    <a:pt x="205" y="775"/>
                  </a:lnTo>
                  <a:lnTo>
                    <a:pt x="271" y="823"/>
                  </a:lnTo>
                  <a:lnTo>
                    <a:pt x="336" y="873"/>
                  </a:lnTo>
                  <a:lnTo>
                    <a:pt x="397" y="927"/>
                  </a:lnTo>
                  <a:lnTo>
                    <a:pt x="457" y="981"/>
                  </a:lnTo>
                  <a:lnTo>
                    <a:pt x="517" y="1038"/>
                  </a:lnTo>
                  <a:lnTo>
                    <a:pt x="572" y="1096"/>
                  </a:lnTo>
                  <a:lnTo>
                    <a:pt x="626" y="1155"/>
                  </a:lnTo>
                  <a:lnTo>
                    <a:pt x="680" y="1217"/>
                  </a:lnTo>
                  <a:lnTo>
                    <a:pt x="730" y="1282"/>
                  </a:lnTo>
                  <a:lnTo>
                    <a:pt x="778" y="1347"/>
                  </a:lnTo>
                  <a:lnTo>
                    <a:pt x="824" y="1413"/>
                  </a:lnTo>
                  <a:lnTo>
                    <a:pt x="868" y="1482"/>
                  </a:lnTo>
                  <a:lnTo>
                    <a:pt x="910" y="1553"/>
                  </a:lnTo>
                  <a:lnTo>
                    <a:pt x="1553" y="1180"/>
                  </a:lnTo>
                  <a:close/>
                </a:path>
              </a:pathLst>
            </a:custGeom>
            <a:solidFill>
              <a:srgbClr val="53565A"/>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4" name="Freeform 38">
              <a:extLst>
                <a:ext uri="{FF2B5EF4-FFF2-40B4-BE49-F238E27FC236}">
                  <a16:creationId xmlns:a16="http://schemas.microsoft.com/office/drawing/2014/main" id="{0B3F24AF-0A33-6B4C-A0A7-42D67748215D}"/>
                </a:ext>
              </a:extLst>
            </p:cNvPr>
            <p:cNvSpPr>
              <a:spLocks/>
            </p:cNvSpPr>
            <p:nvPr/>
          </p:nvSpPr>
          <p:spPr bwMode="auto">
            <a:xfrm>
              <a:off x="7142516" y="2361074"/>
              <a:ext cx="583236" cy="874855"/>
            </a:xfrm>
            <a:custGeom>
              <a:avLst/>
              <a:gdLst>
                <a:gd name="T0" fmla="*/ 1077 w 1077"/>
                <a:gd name="T1" fmla="*/ 1615 h 1615"/>
                <a:gd name="T2" fmla="*/ 1075 w 1077"/>
                <a:gd name="T3" fmla="*/ 1509 h 1615"/>
                <a:gd name="T4" fmla="*/ 1069 w 1077"/>
                <a:gd name="T5" fmla="*/ 1404 h 1615"/>
                <a:gd name="T6" fmla="*/ 1062 w 1077"/>
                <a:gd name="T7" fmla="*/ 1298 h 1615"/>
                <a:gd name="T8" fmla="*/ 1048 w 1077"/>
                <a:gd name="T9" fmla="*/ 1193 h 1615"/>
                <a:gd name="T10" fmla="*/ 1033 w 1077"/>
                <a:gd name="T11" fmla="*/ 1089 h 1615"/>
                <a:gd name="T12" fmla="*/ 1014 w 1077"/>
                <a:gd name="T13" fmla="*/ 985 h 1615"/>
                <a:gd name="T14" fmla="*/ 993 w 1077"/>
                <a:gd name="T15" fmla="*/ 882 h 1615"/>
                <a:gd name="T16" fmla="*/ 966 w 1077"/>
                <a:gd name="T17" fmla="*/ 780 h 1615"/>
                <a:gd name="T18" fmla="*/ 937 w 1077"/>
                <a:gd name="T19" fmla="*/ 678 h 1615"/>
                <a:gd name="T20" fmla="*/ 904 w 1077"/>
                <a:gd name="T21" fmla="*/ 578 h 1615"/>
                <a:gd name="T22" fmla="*/ 870 w 1077"/>
                <a:gd name="T23" fmla="*/ 478 h 1615"/>
                <a:gd name="T24" fmla="*/ 831 w 1077"/>
                <a:gd name="T25" fmla="*/ 380 h 1615"/>
                <a:gd name="T26" fmla="*/ 789 w 1077"/>
                <a:gd name="T27" fmla="*/ 285 h 1615"/>
                <a:gd name="T28" fmla="*/ 743 w 1077"/>
                <a:gd name="T29" fmla="*/ 189 h 1615"/>
                <a:gd name="T30" fmla="*/ 695 w 1077"/>
                <a:gd name="T31" fmla="*/ 94 h 1615"/>
                <a:gd name="T32" fmla="*/ 643 w 1077"/>
                <a:gd name="T33" fmla="*/ 0 h 1615"/>
                <a:gd name="T34" fmla="*/ 0 w 1077"/>
                <a:gd name="T35" fmla="*/ 373 h 1615"/>
                <a:gd name="T36" fmla="*/ 40 w 1077"/>
                <a:gd name="T37" fmla="*/ 444 h 1615"/>
                <a:gd name="T38" fmla="*/ 77 w 1077"/>
                <a:gd name="T39" fmla="*/ 517 h 1615"/>
                <a:gd name="T40" fmla="*/ 111 w 1077"/>
                <a:gd name="T41" fmla="*/ 590 h 1615"/>
                <a:gd name="T42" fmla="*/ 144 w 1077"/>
                <a:gd name="T43" fmla="*/ 665 h 1615"/>
                <a:gd name="T44" fmla="*/ 175 w 1077"/>
                <a:gd name="T45" fmla="*/ 740 h 1615"/>
                <a:gd name="T46" fmla="*/ 202 w 1077"/>
                <a:gd name="T47" fmla="*/ 816 h 1615"/>
                <a:gd name="T48" fmla="*/ 227 w 1077"/>
                <a:gd name="T49" fmla="*/ 893 h 1615"/>
                <a:gd name="T50" fmla="*/ 250 w 1077"/>
                <a:gd name="T51" fmla="*/ 972 h 1615"/>
                <a:gd name="T52" fmla="*/ 269 w 1077"/>
                <a:gd name="T53" fmla="*/ 1051 h 1615"/>
                <a:gd name="T54" fmla="*/ 286 w 1077"/>
                <a:gd name="T55" fmla="*/ 1129 h 1615"/>
                <a:gd name="T56" fmla="*/ 300 w 1077"/>
                <a:gd name="T57" fmla="*/ 1210 h 1615"/>
                <a:gd name="T58" fmla="*/ 313 w 1077"/>
                <a:gd name="T59" fmla="*/ 1291 h 1615"/>
                <a:gd name="T60" fmla="*/ 321 w 1077"/>
                <a:gd name="T61" fmla="*/ 1371 h 1615"/>
                <a:gd name="T62" fmla="*/ 328 w 1077"/>
                <a:gd name="T63" fmla="*/ 1452 h 1615"/>
                <a:gd name="T64" fmla="*/ 332 w 1077"/>
                <a:gd name="T65" fmla="*/ 1534 h 1615"/>
                <a:gd name="T66" fmla="*/ 334 w 1077"/>
                <a:gd name="T67" fmla="*/ 1615 h 1615"/>
                <a:gd name="T68" fmla="*/ 1077 w 1077"/>
                <a:gd name="T69" fmla="*/ 1615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7" h="1615">
                  <a:moveTo>
                    <a:pt x="1077" y="1615"/>
                  </a:moveTo>
                  <a:lnTo>
                    <a:pt x="1075" y="1509"/>
                  </a:lnTo>
                  <a:lnTo>
                    <a:pt x="1069" y="1404"/>
                  </a:lnTo>
                  <a:lnTo>
                    <a:pt x="1062" y="1298"/>
                  </a:lnTo>
                  <a:lnTo>
                    <a:pt x="1048" y="1193"/>
                  </a:lnTo>
                  <a:lnTo>
                    <a:pt x="1033" y="1089"/>
                  </a:lnTo>
                  <a:lnTo>
                    <a:pt x="1014" y="985"/>
                  </a:lnTo>
                  <a:lnTo>
                    <a:pt x="993" y="882"/>
                  </a:lnTo>
                  <a:lnTo>
                    <a:pt x="966" y="780"/>
                  </a:lnTo>
                  <a:lnTo>
                    <a:pt x="937" y="678"/>
                  </a:lnTo>
                  <a:lnTo>
                    <a:pt x="904" y="578"/>
                  </a:lnTo>
                  <a:lnTo>
                    <a:pt x="870" y="478"/>
                  </a:lnTo>
                  <a:lnTo>
                    <a:pt x="831" y="380"/>
                  </a:lnTo>
                  <a:lnTo>
                    <a:pt x="789" y="285"/>
                  </a:lnTo>
                  <a:lnTo>
                    <a:pt x="743" y="189"/>
                  </a:lnTo>
                  <a:lnTo>
                    <a:pt x="695" y="94"/>
                  </a:lnTo>
                  <a:lnTo>
                    <a:pt x="643" y="0"/>
                  </a:lnTo>
                  <a:lnTo>
                    <a:pt x="0" y="373"/>
                  </a:lnTo>
                  <a:lnTo>
                    <a:pt x="40" y="444"/>
                  </a:lnTo>
                  <a:lnTo>
                    <a:pt x="77" y="517"/>
                  </a:lnTo>
                  <a:lnTo>
                    <a:pt x="111" y="590"/>
                  </a:lnTo>
                  <a:lnTo>
                    <a:pt x="144" y="665"/>
                  </a:lnTo>
                  <a:lnTo>
                    <a:pt x="175" y="740"/>
                  </a:lnTo>
                  <a:lnTo>
                    <a:pt x="202" y="816"/>
                  </a:lnTo>
                  <a:lnTo>
                    <a:pt x="227" y="893"/>
                  </a:lnTo>
                  <a:lnTo>
                    <a:pt x="250" y="972"/>
                  </a:lnTo>
                  <a:lnTo>
                    <a:pt x="269" y="1051"/>
                  </a:lnTo>
                  <a:lnTo>
                    <a:pt x="286" y="1129"/>
                  </a:lnTo>
                  <a:lnTo>
                    <a:pt x="300" y="1210"/>
                  </a:lnTo>
                  <a:lnTo>
                    <a:pt x="313" y="1291"/>
                  </a:lnTo>
                  <a:lnTo>
                    <a:pt x="321" y="1371"/>
                  </a:lnTo>
                  <a:lnTo>
                    <a:pt x="328" y="1452"/>
                  </a:lnTo>
                  <a:lnTo>
                    <a:pt x="332" y="1534"/>
                  </a:lnTo>
                  <a:lnTo>
                    <a:pt x="334" y="1615"/>
                  </a:lnTo>
                  <a:lnTo>
                    <a:pt x="1077" y="1615"/>
                  </a:lnTo>
                  <a:close/>
                </a:path>
              </a:pathLst>
            </a:custGeom>
            <a:solidFill>
              <a:srgbClr val="53565A"/>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5" name="Freeform 41">
              <a:extLst>
                <a:ext uri="{FF2B5EF4-FFF2-40B4-BE49-F238E27FC236}">
                  <a16:creationId xmlns:a16="http://schemas.microsoft.com/office/drawing/2014/main" id="{9B068D5F-7FC4-4243-87D6-3FC59BDD9C4A}"/>
                </a:ext>
              </a:extLst>
            </p:cNvPr>
            <p:cNvSpPr>
              <a:spLocks/>
            </p:cNvSpPr>
            <p:nvPr/>
          </p:nvSpPr>
          <p:spPr bwMode="auto">
            <a:xfrm>
              <a:off x="4459411" y="3909145"/>
              <a:ext cx="1515547" cy="1077577"/>
            </a:xfrm>
            <a:custGeom>
              <a:avLst/>
              <a:gdLst>
                <a:gd name="T0" fmla="*/ 55 w 2797"/>
                <a:gd name="T1" fmla="*/ 465 h 1987"/>
                <a:gd name="T2" fmla="*/ 174 w 2797"/>
                <a:gd name="T3" fmla="*/ 643 h 1987"/>
                <a:gd name="T4" fmla="*/ 305 w 2797"/>
                <a:gd name="T5" fmla="*/ 812 h 1987"/>
                <a:gd name="T6" fmla="*/ 445 w 2797"/>
                <a:gd name="T7" fmla="*/ 970 h 1987"/>
                <a:gd name="T8" fmla="*/ 595 w 2797"/>
                <a:gd name="T9" fmla="*/ 1119 h 1987"/>
                <a:gd name="T10" fmla="*/ 752 w 2797"/>
                <a:gd name="T11" fmla="*/ 1258 h 1987"/>
                <a:gd name="T12" fmla="*/ 919 w 2797"/>
                <a:gd name="T13" fmla="*/ 1384 h 1987"/>
                <a:gd name="T14" fmla="*/ 1092 w 2797"/>
                <a:gd name="T15" fmla="*/ 1500 h 1987"/>
                <a:gd name="T16" fmla="*/ 1272 w 2797"/>
                <a:gd name="T17" fmla="*/ 1605 h 1987"/>
                <a:gd name="T18" fmla="*/ 1461 w 2797"/>
                <a:gd name="T19" fmla="*/ 1697 h 1987"/>
                <a:gd name="T20" fmla="*/ 1655 w 2797"/>
                <a:gd name="T21" fmla="*/ 1778 h 1987"/>
                <a:gd name="T22" fmla="*/ 1852 w 2797"/>
                <a:gd name="T23" fmla="*/ 1845 h 1987"/>
                <a:gd name="T24" fmla="*/ 2056 w 2797"/>
                <a:gd name="T25" fmla="*/ 1901 h 1987"/>
                <a:gd name="T26" fmla="*/ 2263 w 2797"/>
                <a:gd name="T27" fmla="*/ 1943 h 1987"/>
                <a:gd name="T28" fmla="*/ 2474 w 2797"/>
                <a:gd name="T29" fmla="*/ 1970 h 1987"/>
                <a:gd name="T30" fmla="*/ 2689 w 2797"/>
                <a:gd name="T31" fmla="*/ 1985 h 1987"/>
                <a:gd name="T32" fmla="*/ 2797 w 2797"/>
                <a:gd name="T33" fmla="*/ 1244 h 1987"/>
                <a:gd name="T34" fmla="*/ 2630 w 2797"/>
                <a:gd name="T35" fmla="*/ 1239 h 1987"/>
                <a:gd name="T36" fmla="*/ 2467 w 2797"/>
                <a:gd name="T37" fmla="*/ 1223 h 1987"/>
                <a:gd name="T38" fmla="*/ 2305 w 2797"/>
                <a:gd name="T39" fmla="*/ 1196 h 1987"/>
                <a:gd name="T40" fmla="*/ 2148 w 2797"/>
                <a:gd name="T41" fmla="*/ 1158 h 1987"/>
                <a:gd name="T42" fmla="*/ 1992 w 2797"/>
                <a:gd name="T43" fmla="*/ 1110 h 1987"/>
                <a:gd name="T44" fmla="*/ 1843 w 2797"/>
                <a:gd name="T45" fmla="*/ 1054 h 1987"/>
                <a:gd name="T46" fmla="*/ 1695 w 2797"/>
                <a:gd name="T47" fmla="*/ 987 h 1987"/>
                <a:gd name="T48" fmla="*/ 1553 w 2797"/>
                <a:gd name="T49" fmla="*/ 910 h 1987"/>
                <a:gd name="T50" fmla="*/ 1416 w 2797"/>
                <a:gd name="T51" fmla="*/ 826 h 1987"/>
                <a:gd name="T52" fmla="*/ 1286 w 2797"/>
                <a:gd name="T53" fmla="*/ 732 h 1987"/>
                <a:gd name="T54" fmla="*/ 1161 w 2797"/>
                <a:gd name="T55" fmla="*/ 630 h 1987"/>
                <a:gd name="T56" fmla="*/ 1042 w 2797"/>
                <a:gd name="T57" fmla="*/ 520 h 1987"/>
                <a:gd name="T58" fmla="*/ 931 w 2797"/>
                <a:gd name="T59" fmla="*/ 401 h 1987"/>
                <a:gd name="T60" fmla="*/ 827 w 2797"/>
                <a:gd name="T61" fmla="*/ 275 h 1987"/>
                <a:gd name="T62" fmla="*/ 731 w 2797"/>
                <a:gd name="T63" fmla="*/ 142 h 1987"/>
                <a:gd name="T64" fmla="*/ 643 w 2797"/>
                <a:gd name="T65" fmla="*/ 0 h 1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7" h="1987">
                  <a:moveTo>
                    <a:pt x="0" y="373"/>
                  </a:moveTo>
                  <a:lnTo>
                    <a:pt x="55" y="465"/>
                  </a:lnTo>
                  <a:lnTo>
                    <a:pt x="115" y="555"/>
                  </a:lnTo>
                  <a:lnTo>
                    <a:pt x="174" y="643"/>
                  </a:lnTo>
                  <a:lnTo>
                    <a:pt x="240" y="728"/>
                  </a:lnTo>
                  <a:lnTo>
                    <a:pt x="305" y="812"/>
                  </a:lnTo>
                  <a:lnTo>
                    <a:pt x="374" y="893"/>
                  </a:lnTo>
                  <a:lnTo>
                    <a:pt x="445" y="970"/>
                  </a:lnTo>
                  <a:lnTo>
                    <a:pt x="518" y="1047"/>
                  </a:lnTo>
                  <a:lnTo>
                    <a:pt x="595" y="1119"/>
                  </a:lnTo>
                  <a:lnTo>
                    <a:pt x="672" y="1189"/>
                  </a:lnTo>
                  <a:lnTo>
                    <a:pt x="752" y="1258"/>
                  </a:lnTo>
                  <a:lnTo>
                    <a:pt x="835" y="1323"/>
                  </a:lnTo>
                  <a:lnTo>
                    <a:pt x="919" y="1384"/>
                  </a:lnTo>
                  <a:lnTo>
                    <a:pt x="1004" y="1444"/>
                  </a:lnTo>
                  <a:lnTo>
                    <a:pt x="1092" y="1500"/>
                  </a:lnTo>
                  <a:lnTo>
                    <a:pt x="1182" y="1553"/>
                  </a:lnTo>
                  <a:lnTo>
                    <a:pt x="1272" y="1605"/>
                  </a:lnTo>
                  <a:lnTo>
                    <a:pt x="1367" y="1653"/>
                  </a:lnTo>
                  <a:lnTo>
                    <a:pt x="1461" y="1697"/>
                  </a:lnTo>
                  <a:lnTo>
                    <a:pt x="1557" y="1740"/>
                  </a:lnTo>
                  <a:lnTo>
                    <a:pt x="1655" y="1778"/>
                  </a:lnTo>
                  <a:lnTo>
                    <a:pt x="1752" y="1814"/>
                  </a:lnTo>
                  <a:lnTo>
                    <a:pt x="1852" y="1845"/>
                  </a:lnTo>
                  <a:lnTo>
                    <a:pt x="1954" y="1876"/>
                  </a:lnTo>
                  <a:lnTo>
                    <a:pt x="2056" y="1901"/>
                  </a:lnTo>
                  <a:lnTo>
                    <a:pt x="2159" y="1924"/>
                  </a:lnTo>
                  <a:lnTo>
                    <a:pt x="2263" y="1943"/>
                  </a:lnTo>
                  <a:lnTo>
                    <a:pt x="2369" y="1958"/>
                  </a:lnTo>
                  <a:lnTo>
                    <a:pt x="2474" y="1970"/>
                  </a:lnTo>
                  <a:lnTo>
                    <a:pt x="2582" y="1980"/>
                  </a:lnTo>
                  <a:lnTo>
                    <a:pt x="2689" y="1985"/>
                  </a:lnTo>
                  <a:lnTo>
                    <a:pt x="2797" y="1987"/>
                  </a:lnTo>
                  <a:lnTo>
                    <a:pt x="2797" y="1244"/>
                  </a:lnTo>
                  <a:lnTo>
                    <a:pt x="2712" y="1242"/>
                  </a:lnTo>
                  <a:lnTo>
                    <a:pt x="2630" y="1239"/>
                  </a:lnTo>
                  <a:lnTo>
                    <a:pt x="2549" y="1233"/>
                  </a:lnTo>
                  <a:lnTo>
                    <a:pt x="2467" y="1223"/>
                  </a:lnTo>
                  <a:lnTo>
                    <a:pt x="2386" y="1210"/>
                  </a:lnTo>
                  <a:lnTo>
                    <a:pt x="2305" y="1196"/>
                  </a:lnTo>
                  <a:lnTo>
                    <a:pt x="2227" y="1179"/>
                  </a:lnTo>
                  <a:lnTo>
                    <a:pt x="2148" y="1158"/>
                  </a:lnTo>
                  <a:lnTo>
                    <a:pt x="2069" y="1135"/>
                  </a:lnTo>
                  <a:lnTo>
                    <a:pt x="1992" y="1110"/>
                  </a:lnTo>
                  <a:lnTo>
                    <a:pt x="1918" y="1083"/>
                  </a:lnTo>
                  <a:lnTo>
                    <a:pt x="1843" y="1054"/>
                  </a:lnTo>
                  <a:lnTo>
                    <a:pt x="1768" y="1022"/>
                  </a:lnTo>
                  <a:lnTo>
                    <a:pt x="1695" y="987"/>
                  </a:lnTo>
                  <a:lnTo>
                    <a:pt x="1624" y="951"/>
                  </a:lnTo>
                  <a:lnTo>
                    <a:pt x="1553" y="910"/>
                  </a:lnTo>
                  <a:lnTo>
                    <a:pt x="1484" y="870"/>
                  </a:lnTo>
                  <a:lnTo>
                    <a:pt x="1416" y="826"/>
                  </a:lnTo>
                  <a:lnTo>
                    <a:pt x="1351" y="780"/>
                  </a:lnTo>
                  <a:lnTo>
                    <a:pt x="1286" y="732"/>
                  </a:lnTo>
                  <a:lnTo>
                    <a:pt x="1223" y="682"/>
                  </a:lnTo>
                  <a:lnTo>
                    <a:pt x="1161" y="630"/>
                  </a:lnTo>
                  <a:lnTo>
                    <a:pt x="1100" y="576"/>
                  </a:lnTo>
                  <a:lnTo>
                    <a:pt x="1042" y="520"/>
                  </a:lnTo>
                  <a:lnTo>
                    <a:pt x="986" y="461"/>
                  </a:lnTo>
                  <a:lnTo>
                    <a:pt x="931" y="401"/>
                  </a:lnTo>
                  <a:lnTo>
                    <a:pt x="879" y="340"/>
                  </a:lnTo>
                  <a:lnTo>
                    <a:pt x="827" y="275"/>
                  </a:lnTo>
                  <a:lnTo>
                    <a:pt x="777" y="209"/>
                  </a:lnTo>
                  <a:lnTo>
                    <a:pt x="731" y="142"/>
                  </a:lnTo>
                  <a:lnTo>
                    <a:pt x="687" y="73"/>
                  </a:lnTo>
                  <a:lnTo>
                    <a:pt x="643" y="0"/>
                  </a:lnTo>
                  <a:lnTo>
                    <a:pt x="0" y="373"/>
                  </a:lnTo>
                  <a:close/>
                </a:path>
              </a:pathLst>
            </a:custGeom>
            <a:solidFill>
              <a:srgbClr val="009A44"/>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6" name="Freeform 42">
              <a:extLst>
                <a:ext uri="{FF2B5EF4-FFF2-40B4-BE49-F238E27FC236}">
                  <a16:creationId xmlns:a16="http://schemas.microsoft.com/office/drawing/2014/main" id="{11EA295F-512C-0847-A161-4C7C621C00B9}"/>
                </a:ext>
              </a:extLst>
            </p:cNvPr>
            <p:cNvSpPr>
              <a:spLocks/>
            </p:cNvSpPr>
            <p:nvPr/>
          </p:nvSpPr>
          <p:spPr bwMode="auto">
            <a:xfrm>
              <a:off x="4225250" y="2361074"/>
              <a:ext cx="582152" cy="1749708"/>
            </a:xfrm>
            <a:custGeom>
              <a:avLst/>
              <a:gdLst>
                <a:gd name="T0" fmla="*/ 380 w 1075"/>
                <a:gd name="T1" fmla="*/ 94 h 3230"/>
                <a:gd name="T2" fmla="*/ 286 w 1075"/>
                <a:gd name="T3" fmla="*/ 288 h 3230"/>
                <a:gd name="T4" fmla="*/ 205 w 1075"/>
                <a:gd name="T5" fmla="*/ 484 h 3230"/>
                <a:gd name="T6" fmla="*/ 136 w 1075"/>
                <a:gd name="T7" fmla="*/ 684 h 3230"/>
                <a:gd name="T8" fmla="*/ 82 w 1075"/>
                <a:gd name="T9" fmla="*/ 887 h 3230"/>
                <a:gd name="T10" fmla="*/ 42 w 1075"/>
                <a:gd name="T11" fmla="*/ 1095 h 3230"/>
                <a:gd name="T12" fmla="*/ 15 w 1075"/>
                <a:gd name="T13" fmla="*/ 1302 h 3230"/>
                <a:gd name="T14" fmla="*/ 2 w 1075"/>
                <a:gd name="T15" fmla="*/ 1511 h 3230"/>
                <a:gd name="T16" fmla="*/ 2 w 1075"/>
                <a:gd name="T17" fmla="*/ 1719 h 3230"/>
                <a:gd name="T18" fmla="*/ 15 w 1075"/>
                <a:gd name="T19" fmla="*/ 1928 h 3230"/>
                <a:gd name="T20" fmla="*/ 42 w 1075"/>
                <a:gd name="T21" fmla="*/ 2135 h 3230"/>
                <a:gd name="T22" fmla="*/ 82 w 1075"/>
                <a:gd name="T23" fmla="*/ 2343 h 3230"/>
                <a:gd name="T24" fmla="*/ 136 w 1075"/>
                <a:gd name="T25" fmla="*/ 2546 h 3230"/>
                <a:gd name="T26" fmla="*/ 205 w 1075"/>
                <a:gd name="T27" fmla="*/ 2746 h 3230"/>
                <a:gd name="T28" fmla="*/ 286 w 1075"/>
                <a:gd name="T29" fmla="*/ 2944 h 3230"/>
                <a:gd name="T30" fmla="*/ 380 w 1075"/>
                <a:gd name="T31" fmla="*/ 3136 h 3230"/>
                <a:gd name="T32" fmla="*/ 1075 w 1075"/>
                <a:gd name="T33" fmla="*/ 2857 h 3230"/>
                <a:gd name="T34" fmla="*/ 998 w 1075"/>
                <a:gd name="T35" fmla="*/ 2711 h 3230"/>
                <a:gd name="T36" fmla="*/ 929 w 1075"/>
                <a:gd name="T37" fmla="*/ 2562 h 3230"/>
                <a:gd name="T38" fmla="*/ 873 w 1075"/>
                <a:gd name="T39" fmla="*/ 2410 h 3230"/>
                <a:gd name="T40" fmla="*/ 825 w 1075"/>
                <a:gd name="T41" fmla="*/ 2252 h 3230"/>
                <a:gd name="T42" fmla="*/ 789 w 1075"/>
                <a:gd name="T43" fmla="*/ 2095 h 3230"/>
                <a:gd name="T44" fmla="*/ 764 w 1075"/>
                <a:gd name="T45" fmla="*/ 1936 h 3230"/>
                <a:gd name="T46" fmla="*/ 748 w 1075"/>
                <a:gd name="T47" fmla="*/ 1776 h 3230"/>
                <a:gd name="T48" fmla="*/ 743 w 1075"/>
                <a:gd name="T49" fmla="*/ 1615 h 3230"/>
                <a:gd name="T50" fmla="*/ 748 w 1075"/>
                <a:gd name="T51" fmla="*/ 1454 h 3230"/>
                <a:gd name="T52" fmla="*/ 764 w 1075"/>
                <a:gd name="T53" fmla="*/ 1294 h 3230"/>
                <a:gd name="T54" fmla="*/ 789 w 1075"/>
                <a:gd name="T55" fmla="*/ 1135 h 3230"/>
                <a:gd name="T56" fmla="*/ 825 w 1075"/>
                <a:gd name="T57" fmla="*/ 978 h 3230"/>
                <a:gd name="T58" fmla="*/ 873 w 1075"/>
                <a:gd name="T59" fmla="*/ 822 h 3230"/>
                <a:gd name="T60" fmla="*/ 929 w 1075"/>
                <a:gd name="T61" fmla="*/ 668 h 3230"/>
                <a:gd name="T62" fmla="*/ 998 w 1075"/>
                <a:gd name="T63" fmla="*/ 519 h 3230"/>
                <a:gd name="T64" fmla="*/ 1075 w 1075"/>
                <a:gd name="T65" fmla="*/ 373 h 3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5" h="3230">
                  <a:moveTo>
                    <a:pt x="432" y="0"/>
                  </a:moveTo>
                  <a:lnTo>
                    <a:pt x="380" y="94"/>
                  </a:lnTo>
                  <a:lnTo>
                    <a:pt x="332" y="190"/>
                  </a:lnTo>
                  <a:lnTo>
                    <a:pt x="286" y="288"/>
                  </a:lnTo>
                  <a:lnTo>
                    <a:pt x="243" y="386"/>
                  </a:lnTo>
                  <a:lnTo>
                    <a:pt x="205" y="484"/>
                  </a:lnTo>
                  <a:lnTo>
                    <a:pt x="169" y="584"/>
                  </a:lnTo>
                  <a:lnTo>
                    <a:pt x="136" y="684"/>
                  </a:lnTo>
                  <a:lnTo>
                    <a:pt x="107" y="786"/>
                  </a:lnTo>
                  <a:lnTo>
                    <a:pt x="82" y="887"/>
                  </a:lnTo>
                  <a:lnTo>
                    <a:pt x="61" y="991"/>
                  </a:lnTo>
                  <a:lnTo>
                    <a:pt x="42" y="1095"/>
                  </a:lnTo>
                  <a:lnTo>
                    <a:pt x="26" y="1198"/>
                  </a:lnTo>
                  <a:lnTo>
                    <a:pt x="15" y="1302"/>
                  </a:lnTo>
                  <a:lnTo>
                    <a:pt x="7" y="1406"/>
                  </a:lnTo>
                  <a:lnTo>
                    <a:pt x="2" y="1511"/>
                  </a:lnTo>
                  <a:lnTo>
                    <a:pt x="0" y="1615"/>
                  </a:lnTo>
                  <a:lnTo>
                    <a:pt x="2" y="1719"/>
                  </a:lnTo>
                  <a:lnTo>
                    <a:pt x="7" y="1824"/>
                  </a:lnTo>
                  <a:lnTo>
                    <a:pt x="15" y="1928"/>
                  </a:lnTo>
                  <a:lnTo>
                    <a:pt x="26" y="2032"/>
                  </a:lnTo>
                  <a:lnTo>
                    <a:pt x="42" y="2135"/>
                  </a:lnTo>
                  <a:lnTo>
                    <a:pt x="61" y="2239"/>
                  </a:lnTo>
                  <a:lnTo>
                    <a:pt x="82" y="2343"/>
                  </a:lnTo>
                  <a:lnTo>
                    <a:pt x="107" y="2444"/>
                  </a:lnTo>
                  <a:lnTo>
                    <a:pt x="136" y="2546"/>
                  </a:lnTo>
                  <a:lnTo>
                    <a:pt x="169" y="2646"/>
                  </a:lnTo>
                  <a:lnTo>
                    <a:pt x="205" y="2746"/>
                  </a:lnTo>
                  <a:lnTo>
                    <a:pt x="243" y="2846"/>
                  </a:lnTo>
                  <a:lnTo>
                    <a:pt x="286" y="2944"/>
                  </a:lnTo>
                  <a:lnTo>
                    <a:pt x="332" y="3040"/>
                  </a:lnTo>
                  <a:lnTo>
                    <a:pt x="380" y="3136"/>
                  </a:lnTo>
                  <a:lnTo>
                    <a:pt x="432" y="3230"/>
                  </a:lnTo>
                  <a:lnTo>
                    <a:pt x="1075" y="2857"/>
                  </a:lnTo>
                  <a:lnTo>
                    <a:pt x="1034" y="2786"/>
                  </a:lnTo>
                  <a:lnTo>
                    <a:pt x="998" y="2711"/>
                  </a:lnTo>
                  <a:lnTo>
                    <a:pt x="961" y="2636"/>
                  </a:lnTo>
                  <a:lnTo>
                    <a:pt x="929" y="2562"/>
                  </a:lnTo>
                  <a:lnTo>
                    <a:pt x="900" y="2487"/>
                  </a:lnTo>
                  <a:lnTo>
                    <a:pt x="873" y="2410"/>
                  </a:lnTo>
                  <a:lnTo>
                    <a:pt x="848" y="2331"/>
                  </a:lnTo>
                  <a:lnTo>
                    <a:pt x="825" y="2252"/>
                  </a:lnTo>
                  <a:lnTo>
                    <a:pt x="806" y="2176"/>
                  </a:lnTo>
                  <a:lnTo>
                    <a:pt x="789" y="2095"/>
                  </a:lnTo>
                  <a:lnTo>
                    <a:pt x="775" y="2016"/>
                  </a:lnTo>
                  <a:lnTo>
                    <a:pt x="764" y="1936"/>
                  </a:lnTo>
                  <a:lnTo>
                    <a:pt x="754" y="1857"/>
                  </a:lnTo>
                  <a:lnTo>
                    <a:pt x="748" y="1776"/>
                  </a:lnTo>
                  <a:lnTo>
                    <a:pt x="743" y="1696"/>
                  </a:lnTo>
                  <a:lnTo>
                    <a:pt x="743" y="1615"/>
                  </a:lnTo>
                  <a:lnTo>
                    <a:pt x="743" y="1534"/>
                  </a:lnTo>
                  <a:lnTo>
                    <a:pt x="748" y="1454"/>
                  </a:lnTo>
                  <a:lnTo>
                    <a:pt x="754" y="1373"/>
                  </a:lnTo>
                  <a:lnTo>
                    <a:pt x="764" y="1294"/>
                  </a:lnTo>
                  <a:lnTo>
                    <a:pt x="775" y="1214"/>
                  </a:lnTo>
                  <a:lnTo>
                    <a:pt x="789" y="1135"/>
                  </a:lnTo>
                  <a:lnTo>
                    <a:pt x="806" y="1056"/>
                  </a:lnTo>
                  <a:lnTo>
                    <a:pt x="825" y="978"/>
                  </a:lnTo>
                  <a:lnTo>
                    <a:pt x="848" y="899"/>
                  </a:lnTo>
                  <a:lnTo>
                    <a:pt x="873" y="822"/>
                  </a:lnTo>
                  <a:lnTo>
                    <a:pt x="900" y="743"/>
                  </a:lnTo>
                  <a:lnTo>
                    <a:pt x="929" y="668"/>
                  </a:lnTo>
                  <a:lnTo>
                    <a:pt x="961" y="594"/>
                  </a:lnTo>
                  <a:lnTo>
                    <a:pt x="998" y="519"/>
                  </a:lnTo>
                  <a:lnTo>
                    <a:pt x="1034" y="444"/>
                  </a:lnTo>
                  <a:lnTo>
                    <a:pt x="1075" y="373"/>
                  </a:lnTo>
                  <a:lnTo>
                    <a:pt x="432" y="0"/>
                  </a:lnTo>
                  <a:close/>
                </a:path>
              </a:pathLst>
            </a:custGeom>
            <a:solidFill>
              <a:srgbClr val="86BC25"/>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7" name="Freeform 40">
              <a:extLst>
                <a:ext uri="{FF2B5EF4-FFF2-40B4-BE49-F238E27FC236}">
                  <a16:creationId xmlns:a16="http://schemas.microsoft.com/office/drawing/2014/main" id="{97BE5598-721C-F44F-AD35-1C420C654275}"/>
                </a:ext>
              </a:extLst>
            </p:cNvPr>
            <p:cNvSpPr>
              <a:spLocks/>
            </p:cNvSpPr>
            <p:nvPr/>
          </p:nvSpPr>
          <p:spPr bwMode="auto">
            <a:xfrm>
              <a:off x="5974958" y="3910228"/>
              <a:ext cx="1515547" cy="1076494"/>
            </a:xfrm>
            <a:custGeom>
              <a:avLst/>
              <a:gdLst>
                <a:gd name="T0" fmla="*/ 107 w 2795"/>
                <a:gd name="T1" fmla="*/ 1983 h 1985"/>
                <a:gd name="T2" fmla="*/ 321 w 2795"/>
                <a:gd name="T3" fmla="*/ 1970 h 1985"/>
                <a:gd name="T4" fmla="*/ 532 w 2795"/>
                <a:gd name="T5" fmla="*/ 1941 h 1985"/>
                <a:gd name="T6" fmla="*/ 739 w 2795"/>
                <a:gd name="T7" fmla="*/ 1899 h 1985"/>
                <a:gd name="T8" fmla="*/ 943 w 2795"/>
                <a:gd name="T9" fmla="*/ 1845 h 1985"/>
                <a:gd name="T10" fmla="*/ 1142 w 2795"/>
                <a:gd name="T11" fmla="*/ 1776 h 1985"/>
                <a:gd name="T12" fmla="*/ 1334 w 2795"/>
                <a:gd name="T13" fmla="*/ 1695 h 1985"/>
                <a:gd name="T14" fmla="*/ 1522 w 2795"/>
                <a:gd name="T15" fmla="*/ 1603 h 1985"/>
                <a:gd name="T16" fmla="*/ 1703 w 2795"/>
                <a:gd name="T17" fmla="*/ 1500 h 1985"/>
                <a:gd name="T18" fmla="*/ 1878 w 2795"/>
                <a:gd name="T19" fmla="*/ 1382 h 1985"/>
                <a:gd name="T20" fmla="*/ 2045 w 2795"/>
                <a:gd name="T21" fmla="*/ 1256 h 1985"/>
                <a:gd name="T22" fmla="*/ 2202 w 2795"/>
                <a:gd name="T23" fmla="*/ 1117 h 1985"/>
                <a:gd name="T24" fmla="*/ 2352 w 2795"/>
                <a:gd name="T25" fmla="*/ 970 h 1985"/>
                <a:gd name="T26" fmla="*/ 2492 w 2795"/>
                <a:gd name="T27" fmla="*/ 810 h 1985"/>
                <a:gd name="T28" fmla="*/ 2621 w 2795"/>
                <a:gd name="T29" fmla="*/ 641 h 1985"/>
                <a:gd name="T30" fmla="*/ 2740 w 2795"/>
                <a:gd name="T31" fmla="*/ 463 h 1985"/>
                <a:gd name="T32" fmla="*/ 2152 w 2795"/>
                <a:gd name="T33" fmla="*/ 0 h 1985"/>
                <a:gd name="T34" fmla="*/ 2066 w 2795"/>
                <a:gd name="T35" fmla="*/ 140 h 1985"/>
                <a:gd name="T36" fmla="*/ 1970 w 2795"/>
                <a:gd name="T37" fmla="*/ 273 h 1985"/>
                <a:gd name="T38" fmla="*/ 1864 w 2795"/>
                <a:gd name="T39" fmla="*/ 399 h 1985"/>
                <a:gd name="T40" fmla="*/ 1753 w 2795"/>
                <a:gd name="T41" fmla="*/ 518 h 1985"/>
                <a:gd name="T42" fmla="*/ 1636 w 2795"/>
                <a:gd name="T43" fmla="*/ 628 h 1985"/>
                <a:gd name="T44" fmla="*/ 1511 w 2795"/>
                <a:gd name="T45" fmla="*/ 732 h 1985"/>
                <a:gd name="T46" fmla="*/ 1378 w 2795"/>
                <a:gd name="T47" fmla="*/ 824 h 1985"/>
                <a:gd name="T48" fmla="*/ 1242 w 2795"/>
                <a:gd name="T49" fmla="*/ 910 h 1985"/>
                <a:gd name="T50" fmla="*/ 1100 w 2795"/>
                <a:gd name="T51" fmla="*/ 985 h 1985"/>
                <a:gd name="T52" fmla="*/ 954 w 2795"/>
                <a:gd name="T53" fmla="*/ 1052 h 1985"/>
                <a:gd name="T54" fmla="*/ 802 w 2795"/>
                <a:gd name="T55" fmla="*/ 1110 h 1985"/>
                <a:gd name="T56" fmla="*/ 649 w 2795"/>
                <a:gd name="T57" fmla="*/ 1156 h 1985"/>
                <a:gd name="T58" fmla="*/ 489 w 2795"/>
                <a:gd name="T59" fmla="*/ 1194 h 1985"/>
                <a:gd name="T60" fmla="*/ 328 w 2795"/>
                <a:gd name="T61" fmla="*/ 1221 h 1985"/>
                <a:gd name="T62" fmla="*/ 165 w 2795"/>
                <a:gd name="T63" fmla="*/ 1237 h 1985"/>
                <a:gd name="T64" fmla="*/ 0 w 2795"/>
                <a:gd name="T65" fmla="*/ 1242 h 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5" h="1985">
                  <a:moveTo>
                    <a:pt x="0" y="1985"/>
                  </a:moveTo>
                  <a:lnTo>
                    <a:pt x="107" y="1983"/>
                  </a:lnTo>
                  <a:lnTo>
                    <a:pt x="215" y="1978"/>
                  </a:lnTo>
                  <a:lnTo>
                    <a:pt x="321" y="1970"/>
                  </a:lnTo>
                  <a:lnTo>
                    <a:pt x="428" y="1956"/>
                  </a:lnTo>
                  <a:lnTo>
                    <a:pt x="532" y="1941"/>
                  </a:lnTo>
                  <a:lnTo>
                    <a:pt x="637" y="1922"/>
                  </a:lnTo>
                  <a:lnTo>
                    <a:pt x="739" y="1899"/>
                  </a:lnTo>
                  <a:lnTo>
                    <a:pt x="843" y="1874"/>
                  </a:lnTo>
                  <a:lnTo>
                    <a:pt x="943" y="1845"/>
                  </a:lnTo>
                  <a:lnTo>
                    <a:pt x="1042" y="1812"/>
                  </a:lnTo>
                  <a:lnTo>
                    <a:pt x="1142" y="1776"/>
                  </a:lnTo>
                  <a:lnTo>
                    <a:pt x="1240" y="1738"/>
                  </a:lnTo>
                  <a:lnTo>
                    <a:pt x="1334" y="1695"/>
                  </a:lnTo>
                  <a:lnTo>
                    <a:pt x="1430" y="1651"/>
                  </a:lnTo>
                  <a:lnTo>
                    <a:pt x="1522" y="1603"/>
                  </a:lnTo>
                  <a:lnTo>
                    <a:pt x="1615" y="1553"/>
                  </a:lnTo>
                  <a:lnTo>
                    <a:pt x="1703" y="1500"/>
                  </a:lnTo>
                  <a:lnTo>
                    <a:pt x="1791" y="1442"/>
                  </a:lnTo>
                  <a:lnTo>
                    <a:pt x="1878" y="1382"/>
                  </a:lnTo>
                  <a:lnTo>
                    <a:pt x="1962" y="1321"/>
                  </a:lnTo>
                  <a:lnTo>
                    <a:pt x="2045" y="1256"/>
                  </a:lnTo>
                  <a:lnTo>
                    <a:pt x="2123" y="1189"/>
                  </a:lnTo>
                  <a:lnTo>
                    <a:pt x="2202" y="1117"/>
                  </a:lnTo>
                  <a:lnTo>
                    <a:pt x="2277" y="1045"/>
                  </a:lnTo>
                  <a:lnTo>
                    <a:pt x="2352" y="970"/>
                  </a:lnTo>
                  <a:lnTo>
                    <a:pt x="2423" y="891"/>
                  </a:lnTo>
                  <a:lnTo>
                    <a:pt x="2492" y="810"/>
                  </a:lnTo>
                  <a:lnTo>
                    <a:pt x="2557" y="726"/>
                  </a:lnTo>
                  <a:lnTo>
                    <a:pt x="2621" y="641"/>
                  </a:lnTo>
                  <a:lnTo>
                    <a:pt x="2682" y="553"/>
                  </a:lnTo>
                  <a:lnTo>
                    <a:pt x="2740" y="463"/>
                  </a:lnTo>
                  <a:lnTo>
                    <a:pt x="2795" y="371"/>
                  </a:lnTo>
                  <a:lnTo>
                    <a:pt x="2152" y="0"/>
                  </a:lnTo>
                  <a:lnTo>
                    <a:pt x="2110" y="71"/>
                  </a:lnTo>
                  <a:lnTo>
                    <a:pt x="2066" y="140"/>
                  </a:lnTo>
                  <a:lnTo>
                    <a:pt x="2018" y="207"/>
                  </a:lnTo>
                  <a:lnTo>
                    <a:pt x="1970" y="273"/>
                  </a:lnTo>
                  <a:lnTo>
                    <a:pt x="1918" y="338"/>
                  </a:lnTo>
                  <a:lnTo>
                    <a:pt x="1864" y="399"/>
                  </a:lnTo>
                  <a:lnTo>
                    <a:pt x="1810" y="459"/>
                  </a:lnTo>
                  <a:lnTo>
                    <a:pt x="1753" y="518"/>
                  </a:lnTo>
                  <a:lnTo>
                    <a:pt x="1695" y="574"/>
                  </a:lnTo>
                  <a:lnTo>
                    <a:pt x="1636" y="628"/>
                  </a:lnTo>
                  <a:lnTo>
                    <a:pt x="1574" y="680"/>
                  </a:lnTo>
                  <a:lnTo>
                    <a:pt x="1511" y="732"/>
                  </a:lnTo>
                  <a:lnTo>
                    <a:pt x="1446" y="778"/>
                  </a:lnTo>
                  <a:lnTo>
                    <a:pt x="1378" y="824"/>
                  </a:lnTo>
                  <a:lnTo>
                    <a:pt x="1311" y="868"/>
                  </a:lnTo>
                  <a:lnTo>
                    <a:pt x="1242" y="910"/>
                  </a:lnTo>
                  <a:lnTo>
                    <a:pt x="1173" y="949"/>
                  </a:lnTo>
                  <a:lnTo>
                    <a:pt x="1100" y="985"/>
                  </a:lnTo>
                  <a:lnTo>
                    <a:pt x="1027" y="1020"/>
                  </a:lnTo>
                  <a:lnTo>
                    <a:pt x="954" y="1052"/>
                  </a:lnTo>
                  <a:lnTo>
                    <a:pt x="879" y="1081"/>
                  </a:lnTo>
                  <a:lnTo>
                    <a:pt x="802" y="1110"/>
                  </a:lnTo>
                  <a:lnTo>
                    <a:pt x="726" y="1135"/>
                  </a:lnTo>
                  <a:lnTo>
                    <a:pt x="649" y="1156"/>
                  </a:lnTo>
                  <a:lnTo>
                    <a:pt x="570" y="1177"/>
                  </a:lnTo>
                  <a:lnTo>
                    <a:pt x="489" y="1194"/>
                  </a:lnTo>
                  <a:lnTo>
                    <a:pt x="411" y="1208"/>
                  </a:lnTo>
                  <a:lnTo>
                    <a:pt x="328" y="1221"/>
                  </a:lnTo>
                  <a:lnTo>
                    <a:pt x="248" y="1231"/>
                  </a:lnTo>
                  <a:lnTo>
                    <a:pt x="165" y="1237"/>
                  </a:lnTo>
                  <a:lnTo>
                    <a:pt x="82" y="1240"/>
                  </a:lnTo>
                  <a:lnTo>
                    <a:pt x="0" y="1242"/>
                  </a:lnTo>
                  <a:lnTo>
                    <a:pt x="0" y="1985"/>
                  </a:lnTo>
                  <a:close/>
                </a:path>
              </a:pathLst>
            </a:custGeom>
            <a:solidFill>
              <a:srgbClr val="009A44"/>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8" name="Freeform 39">
              <a:extLst>
                <a:ext uri="{FF2B5EF4-FFF2-40B4-BE49-F238E27FC236}">
                  <a16:creationId xmlns:a16="http://schemas.microsoft.com/office/drawing/2014/main" id="{BFD77573-3C33-9048-97B9-AF4A0F95183E}"/>
                </a:ext>
              </a:extLst>
            </p:cNvPr>
            <p:cNvSpPr>
              <a:spLocks/>
            </p:cNvSpPr>
            <p:nvPr/>
          </p:nvSpPr>
          <p:spPr bwMode="auto">
            <a:xfrm>
              <a:off x="7142516" y="3235928"/>
              <a:ext cx="583236" cy="874855"/>
            </a:xfrm>
            <a:custGeom>
              <a:avLst/>
              <a:gdLst>
                <a:gd name="T0" fmla="*/ 643 w 1077"/>
                <a:gd name="T1" fmla="*/ 1615 h 1615"/>
                <a:gd name="T2" fmla="*/ 695 w 1077"/>
                <a:gd name="T3" fmla="*/ 1522 h 1615"/>
                <a:gd name="T4" fmla="*/ 743 w 1077"/>
                <a:gd name="T5" fmla="*/ 1428 h 1615"/>
                <a:gd name="T6" fmla="*/ 789 w 1077"/>
                <a:gd name="T7" fmla="*/ 1332 h 1615"/>
                <a:gd name="T8" fmla="*/ 831 w 1077"/>
                <a:gd name="T9" fmla="*/ 1235 h 1615"/>
                <a:gd name="T10" fmla="*/ 870 w 1077"/>
                <a:gd name="T11" fmla="*/ 1137 h 1615"/>
                <a:gd name="T12" fmla="*/ 904 w 1077"/>
                <a:gd name="T13" fmla="*/ 1037 h 1615"/>
                <a:gd name="T14" fmla="*/ 937 w 1077"/>
                <a:gd name="T15" fmla="*/ 937 h 1615"/>
                <a:gd name="T16" fmla="*/ 966 w 1077"/>
                <a:gd name="T17" fmla="*/ 835 h 1615"/>
                <a:gd name="T18" fmla="*/ 993 w 1077"/>
                <a:gd name="T19" fmla="*/ 733 h 1615"/>
                <a:gd name="T20" fmla="*/ 1014 w 1077"/>
                <a:gd name="T21" fmla="*/ 632 h 1615"/>
                <a:gd name="T22" fmla="*/ 1033 w 1077"/>
                <a:gd name="T23" fmla="*/ 528 h 1615"/>
                <a:gd name="T24" fmla="*/ 1048 w 1077"/>
                <a:gd name="T25" fmla="*/ 422 h 1615"/>
                <a:gd name="T26" fmla="*/ 1062 w 1077"/>
                <a:gd name="T27" fmla="*/ 317 h 1615"/>
                <a:gd name="T28" fmla="*/ 1069 w 1077"/>
                <a:gd name="T29" fmla="*/ 213 h 1615"/>
                <a:gd name="T30" fmla="*/ 1075 w 1077"/>
                <a:gd name="T31" fmla="*/ 106 h 1615"/>
                <a:gd name="T32" fmla="*/ 1077 w 1077"/>
                <a:gd name="T33" fmla="*/ 0 h 1615"/>
                <a:gd name="T34" fmla="*/ 334 w 1077"/>
                <a:gd name="T35" fmla="*/ 0 h 1615"/>
                <a:gd name="T36" fmla="*/ 332 w 1077"/>
                <a:gd name="T37" fmla="*/ 83 h 1615"/>
                <a:gd name="T38" fmla="*/ 328 w 1077"/>
                <a:gd name="T39" fmla="*/ 163 h 1615"/>
                <a:gd name="T40" fmla="*/ 321 w 1077"/>
                <a:gd name="T41" fmla="*/ 244 h 1615"/>
                <a:gd name="T42" fmla="*/ 313 w 1077"/>
                <a:gd name="T43" fmla="*/ 324 h 1615"/>
                <a:gd name="T44" fmla="*/ 300 w 1077"/>
                <a:gd name="T45" fmla="*/ 405 h 1615"/>
                <a:gd name="T46" fmla="*/ 286 w 1077"/>
                <a:gd name="T47" fmla="*/ 486 h 1615"/>
                <a:gd name="T48" fmla="*/ 269 w 1077"/>
                <a:gd name="T49" fmla="*/ 564 h 1615"/>
                <a:gd name="T50" fmla="*/ 250 w 1077"/>
                <a:gd name="T51" fmla="*/ 643 h 1615"/>
                <a:gd name="T52" fmla="*/ 227 w 1077"/>
                <a:gd name="T53" fmla="*/ 722 h 1615"/>
                <a:gd name="T54" fmla="*/ 202 w 1077"/>
                <a:gd name="T55" fmla="*/ 799 h 1615"/>
                <a:gd name="T56" fmla="*/ 175 w 1077"/>
                <a:gd name="T57" fmla="*/ 875 h 1615"/>
                <a:gd name="T58" fmla="*/ 144 w 1077"/>
                <a:gd name="T59" fmla="*/ 950 h 1615"/>
                <a:gd name="T60" fmla="*/ 111 w 1077"/>
                <a:gd name="T61" fmla="*/ 1025 h 1615"/>
                <a:gd name="T62" fmla="*/ 77 w 1077"/>
                <a:gd name="T63" fmla="*/ 1100 h 1615"/>
                <a:gd name="T64" fmla="*/ 40 w 1077"/>
                <a:gd name="T65" fmla="*/ 1171 h 1615"/>
                <a:gd name="T66" fmla="*/ 0 w 1077"/>
                <a:gd name="T67" fmla="*/ 1244 h 1615"/>
                <a:gd name="T68" fmla="*/ 643 w 1077"/>
                <a:gd name="T69" fmla="*/ 1615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7" h="1615">
                  <a:moveTo>
                    <a:pt x="643" y="1615"/>
                  </a:moveTo>
                  <a:lnTo>
                    <a:pt x="695" y="1522"/>
                  </a:lnTo>
                  <a:lnTo>
                    <a:pt x="743" y="1428"/>
                  </a:lnTo>
                  <a:lnTo>
                    <a:pt x="789" y="1332"/>
                  </a:lnTo>
                  <a:lnTo>
                    <a:pt x="831" y="1235"/>
                  </a:lnTo>
                  <a:lnTo>
                    <a:pt x="870" y="1137"/>
                  </a:lnTo>
                  <a:lnTo>
                    <a:pt x="904" y="1037"/>
                  </a:lnTo>
                  <a:lnTo>
                    <a:pt x="937" y="937"/>
                  </a:lnTo>
                  <a:lnTo>
                    <a:pt x="966" y="835"/>
                  </a:lnTo>
                  <a:lnTo>
                    <a:pt x="993" y="733"/>
                  </a:lnTo>
                  <a:lnTo>
                    <a:pt x="1014" y="632"/>
                  </a:lnTo>
                  <a:lnTo>
                    <a:pt x="1033" y="528"/>
                  </a:lnTo>
                  <a:lnTo>
                    <a:pt x="1048" y="422"/>
                  </a:lnTo>
                  <a:lnTo>
                    <a:pt x="1062" y="317"/>
                  </a:lnTo>
                  <a:lnTo>
                    <a:pt x="1069" y="213"/>
                  </a:lnTo>
                  <a:lnTo>
                    <a:pt x="1075" y="106"/>
                  </a:lnTo>
                  <a:lnTo>
                    <a:pt x="1077" y="0"/>
                  </a:lnTo>
                  <a:lnTo>
                    <a:pt x="334" y="0"/>
                  </a:lnTo>
                  <a:lnTo>
                    <a:pt x="332" y="83"/>
                  </a:lnTo>
                  <a:lnTo>
                    <a:pt x="328" y="163"/>
                  </a:lnTo>
                  <a:lnTo>
                    <a:pt x="321" y="244"/>
                  </a:lnTo>
                  <a:lnTo>
                    <a:pt x="313" y="324"/>
                  </a:lnTo>
                  <a:lnTo>
                    <a:pt x="300" y="405"/>
                  </a:lnTo>
                  <a:lnTo>
                    <a:pt x="286" y="486"/>
                  </a:lnTo>
                  <a:lnTo>
                    <a:pt x="269" y="564"/>
                  </a:lnTo>
                  <a:lnTo>
                    <a:pt x="250" y="643"/>
                  </a:lnTo>
                  <a:lnTo>
                    <a:pt x="227" y="722"/>
                  </a:lnTo>
                  <a:lnTo>
                    <a:pt x="202" y="799"/>
                  </a:lnTo>
                  <a:lnTo>
                    <a:pt x="175" y="875"/>
                  </a:lnTo>
                  <a:lnTo>
                    <a:pt x="144" y="950"/>
                  </a:lnTo>
                  <a:lnTo>
                    <a:pt x="111" y="1025"/>
                  </a:lnTo>
                  <a:lnTo>
                    <a:pt x="77" y="1100"/>
                  </a:lnTo>
                  <a:lnTo>
                    <a:pt x="40" y="1171"/>
                  </a:lnTo>
                  <a:lnTo>
                    <a:pt x="0" y="1244"/>
                  </a:lnTo>
                  <a:lnTo>
                    <a:pt x="643" y="1615"/>
                  </a:lnTo>
                  <a:close/>
                </a:path>
              </a:pathLst>
            </a:custGeom>
            <a:solidFill>
              <a:srgbClr val="53565A"/>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9" name="Freeform 43">
              <a:extLst>
                <a:ext uri="{FF2B5EF4-FFF2-40B4-BE49-F238E27FC236}">
                  <a16:creationId xmlns:a16="http://schemas.microsoft.com/office/drawing/2014/main" id="{34E81773-4FE3-894F-9DB4-64C3F295EF1C}"/>
                </a:ext>
              </a:extLst>
            </p:cNvPr>
            <p:cNvSpPr>
              <a:spLocks/>
            </p:cNvSpPr>
            <p:nvPr/>
          </p:nvSpPr>
          <p:spPr bwMode="auto">
            <a:xfrm>
              <a:off x="4459411" y="1485137"/>
              <a:ext cx="1515547" cy="1077577"/>
            </a:xfrm>
            <a:custGeom>
              <a:avLst/>
              <a:gdLst>
                <a:gd name="T0" fmla="*/ 2689 w 2797"/>
                <a:gd name="T1" fmla="*/ 2 h 1987"/>
                <a:gd name="T2" fmla="*/ 2474 w 2797"/>
                <a:gd name="T3" fmla="*/ 17 h 1987"/>
                <a:gd name="T4" fmla="*/ 2263 w 2797"/>
                <a:gd name="T5" fmla="*/ 44 h 1987"/>
                <a:gd name="T6" fmla="*/ 2056 w 2797"/>
                <a:gd name="T7" fmla="*/ 86 h 1987"/>
                <a:gd name="T8" fmla="*/ 1852 w 2797"/>
                <a:gd name="T9" fmla="*/ 142 h 1987"/>
                <a:gd name="T10" fmla="*/ 1655 w 2797"/>
                <a:gd name="T11" fmla="*/ 209 h 1987"/>
                <a:gd name="T12" fmla="*/ 1461 w 2797"/>
                <a:gd name="T13" fmla="*/ 290 h 1987"/>
                <a:gd name="T14" fmla="*/ 1272 w 2797"/>
                <a:gd name="T15" fmla="*/ 382 h 1987"/>
                <a:gd name="T16" fmla="*/ 1092 w 2797"/>
                <a:gd name="T17" fmla="*/ 487 h 1987"/>
                <a:gd name="T18" fmla="*/ 919 w 2797"/>
                <a:gd name="T19" fmla="*/ 603 h 1987"/>
                <a:gd name="T20" fmla="*/ 752 w 2797"/>
                <a:gd name="T21" fmla="*/ 729 h 1987"/>
                <a:gd name="T22" fmla="*/ 595 w 2797"/>
                <a:gd name="T23" fmla="*/ 868 h 1987"/>
                <a:gd name="T24" fmla="*/ 445 w 2797"/>
                <a:gd name="T25" fmla="*/ 1017 h 1987"/>
                <a:gd name="T26" fmla="*/ 305 w 2797"/>
                <a:gd name="T27" fmla="*/ 1175 h 1987"/>
                <a:gd name="T28" fmla="*/ 174 w 2797"/>
                <a:gd name="T29" fmla="*/ 1344 h 1987"/>
                <a:gd name="T30" fmla="*/ 55 w 2797"/>
                <a:gd name="T31" fmla="*/ 1522 h 1987"/>
                <a:gd name="T32" fmla="*/ 643 w 2797"/>
                <a:gd name="T33" fmla="*/ 1987 h 1987"/>
                <a:gd name="T34" fmla="*/ 731 w 2797"/>
                <a:gd name="T35" fmla="*/ 1845 h 1987"/>
                <a:gd name="T36" fmla="*/ 827 w 2797"/>
                <a:gd name="T37" fmla="*/ 1712 h 1987"/>
                <a:gd name="T38" fmla="*/ 931 w 2797"/>
                <a:gd name="T39" fmla="*/ 1586 h 1987"/>
                <a:gd name="T40" fmla="*/ 1042 w 2797"/>
                <a:gd name="T41" fmla="*/ 1467 h 1987"/>
                <a:gd name="T42" fmla="*/ 1161 w 2797"/>
                <a:gd name="T43" fmla="*/ 1357 h 1987"/>
                <a:gd name="T44" fmla="*/ 1286 w 2797"/>
                <a:gd name="T45" fmla="*/ 1255 h 1987"/>
                <a:gd name="T46" fmla="*/ 1416 w 2797"/>
                <a:gd name="T47" fmla="*/ 1161 h 1987"/>
                <a:gd name="T48" fmla="*/ 1553 w 2797"/>
                <a:gd name="T49" fmla="*/ 1077 h 1987"/>
                <a:gd name="T50" fmla="*/ 1695 w 2797"/>
                <a:gd name="T51" fmla="*/ 1000 h 1987"/>
                <a:gd name="T52" fmla="*/ 1843 w 2797"/>
                <a:gd name="T53" fmla="*/ 933 h 1987"/>
                <a:gd name="T54" fmla="*/ 1992 w 2797"/>
                <a:gd name="T55" fmla="*/ 877 h 1987"/>
                <a:gd name="T56" fmla="*/ 2148 w 2797"/>
                <a:gd name="T57" fmla="*/ 829 h 1987"/>
                <a:gd name="T58" fmla="*/ 2305 w 2797"/>
                <a:gd name="T59" fmla="*/ 793 h 1987"/>
                <a:gd name="T60" fmla="*/ 2467 w 2797"/>
                <a:gd name="T61" fmla="*/ 764 h 1987"/>
                <a:gd name="T62" fmla="*/ 2630 w 2797"/>
                <a:gd name="T63" fmla="*/ 748 h 1987"/>
                <a:gd name="T64" fmla="*/ 2797 w 2797"/>
                <a:gd name="T65" fmla="*/ 743 h 1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7" h="1987">
                  <a:moveTo>
                    <a:pt x="2797" y="0"/>
                  </a:moveTo>
                  <a:lnTo>
                    <a:pt x="2689" y="2"/>
                  </a:lnTo>
                  <a:lnTo>
                    <a:pt x="2582" y="7"/>
                  </a:lnTo>
                  <a:lnTo>
                    <a:pt x="2474" y="17"/>
                  </a:lnTo>
                  <a:lnTo>
                    <a:pt x="2369" y="29"/>
                  </a:lnTo>
                  <a:lnTo>
                    <a:pt x="2263" y="44"/>
                  </a:lnTo>
                  <a:lnTo>
                    <a:pt x="2159" y="63"/>
                  </a:lnTo>
                  <a:lnTo>
                    <a:pt x="2056" y="86"/>
                  </a:lnTo>
                  <a:lnTo>
                    <a:pt x="1954" y="113"/>
                  </a:lnTo>
                  <a:lnTo>
                    <a:pt x="1852" y="142"/>
                  </a:lnTo>
                  <a:lnTo>
                    <a:pt x="1752" y="174"/>
                  </a:lnTo>
                  <a:lnTo>
                    <a:pt x="1655" y="209"/>
                  </a:lnTo>
                  <a:lnTo>
                    <a:pt x="1557" y="247"/>
                  </a:lnTo>
                  <a:lnTo>
                    <a:pt x="1461" y="290"/>
                  </a:lnTo>
                  <a:lnTo>
                    <a:pt x="1367" y="334"/>
                  </a:lnTo>
                  <a:lnTo>
                    <a:pt x="1272" y="382"/>
                  </a:lnTo>
                  <a:lnTo>
                    <a:pt x="1182" y="434"/>
                  </a:lnTo>
                  <a:lnTo>
                    <a:pt x="1092" y="487"/>
                  </a:lnTo>
                  <a:lnTo>
                    <a:pt x="1004" y="543"/>
                  </a:lnTo>
                  <a:lnTo>
                    <a:pt x="919" y="603"/>
                  </a:lnTo>
                  <a:lnTo>
                    <a:pt x="835" y="664"/>
                  </a:lnTo>
                  <a:lnTo>
                    <a:pt x="752" y="729"/>
                  </a:lnTo>
                  <a:lnTo>
                    <a:pt x="672" y="798"/>
                  </a:lnTo>
                  <a:lnTo>
                    <a:pt x="595" y="868"/>
                  </a:lnTo>
                  <a:lnTo>
                    <a:pt x="518" y="940"/>
                  </a:lnTo>
                  <a:lnTo>
                    <a:pt x="445" y="1017"/>
                  </a:lnTo>
                  <a:lnTo>
                    <a:pt x="374" y="1094"/>
                  </a:lnTo>
                  <a:lnTo>
                    <a:pt x="305" y="1175"/>
                  </a:lnTo>
                  <a:lnTo>
                    <a:pt x="240" y="1259"/>
                  </a:lnTo>
                  <a:lnTo>
                    <a:pt x="174" y="1344"/>
                  </a:lnTo>
                  <a:lnTo>
                    <a:pt x="115" y="1432"/>
                  </a:lnTo>
                  <a:lnTo>
                    <a:pt x="55" y="1522"/>
                  </a:lnTo>
                  <a:lnTo>
                    <a:pt x="0" y="1614"/>
                  </a:lnTo>
                  <a:lnTo>
                    <a:pt x="643" y="1987"/>
                  </a:lnTo>
                  <a:lnTo>
                    <a:pt x="687" y="1914"/>
                  </a:lnTo>
                  <a:lnTo>
                    <a:pt x="731" y="1845"/>
                  </a:lnTo>
                  <a:lnTo>
                    <a:pt x="777" y="1778"/>
                  </a:lnTo>
                  <a:lnTo>
                    <a:pt x="827" y="1712"/>
                  </a:lnTo>
                  <a:lnTo>
                    <a:pt x="879" y="1647"/>
                  </a:lnTo>
                  <a:lnTo>
                    <a:pt x="931" y="1586"/>
                  </a:lnTo>
                  <a:lnTo>
                    <a:pt x="986" y="1526"/>
                  </a:lnTo>
                  <a:lnTo>
                    <a:pt x="1042" y="1467"/>
                  </a:lnTo>
                  <a:lnTo>
                    <a:pt x="1100" y="1411"/>
                  </a:lnTo>
                  <a:lnTo>
                    <a:pt x="1161" y="1357"/>
                  </a:lnTo>
                  <a:lnTo>
                    <a:pt x="1223" y="1305"/>
                  </a:lnTo>
                  <a:lnTo>
                    <a:pt x="1286" y="1255"/>
                  </a:lnTo>
                  <a:lnTo>
                    <a:pt x="1351" y="1207"/>
                  </a:lnTo>
                  <a:lnTo>
                    <a:pt x="1416" y="1161"/>
                  </a:lnTo>
                  <a:lnTo>
                    <a:pt x="1484" y="1117"/>
                  </a:lnTo>
                  <a:lnTo>
                    <a:pt x="1553" y="1077"/>
                  </a:lnTo>
                  <a:lnTo>
                    <a:pt x="1624" y="1036"/>
                  </a:lnTo>
                  <a:lnTo>
                    <a:pt x="1695" y="1000"/>
                  </a:lnTo>
                  <a:lnTo>
                    <a:pt x="1768" y="965"/>
                  </a:lnTo>
                  <a:lnTo>
                    <a:pt x="1843" y="933"/>
                  </a:lnTo>
                  <a:lnTo>
                    <a:pt x="1918" y="904"/>
                  </a:lnTo>
                  <a:lnTo>
                    <a:pt x="1992" y="877"/>
                  </a:lnTo>
                  <a:lnTo>
                    <a:pt x="2069" y="852"/>
                  </a:lnTo>
                  <a:lnTo>
                    <a:pt x="2148" y="829"/>
                  </a:lnTo>
                  <a:lnTo>
                    <a:pt x="2227" y="810"/>
                  </a:lnTo>
                  <a:lnTo>
                    <a:pt x="2305" y="793"/>
                  </a:lnTo>
                  <a:lnTo>
                    <a:pt x="2386" y="777"/>
                  </a:lnTo>
                  <a:lnTo>
                    <a:pt x="2467" y="764"/>
                  </a:lnTo>
                  <a:lnTo>
                    <a:pt x="2549" y="756"/>
                  </a:lnTo>
                  <a:lnTo>
                    <a:pt x="2630" y="748"/>
                  </a:lnTo>
                  <a:lnTo>
                    <a:pt x="2712" y="745"/>
                  </a:lnTo>
                  <a:lnTo>
                    <a:pt x="2797" y="743"/>
                  </a:lnTo>
                  <a:lnTo>
                    <a:pt x="2797" y="0"/>
                  </a:lnTo>
                  <a:close/>
                </a:path>
              </a:pathLst>
            </a:custGeom>
            <a:solidFill>
              <a:srgbClr val="86BC25"/>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43" name="Freeform 984">
              <a:extLst>
                <a:ext uri="{FF2B5EF4-FFF2-40B4-BE49-F238E27FC236}">
                  <a16:creationId xmlns:a16="http://schemas.microsoft.com/office/drawing/2014/main" id="{D589DA1A-AA5B-4B91-A098-F2AA7619137D}"/>
                </a:ext>
              </a:extLst>
            </p:cNvPr>
            <p:cNvSpPr>
              <a:spLocks noChangeAspect="1" noEditPoints="1"/>
            </p:cNvSpPr>
            <p:nvPr/>
          </p:nvSpPr>
          <p:spPr bwMode="auto">
            <a:xfrm>
              <a:off x="5738566" y="3124378"/>
              <a:ext cx="498499" cy="49703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rgbClr val="43B02A"/>
            </a:solidFill>
            <a:ln>
              <a:noFill/>
            </a:ln>
          </p:spPr>
          <p:txBody>
            <a:bodyPr vert="horz" wrap="square" lIns="72477" tIns="36238" rIns="72477" bIns="36238" numCol="1" anchor="t" anchorCtr="0" compatLnSpc="1">
              <a:prstTxWarp prst="textNoShape">
                <a:avLst/>
              </a:prstTxWarp>
            </a:bodyPr>
            <a:lstStyle/>
            <a:p>
              <a:endParaRPr lang="en-GB" sz="1300" dirty="0"/>
            </a:p>
          </p:txBody>
        </p:sp>
      </p:grpSp>
    </p:spTree>
    <p:custDataLst>
      <p:tags r:id="rId1"/>
    </p:custDataLst>
    <p:extLst>
      <p:ext uri="{BB962C8B-B14F-4D97-AF65-F5344CB8AC3E}">
        <p14:creationId xmlns:p14="http://schemas.microsoft.com/office/powerpoint/2010/main" val="311127994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25">
            <a:extLst>
              <a:ext uri="{FF2B5EF4-FFF2-40B4-BE49-F238E27FC236}">
                <a16:creationId xmlns:a16="http://schemas.microsoft.com/office/drawing/2014/main" id="{89E47BA2-872C-BC46-9B18-CEE21D34CC7E}"/>
              </a:ext>
            </a:extLst>
          </p:cNvPr>
          <p:cNvSpPr/>
          <p:nvPr/>
        </p:nvSpPr>
        <p:spPr>
          <a:xfrm rot="15865758">
            <a:off x="3826726" y="3142234"/>
            <a:ext cx="2311443" cy="1421663"/>
          </a:xfrm>
          <a:custGeom>
            <a:avLst/>
            <a:gdLst>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404" h="672957">
                <a:moveTo>
                  <a:pt x="0" y="0"/>
                </a:moveTo>
                <a:cubicBezTo>
                  <a:pt x="719191" y="231168"/>
                  <a:pt x="1212349" y="195209"/>
                  <a:pt x="1926404" y="0"/>
                </a:cubicBezTo>
                <a:lnTo>
                  <a:pt x="1926404" y="672957"/>
                </a:lnTo>
                <a:cubicBezTo>
                  <a:pt x="1284269" y="375007"/>
                  <a:pt x="621586" y="349321"/>
                  <a:pt x="0" y="672957"/>
                </a:cubicBezTo>
                <a:lnTo>
                  <a:pt x="0" y="0"/>
                </a:lnTo>
                <a:close/>
              </a:path>
            </a:pathLst>
          </a:custGeom>
          <a:solidFill>
            <a:srgbClr val="D0D0CE"/>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42" name="Rectangle 25">
            <a:extLst>
              <a:ext uri="{FF2B5EF4-FFF2-40B4-BE49-F238E27FC236}">
                <a16:creationId xmlns:a16="http://schemas.microsoft.com/office/drawing/2014/main" id="{E3C6CF55-0095-3F42-AAF1-80CA4B24F3CF}"/>
              </a:ext>
            </a:extLst>
          </p:cNvPr>
          <p:cNvSpPr/>
          <p:nvPr/>
        </p:nvSpPr>
        <p:spPr>
          <a:xfrm rot="1474996">
            <a:off x="4924549" y="2483065"/>
            <a:ext cx="2313528" cy="1518683"/>
          </a:xfrm>
          <a:custGeom>
            <a:avLst/>
            <a:gdLst>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404" h="672957">
                <a:moveTo>
                  <a:pt x="0" y="0"/>
                </a:moveTo>
                <a:cubicBezTo>
                  <a:pt x="719191" y="231168"/>
                  <a:pt x="1212349" y="195209"/>
                  <a:pt x="1926404" y="0"/>
                </a:cubicBezTo>
                <a:lnTo>
                  <a:pt x="1926404" y="672957"/>
                </a:lnTo>
                <a:cubicBezTo>
                  <a:pt x="1284269" y="375007"/>
                  <a:pt x="621586" y="349321"/>
                  <a:pt x="0" y="672957"/>
                </a:cubicBezTo>
                <a:lnTo>
                  <a:pt x="0" y="0"/>
                </a:lnTo>
                <a:close/>
              </a:path>
            </a:pathLst>
          </a:custGeom>
          <a:solidFill>
            <a:srgbClr val="D0D0CE"/>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43" name="Rectangle 25">
            <a:extLst>
              <a:ext uri="{FF2B5EF4-FFF2-40B4-BE49-F238E27FC236}">
                <a16:creationId xmlns:a16="http://schemas.microsoft.com/office/drawing/2014/main" id="{BEFD8139-656E-B545-BC4E-AEBA91C62A85}"/>
              </a:ext>
            </a:extLst>
          </p:cNvPr>
          <p:cNvSpPr/>
          <p:nvPr/>
        </p:nvSpPr>
        <p:spPr>
          <a:xfrm rot="19567255">
            <a:off x="5150781" y="3921400"/>
            <a:ext cx="2366487" cy="1455288"/>
          </a:xfrm>
          <a:custGeom>
            <a:avLst/>
            <a:gdLst>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404" h="672957">
                <a:moveTo>
                  <a:pt x="0" y="0"/>
                </a:moveTo>
                <a:cubicBezTo>
                  <a:pt x="719191" y="231168"/>
                  <a:pt x="1212349" y="195209"/>
                  <a:pt x="1926404" y="0"/>
                </a:cubicBezTo>
                <a:lnTo>
                  <a:pt x="1926404" y="672957"/>
                </a:lnTo>
                <a:cubicBezTo>
                  <a:pt x="1284269" y="375007"/>
                  <a:pt x="621586" y="349321"/>
                  <a:pt x="0" y="672957"/>
                </a:cubicBezTo>
                <a:lnTo>
                  <a:pt x="0" y="0"/>
                </a:lnTo>
                <a:close/>
              </a:path>
            </a:pathLst>
          </a:custGeom>
          <a:solidFill>
            <a:srgbClr val="D0D0CE"/>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grpSp>
        <p:nvGrpSpPr>
          <p:cNvPr id="7" name="Group 6"/>
          <p:cNvGrpSpPr/>
          <p:nvPr/>
        </p:nvGrpSpPr>
        <p:grpSpPr>
          <a:xfrm>
            <a:off x="4930923" y="3038293"/>
            <a:ext cx="1728000" cy="1728000"/>
            <a:chOff x="4930922" y="2432403"/>
            <a:chExt cx="1728000" cy="1728000"/>
          </a:xfrm>
        </p:grpSpPr>
        <p:sp>
          <p:nvSpPr>
            <p:cNvPr id="52" name="Oval 51">
              <a:extLst>
                <a:ext uri="{FF2B5EF4-FFF2-40B4-BE49-F238E27FC236}">
                  <a16:creationId xmlns:a16="http://schemas.microsoft.com/office/drawing/2014/main" id="{88E09B93-4D06-9F45-B701-E4EB4300C09F}"/>
                </a:ext>
              </a:extLst>
            </p:cNvPr>
            <p:cNvSpPr/>
            <p:nvPr/>
          </p:nvSpPr>
          <p:spPr>
            <a:xfrm>
              <a:off x="4930922" y="2432403"/>
              <a:ext cx="1728000" cy="1728000"/>
            </a:xfrm>
            <a:prstGeom prst="ellipse">
              <a:avLst/>
            </a:prstGeom>
            <a:solidFill>
              <a:srgbClr val="000000"/>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53" name="Oval 52">
              <a:extLst>
                <a:ext uri="{FF2B5EF4-FFF2-40B4-BE49-F238E27FC236}">
                  <a16:creationId xmlns:a16="http://schemas.microsoft.com/office/drawing/2014/main" id="{5F193B7A-4C19-2D40-86E3-F670D954B654}"/>
                </a:ext>
              </a:extLst>
            </p:cNvPr>
            <p:cNvSpPr/>
            <p:nvPr/>
          </p:nvSpPr>
          <p:spPr>
            <a:xfrm>
              <a:off x="4984922" y="2486403"/>
              <a:ext cx="1620000" cy="1620000"/>
            </a:xfrm>
            <a:prstGeom prst="ellipse">
              <a:avLst/>
            </a:prstGeom>
            <a:solidFill>
              <a:sysClr val="window" lastClr="FFFFFF"/>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54" name="TextBox 53">
              <a:extLst>
                <a:ext uri="{FF2B5EF4-FFF2-40B4-BE49-F238E27FC236}">
                  <a16:creationId xmlns:a16="http://schemas.microsoft.com/office/drawing/2014/main" id="{2780DE6C-6066-0145-9C49-9FD0388AB449}"/>
                </a:ext>
              </a:extLst>
            </p:cNvPr>
            <p:cNvSpPr txBox="1"/>
            <p:nvPr/>
          </p:nvSpPr>
          <p:spPr>
            <a:xfrm>
              <a:off x="5344479" y="3554518"/>
              <a:ext cx="900888" cy="200055"/>
            </a:xfrm>
            <a:prstGeom prst="rect">
              <a:avLst/>
            </a:prstGeom>
            <a:noFill/>
          </p:spPr>
          <p:txBody>
            <a:bodyPr wrap="none" lIns="0" tIns="0" rIns="0" bIns="0" rtlCol="0">
              <a:spAutoFit/>
            </a:bodyPr>
            <a:lstStyle/>
            <a:p>
              <a:pPr lvl="0" algn="ctr">
                <a:defRPr/>
              </a:pPr>
              <a:r>
                <a:rPr lang="en-US" sz="1300" b="1" kern="0" dirty="0">
                  <a:solidFill>
                    <a:srgbClr val="000000"/>
                  </a:solidFill>
                </a:rPr>
                <a:t>Lorem ipsum</a:t>
              </a:r>
            </a:p>
          </p:txBody>
        </p:sp>
        <p:grpSp>
          <p:nvGrpSpPr>
            <p:cNvPr id="55" name="Group 681">
              <a:extLst>
                <a:ext uri="{FF2B5EF4-FFF2-40B4-BE49-F238E27FC236}">
                  <a16:creationId xmlns:a16="http://schemas.microsoft.com/office/drawing/2014/main" id="{3F89EC1A-E494-5246-8C56-2AF91BA5B907}"/>
                </a:ext>
              </a:extLst>
            </p:cNvPr>
            <p:cNvGrpSpPr>
              <a:grpSpLocks noChangeAspect="1"/>
            </p:cNvGrpSpPr>
            <p:nvPr/>
          </p:nvGrpSpPr>
          <p:grpSpPr bwMode="auto">
            <a:xfrm>
              <a:off x="5474882" y="2859054"/>
              <a:ext cx="640080" cy="640080"/>
              <a:chOff x="6210" y="2696"/>
              <a:chExt cx="340" cy="340"/>
            </a:xfrm>
            <a:solidFill>
              <a:srgbClr val="000000"/>
            </a:solidFill>
          </p:grpSpPr>
          <p:sp>
            <p:nvSpPr>
              <p:cNvPr id="105" name="Freeform 682">
                <a:extLst>
                  <a:ext uri="{FF2B5EF4-FFF2-40B4-BE49-F238E27FC236}">
                    <a16:creationId xmlns:a16="http://schemas.microsoft.com/office/drawing/2014/main" id="{AAD299B8-74C5-B045-B6D5-4F6947E7167D}"/>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6" name="Freeform 683">
                <a:extLst>
                  <a:ext uri="{FF2B5EF4-FFF2-40B4-BE49-F238E27FC236}">
                    <a16:creationId xmlns:a16="http://schemas.microsoft.com/office/drawing/2014/main" id="{9EEB982F-D7DB-F74F-AB57-17E14E59A0D7}"/>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7" name="Oval 684">
                <a:extLst>
                  <a:ext uri="{FF2B5EF4-FFF2-40B4-BE49-F238E27FC236}">
                    <a16:creationId xmlns:a16="http://schemas.microsoft.com/office/drawing/2014/main" id="{F92F3570-BA70-7945-A744-85D78C4A9E16}"/>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8" name="Freeform 685">
                <a:extLst>
                  <a:ext uri="{FF2B5EF4-FFF2-40B4-BE49-F238E27FC236}">
                    <a16:creationId xmlns:a16="http://schemas.microsoft.com/office/drawing/2014/main" id="{19DC59A6-E2FF-0540-956E-CCF75E373E38}"/>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grpSp>
        <p:nvGrpSpPr>
          <p:cNvPr id="4" name="Group 3"/>
          <p:cNvGrpSpPr/>
          <p:nvPr/>
        </p:nvGrpSpPr>
        <p:grpSpPr>
          <a:xfrm>
            <a:off x="3839659" y="1664876"/>
            <a:ext cx="1728000" cy="1728000"/>
            <a:chOff x="3839658" y="1082632"/>
            <a:chExt cx="1728000" cy="1728000"/>
          </a:xfrm>
        </p:grpSpPr>
        <p:sp>
          <p:nvSpPr>
            <p:cNvPr id="47" name="Oval 46">
              <a:extLst>
                <a:ext uri="{FF2B5EF4-FFF2-40B4-BE49-F238E27FC236}">
                  <a16:creationId xmlns:a16="http://schemas.microsoft.com/office/drawing/2014/main" id="{B18B6C64-7A58-7244-9FF6-955BE9069BE9}"/>
                </a:ext>
              </a:extLst>
            </p:cNvPr>
            <p:cNvSpPr/>
            <p:nvPr/>
          </p:nvSpPr>
          <p:spPr>
            <a:xfrm>
              <a:off x="3839658" y="1082632"/>
              <a:ext cx="1728000" cy="1728000"/>
            </a:xfrm>
            <a:prstGeom prst="ellipse">
              <a:avLst/>
            </a:prstGeom>
            <a:solidFill>
              <a:srgbClr val="43B02A"/>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48" name="Oval 47">
              <a:extLst>
                <a:ext uri="{FF2B5EF4-FFF2-40B4-BE49-F238E27FC236}">
                  <a16:creationId xmlns:a16="http://schemas.microsoft.com/office/drawing/2014/main" id="{1EDD36AA-375E-1C41-85A9-A15CC4F811AE}"/>
                </a:ext>
              </a:extLst>
            </p:cNvPr>
            <p:cNvSpPr/>
            <p:nvPr/>
          </p:nvSpPr>
          <p:spPr>
            <a:xfrm>
              <a:off x="3893658" y="1139196"/>
              <a:ext cx="1620000" cy="1620000"/>
            </a:xfrm>
            <a:prstGeom prst="ellipse">
              <a:avLst/>
            </a:prstGeom>
            <a:solidFill>
              <a:sysClr val="window" lastClr="FFFFFF"/>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102" name="TextBox 101">
              <a:extLst>
                <a:ext uri="{FF2B5EF4-FFF2-40B4-BE49-F238E27FC236}">
                  <a16:creationId xmlns:a16="http://schemas.microsoft.com/office/drawing/2014/main" id="{7A52CC7D-001E-F144-A7C1-FF87C836E6CB}"/>
                </a:ext>
              </a:extLst>
            </p:cNvPr>
            <p:cNvSpPr txBox="1"/>
            <p:nvPr/>
          </p:nvSpPr>
          <p:spPr>
            <a:xfrm>
              <a:off x="4253215" y="2336830"/>
              <a:ext cx="900888" cy="200055"/>
            </a:xfrm>
            <a:prstGeom prst="rect">
              <a:avLst/>
            </a:prstGeom>
            <a:noFill/>
          </p:spPr>
          <p:txBody>
            <a:bodyPr wrap="none" lIns="0" tIns="0" rIns="0" bIns="0" rtlCol="0">
              <a:spAutoFit/>
            </a:bodyPr>
            <a:lstStyle/>
            <a:p>
              <a:pPr lvl="0" algn="ctr">
                <a:defRPr/>
              </a:pPr>
              <a:r>
                <a:rPr lang="en-US" sz="1300" b="1" kern="0" dirty="0">
                  <a:solidFill>
                    <a:srgbClr val="43B02A"/>
                  </a:solidFill>
                </a:rPr>
                <a:t>Lorem ipsum</a:t>
              </a:r>
              <a:endParaRPr lang="en-US" sz="1300" b="1" kern="0" dirty="0">
                <a:solidFill>
                  <a:srgbClr val="43B02A"/>
                </a:solidFill>
                <a:latin typeface="Verdana"/>
              </a:endParaRPr>
            </a:p>
          </p:txBody>
        </p:sp>
        <p:sp>
          <p:nvSpPr>
            <p:cNvPr id="103" name="Freeform 26">
              <a:extLst>
                <a:ext uri="{FF2B5EF4-FFF2-40B4-BE49-F238E27FC236}">
                  <a16:creationId xmlns:a16="http://schemas.microsoft.com/office/drawing/2014/main" id="{021D4A40-19C5-F64B-A848-134488417CE5}"/>
                </a:ext>
              </a:extLst>
            </p:cNvPr>
            <p:cNvSpPr>
              <a:spLocks noChangeAspect="1" noEditPoints="1"/>
            </p:cNvSpPr>
            <p:nvPr/>
          </p:nvSpPr>
          <p:spPr bwMode="auto">
            <a:xfrm>
              <a:off x="4383618" y="1637748"/>
              <a:ext cx="640080" cy="640080"/>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algn="ctr"/>
              <a:endParaRPr lang="en-GB" sz="1300" dirty="0"/>
            </a:p>
          </p:txBody>
        </p:sp>
        <p:sp>
          <p:nvSpPr>
            <p:cNvPr id="104" name="TextBox 103">
              <a:extLst>
                <a:ext uri="{FF2B5EF4-FFF2-40B4-BE49-F238E27FC236}">
                  <a16:creationId xmlns:a16="http://schemas.microsoft.com/office/drawing/2014/main" id="{D5ED074F-7365-BB43-937C-C8EEC70B6911}"/>
                </a:ext>
              </a:extLst>
            </p:cNvPr>
            <p:cNvSpPr txBox="1"/>
            <p:nvPr/>
          </p:nvSpPr>
          <p:spPr>
            <a:xfrm>
              <a:off x="4651560" y="1301747"/>
              <a:ext cx="104196" cy="246221"/>
            </a:xfrm>
            <a:prstGeom prst="rect">
              <a:avLst/>
            </a:prstGeom>
            <a:noFill/>
          </p:spPr>
          <p:txBody>
            <a:bodyPr wrap="none" lIns="0" tIns="0" rIns="0" bIns="0" rtlCol="0">
              <a:spAutoFit/>
            </a:bodyPr>
            <a:lstStyle/>
            <a:p>
              <a:pPr lvl="0" algn="ctr">
                <a:defRPr/>
              </a:pPr>
              <a:r>
                <a:rPr lang="en-US" sz="1600" b="1" kern="0" dirty="0">
                  <a:solidFill>
                    <a:srgbClr val="43B02A"/>
                  </a:solidFill>
                </a:rPr>
                <a:t>1</a:t>
              </a:r>
              <a:endParaRPr lang="en-US" sz="1600" b="1" kern="0" dirty="0">
                <a:solidFill>
                  <a:srgbClr val="43B02A"/>
                </a:solidFill>
                <a:latin typeface="Verdana"/>
              </a:endParaRPr>
            </a:p>
          </p:txBody>
        </p:sp>
      </p:grpSp>
      <p:grpSp>
        <p:nvGrpSpPr>
          <p:cNvPr id="5" name="Group 4"/>
          <p:cNvGrpSpPr/>
          <p:nvPr/>
        </p:nvGrpSpPr>
        <p:grpSpPr>
          <a:xfrm>
            <a:off x="6674166" y="3014646"/>
            <a:ext cx="1728000" cy="1728000"/>
            <a:chOff x="6674165" y="2432402"/>
            <a:chExt cx="1728000" cy="1728000"/>
          </a:xfrm>
        </p:grpSpPr>
        <p:sp>
          <p:nvSpPr>
            <p:cNvPr id="49" name="Oval 48">
              <a:extLst>
                <a:ext uri="{FF2B5EF4-FFF2-40B4-BE49-F238E27FC236}">
                  <a16:creationId xmlns:a16="http://schemas.microsoft.com/office/drawing/2014/main" id="{3824E370-0C89-244D-89B5-6152891380BE}"/>
                </a:ext>
              </a:extLst>
            </p:cNvPr>
            <p:cNvSpPr/>
            <p:nvPr/>
          </p:nvSpPr>
          <p:spPr>
            <a:xfrm>
              <a:off x="6674165" y="2432402"/>
              <a:ext cx="1728000" cy="1728000"/>
            </a:xfrm>
            <a:prstGeom prst="ellipse">
              <a:avLst/>
            </a:prstGeom>
            <a:solidFill>
              <a:schemeClr val="accent4"/>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50" name="Oval 49">
              <a:extLst>
                <a:ext uri="{FF2B5EF4-FFF2-40B4-BE49-F238E27FC236}">
                  <a16:creationId xmlns:a16="http://schemas.microsoft.com/office/drawing/2014/main" id="{F0AC939E-CFAE-9A4A-A988-4EF7133AB351}"/>
                </a:ext>
              </a:extLst>
            </p:cNvPr>
            <p:cNvSpPr/>
            <p:nvPr/>
          </p:nvSpPr>
          <p:spPr>
            <a:xfrm>
              <a:off x="6728165" y="2490262"/>
              <a:ext cx="1620000" cy="1620000"/>
            </a:xfrm>
            <a:prstGeom prst="ellipse">
              <a:avLst/>
            </a:prstGeom>
            <a:solidFill>
              <a:sysClr val="window" lastClr="FFFFFF"/>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51" name="TextBox 50">
              <a:extLst>
                <a:ext uri="{FF2B5EF4-FFF2-40B4-BE49-F238E27FC236}">
                  <a16:creationId xmlns:a16="http://schemas.microsoft.com/office/drawing/2014/main" id="{54AB23D7-F9D6-8943-97BC-493B12613C53}"/>
                </a:ext>
              </a:extLst>
            </p:cNvPr>
            <p:cNvSpPr txBox="1"/>
            <p:nvPr/>
          </p:nvSpPr>
          <p:spPr>
            <a:xfrm>
              <a:off x="7087722" y="3738506"/>
              <a:ext cx="900888" cy="200055"/>
            </a:xfrm>
            <a:prstGeom prst="rect">
              <a:avLst/>
            </a:prstGeom>
            <a:noFill/>
          </p:spPr>
          <p:txBody>
            <a:bodyPr wrap="none" lIns="0" tIns="0" rIns="0" bIns="0" rtlCol="0">
              <a:spAutoFit/>
            </a:bodyPr>
            <a:lstStyle/>
            <a:p>
              <a:pPr lvl="0" algn="ctr">
                <a:defRPr/>
              </a:pPr>
              <a:r>
                <a:rPr lang="en-US" sz="1300" b="1" kern="0" dirty="0">
                  <a:solidFill>
                    <a:schemeClr val="accent4"/>
                  </a:solidFill>
                </a:rPr>
                <a:t>Lorem ipsum</a:t>
              </a:r>
            </a:p>
          </p:txBody>
        </p:sp>
        <p:sp>
          <p:nvSpPr>
            <p:cNvPr id="94" name="Freeform 109">
              <a:extLst>
                <a:ext uri="{FF2B5EF4-FFF2-40B4-BE49-F238E27FC236}">
                  <a16:creationId xmlns:a16="http://schemas.microsoft.com/office/drawing/2014/main" id="{17953A99-8F0D-574D-A9CA-3D4FDB204192}"/>
                </a:ext>
              </a:extLst>
            </p:cNvPr>
            <p:cNvSpPr>
              <a:spLocks noChangeAspect="1" noEditPoints="1"/>
            </p:cNvSpPr>
            <p:nvPr/>
          </p:nvSpPr>
          <p:spPr bwMode="auto">
            <a:xfrm>
              <a:off x="7218125" y="3037583"/>
              <a:ext cx="640080" cy="640080"/>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97" name="TextBox 96">
              <a:extLst>
                <a:ext uri="{FF2B5EF4-FFF2-40B4-BE49-F238E27FC236}">
                  <a16:creationId xmlns:a16="http://schemas.microsoft.com/office/drawing/2014/main" id="{E84F112D-34F0-6D46-B743-A99A9024388F}"/>
                </a:ext>
              </a:extLst>
            </p:cNvPr>
            <p:cNvSpPr txBox="1"/>
            <p:nvPr/>
          </p:nvSpPr>
          <p:spPr>
            <a:xfrm>
              <a:off x="7486067" y="2699741"/>
              <a:ext cx="104196" cy="246221"/>
            </a:xfrm>
            <a:prstGeom prst="rect">
              <a:avLst/>
            </a:prstGeom>
            <a:noFill/>
          </p:spPr>
          <p:txBody>
            <a:bodyPr wrap="none" lIns="0" tIns="0" rIns="0" bIns="0" rtlCol="0">
              <a:spAutoFit/>
            </a:bodyPr>
            <a:lstStyle/>
            <a:p>
              <a:pPr lvl="0" algn="ctr">
                <a:defRPr/>
              </a:pPr>
              <a:r>
                <a:rPr lang="en-US" sz="1600" b="1" kern="0" dirty="0">
                  <a:solidFill>
                    <a:schemeClr val="accent4"/>
                  </a:solidFill>
                </a:rPr>
                <a:t>2</a:t>
              </a:r>
              <a:endParaRPr lang="en-US" sz="1600" b="1" kern="0" dirty="0">
                <a:solidFill>
                  <a:schemeClr val="accent4"/>
                </a:solidFill>
                <a:latin typeface="Verdana"/>
              </a:endParaRPr>
            </a:p>
          </p:txBody>
        </p:sp>
      </p:grpSp>
      <p:grpSp>
        <p:nvGrpSpPr>
          <p:cNvPr id="6" name="Group 5"/>
          <p:cNvGrpSpPr/>
          <p:nvPr/>
        </p:nvGrpSpPr>
        <p:grpSpPr>
          <a:xfrm>
            <a:off x="4188856" y="4634701"/>
            <a:ext cx="1728000" cy="1728000"/>
            <a:chOff x="4188855" y="4052457"/>
            <a:chExt cx="1728000" cy="1728000"/>
          </a:xfrm>
        </p:grpSpPr>
        <p:sp>
          <p:nvSpPr>
            <p:cNvPr id="44" name="Oval 43">
              <a:extLst>
                <a:ext uri="{FF2B5EF4-FFF2-40B4-BE49-F238E27FC236}">
                  <a16:creationId xmlns:a16="http://schemas.microsoft.com/office/drawing/2014/main" id="{76A864C0-BD40-904D-A418-E055E85B1CEE}"/>
                </a:ext>
              </a:extLst>
            </p:cNvPr>
            <p:cNvSpPr/>
            <p:nvPr/>
          </p:nvSpPr>
          <p:spPr>
            <a:xfrm>
              <a:off x="4188855" y="4052457"/>
              <a:ext cx="1728000" cy="1728000"/>
            </a:xfrm>
            <a:prstGeom prst="ellipse">
              <a:avLst/>
            </a:prstGeom>
            <a:solidFill>
              <a:schemeClr val="accent3"/>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45" name="Oval 44">
              <a:extLst>
                <a:ext uri="{FF2B5EF4-FFF2-40B4-BE49-F238E27FC236}">
                  <a16:creationId xmlns:a16="http://schemas.microsoft.com/office/drawing/2014/main" id="{2D322E42-2FDF-FA48-B181-4B51832A025D}"/>
                </a:ext>
              </a:extLst>
            </p:cNvPr>
            <p:cNvSpPr/>
            <p:nvPr/>
          </p:nvSpPr>
          <p:spPr>
            <a:xfrm>
              <a:off x="4242855" y="4108872"/>
              <a:ext cx="1620000" cy="1620000"/>
            </a:xfrm>
            <a:prstGeom prst="ellipse">
              <a:avLst/>
            </a:prstGeom>
            <a:solidFill>
              <a:sysClr val="window" lastClr="FFFFFF"/>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46" name="TextBox 45">
              <a:extLst>
                <a:ext uri="{FF2B5EF4-FFF2-40B4-BE49-F238E27FC236}">
                  <a16:creationId xmlns:a16="http://schemas.microsoft.com/office/drawing/2014/main" id="{7330390B-2497-7846-A70B-CE376192CAEB}"/>
                </a:ext>
              </a:extLst>
            </p:cNvPr>
            <p:cNvSpPr txBox="1"/>
            <p:nvPr/>
          </p:nvSpPr>
          <p:spPr>
            <a:xfrm>
              <a:off x="4602412" y="5357116"/>
              <a:ext cx="900888" cy="200055"/>
            </a:xfrm>
            <a:prstGeom prst="rect">
              <a:avLst/>
            </a:prstGeom>
            <a:noFill/>
          </p:spPr>
          <p:txBody>
            <a:bodyPr wrap="none" lIns="0" tIns="0" rIns="0" bIns="0" rtlCol="0">
              <a:spAutoFit/>
            </a:bodyPr>
            <a:lstStyle/>
            <a:p>
              <a:pPr lvl="0" algn="ctr">
                <a:defRPr/>
              </a:pPr>
              <a:r>
                <a:rPr lang="en-US" sz="1300" b="1" kern="0" dirty="0">
                  <a:solidFill>
                    <a:schemeClr val="accent3"/>
                  </a:solidFill>
                </a:rPr>
                <a:t>Lorem ipsum</a:t>
              </a:r>
            </a:p>
          </p:txBody>
        </p:sp>
        <p:sp>
          <p:nvSpPr>
            <p:cNvPr id="95" name="Freeform 5">
              <a:extLst>
                <a:ext uri="{FF2B5EF4-FFF2-40B4-BE49-F238E27FC236}">
                  <a16:creationId xmlns:a16="http://schemas.microsoft.com/office/drawing/2014/main" id="{3F9D4733-DB63-B741-B778-79866B2E4C38}"/>
                </a:ext>
              </a:extLst>
            </p:cNvPr>
            <p:cNvSpPr>
              <a:spLocks noChangeAspect="1" noEditPoints="1"/>
            </p:cNvSpPr>
            <p:nvPr/>
          </p:nvSpPr>
          <p:spPr bwMode="auto">
            <a:xfrm>
              <a:off x="4731034" y="4658034"/>
              <a:ext cx="643642" cy="640080"/>
            </a:xfrm>
            <a:custGeom>
              <a:avLst/>
              <a:gdLst>
                <a:gd name="T0" fmla="*/ 120 w 384"/>
                <a:gd name="T1" fmla="*/ 184 h 384"/>
                <a:gd name="T2" fmla="*/ 136 w 384"/>
                <a:gd name="T3" fmla="*/ 168 h 384"/>
                <a:gd name="T4" fmla="*/ 152 w 384"/>
                <a:gd name="T5" fmla="*/ 184 h 384"/>
                <a:gd name="T6" fmla="*/ 136 w 384"/>
                <a:gd name="T7" fmla="*/ 200 h 384"/>
                <a:gd name="T8" fmla="*/ 120 w 384"/>
                <a:gd name="T9" fmla="*/ 184 h 384"/>
                <a:gd name="T10" fmla="*/ 384 w 384"/>
                <a:gd name="T11" fmla="*/ 192 h 384"/>
                <a:gd name="T12" fmla="*/ 192 w 384"/>
                <a:gd name="T13" fmla="*/ 384 h 384"/>
                <a:gd name="T14" fmla="*/ 0 w 384"/>
                <a:gd name="T15" fmla="*/ 192 h 384"/>
                <a:gd name="T16" fmla="*/ 192 w 384"/>
                <a:gd name="T17" fmla="*/ 0 h 384"/>
                <a:gd name="T18" fmla="*/ 384 w 384"/>
                <a:gd name="T19" fmla="*/ 192 h 384"/>
                <a:gd name="T20" fmla="*/ 104 w 384"/>
                <a:gd name="T21" fmla="*/ 184 h 384"/>
                <a:gd name="T22" fmla="*/ 136 w 384"/>
                <a:gd name="T23" fmla="*/ 216 h 384"/>
                <a:gd name="T24" fmla="*/ 168 w 384"/>
                <a:gd name="T25" fmla="*/ 184 h 384"/>
                <a:gd name="T26" fmla="*/ 136 w 384"/>
                <a:gd name="T27" fmla="*/ 152 h 384"/>
                <a:gd name="T28" fmla="*/ 104 w 384"/>
                <a:gd name="T29" fmla="*/ 184 h 384"/>
                <a:gd name="T30" fmla="*/ 192 w 384"/>
                <a:gd name="T31" fmla="*/ 240 h 384"/>
                <a:gd name="T32" fmla="*/ 184 w 384"/>
                <a:gd name="T33" fmla="*/ 232 h 384"/>
                <a:gd name="T34" fmla="*/ 88 w 384"/>
                <a:gd name="T35" fmla="*/ 232 h 384"/>
                <a:gd name="T36" fmla="*/ 80 w 384"/>
                <a:gd name="T37" fmla="*/ 240 h 384"/>
                <a:gd name="T38" fmla="*/ 80 w 384"/>
                <a:gd name="T39" fmla="*/ 264 h 384"/>
                <a:gd name="T40" fmla="*/ 88 w 384"/>
                <a:gd name="T41" fmla="*/ 272 h 384"/>
                <a:gd name="T42" fmla="*/ 96 w 384"/>
                <a:gd name="T43" fmla="*/ 264 h 384"/>
                <a:gd name="T44" fmla="*/ 96 w 384"/>
                <a:gd name="T45" fmla="*/ 248 h 384"/>
                <a:gd name="T46" fmla="*/ 176 w 384"/>
                <a:gd name="T47" fmla="*/ 248 h 384"/>
                <a:gd name="T48" fmla="*/ 176 w 384"/>
                <a:gd name="T49" fmla="*/ 264 h 384"/>
                <a:gd name="T50" fmla="*/ 184 w 384"/>
                <a:gd name="T51" fmla="*/ 272 h 384"/>
                <a:gd name="T52" fmla="*/ 192 w 384"/>
                <a:gd name="T53" fmla="*/ 264 h 384"/>
                <a:gd name="T54" fmla="*/ 192 w 384"/>
                <a:gd name="T55" fmla="*/ 240 h 384"/>
                <a:gd name="T56" fmla="*/ 216 w 384"/>
                <a:gd name="T57" fmla="*/ 183 h 384"/>
                <a:gd name="T58" fmla="*/ 207 w 384"/>
                <a:gd name="T59" fmla="*/ 162 h 384"/>
                <a:gd name="T60" fmla="*/ 196 w 384"/>
                <a:gd name="T61" fmla="*/ 161 h 384"/>
                <a:gd name="T62" fmla="*/ 196 w 384"/>
                <a:gd name="T63" fmla="*/ 172 h 384"/>
                <a:gd name="T64" fmla="*/ 200 w 384"/>
                <a:gd name="T65" fmla="*/ 183 h 384"/>
                <a:gd name="T66" fmla="*/ 196 w 384"/>
                <a:gd name="T67" fmla="*/ 194 h 384"/>
                <a:gd name="T68" fmla="*/ 196 w 384"/>
                <a:gd name="T69" fmla="*/ 205 h 384"/>
                <a:gd name="T70" fmla="*/ 202 w 384"/>
                <a:gd name="T71" fmla="*/ 207 h 384"/>
                <a:gd name="T72" fmla="*/ 207 w 384"/>
                <a:gd name="T73" fmla="*/ 205 h 384"/>
                <a:gd name="T74" fmla="*/ 216 w 384"/>
                <a:gd name="T75" fmla="*/ 183 h 384"/>
                <a:gd name="T76" fmla="*/ 258 w 384"/>
                <a:gd name="T77" fmla="*/ 183 h 384"/>
                <a:gd name="T78" fmla="*/ 233 w 384"/>
                <a:gd name="T79" fmla="*/ 129 h 384"/>
                <a:gd name="T80" fmla="*/ 221 w 384"/>
                <a:gd name="T81" fmla="*/ 130 h 384"/>
                <a:gd name="T82" fmla="*/ 222 w 384"/>
                <a:gd name="T83" fmla="*/ 141 h 384"/>
                <a:gd name="T84" fmla="*/ 242 w 384"/>
                <a:gd name="T85" fmla="*/ 183 h 384"/>
                <a:gd name="T86" fmla="*/ 222 w 384"/>
                <a:gd name="T87" fmla="*/ 225 h 384"/>
                <a:gd name="T88" fmla="*/ 221 w 384"/>
                <a:gd name="T89" fmla="*/ 237 h 384"/>
                <a:gd name="T90" fmla="*/ 227 w 384"/>
                <a:gd name="T91" fmla="*/ 239 h 384"/>
                <a:gd name="T92" fmla="*/ 233 w 384"/>
                <a:gd name="T93" fmla="*/ 238 h 384"/>
                <a:gd name="T94" fmla="*/ 258 w 384"/>
                <a:gd name="T95" fmla="*/ 183 h 384"/>
                <a:gd name="T96" fmla="*/ 301 w 384"/>
                <a:gd name="T97" fmla="*/ 183 h 384"/>
                <a:gd name="T98" fmla="*/ 258 w 384"/>
                <a:gd name="T99" fmla="*/ 96 h 384"/>
                <a:gd name="T100" fmla="*/ 247 w 384"/>
                <a:gd name="T101" fmla="*/ 98 h 384"/>
                <a:gd name="T102" fmla="*/ 248 w 384"/>
                <a:gd name="T103" fmla="*/ 109 h 384"/>
                <a:gd name="T104" fmla="*/ 285 w 384"/>
                <a:gd name="T105" fmla="*/ 183 h 384"/>
                <a:gd name="T106" fmla="*/ 248 w 384"/>
                <a:gd name="T107" fmla="*/ 257 h 384"/>
                <a:gd name="T108" fmla="*/ 247 w 384"/>
                <a:gd name="T109" fmla="*/ 269 h 384"/>
                <a:gd name="T110" fmla="*/ 253 w 384"/>
                <a:gd name="T111" fmla="*/ 272 h 384"/>
                <a:gd name="T112" fmla="*/ 258 w 384"/>
                <a:gd name="T113" fmla="*/ 270 h 384"/>
                <a:gd name="T114" fmla="*/ 301 w 384"/>
                <a:gd name="T115" fmla="*/ 183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4" h="384">
                  <a:moveTo>
                    <a:pt x="120" y="184"/>
                  </a:moveTo>
                  <a:cubicBezTo>
                    <a:pt x="120" y="175"/>
                    <a:pt x="127" y="168"/>
                    <a:pt x="136" y="168"/>
                  </a:cubicBezTo>
                  <a:cubicBezTo>
                    <a:pt x="144" y="168"/>
                    <a:pt x="152" y="175"/>
                    <a:pt x="152" y="184"/>
                  </a:cubicBezTo>
                  <a:cubicBezTo>
                    <a:pt x="152" y="192"/>
                    <a:pt x="144" y="200"/>
                    <a:pt x="136" y="200"/>
                  </a:cubicBezTo>
                  <a:cubicBezTo>
                    <a:pt x="127" y="200"/>
                    <a:pt x="120" y="192"/>
                    <a:pt x="120" y="184"/>
                  </a:cubicBezTo>
                  <a:close/>
                  <a:moveTo>
                    <a:pt x="384" y="192"/>
                  </a:moveTo>
                  <a:cubicBezTo>
                    <a:pt x="384" y="298"/>
                    <a:pt x="298" y="384"/>
                    <a:pt x="192" y="384"/>
                  </a:cubicBezTo>
                  <a:cubicBezTo>
                    <a:pt x="86" y="384"/>
                    <a:pt x="0" y="298"/>
                    <a:pt x="0" y="192"/>
                  </a:cubicBezTo>
                  <a:cubicBezTo>
                    <a:pt x="0" y="86"/>
                    <a:pt x="86" y="0"/>
                    <a:pt x="192" y="0"/>
                  </a:cubicBezTo>
                  <a:cubicBezTo>
                    <a:pt x="298" y="0"/>
                    <a:pt x="384" y="86"/>
                    <a:pt x="384" y="192"/>
                  </a:cubicBezTo>
                  <a:close/>
                  <a:moveTo>
                    <a:pt x="104" y="184"/>
                  </a:moveTo>
                  <a:cubicBezTo>
                    <a:pt x="104" y="201"/>
                    <a:pt x="118" y="216"/>
                    <a:pt x="136" y="216"/>
                  </a:cubicBezTo>
                  <a:cubicBezTo>
                    <a:pt x="153" y="216"/>
                    <a:pt x="168" y="201"/>
                    <a:pt x="168" y="184"/>
                  </a:cubicBezTo>
                  <a:cubicBezTo>
                    <a:pt x="168" y="166"/>
                    <a:pt x="153" y="152"/>
                    <a:pt x="136" y="152"/>
                  </a:cubicBezTo>
                  <a:cubicBezTo>
                    <a:pt x="118" y="152"/>
                    <a:pt x="104" y="166"/>
                    <a:pt x="104" y="184"/>
                  </a:cubicBezTo>
                  <a:close/>
                  <a:moveTo>
                    <a:pt x="192" y="240"/>
                  </a:moveTo>
                  <a:cubicBezTo>
                    <a:pt x="192" y="235"/>
                    <a:pt x="188" y="232"/>
                    <a:pt x="184" y="232"/>
                  </a:cubicBezTo>
                  <a:cubicBezTo>
                    <a:pt x="88" y="232"/>
                    <a:pt x="88" y="232"/>
                    <a:pt x="88" y="232"/>
                  </a:cubicBezTo>
                  <a:cubicBezTo>
                    <a:pt x="83" y="232"/>
                    <a:pt x="80" y="235"/>
                    <a:pt x="80" y="240"/>
                  </a:cubicBezTo>
                  <a:cubicBezTo>
                    <a:pt x="80" y="264"/>
                    <a:pt x="80" y="264"/>
                    <a:pt x="80" y="264"/>
                  </a:cubicBezTo>
                  <a:cubicBezTo>
                    <a:pt x="80" y="268"/>
                    <a:pt x="83" y="272"/>
                    <a:pt x="88" y="272"/>
                  </a:cubicBezTo>
                  <a:cubicBezTo>
                    <a:pt x="92" y="272"/>
                    <a:pt x="96" y="268"/>
                    <a:pt x="96" y="264"/>
                  </a:cubicBezTo>
                  <a:cubicBezTo>
                    <a:pt x="96" y="248"/>
                    <a:pt x="96" y="248"/>
                    <a:pt x="96" y="248"/>
                  </a:cubicBezTo>
                  <a:cubicBezTo>
                    <a:pt x="176" y="248"/>
                    <a:pt x="176" y="248"/>
                    <a:pt x="176" y="248"/>
                  </a:cubicBezTo>
                  <a:cubicBezTo>
                    <a:pt x="176" y="264"/>
                    <a:pt x="176" y="264"/>
                    <a:pt x="176" y="264"/>
                  </a:cubicBezTo>
                  <a:cubicBezTo>
                    <a:pt x="176" y="268"/>
                    <a:pt x="179" y="272"/>
                    <a:pt x="184" y="272"/>
                  </a:cubicBezTo>
                  <a:cubicBezTo>
                    <a:pt x="188" y="272"/>
                    <a:pt x="192" y="268"/>
                    <a:pt x="192" y="264"/>
                  </a:cubicBezTo>
                  <a:lnTo>
                    <a:pt x="192" y="240"/>
                  </a:lnTo>
                  <a:close/>
                  <a:moveTo>
                    <a:pt x="216" y="183"/>
                  </a:moveTo>
                  <a:cubicBezTo>
                    <a:pt x="216" y="175"/>
                    <a:pt x="213" y="167"/>
                    <a:pt x="207" y="162"/>
                  </a:cubicBezTo>
                  <a:cubicBezTo>
                    <a:pt x="204" y="158"/>
                    <a:pt x="199" y="158"/>
                    <a:pt x="196" y="161"/>
                  </a:cubicBezTo>
                  <a:cubicBezTo>
                    <a:pt x="193" y="164"/>
                    <a:pt x="193" y="169"/>
                    <a:pt x="196" y="172"/>
                  </a:cubicBezTo>
                  <a:cubicBezTo>
                    <a:pt x="198" y="175"/>
                    <a:pt x="200" y="179"/>
                    <a:pt x="200" y="183"/>
                  </a:cubicBezTo>
                  <a:cubicBezTo>
                    <a:pt x="200" y="187"/>
                    <a:pt x="198" y="191"/>
                    <a:pt x="196" y="194"/>
                  </a:cubicBezTo>
                  <a:cubicBezTo>
                    <a:pt x="193" y="197"/>
                    <a:pt x="193" y="202"/>
                    <a:pt x="196" y="205"/>
                  </a:cubicBezTo>
                  <a:cubicBezTo>
                    <a:pt x="198" y="206"/>
                    <a:pt x="200" y="207"/>
                    <a:pt x="202" y="207"/>
                  </a:cubicBezTo>
                  <a:cubicBezTo>
                    <a:pt x="204" y="207"/>
                    <a:pt x="206" y="206"/>
                    <a:pt x="207" y="205"/>
                  </a:cubicBezTo>
                  <a:cubicBezTo>
                    <a:pt x="213" y="199"/>
                    <a:pt x="216" y="191"/>
                    <a:pt x="216" y="183"/>
                  </a:cubicBezTo>
                  <a:close/>
                  <a:moveTo>
                    <a:pt x="258" y="183"/>
                  </a:moveTo>
                  <a:cubicBezTo>
                    <a:pt x="258" y="162"/>
                    <a:pt x="249" y="142"/>
                    <a:pt x="233" y="129"/>
                  </a:cubicBezTo>
                  <a:cubicBezTo>
                    <a:pt x="229" y="126"/>
                    <a:pt x="224" y="126"/>
                    <a:pt x="221" y="130"/>
                  </a:cubicBezTo>
                  <a:cubicBezTo>
                    <a:pt x="218" y="133"/>
                    <a:pt x="219" y="138"/>
                    <a:pt x="222" y="141"/>
                  </a:cubicBezTo>
                  <a:cubicBezTo>
                    <a:pt x="235" y="152"/>
                    <a:pt x="242" y="167"/>
                    <a:pt x="242" y="183"/>
                  </a:cubicBezTo>
                  <a:cubicBezTo>
                    <a:pt x="242" y="199"/>
                    <a:pt x="235" y="215"/>
                    <a:pt x="222" y="225"/>
                  </a:cubicBezTo>
                  <a:cubicBezTo>
                    <a:pt x="219" y="228"/>
                    <a:pt x="218" y="233"/>
                    <a:pt x="221" y="237"/>
                  </a:cubicBezTo>
                  <a:cubicBezTo>
                    <a:pt x="223" y="238"/>
                    <a:pt x="225" y="239"/>
                    <a:pt x="227" y="239"/>
                  </a:cubicBezTo>
                  <a:cubicBezTo>
                    <a:pt x="229" y="239"/>
                    <a:pt x="231" y="239"/>
                    <a:pt x="233" y="238"/>
                  </a:cubicBezTo>
                  <a:cubicBezTo>
                    <a:pt x="249" y="224"/>
                    <a:pt x="258" y="204"/>
                    <a:pt x="258" y="183"/>
                  </a:cubicBezTo>
                  <a:close/>
                  <a:moveTo>
                    <a:pt x="301" y="183"/>
                  </a:moveTo>
                  <a:cubicBezTo>
                    <a:pt x="301" y="149"/>
                    <a:pt x="285" y="118"/>
                    <a:pt x="258" y="96"/>
                  </a:cubicBezTo>
                  <a:cubicBezTo>
                    <a:pt x="254" y="94"/>
                    <a:pt x="249" y="94"/>
                    <a:pt x="247" y="98"/>
                  </a:cubicBezTo>
                  <a:cubicBezTo>
                    <a:pt x="244" y="101"/>
                    <a:pt x="244" y="106"/>
                    <a:pt x="248" y="109"/>
                  </a:cubicBezTo>
                  <a:cubicBezTo>
                    <a:pt x="271" y="127"/>
                    <a:pt x="285" y="154"/>
                    <a:pt x="285" y="183"/>
                  </a:cubicBezTo>
                  <a:cubicBezTo>
                    <a:pt x="285" y="212"/>
                    <a:pt x="271" y="239"/>
                    <a:pt x="248" y="257"/>
                  </a:cubicBezTo>
                  <a:cubicBezTo>
                    <a:pt x="244" y="260"/>
                    <a:pt x="244" y="265"/>
                    <a:pt x="247" y="269"/>
                  </a:cubicBezTo>
                  <a:cubicBezTo>
                    <a:pt x="248" y="271"/>
                    <a:pt x="251" y="272"/>
                    <a:pt x="253" y="272"/>
                  </a:cubicBezTo>
                  <a:cubicBezTo>
                    <a:pt x="255" y="272"/>
                    <a:pt x="256" y="271"/>
                    <a:pt x="258" y="270"/>
                  </a:cubicBezTo>
                  <a:cubicBezTo>
                    <a:pt x="285" y="248"/>
                    <a:pt x="301" y="217"/>
                    <a:pt x="301" y="18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300" dirty="0"/>
            </a:p>
          </p:txBody>
        </p:sp>
        <p:sp>
          <p:nvSpPr>
            <p:cNvPr id="98" name="TextBox 97">
              <a:extLst>
                <a:ext uri="{FF2B5EF4-FFF2-40B4-BE49-F238E27FC236}">
                  <a16:creationId xmlns:a16="http://schemas.microsoft.com/office/drawing/2014/main" id="{83351990-3913-1D4E-8899-E57705D4D383}"/>
                </a:ext>
              </a:extLst>
            </p:cNvPr>
            <p:cNvSpPr txBox="1"/>
            <p:nvPr/>
          </p:nvSpPr>
          <p:spPr>
            <a:xfrm>
              <a:off x="5000757" y="4322033"/>
              <a:ext cx="104196" cy="246221"/>
            </a:xfrm>
            <a:prstGeom prst="rect">
              <a:avLst/>
            </a:prstGeom>
            <a:noFill/>
          </p:spPr>
          <p:txBody>
            <a:bodyPr wrap="none" lIns="0" tIns="0" rIns="0" bIns="0" rtlCol="0">
              <a:spAutoFit/>
            </a:bodyPr>
            <a:lstStyle/>
            <a:p>
              <a:pPr lvl="0" algn="ctr">
                <a:defRPr/>
              </a:pPr>
              <a:r>
                <a:rPr lang="en-US" sz="1600" b="1" kern="0" dirty="0">
                  <a:solidFill>
                    <a:schemeClr val="accent3"/>
                  </a:solidFill>
                </a:rPr>
                <a:t>3</a:t>
              </a:r>
              <a:endParaRPr lang="en-US" sz="1600" b="1" kern="0" dirty="0">
                <a:solidFill>
                  <a:schemeClr val="accent3"/>
                </a:solidFill>
                <a:latin typeface="Verdana"/>
              </a:endParaRPr>
            </a:p>
          </p:txBody>
        </p:sp>
      </p:grpSp>
      <p:sp>
        <p:nvSpPr>
          <p:cNvPr id="99" name="Rectangle 98">
            <a:extLst>
              <a:ext uri="{FF2B5EF4-FFF2-40B4-BE49-F238E27FC236}">
                <a16:creationId xmlns:a16="http://schemas.microsoft.com/office/drawing/2014/main" id="{6DD28507-340E-5140-877A-4A307A6DFB62}"/>
              </a:ext>
            </a:extLst>
          </p:cNvPr>
          <p:cNvSpPr/>
          <p:nvPr/>
        </p:nvSpPr>
        <p:spPr>
          <a:xfrm>
            <a:off x="1900238" y="1928379"/>
            <a:ext cx="1729005" cy="800219"/>
          </a:xfrm>
          <a:prstGeom prst="rect">
            <a:avLst/>
          </a:prstGeom>
        </p:spPr>
        <p:txBody>
          <a:bodyPr wrap="square" lIns="0" tIns="0" rIns="0" bIns="0">
            <a:spAutoFit/>
          </a:bodyPr>
          <a:lstStyle/>
          <a:p>
            <a:r>
              <a:rPr lang="en-GB" sz="1300" dirty="0"/>
              <a:t>This is dummy text it is not here to be read. This is dummy text it is not here to be read. </a:t>
            </a:r>
          </a:p>
        </p:txBody>
      </p:sp>
      <p:sp>
        <p:nvSpPr>
          <p:cNvPr id="100" name="Rectangle 99">
            <a:extLst>
              <a:ext uri="{FF2B5EF4-FFF2-40B4-BE49-F238E27FC236}">
                <a16:creationId xmlns:a16="http://schemas.microsoft.com/office/drawing/2014/main" id="{277C8216-B7E9-4349-8C61-20FFCE58747E}"/>
              </a:ext>
            </a:extLst>
          </p:cNvPr>
          <p:cNvSpPr/>
          <p:nvPr/>
        </p:nvSpPr>
        <p:spPr>
          <a:xfrm>
            <a:off x="8562759" y="3650422"/>
            <a:ext cx="1729005" cy="800219"/>
          </a:xfrm>
          <a:prstGeom prst="rect">
            <a:avLst/>
          </a:prstGeom>
        </p:spPr>
        <p:txBody>
          <a:bodyPr wrap="square" lIns="0" tIns="0" rIns="0" bIns="0">
            <a:spAutoFit/>
          </a:bodyPr>
          <a:lstStyle/>
          <a:p>
            <a:r>
              <a:rPr lang="en-GB" sz="1300" dirty="0"/>
              <a:t>This is dummy text it is not here to be read. This is dummy text it is not here to be read. </a:t>
            </a:r>
          </a:p>
        </p:txBody>
      </p:sp>
      <p:sp>
        <p:nvSpPr>
          <p:cNvPr id="101" name="Rectangle 100">
            <a:extLst>
              <a:ext uri="{FF2B5EF4-FFF2-40B4-BE49-F238E27FC236}">
                <a16:creationId xmlns:a16="http://schemas.microsoft.com/office/drawing/2014/main" id="{F3CAADCE-847C-A948-852F-EDDED9696A96}"/>
              </a:ext>
            </a:extLst>
          </p:cNvPr>
          <p:cNvSpPr/>
          <p:nvPr/>
        </p:nvSpPr>
        <p:spPr>
          <a:xfrm>
            <a:off x="6005514" y="5581337"/>
            <a:ext cx="1729005" cy="800219"/>
          </a:xfrm>
          <a:prstGeom prst="rect">
            <a:avLst/>
          </a:prstGeom>
        </p:spPr>
        <p:txBody>
          <a:bodyPr wrap="square" lIns="0" tIns="0" rIns="0" bIns="0">
            <a:spAutoFit/>
          </a:bodyPr>
          <a:lstStyle/>
          <a:p>
            <a:r>
              <a:rPr lang="en-GB" sz="1300" dirty="0"/>
              <a:t>This is dummy text it is not here to be read. This is dummy text it is not here to be read. </a:t>
            </a:r>
          </a:p>
        </p:txBody>
      </p:sp>
    </p:spTree>
    <p:custDataLst>
      <p:tags r:id="rId1"/>
    </p:custDataLst>
    <p:extLst>
      <p:ext uri="{BB962C8B-B14F-4D97-AF65-F5344CB8AC3E}">
        <p14:creationId xmlns:p14="http://schemas.microsoft.com/office/powerpoint/2010/main" val="301527442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78253" y="1714499"/>
            <a:ext cx="2760758" cy="4584701"/>
            <a:chOff x="478252" y="1386503"/>
            <a:chExt cx="2958267" cy="4912698"/>
          </a:xfrm>
        </p:grpSpPr>
        <p:sp>
          <p:nvSpPr>
            <p:cNvPr id="5" name="Freeform 6"/>
            <p:cNvSpPr>
              <a:spLocks noEditPoints="1"/>
            </p:cNvSpPr>
            <p:nvPr/>
          </p:nvSpPr>
          <p:spPr bwMode="auto">
            <a:xfrm flipH="1">
              <a:off x="1942020" y="4226319"/>
              <a:ext cx="956706" cy="946072"/>
            </a:xfrm>
            <a:custGeom>
              <a:avLst/>
              <a:gdLst>
                <a:gd name="T0" fmla="*/ 98 w 121"/>
                <a:gd name="T1" fmla="*/ 30 h 121"/>
                <a:gd name="T2" fmla="*/ 104 w 121"/>
                <a:gd name="T3" fmla="*/ 24 h 121"/>
                <a:gd name="T4" fmla="*/ 97 w 121"/>
                <a:gd name="T5" fmla="*/ 17 h 121"/>
                <a:gd name="T6" fmla="*/ 91 w 121"/>
                <a:gd name="T7" fmla="*/ 23 h 121"/>
                <a:gd name="T8" fmla="*/ 65 w 121"/>
                <a:gd name="T9" fmla="*/ 12 h 121"/>
                <a:gd name="T10" fmla="*/ 65 w 121"/>
                <a:gd name="T11" fmla="*/ 0 h 121"/>
                <a:gd name="T12" fmla="*/ 56 w 121"/>
                <a:gd name="T13" fmla="*/ 0 h 121"/>
                <a:gd name="T14" fmla="*/ 56 w 121"/>
                <a:gd name="T15" fmla="*/ 12 h 121"/>
                <a:gd name="T16" fmla="*/ 30 w 121"/>
                <a:gd name="T17" fmla="*/ 23 h 121"/>
                <a:gd name="T18" fmla="*/ 21 w 121"/>
                <a:gd name="T19" fmla="*/ 14 h 121"/>
                <a:gd name="T20" fmla="*/ 14 w 121"/>
                <a:gd name="T21" fmla="*/ 21 h 121"/>
                <a:gd name="T22" fmla="*/ 23 w 121"/>
                <a:gd name="T23" fmla="*/ 30 h 121"/>
                <a:gd name="T24" fmla="*/ 12 w 121"/>
                <a:gd name="T25" fmla="*/ 56 h 121"/>
                <a:gd name="T26" fmla="*/ 0 w 121"/>
                <a:gd name="T27" fmla="*/ 56 h 121"/>
                <a:gd name="T28" fmla="*/ 0 w 121"/>
                <a:gd name="T29" fmla="*/ 66 h 121"/>
                <a:gd name="T30" fmla="*/ 12 w 121"/>
                <a:gd name="T31" fmla="*/ 66 h 121"/>
                <a:gd name="T32" fmla="*/ 23 w 121"/>
                <a:gd name="T33" fmla="*/ 91 h 121"/>
                <a:gd name="T34" fmla="*/ 17 w 121"/>
                <a:gd name="T35" fmla="*/ 97 h 121"/>
                <a:gd name="T36" fmla="*/ 24 w 121"/>
                <a:gd name="T37" fmla="*/ 104 h 121"/>
                <a:gd name="T38" fmla="*/ 30 w 121"/>
                <a:gd name="T39" fmla="*/ 98 h 121"/>
                <a:gd name="T40" fmla="*/ 56 w 121"/>
                <a:gd name="T41" fmla="*/ 109 h 121"/>
                <a:gd name="T42" fmla="*/ 56 w 121"/>
                <a:gd name="T43" fmla="*/ 121 h 121"/>
                <a:gd name="T44" fmla="*/ 65 w 121"/>
                <a:gd name="T45" fmla="*/ 121 h 121"/>
                <a:gd name="T46" fmla="*/ 65 w 121"/>
                <a:gd name="T47" fmla="*/ 109 h 121"/>
                <a:gd name="T48" fmla="*/ 91 w 121"/>
                <a:gd name="T49" fmla="*/ 98 h 121"/>
                <a:gd name="T50" fmla="*/ 100 w 121"/>
                <a:gd name="T51" fmla="*/ 107 h 121"/>
                <a:gd name="T52" fmla="*/ 107 w 121"/>
                <a:gd name="T53" fmla="*/ 100 h 121"/>
                <a:gd name="T54" fmla="*/ 98 w 121"/>
                <a:gd name="T55" fmla="*/ 91 h 121"/>
                <a:gd name="T56" fmla="*/ 109 w 121"/>
                <a:gd name="T57" fmla="*/ 66 h 121"/>
                <a:gd name="T58" fmla="*/ 121 w 121"/>
                <a:gd name="T59" fmla="*/ 66 h 121"/>
                <a:gd name="T60" fmla="*/ 121 w 121"/>
                <a:gd name="T61" fmla="*/ 56 h 121"/>
                <a:gd name="T62" fmla="*/ 109 w 121"/>
                <a:gd name="T63" fmla="*/ 56 h 121"/>
                <a:gd name="T64" fmla="*/ 98 w 121"/>
                <a:gd name="T65" fmla="*/ 30 h 121"/>
                <a:gd name="T66" fmla="*/ 61 w 121"/>
                <a:gd name="T67" fmla="*/ 90 h 121"/>
                <a:gd name="T68" fmla="*/ 31 w 121"/>
                <a:gd name="T69" fmla="*/ 61 h 121"/>
                <a:gd name="T70" fmla="*/ 61 w 121"/>
                <a:gd name="T71" fmla="*/ 31 h 121"/>
                <a:gd name="T72" fmla="*/ 90 w 121"/>
                <a:gd name="T73" fmla="*/ 61 h 121"/>
                <a:gd name="T74" fmla="*/ 61 w 121"/>
                <a:gd name="T75" fmla="*/ 9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1" h="121">
                  <a:moveTo>
                    <a:pt x="98" y="30"/>
                  </a:moveTo>
                  <a:cubicBezTo>
                    <a:pt x="104" y="24"/>
                    <a:pt x="104" y="24"/>
                    <a:pt x="104" y="24"/>
                  </a:cubicBezTo>
                  <a:cubicBezTo>
                    <a:pt x="97" y="17"/>
                    <a:pt x="97" y="17"/>
                    <a:pt x="97" y="17"/>
                  </a:cubicBezTo>
                  <a:cubicBezTo>
                    <a:pt x="91" y="23"/>
                    <a:pt x="91" y="23"/>
                    <a:pt x="91" y="23"/>
                  </a:cubicBezTo>
                  <a:cubicBezTo>
                    <a:pt x="84" y="17"/>
                    <a:pt x="75" y="13"/>
                    <a:pt x="65" y="12"/>
                  </a:cubicBezTo>
                  <a:cubicBezTo>
                    <a:pt x="65" y="0"/>
                    <a:pt x="65" y="0"/>
                    <a:pt x="65" y="0"/>
                  </a:cubicBezTo>
                  <a:cubicBezTo>
                    <a:pt x="56" y="0"/>
                    <a:pt x="56" y="0"/>
                    <a:pt x="56" y="0"/>
                  </a:cubicBezTo>
                  <a:cubicBezTo>
                    <a:pt x="56" y="12"/>
                    <a:pt x="56" y="12"/>
                    <a:pt x="56" y="12"/>
                  </a:cubicBezTo>
                  <a:cubicBezTo>
                    <a:pt x="46" y="13"/>
                    <a:pt x="37" y="17"/>
                    <a:pt x="30" y="23"/>
                  </a:cubicBezTo>
                  <a:cubicBezTo>
                    <a:pt x="21" y="14"/>
                    <a:pt x="21" y="14"/>
                    <a:pt x="21" y="14"/>
                  </a:cubicBezTo>
                  <a:cubicBezTo>
                    <a:pt x="14" y="21"/>
                    <a:pt x="14" y="21"/>
                    <a:pt x="14" y="21"/>
                  </a:cubicBezTo>
                  <a:cubicBezTo>
                    <a:pt x="23" y="30"/>
                    <a:pt x="23" y="30"/>
                    <a:pt x="23" y="30"/>
                  </a:cubicBezTo>
                  <a:cubicBezTo>
                    <a:pt x="17" y="37"/>
                    <a:pt x="13" y="46"/>
                    <a:pt x="12" y="56"/>
                  </a:cubicBezTo>
                  <a:cubicBezTo>
                    <a:pt x="0" y="56"/>
                    <a:pt x="0" y="56"/>
                    <a:pt x="0" y="56"/>
                  </a:cubicBezTo>
                  <a:cubicBezTo>
                    <a:pt x="0" y="66"/>
                    <a:pt x="0" y="66"/>
                    <a:pt x="0" y="66"/>
                  </a:cubicBezTo>
                  <a:cubicBezTo>
                    <a:pt x="12" y="66"/>
                    <a:pt x="12" y="66"/>
                    <a:pt x="12" y="66"/>
                  </a:cubicBezTo>
                  <a:cubicBezTo>
                    <a:pt x="13" y="75"/>
                    <a:pt x="17" y="84"/>
                    <a:pt x="23" y="91"/>
                  </a:cubicBezTo>
                  <a:cubicBezTo>
                    <a:pt x="17" y="97"/>
                    <a:pt x="17" y="97"/>
                    <a:pt x="17" y="97"/>
                  </a:cubicBezTo>
                  <a:cubicBezTo>
                    <a:pt x="24" y="104"/>
                    <a:pt x="24" y="104"/>
                    <a:pt x="24" y="104"/>
                  </a:cubicBezTo>
                  <a:cubicBezTo>
                    <a:pt x="30" y="98"/>
                    <a:pt x="30" y="98"/>
                    <a:pt x="30" y="98"/>
                  </a:cubicBezTo>
                  <a:cubicBezTo>
                    <a:pt x="37" y="104"/>
                    <a:pt x="46" y="108"/>
                    <a:pt x="56" y="109"/>
                  </a:cubicBezTo>
                  <a:cubicBezTo>
                    <a:pt x="56" y="121"/>
                    <a:pt x="56" y="121"/>
                    <a:pt x="56" y="121"/>
                  </a:cubicBezTo>
                  <a:cubicBezTo>
                    <a:pt x="65" y="121"/>
                    <a:pt x="65" y="121"/>
                    <a:pt x="65" y="121"/>
                  </a:cubicBezTo>
                  <a:cubicBezTo>
                    <a:pt x="65" y="109"/>
                    <a:pt x="65" y="109"/>
                    <a:pt x="65" y="109"/>
                  </a:cubicBezTo>
                  <a:cubicBezTo>
                    <a:pt x="75" y="108"/>
                    <a:pt x="84" y="104"/>
                    <a:pt x="91" y="98"/>
                  </a:cubicBezTo>
                  <a:cubicBezTo>
                    <a:pt x="100" y="107"/>
                    <a:pt x="100" y="107"/>
                    <a:pt x="100" y="107"/>
                  </a:cubicBezTo>
                  <a:cubicBezTo>
                    <a:pt x="107" y="100"/>
                    <a:pt x="107" y="100"/>
                    <a:pt x="107" y="100"/>
                  </a:cubicBezTo>
                  <a:cubicBezTo>
                    <a:pt x="98" y="91"/>
                    <a:pt x="98" y="91"/>
                    <a:pt x="98" y="91"/>
                  </a:cubicBezTo>
                  <a:cubicBezTo>
                    <a:pt x="104" y="84"/>
                    <a:pt x="108" y="75"/>
                    <a:pt x="109" y="66"/>
                  </a:cubicBezTo>
                  <a:cubicBezTo>
                    <a:pt x="121" y="66"/>
                    <a:pt x="121" y="66"/>
                    <a:pt x="121" y="66"/>
                  </a:cubicBezTo>
                  <a:cubicBezTo>
                    <a:pt x="121" y="56"/>
                    <a:pt x="121" y="56"/>
                    <a:pt x="121" y="56"/>
                  </a:cubicBezTo>
                  <a:cubicBezTo>
                    <a:pt x="109" y="56"/>
                    <a:pt x="109" y="56"/>
                    <a:pt x="109" y="56"/>
                  </a:cubicBezTo>
                  <a:cubicBezTo>
                    <a:pt x="108" y="46"/>
                    <a:pt x="104" y="37"/>
                    <a:pt x="98" y="30"/>
                  </a:cubicBezTo>
                  <a:close/>
                  <a:moveTo>
                    <a:pt x="61" y="90"/>
                  </a:moveTo>
                  <a:cubicBezTo>
                    <a:pt x="44" y="90"/>
                    <a:pt x="31" y="77"/>
                    <a:pt x="31" y="61"/>
                  </a:cubicBezTo>
                  <a:cubicBezTo>
                    <a:pt x="31" y="44"/>
                    <a:pt x="44" y="31"/>
                    <a:pt x="61" y="31"/>
                  </a:cubicBezTo>
                  <a:cubicBezTo>
                    <a:pt x="77" y="31"/>
                    <a:pt x="90" y="44"/>
                    <a:pt x="90" y="61"/>
                  </a:cubicBezTo>
                  <a:cubicBezTo>
                    <a:pt x="90" y="77"/>
                    <a:pt x="77" y="90"/>
                    <a:pt x="61" y="90"/>
                  </a:cubicBez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7" name="Freeform 7"/>
            <p:cNvSpPr>
              <a:spLocks noEditPoints="1"/>
            </p:cNvSpPr>
            <p:nvPr/>
          </p:nvSpPr>
          <p:spPr bwMode="auto">
            <a:xfrm flipH="1">
              <a:off x="478252" y="5728199"/>
              <a:ext cx="822460" cy="571002"/>
            </a:xfrm>
            <a:custGeom>
              <a:avLst/>
              <a:gdLst>
                <a:gd name="T0" fmla="*/ 0 w 104"/>
                <a:gd name="T1" fmla="*/ 62 h 73"/>
                <a:gd name="T2" fmla="*/ 1 w 104"/>
                <a:gd name="T3" fmla="*/ 73 h 73"/>
                <a:gd name="T4" fmla="*/ 104 w 104"/>
                <a:gd name="T5" fmla="*/ 73 h 73"/>
                <a:gd name="T6" fmla="*/ 104 w 104"/>
                <a:gd name="T7" fmla="*/ 17 h 73"/>
                <a:gd name="T8" fmla="*/ 62 w 104"/>
                <a:gd name="T9" fmla="*/ 0 h 73"/>
                <a:gd name="T10" fmla="*/ 0 w 104"/>
                <a:gd name="T11" fmla="*/ 62 h 73"/>
                <a:gd name="T12" fmla="*/ 70 w 104"/>
                <a:gd name="T13" fmla="*/ 62 h 73"/>
                <a:gd name="T14" fmla="*/ 62 w 104"/>
                <a:gd name="T15" fmla="*/ 70 h 73"/>
                <a:gd name="T16" fmla="*/ 53 w 104"/>
                <a:gd name="T17" fmla="*/ 62 h 73"/>
                <a:gd name="T18" fmla="*/ 62 w 104"/>
                <a:gd name="T19" fmla="*/ 53 h 73"/>
                <a:gd name="T20" fmla="*/ 70 w 104"/>
                <a:gd name="T21" fmla="*/ 6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73">
                  <a:moveTo>
                    <a:pt x="0" y="62"/>
                  </a:moveTo>
                  <a:cubicBezTo>
                    <a:pt x="0" y="66"/>
                    <a:pt x="0" y="70"/>
                    <a:pt x="1" y="73"/>
                  </a:cubicBezTo>
                  <a:cubicBezTo>
                    <a:pt x="104" y="73"/>
                    <a:pt x="104" y="73"/>
                    <a:pt x="104" y="73"/>
                  </a:cubicBezTo>
                  <a:cubicBezTo>
                    <a:pt x="104" y="17"/>
                    <a:pt x="104" y="17"/>
                    <a:pt x="104" y="17"/>
                  </a:cubicBezTo>
                  <a:cubicBezTo>
                    <a:pt x="93" y="7"/>
                    <a:pt x="78" y="0"/>
                    <a:pt x="62" y="0"/>
                  </a:cubicBezTo>
                  <a:cubicBezTo>
                    <a:pt x="28" y="0"/>
                    <a:pt x="0" y="28"/>
                    <a:pt x="0" y="62"/>
                  </a:cubicBezTo>
                  <a:close/>
                  <a:moveTo>
                    <a:pt x="70" y="62"/>
                  </a:moveTo>
                  <a:cubicBezTo>
                    <a:pt x="70" y="67"/>
                    <a:pt x="66" y="70"/>
                    <a:pt x="62" y="70"/>
                  </a:cubicBezTo>
                  <a:cubicBezTo>
                    <a:pt x="57" y="70"/>
                    <a:pt x="53" y="67"/>
                    <a:pt x="53" y="62"/>
                  </a:cubicBezTo>
                  <a:cubicBezTo>
                    <a:pt x="53" y="57"/>
                    <a:pt x="57" y="53"/>
                    <a:pt x="62" y="53"/>
                  </a:cubicBezTo>
                  <a:cubicBezTo>
                    <a:pt x="66" y="53"/>
                    <a:pt x="70" y="57"/>
                    <a:pt x="70" y="62"/>
                  </a:cubicBez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 name="Freeform 8"/>
            <p:cNvSpPr>
              <a:spLocks/>
            </p:cNvSpPr>
            <p:nvPr/>
          </p:nvSpPr>
          <p:spPr bwMode="auto">
            <a:xfrm flipH="1">
              <a:off x="478253" y="5469888"/>
              <a:ext cx="1091760" cy="829313"/>
            </a:xfrm>
            <a:custGeom>
              <a:avLst/>
              <a:gdLst>
                <a:gd name="T0" fmla="*/ 132 w 138"/>
                <a:gd name="T1" fmla="*/ 7 h 106"/>
                <a:gd name="T2" fmla="*/ 126 w 138"/>
                <a:gd name="T3" fmla="*/ 20 h 106"/>
                <a:gd name="T4" fmla="*/ 105 w 138"/>
                <a:gd name="T5" fmla="*/ 15 h 106"/>
                <a:gd name="T6" fmla="*/ 105 w 138"/>
                <a:gd name="T7" fmla="*/ 0 h 106"/>
                <a:gd name="T8" fmla="*/ 88 w 138"/>
                <a:gd name="T9" fmla="*/ 0 h 106"/>
                <a:gd name="T10" fmla="*/ 88 w 138"/>
                <a:gd name="T11" fmla="*/ 15 h 106"/>
                <a:gd name="T12" fmla="*/ 61 w 138"/>
                <a:gd name="T13" fmla="*/ 22 h 106"/>
                <a:gd name="T14" fmla="*/ 53 w 138"/>
                <a:gd name="T15" fmla="*/ 10 h 106"/>
                <a:gd name="T16" fmla="*/ 38 w 138"/>
                <a:gd name="T17" fmla="*/ 19 h 106"/>
                <a:gd name="T18" fmla="*/ 46 w 138"/>
                <a:gd name="T19" fmla="*/ 32 h 106"/>
                <a:gd name="T20" fmla="*/ 31 w 138"/>
                <a:gd name="T21" fmla="*/ 46 h 106"/>
                <a:gd name="T22" fmla="*/ 18 w 138"/>
                <a:gd name="T23" fmla="*/ 39 h 106"/>
                <a:gd name="T24" fmla="*/ 10 w 138"/>
                <a:gd name="T25" fmla="*/ 54 h 106"/>
                <a:gd name="T26" fmla="*/ 23 w 138"/>
                <a:gd name="T27" fmla="*/ 61 h 106"/>
                <a:gd name="T28" fmla="*/ 16 w 138"/>
                <a:gd name="T29" fmla="*/ 81 h 106"/>
                <a:gd name="T30" fmla="*/ 1 w 138"/>
                <a:gd name="T31" fmla="*/ 80 h 106"/>
                <a:gd name="T32" fmla="*/ 0 w 138"/>
                <a:gd name="T33" fmla="*/ 98 h 106"/>
                <a:gd name="T34" fmla="*/ 15 w 138"/>
                <a:gd name="T35" fmla="*/ 98 h 106"/>
                <a:gd name="T36" fmla="*/ 16 w 138"/>
                <a:gd name="T37" fmla="*/ 106 h 106"/>
                <a:gd name="T38" fmla="*/ 27 w 138"/>
                <a:gd name="T39" fmla="*/ 106 h 106"/>
                <a:gd name="T40" fmla="*/ 26 w 138"/>
                <a:gd name="T41" fmla="*/ 95 h 106"/>
                <a:gd name="T42" fmla="*/ 96 w 138"/>
                <a:gd name="T43" fmla="*/ 25 h 106"/>
                <a:gd name="T44" fmla="*/ 138 w 138"/>
                <a:gd name="T45" fmla="*/ 40 h 106"/>
                <a:gd name="T46" fmla="*/ 138 w 138"/>
                <a:gd name="T47" fmla="*/ 10 h 106"/>
                <a:gd name="T48" fmla="*/ 132 w 138"/>
                <a:gd name="T49" fmla="*/ 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8" h="106">
                  <a:moveTo>
                    <a:pt x="132" y="7"/>
                  </a:moveTo>
                  <a:cubicBezTo>
                    <a:pt x="126" y="20"/>
                    <a:pt x="126" y="20"/>
                    <a:pt x="126" y="20"/>
                  </a:cubicBezTo>
                  <a:cubicBezTo>
                    <a:pt x="119" y="18"/>
                    <a:pt x="112" y="16"/>
                    <a:pt x="105" y="15"/>
                  </a:cubicBezTo>
                  <a:cubicBezTo>
                    <a:pt x="105" y="0"/>
                    <a:pt x="105" y="0"/>
                    <a:pt x="105" y="0"/>
                  </a:cubicBezTo>
                  <a:cubicBezTo>
                    <a:pt x="88" y="0"/>
                    <a:pt x="88" y="0"/>
                    <a:pt x="88" y="0"/>
                  </a:cubicBezTo>
                  <a:cubicBezTo>
                    <a:pt x="88" y="15"/>
                    <a:pt x="88" y="15"/>
                    <a:pt x="88" y="15"/>
                  </a:cubicBezTo>
                  <a:cubicBezTo>
                    <a:pt x="78" y="16"/>
                    <a:pt x="69" y="18"/>
                    <a:pt x="61" y="22"/>
                  </a:cubicBezTo>
                  <a:cubicBezTo>
                    <a:pt x="53" y="10"/>
                    <a:pt x="53" y="10"/>
                    <a:pt x="53" y="10"/>
                  </a:cubicBezTo>
                  <a:cubicBezTo>
                    <a:pt x="38" y="19"/>
                    <a:pt x="38" y="19"/>
                    <a:pt x="38" y="19"/>
                  </a:cubicBezTo>
                  <a:cubicBezTo>
                    <a:pt x="46" y="32"/>
                    <a:pt x="46" y="32"/>
                    <a:pt x="46" y="32"/>
                  </a:cubicBezTo>
                  <a:cubicBezTo>
                    <a:pt x="41" y="36"/>
                    <a:pt x="36" y="41"/>
                    <a:pt x="31" y="46"/>
                  </a:cubicBezTo>
                  <a:cubicBezTo>
                    <a:pt x="18" y="39"/>
                    <a:pt x="18" y="39"/>
                    <a:pt x="18" y="39"/>
                  </a:cubicBezTo>
                  <a:cubicBezTo>
                    <a:pt x="10" y="54"/>
                    <a:pt x="10" y="54"/>
                    <a:pt x="10" y="54"/>
                  </a:cubicBezTo>
                  <a:cubicBezTo>
                    <a:pt x="23" y="61"/>
                    <a:pt x="23" y="61"/>
                    <a:pt x="23" y="61"/>
                  </a:cubicBezTo>
                  <a:cubicBezTo>
                    <a:pt x="20" y="68"/>
                    <a:pt x="18" y="74"/>
                    <a:pt x="16" y="81"/>
                  </a:cubicBezTo>
                  <a:cubicBezTo>
                    <a:pt x="1" y="80"/>
                    <a:pt x="1" y="80"/>
                    <a:pt x="1" y="80"/>
                  </a:cubicBezTo>
                  <a:cubicBezTo>
                    <a:pt x="0" y="98"/>
                    <a:pt x="0" y="98"/>
                    <a:pt x="0" y="98"/>
                  </a:cubicBezTo>
                  <a:cubicBezTo>
                    <a:pt x="15" y="98"/>
                    <a:pt x="15" y="98"/>
                    <a:pt x="15" y="98"/>
                  </a:cubicBezTo>
                  <a:cubicBezTo>
                    <a:pt x="15" y="101"/>
                    <a:pt x="16" y="104"/>
                    <a:pt x="16" y="106"/>
                  </a:cubicBezTo>
                  <a:cubicBezTo>
                    <a:pt x="27" y="106"/>
                    <a:pt x="27" y="106"/>
                    <a:pt x="27" y="106"/>
                  </a:cubicBezTo>
                  <a:cubicBezTo>
                    <a:pt x="26" y="103"/>
                    <a:pt x="26" y="99"/>
                    <a:pt x="26" y="95"/>
                  </a:cubicBezTo>
                  <a:cubicBezTo>
                    <a:pt x="26" y="56"/>
                    <a:pt x="57" y="25"/>
                    <a:pt x="96" y="25"/>
                  </a:cubicBezTo>
                  <a:cubicBezTo>
                    <a:pt x="112" y="25"/>
                    <a:pt x="126" y="31"/>
                    <a:pt x="138" y="40"/>
                  </a:cubicBezTo>
                  <a:cubicBezTo>
                    <a:pt x="138" y="10"/>
                    <a:pt x="138" y="10"/>
                    <a:pt x="138" y="10"/>
                  </a:cubicBezTo>
                  <a:lnTo>
                    <a:pt x="132" y="7"/>
                  </a:ln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 name="Freeform 9"/>
            <p:cNvSpPr>
              <a:spLocks noEditPoints="1"/>
            </p:cNvSpPr>
            <p:nvPr/>
          </p:nvSpPr>
          <p:spPr bwMode="auto">
            <a:xfrm flipH="1">
              <a:off x="1103386" y="2567694"/>
              <a:ext cx="988245" cy="978061"/>
            </a:xfrm>
            <a:custGeom>
              <a:avLst/>
              <a:gdLst>
                <a:gd name="T0" fmla="*/ 76 w 125"/>
                <a:gd name="T1" fmla="*/ 123 h 125"/>
                <a:gd name="T2" fmla="*/ 87 w 125"/>
                <a:gd name="T3" fmla="*/ 120 h 125"/>
                <a:gd name="T4" fmla="*/ 84 w 125"/>
                <a:gd name="T5" fmla="*/ 110 h 125"/>
                <a:gd name="T6" fmla="*/ 96 w 125"/>
                <a:gd name="T7" fmla="*/ 103 h 125"/>
                <a:gd name="T8" fmla="*/ 103 w 125"/>
                <a:gd name="T9" fmla="*/ 110 h 125"/>
                <a:gd name="T10" fmla="*/ 111 w 125"/>
                <a:gd name="T11" fmla="*/ 102 h 125"/>
                <a:gd name="T12" fmla="*/ 103 w 125"/>
                <a:gd name="T13" fmla="*/ 95 h 125"/>
                <a:gd name="T14" fmla="*/ 111 w 125"/>
                <a:gd name="T15" fmla="*/ 83 h 125"/>
                <a:gd name="T16" fmla="*/ 120 w 125"/>
                <a:gd name="T17" fmla="*/ 86 h 125"/>
                <a:gd name="T18" fmla="*/ 123 w 125"/>
                <a:gd name="T19" fmla="*/ 75 h 125"/>
                <a:gd name="T20" fmla="*/ 114 w 125"/>
                <a:gd name="T21" fmla="*/ 72 h 125"/>
                <a:gd name="T22" fmla="*/ 115 w 125"/>
                <a:gd name="T23" fmla="*/ 60 h 125"/>
                <a:gd name="T24" fmla="*/ 115 w 125"/>
                <a:gd name="T25" fmla="*/ 59 h 125"/>
                <a:gd name="T26" fmla="*/ 125 w 125"/>
                <a:gd name="T27" fmla="*/ 57 h 125"/>
                <a:gd name="T28" fmla="*/ 122 w 125"/>
                <a:gd name="T29" fmla="*/ 46 h 125"/>
                <a:gd name="T30" fmla="*/ 113 w 125"/>
                <a:gd name="T31" fmla="*/ 48 h 125"/>
                <a:gd name="T32" fmla="*/ 107 w 125"/>
                <a:gd name="T33" fmla="*/ 35 h 125"/>
                <a:gd name="T34" fmla="*/ 115 w 125"/>
                <a:gd name="T35" fmla="*/ 29 h 125"/>
                <a:gd name="T36" fmla="*/ 108 w 125"/>
                <a:gd name="T37" fmla="*/ 20 h 125"/>
                <a:gd name="T38" fmla="*/ 101 w 125"/>
                <a:gd name="T39" fmla="*/ 26 h 125"/>
                <a:gd name="T40" fmla="*/ 90 w 125"/>
                <a:gd name="T41" fmla="*/ 17 h 125"/>
                <a:gd name="T42" fmla="*/ 94 w 125"/>
                <a:gd name="T43" fmla="*/ 8 h 125"/>
                <a:gd name="T44" fmla="*/ 84 w 125"/>
                <a:gd name="T45" fmla="*/ 4 h 125"/>
                <a:gd name="T46" fmla="*/ 80 w 125"/>
                <a:gd name="T47" fmla="*/ 12 h 125"/>
                <a:gd name="T48" fmla="*/ 66 w 125"/>
                <a:gd name="T49" fmla="*/ 10 h 125"/>
                <a:gd name="T50" fmla="*/ 66 w 125"/>
                <a:gd name="T51" fmla="*/ 0 h 125"/>
                <a:gd name="T52" fmla="*/ 54 w 125"/>
                <a:gd name="T53" fmla="*/ 0 h 125"/>
                <a:gd name="T54" fmla="*/ 55 w 125"/>
                <a:gd name="T55" fmla="*/ 10 h 125"/>
                <a:gd name="T56" fmla="*/ 37 w 125"/>
                <a:gd name="T57" fmla="*/ 16 h 125"/>
                <a:gd name="T58" fmla="*/ 31 w 125"/>
                <a:gd name="T59" fmla="*/ 8 h 125"/>
                <a:gd name="T60" fmla="*/ 22 w 125"/>
                <a:gd name="T61" fmla="*/ 14 h 125"/>
                <a:gd name="T62" fmla="*/ 28 w 125"/>
                <a:gd name="T63" fmla="*/ 22 h 125"/>
                <a:gd name="T64" fmla="*/ 19 w 125"/>
                <a:gd name="T65" fmla="*/ 33 h 125"/>
                <a:gd name="T66" fmla="*/ 10 w 125"/>
                <a:gd name="T67" fmla="*/ 28 h 125"/>
                <a:gd name="T68" fmla="*/ 5 w 125"/>
                <a:gd name="T69" fmla="*/ 38 h 125"/>
                <a:gd name="T70" fmla="*/ 13 w 125"/>
                <a:gd name="T71" fmla="*/ 43 h 125"/>
                <a:gd name="T72" fmla="*/ 10 w 125"/>
                <a:gd name="T73" fmla="*/ 56 h 125"/>
                <a:gd name="T74" fmla="*/ 0 w 125"/>
                <a:gd name="T75" fmla="*/ 56 h 125"/>
                <a:gd name="T76" fmla="*/ 0 w 125"/>
                <a:gd name="T77" fmla="*/ 67 h 125"/>
                <a:gd name="T78" fmla="*/ 10 w 125"/>
                <a:gd name="T79" fmla="*/ 67 h 125"/>
                <a:gd name="T80" fmla="*/ 13 w 125"/>
                <a:gd name="T81" fmla="*/ 80 h 125"/>
                <a:gd name="T82" fmla="*/ 4 w 125"/>
                <a:gd name="T83" fmla="*/ 85 h 125"/>
                <a:gd name="T84" fmla="*/ 9 w 125"/>
                <a:gd name="T85" fmla="*/ 95 h 125"/>
                <a:gd name="T86" fmla="*/ 18 w 125"/>
                <a:gd name="T87" fmla="*/ 91 h 125"/>
                <a:gd name="T88" fmla="*/ 27 w 125"/>
                <a:gd name="T89" fmla="*/ 101 h 125"/>
                <a:gd name="T90" fmla="*/ 21 w 125"/>
                <a:gd name="T91" fmla="*/ 109 h 125"/>
                <a:gd name="T92" fmla="*/ 30 w 125"/>
                <a:gd name="T93" fmla="*/ 116 h 125"/>
                <a:gd name="T94" fmla="*/ 36 w 125"/>
                <a:gd name="T95" fmla="*/ 108 h 125"/>
                <a:gd name="T96" fmla="*/ 48 w 125"/>
                <a:gd name="T97" fmla="*/ 113 h 125"/>
                <a:gd name="T98" fmla="*/ 47 w 125"/>
                <a:gd name="T99" fmla="*/ 123 h 125"/>
                <a:gd name="T100" fmla="*/ 58 w 125"/>
                <a:gd name="T101" fmla="*/ 125 h 125"/>
                <a:gd name="T102" fmla="*/ 60 w 125"/>
                <a:gd name="T103" fmla="*/ 115 h 125"/>
                <a:gd name="T104" fmla="*/ 65 w 125"/>
                <a:gd name="T105" fmla="*/ 115 h 125"/>
                <a:gd name="T106" fmla="*/ 73 w 125"/>
                <a:gd name="T107" fmla="*/ 114 h 125"/>
                <a:gd name="T108" fmla="*/ 76 w 125"/>
                <a:gd name="T109" fmla="*/ 123 h 125"/>
                <a:gd name="T110" fmla="*/ 63 w 125"/>
                <a:gd name="T111" fmla="*/ 71 h 125"/>
                <a:gd name="T112" fmla="*/ 53 w 125"/>
                <a:gd name="T113" fmla="*/ 63 h 125"/>
                <a:gd name="T114" fmla="*/ 62 w 125"/>
                <a:gd name="T115" fmla="*/ 53 h 125"/>
                <a:gd name="T116" fmla="*/ 71 w 125"/>
                <a:gd name="T117" fmla="*/ 62 h 125"/>
                <a:gd name="T118" fmla="*/ 63 w 125"/>
                <a:gd name="T119" fmla="*/ 7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25">
                  <a:moveTo>
                    <a:pt x="76" y="123"/>
                  </a:moveTo>
                  <a:cubicBezTo>
                    <a:pt x="87" y="120"/>
                    <a:pt x="87" y="120"/>
                    <a:pt x="87" y="120"/>
                  </a:cubicBezTo>
                  <a:cubicBezTo>
                    <a:pt x="84" y="110"/>
                    <a:pt x="84" y="110"/>
                    <a:pt x="84" y="110"/>
                  </a:cubicBezTo>
                  <a:cubicBezTo>
                    <a:pt x="88" y="108"/>
                    <a:pt x="92" y="106"/>
                    <a:pt x="96" y="103"/>
                  </a:cubicBezTo>
                  <a:cubicBezTo>
                    <a:pt x="103" y="110"/>
                    <a:pt x="103" y="110"/>
                    <a:pt x="103" y="110"/>
                  </a:cubicBezTo>
                  <a:cubicBezTo>
                    <a:pt x="111" y="102"/>
                    <a:pt x="111" y="102"/>
                    <a:pt x="111" y="102"/>
                  </a:cubicBezTo>
                  <a:cubicBezTo>
                    <a:pt x="103" y="95"/>
                    <a:pt x="103" y="95"/>
                    <a:pt x="103" y="95"/>
                  </a:cubicBezTo>
                  <a:cubicBezTo>
                    <a:pt x="106" y="91"/>
                    <a:pt x="109" y="87"/>
                    <a:pt x="111" y="83"/>
                  </a:cubicBezTo>
                  <a:cubicBezTo>
                    <a:pt x="120" y="86"/>
                    <a:pt x="120" y="86"/>
                    <a:pt x="120" y="86"/>
                  </a:cubicBezTo>
                  <a:cubicBezTo>
                    <a:pt x="123" y="75"/>
                    <a:pt x="123" y="75"/>
                    <a:pt x="123" y="75"/>
                  </a:cubicBezTo>
                  <a:cubicBezTo>
                    <a:pt x="114" y="72"/>
                    <a:pt x="114" y="72"/>
                    <a:pt x="114" y="72"/>
                  </a:cubicBezTo>
                  <a:cubicBezTo>
                    <a:pt x="115" y="68"/>
                    <a:pt x="115" y="64"/>
                    <a:pt x="115" y="60"/>
                  </a:cubicBezTo>
                  <a:cubicBezTo>
                    <a:pt x="115" y="59"/>
                    <a:pt x="115" y="59"/>
                    <a:pt x="115" y="59"/>
                  </a:cubicBezTo>
                  <a:cubicBezTo>
                    <a:pt x="125" y="57"/>
                    <a:pt x="125" y="57"/>
                    <a:pt x="125" y="57"/>
                  </a:cubicBezTo>
                  <a:cubicBezTo>
                    <a:pt x="122" y="46"/>
                    <a:pt x="122" y="46"/>
                    <a:pt x="122" y="46"/>
                  </a:cubicBezTo>
                  <a:cubicBezTo>
                    <a:pt x="113" y="48"/>
                    <a:pt x="113" y="48"/>
                    <a:pt x="113" y="48"/>
                  </a:cubicBezTo>
                  <a:cubicBezTo>
                    <a:pt x="112" y="43"/>
                    <a:pt x="110" y="39"/>
                    <a:pt x="107" y="35"/>
                  </a:cubicBezTo>
                  <a:cubicBezTo>
                    <a:pt x="115" y="29"/>
                    <a:pt x="115" y="29"/>
                    <a:pt x="115" y="29"/>
                  </a:cubicBezTo>
                  <a:cubicBezTo>
                    <a:pt x="108" y="20"/>
                    <a:pt x="108" y="20"/>
                    <a:pt x="108" y="20"/>
                  </a:cubicBezTo>
                  <a:cubicBezTo>
                    <a:pt x="101" y="26"/>
                    <a:pt x="101" y="26"/>
                    <a:pt x="101" y="26"/>
                  </a:cubicBezTo>
                  <a:cubicBezTo>
                    <a:pt x="97" y="23"/>
                    <a:pt x="94" y="20"/>
                    <a:pt x="90" y="17"/>
                  </a:cubicBezTo>
                  <a:cubicBezTo>
                    <a:pt x="94" y="8"/>
                    <a:pt x="94" y="8"/>
                    <a:pt x="94" y="8"/>
                  </a:cubicBezTo>
                  <a:cubicBezTo>
                    <a:pt x="84" y="4"/>
                    <a:pt x="84" y="4"/>
                    <a:pt x="84" y="4"/>
                  </a:cubicBezTo>
                  <a:cubicBezTo>
                    <a:pt x="80" y="12"/>
                    <a:pt x="80" y="12"/>
                    <a:pt x="80" y="12"/>
                  </a:cubicBezTo>
                  <a:cubicBezTo>
                    <a:pt x="75" y="11"/>
                    <a:pt x="71" y="10"/>
                    <a:pt x="66" y="10"/>
                  </a:cubicBezTo>
                  <a:cubicBezTo>
                    <a:pt x="66" y="0"/>
                    <a:pt x="66" y="0"/>
                    <a:pt x="66" y="0"/>
                  </a:cubicBezTo>
                  <a:cubicBezTo>
                    <a:pt x="54" y="0"/>
                    <a:pt x="54" y="0"/>
                    <a:pt x="54" y="0"/>
                  </a:cubicBezTo>
                  <a:cubicBezTo>
                    <a:pt x="55" y="10"/>
                    <a:pt x="55" y="10"/>
                    <a:pt x="55" y="10"/>
                  </a:cubicBezTo>
                  <a:cubicBezTo>
                    <a:pt x="49" y="11"/>
                    <a:pt x="43" y="13"/>
                    <a:pt x="37" y="16"/>
                  </a:cubicBezTo>
                  <a:cubicBezTo>
                    <a:pt x="31" y="8"/>
                    <a:pt x="31" y="8"/>
                    <a:pt x="31" y="8"/>
                  </a:cubicBezTo>
                  <a:cubicBezTo>
                    <a:pt x="22" y="14"/>
                    <a:pt x="22" y="14"/>
                    <a:pt x="22" y="14"/>
                  </a:cubicBezTo>
                  <a:cubicBezTo>
                    <a:pt x="28" y="22"/>
                    <a:pt x="28" y="22"/>
                    <a:pt x="28" y="22"/>
                  </a:cubicBezTo>
                  <a:cubicBezTo>
                    <a:pt x="24" y="25"/>
                    <a:pt x="21" y="29"/>
                    <a:pt x="19" y="33"/>
                  </a:cubicBezTo>
                  <a:cubicBezTo>
                    <a:pt x="10" y="28"/>
                    <a:pt x="10" y="28"/>
                    <a:pt x="10" y="28"/>
                  </a:cubicBezTo>
                  <a:cubicBezTo>
                    <a:pt x="5" y="38"/>
                    <a:pt x="5" y="38"/>
                    <a:pt x="5" y="38"/>
                  </a:cubicBezTo>
                  <a:cubicBezTo>
                    <a:pt x="13" y="43"/>
                    <a:pt x="13" y="43"/>
                    <a:pt x="13" y="43"/>
                  </a:cubicBezTo>
                  <a:cubicBezTo>
                    <a:pt x="12" y="47"/>
                    <a:pt x="11" y="51"/>
                    <a:pt x="10" y="56"/>
                  </a:cubicBezTo>
                  <a:cubicBezTo>
                    <a:pt x="0" y="56"/>
                    <a:pt x="0" y="56"/>
                    <a:pt x="0" y="56"/>
                  </a:cubicBezTo>
                  <a:cubicBezTo>
                    <a:pt x="0" y="67"/>
                    <a:pt x="0" y="67"/>
                    <a:pt x="0" y="67"/>
                  </a:cubicBezTo>
                  <a:cubicBezTo>
                    <a:pt x="10" y="67"/>
                    <a:pt x="10" y="67"/>
                    <a:pt x="10" y="67"/>
                  </a:cubicBezTo>
                  <a:cubicBezTo>
                    <a:pt x="10" y="72"/>
                    <a:pt x="11" y="76"/>
                    <a:pt x="13" y="80"/>
                  </a:cubicBezTo>
                  <a:cubicBezTo>
                    <a:pt x="4" y="85"/>
                    <a:pt x="4" y="85"/>
                    <a:pt x="4" y="85"/>
                  </a:cubicBezTo>
                  <a:cubicBezTo>
                    <a:pt x="9" y="95"/>
                    <a:pt x="9" y="95"/>
                    <a:pt x="9" y="95"/>
                  </a:cubicBezTo>
                  <a:cubicBezTo>
                    <a:pt x="18" y="91"/>
                    <a:pt x="18" y="91"/>
                    <a:pt x="18" y="91"/>
                  </a:cubicBezTo>
                  <a:cubicBezTo>
                    <a:pt x="20" y="94"/>
                    <a:pt x="23" y="98"/>
                    <a:pt x="27" y="101"/>
                  </a:cubicBezTo>
                  <a:cubicBezTo>
                    <a:pt x="21" y="109"/>
                    <a:pt x="21" y="109"/>
                    <a:pt x="21" y="109"/>
                  </a:cubicBezTo>
                  <a:cubicBezTo>
                    <a:pt x="30" y="116"/>
                    <a:pt x="30" y="116"/>
                    <a:pt x="30" y="116"/>
                  </a:cubicBezTo>
                  <a:cubicBezTo>
                    <a:pt x="36" y="108"/>
                    <a:pt x="36" y="108"/>
                    <a:pt x="36" y="108"/>
                  </a:cubicBezTo>
                  <a:cubicBezTo>
                    <a:pt x="40" y="110"/>
                    <a:pt x="44" y="112"/>
                    <a:pt x="48" y="113"/>
                  </a:cubicBezTo>
                  <a:cubicBezTo>
                    <a:pt x="47" y="123"/>
                    <a:pt x="47" y="123"/>
                    <a:pt x="47" y="123"/>
                  </a:cubicBezTo>
                  <a:cubicBezTo>
                    <a:pt x="58" y="125"/>
                    <a:pt x="58" y="125"/>
                    <a:pt x="58" y="125"/>
                  </a:cubicBezTo>
                  <a:cubicBezTo>
                    <a:pt x="60" y="115"/>
                    <a:pt x="60" y="115"/>
                    <a:pt x="60" y="115"/>
                  </a:cubicBezTo>
                  <a:cubicBezTo>
                    <a:pt x="61" y="115"/>
                    <a:pt x="63" y="115"/>
                    <a:pt x="65" y="115"/>
                  </a:cubicBezTo>
                  <a:cubicBezTo>
                    <a:pt x="68" y="115"/>
                    <a:pt x="70" y="114"/>
                    <a:pt x="73" y="114"/>
                  </a:cubicBezTo>
                  <a:lnTo>
                    <a:pt x="76" y="123"/>
                  </a:lnTo>
                  <a:close/>
                  <a:moveTo>
                    <a:pt x="63" y="71"/>
                  </a:moveTo>
                  <a:cubicBezTo>
                    <a:pt x="58" y="72"/>
                    <a:pt x="53" y="68"/>
                    <a:pt x="53" y="63"/>
                  </a:cubicBezTo>
                  <a:cubicBezTo>
                    <a:pt x="53" y="58"/>
                    <a:pt x="57" y="53"/>
                    <a:pt x="62" y="53"/>
                  </a:cubicBezTo>
                  <a:cubicBezTo>
                    <a:pt x="67" y="53"/>
                    <a:pt x="71" y="57"/>
                    <a:pt x="71" y="62"/>
                  </a:cubicBezTo>
                  <a:cubicBezTo>
                    <a:pt x="72" y="67"/>
                    <a:pt x="68" y="71"/>
                    <a:pt x="63" y="71"/>
                  </a:cubicBez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0" name="Freeform 10"/>
            <p:cNvSpPr>
              <a:spLocks/>
            </p:cNvSpPr>
            <p:nvPr/>
          </p:nvSpPr>
          <p:spPr bwMode="auto">
            <a:xfrm flipH="1">
              <a:off x="1553838" y="5673018"/>
              <a:ext cx="1336800" cy="626183"/>
            </a:xfrm>
            <a:custGeom>
              <a:avLst/>
              <a:gdLst>
                <a:gd name="T0" fmla="*/ 155 w 169"/>
                <a:gd name="T1" fmla="*/ 77 h 80"/>
                <a:gd name="T2" fmla="*/ 151 w 169"/>
                <a:gd name="T3" fmla="*/ 59 h 80"/>
                <a:gd name="T4" fmla="*/ 163 w 169"/>
                <a:gd name="T5" fmla="*/ 52 h 80"/>
                <a:gd name="T6" fmla="*/ 155 w 169"/>
                <a:gd name="T7" fmla="*/ 39 h 80"/>
                <a:gd name="T8" fmla="*/ 144 w 169"/>
                <a:gd name="T9" fmla="*/ 45 h 80"/>
                <a:gd name="T10" fmla="*/ 131 w 169"/>
                <a:gd name="T11" fmla="*/ 31 h 80"/>
                <a:gd name="T12" fmla="*/ 139 w 169"/>
                <a:gd name="T13" fmla="*/ 20 h 80"/>
                <a:gd name="T14" fmla="*/ 126 w 169"/>
                <a:gd name="T15" fmla="*/ 11 h 80"/>
                <a:gd name="T16" fmla="*/ 119 w 169"/>
                <a:gd name="T17" fmla="*/ 22 h 80"/>
                <a:gd name="T18" fmla="*/ 101 w 169"/>
                <a:gd name="T19" fmla="*/ 16 h 80"/>
                <a:gd name="T20" fmla="*/ 103 w 169"/>
                <a:gd name="T21" fmla="*/ 2 h 80"/>
                <a:gd name="T22" fmla="*/ 88 w 169"/>
                <a:gd name="T23" fmla="*/ 0 h 80"/>
                <a:gd name="T24" fmla="*/ 86 w 169"/>
                <a:gd name="T25" fmla="*/ 14 h 80"/>
                <a:gd name="T26" fmla="*/ 61 w 169"/>
                <a:gd name="T27" fmla="*/ 17 h 80"/>
                <a:gd name="T28" fmla="*/ 55 w 169"/>
                <a:gd name="T29" fmla="*/ 5 h 80"/>
                <a:gd name="T30" fmla="*/ 42 w 169"/>
                <a:gd name="T31" fmla="*/ 12 h 80"/>
                <a:gd name="T32" fmla="*/ 47 w 169"/>
                <a:gd name="T33" fmla="*/ 24 h 80"/>
                <a:gd name="T34" fmla="*/ 33 w 169"/>
                <a:gd name="T35" fmla="*/ 36 h 80"/>
                <a:gd name="T36" fmla="*/ 22 w 169"/>
                <a:gd name="T37" fmla="*/ 27 h 80"/>
                <a:gd name="T38" fmla="*/ 13 w 169"/>
                <a:gd name="T39" fmla="*/ 40 h 80"/>
                <a:gd name="T40" fmla="*/ 23 w 169"/>
                <a:gd name="T41" fmla="*/ 48 h 80"/>
                <a:gd name="T42" fmla="*/ 16 w 169"/>
                <a:gd name="T43" fmla="*/ 65 h 80"/>
                <a:gd name="T44" fmla="*/ 2 w 169"/>
                <a:gd name="T45" fmla="*/ 62 h 80"/>
                <a:gd name="T46" fmla="*/ 0 w 169"/>
                <a:gd name="T47" fmla="*/ 78 h 80"/>
                <a:gd name="T48" fmla="*/ 13 w 169"/>
                <a:gd name="T49" fmla="*/ 80 h 80"/>
                <a:gd name="T50" fmla="*/ 13 w 169"/>
                <a:gd name="T51" fmla="*/ 80 h 80"/>
                <a:gd name="T52" fmla="*/ 73 w 169"/>
                <a:gd name="T53" fmla="*/ 80 h 80"/>
                <a:gd name="T54" fmla="*/ 86 w 169"/>
                <a:gd name="T55" fmla="*/ 73 h 80"/>
                <a:gd name="T56" fmla="*/ 96 w 169"/>
                <a:gd name="T57" fmla="*/ 80 h 80"/>
                <a:gd name="T58" fmla="*/ 169 w 169"/>
                <a:gd name="T59" fmla="*/ 80 h 80"/>
                <a:gd name="T60" fmla="*/ 169 w 169"/>
                <a:gd name="T61" fmla="*/ 77 h 80"/>
                <a:gd name="T62" fmla="*/ 155 w 169"/>
                <a:gd name="T63" fmla="*/ 7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 h="80">
                  <a:moveTo>
                    <a:pt x="155" y="77"/>
                  </a:moveTo>
                  <a:cubicBezTo>
                    <a:pt x="155" y="71"/>
                    <a:pt x="153" y="65"/>
                    <a:pt x="151" y="59"/>
                  </a:cubicBezTo>
                  <a:cubicBezTo>
                    <a:pt x="163" y="52"/>
                    <a:pt x="163" y="52"/>
                    <a:pt x="163" y="52"/>
                  </a:cubicBezTo>
                  <a:cubicBezTo>
                    <a:pt x="155" y="39"/>
                    <a:pt x="155" y="39"/>
                    <a:pt x="155" y="39"/>
                  </a:cubicBezTo>
                  <a:cubicBezTo>
                    <a:pt x="144" y="45"/>
                    <a:pt x="144" y="45"/>
                    <a:pt x="144" y="45"/>
                  </a:cubicBezTo>
                  <a:cubicBezTo>
                    <a:pt x="140" y="40"/>
                    <a:pt x="136" y="35"/>
                    <a:pt x="131" y="31"/>
                  </a:cubicBezTo>
                  <a:cubicBezTo>
                    <a:pt x="139" y="20"/>
                    <a:pt x="139" y="20"/>
                    <a:pt x="139" y="20"/>
                  </a:cubicBezTo>
                  <a:cubicBezTo>
                    <a:pt x="126" y="11"/>
                    <a:pt x="126" y="11"/>
                    <a:pt x="126" y="11"/>
                  </a:cubicBezTo>
                  <a:cubicBezTo>
                    <a:pt x="119" y="22"/>
                    <a:pt x="119" y="22"/>
                    <a:pt x="119" y="22"/>
                  </a:cubicBezTo>
                  <a:cubicBezTo>
                    <a:pt x="113" y="19"/>
                    <a:pt x="108" y="17"/>
                    <a:pt x="101" y="16"/>
                  </a:cubicBezTo>
                  <a:cubicBezTo>
                    <a:pt x="103" y="2"/>
                    <a:pt x="103" y="2"/>
                    <a:pt x="103" y="2"/>
                  </a:cubicBezTo>
                  <a:cubicBezTo>
                    <a:pt x="88" y="0"/>
                    <a:pt x="88" y="0"/>
                    <a:pt x="88" y="0"/>
                  </a:cubicBezTo>
                  <a:cubicBezTo>
                    <a:pt x="86" y="14"/>
                    <a:pt x="86" y="14"/>
                    <a:pt x="86" y="14"/>
                  </a:cubicBezTo>
                  <a:cubicBezTo>
                    <a:pt x="78" y="13"/>
                    <a:pt x="69" y="15"/>
                    <a:pt x="61" y="17"/>
                  </a:cubicBezTo>
                  <a:cubicBezTo>
                    <a:pt x="55" y="5"/>
                    <a:pt x="55" y="5"/>
                    <a:pt x="55" y="5"/>
                  </a:cubicBezTo>
                  <a:cubicBezTo>
                    <a:pt x="42" y="12"/>
                    <a:pt x="42" y="12"/>
                    <a:pt x="42" y="12"/>
                  </a:cubicBezTo>
                  <a:cubicBezTo>
                    <a:pt x="47" y="24"/>
                    <a:pt x="47" y="24"/>
                    <a:pt x="47" y="24"/>
                  </a:cubicBezTo>
                  <a:cubicBezTo>
                    <a:pt x="42" y="27"/>
                    <a:pt x="37" y="31"/>
                    <a:pt x="33" y="36"/>
                  </a:cubicBezTo>
                  <a:cubicBezTo>
                    <a:pt x="22" y="27"/>
                    <a:pt x="22" y="27"/>
                    <a:pt x="22" y="27"/>
                  </a:cubicBezTo>
                  <a:cubicBezTo>
                    <a:pt x="13" y="40"/>
                    <a:pt x="13" y="40"/>
                    <a:pt x="13" y="40"/>
                  </a:cubicBezTo>
                  <a:cubicBezTo>
                    <a:pt x="23" y="48"/>
                    <a:pt x="23" y="48"/>
                    <a:pt x="23" y="48"/>
                  </a:cubicBezTo>
                  <a:cubicBezTo>
                    <a:pt x="20" y="53"/>
                    <a:pt x="18" y="59"/>
                    <a:pt x="16" y="65"/>
                  </a:cubicBezTo>
                  <a:cubicBezTo>
                    <a:pt x="2" y="62"/>
                    <a:pt x="2" y="62"/>
                    <a:pt x="2" y="62"/>
                  </a:cubicBezTo>
                  <a:cubicBezTo>
                    <a:pt x="0" y="78"/>
                    <a:pt x="0" y="78"/>
                    <a:pt x="0" y="78"/>
                  </a:cubicBezTo>
                  <a:cubicBezTo>
                    <a:pt x="13" y="80"/>
                    <a:pt x="13" y="80"/>
                    <a:pt x="13" y="80"/>
                  </a:cubicBezTo>
                  <a:cubicBezTo>
                    <a:pt x="13" y="80"/>
                    <a:pt x="13" y="80"/>
                    <a:pt x="13" y="80"/>
                  </a:cubicBezTo>
                  <a:cubicBezTo>
                    <a:pt x="73" y="80"/>
                    <a:pt x="73" y="80"/>
                    <a:pt x="73" y="80"/>
                  </a:cubicBezTo>
                  <a:cubicBezTo>
                    <a:pt x="75" y="75"/>
                    <a:pt x="80" y="72"/>
                    <a:pt x="86" y="73"/>
                  </a:cubicBezTo>
                  <a:cubicBezTo>
                    <a:pt x="90" y="73"/>
                    <a:pt x="94" y="76"/>
                    <a:pt x="96" y="80"/>
                  </a:cubicBezTo>
                  <a:cubicBezTo>
                    <a:pt x="169" y="80"/>
                    <a:pt x="169" y="80"/>
                    <a:pt x="169" y="80"/>
                  </a:cubicBezTo>
                  <a:cubicBezTo>
                    <a:pt x="169" y="77"/>
                    <a:pt x="169" y="77"/>
                    <a:pt x="169" y="77"/>
                  </a:cubicBezTo>
                  <a:lnTo>
                    <a:pt x="155" y="77"/>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1" name="Freeform 11"/>
            <p:cNvSpPr>
              <a:spLocks noEditPoints="1"/>
            </p:cNvSpPr>
            <p:nvPr/>
          </p:nvSpPr>
          <p:spPr bwMode="auto">
            <a:xfrm flipH="1">
              <a:off x="589046" y="3467382"/>
              <a:ext cx="1368340" cy="1345134"/>
            </a:xfrm>
            <a:custGeom>
              <a:avLst/>
              <a:gdLst>
                <a:gd name="T0" fmla="*/ 159 w 173"/>
                <a:gd name="T1" fmla="*/ 86 h 172"/>
                <a:gd name="T2" fmla="*/ 159 w 173"/>
                <a:gd name="T3" fmla="*/ 84 h 172"/>
                <a:gd name="T4" fmla="*/ 173 w 173"/>
                <a:gd name="T5" fmla="*/ 83 h 172"/>
                <a:gd name="T6" fmla="*/ 171 w 173"/>
                <a:gd name="T7" fmla="*/ 67 h 172"/>
                <a:gd name="T8" fmla="*/ 157 w 173"/>
                <a:gd name="T9" fmla="*/ 69 h 172"/>
                <a:gd name="T10" fmla="*/ 151 w 173"/>
                <a:gd name="T11" fmla="*/ 51 h 172"/>
                <a:gd name="T12" fmla="*/ 162 w 173"/>
                <a:gd name="T13" fmla="*/ 43 h 172"/>
                <a:gd name="T14" fmla="*/ 153 w 173"/>
                <a:gd name="T15" fmla="*/ 31 h 172"/>
                <a:gd name="T16" fmla="*/ 142 w 173"/>
                <a:gd name="T17" fmla="*/ 38 h 172"/>
                <a:gd name="T18" fmla="*/ 128 w 173"/>
                <a:gd name="T19" fmla="*/ 26 h 172"/>
                <a:gd name="T20" fmla="*/ 134 w 173"/>
                <a:gd name="T21" fmla="*/ 14 h 172"/>
                <a:gd name="T22" fmla="*/ 120 w 173"/>
                <a:gd name="T23" fmla="*/ 6 h 172"/>
                <a:gd name="T24" fmla="*/ 114 w 173"/>
                <a:gd name="T25" fmla="*/ 18 h 172"/>
                <a:gd name="T26" fmla="*/ 95 w 173"/>
                <a:gd name="T27" fmla="*/ 14 h 172"/>
                <a:gd name="T28" fmla="*/ 95 w 173"/>
                <a:gd name="T29" fmla="*/ 0 h 172"/>
                <a:gd name="T30" fmla="*/ 80 w 173"/>
                <a:gd name="T31" fmla="*/ 0 h 172"/>
                <a:gd name="T32" fmla="*/ 80 w 173"/>
                <a:gd name="T33" fmla="*/ 13 h 172"/>
                <a:gd name="T34" fmla="*/ 55 w 173"/>
                <a:gd name="T35" fmla="*/ 20 h 172"/>
                <a:gd name="T36" fmla="*/ 48 w 173"/>
                <a:gd name="T37" fmla="*/ 9 h 172"/>
                <a:gd name="T38" fmla="*/ 35 w 173"/>
                <a:gd name="T39" fmla="*/ 17 h 172"/>
                <a:gd name="T40" fmla="*/ 42 w 173"/>
                <a:gd name="T41" fmla="*/ 28 h 172"/>
                <a:gd name="T42" fmla="*/ 29 w 173"/>
                <a:gd name="T43" fmla="*/ 42 h 172"/>
                <a:gd name="T44" fmla="*/ 17 w 173"/>
                <a:gd name="T45" fmla="*/ 35 h 172"/>
                <a:gd name="T46" fmla="*/ 9 w 173"/>
                <a:gd name="T47" fmla="*/ 49 h 172"/>
                <a:gd name="T48" fmla="*/ 21 w 173"/>
                <a:gd name="T49" fmla="*/ 55 h 172"/>
                <a:gd name="T50" fmla="*/ 15 w 173"/>
                <a:gd name="T51" fmla="*/ 73 h 172"/>
                <a:gd name="T52" fmla="*/ 1 w 173"/>
                <a:gd name="T53" fmla="*/ 73 h 172"/>
                <a:gd name="T54" fmla="*/ 0 w 173"/>
                <a:gd name="T55" fmla="*/ 88 h 172"/>
                <a:gd name="T56" fmla="*/ 14 w 173"/>
                <a:gd name="T57" fmla="*/ 89 h 172"/>
                <a:gd name="T58" fmla="*/ 17 w 173"/>
                <a:gd name="T59" fmla="*/ 108 h 172"/>
                <a:gd name="T60" fmla="*/ 5 w 173"/>
                <a:gd name="T61" fmla="*/ 113 h 172"/>
                <a:gd name="T62" fmla="*/ 11 w 173"/>
                <a:gd name="T63" fmla="*/ 128 h 172"/>
                <a:gd name="T64" fmla="*/ 24 w 173"/>
                <a:gd name="T65" fmla="*/ 122 h 172"/>
                <a:gd name="T66" fmla="*/ 35 w 173"/>
                <a:gd name="T67" fmla="*/ 137 h 172"/>
                <a:gd name="T68" fmla="*/ 26 w 173"/>
                <a:gd name="T69" fmla="*/ 148 h 172"/>
                <a:gd name="T70" fmla="*/ 39 w 173"/>
                <a:gd name="T71" fmla="*/ 158 h 172"/>
                <a:gd name="T72" fmla="*/ 47 w 173"/>
                <a:gd name="T73" fmla="*/ 147 h 172"/>
                <a:gd name="T74" fmla="*/ 64 w 173"/>
                <a:gd name="T75" fmla="*/ 155 h 172"/>
                <a:gd name="T76" fmla="*/ 61 w 173"/>
                <a:gd name="T77" fmla="*/ 169 h 172"/>
                <a:gd name="T78" fmla="*/ 77 w 173"/>
                <a:gd name="T79" fmla="*/ 172 h 172"/>
                <a:gd name="T80" fmla="*/ 79 w 173"/>
                <a:gd name="T81" fmla="*/ 158 h 172"/>
                <a:gd name="T82" fmla="*/ 87 w 173"/>
                <a:gd name="T83" fmla="*/ 158 h 172"/>
                <a:gd name="T84" fmla="*/ 98 w 173"/>
                <a:gd name="T85" fmla="*/ 157 h 172"/>
                <a:gd name="T86" fmla="*/ 102 w 173"/>
                <a:gd name="T87" fmla="*/ 171 h 172"/>
                <a:gd name="T88" fmla="*/ 117 w 173"/>
                <a:gd name="T89" fmla="*/ 167 h 172"/>
                <a:gd name="T90" fmla="*/ 113 w 173"/>
                <a:gd name="T91" fmla="*/ 153 h 172"/>
                <a:gd name="T92" fmla="*/ 130 w 173"/>
                <a:gd name="T93" fmla="*/ 144 h 172"/>
                <a:gd name="T94" fmla="*/ 139 w 173"/>
                <a:gd name="T95" fmla="*/ 154 h 172"/>
                <a:gd name="T96" fmla="*/ 151 w 173"/>
                <a:gd name="T97" fmla="*/ 144 h 172"/>
                <a:gd name="T98" fmla="*/ 141 w 173"/>
                <a:gd name="T99" fmla="*/ 134 h 172"/>
                <a:gd name="T100" fmla="*/ 152 w 173"/>
                <a:gd name="T101" fmla="*/ 118 h 172"/>
                <a:gd name="T102" fmla="*/ 165 w 173"/>
                <a:gd name="T103" fmla="*/ 122 h 172"/>
                <a:gd name="T104" fmla="*/ 170 w 173"/>
                <a:gd name="T105" fmla="*/ 108 h 172"/>
                <a:gd name="T106" fmla="*/ 157 w 173"/>
                <a:gd name="T107" fmla="*/ 103 h 172"/>
                <a:gd name="T108" fmla="*/ 159 w 173"/>
                <a:gd name="T109" fmla="*/ 86 h 172"/>
                <a:gd name="T110" fmla="*/ 87 w 173"/>
                <a:gd name="T111" fmla="*/ 141 h 172"/>
                <a:gd name="T112" fmla="*/ 31 w 173"/>
                <a:gd name="T113" fmla="*/ 86 h 172"/>
                <a:gd name="T114" fmla="*/ 87 w 173"/>
                <a:gd name="T115" fmla="*/ 30 h 172"/>
                <a:gd name="T116" fmla="*/ 142 w 173"/>
                <a:gd name="T117" fmla="*/ 86 h 172"/>
                <a:gd name="T118" fmla="*/ 87 w 173"/>
                <a:gd name="T119"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3" h="172">
                  <a:moveTo>
                    <a:pt x="159" y="86"/>
                  </a:moveTo>
                  <a:cubicBezTo>
                    <a:pt x="159" y="85"/>
                    <a:pt x="159" y="85"/>
                    <a:pt x="159" y="84"/>
                  </a:cubicBezTo>
                  <a:cubicBezTo>
                    <a:pt x="173" y="83"/>
                    <a:pt x="173" y="83"/>
                    <a:pt x="173" y="83"/>
                  </a:cubicBezTo>
                  <a:cubicBezTo>
                    <a:pt x="171" y="67"/>
                    <a:pt x="171" y="67"/>
                    <a:pt x="171" y="67"/>
                  </a:cubicBezTo>
                  <a:cubicBezTo>
                    <a:pt x="157" y="69"/>
                    <a:pt x="157" y="69"/>
                    <a:pt x="157" y="69"/>
                  </a:cubicBezTo>
                  <a:cubicBezTo>
                    <a:pt x="156" y="63"/>
                    <a:pt x="154" y="57"/>
                    <a:pt x="151" y="51"/>
                  </a:cubicBezTo>
                  <a:cubicBezTo>
                    <a:pt x="162" y="43"/>
                    <a:pt x="162" y="43"/>
                    <a:pt x="162" y="43"/>
                  </a:cubicBezTo>
                  <a:cubicBezTo>
                    <a:pt x="153" y="31"/>
                    <a:pt x="153" y="31"/>
                    <a:pt x="153" y="31"/>
                  </a:cubicBezTo>
                  <a:cubicBezTo>
                    <a:pt x="142" y="38"/>
                    <a:pt x="142" y="38"/>
                    <a:pt x="142" y="38"/>
                  </a:cubicBezTo>
                  <a:cubicBezTo>
                    <a:pt x="138" y="34"/>
                    <a:pt x="133" y="29"/>
                    <a:pt x="128" y="26"/>
                  </a:cubicBezTo>
                  <a:cubicBezTo>
                    <a:pt x="134" y="14"/>
                    <a:pt x="134" y="14"/>
                    <a:pt x="134" y="14"/>
                  </a:cubicBezTo>
                  <a:cubicBezTo>
                    <a:pt x="120" y="6"/>
                    <a:pt x="120" y="6"/>
                    <a:pt x="120" y="6"/>
                  </a:cubicBezTo>
                  <a:cubicBezTo>
                    <a:pt x="114" y="18"/>
                    <a:pt x="114" y="18"/>
                    <a:pt x="114" y="18"/>
                  </a:cubicBezTo>
                  <a:cubicBezTo>
                    <a:pt x="108" y="16"/>
                    <a:pt x="102" y="14"/>
                    <a:pt x="95" y="14"/>
                  </a:cubicBezTo>
                  <a:cubicBezTo>
                    <a:pt x="95" y="0"/>
                    <a:pt x="95" y="0"/>
                    <a:pt x="95" y="0"/>
                  </a:cubicBezTo>
                  <a:cubicBezTo>
                    <a:pt x="80" y="0"/>
                    <a:pt x="80" y="0"/>
                    <a:pt x="80" y="0"/>
                  </a:cubicBezTo>
                  <a:cubicBezTo>
                    <a:pt x="80" y="13"/>
                    <a:pt x="80" y="13"/>
                    <a:pt x="80" y="13"/>
                  </a:cubicBezTo>
                  <a:cubicBezTo>
                    <a:pt x="71" y="14"/>
                    <a:pt x="63" y="17"/>
                    <a:pt x="55" y="20"/>
                  </a:cubicBezTo>
                  <a:cubicBezTo>
                    <a:pt x="48" y="9"/>
                    <a:pt x="48" y="9"/>
                    <a:pt x="48" y="9"/>
                  </a:cubicBezTo>
                  <a:cubicBezTo>
                    <a:pt x="35" y="17"/>
                    <a:pt x="35" y="17"/>
                    <a:pt x="35" y="17"/>
                  </a:cubicBezTo>
                  <a:cubicBezTo>
                    <a:pt x="42" y="28"/>
                    <a:pt x="42" y="28"/>
                    <a:pt x="42" y="28"/>
                  </a:cubicBezTo>
                  <a:cubicBezTo>
                    <a:pt x="37" y="32"/>
                    <a:pt x="32" y="37"/>
                    <a:pt x="29" y="42"/>
                  </a:cubicBezTo>
                  <a:cubicBezTo>
                    <a:pt x="17" y="35"/>
                    <a:pt x="17" y="35"/>
                    <a:pt x="17" y="35"/>
                  </a:cubicBezTo>
                  <a:cubicBezTo>
                    <a:pt x="9" y="49"/>
                    <a:pt x="9" y="49"/>
                    <a:pt x="9" y="49"/>
                  </a:cubicBezTo>
                  <a:cubicBezTo>
                    <a:pt x="21" y="55"/>
                    <a:pt x="21" y="55"/>
                    <a:pt x="21" y="55"/>
                  </a:cubicBezTo>
                  <a:cubicBezTo>
                    <a:pt x="18" y="61"/>
                    <a:pt x="16" y="67"/>
                    <a:pt x="15" y="73"/>
                  </a:cubicBezTo>
                  <a:cubicBezTo>
                    <a:pt x="1" y="73"/>
                    <a:pt x="1" y="73"/>
                    <a:pt x="1" y="73"/>
                  </a:cubicBezTo>
                  <a:cubicBezTo>
                    <a:pt x="0" y="88"/>
                    <a:pt x="0" y="88"/>
                    <a:pt x="0" y="88"/>
                  </a:cubicBezTo>
                  <a:cubicBezTo>
                    <a:pt x="14" y="89"/>
                    <a:pt x="14" y="89"/>
                    <a:pt x="14" y="89"/>
                  </a:cubicBezTo>
                  <a:cubicBezTo>
                    <a:pt x="14" y="95"/>
                    <a:pt x="15" y="102"/>
                    <a:pt x="17" y="108"/>
                  </a:cubicBezTo>
                  <a:cubicBezTo>
                    <a:pt x="5" y="113"/>
                    <a:pt x="5" y="113"/>
                    <a:pt x="5" y="113"/>
                  </a:cubicBezTo>
                  <a:cubicBezTo>
                    <a:pt x="11" y="128"/>
                    <a:pt x="11" y="128"/>
                    <a:pt x="11" y="128"/>
                  </a:cubicBezTo>
                  <a:cubicBezTo>
                    <a:pt x="24" y="122"/>
                    <a:pt x="24" y="122"/>
                    <a:pt x="24" y="122"/>
                  </a:cubicBezTo>
                  <a:cubicBezTo>
                    <a:pt x="27" y="127"/>
                    <a:pt x="31" y="132"/>
                    <a:pt x="35" y="137"/>
                  </a:cubicBezTo>
                  <a:cubicBezTo>
                    <a:pt x="26" y="148"/>
                    <a:pt x="26" y="148"/>
                    <a:pt x="26" y="148"/>
                  </a:cubicBezTo>
                  <a:cubicBezTo>
                    <a:pt x="39" y="158"/>
                    <a:pt x="39" y="158"/>
                    <a:pt x="39" y="158"/>
                  </a:cubicBezTo>
                  <a:cubicBezTo>
                    <a:pt x="47" y="147"/>
                    <a:pt x="47" y="147"/>
                    <a:pt x="47" y="147"/>
                  </a:cubicBezTo>
                  <a:cubicBezTo>
                    <a:pt x="52" y="150"/>
                    <a:pt x="58" y="153"/>
                    <a:pt x="64" y="155"/>
                  </a:cubicBezTo>
                  <a:cubicBezTo>
                    <a:pt x="61" y="169"/>
                    <a:pt x="61" y="169"/>
                    <a:pt x="61" y="169"/>
                  </a:cubicBezTo>
                  <a:cubicBezTo>
                    <a:pt x="77" y="172"/>
                    <a:pt x="77" y="172"/>
                    <a:pt x="77" y="172"/>
                  </a:cubicBezTo>
                  <a:cubicBezTo>
                    <a:pt x="79" y="158"/>
                    <a:pt x="79" y="158"/>
                    <a:pt x="79" y="158"/>
                  </a:cubicBezTo>
                  <a:cubicBezTo>
                    <a:pt x="82" y="158"/>
                    <a:pt x="84" y="158"/>
                    <a:pt x="87" y="158"/>
                  </a:cubicBezTo>
                  <a:cubicBezTo>
                    <a:pt x="91" y="158"/>
                    <a:pt x="94" y="158"/>
                    <a:pt x="98" y="157"/>
                  </a:cubicBezTo>
                  <a:cubicBezTo>
                    <a:pt x="102" y="171"/>
                    <a:pt x="102" y="171"/>
                    <a:pt x="102" y="171"/>
                  </a:cubicBezTo>
                  <a:cubicBezTo>
                    <a:pt x="117" y="167"/>
                    <a:pt x="117" y="167"/>
                    <a:pt x="117" y="167"/>
                  </a:cubicBezTo>
                  <a:cubicBezTo>
                    <a:pt x="113" y="153"/>
                    <a:pt x="113" y="153"/>
                    <a:pt x="113" y="153"/>
                  </a:cubicBezTo>
                  <a:cubicBezTo>
                    <a:pt x="119" y="151"/>
                    <a:pt x="125" y="148"/>
                    <a:pt x="130" y="144"/>
                  </a:cubicBezTo>
                  <a:cubicBezTo>
                    <a:pt x="139" y="154"/>
                    <a:pt x="139" y="154"/>
                    <a:pt x="139" y="154"/>
                  </a:cubicBezTo>
                  <a:cubicBezTo>
                    <a:pt x="151" y="144"/>
                    <a:pt x="151" y="144"/>
                    <a:pt x="151" y="144"/>
                  </a:cubicBezTo>
                  <a:cubicBezTo>
                    <a:pt x="141" y="134"/>
                    <a:pt x="141" y="134"/>
                    <a:pt x="141" y="134"/>
                  </a:cubicBezTo>
                  <a:cubicBezTo>
                    <a:pt x="145" y="129"/>
                    <a:pt x="149" y="124"/>
                    <a:pt x="152" y="118"/>
                  </a:cubicBezTo>
                  <a:cubicBezTo>
                    <a:pt x="165" y="122"/>
                    <a:pt x="165" y="122"/>
                    <a:pt x="165" y="122"/>
                  </a:cubicBezTo>
                  <a:cubicBezTo>
                    <a:pt x="170" y="108"/>
                    <a:pt x="170" y="108"/>
                    <a:pt x="170" y="108"/>
                  </a:cubicBezTo>
                  <a:cubicBezTo>
                    <a:pt x="157" y="103"/>
                    <a:pt x="157" y="103"/>
                    <a:pt x="157" y="103"/>
                  </a:cubicBezTo>
                  <a:cubicBezTo>
                    <a:pt x="159" y="98"/>
                    <a:pt x="159" y="92"/>
                    <a:pt x="159" y="86"/>
                  </a:cubicBezTo>
                  <a:close/>
                  <a:moveTo>
                    <a:pt x="87" y="141"/>
                  </a:moveTo>
                  <a:cubicBezTo>
                    <a:pt x="56" y="141"/>
                    <a:pt x="31" y="116"/>
                    <a:pt x="31" y="86"/>
                  </a:cubicBezTo>
                  <a:cubicBezTo>
                    <a:pt x="31" y="55"/>
                    <a:pt x="56" y="30"/>
                    <a:pt x="87" y="30"/>
                  </a:cubicBezTo>
                  <a:cubicBezTo>
                    <a:pt x="117" y="30"/>
                    <a:pt x="142" y="55"/>
                    <a:pt x="142" y="86"/>
                  </a:cubicBezTo>
                  <a:cubicBezTo>
                    <a:pt x="142" y="116"/>
                    <a:pt x="117" y="141"/>
                    <a:pt x="87" y="141"/>
                  </a:cubicBez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3" name="Freeform 13"/>
            <p:cNvSpPr>
              <a:spLocks noEditPoints="1"/>
            </p:cNvSpPr>
            <p:nvPr/>
          </p:nvSpPr>
          <p:spPr bwMode="auto">
            <a:xfrm flipH="1">
              <a:off x="1103386" y="4734943"/>
              <a:ext cx="1099039" cy="1086824"/>
            </a:xfrm>
            <a:custGeom>
              <a:avLst/>
              <a:gdLst>
                <a:gd name="T0" fmla="*/ 115 w 139"/>
                <a:gd name="T1" fmla="*/ 37 h 139"/>
                <a:gd name="T2" fmla="*/ 122 w 139"/>
                <a:gd name="T3" fmla="*/ 31 h 139"/>
                <a:gd name="T4" fmla="*/ 115 w 139"/>
                <a:gd name="T5" fmla="*/ 22 h 139"/>
                <a:gd name="T6" fmla="*/ 108 w 139"/>
                <a:gd name="T7" fmla="*/ 29 h 139"/>
                <a:gd name="T8" fmla="*/ 79 w 139"/>
                <a:gd name="T9" fmla="*/ 14 h 139"/>
                <a:gd name="T10" fmla="*/ 80 w 139"/>
                <a:gd name="T11" fmla="*/ 0 h 139"/>
                <a:gd name="T12" fmla="*/ 69 w 139"/>
                <a:gd name="T13" fmla="*/ 0 h 139"/>
                <a:gd name="T14" fmla="*/ 68 w 139"/>
                <a:gd name="T15" fmla="*/ 14 h 139"/>
                <a:gd name="T16" fmla="*/ 38 w 139"/>
                <a:gd name="T17" fmla="*/ 24 h 139"/>
                <a:gd name="T18" fmla="*/ 28 w 139"/>
                <a:gd name="T19" fmla="*/ 13 h 139"/>
                <a:gd name="T20" fmla="*/ 20 w 139"/>
                <a:gd name="T21" fmla="*/ 20 h 139"/>
                <a:gd name="T22" fmla="*/ 29 w 139"/>
                <a:gd name="T23" fmla="*/ 31 h 139"/>
                <a:gd name="T24" fmla="*/ 15 w 139"/>
                <a:gd name="T25" fmla="*/ 60 h 139"/>
                <a:gd name="T26" fmla="*/ 1 w 139"/>
                <a:gd name="T27" fmla="*/ 59 h 139"/>
                <a:gd name="T28" fmla="*/ 0 w 139"/>
                <a:gd name="T29" fmla="*/ 70 h 139"/>
                <a:gd name="T30" fmla="*/ 14 w 139"/>
                <a:gd name="T31" fmla="*/ 71 h 139"/>
                <a:gd name="T32" fmla="*/ 24 w 139"/>
                <a:gd name="T33" fmla="*/ 101 h 139"/>
                <a:gd name="T34" fmla="*/ 17 w 139"/>
                <a:gd name="T35" fmla="*/ 107 h 139"/>
                <a:gd name="T36" fmla="*/ 24 w 139"/>
                <a:gd name="T37" fmla="*/ 116 h 139"/>
                <a:gd name="T38" fmla="*/ 31 w 139"/>
                <a:gd name="T39" fmla="*/ 110 h 139"/>
                <a:gd name="T40" fmla="*/ 60 w 139"/>
                <a:gd name="T41" fmla="*/ 124 h 139"/>
                <a:gd name="T42" fmla="*/ 59 w 139"/>
                <a:gd name="T43" fmla="*/ 138 h 139"/>
                <a:gd name="T44" fmla="*/ 70 w 139"/>
                <a:gd name="T45" fmla="*/ 139 h 139"/>
                <a:gd name="T46" fmla="*/ 71 w 139"/>
                <a:gd name="T47" fmla="*/ 125 h 139"/>
                <a:gd name="T48" fmla="*/ 101 w 139"/>
                <a:gd name="T49" fmla="*/ 115 h 139"/>
                <a:gd name="T50" fmla="*/ 111 w 139"/>
                <a:gd name="T51" fmla="*/ 125 h 139"/>
                <a:gd name="T52" fmla="*/ 119 w 139"/>
                <a:gd name="T53" fmla="*/ 118 h 139"/>
                <a:gd name="T54" fmla="*/ 110 w 139"/>
                <a:gd name="T55" fmla="*/ 107 h 139"/>
                <a:gd name="T56" fmla="*/ 124 w 139"/>
                <a:gd name="T57" fmla="*/ 79 h 139"/>
                <a:gd name="T58" fmla="*/ 138 w 139"/>
                <a:gd name="T59" fmla="*/ 80 h 139"/>
                <a:gd name="T60" fmla="*/ 139 w 139"/>
                <a:gd name="T61" fmla="*/ 68 h 139"/>
                <a:gd name="T62" fmla="*/ 125 w 139"/>
                <a:gd name="T63" fmla="*/ 67 h 139"/>
                <a:gd name="T64" fmla="*/ 115 w 139"/>
                <a:gd name="T65" fmla="*/ 37 h 139"/>
                <a:gd name="T66" fmla="*/ 103 w 139"/>
                <a:gd name="T67" fmla="*/ 71 h 139"/>
                <a:gd name="T68" fmla="*/ 67 w 139"/>
                <a:gd name="T69" fmla="*/ 103 h 139"/>
                <a:gd name="T70" fmla="*/ 36 w 139"/>
                <a:gd name="T71" fmla="*/ 67 h 139"/>
                <a:gd name="T72" fmla="*/ 72 w 139"/>
                <a:gd name="T73" fmla="*/ 36 h 139"/>
                <a:gd name="T74" fmla="*/ 103 w 139"/>
                <a:gd name="T75" fmla="*/ 7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15" y="37"/>
                  </a:moveTo>
                  <a:cubicBezTo>
                    <a:pt x="122" y="31"/>
                    <a:pt x="122" y="31"/>
                    <a:pt x="122" y="31"/>
                  </a:cubicBezTo>
                  <a:cubicBezTo>
                    <a:pt x="115" y="22"/>
                    <a:pt x="115" y="22"/>
                    <a:pt x="115" y="22"/>
                  </a:cubicBezTo>
                  <a:cubicBezTo>
                    <a:pt x="108" y="29"/>
                    <a:pt x="108" y="29"/>
                    <a:pt x="108" y="29"/>
                  </a:cubicBezTo>
                  <a:cubicBezTo>
                    <a:pt x="100" y="21"/>
                    <a:pt x="90" y="16"/>
                    <a:pt x="79" y="14"/>
                  </a:cubicBezTo>
                  <a:cubicBezTo>
                    <a:pt x="80" y="0"/>
                    <a:pt x="80" y="0"/>
                    <a:pt x="80" y="0"/>
                  </a:cubicBezTo>
                  <a:cubicBezTo>
                    <a:pt x="69" y="0"/>
                    <a:pt x="69" y="0"/>
                    <a:pt x="69" y="0"/>
                  </a:cubicBezTo>
                  <a:cubicBezTo>
                    <a:pt x="68" y="14"/>
                    <a:pt x="68" y="14"/>
                    <a:pt x="68" y="14"/>
                  </a:cubicBezTo>
                  <a:cubicBezTo>
                    <a:pt x="57" y="14"/>
                    <a:pt x="46" y="18"/>
                    <a:pt x="38" y="24"/>
                  </a:cubicBezTo>
                  <a:cubicBezTo>
                    <a:pt x="28" y="13"/>
                    <a:pt x="28" y="13"/>
                    <a:pt x="28" y="13"/>
                  </a:cubicBezTo>
                  <a:cubicBezTo>
                    <a:pt x="20" y="20"/>
                    <a:pt x="20" y="20"/>
                    <a:pt x="20" y="20"/>
                  </a:cubicBezTo>
                  <a:cubicBezTo>
                    <a:pt x="29" y="31"/>
                    <a:pt x="29" y="31"/>
                    <a:pt x="29" y="31"/>
                  </a:cubicBezTo>
                  <a:cubicBezTo>
                    <a:pt x="22" y="39"/>
                    <a:pt x="17" y="49"/>
                    <a:pt x="15" y="60"/>
                  </a:cubicBezTo>
                  <a:cubicBezTo>
                    <a:pt x="1" y="59"/>
                    <a:pt x="1" y="59"/>
                    <a:pt x="1" y="59"/>
                  </a:cubicBezTo>
                  <a:cubicBezTo>
                    <a:pt x="0" y="70"/>
                    <a:pt x="0" y="70"/>
                    <a:pt x="0" y="70"/>
                  </a:cubicBezTo>
                  <a:cubicBezTo>
                    <a:pt x="14" y="71"/>
                    <a:pt x="14" y="71"/>
                    <a:pt x="14" y="71"/>
                  </a:cubicBezTo>
                  <a:cubicBezTo>
                    <a:pt x="14" y="82"/>
                    <a:pt x="18" y="92"/>
                    <a:pt x="24" y="101"/>
                  </a:cubicBezTo>
                  <a:cubicBezTo>
                    <a:pt x="17" y="107"/>
                    <a:pt x="17" y="107"/>
                    <a:pt x="17" y="107"/>
                  </a:cubicBezTo>
                  <a:cubicBezTo>
                    <a:pt x="24" y="116"/>
                    <a:pt x="24" y="116"/>
                    <a:pt x="24" y="116"/>
                  </a:cubicBezTo>
                  <a:cubicBezTo>
                    <a:pt x="31" y="110"/>
                    <a:pt x="31" y="110"/>
                    <a:pt x="31" y="110"/>
                  </a:cubicBezTo>
                  <a:cubicBezTo>
                    <a:pt x="39" y="117"/>
                    <a:pt x="49" y="122"/>
                    <a:pt x="60" y="124"/>
                  </a:cubicBezTo>
                  <a:cubicBezTo>
                    <a:pt x="59" y="138"/>
                    <a:pt x="59" y="138"/>
                    <a:pt x="59" y="138"/>
                  </a:cubicBezTo>
                  <a:cubicBezTo>
                    <a:pt x="70" y="139"/>
                    <a:pt x="70" y="139"/>
                    <a:pt x="70" y="139"/>
                  </a:cubicBezTo>
                  <a:cubicBezTo>
                    <a:pt x="71" y="125"/>
                    <a:pt x="71" y="125"/>
                    <a:pt x="71" y="125"/>
                  </a:cubicBezTo>
                  <a:cubicBezTo>
                    <a:pt x="82" y="124"/>
                    <a:pt x="93" y="121"/>
                    <a:pt x="101" y="115"/>
                  </a:cubicBezTo>
                  <a:cubicBezTo>
                    <a:pt x="111" y="125"/>
                    <a:pt x="111" y="125"/>
                    <a:pt x="111" y="125"/>
                  </a:cubicBezTo>
                  <a:cubicBezTo>
                    <a:pt x="119" y="118"/>
                    <a:pt x="119" y="118"/>
                    <a:pt x="119" y="118"/>
                  </a:cubicBezTo>
                  <a:cubicBezTo>
                    <a:pt x="110" y="107"/>
                    <a:pt x="110" y="107"/>
                    <a:pt x="110" y="107"/>
                  </a:cubicBezTo>
                  <a:cubicBezTo>
                    <a:pt x="117" y="99"/>
                    <a:pt x="122" y="90"/>
                    <a:pt x="124" y="79"/>
                  </a:cubicBezTo>
                  <a:cubicBezTo>
                    <a:pt x="138" y="80"/>
                    <a:pt x="138" y="80"/>
                    <a:pt x="138" y="80"/>
                  </a:cubicBezTo>
                  <a:cubicBezTo>
                    <a:pt x="139" y="68"/>
                    <a:pt x="139" y="68"/>
                    <a:pt x="139" y="68"/>
                  </a:cubicBezTo>
                  <a:cubicBezTo>
                    <a:pt x="125" y="67"/>
                    <a:pt x="125" y="67"/>
                    <a:pt x="125" y="67"/>
                  </a:cubicBezTo>
                  <a:cubicBezTo>
                    <a:pt x="125" y="56"/>
                    <a:pt x="121" y="46"/>
                    <a:pt x="115" y="37"/>
                  </a:cubicBezTo>
                  <a:close/>
                  <a:moveTo>
                    <a:pt x="103" y="71"/>
                  </a:moveTo>
                  <a:cubicBezTo>
                    <a:pt x="102" y="90"/>
                    <a:pt x="86" y="104"/>
                    <a:pt x="67" y="103"/>
                  </a:cubicBezTo>
                  <a:cubicBezTo>
                    <a:pt x="49" y="101"/>
                    <a:pt x="35" y="85"/>
                    <a:pt x="36" y="67"/>
                  </a:cubicBezTo>
                  <a:cubicBezTo>
                    <a:pt x="37" y="48"/>
                    <a:pt x="53" y="34"/>
                    <a:pt x="72" y="36"/>
                  </a:cubicBezTo>
                  <a:cubicBezTo>
                    <a:pt x="90" y="37"/>
                    <a:pt x="104" y="53"/>
                    <a:pt x="103" y="71"/>
                  </a:cubicBez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4" name="Freeform 14"/>
            <p:cNvSpPr>
              <a:spLocks/>
            </p:cNvSpPr>
            <p:nvPr/>
          </p:nvSpPr>
          <p:spPr bwMode="auto">
            <a:xfrm flipH="1">
              <a:off x="1490759" y="5110013"/>
              <a:ext cx="324294" cy="328686"/>
            </a:xfrm>
            <a:custGeom>
              <a:avLst/>
              <a:gdLst>
                <a:gd name="T0" fmla="*/ 22 w 41"/>
                <a:gd name="T1" fmla="*/ 1 h 42"/>
                <a:gd name="T2" fmla="*/ 0 w 41"/>
                <a:gd name="T3" fmla="*/ 20 h 42"/>
                <a:gd name="T4" fmla="*/ 19 w 41"/>
                <a:gd name="T5" fmla="*/ 41 h 42"/>
                <a:gd name="T6" fmla="*/ 41 w 41"/>
                <a:gd name="T7" fmla="*/ 23 h 42"/>
                <a:gd name="T8" fmla="*/ 22 w 41"/>
                <a:gd name="T9" fmla="*/ 1 h 42"/>
              </a:gdLst>
              <a:ahLst/>
              <a:cxnLst>
                <a:cxn ang="0">
                  <a:pos x="T0" y="T1"/>
                </a:cxn>
                <a:cxn ang="0">
                  <a:pos x="T2" y="T3"/>
                </a:cxn>
                <a:cxn ang="0">
                  <a:pos x="T4" y="T5"/>
                </a:cxn>
                <a:cxn ang="0">
                  <a:pos x="T6" y="T7"/>
                </a:cxn>
                <a:cxn ang="0">
                  <a:pos x="T8" y="T9"/>
                </a:cxn>
              </a:cxnLst>
              <a:rect l="0" t="0" r="r" b="b"/>
              <a:pathLst>
                <a:path w="41" h="42">
                  <a:moveTo>
                    <a:pt x="22" y="1"/>
                  </a:moveTo>
                  <a:cubicBezTo>
                    <a:pt x="11" y="0"/>
                    <a:pt x="1" y="9"/>
                    <a:pt x="0" y="20"/>
                  </a:cubicBezTo>
                  <a:cubicBezTo>
                    <a:pt x="0" y="31"/>
                    <a:pt x="8" y="40"/>
                    <a:pt x="19" y="41"/>
                  </a:cubicBezTo>
                  <a:cubicBezTo>
                    <a:pt x="30" y="42"/>
                    <a:pt x="40" y="34"/>
                    <a:pt x="41" y="23"/>
                  </a:cubicBezTo>
                  <a:cubicBezTo>
                    <a:pt x="41" y="11"/>
                    <a:pt x="33" y="2"/>
                    <a:pt x="22" y="1"/>
                  </a:cubicBez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5" name="Freeform 15"/>
            <p:cNvSpPr>
              <a:spLocks/>
            </p:cNvSpPr>
            <p:nvPr/>
          </p:nvSpPr>
          <p:spPr bwMode="auto">
            <a:xfrm flipH="1">
              <a:off x="478252" y="3310636"/>
              <a:ext cx="308119" cy="649375"/>
            </a:xfrm>
            <a:custGeom>
              <a:avLst/>
              <a:gdLst>
                <a:gd name="T0" fmla="*/ 20 w 39"/>
                <a:gd name="T1" fmla="*/ 0 h 83"/>
                <a:gd name="T2" fmla="*/ 13 w 39"/>
                <a:gd name="T3" fmla="*/ 6 h 83"/>
                <a:gd name="T4" fmla="*/ 21 w 39"/>
                <a:gd name="T5" fmla="*/ 14 h 83"/>
                <a:gd name="T6" fmla="*/ 12 w 39"/>
                <a:gd name="T7" fmla="*/ 37 h 83"/>
                <a:gd name="T8" fmla="*/ 0 w 39"/>
                <a:gd name="T9" fmla="*/ 37 h 83"/>
                <a:gd name="T10" fmla="*/ 0 w 39"/>
                <a:gd name="T11" fmla="*/ 46 h 83"/>
                <a:gd name="T12" fmla="*/ 12 w 39"/>
                <a:gd name="T13" fmla="*/ 46 h 83"/>
                <a:gd name="T14" fmla="*/ 21 w 39"/>
                <a:gd name="T15" fmla="*/ 70 h 83"/>
                <a:gd name="T16" fmla="*/ 16 w 39"/>
                <a:gd name="T17" fmla="*/ 75 h 83"/>
                <a:gd name="T18" fmla="*/ 22 w 39"/>
                <a:gd name="T19" fmla="*/ 81 h 83"/>
                <a:gd name="T20" fmla="*/ 28 w 39"/>
                <a:gd name="T21" fmla="*/ 76 h 83"/>
                <a:gd name="T22" fmla="*/ 39 w 39"/>
                <a:gd name="T23" fmla="*/ 83 h 83"/>
                <a:gd name="T24" fmla="*/ 39 w 39"/>
                <a:gd name="T25" fmla="*/ 63 h 83"/>
                <a:gd name="T26" fmla="*/ 29 w 39"/>
                <a:gd name="T27" fmla="*/ 42 h 83"/>
                <a:gd name="T28" fmla="*/ 39 w 39"/>
                <a:gd name="T29" fmla="*/ 21 h 83"/>
                <a:gd name="T30" fmla="*/ 39 w 39"/>
                <a:gd name="T31" fmla="*/ 1 h 83"/>
                <a:gd name="T32" fmla="*/ 28 w 39"/>
                <a:gd name="T33" fmla="*/ 8 h 83"/>
                <a:gd name="T34" fmla="*/ 20 w 39"/>
                <a:gd name="T35"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83">
                  <a:moveTo>
                    <a:pt x="20" y="0"/>
                  </a:moveTo>
                  <a:cubicBezTo>
                    <a:pt x="13" y="6"/>
                    <a:pt x="13" y="6"/>
                    <a:pt x="13" y="6"/>
                  </a:cubicBezTo>
                  <a:cubicBezTo>
                    <a:pt x="21" y="14"/>
                    <a:pt x="21" y="14"/>
                    <a:pt x="21" y="14"/>
                  </a:cubicBezTo>
                  <a:cubicBezTo>
                    <a:pt x="16" y="20"/>
                    <a:pt x="12" y="28"/>
                    <a:pt x="12" y="37"/>
                  </a:cubicBezTo>
                  <a:cubicBezTo>
                    <a:pt x="0" y="37"/>
                    <a:pt x="0" y="37"/>
                    <a:pt x="0" y="37"/>
                  </a:cubicBezTo>
                  <a:cubicBezTo>
                    <a:pt x="0" y="46"/>
                    <a:pt x="0" y="46"/>
                    <a:pt x="0" y="46"/>
                  </a:cubicBezTo>
                  <a:cubicBezTo>
                    <a:pt x="12" y="46"/>
                    <a:pt x="12" y="46"/>
                    <a:pt x="12" y="46"/>
                  </a:cubicBezTo>
                  <a:cubicBezTo>
                    <a:pt x="12" y="55"/>
                    <a:pt x="16" y="63"/>
                    <a:pt x="21" y="70"/>
                  </a:cubicBezTo>
                  <a:cubicBezTo>
                    <a:pt x="16" y="75"/>
                    <a:pt x="16" y="75"/>
                    <a:pt x="16" y="75"/>
                  </a:cubicBezTo>
                  <a:cubicBezTo>
                    <a:pt x="22" y="81"/>
                    <a:pt x="22" y="81"/>
                    <a:pt x="22" y="81"/>
                  </a:cubicBezTo>
                  <a:cubicBezTo>
                    <a:pt x="28" y="76"/>
                    <a:pt x="28" y="76"/>
                    <a:pt x="28" y="76"/>
                  </a:cubicBezTo>
                  <a:cubicBezTo>
                    <a:pt x="31" y="79"/>
                    <a:pt x="35" y="81"/>
                    <a:pt x="39" y="83"/>
                  </a:cubicBezTo>
                  <a:cubicBezTo>
                    <a:pt x="39" y="63"/>
                    <a:pt x="39" y="63"/>
                    <a:pt x="39" y="63"/>
                  </a:cubicBezTo>
                  <a:cubicBezTo>
                    <a:pt x="33" y="58"/>
                    <a:pt x="29" y="50"/>
                    <a:pt x="29" y="42"/>
                  </a:cubicBezTo>
                  <a:cubicBezTo>
                    <a:pt x="29" y="33"/>
                    <a:pt x="33" y="26"/>
                    <a:pt x="39" y="21"/>
                  </a:cubicBezTo>
                  <a:cubicBezTo>
                    <a:pt x="39" y="1"/>
                    <a:pt x="39" y="1"/>
                    <a:pt x="39" y="1"/>
                  </a:cubicBezTo>
                  <a:cubicBezTo>
                    <a:pt x="35" y="2"/>
                    <a:pt x="31" y="5"/>
                    <a:pt x="28" y="8"/>
                  </a:cubicBezTo>
                  <a:lnTo>
                    <a:pt x="20" y="0"/>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6" name="Freeform 16"/>
            <p:cNvSpPr>
              <a:spLocks noEditPoints="1"/>
            </p:cNvSpPr>
            <p:nvPr/>
          </p:nvSpPr>
          <p:spPr bwMode="auto">
            <a:xfrm flipH="1">
              <a:off x="478252" y="4578197"/>
              <a:ext cx="625134" cy="954070"/>
            </a:xfrm>
            <a:custGeom>
              <a:avLst/>
              <a:gdLst>
                <a:gd name="T0" fmla="*/ 66 w 79"/>
                <a:gd name="T1" fmla="*/ 0 h 122"/>
                <a:gd name="T2" fmla="*/ 56 w 79"/>
                <a:gd name="T3" fmla="*/ 0 h 122"/>
                <a:gd name="T4" fmla="*/ 56 w 79"/>
                <a:gd name="T5" fmla="*/ 12 h 122"/>
                <a:gd name="T6" fmla="*/ 30 w 79"/>
                <a:gd name="T7" fmla="*/ 23 h 122"/>
                <a:gd name="T8" fmla="*/ 21 w 79"/>
                <a:gd name="T9" fmla="*/ 14 h 122"/>
                <a:gd name="T10" fmla="*/ 14 w 79"/>
                <a:gd name="T11" fmla="*/ 21 h 122"/>
                <a:gd name="T12" fmla="*/ 23 w 79"/>
                <a:gd name="T13" fmla="*/ 30 h 122"/>
                <a:gd name="T14" fmla="*/ 12 w 79"/>
                <a:gd name="T15" fmla="*/ 56 h 122"/>
                <a:gd name="T16" fmla="*/ 0 w 79"/>
                <a:gd name="T17" fmla="*/ 56 h 122"/>
                <a:gd name="T18" fmla="*/ 0 w 79"/>
                <a:gd name="T19" fmla="*/ 66 h 122"/>
                <a:gd name="T20" fmla="*/ 12 w 79"/>
                <a:gd name="T21" fmla="*/ 66 h 122"/>
                <a:gd name="T22" fmla="*/ 23 w 79"/>
                <a:gd name="T23" fmla="*/ 92 h 122"/>
                <a:gd name="T24" fmla="*/ 17 w 79"/>
                <a:gd name="T25" fmla="*/ 98 h 122"/>
                <a:gd name="T26" fmla="*/ 24 w 79"/>
                <a:gd name="T27" fmla="*/ 105 h 122"/>
                <a:gd name="T28" fmla="*/ 30 w 79"/>
                <a:gd name="T29" fmla="*/ 99 h 122"/>
                <a:gd name="T30" fmla="*/ 56 w 79"/>
                <a:gd name="T31" fmla="*/ 109 h 122"/>
                <a:gd name="T32" fmla="*/ 56 w 79"/>
                <a:gd name="T33" fmla="*/ 122 h 122"/>
                <a:gd name="T34" fmla="*/ 66 w 79"/>
                <a:gd name="T35" fmla="*/ 122 h 122"/>
                <a:gd name="T36" fmla="*/ 66 w 79"/>
                <a:gd name="T37" fmla="*/ 109 h 122"/>
                <a:gd name="T38" fmla="*/ 79 w 79"/>
                <a:gd name="T39" fmla="*/ 106 h 122"/>
                <a:gd name="T40" fmla="*/ 79 w 79"/>
                <a:gd name="T41" fmla="*/ 16 h 122"/>
                <a:gd name="T42" fmla="*/ 66 w 79"/>
                <a:gd name="T43" fmla="*/ 12 h 122"/>
                <a:gd name="T44" fmla="*/ 66 w 79"/>
                <a:gd name="T45" fmla="*/ 0 h 122"/>
                <a:gd name="T46" fmla="*/ 73 w 79"/>
                <a:gd name="T47" fmla="*/ 61 h 122"/>
                <a:gd name="T48" fmla="*/ 61 w 79"/>
                <a:gd name="T49" fmla="*/ 74 h 122"/>
                <a:gd name="T50" fmla="*/ 48 w 79"/>
                <a:gd name="T51" fmla="*/ 61 h 122"/>
                <a:gd name="T52" fmla="*/ 61 w 79"/>
                <a:gd name="T53" fmla="*/ 48 h 122"/>
                <a:gd name="T54" fmla="*/ 73 w 79"/>
                <a:gd name="T55"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122">
                  <a:moveTo>
                    <a:pt x="66" y="0"/>
                  </a:moveTo>
                  <a:cubicBezTo>
                    <a:pt x="56" y="0"/>
                    <a:pt x="56" y="0"/>
                    <a:pt x="56" y="0"/>
                  </a:cubicBezTo>
                  <a:cubicBezTo>
                    <a:pt x="56" y="12"/>
                    <a:pt x="56" y="12"/>
                    <a:pt x="56" y="12"/>
                  </a:cubicBezTo>
                  <a:cubicBezTo>
                    <a:pt x="46" y="13"/>
                    <a:pt x="37" y="17"/>
                    <a:pt x="30" y="23"/>
                  </a:cubicBezTo>
                  <a:cubicBezTo>
                    <a:pt x="21" y="14"/>
                    <a:pt x="21" y="14"/>
                    <a:pt x="21" y="14"/>
                  </a:cubicBezTo>
                  <a:cubicBezTo>
                    <a:pt x="14" y="21"/>
                    <a:pt x="14" y="21"/>
                    <a:pt x="14" y="21"/>
                  </a:cubicBezTo>
                  <a:cubicBezTo>
                    <a:pt x="23" y="30"/>
                    <a:pt x="23" y="30"/>
                    <a:pt x="23" y="30"/>
                  </a:cubicBezTo>
                  <a:cubicBezTo>
                    <a:pt x="17" y="37"/>
                    <a:pt x="13" y="46"/>
                    <a:pt x="12" y="56"/>
                  </a:cubicBezTo>
                  <a:cubicBezTo>
                    <a:pt x="0" y="56"/>
                    <a:pt x="0" y="56"/>
                    <a:pt x="0" y="56"/>
                  </a:cubicBezTo>
                  <a:cubicBezTo>
                    <a:pt x="0" y="66"/>
                    <a:pt x="0" y="66"/>
                    <a:pt x="0" y="66"/>
                  </a:cubicBezTo>
                  <a:cubicBezTo>
                    <a:pt x="12" y="66"/>
                    <a:pt x="12" y="66"/>
                    <a:pt x="12" y="66"/>
                  </a:cubicBezTo>
                  <a:cubicBezTo>
                    <a:pt x="13" y="76"/>
                    <a:pt x="17" y="85"/>
                    <a:pt x="23" y="92"/>
                  </a:cubicBezTo>
                  <a:cubicBezTo>
                    <a:pt x="17" y="98"/>
                    <a:pt x="17" y="98"/>
                    <a:pt x="17" y="98"/>
                  </a:cubicBezTo>
                  <a:cubicBezTo>
                    <a:pt x="24" y="105"/>
                    <a:pt x="24" y="105"/>
                    <a:pt x="24" y="105"/>
                  </a:cubicBezTo>
                  <a:cubicBezTo>
                    <a:pt x="30" y="99"/>
                    <a:pt x="30" y="99"/>
                    <a:pt x="30" y="99"/>
                  </a:cubicBezTo>
                  <a:cubicBezTo>
                    <a:pt x="37" y="105"/>
                    <a:pt x="46" y="108"/>
                    <a:pt x="56" y="109"/>
                  </a:cubicBezTo>
                  <a:cubicBezTo>
                    <a:pt x="56" y="122"/>
                    <a:pt x="56" y="122"/>
                    <a:pt x="56" y="122"/>
                  </a:cubicBezTo>
                  <a:cubicBezTo>
                    <a:pt x="66" y="122"/>
                    <a:pt x="66" y="122"/>
                    <a:pt x="66" y="122"/>
                  </a:cubicBezTo>
                  <a:cubicBezTo>
                    <a:pt x="66" y="109"/>
                    <a:pt x="66" y="109"/>
                    <a:pt x="66" y="109"/>
                  </a:cubicBezTo>
                  <a:cubicBezTo>
                    <a:pt x="70" y="109"/>
                    <a:pt x="75" y="108"/>
                    <a:pt x="79" y="106"/>
                  </a:cubicBezTo>
                  <a:cubicBezTo>
                    <a:pt x="79" y="16"/>
                    <a:pt x="79" y="16"/>
                    <a:pt x="79" y="16"/>
                  </a:cubicBezTo>
                  <a:cubicBezTo>
                    <a:pt x="75" y="14"/>
                    <a:pt x="70" y="13"/>
                    <a:pt x="66" y="12"/>
                  </a:cubicBezTo>
                  <a:lnTo>
                    <a:pt x="66" y="0"/>
                  </a:lnTo>
                  <a:close/>
                  <a:moveTo>
                    <a:pt x="73" y="61"/>
                  </a:moveTo>
                  <a:cubicBezTo>
                    <a:pt x="73" y="68"/>
                    <a:pt x="68" y="74"/>
                    <a:pt x="61" y="74"/>
                  </a:cubicBezTo>
                  <a:cubicBezTo>
                    <a:pt x="54" y="74"/>
                    <a:pt x="48" y="68"/>
                    <a:pt x="48" y="61"/>
                  </a:cubicBezTo>
                  <a:cubicBezTo>
                    <a:pt x="48" y="54"/>
                    <a:pt x="54" y="48"/>
                    <a:pt x="61" y="48"/>
                  </a:cubicBezTo>
                  <a:cubicBezTo>
                    <a:pt x="68" y="48"/>
                    <a:pt x="73" y="54"/>
                    <a:pt x="73" y="61"/>
                  </a:cubicBez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7" name="Freeform 17"/>
            <p:cNvSpPr>
              <a:spLocks noEditPoints="1"/>
            </p:cNvSpPr>
            <p:nvPr/>
          </p:nvSpPr>
          <p:spPr bwMode="auto">
            <a:xfrm flipH="1">
              <a:off x="2471726" y="4954067"/>
              <a:ext cx="964793" cy="954070"/>
            </a:xfrm>
            <a:custGeom>
              <a:avLst/>
              <a:gdLst>
                <a:gd name="T0" fmla="*/ 99 w 122"/>
                <a:gd name="T1" fmla="*/ 30 h 122"/>
                <a:gd name="T2" fmla="*/ 105 w 122"/>
                <a:gd name="T3" fmla="*/ 24 h 122"/>
                <a:gd name="T4" fmla="*/ 98 w 122"/>
                <a:gd name="T5" fmla="*/ 17 h 122"/>
                <a:gd name="T6" fmla="*/ 92 w 122"/>
                <a:gd name="T7" fmla="*/ 23 h 122"/>
                <a:gd name="T8" fmla="*/ 66 w 122"/>
                <a:gd name="T9" fmla="*/ 13 h 122"/>
                <a:gd name="T10" fmla="*/ 66 w 122"/>
                <a:gd name="T11" fmla="*/ 0 h 122"/>
                <a:gd name="T12" fmla="*/ 56 w 122"/>
                <a:gd name="T13" fmla="*/ 0 h 122"/>
                <a:gd name="T14" fmla="*/ 56 w 122"/>
                <a:gd name="T15" fmla="*/ 13 h 122"/>
                <a:gd name="T16" fmla="*/ 30 w 122"/>
                <a:gd name="T17" fmla="*/ 23 h 122"/>
                <a:gd name="T18" fmla="*/ 22 w 122"/>
                <a:gd name="T19" fmla="*/ 15 h 122"/>
                <a:gd name="T20" fmla="*/ 15 w 122"/>
                <a:gd name="T21" fmla="*/ 22 h 122"/>
                <a:gd name="T22" fmla="*/ 23 w 122"/>
                <a:gd name="T23" fmla="*/ 30 h 122"/>
                <a:gd name="T24" fmla="*/ 13 w 122"/>
                <a:gd name="T25" fmla="*/ 56 h 122"/>
                <a:gd name="T26" fmla="*/ 0 w 122"/>
                <a:gd name="T27" fmla="*/ 56 h 122"/>
                <a:gd name="T28" fmla="*/ 0 w 122"/>
                <a:gd name="T29" fmla="*/ 66 h 122"/>
                <a:gd name="T30" fmla="*/ 13 w 122"/>
                <a:gd name="T31" fmla="*/ 66 h 122"/>
                <a:gd name="T32" fmla="*/ 23 w 122"/>
                <a:gd name="T33" fmla="*/ 92 h 122"/>
                <a:gd name="T34" fmla="*/ 17 w 122"/>
                <a:gd name="T35" fmla="*/ 98 h 122"/>
                <a:gd name="T36" fmla="*/ 24 w 122"/>
                <a:gd name="T37" fmla="*/ 105 h 122"/>
                <a:gd name="T38" fmla="*/ 30 w 122"/>
                <a:gd name="T39" fmla="*/ 99 h 122"/>
                <a:gd name="T40" fmla="*/ 56 w 122"/>
                <a:gd name="T41" fmla="*/ 110 h 122"/>
                <a:gd name="T42" fmla="*/ 56 w 122"/>
                <a:gd name="T43" fmla="*/ 122 h 122"/>
                <a:gd name="T44" fmla="*/ 66 w 122"/>
                <a:gd name="T45" fmla="*/ 122 h 122"/>
                <a:gd name="T46" fmla="*/ 66 w 122"/>
                <a:gd name="T47" fmla="*/ 110 h 122"/>
                <a:gd name="T48" fmla="*/ 92 w 122"/>
                <a:gd name="T49" fmla="*/ 99 h 122"/>
                <a:gd name="T50" fmla="*/ 101 w 122"/>
                <a:gd name="T51" fmla="*/ 108 h 122"/>
                <a:gd name="T52" fmla="*/ 108 w 122"/>
                <a:gd name="T53" fmla="*/ 101 h 122"/>
                <a:gd name="T54" fmla="*/ 99 w 122"/>
                <a:gd name="T55" fmla="*/ 92 h 122"/>
                <a:gd name="T56" fmla="*/ 110 w 122"/>
                <a:gd name="T57" fmla="*/ 66 h 122"/>
                <a:gd name="T58" fmla="*/ 122 w 122"/>
                <a:gd name="T59" fmla="*/ 66 h 122"/>
                <a:gd name="T60" fmla="*/ 122 w 122"/>
                <a:gd name="T61" fmla="*/ 56 h 122"/>
                <a:gd name="T62" fmla="*/ 110 w 122"/>
                <a:gd name="T63" fmla="*/ 56 h 122"/>
                <a:gd name="T64" fmla="*/ 99 w 122"/>
                <a:gd name="T65" fmla="*/ 30 h 122"/>
                <a:gd name="T66" fmla="*/ 61 w 122"/>
                <a:gd name="T67" fmla="*/ 74 h 122"/>
                <a:gd name="T68" fmla="*/ 49 w 122"/>
                <a:gd name="T69" fmla="*/ 61 h 122"/>
                <a:gd name="T70" fmla="*/ 61 w 122"/>
                <a:gd name="T71" fmla="*/ 49 h 122"/>
                <a:gd name="T72" fmla="*/ 74 w 122"/>
                <a:gd name="T73" fmla="*/ 61 h 122"/>
                <a:gd name="T74" fmla="*/ 61 w 122"/>
                <a:gd name="T75" fmla="*/ 7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99" y="30"/>
                  </a:moveTo>
                  <a:cubicBezTo>
                    <a:pt x="105" y="24"/>
                    <a:pt x="105" y="24"/>
                    <a:pt x="105" y="24"/>
                  </a:cubicBezTo>
                  <a:cubicBezTo>
                    <a:pt x="98" y="17"/>
                    <a:pt x="98" y="17"/>
                    <a:pt x="98" y="17"/>
                  </a:cubicBezTo>
                  <a:cubicBezTo>
                    <a:pt x="92" y="23"/>
                    <a:pt x="92" y="23"/>
                    <a:pt x="92" y="23"/>
                  </a:cubicBezTo>
                  <a:cubicBezTo>
                    <a:pt x="85" y="18"/>
                    <a:pt x="76" y="14"/>
                    <a:pt x="66" y="13"/>
                  </a:cubicBezTo>
                  <a:cubicBezTo>
                    <a:pt x="66" y="0"/>
                    <a:pt x="66" y="0"/>
                    <a:pt x="66" y="0"/>
                  </a:cubicBezTo>
                  <a:cubicBezTo>
                    <a:pt x="56" y="0"/>
                    <a:pt x="56" y="0"/>
                    <a:pt x="56" y="0"/>
                  </a:cubicBezTo>
                  <a:cubicBezTo>
                    <a:pt x="56" y="13"/>
                    <a:pt x="56" y="13"/>
                    <a:pt x="56" y="13"/>
                  </a:cubicBezTo>
                  <a:cubicBezTo>
                    <a:pt x="46" y="14"/>
                    <a:pt x="37" y="18"/>
                    <a:pt x="30" y="23"/>
                  </a:cubicBezTo>
                  <a:cubicBezTo>
                    <a:pt x="22" y="15"/>
                    <a:pt x="22" y="15"/>
                    <a:pt x="22" y="15"/>
                  </a:cubicBezTo>
                  <a:cubicBezTo>
                    <a:pt x="15" y="22"/>
                    <a:pt x="15" y="22"/>
                    <a:pt x="15" y="22"/>
                  </a:cubicBezTo>
                  <a:cubicBezTo>
                    <a:pt x="23" y="30"/>
                    <a:pt x="23" y="30"/>
                    <a:pt x="23" y="30"/>
                  </a:cubicBezTo>
                  <a:cubicBezTo>
                    <a:pt x="17" y="38"/>
                    <a:pt x="14" y="47"/>
                    <a:pt x="13" y="56"/>
                  </a:cubicBezTo>
                  <a:cubicBezTo>
                    <a:pt x="0" y="56"/>
                    <a:pt x="0" y="56"/>
                    <a:pt x="0" y="56"/>
                  </a:cubicBezTo>
                  <a:cubicBezTo>
                    <a:pt x="0" y="66"/>
                    <a:pt x="0" y="66"/>
                    <a:pt x="0" y="66"/>
                  </a:cubicBezTo>
                  <a:cubicBezTo>
                    <a:pt x="13" y="66"/>
                    <a:pt x="13" y="66"/>
                    <a:pt x="13" y="66"/>
                  </a:cubicBezTo>
                  <a:cubicBezTo>
                    <a:pt x="14" y="76"/>
                    <a:pt x="17" y="85"/>
                    <a:pt x="23" y="92"/>
                  </a:cubicBezTo>
                  <a:cubicBezTo>
                    <a:pt x="17" y="98"/>
                    <a:pt x="17" y="98"/>
                    <a:pt x="17" y="98"/>
                  </a:cubicBezTo>
                  <a:cubicBezTo>
                    <a:pt x="24" y="105"/>
                    <a:pt x="24" y="105"/>
                    <a:pt x="24" y="105"/>
                  </a:cubicBezTo>
                  <a:cubicBezTo>
                    <a:pt x="30" y="99"/>
                    <a:pt x="30" y="99"/>
                    <a:pt x="30" y="99"/>
                  </a:cubicBezTo>
                  <a:cubicBezTo>
                    <a:pt x="37" y="105"/>
                    <a:pt x="46" y="109"/>
                    <a:pt x="56" y="110"/>
                  </a:cubicBezTo>
                  <a:cubicBezTo>
                    <a:pt x="56" y="122"/>
                    <a:pt x="56" y="122"/>
                    <a:pt x="56" y="122"/>
                  </a:cubicBezTo>
                  <a:cubicBezTo>
                    <a:pt x="66" y="122"/>
                    <a:pt x="66" y="122"/>
                    <a:pt x="66" y="122"/>
                  </a:cubicBezTo>
                  <a:cubicBezTo>
                    <a:pt x="66" y="110"/>
                    <a:pt x="66" y="110"/>
                    <a:pt x="66" y="110"/>
                  </a:cubicBezTo>
                  <a:cubicBezTo>
                    <a:pt x="76" y="109"/>
                    <a:pt x="85" y="105"/>
                    <a:pt x="92" y="99"/>
                  </a:cubicBezTo>
                  <a:cubicBezTo>
                    <a:pt x="101" y="108"/>
                    <a:pt x="101" y="108"/>
                    <a:pt x="101" y="108"/>
                  </a:cubicBezTo>
                  <a:cubicBezTo>
                    <a:pt x="108" y="101"/>
                    <a:pt x="108" y="101"/>
                    <a:pt x="108" y="101"/>
                  </a:cubicBezTo>
                  <a:cubicBezTo>
                    <a:pt x="99" y="92"/>
                    <a:pt x="99" y="92"/>
                    <a:pt x="99" y="92"/>
                  </a:cubicBezTo>
                  <a:cubicBezTo>
                    <a:pt x="105" y="85"/>
                    <a:pt x="109" y="76"/>
                    <a:pt x="110" y="66"/>
                  </a:cubicBezTo>
                  <a:cubicBezTo>
                    <a:pt x="122" y="66"/>
                    <a:pt x="122" y="66"/>
                    <a:pt x="122" y="66"/>
                  </a:cubicBezTo>
                  <a:cubicBezTo>
                    <a:pt x="122" y="56"/>
                    <a:pt x="122" y="56"/>
                    <a:pt x="122" y="56"/>
                  </a:cubicBezTo>
                  <a:cubicBezTo>
                    <a:pt x="110" y="56"/>
                    <a:pt x="110" y="56"/>
                    <a:pt x="110" y="56"/>
                  </a:cubicBezTo>
                  <a:cubicBezTo>
                    <a:pt x="109" y="47"/>
                    <a:pt x="105" y="38"/>
                    <a:pt x="99" y="30"/>
                  </a:cubicBezTo>
                  <a:close/>
                  <a:moveTo>
                    <a:pt x="61" y="74"/>
                  </a:moveTo>
                  <a:cubicBezTo>
                    <a:pt x="54" y="74"/>
                    <a:pt x="49" y="68"/>
                    <a:pt x="49" y="61"/>
                  </a:cubicBezTo>
                  <a:cubicBezTo>
                    <a:pt x="49" y="54"/>
                    <a:pt x="54" y="49"/>
                    <a:pt x="61" y="49"/>
                  </a:cubicBezTo>
                  <a:cubicBezTo>
                    <a:pt x="68" y="49"/>
                    <a:pt x="74" y="54"/>
                    <a:pt x="74" y="61"/>
                  </a:cubicBezTo>
                  <a:cubicBezTo>
                    <a:pt x="74" y="68"/>
                    <a:pt x="68" y="74"/>
                    <a:pt x="61" y="74"/>
                  </a:cubicBez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8" name="Freeform 18"/>
            <p:cNvSpPr>
              <a:spLocks/>
            </p:cNvSpPr>
            <p:nvPr/>
          </p:nvSpPr>
          <p:spPr bwMode="auto">
            <a:xfrm flipH="1">
              <a:off x="478253" y="2598883"/>
              <a:ext cx="276579" cy="281502"/>
            </a:xfrm>
            <a:custGeom>
              <a:avLst/>
              <a:gdLst>
                <a:gd name="T0" fmla="*/ 18 w 35"/>
                <a:gd name="T1" fmla="*/ 0 h 36"/>
                <a:gd name="T2" fmla="*/ 0 w 35"/>
                <a:gd name="T3" fmla="*/ 18 h 36"/>
                <a:gd name="T4" fmla="*/ 18 w 35"/>
                <a:gd name="T5" fmla="*/ 36 h 36"/>
                <a:gd name="T6" fmla="*/ 35 w 35"/>
                <a:gd name="T7" fmla="*/ 21 h 36"/>
                <a:gd name="T8" fmla="*/ 35 w 35"/>
                <a:gd name="T9" fmla="*/ 15 h 36"/>
                <a:gd name="T10" fmla="*/ 18 w 35"/>
                <a:gd name="T11" fmla="*/ 0 h 36"/>
              </a:gdLst>
              <a:ahLst/>
              <a:cxnLst>
                <a:cxn ang="0">
                  <a:pos x="T0" y="T1"/>
                </a:cxn>
                <a:cxn ang="0">
                  <a:pos x="T2" y="T3"/>
                </a:cxn>
                <a:cxn ang="0">
                  <a:pos x="T4" y="T5"/>
                </a:cxn>
                <a:cxn ang="0">
                  <a:pos x="T6" y="T7"/>
                </a:cxn>
                <a:cxn ang="0">
                  <a:pos x="T8" y="T9"/>
                </a:cxn>
                <a:cxn ang="0">
                  <a:pos x="T10" y="T11"/>
                </a:cxn>
              </a:cxnLst>
              <a:rect l="0" t="0" r="r" b="b"/>
              <a:pathLst>
                <a:path w="35" h="36">
                  <a:moveTo>
                    <a:pt x="18" y="0"/>
                  </a:moveTo>
                  <a:cubicBezTo>
                    <a:pt x="8" y="0"/>
                    <a:pt x="0" y="8"/>
                    <a:pt x="0" y="18"/>
                  </a:cubicBezTo>
                  <a:cubicBezTo>
                    <a:pt x="0" y="28"/>
                    <a:pt x="8" y="36"/>
                    <a:pt x="18" y="36"/>
                  </a:cubicBezTo>
                  <a:cubicBezTo>
                    <a:pt x="26" y="36"/>
                    <a:pt x="34" y="30"/>
                    <a:pt x="35" y="21"/>
                  </a:cubicBezTo>
                  <a:cubicBezTo>
                    <a:pt x="35" y="15"/>
                    <a:pt x="35" y="15"/>
                    <a:pt x="35" y="15"/>
                  </a:cubicBezTo>
                  <a:cubicBezTo>
                    <a:pt x="34" y="7"/>
                    <a:pt x="26" y="0"/>
                    <a:pt x="18" y="0"/>
                  </a:cubicBez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9" name="Freeform 19"/>
            <p:cNvSpPr>
              <a:spLocks/>
            </p:cNvSpPr>
            <p:nvPr/>
          </p:nvSpPr>
          <p:spPr bwMode="auto">
            <a:xfrm flipH="1">
              <a:off x="478252" y="2199821"/>
              <a:ext cx="680127" cy="1079626"/>
            </a:xfrm>
            <a:custGeom>
              <a:avLst/>
              <a:gdLst>
                <a:gd name="T0" fmla="*/ 76 w 86"/>
                <a:gd name="T1" fmla="*/ 15 h 138"/>
                <a:gd name="T2" fmla="*/ 71 w 86"/>
                <a:gd name="T3" fmla="*/ 0 h 138"/>
                <a:gd name="T4" fmla="*/ 62 w 86"/>
                <a:gd name="T5" fmla="*/ 5 h 138"/>
                <a:gd name="T6" fmla="*/ 48 w 86"/>
                <a:gd name="T7" fmla="*/ 18 h 138"/>
                <a:gd name="T8" fmla="*/ 38 w 86"/>
                <a:gd name="T9" fmla="*/ 7 h 138"/>
                <a:gd name="T10" fmla="*/ 31 w 86"/>
                <a:gd name="T11" fmla="*/ 16 h 138"/>
                <a:gd name="T12" fmla="*/ 36 w 86"/>
                <a:gd name="T13" fmla="*/ 26 h 138"/>
                <a:gd name="T14" fmla="*/ 27 w 86"/>
                <a:gd name="T15" fmla="*/ 33 h 138"/>
                <a:gd name="T16" fmla="*/ 12 w 86"/>
                <a:gd name="T17" fmla="*/ 29 h 138"/>
                <a:gd name="T18" fmla="*/ 11 w 86"/>
                <a:gd name="T19" fmla="*/ 40 h 138"/>
                <a:gd name="T20" fmla="*/ 20 w 86"/>
                <a:gd name="T21" fmla="*/ 45 h 138"/>
                <a:gd name="T22" fmla="*/ 16 w 86"/>
                <a:gd name="T23" fmla="*/ 52 h 138"/>
                <a:gd name="T24" fmla="*/ 1 w 86"/>
                <a:gd name="T25" fmla="*/ 54 h 138"/>
                <a:gd name="T26" fmla="*/ 4 w 86"/>
                <a:gd name="T27" fmla="*/ 65 h 138"/>
                <a:gd name="T28" fmla="*/ 15 w 86"/>
                <a:gd name="T29" fmla="*/ 66 h 138"/>
                <a:gd name="T30" fmla="*/ 15 w 86"/>
                <a:gd name="T31" fmla="*/ 74 h 138"/>
                <a:gd name="T32" fmla="*/ 4 w 86"/>
                <a:gd name="T33" fmla="*/ 76 h 138"/>
                <a:gd name="T34" fmla="*/ 2 w 86"/>
                <a:gd name="T35" fmla="*/ 87 h 138"/>
                <a:gd name="T36" fmla="*/ 17 w 86"/>
                <a:gd name="T37" fmla="*/ 88 h 138"/>
                <a:gd name="T38" fmla="*/ 21 w 86"/>
                <a:gd name="T39" fmla="*/ 94 h 138"/>
                <a:gd name="T40" fmla="*/ 12 w 86"/>
                <a:gd name="T41" fmla="*/ 101 h 138"/>
                <a:gd name="T42" fmla="*/ 14 w 86"/>
                <a:gd name="T43" fmla="*/ 112 h 138"/>
                <a:gd name="T44" fmla="*/ 29 w 86"/>
                <a:gd name="T45" fmla="*/ 107 h 138"/>
                <a:gd name="T46" fmla="*/ 35 w 86"/>
                <a:gd name="T47" fmla="*/ 111 h 138"/>
                <a:gd name="T48" fmla="*/ 29 w 86"/>
                <a:gd name="T49" fmla="*/ 121 h 138"/>
                <a:gd name="T50" fmla="*/ 35 w 86"/>
                <a:gd name="T51" fmla="*/ 130 h 138"/>
                <a:gd name="T52" fmla="*/ 47 w 86"/>
                <a:gd name="T53" fmla="*/ 119 h 138"/>
                <a:gd name="T54" fmla="*/ 54 w 86"/>
                <a:gd name="T55" fmla="*/ 121 h 138"/>
                <a:gd name="T56" fmla="*/ 53 w 86"/>
                <a:gd name="T57" fmla="*/ 132 h 138"/>
                <a:gd name="T58" fmla="*/ 62 w 86"/>
                <a:gd name="T59" fmla="*/ 138 h 138"/>
                <a:gd name="T60" fmla="*/ 68 w 86"/>
                <a:gd name="T61" fmla="*/ 124 h 138"/>
                <a:gd name="T62" fmla="*/ 69 w 86"/>
                <a:gd name="T63" fmla="*/ 123 h 138"/>
                <a:gd name="T64" fmla="*/ 76 w 86"/>
                <a:gd name="T65" fmla="*/ 123 h 138"/>
                <a:gd name="T66" fmla="*/ 85 w 86"/>
                <a:gd name="T67" fmla="*/ 136 h 138"/>
                <a:gd name="T68" fmla="*/ 86 w 86"/>
                <a:gd name="T69" fmla="*/ 96 h 138"/>
                <a:gd name="T70" fmla="*/ 37 w 86"/>
                <a:gd name="T71" fmla="*/ 69 h 138"/>
                <a:gd name="T72" fmla="*/ 86 w 86"/>
                <a:gd name="T73" fmla="*/ 41 h 138"/>
                <a:gd name="T74" fmla="*/ 84 w 86"/>
                <a:gd name="T7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138">
                  <a:moveTo>
                    <a:pt x="84" y="16"/>
                  </a:moveTo>
                  <a:cubicBezTo>
                    <a:pt x="82" y="16"/>
                    <a:pt x="79" y="15"/>
                    <a:pt x="76" y="15"/>
                  </a:cubicBezTo>
                  <a:cubicBezTo>
                    <a:pt x="76" y="5"/>
                    <a:pt x="76" y="5"/>
                    <a:pt x="76" y="5"/>
                  </a:cubicBezTo>
                  <a:cubicBezTo>
                    <a:pt x="76" y="2"/>
                    <a:pt x="74" y="0"/>
                    <a:pt x="71" y="0"/>
                  </a:cubicBezTo>
                  <a:cubicBezTo>
                    <a:pt x="67" y="0"/>
                    <a:pt x="67" y="0"/>
                    <a:pt x="67" y="0"/>
                  </a:cubicBezTo>
                  <a:cubicBezTo>
                    <a:pt x="64" y="0"/>
                    <a:pt x="62" y="2"/>
                    <a:pt x="62" y="5"/>
                  </a:cubicBezTo>
                  <a:cubicBezTo>
                    <a:pt x="62" y="15"/>
                    <a:pt x="62" y="15"/>
                    <a:pt x="62" y="15"/>
                  </a:cubicBezTo>
                  <a:cubicBezTo>
                    <a:pt x="57" y="15"/>
                    <a:pt x="52" y="17"/>
                    <a:pt x="48" y="18"/>
                  </a:cubicBezTo>
                  <a:cubicBezTo>
                    <a:pt x="45" y="10"/>
                    <a:pt x="45" y="10"/>
                    <a:pt x="45" y="10"/>
                  </a:cubicBezTo>
                  <a:cubicBezTo>
                    <a:pt x="44" y="7"/>
                    <a:pt x="41" y="6"/>
                    <a:pt x="38" y="7"/>
                  </a:cubicBezTo>
                  <a:cubicBezTo>
                    <a:pt x="34" y="9"/>
                    <a:pt x="34" y="9"/>
                    <a:pt x="34" y="9"/>
                  </a:cubicBezTo>
                  <a:cubicBezTo>
                    <a:pt x="31" y="10"/>
                    <a:pt x="30" y="13"/>
                    <a:pt x="31" y="16"/>
                  </a:cubicBezTo>
                  <a:cubicBezTo>
                    <a:pt x="35" y="25"/>
                    <a:pt x="35" y="25"/>
                    <a:pt x="35" y="25"/>
                  </a:cubicBezTo>
                  <a:cubicBezTo>
                    <a:pt x="35" y="25"/>
                    <a:pt x="35" y="25"/>
                    <a:pt x="36" y="26"/>
                  </a:cubicBezTo>
                  <a:cubicBezTo>
                    <a:pt x="33" y="28"/>
                    <a:pt x="30" y="30"/>
                    <a:pt x="28" y="33"/>
                  </a:cubicBezTo>
                  <a:cubicBezTo>
                    <a:pt x="28" y="33"/>
                    <a:pt x="28" y="33"/>
                    <a:pt x="27" y="33"/>
                  </a:cubicBezTo>
                  <a:cubicBezTo>
                    <a:pt x="19" y="27"/>
                    <a:pt x="19" y="27"/>
                    <a:pt x="19" y="27"/>
                  </a:cubicBezTo>
                  <a:cubicBezTo>
                    <a:pt x="17" y="26"/>
                    <a:pt x="14" y="26"/>
                    <a:pt x="12" y="29"/>
                  </a:cubicBezTo>
                  <a:cubicBezTo>
                    <a:pt x="10" y="33"/>
                    <a:pt x="10" y="33"/>
                    <a:pt x="10" y="33"/>
                  </a:cubicBezTo>
                  <a:cubicBezTo>
                    <a:pt x="8" y="35"/>
                    <a:pt x="9" y="38"/>
                    <a:pt x="11" y="40"/>
                  </a:cubicBezTo>
                  <a:cubicBezTo>
                    <a:pt x="19" y="45"/>
                    <a:pt x="19" y="45"/>
                    <a:pt x="19" y="45"/>
                  </a:cubicBezTo>
                  <a:cubicBezTo>
                    <a:pt x="20" y="45"/>
                    <a:pt x="20" y="45"/>
                    <a:pt x="20" y="45"/>
                  </a:cubicBezTo>
                  <a:cubicBezTo>
                    <a:pt x="19" y="47"/>
                    <a:pt x="18" y="50"/>
                    <a:pt x="17" y="52"/>
                  </a:cubicBezTo>
                  <a:cubicBezTo>
                    <a:pt x="17" y="52"/>
                    <a:pt x="17" y="52"/>
                    <a:pt x="16" y="52"/>
                  </a:cubicBezTo>
                  <a:cubicBezTo>
                    <a:pt x="7" y="50"/>
                    <a:pt x="7" y="50"/>
                    <a:pt x="7" y="50"/>
                  </a:cubicBezTo>
                  <a:cubicBezTo>
                    <a:pt x="4" y="50"/>
                    <a:pt x="1" y="51"/>
                    <a:pt x="1" y="54"/>
                  </a:cubicBezTo>
                  <a:cubicBezTo>
                    <a:pt x="0" y="59"/>
                    <a:pt x="0" y="59"/>
                    <a:pt x="0" y="59"/>
                  </a:cubicBezTo>
                  <a:cubicBezTo>
                    <a:pt x="0" y="62"/>
                    <a:pt x="1" y="64"/>
                    <a:pt x="4" y="65"/>
                  </a:cubicBezTo>
                  <a:cubicBezTo>
                    <a:pt x="14" y="66"/>
                    <a:pt x="14" y="66"/>
                    <a:pt x="14" y="66"/>
                  </a:cubicBezTo>
                  <a:cubicBezTo>
                    <a:pt x="14" y="66"/>
                    <a:pt x="14" y="66"/>
                    <a:pt x="15" y="66"/>
                  </a:cubicBezTo>
                  <a:cubicBezTo>
                    <a:pt x="15" y="67"/>
                    <a:pt x="15" y="68"/>
                    <a:pt x="15" y="69"/>
                  </a:cubicBezTo>
                  <a:cubicBezTo>
                    <a:pt x="15" y="70"/>
                    <a:pt x="15" y="72"/>
                    <a:pt x="15" y="74"/>
                  </a:cubicBezTo>
                  <a:cubicBezTo>
                    <a:pt x="15" y="74"/>
                    <a:pt x="14" y="74"/>
                    <a:pt x="14" y="74"/>
                  </a:cubicBezTo>
                  <a:cubicBezTo>
                    <a:pt x="4" y="76"/>
                    <a:pt x="4" y="76"/>
                    <a:pt x="4" y="76"/>
                  </a:cubicBezTo>
                  <a:cubicBezTo>
                    <a:pt x="1" y="77"/>
                    <a:pt x="0" y="79"/>
                    <a:pt x="0" y="82"/>
                  </a:cubicBezTo>
                  <a:cubicBezTo>
                    <a:pt x="2" y="87"/>
                    <a:pt x="2" y="87"/>
                    <a:pt x="2" y="87"/>
                  </a:cubicBezTo>
                  <a:cubicBezTo>
                    <a:pt x="2" y="89"/>
                    <a:pt x="5" y="91"/>
                    <a:pt x="8" y="90"/>
                  </a:cubicBezTo>
                  <a:cubicBezTo>
                    <a:pt x="17" y="88"/>
                    <a:pt x="17" y="88"/>
                    <a:pt x="17" y="88"/>
                  </a:cubicBezTo>
                  <a:cubicBezTo>
                    <a:pt x="17" y="88"/>
                    <a:pt x="18" y="88"/>
                    <a:pt x="18" y="88"/>
                  </a:cubicBezTo>
                  <a:cubicBezTo>
                    <a:pt x="19" y="90"/>
                    <a:pt x="20" y="92"/>
                    <a:pt x="21" y="94"/>
                  </a:cubicBezTo>
                  <a:cubicBezTo>
                    <a:pt x="21" y="94"/>
                    <a:pt x="20" y="95"/>
                    <a:pt x="20" y="95"/>
                  </a:cubicBezTo>
                  <a:cubicBezTo>
                    <a:pt x="12" y="101"/>
                    <a:pt x="12" y="101"/>
                    <a:pt x="12" y="101"/>
                  </a:cubicBezTo>
                  <a:cubicBezTo>
                    <a:pt x="10" y="103"/>
                    <a:pt x="9" y="106"/>
                    <a:pt x="11" y="108"/>
                  </a:cubicBezTo>
                  <a:cubicBezTo>
                    <a:pt x="14" y="112"/>
                    <a:pt x="14" y="112"/>
                    <a:pt x="14" y="112"/>
                  </a:cubicBezTo>
                  <a:cubicBezTo>
                    <a:pt x="16" y="114"/>
                    <a:pt x="19" y="114"/>
                    <a:pt x="21" y="113"/>
                  </a:cubicBezTo>
                  <a:cubicBezTo>
                    <a:pt x="29" y="107"/>
                    <a:pt x="29" y="107"/>
                    <a:pt x="29" y="107"/>
                  </a:cubicBezTo>
                  <a:cubicBezTo>
                    <a:pt x="29" y="106"/>
                    <a:pt x="29" y="106"/>
                    <a:pt x="30" y="106"/>
                  </a:cubicBezTo>
                  <a:cubicBezTo>
                    <a:pt x="31" y="108"/>
                    <a:pt x="33" y="109"/>
                    <a:pt x="35" y="111"/>
                  </a:cubicBezTo>
                  <a:cubicBezTo>
                    <a:pt x="35" y="111"/>
                    <a:pt x="34" y="112"/>
                    <a:pt x="34" y="112"/>
                  </a:cubicBezTo>
                  <a:cubicBezTo>
                    <a:pt x="29" y="121"/>
                    <a:pt x="29" y="121"/>
                    <a:pt x="29" y="121"/>
                  </a:cubicBezTo>
                  <a:cubicBezTo>
                    <a:pt x="28" y="123"/>
                    <a:pt x="29" y="126"/>
                    <a:pt x="31" y="127"/>
                  </a:cubicBezTo>
                  <a:cubicBezTo>
                    <a:pt x="35" y="130"/>
                    <a:pt x="35" y="130"/>
                    <a:pt x="35" y="130"/>
                  </a:cubicBezTo>
                  <a:cubicBezTo>
                    <a:pt x="38" y="131"/>
                    <a:pt x="41" y="130"/>
                    <a:pt x="42" y="128"/>
                  </a:cubicBezTo>
                  <a:cubicBezTo>
                    <a:pt x="47" y="119"/>
                    <a:pt x="47" y="119"/>
                    <a:pt x="47" y="119"/>
                  </a:cubicBezTo>
                  <a:cubicBezTo>
                    <a:pt x="47" y="119"/>
                    <a:pt x="47" y="119"/>
                    <a:pt x="47" y="118"/>
                  </a:cubicBezTo>
                  <a:cubicBezTo>
                    <a:pt x="49" y="119"/>
                    <a:pt x="52" y="120"/>
                    <a:pt x="54" y="121"/>
                  </a:cubicBezTo>
                  <a:cubicBezTo>
                    <a:pt x="54" y="121"/>
                    <a:pt x="54" y="122"/>
                    <a:pt x="54" y="122"/>
                  </a:cubicBezTo>
                  <a:cubicBezTo>
                    <a:pt x="53" y="132"/>
                    <a:pt x="53" y="132"/>
                    <a:pt x="53" y="132"/>
                  </a:cubicBezTo>
                  <a:cubicBezTo>
                    <a:pt x="52" y="135"/>
                    <a:pt x="54" y="137"/>
                    <a:pt x="57" y="137"/>
                  </a:cubicBezTo>
                  <a:cubicBezTo>
                    <a:pt x="62" y="138"/>
                    <a:pt x="62" y="138"/>
                    <a:pt x="62" y="138"/>
                  </a:cubicBezTo>
                  <a:cubicBezTo>
                    <a:pt x="65" y="138"/>
                    <a:pt x="67" y="136"/>
                    <a:pt x="67" y="133"/>
                  </a:cubicBezTo>
                  <a:cubicBezTo>
                    <a:pt x="68" y="124"/>
                    <a:pt x="68" y="124"/>
                    <a:pt x="68" y="124"/>
                  </a:cubicBezTo>
                  <a:cubicBezTo>
                    <a:pt x="68" y="123"/>
                    <a:pt x="68" y="123"/>
                    <a:pt x="68" y="123"/>
                  </a:cubicBezTo>
                  <a:cubicBezTo>
                    <a:pt x="69" y="123"/>
                    <a:pt x="69" y="123"/>
                    <a:pt x="69" y="123"/>
                  </a:cubicBezTo>
                  <a:cubicBezTo>
                    <a:pt x="71" y="123"/>
                    <a:pt x="74" y="123"/>
                    <a:pt x="76" y="123"/>
                  </a:cubicBezTo>
                  <a:cubicBezTo>
                    <a:pt x="76" y="123"/>
                    <a:pt x="76" y="123"/>
                    <a:pt x="76" y="123"/>
                  </a:cubicBezTo>
                  <a:cubicBezTo>
                    <a:pt x="79" y="133"/>
                    <a:pt x="79" y="133"/>
                    <a:pt x="79" y="133"/>
                  </a:cubicBezTo>
                  <a:cubicBezTo>
                    <a:pt x="80" y="135"/>
                    <a:pt x="82" y="137"/>
                    <a:pt x="85" y="136"/>
                  </a:cubicBezTo>
                  <a:cubicBezTo>
                    <a:pt x="86" y="136"/>
                    <a:pt x="86" y="136"/>
                    <a:pt x="86" y="136"/>
                  </a:cubicBezTo>
                  <a:cubicBezTo>
                    <a:pt x="86" y="96"/>
                    <a:pt x="86" y="96"/>
                    <a:pt x="86" y="96"/>
                  </a:cubicBezTo>
                  <a:cubicBezTo>
                    <a:pt x="81" y="99"/>
                    <a:pt x="75" y="101"/>
                    <a:pt x="69" y="101"/>
                  </a:cubicBezTo>
                  <a:cubicBezTo>
                    <a:pt x="51" y="101"/>
                    <a:pt x="37" y="87"/>
                    <a:pt x="37" y="69"/>
                  </a:cubicBezTo>
                  <a:cubicBezTo>
                    <a:pt x="37" y="51"/>
                    <a:pt x="51" y="36"/>
                    <a:pt x="69" y="36"/>
                  </a:cubicBezTo>
                  <a:cubicBezTo>
                    <a:pt x="75" y="36"/>
                    <a:pt x="81" y="38"/>
                    <a:pt x="86" y="41"/>
                  </a:cubicBezTo>
                  <a:cubicBezTo>
                    <a:pt x="86" y="12"/>
                    <a:pt x="86" y="12"/>
                    <a:pt x="86" y="12"/>
                  </a:cubicBezTo>
                  <a:lnTo>
                    <a:pt x="84" y="16"/>
                  </a:ln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a:p>
          </p:txBody>
        </p:sp>
        <p:grpSp>
          <p:nvGrpSpPr>
            <p:cNvPr id="2" name="Group 1"/>
            <p:cNvGrpSpPr/>
            <p:nvPr/>
          </p:nvGrpSpPr>
          <p:grpSpPr>
            <a:xfrm>
              <a:off x="557506" y="1386503"/>
              <a:ext cx="1305260" cy="1079626"/>
              <a:chOff x="557506" y="1386503"/>
              <a:chExt cx="1305260" cy="1079626"/>
            </a:xfrm>
            <a:solidFill>
              <a:srgbClr val="FFFFFF"/>
            </a:solidFill>
          </p:grpSpPr>
          <p:sp>
            <p:nvSpPr>
              <p:cNvPr id="12" name="Freeform 12"/>
              <p:cNvSpPr>
                <a:spLocks noEditPoints="1"/>
              </p:cNvSpPr>
              <p:nvPr/>
            </p:nvSpPr>
            <p:spPr bwMode="auto">
              <a:xfrm flipH="1">
                <a:off x="771006" y="1386503"/>
                <a:ext cx="1091760" cy="1079626"/>
              </a:xfrm>
              <a:custGeom>
                <a:avLst/>
                <a:gdLst>
                  <a:gd name="T0" fmla="*/ 15 w 138"/>
                  <a:gd name="T1" fmla="*/ 68 h 138"/>
                  <a:gd name="T2" fmla="*/ 1 w 138"/>
                  <a:gd name="T3" fmla="*/ 82 h 138"/>
                  <a:gd name="T4" fmla="*/ 19 w 138"/>
                  <a:gd name="T5" fmla="*/ 87 h 138"/>
                  <a:gd name="T6" fmla="*/ 12 w 138"/>
                  <a:gd name="T7" fmla="*/ 107 h 138"/>
                  <a:gd name="T8" fmla="*/ 30 w 138"/>
                  <a:gd name="T9" fmla="*/ 106 h 138"/>
                  <a:gd name="T10" fmla="*/ 32 w 138"/>
                  <a:gd name="T11" fmla="*/ 127 h 138"/>
                  <a:gd name="T12" fmla="*/ 48 w 138"/>
                  <a:gd name="T13" fmla="*/ 118 h 138"/>
                  <a:gd name="T14" fmla="*/ 58 w 138"/>
                  <a:gd name="T15" fmla="*/ 137 h 138"/>
                  <a:gd name="T16" fmla="*/ 69 w 138"/>
                  <a:gd name="T17" fmla="*/ 123 h 138"/>
                  <a:gd name="T18" fmla="*/ 79 w 138"/>
                  <a:gd name="T19" fmla="*/ 132 h 138"/>
                  <a:gd name="T20" fmla="*/ 91 w 138"/>
                  <a:gd name="T21" fmla="*/ 119 h 138"/>
                  <a:gd name="T22" fmla="*/ 104 w 138"/>
                  <a:gd name="T23" fmla="*/ 123 h 138"/>
                  <a:gd name="T24" fmla="*/ 109 w 138"/>
                  <a:gd name="T25" fmla="*/ 106 h 138"/>
                  <a:gd name="T26" fmla="*/ 131 w 138"/>
                  <a:gd name="T27" fmla="*/ 98 h 138"/>
                  <a:gd name="T28" fmla="*/ 132 w 138"/>
                  <a:gd name="T29" fmla="*/ 81 h 138"/>
                  <a:gd name="T30" fmla="*/ 124 w 138"/>
                  <a:gd name="T31" fmla="*/ 65 h 138"/>
                  <a:gd name="T32" fmla="*/ 133 w 138"/>
                  <a:gd name="T33" fmla="*/ 44 h 138"/>
                  <a:gd name="T34" fmla="*/ 121 w 138"/>
                  <a:gd name="T35" fmla="*/ 31 h 138"/>
                  <a:gd name="T36" fmla="*/ 104 w 138"/>
                  <a:gd name="T37" fmla="*/ 26 h 138"/>
                  <a:gd name="T38" fmla="*/ 95 w 138"/>
                  <a:gd name="T39" fmla="*/ 5 h 138"/>
                  <a:gd name="T40" fmla="*/ 77 w 138"/>
                  <a:gd name="T41" fmla="*/ 5 h 138"/>
                  <a:gd name="T42" fmla="*/ 62 w 138"/>
                  <a:gd name="T43" fmla="*/ 14 h 138"/>
                  <a:gd name="T44" fmla="*/ 34 w 138"/>
                  <a:gd name="T45" fmla="*/ 9 h 138"/>
                  <a:gd name="T46" fmla="*/ 28 w 138"/>
                  <a:gd name="T47" fmla="*/ 33 h 138"/>
                  <a:gd name="T48" fmla="*/ 10 w 138"/>
                  <a:gd name="T49" fmla="*/ 32 h 138"/>
                  <a:gd name="T50" fmla="*/ 18 w 138"/>
                  <a:gd name="T51" fmla="*/ 52 h 138"/>
                  <a:gd name="T52" fmla="*/ 1 w 138"/>
                  <a:gd name="T53" fmla="*/ 58 h 138"/>
                  <a:gd name="T54" fmla="*/ 105 w 138"/>
                  <a:gd name="T55" fmla="*/ 82 h 138"/>
                  <a:gd name="T56" fmla="*/ 111 w 138"/>
                  <a:gd name="T57" fmla="*/ 71 h 138"/>
                  <a:gd name="T58" fmla="*/ 106 w 138"/>
                  <a:gd name="T59" fmla="*/ 49 h 138"/>
                  <a:gd name="T60" fmla="*/ 106 w 138"/>
                  <a:gd name="T61" fmla="*/ 49 h 138"/>
                  <a:gd name="T62" fmla="*/ 102 w 138"/>
                  <a:gd name="T63" fmla="*/ 94 h 138"/>
                  <a:gd name="T64" fmla="*/ 101 w 138"/>
                  <a:gd name="T65" fmla="*/ 41 h 138"/>
                  <a:gd name="T66" fmla="*/ 29 w 138"/>
                  <a:gd name="T67" fmla="*/ 89 h 138"/>
                  <a:gd name="T68" fmla="*/ 59 w 138"/>
                  <a:gd name="T69" fmla="*/ 109 h 138"/>
                  <a:gd name="T70" fmla="*/ 59 w 138"/>
                  <a:gd name="T71" fmla="*/ 109 h 138"/>
                  <a:gd name="T72" fmla="*/ 75 w 138"/>
                  <a:gd name="T73" fmla="*/ 110 h 138"/>
                  <a:gd name="T74" fmla="*/ 86 w 138"/>
                  <a:gd name="T75" fmla="*/ 103 h 138"/>
                  <a:gd name="T76" fmla="*/ 86 w 138"/>
                  <a:gd name="T77" fmla="*/ 27 h 138"/>
                  <a:gd name="T78" fmla="*/ 69 w 138"/>
                  <a:gd name="T79" fmla="*/ 24 h 138"/>
                  <a:gd name="T80" fmla="*/ 69 w 138"/>
                  <a:gd name="T81" fmla="*/ 24 h 138"/>
                  <a:gd name="T82" fmla="*/ 46 w 138"/>
                  <a:gd name="T83" fmla="*/ 34 h 138"/>
                  <a:gd name="T84" fmla="*/ 69 w 138"/>
                  <a:gd name="T85" fmla="*/ 94 h 138"/>
                  <a:gd name="T86" fmla="*/ 44 w 138"/>
                  <a:gd name="T87" fmla="*/ 102 h 138"/>
                  <a:gd name="T88" fmla="*/ 34 w 138"/>
                  <a:gd name="T89" fmla="*/ 40 h 138"/>
                  <a:gd name="T90" fmla="*/ 34 w 138"/>
                  <a:gd name="T91" fmla="*/ 40 h 138"/>
                  <a:gd name="T92" fmla="*/ 28 w 138"/>
                  <a:gd name="T93" fmla="*/ 60 h 138"/>
                  <a:gd name="T94" fmla="*/ 28 w 138"/>
                  <a:gd name="T95" fmla="*/ 7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8" h="138">
                    <a:moveTo>
                      <a:pt x="5" y="64"/>
                    </a:moveTo>
                    <a:cubicBezTo>
                      <a:pt x="14" y="66"/>
                      <a:pt x="14" y="66"/>
                      <a:pt x="14" y="66"/>
                    </a:cubicBezTo>
                    <a:cubicBezTo>
                      <a:pt x="15" y="66"/>
                      <a:pt x="15" y="66"/>
                      <a:pt x="15" y="66"/>
                    </a:cubicBezTo>
                    <a:cubicBezTo>
                      <a:pt x="15" y="67"/>
                      <a:pt x="15" y="67"/>
                      <a:pt x="15" y="68"/>
                    </a:cubicBezTo>
                    <a:cubicBezTo>
                      <a:pt x="15" y="70"/>
                      <a:pt x="15" y="72"/>
                      <a:pt x="15" y="73"/>
                    </a:cubicBezTo>
                    <a:cubicBezTo>
                      <a:pt x="15" y="73"/>
                      <a:pt x="15" y="73"/>
                      <a:pt x="14" y="73"/>
                    </a:cubicBezTo>
                    <a:cubicBezTo>
                      <a:pt x="5" y="76"/>
                      <a:pt x="5" y="76"/>
                      <a:pt x="5" y="76"/>
                    </a:cubicBezTo>
                    <a:cubicBezTo>
                      <a:pt x="2" y="76"/>
                      <a:pt x="0" y="79"/>
                      <a:pt x="1" y="82"/>
                    </a:cubicBezTo>
                    <a:cubicBezTo>
                      <a:pt x="2" y="86"/>
                      <a:pt x="2" y="86"/>
                      <a:pt x="2" y="86"/>
                    </a:cubicBezTo>
                    <a:cubicBezTo>
                      <a:pt x="3" y="89"/>
                      <a:pt x="5" y="91"/>
                      <a:pt x="8" y="90"/>
                    </a:cubicBezTo>
                    <a:cubicBezTo>
                      <a:pt x="18" y="88"/>
                      <a:pt x="18" y="88"/>
                      <a:pt x="18" y="88"/>
                    </a:cubicBezTo>
                    <a:cubicBezTo>
                      <a:pt x="18" y="88"/>
                      <a:pt x="18" y="87"/>
                      <a:pt x="19" y="87"/>
                    </a:cubicBezTo>
                    <a:cubicBezTo>
                      <a:pt x="20" y="90"/>
                      <a:pt x="21" y="92"/>
                      <a:pt x="22" y="94"/>
                    </a:cubicBezTo>
                    <a:cubicBezTo>
                      <a:pt x="21" y="94"/>
                      <a:pt x="21" y="94"/>
                      <a:pt x="21" y="95"/>
                    </a:cubicBezTo>
                    <a:cubicBezTo>
                      <a:pt x="13" y="100"/>
                      <a:pt x="13" y="100"/>
                      <a:pt x="13" y="100"/>
                    </a:cubicBezTo>
                    <a:cubicBezTo>
                      <a:pt x="10" y="102"/>
                      <a:pt x="10" y="105"/>
                      <a:pt x="12" y="107"/>
                    </a:cubicBezTo>
                    <a:cubicBezTo>
                      <a:pt x="14" y="111"/>
                      <a:pt x="14" y="111"/>
                      <a:pt x="14" y="111"/>
                    </a:cubicBezTo>
                    <a:cubicBezTo>
                      <a:pt x="16" y="113"/>
                      <a:pt x="19" y="114"/>
                      <a:pt x="21" y="112"/>
                    </a:cubicBezTo>
                    <a:cubicBezTo>
                      <a:pt x="29" y="106"/>
                      <a:pt x="29" y="106"/>
                      <a:pt x="29" y="106"/>
                    </a:cubicBezTo>
                    <a:cubicBezTo>
                      <a:pt x="30" y="106"/>
                      <a:pt x="30" y="106"/>
                      <a:pt x="30" y="106"/>
                    </a:cubicBezTo>
                    <a:cubicBezTo>
                      <a:pt x="32" y="107"/>
                      <a:pt x="34" y="109"/>
                      <a:pt x="35" y="110"/>
                    </a:cubicBezTo>
                    <a:cubicBezTo>
                      <a:pt x="35" y="111"/>
                      <a:pt x="35" y="111"/>
                      <a:pt x="35" y="112"/>
                    </a:cubicBezTo>
                    <a:cubicBezTo>
                      <a:pt x="30" y="120"/>
                      <a:pt x="30" y="120"/>
                      <a:pt x="30" y="120"/>
                    </a:cubicBezTo>
                    <a:cubicBezTo>
                      <a:pt x="28" y="122"/>
                      <a:pt x="29" y="126"/>
                      <a:pt x="32" y="127"/>
                    </a:cubicBezTo>
                    <a:cubicBezTo>
                      <a:pt x="36" y="129"/>
                      <a:pt x="36" y="129"/>
                      <a:pt x="36" y="129"/>
                    </a:cubicBezTo>
                    <a:cubicBezTo>
                      <a:pt x="38" y="131"/>
                      <a:pt x="41" y="130"/>
                      <a:pt x="43" y="127"/>
                    </a:cubicBezTo>
                    <a:cubicBezTo>
                      <a:pt x="47" y="119"/>
                      <a:pt x="47" y="119"/>
                      <a:pt x="47" y="119"/>
                    </a:cubicBezTo>
                    <a:cubicBezTo>
                      <a:pt x="48" y="119"/>
                      <a:pt x="48" y="118"/>
                      <a:pt x="48" y="118"/>
                    </a:cubicBezTo>
                    <a:cubicBezTo>
                      <a:pt x="50" y="119"/>
                      <a:pt x="52" y="120"/>
                      <a:pt x="55" y="120"/>
                    </a:cubicBezTo>
                    <a:cubicBezTo>
                      <a:pt x="55" y="121"/>
                      <a:pt x="54" y="121"/>
                      <a:pt x="54" y="122"/>
                    </a:cubicBezTo>
                    <a:cubicBezTo>
                      <a:pt x="53" y="131"/>
                      <a:pt x="53" y="131"/>
                      <a:pt x="53" y="131"/>
                    </a:cubicBezTo>
                    <a:cubicBezTo>
                      <a:pt x="53" y="134"/>
                      <a:pt x="55" y="137"/>
                      <a:pt x="58" y="137"/>
                    </a:cubicBezTo>
                    <a:cubicBezTo>
                      <a:pt x="62" y="137"/>
                      <a:pt x="62" y="137"/>
                      <a:pt x="62" y="137"/>
                    </a:cubicBezTo>
                    <a:cubicBezTo>
                      <a:pt x="65" y="138"/>
                      <a:pt x="68" y="136"/>
                      <a:pt x="68" y="133"/>
                    </a:cubicBezTo>
                    <a:cubicBezTo>
                      <a:pt x="69" y="123"/>
                      <a:pt x="69" y="123"/>
                      <a:pt x="69" y="123"/>
                    </a:cubicBezTo>
                    <a:cubicBezTo>
                      <a:pt x="69" y="123"/>
                      <a:pt x="69" y="123"/>
                      <a:pt x="69" y="123"/>
                    </a:cubicBezTo>
                    <a:cubicBezTo>
                      <a:pt x="69" y="123"/>
                      <a:pt x="69" y="123"/>
                      <a:pt x="70" y="123"/>
                    </a:cubicBezTo>
                    <a:cubicBezTo>
                      <a:pt x="72" y="123"/>
                      <a:pt x="74" y="122"/>
                      <a:pt x="76" y="122"/>
                    </a:cubicBezTo>
                    <a:cubicBezTo>
                      <a:pt x="76" y="122"/>
                      <a:pt x="76" y="123"/>
                      <a:pt x="76" y="123"/>
                    </a:cubicBezTo>
                    <a:cubicBezTo>
                      <a:pt x="79" y="132"/>
                      <a:pt x="79" y="132"/>
                      <a:pt x="79" y="132"/>
                    </a:cubicBezTo>
                    <a:cubicBezTo>
                      <a:pt x="80" y="135"/>
                      <a:pt x="83" y="136"/>
                      <a:pt x="86" y="136"/>
                    </a:cubicBezTo>
                    <a:cubicBezTo>
                      <a:pt x="90" y="134"/>
                      <a:pt x="90" y="134"/>
                      <a:pt x="90" y="134"/>
                    </a:cubicBezTo>
                    <a:cubicBezTo>
                      <a:pt x="93" y="134"/>
                      <a:pt x="94" y="131"/>
                      <a:pt x="93" y="128"/>
                    </a:cubicBezTo>
                    <a:cubicBezTo>
                      <a:pt x="91" y="119"/>
                      <a:pt x="91" y="119"/>
                      <a:pt x="91" y="119"/>
                    </a:cubicBezTo>
                    <a:cubicBezTo>
                      <a:pt x="91" y="119"/>
                      <a:pt x="91" y="119"/>
                      <a:pt x="90" y="118"/>
                    </a:cubicBezTo>
                    <a:cubicBezTo>
                      <a:pt x="93" y="118"/>
                      <a:pt x="95" y="116"/>
                      <a:pt x="97" y="115"/>
                    </a:cubicBezTo>
                    <a:cubicBezTo>
                      <a:pt x="97" y="115"/>
                      <a:pt x="97" y="115"/>
                      <a:pt x="97" y="115"/>
                    </a:cubicBezTo>
                    <a:cubicBezTo>
                      <a:pt x="104" y="123"/>
                      <a:pt x="104" y="123"/>
                      <a:pt x="104" y="123"/>
                    </a:cubicBezTo>
                    <a:cubicBezTo>
                      <a:pt x="105" y="125"/>
                      <a:pt x="109" y="125"/>
                      <a:pt x="111" y="124"/>
                    </a:cubicBezTo>
                    <a:cubicBezTo>
                      <a:pt x="114" y="121"/>
                      <a:pt x="114" y="121"/>
                      <a:pt x="114" y="121"/>
                    </a:cubicBezTo>
                    <a:cubicBezTo>
                      <a:pt x="116" y="119"/>
                      <a:pt x="117" y="116"/>
                      <a:pt x="115" y="114"/>
                    </a:cubicBezTo>
                    <a:cubicBezTo>
                      <a:pt x="109" y="106"/>
                      <a:pt x="109" y="106"/>
                      <a:pt x="109" y="106"/>
                    </a:cubicBezTo>
                    <a:cubicBezTo>
                      <a:pt x="110" y="104"/>
                      <a:pt x="112" y="102"/>
                      <a:pt x="114" y="100"/>
                    </a:cubicBezTo>
                    <a:cubicBezTo>
                      <a:pt x="122" y="105"/>
                      <a:pt x="122" y="105"/>
                      <a:pt x="122" y="105"/>
                    </a:cubicBezTo>
                    <a:cubicBezTo>
                      <a:pt x="125" y="106"/>
                      <a:pt x="128" y="105"/>
                      <a:pt x="129" y="103"/>
                    </a:cubicBezTo>
                    <a:cubicBezTo>
                      <a:pt x="131" y="98"/>
                      <a:pt x="131" y="98"/>
                      <a:pt x="131" y="98"/>
                    </a:cubicBezTo>
                    <a:cubicBezTo>
                      <a:pt x="132" y="96"/>
                      <a:pt x="131" y="93"/>
                      <a:pt x="129" y="92"/>
                    </a:cubicBezTo>
                    <a:cubicBezTo>
                      <a:pt x="121" y="87"/>
                      <a:pt x="121" y="87"/>
                      <a:pt x="121" y="87"/>
                    </a:cubicBezTo>
                    <a:cubicBezTo>
                      <a:pt x="122" y="85"/>
                      <a:pt x="122" y="83"/>
                      <a:pt x="123" y="80"/>
                    </a:cubicBezTo>
                    <a:cubicBezTo>
                      <a:pt x="132" y="81"/>
                      <a:pt x="132" y="81"/>
                      <a:pt x="132" y="81"/>
                    </a:cubicBezTo>
                    <a:cubicBezTo>
                      <a:pt x="135" y="81"/>
                      <a:pt x="137" y="79"/>
                      <a:pt x="137" y="76"/>
                    </a:cubicBezTo>
                    <a:cubicBezTo>
                      <a:pt x="138" y="71"/>
                      <a:pt x="138" y="71"/>
                      <a:pt x="138" y="71"/>
                    </a:cubicBezTo>
                    <a:cubicBezTo>
                      <a:pt x="138" y="68"/>
                      <a:pt x="136" y="66"/>
                      <a:pt x="133" y="66"/>
                    </a:cubicBezTo>
                    <a:cubicBezTo>
                      <a:pt x="124" y="65"/>
                      <a:pt x="124" y="65"/>
                      <a:pt x="124" y="65"/>
                    </a:cubicBezTo>
                    <a:cubicBezTo>
                      <a:pt x="124" y="63"/>
                      <a:pt x="124" y="60"/>
                      <a:pt x="123" y="58"/>
                    </a:cubicBezTo>
                    <a:cubicBezTo>
                      <a:pt x="132" y="55"/>
                      <a:pt x="132" y="55"/>
                      <a:pt x="132" y="55"/>
                    </a:cubicBezTo>
                    <a:cubicBezTo>
                      <a:pt x="134" y="54"/>
                      <a:pt x="136" y="51"/>
                      <a:pt x="135" y="48"/>
                    </a:cubicBezTo>
                    <a:cubicBezTo>
                      <a:pt x="133" y="44"/>
                      <a:pt x="133" y="44"/>
                      <a:pt x="133" y="44"/>
                    </a:cubicBezTo>
                    <a:cubicBezTo>
                      <a:pt x="132" y="41"/>
                      <a:pt x="129" y="40"/>
                      <a:pt x="127" y="41"/>
                    </a:cubicBezTo>
                    <a:cubicBezTo>
                      <a:pt x="118" y="44"/>
                      <a:pt x="118" y="44"/>
                      <a:pt x="118" y="44"/>
                    </a:cubicBezTo>
                    <a:cubicBezTo>
                      <a:pt x="117" y="41"/>
                      <a:pt x="116" y="39"/>
                      <a:pt x="114" y="37"/>
                    </a:cubicBezTo>
                    <a:cubicBezTo>
                      <a:pt x="121" y="31"/>
                      <a:pt x="121" y="31"/>
                      <a:pt x="121" y="31"/>
                    </a:cubicBezTo>
                    <a:cubicBezTo>
                      <a:pt x="123" y="29"/>
                      <a:pt x="123" y="26"/>
                      <a:pt x="121" y="24"/>
                    </a:cubicBezTo>
                    <a:cubicBezTo>
                      <a:pt x="118" y="20"/>
                      <a:pt x="118" y="20"/>
                      <a:pt x="118" y="20"/>
                    </a:cubicBezTo>
                    <a:cubicBezTo>
                      <a:pt x="116" y="18"/>
                      <a:pt x="113" y="18"/>
                      <a:pt x="111" y="20"/>
                    </a:cubicBezTo>
                    <a:cubicBezTo>
                      <a:pt x="104" y="26"/>
                      <a:pt x="104" y="26"/>
                      <a:pt x="104" y="26"/>
                    </a:cubicBezTo>
                    <a:cubicBezTo>
                      <a:pt x="102" y="25"/>
                      <a:pt x="100" y="23"/>
                      <a:pt x="98" y="22"/>
                    </a:cubicBezTo>
                    <a:cubicBezTo>
                      <a:pt x="102" y="13"/>
                      <a:pt x="102" y="13"/>
                      <a:pt x="102" y="13"/>
                    </a:cubicBezTo>
                    <a:cubicBezTo>
                      <a:pt x="103" y="11"/>
                      <a:pt x="102" y="8"/>
                      <a:pt x="99" y="7"/>
                    </a:cubicBezTo>
                    <a:cubicBezTo>
                      <a:pt x="95" y="5"/>
                      <a:pt x="95" y="5"/>
                      <a:pt x="95" y="5"/>
                    </a:cubicBezTo>
                    <a:cubicBezTo>
                      <a:pt x="92" y="4"/>
                      <a:pt x="89" y="5"/>
                      <a:pt x="88" y="7"/>
                    </a:cubicBezTo>
                    <a:cubicBezTo>
                      <a:pt x="85" y="16"/>
                      <a:pt x="85" y="16"/>
                      <a:pt x="85" y="16"/>
                    </a:cubicBezTo>
                    <a:cubicBezTo>
                      <a:pt x="82" y="15"/>
                      <a:pt x="80" y="15"/>
                      <a:pt x="77" y="14"/>
                    </a:cubicBezTo>
                    <a:cubicBezTo>
                      <a:pt x="77" y="5"/>
                      <a:pt x="77" y="5"/>
                      <a:pt x="77" y="5"/>
                    </a:cubicBezTo>
                    <a:cubicBezTo>
                      <a:pt x="77" y="2"/>
                      <a:pt x="75" y="0"/>
                      <a:pt x="72" y="0"/>
                    </a:cubicBezTo>
                    <a:cubicBezTo>
                      <a:pt x="67" y="0"/>
                      <a:pt x="67" y="0"/>
                      <a:pt x="67" y="0"/>
                    </a:cubicBezTo>
                    <a:cubicBezTo>
                      <a:pt x="65" y="0"/>
                      <a:pt x="62" y="2"/>
                      <a:pt x="62" y="5"/>
                    </a:cubicBezTo>
                    <a:cubicBezTo>
                      <a:pt x="62" y="14"/>
                      <a:pt x="62" y="14"/>
                      <a:pt x="62" y="14"/>
                    </a:cubicBezTo>
                    <a:cubicBezTo>
                      <a:pt x="58" y="15"/>
                      <a:pt x="53" y="16"/>
                      <a:pt x="49" y="18"/>
                    </a:cubicBezTo>
                    <a:cubicBezTo>
                      <a:pt x="45" y="10"/>
                      <a:pt x="45" y="10"/>
                      <a:pt x="45" y="10"/>
                    </a:cubicBezTo>
                    <a:cubicBezTo>
                      <a:pt x="44" y="7"/>
                      <a:pt x="41" y="6"/>
                      <a:pt x="39" y="7"/>
                    </a:cubicBezTo>
                    <a:cubicBezTo>
                      <a:pt x="34" y="9"/>
                      <a:pt x="34" y="9"/>
                      <a:pt x="34" y="9"/>
                    </a:cubicBezTo>
                    <a:cubicBezTo>
                      <a:pt x="32" y="10"/>
                      <a:pt x="31" y="13"/>
                      <a:pt x="32" y="15"/>
                    </a:cubicBezTo>
                    <a:cubicBezTo>
                      <a:pt x="36" y="24"/>
                      <a:pt x="36" y="24"/>
                      <a:pt x="36" y="24"/>
                    </a:cubicBezTo>
                    <a:cubicBezTo>
                      <a:pt x="36" y="25"/>
                      <a:pt x="36" y="25"/>
                      <a:pt x="36" y="25"/>
                    </a:cubicBezTo>
                    <a:cubicBezTo>
                      <a:pt x="33" y="27"/>
                      <a:pt x="31" y="30"/>
                      <a:pt x="28" y="33"/>
                    </a:cubicBezTo>
                    <a:cubicBezTo>
                      <a:pt x="28" y="32"/>
                      <a:pt x="28" y="32"/>
                      <a:pt x="28" y="32"/>
                    </a:cubicBezTo>
                    <a:cubicBezTo>
                      <a:pt x="20" y="27"/>
                      <a:pt x="20" y="27"/>
                      <a:pt x="20" y="27"/>
                    </a:cubicBezTo>
                    <a:cubicBezTo>
                      <a:pt x="17" y="25"/>
                      <a:pt x="14" y="26"/>
                      <a:pt x="13" y="28"/>
                    </a:cubicBezTo>
                    <a:cubicBezTo>
                      <a:pt x="10" y="32"/>
                      <a:pt x="10" y="32"/>
                      <a:pt x="10" y="32"/>
                    </a:cubicBezTo>
                    <a:cubicBezTo>
                      <a:pt x="9" y="35"/>
                      <a:pt x="9" y="38"/>
                      <a:pt x="12" y="39"/>
                    </a:cubicBezTo>
                    <a:cubicBezTo>
                      <a:pt x="20" y="45"/>
                      <a:pt x="20" y="45"/>
                      <a:pt x="20" y="45"/>
                    </a:cubicBezTo>
                    <a:cubicBezTo>
                      <a:pt x="20" y="45"/>
                      <a:pt x="20" y="45"/>
                      <a:pt x="20" y="45"/>
                    </a:cubicBezTo>
                    <a:cubicBezTo>
                      <a:pt x="19" y="47"/>
                      <a:pt x="19" y="49"/>
                      <a:pt x="18" y="52"/>
                    </a:cubicBezTo>
                    <a:cubicBezTo>
                      <a:pt x="18" y="51"/>
                      <a:pt x="17" y="51"/>
                      <a:pt x="17" y="51"/>
                    </a:cubicBezTo>
                    <a:cubicBezTo>
                      <a:pt x="7" y="50"/>
                      <a:pt x="7" y="50"/>
                      <a:pt x="7" y="50"/>
                    </a:cubicBezTo>
                    <a:cubicBezTo>
                      <a:pt x="4" y="49"/>
                      <a:pt x="2" y="51"/>
                      <a:pt x="1" y="54"/>
                    </a:cubicBezTo>
                    <a:cubicBezTo>
                      <a:pt x="1" y="58"/>
                      <a:pt x="1" y="58"/>
                      <a:pt x="1" y="58"/>
                    </a:cubicBezTo>
                    <a:cubicBezTo>
                      <a:pt x="0" y="61"/>
                      <a:pt x="2" y="64"/>
                      <a:pt x="5" y="64"/>
                    </a:cubicBezTo>
                    <a:close/>
                    <a:moveTo>
                      <a:pt x="111" y="84"/>
                    </a:moveTo>
                    <a:cubicBezTo>
                      <a:pt x="111" y="86"/>
                      <a:pt x="109" y="87"/>
                      <a:pt x="107" y="86"/>
                    </a:cubicBezTo>
                    <a:cubicBezTo>
                      <a:pt x="105" y="86"/>
                      <a:pt x="104" y="84"/>
                      <a:pt x="105" y="82"/>
                    </a:cubicBezTo>
                    <a:cubicBezTo>
                      <a:pt x="106" y="80"/>
                      <a:pt x="108" y="80"/>
                      <a:pt x="109" y="80"/>
                    </a:cubicBezTo>
                    <a:cubicBezTo>
                      <a:pt x="111" y="81"/>
                      <a:pt x="112" y="83"/>
                      <a:pt x="111" y="84"/>
                    </a:cubicBezTo>
                    <a:close/>
                    <a:moveTo>
                      <a:pt x="114" y="67"/>
                    </a:moveTo>
                    <a:cubicBezTo>
                      <a:pt x="114" y="69"/>
                      <a:pt x="113" y="71"/>
                      <a:pt x="111" y="71"/>
                    </a:cubicBezTo>
                    <a:cubicBezTo>
                      <a:pt x="109" y="71"/>
                      <a:pt x="108" y="69"/>
                      <a:pt x="107" y="68"/>
                    </a:cubicBezTo>
                    <a:cubicBezTo>
                      <a:pt x="107" y="66"/>
                      <a:pt x="109" y="64"/>
                      <a:pt x="111" y="64"/>
                    </a:cubicBezTo>
                    <a:cubicBezTo>
                      <a:pt x="112" y="64"/>
                      <a:pt x="114" y="66"/>
                      <a:pt x="114" y="67"/>
                    </a:cubicBezTo>
                    <a:close/>
                    <a:moveTo>
                      <a:pt x="106" y="49"/>
                    </a:moveTo>
                    <a:cubicBezTo>
                      <a:pt x="108" y="48"/>
                      <a:pt x="110" y="49"/>
                      <a:pt x="110" y="51"/>
                    </a:cubicBezTo>
                    <a:cubicBezTo>
                      <a:pt x="111" y="52"/>
                      <a:pt x="110" y="54"/>
                      <a:pt x="109" y="55"/>
                    </a:cubicBezTo>
                    <a:cubicBezTo>
                      <a:pt x="107" y="56"/>
                      <a:pt x="105" y="55"/>
                      <a:pt x="104" y="53"/>
                    </a:cubicBezTo>
                    <a:cubicBezTo>
                      <a:pt x="103" y="52"/>
                      <a:pt x="104" y="50"/>
                      <a:pt x="106" y="49"/>
                    </a:cubicBezTo>
                    <a:close/>
                    <a:moveTo>
                      <a:pt x="102" y="99"/>
                    </a:moveTo>
                    <a:cubicBezTo>
                      <a:pt x="101" y="100"/>
                      <a:pt x="99" y="100"/>
                      <a:pt x="98" y="99"/>
                    </a:cubicBezTo>
                    <a:cubicBezTo>
                      <a:pt x="96" y="98"/>
                      <a:pt x="96" y="96"/>
                      <a:pt x="97" y="95"/>
                    </a:cubicBezTo>
                    <a:cubicBezTo>
                      <a:pt x="99" y="93"/>
                      <a:pt x="101" y="93"/>
                      <a:pt x="102" y="94"/>
                    </a:cubicBezTo>
                    <a:cubicBezTo>
                      <a:pt x="103" y="96"/>
                      <a:pt x="103" y="98"/>
                      <a:pt x="102" y="99"/>
                    </a:cubicBezTo>
                    <a:close/>
                    <a:moveTo>
                      <a:pt x="96" y="37"/>
                    </a:moveTo>
                    <a:cubicBezTo>
                      <a:pt x="97" y="35"/>
                      <a:pt x="99" y="35"/>
                      <a:pt x="100" y="36"/>
                    </a:cubicBezTo>
                    <a:cubicBezTo>
                      <a:pt x="102" y="38"/>
                      <a:pt x="102" y="40"/>
                      <a:pt x="101" y="41"/>
                    </a:cubicBezTo>
                    <a:cubicBezTo>
                      <a:pt x="99" y="42"/>
                      <a:pt x="97" y="42"/>
                      <a:pt x="96" y="41"/>
                    </a:cubicBezTo>
                    <a:cubicBezTo>
                      <a:pt x="95" y="40"/>
                      <a:pt x="95" y="38"/>
                      <a:pt x="96" y="37"/>
                    </a:cubicBezTo>
                    <a:close/>
                    <a:moveTo>
                      <a:pt x="33" y="91"/>
                    </a:moveTo>
                    <a:cubicBezTo>
                      <a:pt x="32" y="91"/>
                      <a:pt x="30" y="91"/>
                      <a:pt x="29" y="89"/>
                    </a:cubicBezTo>
                    <a:cubicBezTo>
                      <a:pt x="28" y="88"/>
                      <a:pt x="29" y="86"/>
                      <a:pt x="30" y="85"/>
                    </a:cubicBezTo>
                    <a:cubicBezTo>
                      <a:pt x="32" y="84"/>
                      <a:pt x="34" y="85"/>
                      <a:pt x="35" y="86"/>
                    </a:cubicBezTo>
                    <a:cubicBezTo>
                      <a:pt x="36" y="88"/>
                      <a:pt x="35" y="90"/>
                      <a:pt x="33" y="91"/>
                    </a:cubicBezTo>
                    <a:close/>
                    <a:moveTo>
                      <a:pt x="59" y="109"/>
                    </a:moveTo>
                    <a:cubicBezTo>
                      <a:pt x="58" y="111"/>
                      <a:pt x="56" y="112"/>
                      <a:pt x="55" y="111"/>
                    </a:cubicBezTo>
                    <a:cubicBezTo>
                      <a:pt x="53" y="111"/>
                      <a:pt x="52" y="109"/>
                      <a:pt x="53" y="107"/>
                    </a:cubicBezTo>
                    <a:cubicBezTo>
                      <a:pt x="53" y="105"/>
                      <a:pt x="55" y="104"/>
                      <a:pt x="57" y="105"/>
                    </a:cubicBezTo>
                    <a:cubicBezTo>
                      <a:pt x="58" y="106"/>
                      <a:pt x="59" y="107"/>
                      <a:pt x="59" y="109"/>
                    </a:cubicBezTo>
                    <a:close/>
                    <a:moveTo>
                      <a:pt x="72" y="114"/>
                    </a:moveTo>
                    <a:cubicBezTo>
                      <a:pt x="70" y="114"/>
                      <a:pt x="68" y="112"/>
                      <a:pt x="68" y="110"/>
                    </a:cubicBezTo>
                    <a:cubicBezTo>
                      <a:pt x="68" y="109"/>
                      <a:pt x="69" y="107"/>
                      <a:pt x="71" y="107"/>
                    </a:cubicBezTo>
                    <a:cubicBezTo>
                      <a:pt x="73" y="107"/>
                      <a:pt x="75" y="108"/>
                      <a:pt x="75" y="110"/>
                    </a:cubicBezTo>
                    <a:cubicBezTo>
                      <a:pt x="75" y="112"/>
                      <a:pt x="73" y="113"/>
                      <a:pt x="72" y="114"/>
                    </a:cubicBezTo>
                    <a:close/>
                    <a:moveTo>
                      <a:pt x="88" y="109"/>
                    </a:moveTo>
                    <a:cubicBezTo>
                      <a:pt x="87" y="110"/>
                      <a:pt x="85" y="109"/>
                      <a:pt x="84" y="108"/>
                    </a:cubicBezTo>
                    <a:cubicBezTo>
                      <a:pt x="83" y="106"/>
                      <a:pt x="84" y="104"/>
                      <a:pt x="86" y="103"/>
                    </a:cubicBezTo>
                    <a:cubicBezTo>
                      <a:pt x="87" y="103"/>
                      <a:pt x="89" y="103"/>
                      <a:pt x="90" y="105"/>
                    </a:cubicBezTo>
                    <a:cubicBezTo>
                      <a:pt x="91" y="107"/>
                      <a:pt x="90" y="108"/>
                      <a:pt x="88" y="109"/>
                    </a:cubicBezTo>
                    <a:close/>
                    <a:moveTo>
                      <a:pt x="82" y="29"/>
                    </a:moveTo>
                    <a:cubicBezTo>
                      <a:pt x="82" y="27"/>
                      <a:pt x="84" y="26"/>
                      <a:pt x="86" y="27"/>
                    </a:cubicBezTo>
                    <a:cubicBezTo>
                      <a:pt x="88" y="28"/>
                      <a:pt x="89" y="30"/>
                      <a:pt x="88" y="31"/>
                    </a:cubicBezTo>
                    <a:cubicBezTo>
                      <a:pt x="87" y="33"/>
                      <a:pt x="85" y="34"/>
                      <a:pt x="84" y="33"/>
                    </a:cubicBezTo>
                    <a:cubicBezTo>
                      <a:pt x="82" y="32"/>
                      <a:pt x="81" y="30"/>
                      <a:pt x="82" y="29"/>
                    </a:cubicBezTo>
                    <a:close/>
                    <a:moveTo>
                      <a:pt x="69" y="24"/>
                    </a:moveTo>
                    <a:cubicBezTo>
                      <a:pt x="71" y="24"/>
                      <a:pt x="72" y="25"/>
                      <a:pt x="72" y="27"/>
                    </a:cubicBezTo>
                    <a:cubicBezTo>
                      <a:pt x="72" y="29"/>
                      <a:pt x="71" y="30"/>
                      <a:pt x="69" y="30"/>
                    </a:cubicBezTo>
                    <a:cubicBezTo>
                      <a:pt x="67" y="30"/>
                      <a:pt x="66" y="29"/>
                      <a:pt x="66" y="27"/>
                    </a:cubicBezTo>
                    <a:cubicBezTo>
                      <a:pt x="66" y="25"/>
                      <a:pt x="67" y="24"/>
                      <a:pt x="69" y="24"/>
                    </a:cubicBezTo>
                    <a:close/>
                    <a:moveTo>
                      <a:pt x="47" y="29"/>
                    </a:moveTo>
                    <a:cubicBezTo>
                      <a:pt x="49" y="28"/>
                      <a:pt x="51" y="29"/>
                      <a:pt x="52" y="31"/>
                    </a:cubicBezTo>
                    <a:cubicBezTo>
                      <a:pt x="53" y="32"/>
                      <a:pt x="52" y="34"/>
                      <a:pt x="51" y="35"/>
                    </a:cubicBezTo>
                    <a:cubicBezTo>
                      <a:pt x="49" y="36"/>
                      <a:pt x="47" y="35"/>
                      <a:pt x="46" y="34"/>
                    </a:cubicBezTo>
                    <a:cubicBezTo>
                      <a:pt x="45" y="32"/>
                      <a:pt x="46" y="30"/>
                      <a:pt x="47" y="29"/>
                    </a:cubicBezTo>
                    <a:close/>
                    <a:moveTo>
                      <a:pt x="69" y="43"/>
                    </a:moveTo>
                    <a:cubicBezTo>
                      <a:pt x="83" y="43"/>
                      <a:pt x="95" y="54"/>
                      <a:pt x="95" y="69"/>
                    </a:cubicBezTo>
                    <a:cubicBezTo>
                      <a:pt x="95" y="83"/>
                      <a:pt x="83" y="94"/>
                      <a:pt x="69" y="94"/>
                    </a:cubicBezTo>
                    <a:cubicBezTo>
                      <a:pt x="55" y="94"/>
                      <a:pt x="43" y="83"/>
                      <a:pt x="43" y="69"/>
                    </a:cubicBezTo>
                    <a:cubicBezTo>
                      <a:pt x="43" y="54"/>
                      <a:pt x="55" y="43"/>
                      <a:pt x="69" y="43"/>
                    </a:cubicBezTo>
                    <a:close/>
                    <a:moveTo>
                      <a:pt x="44" y="98"/>
                    </a:moveTo>
                    <a:cubicBezTo>
                      <a:pt x="45" y="99"/>
                      <a:pt x="45" y="101"/>
                      <a:pt x="44" y="102"/>
                    </a:cubicBezTo>
                    <a:cubicBezTo>
                      <a:pt x="43" y="104"/>
                      <a:pt x="41" y="104"/>
                      <a:pt x="40" y="103"/>
                    </a:cubicBezTo>
                    <a:cubicBezTo>
                      <a:pt x="38" y="102"/>
                      <a:pt x="38" y="99"/>
                      <a:pt x="39" y="98"/>
                    </a:cubicBezTo>
                    <a:cubicBezTo>
                      <a:pt x="41" y="97"/>
                      <a:pt x="43" y="97"/>
                      <a:pt x="44" y="98"/>
                    </a:cubicBezTo>
                    <a:close/>
                    <a:moveTo>
                      <a:pt x="34" y="40"/>
                    </a:moveTo>
                    <a:cubicBezTo>
                      <a:pt x="35" y="39"/>
                      <a:pt x="37" y="39"/>
                      <a:pt x="39" y="40"/>
                    </a:cubicBezTo>
                    <a:cubicBezTo>
                      <a:pt x="40" y="41"/>
                      <a:pt x="40" y="43"/>
                      <a:pt x="39" y="44"/>
                    </a:cubicBezTo>
                    <a:cubicBezTo>
                      <a:pt x="38" y="46"/>
                      <a:pt x="36" y="46"/>
                      <a:pt x="35" y="45"/>
                    </a:cubicBezTo>
                    <a:cubicBezTo>
                      <a:pt x="33" y="44"/>
                      <a:pt x="33" y="42"/>
                      <a:pt x="34" y="40"/>
                    </a:cubicBezTo>
                    <a:close/>
                    <a:moveTo>
                      <a:pt x="26" y="55"/>
                    </a:moveTo>
                    <a:cubicBezTo>
                      <a:pt x="27" y="54"/>
                      <a:pt x="28" y="53"/>
                      <a:pt x="30" y="53"/>
                    </a:cubicBezTo>
                    <a:cubicBezTo>
                      <a:pt x="32" y="54"/>
                      <a:pt x="33" y="56"/>
                      <a:pt x="32" y="57"/>
                    </a:cubicBezTo>
                    <a:cubicBezTo>
                      <a:pt x="32" y="59"/>
                      <a:pt x="30" y="60"/>
                      <a:pt x="28" y="60"/>
                    </a:cubicBezTo>
                    <a:cubicBezTo>
                      <a:pt x="27" y="59"/>
                      <a:pt x="26" y="57"/>
                      <a:pt x="26" y="55"/>
                    </a:cubicBezTo>
                    <a:close/>
                    <a:moveTo>
                      <a:pt x="27" y="69"/>
                    </a:moveTo>
                    <a:cubicBezTo>
                      <a:pt x="29" y="69"/>
                      <a:pt x="31" y="70"/>
                      <a:pt x="31" y="72"/>
                    </a:cubicBezTo>
                    <a:cubicBezTo>
                      <a:pt x="31" y="74"/>
                      <a:pt x="30" y="75"/>
                      <a:pt x="28" y="76"/>
                    </a:cubicBezTo>
                    <a:cubicBezTo>
                      <a:pt x="26" y="76"/>
                      <a:pt x="24" y="74"/>
                      <a:pt x="24" y="73"/>
                    </a:cubicBezTo>
                    <a:cubicBezTo>
                      <a:pt x="24" y="71"/>
                      <a:pt x="25" y="69"/>
                      <a:pt x="27" y="69"/>
                    </a:cubicBezTo>
                    <a:close/>
                  </a:path>
                </a:pathLst>
              </a:custGeom>
              <a:grpFill/>
              <a:ln>
                <a:noFill/>
              </a:ln>
            </p:spPr>
            <p:txBody>
              <a:bodyPr vert="horz" wrap="square" lIns="45720" tIns="22860" rIns="45720" bIns="22860" numCol="1" anchor="t" anchorCtr="0" compatLnSpc="1">
                <a:prstTxWarp prst="textNoShape">
                  <a:avLst/>
                </a:prstTxWarp>
              </a:bodyPr>
              <a:lstStyle/>
              <a:p>
                <a:endParaRPr lang="th-TH" sz="900"/>
              </a:p>
            </p:txBody>
          </p:sp>
          <p:sp>
            <p:nvSpPr>
              <p:cNvPr id="20" name="Oval 20"/>
              <p:cNvSpPr>
                <a:spLocks noChangeArrowheads="1"/>
              </p:cNvSpPr>
              <p:nvPr/>
            </p:nvSpPr>
            <p:spPr bwMode="auto">
              <a:xfrm flipH="1">
                <a:off x="557506" y="1754376"/>
                <a:ext cx="126159" cy="116760"/>
              </a:xfrm>
              <a:prstGeom prst="ellipse">
                <a:avLst/>
              </a:prstGeom>
              <a:grpFill/>
              <a:ln>
                <a:noFill/>
              </a:ln>
            </p:spPr>
            <p:txBody>
              <a:bodyPr vert="horz" wrap="square" lIns="45720" tIns="22860" rIns="45720" bIns="22860" numCol="1" anchor="t" anchorCtr="0" compatLnSpc="1">
                <a:prstTxWarp prst="textNoShape">
                  <a:avLst/>
                </a:prstTxWarp>
              </a:bodyPr>
              <a:lstStyle/>
              <a:p>
                <a:endParaRPr lang="th-TH" sz="900"/>
              </a:p>
            </p:txBody>
          </p:sp>
          <p:sp>
            <p:nvSpPr>
              <p:cNvPr id="21" name="Oval 21"/>
              <p:cNvSpPr>
                <a:spLocks noChangeArrowheads="1"/>
              </p:cNvSpPr>
              <p:nvPr/>
            </p:nvSpPr>
            <p:spPr bwMode="auto">
              <a:xfrm flipH="1">
                <a:off x="620585" y="1996692"/>
                <a:ext cx="126968" cy="124757"/>
              </a:xfrm>
              <a:prstGeom prst="ellipse">
                <a:avLst/>
              </a:prstGeom>
              <a:grpFill/>
              <a:ln>
                <a:noFill/>
              </a:ln>
            </p:spPr>
            <p:txBody>
              <a:bodyPr vert="horz" wrap="square" lIns="45720" tIns="22860" rIns="45720" bIns="22860" numCol="1" anchor="t" anchorCtr="0" compatLnSpc="1">
                <a:prstTxWarp prst="textNoShape">
                  <a:avLst/>
                </a:prstTxWarp>
              </a:bodyPr>
              <a:lstStyle/>
              <a:p>
                <a:endParaRPr lang="th-TH" sz="900"/>
              </a:p>
            </p:txBody>
          </p:sp>
        </p:grpSp>
      </p:grpSp>
      <p:grpSp>
        <p:nvGrpSpPr>
          <p:cNvPr id="4" name="Group 3"/>
          <p:cNvGrpSpPr/>
          <p:nvPr/>
        </p:nvGrpSpPr>
        <p:grpSpPr>
          <a:xfrm>
            <a:off x="4787074" y="1769880"/>
            <a:ext cx="4490877" cy="4500736"/>
            <a:chOff x="4123419" y="1769880"/>
            <a:chExt cx="4490877" cy="4500736"/>
          </a:xfrm>
        </p:grpSpPr>
        <p:sp>
          <p:nvSpPr>
            <p:cNvPr id="23" name="Freeform 6"/>
            <p:cNvSpPr>
              <a:spLocks/>
            </p:cNvSpPr>
            <p:nvPr/>
          </p:nvSpPr>
          <p:spPr bwMode="auto">
            <a:xfrm>
              <a:off x="4123419" y="1769880"/>
              <a:ext cx="2514924" cy="2523961"/>
            </a:xfrm>
            <a:custGeom>
              <a:avLst/>
              <a:gdLst>
                <a:gd name="T0" fmla="*/ 219 w 280"/>
                <a:gd name="T1" fmla="*/ 141 h 281"/>
                <a:gd name="T2" fmla="*/ 219 w 280"/>
                <a:gd name="T3" fmla="*/ 141 h 281"/>
                <a:gd name="T4" fmla="*/ 140 w 280"/>
                <a:gd name="T5" fmla="*/ 220 h 281"/>
                <a:gd name="T6" fmla="*/ 61 w 280"/>
                <a:gd name="T7" fmla="*/ 141 h 281"/>
                <a:gd name="T8" fmla="*/ 140 w 280"/>
                <a:gd name="T9" fmla="*/ 62 h 281"/>
                <a:gd name="T10" fmla="*/ 140 w 280"/>
                <a:gd name="T11" fmla="*/ 0 h 281"/>
                <a:gd name="T12" fmla="*/ 0 w 280"/>
                <a:gd name="T13" fmla="*/ 141 h 281"/>
                <a:gd name="T14" fmla="*/ 140 w 280"/>
                <a:gd name="T15" fmla="*/ 281 h 281"/>
                <a:gd name="T16" fmla="*/ 280 w 280"/>
                <a:gd name="T17" fmla="*/ 141 h 281"/>
                <a:gd name="T18" fmla="*/ 280 w 280"/>
                <a:gd name="T19" fmla="*/ 141 h 281"/>
                <a:gd name="T20" fmla="*/ 219 w 280"/>
                <a:gd name="T21" fmla="*/ 14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 h="281">
                  <a:moveTo>
                    <a:pt x="219" y="141"/>
                  </a:moveTo>
                  <a:cubicBezTo>
                    <a:pt x="219" y="141"/>
                    <a:pt x="219" y="141"/>
                    <a:pt x="219" y="141"/>
                  </a:cubicBezTo>
                  <a:cubicBezTo>
                    <a:pt x="219" y="184"/>
                    <a:pt x="184" y="220"/>
                    <a:pt x="140" y="220"/>
                  </a:cubicBezTo>
                  <a:cubicBezTo>
                    <a:pt x="97" y="220"/>
                    <a:pt x="61" y="184"/>
                    <a:pt x="61" y="141"/>
                  </a:cubicBezTo>
                  <a:cubicBezTo>
                    <a:pt x="61" y="97"/>
                    <a:pt x="97" y="62"/>
                    <a:pt x="140" y="62"/>
                  </a:cubicBezTo>
                  <a:cubicBezTo>
                    <a:pt x="140" y="0"/>
                    <a:pt x="140" y="0"/>
                    <a:pt x="140" y="0"/>
                  </a:cubicBezTo>
                  <a:cubicBezTo>
                    <a:pt x="63" y="0"/>
                    <a:pt x="0" y="63"/>
                    <a:pt x="0" y="141"/>
                  </a:cubicBezTo>
                  <a:cubicBezTo>
                    <a:pt x="0" y="218"/>
                    <a:pt x="63" y="281"/>
                    <a:pt x="140" y="281"/>
                  </a:cubicBezTo>
                  <a:cubicBezTo>
                    <a:pt x="217" y="281"/>
                    <a:pt x="280" y="218"/>
                    <a:pt x="280" y="141"/>
                  </a:cubicBezTo>
                  <a:cubicBezTo>
                    <a:pt x="280" y="141"/>
                    <a:pt x="280" y="141"/>
                    <a:pt x="280" y="141"/>
                  </a:cubicBezTo>
                  <a:lnTo>
                    <a:pt x="219" y="141"/>
                  </a:ln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24" name="Freeform 7"/>
            <p:cNvSpPr>
              <a:spLocks/>
            </p:cNvSpPr>
            <p:nvPr/>
          </p:nvSpPr>
          <p:spPr bwMode="auto">
            <a:xfrm>
              <a:off x="6090334" y="1778918"/>
              <a:ext cx="2514924" cy="2514924"/>
            </a:xfrm>
            <a:custGeom>
              <a:avLst/>
              <a:gdLst>
                <a:gd name="T0" fmla="*/ 61 w 280"/>
                <a:gd name="T1" fmla="*/ 140 h 280"/>
                <a:gd name="T2" fmla="*/ 61 w 280"/>
                <a:gd name="T3" fmla="*/ 140 h 280"/>
                <a:gd name="T4" fmla="*/ 140 w 280"/>
                <a:gd name="T5" fmla="*/ 61 h 280"/>
                <a:gd name="T6" fmla="*/ 219 w 280"/>
                <a:gd name="T7" fmla="*/ 140 h 280"/>
                <a:gd name="T8" fmla="*/ 140 w 280"/>
                <a:gd name="T9" fmla="*/ 219 h 280"/>
                <a:gd name="T10" fmla="*/ 140 w 280"/>
                <a:gd name="T11" fmla="*/ 280 h 280"/>
                <a:gd name="T12" fmla="*/ 280 w 280"/>
                <a:gd name="T13" fmla="*/ 140 h 280"/>
                <a:gd name="T14" fmla="*/ 140 w 280"/>
                <a:gd name="T15" fmla="*/ 0 h 280"/>
                <a:gd name="T16" fmla="*/ 0 w 280"/>
                <a:gd name="T17" fmla="*/ 140 h 280"/>
                <a:gd name="T18" fmla="*/ 0 w 280"/>
                <a:gd name="T19" fmla="*/ 140 h 280"/>
                <a:gd name="T20" fmla="*/ 61 w 280"/>
                <a:gd name="T21" fmla="*/ 14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 h="280">
                  <a:moveTo>
                    <a:pt x="61" y="140"/>
                  </a:moveTo>
                  <a:cubicBezTo>
                    <a:pt x="61" y="140"/>
                    <a:pt x="61" y="140"/>
                    <a:pt x="61" y="140"/>
                  </a:cubicBezTo>
                  <a:cubicBezTo>
                    <a:pt x="61" y="97"/>
                    <a:pt x="97" y="61"/>
                    <a:pt x="140" y="61"/>
                  </a:cubicBezTo>
                  <a:cubicBezTo>
                    <a:pt x="184" y="61"/>
                    <a:pt x="219" y="97"/>
                    <a:pt x="219" y="140"/>
                  </a:cubicBezTo>
                  <a:cubicBezTo>
                    <a:pt x="219" y="184"/>
                    <a:pt x="184" y="219"/>
                    <a:pt x="140" y="219"/>
                  </a:cubicBezTo>
                  <a:cubicBezTo>
                    <a:pt x="140" y="280"/>
                    <a:pt x="140" y="280"/>
                    <a:pt x="140" y="280"/>
                  </a:cubicBezTo>
                  <a:cubicBezTo>
                    <a:pt x="217" y="280"/>
                    <a:pt x="280" y="217"/>
                    <a:pt x="280" y="140"/>
                  </a:cubicBezTo>
                  <a:cubicBezTo>
                    <a:pt x="280" y="63"/>
                    <a:pt x="217" y="0"/>
                    <a:pt x="140" y="0"/>
                  </a:cubicBezTo>
                  <a:cubicBezTo>
                    <a:pt x="63" y="0"/>
                    <a:pt x="0" y="63"/>
                    <a:pt x="0" y="140"/>
                  </a:cubicBezTo>
                  <a:cubicBezTo>
                    <a:pt x="0" y="140"/>
                    <a:pt x="0" y="140"/>
                    <a:pt x="0" y="140"/>
                  </a:cubicBezTo>
                  <a:lnTo>
                    <a:pt x="61" y="140"/>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25" name="Freeform 8"/>
            <p:cNvSpPr>
              <a:spLocks/>
            </p:cNvSpPr>
            <p:nvPr/>
          </p:nvSpPr>
          <p:spPr bwMode="auto">
            <a:xfrm>
              <a:off x="6099372" y="3754871"/>
              <a:ext cx="2514924" cy="2515745"/>
            </a:xfrm>
            <a:custGeom>
              <a:avLst/>
              <a:gdLst>
                <a:gd name="T0" fmla="*/ 219 w 280"/>
                <a:gd name="T1" fmla="*/ 140 h 280"/>
                <a:gd name="T2" fmla="*/ 219 w 280"/>
                <a:gd name="T3" fmla="*/ 140 h 280"/>
                <a:gd name="T4" fmla="*/ 140 w 280"/>
                <a:gd name="T5" fmla="*/ 219 h 280"/>
                <a:gd name="T6" fmla="*/ 61 w 280"/>
                <a:gd name="T7" fmla="*/ 140 h 280"/>
                <a:gd name="T8" fmla="*/ 140 w 280"/>
                <a:gd name="T9" fmla="*/ 61 h 280"/>
                <a:gd name="T10" fmla="*/ 140 w 280"/>
                <a:gd name="T11" fmla="*/ 0 h 280"/>
                <a:gd name="T12" fmla="*/ 0 w 280"/>
                <a:gd name="T13" fmla="*/ 140 h 280"/>
                <a:gd name="T14" fmla="*/ 140 w 280"/>
                <a:gd name="T15" fmla="*/ 280 h 280"/>
                <a:gd name="T16" fmla="*/ 280 w 280"/>
                <a:gd name="T17" fmla="*/ 140 h 280"/>
                <a:gd name="T18" fmla="*/ 280 w 280"/>
                <a:gd name="T19" fmla="*/ 140 h 280"/>
                <a:gd name="T20" fmla="*/ 219 w 280"/>
                <a:gd name="T21" fmla="*/ 14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 h="280">
                  <a:moveTo>
                    <a:pt x="219" y="140"/>
                  </a:moveTo>
                  <a:cubicBezTo>
                    <a:pt x="219" y="140"/>
                    <a:pt x="219" y="140"/>
                    <a:pt x="219" y="140"/>
                  </a:cubicBezTo>
                  <a:cubicBezTo>
                    <a:pt x="219" y="184"/>
                    <a:pt x="184" y="219"/>
                    <a:pt x="140" y="219"/>
                  </a:cubicBezTo>
                  <a:cubicBezTo>
                    <a:pt x="97" y="219"/>
                    <a:pt x="61" y="184"/>
                    <a:pt x="61" y="140"/>
                  </a:cubicBezTo>
                  <a:cubicBezTo>
                    <a:pt x="61" y="97"/>
                    <a:pt x="97" y="61"/>
                    <a:pt x="140" y="61"/>
                  </a:cubicBezTo>
                  <a:cubicBezTo>
                    <a:pt x="140" y="0"/>
                    <a:pt x="140" y="0"/>
                    <a:pt x="140" y="0"/>
                  </a:cubicBezTo>
                  <a:cubicBezTo>
                    <a:pt x="63" y="0"/>
                    <a:pt x="0" y="63"/>
                    <a:pt x="0" y="140"/>
                  </a:cubicBezTo>
                  <a:cubicBezTo>
                    <a:pt x="0" y="217"/>
                    <a:pt x="63" y="280"/>
                    <a:pt x="140" y="280"/>
                  </a:cubicBezTo>
                  <a:cubicBezTo>
                    <a:pt x="217" y="280"/>
                    <a:pt x="280" y="217"/>
                    <a:pt x="280" y="140"/>
                  </a:cubicBezTo>
                  <a:cubicBezTo>
                    <a:pt x="280" y="140"/>
                    <a:pt x="280" y="140"/>
                    <a:pt x="280" y="140"/>
                  </a:cubicBezTo>
                  <a:lnTo>
                    <a:pt x="219" y="140"/>
                  </a:ln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26" name="Freeform 9"/>
            <p:cNvSpPr>
              <a:spLocks noEditPoints="1"/>
            </p:cNvSpPr>
            <p:nvPr/>
          </p:nvSpPr>
          <p:spPr bwMode="auto">
            <a:xfrm>
              <a:off x="4733660" y="2408069"/>
              <a:ext cx="1255594" cy="1256622"/>
            </a:xfrm>
            <a:custGeom>
              <a:avLst/>
              <a:gdLst>
                <a:gd name="T0" fmla="*/ 76 w 125"/>
                <a:gd name="T1" fmla="*/ 123 h 125"/>
                <a:gd name="T2" fmla="*/ 87 w 125"/>
                <a:gd name="T3" fmla="*/ 120 h 125"/>
                <a:gd name="T4" fmla="*/ 84 w 125"/>
                <a:gd name="T5" fmla="*/ 110 h 125"/>
                <a:gd name="T6" fmla="*/ 96 w 125"/>
                <a:gd name="T7" fmla="*/ 103 h 125"/>
                <a:gd name="T8" fmla="*/ 103 w 125"/>
                <a:gd name="T9" fmla="*/ 110 h 125"/>
                <a:gd name="T10" fmla="*/ 111 w 125"/>
                <a:gd name="T11" fmla="*/ 102 h 125"/>
                <a:gd name="T12" fmla="*/ 103 w 125"/>
                <a:gd name="T13" fmla="*/ 95 h 125"/>
                <a:gd name="T14" fmla="*/ 111 w 125"/>
                <a:gd name="T15" fmla="*/ 83 h 125"/>
                <a:gd name="T16" fmla="*/ 120 w 125"/>
                <a:gd name="T17" fmla="*/ 86 h 125"/>
                <a:gd name="T18" fmla="*/ 123 w 125"/>
                <a:gd name="T19" fmla="*/ 75 h 125"/>
                <a:gd name="T20" fmla="*/ 114 w 125"/>
                <a:gd name="T21" fmla="*/ 72 h 125"/>
                <a:gd name="T22" fmla="*/ 115 w 125"/>
                <a:gd name="T23" fmla="*/ 60 h 125"/>
                <a:gd name="T24" fmla="*/ 115 w 125"/>
                <a:gd name="T25" fmla="*/ 59 h 125"/>
                <a:gd name="T26" fmla="*/ 125 w 125"/>
                <a:gd name="T27" fmla="*/ 57 h 125"/>
                <a:gd name="T28" fmla="*/ 122 w 125"/>
                <a:gd name="T29" fmla="*/ 46 h 125"/>
                <a:gd name="T30" fmla="*/ 113 w 125"/>
                <a:gd name="T31" fmla="*/ 48 h 125"/>
                <a:gd name="T32" fmla="*/ 107 w 125"/>
                <a:gd name="T33" fmla="*/ 35 h 125"/>
                <a:gd name="T34" fmla="*/ 115 w 125"/>
                <a:gd name="T35" fmla="*/ 29 h 125"/>
                <a:gd name="T36" fmla="*/ 108 w 125"/>
                <a:gd name="T37" fmla="*/ 20 h 125"/>
                <a:gd name="T38" fmla="*/ 101 w 125"/>
                <a:gd name="T39" fmla="*/ 26 h 125"/>
                <a:gd name="T40" fmla="*/ 90 w 125"/>
                <a:gd name="T41" fmla="*/ 17 h 125"/>
                <a:gd name="T42" fmla="*/ 94 w 125"/>
                <a:gd name="T43" fmla="*/ 8 h 125"/>
                <a:gd name="T44" fmla="*/ 84 w 125"/>
                <a:gd name="T45" fmla="*/ 4 h 125"/>
                <a:gd name="T46" fmla="*/ 80 w 125"/>
                <a:gd name="T47" fmla="*/ 12 h 125"/>
                <a:gd name="T48" fmla="*/ 66 w 125"/>
                <a:gd name="T49" fmla="*/ 10 h 125"/>
                <a:gd name="T50" fmla="*/ 66 w 125"/>
                <a:gd name="T51" fmla="*/ 0 h 125"/>
                <a:gd name="T52" fmla="*/ 54 w 125"/>
                <a:gd name="T53" fmla="*/ 0 h 125"/>
                <a:gd name="T54" fmla="*/ 55 w 125"/>
                <a:gd name="T55" fmla="*/ 10 h 125"/>
                <a:gd name="T56" fmla="*/ 37 w 125"/>
                <a:gd name="T57" fmla="*/ 16 h 125"/>
                <a:gd name="T58" fmla="*/ 31 w 125"/>
                <a:gd name="T59" fmla="*/ 8 h 125"/>
                <a:gd name="T60" fmla="*/ 22 w 125"/>
                <a:gd name="T61" fmla="*/ 14 h 125"/>
                <a:gd name="T62" fmla="*/ 28 w 125"/>
                <a:gd name="T63" fmla="*/ 22 h 125"/>
                <a:gd name="T64" fmla="*/ 19 w 125"/>
                <a:gd name="T65" fmla="*/ 33 h 125"/>
                <a:gd name="T66" fmla="*/ 10 w 125"/>
                <a:gd name="T67" fmla="*/ 28 h 125"/>
                <a:gd name="T68" fmla="*/ 5 w 125"/>
                <a:gd name="T69" fmla="*/ 38 h 125"/>
                <a:gd name="T70" fmla="*/ 13 w 125"/>
                <a:gd name="T71" fmla="*/ 43 h 125"/>
                <a:gd name="T72" fmla="*/ 10 w 125"/>
                <a:gd name="T73" fmla="*/ 56 h 125"/>
                <a:gd name="T74" fmla="*/ 0 w 125"/>
                <a:gd name="T75" fmla="*/ 56 h 125"/>
                <a:gd name="T76" fmla="*/ 0 w 125"/>
                <a:gd name="T77" fmla="*/ 67 h 125"/>
                <a:gd name="T78" fmla="*/ 10 w 125"/>
                <a:gd name="T79" fmla="*/ 67 h 125"/>
                <a:gd name="T80" fmla="*/ 13 w 125"/>
                <a:gd name="T81" fmla="*/ 80 h 125"/>
                <a:gd name="T82" fmla="*/ 4 w 125"/>
                <a:gd name="T83" fmla="*/ 85 h 125"/>
                <a:gd name="T84" fmla="*/ 9 w 125"/>
                <a:gd name="T85" fmla="*/ 95 h 125"/>
                <a:gd name="T86" fmla="*/ 18 w 125"/>
                <a:gd name="T87" fmla="*/ 91 h 125"/>
                <a:gd name="T88" fmla="*/ 27 w 125"/>
                <a:gd name="T89" fmla="*/ 101 h 125"/>
                <a:gd name="T90" fmla="*/ 21 w 125"/>
                <a:gd name="T91" fmla="*/ 109 h 125"/>
                <a:gd name="T92" fmla="*/ 30 w 125"/>
                <a:gd name="T93" fmla="*/ 116 h 125"/>
                <a:gd name="T94" fmla="*/ 36 w 125"/>
                <a:gd name="T95" fmla="*/ 108 h 125"/>
                <a:gd name="T96" fmla="*/ 48 w 125"/>
                <a:gd name="T97" fmla="*/ 113 h 125"/>
                <a:gd name="T98" fmla="*/ 47 w 125"/>
                <a:gd name="T99" fmla="*/ 123 h 125"/>
                <a:gd name="T100" fmla="*/ 58 w 125"/>
                <a:gd name="T101" fmla="*/ 125 h 125"/>
                <a:gd name="T102" fmla="*/ 60 w 125"/>
                <a:gd name="T103" fmla="*/ 115 h 125"/>
                <a:gd name="T104" fmla="*/ 65 w 125"/>
                <a:gd name="T105" fmla="*/ 115 h 125"/>
                <a:gd name="T106" fmla="*/ 73 w 125"/>
                <a:gd name="T107" fmla="*/ 114 h 125"/>
                <a:gd name="T108" fmla="*/ 76 w 125"/>
                <a:gd name="T109" fmla="*/ 123 h 125"/>
                <a:gd name="T110" fmla="*/ 63 w 125"/>
                <a:gd name="T111" fmla="*/ 71 h 125"/>
                <a:gd name="T112" fmla="*/ 53 w 125"/>
                <a:gd name="T113" fmla="*/ 63 h 125"/>
                <a:gd name="T114" fmla="*/ 62 w 125"/>
                <a:gd name="T115" fmla="*/ 53 h 125"/>
                <a:gd name="T116" fmla="*/ 71 w 125"/>
                <a:gd name="T117" fmla="*/ 62 h 125"/>
                <a:gd name="T118" fmla="*/ 63 w 125"/>
                <a:gd name="T119" fmla="*/ 7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25">
                  <a:moveTo>
                    <a:pt x="76" y="123"/>
                  </a:moveTo>
                  <a:cubicBezTo>
                    <a:pt x="87" y="120"/>
                    <a:pt x="87" y="120"/>
                    <a:pt x="87" y="120"/>
                  </a:cubicBezTo>
                  <a:cubicBezTo>
                    <a:pt x="84" y="110"/>
                    <a:pt x="84" y="110"/>
                    <a:pt x="84" y="110"/>
                  </a:cubicBezTo>
                  <a:cubicBezTo>
                    <a:pt x="88" y="108"/>
                    <a:pt x="92" y="106"/>
                    <a:pt x="96" y="103"/>
                  </a:cubicBezTo>
                  <a:cubicBezTo>
                    <a:pt x="103" y="110"/>
                    <a:pt x="103" y="110"/>
                    <a:pt x="103" y="110"/>
                  </a:cubicBezTo>
                  <a:cubicBezTo>
                    <a:pt x="111" y="102"/>
                    <a:pt x="111" y="102"/>
                    <a:pt x="111" y="102"/>
                  </a:cubicBezTo>
                  <a:cubicBezTo>
                    <a:pt x="103" y="95"/>
                    <a:pt x="103" y="95"/>
                    <a:pt x="103" y="95"/>
                  </a:cubicBezTo>
                  <a:cubicBezTo>
                    <a:pt x="106" y="91"/>
                    <a:pt x="109" y="87"/>
                    <a:pt x="111" y="83"/>
                  </a:cubicBezTo>
                  <a:cubicBezTo>
                    <a:pt x="120" y="86"/>
                    <a:pt x="120" y="86"/>
                    <a:pt x="120" y="86"/>
                  </a:cubicBezTo>
                  <a:cubicBezTo>
                    <a:pt x="123" y="75"/>
                    <a:pt x="123" y="75"/>
                    <a:pt x="123" y="75"/>
                  </a:cubicBezTo>
                  <a:cubicBezTo>
                    <a:pt x="114" y="72"/>
                    <a:pt x="114" y="72"/>
                    <a:pt x="114" y="72"/>
                  </a:cubicBezTo>
                  <a:cubicBezTo>
                    <a:pt x="115" y="68"/>
                    <a:pt x="115" y="64"/>
                    <a:pt x="115" y="60"/>
                  </a:cubicBezTo>
                  <a:cubicBezTo>
                    <a:pt x="115" y="59"/>
                    <a:pt x="115" y="59"/>
                    <a:pt x="115" y="59"/>
                  </a:cubicBezTo>
                  <a:cubicBezTo>
                    <a:pt x="125" y="57"/>
                    <a:pt x="125" y="57"/>
                    <a:pt x="125" y="57"/>
                  </a:cubicBezTo>
                  <a:cubicBezTo>
                    <a:pt x="122" y="46"/>
                    <a:pt x="122" y="46"/>
                    <a:pt x="122" y="46"/>
                  </a:cubicBezTo>
                  <a:cubicBezTo>
                    <a:pt x="113" y="48"/>
                    <a:pt x="113" y="48"/>
                    <a:pt x="113" y="48"/>
                  </a:cubicBezTo>
                  <a:cubicBezTo>
                    <a:pt x="112" y="43"/>
                    <a:pt x="110" y="39"/>
                    <a:pt x="107" y="35"/>
                  </a:cubicBezTo>
                  <a:cubicBezTo>
                    <a:pt x="115" y="29"/>
                    <a:pt x="115" y="29"/>
                    <a:pt x="115" y="29"/>
                  </a:cubicBezTo>
                  <a:cubicBezTo>
                    <a:pt x="108" y="20"/>
                    <a:pt x="108" y="20"/>
                    <a:pt x="108" y="20"/>
                  </a:cubicBezTo>
                  <a:cubicBezTo>
                    <a:pt x="101" y="26"/>
                    <a:pt x="101" y="26"/>
                    <a:pt x="101" y="26"/>
                  </a:cubicBezTo>
                  <a:cubicBezTo>
                    <a:pt x="97" y="23"/>
                    <a:pt x="94" y="20"/>
                    <a:pt x="90" y="17"/>
                  </a:cubicBezTo>
                  <a:cubicBezTo>
                    <a:pt x="94" y="8"/>
                    <a:pt x="94" y="8"/>
                    <a:pt x="94" y="8"/>
                  </a:cubicBezTo>
                  <a:cubicBezTo>
                    <a:pt x="84" y="4"/>
                    <a:pt x="84" y="4"/>
                    <a:pt x="84" y="4"/>
                  </a:cubicBezTo>
                  <a:cubicBezTo>
                    <a:pt x="80" y="12"/>
                    <a:pt x="80" y="12"/>
                    <a:pt x="80" y="12"/>
                  </a:cubicBezTo>
                  <a:cubicBezTo>
                    <a:pt x="75" y="11"/>
                    <a:pt x="71" y="10"/>
                    <a:pt x="66" y="10"/>
                  </a:cubicBezTo>
                  <a:cubicBezTo>
                    <a:pt x="66" y="0"/>
                    <a:pt x="66" y="0"/>
                    <a:pt x="66" y="0"/>
                  </a:cubicBezTo>
                  <a:cubicBezTo>
                    <a:pt x="54" y="0"/>
                    <a:pt x="54" y="0"/>
                    <a:pt x="54" y="0"/>
                  </a:cubicBezTo>
                  <a:cubicBezTo>
                    <a:pt x="55" y="10"/>
                    <a:pt x="55" y="10"/>
                    <a:pt x="55" y="10"/>
                  </a:cubicBezTo>
                  <a:cubicBezTo>
                    <a:pt x="49" y="11"/>
                    <a:pt x="43" y="13"/>
                    <a:pt x="37" y="16"/>
                  </a:cubicBezTo>
                  <a:cubicBezTo>
                    <a:pt x="31" y="8"/>
                    <a:pt x="31" y="8"/>
                    <a:pt x="31" y="8"/>
                  </a:cubicBezTo>
                  <a:cubicBezTo>
                    <a:pt x="22" y="14"/>
                    <a:pt x="22" y="14"/>
                    <a:pt x="22" y="14"/>
                  </a:cubicBezTo>
                  <a:cubicBezTo>
                    <a:pt x="28" y="22"/>
                    <a:pt x="28" y="22"/>
                    <a:pt x="28" y="22"/>
                  </a:cubicBezTo>
                  <a:cubicBezTo>
                    <a:pt x="24" y="25"/>
                    <a:pt x="21" y="29"/>
                    <a:pt x="19" y="33"/>
                  </a:cubicBezTo>
                  <a:cubicBezTo>
                    <a:pt x="10" y="28"/>
                    <a:pt x="10" y="28"/>
                    <a:pt x="10" y="28"/>
                  </a:cubicBezTo>
                  <a:cubicBezTo>
                    <a:pt x="5" y="38"/>
                    <a:pt x="5" y="38"/>
                    <a:pt x="5" y="38"/>
                  </a:cubicBezTo>
                  <a:cubicBezTo>
                    <a:pt x="13" y="43"/>
                    <a:pt x="13" y="43"/>
                    <a:pt x="13" y="43"/>
                  </a:cubicBezTo>
                  <a:cubicBezTo>
                    <a:pt x="12" y="47"/>
                    <a:pt x="11" y="51"/>
                    <a:pt x="10" y="56"/>
                  </a:cubicBezTo>
                  <a:cubicBezTo>
                    <a:pt x="0" y="56"/>
                    <a:pt x="0" y="56"/>
                    <a:pt x="0" y="56"/>
                  </a:cubicBezTo>
                  <a:cubicBezTo>
                    <a:pt x="0" y="67"/>
                    <a:pt x="0" y="67"/>
                    <a:pt x="0" y="67"/>
                  </a:cubicBezTo>
                  <a:cubicBezTo>
                    <a:pt x="10" y="67"/>
                    <a:pt x="10" y="67"/>
                    <a:pt x="10" y="67"/>
                  </a:cubicBezTo>
                  <a:cubicBezTo>
                    <a:pt x="10" y="72"/>
                    <a:pt x="11" y="76"/>
                    <a:pt x="13" y="80"/>
                  </a:cubicBezTo>
                  <a:cubicBezTo>
                    <a:pt x="4" y="85"/>
                    <a:pt x="4" y="85"/>
                    <a:pt x="4" y="85"/>
                  </a:cubicBezTo>
                  <a:cubicBezTo>
                    <a:pt x="9" y="95"/>
                    <a:pt x="9" y="95"/>
                    <a:pt x="9" y="95"/>
                  </a:cubicBezTo>
                  <a:cubicBezTo>
                    <a:pt x="18" y="91"/>
                    <a:pt x="18" y="91"/>
                    <a:pt x="18" y="91"/>
                  </a:cubicBezTo>
                  <a:cubicBezTo>
                    <a:pt x="20" y="94"/>
                    <a:pt x="23" y="98"/>
                    <a:pt x="27" y="101"/>
                  </a:cubicBezTo>
                  <a:cubicBezTo>
                    <a:pt x="21" y="109"/>
                    <a:pt x="21" y="109"/>
                    <a:pt x="21" y="109"/>
                  </a:cubicBezTo>
                  <a:cubicBezTo>
                    <a:pt x="30" y="116"/>
                    <a:pt x="30" y="116"/>
                    <a:pt x="30" y="116"/>
                  </a:cubicBezTo>
                  <a:cubicBezTo>
                    <a:pt x="36" y="108"/>
                    <a:pt x="36" y="108"/>
                    <a:pt x="36" y="108"/>
                  </a:cubicBezTo>
                  <a:cubicBezTo>
                    <a:pt x="40" y="110"/>
                    <a:pt x="44" y="112"/>
                    <a:pt x="48" y="113"/>
                  </a:cubicBezTo>
                  <a:cubicBezTo>
                    <a:pt x="47" y="123"/>
                    <a:pt x="47" y="123"/>
                    <a:pt x="47" y="123"/>
                  </a:cubicBezTo>
                  <a:cubicBezTo>
                    <a:pt x="58" y="125"/>
                    <a:pt x="58" y="125"/>
                    <a:pt x="58" y="125"/>
                  </a:cubicBezTo>
                  <a:cubicBezTo>
                    <a:pt x="60" y="115"/>
                    <a:pt x="60" y="115"/>
                    <a:pt x="60" y="115"/>
                  </a:cubicBezTo>
                  <a:cubicBezTo>
                    <a:pt x="61" y="115"/>
                    <a:pt x="63" y="115"/>
                    <a:pt x="65" y="115"/>
                  </a:cubicBezTo>
                  <a:cubicBezTo>
                    <a:pt x="68" y="115"/>
                    <a:pt x="70" y="114"/>
                    <a:pt x="73" y="114"/>
                  </a:cubicBezTo>
                  <a:lnTo>
                    <a:pt x="76" y="123"/>
                  </a:lnTo>
                  <a:close/>
                  <a:moveTo>
                    <a:pt x="63" y="71"/>
                  </a:moveTo>
                  <a:cubicBezTo>
                    <a:pt x="58" y="72"/>
                    <a:pt x="53" y="68"/>
                    <a:pt x="53" y="63"/>
                  </a:cubicBezTo>
                  <a:cubicBezTo>
                    <a:pt x="53" y="58"/>
                    <a:pt x="57" y="53"/>
                    <a:pt x="62" y="53"/>
                  </a:cubicBezTo>
                  <a:cubicBezTo>
                    <a:pt x="67" y="53"/>
                    <a:pt x="71" y="57"/>
                    <a:pt x="71" y="62"/>
                  </a:cubicBezTo>
                  <a:cubicBezTo>
                    <a:pt x="72" y="67"/>
                    <a:pt x="68" y="71"/>
                    <a:pt x="63" y="71"/>
                  </a:cubicBez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dirty="0"/>
            </a:p>
          </p:txBody>
        </p:sp>
        <p:sp>
          <p:nvSpPr>
            <p:cNvPr id="27" name="Freeform 9"/>
            <p:cNvSpPr>
              <a:spLocks noEditPoints="1"/>
            </p:cNvSpPr>
            <p:nvPr/>
          </p:nvSpPr>
          <p:spPr bwMode="auto">
            <a:xfrm>
              <a:off x="6719999" y="2389362"/>
              <a:ext cx="1255594" cy="1256622"/>
            </a:xfrm>
            <a:custGeom>
              <a:avLst/>
              <a:gdLst>
                <a:gd name="T0" fmla="*/ 76 w 125"/>
                <a:gd name="T1" fmla="*/ 123 h 125"/>
                <a:gd name="T2" fmla="*/ 87 w 125"/>
                <a:gd name="T3" fmla="*/ 120 h 125"/>
                <a:gd name="T4" fmla="*/ 84 w 125"/>
                <a:gd name="T5" fmla="*/ 110 h 125"/>
                <a:gd name="T6" fmla="*/ 96 w 125"/>
                <a:gd name="T7" fmla="*/ 103 h 125"/>
                <a:gd name="T8" fmla="*/ 103 w 125"/>
                <a:gd name="T9" fmla="*/ 110 h 125"/>
                <a:gd name="T10" fmla="*/ 111 w 125"/>
                <a:gd name="T11" fmla="*/ 102 h 125"/>
                <a:gd name="T12" fmla="*/ 103 w 125"/>
                <a:gd name="T13" fmla="*/ 95 h 125"/>
                <a:gd name="T14" fmla="*/ 111 w 125"/>
                <a:gd name="T15" fmla="*/ 83 h 125"/>
                <a:gd name="T16" fmla="*/ 120 w 125"/>
                <a:gd name="T17" fmla="*/ 86 h 125"/>
                <a:gd name="T18" fmla="*/ 123 w 125"/>
                <a:gd name="T19" fmla="*/ 75 h 125"/>
                <a:gd name="T20" fmla="*/ 114 w 125"/>
                <a:gd name="T21" fmla="*/ 72 h 125"/>
                <a:gd name="T22" fmla="*/ 115 w 125"/>
                <a:gd name="T23" fmla="*/ 60 h 125"/>
                <a:gd name="T24" fmla="*/ 115 w 125"/>
                <a:gd name="T25" fmla="*/ 59 h 125"/>
                <a:gd name="T26" fmla="*/ 125 w 125"/>
                <a:gd name="T27" fmla="*/ 57 h 125"/>
                <a:gd name="T28" fmla="*/ 122 w 125"/>
                <a:gd name="T29" fmla="*/ 46 h 125"/>
                <a:gd name="T30" fmla="*/ 113 w 125"/>
                <a:gd name="T31" fmla="*/ 48 h 125"/>
                <a:gd name="T32" fmla="*/ 107 w 125"/>
                <a:gd name="T33" fmla="*/ 35 h 125"/>
                <a:gd name="T34" fmla="*/ 115 w 125"/>
                <a:gd name="T35" fmla="*/ 29 h 125"/>
                <a:gd name="T36" fmla="*/ 108 w 125"/>
                <a:gd name="T37" fmla="*/ 20 h 125"/>
                <a:gd name="T38" fmla="*/ 101 w 125"/>
                <a:gd name="T39" fmla="*/ 26 h 125"/>
                <a:gd name="T40" fmla="*/ 90 w 125"/>
                <a:gd name="T41" fmla="*/ 17 h 125"/>
                <a:gd name="T42" fmla="*/ 94 w 125"/>
                <a:gd name="T43" fmla="*/ 8 h 125"/>
                <a:gd name="T44" fmla="*/ 84 w 125"/>
                <a:gd name="T45" fmla="*/ 4 h 125"/>
                <a:gd name="T46" fmla="*/ 80 w 125"/>
                <a:gd name="T47" fmla="*/ 12 h 125"/>
                <a:gd name="T48" fmla="*/ 66 w 125"/>
                <a:gd name="T49" fmla="*/ 10 h 125"/>
                <a:gd name="T50" fmla="*/ 66 w 125"/>
                <a:gd name="T51" fmla="*/ 0 h 125"/>
                <a:gd name="T52" fmla="*/ 54 w 125"/>
                <a:gd name="T53" fmla="*/ 0 h 125"/>
                <a:gd name="T54" fmla="*/ 55 w 125"/>
                <a:gd name="T55" fmla="*/ 10 h 125"/>
                <a:gd name="T56" fmla="*/ 37 w 125"/>
                <a:gd name="T57" fmla="*/ 16 h 125"/>
                <a:gd name="T58" fmla="*/ 31 w 125"/>
                <a:gd name="T59" fmla="*/ 8 h 125"/>
                <a:gd name="T60" fmla="*/ 22 w 125"/>
                <a:gd name="T61" fmla="*/ 14 h 125"/>
                <a:gd name="T62" fmla="*/ 28 w 125"/>
                <a:gd name="T63" fmla="*/ 22 h 125"/>
                <a:gd name="T64" fmla="*/ 19 w 125"/>
                <a:gd name="T65" fmla="*/ 33 h 125"/>
                <a:gd name="T66" fmla="*/ 10 w 125"/>
                <a:gd name="T67" fmla="*/ 28 h 125"/>
                <a:gd name="T68" fmla="*/ 5 w 125"/>
                <a:gd name="T69" fmla="*/ 38 h 125"/>
                <a:gd name="T70" fmla="*/ 13 w 125"/>
                <a:gd name="T71" fmla="*/ 43 h 125"/>
                <a:gd name="T72" fmla="*/ 10 w 125"/>
                <a:gd name="T73" fmla="*/ 56 h 125"/>
                <a:gd name="T74" fmla="*/ 0 w 125"/>
                <a:gd name="T75" fmla="*/ 56 h 125"/>
                <a:gd name="T76" fmla="*/ 0 w 125"/>
                <a:gd name="T77" fmla="*/ 67 h 125"/>
                <a:gd name="T78" fmla="*/ 10 w 125"/>
                <a:gd name="T79" fmla="*/ 67 h 125"/>
                <a:gd name="T80" fmla="*/ 13 w 125"/>
                <a:gd name="T81" fmla="*/ 80 h 125"/>
                <a:gd name="T82" fmla="*/ 4 w 125"/>
                <a:gd name="T83" fmla="*/ 85 h 125"/>
                <a:gd name="T84" fmla="*/ 9 w 125"/>
                <a:gd name="T85" fmla="*/ 95 h 125"/>
                <a:gd name="T86" fmla="*/ 18 w 125"/>
                <a:gd name="T87" fmla="*/ 91 h 125"/>
                <a:gd name="T88" fmla="*/ 27 w 125"/>
                <a:gd name="T89" fmla="*/ 101 h 125"/>
                <a:gd name="T90" fmla="*/ 21 w 125"/>
                <a:gd name="T91" fmla="*/ 109 h 125"/>
                <a:gd name="T92" fmla="*/ 30 w 125"/>
                <a:gd name="T93" fmla="*/ 116 h 125"/>
                <a:gd name="T94" fmla="*/ 36 w 125"/>
                <a:gd name="T95" fmla="*/ 108 h 125"/>
                <a:gd name="T96" fmla="*/ 48 w 125"/>
                <a:gd name="T97" fmla="*/ 113 h 125"/>
                <a:gd name="T98" fmla="*/ 47 w 125"/>
                <a:gd name="T99" fmla="*/ 123 h 125"/>
                <a:gd name="T100" fmla="*/ 58 w 125"/>
                <a:gd name="T101" fmla="*/ 125 h 125"/>
                <a:gd name="T102" fmla="*/ 60 w 125"/>
                <a:gd name="T103" fmla="*/ 115 h 125"/>
                <a:gd name="T104" fmla="*/ 65 w 125"/>
                <a:gd name="T105" fmla="*/ 115 h 125"/>
                <a:gd name="T106" fmla="*/ 73 w 125"/>
                <a:gd name="T107" fmla="*/ 114 h 125"/>
                <a:gd name="T108" fmla="*/ 76 w 125"/>
                <a:gd name="T109" fmla="*/ 123 h 125"/>
                <a:gd name="T110" fmla="*/ 63 w 125"/>
                <a:gd name="T111" fmla="*/ 71 h 125"/>
                <a:gd name="T112" fmla="*/ 53 w 125"/>
                <a:gd name="T113" fmla="*/ 63 h 125"/>
                <a:gd name="T114" fmla="*/ 62 w 125"/>
                <a:gd name="T115" fmla="*/ 53 h 125"/>
                <a:gd name="T116" fmla="*/ 71 w 125"/>
                <a:gd name="T117" fmla="*/ 62 h 125"/>
                <a:gd name="T118" fmla="*/ 63 w 125"/>
                <a:gd name="T119" fmla="*/ 7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25">
                  <a:moveTo>
                    <a:pt x="76" y="123"/>
                  </a:moveTo>
                  <a:cubicBezTo>
                    <a:pt x="87" y="120"/>
                    <a:pt x="87" y="120"/>
                    <a:pt x="87" y="120"/>
                  </a:cubicBezTo>
                  <a:cubicBezTo>
                    <a:pt x="84" y="110"/>
                    <a:pt x="84" y="110"/>
                    <a:pt x="84" y="110"/>
                  </a:cubicBezTo>
                  <a:cubicBezTo>
                    <a:pt x="88" y="108"/>
                    <a:pt x="92" y="106"/>
                    <a:pt x="96" y="103"/>
                  </a:cubicBezTo>
                  <a:cubicBezTo>
                    <a:pt x="103" y="110"/>
                    <a:pt x="103" y="110"/>
                    <a:pt x="103" y="110"/>
                  </a:cubicBezTo>
                  <a:cubicBezTo>
                    <a:pt x="111" y="102"/>
                    <a:pt x="111" y="102"/>
                    <a:pt x="111" y="102"/>
                  </a:cubicBezTo>
                  <a:cubicBezTo>
                    <a:pt x="103" y="95"/>
                    <a:pt x="103" y="95"/>
                    <a:pt x="103" y="95"/>
                  </a:cubicBezTo>
                  <a:cubicBezTo>
                    <a:pt x="106" y="91"/>
                    <a:pt x="109" y="87"/>
                    <a:pt x="111" y="83"/>
                  </a:cubicBezTo>
                  <a:cubicBezTo>
                    <a:pt x="120" y="86"/>
                    <a:pt x="120" y="86"/>
                    <a:pt x="120" y="86"/>
                  </a:cubicBezTo>
                  <a:cubicBezTo>
                    <a:pt x="123" y="75"/>
                    <a:pt x="123" y="75"/>
                    <a:pt x="123" y="75"/>
                  </a:cubicBezTo>
                  <a:cubicBezTo>
                    <a:pt x="114" y="72"/>
                    <a:pt x="114" y="72"/>
                    <a:pt x="114" y="72"/>
                  </a:cubicBezTo>
                  <a:cubicBezTo>
                    <a:pt x="115" y="68"/>
                    <a:pt x="115" y="64"/>
                    <a:pt x="115" y="60"/>
                  </a:cubicBezTo>
                  <a:cubicBezTo>
                    <a:pt x="115" y="59"/>
                    <a:pt x="115" y="59"/>
                    <a:pt x="115" y="59"/>
                  </a:cubicBezTo>
                  <a:cubicBezTo>
                    <a:pt x="125" y="57"/>
                    <a:pt x="125" y="57"/>
                    <a:pt x="125" y="57"/>
                  </a:cubicBezTo>
                  <a:cubicBezTo>
                    <a:pt x="122" y="46"/>
                    <a:pt x="122" y="46"/>
                    <a:pt x="122" y="46"/>
                  </a:cubicBezTo>
                  <a:cubicBezTo>
                    <a:pt x="113" y="48"/>
                    <a:pt x="113" y="48"/>
                    <a:pt x="113" y="48"/>
                  </a:cubicBezTo>
                  <a:cubicBezTo>
                    <a:pt x="112" y="43"/>
                    <a:pt x="110" y="39"/>
                    <a:pt x="107" y="35"/>
                  </a:cubicBezTo>
                  <a:cubicBezTo>
                    <a:pt x="115" y="29"/>
                    <a:pt x="115" y="29"/>
                    <a:pt x="115" y="29"/>
                  </a:cubicBezTo>
                  <a:cubicBezTo>
                    <a:pt x="108" y="20"/>
                    <a:pt x="108" y="20"/>
                    <a:pt x="108" y="20"/>
                  </a:cubicBezTo>
                  <a:cubicBezTo>
                    <a:pt x="101" y="26"/>
                    <a:pt x="101" y="26"/>
                    <a:pt x="101" y="26"/>
                  </a:cubicBezTo>
                  <a:cubicBezTo>
                    <a:pt x="97" y="23"/>
                    <a:pt x="94" y="20"/>
                    <a:pt x="90" y="17"/>
                  </a:cubicBezTo>
                  <a:cubicBezTo>
                    <a:pt x="94" y="8"/>
                    <a:pt x="94" y="8"/>
                    <a:pt x="94" y="8"/>
                  </a:cubicBezTo>
                  <a:cubicBezTo>
                    <a:pt x="84" y="4"/>
                    <a:pt x="84" y="4"/>
                    <a:pt x="84" y="4"/>
                  </a:cubicBezTo>
                  <a:cubicBezTo>
                    <a:pt x="80" y="12"/>
                    <a:pt x="80" y="12"/>
                    <a:pt x="80" y="12"/>
                  </a:cubicBezTo>
                  <a:cubicBezTo>
                    <a:pt x="75" y="11"/>
                    <a:pt x="71" y="10"/>
                    <a:pt x="66" y="10"/>
                  </a:cubicBezTo>
                  <a:cubicBezTo>
                    <a:pt x="66" y="0"/>
                    <a:pt x="66" y="0"/>
                    <a:pt x="66" y="0"/>
                  </a:cubicBezTo>
                  <a:cubicBezTo>
                    <a:pt x="54" y="0"/>
                    <a:pt x="54" y="0"/>
                    <a:pt x="54" y="0"/>
                  </a:cubicBezTo>
                  <a:cubicBezTo>
                    <a:pt x="55" y="10"/>
                    <a:pt x="55" y="10"/>
                    <a:pt x="55" y="10"/>
                  </a:cubicBezTo>
                  <a:cubicBezTo>
                    <a:pt x="49" y="11"/>
                    <a:pt x="43" y="13"/>
                    <a:pt x="37" y="16"/>
                  </a:cubicBezTo>
                  <a:cubicBezTo>
                    <a:pt x="31" y="8"/>
                    <a:pt x="31" y="8"/>
                    <a:pt x="31" y="8"/>
                  </a:cubicBezTo>
                  <a:cubicBezTo>
                    <a:pt x="22" y="14"/>
                    <a:pt x="22" y="14"/>
                    <a:pt x="22" y="14"/>
                  </a:cubicBezTo>
                  <a:cubicBezTo>
                    <a:pt x="28" y="22"/>
                    <a:pt x="28" y="22"/>
                    <a:pt x="28" y="22"/>
                  </a:cubicBezTo>
                  <a:cubicBezTo>
                    <a:pt x="24" y="25"/>
                    <a:pt x="21" y="29"/>
                    <a:pt x="19" y="33"/>
                  </a:cubicBezTo>
                  <a:cubicBezTo>
                    <a:pt x="10" y="28"/>
                    <a:pt x="10" y="28"/>
                    <a:pt x="10" y="28"/>
                  </a:cubicBezTo>
                  <a:cubicBezTo>
                    <a:pt x="5" y="38"/>
                    <a:pt x="5" y="38"/>
                    <a:pt x="5" y="38"/>
                  </a:cubicBezTo>
                  <a:cubicBezTo>
                    <a:pt x="13" y="43"/>
                    <a:pt x="13" y="43"/>
                    <a:pt x="13" y="43"/>
                  </a:cubicBezTo>
                  <a:cubicBezTo>
                    <a:pt x="12" y="47"/>
                    <a:pt x="11" y="51"/>
                    <a:pt x="10" y="56"/>
                  </a:cubicBezTo>
                  <a:cubicBezTo>
                    <a:pt x="0" y="56"/>
                    <a:pt x="0" y="56"/>
                    <a:pt x="0" y="56"/>
                  </a:cubicBezTo>
                  <a:cubicBezTo>
                    <a:pt x="0" y="67"/>
                    <a:pt x="0" y="67"/>
                    <a:pt x="0" y="67"/>
                  </a:cubicBezTo>
                  <a:cubicBezTo>
                    <a:pt x="10" y="67"/>
                    <a:pt x="10" y="67"/>
                    <a:pt x="10" y="67"/>
                  </a:cubicBezTo>
                  <a:cubicBezTo>
                    <a:pt x="10" y="72"/>
                    <a:pt x="11" y="76"/>
                    <a:pt x="13" y="80"/>
                  </a:cubicBezTo>
                  <a:cubicBezTo>
                    <a:pt x="4" y="85"/>
                    <a:pt x="4" y="85"/>
                    <a:pt x="4" y="85"/>
                  </a:cubicBezTo>
                  <a:cubicBezTo>
                    <a:pt x="9" y="95"/>
                    <a:pt x="9" y="95"/>
                    <a:pt x="9" y="95"/>
                  </a:cubicBezTo>
                  <a:cubicBezTo>
                    <a:pt x="18" y="91"/>
                    <a:pt x="18" y="91"/>
                    <a:pt x="18" y="91"/>
                  </a:cubicBezTo>
                  <a:cubicBezTo>
                    <a:pt x="20" y="94"/>
                    <a:pt x="23" y="98"/>
                    <a:pt x="27" y="101"/>
                  </a:cubicBezTo>
                  <a:cubicBezTo>
                    <a:pt x="21" y="109"/>
                    <a:pt x="21" y="109"/>
                    <a:pt x="21" y="109"/>
                  </a:cubicBezTo>
                  <a:cubicBezTo>
                    <a:pt x="30" y="116"/>
                    <a:pt x="30" y="116"/>
                    <a:pt x="30" y="116"/>
                  </a:cubicBezTo>
                  <a:cubicBezTo>
                    <a:pt x="36" y="108"/>
                    <a:pt x="36" y="108"/>
                    <a:pt x="36" y="108"/>
                  </a:cubicBezTo>
                  <a:cubicBezTo>
                    <a:pt x="40" y="110"/>
                    <a:pt x="44" y="112"/>
                    <a:pt x="48" y="113"/>
                  </a:cubicBezTo>
                  <a:cubicBezTo>
                    <a:pt x="47" y="123"/>
                    <a:pt x="47" y="123"/>
                    <a:pt x="47" y="123"/>
                  </a:cubicBezTo>
                  <a:cubicBezTo>
                    <a:pt x="58" y="125"/>
                    <a:pt x="58" y="125"/>
                    <a:pt x="58" y="125"/>
                  </a:cubicBezTo>
                  <a:cubicBezTo>
                    <a:pt x="60" y="115"/>
                    <a:pt x="60" y="115"/>
                    <a:pt x="60" y="115"/>
                  </a:cubicBezTo>
                  <a:cubicBezTo>
                    <a:pt x="61" y="115"/>
                    <a:pt x="63" y="115"/>
                    <a:pt x="65" y="115"/>
                  </a:cubicBezTo>
                  <a:cubicBezTo>
                    <a:pt x="68" y="115"/>
                    <a:pt x="70" y="114"/>
                    <a:pt x="73" y="114"/>
                  </a:cubicBezTo>
                  <a:lnTo>
                    <a:pt x="76" y="123"/>
                  </a:lnTo>
                  <a:close/>
                  <a:moveTo>
                    <a:pt x="63" y="71"/>
                  </a:moveTo>
                  <a:cubicBezTo>
                    <a:pt x="58" y="72"/>
                    <a:pt x="53" y="68"/>
                    <a:pt x="53" y="63"/>
                  </a:cubicBezTo>
                  <a:cubicBezTo>
                    <a:pt x="53" y="58"/>
                    <a:pt x="57" y="53"/>
                    <a:pt x="62" y="53"/>
                  </a:cubicBezTo>
                  <a:cubicBezTo>
                    <a:pt x="67" y="53"/>
                    <a:pt x="71" y="57"/>
                    <a:pt x="71" y="62"/>
                  </a:cubicBezTo>
                  <a:cubicBezTo>
                    <a:pt x="72" y="67"/>
                    <a:pt x="68" y="71"/>
                    <a:pt x="63" y="71"/>
                  </a:cubicBez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dirty="0"/>
            </a:p>
          </p:txBody>
        </p:sp>
        <p:sp>
          <p:nvSpPr>
            <p:cNvPr id="28" name="Freeform 9"/>
            <p:cNvSpPr>
              <a:spLocks noEditPoints="1"/>
            </p:cNvSpPr>
            <p:nvPr/>
          </p:nvSpPr>
          <p:spPr bwMode="auto">
            <a:xfrm>
              <a:off x="6750335" y="4375395"/>
              <a:ext cx="1255594" cy="1256622"/>
            </a:xfrm>
            <a:custGeom>
              <a:avLst/>
              <a:gdLst>
                <a:gd name="T0" fmla="*/ 76 w 125"/>
                <a:gd name="T1" fmla="*/ 123 h 125"/>
                <a:gd name="T2" fmla="*/ 87 w 125"/>
                <a:gd name="T3" fmla="*/ 120 h 125"/>
                <a:gd name="T4" fmla="*/ 84 w 125"/>
                <a:gd name="T5" fmla="*/ 110 h 125"/>
                <a:gd name="T6" fmla="*/ 96 w 125"/>
                <a:gd name="T7" fmla="*/ 103 h 125"/>
                <a:gd name="T8" fmla="*/ 103 w 125"/>
                <a:gd name="T9" fmla="*/ 110 h 125"/>
                <a:gd name="T10" fmla="*/ 111 w 125"/>
                <a:gd name="T11" fmla="*/ 102 h 125"/>
                <a:gd name="T12" fmla="*/ 103 w 125"/>
                <a:gd name="T13" fmla="*/ 95 h 125"/>
                <a:gd name="T14" fmla="*/ 111 w 125"/>
                <a:gd name="T15" fmla="*/ 83 h 125"/>
                <a:gd name="T16" fmla="*/ 120 w 125"/>
                <a:gd name="T17" fmla="*/ 86 h 125"/>
                <a:gd name="T18" fmla="*/ 123 w 125"/>
                <a:gd name="T19" fmla="*/ 75 h 125"/>
                <a:gd name="T20" fmla="*/ 114 w 125"/>
                <a:gd name="T21" fmla="*/ 72 h 125"/>
                <a:gd name="T22" fmla="*/ 115 w 125"/>
                <a:gd name="T23" fmla="*/ 60 h 125"/>
                <a:gd name="T24" fmla="*/ 115 w 125"/>
                <a:gd name="T25" fmla="*/ 59 h 125"/>
                <a:gd name="T26" fmla="*/ 125 w 125"/>
                <a:gd name="T27" fmla="*/ 57 h 125"/>
                <a:gd name="T28" fmla="*/ 122 w 125"/>
                <a:gd name="T29" fmla="*/ 46 h 125"/>
                <a:gd name="T30" fmla="*/ 113 w 125"/>
                <a:gd name="T31" fmla="*/ 48 h 125"/>
                <a:gd name="T32" fmla="*/ 107 w 125"/>
                <a:gd name="T33" fmla="*/ 35 h 125"/>
                <a:gd name="T34" fmla="*/ 115 w 125"/>
                <a:gd name="T35" fmla="*/ 29 h 125"/>
                <a:gd name="T36" fmla="*/ 108 w 125"/>
                <a:gd name="T37" fmla="*/ 20 h 125"/>
                <a:gd name="T38" fmla="*/ 101 w 125"/>
                <a:gd name="T39" fmla="*/ 26 h 125"/>
                <a:gd name="T40" fmla="*/ 90 w 125"/>
                <a:gd name="T41" fmla="*/ 17 h 125"/>
                <a:gd name="T42" fmla="*/ 94 w 125"/>
                <a:gd name="T43" fmla="*/ 8 h 125"/>
                <a:gd name="T44" fmla="*/ 84 w 125"/>
                <a:gd name="T45" fmla="*/ 4 h 125"/>
                <a:gd name="T46" fmla="*/ 80 w 125"/>
                <a:gd name="T47" fmla="*/ 12 h 125"/>
                <a:gd name="T48" fmla="*/ 66 w 125"/>
                <a:gd name="T49" fmla="*/ 10 h 125"/>
                <a:gd name="T50" fmla="*/ 66 w 125"/>
                <a:gd name="T51" fmla="*/ 0 h 125"/>
                <a:gd name="T52" fmla="*/ 54 w 125"/>
                <a:gd name="T53" fmla="*/ 0 h 125"/>
                <a:gd name="T54" fmla="*/ 55 w 125"/>
                <a:gd name="T55" fmla="*/ 10 h 125"/>
                <a:gd name="T56" fmla="*/ 37 w 125"/>
                <a:gd name="T57" fmla="*/ 16 h 125"/>
                <a:gd name="T58" fmla="*/ 31 w 125"/>
                <a:gd name="T59" fmla="*/ 8 h 125"/>
                <a:gd name="T60" fmla="*/ 22 w 125"/>
                <a:gd name="T61" fmla="*/ 14 h 125"/>
                <a:gd name="T62" fmla="*/ 28 w 125"/>
                <a:gd name="T63" fmla="*/ 22 h 125"/>
                <a:gd name="T64" fmla="*/ 19 w 125"/>
                <a:gd name="T65" fmla="*/ 33 h 125"/>
                <a:gd name="T66" fmla="*/ 10 w 125"/>
                <a:gd name="T67" fmla="*/ 28 h 125"/>
                <a:gd name="T68" fmla="*/ 5 w 125"/>
                <a:gd name="T69" fmla="*/ 38 h 125"/>
                <a:gd name="T70" fmla="*/ 13 w 125"/>
                <a:gd name="T71" fmla="*/ 43 h 125"/>
                <a:gd name="T72" fmla="*/ 10 w 125"/>
                <a:gd name="T73" fmla="*/ 56 h 125"/>
                <a:gd name="T74" fmla="*/ 0 w 125"/>
                <a:gd name="T75" fmla="*/ 56 h 125"/>
                <a:gd name="T76" fmla="*/ 0 w 125"/>
                <a:gd name="T77" fmla="*/ 67 h 125"/>
                <a:gd name="T78" fmla="*/ 10 w 125"/>
                <a:gd name="T79" fmla="*/ 67 h 125"/>
                <a:gd name="T80" fmla="*/ 13 w 125"/>
                <a:gd name="T81" fmla="*/ 80 h 125"/>
                <a:gd name="T82" fmla="*/ 4 w 125"/>
                <a:gd name="T83" fmla="*/ 85 h 125"/>
                <a:gd name="T84" fmla="*/ 9 w 125"/>
                <a:gd name="T85" fmla="*/ 95 h 125"/>
                <a:gd name="T86" fmla="*/ 18 w 125"/>
                <a:gd name="T87" fmla="*/ 91 h 125"/>
                <a:gd name="T88" fmla="*/ 27 w 125"/>
                <a:gd name="T89" fmla="*/ 101 h 125"/>
                <a:gd name="T90" fmla="*/ 21 w 125"/>
                <a:gd name="T91" fmla="*/ 109 h 125"/>
                <a:gd name="T92" fmla="*/ 30 w 125"/>
                <a:gd name="T93" fmla="*/ 116 h 125"/>
                <a:gd name="T94" fmla="*/ 36 w 125"/>
                <a:gd name="T95" fmla="*/ 108 h 125"/>
                <a:gd name="T96" fmla="*/ 48 w 125"/>
                <a:gd name="T97" fmla="*/ 113 h 125"/>
                <a:gd name="T98" fmla="*/ 47 w 125"/>
                <a:gd name="T99" fmla="*/ 123 h 125"/>
                <a:gd name="T100" fmla="*/ 58 w 125"/>
                <a:gd name="T101" fmla="*/ 125 h 125"/>
                <a:gd name="T102" fmla="*/ 60 w 125"/>
                <a:gd name="T103" fmla="*/ 115 h 125"/>
                <a:gd name="T104" fmla="*/ 65 w 125"/>
                <a:gd name="T105" fmla="*/ 115 h 125"/>
                <a:gd name="T106" fmla="*/ 73 w 125"/>
                <a:gd name="T107" fmla="*/ 114 h 125"/>
                <a:gd name="T108" fmla="*/ 76 w 125"/>
                <a:gd name="T109" fmla="*/ 123 h 125"/>
                <a:gd name="T110" fmla="*/ 63 w 125"/>
                <a:gd name="T111" fmla="*/ 71 h 125"/>
                <a:gd name="T112" fmla="*/ 53 w 125"/>
                <a:gd name="T113" fmla="*/ 63 h 125"/>
                <a:gd name="T114" fmla="*/ 62 w 125"/>
                <a:gd name="T115" fmla="*/ 53 h 125"/>
                <a:gd name="T116" fmla="*/ 71 w 125"/>
                <a:gd name="T117" fmla="*/ 62 h 125"/>
                <a:gd name="T118" fmla="*/ 63 w 125"/>
                <a:gd name="T119" fmla="*/ 7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25">
                  <a:moveTo>
                    <a:pt x="76" y="123"/>
                  </a:moveTo>
                  <a:cubicBezTo>
                    <a:pt x="87" y="120"/>
                    <a:pt x="87" y="120"/>
                    <a:pt x="87" y="120"/>
                  </a:cubicBezTo>
                  <a:cubicBezTo>
                    <a:pt x="84" y="110"/>
                    <a:pt x="84" y="110"/>
                    <a:pt x="84" y="110"/>
                  </a:cubicBezTo>
                  <a:cubicBezTo>
                    <a:pt x="88" y="108"/>
                    <a:pt x="92" y="106"/>
                    <a:pt x="96" y="103"/>
                  </a:cubicBezTo>
                  <a:cubicBezTo>
                    <a:pt x="103" y="110"/>
                    <a:pt x="103" y="110"/>
                    <a:pt x="103" y="110"/>
                  </a:cubicBezTo>
                  <a:cubicBezTo>
                    <a:pt x="111" y="102"/>
                    <a:pt x="111" y="102"/>
                    <a:pt x="111" y="102"/>
                  </a:cubicBezTo>
                  <a:cubicBezTo>
                    <a:pt x="103" y="95"/>
                    <a:pt x="103" y="95"/>
                    <a:pt x="103" y="95"/>
                  </a:cubicBezTo>
                  <a:cubicBezTo>
                    <a:pt x="106" y="91"/>
                    <a:pt x="109" y="87"/>
                    <a:pt x="111" y="83"/>
                  </a:cubicBezTo>
                  <a:cubicBezTo>
                    <a:pt x="120" y="86"/>
                    <a:pt x="120" y="86"/>
                    <a:pt x="120" y="86"/>
                  </a:cubicBezTo>
                  <a:cubicBezTo>
                    <a:pt x="123" y="75"/>
                    <a:pt x="123" y="75"/>
                    <a:pt x="123" y="75"/>
                  </a:cubicBezTo>
                  <a:cubicBezTo>
                    <a:pt x="114" y="72"/>
                    <a:pt x="114" y="72"/>
                    <a:pt x="114" y="72"/>
                  </a:cubicBezTo>
                  <a:cubicBezTo>
                    <a:pt x="115" y="68"/>
                    <a:pt x="115" y="64"/>
                    <a:pt x="115" y="60"/>
                  </a:cubicBezTo>
                  <a:cubicBezTo>
                    <a:pt x="115" y="59"/>
                    <a:pt x="115" y="59"/>
                    <a:pt x="115" y="59"/>
                  </a:cubicBezTo>
                  <a:cubicBezTo>
                    <a:pt x="125" y="57"/>
                    <a:pt x="125" y="57"/>
                    <a:pt x="125" y="57"/>
                  </a:cubicBezTo>
                  <a:cubicBezTo>
                    <a:pt x="122" y="46"/>
                    <a:pt x="122" y="46"/>
                    <a:pt x="122" y="46"/>
                  </a:cubicBezTo>
                  <a:cubicBezTo>
                    <a:pt x="113" y="48"/>
                    <a:pt x="113" y="48"/>
                    <a:pt x="113" y="48"/>
                  </a:cubicBezTo>
                  <a:cubicBezTo>
                    <a:pt x="112" y="43"/>
                    <a:pt x="110" y="39"/>
                    <a:pt x="107" y="35"/>
                  </a:cubicBezTo>
                  <a:cubicBezTo>
                    <a:pt x="115" y="29"/>
                    <a:pt x="115" y="29"/>
                    <a:pt x="115" y="29"/>
                  </a:cubicBezTo>
                  <a:cubicBezTo>
                    <a:pt x="108" y="20"/>
                    <a:pt x="108" y="20"/>
                    <a:pt x="108" y="20"/>
                  </a:cubicBezTo>
                  <a:cubicBezTo>
                    <a:pt x="101" y="26"/>
                    <a:pt x="101" y="26"/>
                    <a:pt x="101" y="26"/>
                  </a:cubicBezTo>
                  <a:cubicBezTo>
                    <a:pt x="97" y="23"/>
                    <a:pt x="94" y="20"/>
                    <a:pt x="90" y="17"/>
                  </a:cubicBezTo>
                  <a:cubicBezTo>
                    <a:pt x="94" y="8"/>
                    <a:pt x="94" y="8"/>
                    <a:pt x="94" y="8"/>
                  </a:cubicBezTo>
                  <a:cubicBezTo>
                    <a:pt x="84" y="4"/>
                    <a:pt x="84" y="4"/>
                    <a:pt x="84" y="4"/>
                  </a:cubicBezTo>
                  <a:cubicBezTo>
                    <a:pt x="80" y="12"/>
                    <a:pt x="80" y="12"/>
                    <a:pt x="80" y="12"/>
                  </a:cubicBezTo>
                  <a:cubicBezTo>
                    <a:pt x="75" y="11"/>
                    <a:pt x="71" y="10"/>
                    <a:pt x="66" y="10"/>
                  </a:cubicBezTo>
                  <a:cubicBezTo>
                    <a:pt x="66" y="0"/>
                    <a:pt x="66" y="0"/>
                    <a:pt x="66" y="0"/>
                  </a:cubicBezTo>
                  <a:cubicBezTo>
                    <a:pt x="54" y="0"/>
                    <a:pt x="54" y="0"/>
                    <a:pt x="54" y="0"/>
                  </a:cubicBezTo>
                  <a:cubicBezTo>
                    <a:pt x="55" y="10"/>
                    <a:pt x="55" y="10"/>
                    <a:pt x="55" y="10"/>
                  </a:cubicBezTo>
                  <a:cubicBezTo>
                    <a:pt x="49" y="11"/>
                    <a:pt x="43" y="13"/>
                    <a:pt x="37" y="16"/>
                  </a:cubicBezTo>
                  <a:cubicBezTo>
                    <a:pt x="31" y="8"/>
                    <a:pt x="31" y="8"/>
                    <a:pt x="31" y="8"/>
                  </a:cubicBezTo>
                  <a:cubicBezTo>
                    <a:pt x="22" y="14"/>
                    <a:pt x="22" y="14"/>
                    <a:pt x="22" y="14"/>
                  </a:cubicBezTo>
                  <a:cubicBezTo>
                    <a:pt x="28" y="22"/>
                    <a:pt x="28" y="22"/>
                    <a:pt x="28" y="22"/>
                  </a:cubicBezTo>
                  <a:cubicBezTo>
                    <a:pt x="24" y="25"/>
                    <a:pt x="21" y="29"/>
                    <a:pt x="19" y="33"/>
                  </a:cubicBezTo>
                  <a:cubicBezTo>
                    <a:pt x="10" y="28"/>
                    <a:pt x="10" y="28"/>
                    <a:pt x="10" y="28"/>
                  </a:cubicBezTo>
                  <a:cubicBezTo>
                    <a:pt x="5" y="38"/>
                    <a:pt x="5" y="38"/>
                    <a:pt x="5" y="38"/>
                  </a:cubicBezTo>
                  <a:cubicBezTo>
                    <a:pt x="13" y="43"/>
                    <a:pt x="13" y="43"/>
                    <a:pt x="13" y="43"/>
                  </a:cubicBezTo>
                  <a:cubicBezTo>
                    <a:pt x="12" y="47"/>
                    <a:pt x="11" y="51"/>
                    <a:pt x="10" y="56"/>
                  </a:cubicBezTo>
                  <a:cubicBezTo>
                    <a:pt x="0" y="56"/>
                    <a:pt x="0" y="56"/>
                    <a:pt x="0" y="56"/>
                  </a:cubicBezTo>
                  <a:cubicBezTo>
                    <a:pt x="0" y="67"/>
                    <a:pt x="0" y="67"/>
                    <a:pt x="0" y="67"/>
                  </a:cubicBezTo>
                  <a:cubicBezTo>
                    <a:pt x="10" y="67"/>
                    <a:pt x="10" y="67"/>
                    <a:pt x="10" y="67"/>
                  </a:cubicBezTo>
                  <a:cubicBezTo>
                    <a:pt x="10" y="72"/>
                    <a:pt x="11" y="76"/>
                    <a:pt x="13" y="80"/>
                  </a:cubicBezTo>
                  <a:cubicBezTo>
                    <a:pt x="4" y="85"/>
                    <a:pt x="4" y="85"/>
                    <a:pt x="4" y="85"/>
                  </a:cubicBezTo>
                  <a:cubicBezTo>
                    <a:pt x="9" y="95"/>
                    <a:pt x="9" y="95"/>
                    <a:pt x="9" y="95"/>
                  </a:cubicBezTo>
                  <a:cubicBezTo>
                    <a:pt x="18" y="91"/>
                    <a:pt x="18" y="91"/>
                    <a:pt x="18" y="91"/>
                  </a:cubicBezTo>
                  <a:cubicBezTo>
                    <a:pt x="20" y="94"/>
                    <a:pt x="23" y="98"/>
                    <a:pt x="27" y="101"/>
                  </a:cubicBezTo>
                  <a:cubicBezTo>
                    <a:pt x="21" y="109"/>
                    <a:pt x="21" y="109"/>
                    <a:pt x="21" y="109"/>
                  </a:cubicBezTo>
                  <a:cubicBezTo>
                    <a:pt x="30" y="116"/>
                    <a:pt x="30" y="116"/>
                    <a:pt x="30" y="116"/>
                  </a:cubicBezTo>
                  <a:cubicBezTo>
                    <a:pt x="36" y="108"/>
                    <a:pt x="36" y="108"/>
                    <a:pt x="36" y="108"/>
                  </a:cubicBezTo>
                  <a:cubicBezTo>
                    <a:pt x="40" y="110"/>
                    <a:pt x="44" y="112"/>
                    <a:pt x="48" y="113"/>
                  </a:cubicBezTo>
                  <a:cubicBezTo>
                    <a:pt x="47" y="123"/>
                    <a:pt x="47" y="123"/>
                    <a:pt x="47" y="123"/>
                  </a:cubicBezTo>
                  <a:cubicBezTo>
                    <a:pt x="58" y="125"/>
                    <a:pt x="58" y="125"/>
                    <a:pt x="58" y="125"/>
                  </a:cubicBezTo>
                  <a:cubicBezTo>
                    <a:pt x="60" y="115"/>
                    <a:pt x="60" y="115"/>
                    <a:pt x="60" y="115"/>
                  </a:cubicBezTo>
                  <a:cubicBezTo>
                    <a:pt x="61" y="115"/>
                    <a:pt x="63" y="115"/>
                    <a:pt x="65" y="115"/>
                  </a:cubicBezTo>
                  <a:cubicBezTo>
                    <a:pt x="68" y="115"/>
                    <a:pt x="70" y="114"/>
                    <a:pt x="73" y="114"/>
                  </a:cubicBezTo>
                  <a:lnTo>
                    <a:pt x="76" y="123"/>
                  </a:lnTo>
                  <a:close/>
                  <a:moveTo>
                    <a:pt x="63" y="71"/>
                  </a:moveTo>
                  <a:cubicBezTo>
                    <a:pt x="58" y="72"/>
                    <a:pt x="53" y="68"/>
                    <a:pt x="53" y="63"/>
                  </a:cubicBezTo>
                  <a:cubicBezTo>
                    <a:pt x="53" y="58"/>
                    <a:pt x="57" y="53"/>
                    <a:pt x="62" y="53"/>
                  </a:cubicBezTo>
                  <a:cubicBezTo>
                    <a:pt x="67" y="53"/>
                    <a:pt x="71" y="57"/>
                    <a:pt x="71" y="62"/>
                  </a:cubicBezTo>
                  <a:cubicBezTo>
                    <a:pt x="72" y="67"/>
                    <a:pt x="68" y="71"/>
                    <a:pt x="63" y="71"/>
                  </a:cubicBez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dirty="0"/>
            </a:p>
          </p:txBody>
        </p:sp>
      </p:grpSp>
      <p:grpSp>
        <p:nvGrpSpPr>
          <p:cNvPr id="3" name="Group 2"/>
          <p:cNvGrpSpPr/>
          <p:nvPr/>
        </p:nvGrpSpPr>
        <p:grpSpPr>
          <a:xfrm>
            <a:off x="9603383" y="2199820"/>
            <a:ext cx="2130173" cy="746419"/>
            <a:chOff x="8772776" y="2199820"/>
            <a:chExt cx="2130173" cy="746419"/>
          </a:xfrm>
        </p:grpSpPr>
        <p:sp>
          <p:nvSpPr>
            <p:cNvPr id="34" name="Round Same Side Corner Rectangle 59"/>
            <p:cNvSpPr/>
            <p:nvPr/>
          </p:nvSpPr>
          <p:spPr>
            <a:xfrm>
              <a:off x="8772776" y="2199820"/>
              <a:ext cx="2130173" cy="298159"/>
            </a:xfrm>
            <a:prstGeom prst="round2SameRect">
              <a:avLst>
                <a:gd name="adj1" fmla="val 50000"/>
                <a:gd name="adj2" fmla="val 5000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dirty="0">
                  <a:solidFill>
                    <a:srgbClr val="000000"/>
                  </a:solidFill>
                  <a:cs typeface="Lato Regular"/>
                </a:rPr>
                <a:t>Devotion</a:t>
              </a:r>
            </a:p>
          </p:txBody>
        </p:sp>
        <p:sp>
          <p:nvSpPr>
            <p:cNvPr id="36" name="TextBox 72"/>
            <p:cNvSpPr txBox="1"/>
            <p:nvPr/>
          </p:nvSpPr>
          <p:spPr>
            <a:xfrm>
              <a:off x="8772776" y="2546129"/>
              <a:ext cx="2130173" cy="400110"/>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Please replace with your text content here.</a:t>
              </a:r>
            </a:p>
          </p:txBody>
        </p:sp>
      </p:grpSp>
      <p:grpSp>
        <p:nvGrpSpPr>
          <p:cNvPr id="42" name="Group 41"/>
          <p:cNvGrpSpPr/>
          <p:nvPr/>
        </p:nvGrpSpPr>
        <p:grpSpPr>
          <a:xfrm>
            <a:off x="2387600" y="2199820"/>
            <a:ext cx="2130173" cy="746419"/>
            <a:chOff x="8772776" y="2199820"/>
            <a:chExt cx="2130173" cy="746419"/>
          </a:xfrm>
        </p:grpSpPr>
        <p:sp>
          <p:nvSpPr>
            <p:cNvPr id="43" name="Round Same Side Corner Rectangle 59"/>
            <p:cNvSpPr/>
            <p:nvPr/>
          </p:nvSpPr>
          <p:spPr>
            <a:xfrm>
              <a:off x="8772776" y="2199820"/>
              <a:ext cx="2130173" cy="298159"/>
            </a:xfrm>
            <a:prstGeom prst="round2SameRect">
              <a:avLst>
                <a:gd name="adj1" fmla="val 50000"/>
                <a:gd name="adj2" fmla="val 50000"/>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dirty="0">
                  <a:solidFill>
                    <a:schemeClr val="bg1"/>
                  </a:solidFill>
                  <a:cs typeface="Lato Regular"/>
                </a:rPr>
                <a:t>Devotion</a:t>
              </a:r>
            </a:p>
          </p:txBody>
        </p:sp>
        <p:sp>
          <p:nvSpPr>
            <p:cNvPr id="44" name="TextBox 72"/>
            <p:cNvSpPr txBox="1"/>
            <p:nvPr/>
          </p:nvSpPr>
          <p:spPr>
            <a:xfrm>
              <a:off x="8772776" y="2546129"/>
              <a:ext cx="2130173" cy="400110"/>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Please replace with your text content here.</a:t>
              </a:r>
            </a:p>
          </p:txBody>
        </p:sp>
      </p:grpSp>
      <p:grpSp>
        <p:nvGrpSpPr>
          <p:cNvPr id="45" name="Group 44"/>
          <p:cNvGrpSpPr/>
          <p:nvPr/>
        </p:nvGrpSpPr>
        <p:grpSpPr>
          <a:xfrm>
            <a:off x="4245797" y="4880667"/>
            <a:ext cx="2130173" cy="746419"/>
            <a:chOff x="8772776" y="2199820"/>
            <a:chExt cx="2130173" cy="746419"/>
          </a:xfrm>
        </p:grpSpPr>
        <p:sp>
          <p:nvSpPr>
            <p:cNvPr id="46" name="Round Same Side Corner Rectangle 59"/>
            <p:cNvSpPr/>
            <p:nvPr/>
          </p:nvSpPr>
          <p:spPr>
            <a:xfrm>
              <a:off x="8772776" y="2199820"/>
              <a:ext cx="2130173" cy="298159"/>
            </a:xfrm>
            <a:prstGeom prst="round2SameRect">
              <a:avLst>
                <a:gd name="adj1" fmla="val 50000"/>
                <a:gd name="adj2" fmla="val 50000"/>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dirty="0">
                  <a:solidFill>
                    <a:schemeClr val="bg1"/>
                  </a:solidFill>
                  <a:cs typeface="Lato Regular"/>
                </a:rPr>
                <a:t>Devotion</a:t>
              </a:r>
            </a:p>
          </p:txBody>
        </p:sp>
        <p:sp>
          <p:nvSpPr>
            <p:cNvPr id="47" name="TextBox 72"/>
            <p:cNvSpPr txBox="1"/>
            <p:nvPr/>
          </p:nvSpPr>
          <p:spPr>
            <a:xfrm>
              <a:off x="8772776" y="2546129"/>
              <a:ext cx="2130173" cy="400110"/>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Please replace with your text content here.</a:t>
              </a:r>
            </a:p>
          </p:txBody>
        </p:sp>
      </p:grpSp>
    </p:spTree>
    <p:custDataLst>
      <p:tags r:id="rId1"/>
    </p:custDataLst>
    <p:extLst>
      <p:ext uri="{BB962C8B-B14F-4D97-AF65-F5344CB8AC3E}">
        <p14:creationId xmlns:p14="http://schemas.microsoft.com/office/powerpoint/2010/main" val="48408373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flipV="1">
            <a:off x="6096000" y="2529670"/>
            <a:ext cx="0" cy="133350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865F723-101F-A140-AC2C-9FF446436D9C}"/>
              </a:ext>
            </a:extLst>
          </p:cNvPr>
          <p:cNvCxnSpPr/>
          <p:nvPr/>
        </p:nvCxnSpPr>
        <p:spPr>
          <a:xfrm flipH="1">
            <a:off x="6588125" y="4327066"/>
            <a:ext cx="1285875" cy="0"/>
          </a:xfrm>
          <a:prstGeom prst="line">
            <a:avLst/>
          </a:prstGeom>
          <a:ln>
            <a:solidFill>
              <a:srgbClr val="43B02A"/>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865F723-101F-A140-AC2C-9FF446436D9C}"/>
              </a:ext>
            </a:extLst>
          </p:cNvPr>
          <p:cNvCxnSpPr/>
          <p:nvPr/>
        </p:nvCxnSpPr>
        <p:spPr>
          <a:xfrm flipH="1">
            <a:off x="4052889" y="4327066"/>
            <a:ext cx="1285875" cy="0"/>
          </a:xfrm>
          <a:prstGeom prst="line">
            <a:avLst/>
          </a:prstGeom>
          <a:ln>
            <a:solidFill>
              <a:srgbClr val="000000"/>
            </a:solidFill>
            <a:tailEnd type="ova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7182057F-CE83-504B-9B97-6F2840AB1BF5}"/>
              </a:ext>
            </a:extLst>
          </p:cNvPr>
          <p:cNvSpPr/>
          <p:nvPr/>
        </p:nvSpPr>
        <p:spPr>
          <a:xfrm>
            <a:off x="457200" y="1691418"/>
            <a:ext cx="11277600" cy="600164"/>
          </a:xfrm>
          <a:prstGeom prst="rect">
            <a:avLst/>
          </a:prstGeom>
        </p:spPr>
        <p:txBody>
          <a:bodyPr wrap="square" lIns="0" tIns="0" rIns="0" bIns="0" anchor="ctr">
            <a:spAutoFit/>
          </a:bodyPr>
          <a:lstStyle/>
          <a:p>
            <a:pPr marL="0" lvl="1" algn="ctr"/>
            <a:r>
              <a:rPr lang="en-US" sz="1300" dirty="0"/>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33" name="Rectangle 32">
            <a:extLst>
              <a:ext uri="{FF2B5EF4-FFF2-40B4-BE49-F238E27FC236}">
                <a16:creationId xmlns:a16="http://schemas.microsoft.com/office/drawing/2014/main" id="{4AEA571B-74CF-7C43-A465-621FCB2A2216}"/>
              </a:ext>
            </a:extLst>
          </p:cNvPr>
          <p:cNvSpPr/>
          <p:nvPr/>
        </p:nvSpPr>
        <p:spPr>
          <a:xfrm>
            <a:off x="457201" y="3788866"/>
            <a:ext cx="3544608" cy="800219"/>
          </a:xfrm>
          <a:prstGeom prst="rect">
            <a:avLst/>
          </a:prstGeom>
        </p:spPr>
        <p:txBody>
          <a:bodyPr wrap="square" lIns="0" tIns="0" rIns="0" bIns="0" anchor="ctr">
            <a:spAutoFit/>
          </a:bodyPr>
          <a:lstStyle/>
          <a:p>
            <a:pPr marL="0" lvl="1"/>
            <a:r>
              <a:rPr lang="en-US" sz="1300" dirty="0"/>
              <a:t>This is dummy text it is not here to be read. The is just text to show where you could insert text. The is just text to show where you could insert text. Please replace with your text content here.</a:t>
            </a:r>
          </a:p>
        </p:txBody>
      </p:sp>
      <p:sp>
        <p:nvSpPr>
          <p:cNvPr id="34" name="Rectangle 33">
            <a:extLst>
              <a:ext uri="{FF2B5EF4-FFF2-40B4-BE49-F238E27FC236}">
                <a16:creationId xmlns:a16="http://schemas.microsoft.com/office/drawing/2014/main" id="{932FCF1C-7300-8747-8F0A-AA4C23CF9CD7}"/>
              </a:ext>
            </a:extLst>
          </p:cNvPr>
          <p:cNvSpPr/>
          <p:nvPr/>
        </p:nvSpPr>
        <p:spPr>
          <a:xfrm>
            <a:off x="8191692" y="3381063"/>
            <a:ext cx="3543108" cy="1800493"/>
          </a:xfrm>
          <a:prstGeom prst="rect">
            <a:avLst/>
          </a:prstGeom>
        </p:spPr>
        <p:txBody>
          <a:bodyPr wrap="square" lIns="0" tIns="0" rIns="0" bIns="0" anchor="ctr">
            <a:spAutoFit/>
          </a:bodyPr>
          <a:lstStyle/>
          <a:p>
            <a:pPr marL="0" lvl="1"/>
            <a:r>
              <a:rPr lang="en-US" sz="1300" dirty="0"/>
              <a:t>This is dummy text it is not here to be read. The is just text to show where you could insert text. The is just text to show where you could insert text. Please replace with your text content here.</a:t>
            </a:r>
          </a:p>
          <a:p>
            <a:pPr marL="0" lvl="1"/>
            <a:endParaRPr lang="en-US" sz="1300" dirty="0"/>
          </a:p>
          <a:p>
            <a:pPr marL="0" lvl="1"/>
            <a:r>
              <a:rPr lang="en-US" sz="1300" dirty="0"/>
              <a:t>This is dummy text it is not here to be read. The is just text to show where you could insert text. The is just text to show where you could insert text. Please replace with your text content here.</a:t>
            </a:r>
          </a:p>
        </p:txBody>
      </p:sp>
      <p:grpSp>
        <p:nvGrpSpPr>
          <p:cNvPr id="2" name="Group 1"/>
          <p:cNvGrpSpPr/>
          <p:nvPr/>
        </p:nvGrpSpPr>
        <p:grpSpPr>
          <a:xfrm>
            <a:off x="4620367" y="2661837"/>
            <a:ext cx="2951267" cy="2787883"/>
            <a:chOff x="4618425" y="2165595"/>
            <a:chExt cx="2951267" cy="2787883"/>
          </a:xfrm>
        </p:grpSpPr>
        <p:sp>
          <p:nvSpPr>
            <p:cNvPr id="29" name="Rectangle 3">
              <a:extLst>
                <a:ext uri="{FF2B5EF4-FFF2-40B4-BE49-F238E27FC236}">
                  <a16:creationId xmlns:a16="http://schemas.microsoft.com/office/drawing/2014/main" id="{C4FA30F7-53C9-B84A-A2FA-1B2F8468629B}"/>
                </a:ext>
              </a:extLst>
            </p:cNvPr>
            <p:cNvSpPr/>
            <p:nvPr/>
          </p:nvSpPr>
          <p:spPr>
            <a:xfrm>
              <a:off x="4618425" y="3193451"/>
              <a:ext cx="1793279" cy="1755264"/>
            </a:xfrm>
            <a:custGeom>
              <a:avLst/>
              <a:gdLst>
                <a:gd name="connsiteX0" fmla="*/ 0 w 1762506"/>
                <a:gd name="connsiteY0" fmla="*/ 0 h 1750868"/>
                <a:gd name="connsiteX1" fmla="*/ 1762506 w 1762506"/>
                <a:gd name="connsiteY1" fmla="*/ 0 h 1750868"/>
                <a:gd name="connsiteX2" fmla="*/ 1762506 w 1762506"/>
                <a:gd name="connsiteY2" fmla="*/ 1750868 h 1750868"/>
                <a:gd name="connsiteX3" fmla="*/ 0 w 1762506"/>
                <a:gd name="connsiteY3" fmla="*/ 1750868 h 1750868"/>
                <a:gd name="connsiteX4" fmla="*/ 0 w 1762506"/>
                <a:gd name="connsiteY4" fmla="*/ 0 h 1750868"/>
                <a:gd name="connsiteX0" fmla="*/ 0 w 1793279"/>
                <a:gd name="connsiteY0" fmla="*/ 0 h 1750868"/>
                <a:gd name="connsiteX1" fmla="*/ 1793279 w 1793279"/>
                <a:gd name="connsiteY1" fmla="*/ 8792 h 1750868"/>
                <a:gd name="connsiteX2" fmla="*/ 1762506 w 1793279"/>
                <a:gd name="connsiteY2" fmla="*/ 1750868 h 1750868"/>
                <a:gd name="connsiteX3" fmla="*/ 0 w 1793279"/>
                <a:gd name="connsiteY3" fmla="*/ 1750868 h 1750868"/>
                <a:gd name="connsiteX4" fmla="*/ 0 w 1793279"/>
                <a:gd name="connsiteY4" fmla="*/ 0 h 1750868"/>
                <a:gd name="connsiteX0" fmla="*/ 0 w 1793279"/>
                <a:gd name="connsiteY0" fmla="*/ 4396 h 1755264"/>
                <a:gd name="connsiteX1" fmla="*/ 1793279 w 1793279"/>
                <a:gd name="connsiteY1" fmla="*/ 0 h 1755264"/>
                <a:gd name="connsiteX2" fmla="*/ 1762506 w 1793279"/>
                <a:gd name="connsiteY2" fmla="*/ 1755264 h 1755264"/>
                <a:gd name="connsiteX3" fmla="*/ 0 w 1793279"/>
                <a:gd name="connsiteY3" fmla="*/ 1755264 h 1755264"/>
                <a:gd name="connsiteX4" fmla="*/ 0 w 1793279"/>
                <a:gd name="connsiteY4" fmla="*/ 4396 h 1755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3279" h="1755264">
                  <a:moveTo>
                    <a:pt x="0" y="4396"/>
                  </a:moveTo>
                  <a:lnTo>
                    <a:pt x="1793279" y="0"/>
                  </a:lnTo>
                  <a:lnTo>
                    <a:pt x="1762506" y="1755264"/>
                  </a:lnTo>
                  <a:lnTo>
                    <a:pt x="0" y="1755264"/>
                  </a:lnTo>
                  <a:lnTo>
                    <a:pt x="0" y="4396"/>
                  </a:lnTo>
                  <a:close/>
                </a:path>
              </a:pathLst>
            </a:custGeom>
            <a:solidFill>
              <a:srgbClr val="000000"/>
            </a:solidFill>
            <a:ln w="19050" cap="rnd">
              <a:noFill/>
            </a:ln>
            <a:effectLst/>
            <a:scene3d>
              <a:camera prst="perspectiveLeft" fov="1800000">
                <a:rot lat="1500000" lon="3000000" rev="6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30" name="Rectangle 4">
              <a:extLst>
                <a:ext uri="{FF2B5EF4-FFF2-40B4-BE49-F238E27FC236}">
                  <a16:creationId xmlns:a16="http://schemas.microsoft.com/office/drawing/2014/main" id="{9D7EE4F3-42D5-F749-A9C0-4E784B9A2003}"/>
                </a:ext>
              </a:extLst>
            </p:cNvPr>
            <p:cNvSpPr/>
            <p:nvPr/>
          </p:nvSpPr>
          <p:spPr>
            <a:xfrm>
              <a:off x="5807186" y="3202610"/>
              <a:ext cx="1762506" cy="1750868"/>
            </a:xfrm>
            <a:custGeom>
              <a:avLst/>
              <a:gdLst>
                <a:gd name="connsiteX0" fmla="*/ 0 w 1762506"/>
                <a:gd name="connsiteY0" fmla="*/ 0 h 1750868"/>
                <a:gd name="connsiteX1" fmla="*/ 1762506 w 1762506"/>
                <a:gd name="connsiteY1" fmla="*/ 0 h 1750868"/>
                <a:gd name="connsiteX2" fmla="*/ 1762506 w 1762506"/>
                <a:gd name="connsiteY2" fmla="*/ 1750868 h 1750868"/>
                <a:gd name="connsiteX3" fmla="*/ 0 w 1762506"/>
                <a:gd name="connsiteY3" fmla="*/ 1750868 h 1750868"/>
                <a:gd name="connsiteX4" fmla="*/ 0 w 1762506"/>
                <a:gd name="connsiteY4" fmla="*/ 0 h 1750868"/>
                <a:gd name="connsiteX0" fmla="*/ 0 w 1762506"/>
                <a:gd name="connsiteY0" fmla="*/ 0 h 1750868"/>
                <a:gd name="connsiteX1" fmla="*/ 1762506 w 1762506"/>
                <a:gd name="connsiteY1" fmla="*/ 0 h 1750868"/>
                <a:gd name="connsiteX2" fmla="*/ 1762506 w 1762506"/>
                <a:gd name="connsiteY2" fmla="*/ 1750868 h 1750868"/>
                <a:gd name="connsiteX3" fmla="*/ 0 w 1762506"/>
                <a:gd name="connsiteY3" fmla="*/ 1737680 h 1750868"/>
                <a:gd name="connsiteX4" fmla="*/ 0 w 1762506"/>
                <a:gd name="connsiteY4" fmla="*/ 0 h 175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2506" h="1750868">
                  <a:moveTo>
                    <a:pt x="0" y="0"/>
                  </a:moveTo>
                  <a:lnTo>
                    <a:pt x="1762506" y="0"/>
                  </a:lnTo>
                  <a:lnTo>
                    <a:pt x="1762506" y="1750868"/>
                  </a:lnTo>
                  <a:lnTo>
                    <a:pt x="0" y="1737680"/>
                  </a:lnTo>
                  <a:lnTo>
                    <a:pt x="0" y="0"/>
                  </a:lnTo>
                  <a:close/>
                </a:path>
              </a:pathLst>
            </a:custGeom>
            <a:solidFill>
              <a:srgbClr val="43B02A"/>
            </a:solidFill>
            <a:ln w="19050" cap="rnd">
              <a:noFill/>
            </a:ln>
            <a:effectLst/>
            <a:scene3d>
              <a:camera prst="perspectiveLeft" fov="1800000">
                <a:rot lat="1500000" lon="18600000" rev="2154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00" dirty="0">
                <a:solidFill>
                  <a:srgbClr val="FFFFFF"/>
                </a:solidFill>
              </a:endParaRPr>
            </a:p>
          </p:txBody>
        </p:sp>
        <p:sp>
          <p:nvSpPr>
            <p:cNvPr id="31" name="Rectangle 5">
              <a:extLst>
                <a:ext uri="{FF2B5EF4-FFF2-40B4-BE49-F238E27FC236}">
                  <a16:creationId xmlns:a16="http://schemas.microsoft.com/office/drawing/2014/main" id="{DF9A64F1-A18B-FB4B-A4C5-3473E2D55F12}"/>
                </a:ext>
              </a:extLst>
            </p:cNvPr>
            <p:cNvSpPr/>
            <p:nvPr/>
          </p:nvSpPr>
          <p:spPr>
            <a:xfrm>
              <a:off x="5238483" y="2165595"/>
              <a:ext cx="1712651" cy="1734371"/>
            </a:xfrm>
            <a:custGeom>
              <a:avLst/>
              <a:gdLst>
                <a:gd name="connsiteX0" fmla="*/ 0 w 1659636"/>
                <a:gd name="connsiteY0" fmla="*/ 0 h 1659636"/>
                <a:gd name="connsiteX1" fmla="*/ 1659636 w 1659636"/>
                <a:gd name="connsiteY1" fmla="*/ 0 h 1659636"/>
                <a:gd name="connsiteX2" fmla="*/ 1659636 w 1659636"/>
                <a:gd name="connsiteY2" fmla="*/ 1659636 h 1659636"/>
                <a:gd name="connsiteX3" fmla="*/ 0 w 1659636"/>
                <a:gd name="connsiteY3" fmla="*/ 1659636 h 1659636"/>
                <a:gd name="connsiteX4" fmla="*/ 0 w 1659636"/>
                <a:gd name="connsiteY4" fmla="*/ 0 h 1659636"/>
                <a:gd name="connsiteX0" fmla="*/ 0 w 1659636"/>
                <a:gd name="connsiteY0" fmla="*/ 0 h 1712390"/>
                <a:gd name="connsiteX1" fmla="*/ 1659636 w 1659636"/>
                <a:gd name="connsiteY1" fmla="*/ 0 h 1712390"/>
                <a:gd name="connsiteX2" fmla="*/ 1659636 w 1659636"/>
                <a:gd name="connsiteY2" fmla="*/ 1659636 h 1712390"/>
                <a:gd name="connsiteX3" fmla="*/ 26377 w 1659636"/>
                <a:gd name="connsiteY3" fmla="*/ 1712390 h 1712390"/>
                <a:gd name="connsiteX4" fmla="*/ 0 w 1659636"/>
                <a:gd name="connsiteY4" fmla="*/ 0 h 1712390"/>
                <a:gd name="connsiteX0" fmla="*/ 0 w 1725578"/>
                <a:gd name="connsiteY0" fmla="*/ 0 h 1712390"/>
                <a:gd name="connsiteX1" fmla="*/ 1659636 w 1725578"/>
                <a:gd name="connsiteY1" fmla="*/ 0 h 1712390"/>
                <a:gd name="connsiteX2" fmla="*/ 1725578 w 1725578"/>
                <a:gd name="connsiteY2" fmla="*/ 1628863 h 1712390"/>
                <a:gd name="connsiteX3" fmla="*/ 26377 w 1725578"/>
                <a:gd name="connsiteY3" fmla="*/ 1712390 h 1712390"/>
                <a:gd name="connsiteX4" fmla="*/ 0 w 1725578"/>
                <a:gd name="connsiteY4" fmla="*/ 0 h 1712390"/>
                <a:gd name="connsiteX0" fmla="*/ 0 w 1716786"/>
                <a:gd name="connsiteY0" fmla="*/ 0 h 1725578"/>
                <a:gd name="connsiteX1" fmla="*/ 1650844 w 1716786"/>
                <a:gd name="connsiteY1" fmla="*/ 13188 h 1725578"/>
                <a:gd name="connsiteX2" fmla="*/ 1716786 w 1716786"/>
                <a:gd name="connsiteY2" fmla="*/ 1642051 h 1725578"/>
                <a:gd name="connsiteX3" fmla="*/ 17585 w 1716786"/>
                <a:gd name="connsiteY3" fmla="*/ 1725578 h 1725578"/>
                <a:gd name="connsiteX4" fmla="*/ 0 w 1716786"/>
                <a:gd name="connsiteY4" fmla="*/ 0 h 1725578"/>
                <a:gd name="connsiteX0" fmla="*/ 0 w 1712390"/>
                <a:gd name="connsiteY0" fmla="*/ 0 h 1751955"/>
                <a:gd name="connsiteX1" fmla="*/ 1646448 w 1712390"/>
                <a:gd name="connsiteY1" fmla="*/ 39565 h 1751955"/>
                <a:gd name="connsiteX2" fmla="*/ 1712390 w 1712390"/>
                <a:gd name="connsiteY2" fmla="*/ 1668428 h 1751955"/>
                <a:gd name="connsiteX3" fmla="*/ 13189 w 1712390"/>
                <a:gd name="connsiteY3" fmla="*/ 1751955 h 1751955"/>
                <a:gd name="connsiteX4" fmla="*/ 0 w 1712390"/>
                <a:gd name="connsiteY4" fmla="*/ 0 h 1751955"/>
                <a:gd name="connsiteX0" fmla="*/ 22413 w 1699633"/>
                <a:gd name="connsiteY0" fmla="*/ 0 h 1734370"/>
                <a:gd name="connsiteX1" fmla="*/ 1633691 w 1699633"/>
                <a:gd name="connsiteY1" fmla="*/ 21980 h 1734370"/>
                <a:gd name="connsiteX2" fmla="*/ 1699633 w 1699633"/>
                <a:gd name="connsiteY2" fmla="*/ 1650843 h 1734370"/>
                <a:gd name="connsiteX3" fmla="*/ 432 w 1699633"/>
                <a:gd name="connsiteY3" fmla="*/ 1734370 h 1734370"/>
                <a:gd name="connsiteX4" fmla="*/ 22413 w 1699633"/>
                <a:gd name="connsiteY4" fmla="*/ 0 h 1734370"/>
                <a:gd name="connsiteX0" fmla="*/ 9503 w 1699912"/>
                <a:gd name="connsiteY0" fmla="*/ 0 h 1738767"/>
                <a:gd name="connsiteX1" fmla="*/ 1633970 w 1699912"/>
                <a:gd name="connsiteY1" fmla="*/ 26377 h 1738767"/>
                <a:gd name="connsiteX2" fmla="*/ 1699912 w 1699912"/>
                <a:gd name="connsiteY2" fmla="*/ 1655240 h 1738767"/>
                <a:gd name="connsiteX3" fmla="*/ 711 w 1699912"/>
                <a:gd name="connsiteY3" fmla="*/ 1738767 h 1738767"/>
                <a:gd name="connsiteX4" fmla="*/ 9503 w 1699912"/>
                <a:gd name="connsiteY4" fmla="*/ 0 h 1738767"/>
                <a:gd name="connsiteX0" fmla="*/ 1269 w 1700470"/>
                <a:gd name="connsiteY0" fmla="*/ 0 h 1747559"/>
                <a:gd name="connsiteX1" fmla="*/ 1634528 w 1700470"/>
                <a:gd name="connsiteY1" fmla="*/ 35169 h 1747559"/>
                <a:gd name="connsiteX2" fmla="*/ 1700470 w 1700470"/>
                <a:gd name="connsiteY2" fmla="*/ 1664032 h 1747559"/>
                <a:gd name="connsiteX3" fmla="*/ 1269 w 1700470"/>
                <a:gd name="connsiteY3" fmla="*/ 1747559 h 1747559"/>
                <a:gd name="connsiteX4" fmla="*/ 1269 w 1700470"/>
                <a:gd name="connsiteY4" fmla="*/ 0 h 1747559"/>
                <a:gd name="connsiteX0" fmla="*/ 0 w 1707994"/>
                <a:gd name="connsiteY0" fmla="*/ 0 h 1751955"/>
                <a:gd name="connsiteX1" fmla="*/ 1642052 w 1707994"/>
                <a:gd name="connsiteY1" fmla="*/ 39565 h 1751955"/>
                <a:gd name="connsiteX2" fmla="*/ 1707994 w 1707994"/>
                <a:gd name="connsiteY2" fmla="*/ 1668428 h 1751955"/>
                <a:gd name="connsiteX3" fmla="*/ 8793 w 1707994"/>
                <a:gd name="connsiteY3" fmla="*/ 1751955 h 1751955"/>
                <a:gd name="connsiteX4" fmla="*/ 0 w 1707994"/>
                <a:gd name="connsiteY4" fmla="*/ 0 h 1751955"/>
                <a:gd name="connsiteX0" fmla="*/ 1270 w 1700471"/>
                <a:gd name="connsiteY0" fmla="*/ 0 h 1751955"/>
                <a:gd name="connsiteX1" fmla="*/ 1634529 w 1700471"/>
                <a:gd name="connsiteY1" fmla="*/ 39565 h 1751955"/>
                <a:gd name="connsiteX2" fmla="*/ 1700471 w 1700471"/>
                <a:gd name="connsiteY2" fmla="*/ 1668428 h 1751955"/>
                <a:gd name="connsiteX3" fmla="*/ 1270 w 1700471"/>
                <a:gd name="connsiteY3" fmla="*/ 1751955 h 1751955"/>
                <a:gd name="connsiteX4" fmla="*/ 1270 w 1700471"/>
                <a:gd name="connsiteY4" fmla="*/ 0 h 1751955"/>
                <a:gd name="connsiteX0" fmla="*/ 39848 w 1739049"/>
                <a:gd name="connsiteY0" fmla="*/ 0 h 1729974"/>
                <a:gd name="connsiteX1" fmla="*/ 1673107 w 1739049"/>
                <a:gd name="connsiteY1" fmla="*/ 39565 h 1729974"/>
                <a:gd name="connsiteX2" fmla="*/ 1739049 w 1739049"/>
                <a:gd name="connsiteY2" fmla="*/ 1668428 h 1729974"/>
                <a:gd name="connsiteX3" fmla="*/ 282 w 1739049"/>
                <a:gd name="connsiteY3" fmla="*/ 1729974 h 1729974"/>
                <a:gd name="connsiteX4" fmla="*/ 39848 w 1739049"/>
                <a:gd name="connsiteY4" fmla="*/ 0 h 1729974"/>
                <a:gd name="connsiteX0" fmla="*/ 39848 w 1739049"/>
                <a:gd name="connsiteY0" fmla="*/ 0 h 1729974"/>
                <a:gd name="connsiteX1" fmla="*/ 1651126 w 1739049"/>
                <a:gd name="connsiteY1" fmla="*/ 21980 h 1729974"/>
                <a:gd name="connsiteX2" fmla="*/ 1739049 w 1739049"/>
                <a:gd name="connsiteY2" fmla="*/ 1668428 h 1729974"/>
                <a:gd name="connsiteX3" fmla="*/ 282 w 1739049"/>
                <a:gd name="connsiteY3" fmla="*/ 1729974 h 1729974"/>
                <a:gd name="connsiteX4" fmla="*/ 39848 w 1739049"/>
                <a:gd name="connsiteY4" fmla="*/ 0 h 1729974"/>
                <a:gd name="connsiteX0" fmla="*/ 39848 w 1717069"/>
                <a:gd name="connsiteY0" fmla="*/ 0 h 1729974"/>
                <a:gd name="connsiteX1" fmla="*/ 1651126 w 1717069"/>
                <a:gd name="connsiteY1" fmla="*/ 21980 h 1729974"/>
                <a:gd name="connsiteX2" fmla="*/ 1717069 w 1717069"/>
                <a:gd name="connsiteY2" fmla="*/ 1628863 h 1729974"/>
                <a:gd name="connsiteX3" fmla="*/ 282 w 1717069"/>
                <a:gd name="connsiteY3" fmla="*/ 1729974 h 1729974"/>
                <a:gd name="connsiteX4" fmla="*/ 39848 w 1717069"/>
                <a:gd name="connsiteY4" fmla="*/ 0 h 1729974"/>
                <a:gd name="connsiteX0" fmla="*/ 39848 w 1739049"/>
                <a:gd name="connsiteY0" fmla="*/ 0 h 1729974"/>
                <a:gd name="connsiteX1" fmla="*/ 1651126 w 1739049"/>
                <a:gd name="connsiteY1" fmla="*/ 21980 h 1729974"/>
                <a:gd name="connsiteX2" fmla="*/ 1739049 w 1739049"/>
                <a:gd name="connsiteY2" fmla="*/ 1633259 h 1729974"/>
                <a:gd name="connsiteX3" fmla="*/ 282 w 1739049"/>
                <a:gd name="connsiteY3" fmla="*/ 1729974 h 1729974"/>
                <a:gd name="connsiteX4" fmla="*/ 39848 w 1739049"/>
                <a:gd name="connsiteY4" fmla="*/ 0 h 1729974"/>
                <a:gd name="connsiteX0" fmla="*/ 39848 w 1739049"/>
                <a:gd name="connsiteY0" fmla="*/ 0 h 1729974"/>
                <a:gd name="connsiteX1" fmla="*/ 1651126 w 1739049"/>
                <a:gd name="connsiteY1" fmla="*/ 21980 h 1729974"/>
                <a:gd name="connsiteX2" fmla="*/ 1739049 w 1739049"/>
                <a:gd name="connsiteY2" fmla="*/ 1672825 h 1729974"/>
                <a:gd name="connsiteX3" fmla="*/ 282 w 1739049"/>
                <a:gd name="connsiteY3" fmla="*/ 1729974 h 1729974"/>
                <a:gd name="connsiteX4" fmla="*/ 39848 w 1739049"/>
                <a:gd name="connsiteY4" fmla="*/ 0 h 1729974"/>
                <a:gd name="connsiteX0" fmla="*/ 39848 w 1721465"/>
                <a:gd name="connsiteY0" fmla="*/ 0 h 1729974"/>
                <a:gd name="connsiteX1" fmla="*/ 1651126 w 1721465"/>
                <a:gd name="connsiteY1" fmla="*/ 21980 h 1729974"/>
                <a:gd name="connsiteX2" fmla="*/ 1721465 w 1721465"/>
                <a:gd name="connsiteY2" fmla="*/ 1655240 h 1729974"/>
                <a:gd name="connsiteX3" fmla="*/ 282 w 1721465"/>
                <a:gd name="connsiteY3" fmla="*/ 1729974 h 1729974"/>
                <a:gd name="connsiteX4" fmla="*/ 39848 w 1721465"/>
                <a:gd name="connsiteY4" fmla="*/ 0 h 1729974"/>
                <a:gd name="connsiteX0" fmla="*/ 39848 w 1721465"/>
                <a:gd name="connsiteY0" fmla="*/ 0 h 1729974"/>
                <a:gd name="connsiteX1" fmla="*/ 1651126 w 1721465"/>
                <a:gd name="connsiteY1" fmla="*/ 21980 h 1729974"/>
                <a:gd name="connsiteX2" fmla="*/ 1721465 w 1721465"/>
                <a:gd name="connsiteY2" fmla="*/ 1659636 h 1729974"/>
                <a:gd name="connsiteX3" fmla="*/ 282 w 1721465"/>
                <a:gd name="connsiteY3" fmla="*/ 1729974 h 1729974"/>
                <a:gd name="connsiteX4" fmla="*/ 39848 w 1721465"/>
                <a:gd name="connsiteY4" fmla="*/ 0 h 1729974"/>
                <a:gd name="connsiteX0" fmla="*/ 39848 w 1725861"/>
                <a:gd name="connsiteY0" fmla="*/ 0 h 1729974"/>
                <a:gd name="connsiteX1" fmla="*/ 1651126 w 1725861"/>
                <a:gd name="connsiteY1" fmla="*/ 21980 h 1729974"/>
                <a:gd name="connsiteX2" fmla="*/ 1725861 w 1725861"/>
                <a:gd name="connsiteY2" fmla="*/ 1664032 h 1729974"/>
                <a:gd name="connsiteX3" fmla="*/ 282 w 1725861"/>
                <a:gd name="connsiteY3" fmla="*/ 1729974 h 1729974"/>
                <a:gd name="connsiteX4" fmla="*/ 39848 w 1725861"/>
                <a:gd name="connsiteY4" fmla="*/ 0 h 1729974"/>
                <a:gd name="connsiteX0" fmla="*/ 39848 w 1725861"/>
                <a:gd name="connsiteY0" fmla="*/ 0 h 1716786"/>
                <a:gd name="connsiteX1" fmla="*/ 1651126 w 1725861"/>
                <a:gd name="connsiteY1" fmla="*/ 21980 h 1716786"/>
                <a:gd name="connsiteX2" fmla="*/ 1725861 w 1725861"/>
                <a:gd name="connsiteY2" fmla="*/ 1664032 h 1716786"/>
                <a:gd name="connsiteX3" fmla="*/ 282 w 1725861"/>
                <a:gd name="connsiteY3" fmla="*/ 1716786 h 1716786"/>
                <a:gd name="connsiteX4" fmla="*/ 39848 w 1725861"/>
                <a:gd name="connsiteY4" fmla="*/ 0 h 1716786"/>
                <a:gd name="connsiteX0" fmla="*/ 39848 w 1721465"/>
                <a:gd name="connsiteY0" fmla="*/ 0 h 1716786"/>
                <a:gd name="connsiteX1" fmla="*/ 1651126 w 1721465"/>
                <a:gd name="connsiteY1" fmla="*/ 21980 h 1716786"/>
                <a:gd name="connsiteX2" fmla="*/ 1721465 w 1721465"/>
                <a:gd name="connsiteY2" fmla="*/ 1690409 h 1716786"/>
                <a:gd name="connsiteX3" fmla="*/ 282 w 1721465"/>
                <a:gd name="connsiteY3" fmla="*/ 1716786 h 1716786"/>
                <a:gd name="connsiteX4" fmla="*/ 39848 w 1721465"/>
                <a:gd name="connsiteY4" fmla="*/ 0 h 1716786"/>
                <a:gd name="connsiteX0" fmla="*/ 39848 w 1699484"/>
                <a:gd name="connsiteY0" fmla="*/ 0 h 1716786"/>
                <a:gd name="connsiteX1" fmla="*/ 1651126 w 1699484"/>
                <a:gd name="connsiteY1" fmla="*/ 21980 h 1716786"/>
                <a:gd name="connsiteX2" fmla="*/ 1699484 w 1699484"/>
                <a:gd name="connsiteY2" fmla="*/ 1664032 h 1716786"/>
                <a:gd name="connsiteX3" fmla="*/ 282 w 1699484"/>
                <a:gd name="connsiteY3" fmla="*/ 1716786 h 1716786"/>
                <a:gd name="connsiteX4" fmla="*/ 39848 w 1699484"/>
                <a:gd name="connsiteY4" fmla="*/ 0 h 1716786"/>
                <a:gd name="connsiteX0" fmla="*/ 39848 w 1708277"/>
                <a:gd name="connsiteY0" fmla="*/ 0 h 1716786"/>
                <a:gd name="connsiteX1" fmla="*/ 1651126 w 1708277"/>
                <a:gd name="connsiteY1" fmla="*/ 21980 h 1716786"/>
                <a:gd name="connsiteX2" fmla="*/ 1708277 w 1708277"/>
                <a:gd name="connsiteY2" fmla="*/ 1681617 h 1716786"/>
                <a:gd name="connsiteX3" fmla="*/ 282 w 1708277"/>
                <a:gd name="connsiteY3" fmla="*/ 1716786 h 1716786"/>
                <a:gd name="connsiteX4" fmla="*/ 39848 w 1708277"/>
                <a:gd name="connsiteY4" fmla="*/ 0 h 1716786"/>
                <a:gd name="connsiteX0" fmla="*/ 31116 w 1699545"/>
                <a:gd name="connsiteY0" fmla="*/ 0 h 1738767"/>
                <a:gd name="connsiteX1" fmla="*/ 1642394 w 1699545"/>
                <a:gd name="connsiteY1" fmla="*/ 21980 h 1738767"/>
                <a:gd name="connsiteX2" fmla="*/ 1699545 w 1699545"/>
                <a:gd name="connsiteY2" fmla="*/ 1681617 h 1738767"/>
                <a:gd name="connsiteX3" fmla="*/ 342 w 1699545"/>
                <a:gd name="connsiteY3" fmla="*/ 1738767 h 1738767"/>
                <a:gd name="connsiteX4" fmla="*/ 31116 w 1699545"/>
                <a:gd name="connsiteY4" fmla="*/ 0 h 1738767"/>
                <a:gd name="connsiteX0" fmla="*/ 44222 w 1712651"/>
                <a:gd name="connsiteY0" fmla="*/ 0 h 1734371"/>
                <a:gd name="connsiteX1" fmla="*/ 1655500 w 1712651"/>
                <a:gd name="connsiteY1" fmla="*/ 21980 h 1734371"/>
                <a:gd name="connsiteX2" fmla="*/ 1712651 w 1712651"/>
                <a:gd name="connsiteY2" fmla="*/ 1681617 h 1734371"/>
                <a:gd name="connsiteX3" fmla="*/ 260 w 1712651"/>
                <a:gd name="connsiteY3" fmla="*/ 1734371 h 1734371"/>
                <a:gd name="connsiteX4" fmla="*/ 44222 w 1712651"/>
                <a:gd name="connsiteY4" fmla="*/ 0 h 1734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651" h="1734371">
                  <a:moveTo>
                    <a:pt x="44222" y="0"/>
                  </a:moveTo>
                  <a:lnTo>
                    <a:pt x="1655500" y="21980"/>
                  </a:lnTo>
                  <a:lnTo>
                    <a:pt x="1712651" y="1681617"/>
                  </a:lnTo>
                  <a:lnTo>
                    <a:pt x="260" y="1734371"/>
                  </a:lnTo>
                  <a:cubicBezTo>
                    <a:pt x="-4136" y="1150386"/>
                    <a:pt x="48618" y="583985"/>
                    <a:pt x="44222" y="0"/>
                  </a:cubicBezTo>
                  <a:close/>
                </a:path>
              </a:pathLst>
            </a:custGeom>
            <a:solidFill>
              <a:schemeClr val="accent1"/>
            </a:solidFill>
            <a:ln w="19050" cap="rnd">
              <a:noFill/>
            </a:ln>
            <a:effectLst/>
            <a:scene3d>
              <a:camera prst="perspectiveHeroicExtremeRightFacing" fov="4740000">
                <a:rot lat="19104000" lon="17820000" rev="4272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00" dirty="0">
                <a:solidFill>
                  <a:srgbClr val="FFFFFF"/>
                </a:solidFill>
              </a:endParaRPr>
            </a:p>
          </p:txBody>
        </p:sp>
        <p:grpSp>
          <p:nvGrpSpPr>
            <p:cNvPr id="35" name="Group 614">
              <a:extLst>
                <a:ext uri="{FF2B5EF4-FFF2-40B4-BE49-F238E27FC236}">
                  <a16:creationId xmlns:a16="http://schemas.microsoft.com/office/drawing/2014/main" id="{25E15AF2-E169-A043-960B-891897507693}"/>
                </a:ext>
              </a:extLst>
            </p:cNvPr>
            <p:cNvGrpSpPr>
              <a:grpSpLocks noChangeAspect="1"/>
            </p:cNvGrpSpPr>
            <p:nvPr/>
          </p:nvGrpSpPr>
          <p:grpSpPr bwMode="auto">
            <a:xfrm>
              <a:off x="5807186" y="2818059"/>
              <a:ext cx="513856" cy="513856"/>
              <a:chOff x="3780" y="2658"/>
              <a:chExt cx="340" cy="340"/>
            </a:xfrm>
            <a:solidFill>
              <a:schemeClr val="bg1"/>
            </a:solidFill>
          </p:grpSpPr>
          <p:sp>
            <p:nvSpPr>
              <p:cNvPr id="36" name="Freeform 615">
                <a:extLst>
                  <a:ext uri="{FF2B5EF4-FFF2-40B4-BE49-F238E27FC236}">
                    <a16:creationId xmlns:a16="http://schemas.microsoft.com/office/drawing/2014/main" id="{0BA685DF-2E0A-9042-B38F-805D31F2E209}"/>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616">
                <a:extLst>
                  <a:ext uri="{FF2B5EF4-FFF2-40B4-BE49-F238E27FC236}">
                    <a16:creationId xmlns:a16="http://schemas.microsoft.com/office/drawing/2014/main" id="{F3A942D4-D823-1248-826A-419D20515A13}"/>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617">
                <a:extLst>
                  <a:ext uri="{FF2B5EF4-FFF2-40B4-BE49-F238E27FC236}">
                    <a16:creationId xmlns:a16="http://schemas.microsoft.com/office/drawing/2014/main" id="{32C7DF61-9EB7-DB40-B2E1-E64AB25DB57F}"/>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618">
                <a:extLst>
                  <a:ext uri="{FF2B5EF4-FFF2-40B4-BE49-F238E27FC236}">
                    <a16:creationId xmlns:a16="http://schemas.microsoft.com/office/drawing/2014/main" id="{454BE415-1A89-D448-8C25-88A9431228EA}"/>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619">
                <a:extLst>
                  <a:ext uri="{FF2B5EF4-FFF2-40B4-BE49-F238E27FC236}">
                    <a16:creationId xmlns:a16="http://schemas.microsoft.com/office/drawing/2014/main" id="{F6EC8682-C3C3-004C-94CE-077102668241}"/>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620">
                <a:extLst>
                  <a:ext uri="{FF2B5EF4-FFF2-40B4-BE49-F238E27FC236}">
                    <a16:creationId xmlns:a16="http://schemas.microsoft.com/office/drawing/2014/main" id="{E837A005-292F-264A-BDA1-FA4C2A42BE4E}"/>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621">
                <a:extLst>
                  <a:ext uri="{FF2B5EF4-FFF2-40B4-BE49-F238E27FC236}">
                    <a16:creationId xmlns:a16="http://schemas.microsoft.com/office/drawing/2014/main" id="{5FBBCB15-5DB8-554F-A80C-43DFCA3F036F}"/>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622">
                <a:extLst>
                  <a:ext uri="{FF2B5EF4-FFF2-40B4-BE49-F238E27FC236}">
                    <a16:creationId xmlns:a16="http://schemas.microsoft.com/office/drawing/2014/main" id="{95D8515A-25AC-8546-9840-75EE42525EAB}"/>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623">
                <a:extLst>
                  <a:ext uri="{FF2B5EF4-FFF2-40B4-BE49-F238E27FC236}">
                    <a16:creationId xmlns:a16="http://schemas.microsoft.com/office/drawing/2014/main" id="{E6EE4363-2FC7-A84B-9969-66068A29506E}"/>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 name="Group 487">
              <a:extLst>
                <a:ext uri="{FF2B5EF4-FFF2-40B4-BE49-F238E27FC236}">
                  <a16:creationId xmlns:a16="http://schemas.microsoft.com/office/drawing/2014/main" id="{CB36C928-7057-CA48-BCFF-30B242C6DB56}"/>
                </a:ext>
              </a:extLst>
            </p:cNvPr>
            <p:cNvGrpSpPr>
              <a:grpSpLocks noChangeAspect="1"/>
            </p:cNvGrpSpPr>
            <p:nvPr/>
          </p:nvGrpSpPr>
          <p:grpSpPr bwMode="auto">
            <a:xfrm>
              <a:off x="5246455" y="3763293"/>
              <a:ext cx="512064" cy="512064"/>
              <a:chOff x="6566" y="1944"/>
              <a:chExt cx="341" cy="341"/>
            </a:xfrm>
            <a:solidFill>
              <a:schemeClr val="bg1"/>
            </a:solidFill>
          </p:grpSpPr>
          <p:sp>
            <p:nvSpPr>
              <p:cNvPr id="56" name="Freeform 488">
                <a:extLst>
                  <a:ext uri="{FF2B5EF4-FFF2-40B4-BE49-F238E27FC236}">
                    <a16:creationId xmlns:a16="http://schemas.microsoft.com/office/drawing/2014/main" id="{62F2148C-4768-6F42-861C-96738C29A365}"/>
                  </a:ext>
                </a:extLst>
              </p:cNvPr>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489">
                <a:extLst>
                  <a:ext uri="{FF2B5EF4-FFF2-40B4-BE49-F238E27FC236}">
                    <a16:creationId xmlns:a16="http://schemas.microsoft.com/office/drawing/2014/main" id="{757193F1-D1E7-6249-B308-2E0833A7CBEE}"/>
                  </a:ext>
                </a:extLst>
              </p:cNvPr>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490">
                <a:extLst>
                  <a:ext uri="{FF2B5EF4-FFF2-40B4-BE49-F238E27FC236}">
                    <a16:creationId xmlns:a16="http://schemas.microsoft.com/office/drawing/2014/main" id="{59BB1144-52F7-C94C-97C5-F6E0FE70E6FD}"/>
                  </a:ext>
                </a:extLst>
              </p:cNvPr>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9" name="Group 597">
              <a:extLst>
                <a:ext uri="{FF2B5EF4-FFF2-40B4-BE49-F238E27FC236}">
                  <a16:creationId xmlns:a16="http://schemas.microsoft.com/office/drawing/2014/main" id="{A7134630-7ACE-0A45-AEEF-C4B153F9F787}"/>
                </a:ext>
              </a:extLst>
            </p:cNvPr>
            <p:cNvGrpSpPr>
              <a:grpSpLocks noChangeAspect="1"/>
            </p:cNvGrpSpPr>
            <p:nvPr/>
          </p:nvGrpSpPr>
          <p:grpSpPr bwMode="auto">
            <a:xfrm>
              <a:off x="6411704" y="3785067"/>
              <a:ext cx="513569" cy="512064"/>
              <a:chOff x="2745" y="2621"/>
              <a:chExt cx="341" cy="340"/>
            </a:xfrm>
            <a:solidFill>
              <a:schemeClr val="bg1"/>
            </a:solidFill>
          </p:grpSpPr>
          <p:sp>
            <p:nvSpPr>
              <p:cNvPr id="60" name="Freeform 598">
                <a:extLst>
                  <a:ext uri="{FF2B5EF4-FFF2-40B4-BE49-F238E27FC236}">
                    <a16:creationId xmlns:a16="http://schemas.microsoft.com/office/drawing/2014/main" id="{56B8970D-F524-1649-ACBF-9FF495F85AC0}"/>
                  </a:ext>
                </a:extLst>
              </p:cNvPr>
              <p:cNvSpPr>
                <a:spLocks noEditPoints="1"/>
              </p:cNvSpPr>
              <p:nvPr/>
            </p:nvSpPr>
            <p:spPr bwMode="auto">
              <a:xfrm>
                <a:off x="2824" y="2700"/>
                <a:ext cx="183" cy="181"/>
              </a:xfrm>
              <a:custGeom>
                <a:avLst/>
                <a:gdLst>
                  <a:gd name="T0" fmla="*/ 137 w 274"/>
                  <a:gd name="T1" fmla="*/ 197 h 273"/>
                  <a:gd name="T2" fmla="*/ 137 w 274"/>
                  <a:gd name="T3" fmla="*/ 212 h 273"/>
                  <a:gd name="T4" fmla="*/ 91 w 274"/>
                  <a:gd name="T5" fmla="*/ 257 h 273"/>
                  <a:gd name="T6" fmla="*/ 55 w 274"/>
                  <a:gd name="T7" fmla="*/ 273 h 273"/>
                  <a:gd name="T8" fmla="*/ 53 w 274"/>
                  <a:gd name="T9" fmla="*/ 273 h 273"/>
                  <a:gd name="T10" fmla="*/ 16 w 274"/>
                  <a:gd name="T11" fmla="*/ 257 h 273"/>
                  <a:gd name="T12" fmla="*/ 0 w 274"/>
                  <a:gd name="T13" fmla="*/ 219 h 273"/>
                  <a:gd name="T14" fmla="*/ 16 w 274"/>
                  <a:gd name="T15" fmla="*/ 182 h 273"/>
                  <a:gd name="T16" fmla="*/ 84 w 274"/>
                  <a:gd name="T17" fmla="*/ 114 h 273"/>
                  <a:gd name="T18" fmla="*/ 120 w 274"/>
                  <a:gd name="T19" fmla="*/ 98 h 273"/>
                  <a:gd name="T20" fmla="*/ 159 w 274"/>
                  <a:gd name="T21" fmla="*/ 114 h 273"/>
                  <a:gd name="T22" fmla="*/ 159 w 274"/>
                  <a:gd name="T23" fmla="*/ 129 h 273"/>
                  <a:gd name="T24" fmla="*/ 144 w 274"/>
                  <a:gd name="T25" fmla="*/ 129 h 273"/>
                  <a:gd name="T26" fmla="*/ 121 w 274"/>
                  <a:gd name="T27" fmla="*/ 119 h 273"/>
                  <a:gd name="T28" fmla="*/ 99 w 274"/>
                  <a:gd name="T29" fmla="*/ 129 h 273"/>
                  <a:gd name="T30" fmla="*/ 31 w 274"/>
                  <a:gd name="T31" fmla="*/ 197 h 273"/>
                  <a:gd name="T32" fmla="*/ 21 w 274"/>
                  <a:gd name="T33" fmla="*/ 219 h 273"/>
                  <a:gd name="T34" fmla="*/ 31 w 274"/>
                  <a:gd name="T35" fmla="*/ 242 h 273"/>
                  <a:gd name="T36" fmla="*/ 54 w 274"/>
                  <a:gd name="T37" fmla="*/ 252 h 273"/>
                  <a:gd name="T38" fmla="*/ 76 w 274"/>
                  <a:gd name="T39" fmla="*/ 242 h 273"/>
                  <a:gd name="T40" fmla="*/ 122 w 274"/>
                  <a:gd name="T41" fmla="*/ 197 h 273"/>
                  <a:gd name="T42" fmla="*/ 137 w 274"/>
                  <a:gd name="T43" fmla="*/ 197 h 273"/>
                  <a:gd name="T44" fmla="*/ 257 w 274"/>
                  <a:gd name="T45" fmla="*/ 16 h 273"/>
                  <a:gd name="T46" fmla="*/ 219 w 274"/>
                  <a:gd name="T47" fmla="*/ 0 h 273"/>
                  <a:gd name="T48" fmla="*/ 182 w 274"/>
                  <a:gd name="T49" fmla="*/ 16 h 273"/>
                  <a:gd name="T50" fmla="*/ 137 w 274"/>
                  <a:gd name="T51" fmla="*/ 61 h 273"/>
                  <a:gd name="T52" fmla="*/ 137 w 274"/>
                  <a:gd name="T53" fmla="*/ 76 h 273"/>
                  <a:gd name="T54" fmla="*/ 152 w 274"/>
                  <a:gd name="T55" fmla="*/ 76 h 273"/>
                  <a:gd name="T56" fmla="*/ 197 w 274"/>
                  <a:gd name="T57" fmla="*/ 31 h 273"/>
                  <a:gd name="T58" fmla="*/ 219 w 274"/>
                  <a:gd name="T59" fmla="*/ 21 h 273"/>
                  <a:gd name="T60" fmla="*/ 242 w 274"/>
                  <a:gd name="T61" fmla="*/ 31 h 273"/>
                  <a:gd name="T62" fmla="*/ 252 w 274"/>
                  <a:gd name="T63" fmla="*/ 54 h 273"/>
                  <a:gd name="T64" fmla="*/ 242 w 274"/>
                  <a:gd name="T65" fmla="*/ 76 h 273"/>
                  <a:gd name="T66" fmla="*/ 174 w 274"/>
                  <a:gd name="T67" fmla="*/ 144 h 273"/>
                  <a:gd name="T68" fmla="*/ 152 w 274"/>
                  <a:gd name="T69" fmla="*/ 154 h 273"/>
                  <a:gd name="T70" fmla="*/ 129 w 274"/>
                  <a:gd name="T71" fmla="*/ 144 h 273"/>
                  <a:gd name="T72" fmla="*/ 114 w 274"/>
                  <a:gd name="T73" fmla="*/ 144 h 273"/>
                  <a:gd name="T74" fmla="*/ 114 w 274"/>
                  <a:gd name="T75" fmla="*/ 159 h 273"/>
                  <a:gd name="T76" fmla="*/ 152 w 274"/>
                  <a:gd name="T77" fmla="*/ 175 h 273"/>
                  <a:gd name="T78" fmla="*/ 153 w 274"/>
                  <a:gd name="T79" fmla="*/ 175 h 273"/>
                  <a:gd name="T80" fmla="*/ 189 w 274"/>
                  <a:gd name="T81" fmla="*/ 159 h 273"/>
                  <a:gd name="T82" fmla="*/ 257 w 274"/>
                  <a:gd name="T83" fmla="*/ 91 h 273"/>
                  <a:gd name="T84" fmla="*/ 273 w 274"/>
                  <a:gd name="T85" fmla="*/ 55 h 273"/>
                  <a:gd name="T86" fmla="*/ 257 w 274"/>
                  <a:gd name="T87" fmla="*/ 1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 h="273">
                    <a:moveTo>
                      <a:pt x="137" y="197"/>
                    </a:moveTo>
                    <a:cubicBezTo>
                      <a:pt x="141" y="201"/>
                      <a:pt x="141" y="208"/>
                      <a:pt x="137" y="212"/>
                    </a:cubicBezTo>
                    <a:cubicBezTo>
                      <a:pt x="91" y="257"/>
                      <a:pt x="91" y="257"/>
                      <a:pt x="91" y="257"/>
                    </a:cubicBezTo>
                    <a:cubicBezTo>
                      <a:pt x="81" y="267"/>
                      <a:pt x="68" y="273"/>
                      <a:pt x="55" y="273"/>
                    </a:cubicBezTo>
                    <a:cubicBezTo>
                      <a:pt x="54" y="273"/>
                      <a:pt x="54" y="273"/>
                      <a:pt x="53" y="273"/>
                    </a:cubicBezTo>
                    <a:cubicBezTo>
                      <a:pt x="40" y="273"/>
                      <a:pt x="26" y="268"/>
                      <a:pt x="16" y="257"/>
                    </a:cubicBezTo>
                    <a:cubicBezTo>
                      <a:pt x="5" y="247"/>
                      <a:pt x="0" y="233"/>
                      <a:pt x="0" y="219"/>
                    </a:cubicBezTo>
                    <a:cubicBezTo>
                      <a:pt x="0" y="205"/>
                      <a:pt x="6" y="192"/>
                      <a:pt x="16" y="182"/>
                    </a:cubicBezTo>
                    <a:cubicBezTo>
                      <a:pt x="84" y="114"/>
                      <a:pt x="84" y="114"/>
                      <a:pt x="84" y="114"/>
                    </a:cubicBezTo>
                    <a:cubicBezTo>
                      <a:pt x="94" y="104"/>
                      <a:pt x="107" y="98"/>
                      <a:pt x="120" y="98"/>
                    </a:cubicBezTo>
                    <a:cubicBezTo>
                      <a:pt x="135" y="98"/>
                      <a:pt x="149" y="103"/>
                      <a:pt x="159" y="114"/>
                    </a:cubicBezTo>
                    <a:cubicBezTo>
                      <a:pt x="163" y="118"/>
                      <a:pt x="163" y="125"/>
                      <a:pt x="159" y="129"/>
                    </a:cubicBezTo>
                    <a:cubicBezTo>
                      <a:pt x="155" y="133"/>
                      <a:pt x="148" y="133"/>
                      <a:pt x="144" y="129"/>
                    </a:cubicBezTo>
                    <a:cubicBezTo>
                      <a:pt x="138" y="123"/>
                      <a:pt x="130" y="119"/>
                      <a:pt x="121" y="119"/>
                    </a:cubicBezTo>
                    <a:cubicBezTo>
                      <a:pt x="113" y="120"/>
                      <a:pt x="105" y="123"/>
                      <a:pt x="99" y="129"/>
                    </a:cubicBezTo>
                    <a:cubicBezTo>
                      <a:pt x="31" y="197"/>
                      <a:pt x="31" y="197"/>
                      <a:pt x="31" y="197"/>
                    </a:cubicBezTo>
                    <a:cubicBezTo>
                      <a:pt x="25" y="203"/>
                      <a:pt x="22" y="211"/>
                      <a:pt x="21" y="219"/>
                    </a:cubicBezTo>
                    <a:cubicBezTo>
                      <a:pt x="21" y="228"/>
                      <a:pt x="24" y="236"/>
                      <a:pt x="31" y="242"/>
                    </a:cubicBezTo>
                    <a:cubicBezTo>
                      <a:pt x="38" y="249"/>
                      <a:pt x="46" y="252"/>
                      <a:pt x="54" y="252"/>
                    </a:cubicBezTo>
                    <a:cubicBezTo>
                      <a:pt x="62" y="252"/>
                      <a:pt x="70" y="248"/>
                      <a:pt x="76" y="242"/>
                    </a:cubicBezTo>
                    <a:cubicBezTo>
                      <a:pt x="122" y="197"/>
                      <a:pt x="122" y="197"/>
                      <a:pt x="122" y="197"/>
                    </a:cubicBezTo>
                    <a:cubicBezTo>
                      <a:pt x="126" y="193"/>
                      <a:pt x="133" y="193"/>
                      <a:pt x="137" y="197"/>
                    </a:cubicBezTo>
                    <a:close/>
                    <a:moveTo>
                      <a:pt x="257" y="16"/>
                    </a:move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cubicBezTo>
                      <a:pt x="257" y="91"/>
                      <a:pt x="257" y="91"/>
                      <a:pt x="257" y="91"/>
                    </a:cubicBezTo>
                    <a:cubicBezTo>
                      <a:pt x="267" y="81"/>
                      <a:pt x="273" y="68"/>
                      <a:pt x="273" y="55"/>
                    </a:cubicBezTo>
                    <a:cubicBezTo>
                      <a:pt x="274" y="40"/>
                      <a:pt x="268" y="27"/>
                      <a:pt x="257" y="1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599">
                <a:extLst>
                  <a:ext uri="{FF2B5EF4-FFF2-40B4-BE49-F238E27FC236}">
                    <a16:creationId xmlns:a16="http://schemas.microsoft.com/office/drawing/2014/main" id="{012EC6F2-25C0-8840-B852-C4367BAB3806}"/>
                  </a:ext>
                </a:extLst>
              </p:cNvPr>
              <p:cNvSpPr>
                <a:spLocks noEditPoints="1"/>
              </p:cNvSpPr>
              <p:nvPr/>
            </p:nvSpPr>
            <p:spPr bwMode="auto">
              <a:xfrm>
                <a:off x="2745" y="26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custDataLst>
      <p:tags r:id="rId1"/>
    </p:custDataLst>
    <p:extLst>
      <p:ext uri="{BB962C8B-B14F-4D97-AF65-F5344CB8AC3E}">
        <p14:creationId xmlns:p14="http://schemas.microsoft.com/office/powerpoint/2010/main" val="426734358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Isosceles Triangle 39">
            <a:extLst>
              <a:ext uri="{FF2B5EF4-FFF2-40B4-BE49-F238E27FC236}">
                <a16:creationId xmlns:a16="http://schemas.microsoft.com/office/drawing/2014/main" id="{F67443CF-815D-9D4C-9270-588E3353F638}"/>
              </a:ext>
            </a:extLst>
          </p:cNvPr>
          <p:cNvSpPr/>
          <p:nvPr/>
        </p:nvSpPr>
        <p:spPr bwMode="gray">
          <a:xfrm rot="10800000" flipV="1">
            <a:off x="466265" y="5778381"/>
            <a:ext cx="11268534" cy="261534"/>
          </a:xfrm>
          <a:prstGeom prst="triangle">
            <a:avLst/>
          </a:prstGeom>
          <a:solidFill>
            <a:srgbClr val="97999B"/>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sp>
        <p:nvSpPr>
          <p:cNvPr id="29" name="Rectangle 28">
            <a:extLst>
              <a:ext uri="{FF2B5EF4-FFF2-40B4-BE49-F238E27FC236}">
                <a16:creationId xmlns:a16="http://schemas.microsoft.com/office/drawing/2014/main" id="{CC7E6AE7-3146-7540-8986-375B71476050}"/>
              </a:ext>
            </a:extLst>
          </p:cNvPr>
          <p:cNvSpPr>
            <a:spLocks/>
          </p:cNvSpPr>
          <p:nvPr/>
        </p:nvSpPr>
        <p:spPr bwMode="auto">
          <a:xfrm>
            <a:off x="443622" y="1714500"/>
            <a:ext cx="3556001" cy="2891356"/>
          </a:xfrm>
          <a:prstGeom prst="rect">
            <a:avLst/>
          </a:prstGeom>
          <a:solidFill>
            <a:srgbClr val="000000"/>
          </a:solidFill>
          <a:ln w="0">
            <a:noFill/>
            <a:prstDash val="solid"/>
            <a:round/>
            <a:headEnd/>
            <a:tailEnd/>
          </a:ln>
        </p:spPr>
        <p:txBody>
          <a:bodyPr vert="horz" wrap="square" lIns="91370" tIns="72000" rIns="91370" bIns="45685" numCol="1" anchor="t" anchorCtr="0" compatLnSpc="1">
            <a:prstTxWarp prst="textNoShape">
              <a:avLst/>
            </a:prstTxWarp>
          </a:bodyPr>
          <a:lstStyle/>
          <a:p>
            <a:pPr algn="ctr" defTabSz="913686"/>
            <a:r>
              <a:rPr lang="da-DK" sz="1300" b="1" dirty="0">
                <a:solidFill>
                  <a:prstClr val="white"/>
                </a:solidFill>
              </a:rPr>
              <a:t>Lorem ipsum dolor sit amet</a:t>
            </a:r>
            <a:endParaRPr lang="en-US" sz="1300" b="1" dirty="0">
              <a:solidFill>
                <a:prstClr val="white"/>
              </a:solidFill>
            </a:endParaRPr>
          </a:p>
        </p:txBody>
      </p:sp>
      <p:sp>
        <p:nvSpPr>
          <p:cNvPr id="30" name="Freeform 29">
            <a:extLst>
              <a:ext uri="{FF2B5EF4-FFF2-40B4-BE49-F238E27FC236}">
                <a16:creationId xmlns:a16="http://schemas.microsoft.com/office/drawing/2014/main" id="{6413C305-7BD7-CD4A-89E0-76EE3E396902}"/>
              </a:ext>
            </a:extLst>
          </p:cNvPr>
          <p:cNvSpPr>
            <a:spLocks/>
          </p:cNvSpPr>
          <p:nvPr/>
        </p:nvSpPr>
        <p:spPr bwMode="auto">
          <a:xfrm>
            <a:off x="443436" y="1714506"/>
            <a:ext cx="3556372" cy="2789887"/>
          </a:xfrm>
          <a:custGeom>
            <a:avLst/>
            <a:gdLst>
              <a:gd name="T0" fmla="*/ 553 w 556"/>
              <a:gd name="T1" fmla="*/ 2038 h 2146"/>
              <a:gd name="T2" fmla="*/ 553 w 556"/>
              <a:gd name="T3" fmla="*/ 2038 h 2146"/>
              <a:gd name="T4" fmla="*/ 483 w 556"/>
              <a:gd name="T5" fmla="*/ 2146 h 2146"/>
              <a:gd name="T6" fmla="*/ 70 w 556"/>
              <a:gd name="T7" fmla="*/ 2144 h 2146"/>
              <a:gd name="T8" fmla="*/ 8 w 556"/>
              <a:gd name="T9" fmla="*/ 2038 h 2146"/>
              <a:gd name="T10" fmla="*/ 8 w 556"/>
              <a:gd name="T11" fmla="*/ 103 h 2146"/>
              <a:gd name="T12" fmla="*/ 59 w 556"/>
              <a:gd name="T13" fmla="*/ 0 h 2146"/>
              <a:gd name="T14" fmla="*/ 496 w 556"/>
              <a:gd name="T15" fmla="*/ 0 h 2146"/>
              <a:gd name="T16" fmla="*/ 553 w 556"/>
              <a:gd name="T17" fmla="*/ 103 h 2146"/>
              <a:gd name="T18" fmla="*/ 553 w 556"/>
              <a:gd name="T19" fmla="*/ 2038 h 2146"/>
              <a:gd name="T20" fmla="*/ 553 w 556"/>
              <a:gd name="T21" fmla="*/ 2038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6" h="2146">
                <a:moveTo>
                  <a:pt x="553" y="2038"/>
                </a:moveTo>
                <a:lnTo>
                  <a:pt x="553" y="2038"/>
                </a:lnTo>
                <a:cubicBezTo>
                  <a:pt x="553" y="2096"/>
                  <a:pt x="543" y="2146"/>
                  <a:pt x="483" y="2146"/>
                </a:cubicBezTo>
                <a:lnTo>
                  <a:pt x="70" y="2144"/>
                </a:lnTo>
                <a:cubicBezTo>
                  <a:pt x="10" y="2144"/>
                  <a:pt x="8" y="2096"/>
                  <a:pt x="8" y="2038"/>
                </a:cubicBezTo>
                <a:lnTo>
                  <a:pt x="8" y="103"/>
                </a:lnTo>
                <a:cubicBezTo>
                  <a:pt x="8" y="45"/>
                  <a:pt x="0" y="0"/>
                  <a:pt x="59" y="0"/>
                </a:cubicBezTo>
                <a:lnTo>
                  <a:pt x="496" y="0"/>
                </a:lnTo>
                <a:cubicBezTo>
                  <a:pt x="556" y="0"/>
                  <a:pt x="553" y="45"/>
                  <a:pt x="553" y="103"/>
                </a:cubicBezTo>
                <a:lnTo>
                  <a:pt x="553" y="2038"/>
                </a:lnTo>
                <a:lnTo>
                  <a:pt x="553" y="2038"/>
                </a:lnTo>
                <a:close/>
              </a:path>
            </a:pathLst>
          </a:custGeom>
          <a:noFill/>
          <a:ln w="1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31" name="Freeform 30">
            <a:extLst>
              <a:ext uri="{FF2B5EF4-FFF2-40B4-BE49-F238E27FC236}">
                <a16:creationId xmlns:a16="http://schemas.microsoft.com/office/drawing/2014/main" id="{855D3F6B-2752-E841-BF88-2EB6ED6D7A78}"/>
              </a:ext>
            </a:extLst>
          </p:cNvPr>
          <p:cNvSpPr>
            <a:spLocks/>
          </p:cNvSpPr>
          <p:nvPr/>
        </p:nvSpPr>
        <p:spPr bwMode="auto">
          <a:xfrm>
            <a:off x="588795" y="2090290"/>
            <a:ext cx="3265656" cy="1676792"/>
          </a:xfrm>
          <a:custGeom>
            <a:avLst/>
            <a:gdLst>
              <a:gd name="T0" fmla="*/ 435 w 435"/>
              <a:gd name="T1" fmla="*/ 1072 h 1072"/>
              <a:gd name="T2" fmla="*/ 435 w 435"/>
              <a:gd name="T3" fmla="*/ 1072 h 1072"/>
              <a:gd name="T4" fmla="*/ 0 w 435"/>
              <a:gd name="T5" fmla="*/ 1072 h 1072"/>
              <a:gd name="T6" fmla="*/ 0 w 435"/>
              <a:gd name="T7" fmla="*/ 0 h 1072"/>
              <a:gd name="T8" fmla="*/ 435 w 435"/>
              <a:gd name="T9" fmla="*/ 0 h 1072"/>
              <a:gd name="T10" fmla="*/ 435 w 435"/>
              <a:gd name="T11" fmla="*/ 1072 h 1072"/>
            </a:gdLst>
            <a:ahLst/>
            <a:cxnLst>
              <a:cxn ang="0">
                <a:pos x="T0" y="T1"/>
              </a:cxn>
              <a:cxn ang="0">
                <a:pos x="T2" y="T3"/>
              </a:cxn>
              <a:cxn ang="0">
                <a:pos x="T4" y="T5"/>
              </a:cxn>
              <a:cxn ang="0">
                <a:pos x="T6" y="T7"/>
              </a:cxn>
              <a:cxn ang="0">
                <a:pos x="T8" y="T9"/>
              </a:cxn>
              <a:cxn ang="0">
                <a:pos x="T10" y="T11"/>
              </a:cxn>
            </a:cxnLst>
            <a:rect l="0" t="0" r="r" b="b"/>
            <a:pathLst>
              <a:path w="435" h="1072">
                <a:moveTo>
                  <a:pt x="435" y="1072"/>
                </a:moveTo>
                <a:lnTo>
                  <a:pt x="435" y="1072"/>
                </a:lnTo>
                <a:lnTo>
                  <a:pt x="0" y="1072"/>
                </a:lnTo>
                <a:lnTo>
                  <a:pt x="0" y="0"/>
                </a:lnTo>
                <a:lnTo>
                  <a:pt x="435" y="0"/>
                </a:lnTo>
                <a:lnTo>
                  <a:pt x="435" y="1072"/>
                </a:lnTo>
                <a:close/>
              </a:path>
            </a:pathLst>
          </a:custGeom>
          <a:solidFill>
            <a:srgbClr val="FEFEFE"/>
          </a:solidFill>
          <a:ln w="0">
            <a:noFill/>
            <a:prstDash val="solid"/>
            <a:round/>
            <a:headEnd/>
            <a:tailEnd/>
          </a:ln>
        </p:spPr>
        <p:txBody>
          <a:bodyPr vert="horz" wrap="square" lIns="91370" tIns="45685" rIns="91370" bIns="45685" numCol="1" anchor="t" anchorCtr="0" compatLnSpc="1">
            <a:prstTxWarp prst="textNoShape">
              <a:avLst/>
            </a:prstTxWarp>
          </a:bodyPr>
          <a:lstStyle/>
          <a:p>
            <a:pPr marL="123727" lvl="1" indent="-123727"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33" name="Rectangle 32">
            <a:extLst>
              <a:ext uri="{FF2B5EF4-FFF2-40B4-BE49-F238E27FC236}">
                <a16:creationId xmlns:a16="http://schemas.microsoft.com/office/drawing/2014/main" id="{A6A11878-0748-7141-B1AF-470FB1BB0793}"/>
              </a:ext>
            </a:extLst>
          </p:cNvPr>
          <p:cNvSpPr>
            <a:spLocks/>
          </p:cNvSpPr>
          <p:nvPr/>
        </p:nvSpPr>
        <p:spPr bwMode="auto">
          <a:xfrm>
            <a:off x="4324076" y="1714500"/>
            <a:ext cx="3545042" cy="2891356"/>
          </a:xfrm>
          <a:prstGeom prst="rect">
            <a:avLst/>
          </a:prstGeom>
          <a:solidFill>
            <a:srgbClr val="43B02A"/>
          </a:solidFill>
          <a:ln w="0">
            <a:noFill/>
            <a:prstDash val="solid"/>
            <a:round/>
            <a:headEnd/>
            <a:tailEnd/>
          </a:ln>
        </p:spPr>
        <p:txBody>
          <a:bodyPr vert="horz" wrap="square" lIns="91370" tIns="72000" rIns="91370" bIns="45685" numCol="1" anchor="t" anchorCtr="0" compatLnSpc="1">
            <a:prstTxWarp prst="textNoShape">
              <a:avLst/>
            </a:prstTxWarp>
          </a:bodyPr>
          <a:lstStyle/>
          <a:p>
            <a:pPr algn="ctr" defTabSz="913686"/>
            <a:r>
              <a:rPr lang="da-DK" sz="1300" b="1" dirty="0">
                <a:solidFill>
                  <a:prstClr val="white"/>
                </a:solidFill>
              </a:rPr>
              <a:t>Lorem ipsum dolor sit amet</a:t>
            </a:r>
            <a:endParaRPr lang="en-US" sz="1300" b="1" dirty="0">
              <a:solidFill>
                <a:prstClr val="white"/>
              </a:solidFill>
            </a:endParaRPr>
          </a:p>
        </p:txBody>
      </p:sp>
      <p:sp>
        <p:nvSpPr>
          <p:cNvPr id="34" name="Freeform 33">
            <a:extLst>
              <a:ext uri="{FF2B5EF4-FFF2-40B4-BE49-F238E27FC236}">
                <a16:creationId xmlns:a16="http://schemas.microsoft.com/office/drawing/2014/main" id="{17289CF7-F829-A74B-9607-7E620E093618}"/>
              </a:ext>
            </a:extLst>
          </p:cNvPr>
          <p:cNvSpPr>
            <a:spLocks/>
          </p:cNvSpPr>
          <p:nvPr/>
        </p:nvSpPr>
        <p:spPr bwMode="auto">
          <a:xfrm>
            <a:off x="4311103" y="1714506"/>
            <a:ext cx="3570989" cy="2789887"/>
          </a:xfrm>
          <a:custGeom>
            <a:avLst/>
            <a:gdLst>
              <a:gd name="T0" fmla="*/ 554 w 558"/>
              <a:gd name="T1" fmla="*/ 2038 h 2146"/>
              <a:gd name="T2" fmla="*/ 554 w 558"/>
              <a:gd name="T3" fmla="*/ 2038 h 2146"/>
              <a:gd name="T4" fmla="*/ 484 w 558"/>
              <a:gd name="T5" fmla="*/ 2146 h 2146"/>
              <a:gd name="T6" fmla="*/ 72 w 558"/>
              <a:gd name="T7" fmla="*/ 2144 h 2146"/>
              <a:gd name="T8" fmla="*/ 10 w 558"/>
              <a:gd name="T9" fmla="*/ 2038 h 2146"/>
              <a:gd name="T10" fmla="*/ 10 w 558"/>
              <a:gd name="T11" fmla="*/ 103 h 2146"/>
              <a:gd name="T12" fmla="*/ 60 w 558"/>
              <a:gd name="T13" fmla="*/ 0 h 2146"/>
              <a:gd name="T14" fmla="*/ 497 w 558"/>
              <a:gd name="T15" fmla="*/ 0 h 2146"/>
              <a:gd name="T16" fmla="*/ 554 w 558"/>
              <a:gd name="T17" fmla="*/ 103 h 2146"/>
              <a:gd name="T18" fmla="*/ 554 w 558"/>
              <a:gd name="T19" fmla="*/ 2038 h 2146"/>
              <a:gd name="T20" fmla="*/ 554 w 558"/>
              <a:gd name="T21" fmla="*/ 2038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8" h="2146">
                <a:moveTo>
                  <a:pt x="554" y="2038"/>
                </a:moveTo>
                <a:lnTo>
                  <a:pt x="554" y="2038"/>
                </a:lnTo>
                <a:cubicBezTo>
                  <a:pt x="554" y="2096"/>
                  <a:pt x="544" y="2146"/>
                  <a:pt x="484" y="2146"/>
                </a:cubicBezTo>
                <a:lnTo>
                  <a:pt x="72" y="2144"/>
                </a:lnTo>
                <a:cubicBezTo>
                  <a:pt x="11" y="2144"/>
                  <a:pt x="10" y="2096"/>
                  <a:pt x="10" y="2038"/>
                </a:cubicBezTo>
                <a:lnTo>
                  <a:pt x="10" y="103"/>
                </a:lnTo>
                <a:cubicBezTo>
                  <a:pt x="10" y="45"/>
                  <a:pt x="0" y="0"/>
                  <a:pt x="60" y="0"/>
                </a:cubicBezTo>
                <a:lnTo>
                  <a:pt x="497" y="0"/>
                </a:lnTo>
                <a:cubicBezTo>
                  <a:pt x="558" y="0"/>
                  <a:pt x="554" y="45"/>
                  <a:pt x="554" y="103"/>
                </a:cubicBezTo>
                <a:lnTo>
                  <a:pt x="554" y="2038"/>
                </a:lnTo>
                <a:lnTo>
                  <a:pt x="554" y="2038"/>
                </a:lnTo>
                <a:close/>
              </a:path>
            </a:pathLst>
          </a:custGeom>
          <a:noFill/>
          <a:ln w="1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35" name="Freeform 34">
            <a:extLst>
              <a:ext uri="{FF2B5EF4-FFF2-40B4-BE49-F238E27FC236}">
                <a16:creationId xmlns:a16="http://schemas.microsoft.com/office/drawing/2014/main" id="{F6A4BECE-ECA3-A44B-9AD4-17E2998A604D}"/>
              </a:ext>
            </a:extLst>
          </p:cNvPr>
          <p:cNvSpPr>
            <a:spLocks/>
          </p:cNvSpPr>
          <p:nvPr/>
        </p:nvSpPr>
        <p:spPr bwMode="auto">
          <a:xfrm>
            <a:off x="4463770" y="2090290"/>
            <a:ext cx="3265656" cy="1676792"/>
          </a:xfrm>
          <a:custGeom>
            <a:avLst/>
            <a:gdLst>
              <a:gd name="T0" fmla="*/ 435 w 435"/>
              <a:gd name="T1" fmla="*/ 1072 h 1072"/>
              <a:gd name="T2" fmla="*/ 435 w 435"/>
              <a:gd name="T3" fmla="*/ 1072 h 1072"/>
              <a:gd name="T4" fmla="*/ 0 w 435"/>
              <a:gd name="T5" fmla="*/ 1072 h 1072"/>
              <a:gd name="T6" fmla="*/ 0 w 435"/>
              <a:gd name="T7" fmla="*/ 0 h 1072"/>
              <a:gd name="T8" fmla="*/ 435 w 435"/>
              <a:gd name="T9" fmla="*/ 0 h 1072"/>
              <a:gd name="T10" fmla="*/ 435 w 435"/>
              <a:gd name="T11" fmla="*/ 1072 h 1072"/>
            </a:gdLst>
            <a:ahLst/>
            <a:cxnLst>
              <a:cxn ang="0">
                <a:pos x="T0" y="T1"/>
              </a:cxn>
              <a:cxn ang="0">
                <a:pos x="T2" y="T3"/>
              </a:cxn>
              <a:cxn ang="0">
                <a:pos x="T4" y="T5"/>
              </a:cxn>
              <a:cxn ang="0">
                <a:pos x="T6" y="T7"/>
              </a:cxn>
              <a:cxn ang="0">
                <a:pos x="T8" y="T9"/>
              </a:cxn>
              <a:cxn ang="0">
                <a:pos x="T10" y="T11"/>
              </a:cxn>
            </a:cxnLst>
            <a:rect l="0" t="0" r="r" b="b"/>
            <a:pathLst>
              <a:path w="435" h="1072">
                <a:moveTo>
                  <a:pt x="435" y="1072"/>
                </a:moveTo>
                <a:lnTo>
                  <a:pt x="435" y="1072"/>
                </a:lnTo>
                <a:lnTo>
                  <a:pt x="0" y="1072"/>
                </a:lnTo>
                <a:lnTo>
                  <a:pt x="0" y="0"/>
                </a:lnTo>
                <a:lnTo>
                  <a:pt x="435" y="0"/>
                </a:lnTo>
                <a:lnTo>
                  <a:pt x="435" y="1072"/>
                </a:lnTo>
                <a:close/>
              </a:path>
            </a:pathLst>
          </a:custGeom>
          <a:solidFill>
            <a:srgbClr val="FEFEFE"/>
          </a:solidFill>
          <a:ln w="0">
            <a:noFill/>
            <a:prstDash val="solid"/>
            <a:round/>
            <a:headEnd/>
            <a:tailEnd/>
          </a:ln>
        </p:spPr>
        <p:txBody>
          <a:bodyPr vert="horz" wrap="square" lIns="91370" tIns="45685" rIns="91370" bIns="45685" numCol="1" anchor="t" anchorCtr="0" compatLnSpc="1">
            <a:prstTxWarp prst="textNoShape">
              <a:avLst/>
            </a:prstTxWarp>
          </a:bodyPr>
          <a:lstStyle/>
          <a:p>
            <a:pPr marL="123727" lvl="1" indent="-123727"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37" name="Rectangle 36">
            <a:extLst>
              <a:ext uri="{FF2B5EF4-FFF2-40B4-BE49-F238E27FC236}">
                <a16:creationId xmlns:a16="http://schemas.microsoft.com/office/drawing/2014/main" id="{41DB9743-4CCC-CD4D-B71A-E4B6A20501C4}"/>
              </a:ext>
            </a:extLst>
          </p:cNvPr>
          <p:cNvSpPr>
            <a:spLocks/>
          </p:cNvSpPr>
          <p:nvPr/>
        </p:nvSpPr>
        <p:spPr bwMode="auto">
          <a:xfrm>
            <a:off x="8168685" y="1714500"/>
            <a:ext cx="3566116" cy="2891356"/>
          </a:xfrm>
          <a:prstGeom prst="rect">
            <a:avLst/>
          </a:prstGeom>
          <a:solidFill>
            <a:schemeClr val="accent3"/>
          </a:solidFill>
          <a:ln w="0">
            <a:noFill/>
            <a:prstDash val="solid"/>
            <a:round/>
            <a:headEnd/>
            <a:tailEnd/>
          </a:ln>
        </p:spPr>
        <p:txBody>
          <a:bodyPr vert="horz" wrap="square" lIns="91370" tIns="72000" rIns="91370" bIns="45685" numCol="1" anchor="t" anchorCtr="0" compatLnSpc="1">
            <a:prstTxWarp prst="textNoShape">
              <a:avLst/>
            </a:prstTxWarp>
          </a:bodyPr>
          <a:lstStyle/>
          <a:p>
            <a:pPr algn="ctr" defTabSz="913686"/>
            <a:r>
              <a:rPr lang="da-DK" sz="1300" b="1">
                <a:solidFill>
                  <a:prstClr val="white"/>
                </a:solidFill>
              </a:rPr>
              <a:t>Lorem ipsum dolor sit amet</a:t>
            </a:r>
            <a:endParaRPr lang="en-US" sz="1300" b="1" dirty="0">
              <a:solidFill>
                <a:prstClr val="white"/>
              </a:solidFill>
            </a:endParaRPr>
          </a:p>
        </p:txBody>
      </p:sp>
      <p:sp>
        <p:nvSpPr>
          <p:cNvPr id="38" name="Freeform 37">
            <a:extLst>
              <a:ext uri="{FF2B5EF4-FFF2-40B4-BE49-F238E27FC236}">
                <a16:creationId xmlns:a16="http://schemas.microsoft.com/office/drawing/2014/main" id="{FDC36BFD-9FED-7C46-B417-CDE657A125A3}"/>
              </a:ext>
            </a:extLst>
          </p:cNvPr>
          <p:cNvSpPr>
            <a:spLocks/>
          </p:cNvSpPr>
          <p:nvPr/>
        </p:nvSpPr>
        <p:spPr bwMode="auto">
          <a:xfrm>
            <a:off x="8168685" y="1714506"/>
            <a:ext cx="3566116" cy="2789887"/>
          </a:xfrm>
          <a:custGeom>
            <a:avLst/>
            <a:gdLst>
              <a:gd name="T0" fmla="*/ 553 w 557"/>
              <a:gd name="T1" fmla="*/ 2038 h 2146"/>
              <a:gd name="T2" fmla="*/ 553 w 557"/>
              <a:gd name="T3" fmla="*/ 2038 h 2146"/>
              <a:gd name="T4" fmla="*/ 484 w 557"/>
              <a:gd name="T5" fmla="*/ 2146 h 2146"/>
              <a:gd name="T6" fmla="*/ 71 w 557"/>
              <a:gd name="T7" fmla="*/ 2144 h 2146"/>
              <a:gd name="T8" fmla="*/ 9 w 557"/>
              <a:gd name="T9" fmla="*/ 2038 h 2146"/>
              <a:gd name="T10" fmla="*/ 9 w 557"/>
              <a:gd name="T11" fmla="*/ 103 h 2146"/>
              <a:gd name="T12" fmla="*/ 60 w 557"/>
              <a:gd name="T13" fmla="*/ 0 h 2146"/>
              <a:gd name="T14" fmla="*/ 497 w 557"/>
              <a:gd name="T15" fmla="*/ 0 h 2146"/>
              <a:gd name="T16" fmla="*/ 553 w 557"/>
              <a:gd name="T17" fmla="*/ 103 h 2146"/>
              <a:gd name="T18" fmla="*/ 553 w 557"/>
              <a:gd name="T19" fmla="*/ 2038 h 2146"/>
              <a:gd name="T20" fmla="*/ 553 w 557"/>
              <a:gd name="T21" fmla="*/ 2038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7" h="2146">
                <a:moveTo>
                  <a:pt x="553" y="2038"/>
                </a:moveTo>
                <a:lnTo>
                  <a:pt x="553" y="2038"/>
                </a:lnTo>
                <a:cubicBezTo>
                  <a:pt x="553" y="2096"/>
                  <a:pt x="544" y="2146"/>
                  <a:pt x="484" y="2146"/>
                </a:cubicBezTo>
                <a:lnTo>
                  <a:pt x="71" y="2144"/>
                </a:lnTo>
                <a:cubicBezTo>
                  <a:pt x="11" y="2144"/>
                  <a:pt x="9" y="2096"/>
                  <a:pt x="9" y="2038"/>
                </a:cubicBezTo>
                <a:lnTo>
                  <a:pt x="9" y="103"/>
                </a:lnTo>
                <a:cubicBezTo>
                  <a:pt x="9" y="45"/>
                  <a:pt x="0" y="0"/>
                  <a:pt x="60" y="0"/>
                </a:cubicBezTo>
                <a:lnTo>
                  <a:pt x="497" y="0"/>
                </a:lnTo>
                <a:cubicBezTo>
                  <a:pt x="557" y="0"/>
                  <a:pt x="553" y="45"/>
                  <a:pt x="553" y="103"/>
                </a:cubicBezTo>
                <a:lnTo>
                  <a:pt x="553" y="2038"/>
                </a:lnTo>
                <a:lnTo>
                  <a:pt x="553" y="2038"/>
                </a:lnTo>
                <a:close/>
              </a:path>
            </a:pathLst>
          </a:custGeom>
          <a:noFill/>
          <a:ln w="1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39" name="Freeform 38">
            <a:extLst>
              <a:ext uri="{FF2B5EF4-FFF2-40B4-BE49-F238E27FC236}">
                <a16:creationId xmlns:a16="http://schemas.microsoft.com/office/drawing/2014/main" id="{BE075C0F-9B09-1549-A879-1DE938DEEDB7}"/>
              </a:ext>
            </a:extLst>
          </p:cNvPr>
          <p:cNvSpPr>
            <a:spLocks/>
          </p:cNvSpPr>
          <p:nvPr/>
        </p:nvSpPr>
        <p:spPr bwMode="auto">
          <a:xfrm>
            <a:off x="8318916" y="2090290"/>
            <a:ext cx="3265656" cy="1676792"/>
          </a:xfrm>
          <a:custGeom>
            <a:avLst/>
            <a:gdLst>
              <a:gd name="T0" fmla="*/ 435 w 435"/>
              <a:gd name="T1" fmla="*/ 1072 h 1072"/>
              <a:gd name="T2" fmla="*/ 435 w 435"/>
              <a:gd name="T3" fmla="*/ 1072 h 1072"/>
              <a:gd name="T4" fmla="*/ 0 w 435"/>
              <a:gd name="T5" fmla="*/ 1072 h 1072"/>
              <a:gd name="T6" fmla="*/ 0 w 435"/>
              <a:gd name="T7" fmla="*/ 0 h 1072"/>
              <a:gd name="T8" fmla="*/ 435 w 435"/>
              <a:gd name="T9" fmla="*/ 0 h 1072"/>
              <a:gd name="T10" fmla="*/ 435 w 435"/>
              <a:gd name="T11" fmla="*/ 1072 h 1072"/>
            </a:gdLst>
            <a:ahLst/>
            <a:cxnLst>
              <a:cxn ang="0">
                <a:pos x="T0" y="T1"/>
              </a:cxn>
              <a:cxn ang="0">
                <a:pos x="T2" y="T3"/>
              </a:cxn>
              <a:cxn ang="0">
                <a:pos x="T4" y="T5"/>
              </a:cxn>
              <a:cxn ang="0">
                <a:pos x="T6" y="T7"/>
              </a:cxn>
              <a:cxn ang="0">
                <a:pos x="T8" y="T9"/>
              </a:cxn>
              <a:cxn ang="0">
                <a:pos x="T10" y="T11"/>
              </a:cxn>
            </a:cxnLst>
            <a:rect l="0" t="0" r="r" b="b"/>
            <a:pathLst>
              <a:path w="435" h="1072">
                <a:moveTo>
                  <a:pt x="435" y="1072"/>
                </a:moveTo>
                <a:lnTo>
                  <a:pt x="435" y="1072"/>
                </a:lnTo>
                <a:lnTo>
                  <a:pt x="0" y="1072"/>
                </a:lnTo>
                <a:lnTo>
                  <a:pt x="0" y="0"/>
                </a:lnTo>
                <a:lnTo>
                  <a:pt x="435" y="0"/>
                </a:lnTo>
                <a:lnTo>
                  <a:pt x="435" y="1072"/>
                </a:lnTo>
                <a:close/>
              </a:path>
            </a:pathLst>
          </a:custGeom>
          <a:solidFill>
            <a:srgbClr val="FEFEFE"/>
          </a:solidFill>
          <a:ln w="0">
            <a:noFill/>
            <a:prstDash val="solid"/>
            <a:round/>
            <a:headEnd/>
            <a:tailEnd/>
          </a:ln>
        </p:spPr>
        <p:txBody>
          <a:bodyPr vert="horz" wrap="square" lIns="91370" tIns="45685" rIns="91370" bIns="45685" numCol="1" anchor="t" anchorCtr="0" compatLnSpc="1">
            <a:prstTxWarp prst="textNoShape">
              <a:avLst/>
            </a:prstTxWarp>
          </a:bodyPr>
          <a:lstStyle/>
          <a:p>
            <a:pPr marL="123727" lvl="1" indent="-123727"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75" name="Rectangle 74">
            <a:extLst>
              <a:ext uri="{FF2B5EF4-FFF2-40B4-BE49-F238E27FC236}">
                <a16:creationId xmlns:a16="http://schemas.microsoft.com/office/drawing/2014/main" id="{C992C2E0-DF1D-7B42-A0E5-6214EC68DD91}"/>
              </a:ext>
            </a:extLst>
          </p:cNvPr>
          <p:cNvSpPr/>
          <p:nvPr/>
        </p:nvSpPr>
        <p:spPr>
          <a:xfrm>
            <a:off x="457201" y="4768398"/>
            <a:ext cx="11286658" cy="925827"/>
          </a:xfrm>
          <a:prstGeom prst="rect">
            <a:avLst/>
          </a:prstGeom>
          <a:solidFill>
            <a:schemeClr val="bg1"/>
          </a:solidFill>
          <a:ln w="12700" cap="flat" cmpd="sng" algn="ctr">
            <a:solidFill>
              <a:srgbClr val="000000"/>
            </a:solidFill>
            <a:prstDash val="solid"/>
          </a:ln>
          <a:effectLst/>
        </p:spPr>
        <p:txBody>
          <a:bodyPr lIns="91370" tIns="45685" rIns="91370" bIns="45685" rtlCol="0" anchor="ctr"/>
          <a:lstStyle/>
          <a:p>
            <a:pPr algn="ctr" defTabSz="913686">
              <a:defRPr/>
            </a:pPr>
            <a:endParaRPr lang="en-US" sz="1300" kern="0" dirty="0">
              <a:solidFill>
                <a:srgbClr val="FFFFFF"/>
              </a:solidFill>
              <a:cs typeface="Arial" charset="0"/>
            </a:endParaRPr>
          </a:p>
        </p:txBody>
      </p:sp>
      <p:sp>
        <p:nvSpPr>
          <p:cNvPr id="76" name="Isosceles Triangle 80">
            <a:extLst>
              <a:ext uri="{FF2B5EF4-FFF2-40B4-BE49-F238E27FC236}">
                <a16:creationId xmlns:a16="http://schemas.microsoft.com/office/drawing/2014/main" id="{FB5F5A2C-FF34-8442-8320-23720DC97592}"/>
              </a:ext>
            </a:extLst>
          </p:cNvPr>
          <p:cNvSpPr/>
          <p:nvPr/>
        </p:nvSpPr>
        <p:spPr>
          <a:xfrm>
            <a:off x="2038711" y="4690012"/>
            <a:ext cx="365822" cy="96733"/>
          </a:xfrm>
          <a:prstGeom prst="triangle">
            <a:avLst/>
          </a:prstGeom>
          <a:solidFill>
            <a:srgbClr val="53565A"/>
          </a:solidFill>
          <a:ln w="25400" cap="flat" cmpd="sng" algn="ctr">
            <a:noFill/>
            <a:prstDash val="solid"/>
          </a:ln>
          <a:effectLst/>
        </p:spPr>
        <p:txBody>
          <a:bodyPr lIns="91370" tIns="45685" rIns="91370" bIns="45685" rtlCol="0" anchor="ctr"/>
          <a:lstStyle/>
          <a:p>
            <a:pPr algn="ctr" defTabSz="913686">
              <a:defRPr/>
            </a:pPr>
            <a:endParaRPr lang="en-US" sz="1300" kern="0" dirty="0">
              <a:solidFill>
                <a:srgbClr val="FFFFFF"/>
              </a:solidFill>
              <a:cs typeface="Arial" charset="0"/>
            </a:endParaRPr>
          </a:p>
        </p:txBody>
      </p:sp>
      <p:sp>
        <p:nvSpPr>
          <p:cNvPr id="77" name="Isosceles Triangle 81">
            <a:extLst>
              <a:ext uri="{FF2B5EF4-FFF2-40B4-BE49-F238E27FC236}">
                <a16:creationId xmlns:a16="http://schemas.microsoft.com/office/drawing/2014/main" id="{6ED4616B-A7FE-DB44-B582-4D813AC2EBBE}"/>
              </a:ext>
            </a:extLst>
          </p:cNvPr>
          <p:cNvSpPr/>
          <p:nvPr/>
        </p:nvSpPr>
        <p:spPr>
          <a:xfrm>
            <a:off x="5913686" y="4690012"/>
            <a:ext cx="365822" cy="96733"/>
          </a:xfrm>
          <a:prstGeom prst="triangle">
            <a:avLst/>
          </a:prstGeom>
          <a:solidFill>
            <a:srgbClr val="53565A"/>
          </a:solidFill>
          <a:ln w="25400" cap="flat" cmpd="sng" algn="ctr">
            <a:noFill/>
            <a:prstDash val="solid"/>
          </a:ln>
          <a:effectLst/>
        </p:spPr>
        <p:txBody>
          <a:bodyPr lIns="91370" tIns="45685" rIns="91370" bIns="45685" rtlCol="0" anchor="ctr"/>
          <a:lstStyle/>
          <a:p>
            <a:pPr algn="ctr" defTabSz="913686">
              <a:defRPr/>
            </a:pPr>
            <a:endParaRPr lang="en-US" sz="1300" kern="0" dirty="0">
              <a:solidFill>
                <a:srgbClr val="FFFFFF"/>
              </a:solidFill>
              <a:cs typeface="Arial" charset="0"/>
            </a:endParaRPr>
          </a:p>
        </p:txBody>
      </p:sp>
      <p:sp>
        <p:nvSpPr>
          <p:cNvPr id="78" name="Isosceles Triangle 82">
            <a:extLst>
              <a:ext uri="{FF2B5EF4-FFF2-40B4-BE49-F238E27FC236}">
                <a16:creationId xmlns:a16="http://schemas.microsoft.com/office/drawing/2014/main" id="{F5685118-C208-B34F-8DC7-8EC85FBBE8B2}"/>
              </a:ext>
            </a:extLst>
          </p:cNvPr>
          <p:cNvSpPr/>
          <p:nvPr/>
        </p:nvSpPr>
        <p:spPr>
          <a:xfrm>
            <a:off x="9768832" y="4690012"/>
            <a:ext cx="365822" cy="96733"/>
          </a:xfrm>
          <a:prstGeom prst="triangle">
            <a:avLst/>
          </a:prstGeom>
          <a:solidFill>
            <a:srgbClr val="53565A"/>
          </a:solidFill>
          <a:ln w="25400" cap="flat" cmpd="sng" algn="ctr">
            <a:noFill/>
            <a:prstDash val="solid"/>
          </a:ln>
          <a:effectLst/>
        </p:spPr>
        <p:txBody>
          <a:bodyPr lIns="91370" tIns="45685" rIns="91370" bIns="45685" rtlCol="0" anchor="ctr"/>
          <a:lstStyle/>
          <a:p>
            <a:pPr algn="ctr" defTabSz="913686">
              <a:defRPr/>
            </a:pPr>
            <a:endParaRPr lang="en-US" sz="1300" kern="0" dirty="0">
              <a:solidFill>
                <a:srgbClr val="FFFFFF"/>
              </a:solidFill>
              <a:cs typeface="Arial" charset="0"/>
            </a:endParaRPr>
          </a:p>
        </p:txBody>
      </p:sp>
      <p:sp>
        <p:nvSpPr>
          <p:cNvPr id="79" name="Rectangle 78">
            <a:extLst>
              <a:ext uri="{FF2B5EF4-FFF2-40B4-BE49-F238E27FC236}">
                <a16:creationId xmlns:a16="http://schemas.microsoft.com/office/drawing/2014/main" id="{861E021D-B31A-7B4D-81F1-01B8EC6A0101}"/>
              </a:ext>
            </a:extLst>
          </p:cNvPr>
          <p:cNvSpPr/>
          <p:nvPr/>
        </p:nvSpPr>
        <p:spPr>
          <a:xfrm>
            <a:off x="678034" y="5106023"/>
            <a:ext cx="5247515" cy="400110"/>
          </a:xfrm>
          <a:prstGeom prst="rect">
            <a:avLst/>
          </a:prstGeom>
          <a:noFill/>
        </p:spPr>
        <p:txBody>
          <a:bodyPr wrap="square" lIns="0" tIns="0" rIns="0" bIns="0" rtlCol="0">
            <a:spAutoFit/>
          </a:bodyPr>
          <a:lstStyle/>
          <a:p>
            <a:pPr marL="123727" lvl="1" indent="-123727" defTabSz="913686">
              <a:buSzPct val="100000"/>
              <a:buFont typeface="Arial"/>
              <a:buChar char="•"/>
              <a:defRPr/>
            </a:pPr>
            <a:r>
              <a:rPr lang="en-US" sz="1300" dirty="0">
                <a:solidFill>
                  <a:srgbClr val="313131"/>
                </a:solidFill>
              </a:rPr>
              <a:t>This is dummy text it is not here to be read. The is just text to show where you could insert text. </a:t>
            </a:r>
          </a:p>
        </p:txBody>
      </p:sp>
      <p:sp>
        <p:nvSpPr>
          <p:cNvPr id="80" name="Rectangle 79">
            <a:extLst>
              <a:ext uri="{FF2B5EF4-FFF2-40B4-BE49-F238E27FC236}">
                <a16:creationId xmlns:a16="http://schemas.microsoft.com/office/drawing/2014/main" id="{53346094-7765-0748-B0DF-36C96890EA5A}"/>
              </a:ext>
            </a:extLst>
          </p:cNvPr>
          <p:cNvSpPr/>
          <p:nvPr/>
        </p:nvSpPr>
        <p:spPr>
          <a:xfrm>
            <a:off x="457200" y="4768397"/>
            <a:ext cx="11277600" cy="271708"/>
          </a:xfrm>
          <a:prstGeom prst="rect">
            <a:avLst/>
          </a:prstGeom>
          <a:solidFill>
            <a:srgbClr val="53565A"/>
          </a:solidFill>
        </p:spPr>
        <p:txBody>
          <a:bodyPr wrap="none" lIns="91370" tIns="91370" rIns="91370" bIns="91370" rtlCol="0" anchor="ctr">
            <a:noAutofit/>
          </a:bodyPr>
          <a:lstStyle/>
          <a:p>
            <a:pPr marL="0" lvl="1" algn="ctr" defTabSz="913686">
              <a:buSzPct val="100000"/>
              <a:defRPr/>
            </a:pPr>
            <a:r>
              <a:rPr lang="en-US" sz="1300" b="1" dirty="0">
                <a:solidFill>
                  <a:prstClr val="white"/>
                </a:solidFill>
              </a:rPr>
              <a:t>This is dummy text it is not here to be read. </a:t>
            </a:r>
          </a:p>
        </p:txBody>
      </p:sp>
      <p:sp>
        <p:nvSpPr>
          <p:cNvPr id="44" name="Subtitle 2">
            <a:extLst>
              <a:ext uri="{FF2B5EF4-FFF2-40B4-BE49-F238E27FC236}">
                <a16:creationId xmlns:a16="http://schemas.microsoft.com/office/drawing/2014/main" id="{E862A832-51A5-6F43-8219-4E69056A9E09}"/>
              </a:ext>
            </a:extLst>
          </p:cNvPr>
          <p:cNvSpPr txBox="1">
            <a:spLocks/>
          </p:cNvSpPr>
          <p:nvPr/>
        </p:nvSpPr>
        <p:spPr>
          <a:xfrm>
            <a:off x="457201" y="6024493"/>
            <a:ext cx="11277600" cy="384579"/>
          </a:xfrm>
          <a:prstGeom prst="rect">
            <a:avLst/>
          </a:prstGeom>
          <a:solidFill>
            <a:srgbClr val="53565A"/>
          </a:solidFill>
        </p:spPr>
        <p:txBody>
          <a:bodyPr vert="horz" wrap="square" lIns="91362" tIns="91370" rIns="91362" bIns="91370" rtlCol="0" anchor="ctr">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ts val="0"/>
              </a:spcBef>
            </a:pPr>
            <a:r>
              <a:rPr lang="en-US" sz="1300" b="1" dirty="0">
                <a:solidFill>
                  <a:prstClr val="white"/>
                </a:solidFill>
              </a:rPr>
              <a:t>The is just text to show where you could insert text.  </a:t>
            </a:r>
          </a:p>
        </p:txBody>
      </p:sp>
      <p:grpSp>
        <p:nvGrpSpPr>
          <p:cNvPr id="42" name="Group 226">
            <a:extLst>
              <a:ext uri="{FF2B5EF4-FFF2-40B4-BE49-F238E27FC236}">
                <a16:creationId xmlns:a16="http://schemas.microsoft.com/office/drawing/2014/main" id="{CD748B91-5C7C-4C26-B608-81587DCBACE5}"/>
              </a:ext>
            </a:extLst>
          </p:cNvPr>
          <p:cNvGrpSpPr>
            <a:grpSpLocks noChangeAspect="1"/>
          </p:cNvGrpSpPr>
          <p:nvPr/>
        </p:nvGrpSpPr>
        <p:grpSpPr bwMode="auto">
          <a:xfrm>
            <a:off x="9677423" y="3921001"/>
            <a:ext cx="548640" cy="548640"/>
            <a:chOff x="5048" y="783"/>
            <a:chExt cx="340" cy="340"/>
          </a:xfrm>
          <a:solidFill>
            <a:schemeClr val="bg1"/>
          </a:solidFill>
        </p:grpSpPr>
        <p:sp>
          <p:nvSpPr>
            <p:cNvPr id="43" name="Freeform 227">
              <a:extLst>
                <a:ext uri="{FF2B5EF4-FFF2-40B4-BE49-F238E27FC236}">
                  <a16:creationId xmlns:a16="http://schemas.microsoft.com/office/drawing/2014/main" id="{8DE35988-5343-4AFF-8ACF-632A7A5B3C7B}"/>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6" name="Freeform 228">
              <a:extLst>
                <a:ext uri="{FF2B5EF4-FFF2-40B4-BE49-F238E27FC236}">
                  <a16:creationId xmlns:a16="http://schemas.microsoft.com/office/drawing/2014/main" id="{0D104D79-59B7-4E7B-BE28-544273955D29}"/>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47" name="Group 784">
            <a:extLst>
              <a:ext uri="{FF2B5EF4-FFF2-40B4-BE49-F238E27FC236}">
                <a16:creationId xmlns:a16="http://schemas.microsoft.com/office/drawing/2014/main" id="{BEE941C4-6990-4E6E-A399-91082903CCAD}"/>
              </a:ext>
            </a:extLst>
          </p:cNvPr>
          <p:cNvGrpSpPr>
            <a:grpSpLocks noChangeAspect="1"/>
          </p:cNvGrpSpPr>
          <p:nvPr/>
        </p:nvGrpSpPr>
        <p:grpSpPr bwMode="auto">
          <a:xfrm>
            <a:off x="5822277" y="3921001"/>
            <a:ext cx="548640" cy="548640"/>
            <a:chOff x="2657" y="3361"/>
            <a:chExt cx="340" cy="340"/>
          </a:xfrm>
          <a:solidFill>
            <a:schemeClr val="bg1"/>
          </a:solidFill>
        </p:grpSpPr>
        <p:sp>
          <p:nvSpPr>
            <p:cNvPr id="48" name="Freeform 785">
              <a:extLst>
                <a:ext uri="{FF2B5EF4-FFF2-40B4-BE49-F238E27FC236}">
                  <a16:creationId xmlns:a16="http://schemas.microsoft.com/office/drawing/2014/main" id="{73A7DCF6-C6D1-45F4-826B-2878CF250082}"/>
                </a:ext>
              </a:extLst>
            </p:cNvPr>
            <p:cNvSpPr>
              <a:spLocks noEditPoints="1"/>
            </p:cNvSpPr>
            <p:nvPr/>
          </p:nvSpPr>
          <p:spPr bwMode="auto">
            <a:xfrm>
              <a:off x="2721" y="3439"/>
              <a:ext cx="212" cy="170"/>
            </a:xfrm>
            <a:custGeom>
              <a:avLst/>
              <a:gdLst>
                <a:gd name="T0" fmla="*/ 313 w 320"/>
                <a:gd name="T1" fmla="*/ 33 h 257"/>
                <a:gd name="T2" fmla="*/ 239 w 320"/>
                <a:gd name="T3" fmla="*/ 1 h 257"/>
                <a:gd name="T4" fmla="*/ 230 w 320"/>
                <a:gd name="T5" fmla="*/ 1 h 257"/>
                <a:gd name="T6" fmla="*/ 160 w 320"/>
                <a:gd name="T7" fmla="*/ 31 h 257"/>
                <a:gd name="T8" fmla="*/ 89 w 320"/>
                <a:gd name="T9" fmla="*/ 1 h 257"/>
                <a:gd name="T10" fmla="*/ 81 w 320"/>
                <a:gd name="T11" fmla="*/ 1 h 257"/>
                <a:gd name="T12" fmla="*/ 6 w 320"/>
                <a:gd name="T13" fmla="*/ 33 h 257"/>
                <a:gd name="T14" fmla="*/ 0 w 320"/>
                <a:gd name="T15" fmla="*/ 43 h 257"/>
                <a:gd name="T16" fmla="*/ 0 w 320"/>
                <a:gd name="T17" fmla="*/ 245 h 257"/>
                <a:gd name="T18" fmla="*/ 4 w 320"/>
                <a:gd name="T19" fmla="*/ 254 h 257"/>
                <a:gd name="T20" fmla="*/ 15 w 320"/>
                <a:gd name="T21" fmla="*/ 255 h 257"/>
                <a:gd name="T22" fmla="*/ 85 w 320"/>
                <a:gd name="T23" fmla="*/ 225 h 257"/>
                <a:gd name="T24" fmla="*/ 155 w 320"/>
                <a:gd name="T25" fmla="*/ 255 h 257"/>
                <a:gd name="T26" fmla="*/ 164 w 320"/>
                <a:gd name="T27" fmla="*/ 255 h 257"/>
                <a:gd name="T28" fmla="*/ 234 w 320"/>
                <a:gd name="T29" fmla="*/ 225 h 257"/>
                <a:gd name="T30" fmla="*/ 305 w 320"/>
                <a:gd name="T31" fmla="*/ 255 h 257"/>
                <a:gd name="T32" fmla="*/ 309 w 320"/>
                <a:gd name="T33" fmla="*/ 256 h 257"/>
                <a:gd name="T34" fmla="*/ 315 w 320"/>
                <a:gd name="T35" fmla="*/ 254 h 257"/>
                <a:gd name="T36" fmla="*/ 320 w 320"/>
                <a:gd name="T37" fmla="*/ 245 h 257"/>
                <a:gd name="T38" fmla="*/ 320 w 320"/>
                <a:gd name="T39" fmla="*/ 43 h 257"/>
                <a:gd name="T40" fmla="*/ 313 w 320"/>
                <a:gd name="T41" fmla="*/ 33 h 257"/>
                <a:gd name="T42" fmla="*/ 96 w 320"/>
                <a:gd name="T43" fmla="*/ 27 h 257"/>
                <a:gd name="T44" fmla="*/ 149 w 320"/>
                <a:gd name="T45" fmla="*/ 50 h 257"/>
                <a:gd name="T46" fmla="*/ 149 w 320"/>
                <a:gd name="T47" fmla="*/ 229 h 257"/>
                <a:gd name="T48" fmla="*/ 96 w 320"/>
                <a:gd name="T49" fmla="*/ 206 h 257"/>
                <a:gd name="T50" fmla="*/ 96 w 320"/>
                <a:gd name="T51" fmla="*/ 27 h 257"/>
                <a:gd name="T52" fmla="*/ 170 w 320"/>
                <a:gd name="T53" fmla="*/ 50 h 257"/>
                <a:gd name="T54" fmla="*/ 224 w 320"/>
                <a:gd name="T55" fmla="*/ 27 h 257"/>
                <a:gd name="T56" fmla="*/ 224 w 320"/>
                <a:gd name="T57" fmla="*/ 206 h 257"/>
                <a:gd name="T58" fmla="*/ 170 w 320"/>
                <a:gd name="T59" fmla="*/ 229 h 257"/>
                <a:gd name="T60" fmla="*/ 170 w 320"/>
                <a:gd name="T61" fmla="*/ 50 h 257"/>
                <a:gd name="T62" fmla="*/ 21 w 320"/>
                <a:gd name="T63" fmla="*/ 50 h 257"/>
                <a:gd name="T64" fmla="*/ 74 w 320"/>
                <a:gd name="T65" fmla="*/ 27 h 257"/>
                <a:gd name="T66" fmla="*/ 74 w 320"/>
                <a:gd name="T67" fmla="*/ 206 h 257"/>
                <a:gd name="T68" fmla="*/ 21 w 320"/>
                <a:gd name="T69" fmla="*/ 229 h 257"/>
                <a:gd name="T70" fmla="*/ 21 w 320"/>
                <a:gd name="T71" fmla="*/ 50 h 257"/>
                <a:gd name="T72" fmla="*/ 298 w 320"/>
                <a:gd name="T73" fmla="*/ 229 h 257"/>
                <a:gd name="T74" fmla="*/ 245 w 320"/>
                <a:gd name="T75" fmla="*/ 206 h 257"/>
                <a:gd name="T76" fmla="*/ 245 w 320"/>
                <a:gd name="T77" fmla="*/ 27 h 257"/>
                <a:gd name="T78" fmla="*/ 298 w 320"/>
                <a:gd name="T79" fmla="*/ 50 h 257"/>
                <a:gd name="T80" fmla="*/ 298 w 320"/>
                <a:gd name="T81" fmla="*/ 2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57">
                  <a:moveTo>
                    <a:pt x="313" y="33"/>
                  </a:moveTo>
                  <a:cubicBezTo>
                    <a:pt x="239" y="1"/>
                    <a:pt x="239" y="1"/>
                    <a:pt x="239" y="1"/>
                  </a:cubicBezTo>
                  <a:cubicBezTo>
                    <a:pt x="236" y="0"/>
                    <a:pt x="233" y="0"/>
                    <a:pt x="230" y="1"/>
                  </a:cubicBezTo>
                  <a:cubicBezTo>
                    <a:pt x="160" y="31"/>
                    <a:pt x="160" y="31"/>
                    <a:pt x="160" y="31"/>
                  </a:cubicBezTo>
                  <a:cubicBezTo>
                    <a:pt x="89" y="1"/>
                    <a:pt x="89" y="1"/>
                    <a:pt x="89" y="1"/>
                  </a:cubicBezTo>
                  <a:cubicBezTo>
                    <a:pt x="87" y="0"/>
                    <a:pt x="83" y="0"/>
                    <a:pt x="81" y="1"/>
                  </a:cubicBezTo>
                  <a:cubicBezTo>
                    <a:pt x="6" y="33"/>
                    <a:pt x="6" y="33"/>
                    <a:pt x="6" y="33"/>
                  </a:cubicBezTo>
                  <a:cubicBezTo>
                    <a:pt x="2" y="35"/>
                    <a:pt x="0" y="38"/>
                    <a:pt x="0" y="43"/>
                  </a:cubicBezTo>
                  <a:cubicBezTo>
                    <a:pt x="0" y="245"/>
                    <a:pt x="0" y="245"/>
                    <a:pt x="0" y="245"/>
                  </a:cubicBezTo>
                  <a:cubicBezTo>
                    <a:pt x="0" y="249"/>
                    <a:pt x="1" y="252"/>
                    <a:pt x="4" y="254"/>
                  </a:cubicBezTo>
                  <a:cubicBezTo>
                    <a:pt x="7" y="256"/>
                    <a:pt x="11" y="257"/>
                    <a:pt x="15" y="255"/>
                  </a:cubicBezTo>
                  <a:cubicBezTo>
                    <a:pt x="85" y="225"/>
                    <a:pt x="85" y="225"/>
                    <a:pt x="85" y="225"/>
                  </a:cubicBezTo>
                  <a:cubicBezTo>
                    <a:pt x="155" y="255"/>
                    <a:pt x="155" y="255"/>
                    <a:pt x="155" y="255"/>
                  </a:cubicBezTo>
                  <a:cubicBezTo>
                    <a:pt x="158" y="256"/>
                    <a:pt x="161" y="256"/>
                    <a:pt x="164" y="255"/>
                  </a:cubicBezTo>
                  <a:cubicBezTo>
                    <a:pt x="234" y="225"/>
                    <a:pt x="234" y="225"/>
                    <a:pt x="234" y="225"/>
                  </a:cubicBezTo>
                  <a:cubicBezTo>
                    <a:pt x="305" y="255"/>
                    <a:pt x="305" y="255"/>
                    <a:pt x="305" y="255"/>
                  </a:cubicBezTo>
                  <a:cubicBezTo>
                    <a:pt x="306" y="256"/>
                    <a:pt x="308" y="256"/>
                    <a:pt x="309" y="256"/>
                  </a:cubicBezTo>
                  <a:cubicBezTo>
                    <a:pt x="311" y="256"/>
                    <a:pt x="313" y="255"/>
                    <a:pt x="315" y="254"/>
                  </a:cubicBezTo>
                  <a:cubicBezTo>
                    <a:pt x="318" y="252"/>
                    <a:pt x="320" y="249"/>
                    <a:pt x="320" y="245"/>
                  </a:cubicBezTo>
                  <a:cubicBezTo>
                    <a:pt x="320" y="43"/>
                    <a:pt x="320" y="43"/>
                    <a:pt x="320" y="43"/>
                  </a:cubicBezTo>
                  <a:cubicBezTo>
                    <a:pt x="320" y="38"/>
                    <a:pt x="317" y="35"/>
                    <a:pt x="313" y="33"/>
                  </a:cubicBezTo>
                  <a:close/>
                  <a:moveTo>
                    <a:pt x="96" y="27"/>
                  </a:moveTo>
                  <a:cubicBezTo>
                    <a:pt x="149" y="50"/>
                    <a:pt x="149" y="50"/>
                    <a:pt x="149" y="50"/>
                  </a:cubicBezTo>
                  <a:cubicBezTo>
                    <a:pt x="149" y="229"/>
                    <a:pt x="149" y="229"/>
                    <a:pt x="149" y="229"/>
                  </a:cubicBezTo>
                  <a:cubicBezTo>
                    <a:pt x="96" y="206"/>
                    <a:pt x="96" y="206"/>
                    <a:pt x="96" y="206"/>
                  </a:cubicBezTo>
                  <a:lnTo>
                    <a:pt x="96" y="27"/>
                  </a:lnTo>
                  <a:close/>
                  <a:moveTo>
                    <a:pt x="170" y="50"/>
                  </a:moveTo>
                  <a:cubicBezTo>
                    <a:pt x="224" y="27"/>
                    <a:pt x="224" y="27"/>
                    <a:pt x="224" y="27"/>
                  </a:cubicBezTo>
                  <a:cubicBezTo>
                    <a:pt x="224" y="206"/>
                    <a:pt x="224" y="206"/>
                    <a:pt x="224" y="206"/>
                  </a:cubicBezTo>
                  <a:cubicBezTo>
                    <a:pt x="170" y="229"/>
                    <a:pt x="170" y="229"/>
                    <a:pt x="170" y="229"/>
                  </a:cubicBezTo>
                  <a:lnTo>
                    <a:pt x="170" y="50"/>
                  </a:lnTo>
                  <a:close/>
                  <a:moveTo>
                    <a:pt x="21" y="50"/>
                  </a:moveTo>
                  <a:cubicBezTo>
                    <a:pt x="74" y="27"/>
                    <a:pt x="74" y="27"/>
                    <a:pt x="74" y="27"/>
                  </a:cubicBezTo>
                  <a:cubicBezTo>
                    <a:pt x="74" y="206"/>
                    <a:pt x="74" y="206"/>
                    <a:pt x="74" y="206"/>
                  </a:cubicBezTo>
                  <a:cubicBezTo>
                    <a:pt x="21" y="229"/>
                    <a:pt x="21" y="229"/>
                    <a:pt x="21" y="229"/>
                  </a:cubicBezTo>
                  <a:lnTo>
                    <a:pt x="21" y="50"/>
                  </a:lnTo>
                  <a:close/>
                  <a:moveTo>
                    <a:pt x="298" y="229"/>
                  </a:moveTo>
                  <a:cubicBezTo>
                    <a:pt x="245" y="206"/>
                    <a:pt x="245" y="206"/>
                    <a:pt x="245" y="206"/>
                  </a:cubicBezTo>
                  <a:cubicBezTo>
                    <a:pt x="245" y="27"/>
                    <a:pt x="245" y="27"/>
                    <a:pt x="245" y="27"/>
                  </a:cubicBezTo>
                  <a:cubicBezTo>
                    <a:pt x="298" y="50"/>
                    <a:pt x="298" y="50"/>
                    <a:pt x="298" y="50"/>
                  </a:cubicBezTo>
                  <a:lnTo>
                    <a:pt x="298" y="229"/>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9" name="Freeform 786">
              <a:extLst>
                <a:ext uri="{FF2B5EF4-FFF2-40B4-BE49-F238E27FC236}">
                  <a16:creationId xmlns:a16="http://schemas.microsoft.com/office/drawing/2014/main" id="{2A966F04-C725-4AA5-A652-4B7D8209BADD}"/>
                </a:ext>
              </a:extLst>
            </p:cNvPr>
            <p:cNvSpPr>
              <a:spLocks noEditPoints="1"/>
            </p:cNvSpPr>
            <p:nvPr/>
          </p:nvSpPr>
          <p:spPr bwMode="auto">
            <a:xfrm>
              <a:off x="2657" y="33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50" name="Group 376">
            <a:extLst>
              <a:ext uri="{FF2B5EF4-FFF2-40B4-BE49-F238E27FC236}">
                <a16:creationId xmlns:a16="http://schemas.microsoft.com/office/drawing/2014/main" id="{224AA7AB-854F-438E-ACB2-91E494214912}"/>
              </a:ext>
            </a:extLst>
          </p:cNvPr>
          <p:cNvGrpSpPr>
            <a:grpSpLocks noChangeAspect="1"/>
          </p:cNvGrpSpPr>
          <p:nvPr/>
        </p:nvGrpSpPr>
        <p:grpSpPr bwMode="auto">
          <a:xfrm>
            <a:off x="1947302" y="3921001"/>
            <a:ext cx="548640" cy="548640"/>
            <a:chOff x="3466" y="2823"/>
            <a:chExt cx="340" cy="340"/>
          </a:xfrm>
          <a:solidFill>
            <a:schemeClr val="bg1"/>
          </a:solidFill>
        </p:grpSpPr>
        <p:sp>
          <p:nvSpPr>
            <p:cNvPr id="51" name="Freeform 377">
              <a:extLst>
                <a:ext uri="{FF2B5EF4-FFF2-40B4-BE49-F238E27FC236}">
                  <a16:creationId xmlns:a16="http://schemas.microsoft.com/office/drawing/2014/main" id="{C70AD5D3-130C-402F-9B56-62332BF75F4A}"/>
                </a:ext>
              </a:extLst>
            </p:cNvPr>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52" name="Freeform 378">
              <a:extLst>
                <a:ext uri="{FF2B5EF4-FFF2-40B4-BE49-F238E27FC236}">
                  <a16:creationId xmlns:a16="http://schemas.microsoft.com/office/drawing/2014/main" id="{416A6B4A-12C6-4231-B317-8545BD0FD185}"/>
                </a:ext>
              </a:extLst>
            </p:cNvPr>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sp>
        <p:nvSpPr>
          <p:cNvPr id="36" name="Rectangle 35">
            <a:extLst>
              <a:ext uri="{FF2B5EF4-FFF2-40B4-BE49-F238E27FC236}">
                <a16:creationId xmlns:a16="http://schemas.microsoft.com/office/drawing/2014/main" id="{861E021D-B31A-7B4D-81F1-01B8EC6A0101}"/>
              </a:ext>
            </a:extLst>
          </p:cNvPr>
          <p:cNvSpPr/>
          <p:nvPr/>
        </p:nvSpPr>
        <p:spPr>
          <a:xfrm>
            <a:off x="6267643" y="5106023"/>
            <a:ext cx="5244907" cy="400110"/>
          </a:xfrm>
          <a:prstGeom prst="rect">
            <a:avLst/>
          </a:prstGeom>
          <a:noFill/>
        </p:spPr>
        <p:txBody>
          <a:bodyPr wrap="square" lIns="0" tIns="0" rIns="0" bIns="0" rtlCol="0">
            <a:spAutoFit/>
          </a:bodyPr>
          <a:lstStyle/>
          <a:p>
            <a:pPr marL="123727" lvl="1" indent="-123727" defTabSz="913686">
              <a:buSzPct val="100000"/>
              <a:buFont typeface="Arial"/>
              <a:buChar char="•"/>
              <a:defRPr/>
            </a:pPr>
            <a:r>
              <a:rPr lang="en-US" sz="1300" dirty="0">
                <a:solidFill>
                  <a:srgbClr val="313131"/>
                </a:solidFill>
              </a:rPr>
              <a:t>This is dummy text it is not here to be read. The is just text to show where you could insert text. </a:t>
            </a:r>
          </a:p>
        </p:txBody>
      </p:sp>
    </p:spTree>
    <p:custDataLst>
      <p:tags r:id="rId1"/>
    </p:custDataLst>
    <p:extLst>
      <p:ext uri="{BB962C8B-B14F-4D97-AF65-F5344CB8AC3E}">
        <p14:creationId xmlns:p14="http://schemas.microsoft.com/office/powerpoint/2010/main" val="37232404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圆角矩形 104"/>
          <p:cNvSpPr/>
          <p:nvPr/>
        </p:nvSpPr>
        <p:spPr bwMode="gray">
          <a:xfrm>
            <a:off x="8684542" y="1714500"/>
            <a:ext cx="3050258" cy="3238999"/>
          </a:xfrm>
          <a:prstGeom prst="roundRect">
            <a:avLst>
              <a:gd name="adj" fmla="val 9351"/>
            </a:avLst>
          </a:prstGeom>
          <a:noFill/>
          <a:ln w="19050" algn="ctr">
            <a:solidFill>
              <a:srgbClr val="43B02A"/>
            </a:solidFill>
            <a:miter lim="800000"/>
            <a:headEnd/>
            <a:tailEnd/>
          </a:ln>
        </p:spPr>
        <p:txBody>
          <a:bodyPr wrap="square" lIns="88900" tIns="936000" rIns="88900" bIns="88900" rtlCol="0" anchor="t"/>
          <a:lstStyle/>
          <a:p>
            <a:r>
              <a:rPr lang="en-US" sz="1300" dirty="0"/>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a:t>
            </a:r>
            <a:endParaRPr lang="pt-BR" sz="1300" dirty="0"/>
          </a:p>
        </p:txBody>
      </p:sp>
      <p:sp>
        <p:nvSpPr>
          <p:cNvPr id="11" name="Rounded Rectangle 136"/>
          <p:cNvSpPr/>
          <p:nvPr/>
        </p:nvSpPr>
        <p:spPr>
          <a:xfrm>
            <a:off x="457200" y="5292655"/>
            <a:ext cx="3050258" cy="286748"/>
          </a:xfrm>
          <a:prstGeom prst="roundRect">
            <a:avLst>
              <a:gd name="adj" fmla="val 50000"/>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55" name="等腰三角形 54"/>
          <p:cNvSpPr/>
          <p:nvPr/>
        </p:nvSpPr>
        <p:spPr bwMode="gray">
          <a:xfrm flipV="1">
            <a:off x="1685591" y="4957234"/>
            <a:ext cx="593477" cy="203133"/>
          </a:xfrm>
          <a:prstGeom prst="triangl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2" name="圆角矩形 1"/>
          <p:cNvSpPr/>
          <p:nvPr/>
        </p:nvSpPr>
        <p:spPr bwMode="gray">
          <a:xfrm>
            <a:off x="457200" y="1732203"/>
            <a:ext cx="3050258" cy="3238999"/>
          </a:xfrm>
          <a:prstGeom prst="roundRect">
            <a:avLst>
              <a:gd name="adj" fmla="val 9351"/>
            </a:avLst>
          </a:prstGeom>
          <a:solidFill>
            <a:srgbClr val="FFFFFF"/>
          </a:solidFill>
          <a:ln w="19050" algn="ctr">
            <a:solidFill>
              <a:srgbClr val="000000"/>
            </a:solidFill>
            <a:miter lim="800000"/>
            <a:headEnd/>
            <a:tailEnd/>
          </a:ln>
        </p:spPr>
        <p:txBody>
          <a:bodyPr wrap="square" lIns="88900" tIns="936000" rIns="88900" bIns="88900" rtlCol="0" anchor="t"/>
          <a:lstStyle/>
          <a:p>
            <a:r>
              <a:rPr lang="en-US" sz="1300" dirty="0"/>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a:t>
            </a:r>
            <a:endParaRPr lang="pt-BR" sz="1300" dirty="0"/>
          </a:p>
        </p:txBody>
      </p:sp>
      <p:sp>
        <p:nvSpPr>
          <p:cNvPr id="95" name="Rounded Rectangle 136"/>
          <p:cNvSpPr/>
          <p:nvPr/>
        </p:nvSpPr>
        <p:spPr>
          <a:xfrm>
            <a:off x="8684542" y="5288920"/>
            <a:ext cx="3050258" cy="286748"/>
          </a:xfrm>
          <a:prstGeom prst="roundRect">
            <a:avLst>
              <a:gd name="adj" fmla="val 50000"/>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97" name="等腰三角形 96"/>
          <p:cNvSpPr/>
          <p:nvPr/>
        </p:nvSpPr>
        <p:spPr bwMode="gray">
          <a:xfrm flipV="1">
            <a:off x="9912933" y="4953499"/>
            <a:ext cx="593477" cy="203133"/>
          </a:xfrm>
          <a:prstGeom prst="triangle">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b="1" dirty="0">
              <a:solidFill>
                <a:schemeClr val="bg1"/>
              </a:solidFill>
            </a:endParaRPr>
          </a:p>
        </p:txBody>
      </p:sp>
      <p:sp>
        <p:nvSpPr>
          <p:cNvPr id="56" name="Freeform 715"/>
          <p:cNvSpPr>
            <a:spLocks noEditPoints="1"/>
          </p:cNvSpPr>
          <p:nvPr/>
        </p:nvSpPr>
        <p:spPr bwMode="auto">
          <a:xfrm>
            <a:off x="1610645" y="1942732"/>
            <a:ext cx="743369" cy="547007"/>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199 h 235"/>
              <a:gd name="T20" fmla="*/ 214 w 320"/>
              <a:gd name="T21" fmla="*/ 114 h 235"/>
              <a:gd name="T22" fmla="*/ 298 w 320"/>
              <a:gd name="T23" fmla="*/ 35 h 235"/>
              <a:gd name="T24" fmla="*/ 298 w 320"/>
              <a:gd name="T25" fmla="*/ 199 h 235"/>
              <a:gd name="T26" fmla="*/ 282 w 320"/>
              <a:gd name="T27" fmla="*/ 22 h 235"/>
              <a:gd name="T28" fmla="*/ 160 w 320"/>
              <a:gd name="T29" fmla="*/ 135 h 235"/>
              <a:gd name="T30" fmla="*/ 37 w 320"/>
              <a:gd name="T31" fmla="*/ 22 h 235"/>
              <a:gd name="T32" fmla="*/ 282 w 320"/>
              <a:gd name="T33" fmla="*/ 22 h 235"/>
              <a:gd name="T34" fmla="*/ 21 w 320"/>
              <a:gd name="T35" fmla="*/ 35 h 235"/>
              <a:gd name="T36" fmla="*/ 106 w 320"/>
              <a:gd name="T37" fmla="*/ 114 h 235"/>
              <a:gd name="T38" fmla="*/ 21 w 320"/>
              <a:gd name="T39" fmla="*/ 199 h 235"/>
              <a:gd name="T40" fmla="*/ 21 w 320"/>
              <a:gd name="T41" fmla="*/ 35 h 235"/>
              <a:gd name="T42" fmla="*/ 121 w 320"/>
              <a:gd name="T43" fmla="*/ 129 h 235"/>
              <a:gd name="T44" fmla="*/ 152 w 320"/>
              <a:gd name="T45" fmla="*/ 157 h 235"/>
              <a:gd name="T46" fmla="*/ 160 w 320"/>
              <a:gd name="T47" fmla="*/ 160 h 235"/>
              <a:gd name="T48" fmla="*/ 167 w 320"/>
              <a:gd name="T49" fmla="*/ 157 h 235"/>
              <a:gd name="T50" fmla="*/ 198 w 320"/>
              <a:gd name="T51" fmla="*/ 129 h 235"/>
              <a:gd name="T52" fmla="*/ 283 w 320"/>
              <a:gd name="T53" fmla="*/ 214 h 235"/>
              <a:gd name="T54" fmla="*/ 36 w 320"/>
              <a:gd name="T55" fmla="*/ 214 h 235"/>
              <a:gd name="T56" fmla="*/ 121 w 320"/>
              <a:gd name="T57" fmla="*/ 12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199"/>
                </a:moveTo>
                <a:cubicBezTo>
                  <a:pt x="214" y="114"/>
                  <a:pt x="214" y="114"/>
                  <a:pt x="214" y="114"/>
                </a:cubicBezTo>
                <a:cubicBezTo>
                  <a:pt x="298" y="35"/>
                  <a:pt x="298" y="35"/>
                  <a:pt x="298" y="35"/>
                </a:cubicBezTo>
                <a:lnTo>
                  <a:pt x="298" y="199"/>
                </a:lnTo>
                <a:close/>
                <a:moveTo>
                  <a:pt x="282" y="22"/>
                </a:moveTo>
                <a:cubicBezTo>
                  <a:pt x="160" y="135"/>
                  <a:pt x="160" y="135"/>
                  <a:pt x="160" y="135"/>
                </a:cubicBezTo>
                <a:cubicBezTo>
                  <a:pt x="37" y="22"/>
                  <a:pt x="37" y="22"/>
                  <a:pt x="37" y="22"/>
                </a:cubicBezTo>
                <a:lnTo>
                  <a:pt x="282" y="22"/>
                </a:lnTo>
                <a:close/>
                <a:moveTo>
                  <a:pt x="21" y="35"/>
                </a:moveTo>
                <a:cubicBezTo>
                  <a:pt x="106" y="114"/>
                  <a:pt x="106" y="114"/>
                  <a:pt x="106" y="114"/>
                </a:cubicBezTo>
                <a:cubicBezTo>
                  <a:pt x="21" y="199"/>
                  <a:pt x="21" y="199"/>
                  <a:pt x="21" y="199"/>
                </a:cubicBezTo>
                <a:lnTo>
                  <a:pt x="21" y="35"/>
                </a:lnTo>
                <a:close/>
                <a:moveTo>
                  <a:pt x="121" y="129"/>
                </a:moveTo>
                <a:cubicBezTo>
                  <a:pt x="152" y="157"/>
                  <a:pt x="152" y="157"/>
                  <a:pt x="152" y="157"/>
                </a:cubicBezTo>
                <a:cubicBezTo>
                  <a:pt x="154" y="159"/>
                  <a:pt x="157" y="160"/>
                  <a:pt x="160" y="160"/>
                </a:cubicBezTo>
                <a:cubicBezTo>
                  <a:pt x="162" y="160"/>
                  <a:pt x="165" y="159"/>
                  <a:pt x="167" y="157"/>
                </a:cubicBezTo>
                <a:cubicBezTo>
                  <a:pt x="198" y="129"/>
                  <a:pt x="198" y="129"/>
                  <a:pt x="198" y="129"/>
                </a:cubicBezTo>
                <a:cubicBezTo>
                  <a:pt x="283" y="214"/>
                  <a:pt x="283" y="214"/>
                  <a:pt x="283" y="214"/>
                </a:cubicBezTo>
                <a:cubicBezTo>
                  <a:pt x="36" y="214"/>
                  <a:pt x="36" y="214"/>
                  <a:pt x="36" y="214"/>
                </a:cubicBezTo>
                <a:lnTo>
                  <a:pt x="121" y="129"/>
                </a:lnTo>
                <a:close/>
              </a:path>
            </a:pathLst>
          </a:custGeom>
          <a:solidFill>
            <a:srgbClr val="000000"/>
          </a:solidFill>
          <a:ln w="12700" cap="rnd">
            <a:solidFill>
              <a:schemeClr val="bg1">
                <a:lumMod val="95000"/>
              </a:schemeClr>
            </a:solid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102" name="Freeform 299"/>
          <p:cNvSpPr>
            <a:spLocks noEditPoints="1"/>
          </p:cNvSpPr>
          <p:nvPr/>
        </p:nvSpPr>
        <p:spPr bwMode="auto">
          <a:xfrm>
            <a:off x="9866799" y="1800459"/>
            <a:ext cx="685745" cy="689280"/>
          </a:xfrm>
          <a:custGeom>
            <a:avLst/>
            <a:gdLst>
              <a:gd name="T0" fmla="*/ 90 w 292"/>
              <a:gd name="T1" fmla="*/ 123 h 293"/>
              <a:gd name="T2" fmla="*/ 100 w 292"/>
              <a:gd name="T3" fmla="*/ 119 h 293"/>
              <a:gd name="T4" fmla="*/ 171 w 292"/>
              <a:gd name="T5" fmla="*/ 95 h 293"/>
              <a:gd name="T6" fmla="*/ 242 w 292"/>
              <a:gd name="T7" fmla="*/ 70 h 293"/>
              <a:gd name="T8" fmla="*/ 271 w 292"/>
              <a:gd name="T9" fmla="*/ 57 h 293"/>
              <a:gd name="T10" fmla="*/ 258 w 292"/>
              <a:gd name="T11" fmla="*/ 9 h 293"/>
              <a:gd name="T12" fmla="*/ 8 w 292"/>
              <a:gd name="T13" fmla="*/ 83 h 293"/>
              <a:gd name="T14" fmla="*/ 15 w 292"/>
              <a:gd name="T15" fmla="*/ 135 h 293"/>
              <a:gd name="T16" fmla="*/ 26 w 292"/>
              <a:gd name="T17" fmla="*/ 293 h 293"/>
              <a:gd name="T18" fmla="*/ 292 w 292"/>
              <a:gd name="T19" fmla="*/ 283 h 293"/>
              <a:gd name="T20" fmla="*/ 282 w 292"/>
              <a:gd name="T21" fmla="*/ 123 h 293"/>
              <a:gd name="T22" fmla="*/ 254 w 292"/>
              <a:gd name="T23" fmla="*/ 165 h 293"/>
              <a:gd name="T24" fmla="*/ 271 w 292"/>
              <a:gd name="T25" fmla="*/ 144 h 293"/>
              <a:gd name="T26" fmla="*/ 179 w 292"/>
              <a:gd name="T27" fmla="*/ 165 h 293"/>
              <a:gd name="T28" fmla="*/ 203 w 292"/>
              <a:gd name="T29" fmla="*/ 144 h 293"/>
              <a:gd name="T30" fmla="*/ 179 w 292"/>
              <a:gd name="T31" fmla="*/ 165 h 293"/>
              <a:gd name="T32" fmla="*/ 83 w 292"/>
              <a:gd name="T33" fmla="*/ 144 h 293"/>
              <a:gd name="T34" fmla="*/ 149 w 292"/>
              <a:gd name="T35" fmla="*/ 165 h 293"/>
              <a:gd name="T36" fmla="*/ 36 w 292"/>
              <a:gd name="T37" fmla="*/ 144 h 293"/>
              <a:gd name="T38" fmla="*/ 75 w 292"/>
              <a:gd name="T39" fmla="*/ 165 h 293"/>
              <a:gd name="T40" fmla="*/ 36 w 292"/>
              <a:gd name="T41" fmla="*/ 144 h 293"/>
              <a:gd name="T42" fmla="*/ 139 w 292"/>
              <a:gd name="T43" fmla="*/ 83 h 293"/>
              <a:gd name="T44" fmla="*/ 70 w 292"/>
              <a:gd name="T45" fmla="*/ 84 h 293"/>
              <a:gd name="T46" fmla="*/ 183 w 292"/>
              <a:gd name="T47" fmla="*/ 46 h 293"/>
              <a:gd name="T48" fmla="*/ 168 w 292"/>
              <a:gd name="T49" fmla="*/ 73 h 293"/>
              <a:gd name="T50" fmla="*/ 183 w 292"/>
              <a:gd name="T51" fmla="*/ 46 h 293"/>
              <a:gd name="T52" fmla="*/ 238 w 292"/>
              <a:gd name="T53" fmla="*/ 49 h 293"/>
              <a:gd name="T54" fmla="*/ 241 w 292"/>
              <a:gd name="T55" fmla="*/ 26 h 293"/>
              <a:gd name="T56" fmla="*/ 41 w 292"/>
              <a:gd name="T57" fmla="*/ 94 h 293"/>
              <a:gd name="T58" fmla="*/ 32 w 292"/>
              <a:gd name="T59" fmla="*/ 120 h 293"/>
              <a:gd name="T60" fmla="*/ 41 w 292"/>
              <a:gd name="T61" fmla="*/ 94 h 293"/>
              <a:gd name="T62" fmla="*/ 36 w 292"/>
              <a:gd name="T63" fmla="*/ 187 h 293"/>
              <a:gd name="T64" fmla="*/ 271 w 292"/>
              <a:gd name="T65" fmla="*/ 27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93">
                <a:moveTo>
                  <a:pt x="282" y="123"/>
                </a:moveTo>
                <a:cubicBezTo>
                  <a:pt x="90" y="123"/>
                  <a:pt x="90" y="123"/>
                  <a:pt x="90" y="123"/>
                </a:cubicBezTo>
                <a:cubicBezTo>
                  <a:pt x="99" y="119"/>
                  <a:pt x="99" y="119"/>
                  <a:pt x="99" y="119"/>
                </a:cubicBezTo>
                <a:cubicBezTo>
                  <a:pt x="99" y="119"/>
                  <a:pt x="99" y="119"/>
                  <a:pt x="100" y="119"/>
                </a:cubicBezTo>
                <a:cubicBezTo>
                  <a:pt x="169" y="95"/>
                  <a:pt x="169" y="95"/>
                  <a:pt x="169" y="95"/>
                </a:cubicBezTo>
                <a:cubicBezTo>
                  <a:pt x="170" y="95"/>
                  <a:pt x="171" y="95"/>
                  <a:pt x="171" y="95"/>
                </a:cubicBezTo>
                <a:cubicBezTo>
                  <a:pt x="240" y="71"/>
                  <a:pt x="240" y="71"/>
                  <a:pt x="240" y="71"/>
                </a:cubicBezTo>
                <a:cubicBezTo>
                  <a:pt x="241" y="71"/>
                  <a:pt x="242" y="71"/>
                  <a:pt x="242" y="70"/>
                </a:cubicBezTo>
                <a:cubicBezTo>
                  <a:pt x="265" y="63"/>
                  <a:pt x="265" y="63"/>
                  <a:pt x="265" y="63"/>
                </a:cubicBezTo>
                <a:cubicBezTo>
                  <a:pt x="268" y="62"/>
                  <a:pt x="270" y="60"/>
                  <a:pt x="271" y="57"/>
                </a:cubicBezTo>
                <a:cubicBezTo>
                  <a:pt x="272" y="55"/>
                  <a:pt x="272" y="52"/>
                  <a:pt x="272" y="49"/>
                </a:cubicBezTo>
                <a:cubicBezTo>
                  <a:pt x="258" y="9"/>
                  <a:pt x="258" y="9"/>
                  <a:pt x="258" y="9"/>
                </a:cubicBezTo>
                <a:cubicBezTo>
                  <a:pt x="256" y="3"/>
                  <a:pt x="250" y="0"/>
                  <a:pt x="244" y="2"/>
                </a:cubicBezTo>
                <a:cubicBezTo>
                  <a:pt x="8" y="83"/>
                  <a:pt x="8" y="83"/>
                  <a:pt x="8" y="83"/>
                </a:cubicBezTo>
                <a:cubicBezTo>
                  <a:pt x="3" y="85"/>
                  <a:pt x="0" y="91"/>
                  <a:pt x="2" y="96"/>
                </a:cubicBezTo>
                <a:cubicBezTo>
                  <a:pt x="15" y="135"/>
                  <a:pt x="15" y="135"/>
                  <a:pt x="15" y="135"/>
                </a:cubicBezTo>
                <a:cubicBezTo>
                  <a:pt x="15" y="283"/>
                  <a:pt x="15" y="283"/>
                  <a:pt x="15" y="283"/>
                </a:cubicBezTo>
                <a:cubicBezTo>
                  <a:pt x="15" y="289"/>
                  <a:pt x="20" y="293"/>
                  <a:pt x="26" y="293"/>
                </a:cubicBezTo>
                <a:cubicBezTo>
                  <a:pt x="282" y="293"/>
                  <a:pt x="282" y="293"/>
                  <a:pt x="282" y="293"/>
                </a:cubicBezTo>
                <a:cubicBezTo>
                  <a:pt x="288" y="293"/>
                  <a:pt x="292" y="289"/>
                  <a:pt x="292" y="283"/>
                </a:cubicBezTo>
                <a:cubicBezTo>
                  <a:pt x="292" y="133"/>
                  <a:pt x="292" y="133"/>
                  <a:pt x="292" y="133"/>
                </a:cubicBezTo>
                <a:cubicBezTo>
                  <a:pt x="292" y="127"/>
                  <a:pt x="288" y="123"/>
                  <a:pt x="282" y="123"/>
                </a:cubicBezTo>
                <a:close/>
                <a:moveTo>
                  <a:pt x="271" y="165"/>
                </a:moveTo>
                <a:cubicBezTo>
                  <a:pt x="254" y="165"/>
                  <a:pt x="254" y="165"/>
                  <a:pt x="254" y="165"/>
                </a:cubicBezTo>
                <a:cubicBezTo>
                  <a:pt x="233" y="144"/>
                  <a:pt x="233" y="144"/>
                  <a:pt x="233" y="144"/>
                </a:cubicBezTo>
                <a:cubicBezTo>
                  <a:pt x="271" y="144"/>
                  <a:pt x="271" y="144"/>
                  <a:pt x="271" y="144"/>
                </a:cubicBezTo>
                <a:lnTo>
                  <a:pt x="271" y="165"/>
                </a:lnTo>
                <a:close/>
                <a:moveTo>
                  <a:pt x="179" y="165"/>
                </a:moveTo>
                <a:cubicBezTo>
                  <a:pt x="158" y="144"/>
                  <a:pt x="158" y="144"/>
                  <a:pt x="158" y="144"/>
                </a:cubicBezTo>
                <a:cubicBezTo>
                  <a:pt x="203" y="144"/>
                  <a:pt x="203" y="144"/>
                  <a:pt x="203" y="144"/>
                </a:cubicBezTo>
                <a:cubicBezTo>
                  <a:pt x="224" y="165"/>
                  <a:pt x="224" y="165"/>
                  <a:pt x="224" y="165"/>
                </a:cubicBezTo>
                <a:lnTo>
                  <a:pt x="179" y="165"/>
                </a:lnTo>
                <a:close/>
                <a:moveTo>
                  <a:pt x="105" y="165"/>
                </a:moveTo>
                <a:cubicBezTo>
                  <a:pt x="83" y="144"/>
                  <a:pt x="83" y="144"/>
                  <a:pt x="83" y="144"/>
                </a:cubicBezTo>
                <a:cubicBezTo>
                  <a:pt x="128" y="144"/>
                  <a:pt x="128" y="144"/>
                  <a:pt x="128" y="144"/>
                </a:cubicBezTo>
                <a:cubicBezTo>
                  <a:pt x="149" y="165"/>
                  <a:pt x="149" y="165"/>
                  <a:pt x="149" y="165"/>
                </a:cubicBezTo>
                <a:lnTo>
                  <a:pt x="105" y="165"/>
                </a:lnTo>
                <a:close/>
                <a:moveTo>
                  <a:pt x="36" y="144"/>
                </a:moveTo>
                <a:cubicBezTo>
                  <a:pt x="53" y="144"/>
                  <a:pt x="53" y="144"/>
                  <a:pt x="53" y="144"/>
                </a:cubicBezTo>
                <a:cubicBezTo>
                  <a:pt x="75" y="165"/>
                  <a:pt x="75" y="165"/>
                  <a:pt x="75" y="165"/>
                </a:cubicBezTo>
                <a:cubicBezTo>
                  <a:pt x="36" y="165"/>
                  <a:pt x="36" y="165"/>
                  <a:pt x="36" y="165"/>
                </a:cubicBezTo>
                <a:lnTo>
                  <a:pt x="36" y="144"/>
                </a:lnTo>
                <a:close/>
                <a:moveTo>
                  <a:pt x="112" y="70"/>
                </a:moveTo>
                <a:cubicBezTo>
                  <a:pt x="139" y="83"/>
                  <a:pt x="139" y="83"/>
                  <a:pt x="139" y="83"/>
                </a:cubicBezTo>
                <a:cubicBezTo>
                  <a:pt x="97" y="98"/>
                  <a:pt x="97" y="98"/>
                  <a:pt x="97" y="98"/>
                </a:cubicBezTo>
                <a:cubicBezTo>
                  <a:pt x="70" y="84"/>
                  <a:pt x="70" y="84"/>
                  <a:pt x="70" y="84"/>
                </a:cubicBezTo>
                <a:lnTo>
                  <a:pt x="112" y="70"/>
                </a:lnTo>
                <a:close/>
                <a:moveTo>
                  <a:pt x="183" y="46"/>
                </a:moveTo>
                <a:cubicBezTo>
                  <a:pt x="210" y="59"/>
                  <a:pt x="210" y="59"/>
                  <a:pt x="210" y="59"/>
                </a:cubicBezTo>
                <a:cubicBezTo>
                  <a:pt x="168" y="73"/>
                  <a:pt x="168" y="73"/>
                  <a:pt x="168" y="73"/>
                </a:cubicBezTo>
                <a:cubicBezTo>
                  <a:pt x="140" y="60"/>
                  <a:pt x="140" y="60"/>
                  <a:pt x="140" y="60"/>
                </a:cubicBezTo>
                <a:lnTo>
                  <a:pt x="183" y="46"/>
                </a:lnTo>
                <a:close/>
                <a:moveTo>
                  <a:pt x="248" y="46"/>
                </a:moveTo>
                <a:cubicBezTo>
                  <a:pt x="238" y="49"/>
                  <a:pt x="238" y="49"/>
                  <a:pt x="238" y="49"/>
                </a:cubicBezTo>
                <a:cubicBezTo>
                  <a:pt x="211" y="36"/>
                  <a:pt x="211" y="36"/>
                  <a:pt x="211" y="36"/>
                </a:cubicBezTo>
                <a:cubicBezTo>
                  <a:pt x="241" y="26"/>
                  <a:pt x="241" y="26"/>
                  <a:pt x="241" y="26"/>
                </a:cubicBezTo>
                <a:lnTo>
                  <a:pt x="248" y="46"/>
                </a:lnTo>
                <a:close/>
                <a:moveTo>
                  <a:pt x="41" y="94"/>
                </a:moveTo>
                <a:cubicBezTo>
                  <a:pt x="68" y="107"/>
                  <a:pt x="68" y="107"/>
                  <a:pt x="68" y="107"/>
                </a:cubicBezTo>
                <a:cubicBezTo>
                  <a:pt x="32" y="120"/>
                  <a:pt x="32" y="120"/>
                  <a:pt x="32" y="120"/>
                </a:cubicBezTo>
                <a:cubicBezTo>
                  <a:pt x="25" y="100"/>
                  <a:pt x="25" y="100"/>
                  <a:pt x="25" y="100"/>
                </a:cubicBezTo>
                <a:lnTo>
                  <a:pt x="41" y="94"/>
                </a:lnTo>
                <a:close/>
                <a:moveTo>
                  <a:pt x="36" y="272"/>
                </a:moveTo>
                <a:cubicBezTo>
                  <a:pt x="36" y="187"/>
                  <a:pt x="36" y="187"/>
                  <a:pt x="36" y="187"/>
                </a:cubicBezTo>
                <a:cubicBezTo>
                  <a:pt x="271" y="187"/>
                  <a:pt x="271" y="187"/>
                  <a:pt x="271" y="187"/>
                </a:cubicBezTo>
                <a:cubicBezTo>
                  <a:pt x="271" y="272"/>
                  <a:pt x="271" y="272"/>
                  <a:pt x="271" y="272"/>
                </a:cubicBezTo>
                <a:lnTo>
                  <a:pt x="36" y="272"/>
                </a:lnTo>
                <a:close/>
              </a:path>
            </a:pathLst>
          </a:custGeom>
          <a:solidFill>
            <a:srgbClr val="43B02A"/>
          </a:solidFill>
          <a:ln w="12700">
            <a:solidFill>
              <a:schemeClr val="bg1">
                <a:lumMod val="95000"/>
              </a:schemeClr>
            </a:solid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104" name="圆角矩形 103"/>
          <p:cNvSpPr/>
          <p:nvPr/>
        </p:nvSpPr>
        <p:spPr bwMode="gray">
          <a:xfrm>
            <a:off x="4570871" y="1728467"/>
            <a:ext cx="3050258" cy="3238999"/>
          </a:xfrm>
          <a:prstGeom prst="roundRect">
            <a:avLst>
              <a:gd name="adj" fmla="val 9351"/>
            </a:avLst>
          </a:prstGeom>
          <a:noFill/>
          <a:ln w="19050" algn="ctr">
            <a:solidFill>
              <a:schemeClr val="accent3"/>
            </a:solidFill>
            <a:miter lim="800000"/>
            <a:headEnd/>
            <a:tailEnd/>
          </a:ln>
        </p:spPr>
        <p:txBody>
          <a:bodyPr wrap="square" lIns="88900" tIns="936000" rIns="88900" bIns="88900" rtlCol="0" anchor="t"/>
          <a:lstStyle/>
          <a:p>
            <a:r>
              <a:rPr lang="en-US" sz="1300" dirty="0"/>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a:t>
            </a:r>
            <a:endParaRPr lang="pt-BR" sz="1300" dirty="0"/>
          </a:p>
        </p:txBody>
      </p:sp>
      <p:sp>
        <p:nvSpPr>
          <p:cNvPr id="58" name="Rounded Rectangle 136"/>
          <p:cNvSpPr/>
          <p:nvPr/>
        </p:nvSpPr>
        <p:spPr>
          <a:xfrm>
            <a:off x="4570871" y="5292655"/>
            <a:ext cx="3050258" cy="286748"/>
          </a:xfrm>
          <a:prstGeom prst="roundRect">
            <a:avLst>
              <a:gd name="adj" fmla="val 50000"/>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60" name="等腰三角形 59"/>
          <p:cNvSpPr/>
          <p:nvPr/>
        </p:nvSpPr>
        <p:spPr bwMode="gray">
          <a:xfrm flipV="1">
            <a:off x="5799261" y="4957234"/>
            <a:ext cx="593477" cy="203133"/>
          </a:xfrm>
          <a:prstGeom prst="triangl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5" name="Freeform 415"/>
          <p:cNvSpPr>
            <a:spLocks noEditPoints="1"/>
          </p:cNvSpPr>
          <p:nvPr/>
        </p:nvSpPr>
        <p:spPr bwMode="auto">
          <a:xfrm>
            <a:off x="5721004" y="1934321"/>
            <a:ext cx="749992" cy="555418"/>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solidFill>
            <a:schemeClr val="accent3"/>
          </a:solidFill>
          <a:ln w="12700">
            <a:solidFill>
              <a:schemeClr val="bg1">
                <a:lumMod val="95000"/>
              </a:schemeClr>
            </a:solid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Tree>
    <p:custDataLst>
      <p:tags r:id="rId1"/>
    </p:custDataLst>
    <p:extLst>
      <p:ext uri="{BB962C8B-B14F-4D97-AF65-F5344CB8AC3E}">
        <p14:creationId xmlns:p14="http://schemas.microsoft.com/office/powerpoint/2010/main" val="199024937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nip Single Corner Rectangle 41">
            <a:extLst>
              <a:ext uri="{FF2B5EF4-FFF2-40B4-BE49-F238E27FC236}">
                <a16:creationId xmlns:a16="http://schemas.microsoft.com/office/drawing/2014/main" id="{B6B04A1A-A033-B94E-BD08-9B6A0DEF1483}"/>
              </a:ext>
            </a:extLst>
          </p:cNvPr>
          <p:cNvSpPr/>
          <p:nvPr/>
        </p:nvSpPr>
        <p:spPr>
          <a:xfrm>
            <a:off x="463550" y="1714500"/>
            <a:ext cx="3142461" cy="4283851"/>
          </a:xfrm>
          <a:prstGeom prst="snip1Rect">
            <a:avLst/>
          </a:prstGeom>
          <a:solidFill>
            <a:srgbClr val="000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0000" tIns="1080000" rIns="180000" bIns="180000" numCol="1" spcCol="1270" anchor="t" anchorCtr="0">
            <a:noAutofit/>
          </a:bodyPr>
          <a:lstStyle/>
          <a:p>
            <a:pPr defTabSz="913686"/>
            <a:r>
              <a:rPr lang="en-US" sz="1300" b="1" dirty="0">
                <a:solidFill>
                  <a:prstClr val="white"/>
                </a:solidFill>
                <a:cs typeface="Arial" panose="020B0604020202020204" pitchFamily="34" charset="0"/>
              </a:rPr>
              <a:t>This is dummy text it is not here to be read.</a:t>
            </a:r>
          </a:p>
          <a:p>
            <a:pPr defTabSz="913686"/>
            <a:endParaRPr lang="en-US" sz="1300" b="1"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p:txBody>
      </p:sp>
      <p:sp>
        <p:nvSpPr>
          <p:cNvPr id="44" name="Snip Single Corner Rectangle 43">
            <a:extLst>
              <a:ext uri="{FF2B5EF4-FFF2-40B4-BE49-F238E27FC236}">
                <a16:creationId xmlns:a16="http://schemas.microsoft.com/office/drawing/2014/main" id="{F9688608-A743-884A-B42C-25FCA9A3EBA9}"/>
              </a:ext>
            </a:extLst>
          </p:cNvPr>
          <p:cNvSpPr/>
          <p:nvPr/>
        </p:nvSpPr>
        <p:spPr>
          <a:xfrm>
            <a:off x="4527944" y="1714500"/>
            <a:ext cx="3142461" cy="4283851"/>
          </a:xfrm>
          <a:prstGeom prst="snip1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0000" tIns="1080000" rIns="180000" bIns="180000" numCol="1" spcCol="1270" anchor="t" anchorCtr="0">
            <a:noAutofit/>
          </a:bodyPr>
          <a:lstStyle/>
          <a:p>
            <a:pPr defTabSz="913686"/>
            <a:r>
              <a:rPr lang="en-US" sz="1300" b="1" dirty="0">
                <a:solidFill>
                  <a:prstClr val="white"/>
                </a:solidFill>
                <a:cs typeface="Arial" panose="020B0604020202020204" pitchFamily="34" charset="0"/>
              </a:rPr>
              <a:t>This is dummy text it is not here to be read.</a:t>
            </a:r>
          </a:p>
          <a:p>
            <a:pPr defTabSz="913686"/>
            <a:endParaRPr lang="en-US" sz="1300" b="1"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p:txBody>
      </p:sp>
      <p:sp>
        <p:nvSpPr>
          <p:cNvPr id="46" name="Snip Single Corner Rectangle 45">
            <a:extLst>
              <a:ext uri="{FF2B5EF4-FFF2-40B4-BE49-F238E27FC236}">
                <a16:creationId xmlns:a16="http://schemas.microsoft.com/office/drawing/2014/main" id="{331F3DB8-8B5B-FE40-BFFC-3A36952FDED9}"/>
              </a:ext>
            </a:extLst>
          </p:cNvPr>
          <p:cNvSpPr/>
          <p:nvPr/>
        </p:nvSpPr>
        <p:spPr>
          <a:xfrm>
            <a:off x="8592339" y="1714500"/>
            <a:ext cx="3142461" cy="4283851"/>
          </a:xfrm>
          <a:prstGeom prst="snip1Rect">
            <a:avLst/>
          </a:prstGeom>
          <a:solidFill>
            <a:srgbClr val="86BC25"/>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0000" tIns="1080000" rIns="180000" bIns="180000" numCol="1" spcCol="1270" anchor="t" anchorCtr="0">
            <a:noAutofit/>
          </a:bodyPr>
          <a:lstStyle/>
          <a:p>
            <a:pPr defTabSz="913686"/>
            <a:r>
              <a:rPr lang="en-US" sz="1300" b="1" dirty="0">
                <a:solidFill>
                  <a:prstClr val="white"/>
                </a:solidFill>
                <a:cs typeface="Arial" panose="020B0604020202020204" pitchFamily="34" charset="0"/>
              </a:rPr>
              <a:t>This is dummy text it is not here to be read.</a:t>
            </a:r>
          </a:p>
          <a:p>
            <a:pPr defTabSz="913686"/>
            <a:endParaRPr lang="en-US" sz="1300" b="1"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p:txBody>
      </p:sp>
      <p:grpSp>
        <p:nvGrpSpPr>
          <p:cNvPr id="4" name="Group 3"/>
          <p:cNvGrpSpPr/>
          <p:nvPr/>
        </p:nvGrpSpPr>
        <p:grpSpPr>
          <a:xfrm>
            <a:off x="2691610" y="1714500"/>
            <a:ext cx="914400" cy="914400"/>
            <a:chOff x="2691610" y="1620846"/>
            <a:chExt cx="914400" cy="914400"/>
          </a:xfrm>
        </p:grpSpPr>
        <p:sp>
          <p:nvSpPr>
            <p:cNvPr id="3" name="Oval 2"/>
            <p:cNvSpPr/>
            <p:nvPr/>
          </p:nvSpPr>
          <p:spPr bwMode="gray">
            <a:xfrm>
              <a:off x="2766214" y="1695450"/>
              <a:ext cx="765192" cy="765192"/>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2" name="Freeform 806">
              <a:extLst>
                <a:ext uri="{FF2B5EF4-FFF2-40B4-BE49-F238E27FC236}">
                  <a16:creationId xmlns:a16="http://schemas.microsoft.com/office/drawing/2014/main" id="{41BBEFFD-612A-4226-9E3E-AC4885C36F67}"/>
                </a:ext>
              </a:extLst>
            </p:cNvPr>
            <p:cNvSpPr>
              <a:spLocks noChangeAspect="1" noEditPoints="1"/>
            </p:cNvSpPr>
            <p:nvPr/>
          </p:nvSpPr>
          <p:spPr bwMode="auto">
            <a:xfrm>
              <a:off x="2691610" y="1620846"/>
              <a:ext cx="914400" cy="9144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3" name="Freeform 496">
            <a:extLst>
              <a:ext uri="{FF2B5EF4-FFF2-40B4-BE49-F238E27FC236}">
                <a16:creationId xmlns:a16="http://schemas.microsoft.com/office/drawing/2014/main" id="{F38A14AB-A7A0-476E-959D-FB047617CB5D}"/>
              </a:ext>
            </a:extLst>
          </p:cNvPr>
          <p:cNvSpPr>
            <a:spLocks noChangeAspect="1" noEditPoints="1"/>
          </p:cNvSpPr>
          <p:nvPr/>
        </p:nvSpPr>
        <p:spPr bwMode="auto">
          <a:xfrm>
            <a:off x="10823080" y="1714500"/>
            <a:ext cx="911720" cy="9144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 name="Freeform 59">
            <a:extLst>
              <a:ext uri="{FF2B5EF4-FFF2-40B4-BE49-F238E27FC236}">
                <a16:creationId xmlns:a16="http://schemas.microsoft.com/office/drawing/2014/main" id="{4E01C2ED-9AB0-4CF0-99EE-BE6FDAE5873D}"/>
              </a:ext>
            </a:extLst>
          </p:cNvPr>
          <p:cNvSpPr>
            <a:spLocks noChangeAspect="1" noEditPoints="1"/>
          </p:cNvSpPr>
          <p:nvPr/>
        </p:nvSpPr>
        <p:spPr bwMode="auto">
          <a:xfrm>
            <a:off x="6752335" y="1714500"/>
            <a:ext cx="911720" cy="9144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481512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3B27D4D6-F06F-4941-9B1D-99559099373C}"/>
              </a:ext>
            </a:extLst>
          </p:cNvPr>
          <p:cNvSpPr/>
          <p:nvPr/>
        </p:nvSpPr>
        <p:spPr>
          <a:xfrm flipH="1">
            <a:off x="4335506" y="2539785"/>
            <a:ext cx="3447510" cy="3447510"/>
          </a:xfrm>
          <a:prstGeom prst="arc">
            <a:avLst>
              <a:gd name="adj1" fmla="val 16812435"/>
              <a:gd name="adj2" fmla="val 12607217"/>
            </a:avLst>
          </a:prstGeom>
          <a:ln w="25400"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00"/>
          </a:p>
        </p:txBody>
      </p:sp>
      <p:grpSp>
        <p:nvGrpSpPr>
          <p:cNvPr id="5" name="Group 4">
            <a:extLst>
              <a:ext uri="{FF2B5EF4-FFF2-40B4-BE49-F238E27FC236}">
                <a16:creationId xmlns:a16="http://schemas.microsoft.com/office/drawing/2014/main" id="{85053A7D-0893-4FA0-83D5-284935C240D8}"/>
              </a:ext>
            </a:extLst>
          </p:cNvPr>
          <p:cNvGrpSpPr/>
          <p:nvPr/>
        </p:nvGrpSpPr>
        <p:grpSpPr>
          <a:xfrm>
            <a:off x="4468757" y="2680855"/>
            <a:ext cx="3182202" cy="3182200"/>
            <a:chOff x="-2633284" y="955170"/>
            <a:chExt cx="3674434" cy="3674434"/>
          </a:xfrm>
          <a:noFill/>
        </p:grpSpPr>
        <p:sp>
          <p:nvSpPr>
            <p:cNvPr id="14" name="Oval 13">
              <a:extLst>
                <a:ext uri="{FF2B5EF4-FFF2-40B4-BE49-F238E27FC236}">
                  <a16:creationId xmlns:a16="http://schemas.microsoft.com/office/drawing/2014/main" id="{0CE2C832-D59F-44DD-BDE0-C7857C106B53}"/>
                </a:ext>
              </a:extLst>
            </p:cNvPr>
            <p:cNvSpPr/>
            <p:nvPr/>
          </p:nvSpPr>
          <p:spPr bwMode="gray">
            <a:xfrm>
              <a:off x="-2633284" y="955170"/>
              <a:ext cx="3674434" cy="3674434"/>
            </a:xfrm>
            <a:prstGeom prst="ellipse">
              <a:avLst/>
            </a:prstGeom>
            <a:grp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2471749" y="1112934"/>
              <a:ext cx="3340395" cy="3340395"/>
            </a:xfrm>
            <a:prstGeom prst="ellipse">
              <a:avLst/>
            </a:prstGeom>
            <a:grp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2314428" y="1244202"/>
              <a:ext cx="3036722" cy="3036722"/>
            </a:xfrm>
            <a:prstGeom prst="ellipse">
              <a:avLst/>
            </a:prstGeom>
            <a:grpFill/>
            <a:ln w="19050" algn="ctr">
              <a:solidFill>
                <a:srgbClr val="C4D600"/>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2176395" y="1412059"/>
              <a:ext cx="2760657" cy="2760657"/>
            </a:xfrm>
            <a:prstGeom prst="ellipse">
              <a:avLst/>
            </a:prstGeom>
            <a:grp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sp>
        <p:nvSpPr>
          <p:cNvPr id="84" name="Oval 83">
            <a:extLst>
              <a:ext uri="{FF2B5EF4-FFF2-40B4-BE49-F238E27FC236}">
                <a16:creationId xmlns:a16="http://schemas.microsoft.com/office/drawing/2014/main" id="{E9A7CF7B-1B48-4E88-AE48-37D5C1BF3114}"/>
              </a:ext>
            </a:extLst>
          </p:cNvPr>
          <p:cNvSpPr/>
          <p:nvPr/>
        </p:nvSpPr>
        <p:spPr>
          <a:xfrm>
            <a:off x="4920263" y="3107661"/>
            <a:ext cx="2289000" cy="228929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sz="1300"/>
          </a:p>
        </p:txBody>
      </p:sp>
      <p:sp>
        <p:nvSpPr>
          <p:cNvPr id="88" name="Partial Circle 87">
            <a:extLst>
              <a:ext uri="{FF2B5EF4-FFF2-40B4-BE49-F238E27FC236}">
                <a16:creationId xmlns:a16="http://schemas.microsoft.com/office/drawing/2014/main" id="{5BF78556-A3D6-4BD8-9881-C0F309B0C7E9}"/>
              </a:ext>
            </a:extLst>
          </p:cNvPr>
          <p:cNvSpPr>
            <a:spLocks noChangeAspect="1"/>
          </p:cNvSpPr>
          <p:nvPr/>
        </p:nvSpPr>
        <p:spPr>
          <a:xfrm>
            <a:off x="4036452" y="2223735"/>
            <a:ext cx="4056623" cy="4057152"/>
          </a:xfrm>
          <a:prstGeom prst="pie">
            <a:avLst>
              <a:gd name="adj1" fmla="val 1779985"/>
              <a:gd name="adj2" fmla="val 5352857"/>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93" name="Partial Circle 92">
            <a:extLst>
              <a:ext uri="{FF2B5EF4-FFF2-40B4-BE49-F238E27FC236}">
                <a16:creationId xmlns:a16="http://schemas.microsoft.com/office/drawing/2014/main" id="{3FC62EA9-8AA2-47D6-B995-559CCF3F6063}"/>
              </a:ext>
            </a:extLst>
          </p:cNvPr>
          <p:cNvSpPr>
            <a:spLocks noChangeAspect="1"/>
          </p:cNvSpPr>
          <p:nvPr/>
        </p:nvSpPr>
        <p:spPr>
          <a:xfrm>
            <a:off x="4220844" y="2408151"/>
            <a:ext cx="3687839" cy="3688320"/>
          </a:xfrm>
          <a:prstGeom prst="pie">
            <a:avLst>
              <a:gd name="adj1" fmla="val 19763735"/>
              <a:gd name="adj2" fmla="val 1782084"/>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96" name="Partial Circle 95">
            <a:extLst>
              <a:ext uri="{FF2B5EF4-FFF2-40B4-BE49-F238E27FC236}">
                <a16:creationId xmlns:a16="http://schemas.microsoft.com/office/drawing/2014/main" id="{3AACEA72-030A-4E2C-B217-1F47A9918647}"/>
              </a:ext>
            </a:extLst>
          </p:cNvPr>
          <p:cNvSpPr>
            <a:spLocks noChangeAspect="1"/>
          </p:cNvSpPr>
          <p:nvPr/>
        </p:nvSpPr>
        <p:spPr>
          <a:xfrm>
            <a:off x="3833621" y="2020878"/>
            <a:ext cx="4462285" cy="4462867"/>
          </a:xfrm>
          <a:prstGeom prst="pie">
            <a:avLst>
              <a:gd name="adj1" fmla="val 5348895"/>
              <a:gd name="adj2" fmla="val 8995523"/>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00" name="Partial Circle 99">
            <a:extLst>
              <a:ext uri="{FF2B5EF4-FFF2-40B4-BE49-F238E27FC236}">
                <a16:creationId xmlns:a16="http://schemas.microsoft.com/office/drawing/2014/main" id="{E0B578E5-E062-4B79-9777-B8401C67BB61}"/>
              </a:ext>
            </a:extLst>
          </p:cNvPr>
          <p:cNvSpPr>
            <a:spLocks noChangeAspect="1"/>
          </p:cNvSpPr>
          <p:nvPr/>
        </p:nvSpPr>
        <p:spPr>
          <a:xfrm>
            <a:off x="3620174" y="1797734"/>
            <a:ext cx="4908514" cy="4909154"/>
          </a:xfrm>
          <a:prstGeom prst="pie">
            <a:avLst>
              <a:gd name="adj1" fmla="val 9010219"/>
              <a:gd name="adj2" fmla="val 12565274"/>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06" name="Partial Circle 105">
            <a:extLst>
              <a:ext uri="{FF2B5EF4-FFF2-40B4-BE49-F238E27FC236}">
                <a16:creationId xmlns:a16="http://schemas.microsoft.com/office/drawing/2014/main" id="{12E5E32B-6A3C-4C97-AE4F-456875F37A73}"/>
              </a:ext>
            </a:extLst>
          </p:cNvPr>
          <p:cNvSpPr>
            <a:spLocks noChangeAspect="1"/>
          </p:cNvSpPr>
          <p:nvPr/>
        </p:nvSpPr>
        <p:spPr>
          <a:xfrm>
            <a:off x="3423510" y="1610711"/>
            <a:ext cx="5282506" cy="5283196"/>
          </a:xfrm>
          <a:prstGeom prst="pie">
            <a:avLst>
              <a:gd name="adj1" fmla="val 12576914"/>
              <a:gd name="adj2" fmla="val 16200000"/>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17" name="Partial Circle 116">
            <a:extLst>
              <a:ext uri="{FF2B5EF4-FFF2-40B4-BE49-F238E27FC236}">
                <a16:creationId xmlns:a16="http://schemas.microsoft.com/office/drawing/2014/main" id="{81CDBBE3-60B1-4271-BEFF-BF5CD6C15C21}"/>
              </a:ext>
            </a:extLst>
          </p:cNvPr>
          <p:cNvSpPr>
            <a:spLocks noChangeAspect="1"/>
          </p:cNvSpPr>
          <p:nvPr/>
        </p:nvSpPr>
        <p:spPr>
          <a:xfrm>
            <a:off x="4388473" y="2575802"/>
            <a:ext cx="3352581" cy="3353018"/>
          </a:xfrm>
          <a:prstGeom prst="pie">
            <a:avLst>
              <a:gd name="adj1" fmla="val 16194588"/>
              <a:gd name="adj2" fmla="val 19760967"/>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grpSp>
        <p:nvGrpSpPr>
          <p:cNvPr id="140" name="Group 139">
            <a:extLst>
              <a:ext uri="{FF2B5EF4-FFF2-40B4-BE49-F238E27FC236}">
                <a16:creationId xmlns:a16="http://schemas.microsoft.com/office/drawing/2014/main" id="{3F69D5F2-CB14-4FFF-BD17-05EDC1037410}"/>
              </a:ext>
            </a:extLst>
          </p:cNvPr>
          <p:cNvGrpSpPr/>
          <p:nvPr/>
        </p:nvGrpSpPr>
        <p:grpSpPr>
          <a:xfrm>
            <a:off x="4920263" y="3107661"/>
            <a:ext cx="2289000" cy="2289299"/>
            <a:chOff x="9675359" y="4339772"/>
            <a:chExt cx="5036457" cy="5036457"/>
          </a:xfrm>
        </p:grpSpPr>
        <p:sp>
          <p:nvSpPr>
            <p:cNvPr id="141" name="Oval 140">
              <a:extLst>
                <a:ext uri="{FF2B5EF4-FFF2-40B4-BE49-F238E27FC236}">
                  <a16:creationId xmlns:a16="http://schemas.microsoft.com/office/drawing/2014/main" id="{7BF00263-0B63-41FB-BA5D-66BBA49DD577}"/>
                </a:ext>
              </a:extLst>
            </p:cNvPr>
            <p:cNvSpPr/>
            <p:nvPr/>
          </p:nvSpPr>
          <p:spPr>
            <a:xfrm>
              <a:off x="9675359" y="4339772"/>
              <a:ext cx="5036457" cy="503645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43" name="Isosceles Triangle 142">
              <a:extLst>
                <a:ext uri="{FF2B5EF4-FFF2-40B4-BE49-F238E27FC236}">
                  <a16:creationId xmlns:a16="http://schemas.microsoft.com/office/drawing/2014/main" id="{4035D548-93C3-417C-936F-1759702B38D8}"/>
                </a:ext>
              </a:extLst>
            </p:cNvPr>
            <p:cNvSpPr/>
            <p:nvPr/>
          </p:nvSpPr>
          <p:spPr>
            <a:xfrm rot="5400000">
              <a:off x="13198954" y="5759606"/>
              <a:ext cx="228600" cy="219678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grpSp>
      <p:grpSp>
        <p:nvGrpSpPr>
          <p:cNvPr id="156" name="Group 155">
            <a:extLst>
              <a:ext uri="{FF2B5EF4-FFF2-40B4-BE49-F238E27FC236}">
                <a16:creationId xmlns:a16="http://schemas.microsoft.com/office/drawing/2014/main" id="{97C68F89-0A9E-41CC-A9FF-14AA36D273B7}"/>
              </a:ext>
            </a:extLst>
          </p:cNvPr>
          <p:cNvGrpSpPr/>
          <p:nvPr/>
        </p:nvGrpSpPr>
        <p:grpSpPr>
          <a:xfrm>
            <a:off x="4920263" y="3107661"/>
            <a:ext cx="2289000" cy="2289299"/>
            <a:chOff x="9675359" y="4339772"/>
            <a:chExt cx="5036457" cy="5036457"/>
          </a:xfrm>
        </p:grpSpPr>
        <p:sp>
          <p:nvSpPr>
            <p:cNvPr id="158" name="Oval 157">
              <a:extLst>
                <a:ext uri="{FF2B5EF4-FFF2-40B4-BE49-F238E27FC236}">
                  <a16:creationId xmlns:a16="http://schemas.microsoft.com/office/drawing/2014/main" id="{F62B2B34-FFA3-4D31-8878-284FD1A6FFB0}"/>
                </a:ext>
              </a:extLst>
            </p:cNvPr>
            <p:cNvSpPr/>
            <p:nvPr/>
          </p:nvSpPr>
          <p:spPr>
            <a:xfrm>
              <a:off x="9675359" y="4339772"/>
              <a:ext cx="5036457" cy="5036457"/>
            </a:xfrm>
            <a:prstGeom prst="ellipse">
              <a:avLst/>
            </a:prstGeom>
            <a:noFill/>
            <a:ln w="111125">
              <a:solidFill>
                <a:schemeClr val="bg1">
                  <a:alpha val="1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60" name="Isosceles Triangle 159">
              <a:extLst>
                <a:ext uri="{FF2B5EF4-FFF2-40B4-BE49-F238E27FC236}">
                  <a16:creationId xmlns:a16="http://schemas.microsoft.com/office/drawing/2014/main" id="{B1AE520E-B431-4956-B67E-3B749F0B6283}"/>
                </a:ext>
              </a:extLst>
            </p:cNvPr>
            <p:cNvSpPr/>
            <p:nvPr/>
          </p:nvSpPr>
          <p:spPr>
            <a:xfrm>
              <a:off x="12079287" y="5402432"/>
              <a:ext cx="228600" cy="129046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grpSp>
      <p:sp>
        <p:nvSpPr>
          <p:cNvPr id="161" name="Freeform 5">
            <a:extLst>
              <a:ext uri="{FF2B5EF4-FFF2-40B4-BE49-F238E27FC236}">
                <a16:creationId xmlns:a16="http://schemas.microsoft.com/office/drawing/2014/main" id="{67C701EF-80BC-4C73-9CD2-CC0DD0AFE68C}"/>
              </a:ext>
            </a:extLst>
          </p:cNvPr>
          <p:cNvSpPr>
            <a:spLocks noEditPoints="1"/>
          </p:cNvSpPr>
          <p:nvPr/>
        </p:nvSpPr>
        <p:spPr bwMode="auto">
          <a:xfrm>
            <a:off x="4723501" y="2910151"/>
            <a:ext cx="2682525" cy="2684318"/>
          </a:xfrm>
          <a:custGeom>
            <a:avLst/>
            <a:gdLst>
              <a:gd name="T0" fmla="*/ 293 w 585"/>
              <a:gd name="T1" fmla="*/ 0 h 585"/>
              <a:gd name="T2" fmla="*/ 0 w 585"/>
              <a:gd name="T3" fmla="*/ 292 h 585"/>
              <a:gd name="T4" fmla="*/ 293 w 585"/>
              <a:gd name="T5" fmla="*/ 585 h 585"/>
              <a:gd name="T6" fmla="*/ 585 w 585"/>
              <a:gd name="T7" fmla="*/ 292 h 585"/>
              <a:gd name="T8" fmla="*/ 293 w 585"/>
              <a:gd name="T9" fmla="*/ 0 h 585"/>
              <a:gd name="T10" fmla="*/ 429 w 585"/>
              <a:gd name="T11" fmla="*/ 519 h 585"/>
              <a:gd name="T12" fmla="*/ 411 w 585"/>
              <a:gd name="T13" fmla="*/ 498 h 585"/>
              <a:gd name="T14" fmla="*/ 421 w 585"/>
              <a:gd name="T15" fmla="*/ 524 h 585"/>
              <a:gd name="T16" fmla="*/ 297 w 585"/>
              <a:gd name="T17" fmla="*/ 557 h 585"/>
              <a:gd name="T18" fmla="*/ 293 w 585"/>
              <a:gd name="T19" fmla="*/ 529 h 585"/>
              <a:gd name="T20" fmla="*/ 288 w 585"/>
              <a:gd name="T21" fmla="*/ 557 h 585"/>
              <a:gd name="T22" fmla="*/ 164 w 585"/>
              <a:gd name="T23" fmla="*/ 524 h 585"/>
              <a:gd name="T24" fmla="*/ 174 w 585"/>
              <a:gd name="T25" fmla="*/ 498 h 585"/>
              <a:gd name="T26" fmla="*/ 156 w 585"/>
              <a:gd name="T27" fmla="*/ 519 h 585"/>
              <a:gd name="T28" fmla="*/ 66 w 585"/>
              <a:gd name="T29" fmla="*/ 429 h 585"/>
              <a:gd name="T30" fmla="*/ 88 w 585"/>
              <a:gd name="T31" fmla="*/ 411 h 585"/>
              <a:gd name="T32" fmla="*/ 61 w 585"/>
              <a:gd name="T33" fmla="*/ 421 h 585"/>
              <a:gd name="T34" fmla="*/ 28 w 585"/>
              <a:gd name="T35" fmla="*/ 297 h 585"/>
              <a:gd name="T36" fmla="*/ 56 w 585"/>
              <a:gd name="T37" fmla="*/ 292 h 585"/>
              <a:gd name="T38" fmla="*/ 28 w 585"/>
              <a:gd name="T39" fmla="*/ 288 h 585"/>
              <a:gd name="T40" fmla="*/ 61 w 585"/>
              <a:gd name="T41" fmla="*/ 164 h 585"/>
              <a:gd name="T42" fmla="*/ 88 w 585"/>
              <a:gd name="T43" fmla="*/ 174 h 585"/>
              <a:gd name="T44" fmla="*/ 66 w 585"/>
              <a:gd name="T45" fmla="*/ 156 h 585"/>
              <a:gd name="T46" fmla="*/ 156 w 585"/>
              <a:gd name="T47" fmla="*/ 66 h 585"/>
              <a:gd name="T48" fmla="*/ 174 w 585"/>
              <a:gd name="T49" fmla="*/ 87 h 585"/>
              <a:gd name="T50" fmla="*/ 164 w 585"/>
              <a:gd name="T51" fmla="*/ 61 h 585"/>
              <a:gd name="T52" fmla="*/ 288 w 585"/>
              <a:gd name="T53" fmla="*/ 28 h 585"/>
              <a:gd name="T54" fmla="*/ 293 w 585"/>
              <a:gd name="T55" fmla="*/ 56 h 585"/>
              <a:gd name="T56" fmla="*/ 297 w 585"/>
              <a:gd name="T57" fmla="*/ 28 h 585"/>
              <a:gd name="T58" fmla="*/ 421 w 585"/>
              <a:gd name="T59" fmla="*/ 61 h 585"/>
              <a:gd name="T60" fmla="*/ 411 w 585"/>
              <a:gd name="T61" fmla="*/ 87 h 585"/>
              <a:gd name="T62" fmla="*/ 429 w 585"/>
              <a:gd name="T63" fmla="*/ 66 h 585"/>
              <a:gd name="T64" fmla="*/ 520 w 585"/>
              <a:gd name="T65" fmla="*/ 156 h 585"/>
              <a:gd name="T66" fmla="*/ 498 w 585"/>
              <a:gd name="T67" fmla="*/ 174 h 585"/>
              <a:gd name="T68" fmla="*/ 524 w 585"/>
              <a:gd name="T69" fmla="*/ 164 h 585"/>
              <a:gd name="T70" fmla="*/ 557 w 585"/>
              <a:gd name="T71" fmla="*/ 288 h 585"/>
              <a:gd name="T72" fmla="*/ 530 w 585"/>
              <a:gd name="T73" fmla="*/ 292 h 585"/>
              <a:gd name="T74" fmla="*/ 557 w 585"/>
              <a:gd name="T75" fmla="*/ 297 h 585"/>
              <a:gd name="T76" fmla="*/ 524 w 585"/>
              <a:gd name="T77" fmla="*/ 421 h 585"/>
              <a:gd name="T78" fmla="*/ 498 w 585"/>
              <a:gd name="T79" fmla="*/ 411 h 585"/>
              <a:gd name="T80" fmla="*/ 520 w 585"/>
              <a:gd name="T81" fmla="*/ 429 h 585"/>
              <a:gd name="T82" fmla="*/ 429 w 585"/>
              <a:gd name="T83" fmla="*/ 519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5" h="585">
                <a:moveTo>
                  <a:pt x="293" y="0"/>
                </a:moveTo>
                <a:cubicBezTo>
                  <a:pt x="131" y="0"/>
                  <a:pt x="0" y="131"/>
                  <a:pt x="0" y="292"/>
                </a:cubicBezTo>
                <a:cubicBezTo>
                  <a:pt x="0" y="454"/>
                  <a:pt x="131" y="585"/>
                  <a:pt x="293" y="585"/>
                </a:cubicBezTo>
                <a:cubicBezTo>
                  <a:pt x="454" y="585"/>
                  <a:pt x="585" y="454"/>
                  <a:pt x="585" y="292"/>
                </a:cubicBezTo>
                <a:cubicBezTo>
                  <a:pt x="585" y="131"/>
                  <a:pt x="454" y="0"/>
                  <a:pt x="293" y="0"/>
                </a:cubicBezTo>
                <a:close/>
                <a:moveTo>
                  <a:pt x="429" y="519"/>
                </a:moveTo>
                <a:cubicBezTo>
                  <a:pt x="411" y="498"/>
                  <a:pt x="411" y="498"/>
                  <a:pt x="411" y="498"/>
                </a:cubicBezTo>
                <a:cubicBezTo>
                  <a:pt x="421" y="524"/>
                  <a:pt x="421" y="524"/>
                  <a:pt x="421" y="524"/>
                </a:cubicBezTo>
                <a:cubicBezTo>
                  <a:pt x="384" y="544"/>
                  <a:pt x="342" y="556"/>
                  <a:pt x="297" y="557"/>
                </a:cubicBezTo>
                <a:cubicBezTo>
                  <a:pt x="293" y="529"/>
                  <a:pt x="293" y="529"/>
                  <a:pt x="293" y="529"/>
                </a:cubicBezTo>
                <a:cubicBezTo>
                  <a:pt x="288" y="557"/>
                  <a:pt x="288" y="557"/>
                  <a:pt x="288" y="557"/>
                </a:cubicBezTo>
                <a:cubicBezTo>
                  <a:pt x="243" y="556"/>
                  <a:pt x="201" y="544"/>
                  <a:pt x="164" y="524"/>
                </a:cubicBezTo>
                <a:cubicBezTo>
                  <a:pt x="174" y="498"/>
                  <a:pt x="174" y="498"/>
                  <a:pt x="174" y="498"/>
                </a:cubicBezTo>
                <a:cubicBezTo>
                  <a:pt x="156" y="519"/>
                  <a:pt x="156" y="519"/>
                  <a:pt x="156" y="519"/>
                </a:cubicBezTo>
                <a:cubicBezTo>
                  <a:pt x="119" y="497"/>
                  <a:pt x="88" y="466"/>
                  <a:pt x="66" y="429"/>
                </a:cubicBezTo>
                <a:cubicBezTo>
                  <a:pt x="88" y="411"/>
                  <a:pt x="88" y="411"/>
                  <a:pt x="88" y="411"/>
                </a:cubicBezTo>
                <a:cubicBezTo>
                  <a:pt x="61" y="421"/>
                  <a:pt x="61" y="421"/>
                  <a:pt x="61" y="421"/>
                </a:cubicBezTo>
                <a:cubicBezTo>
                  <a:pt x="41" y="384"/>
                  <a:pt x="29" y="342"/>
                  <a:pt x="28" y="297"/>
                </a:cubicBezTo>
                <a:cubicBezTo>
                  <a:pt x="56" y="292"/>
                  <a:pt x="56" y="292"/>
                  <a:pt x="56" y="292"/>
                </a:cubicBezTo>
                <a:cubicBezTo>
                  <a:pt x="28" y="288"/>
                  <a:pt x="28" y="288"/>
                  <a:pt x="28" y="288"/>
                </a:cubicBezTo>
                <a:cubicBezTo>
                  <a:pt x="29" y="243"/>
                  <a:pt x="41" y="201"/>
                  <a:pt x="61" y="164"/>
                </a:cubicBezTo>
                <a:cubicBezTo>
                  <a:pt x="88" y="174"/>
                  <a:pt x="88" y="174"/>
                  <a:pt x="88" y="174"/>
                </a:cubicBezTo>
                <a:cubicBezTo>
                  <a:pt x="66" y="156"/>
                  <a:pt x="66" y="156"/>
                  <a:pt x="66" y="156"/>
                </a:cubicBezTo>
                <a:cubicBezTo>
                  <a:pt x="88" y="119"/>
                  <a:pt x="119" y="88"/>
                  <a:pt x="156" y="66"/>
                </a:cubicBezTo>
                <a:cubicBezTo>
                  <a:pt x="174" y="87"/>
                  <a:pt x="174" y="87"/>
                  <a:pt x="174" y="87"/>
                </a:cubicBezTo>
                <a:cubicBezTo>
                  <a:pt x="164" y="61"/>
                  <a:pt x="164" y="61"/>
                  <a:pt x="164" y="61"/>
                </a:cubicBezTo>
                <a:cubicBezTo>
                  <a:pt x="201" y="40"/>
                  <a:pt x="243" y="29"/>
                  <a:pt x="288" y="28"/>
                </a:cubicBezTo>
                <a:cubicBezTo>
                  <a:pt x="293" y="56"/>
                  <a:pt x="293" y="56"/>
                  <a:pt x="293" y="56"/>
                </a:cubicBezTo>
                <a:cubicBezTo>
                  <a:pt x="297" y="28"/>
                  <a:pt x="297" y="28"/>
                  <a:pt x="297" y="28"/>
                </a:cubicBezTo>
                <a:cubicBezTo>
                  <a:pt x="342" y="29"/>
                  <a:pt x="384" y="40"/>
                  <a:pt x="421" y="61"/>
                </a:cubicBezTo>
                <a:cubicBezTo>
                  <a:pt x="411" y="87"/>
                  <a:pt x="411" y="87"/>
                  <a:pt x="411" y="87"/>
                </a:cubicBezTo>
                <a:cubicBezTo>
                  <a:pt x="429" y="66"/>
                  <a:pt x="429" y="66"/>
                  <a:pt x="429" y="66"/>
                </a:cubicBezTo>
                <a:cubicBezTo>
                  <a:pt x="466" y="88"/>
                  <a:pt x="497" y="119"/>
                  <a:pt x="520" y="156"/>
                </a:cubicBezTo>
                <a:cubicBezTo>
                  <a:pt x="498" y="174"/>
                  <a:pt x="498" y="174"/>
                  <a:pt x="498" y="174"/>
                </a:cubicBezTo>
                <a:cubicBezTo>
                  <a:pt x="524" y="164"/>
                  <a:pt x="524" y="164"/>
                  <a:pt x="524" y="164"/>
                </a:cubicBezTo>
                <a:cubicBezTo>
                  <a:pt x="545" y="201"/>
                  <a:pt x="557" y="243"/>
                  <a:pt x="557" y="288"/>
                </a:cubicBezTo>
                <a:cubicBezTo>
                  <a:pt x="530" y="292"/>
                  <a:pt x="530" y="292"/>
                  <a:pt x="530" y="292"/>
                </a:cubicBezTo>
                <a:cubicBezTo>
                  <a:pt x="557" y="297"/>
                  <a:pt x="557" y="297"/>
                  <a:pt x="557" y="297"/>
                </a:cubicBezTo>
                <a:cubicBezTo>
                  <a:pt x="557" y="342"/>
                  <a:pt x="545" y="384"/>
                  <a:pt x="524" y="421"/>
                </a:cubicBezTo>
                <a:cubicBezTo>
                  <a:pt x="498" y="411"/>
                  <a:pt x="498" y="411"/>
                  <a:pt x="498" y="411"/>
                </a:cubicBezTo>
                <a:cubicBezTo>
                  <a:pt x="520" y="429"/>
                  <a:pt x="520" y="429"/>
                  <a:pt x="520" y="429"/>
                </a:cubicBezTo>
                <a:cubicBezTo>
                  <a:pt x="497" y="466"/>
                  <a:pt x="466" y="497"/>
                  <a:pt x="429" y="519"/>
                </a:cubicBezTo>
                <a:close/>
              </a:path>
            </a:pathLst>
          </a:custGeom>
          <a:solidFill>
            <a:srgbClr val="E3E48D"/>
          </a:solidFill>
          <a:ln>
            <a:noFill/>
          </a:ln>
          <a:effectLst>
            <a:outerShdw blurRad="1092200" sx="102000" sy="102000" algn="ctr" rotWithShape="0">
              <a:prstClr val="black">
                <a:alpha val="40000"/>
              </a:prstClr>
            </a:outerShdw>
          </a:effectLst>
        </p:spPr>
        <p:txBody>
          <a:bodyPr vert="horz" wrap="square" lIns="45711" tIns="22855" rIns="45711" bIns="22855" numCol="1" anchor="t" anchorCtr="0" compatLnSpc="1">
            <a:prstTxWarp prst="textNoShape">
              <a:avLst/>
            </a:prstTxWarp>
          </a:bodyPr>
          <a:lstStyle/>
          <a:p>
            <a:endParaRPr lang="en-US" sz="1300"/>
          </a:p>
        </p:txBody>
      </p:sp>
      <p:sp>
        <p:nvSpPr>
          <p:cNvPr id="164" name="Oval 163">
            <a:extLst>
              <a:ext uri="{FF2B5EF4-FFF2-40B4-BE49-F238E27FC236}">
                <a16:creationId xmlns:a16="http://schemas.microsoft.com/office/drawing/2014/main" id="{82C740A5-554D-4542-8107-2191AED5CF42}"/>
              </a:ext>
            </a:extLst>
          </p:cNvPr>
          <p:cNvSpPr/>
          <p:nvPr/>
        </p:nvSpPr>
        <p:spPr>
          <a:xfrm>
            <a:off x="5952358" y="4139891"/>
            <a:ext cx="224811" cy="224841"/>
          </a:xfrm>
          <a:prstGeom prst="ellipse">
            <a:avLst/>
          </a:prstGeom>
          <a:solidFill>
            <a:schemeClr val="bg1"/>
          </a:solidFill>
          <a:ln w="92075">
            <a:noFill/>
          </a:ln>
          <a:effectLst>
            <a:outerShdw blurRad="241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sz="1300"/>
          </a:p>
        </p:txBody>
      </p:sp>
      <p:cxnSp>
        <p:nvCxnSpPr>
          <p:cNvPr id="55" name="Straight Connector 54">
            <a:extLst>
              <a:ext uri="{FF2B5EF4-FFF2-40B4-BE49-F238E27FC236}">
                <a16:creationId xmlns:a16="http://schemas.microsoft.com/office/drawing/2014/main" id="{ECA588F2-1467-41BC-BCBB-980CDF1C4264}"/>
              </a:ext>
            </a:extLst>
          </p:cNvPr>
          <p:cNvCxnSpPr>
            <a:cxnSpLocks/>
            <a:endCxn id="56" idx="1"/>
          </p:cNvCxnSpPr>
          <p:nvPr/>
        </p:nvCxnSpPr>
        <p:spPr>
          <a:xfrm flipV="1">
            <a:off x="6776357" y="1397193"/>
            <a:ext cx="2092009" cy="1328546"/>
          </a:xfrm>
          <a:prstGeom prst="bentConnector3">
            <a:avLst>
              <a:gd name="adj1" fmla="val 50000"/>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16BAB7D-8CF0-4958-B853-3BBBF39F2993}"/>
              </a:ext>
            </a:extLst>
          </p:cNvPr>
          <p:cNvSpPr txBox="1"/>
          <p:nvPr/>
        </p:nvSpPr>
        <p:spPr>
          <a:xfrm>
            <a:off x="8868366" y="974005"/>
            <a:ext cx="2695182" cy="846375"/>
          </a:xfrm>
          <a:prstGeom prst="rect">
            <a:avLst/>
          </a:prstGeom>
          <a:noFill/>
        </p:spPr>
        <p:txBody>
          <a:bodyPr wrap="square" lIns="182880" tIns="22855" rIns="45711" bIns="22855" rtlCol="0">
            <a:spAutoFit/>
          </a:bodyPr>
          <a:lstStyle/>
          <a:p>
            <a:r>
              <a:rPr lang="en-US" sz="1300" b="1" dirty="0">
                <a:solidFill>
                  <a:srgbClr val="43B02A"/>
                </a:solidFill>
              </a:rPr>
              <a:t>This is dummy text</a:t>
            </a:r>
          </a:p>
          <a:p>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sp>
        <p:nvSpPr>
          <p:cNvPr id="57" name="TextBox 56">
            <a:extLst>
              <a:ext uri="{FF2B5EF4-FFF2-40B4-BE49-F238E27FC236}">
                <a16:creationId xmlns:a16="http://schemas.microsoft.com/office/drawing/2014/main" id="{9B9F4C6E-BDA3-48BB-9C55-A9875CB08913}"/>
              </a:ext>
            </a:extLst>
          </p:cNvPr>
          <p:cNvSpPr txBox="1"/>
          <p:nvPr/>
        </p:nvSpPr>
        <p:spPr>
          <a:xfrm>
            <a:off x="8868366" y="2735147"/>
            <a:ext cx="2857710" cy="846375"/>
          </a:xfrm>
          <a:prstGeom prst="rect">
            <a:avLst/>
          </a:prstGeom>
          <a:noFill/>
        </p:spPr>
        <p:txBody>
          <a:bodyPr wrap="square" lIns="182880" tIns="22855" rIns="45711" bIns="22855" rtlCol="0">
            <a:spAutoFit/>
          </a:bodyPr>
          <a:lstStyle/>
          <a:p>
            <a:r>
              <a:rPr lang="en-US" sz="1300" b="1" dirty="0">
                <a:solidFill>
                  <a:srgbClr val="43B02A"/>
                </a:solidFill>
              </a:rPr>
              <a:t>This is dummy text</a:t>
            </a:r>
          </a:p>
          <a:p>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sp>
        <p:nvSpPr>
          <p:cNvPr id="58" name="TextBox 57">
            <a:extLst>
              <a:ext uri="{FF2B5EF4-FFF2-40B4-BE49-F238E27FC236}">
                <a16:creationId xmlns:a16="http://schemas.microsoft.com/office/drawing/2014/main" id="{56F36C14-09EB-4848-88F3-795816C1804E}"/>
              </a:ext>
            </a:extLst>
          </p:cNvPr>
          <p:cNvSpPr txBox="1"/>
          <p:nvPr/>
        </p:nvSpPr>
        <p:spPr>
          <a:xfrm>
            <a:off x="8763349" y="5320967"/>
            <a:ext cx="2962727" cy="846375"/>
          </a:xfrm>
          <a:prstGeom prst="rect">
            <a:avLst/>
          </a:prstGeom>
          <a:noFill/>
        </p:spPr>
        <p:txBody>
          <a:bodyPr wrap="square" lIns="182880" tIns="22855" rIns="45711" bIns="22855" rtlCol="0">
            <a:spAutoFit/>
          </a:bodyPr>
          <a:lstStyle/>
          <a:p>
            <a:r>
              <a:rPr lang="en-US" sz="1300" b="1" dirty="0">
                <a:solidFill>
                  <a:srgbClr val="43B02A"/>
                </a:solidFill>
              </a:rPr>
              <a:t>This is dummy text</a:t>
            </a:r>
          </a:p>
          <a:p>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sp>
        <p:nvSpPr>
          <p:cNvPr id="59" name="TextBox 58">
            <a:extLst>
              <a:ext uri="{FF2B5EF4-FFF2-40B4-BE49-F238E27FC236}">
                <a16:creationId xmlns:a16="http://schemas.microsoft.com/office/drawing/2014/main" id="{500C1451-A3AF-4B5C-9066-06646ABD8BFB}"/>
              </a:ext>
            </a:extLst>
          </p:cNvPr>
          <p:cNvSpPr txBox="1"/>
          <p:nvPr/>
        </p:nvSpPr>
        <p:spPr>
          <a:xfrm>
            <a:off x="406346" y="5320967"/>
            <a:ext cx="2818956" cy="846375"/>
          </a:xfrm>
          <a:prstGeom prst="rect">
            <a:avLst/>
          </a:prstGeom>
          <a:noFill/>
        </p:spPr>
        <p:txBody>
          <a:bodyPr wrap="square" lIns="45720" tIns="22855" rIns="182880" bIns="22855" rtlCol="0">
            <a:spAutoFit/>
          </a:bodyPr>
          <a:lstStyle/>
          <a:p>
            <a:pPr algn="r"/>
            <a:r>
              <a:rPr lang="en-US" sz="1300" b="1" dirty="0">
                <a:solidFill>
                  <a:srgbClr val="43B02A"/>
                </a:solidFill>
              </a:rPr>
              <a:t>This is dummy text</a:t>
            </a:r>
          </a:p>
          <a:p>
            <a:pPr algn="r"/>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sp>
        <p:nvSpPr>
          <p:cNvPr id="60" name="TextBox 59">
            <a:extLst>
              <a:ext uri="{FF2B5EF4-FFF2-40B4-BE49-F238E27FC236}">
                <a16:creationId xmlns:a16="http://schemas.microsoft.com/office/drawing/2014/main" id="{94D5BAF8-6119-4C9E-BFD5-DD6728FE3494}"/>
              </a:ext>
            </a:extLst>
          </p:cNvPr>
          <p:cNvSpPr txBox="1"/>
          <p:nvPr/>
        </p:nvSpPr>
        <p:spPr>
          <a:xfrm>
            <a:off x="406346" y="3073697"/>
            <a:ext cx="2695182" cy="846375"/>
          </a:xfrm>
          <a:prstGeom prst="rect">
            <a:avLst/>
          </a:prstGeom>
          <a:noFill/>
        </p:spPr>
        <p:txBody>
          <a:bodyPr wrap="square" lIns="45720" tIns="22855" rIns="182880" bIns="22855" rtlCol="0">
            <a:spAutoFit/>
          </a:bodyPr>
          <a:lstStyle/>
          <a:p>
            <a:pPr algn="r"/>
            <a:r>
              <a:rPr lang="en-US" sz="1300" b="1" dirty="0">
                <a:solidFill>
                  <a:srgbClr val="43B02A"/>
                </a:solidFill>
              </a:rPr>
              <a:t>This is dummy text</a:t>
            </a:r>
          </a:p>
          <a:p>
            <a:pPr algn="r"/>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sp>
        <p:nvSpPr>
          <p:cNvPr id="61" name="TextBox 60">
            <a:extLst>
              <a:ext uri="{FF2B5EF4-FFF2-40B4-BE49-F238E27FC236}">
                <a16:creationId xmlns:a16="http://schemas.microsoft.com/office/drawing/2014/main" id="{BB3C572F-A3F2-4C53-B4D6-F35D9633688C}"/>
              </a:ext>
            </a:extLst>
          </p:cNvPr>
          <p:cNvSpPr txBox="1"/>
          <p:nvPr/>
        </p:nvSpPr>
        <p:spPr>
          <a:xfrm>
            <a:off x="406346" y="974005"/>
            <a:ext cx="2695182" cy="846375"/>
          </a:xfrm>
          <a:prstGeom prst="rect">
            <a:avLst/>
          </a:prstGeom>
          <a:noFill/>
        </p:spPr>
        <p:txBody>
          <a:bodyPr wrap="square" lIns="45720" tIns="22855" rIns="182880" bIns="22855" rtlCol="0">
            <a:spAutoFit/>
          </a:bodyPr>
          <a:lstStyle/>
          <a:p>
            <a:pPr algn="r"/>
            <a:r>
              <a:rPr lang="en-US" sz="1300" b="1" dirty="0">
                <a:solidFill>
                  <a:srgbClr val="43B02A"/>
                </a:solidFill>
              </a:rPr>
              <a:t>This is dummy text</a:t>
            </a:r>
          </a:p>
          <a:p>
            <a:pPr algn="r"/>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cxnSp>
        <p:nvCxnSpPr>
          <p:cNvPr id="72" name="Straight Connector 54">
            <a:extLst>
              <a:ext uri="{FF2B5EF4-FFF2-40B4-BE49-F238E27FC236}">
                <a16:creationId xmlns:a16="http://schemas.microsoft.com/office/drawing/2014/main" id="{8412345D-6C93-4723-80B3-6C72DB800E16}"/>
              </a:ext>
            </a:extLst>
          </p:cNvPr>
          <p:cNvCxnSpPr>
            <a:cxnSpLocks/>
            <a:stCxn id="93" idx="0"/>
            <a:endCxn id="57" idx="1"/>
          </p:cNvCxnSpPr>
          <p:nvPr/>
        </p:nvCxnSpPr>
        <p:spPr>
          <a:xfrm flipV="1">
            <a:off x="7908683" y="3158335"/>
            <a:ext cx="959683" cy="1093976"/>
          </a:xfrm>
          <a:prstGeom prst="bentConnector3">
            <a:avLst>
              <a:gd name="adj1" fmla="val 50000"/>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54">
            <a:extLst>
              <a:ext uri="{FF2B5EF4-FFF2-40B4-BE49-F238E27FC236}">
                <a16:creationId xmlns:a16="http://schemas.microsoft.com/office/drawing/2014/main" id="{F72CFFDB-5C80-44B0-B832-D0F40895A074}"/>
              </a:ext>
            </a:extLst>
          </p:cNvPr>
          <p:cNvCxnSpPr>
            <a:cxnSpLocks/>
            <a:endCxn id="58" idx="1"/>
          </p:cNvCxnSpPr>
          <p:nvPr/>
        </p:nvCxnSpPr>
        <p:spPr>
          <a:xfrm flipV="1">
            <a:off x="7072840" y="5744155"/>
            <a:ext cx="1690509" cy="274267"/>
          </a:xfrm>
          <a:prstGeom prst="bentConnector3">
            <a:avLst>
              <a:gd name="adj1" fmla="val 50000"/>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54">
            <a:extLst>
              <a:ext uri="{FF2B5EF4-FFF2-40B4-BE49-F238E27FC236}">
                <a16:creationId xmlns:a16="http://schemas.microsoft.com/office/drawing/2014/main" id="{5FE9F2E8-564D-41BA-8536-9689F0C979FB}"/>
              </a:ext>
            </a:extLst>
          </p:cNvPr>
          <p:cNvCxnSpPr>
            <a:cxnSpLocks/>
            <a:endCxn id="59" idx="3"/>
          </p:cNvCxnSpPr>
          <p:nvPr/>
        </p:nvCxnSpPr>
        <p:spPr>
          <a:xfrm rot="10800000">
            <a:off x="3225303" y="5744156"/>
            <a:ext cx="1694975" cy="446005"/>
          </a:xfrm>
          <a:prstGeom prst="bentConnector3">
            <a:avLst>
              <a:gd name="adj1" fmla="val 50000"/>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Connector 54">
            <a:extLst>
              <a:ext uri="{FF2B5EF4-FFF2-40B4-BE49-F238E27FC236}">
                <a16:creationId xmlns:a16="http://schemas.microsoft.com/office/drawing/2014/main" id="{F96095BB-B714-4E3C-AFEC-BB3DCF3B5D5E}"/>
              </a:ext>
            </a:extLst>
          </p:cNvPr>
          <p:cNvCxnSpPr>
            <a:cxnSpLocks/>
            <a:stCxn id="100" idx="2"/>
            <a:endCxn id="60" idx="3"/>
          </p:cNvCxnSpPr>
          <p:nvPr/>
        </p:nvCxnSpPr>
        <p:spPr>
          <a:xfrm rot="10800000">
            <a:off x="3101528" y="3496885"/>
            <a:ext cx="518646" cy="755426"/>
          </a:xfrm>
          <a:prstGeom prst="bentConnector3">
            <a:avLst>
              <a:gd name="adj1" fmla="val 50000"/>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cxnSp>
        <p:nvCxnSpPr>
          <p:cNvPr id="98" name="Straight Connector 54">
            <a:extLst>
              <a:ext uri="{FF2B5EF4-FFF2-40B4-BE49-F238E27FC236}">
                <a16:creationId xmlns:a16="http://schemas.microsoft.com/office/drawing/2014/main" id="{68AD9995-7140-4337-8391-87E46C2EAB70}"/>
              </a:ext>
            </a:extLst>
          </p:cNvPr>
          <p:cNvCxnSpPr>
            <a:cxnSpLocks/>
          </p:cNvCxnSpPr>
          <p:nvPr/>
        </p:nvCxnSpPr>
        <p:spPr>
          <a:xfrm rot="10800000">
            <a:off x="3149768" y="1266421"/>
            <a:ext cx="1675771" cy="652859"/>
          </a:xfrm>
          <a:prstGeom prst="bentConnector3">
            <a:avLst>
              <a:gd name="adj1" fmla="val 147"/>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016593233"/>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14:presetBounceEnd="81000">
                                      <p:stCondLst>
                                        <p:cond delay="0"/>
                                      </p:stCondLst>
                                      <p:childTnLst>
                                        <p:animRot by="16200000" p14:bounceEnd="81000">
                                          <p:cBhvr>
                                            <p:cTn id="38" dur="1000" fill="hold"/>
                                            <p:tgtEl>
                                              <p:spTgt spid="140"/>
                                            </p:tgtEl>
                                            <p:attrNameLst>
                                              <p:attrName>r</p:attrName>
                                            </p:attrNameLst>
                                          </p:cBhvr>
                                        </p:animRot>
                                      </p:childTnLst>
                                    </p:cTn>
                                  </p:par>
                                  <p:par>
                                    <p:cTn id="39" presetID="8" presetClass="emph" presetSubtype="0" fill="hold" nodeType="withEffect" p14:presetBounceEnd="81000">
                                      <p:stCondLst>
                                        <p:cond delay="0"/>
                                      </p:stCondLst>
                                      <p:childTnLst>
                                        <p:animRot by="1800000" p14:bounceEnd="81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14:presetBounceEnd="81000">
                                      <p:stCondLst>
                                        <p:cond delay="0"/>
                                      </p:stCondLst>
                                      <p:childTnLst>
                                        <p:animRot by="21600000" p14:bounceEnd="81000">
                                          <p:cBhvr>
                                            <p:cTn id="58" dur="1000" fill="hold"/>
                                            <p:tgtEl>
                                              <p:spTgt spid="140"/>
                                            </p:tgtEl>
                                            <p:attrNameLst>
                                              <p:attrName>r</p:attrName>
                                            </p:attrNameLst>
                                          </p:cBhvr>
                                        </p:animRot>
                                      </p:childTnLst>
                                    </p:cTn>
                                  </p:par>
                                  <p:par>
                                    <p:cTn id="59" presetID="8" presetClass="emph" presetSubtype="0" fill="hold" nodeType="withEffect" p14:presetBounceEnd="81000">
                                      <p:stCondLst>
                                        <p:cond delay="0"/>
                                      </p:stCondLst>
                                      <p:childTnLst>
                                        <p:animRot by="3600000" p14:bounceEnd="81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14:presetBounceEnd="81000">
                                      <p:stCondLst>
                                        <p:cond delay="0"/>
                                      </p:stCondLst>
                                      <p:childTnLst>
                                        <p:animRot by="21600000" p14:bounceEnd="81000">
                                          <p:cBhvr>
                                            <p:cTn id="78" dur="1000" fill="hold"/>
                                            <p:tgtEl>
                                              <p:spTgt spid="140"/>
                                            </p:tgtEl>
                                            <p:attrNameLst>
                                              <p:attrName>r</p:attrName>
                                            </p:attrNameLst>
                                          </p:cBhvr>
                                        </p:animRot>
                                      </p:childTnLst>
                                    </p:cTn>
                                  </p:par>
                                  <p:par>
                                    <p:cTn id="79" presetID="8" presetClass="emph" presetSubtype="0" fill="hold" nodeType="withEffect" p14:presetBounceEnd="81000">
                                      <p:stCondLst>
                                        <p:cond delay="0"/>
                                      </p:stCondLst>
                                      <p:childTnLst>
                                        <p:animRot by="3600000" p14:bounceEnd="81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14:presetBounceEnd="81000">
                                      <p:stCondLst>
                                        <p:cond delay="0"/>
                                      </p:stCondLst>
                                      <p:childTnLst>
                                        <p:animRot by="21600000" p14:bounceEnd="81000">
                                          <p:cBhvr>
                                            <p:cTn id="98" dur="1000" fill="hold"/>
                                            <p:tgtEl>
                                              <p:spTgt spid="140"/>
                                            </p:tgtEl>
                                            <p:attrNameLst>
                                              <p:attrName>r</p:attrName>
                                            </p:attrNameLst>
                                          </p:cBhvr>
                                        </p:animRot>
                                      </p:childTnLst>
                                    </p:cTn>
                                  </p:par>
                                  <p:par>
                                    <p:cTn id="99" presetID="8" presetClass="emph" presetSubtype="0" fill="hold" nodeType="withEffect" p14:presetBounceEnd="81000">
                                      <p:stCondLst>
                                        <p:cond delay="0"/>
                                      </p:stCondLst>
                                      <p:childTnLst>
                                        <p:animRot by="3600000" p14:bounceEnd="81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14:presetBounceEnd="81000">
                                      <p:stCondLst>
                                        <p:cond delay="0"/>
                                      </p:stCondLst>
                                      <p:childTnLst>
                                        <p:animRot by="21600000" p14:bounceEnd="81000">
                                          <p:cBhvr>
                                            <p:cTn id="118" dur="1000" fill="hold"/>
                                            <p:tgtEl>
                                              <p:spTgt spid="140"/>
                                            </p:tgtEl>
                                            <p:attrNameLst>
                                              <p:attrName>r</p:attrName>
                                            </p:attrNameLst>
                                          </p:cBhvr>
                                        </p:animRot>
                                      </p:childTnLst>
                                    </p:cTn>
                                  </p:par>
                                  <p:par>
                                    <p:cTn id="119" presetID="8" presetClass="emph" presetSubtype="0" fill="hold" nodeType="withEffect" p14:presetBounceEnd="81000">
                                      <p:stCondLst>
                                        <p:cond delay="0"/>
                                      </p:stCondLst>
                                      <p:childTnLst>
                                        <p:animRot by="3600000" p14:bounceEnd="81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14:presetBounceEnd="81000">
                                      <p:stCondLst>
                                        <p:cond delay="0"/>
                                      </p:stCondLst>
                                      <p:childTnLst>
                                        <p:animRot by="21600000" p14:bounceEnd="81000">
                                          <p:cBhvr>
                                            <p:cTn id="138" dur="1000" fill="hold"/>
                                            <p:tgtEl>
                                              <p:spTgt spid="140"/>
                                            </p:tgtEl>
                                            <p:attrNameLst>
                                              <p:attrName>r</p:attrName>
                                            </p:attrNameLst>
                                          </p:cBhvr>
                                        </p:animRot>
                                      </p:childTnLst>
                                    </p:cTn>
                                  </p:par>
                                  <p:par>
                                    <p:cTn id="139" presetID="8" presetClass="emph" presetSubtype="0" fill="hold" nodeType="withEffect" p14:presetBounceEnd="81000">
                                      <p:stCondLst>
                                        <p:cond delay="0"/>
                                      </p:stCondLst>
                                      <p:childTnLst>
                                        <p:animRot by="3600000" p14:bounceEnd="81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Choice>
    <mc:Fallback xmlns:a16="http://schemas.microsoft.com/office/drawing/2014/main"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stCondLst>
                                        <p:cond delay="0"/>
                                      </p:stCondLst>
                                      <p:childTnLst>
                                        <p:animRot by="16200000">
                                          <p:cBhvr>
                                            <p:cTn id="38" dur="1000" fill="hold"/>
                                            <p:tgtEl>
                                              <p:spTgt spid="140"/>
                                            </p:tgtEl>
                                            <p:attrNameLst>
                                              <p:attrName>r</p:attrName>
                                            </p:attrNameLst>
                                          </p:cBhvr>
                                        </p:animRot>
                                      </p:childTnLst>
                                    </p:cTn>
                                  </p:par>
                                  <p:par>
                                    <p:cTn id="39" presetID="8" presetClass="emph" presetSubtype="0" fill="hold" nodeType="withEffect">
                                      <p:stCondLst>
                                        <p:cond delay="0"/>
                                      </p:stCondLst>
                                      <p:childTnLst>
                                        <p:animRot by="1800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stCondLst>
                                        <p:cond delay="0"/>
                                      </p:stCondLst>
                                      <p:childTnLst>
                                        <p:animRot by="21600000">
                                          <p:cBhvr>
                                            <p:cTn id="58" dur="1000" fill="hold"/>
                                            <p:tgtEl>
                                              <p:spTgt spid="140"/>
                                            </p:tgtEl>
                                            <p:attrNameLst>
                                              <p:attrName>r</p:attrName>
                                            </p:attrNameLst>
                                          </p:cBhvr>
                                        </p:animRot>
                                      </p:childTnLst>
                                    </p:cTn>
                                  </p:par>
                                  <p:par>
                                    <p:cTn id="59" presetID="8" presetClass="emph" presetSubtype="0" fill="hold" nodeType="withEffect">
                                      <p:stCondLst>
                                        <p:cond delay="0"/>
                                      </p:stCondLst>
                                      <p:childTnLst>
                                        <p:animRot by="3600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stCondLst>
                                        <p:cond delay="0"/>
                                      </p:stCondLst>
                                      <p:childTnLst>
                                        <p:animRot by="21600000">
                                          <p:cBhvr>
                                            <p:cTn id="78" dur="1000" fill="hold"/>
                                            <p:tgtEl>
                                              <p:spTgt spid="140"/>
                                            </p:tgtEl>
                                            <p:attrNameLst>
                                              <p:attrName>r</p:attrName>
                                            </p:attrNameLst>
                                          </p:cBhvr>
                                        </p:animRot>
                                      </p:childTnLst>
                                    </p:cTn>
                                  </p:par>
                                  <p:par>
                                    <p:cTn id="79" presetID="8" presetClass="emph" presetSubtype="0" fill="hold" nodeType="withEffect">
                                      <p:stCondLst>
                                        <p:cond delay="0"/>
                                      </p:stCondLst>
                                      <p:childTnLst>
                                        <p:animRot by="3600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stCondLst>
                                        <p:cond delay="0"/>
                                      </p:stCondLst>
                                      <p:childTnLst>
                                        <p:animRot by="21600000">
                                          <p:cBhvr>
                                            <p:cTn id="98" dur="1000" fill="hold"/>
                                            <p:tgtEl>
                                              <p:spTgt spid="140"/>
                                            </p:tgtEl>
                                            <p:attrNameLst>
                                              <p:attrName>r</p:attrName>
                                            </p:attrNameLst>
                                          </p:cBhvr>
                                        </p:animRot>
                                      </p:childTnLst>
                                    </p:cTn>
                                  </p:par>
                                  <p:par>
                                    <p:cTn id="99" presetID="8" presetClass="emph" presetSubtype="0" fill="hold" nodeType="withEffect">
                                      <p:stCondLst>
                                        <p:cond delay="0"/>
                                      </p:stCondLst>
                                      <p:childTnLst>
                                        <p:animRot by="3600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stCondLst>
                                        <p:cond delay="0"/>
                                      </p:stCondLst>
                                      <p:childTnLst>
                                        <p:animRot by="21600000">
                                          <p:cBhvr>
                                            <p:cTn id="118" dur="1000" fill="hold"/>
                                            <p:tgtEl>
                                              <p:spTgt spid="140"/>
                                            </p:tgtEl>
                                            <p:attrNameLst>
                                              <p:attrName>r</p:attrName>
                                            </p:attrNameLst>
                                          </p:cBhvr>
                                        </p:animRot>
                                      </p:childTnLst>
                                    </p:cTn>
                                  </p:par>
                                  <p:par>
                                    <p:cTn id="119" presetID="8" presetClass="emph" presetSubtype="0" fill="hold" nodeType="withEffect">
                                      <p:stCondLst>
                                        <p:cond delay="0"/>
                                      </p:stCondLst>
                                      <p:childTnLst>
                                        <p:animRot by="3600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stCondLst>
                                        <p:cond delay="0"/>
                                      </p:stCondLst>
                                      <p:childTnLst>
                                        <p:animRot by="21600000">
                                          <p:cBhvr>
                                            <p:cTn id="138" dur="1000" fill="hold"/>
                                            <p:tgtEl>
                                              <p:spTgt spid="140"/>
                                            </p:tgtEl>
                                            <p:attrNameLst>
                                              <p:attrName>r</p:attrName>
                                            </p:attrNameLst>
                                          </p:cBhvr>
                                        </p:animRot>
                                      </p:childTnLst>
                                    </p:cTn>
                                  </p:par>
                                  <p:par>
                                    <p:cTn id="139" presetID="8" presetClass="emph" presetSubtype="0" fill="hold" nodeType="withEffect">
                                      <p:stCondLst>
                                        <p:cond delay="0"/>
                                      </p:stCondLst>
                                      <p:childTnLst>
                                        <p:animRot by="3600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26">
            <a:extLst>
              <a:ext uri="{FF2B5EF4-FFF2-40B4-BE49-F238E27FC236}">
                <a16:creationId xmlns:a16="http://schemas.microsoft.com/office/drawing/2014/main" id="{7CC2C07D-3A38-394D-BD4A-AD17C88A780D}"/>
              </a:ext>
            </a:extLst>
          </p:cNvPr>
          <p:cNvSpPr>
            <a:spLocks noEditPoints="1"/>
          </p:cNvSpPr>
          <p:nvPr/>
        </p:nvSpPr>
        <p:spPr bwMode="auto">
          <a:xfrm>
            <a:off x="8693797" y="1727932"/>
            <a:ext cx="3041003" cy="4634767"/>
          </a:xfrm>
          <a:prstGeom prst="round2DiagRect">
            <a:avLst>
              <a:gd name="adj1" fmla="val 16859"/>
              <a:gd name="adj2" fmla="val 0"/>
            </a:avLst>
          </a:prstGeom>
          <a:solidFill>
            <a:schemeClr val="bg1"/>
          </a:solidFill>
          <a:ln>
            <a:solidFill>
              <a:srgbClr val="75787B"/>
            </a:solidFill>
          </a:ln>
        </p:spPr>
        <p:txBody>
          <a:bodyPr vert="horz" wrap="square" lIns="91440" tIns="182880" rIns="0" bIns="91440" numCol="1" anchor="t" anchorCtr="0" compatLnSpc="1">
            <a:prstTxWarp prst="textNoShape">
              <a:avLst/>
            </a:prstTxWarp>
          </a:bodyPr>
          <a:lstStyle/>
          <a:p>
            <a:pPr defTabSz="913686"/>
            <a:r>
              <a:rPr lang="en-US" sz="1300" b="1" dirty="0">
                <a:solidFill>
                  <a:srgbClr val="75787B"/>
                </a:solidFill>
                <a:cs typeface="Arial" panose="020B0604020202020204" pitchFamily="34" charset="0"/>
              </a:rPr>
              <a:t>This is dummy text it is not here to be read. This is dummy text it is not here to be read.</a:t>
            </a:r>
          </a:p>
          <a:p>
            <a:pPr defTabSz="913686"/>
            <a:endParaRPr lang="en-US" sz="1300" b="1"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p:txBody>
      </p:sp>
      <p:grpSp>
        <p:nvGrpSpPr>
          <p:cNvPr id="27" name="Group 26"/>
          <p:cNvGrpSpPr/>
          <p:nvPr/>
        </p:nvGrpSpPr>
        <p:grpSpPr>
          <a:xfrm>
            <a:off x="10853065" y="5484875"/>
            <a:ext cx="881735" cy="877825"/>
            <a:chOff x="2616467" y="5484875"/>
            <a:chExt cx="881735" cy="877825"/>
          </a:xfrm>
        </p:grpSpPr>
        <p:sp>
          <p:nvSpPr>
            <p:cNvPr id="28" name="Oval 27">
              <a:extLst>
                <a:ext uri="{FF2B5EF4-FFF2-40B4-BE49-F238E27FC236}">
                  <a16:creationId xmlns:a16="http://schemas.microsoft.com/office/drawing/2014/main" id="{1216589E-4901-4743-9F32-BF9A53ADF717}"/>
                </a:ext>
              </a:extLst>
            </p:cNvPr>
            <p:cNvSpPr/>
            <p:nvPr/>
          </p:nvSpPr>
          <p:spPr bwMode="gray">
            <a:xfrm>
              <a:off x="2616467" y="5484876"/>
              <a:ext cx="881735" cy="877824"/>
            </a:xfrm>
            <a:prstGeom prst="ellipse">
              <a:avLst/>
            </a:prstGeom>
            <a:solidFill>
              <a:srgbClr val="FFFFFF"/>
            </a:solidFill>
            <a:ln w="19050" algn="ctr">
              <a:no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sp>
          <p:nvSpPr>
            <p:cNvPr id="29" name="Arc 28">
              <a:extLst>
                <a:ext uri="{FF2B5EF4-FFF2-40B4-BE49-F238E27FC236}">
                  <a16:creationId xmlns:a16="http://schemas.microsoft.com/office/drawing/2014/main" id="{1216589E-4901-4743-9F32-BF9A53ADF717}"/>
                </a:ext>
              </a:extLst>
            </p:cNvPr>
            <p:cNvSpPr/>
            <p:nvPr/>
          </p:nvSpPr>
          <p:spPr bwMode="gray">
            <a:xfrm>
              <a:off x="2616467" y="5484875"/>
              <a:ext cx="881735" cy="877824"/>
            </a:xfrm>
            <a:prstGeom prst="arc">
              <a:avLst>
                <a:gd name="adj1" fmla="val 5469556"/>
                <a:gd name="adj2" fmla="val 0"/>
              </a:avLst>
            </a:prstGeom>
            <a:solidFill>
              <a:srgbClr val="FFFFFF"/>
            </a:solidFill>
            <a:ln w="19050" algn="ctr">
              <a:solidFill>
                <a:srgbClr val="75787B"/>
              </a:solid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grpSp>
      <p:sp>
        <p:nvSpPr>
          <p:cNvPr id="12" name="Freeform 26">
            <a:extLst>
              <a:ext uri="{FF2B5EF4-FFF2-40B4-BE49-F238E27FC236}">
                <a16:creationId xmlns:a16="http://schemas.microsoft.com/office/drawing/2014/main" id="{A9C79453-A64D-304A-B1B7-AA77364876D3}"/>
              </a:ext>
            </a:extLst>
          </p:cNvPr>
          <p:cNvSpPr>
            <a:spLocks noEditPoints="1"/>
          </p:cNvSpPr>
          <p:nvPr/>
        </p:nvSpPr>
        <p:spPr bwMode="auto">
          <a:xfrm>
            <a:off x="4575499" y="1727932"/>
            <a:ext cx="3041003" cy="4634767"/>
          </a:xfrm>
          <a:prstGeom prst="round2DiagRect">
            <a:avLst>
              <a:gd name="adj1" fmla="val 17151"/>
              <a:gd name="adj2" fmla="val 0"/>
            </a:avLst>
          </a:prstGeom>
          <a:solidFill>
            <a:schemeClr val="bg1"/>
          </a:solidFill>
          <a:ln>
            <a:solidFill>
              <a:srgbClr val="000000"/>
            </a:solidFill>
          </a:ln>
        </p:spPr>
        <p:txBody>
          <a:bodyPr vert="horz" wrap="square" lIns="91440" tIns="182880" rIns="0" bIns="91440" numCol="1" anchor="t" anchorCtr="0" compatLnSpc="1">
            <a:prstTxWarp prst="textNoShape">
              <a:avLst/>
            </a:prstTxWarp>
          </a:bodyPr>
          <a:lstStyle/>
          <a:p>
            <a:pPr defTabSz="913686"/>
            <a:r>
              <a:rPr lang="en-US" sz="1300" b="1" dirty="0">
                <a:solidFill>
                  <a:srgbClr val="000000"/>
                </a:solidFill>
                <a:cs typeface="Arial" panose="020B0604020202020204" pitchFamily="34" charset="0"/>
              </a:rPr>
              <a:t>This is dummy text it is not here to be read. This is dummy text it is not here to be read.</a:t>
            </a:r>
          </a:p>
          <a:p>
            <a:pPr defTabSz="913686"/>
            <a:endParaRPr lang="en-US" sz="1300" b="1"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p:txBody>
      </p:sp>
      <p:grpSp>
        <p:nvGrpSpPr>
          <p:cNvPr id="24" name="Group 23"/>
          <p:cNvGrpSpPr/>
          <p:nvPr/>
        </p:nvGrpSpPr>
        <p:grpSpPr>
          <a:xfrm>
            <a:off x="6734767" y="5484875"/>
            <a:ext cx="881735" cy="877825"/>
            <a:chOff x="2616467" y="5484875"/>
            <a:chExt cx="881735" cy="877825"/>
          </a:xfrm>
        </p:grpSpPr>
        <p:sp>
          <p:nvSpPr>
            <p:cNvPr id="25" name="Oval 24">
              <a:extLst>
                <a:ext uri="{FF2B5EF4-FFF2-40B4-BE49-F238E27FC236}">
                  <a16:creationId xmlns:a16="http://schemas.microsoft.com/office/drawing/2014/main" id="{1216589E-4901-4743-9F32-BF9A53ADF717}"/>
                </a:ext>
              </a:extLst>
            </p:cNvPr>
            <p:cNvSpPr/>
            <p:nvPr/>
          </p:nvSpPr>
          <p:spPr bwMode="gray">
            <a:xfrm>
              <a:off x="2616467" y="5484876"/>
              <a:ext cx="881735" cy="877824"/>
            </a:xfrm>
            <a:prstGeom prst="ellipse">
              <a:avLst/>
            </a:prstGeom>
            <a:solidFill>
              <a:srgbClr val="FFFFFF"/>
            </a:solidFill>
            <a:ln w="19050" algn="ctr">
              <a:no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sp>
          <p:nvSpPr>
            <p:cNvPr id="26" name="Arc 25">
              <a:extLst>
                <a:ext uri="{FF2B5EF4-FFF2-40B4-BE49-F238E27FC236}">
                  <a16:creationId xmlns:a16="http://schemas.microsoft.com/office/drawing/2014/main" id="{1216589E-4901-4743-9F32-BF9A53ADF717}"/>
                </a:ext>
              </a:extLst>
            </p:cNvPr>
            <p:cNvSpPr/>
            <p:nvPr/>
          </p:nvSpPr>
          <p:spPr bwMode="gray">
            <a:xfrm>
              <a:off x="2616467" y="5484875"/>
              <a:ext cx="881735" cy="877824"/>
            </a:xfrm>
            <a:prstGeom prst="arc">
              <a:avLst>
                <a:gd name="adj1" fmla="val 5469556"/>
                <a:gd name="adj2" fmla="val 0"/>
              </a:avLst>
            </a:prstGeom>
            <a:solidFill>
              <a:srgbClr val="FFFFFF"/>
            </a:solidFill>
            <a:ln w="19050" algn="ctr">
              <a:solidFill>
                <a:srgbClr val="000000"/>
              </a:solid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grpSp>
      <p:sp>
        <p:nvSpPr>
          <p:cNvPr id="13" name="Freeform 26">
            <a:extLst>
              <a:ext uri="{FF2B5EF4-FFF2-40B4-BE49-F238E27FC236}">
                <a16:creationId xmlns:a16="http://schemas.microsoft.com/office/drawing/2014/main" id="{25BE499D-7E1E-854D-8C75-1172BA926FA0}"/>
              </a:ext>
            </a:extLst>
          </p:cNvPr>
          <p:cNvSpPr>
            <a:spLocks noEditPoints="1"/>
          </p:cNvSpPr>
          <p:nvPr/>
        </p:nvSpPr>
        <p:spPr bwMode="auto">
          <a:xfrm>
            <a:off x="457199" y="1727932"/>
            <a:ext cx="3041003" cy="4634767"/>
          </a:xfrm>
          <a:prstGeom prst="round2DiagRect">
            <a:avLst>
              <a:gd name="adj1" fmla="val 17277"/>
              <a:gd name="adj2" fmla="val 0"/>
            </a:avLst>
          </a:prstGeom>
          <a:solidFill>
            <a:srgbClr val="FFFFFF"/>
          </a:solidFill>
          <a:ln>
            <a:solidFill>
              <a:srgbClr val="43B02A"/>
            </a:solidFill>
          </a:ln>
        </p:spPr>
        <p:txBody>
          <a:bodyPr vert="horz" wrap="square" lIns="91440" tIns="182880" rIns="0" bIns="91440" numCol="1" anchor="t" anchorCtr="0" compatLnSpc="1">
            <a:prstTxWarp prst="textNoShape">
              <a:avLst/>
            </a:prstTxWarp>
          </a:bodyPr>
          <a:lstStyle/>
          <a:p>
            <a:pPr defTabSz="913686"/>
            <a:r>
              <a:rPr lang="en-US" sz="1300" b="1" dirty="0">
                <a:solidFill>
                  <a:srgbClr val="43B02A"/>
                </a:solidFill>
                <a:cs typeface="Arial" panose="020B0604020202020204" pitchFamily="34" charset="0"/>
              </a:rPr>
              <a:t>This is dummy text it is not here to be read. This is dummy text it is not here to be read.</a:t>
            </a:r>
          </a:p>
          <a:p>
            <a:pPr defTabSz="913686"/>
            <a:endParaRPr lang="en-US" sz="1300" b="1"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p:txBody>
      </p:sp>
      <p:grpSp>
        <p:nvGrpSpPr>
          <p:cNvPr id="7" name="Group 6"/>
          <p:cNvGrpSpPr/>
          <p:nvPr/>
        </p:nvGrpSpPr>
        <p:grpSpPr>
          <a:xfrm>
            <a:off x="2616467" y="5484875"/>
            <a:ext cx="881735" cy="877825"/>
            <a:chOff x="2616467" y="5484875"/>
            <a:chExt cx="881735" cy="877825"/>
          </a:xfrm>
        </p:grpSpPr>
        <p:sp>
          <p:nvSpPr>
            <p:cNvPr id="23" name="Oval 22">
              <a:extLst>
                <a:ext uri="{FF2B5EF4-FFF2-40B4-BE49-F238E27FC236}">
                  <a16:creationId xmlns:a16="http://schemas.microsoft.com/office/drawing/2014/main" id="{1216589E-4901-4743-9F32-BF9A53ADF717}"/>
                </a:ext>
              </a:extLst>
            </p:cNvPr>
            <p:cNvSpPr/>
            <p:nvPr/>
          </p:nvSpPr>
          <p:spPr bwMode="gray">
            <a:xfrm>
              <a:off x="2616467" y="5484876"/>
              <a:ext cx="881735" cy="877824"/>
            </a:xfrm>
            <a:prstGeom prst="ellipse">
              <a:avLst/>
            </a:prstGeom>
            <a:solidFill>
              <a:srgbClr val="FFFFFF"/>
            </a:solidFill>
            <a:ln w="19050" algn="ctr">
              <a:no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sp>
          <p:nvSpPr>
            <p:cNvPr id="15" name="Arc 14">
              <a:extLst>
                <a:ext uri="{FF2B5EF4-FFF2-40B4-BE49-F238E27FC236}">
                  <a16:creationId xmlns:a16="http://schemas.microsoft.com/office/drawing/2014/main" id="{1216589E-4901-4743-9F32-BF9A53ADF717}"/>
                </a:ext>
              </a:extLst>
            </p:cNvPr>
            <p:cNvSpPr/>
            <p:nvPr/>
          </p:nvSpPr>
          <p:spPr bwMode="gray">
            <a:xfrm>
              <a:off x="2616467" y="5484875"/>
              <a:ext cx="881735" cy="877824"/>
            </a:xfrm>
            <a:prstGeom prst="arc">
              <a:avLst>
                <a:gd name="adj1" fmla="val 5469556"/>
                <a:gd name="adj2" fmla="val 0"/>
              </a:avLst>
            </a:prstGeom>
            <a:solidFill>
              <a:srgbClr val="FFFFFF"/>
            </a:solidFill>
            <a:ln w="19050" algn="ctr">
              <a:solidFill>
                <a:srgbClr val="43B02A"/>
              </a:solid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grpSp>
      <p:grpSp>
        <p:nvGrpSpPr>
          <p:cNvPr id="19" name="Group 498">
            <a:extLst>
              <a:ext uri="{FF2B5EF4-FFF2-40B4-BE49-F238E27FC236}">
                <a16:creationId xmlns:a16="http://schemas.microsoft.com/office/drawing/2014/main" id="{6AAB9122-A64D-4747-B355-96DDE262AEA8}"/>
              </a:ext>
            </a:extLst>
          </p:cNvPr>
          <p:cNvGrpSpPr>
            <a:grpSpLocks noChangeAspect="1"/>
          </p:cNvGrpSpPr>
          <p:nvPr/>
        </p:nvGrpSpPr>
        <p:grpSpPr bwMode="auto">
          <a:xfrm>
            <a:off x="6901314" y="5649467"/>
            <a:ext cx="548640" cy="548640"/>
            <a:chOff x="1543" y="2005"/>
            <a:chExt cx="340" cy="340"/>
          </a:xfrm>
          <a:solidFill>
            <a:srgbClr val="000000"/>
          </a:solidFill>
        </p:grpSpPr>
        <p:sp>
          <p:nvSpPr>
            <p:cNvPr id="20" name="Freeform 499">
              <a:extLst>
                <a:ext uri="{FF2B5EF4-FFF2-40B4-BE49-F238E27FC236}">
                  <a16:creationId xmlns:a16="http://schemas.microsoft.com/office/drawing/2014/main" id="{00E46384-77F8-1C4B-9CE4-35D9BD47DD9C}"/>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latin typeface="Verdana"/>
              </a:endParaRPr>
            </a:p>
          </p:txBody>
        </p:sp>
        <p:sp>
          <p:nvSpPr>
            <p:cNvPr id="21" name="Freeform 500">
              <a:extLst>
                <a:ext uri="{FF2B5EF4-FFF2-40B4-BE49-F238E27FC236}">
                  <a16:creationId xmlns:a16="http://schemas.microsoft.com/office/drawing/2014/main" id="{26EB543C-1A87-9748-B9A4-924B71D95BD8}"/>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latin typeface="Verdana"/>
              </a:endParaRPr>
            </a:p>
          </p:txBody>
        </p:sp>
      </p:grpSp>
      <p:sp>
        <p:nvSpPr>
          <p:cNvPr id="22" name="Freeform 430">
            <a:extLst>
              <a:ext uri="{FF2B5EF4-FFF2-40B4-BE49-F238E27FC236}">
                <a16:creationId xmlns:a16="http://schemas.microsoft.com/office/drawing/2014/main" id="{B56586E8-D79E-4F4B-BCC9-E2CE4407247C}"/>
              </a:ext>
            </a:extLst>
          </p:cNvPr>
          <p:cNvSpPr>
            <a:spLocks noChangeAspect="1" noEditPoints="1"/>
          </p:cNvSpPr>
          <p:nvPr/>
        </p:nvSpPr>
        <p:spPr bwMode="auto">
          <a:xfrm>
            <a:off x="11019612" y="5649467"/>
            <a:ext cx="548640" cy="54864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prstClr val="black"/>
              </a:solidFill>
              <a:latin typeface="Verdana"/>
            </a:endParaRPr>
          </a:p>
        </p:txBody>
      </p:sp>
      <p:sp>
        <p:nvSpPr>
          <p:cNvPr id="18" name="Freeform 680">
            <a:extLst>
              <a:ext uri="{FF2B5EF4-FFF2-40B4-BE49-F238E27FC236}">
                <a16:creationId xmlns:a16="http://schemas.microsoft.com/office/drawing/2014/main" id="{6ADDF5E0-F520-8C41-A05B-3D55B9945D06}"/>
              </a:ext>
            </a:extLst>
          </p:cNvPr>
          <p:cNvSpPr>
            <a:spLocks noChangeAspect="1" noEditPoints="1"/>
          </p:cNvSpPr>
          <p:nvPr/>
        </p:nvSpPr>
        <p:spPr bwMode="auto">
          <a:xfrm>
            <a:off x="2783014" y="5649467"/>
            <a:ext cx="548641" cy="548640"/>
          </a:xfrm>
          <a:custGeom>
            <a:avLst/>
            <a:gdLst>
              <a:gd name="T0" fmla="*/ 337 w 512"/>
              <a:gd name="T1" fmla="*/ 202 h 512"/>
              <a:gd name="T2" fmla="*/ 309 w 512"/>
              <a:gd name="T3" fmla="*/ 175 h 512"/>
              <a:gd name="T4" fmla="*/ 215 w 512"/>
              <a:gd name="T5" fmla="*/ 312 h 512"/>
              <a:gd name="T6" fmla="*/ 226 w 512"/>
              <a:gd name="T7" fmla="*/ 300 h 512"/>
              <a:gd name="T8" fmla="*/ 138 w 512"/>
              <a:gd name="T9" fmla="*/ 207 h 512"/>
              <a:gd name="T10" fmla="*/ 197 w 512"/>
              <a:gd name="T11" fmla="*/ 299 h 512"/>
              <a:gd name="T12" fmla="*/ 512 w 512"/>
              <a:gd name="T13" fmla="*/ 256 h 512"/>
              <a:gd name="T14" fmla="*/ 0 w 512"/>
              <a:gd name="T15" fmla="*/ 256 h 512"/>
              <a:gd name="T16" fmla="*/ 512 w 512"/>
              <a:gd name="T17" fmla="*/ 256 h 512"/>
              <a:gd name="T18" fmla="*/ 195 w 512"/>
              <a:gd name="T19" fmla="*/ 327 h 512"/>
              <a:gd name="T20" fmla="*/ 242 w 512"/>
              <a:gd name="T21" fmla="*/ 341 h 512"/>
              <a:gd name="T22" fmla="*/ 253 w 512"/>
              <a:gd name="T23" fmla="*/ 338 h 512"/>
              <a:gd name="T24" fmla="*/ 245 w 512"/>
              <a:gd name="T25" fmla="*/ 285 h 512"/>
              <a:gd name="T26" fmla="*/ 146 w 512"/>
              <a:gd name="T27" fmla="*/ 184 h 512"/>
              <a:gd name="T28" fmla="*/ 99 w 512"/>
              <a:gd name="T29" fmla="*/ 216 h 512"/>
              <a:gd name="T30" fmla="*/ 373 w 512"/>
              <a:gd name="T31" fmla="*/ 213 h 512"/>
              <a:gd name="T32" fmla="*/ 372 w 512"/>
              <a:gd name="T33" fmla="*/ 209 h 512"/>
              <a:gd name="T34" fmla="*/ 306 w 512"/>
              <a:gd name="T35" fmla="*/ 141 h 512"/>
              <a:gd name="T36" fmla="*/ 298 w 512"/>
              <a:gd name="T37" fmla="*/ 138 h 512"/>
              <a:gd name="T38" fmla="*/ 170 w 512"/>
              <a:gd name="T39" fmla="*/ 149 h 512"/>
              <a:gd name="T40" fmla="*/ 181 w 512"/>
              <a:gd name="T41" fmla="*/ 192 h 512"/>
              <a:gd name="T42" fmla="*/ 192 w 512"/>
              <a:gd name="T43" fmla="*/ 160 h 512"/>
              <a:gd name="T44" fmla="*/ 288 w 512"/>
              <a:gd name="T45" fmla="*/ 213 h 512"/>
              <a:gd name="T46" fmla="*/ 352 w 512"/>
              <a:gd name="T47" fmla="*/ 224 h 512"/>
              <a:gd name="T48" fmla="*/ 192 w 512"/>
              <a:gd name="T49" fmla="*/ 394 h 512"/>
              <a:gd name="T50" fmla="*/ 181 w 512"/>
              <a:gd name="T51" fmla="*/ 341 h 512"/>
              <a:gd name="T52" fmla="*/ 170 w 512"/>
              <a:gd name="T53" fmla="*/ 405 h 512"/>
              <a:gd name="T54" fmla="*/ 362 w 512"/>
              <a:gd name="T55" fmla="*/ 416 h 512"/>
              <a:gd name="T56" fmla="*/ 373 w 512"/>
              <a:gd name="T57" fmla="*/ 213 h 512"/>
              <a:gd name="T58" fmla="*/ 320 w 512"/>
              <a:gd name="T59" fmla="*/ 277 h 512"/>
              <a:gd name="T60" fmla="*/ 266 w 512"/>
              <a:gd name="T61" fmla="*/ 288 h 512"/>
              <a:gd name="T62" fmla="*/ 320 w 512"/>
              <a:gd name="T63" fmla="*/ 298 h 512"/>
              <a:gd name="T64" fmla="*/ 320 w 512"/>
              <a:gd name="T65" fmla="*/ 320 h 512"/>
              <a:gd name="T66" fmla="*/ 277 w 512"/>
              <a:gd name="T67" fmla="*/ 330 h 512"/>
              <a:gd name="T68" fmla="*/ 320 w 512"/>
              <a:gd name="T69" fmla="*/ 341 h 512"/>
              <a:gd name="T70" fmla="*/ 320 w 512"/>
              <a:gd name="T71"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09" y="175"/>
                </a:moveTo>
                <a:cubicBezTo>
                  <a:pt x="337" y="202"/>
                  <a:pt x="337" y="202"/>
                  <a:pt x="337" y="202"/>
                </a:cubicBezTo>
                <a:cubicBezTo>
                  <a:pt x="309" y="202"/>
                  <a:pt x="309" y="202"/>
                  <a:pt x="309" y="202"/>
                </a:cubicBezTo>
                <a:lnTo>
                  <a:pt x="309" y="175"/>
                </a:lnTo>
                <a:close/>
                <a:moveTo>
                  <a:pt x="226" y="300"/>
                </a:moveTo>
                <a:cubicBezTo>
                  <a:pt x="215" y="312"/>
                  <a:pt x="215" y="312"/>
                  <a:pt x="215" y="312"/>
                </a:cubicBezTo>
                <a:cubicBezTo>
                  <a:pt x="230" y="316"/>
                  <a:pt x="230" y="316"/>
                  <a:pt x="230" y="316"/>
                </a:cubicBezTo>
                <a:lnTo>
                  <a:pt x="226" y="300"/>
                </a:lnTo>
                <a:close/>
                <a:moveTo>
                  <a:pt x="214" y="282"/>
                </a:moveTo>
                <a:cubicBezTo>
                  <a:pt x="138" y="207"/>
                  <a:pt x="138" y="207"/>
                  <a:pt x="138" y="207"/>
                </a:cubicBezTo>
                <a:cubicBezTo>
                  <a:pt x="121" y="224"/>
                  <a:pt x="121" y="224"/>
                  <a:pt x="121" y="224"/>
                </a:cubicBezTo>
                <a:cubicBezTo>
                  <a:pt x="197" y="299"/>
                  <a:pt x="197" y="299"/>
                  <a:pt x="197" y="299"/>
                </a:cubicBezTo>
                <a:lnTo>
                  <a:pt x="214" y="2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99" y="231"/>
                </a:moveTo>
                <a:cubicBezTo>
                  <a:pt x="195" y="327"/>
                  <a:pt x="195" y="327"/>
                  <a:pt x="195" y="327"/>
                </a:cubicBezTo>
                <a:cubicBezTo>
                  <a:pt x="196" y="329"/>
                  <a:pt x="198" y="330"/>
                  <a:pt x="200" y="330"/>
                </a:cubicBezTo>
                <a:cubicBezTo>
                  <a:pt x="242" y="341"/>
                  <a:pt x="242" y="341"/>
                  <a:pt x="242" y="341"/>
                </a:cubicBezTo>
                <a:cubicBezTo>
                  <a:pt x="243" y="341"/>
                  <a:pt x="244" y="341"/>
                  <a:pt x="245" y="341"/>
                </a:cubicBezTo>
                <a:cubicBezTo>
                  <a:pt x="248" y="341"/>
                  <a:pt x="251" y="340"/>
                  <a:pt x="253" y="338"/>
                </a:cubicBezTo>
                <a:cubicBezTo>
                  <a:pt x="255" y="335"/>
                  <a:pt x="256" y="331"/>
                  <a:pt x="255" y="328"/>
                </a:cubicBezTo>
                <a:cubicBezTo>
                  <a:pt x="245" y="285"/>
                  <a:pt x="245" y="285"/>
                  <a:pt x="245" y="285"/>
                </a:cubicBezTo>
                <a:cubicBezTo>
                  <a:pt x="244" y="283"/>
                  <a:pt x="243" y="281"/>
                  <a:pt x="242" y="280"/>
                </a:cubicBezTo>
                <a:cubicBezTo>
                  <a:pt x="146" y="184"/>
                  <a:pt x="146" y="184"/>
                  <a:pt x="146" y="184"/>
                </a:cubicBezTo>
                <a:cubicBezTo>
                  <a:pt x="142" y="180"/>
                  <a:pt x="135" y="180"/>
                  <a:pt x="131" y="184"/>
                </a:cubicBezTo>
                <a:cubicBezTo>
                  <a:pt x="99" y="216"/>
                  <a:pt x="99" y="216"/>
                  <a:pt x="99" y="216"/>
                </a:cubicBezTo>
                <a:cubicBezTo>
                  <a:pt x="95" y="220"/>
                  <a:pt x="95" y="227"/>
                  <a:pt x="99" y="231"/>
                </a:cubicBezTo>
                <a:close/>
                <a:moveTo>
                  <a:pt x="373" y="213"/>
                </a:moveTo>
                <a:cubicBezTo>
                  <a:pt x="373" y="213"/>
                  <a:pt x="373" y="213"/>
                  <a:pt x="373" y="213"/>
                </a:cubicBezTo>
                <a:cubicBezTo>
                  <a:pt x="373" y="211"/>
                  <a:pt x="373" y="210"/>
                  <a:pt x="372" y="209"/>
                </a:cubicBezTo>
                <a:cubicBezTo>
                  <a:pt x="372" y="208"/>
                  <a:pt x="371" y="206"/>
                  <a:pt x="370" y="205"/>
                </a:cubicBezTo>
                <a:cubicBezTo>
                  <a:pt x="306" y="141"/>
                  <a:pt x="306" y="141"/>
                  <a:pt x="306" y="141"/>
                </a:cubicBezTo>
                <a:cubicBezTo>
                  <a:pt x="305" y="140"/>
                  <a:pt x="304" y="140"/>
                  <a:pt x="302" y="139"/>
                </a:cubicBezTo>
                <a:cubicBezTo>
                  <a:pt x="301" y="139"/>
                  <a:pt x="300" y="138"/>
                  <a:pt x="298" y="138"/>
                </a:cubicBezTo>
                <a:cubicBezTo>
                  <a:pt x="181" y="138"/>
                  <a:pt x="181" y="138"/>
                  <a:pt x="181" y="138"/>
                </a:cubicBezTo>
                <a:cubicBezTo>
                  <a:pt x="175" y="138"/>
                  <a:pt x="170" y="143"/>
                  <a:pt x="170" y="149"/>
                </a:cubicBezTo>
                <a:cubicBezTo>
                  <a:pt x="170" y="181"/>
                  <a:pt x="170" y="181"/>
                  <a:pt x="170" y="181"/>
                </a:cubicBezTo>
                <a:cubicBezTo>
                  <a:pt x="170" y="187"/>
                  <a:pt x="175" y="192"/>
                  <a:pt x="181" y="192"/>
                </a:cubicBezTo>
                <a:cubicBezTo>
                  <a:pt x="187" y="192"/>
                  <a:pt x="192" y="187"/>
                  <a:pt x="192" y="181"/>
                </a:cubicBezTo>
                <a:cubicBezTo>
                  <a:pt x="192" y="160"/>
                  <a:pt x="192" y="160"/>
                  <a:pt x="192" y="160"/>
                </a:cubicBezTo>
                <a:cubicBezTo>
                  <a:pt x="288" y="160"/>
                  <a:pt x="288" y="160"/>
                  <a:pt x="288" y="160"/>
                </a:cubicBezTo>
                <a:cubicBezTo>
                  <a:pt x="288" y="213"/>
                  <a:pt x="288" y="213"/>
                  <a:pt x="288" y="213"/>
                </a:cubicBezTo>
                <a:cubicBezTo>
                  <a:pt x="288" y="219"/>
                  <a:pt x="292" y="224"/>
                  <a:pt x="298" y="224"/>
                </a:cubicBezTo>
                <a:cubicBezTo>
                  <a:pt x="352" y="224"/>
                  <a:pt x="352" y="224"/>
                  <a:pt x="352" y="224"/>
                </a:cubicBezTo>
                <a:cubicBezTo>
                  <a:pt x="352" y="394"/>
                  <a:pt x="352" y="394"/>
                  <a:pt x="352" y="394"/>
                </a:cubicBezTo>
                <a:cubicBezTo>
                  <a:pt x="192" y="394"/>
                  <a:pt x="192" y="394"/>
                  <a:pt x="192" y="394"/>
                </a:cubicBezTo>
                <a:cubicBezTo>
                  <a:pt x="192" y="352"/>
                  <a:pt x="192" y="352"/>
                  <a:pt x="192" y="352"/>
                </a:cubicBezTo>
                <a:cubicBezTo>
                  <a:pt x="192" y="346"/>
                  <a:pt x="187" y="341"/>
                  <a:pt x="181" y="341"/>
                </a:cubicBezTo>
                <a:cubicBezTo>
                  <a:pt x="175" y="341"/>
                  <a:pt x="170" y="346"/>
                  <a:pt x="170" y="352"/>
                </a:cubicBezTo>
                <a:cubicBezTo>
                  <a:pt x="170" y="405"/>
                  <a:pt x="170" y="405"/>
                  <a:pt x="170" y="405"/>
                </a:cubicBezTo>
                <a:cubicBezTo>
                  <a:pt x="170" y="411"/>
                  <a:pt x="175" y="416"/>
                  <a:pt x="181" y="416"/>
                </a:cubicBezTo>
                <a:cubicBezTo>
                  <a:pt x="362" y="416"/>
                  <a:pt x="362" y="416"/>
                  <a:pt x="362" y="416"/>
                </a:cubicBezTo>
                <a:cubicBezTo>
                  <a:pt x="368" y="416"/>
                  <a:pt x="373" y="411"/>
                  <a:pt x="373" y="405"/>
                </a:cubicBezTo>
                <a:lnTo>
                  <a:pt x="373" y="213"/>
                </a:lnTo>
                <a:close/>
                <a:moveTo>
                  <a:pt x="330" y="288"/>
                </a:moveTo>
                <a:cubicBezTo>
                  <a:pt x="330" y="282"/>
                  <a:pt x="326" y="277"/>
                  <a:pt x="320" y="277"/>
                </a:cubicBezTo>
                <a:cubicBezTo>
                  <a:pt x="277" y="277"/>
                  <a:pt x="277" y="277"/>
                  <a:pt x="277" y="277"/>
                </a:cubicBezTo>
                <a:cubicBezTo>
                  <a:pt x="271" y="277"/>
                  <a:pt x="266" y="282"/>
                  <a:pt x="266" y="288"/>
                </a:cubicBezTo>
                <a:cubicBezTo>
                  <a:pt x="266" y="294"/>
                  <a:pt x="271" y="298"/>
                  <a:pt x="277" y="298"/>
                </a:cubicBezTo>
                <a:cubicBezTo>
                  <a:pt x="320" y="298"/>
                  <a:pt x="320" y="298"/>
                  <a:pt x="320" y="298"/>
                </a:cubicBezTo>
                <a:cubicBezTo>
                  <a:pt x="326" y="298"/>
                  <a:pt x="330" y="294"/>
                  <a:pt x="330" y="288"/>
                </a:cubicBezTo>
                <a:close/>
                <a:moveTo>
                  <a:pt x="320" y="320"/>
                </a:moveTo>
                <a:cubicBezTo>
                  <a:pt x="288" y="320"/>
                  <a:pt x="288" y="320"/>
                  <a:pt x="288" y="320"/>
                </a:cubicBezTo>
                <a:cubicBezTo>
                  <a:pt x="282" y="320"/>
                  <a:pt x="277" y="324"/>
                  <a:pt x="277" y="330"/>
                </a:cubicBezTo>
                <a:cubicBezTo>
                  <a:pt x="277" y="336"/>
                  <a:pt x="282" y="341"/>
                  <a:pt x="288" y="341"/>
                </a:cubicBezTo>
                <a:cubicBezTo>
                  <a:pt x="320" y="341"/>
                  <a:pt x="320" y="341"/>
                  <a:pt x="320" y="341"/>
                </a:cubicBezTo>
                <a:cubicBezTo>
                  <a:pt x="326" y="341"/>
                  <a:pt x="330" y="336"/>
                  <a:pt x="330" y="330"/>
                </a:cubicBezTo>
                <a:cubicBezTo>
                  <a:pt x="330" y="324"/>
                  <a:pt x="326" y="320"/>
                  <a:pt x="320" y="3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solidFill>
                <a:prstClr val="black"/>
              </a:solidFill>
              <a:latin typeface="Verdana"/>
            </a:endParaRPr>
          </a:p>
        </p:txBody>
      </p:sp>
    </p:spTree>
    <p:custDataLst>
      <p:tags r:id="rId1"/>
    </p:custDataLst>
    <p:extLst>
      <p:ext uri="{BB962C8B-B14F-4D97-AF65-F5344CB8AC3E}">
        <p14:creationId xmlns:p14="http://schemas.microsoft.com/office/powerpoint/2010/main" val="319546541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2299665" y="3995040"/>
            <a:ext cx="0" cy="1402545"/>
          </a:xfrm>
          <a:prstGeom prst="line">
            <a:avLst/>
          </a:prstGeom>
          <a:ln w="12700">
            <a:solidFill>
              <a:srgbClr val="75787B"/>
            </a:solidFill>
            <a:tailEnd type="oval" w="lg" len="lg"/>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6096000" y="3995040"/>
            <a:ext cx="0" cy="1402545"/>
          </a:xfrm>
          <a:prstGeom prst="line">
            <a:avLst/>
          </a:prstGeom>
          <a:ln w="12700">
            <a:solidFill>
              <a:srgbClr val="75787B"/>
            </a:solidFill>
            <a:tailEnd type="oval" w="lg" len="lg"/>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9846590" y="3995040"/>
            <a:ext cx="0" cy="1402545"/>
          </a:xfrm>
          <a:prstGeom prst="line">
            <a:avLst/>
          </a:prstGeom>
          <a:ln w="12700">
            <a:solidFill>
              <a:srgbClr val="75787B"/>
            </a:solidFill>
            <a:tailEnd type="oval" w="lg" len="lg"/>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6AE10B78-E340-7345-94B7-99C3DD616EAE}"/>
              </a:ext>
            </a:extLst>
          </p:cNvPr>
          <p:cNvSpPr txBox="1"/>
          <p:nvPr/>
        </p:nvSpPr>
        <p:spPr>
          <a:xfrm>
            <a:off x="464495" y="5516314"/>
            <a:ext cx="3751022" cy="800219"/>
          </a:xfrm>
          <a:prstGeom prst="rect">
            <a:avLst/>
          </a:prstGeom>
          <a:noFill/>
        </p:spPr>
        <p:txBody>
          <a:bodyPr wrap="square" lIns="180000" tIns="0" rIns="180000" bIns="0" rtlCol="0">
            <a:spAutoFit/>
          </a:bodyPr>
          <a:lstStyle>
            <a:defPPr>
              <a:defRPr lang="en-US"/>
            </a:defPPr>
            <a:lvl1pPr>
              <a:spcBef>
                <a:spcPts val="600"/>
              </a:spcBef>
              <a:buSzPct val="100000"/>
              <a:defRPr sz="1200" b="1">
                <a:solidFill>
                  <a:schemeClr val="bg1"/>
                </a:solidFill>
              </a:defRPr>
            </a:lvl1pPr>
          </a:lstStyle>
          <a:p>
            <a:pPr algn="ctr">
              <a:spcBef>
                <a:spcPts val="0"/>
              </a:spcBef>
            </a:pPr>
            <a:r>
              <a:rPr lang="en-AU" sz="1300" dirty="0"/>
              <a:t>Lorem ipsum</a:t>
            </a:r>
          </a:p>
          <a:p>
            <a:pPr algn="ctr">
              <a:spcBef>
                <a:spcPts val="0"/>
              </a:spcBef>
            </a:pPr>
            <a:endParaRPr lang="en-AU" sz="1300" dirty="0"/>
          </a:p>
          <a:p>
            <a:pPr algn="ctr">
              <a:spcBef>
                <a:spcPts val="0"/>
              </a:spcBef>
            </a:pPr>
            <a:r>
              <a:rPr lang="en-US" sz="1300" b="0" dirty="0"/>
              <a:t>This is dummy text it is not here to be read. The is just text to show where you could insert text</a:t>
            </a:r>
          </a:p>
        </p:txBody>
      </p:sp>
      <p:sp>
        <p:nvSpPr>
          <p:cNvPr id="52" name="TextBox 51">
            <a:extLst>
              <a:ext uri="{FF2B5EF4-FFF2-40B4-BE49-F238E27FC236}">
                <a16:creationId xmlns:a16="http://schemas.microsoft.com/office/drawing/2014/main" id="{AEF57862-E30C-144C-93DC-F354630563D9}"/>
              </a:ext>
            </a:extLst>
          </p:cNvPr>
          <p:cNvSpPr txBox="1"/>
          <p:nvPr/>
        </p:nvSpPr>
        <p:spPr>
          <a:xfrm>
            <a:off x="4260850" y="5516314"/>
            <a:ext cx="3708702" cy="800219"/>
          </a:xfrm>
          <a:prstGeom prst="rect">
            <a:avLst/>
          </a:prstGeom>
          <a:noFill/>
        </p:spPr>
        <p:txBody>
          <a:bodyPr wrap="square" lIns="180000" tIns="0" rIns="180000" bIns="0" rtlCol="0">
            <a:spAutoFit/>
          </a:bodyPr>
          <a:lstStyle>
            <a:defPPr>
              <a:defRPr lang="en-US"/>
            </a:defPPr>
            <a:lvl1pPr>
              <a:spcBef>
                <a:spcPts val="600"/>
              </a:spcBef>
              <a:buSzPct val="100000"/>
              <a:defRPr sz="1200" b="1">
                <a:solidFill>
                  <a:schemeClr val="bg1"/>
                </a:solidFill>
              </a:defRPr>
            </a:lvl1pPr>
          </a:lstStyle>
          <a:p>
            <a:pPr algn="ctr">
              <a:spcBef>
                <a:spcPts val="0"/>
              </a:spcBef>
            </a:pPr>
            <a:r>
              <a:rPr lang="en-AU" sz="1300" dirty="0"/>
              <a:t>Lorem ipsum</a:t>
            </a:r>
          </a:p>
          <a:p>
            <a:pPr algn="ctr">
              <a:spcBef>
                <a:spcPts val="0"/>
              </a:spcBef>
            </a:pPr>
            <a:endParaRPr lang="en-AU" sz="1300" dirty="0"/>
          </a:p>
          <a:p>
            <a:pPr algn="ctr">
              <a:spcBef>
                <a:spcPts val="0"/>
              </a:spcBef>
            </a:pPr>
            <a:r>
              <a:rPr lang="en-US" sz="1300" b="0" dirty="0"/>
              <a:t>This is dummy text it is not here to be read. The is just text to show where you could insert text. </a:t>
            </a:r>
          </a:p>
        </p:txBody>
      </p:sp>
      <p:sp>
        <p:nvSpPr>
          <p:cNvPr id="53" name="TextBox 52">
            <a:extLst>
              <a:ext uri="{FF2B5EF4-FFF2-40B4-BE49-F238E27FC236}">
                <a16:creationId xmlns:a16="http://schemas.microsoft.com/office/drawing/2014/main" id="{6F4A7E42-D974-EE4D-A089-D3A0C2E43B8F}"/>
              </a:ext>
            </a:extLst>
          </p:cNvPr>
          <p:cNvSpPr txBox="1"/>
          <p:nvPr/>
        </p:nvSpPr>
        <p:spPr>
          <a:xfrm>
            <a:off x="8014885" y="5516314"/>
            <a:ext cx="3719916" cy="800219"/>
          </a:xfrm>
          <a:prstGeom prst="rect">
            <a:avLst/>
          </a:prstGeom>
          <a:noFill/>
        </p:spPr>
        <p:txBody>
          <a:bodyPr wrap="square" lIns="180000" tIns="0" rIns="180000" bIns="0" rtlCol="0">
            <a:spAutoFit/>
          </a:bodyPr>
          <a:lstStyle>
            <a:defPPr>
              <a:defRPr lang="en-US"/>
            </a:defPPr>
            <a:lvl1pPr>
              <a:spcBef>
                <a:spcPts val="600"/>
              </a:spcBef>
              <a:buSzPct val="100000"/>
              <a:defRPr sz="1200" b="1">
                <a:solidFill>
                  <a:schemeClr val="bg1"/>
                </a:solidFill>
              </a:defRPr>
            </a:lvl1pPr>
          </a:lstStyle>
          <a:p>
            <a:pPr algn="ctr">
              <a:spcBef>
                <a:spcPts val="0"/>
              </a:spcBef>
            </a:pPr>
            <a:r>
              <a:rPr lang="en-AU" sz="1300" dirty="0"/>
              <a:t>Lorem ipsum</a:t>
            </a:r>
          </a:p>
          <a:p>
            <a:pPr algn="ctr">
              <a:spcBef>
                <a:spcPts val="0"/>
              </a:spcBef>
            </a:pPr>
            <a:endParaRPr lang="en-AU" sz="1300" dirty="0"/>
          </a:p>
          <a:p>
            <a:pPr algn="ctr">
              <a:spcBef>
                <a:spcPts val="0"/>
              </a:spcBef>
            </a:pPr>
            <a:r>
              <a:rPr lang="en-US" sz="1300" b="0" dirty="0"/>
              <a:t>This is dummy text it is not here to be read. The is just text to show where you could insert text. </a:t>
            </a:r>
          </a:p>
        </p:txBody>
      </p:sp>
      <p:sp>
        <p:nvSpPr>
          <p:cNvPr id="60" name="Arc 59">
            <a:extLst>
              <a:ext uri="{FF2B5EF4-FFF2-40B4-BE49-F238E27FC236}">
                <a16:creationId xmlns:a16="http://schemas.microsoft.com/office/drawing/2014/main" id="{8FDE29A4-625B-CC4B-B0F0-1E9707474903}"/>
              </a:ext>
            </a:extLst>
          </p:cNvPr>
          <p:cNvSpPr/>
          <p:nvPr/>
        </p:nvSpPr>
        <p:spPr>
          <a:xfrm rot="5400000">
            <a:off x="7971080" y="990269"/>
            <a:ext cx="3751020" cy="3751021"/>
          </a:xfrm>
          <a:prstGeom prst="arc">
            <a:avLst>
              <a:gd name="adj1" fmla="val 16200000"/>
              <a:gd name="adj2" fmla="val 5267459"/>
            </a:avLst>
          </a:prstGeom>
          <a:ln w="12700">
            <a:solidFill>
              <a:srgbClr val="75787B"/>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1" name="Arc 60">
            <a:extLst>
              <a:ext uri="{FF2B5EF4-FFF2-40B4-BE49-F238E27FC236}">
                <a16:creationId xmlns:a16="http://schemas.microsoft.com/office/drawing/2014/main" id="{17A16C20-69B2-0E41-BFBE-6BB4CA7E8705}"/>
              </a:ext>
            </a:extLst>
          </p:cNvPr>
          <p:cNvSpPr/>
          <p:nvPr/>
        </p:nvSpPr>
        <p:spPr>
          <a:xfrm rot="5400000">
            <a:off x="4218530" y="990269"/>
            <a:ext cx="3751020" cy="3751021"/>
          </a:xfrm>
          <a:prstGeom prst="arc">
            <a:avLst>
              <a:gd name="adj1" fmla="val 16200000"/>
              <a:gd name="adj2" fmla="val 5290927"/>
            </a:avLst>
          </a:prstGeom>
          <a:ln w="12700">
            <a:solidFill>
              <a:srgbClr val="75787B"/>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2" name="Arc 61">
            <a:extLst>
              <a:ext uri="{FF2B5EF4-FFF2-40B4-BE49-F238E27FC236}">
                <a16:creationId xmlns:a16="http://schemas.microsoft.com/office/drawing/2014/main" id="{9A8D857B-1B65-CC4C-819C-4EB7381434DF}"/>
              </a:ext>
            </a:extLst>
          </p:cNvPr>
          <p:cNvSpPr/>
          <p:nvPr/>
        </p:nvSpPr>
        <p:spPr>
          <a:xfrm rot="5400000">
            <a:off x="464496" y="990269"/>
            <a:ext cx="3751020" cy="3751021"/>
          </a:xfrm>
          <a:prstGeom prst="arc">
            <a:avLst>
              <a:gd name="adj1" fmla="val 16200000"/>
              <a:gd name="adj2" fmla="val 5438325"/>
            </a:avLst>
          </a:prstGeom>
          <a:ln w="12700">
            <a:solidFill>
              <a:srgbClr val="75787B"/>
            </a:solidFill>
            <a:headEnd type="triangl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nvGrpSpPr>
          <p:cNvPr id="14" name="Group 13"/>
          <p:cNvGrpSpPr/>
          <p:nvPr/>
        </p:nvGrpSpPr>
        <p:grpSpPr>
          <a:xfrm>
            <a:off x="1139856" y="1681395"/>
            <a:ext cx="2400300" cy="2400300"/>
            <a:chOff x="1031713" y="-1113746"/>
            <a:chExt cx="2400300" cy="2400300"/>
          </a:xfrm>
        </p:grpSpPr>
        <p:grpSp>
          <p:nvGrpSpPr>
            <p:cNvPr id="9" name="Group 8"/>
            <p:cNvGrpSpPr/>
            <p:nvPr/>
          </p:nvGrpSpPr>
          <p:grpSpPr>
            <a:xfrm>
              <a:off x="1031713" y="-1113746"/>
              <a:ext cx="2400300" cy="2400300"/>
              <a:chOff x="1031713" y="-1113746"/>
              <a:chExt cx="2400300" cy="2400300"/>
            </a:xfrm>
          </p:grpSpPr>
          <p:grpSp>
            <p:nvGrpSpPr>
              <p:cNvPr id="8" name="Group 7"/>
              <p:cNvGrpSpPr/>
              <p:nvPr/>
            </p:nvGrpSpPr>
            <p:grpSpPr>
              <a:xfrm>
                <a:off x="1031713" y="-1113746"/>
                <a:ext cx="2400300" cy="2400300"/>
                <a:chOff x="1031713" y="-1113746"/>
                <a:chExt cx="2400300" cy="2400300"/>
              </a:xfrm>
            </p:grpSpPr>
            <p:sp>
              <p:nvSpPr>
                <p:cNvPr id="81" name="Freeform 80"/>
                <p:cNvSpPr/>
                <p:nvPr/>
              </p:nvSpPr>
              <p:spPr bwMode="gray">
                <a:xfrm>
                  <a:off x="1031713" y="-1113746"/>
                  <a:ext cx="2400300" cy="1215915"/>
                </a:xfrm>
                <a:custGeom>
                  <a:avLst/>
                  <a:gdLst>
                    <a:gd name="connsiteX0" fmla="*/ 1200150 w 2400300"/>
                    <a:gd name="connsiteY0" fmla="*/ 0 h 1215915"/>
                    <a:gd name="connsiteX1" fmla="*/ 2400300 w 2400300"/>
                    <a:gd name="connsiteY1" fmla="*/ 1200150 h 1215915"/>
                    <a:gd name="connsiteX2" fmla="*/ 2399504 w 2400300"/>
                    <a:gd name="connsiteY2" fmla="*/ 1215915 h 1215915"/>
                    <a:gd name="connsiteX3" fmla="*/ 796 w 2400300"/>
                    <a:gd name="connsiteY3" fmla="*/ 1215915 h 1215915"/>
                    <a:gd name="connsiteX4" fmla="*/ 0 w 2400300"/>
                    <a:gd name="connsiteY4" fmla="*/ 1200150 h 1215915"/>
                    <a:gd name="connsiteX5" fmla="*/ 1200150 w 2400300"/>
                    <a:gd name="connsiteY5" fmla="*/ 0 h 121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0300" h="1215915">
                      <a:moveTo>
                        <a:pt x="1200150" y="0"/>
                      </a:moveTo>
                      <a:cubicBezTo>
                        <a:pt x="1862975" y="0"/>
                        <a:pt x="2400300" y="537325"/>
                        <a:pt x="2400300" y="1200150"/>
                      </a:cubicBezTo>
                      <a:lnTo>
                        <a:pt x="2399504" y="1215915"/>
                      </a:lnTo>
                      <a:lnTo>
                        <a:pt x="796" y="1215915"/>
                      </a:lnTo>
                      <a:lnTo>
                        <a:pt x="0" y="1200150"/>
                      </a:lnTo>
                      <a:cubicBezTo>
                        <a:pt x="0" y="537325"/>
                        <a:pt x="537325" y="0"/>
                        <a:pt x="1200150" y="0"/>
                      </a:cubicBezTo>
                      <a:close/>
                    </a:path>
                  </a:pathLst>
                </a:cu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9" name="Freeform 78"/>
                <p:cNvSpPr/>
                <p:nvPr/>
              </p:nvSpPr>
              <p:spPr bwMode="gray">
                <a:xfrm>
                  <a:off x="1032509" y="102169"/>
                  <a:ext cx="2398708" cy="1184385"/>
                </a:xfrm>
                <a:custGeom>
                  <a:avLst/>
                  <a:gdLst>
                    <a:gd name="connsiteX0" fmla="*/ 0 w 2398708"/>
                    <a:gd name="connsiteY0" fmla="*/ 0 h 1184385"/>
                    <a:gd name="connsiteX1" fmla="*/ 2398708 w 2398708"/>
                    <a:gd name="connsiteY1" fmla="*/ 0 h 1184385"/>
                    <a:gd name="connsiteX2" fmla="*/ 2393308 w 2398708"/>
                    <a:gd name="connsiteY2" fmla="*/ 106943 h 1184385"/>
                    <a:gd name="connsiteX3" fmla="*/ 1199354 w 2398708"/>
                    <a:gd name="connsiteY3" fmla="*/ 1184385 h 1184385"/>
                    <a:gd name="connsiteX4" fmla="*/ 5400 w 2398708"/>
                    <a:gd name="connsiteY4" fmla="*/ 106943 h 1184385"/>
                    <a:gd name="connsiteX5" fmla="*/ 0 w 2398708"/>
                    <a:gd name="connsiteY5" fmla="*/ 0 h 11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8708" h="1184385">
                      <a:moveTo>
                        <a:pt x="0" y="0"/>
                      </a:moveTo>
                      <a:lnTo>
                        <a:pt x="2398708" y="0"/>
                      </a:lnTo>
                      <a:lnTo>
                        <a:pt x="2393308" y="106943"/>
                      </a:lnTo>
                      <a:cubicBezTo>
                        <a:pt x="2331848" y="712127"/>
                        <a:pt x="1820753" y="1184385"/>
                        <a:pt x="1199354" y="1184385"/>
                      </a:cubicBezTo>
                      <a:cubicBezTo>
                        <a:pt x="577956" y="1184385"/>
                        <a:pt x="66860" y="712127"/>
                        <a:pt x="5400" y="106943"/>
                      </a:cubicBezTo>
                      <a:lnTo>
                        <a:pt x="0" y="0"/>
                      </a:lnTo>
                      <a:close/>
                    </a:path>
                  </a:pathLst>
                </a:cu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7" name="Oval 6"/>
              <p:cNvSpPr/>
              <p:nvPr/>
            </p:nvSpPr>
            <p:spPr bwMode="gray">
              <a:xfrm>
                <a:off x="1118368" y="-1027091"/>
                <a:ext cx="2226990" cy="2226990"/>
              </a:xfrm>
              <a:prstGeom prst="ellipse">
                <a:avLst/>
              </a:prstGeom>
              <a:solidFill>
                <a:schemeClr val="tx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54" name="Group 100">
              <a:extLst>
                <a:ext uri="{FF2B5EF4-FFF2-40B4-BE49-F238E27FC236}">
                  <a16:creationId xmlns:a16="http://schemas.microsoft.com/office/drawing/2014/main" id="{0947E6E4-58A5-054F-9966-F4950150AC5B}"/>
                </a:ext>
              </a:extLst>
            </p:cNvPr>
            <p:cNvGrpSpPr>
              <a:grpSpLocks noChangeAspect="1"/>
            </p:cNvGrpSpPr>
            <p:nvPr/>
          </p:nvGrpSpPr>
          <p:grpSpPr bwMode="auto">
            <a:xfrm>
              <a:off x="1774663" y="-370796"/>
              <a:ext cx="914400" cy="914400"/>
              <a:chOff x="374" y="351"/>
              <a:chExt cx="340" cy="340"/>
            </a:xfrm>
            <a:solidFill>
              <a:srgbClr val="FFFFFF"/>
            </a:solidFill>
          </p:grpSpPr>
          <p:sp>
            <p:nvSpPr>
              <p:cNvPr id="78" name="Freeform 101">
                <a:extLst>
                  <a:ext uri="{FF2B5EF4-FFF2-40B4-BE49-F238E27FC236}">
                    <a16:creationId xmlns:a16="http://schemas.microsoft.com/office/drawing/2014/main" id="{2EF4AC52-0D33-874C-92C5-D5F30F9528F2}"/>
                  </a:ext>
                </a:extLst>
              </p:cNvPr>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102">
                <a:extLst>
                  <a:ext uri="{FF2B5EF4-FFF2-40B4-BE49-F238E27FC236}">
                    <a16:creationId xmlns:a16="http://schemas.microsoft.com/office/drawing/2014/main" id="{4C186934-36F0-1045-AF0E-87DE1FD460AC}"/>
                  </a:ext>
                </a:extLst>
              </p:cNvPr>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 name="Freeform 103">
                <a:extLst>
                  <a:ext uri="{FF2B5EF4-FFF2-40B4-BE49-F238E27FC236}">
                    <a16:creationId xmlns:a16="http://schemas.microsoft.com/office/drawing/2014/main" id="{B036E9C8-41E2-9243-A29F-A8E58312D50A}"/>
                  </a:ext>
                </a:extLst>
              </p:cNvPr>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104">
                <a:extLst>
                  <a:ext uri="{FF2B5EF4-FFF2-40B4-BE49-F238E27FC236}">
                    <a16:creationId xmlns:a16="http://schemas.microsoft.com/office/drawing/2014/main" id="{6BD73A90-1E2B-A64D-A016-EAF736AACB40}"/>
                  </a:ext>
                </a:extLst>
              </p:cNvPr>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105">
                <a:extLst>
                  <a:ext uri="{FF2B5EF4-FFF2-40B4-BE49-F238E27FC236}">
                    <a16:creationId xmlns:a16="http://schemas.microsoft.com/office/drawing/2014/main" id="{4CAB516A-B267-C34D-A28F-1452D18911E8}"/>
                  </a:ext>
                </a:extLst>
              </p:cNvPr>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2" name="Group 11"/>
          <p:cNvGrpSpPr/>
          <p:nvPr/>
        </p:nvGrpSpPr>
        <p:grpSpPr>
          <a:xfrm>
            <a:off x="8646440" y="1681395"/>
            <a:ext cx="2400300" cy="2400300"/>
            <a:chOff x="8810287" y="-1113746"/>
            <a:chExt cx="2400300" cy="2400300"/>
          </a:xfrm>
        </p:grpSpPr>
        <p:grpSp>
          <p:nvGrpSpPr>
            <p:cNvPr id="11" name="Group 10"/>
            <p:cNvGrpSpPr/>
            <p:nvPr/>
          </p:nvGrpSpPr>
          <p:grpSpPr>
            <a:xfrm>
              <a:off x="8810287" y="-1113746"/>
              <a:ext cx="2400300" cy="2400300"/>
              <a:chOff x="8810287" y="-1113746"/>
              <a:chExt cx="2400300" cy="2400300"/>
            </a:xfrm>
          </p:grpSpPr>
          <p:grpSp>
            <p:nvGrpSpPr>
              <p:cNvPr id="6" name="Group 5"/>
              <p:cNvGrpSpPr/>
              <p:nvPr/>
            </p:nvGrpSpPr>
            <p:grpSpPr>
              <a:xfrm>
                <a:off x="8810287" y="-1113746"/>
                <a:ext cx="2400300" cy="2400300"/>
                <a:chOff x="8810287" y="-1113746"/>
                <a:chExt cx="2400300" cy="2400300"/>
              </a:xfrm>
            </p:grpSpPr>
            <p:sp>
              <p:nvSpPr>
                <p:cNvPr id="88" name="Freeform 87"/>
                <p:cNvSpPr/>
                <p:nvPr/>
              </p:nvSpPr>
              <p:spPr bwMode="gray">
                <a:xfrm>
                  <a:off x="8810287" y="-1113746"/>
                  <a:ext cx="2400300" cy="1215915"/>
                </a:xfrm>
                <a:custGeom>
                  <a:avLst/>
                  <a:gdLst>
                    <a:gd name="connsiteX0" fmla="*/ 1200150 w 2400300"/>
                    <a:gd name="connsiteY0" fmla="*/ 0 h 1215915"/>
                    <a:gd name="connsiteX1" fmla="*/ 2400300 w 2400300"/>
                    <a:gd name="connsiteY1" fmla="*/ 1200150 h 1215915"/>
                    <a:gd name="connsiteX2" fmla="*/ 2399504 w 2400300"/>
                    <a:gd name="connsiteY2" fmla="*/ 1215915 h 1215915"/>
                    <a:gd name="connsiteX3" fmla="*/ 796 w 2400300"/>
                    <a:gd name="connsiteY3" fmla="*/ 1215915 h 1215915"/>
                    <a:gd name="connsiteX4" fmla="*/ 0 w 2400300"/>
                    <a:gd name="connsiteY4" fmla="*/ 1200150 h 1215915"/>
                    <a:gd name="connsiteX5" fmla="*/ 1200150 w 2400300"/>
                    <a:gd name="connsiteY5" fmla="*/ 0 h 121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0300" h="1215915">
                      <a:moveTo>
                        <a:pt x="1200150" y="0"/>
                      </a:moveTo>
                      <a:cubicBezTo>
                        <a:pt x="1862975" y="0"/>
                        <a:pt x="2400300" y="537325"/>
                        <a:pt x="2400300" y="1200150"/>
                      </a:cubicBezTo>
                      <a:lnTo>
                        <a:pt x="2399504" y="1215915"/>
                      </a:lnTo>
                      <a:lnTo>
                        <a:pt x="796" y="1215915"/>
                      </a:lnTo>
                      <a:lnTo>
                        <a:pt x="0" y="1200150"/>
                      </a:lnTo>
                      <a:cubicBezTo>
                        <a:pt x="0" y="537325"/>
                        <a:pt x="537325" y="0"/>
                        <a:pt x="1200150" y="0"/>
                      </a:cubicBezTo>
                      <a:close/>
                    </a:path>
                  </a:pathLst>
                </a:cu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9" name="Freeform 88"/>
                <p:cNvSpPr/>
                <p:nvPr/>
              </p:nvSpPr>
              <p:spPr bwMode="gray">
                <a:xfrm>
                  <a:off x="8811083" y="102169"/>
                  <a:ext cx="2398708" cy="1184385"/>
                </a:xfrm>
                <a:custGeom>
                  <a:avLst/>
                  <a:gdLst>
                    <a:gd name="connsiteX0" fmla="*/ 0 w 2398708"/>
                    <a:gd name="connsiteY0" fmla="*/ 0 h 1184385"/>
                    <a:gd name="connsiteX1" fmla="*/ 2398708 w 2398708"/>
                    <a:gd name="connsiteY1" fmla="*/ 0 h 1184385"/>
                    <a:gd name="connsiteX2" fmla="*/ 2393308 w 2398708"/>
                    <a:gd name="connsiteY2" fmla="*/ 106943 h 1184385"/>
                    <a:gd name="connsiteX3" fmla="*/ 1199354 w 2398708"/>
                    <a:gd name="connsiteY3" fmla="*/ 1184385 h 1184385"/>
                    <a:gd name="connsiteX4" fmla="*/ 5400 w 2398708"/>
                    <a:gd name="connsiteY4" fmla="*/ 106943 h 1184385"/>
                    <a:gd name="connsiteX5" fmla="*/ 0 w 2398708"/>
                    <a:gd name="connsiteY5" fmla="*/ 0 h 11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8708" h="1184385">
                      <a:moveTo>
                        <a:pt x="0" y="0"/>
                      </a:moveTo>
                      <a:lnTo>
                        <a:pt x="2398708" y="0"/>
                      </a:lnTo>
                      <a:lnTo>
                        <a:pt x="2393308" y="106943"/>
                      </a:lnTo>
                      <a:cubicBezTo>
                        <a:pt x="2331848" y="712127"/>
                        <a:pt x="1820753" y="1184385"/>
                        <a:pt x="1199354" y="1184385"/>
                      </a:cubicBezTo>
                      <a:cubicBezTo>
                        <a:pt x="577956" y="1184385"/>
                        <a:pt x="66860" y="712127"/>
                        <a:pt x="5400" y="106943"/>
                      </a:cubicBezTo>
                      <a:lnTo>
                        <a:pt x="0" y="0"/>
                      </a:lnTo>
                      <a:close/>
                    </a:path>
                  </a:pathLst>
                </a:cu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91" name="Oval 90"/>
              <p:cNvSpPr/>
              <p:nvPr/>
            </p:nvSpPr>
            <p:spPr bwMode="gray">
              <a:xfrm>
                <a:off x="8896942" y="-1027091"/>
                <a:ext cx="2226990" cy="2226990"/>
              </a:xfrm>
              <a:prstGeom prst="ellipse">
                <a:avLst/>
              </a:prstGeom>
              <a:solidFill>
                <a:schemeClr val="tx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55" name="Group 844">
              <a:extLst>
                <a:ext uri="{FF2B5EF4-FFF2-40B4-BE49-F238E27FC236}">
                  <a16:creationId xmlns:a16="http://schemas.microsoft.com/office/drawing/2014/main" id="{B1B3FFC9-19D0-B646-BA7A-36750C319F57}"/>
                </a:ext>
              </a:extLst>
            </p:cNvPr>
            <p:cNvGrpSpPr>
              <a:grpSpLocks noChangeAspect="1"/>
            </p:cNvGrpSpPr>
            <p:nvPr/>
          </p:nvGrpSpPr>
          <p:grpSpPr bwMode="auto">
            <a:xfrm>
              <a:off x="9553237" y="-370796"/>
              <a:ext cx="914400" cy="914400"/>
              <a:chOff x="4301" y="3046"/>
              <a:chExt cx="340" cy="340"/>
            </a:xfrm>
            <a:solidFill>
              <a:srgbClr val="86BC25"/>
            </a:solidFill>
          </p:grpSpPr>
          <p:sp>
            <p:nvSpPr>
              <p:cNvPr id="71" name="Freeform 845">
                <a:extLst>
                  <a:ext uri="{FF2B5EF4-FFF2-40B4-BE49-F238E27FC236}">
                    <a16:creationId xmlns:a16="http://schemas.microsoft.com/office/drawing/2014/main" id="{CC3B5C19-BA46-EB4B-B772-E3A40F3F17EA}"/>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846">
                <a:extLst>
                  <a:ext uri="{FF2B5EF4-FFF2-40B4-BE49-F238E27FC236}">
                    <a16:creationId xmlns:a16="http://schemas.microsoft.com/office/drawing/2014/main" id="{A9B071E8-E2CF-AF4B-9879-DE409FBD6009}"/>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847">
                <a:extLst>
                  <a:ext uri="{FF2B5EF4-FFF2-40B4-BE49-F238E27FC236}">
                    <a16:creationId xmlns:a16="http://schemas.microsoft.com/office/drawing/2014/main" id="{9F979664-7A2D-3C49-81B2-09EE81DAF953}"/>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848">
                <a:extLst>
                  <a:ext uri="{FF2B5EF4-FFF2-40B4-BE49-F238E27FC236}">
                    <a16:creationId xmlns:a16="http://schemas.microsoft.com/office/drawing/2014/main" id="{AD941DA7-3FF7-7044-98DE-6B952DA4C452}"/>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Freeform 849">
                <a:extLst>
                  <a:ext uri="{FF2B5EF4-FFF2-40B4-BE49-F238E27FC236}">
                    <a16:creationId xmlns:a16="http://schemas.microsoft.com/office/drawing/2014/main" id="{86E61DB5-7E9E-1748-99F7-7A0B6805731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 name="Freeform 850">
                <a:extLst>
                  <a:ext uri="{FF2B5EF4-FFF2-40B4-BE49-F238E27FC236}">
                    <a16:creationId xmlns:a16="http://schemas.microsoft.com/office/drawing/2014/main" id="{4A2C1A74-CBF7-8644-B922-77E795CFA93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851">
                <a:extLst>
                  <a:ext uri="{FF2B5EF4-FFF2-40B4-BE49-F238E27FC236}">
                    <a16:creationId xmlns:a16="http://schemas.microsoft.com/office/drawing/2014/main" id="{4DC6DD19-960E-0145-82CC-5554013DAE4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3" name="Group 12"/>
          <p:cNvGrpSpPr/>
          <p:nvPr/>
        </p:nvGrpSpPr>
        <p:grpSpPr>
          <a:xfrm>
            <a:off x="4893890" y="1681395"/>
            <a:ext cx="2400300" cy="2400300"/>
            <a:chOff x="4855107" y="-1113746"/>
            <a:chExt cx="2400300" cy="2400300"/>
          </a:xfrm>
        </p:grpSpPr>
        <p:grpSp>
          <p:nvGrpSpPr>
            <p:cNvPr id="10" name="Group 9"/>
            <p:cNvGrpSpPr/>
            <p:nvPr/>
          </p:nvGrpSpPr>
          <p:grpSpPr>
            <a:xfrm>
              <a:off x="4855107" y="-1113746"/>
              <a:ext cx="2400300" cy="2400300"/>
              <a:chOff x="4855107" y="-1113746"/>
              <a:chExt cx="2400300" cy="2400300"/>
            </a:xfrm>
          </p:grpSpPr>
          <p:grpSp>
            <p:nvGrpSpPr>
              <p:cNvPr id="5" name="Group 4"/>
              <p:cNvGrpSpPr/>
              <p:nvPr/>
            </p:nvGrpSpPr>
            <p:grpSpPr>
              <a:xfrm rot="10800000">
                <a:off x="4855107" y="-1113746"/>
                <a:ext cx="2400300" cy="2400300"/>
                <a:chOff x="4855107" y="-1113746"/>
                <a:chExt cx="2400300" cy="2400300"/>
              </a:xfrm>
            </p:grpSpPr>
            <p:sp>
              <p:nvSpPr>
                <p:cNvPr id="82" name="Freeform 81"/>
                <p:cNvSpPr/>
                <p:nvPr/>
              </p:nvSpPr>
              <p:spPr bwMode="gray">
                <a:xfrm>
                  <a:off x="4855107" y="-1113746"/>
                  <a:ext cx="2400300" cy="1215915"/>
                </a:xfrm>
                <a:custGeom>
                  <a:avLst/>
                  <a:gdLst>
                    <a:gd name="connsiteX0" fmla="*/ 1200150 w 2400300"/>
                    <a:gd name="connsiteY0" fmla="*/ 0 h 1215915"/>
                    <a:gd name="connsiteX1" fmla="*/ 2400300 w 2400300"/>
                    <a:gd name="connsiteY1" fmla="*/ 1200150 h 1215915"/>
                    <a:gd name="connsiteX2" fmla="*/ 2399504 w 2400300"/>
                    <a:gd name="connsiteY2" fmla="*/ 1215915 h 1215915"/>
                    <a:gd name="connsiteX3" fmla="*/ 796 w 2400300"/>
                    <a:gd name="connsiteY3" fmla="*/ 1215915 h 1215915"/>
                    <a:gd name="connsiteX4" fmla="*/ 0 w 2400300"/>
                    <a:gd name="connsiteY4" fmla="*/ 1200150 h 1215915"/>
                    <a:gd name="connsiteX5" fmla="*/ 1200150 w 2400300"/>
                    <a:gd name="connsiteY5" fmla="*/ 0 h 121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0300" h="1215915">
                      <a:moveTo>
                        <a:pt x="1200150" y="0"/>
                      </a:moveTo>
                      <a:cubicBezTo>
                        <a:pt x="1862975" y="0"/>
                        <a:pt x="2400300" y="537325"/>
                        <a:pt x="2400300" y="1200150"/>
                      </a:cubicBezTo>
                      <a:lnTo>
                        <a:pt x="2399504" y="1215915"/>
                      </a:lnTo>
                      <a:lnTo>
                        <a:pt x="796" y="1215915"/>
                      </a:lnTo>
                      <a:lnTo>
                        <a:pt x="0" y="1200150"/>
                      </a:lnTo>
                      <a:cubicBezTo>
                        <a:pt x="0" y="537325"/>
                        <a:pt x="537325" y="0"/>
                        <a:pt x="1200150" y="0"/>
                      </a:cubicBezTo>
                      <a:close/>
                    </a:path>
                  </a:pathLst>
                </a:cu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3" name="Freeform 82"/>
                <p:cNvSpPr/>
                <p:nvPr/>
              </p:nvSpPr>
              <p:spPr bwMode="gray">
                <a:xfrm>
                  <a:off x="4855903" y="102169"/>
                  <a:ext cx="2398708" cy="1184385"/>
                </a:xfrm>
                <a:custGeom>
                  <a:avLst/>
                  <a:gdLst>
                    <a:gd name="connsiteX0" fmla="*/ 0 w 2398708"/>
                    <a:gd name="connsiteY0" fmla="*/ 0 h 1184385"/>
                    <a:gd name="connsiteX1" fmla="*/ 2398708 w 2398708"/>
                    <a:gd name="connsiteY1" fmla="*/ 0 h 1184385"/>
                    <a:gd name="connsiteX2" fmla="*/ 2393308 w 2398708"/>
                    <a:gd name="connsiteY2" fmla="*/ 106943 h 1184385"/>
                    <a:gd name="connsiteX3" fmla="*/ 1199354 w 2398708"/>
                    <a:gd name="connsiteY3" fmla="*/ 1184385 h 1184385"/>
                    <a:gd name="connsiteX4" fmla="*/ 5400 w 2398708"/>
                    <a:gd name="connsiteY4" fmla="*/ 106943 h 1184385"/>
                    <a:gd name="connsiteX5" fmla="*/ 0 w 2398708"/>
                    <a:gd name="connsiteY5" fmla="*/ 0 h 11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8708" h="1184385">
                      <a:moveTo>
                        <a:pt x="0" y="0"/>
                      </a:moveTo>
                      <a:lnTo>
                        <a:pt x="2398708" y="0"/>
                      </a:lnTo>
                      <a:lnTo>
                        <a:pt x="2393308" y="106943"/>
                      </a:lnTo>
                      <a:cubicBezTo>
                        <a:pt x="2331848" y="712127"/>
                        <a:pt x="1820753" y="1184385"/>
                        <a:pt x="1199354" y="1184385"/>
                      </a:cubicBezTo>
                      <a:cubicBezTo>
                        <a:pt x="577956" y="1184385"/>
                        <a:pt x="66860" y="712127"/>
                        <a:pt x="5400" y="106943"/>
                      </a:cubicBezTo>
                      <a:lnTo>
                        <a:pt x="0" y="0"/>
                      </a:lnTo>
                      <a:close/>
                    </a:path>
                  </a:pathLst>
                </a:cu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90" name="Oval 89"/>
              <p:cNvSpPr/>
              <p:nvPr/>
            </p:nvSpPr>
            <p:spPr bwMode="gray">
              <a:xfrm>
                <a:off x="4941762" y="-1027091"/>
                <a:ext cx="2226990" cy="2226990"/>
              </a:xfrm>
              <a:prstGeom prst="ellipse">
                <a:avLst/>
              </a:prstGeom>
              <a:solidFill>
                <a:schemeClr val="tx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56" name="Group 672">
              <a:extLst>
                <a:ext uri="{FF2B5EF4-FFF2-40B4-BE49-F238E27FC236}">
                  <a16:creationId xmlns:a16="http://schemas.microsoft.com/office/drawing/2014/main" id="{F9F3034D-415F-C246-81A8-13C83745B861}"/>
                </a:ext>
              </a:extLst>
            </p:cNvPr>
            <p:cNvGrpSpPr>
              <a:grpSpLocks noChangeAspect="1"/>
            </p:cNvGrpSpPr>
            <p:nvPr/>
          </p:nvGrpSpPr>
          <p:grpSpPr bwMode="auto">
            <a:xfrm>
              <a:off x="5598057" y="-370796"/>
              <a:ext cx="914400" cy="914400"/>
              <a:chOff x="3043" y="3122"/>
              <a:chExt cx="340" cy="340"/>
            </a:xfrm>
            <a:solidFill>
              <a:schemeClr val="accent3"/>
            </a:solidFill>
          </p:grpSpPr>
          <p:sp>
            <p:nvSpPr>
              <p:cNvPr id="69" name="Freeform 673">
                <a:extLst>
                  <a:ext uri="{FF2B5EF4-FFF2-40B4-BE49-F238E27FC236}">
                    <a16:creationId xmlns:a16="http://schemas.microsoft.com/office/drawing/2014/main" id="{A68BC283-C229-3641-95A9-00CFEEF6564E}"/>
                  </a:ext>
                </a:extLst>
              </p:cNvPr>
              <p:cNvSpPr>
                <a:spLocks noEditPoints="1"/>
              </p:cNvSpPr>
              <p:nvPr/>
            </p:nvSpPr>
            <p:spPr bwMode="auto">
              <a:xfrm>
                <a:off x="3107" y="3186"/>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1 w 320"/>
                  <a:gd name="T41" fmla="*/ 256 h 277"/>
                  <a:gd name="T42" fmla="*/ 21 w 320"/>
                  <a:gd name="T43" fmla="*/ 64 h 277"/>
                  <a:gd name="T44" fmla="*/ 64 w 320"/>
                  <a:gd name="T45" fmla="*/ 64 h 277"/>
                  <a:gd name="T46" fmla="*/ 64 w 320"/>
                  <a:gd name="T47" fmla="*/ 256 h 277"/>
                  <a:gd name="T48" fmla="*/ 21 w 320"/>
                  <a:gd name="T49" fmla="*/ 256 h 277"/>
                  <a:gd name="T50" fmla="*/ 85 w 320"/>
                  <a:gd name="T51" fmla="*/ 256 h 277"/>
                  <a:gd name="T52" fmla="*/ 85 w 320"/>
                  <a:gd name="T53" fmla="*/ 64 h 277"/>
                  <a:gd name="T54" fmla="*/ 224 w 320"/>
                  <a:gd name="T55" fmla="*/ 64 h 277"/>
                  <a:gd name="T56" fmla="*/ 224 w 320"/>
                  <a:gd name="T57" fmla="*/ 256 h 277"/>
                  <a:gd name="T58" fmla="*/ 85 w 320"/>
                  <a:gd name="T59" fmla="*/ 256 h 277"/>
                  <a:gd name="T60" fmla="*/ 298 w 320"/>
                  <a:gd name="T61" fmla="*/ 256 h 277"/>
                  <a:gd name="T62" fmla="*/ 245 w 320"/>
                  <a:gd name="T63" fmla="*/ 256 h 277"/>
                  <a:gd name="T64" fmla="*/ 245 w 320"/>
                  <a:gd name="T65" fmla="*/ 64 h 277"/>
                  <a:gd name="T66" fmla="*/ 298 w 320"/>
                  <a:gd name="T67" fmla="*/ 64 h 277"/>
                  <a:gd name="T68" fmla="*/ 298 w 320"/>
                  <a:gd name="T6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1" y="256"/>
                    </a:moveTo>
                    <a:cubicBezTo>
                      <a:pt x="21" y="64"/>
                      <a:pt x="21" y="64"/>
                      <a:pt x="21" y="64"/>
                    </a:cubicBezTo>
                    <a:cubicBezTo>
                      <a:pt x="64" y="64"/>
                      <a:pt x="64" y="64"/>
                      <a:pt x="64" y="64"/>
                    </a:cubicBezTo>
                    <a:cubicBezTo>
                      <a:pt x="64" y="256"/>
                      <a:pt x="64" y="256"/>
                      <a:pt x="64" y="256"/>
                    </a:cubicBezTo>
                    <a:lnTo>
                      <a:pt x="21" y="256"/>
                    </a:lnTo>
                    <a:close/>
                    <a:moveTo>
                      <a:pt x="85" y="256"/>
                    </a:moveTo>
                    <a:cubicBezTo>
                      <a:pt x="85" y="64"/>
                      <a:pt x="85" y="64"/>
                      <a:pt x="85" y="64"/>
                    </a:cubicBezTo>
                    <a:cubicBezTo>
                      <a:pt x="224" y="64"/>
                      <a:pt x="224" y="64"/>
                      <a:pt x="224" y="64"/>
                    </a:cubicBezTo>
                    <a:cubicBezTo>
                      <a:pt x="224" y="256"/>
                      <a:pt x="224" y="256"/>
                      <a:pt x="224" y="256"/>
                    </a:cubicBezTo>
                    <a:lnTo>
                      <a:pt x="85" y="256"/>
                    </a:lnTo>
                    <a:close/>
                    <a:moveTo>
                      <a:pt x="298" y="256"/>
                    </a:moveTo>
                    <a:cubicBezTo>
                      <a:pt x="245" y="256"/>
                      <a:pt x="245" y="256"/>
                      <a:pt x="245" y="256"/>
                    </a:cubicBezTo>
                    <a:cubicBezTo>
                      <a:pt x="245" y="64"/>
                      <a:pt x="245" y="64"/>
                      <a:pt x="245" y="64"/>
                    </a:cubicBezTo>
                    <a:cubicBezTo>
                      <a:pt x="298" y="64"/>
                      <a:pt x="298" y="64"/>
                      <a:pt x="298" y="64"/>
                    </a:cubicBezTo>
                    <a:lnTo>
                      <a:pt x="298" y="25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674">
                <a:extLst>
                  <a:ext uri="{FF2B5EF4-FFF2-40B4-BE49-F238E27FC236}">
                    <a16:creationId xmlns:a16="http://schemas.microsoft.com/office/drawing/2014/main" id="{7647EA01-9B68-A34A-A217-47E533203674}"/>
                  </a:ext>
                </a:extLst>
              </p:cNvPr>
              <p:cNvSpPr>
                <a:spLocks noEditPoints="1"/>
              </p:cNvSpPr>
              <p:nvPr/>
            </p:nvSpPr>
            <p:spPr bwMode="auto">
              <a:xfrm>
                <a:off x="3043" y="312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custDataLst>
      <p:tags r:id="rId1"/>
    </p:custDataLst>
    <p:extLst>
      <p:ext uri="{BB962C8B-B14F-4D97-AF65-F5344CB8AC3E}">
        <p14:creationId xmlns:p14="http://schemas.microsoft.com/office/powerpoint/2010/main" val="114471272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4"/>
          <p:cNvGrpSpPr>
            <a:grpSpLocks noChangeAspect="1"/>
          </p:cNvGrpSpPr>
          <p:nvPr/>
        </p:nvGrpSpPr>
        <p:grpSpPr bwMode="auto">
          <a:xfrm>
            <a:off x="8910637" y="1714500"/>
            <a:ext cx="2092325" cy="3136900"/>
            <a:chOff x="3180" y="1170"/>
            <a:chExt cx="1318" cy="1976"/>
          </a:xfrm>
          <a:solidFill>
            <a:srgbClr val="000000"/>
          </a:solidFill>
        </p:grpSpPr>
        <p:sp>
          <p:nvSpPr>
            <p:cNvPr id="41" name="Freeform 5"/>
            <p:cNvSpPr>
              <a:spLocks/>
            </p:cNvSpPr>
            <p:nvPr/>
          </p:nvSpPr>
          <p:spPr bwMode="auto">
            <a:xfrm>
              <a:off x="3180" y="1170"/>
              <a:ext cx="1318" cy="1462"/>
            </a:xfrm>
            <a:custGeom>
              <a:avLst/>
              <a:gdLst>
                <a:gd name="T0" fmla="*/ 276 w 553"/>
                <a:gd name="T1" fmla="*/ 0 h 615"/>
                <a:gd name="T2" fmla="*/ 276 w 553"/>
                <a:gd name="T3" fmla="*/ 0 h 615"/>
                <a:gd name="T4" fmla="*/ 0 w 553"/>
                <a:gd name="T5" fmla="*/ 276 h 615"/>
                <a:gd name="T6" fmla="*/ 148 w 553"/>
                <a:gd name="T7" fmla="*/ 581 h 615"/>
                <a:gd name="T8" fmla="*/ 148 w 553"/>
                <a:gd name="T9" fmla="*/ 615 h 615"/>
                <a:gd name="T10" fmla="*/ 405 w 553"/>
                <a:gd name="T11" fmla="*/ 615 h 615"/>
                <a:gd name="T12" fmla="*/ 405 w 553"/>
                <a:gd name="T13" fmla="*/ 581 h 615"/>
                <a:gd name="T14" fmla="*/ 553 w 553"/>
                <a:gd name="T15" fmla="*/ 276 h 615"/>
                <a:gd name="T16" fmla="*/ 276 w 553"/>
                <a:gd name="T17"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615">
                  <a:moveTo>
                    <a:pt x="276" y="0"/>
                  </a:moveTo>
                  <a:cubicBezTo>
                    <a:pt x="276" y="0"/>
                    <a:pt x="276" y="0"/>
                    <a:pt x="276" y="0"/>
                  </a:cubicBezTo>
                  <a:cubicBezTo>
                    <a:pt x="124" y="0"/>
                    <a:pt x="0" y="124"/>
                    <a:pt x="0" y="276"/>
                  </a:cubicBezTo>
                  <a:cubicBezTo>
                    <a:pt x="0" y="456"/>
                    <a:pt x="148" y="491"/>
                    <a:pt x="148" y="581"/>
                  </a:cubicBezTo>
                  <a:cubicBezTo>
                    <a:pt x="148" y="615"/>
                    <a:pt x="148" y="615"/>
                    <a:pt x="148" y="615"/>
                  </a:cubicBezTo>
                  <a:cubicBezTo>
                    <a:pt x="405" y="615"/>
                    <a:pt x="405" y="615"/>
                    <a:pt x="405" y="615"/>
                  </a:cubicBezTo>
                  <a:cubicBezTo>
                    <a:pt x="405" y="581"/>
                    <a:pt x="405" y="581"/>
                    <a:pt x="405" y="581"/>
                  </a:cubicBezTo>
                  <a:cubicBezTo>
                    <a:pt x="405" y="495"/>
                    <a:pt x="553" y="459"/>
                    <a:pt x="553" y="276"/>
                  </a:cubicBezTo>
                  <a:cubicBezTo>
                    <a:pt x="553" y="124"/>
                    <a:pt x="429" y="0"/>
                    <a:pt x="276" y="0"/>
                  </a:cubicBez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p:cNvSpPr>
              <a:spLocks/>
            </p:cNvSpPr>
            <p:nvPr/>
          </p:nvSpPr>
          <p:spPr bwMode="auto">
            <a:xfrm>
              <a:off x="3530" y="2748"/>
              <a:ext cx="615" cy="398"/>
            </a:xfrm>
            <a:custGeom>
              <a:avLst/>
              <a:gdLst>
                <a:gd name="T0" fmla="*/ 0 w 258"/>
                <a:gd name="T1" fmla="*/ 86 h 167"/>
                <a:gd name="T2" fmla="*/ 0 w 258"/>
                <a:gd name="T3" fmla="*/ 86 h 167"/>
                <a:gd name="T4" fmla="*/ 14 w 258"/>
                <a:gd name="T5" fmla="*/ 114 h 167"/>
                <a:gd name="T6" fmla="*/ 51 w 258"/>
                <a:gd name="T7" fmla="*/ 133 h 167"/>
                <a:gd name="T8" fmla="*/ 65 w 258"/>
                <a:gd name="T9" fmla="*/ 137 h 167"/>
                <a:gd name="T10" fmla="*/ 99 w 258"/>
                <a:gd name="T11" fmla="*/ 167 h 167"/>
                <a:gd name="T12" fmla="*/ 160 w 258"/>
                <a:gd name="T13" fmla="*/ 167 h 167"/>
                <a:gd name="T14" fmla="*/ 194 w 258"/>
                <a:gd name="T15" fmla="*/ 136 h 167"/>
                <a:gd name="T16" fmla="*/ 221 w 258"/>
                <a:gd name="T17" fmla="*/ 127 h 167"/>
                <a:gd name="T18" fmla="*/ 245 w 258"/>
                <a:gd name="T19" fmla="*/ 114 h 167"/>
                <a:gd name="T20" fmla="*/ 258 w 258"/>
                <a:gd name="T21" fmla="*/ 86 h 167"/>
                <a:gd name="T22" fmla="*/ 258 w 258"/>
                <a:gd name="T23" fmla="*/ 0 h 167"/>
                <a:gd name="T24" fmla="*/ 0 w 258"/>
                <a:gd name="T25" fmla="*/ 0 h 167"/>
                <a:gd name="T26" fmla="*/ 0 w 258"/>
                <a:gd name="T27" fmla="*/ 86 h 167"/>
                <a:gd name="T28" fmla="*/ 0 w 258"/>
                <a:gd name="T29" fmla="*/ 86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167">
                  <a:moveTo>
                    <a:pt x="0" y="86"/>
                  </a:moveTo>
                  <a:cubicBezTo>
                    <a:pt x="0" y="86"/>
                    <a:pt x="0" y="86"/>
                    <a:pt x="0" y="86"/>
                  </a:cubicBezTo>
                  <a:cubicBezTo>
                    <a:pt x="0" y="98"/>
                    <a:pt x="7" y="108"/>
                    <a:pt x="14" y="114"/>
                  </a:cubicBezTo>
                  <a:cubicBezTo>
                    <a:pt x="25" y="124"/>
                    <a:pt x="39" y="129"/>
                    <a:pt x="51" y="133"/>
                  </a:cubicBezTo>
                  <a:cubicBezTo>
                    <a:pt x="56" y="135"/>
                    <a:pt x="61" y="136"/>
                    <a:pt x="65" y="137"/>
                  </a:cubicBezTo>
                  <a:cubicBezTo>
                    <a:pt x="67" y="154"/>
                    <a:pt x="81" y="167"/>
                    <a:pt x="99" y="167"/>
                  </a:cubicBezTo>
                  <a:cubicBezTo>
                    <a:pt x="160" y="167"/>
                    <a:pt x="160" y="167"/>
                    <a:pt x="160" y="167"/>
                  </a:cubicBezTo>
                  <a:cubicBezTo>
                    <a:pt x="178" y="167"/>
                    <a:pt x="193" y="154"/>
                    <a:pt x="194" y="136"/>
                  </a:cubicBezTo>
                  <a:cubicBezTo>
                    <a:pt x="202" y="134"/>
                    <a:pt x="212" y="131"/>
                    <a:pt x="221" y="127"/>
                  </a:cubicBezTo>
                  <a:cubicBezTo>
                    <a:pt x="229" y="124"/>
                    <a:pt x="238" y="120"/>
                    <a:pt x="245" y="114"/>
                  </a:cubicBezTo>
                  <a:cubicBezTo>
                    <a:pt x="252" y="108"/>
                    <a:pt x="258" y="98"/>
                    <a:pt x="258" y="86"/>
                  </a:cubicBezTo>
                  <a:cubicBezTo>
                    <a:pt x="258" y="0"/>
                    <a:pt x="258" y="0"/>
                    <a:pt x="258" y="0"/>
                  </a:cubicBezTo>
                  <a:cubicBezTo>
                    <a:pt x="0" y="0"/>
                    <a:pt x="0" y="0"/>
                    <a:pt x="0" y="0"/>
                  </a:cubicBezTo>
                  <a:cubicBezTo>
                    <a:pt x="0" y="86"/>
                    <a:pt x="0" y="86"/>
                    <a:pt x="0" y="86"/>
                  </a:cubicBezTo>
                  <a:cubicBezTo>
                    <a:pt x="0" y="86"/>
                    <a:pt x="0" y="86"/>
                    <a:pt x="0" y="86"/>
                  </a:cubicBez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7" name="Group 4"/>
          <p:cNvGrpSpPr>
            <a:grpSpLocks noChangeAspect="1"/>
          </p:cNvGrpSpPr>
          <p:nvPr/>
        </p:nvGrpSpPr>
        <p:grpSpPr bwMode="auto">
          <a:xfrm>
            <a:off x="5049838" y="1714500"/>
            <a:ext cx="2092325" cy="3136900"/>
            <a:chOff x="3180" y="1170"/>
            <a:chExt cx="1318" cy="1976"/>
          </a:xfrm>
          <a:solidFill>
            <a:srgbClr val="43B02A"/>
          </a:solidFill>
        </p:grpSpPr>
        <p:sp>
          <p:nvSpPr>
            <p:cNvPr id="38" name="Freeform 5"/>
            <p:cNvSpPr>
              <a:spLocks/>
            </p:cNvSpPr>
            <p:nvPr/>
          </p:nvSpPr>
          <p:spPr bwMode="auto">
            <a:xfrm>
              <a:off x="3180" y="1170"/>
              <a:ext cx="1318" cy="1462"/>
            </a:xfrm>
            <a:custGeom>
              <a:avLst/>
              <a:gdLst>
                <a:gd name="T0" fmla="*/ 276 w 553"/>
                <a:gd name="T1" fmla="*/ 0 h 615"/>
                <a:gd name="T2" fmla="*/ 276 w 553"/>
                <a:gd name="T3" fmla="*/ 0 h 615"/>
                <a:gd name="T4" fmla="*/ 0 w 553"/>
                <a:gd name="T5" fmla="*/ 276 h 615"/>
                <a:gd name="T6" fmla="*/ 148 w 553"/>
                <a:gd name="T7" fmla="*/ 581 h 615"/>
                <a:gd name="T8" fmla="*/ 148 w 553"/>
                <a:gd name="T9" fmla="*/ 615 h 615"/>
                <a:gd name="T10" fmla="*/ 405 w 553"/>
                <a:gd name="T11" fmla="*/ 615 h 615"/>
                <a:gd name="T12" fmla="*/ 405 w 553"/>
                <a:gd name="T13" fmla="*/ 581 h 615"/>
                <a:gd name="T14" fmla="*/ 553 w 553"/>
                <a:gd name="T15" fmla="*/ 276 h 615"/>
                <a:gd name="T16" fmla="*/ 276 w 553"/>
                <a:gd name="T17"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615">
                  <a:moveTo>
                    <a:pt x="276" y="0"/>
                  </a:moveTo>
                  <a:cubicBezTo>
                    <a:pt x="276" y="0"/>
                    <a:pt x="276" y="0"/>
                    <a:pt x="276" y="0"/>
                  </a:cubicBezTo>
                  <a:cubicBezTo>
                    <a:pt x="124" y="0"/>
                    <a:pt x="0" y="124"/>
                    <a:pt x="0" y="276"/>
                  </a:cubicBezTo>
                  <a:cubicBezTo>
                    <a:pt x="0" y="456"/>
                    <a:pt x="148" y="491"/>
                    <a:pt x="148" y="581"/>
                  </a:cubicBezTo>
                  <a:cubicBezTo>
                    <a:pt x="148" y="615"/>
                    <a:pt x="148" y="615"/>
                    <a:pt x="148" y="615"/>
                  </a:cubicBezTo>
                  <a:cubicBezTo>
                    <a:pt x="405" y="615"/>
                    <a:pt x="405" y="615"/>
                    <a:pt x="405" y="615"/>
                  </a:cubicBezTo>
                  <a:cubicBezTo>
                    <a:pt x="405" y="581"/>
                    <a:pt x="405" y="581"/>
                    <a:pt x="405" y="581"/>
                  </a:cubicBezTo>
                  <a:cubicBezTo>
                    <a:pt x="405" y="495"/>
                    <a:pt x="553" y="459"/>
                    <a:pt x="553" y="276"/>
                  </a:cubicBezTo>
                  <a:cubicBezTo>
                    <a:pt x="553" y="124"/>
                    <a:pt x="429" y="0"/>
                    <a:pt x="276" y="0"/>
                  </a:cubicBezTo>
                  <a:close/>
                </a:path>
              </a:pathLst>
            </a:custGeom>
            <a:grpFill/>
            <a:ln w="19050"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6"/>
            <p:cNvSpPr>
              <a:spLocks/>
            </p:cNvSpPr>
            <p:nvPr/>
          </p:nvSpPr>
          <p:spPr bwMode="auto">
            <a:xfrm>
              <a:off x="3530" y="2748"/>
              <a:ext cx="615" cy="398"/>
            </a:xfrm>
            <a:custGeom>
              <a:avLst/>
              <a:gdLst>
                <a:gd name="T0" fmla="*/ 0 w 258"/>
                <a:gd name="T1" fmla="*/ 86 h 167"/>
                <a:gd name="T2" fmla="*/ 0 w 258"/>
                <a:gd name="T3" fmla="*/ 86 h 167"/>
                <a:gd name="T4" fmla="*/ 14 w 258"/>
                <a:gd name="T5" fmla="*/ 114 h 167"/>
                <a:gd name="T6" fmla="*/ 51 w 258"/>
                <a:gd name="T7" fmla="*/ 133 h 167"/>
                <a:gd name="T8" fmla="*/ 65 w 258"/>
                <a:gd name="T9" fmla="*/ 137 h 167"/>
                <a:gd name="T10" fmla="*/ 99 w 258"/>
                <a:gd name="T11" fmla="*/ 167 h 167"/>
                <a:gd name="T12" fmla="*/ 160 w 258"/>
                <a:gd name="T13" fmla="*/ 167 h 167"/>
                <a:gd name="T14" fmla="*/ 194 w 258"/>
                <a:gd name="T15" fmla="*/ 136 h 167"/>
                <a:gd name="T16" fmla="*/ 221 w 258"/>
                <a:gd name="T17" fmla="*/ 127 h 167"/>
                <a:gd name="T18" fmla="*/ 245 w 258"/>
                <a:gd name="T19" fmla="*/ 114 h 167"/>
                <a:gd name="T20" fmla="*/ 258 w 258"/>
                <a:gd name="T21" fmla="*/ 86 h 167"/>
                <a:gd name="T22" fmla="*/ 258 w 258"/>
                <a:gd name="T23" fmla="*/ 0 h 167"/>
                <a:gd name="T24" fmla="*/ 0 w 258"/>
                <a:gd name="T25" fmla="*/ 0 h 167"/>
                <a:gd name="T26" fmla="*/ 0 w 258"/>
                <a:gd name="T27" fmla="*/ 86 h 167"/>
                <a:gd name="T28" fmla="*/ 0 w 258"/>
                <a:gd name="T29" fmla="*/ 86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167">
                  <a:moveTo>
                    <a:pt x="0" y="86"/>
                  </a:moveTo>
                  <a:cubicBezTo>
                    <a:pt x="0" y="86"/>
                    <a:pt x="0" y="86"/>
                    <a:pt x="0" y="86"/>
                  </a:cubicBezTo>
                  <a:cubicBezTo>
                    <a:pt x="0" y="98"/>
                    <a:pt x="7" y="108"/>
                    <a:pt x="14" y="114"/>
                  </a:cubicBezTo>
                  <a:cubicBezTo>
                    <a:pt x="25" y="124"/>
                    <a:pt x="39" y="129"/>
                    <a:pt x="51" y="133"/>
                  </a:cubicBezTo>
                  <a:cubicBezTo>
                    <a:pt x="56" y="135"/>
                    <a:pt x="61" y="136"/>
                    <a:pt x="65" y="137"/>
                  </a:cubicBezTo>
                  <a:cubicBezTo>
                    <a:pt x="67" y="154"/>
                    <a:pt x="81" y="167"/>
                    <a:pt x="99" y="167"/>
                  </a:cubicBezTo>
                  <a:cubicBezTo>
                    <a:pt x="160" y="167"/>
                    <a:pt x="160" y="167"/>
                    <a:pt x="160" y="167"/>
                  </a:cubicBezTo>
                  <a:cubicBezTo>
                    <a:pt x="178" y="167"/>
                    <a:pt x="193" y="154"/>
                    <a:pt x="194" y="136"/>
                  </a:cubicBezTo>
                  <a:cubicBezTo>
                    <a:pt x="202" y="134"/>
                    <a:pt x="212" y="131"/>
                    <a:pt x="221" y="127"/>
                  </a:cubicBezTo>
                  <a:cubicBezTo>
                    <a:pt x="229" y="124"/>
                    <a:pt x="238" y="120"/>
                    <a:pt x="245" y="114"/>
                  </a:cubicBezTo>
                  <a:cubicBezTo>
                    <a:pt x="252" y="108"/>
                    <a:pt x="258" y="98"/>
                    <a:pt x="258" y="86"/>
                  </a:cubicBezTo>
                  <a:cubicBezTo>
                    <a:pt x="258" y="0"/>
                    <a:pt x="258" y="0"/>
                    <a:pt x="258" y="0"/>
                  </a:cubicBezTo>
                  <a:cubicBezTo>
                    <a:pt x="0" y="0"/>
                    <a:pt x="0" y="0"/>
                    <a:pt x="0" y="0"/>
                  </a:cubicBezTo>
                  <a:cubicBezTo>
                    <a:pt x="0" y="86"/>
                    <a:pt x="0" y="86"/>
                    <a:pt x="0" y="86"/>
                  </a:cubicBezTo>
                  <a:cubicBezTo>
                    <a:pt x="0" y="86"/>
                    <a:pt x="0" y="86"/>
                    <a:pt x="0" y="86"/>
                  </a:cubicBezTo>
                  <a:close/>
                </a:path>
              </a:pathLst>
            </a:custGeom>
            <a:grpFill/>
            <a:ln w="19050"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 name="Group 4"/>
          <p:cNvGrpSpPr>
            <a:grpSpLocks noChangeAspect="1"/>
          </p:cNvGrpSpPr>
          <p:nvPr/>
        </p:nvGrpSpPr>
        <p:grpSpPr bwMode="auto">
          <a:xfrm>
            <a:off x="1189038" y="1714500"/>
            <a:ext cx="2092325" cy="3136900"/>
            <a:chOff x="3180" y="1170"/>
            <a:chExt cx="1318" cy="1976"/>
          </a:xfrm>
          <a:solidFill>
            <a:srgbClr val="009A44"/>
          </a:solidFill>
        </p:grpSpPr>
        <p:sp>
          <p:nvSpPr>
            <p:cNvPr id="8" name="Freeform 5"/>
            <p:cNvSpPr>
              <a:spLocks/>
            </p:cNvSpPr>
            <p:nvPr/>
          </p:nvSpPr>
          <p:spPr bwMode="auto">
            <a:xfrm>
              <a:off x="3180" y="1170"/>
              <a:ext cx="1318" cy="1462"/>
            </a:xfrm>
            <a:custGeom>
              <a:avLst/>
              <a:gdLst>
                <a:gd name="T0" fmla="*/ 276 w 553"/>
                <a:gd name="T1" fmla="*/ 0 h 615"/>
                <a:gd name="T2" fmla="*/ 276 w 553"/>
                <a:gd name="T3" fmla="*/ 0 h 615"/>
                <a:gd name="T4" fmla="*/ 0 w 553"/>
                <a:gd name="T5" fmla="*/ 276 h 615"/>
                <a:gd name="T6" fmla="*/ 148 w 553"/>
                <a:gd name="T7" fmla="*/ 581 h 615"/>
                <a:gd name="T8" fmla="*/ 148 w 553"/>
                <a:gd name="T9" fmla="*/ 615 h 615"/>
                <a:gd name="T10" fmla="*/ 405 w 553"/>
                <a:gd name="T11" fmla="*/ 615 h 615"/>
                <a:gd name="T12" fmla="*/ 405 w 553"/>
                <a:gd name="T13" fmla="*/ 581 h 615"/>
                <a:gd name="T14" fmla="*/ 553 w 553"/>
                <a:gd name="T15" fmla="*/ 276 h 615"/>
                <a:gd name="T16" fmla="*/ 276 w 553"/>
                <a:gd name="T17"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615">
                  <a:moveTo>
                    <a:pt x="276" y="0"/>
                  </a:moveTo>
                  <a:cubicBezTo>
                    <a:pt x="276" y="0"/>
                    <a:pt x="276" y="0"/>
                    <a:pt x="276" y="0"/>
                  </a:cubicBezTo>
                  <a:cubicBezTo>
                    <a:pt x="124" y="0"/>
                    <a:pt x="0" y="124"/>
                    <a:pt x="0" y="276"/>
                  </a:cubicBezTo>
                  <a:cubicBezTo>
                    <a:pt x="0" y="456"/>
                    <a:pt x="148" y="491"/>
                    <a:pt x="148" y="581"/>
                  </a:cubicBezTo>
                  <a:cubicBezTo>
                    <a:pt x="148" y="615"/>
                    <a:pt x="148" y="615"/>
                    <a:pt x="148" y="615"/>
                  </a:cubicBezTo>
                  <a:cubicBezTo>
                    <a:pt x="405" y="615"/>
                    <a:pt x="405" y="615"/>
                    <a:pt x="405" y="615"/>
                  </a:cubicBezTo>
                  <a:cubicBezTo>
                    <a:pt x="405" y="581"/>
                    <a:pt x="405" y="581"/>
                    <a:pt x="405" y="581"/>
                  </a:cubicBezTo>
                  <a:cubicBezTo>
                    <a:pt x="405" y="495"/>
                    <a:pt x="553" y="459"/>
                    <a:pt x="553" y="276"/>
                  </a:cubicBezTo>
                  <a:cubicBezTo>
                    <a:pt x="553" y="124"/>
                    <a:pt x="429" y="0"/>
                    <a:pt x="276" y="0"/>
                  </a:cubicBezTo>
                  <a:close/>
                </a:path>
              </a:pathLst>
            </a:custGeom>
            <a:grpFill/>
            <a:ln w="19050" cap="rnd">
              <a:solidFill>
                <a:srgbClr val="009A4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p:cNvSpPr>
            <p:nvPr/>
          </p:nvSpPr>
          <p:spPr bwMode="auto">
            <a:xfrm>
              <a:off x="3530" y="2748"/>
              <a:ext cx="615" cy="398"/>
            </a:xfrm>
            <a:custGeom>
              <a:avLst/>
              <a:gdLst>
                <a:gd name="T0" fmla="*/ 0 w 258"/>
                <a:gd name="T1" fmla="*/ 86 h 167"/>
                <a:gd name="T2" fmla="*/ 0 w 258"/>
                <a:gd name="T3" fmla="*/ 86 h 167"/>
                <a:gd name="T4" fmla="*/ 14 w 258"/>
                <a:gd name="T5" fmla="*/ 114 h 167"/>
                <a:gd name="T6" fmla="*/ 51 w 258"/>
                <a:gd name="T7" fmla="*/ 133 h 167"/>
                <a:gd name="T8" fmla="*/ 65 w 258"/>
                <a:gd name="T9" fmla="*/ 137 h 167"/>
                <a:gd name="T10" fmla="*/ 99 w 258"/>
                <a:gd name="T11" fmla="*/ 167 h 167"/>
                <a:gd name="T12" fmla="*/ 160 w 258"/>
                <a:gd name="T13" fmla="*/ 167 h 167"/>
                <a:gd name="T14" fmla="*/ 194 w 258"/>
                <a:gd name="T15" fmla="*/ 136 h 167"/>
                <a:gd name="T16" fmla="*/ 221 w 258"/>
                <a:gd name="T17" fmla="*/ 127 h 167"/>
                <a:gd name="T18" fmla="*/ 245 w 258"/>
                <a:gd name="T19" fmla="*/ 114 h 167"/>
                <a:gd name="T20" fmla="*/ 258 w 258"/>
                <a:gd name="T21" fmla="*/ 86 h 167"/>
                <a:gd name="T22" fmla="*/ 258 w 258"/>
                <a:gd name="T23" fmla="*/ 0 h 167"/>
                <a:gd name="T24" fmla="*/ 0 w 258"/>
                <a:gd name="T25" fmla="*/ 0 h 167"/>
                <a:gd name="T26" fmla="*/ 0 w 258"/>
                <a:gd name="T27" fmla="*/ 86 h 167"/>
                <a:gd name="T28" fmla="*/ 0 w 258"/>
                <a:gd name="T29" fmla="*/ 86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167">
                  <a:moveTo>
                    <a:pt x="0" y="86"/>
                  </a:moveTo>
                  <a:cubicBezTo>
                    <a:pt x="0" y="86"/>
                    <a:pt x="0" y="86"/>
                    <a:pt x="0" y="86"/>
                  </a:cubicBezTo>
                  <a:cubicBezTo>
                    <a:pt x="0" y="98"/>
                    <a:pt x="7" y="108"/>
                    <a:pt x="14" y="114"/>
                  </a:cubicBezTo>
                  <a:cubicBezTo>
                    <a:pt x="25" y="124"/>
                    <a:pt x="39" y="129"/>
                    <a:pt x="51" y="133"/>
                  </a:cubicBezTo>
                  <a:cubicBezTo>
                    <a:pt x="56" y="135"/>
                    <a:pt x="61" y="136"/>
                    <a:pt x="65" y="137"/>
                  </a:cubicBezTo>
                  <a:cubicBezTo>
                    <a:pt x="67" y="154"/>
                    <a:pt x="81" y="167"/>
                    <a:pt x="99" y="167"/>
                  </a:cubicBezTo>
                  <a:cubicBezTo>
                    <a:pt x="160" y="167"/>
                    <a:pt x="160" y="167"/>
                    <a:pt x="160" y="167"/>
                  </a:cubicBezTo>
                  <a:cubicBezTo>
                    <a:pt x="178" y="167"/>
                    <a:pt x="193" y="154"/>
                    <a:pt x="194" y="136"/>
                  </a:cubicBezTo>
                  <a:cubicBezTo>
                    <a:pt x="202" y="134"/>
                    <a:pt x="212" y="131"/>
                    <a:pt x="221" y="127"/>
                  </a:cubicBezTo>
                  <a:cubicBezTo>
                    <a:pt x="229" y="124"/>
                    <a:pt x="238" y="120"/>
                    <a:pt x="245" y="114"/>
                  </a:cubicBezTo>
                  <a:cubicBezTo>
                    <a:pt x="252" y="108"/>
                    <a:pt x="258" y="98"/>
                    <a:pt x="258" y="86"/>
                  </a:cubicBezTo>
                  <a:cubicBezTo>
                    <a:pt x="258" y="0"/>
                    <a:pt x="258" y="0"/>
                    <a:pt x="258" y="0"/>
                  </a:cubicBezTo>
                  <a:cubicBezTo>
                    <a:pt x="0" y="0"/>
                    <a:pt x="0" y="0"/>
                    <a:pt x="0" y="0"/>
                  </a:cubicBezTo>
                  <a:cubicBezTo>
                    <a:pt x="0" y="86"/>
                    <a:pt x="0" y="86"/>
                    <a:pt x="0" y="86"/>
                  </a:cubicBezTo>
                  <a:cubicBezTo>
                    <a:pt x="0" y="86"/>
                    <a:pt x="0" y="86"/>
                    <a:pt x="0" y="86"/>
                  </a:cubicBezTo>
                  <a:close/>
                </a:path>
              </a:pathLst>
            </a:custGeom>
            <a:grpFill/>
            <a:ln w="19050" cap="rnd">
              <a:solidFill>
                <a:srgbClr val="009A4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0" name="Group 69">
            <a:extLst>
              <a:ext uri="{FF2B5EF4-FFF2-40B4-BE49-F238E27FC236}">
                <a16:creationId xmlns:a16="http://schemas.microsoft.com/office/drawing/2014/main" id="{29A4ADEE-68BB-584B-AAEC-B96B7D32E1A3}"/>
              </a:ext>
            </a:extLst>
          </p:cNvPr>
          <p:cNvGrpSpPr/>
          <p:nvPr/>
        </p:nvGrpSpPr>
        <p:grpSpPr>
          <a:xfrm>
            <a:off x="1611707" y="2126320"/>
            <a:ext cx="1246987" cy="1246987"/>
            <a:chOff x="1926274" y="2597675"/>
            <a:chExt cx="1662649" cy="1662649"/>
          </a:xfrm>
          <a:solidFill>
            <a:schemeClr val="bg1"/>
          </a:solidFill>
        </p:grpSpPr>
        <p:sp>
          <p:nvSpPr>
            <p:cNvPr id="71" name="Freeform 267">
              <a:extLst>
                <a:ext uri="{FF2B5EF4-FFF2-40B4-BE49-F238E27FC236}">
                  <a16:creationId xmlns:a16="http://schemas.microsoft.com/office/drawing/2014/main" id="{977B7B3F-7D4C-3E45-A554-7C2C4CAAE850}"/>
                </a:ext>
              </a:extLst>
            </p:cNvPr>
            <p:cNvSpPr>
              <a:spLocks noEditPoints="1"/>
            </p:cNvSpPr>
            <p:nvPr/>
          </p:nvSpPr>
          <p:spPr bwMode="auto">
            <a:xfrm>
              <a:off x="1926274" y="2597675"/>
              <a:ext cx="1662649" cy="166264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25400" cap="rnd">
              <a:solidFill>
                <a:srgbClr val="009A44"/>
              </a:solid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sp>
          <p:nvSpPr>
            <p:cNvPr id="72" name="Freeform 268">
              <a:extLst>
                <a:ext uri="{FF2B5EF4-FFF2-40B4-BE49-F238E27FC236}">
                  <a16:creationId xmlns:a16="http://schemas.microsoft.com/office/drawing/2014/main" id="{FAB78C92-6968-BB47-A34D-5FA9BC20BF0C}"/>
                </a:ext>
              </a:extLst>
            </p:cNvPr>
            <p:cNvSpPr>
              <a:spLocks noEditPoints="1"/>
            </p:cNvSpPr>
            <p:nvPr/>
          </p:nvSpPr>
          <p:spPr bwMode="auto">
            <a:xfrm>
              <a:off x="2268584" y="3003557"/>
              <a:ext cx="958468" cy="767753"/>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grpFill/>
            <a:ln w="25400" cap="rnd">
              <a:solidFill>
                <a:srgbClr val="009A44"/>
              </a:solid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grpSp>
      <p:sp>
        <p:nvSpPr>
          <p:cNvPr id="73" name="Rectangle 72">
            <a:extLst>
              <a:ext uri="{FF2B5EF4-FFF2-40B4-BE49-F238E27FC236}">
                <a16:creationId xmlns:a16="http://schemas.microsoft.com/office/drawing/2014/main" id="{5E3DD2E3-1756-5542-9871-E2C8626B3942}"/>
              </a:ext>
            </a:extLst>
          </p:cNvPr>
          <p:cNvSpPr/>
          <p:nvPr/>
        </p:nvSpPr>
        <p:spPr>
          <a:xfrm>
            <a:off x="1839259" y="3478325"/>
            <a:ext cx="791883" cy="338554"/>
          </a:xfrm>
          <a:prstGeom prst="rect">
            <a:avLst/>
          </a:prstGeom>
        </p:spPr>
        <p:txBody>
          <a:bodyPr wrap="none" lIns="0" tIns="0" rIns="0" bIns="0">
            <a:spAutoFit/>
          </a:bodyPr>
          <a:lstStyle/>
          <a:p>
            <a:pPr algn="ctr" defTabSz="913686"/>
            <a:r>
              <a:rPr lang="en-GB" sz="1100" b="1" dirty="0">
                <a:solidFill>
                  <a:srgbClr val="FFFFFF"/>
                </a:solidFill>
              </a:rPr>
              <a:t>Lorem ipsum </a:t>
            </a:r>
          </a:p>
          <a:p>
            <a:pPr algn="ctr" defTabSz="913686"/>
            <a:r>
              <a:rPr lang="en-GB" sz="1100" b="1" dirty="0" err="1">
                <a:solidFill>
                  <a:srgbClr val="FFFFFF"/>
                </a:solidFill>
              </a:rPr>
              <a:t>dolor</a:t>
            </a:r>
            <a:r>
              <a:rPr lang="en-GB" sz="1100" b="1" dirty="0">
                <a:solidFill>
                  <a:srgbClr val="FFFFFF"/>
                </a:solidFill>
              </a:rPr>
              <a:t> </a:t>
            </a:r>
          </a:p>
        </p:txBody>
      </p:sp>
      <p:sp>
        <p:nvSpPr>
          <p:cNvPr id="74" name="Rectangle 73">
            <a:extLst>
              <a:ext uri="{FF2B5EF4-FFF2-40B4-BE49-F238E27FC236}">
                <a16:creationId xmlns:a16="http://schemas.microsoft.com/office/drawing/2014/main" id="{D3209E0A-2154-3E48-89A0-A29542BCB7CE}"/>
              </a:ext>
            </a:extLst>
          </p:cNvPr>
          <p:cNvSpPr/>
          <p:nvPr/>
        </p:nvSpPr>
        <p:spPr>
          <a:xfrm>
            <a:off x="5700059" y="3478325"/>
            <a:ext cx="791883" cy="338554"/>
          </a:xfrm>
          <a:prstGeom prst="rect">
            <a:avLst/>
          </a:prstGeom>
        </p:spPr>
        <p:txBody>
          <a:bodyPr wrap="none" lIns="0" tIns="0" rIns="0" bIns="0">
            <a:spAutoFit/>
          </a:bodyPr>
          <a:lstStyle/>
          <a:p>
            <a:pPr algn="ctr" defTabSz="913686"/>
            <a:r>
              <a:rPr lang="en-GB" sz="1100" b="1" dirty="0">
                <a:solidFill>
                  <a:srgbClr val="FFFFFF"/>
                </a:solidFill>
              </a:rPr>
              <a:t>Lorem ipsum </a:t>
            </a:r>
          </a:p>
          <a:p>
            <a:pPr algn="ctr" defTabSz="913686"/>
            <a:r>
              <a:rPr lang="en-GB" sz="1100" b="1" dirty="0" err="1">
                <a:solidFill>
                  <a:srgbClr val="FFFFFF"/>
                </a:solidFill>
              </a:rPr>
              <a:t>dolor</a:t>
            </a:r>
            <a:r>
              <a:rPr lang="en-GB" sz="1100" b="1" dirty="0">
                <a:solidFill>
                  <a:srgbClr val="FFFFFF"/>
                </a:solidFill>
              </a:rPr>
              <a:t> </a:t>
            </a:r>
          </a:p>
        </p:txBody>
      </p:sp>
      <p:sp>
        <p:nvSpPr>
          <p:cNvPr id="75" name="Rectangle 74">
            <a:extLst>
              <a:ext uri="{FF2B5EF4-FFF2-40B4-BE49-F238E27FC236}">
                <a16:creationId xmlns:a16="http://schemas.microsoft.com/office/drawing/2014/main" id="{78A6C2CE-5767-3C45-9B32-F3291399ECC6}"/>
              </a:ext>
            </a:extLst>
          </p:cNvPr>
          <p:cNvSpPr/>
          <p:nvPr/>
        </p:nvSpPr>
        <p:spPr>
          <a:xfrm>
            <a:off x="9560858" y="3478325"/>
            <a:ext cx="791883" cy="338554"/>
          </a:xfrm>
          <a:prstGeom prst="rect">
            <a:avLst/>
          </a:prstGeom>
        </p:spPr>
        <p:txBody>
          <a:bodyPr wrap="none" lIns="0" tIns="0" rIns="0" bIns="0">
            <a:spAutoFit/>
          </a:bodyPr>
          <a:lstStyle/>
          <a:p>
            <a:pPr algn="ctr" defTabSz="913686"/>
            <a:r>
              <a:rPr lang="en-GB" sz="1100" b="1" dirty="0">
                <a:solidFill>
                  <a:srgbClr val="FFFFFF"/>
                </a:solidFill>
              </a:rPr>
              <a:t>Lorem ipsum </a:t>
            </a:r>
          </a:p>
          <a:p>
            <a:pPr algn="ctr" defTabSz="913686"/>
            <a:r>
              <a:rPr lang="en-GB" sz="1100" b="1" dirty="0" err="1">
                <a:solidFill>
                  <a:srgbClr val="FFFFFF"/>
                </a:solidFill>
              </a:rPr>
              <a:t>dolor</a:t>
            </a:r>
            <a:r>
              <a:rPr lang="en-GB" sz="1100" b="1" dirty="0">
                <a:solidFill>
                  <a:srgbClr val="FFFFFF"/>
                </a:solidFill>
              </a:rPr>
              <a:t> </a:t>
            </a:r>
          </a:p>
        </p:txBody>
      </p:sp>
      <p:sp>
        <p:nvSpPr>
          <p:cNvPr id="76" name="Rectangle 75">
            <a:extLst>
              <a:ext uri="{FF2B5EF4-FFF2-40B4-BE49-F238E27FC236}">
                <a16:creationId xmlns:a16="http://schemas.microsoft.com/office/drawing/2014/main" id="{F082CBED-51FA-2849-ADB9-E4D4BFE7DCCD}"/>
              </a:ext>
            </a:extLst>
          </p:cNvPr>
          <p:cNvSpPr/>
          <p:nvPr/>
        </p:nvSpPr>
        <p:spPr>
          <a:xfrm>
            <a:off x="462512" y="5100410"/>
            <a:ext cx="3545377" cy="800219"/>
          </a:xfrm>
          <a:prstGeom prst="rect">
            <a:avLst/>
          </a:prstGeom>
        </p:spPr>
        <p:txBody>
          <a:bodyPr wrap="square" lIns="0" tIns="0" rIns="0" bIns="0">
            <a:spAutoFit/>
          </a:bodyPr>
          <a:lstStyle/>
          <a:p>
            <a:pPr defTabSz="913686"/>
            <a:r>
              <a:rPr lang="en-US" sz="1300" dirty="0">
                <a:solidFill>
                  <a:srgbClr val="000000"/>
                </a:solidFill>
              </a:rPr>
              <a:t>This is dummy text it is not here to be read. The is just text to show where you could insert text. The is just text to show where you could insert text. Please replace with your text content here.</a:t>
            </a:r>
          </a:p>
        </p:txBody>
      </p:sp>
      <p:grpSp>
        <p:nvGrpSpPr>
          <p:cNvPr id="77" name="Group 39">
            <a:extLst>
              <a:ext uri="{FF2B5EF4-FFF2-40B4-BE49-F238E27FC236}">
                <a16:creationId xmlns:a16="http://schemas.microsoft.com/office/drawing/2014/main" id="{F64A2BA0-4948-0D45-B080-0F6C423B652B}"/>
              </a:ext>
            </a:extLst>
          </p:cNvPr>
          <p:cNvGrpSpPr>
            <a:grpSpLocks noChangeAspect="1"/>
          </p:cNvGrpSpPr>
          <p:nvPr/>
        </p:nvGrpSpPr>
        <p:grpSpPr bwMode="auto">
          <a:xfrm>
            <a:off x="5471922" y="2126318"/>
            <a:ext cx="1248156" cy="1248156"/>
            <a:chOff x="3987" y="1509"/>
            <a:chExt cx="340" cy="340"/>
          </a:xfrm>
          <a:solidFill>
            <a:schemeClr val="bg1"/>
          </a:solidFill>
        </p:grpSpPr>
        <p:sp>
          <p:nvSpPr>
            <p:cNvPr id="78" name="Freeform 40">
              <a:extLst>
                <a:ext uri="{FF2B5EF4-FFF2-40B4-BE49-F238E27FC236}">
                  <a16:creationId xmlns:a16="http://schemas.microsoft.com/office/drawing/2014/main" id="{5703BAB2-6AD6-6046-A92F-3AF3128B10C2}"/>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25400" cap="rnd">
              <a:solidFill>
                <a:srgbClr val="43B02A"/>
              </a:solid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sp>
          <p:nvSpPr>
            <p:cNvPr id="79" name="Freeform 41">
              <a:extLst>
                <a:ext uri="{FF2B5EF4-FFF2-40B4-BE49-F238E27FC236}">
                  <a16:creationId xmlns:a16="http://schemas.microsoft.com/office/drawing/2014/main" id="{2B5632F4-39A6-3A4A-A72E-82124B44D10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w="25400" cap="rnd">
              <a:solidFill>
                <a:srgbClr val="43B02A"/>
              </a:solid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grpSp>
      <p:grpSp>
        <p:nvGrpSpPr>
          <p:cNvPr id="80" name="Group 235">
            <a:extLst>
              <a:ext uri="{FF2B5EF4-FFF2-40B4-BE49-F238E27FC236}">
                <a16:creationId xmlns:a16="http://schemas.microsoft.com/office/drawing/2014/main" id="{16658739-9889-5443-A6E0-9AECEA851DAB}"/>
              </a:ext>
            </a:extLst>
          </p:cNvPr>
          <p:cNvGrpSpPr>
            <a:grpSpLocks noChangeAspect="1"/>
          </p:cNvGrpSpPr>
          <p:nvPr/>
        </p:nvGrpSpPr>
        <p:grpSpPr bwMode="auto">
          <a:xfrm>
            <a:off x="9332721" y="2126318"/>
            <a:ext cx="1248156" cy="1248156"/>
            <a:chOff x="4264" y="792"/>
            <a:chExt cx="340" cy="340"/>
          </a:xfrm>
          <a:solidFill>
            <a:srgbClr val="FFFFFF"/>
          </a:solidFill>
        </p:grpSpPr>
        <p:sp>
          <p:nvSpPr>
            <p:cNvPr id="81" name="Freeform 236">
              <a:extLst>
                <a:ext uri="{FF2B5EF4-FFF2-40B4-BE49-F238E27FC236}">
                  <a16:creationId xmlns:a16="http://schemas.microsoft.com/office/drawing/2014/main" id="{8D1294E5-01F6-1B48-92F2-27FB5DA76209}"/>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25400" cap="rnd">
              <a:solidFill>
                <a:srgbClr val="000000"/>
              </a:solid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sp>
          <p:nvSpPr>
            <p:cNvPr id="82" name="Freeform 237">
              <a:extLst>
                <a:ext uri="{FF2B5EF4-FFF2-40B4-BE49-F238E27FC236}">
                  <a16:creationId xmlns:a16="http://schemas.microsoft.com/office/drawing/2014/main" id="{7C0D10DE-ACC8-FD49-AD29-E23B68C6C1FA}"/>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w="25400" cap="rnd">
              <a:solidFill>
                <a:srgbClr val="000000"/>
              </a:solid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sp>
          <p:nvSpPr>
            <p:cNvPr id="83" name="Freeform 238">
              <a:extLst>
                <a:ext uri="{FF2B5EF4-FFF2-40B4-BE49-F238E27FC236}">
                  <a16:creationId xmlns:a16="http://schemas.microsoft.com/office/drawing/2014/main" id="{85DB6877-93E5-A540-AE6A-1B13C8DC7948}"/>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w="25400" cap="rnd">
              <a:solidFill>
                <a:srgbClr val="000000"/>
              </a:solid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grpSp>
      <p:sp>
        <p:nvSpPr>
          <p:cNvPr id="84" name="Rectangle 83">
            <a:extLst>
              <a:ext uri="{FF2B5EF4-FFF2-40B4-BE49-F238E27FC236}">
                <a16:creationId xmlns:a16="http://schemas.microsoft.com/office/drawing/2014/main" id="{C42C376B-2CF3-D141-805E-CAE73773F05B}"/>
              </a:ext>
            </a:extLst>
          </p:cNvPr>
          <p:cNvSpPr/>
          <p:nvPr/>
        </p:nvSpPr>
        <p:spPr>
          <a:xfrm>
            <a:off x="4318000" y="5100410"/>
            <a:ext cx="3556000" cy="800219"/>
          </a:xfrm>
          <a:prstGeom prst="rect">
            <a:avLst/>
          </a:prstGeom>
        </p:spPr>
        <p:txBody>
          <a:bodyPr wrap="square" lIns="0" tIns="0" rIns="0" bIns="0">
            <a:spAutoFit/>
          </a:bodyPr>
          <a:lstStyle/>
          <a:p>
            <a:pPr defTabSz="913686"/>
            <a:r>
              <a:rPr lang="en-US" sz="1300" dirty="0">
                <a:solidFill>
                  <a:srgbClr val="000000"/>
                </a:solidFill>
              </a:rPr>
              <a:t>This is dummy text it is not here to be read. The is just text to show where you could insert text. The is just text to show where you could insert text. Please replace with your text content here.</a:t>
            </a:r>
          </a:p>
        </p:txBody>
      </p:sp>
      <p:sp>
        <p:nvSpPr>
          <p:cNvPr id="85" name="Rectangle 84">
            <a:extLst>
              <a:ext uri="{FF2B5EF4-FFF2-40B4-BE49-F238E27FC236}">
                <a16:creationId xmlns:a16="http://schemas.microsoft.com/office/drawing/2014/main" id="{A87DAA65-FDA7-654A-8589-BEB730AE9AFF}"/>
              </a:ext>
            </a:extLst>
          </p:cNvPr>
          <p:cNvSpPr/>
          <p:nvPr/>
        </p:nvSpPr>
        <p:spPr>
          <a:xfrm>
            <a:off x="8178800" y="5100410"/>
            <a:ext cx="3555999" cy="800219"/>
          </a:xfrm>
          <a:prstGeom prst="rect">
            <a:avLst/>
          </a:prstGeom>
        </p:spPr>
        <p:txBody>
          <a:bodyPr wrap="square" lIns="0" tIns="0" rIns="0" bIns="0">
            <a:spAutoFit/>
          </a:bodyPr>
          <a:lstStyle/>
          <a:p>
            <a:pPr defTabSz="913686"/>
            <a:r>
              <a:rPr lang="en-US" sz="1300" dirty="0">
                <a:solidFill>
                  <a:srgbClr val="000000"/>
                </a:solidFill>
              </a:rPr>
              <a:t>This is dummy text it is not here to be read. The is just text to show where you could insert text. The is just text to show where you could insert text. Please replace with your text content here.</a:t>
            </a:r>
          </a:p>
        </p:txBody>
      </p:sp>
      <p:cxnSp>
        <p:nvCxnSpPr>
          <p:cNvPr id="11" name="Straight Connector 10"/>
          <p:cNvCxnSpPr/>
          <p:nvPr/>
        </p:nvCxnSpPr>
        <p:spPr>
          <a:xfrm>
            <a:off x="457200" y="4997450"/>
            <a:ext cx="3556000" cy="0"/>
          </a:xfrm>
          <a:prstGeom prst="line">
            <a:avLst/>
          </a:prstGeom>
          <a:ln w="3810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318000" y="4997450"/>
            <a:ext cx="3556000" cy="0"/>
          </a:xfrm>
          <a:prstGeom prst="line">
            <a:avLst/>
          </a:prstGeom>
          <a:ln w="381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8178799" y="4997450"/>
            <a:ext cx="3556000" cy="0"/>
          </a:xfrm>
          <a:prstGeom prst="line">
            <a:avLst/>
          </a:prstGeom>
          <a:ln w="38100">
            <a:solidFill>
              <a:srgbClr val="75787B"/>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71660164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E4673061-0DCC-FF44-BC15-36499893F6A3}"/>
              </a:ext>
            </a:extLst>
          </p:cNvPr>
          <p:cNvSpPr/>
          <p:nvPr/>
        </p:nvSpPr>
        <p:spPr>
          <a:xfrm>
            <a:off x="1388422" y="2682295"/>
            <a:ext cx="2624779" cy="677108"/>
          </a:xfrm>
          <a:prstGeom prst="rect">
            <a:avLst/>
          </a:prstGeom>
        </p:spPr>
        <p:txBody>
          <a:bodyPr wrap="square" lIns="0" tIns="0" rIns="0" bIns="0">
            <a:spAutoFit/>
          </a:bodyPr>
          <a:lstStyle/>
          <a:p>
            <a:r>
              <a:rPr lang="en-US" sz="1100" b="1" dirty="0">
                <a:solidFill>
                  <a:srgbClr val="000000"/>
                </a:solidFill>
              </a:rPr>
              <a:t>Lorem ipsum </a:t>
            </a:r>
          </a:p>
          <a:p>
            <a:r>
              <a:rPr lang="en-US" sz="1100" dirty="0">
                <a:solidFill>
                  <a:srgbClr val="000000"/>
                </a:solidFill>
              </a:rPr>
              <a:t>This is dummy text it is not here to be read. The is just text to show where you could insert text.</a:t>
            </a:r>
            <a:endParaRPr lang="en-US" sz="1000" dirty="0">
              <a:solidFill>
                <a:srgbClr val="000000"/>
              </a:solidFill>
            </a:endParaRPr>
          </a:p>
        </p:txBody>
      </p:sp>
      <p:sp>
        <p:nvSpPr>
          <p:cNvPr id="57" name="TextBox 56">
            <a:extLst>
              <a:ext uri="{FF2B5EF4-FFF2-40B4-BE49-F238E27FC236}">
                <a16:creationId xmlns:a16="http://schemas.microsoft.com/office/drawing/2014/main" id="{47666E0F-CA29-684F-983B-621C31E3536E}"/>
              </a:ext>
            </a:extLst>
          </p:cNvPr>
          <p:cNvSpPr txBox="1"/>
          <p:nvPr/>
        </p:nvSpPr>
        <p:spPr>
          <a:xfrm>
            <a:off x="1388421" y="3726914"/>
            <a:ext cx="2624780" cy="2108269"/>
          </a:xfrm>
          <a:prstGeom prst="rect">
            <a:avLst/>
          </a:prstGeom>
          <a:noFill/>
        </p:spPr>
        <p:txBody>
          <a:bodyPr wrap="square" lIns="0" tIns="0" rIns="0" bIns="0" rtlCol="0">
            <a:spAutoFit/>
          </a:bodyPr>
          <a:lstStyle/>
          <a:p>
            <a:pPr>
              <a:buSzPct val="100000"/>
            </a:pPr>
            <a:r>
              <a:rPr lang="en-US" altLang="en-US" sz="1600" b="1" dirty="0">
                <a:solidFill>
                  <a:schemeClr val="accent2"/>
                </a:solidFill>
                <a:cs typeface="Segoe UI" panose="020B0502040204020203" pitchFamily="34" charset="0"/>
              </a:rPr>
              <a:t>Lorem ipsum</a:t>
            </a:r>
          </a:p>
          <a:p>
            <a:pPr marL="171450" indent="-171450" eaLnBrk="0" fontAlgn="base" hangingPunct="0">
              <a:buFont typeface="Arial" panose="020B0604020202020204" pitchFamily="34" charset="0"/>
              <a:buChar char="•"/>
            </a:pPr>
            <a:r>
              <a:rPr 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sz="1100" dirty="0">
                <a:solidFill>
                  <a:srgbClr val="000000"/>
                </a:solidFill>
                <a:cs typeface="Segoe UI" panose="020B0502040204020203" pitchFamily="34" charset="0"/>
              </a:rPr>
              <a:t>This is dummy text it is not here to be read. The is just text to show where you could insert text.</a:t>
            </a:r>
          </a:p>
        </p:txBody>
      </p:sp>
      <p:sp>
        <p:nvSpPr>
          <p:cNvPr id="58" name="TextBox 57">
            <a:extLst>
              <a:ext uri="{FF2B5EF4-FFF2-40B4-BE49-F238E27FC236}">
                <a16:creationId xmlns:a16="http://schemas.microsoft.com/office/drawing/2014/main" id="{4CB3C754-9E33-3842-974C-E961090B698A}"/>
              </a:ext>
            </a:extLst>
          </p:cNvPr>
          <p:cNvSpPr txBox="1"/>
          <p:nvPr/>
        </p:nvSpPr>
        <p:spPr>
          <a:xfrm>
            <a:off x="5249566" y="3726913"/>
            <a:ext cx="2624434" cy="2108269"/>
          </a:xfrm>
          <a:prstGeom prst="rect">
            <a:avLst/>
          </a:prstGeom>
          <a:noFill/>
        </p:spPr>
        <p:txBody>
          <a:bodyPr wrap="square" lIns="0" tIns="0" rIns="0" bIns="0" rtlCol="0">
            <a:spAutoFit/>
          </a:bodyPr>
          <a:lstStyle/>
          <a:p>
            <a:pPr>
              <a:buSzPct val="100000"/>
            </a:pPr>
            <a:r>
              <a:rPr lang="en-US" altLang="en-US" sz="1600" b="1" dirty="0">
                <a:solidFill>
                  <a:schemeClr val="bg2">
                    <a:lumMod val="50000"/>
                  </a:schemeClr>
                </a:solidFill>
                <a:cs typeface="Segoe UI" panose="020B0502040204020203" pitchFamily="34" charset="0"/>
              </a:rPr>
              <a:t>Lorem ipsum</a:t>
            </a:r>
          </a:p>
          <a:p>
            <a:pPr marL="171450" indent="-171450" eaLnBrk="0" fontAlgn="base" hangingPunct="0">
              <a:buFont typeface="Arial" panose="020B0604020202020204" pitchFamily="34" charset="0"/>
              <a:buChar char="•"/>
            </a:pPr>
            <a:r>
              <a:rPr 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alt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alt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alt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altLang="en-US" sz="1100" dirty="0">
                <a:solidFill>
                  <a:srgbClr val="000000"/>
                </a:solidFill>
                <a:cs typeface="Segoe UI" panose="020B0502040204020203" pitchFamily="34" charset="0"/>
              </a:rPr>
              <a:t>This is dummy text it is not here to be read. The is just text to show where you could insert text.</a:t>
            </a:r>
          </a:p>
        </p:txBody>
      </p:sp>
      <p:sp>
        <p:nvSpPr>
          <p:cNvPr id="59" name="TextBox 58">
            <a:extLst>
              <a:ext uri="{FF2B5EF4-FFF2-40B4-BE49-F238E27FC236}">
                <a16:creationId xmlns:a16="http://schemas.microsoft.com/office/drawing/2014/main" id="{45623FCC-20B3-8A49-81D9-8CFFBCC3285E}"/>
              </a:ext>
            </a:extLst>
          </p:cNvPr>
          <p:cNvSpPr txBox="1"/>
          <p:nvPr/>
        </p:nvSpPr>
        <p:spPr>
          <a:xfrm>
            <a:off x="9145512" y="3726915"/>
            <a:ext cx="2589288" cy="2108269"/>
          </a:xfrm>
          <a:prstGeom prst="rect">
            <a:avLst/>
          </a:prstGeom>
          <a:noFill/>
        </p:spPr>
        <p:txBody>
          <a:bodyPr wrap="square" lIns="0" tIns="0" rIns="0" bIns="0" rtlCol="0">
            <a:spAutoFit/>
          </a:bodyPr>
          <a:lstStyle/>
          <a:p>
            <a:pPr>
              <a:buSzPct val="100000"/>
            </a:pPr>
            <a:r>
              <a:rPr lang="en-US" altLang="en-US" sz="1600" b="1" dirty="0">
                <a:solidFill>
                  <a:schemeClr val="accent1"/>
                </a:solidFill>
                <a:cs typeface="Segoe UI" panose="020B0502040204020203" pitchFamily="34" charset="0"/>
              </a:rPr>
              <a:t>Lorem ipsum</a:t>
            </a:r>
          </a:p>
          <a:p>
            <a:pPr marL="171450" indent="-171450" eaLnBrk="0" fontAlgn="base" hangingPunct="0">
              <a:buFont typeface="Arial" panose="020B0604020202020204" pitchFamily="34" charset="0"/>
              <a:buChar char="•"/>
            </a:pPr>
            <a:r>
              <a:rPr 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alt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alt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alt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altLang="en-US" sz="1100" dirty="0">
                <a:solidFill>
                  <a:srgbClr val="000000"/>
                </a:solidFill>
                <a:cs typeface="Segoe UI" panose="020B0502040204020203" pitchFamily="34" charset="0"/>
              </a:rPr>
              <a:t>This is dummy text it is not here to be read. The is just text to show where you could insert text.</a:t>
            </a:r>
          </a:p>
        </p:txBody>
      </p:sp>
      <p:sp>
        <p:nvSpPr>
          <p:cNvPr id="60" name="Freeform 59">
            <a:extLst>
              <a:ext uri="{FF2B5EF4-FFF2-40B4-BE49-F238E27FC236}">
                <a16:creationId xmlns:a16="http://schemas.microsoft.com/office/drawing/2014/main" id="{A1C407FC-F4C0-B945-B923-2B7D11AF6D5A}"/>
              </a:ext>
            </a:extLst>
          </p:cNvPr>
          <p:cNvSpPr>
            <a:spLocks/>
          </p:cNvSpPr>
          <p:nvPr/>
        </p:nvSpPr>
        <p:spPr bwMode="auto">
          <a:xfrm rot="20334630" flipH="1">
            <a:off x="398669" y="1961235"/>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2" name="TextBox 61">
            <a:extLst>
              <a:ext uri="{FF2B5EF4-FFF2-40B4-BE49-F238E27FC236}">
                <a16:creationId xmlns:a16="http://schemas.microsoft.com/office/drawing/2014/main" id="{C0B56480-D87C-8145-A3FA-F4A59E0F7A79}"/>
              </a:ext>
            </a:extLst>
          </p:cNvPr>
          <p:cNvSpPr txBox="1"/>
          <p:nvPr/>
        </p:nvSpPr>
        <p:spPr>
          <a:xfrm>
            <a:off x="1813863" y="1757523"/>
            <a:ext cx="385737" cy="688256"/>
          </a:xfrm>
          <a:prstGeom prst="rect">
            <a:avLst/>
          </a:prstGeom>
          <a:noFill/>
        </p:spPr>
        <p:txBody>
          <a:bodyPr wrap="square" lIns="36000" tIns="36000" rIns="36000" bIns="36000" rtlCol="0" anchor="ctr">
            <a:spAutoFit/>
          </a:bodyPr>
          <a:lstStyle/>
          <a:p>
            <a:r>
              <a:rPr lang="en-US" sz="4000" b="1" dirty="0">
                <a:solidFill>
                  <a:schemeClr val="bg1"/>
                </a:solidFill>
              </a:rPr>
              <a:t>1</a:t>
            </a:r>
          </a:p>
        </p:txBody>
      </p:sp>
      <p:sp>
        <p:nvSpPr>
          <p:cNvPr id="63" name="Freeform 62">
            <a:extLst>
              <a:ext uri="{FF2B5EF4-FFF2-40B4-BE49-F238E27FC236}">
                <a16:creationId xmlns:a16="http://schemas.microsoft.com/office/drawing/2014/main" id="{50BE4C6A-4A6E-9644-8765-2C5D9F52F1F7}"/>
              </a:ext>
            </a:extLst>
          </p:cNvPr>
          <p:cNvSpPr>
            <a:spLocks/>
          </p:cNvSpPr>
          <p:nvPr/>
        </p:nvSpPr>
        <p:spPr bwMode="auto">
          <a:xfrm rot="20334630" flipH="1">
            <a:off x="4279005" y="1951710"/>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4" name="TextBox 63">
            <a:extLst>
              <a:ext uri="{FF2B5EF4-FFF2-40B4-BE49-F238E27FC236}">
                <a16:creationId xmlns:a16="http://schemas.microsoft.com/office/drawing/2014/main" id="{73B83227-D744-CF41-8638-2A464A63D870}"/>
              </a:ext>
            </a:extLst>
          </p:cNvPr>
          <p:cNvSpPr txBox="1"/>
          <p:nvPr/>
        </p:nvSpPr>
        <p:spPr>
          <a:xfrm>
            <a:off x="5694199" y="1747998"/>
            <a:ext cx="385737" cy="688256"/>
          </a:xfrm>
          <a:prstGeom prst="rect">
            <a:avLst/>
          </a:prstGeom>
          <a:noFill/>
        </p:spPr>
        <p:txBody>
          <a:bodyPr wrap="square" lIns="36000" tIns="36000" rIns="36000" bIns="36000" rtlCol="0" anchor="ctr">
            <a:spAutoFit/>
          </a:bodyPr>
          <a:lstStyle/>
          <a:p>
            <a:r>
              <a:rPr lang="en-US" sz="4000" b="1" dirty="0">
                <a:solidFill>
                  <a:schemeClr val="bg1"/>
                </a:solidFill>
              </a:rPr>
              <a:t>2</a:t>
            </a:r>
          </a:p>
        </p:txBody>
      </p:sp>
      <p:sp>
        <p:nvSpPr>
          <p:cNvPr id="66" name="Freeform 65">
            <a:extLst>
              <a:ext uri="{FF2B5EF4-FFF2-40B4-BE49-F238E27FC236}">
                <a16:creationId xmlns:a16="http://schemas.microsoft.com/office/drawing/2014/main" id="{A9ABCEEE-3266-C441-9FEB-35E4FAA9575F}"/>
              </a:ext>
            </a:extLst>
          </p:cNvPr>
          <p:cNvSpPr>
            <a:spLocks/>
          </p:cNvSpPr>
          <p:nvPr/>
        </p:nvSpPr>
        <p:spPr bwMode="auto">
          <a:xfrm rot="20334630" flipH="1">
            <a:off x="8138043" y="1970761"/>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7" name="TextBox 66">
            <a:extLst>
              <a:ext uri="{FF2B5EF4-FFF2-40B4-BE49-F238E27FC236}">
                <a16:creationId xmlns:a16="http://schemas.microsoft.com/office/drawing/2014/main" id="{1C4F0F43-3620-1B44-9B3D-BBBC42BAF3C9}"/>
              </a:ext>
            </a:extLst>
          </p:cNvPr>
          <p:cNvSpPr txBox="1"/>
          <p:nvPr/>
        </p:nvSpPr>
        <p:spPr>
          <a:xfrm>
            <a:off x="9553237" y="1767049"/>
            <a:ext cx="385737" cy="688256"/>
          </a:xfrm>
          <a:prstGeom prst="rect">
            <a:avLst/>
          </a:prstGeom>
          <a:noFill/>
        </p:spPr>
        <p:txBody>
          <a:bodyPr wrap="square" lIns="36000" tIns="36000" rIns="36000" bIns="36000" rtlCol="0" anchor="ctr">
            <a:spAutoFit/>
          </a:bodyPr>
          <a:lstStyle/>
          <a:p>
            <a:r>
              <a:rPr lang="en-US" sz="4000" b="1" dirty="0">
                <a:solidFill>
                  <a:schemeClr val="bg1"/>
                </a:solidFill>
              </a:rPr>
              <a:t>3</a:t>
            </a:r>
          </a:p>
        </p:txBody>
      </p:sp>
      <p:sp>
        <p:nvSpPr>
          <p:cNvPr id="69" name="Rectangle 68">
            <a:extLst>
              <a:ext uri="{FF2B5EF4-FFF2-40B4-BE49-F238E27FC236}">
                <a16:creationId xmlns:a16="http://schemas.microsoft.com/office/drawing/2014/main" id="{17F6E4FF-ED83-734F-960B-58D5D280E47C}"/>
              </a:ext>
            </a:extLst>
          </p:cNvPr>
          <p:cNvSpPr/>
          <p:nvPr/>
        </p:nvSpPr>
        <p:spPr>
          <a:xfrm>
            <a:off x="5249568" y="2665282"/>
            <a:ext cx="2624432" cy="677108"/>
          </a:xfrm>
          <a:prstGeom prst="rect">
            <a:avLst/>
          </a:prstGeom>
        </p:spPr>
        <p:txBody>
          <a:bodyPr wrap="square" lIns="0" tIns="0" rIns="0" bIns="0">
            <a:spAutoFit/>
          </a:bodyPr>
          <a:lstStyle/>
          <a:p>
            <a:r>
              <a:rPr lang="en-US" sz="1100" b="1" dirty="0">
                <a:solidFill>
                  <a:srgbClr val="000000"/>
                </a:solidFill>
              </a:rPr>
              <a:t>Lorem ipsum </a:t>
            </a:r>
          </a:p>
          <a:p>
            <a:r>
              <a:rPr lang="en-US" sz="1100" dirty="0">
                <a:solidFill>
                  <a:srgbClr val="000000"/>
                </a:solidFill>
              </a:rPr>
              <a:t>This is dummy text it is not here to be read. The is just text to show where you could insert text.</a:t>
            </a:r>
            <a:endParaRPr lang="en-US" sz="1000" dirty="0">
              <a:solidFill>
                <a:srgbClr val="000000"/>
              </a:solidFill>
            </a:endParaRPr>
          </a:p>
        </p:txBody>
      </p:sp>
      <p:sp>
        <p:nvSpPr>
          <p:cNvPr id="70" name="Rectangle 69">
            <a:extLst>
              <a:ext uri="{FF2B5EF4-FFF2-40B4-BE49-F238E27FC236}">
                <a16:creationId xmlns:a16="http://schemas.microsoft.com/office/drawing/2014/main" id="{9CBB027C-82D5-804B-863B-B3A06C16DA62}"/>
              </a:ext>
            </a:extLst>
          </p:cNvPr>
          <p:cNvSpPr/>
          <p:nvPr/>
        </p:nvSpPr>
        <p:spPr>
          <a:xfrm>
            <a:off x="9145512" y="2667320"/>
            <a:ext cx="2589288" cy="677108"/>
          </a:xfrm>
          <a:prstGeom prst="rect">
            <a:avLst/>
          </a:prstGeom>
        </p:spPr>
        <p:txBody>
          <a:bodyPr wrap="square" lIns="0" tIns="0" rIns="0" bIns="0">
            <a:spAutoFit/>
          </a:bodyPr>
          <a:lstStyle/>
          <a:p>
            <a:r>
              <a:rPr lang="en-US" sz="1100" b="1" dirty="0">
                <a:solidFill>
                  <a:srgbClr val="000000"/>
                </a:solidFill>
              </a:rPr>
              <a:t>Lorem ipsum </a:t>
            </a:r>
          </a:p>
          <a:p>
            <a:r>
              <a:rPr lang="en-US" sz="1100" dirty="0">
                <a:solidFill>
                  <a:srgbClr val="000000"/>
                </a:solidFill>
              </a:rPr>
              <a:t>This is dummy text it is not here to be read. The is just text to show where you could insert text.</a:t>
            </a:r>
            <a:endParaRPr lang="en-US" sz="1000" dirty="0">
              <a:solidFill>
                <a:srgbClr val="000000"/>
              </a:solidFill>
            </a:endParaRPr>
          </a:p>
        </p:txBody>
      </p:sp>
      <p:sp>
        <p:nvSpPr>
          <p:cNvPr id="71" name="Arc 70">
            <a:extLst>
              <a:ext uri="{FF2B5EF4-FFF2-40B4-BE49-F238E27FC236}">
                <a16:creationId xmlns:a16="http://schemas.microsoft.com/office/drawing/2014/main" id="{E50C8F51-87C2-3B4B-9972-0A74BE3231FF}"/>
              </a:ext>
            </a:extLst>
          </p:cNvPr>
          <p:cNvSpPr/>
          <p:nvPr/>
        </p:nvSpPr>
        <p:spPr>
          <a:xfrm rot="6739027">
            <a:off x="4855273" y="1671511"/>
            <a:ext cx="617932" cy="608660"/>
          </a:xfrm>
          <a:prstGeom prst="arc">
            <a:avLst>
              <a:gd name="adj1" fmla="val 15382243"/>
              <a:gd name="adj2" fmla="val 1177101"/>
            </a:avLst>
          </a:prstGeom>
          <a:solidFill>
            <a:srgbClr val="53565A"/>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2" name="Arc 71">
            <a:extLst>
              <a:ext uri="{FF2B5EF4-FFF2-40B4-BE49-F238E27FC236}">
                <a16:creationId xmlns:a16="http://schemas.microsoft.com/office/drawing/2014/main" id="{FD03E786-8874-3D40-A781-5CED8D9EAF21}"/>
              </a:ext>
            </a:extLst>
          </p:cNvPr>
          <p:cNvSpPr/>
          <p:nvPr/>
        </p:nvSpPr>
        <p:spPr>
          <a:xfrm rot="6739027">
            <a:off x="980233" y="1684211"/>
            <a:ext cx="617932" cy="608660"/>
          </a:xfrm>
          <a:prstGeom prst="arc">
            <a:avLst>
              <a:gd name="adj1" fmla="val 15382243"/>
              <a:gd name="adj2" fmla="val 1177101"/>
            </a:avLst>
          </a:prstGeom>
          <a:solidFill>
            <a:srgbClr val="43B02A"/>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3" name="Arc 72">
            <a:extLst>
              <a:ext uri="{FF2B5EF4-FFF2-40B4-BE49-F238E27FC236}">
                <a16:creationId xmlns:a16="http://schemas.microsoft.com/office/drawing/2014/main" id="{F9D03C20-CB3D-354D-B4DA-7DBF3AA40098}"/>
              </a:ext>
            </a:extLst>
          </p:cNvPr>
          <p:cNvSpPr/>
          <p:nvPr/>
        </p:nvSpPr>
        <p:spPr>
          <a:xfrm rot="6739027">
            <a:off x="8709550" y="1671660"/>
            <a:ext cx="617932" cy="608660"/>
          </a:xfrm>
          <a:prstGeom prst="arc">
            <a:avLst>
              <a:gd name="adj1" fmla="val 15382243"/>
              <a:gd name="adj2" fmla="val 1177101"/>
            </a:avLst>
          </a:prstGeom>
          <a:solidFill>
            <a:srgbClr val="86BC25"/>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4" name="Straight Arrow Connector 73">
            <a:extLst>
              <a:ext uri="{FF2B5EF4-FFF2-40B4-BE49-F238E27FC236}">
                <a16:creationId xmlns:a16="http://schemas.microsoft.com/office/drawing/2014/main" id="{7FCFA17D-F7A4-7E4C-BEF0-59992BE78D25}"/>
              </a:ext>
            </a:extLst>
          </p:cNvPr>
          <p:cNvCxnSpPr/>
          <p:nvPr/>
        </p:nvCxnSpPr>
        <p:spPr>
          <a:xfrm flipH="1">
            <a:off x="1222126" y="2543970"/>
            <a:ext cx="4732" cy="3237506"/>
          </a:xfrm>
          <a:prstGeom prst="straightConnector1">
            <a:avLst/>
          </a:prstGeom>
          <a:ln>
            <a:solidFill>
              <a:schemeClr val="accent3"/>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D11C47E3-DCF6-BB42-872A-F154F912F2B7}"/>
              </a:ext>
            </a:extLst>
          </p:cNvPr>
          <p:cNvCxnSpPr/>
          <p:nvPr/>
        </p:nvCxnSpPr>
        <p:spPr>
          <a:xfrm flipH="1">
            <a:off x="5109867" y="2543970"/>
            <a:ext cx="4732" cy="3237506"/>
          </a:xfrm>
          <a:prstGeom prst="straightConnector1">
            <a:avLst/>
          </a:prstGeom>
          <a:ln>
            <a:solidFill>
              <a:srgbClr val="000000"/>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07C14C6C-BAE5-EC4E-B979-C3B4BC7D4D4C}"/>
              </a:ext>
            </a:extLst>
          </p:cNvPr>
          <p:cNvCxnSpPr/>
          <p:nvPr/>
        </p:nvCxnSpPr>
        <p:spPr>
          <a:xfrm flipH="1">
            <a:off x="8981607" y="2543971"/>
            <a:ext cx="4732" cy="3237506"/>
          </a:xfrm>
          <a:prstGeom prst="straightConnector1">
            <a:avLst/>
          </a:prstGeom>
          <a:ln>
            <a:solidFill>
              <a:srgbClr val="43B02A"/>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nvGrpSpPr>
          <p:cNvPr id="24" name="Group 309">
            <a:extLst>
              <a:ext uri="{FF2B5EF4-FFF2-40B4-BE49-F238E27FC236}">
                <a16:creationId xmlns:a16="http://schemas.microsoft.com/office/drawing/2014/main" id="{3140EF27-6A05-4F3A-86C3-19CD3791ECEE}"/>
              </a:ext>
            </a:extLst>
          </p:cNvPr>
          <p:cNvGrpSpPr>
            <a:grpSpLocks noChangeAspect="1"/>
          </p:cNvGrpSpPr>
          <p:nvPr/>
        </p:nvGrpSpPr>
        <p:grpSpPr bwMode="auto">
          <a:xfrm>
            <a:off x="567722" y="2306375"/>
            <a:ext cx="519175" cy="517653"/>
            <a:chOff x="6585" y="1193"/>
            <a:chExt cx="341" cy="340"/>
          </a:xfrm>
          <a:solidFill>
            <a:schemeClr val="bg1"/>
          </a:solidFill>
        </p:grpSpPr>
        <p:sp>
          <p:nvSpPr>
            <p:cNvPr id="25" name="Freeform 310">
              <a:extLst>
                <a:ext uri="{FF2B5EF4-FFF2-40B4-BE49-F238E27FC236}">
                  <a16:creationId xmlns:a16="http://schemas.microsoft.com/office/drawing/2014/main" id="{70ED2DE4-C75D-4E44-82FA-3C734D468564}"/>
                </a:ext>
              </a:extLst>
            </p:cNvPr>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311">
              <a:extLst>
                <a:ext uri="{FF2B5EF4-FFF2-40B4-BE49-F238E27FC236}">
                  <a16:creationId xmlns:a16="http://schemas.microsoft.com/office/drawing/2014/main" id="{6014DCA7-061D-4C54-B9DB-9E10A32D3FA0}"/>
                </a:ext>
              </a:extLst>
            </p:cNvPr>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7" name="Group 282">
            <a:extLst>
              <a:ext uri="{FF2B5EF4-FFF2-40B4-BE49-F238E27FC236}">
                <a16:creationId xmlns:a16="http://schemas.microsoft.com/office/drawing/2014/main" id="{90087901-1363-413F-8C70-11051D59AB99}"/>
              </a:ext>
            </a:extLst>
          </p:cNvPr>
          <p:cNvGrpSpPr>
            <a:grpSpLocks noChangeAspect="1"/>
          </p:cNvGrpSpPr>
          <p:nvPr/>
        </p:nvGrpSpPr>
        <p:grpSpPr bwMode="auto">
          <a:xfrm>
            <a:off x="8319513" y="2306376"/>
            <a:ext cx="525290" cy="526834"/>
            <a:chOff x="6580" y="788"/>
            <a:chExt cx="340" cy="341"/>
          </a:xfrm>
          <a:solidFill>
            <a:schemeClr val="bg1"/>
          </a:solidFill>
        </p:grpSpPr>
        <p:sp>
          <p:nvSpPr>
            <p:cNvPr id="28" name="Freeform 283">
              <a:extLst>
                <a:ext uri="{FF2B5EF4-FFF2-40B4-BE49-F238E27FC236}">
                  <a16:creationId xmlns:a16="http://schemas.microsoft.com/office/drawing/2014/main" id="{4C3A7C74-24A1-4B5A-9AD3-C0BDAF359FAB}"/>
                </a:ext>
              </a:extLst>
            </p:cNvPr>
            <p:cNvSpPr>
              <a:spLocks noEditPoints="1"/>
            </p:cNvSpPr>
            <p:nvPr/>
          </p:nvSpPr>
          <p:spPr bwMode="auto">
            <a:xfrm>
              <a:off x="6580" y="78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284">
              <a:extLst>
                <a:ext uri="{FF2B5EF4-FFF2-40B4-BE49-F238E27FC236}">
                  <a16:creationId xmlns:a16="http://schemas.microsoft.com/office/drawing/2014/main" id="{D3E4D7B3-C8AB-44B8-B0F5-B86B4AB4A427}"/>
                </a:ext>
              </a:extLst>
            </p:cNvPr>
            <p:cNvSpPr>
              <a:spLocks/>
            </p:cNvSpPr>
            <p:nvPr/>
          </p:nvSpPr>
          <p:spPr bwMode="auto">
            <a:xfrm>
              <a:off x="6743" y="892"/>
              <a:ext cx="25" cy="25"/>
            </a:xfrm>
            <a:custGeom>
              <a:avLst/>
              <a:gdLst>
                <a:gd name="T0" fmla="*/ 4 w 38"/>
                <a:gd name="T1" fmla="*/ 19 h 38"/>
                <a:gd name="T2" fmla="*/ 19 w 38"/>
                <a:gd name="T3" fmla="*/ 34 h 38"/>
                <a:gd name="T4" fmla="*/ 26 w 38"/>
                <a:gd name="T5" fmla="*/ 38 h 38"/>
                <a:gd name="T6" fmla="*/ 34 w 38"/>
                <a:gd name="T7" fmla="*/ 34 h 38"/>
                <a:gd name="T8" fmla="*/ 34 w 38"/>
                <a:gd name="T9" fmla="*/ 19 h 38"/>
                <a:gd name="T10" fmla="*/ 19 w 38"/>
                <a:gd name="T11" fmla="*/ 4 h 38"/>
                <a:gd name="T12" fmla="*/ 4 w 38"/>
                <a:gd name="T13" fmla="*/ 4 h 38"/>
                <a:gd name="T14" fmla="*/ 4 w 38"/>
                <a:gd name="T15" fmla="*/ 1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4" y="19"/>
                  </a:moveTo>
                  <a:cubicBezTo>
                    <a:pt x="19" y="34"/>
                    <a:pt x="19" y="34"/>
                    <a:pt x="19" y="34"/>
                  </a:cubicBezTo>
                  <a:cubicBezTo>
                    <a:pt x="21" y="37"/>
                    <a:pt x="24" y="38"/>
                    <a:pt x="26" y="38"/>
                  </a:cubicBezTo>
                  <a:cubicBezTo>
                    <a:pt x="29" y="38"/>
                    <a:pt x="32" y="37"/>
                    <a:pt x="34" y="34"/>
                  </a:cubicBezTo>
                  <a:cubicBezTo>
                    <a:pt x="38" y="30"/>
                    <a:pt x="38" y="24"/>
                    <a:pt x="34" y="19"/>
                  </a:cubicBezTo>
                  <a:cubicBezTo>
                    <a:pt x="19" y="4"/>
                    <a:pt x="19" y="4"/>
                    <a:pt x="19" y="4"/>
                  </a:cubicBezTo>
                  <a:cubicBezTo>
                    <a:pt x="15" y="0"/>
                    <a:pt x="8" y="0"/>
                    <a:pt x="4" y="4"/>
                  </a:cubicBezTo>
                  <a:cubicBezTo>
                    <a:pt x="0" y="8"/>
                    <a:pt x="0" y="15"/>
                    <a:pt x="4" y="1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285">
              <a:extLst>
                <a:ext uri="{FF2B5EF4-FFF2-40B4-BE49-F238E27FC236}">
                  <a16:creationId xmlns:a16="http://schemas.microsoft.com/office/drawing/2014/main" id="{A537E0FC-4462-4091-9557-B22A58EBAFFB}"/>
                </a:ext>
              </a:extLst>
            </p:cNvPr>
            <p:cNvSpPr>
              <a:spLocks noEditPoints="1"/>
            </p:cNvSpPr>
            <p:nvPr/>
          </p:nvSpPr>
          <p:spPr bwMode="auto">
            <a:xfrm>
              <a:off x="6806" y="978"/>
              <a:ext cx="43" cy="58"/>
            </a:xfrm>
            <a:custGeom>
              <a:avLst/>
              <a:gdLst>
                <a:gd name="T0" fmla="*/ 62 w 64"/>
                <a:gd name="T1" fmla="*/ 43 h 87"/>
                <a:gd name="T2" fmla="*/ 61 w 64"/>
                <a:gd name="T3" fmla="*/ 41 h 87"/>
                <a:gd name="T4" fmla="*/ 41 w 64"/>
                <a:gd name="T5" fmla="*/ 7 h 87"/>
                <a:gd name="T6" fmla="*/ 23 w 64"/>
                <a:gd name="T7" fmla="*/ 7 h 87"/>
                <a:gd name="T8" fmla="*/ 3 w 64"/>
                <a:gd name="T9" fmla="*/ 41 h 87"/>
                <a:gd name="T10" fmla="*/ 2 w 64"/>
                <a:gd name="T11" fmla="*/ 43 h 87"/>
                <a:gd name="T12" fmla="*/ 0 w 64"/>
                <a:gd name="T13" fmla="*/ 55 h 87"/>
                <a:gd name="T14" fmla="*/ 32 w 64"/>
                <a:gd name="T15" fmla="*/ 87 h 87"/>
                <a:gd name="T16" fmla="*/ 64 w 64"/>
                <a:gd name="T17" fmla="*/ 55 h 87"/>
                <a:gd name="T18" fmla="*/ 62 w 64"/>
                <a:gd name="T19" fmla="*/ 43 h 87"/>
                <a:gd name="T20" fmla="*/ 32 w 64"/>
                <a:gd name="T21" fmla="*/ 66 h 87"/>
                <a:gd name="T22" fmla="*/ 21 w 64"/>
                <a:gd name="T23" fmla="*/ 55 h 87"/>
                <a:gd name="T24" fmla="*/ 22 w 64"/>
                <a:gd name="T25" fmla="*/ 51 h 87"/>
                <a:gd name="T26" fmla="*/ 32 w 64"/>
                <a:gd name="T27" fmla="*/ 34 h 87"/>
                <a:gd name="T28" fmla="*/ 42 w 64"/>
                <a:gd name="T29" fmla="*/ 51 h 87"/>
                <a:gd name="T30" fmla="*/ 43 w 64"/>
                <a:gd name="T31" fmla="*/ 55 h 87"/>
                <a:gd name="T32" fmla="*/ 32 w 64"/>
                <a:gd name="T33" fmla="*/ 6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7">
                  <a:moveTo>
                    <a:pt x="62" y="43"/>
                  </a:moveTo>
                  <a:cubicBezTo>
                    <a:pt x="61" y="42"/>
                    <a:pt x="61" y="42"/>
                    <a:pt x="61" y="41"/>
                  </a:cubicBezTo>
                  <a:cubicBezTo>
                    <a:pt x="41" y="7"/>
                    <a:pt x="41" y="7"/>
                    <a:pt x="41" y="7"/>
                  </a:cubicBezTo>
                  <a:cubicBezTo>
                    <a:pt x="37" y="0"/>
                    <a:pt x="27" y="0"/>
                    <a:pt x="23" y="7"/>
                  </a:cubicBezTo>
                  <a:cubicBezTo>
                    <a:pt x="3" y="41"/>
                    <a:pt x="3" y="41"/>
                    <a:pt x="3" y="41"/>
                  </a:cubicBezTo>
                  <a:cubicBezTo>
                    <a:pt x="3" y="42"/>
                    <a:pt x="3" y="42"/>
                    <a:pt x="2" y="43"/>
                  </a:cubicBezTo>
                  <a:cubicBezTo>
                    <a:pt x="1" y="47"/>
                    <a:pt x="0" y="51"/>
                    <a:pt x="0" y="55"/>
                  </a:cubicBezTo>
                  <a:cubicBezTo>
                    <a:pt x="0" y="73"/>
                    <a:pt x="14" y="87"/>
                    <a:pt x="32" y="87"/>
                  </a:cubicBezTo>
                  <a:cubicBezTo>
                    <a:pt x="50" y="87"/>
                    <a:pt x="64" y="73"/>
                    <a:pt x="64" y="55"/>
                  </a:cubicBezTo>
                  <a:cubicBezTo>
                    <a:pt x="64" y="51"/>
                    <a:pt x="63" y="47"/>
                    <a:pt x="62" y="43"/>
                  </a:cubicBezTo>
                  <a:close/>
                  <a:moveTo>
                    <a:pt x="32" y="66"/>
                  </a:moveTo>
                  <a:cubicBezTo>
                    <a:pt x="26" y="66"/>
                    <a:pt x="21" y="61"/>
                    <a:pt x="21" y="55"/>
                  </a:cubicBezTo>
                  <a:cubicBezTo>
                    <a:pt x="21" y="54"/>
                    <a:pt x="22" y="53"/>
                    <a:pt x="22" y="51"/>
                  </a:cubicBezTo>
                  <a:cubicBezTo>
                    <a:pt x="32" y="34"/>
                    <a:pt x="32" y="34"/>
                    <a:pt x="32" y="34"/>
                  </a:cubicBezTo>
                  <a:cubicBezTo>
                    <a:pt x="42" y="51"/>
                    <a:pt x="42" y="51"/>
                    <a:pt x="42" y="51"/>
                  </a:cubicBezTo>
                  <a:cubicBezTo>
                    <a:pt x="42" y="53"/>
                    <a:pt x="43" y="54"/>
                    <a:pt x="43" y="55"/>
                  </a:cubicBezTo>
                  <a:cubicBezTo>
                    <a:pt x="43" y="61"/>
                    <a:pt x="38" y="66"/>
                    <a:pt x="32" y="6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286">
              <a:extLst>
                <a:ext uri="{FF2B5EF4-FFF2-40B4-BE49-F238E27FC236}">
                  <a16:creationId xmlns:a16="http://schemas.microsoft.com/office/drawing/2014/main" id="{D2A4930A-F117-479C-B65C-3CA08740DD79}"/>
                </a:ext>
              </a:extLst>
            </p:cNvPr>
            <p:cNvSpPr>
              <a:spLocks/>
            </p:cNvSpPr>
            <p:nvPr/>
          </p:nvSpPr>
          <p:spPr bwMode="auto">
            <a:xfrm>
              <a:off x="6700" y="923"/>
              <a:ext cx="71" cy="71"/>
            </a:xfrm>
            <a:custGeom>
              <a:avLst/>
              <a:gdLst>
                <a:gd name="T0" fmla="*/ 64 w 107"/>
                <a:gd name="T1" fmla="*/ 43 h 107"/>
                <a:gd name="T2" fmla="*/ 64 w 107"/>
                <a:gd name="T3" fmla="*/ 11 h 107"/>
                <a:gd name="T4" fmla="*/ 53 w 107"/>
                <a:gd name="T5" fmla="*/ 0 h 107"/>
                <a:gd name="T6" fmla="*/ 43 w 107"/>
                <a:gd name="T7" fmla="*/ 11 h 107"/>
                <a:gd name="T8" fmla="*/ 43 w 107"/>
                <a:gd name="T9" fmla="*/ 43 h 107"/>
                <a:gd name="T10" fmla="*/ 11 w 107"/>
                <a:gd name="T11" fmla="*/ 43 h 107"/>
                <a:gd name="T12" fmla="*/ 0 w 107"/>
                <a:gd name="T13" fmla="*/ 54 h 107"/>
                <a:gd name="T14" fmla="*/ 11 w 107"/>
                <a:gd name="T15" fmla="*/ 64 h 107"/>
                <a:gd name="T16" fmla="*/ 43 w 107"/>
                <a:gd name="T17" fmla="*/ 64 h 107"/>
                <a:gd name="T18" fmla="*/ 43 w 107"/>
                <a:gd name="T19" fmla="*/ 96 h 107"/>
                <a:gd name="T20" fmla="*/ 53 w 107"/>
                <a:gd name="T21" fmla="*/ 107 h 107"/>
                <a:gd name="T22" fmla="*/ 64 w 107"/>
                <a:gd name="T23" fmla="*/ 96 h 107"/>
                <a:gd name="T24" fmla="*/ 64 w 107"/>
                <a:gd name="T25" fmla="*/ 64 h 107"/>
                <a:gd name="T26" fmla="*/ 96 w 107"/>
                <a:gd name="T27" fmla="*/ 64 h 107"/>
                <a:gd name="T28" fmla="*/ 107 w 107"/>
                <a:gd name="T29" fmla="*/ 54 h 107"/>
                <a:gd name="T30" fmla="*/ 96 w 107"/>
                <a:gd name="T31" fmla="*/ 43 h 107"/>
                <a:gd name="T32" fmla="*/ 64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64" y="43"/>
                  </a:move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8"/>
                    <a:pt x="0" y="54"/>
                  </a:cubicBezTo>
                  <a:cubicBezTo>
                    <a:pt x="0" y="60"/>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60"/>
                    <a:pt x="107" y="54"/>
                  </a:cubicBezTo>
                  <a:cubicBezTo>
                    <a:pt x="107" y="48"/>
                    <a:pt x="102" y="43"/>
                    <a:pt x="96" y="43"/>
                  </a:cubicBezTo>
                  <a:lnTo>
                    <a:pt x="64" y="4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287">
              <a:extLst>
                <a:ext uri="{FF2B5EF4-FFF2-40B4-BE49-F238E27FC236}">
                  <a16:creationId xmlns:a16="http://schemas.microsoft.com/office/drawing/2014/main" id="{E1DD5CA9-ACAB-494A-B653-316D6AAD4DC9}"/>
                </a:ext>
              </a:extLst>
            </p:cNvPr>
            <p:cNvSpPr>
              <a:spLocks noEditPoints="1"/>
            </p:cNvSpPr>
            <p:nvPr/>
          </p:nvSpPr>
          <p:spPr bwMode="auto">
            <a:xfrm>
              <a:off x="6644" y="851"/>
              <a:ext cx="162" cy="200"/>
            </a:xfrm>
            <a:custGeom>
              <a:avLst/>
              <a:gdLst>
                <a:gd name="T0" fmla="*/ 245 w 245"/>
                <a:gd name="T1" fmla="*/ 86 h 300"/>
                <a:gd name="T2" fmla="*/ 242 w 245"/>
                <a:gd name="T3" fmla="*/ 78 h 300"/>
                <a:gd name="T4" fmla="*/ 168 w 245"/>
                <a:gd name="T5" fmla="*/ 4 h 300"/>
                <a:gd name="T6" fmla="*/ 153 w 245"/>
                <a:gd name="T7" fmla="*/ 4 h 300"/>
                <a:gd name="T8" fmla="*/ 3 w 245"/>
                <a:gd name="T9" fmla="*/ 154 h 300"/>
                <a:gd name="T10" fmla="*/ 0 w 245"/>
                <a:gd name="T11" fmla="*/ 162 h 300"/>
                <a:gd name="T12" fmla="*/ 3 w 245"/>
                <a:gd name="T13" fmla="*/ 169 h 300"/>
                <a:gd name="T14" fmla="*/ 130 w 245"/>
                <a:gd name="T15" fmla="*/ 297 h 300"/>
                <a:gd name="T16" fmla="*/ 138 w 245"/>
                <a:gd name="T17" fmla="*/ 300 h 300"/>
                <a:gd name="T18" fmla="*/ 145 w 245"/>
                <a:gd name="T19" fmla="*/ 297 h 300"/>
                <a:gd name="T20" fmla="*/ 242 w 245"/>
                <a:gd name="T21" fmla="*/ 200 h 300"/>
                <a:gd name="T22" fmla="*/ 245 w 245"/>
                <a:gd name="T23" fmla="*/ 193 h 300"/>
                <a:gd name="T24" fmla="*/ 245 w 245"/>
                <a:gd name="T25" fmla="*/ 86 h 300"/>
                <a:gd name="T26" fmla="*/ 224 w 245"/>
                <a:gd name="T27" fmla="*/ 188 h 300"/>
                <a:gd name="T28" fmla="*/ 138 w 245"/>
                <a:gd name="T29" fmla="*/ 274 h 300"/>
                <a:gd name="T30" fmla="*/ 25 w 245"/>
                <a:gd name="T31" fmla="*/ 162 h 300"/>
                <a:gd name="T32" fmla="*/ 160 w 245"/>
                <a:gd name="T33" fmla="*/ 27 h 300"/>
                <a:gd name="T34" fmla="*/ 224 w 245"/>
                <a:gd name="T35" fmla="*/ 90 h 300"/>
                <a:gd name="T36" fmla="*/ 224 w 245"/>
                <a:gd name="T37" fmla="*/ 18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5" h="300">
                  <a:moveTo>
                    <a:pt x="245" y="86"/>
                  </a:moveTo>
                  <a:cubicBezTo>
                    <a:pt x="245" y="83"/>
                    <a:pt x="244" y="80"/>
                    <a:pt x="242" y="78"/>
                  </a:cubicBezTo>
                  <a:cubicBezTo>
                    <a:pt x="168" y="4"/>
                    <a:pt x="168" y="4"/>
                    <a:pt x="168" y="4"/>
                  </a:cubicBezTo>
                  <a:cubicBezTo>
                    <a:pt x="164" y="0"/>
                    <a:pt x="157" y="0"/>
                    <a:pt x="153" y="4"/>
                  </a:cubicBezTo>
                  <a:cubicBezTo>
                    <a:pt x="3" y="154"/>
                    <a:pt x="3" y="154"/>
                    <a:pt x="3" y="154"/>
                  </a:cubicBezTo>
                  <a:cubicBezTo>
                    <a:pt x="1" y="156"/>
                    <a:pt x="0" y="159"/>
                    <a:pt x="0" y="162"/>
                  </a:cubicBezTo>
                  <a:cubicBezTo>
                    <a:pt x="0" y="165"/>
                    <a:pt x="1" y="167"/>
                    <a:pt x="3" y="169"/>
                  </a:cubicBezTo>
                  <a:cubicBezTo>
                    <a:pt x="130" y="297"/>
                    <a:pt x="130" y="297"/>
                    <a:pt x="130" y="297"/>
                  </a:cubicBezTo>
                  <a:cubicBezTo>
                    <a:pt x="132" y="299"/>
                    <a:pt x="135" y="300"/>
                    <a:pt x="138" y="300"/>
                  </a:cubicBezTo>
                  <a:cubicBezTo>
                    <a:pt x="141" y="300"/>
                    <a:pt x="143" y="299"/>
                    <a:pt x="145" y="297"/>
                  </a:cubicBezTo>
                  <a:cubicBezTo>
                    <a:pt x="242" y="200"/>
                    <a:pt x="242" y="200"/>
                    <a:pt x="242" y="200"/>
                  </a:cubicBezTo>
                  <a:cubicBezTo>
                    <a:pt x="244" y="198"/>
                    <a:pt x="245" y="196"/>
                    <a:pt x="245" y="193"/>
                  </a:cubicBezTo>
                  <a:lnTo>
                    <a:pt x="245" y="86"/>
                  </a:lnTo>
                  <a:close/>
                  <a:moveTo>
                    <a:pt x="224" y="188"/>
                  </a:moveTo>
                  <a:cubicBezTo>
                    <a:pt x="138" y="274"/>
                    <a:pt x="138" y="274"/>
                    <a:pt x="138" y="274"/>
                  </a:cubicBezTo>
                  <a:cubicBezTo>
                    <a:pt x="25" y="162"/>
                    <a:pt x="25" y="162"/>
                    <a:pt x="25" y="162"/>
                  </a:cubicBezTo>
                  <a:cubicBezTo>
                    <a:pt x="160" y="27"/>
                    <a:pt x="160" y="27"/>
                    <a:pt x="160" y="27"/>
                  </a:cubicBezTo>
                  <a:cubicBezTo>
                    <a:pt x="224" y="90"/>
                    <a:pt x="224" y="90"/>
                    <a:pt x="224" y="90"/>
                  </a:cubicBezTo>
                  <a:lnTo>
                    <a:pt x="224" y="18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288">
              <a:extLst>
                <a:ext uri="{FF2B5EF4-FFF2-40B4-BE49-F238E27FC236}">
                  <a16:creationId xmlns:a16="http://schemas.microsoft.com/office/drawing/2014/main" id="{9C213ED2-0583-4EEB-B56C-BD3A1C815B9D}"/>
                </a:ext>
              </a:extLst>
            </p:cNvPr>
            <p:cNvSpPr>
              <a:spLocks/>
            </p:cNvSpPr>
            <p:nvPr/>
          </p:nvSpPr>
          <p:spPr bwMode="auto">
            <a:xfrm>
              <a:off x="6820" y="923"/>
              <a:ext cx="15" cy="42"/>
            </a:xfrm>
            <a:custGeom>
              <a:avLst/>
              <a:gdLst>
                <a:gd name="T0" fmla="*/ 11 w 22"/>
                <a:gd name="T1" fmla="*/ 64 h 64"/>
                <a:gd name="T2" fmla="*/ 22 w 22"/>
                <a:gd name="T3" fmla="*/ 54 h 64"/>
                <a:gd name="T4" fmla="*/ 22 w 22"/>
                <a:gd name="T5" fmla="*/ 11 h 64"/>
                <a:gd name="T6" fmla="*/ 11 w 22"/>
                <a:gd name="T7" fmla="*/ 0 h 64"/>
                <a:gd name="T8" fmla="*/ 0 w 22"/>
                <a:gd name="T9" fmla="*/ 11 h 64"/>
                <a:gd name="T10" fmla="*/ 0 w 22"/>
                <a:gd name="T11" fmla="*/ 54 h 64"/>
                <a:gd name="T12" fmla="*/ 11 w 22"/>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22" h="64">
                  <a:moveTo>
                    <a:pt x="11" y="64"/>
                  </a:moveTo>
                  <a:cubicBezTo>
                    <a:pt x="17" y="64"/>
                    <a:pt x="22" y="60"/>
                    <a:pt x="22" y="54"/>
                  </a:cubicBezTo>
                  <a:cubicBezTo>
                    <a:pt x="22" y="11"/>
                    <a:pt x="22" y="11"/>
                    <a:pt x="22" y="11"/>
                  </a:cubicBezTo>
                  <a:cubicBezTo>
                    <a:pt x="22" y="5"/>
                    <a:pt x="17" y="0"/>
                    <a:pt x="11" y="0"/>
                  </a:cubicBezTo>
                  <a:cubicBezTo>
                    <a:pt x="5" y="0"/>
                    <a:pt x="0" y="5"/>
                    <a:pt x="0" y="11"/>
                  </a:cubicBezTo>
                  <a:cubicBezTo>
                    <a:pt x="0" y="54"/>
                    <a:pt x="0" y="54"/>
                    <a:pt x="0" y="54"/>
                  </a:cubicBezTo>
                  <a:cubicBezTo>
                    <a:pt x="0" y="60"/>
                    <a:pt x="5" y="64"/>
                    <a:pt x="11" y="6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4" name="Group 597">
            <a:extLst>
              <a:ext uri="{FF2B5EF4-FFF2-40B4-BE49-F238E27FC236}">
                <a16:creationId xmlns:a16="http://schemas.microsoft.com/office/drawing/2014/main" id="{0CB276D8-A476-49C1-9166-5BAF2C9578F5}"/>
              </a:ext>
            </a:extLst>
          </p:cNvPr>
          <p:cNvGrpSpPr>
            <a:grpSpLocks noChangeAspect="1"/>
          </p:cNvGrpSpPr>
          <p:nvPr/>
        </p:nvGrpSpPr>
        <p:grpSpPr bwMode="auto">
          <a:xfrm>
            <a:off x="4442611" y="2291860"/>
            <a:ext cx="522740" cy="521208"/>
            <a:chOff x="2745" y="2621"/>
            <a:chExt cx="341" cy="340"/>
          </a:xfrm>
          <a:solidFill>
            <a:schemeClr val="bg1"/>
          </a:solidFill>
        </p:grpSpPr>
        <p:sp>
          <p:nvSpPr>
            <p:cNvPr id="35" name="Freeform 598">
              <a:extLst>
                <a:ext uri="{FF2B5EF4-FFF2-40B4-BE49-F238E27FC236}">
                  <a16:creationId xmlns:a16="http://schemas.microsoft.com/office/drawing/2014/main" id="{08428DC8-4AE2-4EDE-B536-BA3CEC0C4822}"/>
                </a:ext>
              </a:extLst>
            </p:cNvPr>
            <p:cNvSpPr>
              <a:spLocks noEditPoints="1"/>
            </p:cNvSpPr>
            <p:nvPr/>
          </p:nvSpPr>
          <p:spPr bwMode="auto">
            <a:xfrm>
              <a:off x="2824" y="2700"/>
              <a:ext cx="183" cy="181"/>
            </a:xfrm>
            <a:custGeom>
              <a:avLst/>
              <a:gdLst>
                <a:gd name="T0" fmla="*/ 137 w 274"/>
                <a:gd name="T1" fmla="*/ 197 h 273"/>
                <a:gd name="T2" fmla="*/ 137 w 274"/>
                <a:gd name="T3" fmla="*/ 212 h 273"/>
                <a:gd name="T4" fmla="*/ 91 w 274"/>
                <a:gd name="T5" fmla="*/ 257 h 273"/>
                <a:gd name="T6" fmla="*/ 55 w 274"/>
                <a:gd name="T7" fmla="*/ 273 h 273"/>
                <a:gd name="T8" fmla="*/ 53 w 274"/>
                <a:gd name="T9" fmla="*/ 273 h 273"/>
                <a:gd name="T10" fmla="*/ 16 w 274"/>
                <a:gd name="T11" fmla="*/ 257 h 273"/>
                <a:gd name="T12" fmla="*/ 0 w 274"/>
                <a:gd name="T13" fmla="*/ 219 h 273"/>
                <a:gd name="T14" fmla="*/ 16 w 274"/>
                <a:gd name="T15" fmla="*/ 182 h 273"/>
                <a:gd name="T16" fmla="*/ 84 w 274"/>
                <a:gd name="T17" fmla="*/ 114 h 273"/>
                <a:gd name="T18" fmla="*/ 120 w 274"/>
                <a:gd name="T19" fmla="*/ 98 h 273"/>
                <a:gd name="T20" fmla="*/ 159 w 274"/>
                <a:gd name="T21" fmla="*/ 114 h 273"/>
                <a:gd name="T22" fmla="*/ 159 w 274"/>
                <a:gd name="T23" fmla="*/ 129 h 273"/>
                <a:gd name="T24" fmla="*/ 144 w 274"/>
                <a:gd name="T25" fmla="*/ 129 h 273"/>
                <a:gd name="T26" fmla="*/ 121 w 274"/>
                <a:gd name="T27" fmla="*/ 119 h 273"/>
                <a:gd name="T28" fmla="*/ 99 w 274"/>
                <a:gd name="T29" fmla="*/ 129 h 273"/>
                <a:gd name="T30" fmla="*/ 31 w 274"/>
                <a:gd name="T31" fmla="*/ 197 h 273"/>
                <a:gd name="T32" fmla="*/ 21 w 274"/>
                <a:gd name="T33" fmla="*/ 219 h 273"/>
                <a:gd name="T34" fmla="*/ 31 w 274"/>
                <a:gd name="T35" fmla="*/ 242 h 273"/>
                <a:gd name="T36" fmla="*/ 54 w 274"/>
                <a:gd name="T37" fmla="*/ 252 h 273"/>
                <a:gd name="T38" fmla="*/ 76 w 274"/>
                <a:gd name="T39" fmla="*/ 242 h 273"/>
                <a:gd name="T40" fmla="*/ 122 w 274"/>
                <a:gd name="T41" fmla="*/ 197 h 273"/>
                <a:gd name="T42" fmla="*/ 137 w 274"/>
                <a:gd name="T43" fmla="*/ 197 h 273"/>
                <a:gd name="T44" fmla="*/ 257 w 274"/>
                <a:gd name="T45" fmla="*/ 16 h 273"/>
                <a:gd name="T46" fmla="*/ 219 w 274"/>
                <a:gd name="T47" fmla="*/ 0 h 273"/>
                <a:gd name="T48" fmla="*/ 182 w 274"/>
                <a:gd name="T49" fmla="*/ 16 h 273"/>
                <a:gd name="T50" fmla="*/ 137 w 274"/>
                <a:gd name="T51" fmla="*/ 61 h 273"/>
                <a:gd name="T52" fmla="*/ 137 w 274"/>
                <a:gd name="T53" fmla="*/ 76 h 273"/>
                <a:gd name="T54" fmla="*/ 152 w 274"/>
                <a:gd name="T55" fmla="*/ 76 h 273"/>
                <a:gd name="T56" fmla="*/ 197 w 274"/>
                <a:gd name="T57" fmla="*/ 31 h 273"/>
                <a:gd name="T58" fmla="*/ 219 w 274"/>
                <a:gd name="T59" fmla="*/ 21 h 273"/>
                <a:gd name="T60" fmla="*/ 242 w 274"/>
                <a:gd name="T61" fmla="*/ 31 h 273"/>
                <a:gd name="T62" fmla="*/ 252 w 274"/>
                <a:gd name="T63" fmla="*/ 54 h 273"/>
                <a:gd name="T64" fmla="*/ 242 w 274"/>
                <a:gd name="T65" fmla="*/ 76 h 273"/>
                <a:gd name="T66" fmla="*/ 174 w 274"/>
                <a:gd name="T67" fmla="*/ 144 h 273"/>
                <a:gd name="T68" fmla="*/ 152 w 274"/>
                <a:gd name="T69" fmla="*/ 154 h 273"/>
                <a:gd name="T70" fmla="*/ 129 w 274"/>
                <a:gd name="T71" fmla="*/ 144 h 273"/>
                <a:gd name="T72" fmla="*/ 114 w 274"/>
                <a:gd name="T73" fmla="*/ 144 h 273"/>
                <a:gd name="T74" fmla="*/ 114 w 274"/>
                <a:gd name="T75" fmla="*/ 159 h 273"/>
                <a:gd name="T76" fmla="*/ 152 w 274"/>
                <a:gd name="T77" fmla="*/ 175 h 273"/>
                <a:gd name="T78" fmla="*/ 153 w 274"/>
                <a:gd name="T79" fmla="*/ 175 h 273"/>
                <a:gd name="T80" fmla="*/ 189 w 274"/>
                <a:gd name="T81" fmla="*/ 159 h 273"/>
                <a:gd name="T82" fmla="*/ 257 w 274"/>
                <a:gd name="T83" fmla="*/ 91 h 273"/>
                <a:gd name="T84" fmla="*/ 273 w 274"/>
                <a:gd name="T85" fmla="*/ 55 h 273"/>
                <a:gd name="T86" fmla="*/ 257 w 274"/>
                <a:gd name="T87" fmla="*/ 1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 h="273">
                  <a:moveTo>
                    <a:pt x="137" y="197"/>
                  </a:moveTo>
                  <a:cubicBezTo>
                    <a:pt x="141" y="201"/>
                    <a:pt x="141" y="208"/>
                    <a:pt x="137" y="212"/>
                  </a:cubicBezTo>
                  <a:cubicBezTo>
                    <a:pt x="91" y="257"/>
                    <a:pt x="91" y="257"/>
                    <a:pt x="91" y="257"/>
                  </a:cubicBezTo>
                  <a:cubicBezTo>
                    <a:pt x="81" y="267"/>
                    <a:pt x="68" y="273"/>
                    <a:pt x="55" y="273"/>
                  </a:cubicBezTo>
                  <a:cubicBezTo>
                    <a:pt x="54" y="273"/>
                    <a:pt x="54" y="273"/>
                    <a:pt x="53" y="273"/>
                  </a:cubicBezTo>
                  <a:cubicBezTo>
                    <a:pt x="40" y="273"/>
                    <a:pt x="26" y="268"/>
                    <a:pt x="16" y="257"/>
                  </a:cubicBezTo>
                  <a:cubicBezTo>
                    <a:pt x="5" y="247"/>
                    <a:pt x="0" y="233"/>
                    <a:pt x="0" y="219"/>
                  </a:cubicBezTo>
                  <a:cubicBezTo>
                    <a:pt x="0" y="205"/>
                    <a:pt x="6" y="192"/>
                    <a:pt x="16" y="182"/>
                  </a:cubicBezTo>
                  <a:cubicBezTo>
                    <a:pt x="84" y="114"/>
                    <a:pt x="84" y="114"/>
                    <a:pt x="84" y="114"/>
                  </a:cubicBezTo>
                  <a:cubicBezTo>
                    <a:pt x="94" y="104"/>
                    <a:pt x="107" y="98"/>
                    <a:pt x="120" y="98"/>
                  </a:cubicBezTo>
                  <a:cubicBezTo>
                    <a:pt x="135" y="98"/>
                    <a:pt x="149" y="103"/>
                    <a:pt x="159" y="114"/>
                  </a:cubicBezTo>
                  <a:cubicBezTo>
                    <a:pt x="163" y="118"/>
                    <a:pt x="163" y="125"/>
                    <a:pt x="159" y="129"/>
                  </a:cubicBezTo>
                  <a:cubicBezTo>
                    <a:pt x="155" y="133"/>
                    <a:pt x="148" y="133"/>
                    <a:pt x="144" y="129"/>
                  </a:cubicBezTo>
                  <a:cubicBezTo>
                    <a:pt x="138" y="123"/>
                    <a:pt x="130" y="119"/>
                    <a:pt x="121" y="119"/>
                  </a:cubicBezTo>
                  <a:cubicBezTo>
                    <a:pt x="113" y="120"/>
                    <a:pt x="105" y="123"/>
                    <a:pt x="99" y="129"/>
                  </a:cubicBezTo>
                  <a:cubicBezTo>
                    <a:pt x="31" y="197"/>
                    <a:pt x="31" y="197"/>
                    <a:pt x="31" y="197"/>
                  </a:cubicBezTo>
                  <a:cubicBezTo>
                    <a:pt x="25" y="203"/>
                    <a:pt x="22" y="211"/>
                    <a:pt x="21" y="219"/>
                  </a:cubicBezTo>
                  <a:cubicBezTo>
                    <a:pt x="21" y="228"/>
                    <a:pt x="24" y="236"/>
                    <a:pt x="31" y="242"/>
                  </a:cubicBezTo>
                  <a:cubicBezTo>
                    <a:pt x="38" y="249"/>
                    <a:pt x="46" y="252"/>
                    <a:pt x="54" y="252"/>
                  </a:cubicBezTo>
                  <a:cubicBezTo>
                    <a:pt x="62" y="252"/>
                    <a:pt x="70" y="248"/>
                    <a:pt x="76" y="242"/>
                  </a:cubicBezTo>
                  <a:cubicBezTo>
                    <a:pt x="122" y="197"/>
                    <a:pt x="122" y="197"/>
                    <a:pt x="122" y="197"/>
                  </a:cubicBezTo>
                  <a:cubicBezTo>
                    <a:pt x="126" y="193"/>
                    <a:pt x="133" y="193"/>
                    <a:pt x="137" y="197"/>
                  </a:cubicBezTo>
                  <a:close/>
                  <a:moveTo>
                    <a:pt x="257" y="16"/>
                  </a:move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cubicBezTo>
                    <a:pt x="257" y="91"/>
                    <a:pt x="257" y="91"/>
                    <a:pt x="257" y="91"/>
                  </a:cubicBezTo>
                  <a:cubicBezTo>
                    <a:pt x="267" y="81"/>
                    <a:pt x="273" y="68"/>
                    <a:pt x="273" y="55"/>
                  </a:cubicBezTo>
                  <a:cubicBezTo>
                    <a:pt x="274" y="40"/>
                    <a:pt x="268" y="27"/>
                    <a:pt x="257" y="1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 name="Freeform 599">
              <a:extLst>
                <a:ext uri="{FF2B5EF4-FFF2-40B4-BE49-F238E27FC236}">
                  <a16:creationId xmlns:a16="http://schemas.microsoft.com/office/drawing/2014/main" id="{7F7A2774-6019-419D-A53A-84E04878A02B}"/>
                </a:ext>
              </a:extLst>
            </p:cNvPr>
            <p:cNvSpPr>
              <a:spLocks noEditPoints="1"/>
            </p:cNvSpPr>
            <p:nvPr/>
          </p:nvSpPr>
          <p:spPr bwMode="auto">
            <a:xfrm>
              <a:off x="2745" y="26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5" name="Straight Connector 4"/>
          <p:cNvCxnSpPr/>
          <p:nvPr/>
        </p:nvCxnSpPr>
        <p:spPr>
          <a:xfrm>
            <a:off x="457200" y="3488804"/>
            <a:ext cx="11277600" cy="0"/>
          </a:xfrm>
          <a:prstGeom prst="line">
            <a:avLst/>
          </a:prstGeom>
          <a:ln>
            <a:solidFill>
              <a:srgbClr val="000000"/>
            </a:solidFill>
            <a:prstDash val="dash"/>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09258200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Straight Connector 60">
            <a:extLst>
              <a:ext uri="{FF2B5EF4-FFF2-40B4-BE49-F238E27FC236}">
                <a16:creationId xmlns:a16="http://schemas.microsoft.com/office/drawing/2014/main" id="{E2AFCF1E-AC5F-7B4C-9C3D-40228241ACC1}"/>
              </a:ext>
            </a:extLst>
          </p:cNvPr>
          <p:cNvCxnSpPr/>
          <p:nvPr/>
        </p:nvCxnSpPr>
        <p:spPr>
          <a:xfrm>
            <a:off x="457200" y="2803967"/>
            <a:ext cx="3676650" cy="0"/>
          </a:xfrm>
          <a:prstGeom prst="line">
            <a:avLst/>
          </a:prstGeom>
          <a:ln w="3810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62EB04F-63B8-1747-B937-0657541CEB36}"/>
              </a:ext>
            </a:extLst>
          </p:cNvPr>
          <p:cNvCxnSpPr/>
          <p:nvPr/>
        </p:nvCxnSpPr>
        <p:spPr>
          <a:xfrm>
            <a:off x="4133850" y="2803967"/>
            <a:ext cx="3871913"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7D548-7E50-774F-A975-D71A93456608}"/>
              </a:ext>
            </a:extLst>
          </p:cNvPr>
          <p:cNvCxnSpPr/>
          <p:nvPr/>
        </p:nvCxnSpPr>
        <p:spPr>
          <a:xfrm>
            <a:off x="8012296" y="2803967"/>
            <a:ext cx="3722504" cy="0"/>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6C0FBB03-C82C-444A-A822-2554D41ADCC4}"/>
              </a:ext>
            </a:extLst>
          </p:cNvPr>
          <p:cNvSpPr/>
          <p:nvPr/>
        </p:nvSpPr>
        <p:spPr>
          <a:xfrm>
            <a:off x="457200" y="3788732"/>
            <a:ext cx="3556000" cy="2400657"/>
          </a:xfrm>
          <a:prstGeom prst="rect">
            <a:avLst/>
          </a:prstGeom>
        </p:spPr>
        <p:txBody>
          <a:bodyPr wrap="square" lIns="0" tIns="0" rIns="0" bIns="0">
            <a:spAutoFit/>
          </a:bodyPr>
          <a:lstStyle/>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p:txBody>
      </p:sp>
      <p:sp>
        <p:nvSpPr>
          <p:cNvPr id="65" name="Rectangle 64">
            <a:extLst>
              <a:ext uri="{FF2B5EF4-FFF2-40B4-BE49-F238E27FC236}">
                <a16:creationId xmlns:a16="http://schemas.microsoft.com/office/drawing/2014/main" id="{AEC38075-DA77-D040-AB4D-4F0446DD4DE8}"/>
              </a:ext>
            </a:extLst>
          </p:cNvPr>
          <p:cNvSpPr/>
          <p:nvPr/>
        </p:nvSpPr>
        <p:spPr>
          <a:xfrm>
            <a:off x="4318000" y="3788732"/>
            <a:ext cx="3556000" cy="2400657"/>
          </a:xfrm>
          <a:prstGeom prst="rect">
            <a:avLst/>
          </a:prstGeom>
        </p:spPr>
        <p:txBody>
          <a:bodyPr wrap="square" lIns="0" tIns="0" rIns="0" bIns="0">
            <a:spAutoFit/>
          </a:bodyPr>
          <a:lstStyle/>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p:txBody>
      </p:sp>
      <p:sp>
        <p:nvSpPr>
          <p:cNvPr id="66" name="Rectangle 65">
            <a:extLst>
              <a:ext uri="{FF2B5EF4-FFF2-40B4-BE49-F238E27FC236}">
                <a16:creationId xmlns:a16="http://schemas.microsoft.com/office/drawing/2014/main" id="{FFD36674-1985-AA40-B777-F1AA4EC53A6A}"/>
              </a:ext>
            </a:extLst>
          </p:cNvPr>
          <p:cNvSpPr/>
          <p:nvPr/>
        </p:nvSpPr>
        <p:spPr>
          <a:xfrm>
            <a:off x="8178800" y="3788732"/>
            <a:ext cx="3556000" cy="2400657"/>
          </a:xfrm>
          <a:prstGeom prst="rect">
            <a:avLst/>
          </a:prstGeom>
        </p:spPr>
        <p:txBody>
          <a:bodyPr wrap="square" lIns="0" tIns="0" rIns="0" bIns="0">
            <a:spAutoFit/>
          </a:bodyPr>
          <a:lstStyle/>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p:txBody>
      </p:sp>
      <p:grpSp>
        <p:nvGrpSpPr>
          <p:cNvPr id="67" name="Group 816">
            <a:extLst>
              <a:ext uri="{FF2B5EF4-FFF2-40B4-BE49-F238E27FC236}">
                <a16:creationId xmlns:a16="http://schemas.microsoft.com/office/drawing/2014/main" id="{1A322B87-D5D4-ED4D-A54E-8326C009EF9C}"/>
              </a:ext>
            </a:extLst>
          </p:cNvPr>
          <p:cNvGrpSpPr>
            <a:grpSpLocks noChangeAspect="1"/>
          </p:cNvGrpSpPr>
          <p:nvPr/>
        </p:nvGrpSpPr>
        <p:grpSpPr bwMode="auto">
          <a:xfrm>
            <a:off x="1736900" y="1709227"/>
            <a:ext cx="1117250" cy="1117250"/>
            <a:chOff x="4518" y="3391"/>
            <a:chExt cx="340" cy="340"/>
          </a:xfrm>
          <a:solidFill>
            <a:srgbClr val="86BC25"/>
          </a:solidFill>
        </p:grpSpPr>
        <p:sp>
          <p:nvSpPr>
            <p:cNvPr id="68" name="Freeform 817">
              <a:extLst>
                <a:ext uri="{FF2B5EF4-FFF2-40B4-BE49-F238E27FC236}">
                  <a16:creationId xmlns:a16="http://schemas.microsoft.com/office/drawing/2014/main" id="{EA1DFE25-F7D2-974E-83DD-EFAD159B7DE4}"/>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69" name="Freeform 818">
              <a:extLst>
                <a:ext uri="{FF2B5EF4-FFF2-40B4-BE49-F238E27FC236}">
                  <a16:creationId xmlns:a16="http://schemas.microsoft.com/office/drawing/2014/main" id="{93A1C158-84DB-7D4A-920F-15471165DCC7}"/>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sp>
        <p:nvSpPr>
          <p:cNvPr id="70" name="Rectangle 69">
            <a:extLst>
              <a:ext uri="{FF2B5EF4-FFF2-40B4-BE49-F238E27FC236}">
                <a16:creationId xmlns:a16="http://schemas.microsoft.com/office/drawing/2014/main" id="{B5338912-5899-F145-8031-5937D84A3A21}"/>
              </a:ext>
            </a:extLst>
          </p:cNvPr>
          <p:cNvSpPr/>
          <p:nvPr/>
        </p:nvSpPr>
        <p:spPr>
          <a:xfrm>
            <a:off x="457200" y="3387908"/>
            <a:ext cx="3555999" cy="200055"/>
          </a:xfrm>
          <a:prstGeom prst="rect">
            <a:avLst/>
          </a:prstGeom>
        </p:spPr>
        <p:txBody>
          <a:bodyPr wrap="square" lIns="0" tIns="0" rIns="0" bIns="0">
            <a:spAutoFit/>
          </a:bodyPr>
          <a:lstStyle/>
          <a:p>
            <a:pPr marL="0" lvl="2" algn="ctr" defTabSz="913686">
              <a:buSzPct val="100000"/>
            </a:pPr>
            <a:r>
              <a:rPr lang="en-GB" sz="1300" b="1" dirty="0">
                <a:solidFill>
                  <a:srgbClr val="86BC25"/>
                </a:solidFill>
              </a:rPr>
              <a:t>Lorem ipsum</a:t>
            </a:r>
          </a:p>
        </p:txBody>
      </p:sp>
      <p:sp>
        <p:nvSpPr>
          <p:cNvPr id="71" name="Rectangle 70">
            <a:extLst>
              <a:ext uri="{FF2B5EF4-FFF2-40B4-BE49-F238E27FC236}">
                <a16:creationId xmlns:a16="http://schemas.microsoft.com/office/drawing/2014/main" id="{1A43F9E2-96BC-8E45-8455-D18AA10C41EE}"/>
              </a:ext>
            </a:extLst>
          </p:cNvPr>
          <p:cNvSpPr/>
          <p:nvPr/>
        </p:nvSpPr>
        <p:spPr>
          <a:xfrm>
            <a:off x="4318000" y="3387908"/>
            <a:ext cx="3556000" cy="200055"/>
          </a:xfrm>
          <a:prstGeom prst="rect">
            <a:avLst/>
          </a:prstGeom>
        </p:spPr>
        <p:txBody>
          <a:bodyPr wrap="square" lIns="0" tIns="0" rIns="0" bIns="0">
            <a:spAutoFit/>
          </a:bodyPr>
          <a:lstStyle/>
          <a:p>
            <a:pPr marL="0" lvl="2" algn="ctr" defTabSz="913686">
              <a:buSzPct val="100000"/>
            </a:pPr>
            <a:r>
              <a:rPr lang="en-US" sz="1300" b="1" dirty="0">
                <a:solidFill>
                  <a:srgbClr val="43B02A"/>
                </a:solidFill>
              </a:rPr>
              <a:t>Lorem ipsum</a:t>
            </a:r>
          </a:p>
        </p:txBody>
      </p:sp>
      <p:sp>
        <p:nvSpPr>
          <p:cNvPr id="72" name="Rectangle 71">
            <a:extLst>
              <a:ext uri="{FF2B5EF4-FFF2-40B4-BE49-F238E27FC236}">
                <a16:creationId xmlns:a16="http://schemas.microsoft.com/office/drawing/2014/main" id="{3E2EE03E-1664-1347-AD45-B6F2C6FC534A}"/>
              </a:ext>
            </a:extLst>
          </p:cNvPr>
          <p:cNvSpPr/>
          <p:nvPr/>
        </p:nvSpPr>
        <p:spPr>
          <a:xfrm>
            <a:off x="8178800" y="3387908"/>
            <a:ext cx="3556000" cy="200055"/>
          </a:xfrm>
          <a:prstGeom prst="rect">
            <a:avLst/>
          </a:prstGeom>
        </p:spPr>
        <p:txBody>
          <a:bodyPr wrap="square" lIns="0" tIns="0" rIns="0" bIns="0">
            <a:spAutoFit/>
          </a:bodyPr>
          <a:lstStyle/>
          <a:p>
            <a:pPr marL="0" lvl="2" algn="ctr" defTabSz="913686">
              <a:buSzPct val="100000"/>
            </a:pPr>
            <a:r>
              <a:rPr lang="en-US" sz="1300" b="1" dirty="0">
                <a:solidFill>
                  <a:srgbClr val="FFFFFF"/>
                </a:solidFill>
              </a:rPr>
              <a:t>Lorem ipsum</a:t>
            </a:r>
          </a:p>
        </p:txBody>
      </p:sp>
      <p:cxnSp>
        <p:nvCxnSpPr>
          <p:cNvPr id="73" name="Straight Connector 72">
            <a:extLst>
              <a:ext uri="{FF2B5EF4-FFF2-40B4-BE49-F238E27FC236}">
                <a16:creationId xmlns:a16="http://schemas.microsoft.com/office/drawing/2014/main" id="{06127BD6-DB45-6F45-BAE8-7232147A9046}"/>
              </a:ext>
            </a:extLst>
          </p:cNvPr>
          <p:cNvCxnSpPr/>
          <p:nvPr/>
        </p:nvCxnSpPr>
        <p:spPr>
          <a:xfrm>
            <a:off x="457200" y="3671950"/>
            <a:ext cx="3556000"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ADA944D0-E5EA-5E4F-BD65-C74447186396}"/>
              </a:ext>
            </a:extLst>
          </p:cNvPr>
          <p:cNvCxnSpPr/>
          <p:nvPr/>
        </p:nvCxnSpPr>
        <p:spPr>
          <a:xfrm>
            <a:off x="4318000" y="3671950"/>
            <a:ext cx="35560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182ED3A-DA62-0140-932E-18375D866944}"/>
              </a:ext>
            </a:extLst>
          </p:cNvPr>
          <p:cNvCxnSpPr/>
          <p:nvPr/>
        </p:nvCxnSpPr>
        <p:spPr>
          <a:xfrm>
            <a:off x="8178800" y="3671950"/>
            <a:ext cx="35560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76" name="Group 452">
            <a:extLst>
              <a:ext uri="{FF2B5EF4-FFF2-40B4-BE49-F238E27FC236}">
                <a16:creationId xmlns:a16="http://schemas.microsoft.com/office/drawing/2014/main" id="{F26AB117-A667-2249-828A-8FC2E2CD53D0}"/>
              </a:ext>
            </a:extLst>
          </p:cNvPr>
          <p:cNvGrpSpPr>
            <a:grpSpLocks noChangeAspect="1"/>
          </p:cNvGrpSpPr>
          <p:nvPr/>
        </p:nvGrpSpPr>
        <p:grpSpPr bwMode="auto">
          <a:xfrm>
            <a:off x="5512022" y="1710909"/>
            <a:ext cx="1115568" cy="1115568"/>
            <a:chOff x="6020" y="1753"/>
            <a:chExt cx="340" cy="340"/>
          </a:xfrm>
          <a:solidFill>
            <a:schemeClr val="accent3"/>
          </a:solidFill>
        </p:grpSpPr>
        <p:sp>
          <p:nvSpPr>
            <p:cNvPr id="77" name="Freeform 453">
              <a:extLst>
                <a:ext uri="{FF2B5EF4-FFF2-40B4-BE49-F238E27FC236}">
                  <a16:creationId xmlns:a16="http://schemas.microsoft.com/office/drawing/2014/main" id="{7D824660-DA2C-CE48-9F43-7EC8383823D8}"/>
                </a:ext>
              </a:extLst>
            </p:cNvPr>
            <p:cNvSpPr>
              <a:spLocks noEditPoints="1"/>
            </p:cNvSpPr>
            <p:nvPr/>
          </p:nvSpPr>
          <p:spPr bwMode="auto">
            <a:xfrm>
              <a:off x="6020" y="17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78" name="Freeform 454">
              <a:extLst>
                <a:ext uri="{FF2B5EF4-FFF2-40B4-BE49-F238E27FC236}">
                  <a16:creationId xmlns:a16="http://schemas.microsoft.com/office/drawing/2014/main" id="{46691D60-CC7E-D94D-815D-A8520CC49A13}"/>
                </a:ext>
              </a:extLst>
            </p:cNvPr>
            <p:cNvSpPr>
              <a:spLocks noEditPoints="1"/>
            </p:cNvSpPr>
            <p:nvPr/>
          </p:nvSpPr>
          <p:spPr bwMode="auto">
            <a:xfrm>
              <a:off x="6084" y="1867"/>
              <a:ext cx="212" cy="113"/>
            </a:xfrm>
            <a:custGeom>
              <a:avLst/>
              <a:gdLst>
                <a:gd name="T0" fmla="*/ 318 w 320"/>
                <a:gd name="T1" fmla="*/ 79 h 171"/>
                <a:gd name="T2" fmla="*/ 297 w 320"/>
                <a:gd name="T3" fmla="*/ 47 h 171"/>
                <a:gd name="T4" fmla="*/ 288 w 320"/>
                <a:gd name="T5" fmla="*/ 43 h 171"/>
                <a:gd name="T6" fmla="*/ 159 w 320"/>
                <a:gd name="T7" fmla="*/ 43 h 171"/>
                <a:gd name="T8" fmla="*/ 85 w 320"/>
                <a:gd name="T9" fmla="*/ 0 h 171"/>
                <a:gd name="T10" fmla="*/ 0 w 320"/>
                <a:gd name="T11" fmla="*/ 85 h 171"/>
                <a:gd name="T12" fmla="*/ 85 w 320"/>
                <a:gd name="T13" fmla="*/ 171 h 171"/>
                <a:gd name="T14" fmla="*/ 159 w 320"/>
                <a:gd name="T15" fmla="*/ 128 h 171"/>
                <a:gd name="T16" fmla="*/ 202 w 320"/>
                <a:gd name="T17" fmla="*/ 128 h 171"/>
                <a:gd name="T18" fmla="*/ 210 w 320"/>
                <a:gd name="T19" fmla="*/ 125 h 171"/>
                <a:gd name="T20" fmla="*/ 224 w 320"/>
                <a:gd name="T21" fmla="*/ 111 h 171"/>
                <a:gd name="T22" fmla="*/ 237 w 320"/>
                <a:gd name="T23" fmla="*/ 125 h 171"/>
                <a:gd name="T24" fmla="*/ 253 w 320"/>
                <a:gd name="T25" fmla="*/ 125 h 171"/>
                <a:gd name="T26" fmla="*/ 266 w 320"/>
                <a:gd name="T27" fmla="*/ 111 h 171"/>
                <a:gd name="T28" fmla="*/ 280 w 320"/>
                <a:gd name="T29" fmla="*/ 125 h 171"/>
                <a:gd name="T30" fmla="*/ 289 w 320"/>
                <a:gd name="T31" fmla="*/ 128 h 171"/>
                <a:gd name="T32" fmla="*/ 297 w 320"/>
                <a:gd name="T33" fmla="*/ 123 h 171"/>
                <a:gd name="T34" fmla="*/ 318 w 320"/>
                <a:gd name="T35" fmla="*/ 91 h 171"/>
                <a:gd name="T36" fmla="*/ 318 w 320"/>
                <a:gd name="T37" fmla="*/ 79 h 171"/>
                <a:gd name="T38" fmla="*/ 286 w 320"/>
                <a:gd name="T39" fmla="*/ 100 h 171"/>
                <a:gd name="T40" fmla="*/ 274 w 320"/>
                <a:gd name="T41" fmla="*/ 88 h 171"/>
                <a:gd name="T42" fmla="*/ 259 w 320"/>
                <a:gd name="T43" fmla="*/ 88 h 171"/>
                <a:gd name="T44" fmla="*/ 245 w 320"/>
                <a:gd name="T45" fmla="*/ 102 h 171"/>
                <a:gd name="T46" fmla="*/ 231 w 320"/>
                <a:gd name="T47" fmla="*/ 88 h 171"/>
                <a:gd name="T48" fmla="*/ 216 w 320"/>
                <a:gd name="T49" fmla="*/ 88 h 171"/>
                <a:gd name="T50" fmla="*/ 198 w 320"/>
                <a:gd name="T51" fmla="*/ 107 h 171"/>
                <a:gd name="T52" fmla="*/ 152 w 320"/>
                <a:gd name="T53" fmla="*/ 107 h 171"/>
                <a:gd name="T54" fmla="*/ 143 w 320"/>
                <a:gd name="T55" fmla="*/ 113 h 171"/>
                <a:gd name="T56" fmla="*/ 85 w 320"/>
                <a:gd name="T57" fmla="*/ 149 h 171"/>
                <a:gd name="T58" fmla="*/ 21 w 320"/>
                <a:gd name="T59" fmla="*/ 85 h 171"/>
                <a:gd name="T60" fmla="*/ 85 w 320"/>
                <a:gd name="T61" fmla="*/ 21 h 171"/>
                <a:gd name="T62" fmla="*/ 143 w 320"/>
                <a:gd name="T63" fmla="*/ 58 h 171"/>
                <a:gd name="T64" fmla="*/ 152 w 320"/>
                <a:gd name="T65" fmla="*/ 64 h 171"/>
                <a:gd name="T66" fmla="*/ 282 w 320"/>
                <a:gd name="T67" fmla="*/ 64 h 171"/>
                <a:gd name="T68" fmla="*/ 296 w 320"/>
                <a:gd name="T69" fmla="*/ 85 h 171"/>
                <a:gd name="T70" fmla="*/ 286 w 320"/>
                <a:gd name="T71" fmla="*/ 10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171">
                  <a:moveTo>
                    <a:pt x="318" y="79"/>
                  </a:moveTo>
                  <a:cubicBezTo>
                    <a:pt x="297" y="47"/>
                    <a:pt x="297" y="47"/>
                    <a:pt x="297" y="47"/>
                  </a:cubicBezTo>
                  <a:cubicBezTo>
                    <a:pt x="295" y="44"/>
                    <a:pt x="291" y="43"/>
                    <a:pt x="288" y="43"/>
                  </a:cubicBezTo>
                  <a:cubicBezTo>
                    <a:pt x="159" y="43"/>
                    <a:pt x="159" y="43"/>
                    <a:pt x="159" y="43"/>
                  </a:cubicBezTo>
                  <a:cubicBezTo>
                    <a:pt x="144" y="16"/>
                    <a:pt x="115" y="0"/>
                    <a:pt x="85" y="0"/>
                  </a:cubicBezTo>
                  <a:cubicBezTo>
                    <a:pt x="38" y="0"/>
                    <a:pt x="0" y="38"/>
                    <a:pt x="0" y="85"/>
                  </a:cubicBezTo>
                  <a:cubicBezTo>
                    <a:pt x="0" y="132"/>
                    <a:pt x="38" y="171"/>
                    <a:pt x="85" y="171"/>
                  </a:cubicBezTo>
                  <a:cubicBezTo>
                    <a:pt x="115" y="171"/>
                    <a:pt x="144" y="154"/>
                    <a:pt x="159" y="128"/>
                  </a:cubicBezTo>
                  <a:cubicBezTo>
                    <a:pt x="202" y="128"/>
                    <a:pt x="202" y="128"/>
                    <a:pt x="202" y="128"/>
                  </a:cubicBezTo>
                  <a:cubicBezTo>
                    <a:pt x="205" y="128"/>
                    <a:pt x="208" y="127"/>
                    <a:pt x="210" y="125"/>
                  </a:cubicBezTo>
                  <a:cubicBezTo>
                    <a:pt x="224" y="111"/>
                    <a:pt x="224" y="111"/>
                    <a:pt x="224" y="111"/>
                  </a:cubicBezTo>
                  <a:cubicBezTo>
                    <a:pt x="237" y="125"/>
                    <a:pt x="237" y="125"/>
                    <a:pt x="237" y="125"/>
                  </a:cubicBezTo>
                  <a:cubicBezTo>
                    <a:pt x="242" y="129"/>
                    <a:pt x="248" y="129"/>
                    <a:pt x="253" y="125"/>
                  </a:cubicBezTo>
                  <a:cubicBezTo>
                    <a:pt x="266" y="111"/>
                    <a:pt x="266" y="111"/>
                    <a:pt x="266" y="111"/>
                  </a:cubicBezTo>
                  <a:cubicBezTo>
                    <a:pt x="280" y="125"/>
                    <a:pt x="280" y="125"/>
                    <a:pt x="280" y="125"/>
                  </a:cubicBezTo>
                  <a:cubicBezTo>
                    <a:pt x="282" y="127"/>
                    <a:pt x="285" y="128"/>
                    <a:pt x="289" y="128"/>
                  </a:cubicBezTo>
                  <a:cubicBezTo>
                    <a:pt x="292" y="127"/>
                    <a:pt x="295" y="126"/>
                    <a:pt x="297" y="123"/>
                  </a:cubicBezTo>
                  <a:cubicBezTo>
                    <a:pt x="318" y="91"/>
                    <a:pt x="318" y="91"/>
                    <a:pt x="318" y="91"/>
                  </a:cubicBezTo>
                  <a:cubicBezTo>
                    <a:pt x="320" y="87"/>
                    <a:pt x="320" y="83"/>
                    <a:pt x="318" y="79"/>
                  </a:cubicBezTo>
                  <a:close/>
                  <a:moveTo>
                    <a:pt x="286" y="100"/>
                  </a:moveTo>
                  <a:cubicBezTo>
                    <a:pt x="274" y="88"/>
                    <a:pt x="274" y="88"/>
                    <a:pt x="274" y="88"/>
                  </a:cubicBezTo>
                  <a:cubicBezTo>
                    <a:pt x="270" y="84"/>
                    <a:pt x="263" y="84"/>
                    <a:pt x="259" y="88"/>
                  </a:cubicBezTo>
                  <a:cubicBezTo>
                    <a:pt x="245" y="102"/>
                    <a:pt x="245" y="102"/>
                    <a:pt x="245" y="102"/>
                  </a:cubicBezTo>
                  <a:cubicBezTo>
                    <a:pt x="231" y="88"/>
                    <a:pt x="231" y="88"/>
                    <a:pt x="231" y="88"/>
                  </a:cubicBezTo>
                  <a:cubicBezTo>
                    <a:pt x="227" y="84"/>
                    <a:pt x="220" y="84"/>
                    <a:pt x="216" y="88"/>
                  </a:cubicBezTo>
                  <a:cubicBezTo>
                    <a:pt x="198" y="107"/>
                    <a:pt x="198" y="107"/>
                    <a:pt x="198" y="107"/>
                  </a:cubicBezTo>
                  <a:cubicBezTo>
                    <a:pt x="152" y="107"/>
                    <a:pt x="152" y="107"/>
                    <a:pt x="152" y="107"/>
                  </a:cubicBezTo>
                  <a:cubicBezTo>
                    <a:pt x="148" y="107"/>
                    <a:pt x="145" y="109"/>
                    <a:pt x="143" y="113"/>
                  </a:cubicBezTo>
                  <a:cubicBezTo>
                    <a:pt x="132" y="135"/>
                    <a:pt x="110" y="149"/>
                    <a:pt x="85" y="149"/>
                  </a:cubicBezTo>
                  <a:cubicBezTo>
                    <a:pt x="50" y="149"/>
                    <a:pt x="21" y="120"/>
                    <a:pt x="21" y="85"/>
                  </a:cubicBezTo>
                  <a:cubicBezTo>
                    <a:pt x="21" y="50"/>
                    <a:pt x="50" y="21"/>
                    <a:pt x="85" y="21"/>
                  </a:cubicBezTo>
                  <a:cubicBezTo>
                    <a:pt x="110" y="21"/>
                    <a:pt x="132" y="36"/>
                    <a:pt x="143" y="58"/>
                  </a:cubicBezTo>
                  <a:cubicBezTo>
                    <a:pt x="145" y="62"/>
                    <a:pt x="148" y="64"/>
                    <a:pt x="152" y="64"/>
                  </a:cubicBezTo>
                  <a:cubicBezTo>
                    <a:pt x="282" y="64"/>
                    <a:pt x="282" y="64"/>
                    <a:pt x="282" y="64"/>
                  </a:cubicBezTo>
                  <a:cubicBezTo>
                    <a:pt x="296" y="85"/>
                    <a:pt x="296" y="85"/>
                    <a:pt x="296" y="85"/>
                  </a:cubicBezTo>
                  <a:lnTo>
                    <a:pt x="286" y="10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79" name="Oval 455">
              <a:extLst>
                <a:ext uri="{FF2B5EF4-FFF2-40B4-BE49-F238E27FC236}">
                  <a16:creationId xmlns:a16="http://schemas.microsoft.com/office/drawing/2014/main" id="{6C1C89C8-117A-0249-9700-FB051AF6B284}"/>
                </a:ext>
              </a:extLst>
            </p:cNvPr>
            <p:cNvSpPr>
              <a:spLocks noChangeArrowheads="1"/>
            </p:cNvSpPr>
            <p:nvPr/>
          </p:nvSpPr>
          <p:spPr bwMode="auto">
            <a:xfrm>
              <a:off x="6119" y="1909"/>
              <a:ext cx="28" cy="28"/>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grpSp>
        <p:nvGrpSpPr>
          <p:cNvPr id="80" name="Group 480">
            <a:extLst>
              <a:ext uri="{FF2B5EF4-FFF2-40B4-BE49-F238E27FC236}">
                <a16:creationId xmlns:a16="http://schemas.microsoft.com/office/drawing/2014/main" id="{E67E972F-BBB8-C044-BA1B-D50FCB6AC501}"/>
              </a:ext>
            </a:extLst>
          </p:cNvPr>
          <p:cNvGrpSpPr>
            <a:grpSpLocks noChangeAspect="1"/>
          </p:cNvGrpSpPr>
          <p:nvPr/>
        </p:nvGrpSpPr>
        <p:grpSpPr bwMode="auto">
          <a:xfrm>
            <a:off x="9315764" y="1710909"/>
            <a:ext cx="1115568" cy="1115568"/>
            <a:chOff x="1027" y="2077"/>
            <a:chExt cx="340" cy="340"/>
          </a:xfrm>
          <a:solidFill>
            <a:srgbClr val="FFFFFF"/>
          </a:solidFill>
        </p:grpSpPr>
        <p:sp>
          <p:nvSpPr>
            <p:cNvPr id="81" name="Freeform 481">
              <a:extLst>
                <a:ext uri="{FF2B5EF4-FFF2-40B4-BE49-F238E27FC236}">
                  <a16:creationId xmlns:a16="http://schemas.microsoft.com/office/drawing/2014/main" id="{2EC59118-9295-B041-B873-9746856600DD}"/>
                </a:ext>
              </a:extLst>
            </p:cNvPr>
            <p:cNvSpPr>
              <a:spLocks noEditPoints="1"/>
            </p:cNvSpPr>
            <p:nvPr/>
          </p:nvSpPr>
          <p:spPr bwMode="auto">
            <a:xfrm>
              <a:off x="1147" y="2141"/>
              <a:ext cx="99" cy="212"/>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82" name="Freeform 482">
              <a:extLst>
                <a:ext uri="{FF2B5EF4-FFF2-40B4-BE49-F238E27FC236}">
                  <a16:creationId xmlns:a16="http://schemas.microsoft.com/office/drawing/2014/main" id="{7F8277A8-74D7-DF4F-B51D-52CF0A855403}"/>
                </a:ext>
              </a:extLst>
            </p:cNvPr>
            <p:cNvSpPr>
              <a:spLocks noEditPoints="1"/>
            </p:cNvSpPr>
            <p:nvPr/>
          </p:nvSpPr>
          <p:spPr bwMode="auto">
            <a:xfrm>
              <a:off x="1027" y="20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cxnSp>
        <p:nvCxnSpPr>
          <p:cNvPr id="83" name="Straight Connector 82">
            <a:extLst>
              <a:ext uri="{FF2B5EF4-FFF2-40B4-BE49-F238E27FC236}">
                <a16:creationId xmlns:a16="http://schemas.microsoft.com/office/drawing/2014/main" id="{3778D017-131A-284E-BCE4-59E59489D81C}"/>
              </a:ext>
            </a:extLst>
          </p:cNvPr>
          <p:cNvCxnSpPr/>
          <p:nvPr/>
        </p:nvCxnSpPr>
        <p:spPr>
          <a:xfrm flipV="1">
            <a:off x="2295525" y="2936678"/>
            <a:ext cx="0" cy="411355"/>
          </a:xfrm>
          <a:prstGeom prst="line">
            <a:avLst/>
          </a:prstGeom>
          <a:ln w="19050">
            <a:solidFill>
              <a:srgbClr val="86BC25"/>
            </a:solidFill>
            <a:tailEnd type="ova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598636E-47C9-8549-9AA1-EE51AF31DA76}"/>
              </a:ext>
            </a:extLst>
          </p:cNvPr>
          <p:cNvCxnSpPr/>
          <p:nvPr/>
        </p:nvCxnSpPr>
        <p:spPr>
          <a:xfrm flipV="1">
            <a:off x="6069806" y="2936678"/>
            <a:ext cx="0" cy="411355"/>
          </a:xfrm>
          <a:prstGeom prst="line">
            <a:avLst/>
          </a:prstGeom>
          <a:ln w="19050">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1A5AFC4-F634-0943-8301-F0D6A17B6B0E}"/>
              </a:ext>
            </a:extLst>
          </p:cNvPr>
          <p:cNvCxnSpPr/>
          <p:nvPr/>
        </p:nvCxnSpPr>
        <p:spPr>
          <a:xfrm flipV="1">
            <a:off x="9873548" y="2936678"/>
            <a:ext cx="0" cy="411355"/>
          </a:xfrm>
          <a:prstGeom prst="line">
            <a:avLst/>
          </a:prstGeom>
          <a:ln w="19050">
            <a:solidFill>
              <a:srgbClr val="FFFFFF"/>
            </a:solidFill>
            <a:tailEnd type="ova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95417332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917539" y="1714500"/>
            <a:ext cx="8553350" cy="4589742"/>
            <a:chOff x="1507707" y="1375501"/>
            <a:chExt cx="9374207" cy="5030216"/>
          </a:xfrm>
        </p:grpSpPr>
        <p:sp>
          <p:nvSpPr>
            <p:cNvPr id="5" name="Freeform 5">
              <a:extLst>
                <a:ext uri="{FF2B5EF4-FFF2-40B4-BE49-F238E27FC236}">
                  <a16:creationId xmlns:a16="http://schemas.microsoft.com/office/drawing/2014/main" id="{663D73DC-4672-4CEF-A500-8B72E07AFFC9}"/>
                </a:ext>
              </a:extLst>
            </p:cNvPr>
            <p:cNvSpPr/>
            <p:nvPr/>
          </p:nvSpPr>
          <p:spPr bwMode="auto">
            <a:xfrm>
              <a:off x="5450144" y="6105679"/>
              <a:ext cx="735013" cy="300038"/>
            </a:xfrm>
            <a:custGeom>
              <a:avLst/>
              <a:gdLst>
                <a:gd name="T0" fmla="*/ 261 w 263"/>
                <a:gd name="T1" fmla="*/ 96 h 107"/>
                <a:gd name="T2" fmla="*/ 236 w 263"/>
                <a:gd name="T3" fmla="*/ 72 h 107"/>
                <a:gd name="T4" fmla="*/ 224 w 263"/>
                <a:gd name="T5" fmla="*/ 50 h 107"/>
                <a:gd name="T6" fmla="*/ 220 w 263"/>
                <a:gd name="T7" fmla="*/ 0 h 107"/>
                <a:gd name="T8" fmla="*/ 133 w 263"/>
                <a:gd name="T9" fmla="*/ 0 h 107"/>
                <a:gd name="T10" fmla="*/ 129 w 263"/>
                <a:gd name="T11" fmla="*/ 0 h 107"/>
                <a:gd name="T12" fmla="*/ 42 w 263"/>
                <a:gd name="T13" fmla="*/ 0 h 107"/>
                <a:gd name="T14" fmla="*/ 39 w 263"/>
                <a:gd name="T15" fmla="*/ 50 h 107"/>
                <a:gd name="T16" fmla="*/ 26 w 263"/>
                <a:gd name="T17" fmla="*/ 72 h 107"/>
                <a:gd name="T18" fmla="*/ 1 w 263"/>
                <a:gd name="T19" fmla="*/ 96 h 107"/>
                <a:gd name="T20" fmla="*/ 0 w 263"/>
                <a:gd name="T21" fmla="*/ 103 h 107"/>
                <a:gd name="T22" fmla="*/ 12 w 263"/>
                <a:gd name="T23" fmla="*/ 107 h 107"/>
                <a:gd name="T24" fmla="*/ 129 w 263"/>
                <a:gd name="T25" fmla="*/ 107 h 107"/>
                <a:gd name="T26" fmla="*/ 133 w 263"/>
                <a:gd name="T27" fmla="*/ 107 h 107"/>
                <a:gd name="T28" fmla="*/ 251 w 263"/>
                <a:gd name="T29" fmla="*/ 107 h 107"/>
                <a:gd name="T30" fmla="*/ 263 w 263"/>
                <a:gd name="T31" fmla="*/ 103 h 107"/>
                <a:gd name="T32" fmla="*/ 261 w 263"/>
                <a:gd name="T33" fmla="*/ 9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3" h="107">
                  <a:moveTo>
                    <a:pt x="261" y="96"/>
                  </a:moveTo>
                  <a:cubicBezTo>
                    <a:pt x="261" y="96"/>
                    <a:pt x="250" y="84"/>
                    <a:pt x="236" y="72"/>
                  </a:cubicBezTo>
                  <a:cubicBezTo>
                    <a:pt x="222" y="59"/>
                    <a:pt x="224" y="50"/>
                    <a:pt x="224" y="50"/>
                  </a:cubicBezTo>
                  <a:cubicBezTo>
                    <a:pt x="220" y="0"/>
                    <a:pt x="220" y="0"/>
                    <a:pt x="220" y="0"/>
                  </a:cubicBezTo>
                  <a:cubicBezTo>
                    <a:pt x="133" y="0"/>
                    <a:pt x="133" y="0"/>
                    <a:pt x="133" y="0"/>
                  </a:cubicBezTo>
                  <a:cubicBezTo>
                    <a:pt x="129" y="0"/>
                    <a:pt x="129" y="0"/>
                    <a:pt x="129" y="0"/>
                  </a:cubicBezTo>
                  <a:cubicBezTo>
                    <a:pt x="42" y="0"/>
                    <a:pt x="42" y="0"/>
                    <a:pt x="42" y="0"/>
                  </a:cubicBezTo>
                  <a:cubicBezTo>
                    <a:pt x="39" y="50"/>
                    <a:pt x="39" y="50"/>
                    <a:pt x="39" y="50"/>
                  </a:cubicBezTo>
                  <a:cubicBezTo>
                    <a:pt x="39" y="50"/>
                    <a:pt x="41" y="59"/>
                    <a:pt x="26" y="72"/>
                  </a:cubicBezTo>
                  <a:cubicBezTo>
                    <a:pt x="12" y="84"/>
                    <a:pt x="1" y="96"/>
                    <a:pt x="1" y="96"/>
                  </a:cubicBezTo>
                  <a:cubicBezTo>
                    <a:pt x="1" y="96"/>
                    <a:pt x="0" y="99"/>
                    <a:pt x="0" y="103"/>
                  </a:cubicBezTo>
                  <a:cubicBezTo>
                    <a:pt x="0" y="107"/>
                    <a:pt x="2" y="107"/>
                    <a:pt x="12" y="107"/>
                  </a:cubicBezTo>
                  <a:cubicBezTo>
                    <a:pt x="20" y="107"/>
                    <a:pt x="108" y="107"/>
                    <a:pt x="129" y="107"/>
                  </a:cubicBezTo>
                  <a:cubicBezTo>
                    <a:pt x="132" y="107"/>
                    <a:pt x="133" y="107"/>
                    <a:pt x="133" y="107"/>
                  </a:cubicBezTo>
                  <a:cubicBezTo>
                    <a:pt x="154" y="107"/>
                    <a:pt x="242" y="107"/>
                    <a:pt x="251" y="107"/>
                  </a:cubicBezTo>
                  <a:cubicBezTo>
                    <a:pt x="260" y="107"/>
                    <a:pt x="263" y="107"/>
                    <a:pt x="263" y="103"/>
                  </a:cubicBezTo>
                  <a:cubicBezTo>
                    <a:pt x="263" y="99"/>
                    <a:pt x="261" y="96"/>
                    <a:pt x="261" y="96"/>
                  </a:cubicBezTo>
                  <a:close/>
                </a:path>
              </a:pathLst>
            </a:custGeom>
            <a:solidFill>
              <a:srgbClr val="D1D3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 name="Freeform 6">
              <a:extLst>
                <a:ext uri="{FF2B5EF4-FFF2-40B4-BE49-F238E27FC236}">
                  <a16:creationId xmlns:a16="http://schemas.microsoft.com/office/drawing/2014/main" id="{5DBCB6AE-21E1-452D-A503-0F8FCA1CAB7B}"/>
                </a:ext>
              </a:extLst>
            </p:cNvPr>
            <p:cNvSpPr/>
            <p:nvPr/>
          </p:nvSpPr>
          <p:spPr bwMode="auto">
            <a:xfrm>
              <a:off x="5450144" y="6105679"/>
              <a:ext cx="735013" cy="300038"/>
            </a:xfrm>
            <a:custGeom>
              <a:avLst/>
              <a:gdLst>
                <a:gd name="T0" fmla="*/ 261 w 263"/>
                <a:gd name="T1" fmla="*/ 96 h 107"/>
                <a:gd name="T2" fmla="*/ 236 w 263"/>
                <a:gd name="T3" fmla="*/ 72 h 107"/>
                <a:gd name="T4" fmla="*/ 224 w 263"/>
                <a:gd name="T5" fmla="*/ 50 h 107"/>
                <a:gd name="T6" fmla="*/ 220 w 263"/>
                <a:gd name="T7" fmla="*/ 0 h 107"/>
                <a:gd name="T8" fmla="*/ 133 w 263"/>
                <a:gd name="T9" fmla="*/ 0 h 107"/>
                <a:gd name="T10" fmla="*/ 129 w 263"/>
                <a:gd name="T11" fmla="*/ 0 h 107"/>
                <a:gd name="T12" fmla="*/ 42 w 263"/>
                <a:gd name="T13" fmla="*/ 0 h 107"/>
                <a:gd name="T14" fmla="*/ 39 w 263"/>
                <a:gd name="T15" fmla="*/ 50 h 107"/>
                <a:gd name="T16" fmla="*/ 26 w 263"/>
                <a:gd name="T17" fmla="*/ 72 h 107"/>
                <a:gd name="T18" fmla="*/ 1 w 263"/>
                <a:gd name="T19" fmla="*/ 96 h 107"/>
                <a:gd name="T20" fmla="*/ 0 w 263"/>
                <a:gd name="T21" fmla="*/ 103 h 107"/>
                <a:gd name="T22" fmla="*/ 12 w 263"/>
                <a:gd name="T23" fmla="*/ 107 h 107"/>
                <a:gd name="T24" fmla="*/ 129 w 263"/>
                <a:gd name="T25" fmla="*/ 107 h 107"/>
                <a:gd name="T26" fmla="*/ 133 w 263"/>
                <a:gd name="T27" fmla="*/ 107 h 107"/>
                <a:gd name="T28" fmla="*/ 251 w 263"/>
                <a:gd name="T29" fmla="*/ 107 h 107"/>
                <a:gd name="T30" fmla="*/ 263 w 263"/>
                <a:gd name="T31" fmla="*/ 103 h 107"/>
                <a:gd name="T32" fmla="*/ 261 w 263"/>
                <a:gd name="T33" fmla="*/ 9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3" h="107">
                  <a:moveTo>
                    <a:pt x="261" y="96"/>
                  </a:moveTo>
                  <a:cubicBezTo>
                    <a:pt x="261" y="96"/>
                    <a:pt x="250" y="84"/>
                    <a:pt x="236" y="72"/>
                  </a:cubicBezTo>
                  <a:cubicBezTo>
                    <a:pt x="222" y="59"/>
                    <a:pt x="224" y="50"/>
                    <a:pt x="224" y="50"/>
                  </a:cubicBezTo>
                  <a:cubicBezTo>
                    <a:pt x="220" y="0"/>
                    <a:pt x="220" y="0"/>
                    <a:pt x="220" y="0"/>
                  </a:cubicBezTo>
                  <a:cubicBezTo>
                    <a:pt x="133" y="0"/>
                    <a:pt x="133" y="0"/>
                    <a:pt x="133" y="0"/>
                  </a:cubicBezTo>
                  <a:cubicBezTo>
                    <a:pt x="129" y="0"/>
                    <a:pt x="129" y="0"/>
                    <a:pt x="129" y="0"/>
                  </a:cubicBezTo>
                  <a:cubicBezTo>
                    <a:pt x="42" y="0"/>
                    <a:pt x="42" y="0"/>
                    <a:pt x="42" y="0"/>
                  </a:cubicBezTo>
                  <a:cubicBezTo>
                    <a:pt x="39" y="50"/>
                    <a:pt x="39" y="50"/>
                    <a:pt x="39" y="50"/>
                  </a:cubicBezTo>
                  <a:cubicBezTo>
                    <a:pt x="39" y="50"/>
                    <a:pt x="41" y="59"/>
                    <a:pt x="26" y="72"/>
                  </a:cubicBezTo>
                  <a:cubicBezTo>
                    <a:pt x="12" y="84"/>
                    <a:pt x="1" y="96"/>
                    <a:pt x="1" y="96"/>
                  </a:cubicBezTo>
                  <a:cubicBezTo>
                    <a:pt x="1" y="96"/>
                    <a:pt x="0" y="99"/>
                    <a:pt x="0" y="103"/>
                  </a:cubicBezTo>
                  <a:cubicBezTo>
                    <a:pt x="0" y="107"/>
                    <a:pt x="2" y="107"/>
                    <a:pt x="12" y="107"/>
                  </a:cubicBezTo>
                  <a:cubicBezTo>
                    <a:pt x="20" y="107"/>
                    <a:pt x="108" y="107"/>
                    <a:pt x="129" y="107"/>
                  </a:cubicBezTo>
                  <a:cubicBezTo>
                    <a:pt x="132" y="107"/>
                    <a:pt x="133" y="107"/>
                    <a:pt x="133" y="107"/>
                  </a:cubicBezTo>
                  <a:cubicBezTo>
                    <a:pt x="154" y="107"/>
                    <a:pt x="242" y="107"/>
                    <a:pt x="251" y="107"/>
                  </a:cubicBezTo>
                  <a:cubicBezTo>
                    <a:pt x="260" y="107"/>
                    <a:pt x="263" y="107"/>
                    <a:pt x="263" y="103"/>
                  </a:cubicBezTo>
                  <a:cubicBezTo>
                    <a:pt x="263" y="99"/>
                    <a:pt x="261" y="96"/>
                    <a:pt x="261" y="96"/>
                  </a:cubicBezTo>
                  <a:close/>
                </a:path>
              </a:pathLst>
            </a:custGeom>
            <a:solidFill>
              <a:schemeClr val="bg1">
                <a:lumMod val="65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 name="Freeform 7">
              <a:extLst>
                <a:ext uri="{FF2B5EF4-FFF2-40B4-BE49-F238E27FC236}">
                  <a16:creationId xmlns:a16="http://schemas.microsoft.com/office/drawing/2014/main" id="{DE708691-86BD-4C73-904F-356C3E25B990}"/>
                </a:ext>
              </a:extLst>
            </p:cNvPr>
            <p:cNvSpPr/>
            <p:nvPr/>
          </p:nvSpPr>
          <p:spPr bwMode="auto">
            <a:xfrm>
              <a:off x="4604006" y="4537229"/>
              <a:ext cx="2424113" cy="1593850"/>
            </a:xfrm>
            <a:custGeom>
              <a:avLst/>
              <a:gdLst>
                <a:gd name="T0" fmla="*/ 866 w 866"/>
                <a:gd name="T1" fmla="*/ 525 h 569"/>
                <a:gd name="T2" fmla="*/ 822 w 866"/>
                <a:gd name="T3" fmla="*/ 569 h 569"/>
                <a:gd name="T4" fmla="*/ 44 w 866"/>
                <a:gd name="T5" fmla="*/ 569 h 569"/>
                <a:gd name="T6" fmla="*/ 0 w 866"/>
                <a:gd name="T7" fmla="*/ 525 h 569"/>
                <a:gd name="T8" fmla="*/ 0 w 866"/>
                <a:gd name="T9" fmla="*/ 44 h 569"/>
                <a:gd name="T10" fmla="*/ 44 w 866"/>
                <a:gd name="T11" fmla="*/ 0 h 569"/>
                <a:gd name="T12" fmla="*/ 822 w 866"/>
                <a:gd name="T13" fmla="*/ 0 h 569"/>
                <a:gd name="T14" fmla="*/ 866 w 866"/>
                <a:gd name="T15" fmla="*/ 44 h 569"/>
                <a:gd name="T16" fmla="*/ 866 w 866"/>
                <a:gd name="T17" fmla="*/ 525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6" h="569">
                  <a:moveTo>
                    <a:pt x="866" y="525"/>
                  </a:moveTo>
                  <a:cubicBezTo>
                    <a:pt x="866" y="550"/>
                    <a:pt x="846" y="569"/>
                    <a:pt x="822" y="569"/>
                  </a:cubicBezTo>
                  <a:cubicBezTo>
                    <a:pt x="44" y="569"/>
                    <a:pt x="44" y="569"/>
                    <a:pt x="44" y="569"/>
                  </a:cubicBezTo>
                  <a:cubicBezTo>
                    <a:pt x="20" y="569"/>
                    <a:pt x="0" y="550"/>
                    <a:pt x="0" y="525"/>
                  </a:cubicBezTo>
                  <a:cubicBezTo>
                    <a:pt x="0" y="44"/>
                    <a:pt x="0" y="44"/>
                    <a:pt x="0" y="44"/>
                  </a:cubicBezTo>
                  <a:cubicBezTo>
                    <a:pt x="0" y="20"/>
                    <a:pt x="20" y="0"/>
                    <a:pt x="44" y="0"/>
                  </a:cubicBezTo>
                  <a:cubicBezTo>
                    <a:pt x="822" y="0"/>
                    <a:pt x="822" y="0"/>
                    <a:pt x="822" y="0"/>
                  </a:cubicBezTo>
                  <a:cubicBezTo>
                    <a:pt x="846" y="0"/>
                    <a:pt x="866" y="20"/>
                    <a:pt x="866" y="44"/>
                  </a:cubicBezTo>
                  <a:lnTo>
                    <a:pt x="866" y="525"/>
                  </a:lnTo>
                  <a:close/>
                </a:path>
              </a:pathLst>
            </a:custGeom>
            <a:solidFill>
              <a:schemeClr val="bg1">
                <a:lumMod val="65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Freeform 8">
              <a:extLst>
                <a:ext uri="{FF2B5EF4-FFF2-40B4-BE49-F238E27FC236}">
                  <a16:creationId xmlns:a16="http://schemas.microsoft.com/office/drawing/2014/main" id="{BC6347BD-C3D0-4F83-823B-FF96ABE5DD63}"/>
                </a:ext>
              </a:extLst>
            </p:cNvPr>
            <p:cNvSpPr/>
            <p:nvPr/>
          </p:nvSpPr>
          <p:spPr bwMode="auto">
            <a:xfrm>
              <a:off x="4604006" y="4537229"/>
              <a:ext cx="2424113" cy="1433513"/>
            </a:xfrm>
            <a:custGeom>
              <a:avLst/>
              <a:gdLst>
                <a:gd name="T0" fmla="*/ 866 w 866"/>
                <a:gd name="T1" fmla="*/ 512 h 512"/>
                <a:gd name="T2" fmla="*/ 866 w 866"/>
                <a:gd name="T3" fmla="*/ 44 h 512"/>
                <a:gd name="T4" fmla="*/ 822 w 866"/>
                <a:gd name="T5" fmla="*/ 0 h 512"/>
                <a:gd name="T6" fmla="*/ 44 w 866"/>
                <a:gd name="T7" fmla="*/ 0 h 512"/>
                <a:gd name="T8" fmla="*/ 0 w 866"/>
                <a:gd name="T9" fmla="*/ 44 h 512"/>
                <a:gd name="T10" fmla="*/ 0 w 866"/>
                <a:gd name="T11" fmla="*/ 512 h 512"/>
                <a:gd name="T12" fmla="*/ 866 w 866"/>
                <a:gd name="T13" fmla="*/ 512 h 512"/>
              </a:gdLst>
              <a:ahLst/>
              <a:cxnLst>
                <a:cxn ang="0">
                  <a:pos x="T0" y="T1"/>
                </a:cxn>
                <a:cxn ang="0">
                  <a:pos x="T2" y="T3"/>
                </a:cxn>
                <a:cxn ang="0">
                  <a:pos x="T4" y="T5"/>
                </a:cxn>
                <a:cxn ang="0">
                  <a:pos x="T6" y="T7"/>
                </a:cxn>
                <a:cxn ang="0">
                  <a:pos x="T8" y="T9"/>
                </a:cxn>
                <a:cxn ang="0">
                  <a:pos x="T10" y="T11"/>
                </a:cxn>
                <a:cxn ang="0">
                  <a:pos x="T12" y="T13"/>
                </a:cxn>
              </a:cxnLst>
              <a:rect l="0" t="0" r="r" b="b"/>
              <a:pathLst>
                <a:path w="866" h="512">
                  <a:moveTo>
                    <a:pt x="866" y="512"/>
                  </a:moveTo>
                  <a:cubicBezTo>
                    <a:pt x="866" y="44"/>
                    <a:pt x="866" y="44"/>
                    <a:pt x="866" y="44"/>
                  </a:cubicBezTo>
                  <a:cubicBezTo>
                    <a:pt x="866" y="20"/>
                    <a:pt x="846" y="0"/>
                    <a:pt x="822" y="0"/>
                  </a:cubicBezTo>
                  <a:cubicBezTo>
                    <a:pt x="44" y="0"/>
                    <a:pt x="44" y="0"/>
                    <a:pt x="44" y="0"/>
                  </a:cubicBezTo>
                  <a:cubicBezTo>
                    <a:pt x="20" y="0"/>
                    <a:pt x="0" y="20"/>
                    <a:pt x="0" y="44"/>
                  </a:cubicBezTo>
                  <a:cubicBezTo>
                    <a:pt x="0" y="512"/>
                    <a:pt x="0" y="512"/>
                    <a:pt x="0" y="512"/>
                  </a:cubicBezTo>
                  <a:lnTo>
                    <a:pt x="866" y="512"/>
                  </a:lnTo>
                  <a:close/>
                </a:path>
              </a:pathLst>
            </a:custGeom>
            <a:solidFill>
              <a:schemeClr val="tx1">
                <a:lumMod val="65000"/>
                <a:lumOff val="35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Rectangle 9">
              <a:extLst>
                <a:ext uri="{FF2B5EF4-FFF2-40B4-BE49-F238E27FC236}">
                  <a16:creationId xmlns:a16="http://schemas.microsoft.com/office/drawing/2014/main" id="{512B697B-B6E5-4FA3-9553-2ECA282FBC6E}"/>
                </a:ext>
              </a:extLst>
            </p:cNvPr>
            <p:cNvSpPr>
              <a:spLocks noChangeArrowheads="1"/>
            </p:cNvSpPr>
            <p:nvPr/>
          </p:nvSpPr>
          <p:spPr bwMode="auto">
            <a:xfrm>
              <a:off x="4673856" y="4603904"/>
              <a:ext cx="2284413" cy="1311275"/>
            </a:xfrm>
            <a:prstGeom prst="rect">
              <a:avLst/>
            </a:prstGeom>
            <a:solidFill>
              <a:schemeClr val="accent3"/>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10">
              <a:extLst>
                <a:ext uri="{FF2B5EF4-FFF2-40B4-BE49-F238E27FC236}">
                  <a16:creationId xmlns:a16="http://schemas.microsoft.com/office/drawing/2014/main" id="{71071C9F-D76C-48FD-9888-6C550FDE9EA7}"/>
                </a:ext>
              </a:extLst>
            </p:cNvPr>
            <p:cNvSpPr>
              <a:spLocks noChangeArrowheads="1"/>
            </p:cNvSpPr>
            <p:nvPr/>
          </p:nvSpPr>
          <p:spPr bwMode="auto">
            <a:xfrm>
              <a:off x="5777169" y="6010429"/>
              <a:ext cx="80963" cy="80963"/>
            </a:xfrm>
            <a:prstGeom prst="ellipse">
              <a:avLst/>
            </a:prstGeom>
            <a:solidFill>
              <a:srgbClr val="53565A"/>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Freeform 11">
              <a:extLst>
                <a:ext uri="{FF2B5EF4-FFF2-40B4-BE49-F238E27FC236}">
                  <a16:creationId xmlns:a16="http://schemas.microsoft.com/office/drawing/2014/main" id="{A1335399-1CF9-478B-AEC9-FB2FC2045378}"/>
                </a:ext>
              </a:extLst>
            </p:cNvPr>
            <p:cNvSpPr/>
            <p:nvPr/>
          </p:nvSpPr>
          <p:spPr bwMode="auto">
            <a:xfrm>
              <a:off x="6397881" y="5307166"/>
              <a:ext cx="1674813" cy="1065213"/>
            </a:xfrm>
            <a:custGeom>
              <a:avLst/>
              <a:gdLst>
                <a:gd name="T0" fmla="*/ 598 w 598"/>
                <a:gd name="T1" fmla="*/ 364 h 380"/>
                <a:gd name="T2" fmla="*/ 568 w 598"/>
                <a:gd name="T3" fmla="*/ 376 h 380"/>
                <a:gd name="T4" fmla="*/ 30 w 598"/>
                <a:gd name="T5" fmla="*/ 376 h 380"/>
                <a:gd name="T6" fmla="*/ 0 w 598"/>
                <a:gd name="T7" fmla="*/ 364 h 380"/>
                <a:gd name="T8" fmla="*/ 0 w 598"/>
                <a:gd name="T9" fmla="*/ 31 h 380"/>
                <a:gd name="T10" fmla="*/ 30 w 598"/>
                <a:gd name="T11" fmla="*/ 0 h 380"/>
                <a:gd name="T12" fmla="*/ 568 w 598"/>
                <a:gd name="T13" fmla="*/ 0 h 380"/>
                <a:gd name="T14" fmla="*/ 598 w 598"/>
                <a:gd name="T15" fmla="*/ 31 h 380"/>
                <a:gd name="T16" fmla="*/ 598 w 598"/>
                <a:gd name="T17" fmla="*/ 36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8" h="380">
                  <a:moveTo>
                    <a:pt x="598" y="364"/>
                  </a:moveTo>
                  <a:cubicBezTo>
                    <a:pt x="598" y="380"/>
                    <a:pt x="585" y="376"/>
                    <a:pt x="568" y="376"/>
                  </a:cubicBezTo>
                  <a:cubicBezTo>
                    <a:pt x="30" y="376"/>
                    <a:pt x="30" y="376"/>
                    <a:pt x="30" y="376"/>
                  </a:cubicBezTo>
                  <a:cubicBezTo>
                    <a:pt x="14" y="376"/>
                    <a:pt x="0" y="380"/>
                    <a:pt x="0" y="364"/>
                  </a:cubicBezTo>
                  <a:cubicBezTo>
                    <a:pt x="0" y="31"/>
                    <a:pt x="0" y="31"/>
                    <a:pt x="0" y="31"/>
                  </a:cubicBezTo>
                  <a:cubicBezTo>
                    <a:pt x="0" y="14"/>
                    <a:pt x="14" y="0"/>
                    <a:pt x="30" y="0"/>
                  </a:cubicBezTo>
                  <a:cubicBezTo>
                    <a:pt x="568" y="0"/>
                    <a:pt x="568" y="0"/>
                    <a:pt x="568" y="0"/>
                  </a:cubicBezTo>
                  <a:cubicBezTo>
                    <a:pt x="585" y="0"/>
                    <a:pt x="598" y="14"/>
                    <a:pt x="598" y="31"/>
                  </a:cubicBezTo>
                  <a:cubicBezTo>
                    <a:pt x="598" y="364"/>
                    <a:pt x="598" y="364"/>
                    <a:pt x="598" y="364"/>
                  </a:cubicBezTo>
                </a:path>
              </a:pathLst>
            </a:custGeom>
            <a:solidFill>
              <a:srgbClr val="D1D3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Freeform 12">
              <a:extLst>
                <a:ext uri="{FF2B5EF4-FFF2-40B4-BE49-F238E27FC236}">
                  <a16:creationId xmlns:a16="http://schemas.microsoft.com/office/drawing/2014/main" id="{29A322AD-DC6C-4117-BBAD-79CD0DF3B8EF}"/>
                </a:ext>
              </a:extLst>
            </p:cNvPr>
            <p:cNvSpPr/>
            <p:nvPr/>
          </p:nvSpPr>
          <p:spPr bwMode="auto">
            <a:xfrm>
              <a:off x="6397881" y="5307166"/>
              <a:ext cx="1674813" cy="992188"/>
            </a:xfrm>
            <a:custGeom>
              <a:avLst/>
              <a:gdLst>
                <a:gd name="T0" fmla="*/ 598 w 598"/>
                <a:gd name="T1" fmla="*/ 354 h 354"/>
                <a:gd name="T2" fmla="*/ 598 w 598"/>
                <a:gd name="T3" fmla="*/ 31 h 354"/>
                <a:gd name="T4" fmla="*/ 568 w 598"/>
                <a:gd name="T5" fmla="*/ 0 h 354"/>
                <a:gd name="T6" fmla="*/ 30 w 598"/>
                <a:gd name="T7" fmla="*/ 0 h 354"/>
                <a:gd name="T8" fmla="*/ 0 w 598"/>
                <a:gd name="T9" fmla="*/ 31 h 354"/>
                <a:gd name="T10" fmla="*/ 0 w 598"/>
                <a:gd name="T11" fmla="*/ 354 h 354"/>
                <a:gd name="T12" fmla="*/ 598 w 598"/>
                <a:gd name="T13" fmla="*/ 354 h 354"/>
              </a:gdLst>
              <a:ahLst/>
              <a:cxnLst>
                <a:cxn ang="0">
                  <a:pos x="T0" y="T1"/>
                </a:cxn>
                <a:cxn ang="0">
                  <a:pos x="T2" y="T3"/>
                </a:cxn>
                <a:cxn ang="0">
                  <a:pos x="T4" y="T5"/>
                </a:cxn>
                <a:cxn ang="0">
                  <a:pos x="T6" y="T7"/>
                </a:cxn>
                <a:cxn ang="0">
                  <a:pos x="T8" y="T9"/>
                </a:cxn>
                <a:cxn ang="0">
                  <a:pos x="T10" y="T11"/>
                </a:cxn>
                <a:cxn ang="0">
                  <a:pos x="T12" y="T13"/>
                </a:cxn>
              </a:cxnLst>
              <a:rect l="0" t="0" r="r" b="b"/>
              <a:pathLst>
                <a:path w="598" h="354">
                  <a:moveTo>
                    <a:pt x="598" y="354"/>
                  </a:moveTo>
                  <a:cubicBezTo>
                    <a:pt x="598" y="31"/>
                    <a:pt x="598" y="31"/>
                    <a:pt x="598" y="31"/>
                  </a:cubicBezTo>
                  <a:cubicBezTo>
                    <a:pt x="598" y="14"/>
                    <a:pt x="585" y="0"/>
                    <a:pt x="568" y="0"/>
                  </a:cubicBezTo>
                  <a:cubicBezTo>
                    <a:pt x="30" y="0"/>
                    <a:pt x="30" y="0"/>
                    <a:pt x="30" y="0"/>
                  </a:cubicBezTo>
                  <a:cubicBezTo>
                    <a:pt x="14" y="0"/>
                    <a:pt x="0" y="14"/>
                    <a:pt x="0" y="31"/>
                  </a:cubicBezTo>
                  <a:cubicBezTo>
                    <a:pt x="0" y="354"/>
                    <a:pt x="0" y="354"/>
                    <a:pt x="0" y="354"/>
                  </a:cubicBezTo>
                  <a:lnTo>
                    <a:pt x="598" y="354"/>
                  </a:lnTo>
                  <a:close/>
                </a:path>
              </a:pathLst>
            </a:custGeom>
            <a:solidFill>
              <a:schemeClr val="tx1">
                <a:lumMod val="65000"/>
                <a:lumOff val="35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 name="Rectangle 13">
              <a:extLst>
                <a:ext uri="{FF2B5EF4-FFF2-40B4-BE49-F238E27FC236}">
                  <a16:creationId xmlns:a16="http://schemas.microsoft.com/office/drawing/2014/main" id="{38F6061C-440F-4A08-8B97-FA762610A040}"/>
                </a:ext>
              </a:extLst>
            </p:cNvPr>
            <p:cNvSpPr>
              <a:spLocks noChangeArrowheads="1"/>
            </p:cNvSpPr>
            <p:nvPr/>
          </p:nvSpPr>
          <p:spPr bwMode="auto">
            <a:xfrm>
              <a:off x="6445506" y="5354791"/>
              <a:ext cx="1579563" cy="908050"/>
            </a:xfrm>
            <a:prstGeom prst="rect">
              <a:avLst/>
            </a:prstGeom>
            <a:solidFill>
              <a:srgbClr val="00000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 name="Freeform 14">
              <a:extLst>
                <a:ext uri="{FF2B5EF4-FFF2-40B4-BE49-F238E27FC236}">
                  <a16:creationId xmlns:a16="http://schemas.microsoft.com/office/drawing/2014/main" id="{46E76355-85BD-45BB-9C8C-AD1BD11F9168}"/>
                </a:ext>
              </a:extLst>
            </p:cNvPr>
            <p:cNvSpPr/>
            <p:nvPr/>
          </p:nvSpPr>
          <p:spPr bwMode="auto">
            <a:xfrm>
              <a:off x="7210681" y="6335866"/>
              <a:ext cx="1058863" cy="69850"/>
            </a:xfrm>
            <a:custGeom>
              <a:avLst/>
              <a:gdLst>
                <a:gd name="T0" fmla="*/ 378 w 378"/>
                <a:gd name="T1" fmla="*/ 10 h 25"/>
                <a:gd name="T2" fmla="*/ 303 w 378"/>
                <a:gd name="T3" fmla="*/ 25 h 25"/>
                <a:gd name="T4" fmla="*/ 0 w 378"/>
                <a:gd name="T5" fmla="*/ 25 h 25"/>
                <a:gd name="T6" fmla="*/ 0 w 378"/>
                <a:gd name="T7" fmla="*/ 2 h 25"/>
                <a:gd name="T8" fmla="*/ 378 w 378"/>
                <a:gd name="T9" fmla="*/ 0 h 25"/>
                <a:gd name="T10" fmla="*/ 378 w 378"/>
                <a:gd name="T11" fmla="*/ 10 h 25"/>
              </a:gdLst>
              <a:ahLst/>
              <a:cxnLst>
                <a:cxn ang="0">
                  <a:pos x="T0" y="T1"/>
                </a:cxn>
                <a:cxn ang="0">
                  <a:pos x="T2" y="T3"/>
                </a:cxn>
                <a:cxn ang="0">
                  <a:pos x="T4" y="T5"/>
                </a:cxn>
                <a:cxn ang="0">
                  <a:pos x="T6" y="T7"/>
                </a:cxn>
                <a:cxn ang="0">
                  <a:pos x="T8" y="T9"/>
                </a:cxn>
                <a:cxn ang="0">
                  <a:pos x="T10" y="T11"/>
                </a:cxn>
              </a:cxnLst>
              <a:rect l="0" t="0" r="r" b="b"/>
              <a:pathLst>
                <a:path w="378" h="25">
                  <a:moveTo>
                    <a:pt x="378" y="10"/>
                  </a:moveTo>
                  <a:cubicBezTo>
                    <a:pt x="378" y="10"/>
                    <a:pt x="366" y="25"/>
                    <a:pt x="303" y="25"/>
                  </a:cubicBezTo>
                  <a:cubicBezTo>
                    <a:pt x="0" y="25"/>
                    <a:pt x="0" y="25"/>
                    <a:pt x="0" y="25"/>
                  </a:cubicBezTo>
                  <a:cubicBezTo>
                    <a:pt x="0" y="2"/>
                    <a:pt x="0" y="2"/>
                    <a:pt x="0" y="2"/>
                  </a:cubicBezTo>
                  <a:cubicBezTo>
                    <a:pt x="378" y="0"/>
                    <a:pt x="378" y="0"/>
                    <a:pt x="378" y="0"/>
                  </a:cubicBezTo>
                  <a:lnTo>
                    <a:pt x="378" y="10"/>
                  </a:lnTo>
                  <a:close/>
                </a:path>
              </a:pathLst>
            </a:custGeom>
            <a:solidFill>
              <a:srgbClr val="7F7F7F"/>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 name="Freeform 15">
              <a:extLst>
                <a:ext uri="{FF2B5EF4-FFF2-40B4-BE49-F238E27FC236}">
                  <a16:creationId xmlns:a16="http://schemas.microsoft.com/office/drawing/2014/main" id="{038D660D-ECD7-495A-AB91-D6AB996395CD}"/>
                </a:ext>
              </a:extLst>
            </p:cNvPr>
            <p:cNvSpPr/>
            <p:nvPr/>
          </p:nvSpPr>
          <p:spPr bwMode="auto">
            <a:xfrm>
              <a:off x="6208969" y="6335866"/>
              <a:ext cx="1060450" cy="69850"/>
            </a:xfrm>
            <a:custGeom>
              <a:avLst/>
              <a:gdLst>
                <a:gd name="T0" fmla="*/ 0 w 379"/>
                <a:gd name="T1" fmla="*/ 10 h 25"/>
                <a:gd name="T2" fmla="*/ 76 w 379"/>
                <a:gd name="T3" fmla="*/ 25 h 25"/>
                <a:gd name="T4" fmla="*/ 379 w 379"/>
                <a:gd name="T5" fmla="*/ 25 h 25"/>
                <a:gd name="T6" fmla="*/ 379 w 379"/>
                <a:gd name="T7" fmla="*/ 2 h 25"/>
                <a:gd name="T8" fmla="*/ 1 w 379"/>
                <a:gd name="T9" fmla="*/ 0 h 25"/>
                <a:gd name="T10" fmla="*/ 0 w 379"/>
                <a:gd name="T11" fmla="*/ 10 h 25"/>
              </a:gdLst>
              <a:ahLst/>
              <a:cxnLst>
                <a:cxn ang="0">
                  <a:pos x="T0" y="T1"/>
                </a:cxn>
                <a:cxn ang="0">
                  <a:pos x="T2" y="T3"/>
                </a:cxn>
                <a:cxn ang="0">
                  <a:pos x="T4" y="T5"/>
                </a:cxn>
                <a:cxn ang="0">
                  <a:pos x="T6" y="T7"/>
                </a:cxn>
                <a:cxn ang="0">
                  <a:pos x="T8" y="T9"/>
                </a:cxn>
                <a:cxn ang="0">
                  <a:pos x="T10" y="T11"/>
                </a:cxn>
              </a:cxnLst>
              <a:rect l="0" t="0" r="r" b="b"/>
              <a:pathLst>
                <a:path w="379" h="25">
                  <a:moveTo>
                    <a:pt x="0" y="10"/>
                  </a:moveTo>
                  <a:cubicBezTo>
                    <a:pt x="0" y="10"/>
                    <a:pt x="13" y="25"/>
                    <a:pt x="76" y="25"/>
                  </a:cubicBezTo>
                  <a:cubicBezTo>
                    <a:pt x="379" y="25"/>
                    <a:pt x="379" y="25"/>
                    <a:pt x="379" y="25"/>
                  </a:cubicBezTo>
                  <a:cubicBezTo>
                    <a:pt x="379" y="2"/>
                    <a:pt x="379" y="2"/>
                    <a:pt x="379" y="2"/>
                  </a:cubicBezTo>
                  <a:cubicBezTo>
                    <a:pt x="1" y="0"/>
                    <a:pt x="1" y="0"/>
                    <a:pt x="1" y="0"/>
                  </a:cubicBezTo>
                  <a:lnTo>
                    <a:pt x="0" y="10"/>
                  </a:lnTo>
                  <a:close/>
                </a:path>
              </a:pathLst>
            </a:custGeom>
            <a:solidFill>
              <a:schemeClr val="bg1">
                <a:lumMod val="50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 name="Freeform 16">
              <a:extLst>
                <a:ext uri="{FF2B5EF4-FFF2-40B4-BE49-F238E27FC236}">
                  <a16:creationId xmlns:a16="http://schemas.microsoft.com/office/drawing/2014/main" id="{3A7909BF-88D7-4582-AE88-D3D105F0DF39}"/>
                </a:ext>
              </a:extLst>
            </p:cNvPr>
            <p:cNvSpPr/>
            <p:nvPr/>
          </p:nvSpPr>
          <p:spPr bwMode="auto">
            <a:xfrm>
              <a:off x="6191506" y="6302529"/>
              <a:ext cx="2105025" cy="58738"/>
            </a:xfrm>
            <a:custGeom>
              <a:avLst/>
              <a:gdLst>
                <a:gd name="T0" fmla="*/ 752 w 752"/>
                <a:gd name="T1" fmla="*/ 11 h 21"/>
                <a:gd name="T2" fmla="*/ 739 w 752"/>
                <a:gd name="T3" fmla="*/ 21 h 21"/>
                <a:gd name="T4" fmla="*/ 14 w 752"/>
                <a:gd name="T5" fmla="*/ 21 h 21"/>
                <a:gd name="T6" fmla="*/ 0 w 752"/>
                <a:gd name="T7" fmla="*/ 11 h 21"/>
                <a:gd name="T8" fmla="*/ 14 w 752"/>
                <a:gd name="T9" fmla="*/ 0 h 21"/>
                <a:gd name="T10" fmla="*/ 739 w 752"/>
                <a:gd name="T11" fmla="*/ 0 h 21"/>
                <a:gd name="T12" fmla="*/ 752 w 752"/>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752" h="21">
                  <a:moveTo>
                    <a:pt x="752" y="11"/>
                  </a:moveTo>
                  <a:cubicBezTo>
                    <a:pt x="752" y="17"/>
                    <a:pt x="746" y="21"/>
                    <a:pt x="739" y="21"/>
                  </a:cubicBezTo>
                  <a:cubicBezTo>
                    <a:pt x="14" y="21"/>
                    <a:pt x="14" y="21"/>
                    <a:pt x="14" y="21"/>
                  </a:cubicBezTo>
                  <a:cubicBezTo>
                    <a:pt x="6" y="21"/>
                    <a:pt x="0" y="17"/>
                    <a:pt x="0" y="11"/>
                  </a:cubicBezTo>
                  <a:cubicBezTo>
                    <a:pt x="0" y="5"/>
                    <a:pt x="6" y="0"/>
                    <a:pt x="14" y="0"/>
                  </a:cubicBezTo>
                  <a:cubicBezTo>
                    <a:pt x="739" y="0"/>
                    <a:pt x="739" y="0"/>
                    <a:pt x="739" y="0"/>
                  </a:cubicBezTo>
                  <a:cubicBezTo>
                    <a:pt x="746" y="0"/>
                    <a:pt x="752" y="5"/>
                    <a:pt x="752" y="11"/>
                  </a:cubicBezTo>
                </a:path>
              </a:pathLst>
            </a:custGeom>
            <a:solidFill>
              <a:schemeClr val="bg1">
                <a:lumMod val="50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pic>
          <p:nvPicPr>
            <p:cNvPr id="18" name="Picture 17">
              <a:extLst>
                <a:ext uri="{FF2B5EF4-FFF2-40B4-BE49-F238E27FC236}">
                  <a16:creationId xmlns:a16="http://schemas.microsoft.com/office/drawing/2014/main" id="{CA607CA1-3051-42C8-A3D4-174DBD82FF4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55106" y="6293004"/>
              <a:ext cx="38100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a:extLst>
                <a:ext uri="{FF2B5EF4-FFF2-40B4-BE49-F238E27FC236}">
                  <a16:creationId xmlns:a16="http://schemas.microsoft.com/office/drawing/2014/main" id="{CFACD781-9170-4BEB-8610-0F55EBA31E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55106" y="6293004"/>
              <a:ext cx="381000" cy="53975"/>
            </a:xfrm>
            <a:prstGeom prst="rect">
              <a:avLst/>
            </a:prstGeom>
            <a:solidFill>
              <a:srgbClr val="335B74">
                <a:lumMod val="75000"/>
              </a:srgbClr>
            </a:solidFill>
            <a:ln>
              <a:noFill/>
            </a:ln>
          </p:spPr>
        </p:pic>
        <p:sp>
          <p:nvSpPr>
            <p:cNvPr id="26" name="Freeform 23">
              <a:extLst>
                <a:ext uri="{FF2B5EF4-FFF2-40B4-BE49-F238E27FC236}">
                  <a16:creationId xmlns:a16="http://schemas.microsoft.com/office/drawing/2014/main" id="{2B9E91DD-383A-42EE-87B4-DA036059CC17}"/>
                </a:ext>
              </a:extLst>
            </p:cNvPr>
            <p:cNvSpPr/>
            <p:nvPr/>
          </p:nvSpPr>
          <p:spPr bwMode="auto">
            <a:xfrm>
              <a:off x="3802319" y="5596091"/>
              <a:ext cx="1231900" cy="809625"/>
            </a:xfrm>
            <a:custGeom>
              <a:avLst/>
              <a:gdLst>
                <a:gd name="T0" fmla="*/ 440 w 440"/>
                <a:gd name="T1" fmla="*/ 267 h 289"/>
                <a:gd name="T2" fmla="*/ 418 w 440"/>
                <a:gd name="T3" fmla="*/ 289 h 289"/>
                <a:gd name="T4" fmla="*/ 22 w 440"/>
                <a:gd name="T5" fmla="*/ 289 h 289"/>
                <a:gd name="T6" fmla="*/ 0 w 440"/>
                <a:gd name="T7" fmla="*/ 267 h 289"/>
                <a:gd name="T8" fmla="*/ 0 w 440"/>
                <a:gd name="T9" fmla="*/ 22 h 289"/>
                <a:gd name="T10" fmla="*/ 22 w 440"/>
                <a:gd name="T11" fmla="*/ 0 h 289"/>
                <a:gd name="T12" fmla="*/ 418 w 440"/>
                <a:gd name="T13" fmla="*/ 0 h 289"/>
                <a:gd name="T14" fmla="*/ 440 w 440"/>
                <a:gd name="T15" fmla="*/ 22 h 289"/>
                <a:gd name="T16" fmla="*/ 440 w 440"/>
                <a:gd name="T17" fmla="*/ 26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0" h="289">
                  <a:moveTo>
                    <a:pt x="440" y="267"/>
                  </a:moveTo>
                  <a:cubicBezTo>
                    <a:pt x="440" y="279"/>
                    <a:pt x="430" y="289"/>
                    <a:pt x="418" y="289"/>
                  </a:cubicBezTo>
                  <a:cubicBezTo>
                    <a:pt x="22" y="289"/>
                    <a:pt x="22" y="289"/>
                    <a:pt x="22" y="289"/>
                  </a:cubicBezTo>
                  <a:cubicBezTo>
                    <a:pt x="10" y="289"/>
                    <a:pt x="0" y="279"/>
                    <a:pt x="0" y="267"/>
                  </a:cubicBezTo>
                  <a:cubicBezTo>
                    <a:pt x="0" y="22"/>
                    <a:pt x="0" y="22"/>
                    <a:pt x="0" y="22"/>
                  </a:cubicBezTo>
                  <a:cubicBezTo>
                    <a:pt x="0" y="10"/>
                    <a:pt x="10" y="0"/>
                    <a:pt x="22" y="0"/>
                  </a:cubicBezTo>
                  <a:cubicBezTo>
                    <a:pt x="418" y="0"/>
                    <a:pt x="418" y="0"/>
                    <a:pt x="418" y="0"/>
                  </a:cubicBezTo>
                  <a:cubicBezTo>
                    <a:pt x="430" y="0"/>
                    <a:pt x="440" y="10"/>
                    <a:pt x="440" y="22"/>
                  </a:cubicBezTo>
                  <a:lnTo>
                    <a:pt x="440" y="267"/>
                  </a:lnTo>
                  <a:close/>
                </a:path>
              </a:pathLst>
            </a:custGeom>
            <a:solidFill>
              <a:srgbClr val="00000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Oval 24">
              <a:extLst>
                <a:ext uri="{FF2B5EF4-FFF2-40B4-BE49-F238E27FC236}">
                  <a16:creationId xmlns:a16="http://schemas.microsoft.com/office/drawing/2014/main" id="{2B6412BC-90B8-4D69-942D-8CB3D8B7CD2C}"/>
                </a:ext>
              </a:extLst>
            </p:cNvPr>
            <p:cNvSpPr>
              <a:spLocks noChangeArrowheads="1"/>
            </p:cNvSpPr>
            <p:nvPr/>
          </p:nvSpPr>
          <p:spPr bwMode="auto">
            <a:xfrm>
              <a:off x="4911981" y="5962804"/>
              <a:ext cx="73025" cy="73025"/>
            </a:xfrm>
            <a:prstGeom prst="ellipse">
              <a:avLst/>
            </a:prstGeom>
            <a:solidFill>
              <a:srgbClr val="5859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Freeform 25">
              <a:extLst>
                <a:ext uri="{FF2B5EF4-FFF2-40B4-BE49-F238E27FC236}">
                  <a16:creationId xmlns:a16="http://schemas.microsoft.com/office/drawing/2014/main" id="{6D281AA3-CAA0-4FC2-86D2-4553ABDE6262}"/>
                </a:ext>
              </a:extLst>
            </p:cNvPr>
            <p:cNvSpPr/>
            <p:nvPr/>
          </p:nvSpPr>
          <p:spPr bwMode="auto">
            <a:xfrm>
              <a:off x="3802319" y="5596091"/>
              <a:ext cx="1084263" cy="809625"/>
            </a:xfrm>
            <a:custGeom>
              <a:avLst/>
              <a:gdLst>
                <a:gd name="T0" fmla="*/ 387 w 387"/>
                <a:gd name="T1" fmla="*/ 289 h 289"/>
                <a:gd name="T2" fmla="*/ 22 w 387"/>
                <a:gd name="T3" fmla="*/ 289 h 289"/>
                <a:gd name="T4" fmla="*/ 0 w 387"/>
                <a:gd name="T5" fmla="*/ 267 h 289"/>
                <a:gd name="T6" fmla="*/ 0 w 387"/>
                <a:gd name="T7" fmla="*/ 22 h 289"/>
                <a:gd name="T8" fmla="*/ 22 w 387"/>
                <a:gd name="T9" fmla="*/ 0 h 289"/>
                <a:gd name="T10" fmla="*/ 387 w 387"/>
                <a:gd name="T11" fmla="*/ 0 h 289"/>
                <a:gd name="T12" fmla="*/ 387 w 387"/>
                <a:gd name="T13" fmla="*/ 289 h 289"/>
              </a:gdLst>
              <a:ahLst/>
              <a:cxnLst>
                <a:cxn ang="0">
                  <a:pos x="T0" y="T1"/>
                </a:cxn>
                <a:cxn ang="0">
                  <a:pos x="T2" y="T3"/>
                </a:cxn>
                <a:cxn ang="0">
                  <a:pos x="T4" y="T5"/>
                </a:cxn>
                <a:cxn ang="0">
                  <a:pos x="T6" y="T7"/>
                </a:cxn>
                <a:cxn ang="0">
                  <a:pos x="T8" y="T9"/>
                </a:cxn>
                <a:cxn ang="0">
                  <a:pos x="T10" y="T11"/>
                </a:cxn>
                <a:cxn ang="0">
                  <a:pos x="T12" y="T13"/>
                </a:cxn>
              </a:cxnLst>
              <a:rect l="0" t="0" r="r" b="b"/>
              <a:pathLst>
                <a:path w="387" h="289">
                  <a:moveTo>
                    <a:pt x="387" y="289"/>
                  </a:moveTo>
                  <a:cubicBezTo>
                    <a:pt x="22" y="289"/>
                    <a:pt x="22" y="289"/>
                    <a:pt x="22" y="289"/>
                  </a:cubicBezTo>
                  <a:cubicBezTo>
                    <a:pt x="10" y="289"/>
                    <a:pt x="0" y="279"/>
                    <a:pt x="0" y="267"/>
                  </a:cubicBezTo>
                  <a:cubicBezTo>
                    <a:pt x="0" y="22"/>
                    <a:pt x="0" y="22"/>
                    <a:pt x="0" y="22"/>
                  </a:cubicBezTo>
                  <a:cubicBezTo>
                    <a:pt x="0" y="10"/>
                    <a:pt x="10" y="0"/>
                    <a:pt x="22" y="0"/>
                  </a:cubicBezTo>
                  <a:cubicBezTo>
                    <a:pt x="387" y="0"/>
                    <a:pt x="387" y="0"/>
                    <a:pt x="387" y="0"/>
                  </a:cubicBezTo>
                  <a:lnTo>
                    <a:pt x="387" y="289"/>
                  </a:lnTo>
                  <a:close/>
                </a:path>
              </a:pathLst>
            </a:custGeom>
            <a:solidFill>
              <a:srgbClr val="53565A"/>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Oval 26">
              <a:extLst>
                <a:ext uri="{FF2B5EF4-FFF2-40B4-BE49-F238E27FC236}">
                  <a16:creationId xmlns:a16="http://schemas.microsoft.com/office/drawing/2014/main" id="{BFEC5B19-04EC-40DC-A669-64433CDF2B74}"/>
                </a:ext>
              </a:extLst>
            </p:cNvPr>
            <p:cNvSpPr>
              <a:spLocks noChangeArrowheads="1"/>
            </p:cNvSpPr>
            <p:nvPr/>
          </p:nvSpPr>
          <p:spPr bwMode="auto">
            <a:xfrm>
              <a:off x="4911981" y="5962804"/>
              <a:ext cx="73025" cy="73025"/>
            </a:xfrm>
            <a:prstGeom prst="ellipse">
              <a:avLst/>
            </a:prstGeom>
            <a:solidFill>
              <a:srgbClr val="53565A"/>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7">
              <a:extLst>
                <a:ext uri="{FF2B5EF4-FFF2-40B4-BE49-F238E27FC236}">
                  <a16:creationId xmlns:a16="http://schemas.microsoft.com/office/drawing/2014/main" id="{610F4878-1BF7-4151-AB6E-3892361EF2AA}"/>
                </a:ext>
              </a:extLst>
            </p:cNvPr>
            <p:cNvSpPr>
              <a:spLocks noChangeArrowheads="1"/>
            </p:cNvSpPr>
            <p:nvPr/>
          </p:nvSpPr>
          <p:spPr bwMode="auto">
            <a:xfrm>
              <a:off x="3853119" y="5635779"/>
              <a:ext cx="996950" cy="736600"/>
            </a:xfrm>
            <a:prstGeom prst="rect">
              <a:avLst/>
            </a:prstGeom>
            <a:solidFill>
              <a:schemeClr val="accent1"/>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Freeform 28">
              <a:extLst>
                <a:ext uri="{FF2B5EF4-FFF2-40B4-BE49-F238E27FC236}">
                  <a16:creationId xmlns:a16="http://schemas.microsoft.com/office/drawing/2014/main" id="{64539ACC-7B66-4904-89B8-23B15BC5AECF}"/>
                </a:ext>
              </a:extLst>
            </p:cNvPr>
            <p:cNvSpPr/>
            <p:nvPr/>
          </p:nvSpPr>
          <p:spPr bwMode="auto">
            <a:xfrm>
              <a:off x="4923094" y="3541866"/>
              <a:ext cx="327025" cy="866775"/>
            </a:xfrm>
            <a:custGeom>
              <a:avLst/>
              <a:gdLst>
                <a:gd name="T0" fmla="*/ 94 w 117"/>
                <a:gd name="T1" fmla="*/ 296 h 309"/>
                <a:gd name="T2" fmla="*/ 90 w 117"/>
                <a:gd name="T3" fmla="*/ 41 h 309"/>
                <a:gd name="T4" fmla="*/ 102 w 117"/>
                <a:gd name="T5" fmla="*/ 52 h 309"/>
                <a:gd name="T6" fmla="*/ 117 w 117"/>
                <a:gd name="T7" fmla="*/ 0 h 309"/>
                <a:gd name="T8" fmla="*/ 58 w 117"/>
                <a:gd name="T9" fmla="*/ 10 h 309"/>
                <a:gd name="T10" fmla="*/ 76 w 117"/>
                <a:gd name="T11" fmla="*/ 28 h 309"/>
                <a:gd name="T12" fmla="*/ 81 w 117"/>
                <a:gd name="T13" fmla="*/ 309 h 309"/>
                <a:gd name="T14" fmla="*/ 94 w 117"/>
                <a:gd name="T15" fmla="*/ 296 h 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309">
                  <a:moveTo>
                    <a:pt x="94" y="296"/>
                  </a:moveTo>
                  <a:cubicBezTo>
                    <a:pt x="22" y="227"/>
                    <a:pt x="20" y="112"/>
                    <a:pt x="90" y="41"/>
                  </a:cubicBezTo>
                  <a:cubicBezTo>
                    <a:pt x="102" y="52"/>
                    <a:pt x="102" y="52"/>
                    <a:pt x="102" y="52"/>
                  </a:cubicBezTo>
                  <a:cubicBezTo>
                    <a:pt x="117" y="0"/>
                    <a:pt x="117" y="0"/>
                    <a:pt x="117" y="0"/>
                  </a:cubicBezTo>
                  <a:cubicBezTo>
                    <a:pt x="58" y="10"/>
                    <a:pt x="58" y="10"/>
                    <a:pt x="58" y="10"/>
                  </a:cubicBezTo>
                  <a:cubicBezTo>
                    <a:pt x="76" y="28"/>
                    <a:pt x="76" y="28"/>
                    <a:pt x="76" y="28"/>
                  </a:cubicBezTo>
                  <a:cubicBezTo>
                    <a:pt x="0" y="107"/>
                    <a:pt x="2" y="233"/>
                    <a:pt x="81" y="309"/>
                  </a:cubicBezTo>
                  <a:lnTo>
                    <a:pt x="94" y="296"/>
                  </a:lnTo>
                  <a:close/>
                </a:path>
              </a:pathLst>
            </a:custGeom>
            <a:solidFill>
              <a:schemeClr val="accent3"/>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Freeform 29">
              <a:extLst>
                <a:ext uri="{FF2B5EF4-FFF2-40B4-BE49-F238E27FC236}">
                  <a16:creationId xmlns:a16="http://schemas.microsoft.com/office/drawing/2014/main" id="{DC755020-4669-4241-A758-1F35ABDEA156}"/>
                </a:ext>
              </a:extLst>
            </p:cNvPr>
            <p:cNvSpPr/>
            <p:nvPr/>
          </p:nvSpPr>
          <p:spPr bwMode="auto">
            <a:xfrm>
              <a:off x="7093206" y="3859366"/>
              <a:ext cx="663575" cy="682625"/>
            </a:xfrm>
            <a:custGeom>
              <a:avLst/>
              <a:gdLst>
                <a:gd name="T0" fmla="*/ 207 w 237"/>
                <a:gd name="T1" fmla="*/ 2 h 244"/>
                <a:gd name="T2" fmla="*/ 47 w 237"/>
                <a:gd name="T3" fmla="*/ 200 h 244"/>
                <a:gd name="T4" fmla="*/ 45 w 237"/>
                <a:gd name="T5" fmla="*/ 184 h 244"/>
                <a:gd name="T6" fmla="*/ 0 w 237"/>
                <a:gd name="T7" fmla="*/ 214 h 244"/>
                <a:gd name="T8" fmla="*/ 51 w 237"/>
                <a:gd name="T9" fmla="*/ 244 h 244"/>
                <a:gd name="T10" fmla="*/ 49 w 237"/>
                <a:gd name="T11" fmla="*/ 219 h 244"/>
                <a:gd name="T12" fmla="*/ 225 w 237"/>
                <a:gd name="T13" fmla="*/ 0 h 244"/>
                <a:gd name="T14" fmla="*/ 207 w 237"/>
                <a:gd name="T15" fmla="*/ 2 h 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244">
                  <a:moveTo>
                    <a:pt x="207" y="2"/>
                  </a:moveTo>
                  <a:cubicBezTo>
                    <a:pt x="218" y="101"/>
                    <a:pt x="146" y="190"/>
                    <a:pt x="47" y="200"/>
                  </a:cubicBezTo>
                  <a:cubicBezTo>
                    <a:pt x="45" y="184"/>
                    <a:pt x="45" y="184"/>
                    <a:pt x="45" y="184"/>
                  </a:cubicBezTo>
                  <a:cubicBezTo>
                    <a:pt x="0" y="214"/>
                    <a:pt x="0" y="214"/>
                    <a:pt x="0" y="214"/>
                  </a:cubicBezTo>
                  <a:cubicBezTo>
                    <a:pt x="51" y="244"/>
                    <a:pt x="51" y="244"/>
                    <a:pt x="51" y="244"/>
                  </a:cubicBezTo>
                  <a:cubicBezTo>
                    <a:pt x="49" y="219"/>
                    <a:pt x="49" y="219"/>
                    <a:pt x="49" y="219"/>
                  </a:cubicBezTo>
                  <a:cubicBezTo>
                    <a:pt x="158" y="207"/>
                    <a:pt x="237" y="109"/>
                    <a:pt x="225" y="0"/>
                  </a:cubicBezTo>
                  <a:lnTo>
                    <a:pt x="207" y="2"/>
                  </a:lnTo>
                  <a:close/>
                </a:path>
              </a:pathLst>
            </a:custGeom>
            <a:solidFill>
              <a:schemeClr val="accent3"/>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Freeform 30">
              <a:extLst>
                <a:ext uri="{FF2B5EF4-FFF2-40B4-BE49-F238E27FC236}">
                  <a16:creationId xmlns:a16="http://schemas.microsoft.com/office/drawing/2014/main" id="{0FA83769-9CFB-4965-867A-7AF2E44154CB}"/>
                </a:ext>
              </a:extLst>
            </p:cNvPr>
            <p:cNvSpPr/>
            <p:nvPr/>
          </p:nvSpPr>
          <p:spPr bwMode="auto">
            <a:xfrm rot="19371359">
              <a:off x="8284078" y="5641450"/>
              <a:ext cx="865188" cy="365125"/>
            </a:xfrm>
            <a:custGeom>
              <a:avLst/>
              <a:gdLst>
                <a:gd name="T0" fmla="*/ 0 w 309"/>
                <a:gd name="T1" fmla="*/ 9 h 130"/>
                <a:gd name="T2" fmla="*/ 274 w 309"/>
                <a:gd name="T3" fmla="*/ 71 h 130"/>
                <a:gd name="T4" fmla="*/ 287 w 309"/>
                <a:gd name="T5" fmla="*/ 93 h 130"/>
                <a:gd name="T6" fmla="*/ 309 w 309"/>
                <a:gd name="T7" fmla="*/ 38 h 130"/>
                <a:gd name="T8" fmla="*/ 255 w 309"/>
                <a:gd name="T9" fmla="*/ 42 h 130"/>
                <a:gd name="T10" fmla="*/ 264 w 309"/>
                <a:gd name="T11" fmla="*/ 56 h 130"/>
                <a:gd name="T12" fmla="*/ 15 w 309"/>
                <a:gd name="T13" fmla="*/ 0 h 130"/>
                <a:gd name="T14" fmla="*/ 0 w 309"/>
                <a:gd name="T15" fmla="*/ 9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130">
                  <a:moveTo>
                    <a:pt x="0" y="9"/>
                  </a:moveTo>
                  <a:cubicBezTo>
                    <a:pt x="58" y="102"/>
                    <a:pt x="181" y="130"/>
                    <a:pt x="274" y="71"/>
                  </a:cubicBezTo>
                  <a:cubicBezTo>
                    <a:pt x="287" y="93"/>
                    <a:pt x="287" y="93"/>
                    <a:pt x="287" y="93"/>
                  </a:cubicBezTo>
                  <a:cubicBezTo>
                    <a:pt x="309" y="38"/>
                    <a:pt x="309" y="38"/>
                    <a:pt x="309" y="38"/>
                  </a:cubicBezTo>
                  <a:cubicBezTo>
                    <a:pt x="255" y="42"/>
                    <a:pt x="255" y="42"/>
                    <a:pt x="255" y="42"/>
                  </a:cubicBezTo>
                  <a:cubicBezTo>
                    <a:pt x="264" y="56"/>
                    <a:pt x="264" y="56"/>
                    <a:pt x="264" y="56"/>
                  </a:cubicBezTo>
                  <a:cubicBezTo>
                    <a:pt x="180" y="109"/>
                    <a:pt x="68" y="84"/>
                    <a:pt x="15" y="0"/>
                  </a:cubicBezTo>
                  <a:lnTo>
                    <a:pt x="0" y="9"/>
                  </a:lnTo>
                  <a:close/>
                </a:path>
              </a:pathLst>
            </a:custGeom>
            <a:solidFill>
              <a:srgbClr val="00000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Freeform 31">
              <a:extLst>
                <a:ext uri="{FF2B5EF4-FFF2-40B4-BE49-F238E27FC236}">
                  <a16:creationId xmlns:a16="http://schemas.microsoft.com/office/drawing/2014/main" id="{3805B89D-B2EE-4CB9-88E2-86FFCD3A522E}"/>
                </a:ext>
              </a:extLst>
            </p:cNvPr>
            <p:cNvSpPr/>
            <p:nvPr/>
          </p:nvSpPr>
          <p:spPr bwMode="auto">
            <a:xfrm rot="20133781">
              <a:off x="7723540" y="4328470"/>
              <a:ext cx="836613" cy="417513"/>
            </a:xfrm>
            <a:custGeom>
              <a:avLst/>
              <a:gdLst>
                <a:gd name="T0" fmla="*/ 299 w 299"/>
                <a:gd name="T1" fmla="*/ 67 h 149"/>
                <a:gd name="T2" fmla="*/ 21 w 299"/>
                <a:gd name="T3" fmla="*/ 105 h 149"/>
                <a:gd name="T4" fmla="*/ 1 w 299"/>
                <a:gd name="T5" fmla="*/ 90 h 149"/>
                <a:gd name="T6" fmla="*/ 0 w 299"/>
                <a:gd name="T7" fmla="*/ 149 h 149"/>
                <a:gd name="T8" fmla="*/ 48 w 299"/>
                <a:gd name="T9" fmla="*/ 126 h 149"/>
                <a:gd name="T10" fmla="*/ 35 w 299"/>
                <a:gd name="T11" fmla="*/ 116 h 149"/>
                <a:gd name="T12" fmla="*/ 288 w 299"/>
                <a:gd name="T13" fmla="*/ 81 h 149"/>
                <a:gd name="T14" fmla="*/ 299 w 299"/>
                <a:gd name="T15" fmla="*/ 67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9" h="149">
                  <a:moveTo>
                    <a:pt x="299" y="67"/>
                  </a:moveTo>
                  <a:cubicBezTo>
                    <a:pt x="212" y="0"/>
                    <a:pt x="87" y="17"/>
                    <a:pt x="21" y="105"/>
                  </a:cubicBezTo>
                  <a:cubicBezTo>
                    <a:pt x="1" y="90"/>
                    <a:pt x="1" y="90"/>
                    <a:pt x="1" y="90"/>
                  </a:cubicBezTo>
                  <a:cubicBezTo>
                    <a:pt x="0" y="149"/>
                    <a:pt x="0" y="149"/>
                    <a:pt x="0" y="149"/>
                  </a:cubicBezTo>
                  <a:cubicBezTo>
                    <a:pt x="48" y="126"/>
                    <a:pt x="48" y="126"/>
                    <a:pt x="48" y="126"/>
                  </a:cubicBezTo>
                  <a:cubicBezTo>
                    <a:pt x="35" y="116"/>
                    <a:pt x="35" y="116"/>
                    <a:pt x="35" y="116"/>
                  </a:cubicBezTo>
                  <a:cubicBezTo>
                    <a:pt x="95" y="36"/>
                    <a:pt x="209" y="21"/>
                    <a:pt x="288" y="81"/>
                  </a:cubicBezTo>
                  <a:lnTo>
                    <a:pt x="299" y="67"/>
                  </a:lnTo>
                  <a:close/>
                </a:path>
              </a:pathLst>
            </a:custGeom>
            <a:solidFill>
              <a:srgbClr val="00000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Freeform 32">
              <a:extLst>
                <a:ext uri="{FF2B5EF4-FFF2-40B4-BE49-F238E27FC236}">
                  <a16:creationId xmlns:a16="http://schemas.microsoft.com/office/drawing/2014/main" id="{3D180623-DF4E-47AA-83D8-8D296191F0E1}"/>
                </a:ext>
              </a:extLst>
            </p:cNvPr>
            <p:cNvSpPr/>
            <p:nvPr/>
          </p:nvSpPr>
          <p:spPr bwMode="auto">
            <a:xfrm>
              <a:off x="4097593" y="4680103"/>
              <a:ext cx="539750" cy="801688"/>
            </a:xfrm>
            <a:custGeom>
              <a:avLst/>
              <a:gdLst>
                <a:gd name="T0" fmla="*/ 148 w 193"/>
                <a:gd name="T1" fmla="*/ 286 h 286"/>
                <a:gd name="T2" fmla="*/ 48 w 193"/>
                <a:gd name="T3" fmla="*/ 23 h 286"/>
                <a:gd name="T4" fmla="*/ 58 w 193"/>
                <a:gd name="T5" fmla="*/ 0 h 286"/>
                <a:gd name="T6" fmla="*/ 0 w 193"/>
                <a:gd name="T7" fmla="*/ 13 h 286"/>
                <a:gd name="T8" fmla="*/ 34 w 193"/>
                <a:gd name="T9" fmla="*/ 55 h 286"/>
                <a:gd name="T10" fmla="*/ 40 w 193"/>
                <a:gd name="T11" fmla="*/ 40 h 286"/>
                <a:gd name="T12" fmla="*/ 131 w 193"/>
                <a:gd name="T13" fmla="*/ 278 h 286"/>
                <a:gd name="T14" fmla="*/ 148 w 193"/>
                <a:gd name="T15" fmla="*/ 286 h 2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3" h="286">
                  <a:moveTo>
                    <a:pt x="148" y="286"/>
                  </a:moveTo>
                  <a:cubicBezTo>
                    <a:pt x="193" y="186"/>
                    <a:pt x="148" y="68"/>
                    <a:pt x="48" y="23"/>
                  </a:cubicBezTo>
                  <a:cubicBezTo>
                    <a:pt x="58" y="0"/>
                    <a:pt x="58" y="0"/>
                    <a:pt x="58" y="0"/>
                  </a:cubicBezTo>
                  <a:cubicBezTo>
                    <a:pt x="0" y="13"/>
                    <a:pt x="0" y="13"/>
                    <a:pt x="0" y="13"/>
                  </a:cubicBezTo>
                  <a:cubicBezTo>
                    <a:pt x="34" y="55"/>
                    <a:pt x="34" y="55"/>
                    <a:pt x="34" y="55"/>
                  </a:cubicBezTo>
                  <a:cubicBezTo>
                    <a:pt x="40" y="40"/>
                    <a:pt x="40" y="40"/>
                    <a:pt x="40" y="40"/>
                  </a:cubicBezTo>
                  <a:cubicBezTo>
                    <a:pt x="131" y="81"/>
                    <a:pt x="172" y="187"/>
                    <a:pt x="131" y="278"/>
                  </a:cubicBezTo>
                  <a:lnTo>
                    <a:pt x="148" y="286"/>
                  </a:lnTo>
                  <a:close/>
                </a:path>
              </a:pathLst>
            </a:custGeom>
            <a:solidFill>
              <a:schemeClr val="accent1"/>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Freeform 33">
              <a:extLst>
                <a:ext uri="{FF2B5EF4-FFF2-40B4-BE49-F238E27FC236}">
                  <a16:creationId xmlns:a16="http://schemas.microsoft.com/office/drawing/2014/main" id="{51080994-C2C9-45B3-BD80-EC406A7A6495}"/>
                </a:ext>
              </a:extLst>
            </p:cNvPr>
            <p:cNvSpPr/>
            <p:nvPr/>
          </p:nvSpPr>
          <p:spPr bwMode="auto">
            <a:xfrm rot="18100113" flipV="1">
              <a:off x="3102775" y="5023913"/>
              <a:ext cx="550863" cy="755650"/>
            </a:xfrm>
            <a:custGeom>
              <a:avLst/>
              <a:gdLst>
                <a:gd name="T0" fmla="*/ 197 w 197"/>
                <a:gd name="T1" fmla="*/ 252 h 270"/>
                <a:gd name="T2" fmla="*/ 43 w 197"/>
                <a:gd name="T3" fmla="*/ 48 h 270"/>
                <a:gd name="T4" fmla="*/ 60 w 197"/>
                <a:gd name="T5" fmla="*/ 50 h 270"/>
                <a:gd name="T6" fmla="*/ 41 w 197"/>
                <a:gd name="T7" fmla="*/ 0 h 270"/>
                <a:gd name="T8" fmla="*/ 0 w 197"/>
                <a:gd name="T9" fmla="*/ 42 h 270"/>
                <a:gd name="T10" fmla="*/ 25 w 197"/>
                <a:gd name="T11" fmla="*/ 46 h 270"/>
                <a:gd name="T12" fmla="*/ 195 w 197"/>
                <a:gd name="T13" fmla="*/ 270 h 270"/>
                <a:gd name="T14" fmla="*/ 197 w 197"/>
                <a:gd name="T15" fmla="*/ 252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270">
                  <a:moveTo>
                    <a:pt x="197" y="252"/>
                  </a:moveTo>
                  <a:cubicBezTo>
                    <a:pt x="98" y="238"/>
                    <a:pt x="29" y="147"/>
                    <a:pt x="43" y="48"/>
                  </a:cubicBezTo>
                  <a:cubicBezTo>
                    <a:pt x="60" y="50"/>
                    <a:pt x="60" y="50"/>
                    <a:pt x="60" y="50"/>
                  </a:cubicBezTo>
                  <a:cubicBezTo>
                    <a:pt x="41" y="0"/>
                    <a:pt x="41" y="0"/>
                    <a:pt x="41" y="0"/>
                  </a:cubicBezTo>
                  <a:cubicBezTo>
                    <a:pt x="0" y="42"/>
                    <a:pt x="0" y="42"/>
                    <a:pt x="0" y="42"/>
                  </a:cubicBezTo>
                  <a:cubicBezTo>
                    <a:pt x="25" y="46"/>
                    <a:pt x="25" y="46"/>
                    <a:pt x="25" y="46"/>
                  </a:cubicBezTo>
                  <a:cubicBezTo>
                    <a:pt x="10" y="154"/>
                    <a:pt x="86" y="255"/>
                    <a:pt x="195" y="270"/>
                  </a:cubicBezTo>
                  <a:lnTo>
                    <a:pt x="197" y="252"/>
                  </a:lnTo>
                  <a:close/>
                </a:path>
              </a:pathLst>
            </a:custGeom>
            <a:solidFill>
              <a:schemeClr val="accent1"/>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Freeform 34">
              <a:extLst>
                <a:ext uri="{FF2B5EF4-FFF2-40B4-BE49-F238E27FC236}">
                  <a16:creationId xmlns:a16="http://schemas.microsoft.com/office/drawing/2014/main" id="{7028E354-9E00-4C12-8665-C3FC0FA3FC7E}"/>
                </a:ext>
              </a:extLst>
            </p:cNvPr>
            <p:cNvSpPr/>
            <p:nvPr/>
          </p:nvSpPr>
          <p:spPr bwMode="auto">
            <a:xfrm>
              <a:off x="4418269" y="1375501"/>
              <a:ext cx="3992563" cy="2862940"/>
            </a:xfrm>
            <a:custGeom>
              <a:avLst/>
              <a:gdLst>
                <a:gd name="T0" fmla="*/ 1556 w 1601"/>
                <a:gd name="T1" fmla="*/ 452 h 1147"/>
                <a:gd name="T2" fmla="*/ 1348 w 1601"/>
                <a:gd name="T3" fmla="*/ 361 h 1147"/>
                <a:gd name="T4" fmla="*/ 1318 w 1601"/>
                <a:gd name="T5" fmla="*/ 362 h 1147"/>
                <a:gd name="T6" fmla="*/ 1232 w 1601"/>
                <a:gd name="T7" fmla="*/ 166 h 1147"/>
                <a:gd name="T8" fmla="*/ 1084 w 1601"/>
                <a:gd name="T9" fmla="*/ 111 h 1147"/>
                <a:gd name="T10" fmla="*/ 964 w 1601"/>
                <a:gd name="T11" fmla="*/ 135 h 1147"/>
                <a:gd name="T12" fmla="*/ 706 w 1601"/>
                <a:gd name="T13" fmla="*/ 0 h 1147"/>
                <a:gd name="T14" fmla="*/ 691 w 1601"/>
                <a:gd name="T15" fmla="*/ 1 h 1147"/>
                <a:gd name="T16" fmla="*/ 426 w 1601"/>
                <a:gd name="T17" fmla="*/ 223 h 1147"/>
                <a:gd name="T18" fmla="*/ 378 w 1601"/>
                <a:gd name="T19" fmla="*/ 218 h 1147"/>
                <a:gd name="T20" fmla="*/ 226 w 1601"/>
                <a:gd name="T21" fmla="*/ 331 h 1147"/>
                <a:gd name="T22" fmla="*/ 208 w 1601"/>
                <a:gd name="T23" fmla="*/ 330 h 1147"/>
                <a:gd name="T24" fmla="*/ 47 w 1601"/>
                <a:gd name="T25" fmla="*/ 433 h 1147"/>
                <a:gd name="T26" fmla="*/ 41 w 1601"/>
                <a:gd name="T27" fmla="*/ 672 h 1147"/>
                <a:gd name="T28" fmla="*/ 264 w 1601"/>
                <a:gd name="T29" fmla="*/ 794 h 1147"/>
                <a:gd name="T30" fmla="*/ 349 w 1601"/>
                <a:gd name="T31" fmla="*/ 785 h 1147"/>
                <a:gd name="T32" fmla="*/ 499 w 1601"/>
                <a:gd name="T33" fmla="*/ 927 h 1147"/>
                <a:gd name="T34" fmla="*/ 538 w 1601"/>
                <a:gd name="T35" fmla="*/ 930 h 1147"/>
                <a:gd name="T36" fmla="*/ 710 w 1601"/>
                <a:gd name="T37" fmla="*/ 849 h 1147"/>
                <a:gd name="T38" fmla="*/ 872 w 1601"/>
                <a:gd name="T39" fmla="*/ 962 h 1147"/>
                <a:gd name="T40" fmla="*/ 741 w 1601"/>
                <a:gd name="T41" fmla="*/ 1147 h 1147"/>
                <a:gd name="T42" fmla="*/ 1211 w 1601"/>
                <a:gd name="T43" fmla="*/ 839 h 1147"/>
                <a:gd name="T44" fmla="*/ 1213 w 1601"/>
                <a:gd name="T45" fmla="*/ 834 h 1147"/>
                <a:gd name="T46" fmla="*/ 1280 w 1601"/>
                <a:gd name="T47" fmla="*/ 844 h 1147"/>
                <a:gd name="T48" fmla="*/ 1415 w 1601"/>
                <a:gd name="T49" fmla="*/ 771 h 1147"/>
                <a:gd name="T50" fmla="*/ 1564 w 1601"/>
                <a:gd name="T51" fmla="*/ 663 h 1147"/>
                <a:gd name="T52" fmla="*/ 1556 w 1601"/>
                <a:gd name="T53" fmla="*/ 452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01" h="1147">
                  <a:moveTo>
                    <a:pt x="1556" y="452"/>
                  </a:moveTo>
                  <a:cubicBezTo>
                    <a:pt x="1496" y="373"/>
                    <a:pt x="1400" y="361"/>
                    <a:pt x="1348" y="361"/>
                  </a:cubicBezTo>
                  <a:cubicBezTo>
                    <a:pt x="1336" y="361"/>
                    <a:pt x="1326" y="362"/>
                    <a:pt x="1318" y="362"/>
                  </a:cubicBezTo>
                  <a:cubicBezTo>
                    <a:pt x="1323" y="328"/>
                    <a:pt x="1321" y="247"/>
                    <a:pt x="1232" y="166"/>
                  </a:cubicBezTo>
                  <a:cubicBezTo>
                    <a:pt x="1192" y="130"/>
                    <a:pt x="1142" y="111"/>
                    <a:pt x="1084" y="111"/>
                  </a:cubicBezTo>
                  <a:cubicBezTo>
                    <a:pt x="1030" y="111"/>
                    <a:pt x="984" y="127"/>
                    <a:pt x="964" y="135"/>
                  </a:cubicBezTo>
                  <a:cubicBezTo>
                    <a:pt x="946" y="101"/>
                    <a:pt x="880" y="0"/>
                    <a:pt x="706" y="0"/>
                  </a:cubicBezTo>
                  <a:cubicBezTo>
                    <a:pt x="701" y="0"/>
                    <a:pt x="696" y="0"/>
                    <a:pt x="691" y="1"/>
                  </a:cubicBezTo>
                  <a:cubicBezTo>
                    <a:pt x="481" y="7"/>
                    <a:pt x="435" y="175"/>
                    <a:pt x="426" y="223"/>
                  </a:cubicBezTo>
                  <a:cubicBezTo>
                    <a:pt x="409" y="220"/>
                    <a:pt x="393" y="218"/>
                    <a:pt x="378" y="218"/>
                  </a:cubicBezTo>
                  <a:cubicBezTo>
                    <a:pt x="271" y="218"/>
                    <a:pt x="235" y="301"/>
                    <a:pt x="226" y="331"/>
                  </a:cubicBezTo>
                  <a:cubicBezTo>
                    <a:pt x="220" y="331"/>
                    <a:pt x="214" y="330"/>
                    <a:pt x="208" y="330"/>
                  </a:cubicBezTo>
                  <a:cubicBezTo>
                    <a:pt x="146" y="330"/>
                    <a:pt x="84" y="370"/>
                    <a:pt x="47" y="433"/>
                  </a:cubicBezTo>
                  <a:cubicBezTo>
                    <a:pt x="2" y="509"/>
                    <a:pt x="0" y="598"/>
                    <a:pt x="41" y="672"/>
                  </a:cubicBezTo>
                  <a:cubicBezTo>
                    <a:pt x="97" y="773"/>
                    <a:pt x="193" y="794"/>
                    <a:pt x="264" y="794"/>
                  </a:cubicBezTo>
                  <a:cubicBezTo>
                    <a:pt x="301" y="794"/>
                    <a:pt x="332" y="789"/>
                    <a:pt x="349" y="785"/>
                  </a:cubicBezTo>
                  <a:cubicBezTo>
                    <a:pt x="355" y="819"/>
                    <a:pt x="382" y="907"/>
                    <a:pt x="499" y="927"/>
                  </a:cubicBezTo>
                  <a:cubicBezTo>
                    <a:pt x="512" y="929"/>
                    <a:pt x="525" y="930"/>
                    <a:pt x="538" y="930"/>
                  </a:cubicBezTo>
                  <a:cubicBezTo>
                    <a:pt x="626" y="930"/>
                    <a:pt x="684" y="878"/>
                    <a:pt x="710" y="849"/>
                  </a:cubicBezTo>
                  <a:cubicBezTo>
                    <a:pt x="722" y="881"/>
                    <a:pt x="758" y="933"/>
                    <a:pt x="872" y="962"/>
                  </a:cubicBezTo>
                  <a:cubicBezTo>
                    <a:pt x="856" y="1023"/>
                    <a:pt x="822" y="1105"/>
                    <a:pt x="741" y="1147"/>
                  </a:cubicBezTo>
                  <a:cubicBezTo>
                    <a:pt x="741" y="1147"/>
                    <a:pt x="1064" y="1147"/>
                    <a:pt x="1211" y="839"/>
                  </a:cubicBezTo>
                  <a:cubicBezTo>
                    <a:pt x="1212" y="837"/>
                    <a:pt x="1212" y="835"/>
                    <a:pt x="1213" y="834"/>
                  </a:cubicBezTo>
                  <a:cubicBezTo>
                    <a:pt x="1236" y="841"/>
                    <a:pt x="1259" y="844"/>
                    <a:pt x="1280" y="844"/>
                  </a:cubicBezTo>
                  <a:cubicBezTo>
                    <a:pt x="1364" y="844"/>
                    <a:pt x="1403" y="791"/>
                    <a:pt x="1415" y="771"/>
                  </a:cubicBezTo>
                  <a:cubicBezTo>
                    <a:pt x="1474" y="770"/>
                    <a:pt x="1531" y="728"/>
                    <a:pt x="1564" y="663"/>
                  </a:cubicBezTo>
                  <a:cubicBezTo>
                    <a:pt x="1601" y="589"/>
                    <a:pt x="1598" y="508"/>
                    <a:pt x="1556" y="452"/>
                  </a:cubicBezTo>
                  <a:close/>
                </a:path>
              </a:pathLst>
            </a:custGeom>
            <a:solidFill>
              <a:schemeClr val="accent3"/>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Freeform 35">
              <a:extLst>
                <a:ext uri="{FF2B5EF4-FFF2-40B4-BE49-F238E27FC236}">
                  <a16:creationId xmlns:a16="http://schemas.microsoft.com/office/drawing/2014/main" id="{BCF569E1-97DB-4256-8D75-2C81B03B4AA0}"/>
                </a:ext>
              </a:extLst>
            </p:cNvPr>
            <p:cNvSpPr/>
            <p:nvPr/>
          </p:nvSpPr>
          <p:spPr bwMode="auto">
            <a:xfrm>
              <a:off x="4630339" y="1610191"/>
              <a:ext cx="3568424" cy="2450111"/>
            </a:xfrm>
            <a:custGeom>
              <a:avLst/>
              <a:gdLst>
                <a:gd name="T0" fmla="*/ 1391 w 1431"/>
                <a:gd name="T1" fmla="*/ 367 h 982"/>
                <a:gd name="T2" fmla="*/ 1205 w 1431"/>
                <a:gd name="T3" fmla="*/ 294 h 982"/>
                <a:gd name="T4" fmla="*/ 1179 w 1431"/>
                <a:gd name="T5" fmla="*/ 295 h 982"/>
                <a:gd name="T6" fmla="*/ 1101 w 1431"/>
                <a:gd name="T7" fmla="*/ 135 h 982"/>
                <a:gd name="T8" fmla="*/ 969 w 1431"/>
                <a:gd name="T9" fmla="*/ 91 h 982"/>
                <a:gd name="T10" fmla="*/ 861 w 1431"/>
                <a:gd name="T11" fmla="*/ 110 h 982"/>
                <a:gd name="T12" fmla="*/ 631 w 1431"/>
                <a:gd name="T13" fmla="*/ 0 h 982"/>
                <a:gd name="T14" fmla="*/ 618 w 1431"/>
                <a:gd name="T15" fmla="*/ 1 h 982"/>
                <a:gd name="T16" fmla="*/ 380 w 1431"/>
                <a:gd name="T17" fmla="*/ 182 h 982"/>
                <a:gd name="T18" fmla="*/ 338 w 1431"/>
                <a:gd name="T19" fmla="*/ 178 h 982"/>
                <a:gd name="T20" fmla="*/ 202 w 1431"/>
                <a:gd name="T21" fmla="*/ 270 h 982"/>
                <a:gd name="T22" fmla="*/ 185 w 1431"/>
                <a:gd name="T23" fmla="*/ 269 h 982"/>
                <a:gd name="T24" fmla="*/ 42 w 1431"/>
                <a:gd name="T25" fmla="*/ 353 h 982"/>
                <a:gd name="T26" fmla="*/ 36 w 1431"/>
                <a:gd name="T27" fmla="*/ 546 h 982"/>
                <a:gd name="T28" fmla="*/ 236 w 1431"/>
                <a:gd name="T29" fmla="*/ 646 h 982"/>
                <a:gd name="T30" fmla="*/ 312 w 1431"/>
                <a:gd name="T31" fmla="*/ 638 h 982"/>
                <a:gd name="T32" fmla="*/ 446 w 1431"/>
                <a:gd name="T33" fmla="*/ 754 h 982"/>
                <a:gd name="T34" fmla="*/ 481 w 1431"/>
                <a:gd name="T35" fmla="*/ 757 h 982"/>
                <a:gd name="T36" fmla="*/ 634 w 1431"/>
                <a:gd name="T37" fmla="*/ 690 h 982"/>
                <a:gd name="T38" fmla="*/ 872 w 1431"/>
                <a:gd name="T39" fmla="*/ 828 h 982"/>
                <a:gd name="T40" fmla="*/ 773 w 1431"/>
                <a:gd name="T41" fmla="*/ 982 h 982"/>
                <a:gd name="T42" fmla="*/ 1082 w 1431"/>
                <a:gd name="T43" fmla="*/ 682 h 982"/>
                <a:gd name="T44" fmla="*/ 1084 w 1431"/>
                <a:gd name="T45" fmla="*/ 678 h 982"/>
                <a:gd name="T46" fmla="*/ 1144 w 1431"/>
                <a:gd name="T47" fmla="*/ 686 h 982"/>
                <a:gd name="T48" fmla="*/ 1265 w 1431"/>
                <a:gd name="T49" fmla="*/ 627 h 982"/>
                <a:gd name="T50" fmla="*/ 1398 w 1431"/>
                <a:gd name="T51" fmla="*/ 539 h 982"/>
                <a:gd name="T52" fmla="*/ 1391 w 1431"/>
                <a:gd name="T53" fmla="*/ 367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31" h="982">
                  <a:moveTo>
                    <a:pt x="1391" y="367"/>
                  </a:moveTo>
                  <a:cubicBezTo>
                    <a:pt x="1338" y="303"/>
                    <a:pt x="1252" y="294"/>
                    <a:pt x="1205" y="294"/>
                  </a:cubicBezTo>
                  <a:cubicBezTo>
                    <a:pt x="1195" y="294"/>
                    <a:pt x="1186" y="294"/>
                    <a:pt x="1179" y="295"/>
                  </a:cubicBezTo>
                  <a:cubicBezTo>
                    <a:pt x="1183" y="267"/>
                    <a:pt x="1181" y="201"/>
                    <a:pt x="1101" y="135"/>
                  </a:cubicBezTo>
                  <a:cubicBezTo>
                    <a:pt x="1066" y="106"/>
                    <a:pt x="1021" y="91"/>
                    <a:pt x="969" y="91"/>
                  </a:cubicBezTo>
                  <a:cubicBezTo>
                    <a:pt x="921" y="91"/>
                    <a:pt x="879" y="104"/>
                    <a:pt x="861" y="110"/>
                  </a:cubicBezTo>
                  <a:cubicBezTo>
                    <a:pt x="846" y="82"/>
                    <a:pt x="786" y="0"/>
                    <a:pt x="631" y="0"/>
                  </a:cubicBezTo>
                  <a:cubicBezTo>
                    <a:pt x="627" y="0"/>
                    <a:pt x="622" y="0"/>
                    <a:pt x="618" y="1"/>
                  </a:cubicBezTo>
                  <a:cubicBezTo>
                    <a:pt x="430" y="6"/>
                    <a:pt x="388" y="142"/>
                    <a:pt x="380" y="182"/>
                  </a:cubicBezTo>
                  <a:cubicBezTo>
                    <a:pt x="365" y="179"/>
                    <a:pt x="351" y="178"/>
                    <a:pt x="338" y="178"/>
                  </a:cubicBezTo>
                  <a:cubicBezTo>
                    <a:pt x="242" y="178"/>
                    <a:pt x="210" y="245"/>
                    <a:pt x="202" y="270"/>
                  </a:cubicBezTo>
                  <a:cubicBezTo>
                    <a:pt x="196" y="269"/>
                    <a:pt x="191" y="269"/>
                    <a:pt x="185" y="269"/>
                  </a:cubicBezTo>
                  <a:cubicBezTo>
                    <a:pt x="130" y="269"/>
                    <a:pt x="75" y="301"/>
                    <a:pt x="42" y="353"/>
                  </a:cubicBezTo>
                  <a:cubicBezTo>
                    <a:pt x="2" y="414"/>
                    <a:pt x="0" y="486"/>
                    <a:pt x="36" y="546"/>
                  </a:cubicBezTo>
                  <a:cubicBezTo>
                    <a:pt x="86" y="629"/>
                    <a:pt x="172" y="646"/>
                    <a:pt x="236" y="646"/>
                  </a:cubicBezTo>
                  <a:cubicBezTo>
                    <a:pt x="269" y="646"/>
                    <a:pt x="297" y="641"/>
                    <a:pt x="312" y="638"/>
                  </a:cubicBezTo>
                  <a:cubicBezTo>
                    <a:pt x="317" y="666"/>
                    <a:pt x="341" y="737"/>
                    <a:pt x="446" y="754"/>
                  </a:cubicBezTo>
                  <a:cubicBezTo>
                    <a:pt x="458" y="756"/>
                    <a:pt x="469" y="757"/>
                    <a:pt x="481" y="757"/>
                  </a:cubicBezTo>
                  <a:cubicBezTo>
                    <a:pt x="559" y="757"/>
                    <a:pt x="611" y="714"/>
                    <a:pt x="634" y="690"/>
                  </a:cubicBezTo>
                  <a:cubicBezTo>
                    <a:pt x="645" y="716"/>
                    <a:pt x="720" y="811"/>
                    <a:pt x="872" y="828"/>
                  </a:cubicBezTo>
                  <a:cubicBezTo>
                    <a:pt x="858" y="878"/>
                    <a:pt x="840" y="934"/>
                    <a:pt x="773" y="982"/>
                  </a:cubicBezTo>
                  <a:cubicBezTo>
                    <a:pt x="773" y="982"/>
                    <a:pt x="951" y="933"/>
                    <a:pt x="1082" y="682"/>
                  </a:cubicBezTo>
                  <a:cubicBezTo>
                    <a:pt x="1083" y="680"/>
                    <a:pt x="1084" y="679"/>
                    <a:pt x="1084" y="678"/>
                  </a:cubicBezTo>
                  <a:cubicBezTo>
                    <a:pt x="1105" y="683"/>
                    <a:pt x="1125" y="686"/>
                    <a:pt x="1144" y="686"/>
                  </a:cubicBezTo>
                  <a:cubicBezTo>
                    <a:pt x="1219" y="686"/>
                    <a:pt x="1254" y="643"/>
                    <a:pt x="1265" y="627"/>
                  </a:cubicBezTo>
                  <a:cubicBezTo>
                    <a:pt x="1318" y="626"/>
                    <a:pt x="1369" y="592"/>
                    <a:pt x="1398" y="539"/>
                  </a:cubicBezTo>
                  <a:cubicBezTo>
                    <a:pt x="1431" y="479"/>
                    <a:pt x="1428" y="413"/>
                    <a:pt x="1391" y="367"/>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Freeform 36">
              <a:extLst>
                <a:ext uri="{FF2B5EF4-FFF2-40B4-BE49-F238E27FC236}">
                  <a16:creationId xmlns:a16="http://schemas.microsoft.com/office/drawing/2014/main" id="{42629032-58F2-4813-A419-3E48A7E90846}"/>
                </a:ext>
              </a:extLst>
            </p:cNvPr>
            <p:cNvSpPr/>
            <p:nvPr/>
          </p:nvSpPr>
          <p:spPr bwMode="auto">
            <a:xfrm>
              <a:off x="8344157" y="3958702"/>
              <a:ext cx="2524125" cy="1809750"/>
            </a:xfrm>
            <a:custGeom>
              <a:avLst/>
              <a:gdLst>
                <a:gd name="T0" fmla="*/ 876 w 901"/>
                <a:gd name="T1" fmla="*/ 254 h 646"/>
                <a:gd name="T2" fmla="*/ 759 w 901"/>
                <a:gd name="T3" fmla="*/ 203 h 646"/>
                <a:gd name="T4" fmla="*/ 742 w 901"/>
                <a:gd name="T5" fmla="*/ 203 h 646"/>
                <a:gd name="T6" fmla="*/ 694 w 901"/>
                <a:gd name="T7" fmla="*/ 93 h 646"/>
                <a:gd name="T8" fmla="*/ 610 w 901"/>
                <a:gd name="T9" fmla="*/ 62 h 646"/>
                <a:gd name="T10" fmla="*/ 542 w 901"/>
                <a:gd name="T11" fmla="*/ 76 h 646"/>
                <a:gd name="T12" fmla="*/ 397 w 901"/>
                <a:gd name="T13" fmla="*/ 0 h 646"/>
                <a:gd name="T14" fmla="*/ 389 w 901"/>
                <a:gd name="T15" fmla="*/ 0 h 646"/>
                <a:gd name="T16" fmla="*/ 239 w 901"/>
                <a:gd name="T17" fmla="*/ 125 h 646"/>
                <a:gd name="T18" fmla="*/ 212 w 901"/>
                <a:gd name="T19" fmla="*/ 122 h 646"/>
                <a:gd name="T20" fmla="*/ 127 w 901"/>
                <a:gd name="T21" fmla="*/ 186 h 646"/>
                <a:gd name="T22" fmla="*/ 116 w 901"/>
                <a:gd name="T23" fmla="*/ 185 h 646"/>
                <a:gd name="T24" fmla="*/ 26 w 901"/>
                <a:gd name="T25" fmla="*/ 244 h 646"/>
                <a:gd name="T26" fmla="*/ 23 w 901"/>
                <a:gd name="T27" fmla="*/ 378 h 646"/>
                <a:gd name="T28" fmla="*/ 148 w 901"/>
                <a:gd name="T29" fmla="*/ 447 h 646"/>
                <a:gd name="T30" fmla="*/ 196 w 901"/>
                <a:gd name="T31" fmla="*/ 441 h 646"/>
                <a:gd name="T32" fmla="*/ 281 w 901"/>
                <a:gd name="T33" fmla="*/ 522 h 646"/>
                <a:gd name="T34" fmla="*/ 303 w 901"/>
                <a:gd name="T35" fmla="*/ 524 h 646"/>
                <a:gd name="T36" fmla="*/ 399 w 901"/>
                <a:gd name="T37" fmla="*/ 477 h 646"/>
                <a:gd name="T38" fmla="*/ 490 w 901"/>
                <a:gd name="T39" fmla="*/ 541 h 646"/>
                <a:gd name="T40" fmla="*/ 417 w 901"/>
                <a:gd name="T41" fmla="*/ 646 h 646"/>
                <a:gd name="T42" fmla="*/ 682 w 901"/>
                <a:gd name="T43" fmla="*/ 472 h 646"/>
                <a:gd name="T44" fmla="*/ 683 w 901"/>
                <a:gd name="T45" fmla="*/ 469 h 646"/>
                <a:gd name="T46" fmla="*/ 720 w 901"/>
                <a:gd name="T47" fmla="*/ 475 h 646"/>
                <a:gd name="T48" fmla="*/ 796 w 901"/>
                <a:gd name="T49" fmla="*/ 434 h 646"/>
                <a:gd name="T50" fmla="*/ 881 w 901"/>
                <a:gd name="T51" fmla="*/ 373 h 646"/>
                <a:gd name="T52" fmla="*/ 876 w 901"/>
                <a:gd name="T53" fmla="*/ 25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01" h="646">
                  <a:moveTo>
                    <a:pt x="876" y="254"/>
                  </a:moveTo>
                  <a:cubicBezTo>
                    <a:pt x="842" y="209"/>
                    <a:pt x="788" y="203"/>
                    <a:pt x="759" y="203"/>
                  </a:cubicBezTo>
                  <a:cubicBezTo>
                    <a:pt x="752" y="203"/>
                    <a:pt x="747" y="203"/>
                    <a:pt x="742" y="203"/>
                  </a:cubicBezTo>
                  <a:cubicBezTo>
                    <a:pt x="745" y="184"/>
                    <a:pt x="744" y="139"/>
                    <a:pt x="694" y="93"/>
                  </a:cubicBezTo>
                  <a:cubicBezTo>
                    <a:pt x="671" y="73"/>
                    <a:pt x="643" y="62"/>
                    <a:pt x="610" y="62"/>
                  </a:cubicBezTo>
                  <a:cubicBezTo>
                    <a:pt x="580" y="62"/>
                    <a:pt x="554" y="71"/>
                    <a:pt x="542" y="76"/>
                  </a:cubicBezTo>
                  <a:cubicBezTo>
                    <a:pt x="532" y="56"/>
                    <a:pt x="495" y="0"/>
                    <a:pt x="397" y="0"/>
                  </a:cubicBezTo>
                  <a:cubicBezTo>
                    <a:pt x="394" y="0"/>
                    <a:pt x="392" y="0"/>
                    <a:pt x="389" y="0"/>
                  </a:cubicBezTo>
                  <a:cubicBezTo>
                    <a:pt x="271" y="4"/>
                    <a:pt x="244" y="98"/>
                    <a:pt x="239" y="125"/>
                  </a:cubicBezTo>
                  <a:cubicBezTo>
                    <a:pt x="230" y="123"/>
                    <a:pt x="221" y="122"/>
                    <a:pt x="212" y="122"/>
                  </a:cubicBezTo>
                  <a:cubicBezTo>
                    <a:pt x="152" y="122"/>
                    <a:pt x="132" y="169"/>
                    <a:pt x="127" y="186"/>
                  </a:cubicBezTo>
                  <a:cubicBezTo>
                    <a:pt x="123" y="186"/>
                    <a:pt x="120" y="185"/>
                    <a:pt x="116" y="185"/>
                  </a:cubicBezTo>
                  <a:cubicBezTo>
                    <a:pt x="82" y="185"/>
                    <a:pt x="47" y="208"/>
                    <a:pt x="26" y="244"/>
                  </a:cubicBezTo>
                  <a:cubicBezTo>
                    <a:pt x="1" y="286"/>
                    <a:pt x="0" y="336"/>
                    <a:pt x="23" y="378"/>
                  </a:cubicBezTo>
                  <a:cubicBezTo>
                    <a:pt x="54" y="435"/>
                    <a:pt x="108" y="447"/>
                    <a:pt x="148" y="447"/>
                  </a:cubicBezTo>
                  <a:cubicBezTo>
                    <a:pt x="169" y="447"/>
                    <a:pt x="187" y="444"/>
                    <a:pt x="196" y="441"/>
                  </a:cubicBezTo>
                  <a:cubicBezTo>
                    <a:pt x="200" y="461"/>
                    <a:pt x="215" y="510"/>
                    <a:pt x="281" y="522"/>
                  </a:cubicBezTo>
                  <a:cubicBezTo>
                    <a:pt x="288" y="523"/>
                    <a:pt x="295" y="524"/>
                    <a:pt x="303" y="524"/>
                  </a:cubicBezTo>
                  <a:cubicBezTo>
                    <a:pt x="352" y="523"/>
                    <a:pt x="385" y="494"/>
                    <a:pt x="399" y="477"/>
                  </a:cubicBezTo>
                  <a:cubicBezTo>
                    <a:pt x="406" y="495"/>
                    <a:pt x="427" y="525"/>
                    <a:pt x="490" y="541"/>
                  </a:cubicBezTo>
                  <a:cubicBezTo>
                    <a:pt x="482" y="576"/>
                    <a:pt x="462" y="622"/>
                    <a:pt x="417" y="646"/>
                  </a:cubicBezTo>
                  <a:cubicBezTo>
                    <a:pt x="417" y="646"/>
                    <a:pt x="599" y="646"/>
                    <a:pt x="682" y="472"/>
                  </a:cubicBezTo>
                  <a:cubicBezTo>
                    <a:pt x="682" y="471"/>
                    <a:pt x="682" y="470"/>
                    <a:pt x="683" y="469"/>
                  </a:cubicBezTo>
                  <a:cubicBezTo>
                    <a:pt x="696" y="473"/>
                    <a:pt x="709" y="475"/>
                    <a:pt x="720" y="475"/>
                  </a:cubicBezTo>
                  <a:cubicBezTo>
                    <a:pt x="768" y="475"/>
                    <a:pt x="790" y="445"/>
                    <a:pt x="796" y="434"/>
                  </a:cubicBezTo>
                  <a:cubicBezTo>
                    <a:pt x="830" y="433"/>
                    <a:pt x="862" y="410"/>
                    <a:pt x="881" y="373"/>
                  </a:cubicBezTo>
                  <a:cubicBezTo>
                    <a:pt x="901" y="331"/>
                    <a:pt x="900" y="285"/>
                    <a:pt x="876" y="254"/>
                  </a:cubicBezTo>
                  <a:close/>
                </a:path>
              </a:pathLst>
            </a:custGeom>
            <a:solidFill>
              <a:srgbClr val="00000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2" name="Freeform 37">
              <a:extLst>
                <a:ext uri="{FF2B5EF4-FFF2-40B4-BE49-F238E27FC236}">
                  <a16:creationId xmlns:a16="http://schemas.microsoft.com/office/drawing/2014/main" id="{B5E43BAE-EE0E-4B6C-AD6C-A4B10E75A7E1}"/>
                </a:ext>
              </a:extLst>
            </p:cNvPr>
            <p:cNvSpPr/>
            <p:nvPr/>
          </p:nvSpPr>
          <p:spPr bwMode="auto">
            <a:xfrm>
              <a:off x="8475919" y="4107927"/>
              <a:ext cx="2260600" cy="1549400"/>
            </a:xfrm>
            <a:custGeom>
              <a:avLst/>
              <a:gdLst>
                <a:gd name="T0" fmla="*/ 784 w 807"/>
                <a:gd name="T1" fmla="*/ 206 h 553"/>
                <a:gd name="T2" fmla="*/ 679 w 807"/>
                <a:gd name="T3" fmla="*/ 165 h 553"/>
                <a:gd name="T4" fmla="*/ 664 w 807"/>
                <a:gd name="T5" fmla="*/ 165 h 553"/>
                <a:gd name="T6" fmla="*/ 621 w 807"/>
                <a:gd name="T7" fmla="*/ 76 h 553"/>
                <a:gd name="T8" fmla="*/ 546 w 807"/>
                <a:gd name="T9" fmla="*/ 50 h 553"/>
                <a:gd name="T10" fmla="*/ 486 w 807"/>
                <a:gd name="T11" fmla="*/ 61 h 553"/>
                <a:gd name="T12" fmla="*/ 356 w 807"/>
                <a:gd name="T13" fmla="*/ 0 h 553"/>
                <a:gd name="T14" fmla="*/ 348 w 807"/>
                <a:gd name="T15" fmla="*/ 0 h 553"/>
                <a:gd name="T16" fmla="*/ 215 w 807"/>
                <a:gd name="T17" fmla="*/ 102 h 553"/>
                <a:gd name="T18" fmla="*/ 191 w 807"/>
                <a:gd name="T19" fmla="*/ 99 h 553"/>
                <a:gd name="T20" fmla="*/ 114 w 807"/>
                <a:gd name="T21" fmla="*/ 151 h 553"/>
                <a:gd name="T22" fmla="*/ 105 w 807"/>
                <a:gd name="T23" fmla="*/ 151 h 553"/>
                <a:gd name="T24" fmla="*/ 24 w 807"/>
                <a:gd name="T25" fmla="*/ 198 h 553"/>
                <a:gd name="T26" fmla="*/ 21 w 807"/>
                <a:gd name="T27" fmla="*/ 307 h 553"/>
                <a:gd name="T28" fmla="*/ 133 w 807"/>
                <a:gd name="T29" fmla="*/ 363 h 553"/>
                <a:gd name="T30" fmla="*/ 176 w 807"/>
                <a:gd name="T31" fmla="*/ 359 h 553"/>
                <a:gd name="T32" fmla="*/ 252 w 807"/>
                <a:gd name="T33" fmla="*/ 424 h 553"/>
                <a:gd name="T34" fmla="*/ 271 w 807"/>
                <a:gd name="T35" fmla="*/ 425 h 553"/>
                <a:gd name="T36" fmla="*/ 358 w 807"/>
                <a:gd name="T37" fmla="*/ 388 h 553"/>
                <a:gd name="T38" fmla="*/ 492 w 807"/>
                <a:gd name="T39" fmla="*/ 466 h 553"/>
                <a:gd name="T40" fmla="*/ 436 w 807"/>
                <a:gd name="T41" fmla="*/ 553 h 553"/>
                <a:gd name="T42" fmla="*/ 610 w 807"/>
                <a:gd name="T43" fmla="*/ 383 h 553"/>
                <a:gd name="T44" fmla="*/ 611 w 807"/>
                <a:gd name="T45" fmla="*/ 381 h 553"/>
                <a:gd name="T46" fmla="*/ 645 w 807"/>
                <a:gd name="T47" fmla="*/ 386 h 553"/>
                <a:gd name="T48" fmla="*/ 713 w 807"/>
                <a:gd name="T49" fmla="*/ 353 h 553"/>
                <a:gd name="T50" fmla="*/ 788 w 807"/>
                <a:gd name="T51" fmla="*/ 303 h 553"/>
                <a:gd name="T52" fmla="*/ 784 w 807"/>
                <a:gd name="T53" fmla="*/ 206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7" h="553">
                  <a:moveTo>
                    <a:pt x="784" y="206"/>
                  </a:moveTo>
                  <a:cubicBezTo>
                    <a:pt x="754" y="170"/>
                    <a:pt x="706" y="165"/>
                    <a:pt x="679" y="165"/>
                  </a:cubicBezTo>
                  <a:cubicBezTo>
                    <a:pt x="673" y="165"/>
                    <a:pt x="668" y="165"/>
                    <a:pt x="664" y="165"/>
                  </a:cubicBezTo>
                  <a:cubicBezTo>
                    <a:pt x="667" y="150"/>
                    <a:pt x="666" y="113"/>
                    <a:pt x="621" y="76"/>
                  </a:cubicBezTo>
                  <a:cubicBezTo>
                    <a:pt x="601" y="59"/>
                    <a:pt x="575" y="50"/>
                    <a:pt x="546" y="50"/>
                  </a:cubicBezTo>
                  <a:cubicBezTo>
                    <a:pt x="519" y="50"/>
                    <a:pt x="496" y="58"/>
                    <a:pt x="486" y="61"/>
                  </a:cubicBezTo>
                  <a:cubicBezTo>
                    <a:pt x="477" y="46"/>
                    <a:pt x="443" y="0"/>
                    <a:pt x="356" y="0"/>
                  </a:cubicBezTo>
                  <a:cubicBezTo>
                    <a:pt x="353" y="0"/>
                    <a:pt x="351" y="0"/>
                    <a:pt x="348" y="0"/>
                  </a:cubicBezTo>
                  <a:cubicBezTo>
                    <a:pt x="243" y="3"/>
                    <a:pt x="219" y="80"/>
                    <a:pt x="215" y="102"/>
                  </a:cubicBezTo>
                  <a:cubicBezTo>
                    <a:pt x="206" y="100"/>
                    <a:pt x="198" y="99"/>
                    <a:pt x="191" y="99"/>
                  </a:cubicBezTo>
                  <a:cubicBezTo>
                    <a:pt x="137" y="99"/>
                    <a:pt x="119" y="137"/>
                    <a:pt x="114" y="151"/>
                  </a:cubicBezTo>
                  <a:cubicBezTo>
                    <a:pt x="111" y="151"/>
                    <a:pt x="108" y="151"/>
                    <a:pt x="105" y="151"/>
                  </a:cubicBezTo>
                  <a:cubicBezTo>
                    <a:pt x="74" y="151"/>
                    <a:pt x="43" y="169"/>
                    <a:pt x="24" y="198"/>
                  </a:cubicBezTo>
                  <a:cubicBezTo>
                    <a:pt x="1" y="232"/>
                    <a:pt x="0" y="273"/>
                    <a:pt x="21" y="307"/>
                  </a:cubicBezTo>
                  <a:cubicBezTo>
                    <a:pt x="49" y="353"/>
                    <a:pt x="98" y="363"/>
                    <a:pt x="133" y="363"/>
                  </a:cubicBezTo>
                  <a:cubicBezTo>
                    <a:pt x="152" y="363"/>
                    <a:pt x="168" y="361"/>
                    <a:pt x="176" y="359"/>
                  </a:cubicBezTo>
                  <a:cubicBezTo>
                    <a:pt x="179" y="375"/>
                    <a:pt x="193" y="415"/>
                    <a:pt x="252" y="424"/>
                  </a:cubicBezTo>
                  <a:cubicBezTo>
                    <a:pt x="258" y="425"/>
                    <a:pt x="265" y="425"/>
                    <a:pt x="271" y="425"/>
                  </a:cubicBezTo>
                  <a:cubicBezTo>
                    <a:pt x="315" y="425"/>
                    <a:pt x="345" y="402"/>
                    <a:pt x="358" y="388"/>
                  </a:cubicBezTo>
                  <a:cubicBezTo>
                    <a:pt x="364" y="403"/>
                    <a:pt x="406" y="456"/>
                    <a:pt x="492" y="466"/>
                  </a:cubicBezTo>
                  <a:cubicBezTo>
                    <a:pt x="484" y="494"/>
                    <a:pt x="474" y="526"/>
                    <a:pt x="436" y="553"/>
                  </a:cubicBezTo>
                  <a:cubicBezTo>
                    <a:pt x="436" y="553"/>
                    <a:pt x="536" y="525"/>
                    <a:pt x="610" y="383"/>
                  </a:cubicBezTo>
                  <a:cubicBezTo>
                    <a:pt x="610" y="383"/>
                    <a:pt x="611" y="382"/>
                    <a:pt x="611" y="381"/>
                  </a:cubicBezTo>
                  <a:cubicBezTo>
                    <a:pt x="623" y="384"/>
                    <a:pt x="634" y="386"/>
                    <a:pt x="645" y="386"/>
                  </a:cubicBezTo>
                  <a:cubicBezTo>
                    <a:pt x="687" y="386"/>
                    <a:pt x="707" y="361"/>
                    <a:pt x="713" y="353"/>
                  </a:cubicBezTo>
                  <a:cubicBezTo>
                    <a:pt x="743" y="352"/>
                    <a:pt x="771" y="333"/>
                    <a:pt x="788" y="303"/>
                  </a:cubicBezTo>
                  <a:cubicBezTo>
                    <a:pt x="807" y="269"/>
                    <a:pt x="805" y="232"/>
                    <a:pt x="784" y="206"/>
                  </a:cubicBezTo>
                  <a:close/>
                </a:path>
              </a:pathLst>
            </a:custGeom>
            <a:solidFill>
              <a:schemeClr val="bg1"/>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Freeform 38">
              <a:extLst>
                <a:ext uri="{FF2B5EF4-FFF2-40B4-BE49-F238E27FC236}">
                  <a16:creationId xmlns:a16="http://schemas.microsoft.com/office/drawing/2014/main" id="{A2EEA156-B099-47CC-B68E-7395A790EBEB}"/>
                </a:ext>
              </a:extLst>
            </p:cNvPr>
            <p:cNvSpPr/>
            <p:nvPr/>
          </p:nvSpPr>
          <p:spPr bwMode="auto">
            <a:xfrm>
              <a:off x="1507707" y="2626510"/>
              <a:ext cx="3205002" cy="2296481"/>
            </a:xfrm>
            <a:custGeom>
              <a:avLst/>
              <a:gdLst>
                <a:gd name="T0" fmla="*/ 26 w 902"/>
                <a:gd name="T1" fmla="*/ 254 h 646"/>
                <a:gd name="T2" fmla="*/ 142 w 902"/>
                <a:gd name="T3" fmla="*/ 203 h 646"/>
                <a:gd name="T4" fmla="*/ 159 w 902"/>
                <a:gd name="T5" fmla="*/ 204 h 646"/>
                <a:gd name="T6" fmla="*/ 208 w 902"/>
                <a:gd name="T7" fmla="*/ 93 h 646"/>
                <a:gd name="T8" fmla="*/ 291 w 902"/>
                <a:gd name="T9" fmla="*/ 62 h 646"/>
                <a:gd name="T10" fmla="*/ 359 w 902"/>
                <a:gd name="T11" fmla="*/ 76 h 646"/>
                <a:gd name="T12" fmla="*/ 504 w 902"/>
                <a:gd name="T13" fmla="*/ 0 h 646"/>
                <a:gd name="T14" fmla="*/ 513 w 902"/>
                <a:gd name="T15" fmla="*/ 0 h 646"/>
                <a:gd name="T16" fmla="*/ 662 w 902"/>
                <a:gd name="T17" fmla="*/ 125 h 646"/>
                <a:gd name="T18" fmla="*/ 689 w 902"/>
                <a:gd name="T19" fmla="*/ 122 h 646"/>
                <a:gd name="T20" fmla="*/ 775 w 902"/>
                <a:gd name="T21" fmla="*/ 186 h 646"/>
                <a:gd name="T22" fmla="*/ 785 w 902"/>
                <a:gd name="T23" fmla="*/ 186 h 646"/>
                <a:gd name="T24" fmla="*/ 876 w 902"/>
                <a:gd name="T25" fmla="*/ 244 h 646"/>
                <a:gd name="T26" fmla="*/ 879 w 902"/>
                <a:gd name="T27" fmla="*/ 378 h 646"/>
                <a:gd name="T28" fmla="*/ 753 w 902"/>
                <a:gd name="T29" fmla="*/ 447 h 646"/>
                <a:gd name="T30" fmla="*/ 705 w 902"/>
                <a:gd name="T31" fmla="*/ 442 h 646"/>
                <a:gd name="T32" fmla="*/ 621 w 902"/>
                <a:gd name="T33" fmla="*/ 522 h 646"/>
                <a:gd name="T34" fmla="*/ 599 w 902"/>
                <a:gd name="T35" fmla="*/ 524 h 646"/>
                <a:gd name="T36" fmla="*/ 502 w 902"/>
                <a:gd name="T37" fmla="*/ 478 h 646"/>
                <a:gd name="T38" fmla="*/ 411 w 902"/>
                <a:gd name="T39" fmla="*/ 541 h 646"/>
                <a:gd name="T40" fmla="*/ 485 w 902"/>
                <a:gd name="T41" fmla="*/ 646 h 646"/>
                <a:gd name="T42" fmla="*/ 220 w 902"/>
                <a:gd name="T43" fmla="*/ 472 h 646"/>
                <a:gd name="T44" fmla="*/ 219 w 902"/>
                <a:gd name="T45" fmla="*/ 469 h 646"/>
                <a:gd name="T46" fmla="*/ 181 w 902"/>
                <a:gd name="T47" fmla="*/ 475 h 646"/>
                <a:gd name="T48" fmla="*/ 105 w 902"/>
                <a:gd name="T49" fmla="*/ 434 h 646"/>
                <a:gd name="T50" fmla="*/ 21 w 902"/>
                <a:gd name="T51" fmla="*/ 373 h 646"/>
                <a:gd name="T52" fmla="*/ 26 w 902"/>
                <a:gd name="T53" fmla="*/ 25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02" h="646">
                  <a:moveTo>
                    <a:pt x="26" y="254"/>
                  </a:moveTo>
                  <a:cubicBezTo>
                    <a:pt x="59" y="210"/>
                    <a:pt x="113" y="203"/>
                    <a:pt x="142" y="203"/>
                  </a:cubicBezTo>
                  <a:cubicBezTo>
                    <a:pt x="149" y="203"/>
                    <a:pt x="155" y="203"/>
                    <a:pt x="159" y="204"/>
                  </a:cubicBezTo>
                  <a:cubicBezTo>
                    <a:pt x="157" y="184"/>
                    <a:pt x="158" y="139"/>
                    <a:pt x="208" y="93"/>
                  </a:cubicBezTo>
                  <a:cubicBezTo>
                    <a:pt x="230" y="73"/>
                    <a:pt x="259" y="62"/>
                    <a:pt x="291" y="62"/>
                  </a:cubicBezTo>
                  <a:cubicBezTo>
                    <a:pt x="322" y="62"/>
                    <a:pt x="348" y="71"/>
                    <a:pt x="359" y="76"/>
                  </a:cubicBezTo>
                  <a:cubicBezTo>
                    <a:pt x="369" y="57"/>
                    <a:pt x="406" y="0"/>
                    <a:pt x="504" y="0"/>
                  </a:cubicBezTo>
                  <a:cubicBezTo>
                    <a:pt x="507" y="0"/>
                    <a:pt x="510" y="0"/>
                    <a:pt x="513" y="0"/>
                  </a:cubicBezTo>
                  <a:cubicBezTo>
                    <a:pt x="631" y="4"/>
                    <a:pt x="657" y="98"/>
                    <a:pt x="662" y="125"/>
                  </a:cubicBezTo>
                  <a:cubicBezTo>
                    <a:pt x="672" y="123"/>
                    <a:pt x="681" y="122"/>
                    <a:pt x="689" y="122"/>
                  </a:cubicBezTo>
                  <a:cubicBezTo>
                    <a:pt x="749" y="122"/>
                    <a:pt x="769" y="169"/>
                    <a:pt x="775" y="186"/>
                  </a:cubicBezTo>
                  <a:cubicBezTo>
                    <a:pt x="778" y="186"/>
                    <a:pt x="782" y="186"/>
                    <a:pt x="785" y="186"/>
                  </a:cubicBezTo>
                  <a:cubicBezTo>
                    <a:pt x="820" y="186"/>
                    <a:pt x="854" y="208"/>
                    <a:pt x="876" y="244"/>
                  </a:cubicBezTo>
                  <a:cubicBezTo>
                    <a:pt x="901" y="286"/>
                    <a:pt x="902" y="336"/>
                    <a:pt x="879" y="378"/>
                  </a:cubicBezTo>
                  <a:cubicBezTo>
                    <a:pt x="848" y="435"/>
                    <a:pt x="793" y="447"/>
                    <a:pt x="753" y="447"/>
                  </a:cubicBezTo>
                  <a:cubicBezTo>
                    <a:pt x="732" y="447"/>
                    <a:pt x="715" y="444"/>
                    <a:pt x="705" y="442"/>
                  </a:cubicBezTo>
                  <a:cubicBezTo>
                    <a:pt x="702" y="461"/>
                    <a:pt x="687" y="510"/>
                    <a:pt x="621" y="522"/>
                  </a:cubicBezTo>
                  <a:cubicBezTo>
                    <a:pt x="613" y="523"/>
                    <a:pt x="606" y="524"/>
                    <a:pt x="599" y="524"/>
                  </a:cubicBezTo>
                  <a:cubicBezTo>
                    <a:pt x="550" y="524"/>
                    <a:pt x="517" y="494"/>
                    <a:pt x="502" y="478"/>
                  </a:cubicBezTo>
                  <a:cubicBezTo>
                    <a:pt x="495" y="496"/>
                    <a:pt x="475" y="525"/>
                    <a:pt x="411" y="541"/>
                  </a:cubicBezTo>
                  <a:cubicBezTo>
                    <a:pt x="419" y="576"/>
                    <a:pt x="439" y="622"/>
                    <a:pt x="485" y="646"/>
                  </a:cubicBezTo>
                  <a:cubicBezTo>
                    <a:pt x="485" y="646"/>
                    <a:pt x="302" y="646"/>
                    <a:pt x="220" y="472"/>
                  </a:cubicBezTo>
                  <a:cubicBezTo>
                    <a:pt x="219" y="471"/>
                    <a:pt x="219" y="470"/>
                    <a:pt x="219" y="469"/>
                  </a:cubicBezTo>
                  <a:cubicBezTo>
                    <a:pt x="205" y="473"/>
                    <a:pt x="193" y="475"/>
                    <a:pt x="181" y="475"/>
                  </a:cubicBezTo>
                  <a:cubicBezTo>
                    <a:pt x="134" y="475"/>
                    <a:pt x="111" y="445"/>
                    <a:pt x="105" y="434"/>
                  </a:cubicBezTo>
                  <a:cubicBezTo>
                    <a:pt x="72" y="433"/>
                    <a:pt x="39" y="410"/>
                    <a:pt x="21" y="373"/>
                  </a:cubicBezTo>
                  <a:cubicBezTo>
                    <a:pt x="0" y="331"/>
                    <a:pt x="2" y="286"/>
                    <a:pt x="26" y="254"/>
                  </a:cubicBezTo>
                  <a:close/>
                </a:path>
              </a:pathLst>
            </a:custGeom>
            <a:solidFill>
              <a:schemeClr val="accent1"/>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Freeform 39">
              <a:extLst>
                <a:ext uri="{FF2B5EF4-FFF2-40B4-BE49-F238E27FC236}">
                  <a16:creationId xmlns:a16="http://schemas.microsoft.com/office/drawing/2014/main" id="{5ABF85AF-24B2-49C3-A0F0-A13D5C6DCFD1}"/>
                </a:ext>
              </a:extLst>
            </p:cNvPr>
            <p:cNvSpPr/>
            <p:nvPr/>
          </p:nvSpPr>
          <p:spPr bwMode="auto">
            <a:xfrm>
              <a:off x="1642675" y="2813854"/>
              <a:ext cx="2864558" cy="1966110"/>
            </a:xfrm>
            <a:custGeom>
              <a:avLst/>
              <a:gdLst>
                <a:gd name="T0" fmla="*/ 22 w 806"/>
                <a:gd name="T1" fmla="*/ 206 h 553"/>
                <a:gd name="T2" fmla="*/ 127 w 806"/>
                <a:gd name="T3" fmla="*/ 165 h 553"/>
                <a:gd name="T4" fmla="*/ 142 w 806"/>
                <a:gd name="T5" fmla="*/ 165 h 553"/>
                <a:gd name="T6" fmla="*/ 185 w 806"/>
                <a:gd name="T7" fmla="*/ 76 h 553"/>
                <a:gd name="T8" fmla="*/ 260 w 806"/>
                <a:gd name="T9" fmla="*/ 51 h 553"/>
                <a:gd name="T10" fmla="*/ 320 w 806"/>
                <a:gd name="T11" fmla="*/ 62 h 553"/>
                <a:gd name="T12" fmla="*/ 450 w 806"/>
                <a:gd name="T13" fmla="*/ 0 h 553"/>
                <a:gd name="T14" fmla="*/ 458 w 806"/>
                <a:gd name="T15" fmla="*/ 0 h 553"/>
                <a:gd name="T16" fmla="*/ 591 w 806"/>
                <a:gd name="T17" fmla="*/ 102 h 553"/>
                <a:gd name="T18" fmla="*/ 615 w 806"/>
                <a:gd name="T19" fmla="*/ 100 h 553"/>
                <a:gd name="T20" fmla="*/ 692 w 806"/>
                <a:gd name="T21" fmla="*/ 151 h 553"/>
                <a:gd name="T22" fmla="*/ 701 w 806"/>
                <a:gd name="T23" fmla="*/ 151 h 553"/>
                <a:gd name="T24" fmla="*/ 782 w 806"/>
                <a:gd name="T25" fmla="*/ 198 h 553"/>
                <a:gd name="T26" fmla="*/ 785 w 806"/>
                <a:gd name="T27" fmla="*/ 307 h 553"/>
                <a:gd name="T28" fmla="*/ 673 w 806"/>
                <a:gd name="T29" fmla="*/ 363 h 553"/>
                <a:gd name="T30" fmla="*/ 630 w 806"/>
                <a:gd name="T31" fmla="*/ 359 h 553"/>
                <a:gd name="T32" fmla="*/ 554 w 806"/>
                <a:gd name="T33" fmla="*/ 424 h 553"/>
                <a:gd name="T34" fmla="*/ 535 w 806"/>
                <a:gd name="T35" fmla="*/ 426 h 553"/>
                <a:gd name="T36" fmla="*/ 448 w 806"/>
                <a:gd name="T37" fmla="*/ 388 h 553"/>
                <a:gd name="T38" fmla="*/ 315 w 806"/>
                <a:gd name="T39" fmla="*/ 466 h 553"/>
                <a:gd name="T40" fmla="*/ 370 w 806"/>
                <a:gd name="T41" fmla="*/ 553 h 553"/>
                <a:gd name="T42" fmla="*/ 196 w 806"/>
                <a:gd name="T43" fmla="*/ 384 h 553"/>
                <a:gd name="T44" fmla="*/ 195 w 806"/>
                <a:gd name="T45" fmla="*/ 381 h 553"/>
                <a:gd name="T46" fmla="*/ 161 w 806"/>
                <a:gd name="T47" fmla="*/ 386 h 553"/>
                <a:gd name="T48" fmla="*/ 93 w 806"/>
                <a:gd name="T49" fmla="*/ 353 h 553"/>
                <a:gd name="T50" fmla="*/ 18 w 806"/>
                <a:gd name="T51" fmla="*/ 303 h 553"/>
                <a:gd name="T52" fmla="*/ 22 w 806"/>
                <a:gd name="T53" fmla="*/ 206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6" h="553">
                  <a:moveTo>
                    <a:pt x="22" y="206"/>
                  </a:moveTo>
                  <a:cubicBezTo>
                    <a:pt x="52" y="170"/>
                    <a:pt x="101" y="165"/>
                    <a:pt x="127" y="165"/>
                  </a:cubicBezTo>
                  <a:cubicBezTo>
                    <a:pt x="133" y="165"/>
                    <a:pt x="138" y="165"/>
                    <a:pt x="142" y="165"/>
                  </a:cubicBezTo>
                  <a:cubicBezTo>
                    <a:pt x="140" y="150"/>
                    <a:pt x="140" y="113"/>
                    <a:pt x="185" y="76"/>
                  </a:cubicBezTo>
                  <a:cubicBezTo>
                    <a:pt x="205" y="59"/>
                    <a:pt x="231" y="51"/>
                    <a:pt x="260" y="51"/>
                  </a:cubicBezTo>
                  <a:cubicBezTo>
                    <a:pt x="287" y="51"/>
                    <a:pt x="310" y="58"/>
                    <a:pt x="320" y="62"/>
                  </a:cubicBezTo>
                  <a:cubicBezTo>
                    <a:pt x="329" y="46"/>
                    <a:pt x="363" y="0"/>
                    <a:pt x="450" y="0"/>
                  </a:cubicBezTo>
                  <a:cubicBezTo>
                    <a:pt x="453" y="0"/>
                    <a:pt x="455" y="0"/>
                    <a:pt x="458" y="0"/>
                  </a:cubicBezTo>
                  <a:cubicBezTo>
                    <a:pt x="563" y="3"/>
                    <a:pt x="587" y="80"/>
                    <a:pt x="591" y="102"/>
                  </a:cubicBezTo>
                  <a:cubicBezTo>
                    <a:pt x="600" y="100"/>
                    <a:pt x="608" y="100"/>
                    <a:pt x="615" y="100"/>
                  </a:cubicBezTo>
                  <a:cubicBezTo>
                    <a:pt x="669" y="100"/>
                    <a:pt x="687" y="137"/>
                    <a:pt x="692" y="151"/>
                  </a:cubicBezTo>
                  <a:cubicBezTo>
                    <a:pt x="695" y="151"/>
                    <a:pt x="698" y="151"/>
                    <a:pt x="701" y="151"/>
                  </a:cubicBezTo>
                  <a:cubicBezTo>
                    <a:pt x="732" y="151"/>
                    <a:pt x="763" y="169"/>
                    <a:pt x="782" y="198"/>
                  </a:cubicBezTo>
                  <a:cubicBezTo>
                    <a:pt x="805" y="233"/>
                    <a:pt x="806" y="273"/>
                    <a:pt x="785" y="307"/>
                  </a:cubicBezTo>
                  <a:cubicBezTo>
                    <a:pt x="757" y="354"/>
                    <a:pt x="709" y="363"/>
                    <a:pt x="673" y="363"/>
                  </a:cubicBezTo>
                  <a:cubicBezTo>
                    <a:pt x="654" y="363"/>
                    <a:pt x="638" y="361"/>
                    <a:pt x="630" y="359"/>
                  </a:cubicBezTo>
                  <a:cubicBezTo>
                    <a:pt x="627" y="375"/>
                    <a:pt x="613" y="415"/>
                    <a:pt x="554" y="424"/>
                  </a:cubicBezTo>
                  <a:cubicBezTo>
                    <a:pt x="548" y="425"/>
                    <a:pt x="541" y="426"/>
                    <a:pt x="535" y="426"/>
                  </a:cubicBezTo>
                  <a:cubicBezTo>
                    <a:pt x="491" y="426"/>
                    <a:pt x="462" y="402"/>
                    <a:pt x="448" y="388"/>
                  </a:cubicBezTo>
                  <a:cubicBezTo>
                    <a:pt x="442" y="403"/>
                    <a:pt x="400" y="457"/>
                    <a:pt x="315" y="466"/>
                  </a:cubicBezTo>
                  <a:cubicBezTo>
                    <a:pt x="322" y="494"/>
                    <a:pt x="332" y="526"/>
                    <a:pt x="370" y="553"/>
                  </a:cubicBezTo>
                  <a:cubicBezTo>
                    <a:pt x="370" y="553"/>
                    <a:pt x="270" y="525"/>
                    <a:pt x="196" y="384"/>
                  </a:cubicBezTo>
                  <a:cubicBezTo>
                    <a:pt x="196" y="383"/>
                    <a:pt x="195" y="382"/>
                    <a:pt x="195" y="381"/>
                  </a:cubicBezTo>
                  <a:cubicBezTo>
                    <a:pt x="183" y="385"/>
                    <a:pt x="172" y="386"/>
                    <a:pt x="161" y="386"/>
                  </a:cubicBezTo>
                  <a:cubicBezTo>
                    <a:pt x="119" y="386"/>
                    <a:pt x="99" y="362"/>
                    <a:pt x="93" y="353"/>
                  </a:cubicBezTo>
                  <a:cubicBezTo>
                    <a:pt x="63" y="352"/>
                    <a:pt x="35" y="333"/>
                    <a:pt x="18" y="303"/>
                  </a:cubicBezTo>
                  <a:cubicBezTo>
                    <a:pt x="0" y="269"/>
                    <a:pt x="1" y="232"/>
                    <a:pt x="22" y="206"/>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Content Placeholder 2">
              <a:extLst>
                <a:ext uri="{FF2B5EF4-FFF2-40B4-BE49-F238E27FC236}">
                  <a16:creationId xmlns:a16="http://schemas.microsoft.com/office/drawing/2014/main" id="{567A16D9-8A4A-4341-95AF-E0852485910E}"/>
                </a:ext>
              </a:extLst>
            </p:cNvPr>
            <p:cNvSpPr txBox="1"/>
            <p:nvPr/>
          </p:nvSpPr>
          <p:spPr bwMode="auto">
            <a:xfrm>
              <a:off x="5250119" y="2473140"/>
              <a:ext cx="2373152" cy="539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charset="0"/>
                  <a:ea typeface="MS PGothic" panose="020B0600070205080204" charset="-128"/>
                </a:defRPr>
              </a:lvl1pPr>
              <a:lvl2pPr marL="742950" indent="-285750">
                <a:defRPr>
                  <a:solidFill>
                    <a:schemeClr val="tx1"/>
                  </a:solidFill>
                  <a:latin typeface="Calibri" panose="020F0502020204030204" charset="0"/>
                  <a:ea typeface="MS PGothic" panose="020B0600070205080204" charset="-128"/>
                </a:defRPr>
              </a:lvl2pPr>
              <a:lvl3pPr marL="1143000" indent="-228600">
                <a:defRPr>
                  <a:solidFill>
                    <a:schemeClr val="tx1"/>
                  </a:solidFill>
                  <a:latin typeface="Calibri" panose="020F0502020204030204" charset="0"/>
                  <a:ea typeface="MS PGothic" panose="020B0600070205080204" charset="-128"/>
                </a:defRPr>
              </a:lvl3pPr>
              <a:lvl4pPr marL="1600200" indent="-228600">
                <a:defRPr>
                  <a:solidFill>
                    <a:schemeClr val="tx1"/>
                  </a:solidFill>
                  <a:latin typeface="Calibri" panose="020F0502020204030204" charset="0"/>
                  <a:ea typeface="MS PGothic" panose="020B0600070205080204" charset="-128"/>
                </a:defRPr>
              </a:lvl4pPr>
              <a:lvl5pPr marL="2057400" indent="-228600">
                <a:defRPr>
                  <a:solidFill>
                    <a:schemeClr val="tx1"/>
                  </a:solidFill>
                  <a:latin typeface="Calibri" panose="020F0502020204030204" charset="0"/>
                  <a:ea typeface="MS PGothic" panose="020B0600070205080204" charset="-128"/>
                </a:defRPr>
              </a:lvl5pPr>
              <a:lvl6pPr marL="2514600" indent="-228600" fontAlgn="base">
                <a:spcBef>
                  <a:spcPct val="0"/>
                </a:spcBef>
                <a:spcAft>
                  <a:spcPct val="0"/>
                </a:spcAft>
                <a:defRPr>
                  <a:solidFill>
                    <a:schemeClr val="tx1"/>
                  </a:solidFill>
                  <a:latin typeface="Calibri" panose="020F0502020204030204" charset="0"/>
                  <a:ea typeface="MS PGothic" panose="020B0600070205080204" charset="-128"/>
                </a:defRPr>
              </a:lvl6pPr>
              <a:lvl7pPr marL="2971800" indent="-228600" fontAlgn="base">
                <a:spcBef>
                  <a:spcPct val="0"/>
                </a:spcBef>
                <a:spcAft>
                  <a:spcPct val="0"/>
                </a:spcAft>
                <a:defRPr>
                  <a:solidFill>
                    <a:schemeClr val="tx1"/>
                  </a:solidFill>
                  <a:latin typeface="Calibri" panose="020F0502020204030204" charset="0"/>
                  <a:ea typeface="MS PGothic" panose="020B0600070205080204" charset="-128"/>
                </a:defRPr>
              </a:lvl7pPr>
              <a:lvl8pPr marL="3429000" indent="-228600" fontAlgn="base">
                <a:spcBef>
                  <a:spcPct val="0"/>
                </a:spcBef>
                <a:spcAft>
                  <a:spcPct val="0"/>
                </a:spcAft>
                <a:defRPr>
                  <a:solidFill>
                    <a:schemeClr val="tx1"/>
                  </a:solidFill>
                  <a:latin typeface="Calibri" panose="020F0502020204030204" charset="0"/>
                  <a:ea typeface="MS PGothic" panose="020B0600070205080204" charset="-128"/>
                </a:defRPr>
              </a:lvl8pPr>
              <a:lvl9pPr marL="3886200" indent="-228600" fontAlgn="base">
                <a:spcBef>
                  <a:spcPct val="0"/>
                </a:spcBef>
                <a:spcAft>
                  <a:spcPct val="0"/>
                </a:spcAft>
                <a:defRPr>
                  <a:solidFill>
                    <a:schemeClr val="tx1"/>
                  </a:solidFill>
                  <a:latin typeface="Calibri" panose="020F0502020204030204" charset="0"/>
                  <a:ea typeface="MS PGothic" panose="020B0600070205080204" charset="-128"/>
                </a:defRPr>
              </a:lvl9pPr>
            </a:lstStyle>
            <a:p>
              <a:pPr defTabSz="914400">
                <a:defRPr/>
              </a:pPr>
              <a:r>
                <a:rPr lang="en-US" altLang="zh-CN" sz="1300" kern="0" dirty="0">
                  <a:solidFill>
                    <a:schemeClr val="tx1">
                      <a:lumMod val="75000"/>
                      <a:lumOff val="25000"/>
                    </a:schemeClr>
                  </a:solidFill>
                  <a:latin typeface="+mn-lt"/>
                  <a:sym typeface="+mn-lt"/>
                </a:rPr>
                <a:t>Text here, text here, Text here, text here, Text here, </a:t>
              </a:r>
            </a:p>
          </p:txBody>
        </p:sp>
        <p:sp>
          <p:nvSpPr>
            <p:cNvPr id="47" name="Content Placeholder 2">
              <a:extLst>
                <a:ext uri="{FF2B5EF4-FFF2-40B4-BE49-F238E27FC236}">
                  <a16:creationId xmlns:a16="http://schemas.microsoft.com/office/drawing/2014/main" id="{87C0359E-0AA0-451D-B034-AAB6F45613E0}"/>
                </a:ext>
              </a:extLst>
            </p:cNvPr>
            <p:cNvSpPr txBox="1"/>
            <p:nvPr/>
          </p:nvSpPr>
          <p:spPr bwMode="auto">
            <a:xfrm>
              <a:off x="1986009" y="3615234"/>
              <a:ext cx="2309154" cy="539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MS PGothic" panose="020B0600070205080204" charset="-128"/>
                </a:defRPr>
              </a:lvl1pPr>
              <a:lvl2pPr marL="742950" indent="-285750">
                <a:defRPr>
                  <a:solidFill>
                    <a:schemeClr val="tx1"/>
                  </a:solidFill>
                  <a:latin typeface="Calibri" panose="020F0502020204030204" charset="0"/>
                  <a:ea typeface="MS PGothic" panose="020B0600070205080204" charset="-128"/>
                </a:defRPr>
              </a:lvl2pPr>
              <a:lvl3pPr marL="1143000" indent="-228600">
                <a:defRPr>
                  <a:solidFill>
                    <a:schemeClr val="tx1"/>
                  </a:solidFill>
                  <a:latin typeface="Calibri" panose="020F0502020204030204" charset="0"/>
                  <a:ea typeface="MS PGothic" panose="020B0600070205080204" charset="-128"/>
                </a:defRPr>
              </a:lvl3pPr>
              <a:lvl4pPr marL="1600200" indent="-228600">
                <a:defRPr>
                  <a:solidFill>
                    <a:schemeClr val="tx1"/>
                  </a:solidFill>
                  <a:latin typeface="Calibri" panose="020F0502020204030204" charset="0"/>
                  <a:ea typeface="MS PGothic" panose="020B0600070205080204" charset="-128"/>
                </a:defRPr>
              </a:lvl4pPr>
              <a:lvl5pPr marL="2057400" indent="-228600">
                <a:defRPr>
                  <a:solidFill>
                    <a:schemeClr val="tx1"/>
                  </a:solidFill>
                  <a:latin typeface="Calibri" panose="020F0502020204030204" charset="0"/>
                  <a:ea typeface="MS PGothic" panose="020B0600070205080204" charset="-128"/>
                </a:defRPr>
              </a:lvl5pPr>
              <a:lvl6pPr marL="2514600" indent="-228600" fontAlgn="base">
                <a:spcBef>
                  <a:spcPct val="0"/>
                </a:spcBef>
                <a:spcAft>
                  <a:spcPct val="0"/>
                </a:spcAft>
                <a:defRPr>
                  <a:solidFill>
                    <a:schemeClr val="tx1"/>
                  </a:solidFill>
                  <a:latin typeface="Calibri" panose="020F0502020204030204" charset="0"/>
                  <a:ea typeface="MS PGothic" panose="020B0600070205080204" charset="-128"/>
                </a:defRPr>
              </a:lvl6pPr>
              <a:lvl7pPr marL="2971800" indent="-228600" fontAlgn="base">
                <a:spcBef>
                  <a:spcPct val="0"/>
                </a:spcBef>
                <a:spcAft>
                  <a:spcPct val="0"/>
                </a:spcAft>
                <a:defRPr>
                  <a:solidFill>
                    <a:schemeClr val="tx1"/>
                  </a:solidFill>
                  <a:latin typeface="Calibri" panose="020F0502020204030204" charset="0"/>
                  <a:ea typeface="MS PGothic" panose="020B0600070205080204" charset="-128"/>
                </a:defRPr>
              </a:lvl7pPr>
              <a:lvl8pPr marL="3429000" indent="-228600" fontAlgn="base">
                <a:spcBef>
                  <a:spcPct val="0"/>
                </a:spcBef>
                <a:spcAft>
                  <a:spcPct val="0"/>
                </a:spcAft>
                <a:defRPr>
                  <a:solidFill>
                    <a:schemeClr val="tx1"/>
                  </a:solidFill>
                  <a:latin typeface="Calibri" panose="020F0502020204030204" charset="0"/>
                  <a:ea typeface="MS PGothic" panose="020B0600070205080204" charset="-128"/>
                </a:defRPr>
              </a:lvl8pPr>
              <a:lvl9pPr marL="3886200" indent="-228600" fontAlgn="base">
                <a:spcBef>
                  <a:spcPct val="0"/>
                </a:spcBef>
                <a:spcAft>
                  <a:spcPct val="0"/>
                </a:spcAft>
                <a:defRPr>
                  <a:solidFill>
                    <a:schemeClr val="tx1"/>
                  </a:solidFill>
                  <a:latin typeface="Calibri" panose="020F0502020204030204" charset="0"/>
                  <a:ea typeface="MS PGothic" panose="020B0600070205080204" charset="-128"/>
                </a:defRPr>
              </a:lvl9pPr>
            </a:lstStyle>
            <a:p>
              <a:pPr defTabSz="914400">
                <a:defRPr/>
              </a:pPr>
              <a:r>
                <a:rPr lang="en-US" altLang="zh-CN" sz="1300" kern="0" dirty="0">
                  <a:solidFill>
                    <a:schemeClr val="tx1">
                      <a:lumMod val="75000"/>
                      <a:lumOff val="25000"/>
                    </a:schemeClr>
                  </a:solidFill>
                  <a:latin typeface="+mn-lt"/>
                  <a:sym typeface="+mn-lt"/>
                </a:rPr>
                <a:t>Text here, text here, Text here, text here, Text here, </a:t>
              </a:r>
            </a:p>
          </p:txBody>
        </p:sp>
        <p:sp>
          <p:nvSpPr>
            <p:cNvPr id="48" name="Content Placeholder 2">
              <a:extLst>
                <a:ext uri="{FF2B5EF4-FFF2-40B4-BE49-F238E27FC236}">
                  <a16:creationId xmlns:a16="http://schemas.microsoft.com/office/drawing/2014/main" id="{D1A02D86-7D00-4339-B433-7ED997E382DD}"/>
                </a:ext>
              </a:extLst>
            </p:cNvPr>
            <p:cNvSpPr txBox="1"/>
            <p:nvPr/>
          </p:nvSpPr>
          <p:spPr bwMode="auto">
            <a:xfrm>
              <a:off x="8577742" y="4580056"/>
              <a:ext cx="2304172" cy="539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MS PGothic" panose="020B0600070205080204" charset="-128"/>
                </a:defRPr>
              </a:lvl1pPr>
              <a:lvl2pPr marL="742950" indent="-285750">
                <a:defRPr>
                  <a:solidFill>
                    <a:schemeClr val="tx1"/>
                  </a:solidFill>
                  <a:latin typeface="Calibri" panose="020F0502020204030204" charset="0"/>
                  <a:ea typeface="MS PGothic" panose="020B0600070205080204" charset="-128"/>
                </a:defRPr>
              </a:lvl2pPr>
              <a:lvl3pPr marL="1143000" indent="-228600">
                <a:defRPr>
                  <a:solidFill>
                    <a:schemeClr val="tx1"/>
                  </a:solidFill>
                  <a:latin typeface="Calibri" panose="020F0502020204030204" charset="0"/>
                  <a:ea typeface="MS PGothic" panose="020B0600070205080204" charset="-128"/>
                </a:defRPr>
              </a:lvl3pPr>
              <a:lvl4pPr marL="1600200" indent="-228600">
                <a:defRPr>
                  <a:solidFill>
                    <a:schemeClr val="tx1"/>
                  </a:solidFill>
                  <a:latin typeface="Calibri" panose="020F0502020204030204" charset="0"/>
                  <a:ea typeface="MS PGothic" panose="020B0600070205080204" charset="-128"/>
                </a:defRPr>
              </a:lvl4pPr>
              <a:lvl5pPr marL="2057400" indent="-228600">
                <a:defRPr>
                  <a:solidFill>
                    <a:schemeClr val="tx1"/>
                  </a:solidFill>
                  <a:latin typeface="Calibri" panose="020F0502020204030204" charset="0"/>
                  <a:ea typeface="MS PGothic" panose="020B0600070205080204" charset="-128"/>
                </a:defRPr>
              </a:lvl5pPr>
              <a:lvl6pPr marL="2514600" indent="-228600" fontAlgn="base">
                <a:spcBef>
                  <a:spcPct val="0"/>
                </a:spcBef>
                <a:spcAft>
                  <a:spcPct val="0"/>
                </a:spcAft>
                <a:defRPr>
                  <a:solidFill>
                    <a:schemeClr val="tx1"/>
                  </a:solidFill>
                  <a:latin typeface="Calibri" panose="020F0502020204030204" charset="0"/>
                  <a:ea typeface="MS PGothic" panose="020B0600070205080204" charset="-128"/>
                </a:defRPr>
              </a:lvl6pPr>
              <a:lvl7pPr marL="2971800" indent="-228600" fontAlgn="base">
                <a:spcBef>
                  <a:spcPct val="0"/>
                </a:spcBef>
                <a:spcAft>
                  <a:spcPct val="0"/>
                </a:spcAft>
                <a:defRPr>
                  <a:solidFill>
                    <a:schemeClr val="tx1"/>
                  </a:solidFill>
                  <a:latin typeface="Calibri" panose="020F0502020204030204" charset="0"/>
                  <a:ea typeface="MS PGothic" panose="020B0600070205080204" charset="-128"/>
                </a:defRPr>
              </a:lvl7pPr>
              <a:lvl8pPr marL="3429000" indent="-228600" fontAlgn="base">
                <a:spcBef>
                  <a:spcPct val="0"/>
                </a:spcBef>
                <a:spcAft>
                  <a:spcPct val="0"/>
                </a:spcAft>
                <a:defRPr>
                  <a:solidFill>
                    <a:schemeClr val="tx1"/>
                  </a:solidFill>
                  <a:latin typeface="Calibri" panose="020F0502020204030204" charset="0"/>
                  <a:ea typeface="MS PGothic" panose="020B0600070205080204" charset="-128"/>
                </a:defRPr>
              </a:lvl8pPr>
              <a:lvl9pPr marL="3886200" indent="-228600" fontAlgn="base">
                <a:spcBef>
                  <a:spcPct val="0"/>
                </a:spcBef>
                <a:spcAft>
                  <a:spcPct val="0"/>
                </a:spcAft>
                <a:defRPr>
                  <a:solidFill>
                    <a:schemeClr val="tx1"/>
                  </a:solidFill>
                  <a:latin typeface="Calibri" panose="020F0502020204030204" charset="0"/>
                  <a:ea typeface="MS PGothic" panose="020B0600070205080204" charset="-128"/>
                </a:defRPr>
              </a:lvl9pPr>
            </a:lstStyle>
            <a:p>
              <a:pPr defTabSz="914400">
                <a:defRPr/>
              </a:pPr>
              <a:r>
                <a:rPr lang="en-US" altLang="zh-CN" sz="1300" kern="0" dirty="0">
                  <a:solidFill>
                    <a:schemeClr val="tx1">
                      <a:lumMod val="75000"/>
                      <a:lumOff val="25000"/>
                    </a:schemeClr>
                  </a:solidFill>
                  <a:latin typeface="+mn-lt"/>
                  <a:sym typeface="+mn-lt"/>
                </a:rPr>
                <a:t>Text here, text here, Text here, text here, Text here, </a:t>
              </a:r>
            </a:p>
          </p:txBody>
        </p:sp>
        <p:grpSp>
          <p:nvGrpSpPr>
            <p:cNvPr id="59" name="Group 862"/>
            <p:cNvGrpSpPr>
              <a:grpSpLocks noChangeAspect="1"/>
            </p:cNvGrpSpPr>
            <p:nvPr/>
          </p:nvGrpSpPr>
          <p:grpSpPr bwMode="auto">
            <a:xfrm>
              <a:off x="4153865" y="5815852"/>
              <a:ext cx="369021" cy="370106"/>
              <a:chOff x="6607" y="3441"/>
              <a:chExt cx="340" cy="341"/>
            </a:xfrm>
            <a:solidFill>
              <a:schemeClr val="bg1"/>
            </a:solidFill>
          </p:grpSpPr>
          <p:sp>
            <p:nvSpPr>
              <p:cNvPr id="60" name="Freeform 863"/>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864"/>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245"/>
            <p:cNvGrpSpPr>
              <a:grpSpLocks noChangeAspect="1"/>
            </p:cNvGrpSpPr>
            <p:nvPr/>
          </p:nvGrpSpPr>
          <p:grpSpPr bwMode="auto">
            <a:xfrm>
              <a:off x="5479332" y="4836261"/>
              <a:ext cx="720000" cy="720000"/>
              <a:chOff x="3480" y="792"/>
              <a:chExt cx="340" cy="340"/>
            </a:xfrm>
            <a:solidFill>
              <a:schemeClr val="bg1"/>
            </a:solidFill>
          </p:grpSpPr>
          <p:sp>
            <p:nvSpPr>
              <p:cNvPr id="63"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 name="Group 243"/>
            <p:cNvGrpSpPr>
              <a:grpSpLocks noChangeAspect="1"/>
            </p:cNvGrpSpPr>
            <p:nvPr/>
          </p:nvGrpSpPr>
          <p:grpSpPr bwMode="auto">
            <a:xfrm>
              <a:off x="6994464" y="5547998"/>
              <a:ext cx="540000" cy="540000"/>
              <a:chOff x="4256" y="720"/>
              <a:chExt cx="340" cy="340"/>
            </a:xfrm>
            <a:solidFill>
              <a:schemeClr val="bg1"/>
            </a:solidFill>
          </p:grpSpPr>
          <p:sp>
            <p:nvSpPr>
              <p:cNvPr id="69" name="Freeform 244"/>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245"/>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1" name="Group 245"/>
            <p:cNvGrpSpPr>
              <a:grpSpLocks noChangeAspect="1"/>
            </p:cNvGrpSpPr>
            <p:nvPr/>
          </p:nvGrpSpPr>
          <p:grpSpPr bwMode="auto">
            <a:xfrm>
              <a:off x="6005513" y="1862165"/>
              <a:ext cx="540000" cy="540000"/>
              <a:chOff x="3480" y="792"/>
              <a:chExt cx="340" cy="340"/>
            </a:xfrm>
            <a:solidFill>
              <a:schemeClr val="accent3"/>
            </a:solidFill>
          </p:grpSpPr>
          <p:sp>
            <p:nvSpPr>
              <p:cNvPr id="72"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243"/>
            <p:cNvGrpSpPr>
              <a:grpSpLocks noChangeAspect="1"/>
            </p:cNvGrpSpPr>
            <p:nvPr/>
          </p:nvGrpSpPr>
          <p:grpSpPr bwMode="auto">
            <a:xfrm>
              <a:off x="9298935" y="4222579"/>
              <a:ext cx="367041" cy="367041"/>
              <a:chOff x="4256" y="720"/>
              <a:chExt cx="340" cy="340"/>
            </a:xfrm>
            <a:solidFill>
              <a:srgbClr val="000000"/>
            </a:solidFill>
          </p:grpSpPr>
          <p:sp>
            <p:nvSpPr>
              <p:cNvPr id="81" name="Freeform 244"/>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245"/>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3" name="Group 862"/>
            <p:cNvGrpSpPr>
              <a:grpSpLocks noChangeAspect="1"/>
            </p:cNvGrpSpPr>
            <p:nvPr/>
          </p:nvGrpSpPr>
          <p:grpSpPr bwMode="auto">
            <a:xfrm>
              <a:off x="2930045" y="3012615"/>
              <a:ext cx="502521" cy="504000"/>
              <a:chOff x="6607" y="3441"/>
              <a:chExt cx="340" cy="341"/>
            </a:xfrm>
            <a:solidFill>
              <a:schemeClr val="accent1"/>
            </a:solidFill>
          </p:grpSpPr>
          <p:sp>
            <p:nvSpPr>
              <p:cNvPr id="84" name="Freeform 863"/>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864"/>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custDataLst>
      <p:tags r:id="rId1"/>
    </p:custDataLst>
    <p:extLst>
      <p:ext uri="{BB962C8B-B14F-4D97-AF65-F5344CB8AC3E}">
        <p14:creationId xmlns:p14="http://schemas.microsoft.com/office/powerpoint/2010/main" val="405880232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ounded Rectangle 39">
            <a:extLst>
              <a:ext uri="{FF2B5EF4-FFF2-40B4-BE49-F238E27FC236}">
                <a16:creationId xmlns:a16="http://schemas.microsoft.com/office/drawing/2014/main" id="{0709CA2B-8B34-6E40-8B7A-6FD7E4C15B6D}"/>
              </a:ext>
            </a:extLst>
          </p:cNvPr>
          <p:cNvSpPr/>
          <p:nvPr/>
        </p:nvSpPr>
        <p:spPr bwMode="gray">
          <a:xfrm>
            <a:off x="2906382" y="4628870"/>
            <a:ext cx="1966120" cy="348677"/>
          </a:xfrm>
          <a:prstGeom prst="roundRect">
            <a:avLst>
              <a:gd name="adj" fmla="val 27594"/>
            </a:avLst>
          </a:prstGeom>
          <a:solidFill>
            <a:schemeClr val="accent1">
              <a:lumMod val="50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1" name="Rounded Rectangle 40">
            <a:extLst>
              <a:ext uri="{FF2B5EF4-FFF2-40B4-BE49-F238E27FC236}">
                <a16:creationId xmlns:a16="http://schemas.microsoft.com/office/drawing/2014/main" id="{67947DF4-EB67-D943-A9C3-09EB91A7A188}"/>
              </a:ext>
            </a:extLst>
          </p:cNvPr>
          <p:cNvSpPr/>
          <p:nvPr/>
        </p:nvSpPr>
        <p:spPr bwMode="gray">
          <a:xfrm>
            <a:off x="2855731" y="4590770"/>
            <a:ext cx="1966120" cy="348677"/>
          </a:xfrm>
          <a:prstGeom prst="roundRect">
            <a:avLst>
              <a:gd name="adj" fmla="val 27594"/>
            </a:avLst>
          </a:prstGeom>
          <a:solidFill>
            <a:schemeClr val="accent1"/>
          </a:solidFill>
          <a:ln w="19050" algn="ctr">
            <a:noFill/>
            <a:miter lim="800000"/>
            <a:headEnd/>
            <a:tailEnd/>
          </a:ln>
        </p:spPr>
        <p:txBody>
          <a:bodyPr wrap="square" lIns="88900" tIns="88900" rIns="88900" bIns="88900" rtlCol="0" anchor="ctr"/>
          <a:lstStyle/>
          <a:p>
            <a:pPr algn="ctr"/>
            <a:r>
              <a:rPr lang="en-US" sz="1600" b="1" dirty="0">
                <a:solidFill>
                  <a:schemeClr val="bg1"/>
                </a:solidFill>
              </a:rPr>
              <a:t>Lorem ipsum </a:t>
            </a:r>
            <a:r>
              <a:rPr lang="en-US" sz="1600" b="1" dirty="0" err="1">
                <a:solidFill>
                  <a:schemeClr val="bg1"/>
                </a:solidFill>
              </a:rPr>
              <a:t>dolo</a:t>
            </a:r>
            <a:endParaRPr lang="en-US" sz="1600" b="1" dirty="0">
              <a:solidFill>
                <a:schemeClr val="bg1"/>
              </a:solidFill>
            </a:endParaRPr>
          </a:p>
        </p:txBody>
      </p:sp>
      <p:sp>
        <p:nvSpPr>
          <p:cNvPr id="43" name="Rounded Rectangle 42">
            <a:extLst>
              <a:ext uri="{FF2B5EF4-FFF2-40B4-BE49-F238E27FC236}">
                <a16:creationId xmlns:a16="http://schemas.microsoft.com/office/drawing/2014/main" id="{3882BEB6-3D6D-944F-BD49-E83300890C4D}"/>
              </a:ext>
            </a:extLst>
          </p:cNvPr>
          <p:cNvSpPr/>
          <p:nvPr/>
        </p:nvSpPr>
        <p:spPr bwMode="gray">
          <a:xfrm>
            <a:off x="5138265" y="5182387"/>
            <a:ext cx="1966120" cy="348677"/>
          </a:xfrm>
          <a:prstGeom prst="roundRect">
            <a:avLst>
              <a:gd name="adj" fmla="val 27594"/>
            </a:avLst>
          </a:pr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4" name="Rounded Rectangle 43">
            <a:extLst>
              <a:ext uri="{FF2B5EF4-FFF2-40B4-BE49-F238E27FC236}">
                <a16:creationId xmlns:a16="http://schemas.microsoft.com/office/drawing/2014/main" id="{7FC61709-ACE6-D34D-A5F0-563CC0062091}"/>
              </a:ext>
            </a:extLst>
          </p:cNvPr>
          <p:cNvSpPr/>
          <p:nvPr/>
        </p:nvSpPr>
        <p:spPr bwMode="gray">
          <a:xfrm>
            <a:off x="5087614" y="5144287"/>
            <a:ext cx="1966120" cy="348677"/>
          </a:xfrm>
          <a:prstGeom prst="roundRect">
            <a:avLst>
              <a:gd name="adj" fmla="val 27594"/>
            </a:avLst>
          </a:prstGeom>
          <a:solidFill>
            <a:srgbClr val="000000"/>
          </a:solidFill>
          <a:ln w="19050" algn="ctr">
            <a:noFill/>
            <a:miter lim="800000"/>
            <a:headEnd/>
            <a:tailEnd/>
          </a:ln>
        </p:spPr>
        <p:txBody>
          <a:bodyPr wrap="square" lIns="88900" tIns="88900" rIns="88900" bIns="88900" rtlCol="0" anchor="ctr"/>
          <a:lstStyle/>
          <a:p>
            <a:pPr algn="ctr"/>
            <a:r>
              <a:rPr lang="en-US" sz="1600" b="1">
                <a:solidFill>
                  <a:schemeClr val="bg1"/>
                </a:solidFill>
              </a:rPr>
              <a:t>Lorem ipsum dolo</a:t>
            </a:r>
            <a:endParaRPr lang="en-US" sz="1600" b="1" dirty="0">
              <a:solidFill>
                <a:schemeClr val="bg1"/>
              </a:solidFill>
            </a:endParaRPr>
          </a:p>
        </p:txBody>
      </p:sp>
      <p:sp>
        <p:nvSpPr>
          <p:cNvPr id="46" name="Rounded Rectangle 45">
            <a:extLst>
              <a:ext uri="{FF2B5EF4-FFF2-40B4-BE49-F238E27FC236}">
                <a16:creationId xmlns:a16="http://schemas.microsoft.com/office/drawing/2014/main" id="{EFDEA2F7-F983-4B45-B096-3CF5FE3CEC12}"/>
              </a:ext>
            </a:extLst>
          </p:cNvPr>
          <p:cNvSpPr/>
          <p:nvPr/>
        </p:nvSpPr>
        <p:spPr bwMode="gray">
          <a:xfrm>
            <a:off x="7314758" y="4628870"/>
            <a:ext cx="1966120" cy="348677"/>
          </a:xfrm>
          <a:prstGeom prst="roundRect">
            <a:avLst>
              <a:gd name="adj" fmla="val 27594"/>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7" name="Rounded Rectangle 46">
            <a:extLst>
              <a:ext uri="{FF2B5EF4-FFF2-40B4-BE49-F238E27FC236}">
                <a16:creationId xmlns:a16="http://schemas.microsoft.com/office/drawing/2014/main" id="{A42145A2-0298-9943-BF35-F82A5DB3D5EC}"/>
              </a:ext>
            </a:extLst>
          </p:cNvPr>
          <p:cNvSpPr/>
          <p:nvPr/>
        </p:nvSpPr>
        <p:spPr bwMode="gray">
          <a:xfrm>
            <a:off x="7264107" y="4590770"/>
            <a:ext cx="1966120" cy="348677"/>
          </a:xfrm>
          <a:prstGeom prst="roundRect">
            <a:avLst>
              <a:gd name="adj" fmla="val 27594"/>
            </a:avLst>
          </a:prstGeom>
          <a:solidFill>
            <a:srgbClr val="43B02A"/>
          </a:solidFill>
          <a:ln w="19050" algn="ctr">
            <a:noFill/>
            <a:miter lim="800000"/>
            <a:headEnd/>
            <a:tailEnd/>
          </a:ln>
        </p:spPr>
        <p:txBody>
          <a:bodyPr wrap="square" lIns="88900" tIns="88900" rIns="88900" bIns="88900" rtlCol="0" anchor="ctr"/>
          <a:lstStyle/>
          <a:p>
            <a:pPr algn="ctr"/>
            <a:r>
              <a:rPr lang="en-US" sz="1600" b="1" dirty="0">
                <a:solidFill>
                  <a:schemeClr val="bg1"/>
                </a:solidFill>
              </a:rPr>
              <a:t>Lorem ipsum </a:t>
            </a:r>
            <a:r>
              <a:rPr lang="en-US" sz="1600" b="1" dirty="0" err="1">
                <a:solidFill>
                  <a:schemeClr val="bg1"/>
                </a:solidFill>
              </a:rPr>
              <a:t>dolo</a:t>
            </a:r>
            <a:endParaRPr lang="en-US" sz="1600" b="1" dirty="0">
              <a:solidFill>
                <a:schemeClr val="bg1"/>
              </a:solidFill>
            </a:endParaRPr>
          </a:p>
        </p:txBody>
      </p:sp>
      <p:grpSp>
        <p:nvGrpSpPr>
          <p:cNvPr id="2" name="Group 1"/>
          <p:cNvGrpSpPr/>
          <p:nvPr/>
        </p:nvGrpSpPr>
        <p:grpSpPr>
          <a:xfrm>
            <a:off x="4168103" y="1714500"/>
            <a:ext cx="3855794" cy="3250452"/>
            <a:chOff x="3813969" y="1714500"/>
            <a:chExt cx="4564063" cy="3847526"/>
          </a:xfrm>
        </p:grpSpPr>
        <p:sp>
          <p:nvSpPr>
            <p:cNvPr id="50" name="Freeform 49">
              <a:extLst>
                <a:ext uri="{FF2B5EF4-FFF2-40B4-BE49-F238E27FC236}">
                  <a16:creationId xmlns:a16="http://schemas.microsoft.com/office/drawing/2014/main" id="{1CE7BA6B-6191-704C-A900-71B7CBF1C0E8}"/>
                </a:ext>
              </a:extLst>
            </p:cNvPr>
            <p:cNvSpPr/>
            <p:nvPr/>
          </p:nvSpPr>
          <p:spPr bwMode="gray">
            <a:xfrm>
              <a:off x="5062950" y="1714500"/>
              <a:ext cx="3315082" cy="3172738"/>
            </a:xfrm>
            <a:custGeom>
              <a:avLst/>
              <a:gdLst>
                <a:gd name="connsiteX0" fmla="*/ 1174262 w 4117885"/>
                <a:gd name="connsiteY0" fmla="*/ 0 h 3941070"/>
                <a:gd name="connsiteX1" fmla="*/ 2348524 w 4117885"/>
                <a:gd name="connsiteY1" fmla="*/ 1174262 h 3941070"/>
                <a:gd name="connsiteX2" fmla="*/ 2256244 w 4117885"/>
                <a:gd name="connsiteY2" fmla="*/ 1631338 h 3941070"/>
                <a:gd name="connsiteX3" fmla="*/ 2216852 w 4117885"/>
                <a:gd name="connsiteY3" fmla="*/ 1713112 h 3941070"/>
                <a:gd name="connsiteX4" fmla="*/ 2945432 w 4117885"/>
                <a:gd name="connsiteY4" fmla="*/ 2487779 h 3941070"/>
                <a:gd name="connsiteX5" fmla="*/ 3032815 w 4117885"/>
                <a:gd name="connsiteY5" fmla="*/ 2440349 h 3941070"/>
                <a:gd name="connsiteX6" fmla="*/ 3336835 w 4117885"/>
                <a:gd name="connsiteY6" fmla="*/ 2378970 h 3941070"/>
                <a:gd name="connsiteX7" fmla="*/ 4117885 w 4117885"/>
                <a:gd name="connsiteY7" fmla="*/ 3160020 h 3941070"/>
                <a:gd name="connsiteX8" fmla="*/ 3336835 w 4117885"/>
                <a:gd name="connsiteY8" fmla="*/ 3941070 h 3941070"/>
                <a:gd name="connsiteX9" fmla="*/ 2555785 w 4117885"/>
                <a:gd name="connsiteY9" fmla="*/ 3160020 h 3941070"/>
                <a:gd name="connsiteX10" fmla="*/ 2617164 w 4117885"/>
                <a:gd name="connsiteY10" fmla="*/ 2856000 h 3941070"/>
                <a:gd name="connsiteX11" fmla="*/ 2672621 w 4117885"/>
                <a:gd name="connsiteY11" fmla="*/ 2753829 h 3941070"/>
                <a:gd name="connsiteX12" fmla="*/ 1984839 w 4117885"/>
                <a:gd name="connsiteY12" fmla="*/ 2022541 h 3941070"/>
                <a:gd name="connsiteX13" fmla="*/ 1921201 w 4117885"/>
                <a:gd name="connsiteY13" fmla="*/ 2080379 h 3941070"/>
                <a:gd name="connsiteX14" fmla="*/ 1174262 w 4117885"/>
                <a:gd name="connsiteY14" fmla="*/ 2348523 h 3941070"/>
                <a:gd name="connsiteX15" fmla="*/ 0 w 4117885"/>
                <a:gd name="connsiteY15" fmla="*/ 1174262 h 3941070"/>
                <a:gd name="connsiteX16" fmla="*/ 1174262 w 4117885"/>
                <a:gd name="connsiteY16" fmla="*/ 0 h 39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17885" h="3941070">
                  <a:moveTo>
                    <a:pt x="1174262" y="0"/>
                  </a:moveTo>
                  <a:cubicBezTo>
                    <a:pt x="1822789" y="0"/>
                    <a:pt x="2348524" y="525735"/>
                    <a:pt x="2348524" y="1174262"/>
                  </a:cubicBezTo>
                  <a:cubicBezTo>
                    <a:pt x="2348524" y="1336393"/>
                    <a:pt x="2315665" y="1490851"/>
                    <a:pt x="2256244" y="1631338"/>
                  </a:cubicBezTo>
                  <a:lnTo>
                    <a:pt x="2216852" y="1713112"/>
                  </a:lnTo>
                  <a:lnTo>
                    <a:pt x="2945432" y="2487779"/>
                  </a:lnTo>
                  <a:lnTo>
                    <a:pt x="3032815" y="2440349"/>
                  </a:lnTo>
                  <a:cubicBezTo>
                    <a:pt x="3126259" y="2400826"/>
                    <a:pt x="3228995" y="2378970"/>
                    <a:pt x="3336835" y="2378970"/>
                  </a:cubicBezTo>
                  <a:cubicBezTo>
                    <a:pt x="3768197" y="2378970"/>
                    <a:pt x="4117885" y="2728658"/>
                    <a:pt x="4117885" y="3160020"/>
                  </a:cubicBezTo>
                  <a:cubicBezTo>
                    <a:pt x="4117885" y="3591382"/>
                    <a:pt x="3768197" y="3941070"/>
                    <a:pt x="3336835" y="3941070"/>
                  </a:cubicBezTo>
                  <a:cubicBezTo>
                    <a:pt x="2905473" y="3941070"/>
                    <a:pt x="2555785" y="3591382"/>
                    <a:pt x="2555785" y="3160020"/>
                  </a:cubicBezTo>
                  <a:cubicBezTo>
                    <a:pt x="2555785" y="3052180"/>
                    <a:pt x="2577641" y="2949444"/>
                    <a:pt x="2617164" y="2856000"/>
                  </a:cubicBezTo>
                  <a:lnTo>
                    <a:pt x="2672621" y="2753829"/>
                  </a:lnTo>
                  <a:lnTo>
                    <a:pt x="1984839" y="2022541"/>
                  </a:lnTo>
                  <a:lnTo>
                    <a:pt x="1921201" y="2080379"/>
                  </a:lnTo>
                  <a:cubicBezTo>
                    <a:pt x="1718220" y="2247894"/>
                    <a:pt x="1457992" y="2348523"/>
                    <a:pt x="1174262" y="2348523"/>
                  </a:cubicBezTo>
                  <a:cubicBezTo>
                    <a:pt x="525735" y="2348523"/>
                    <a:pt x="0" y="1822789"/>
                    <a:pt x="0" y="1174262"/>
                  </a:cubicBezTo>
                  <a:cubicBezTo>
                    <a:pt x="0" y="525734"/>
                    <a:pt x="525735" y="0"/>
                    <a:pt x="1174262" y="0"/>
                  </a:cubicBezTo>
                  <a:close/>
                </a:path>
              </a:pathLst>
            </a:cu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1" name="Freeform 50">
              <a:extLst>
                <a:ext uri="{FF2B5EF4-FFF2-40B4-BE49-F238E27FC236}">
                  <a16:creationId xmlns:a16="http://schemas.microsoft.com/office/drawing/2014/main" id="{402BCBAD-B5A9-B84E-932E-ED4EB25E16F0}"/>
                </a:ext>
              </a:extLst>
            </p:cNvPr>
            <p:cNvSpPr/>
            <p:nvPr/>
          </p:nvSpPr>
          <p:spPr bwMode="gray">
            <a:xfrm>
              <a:off x="5275227" y="1926777"/>
              <a:ext cx="1466114" cy="3635249"/>
            </a:xfrm>
            <a:custGeom>
              <a:avLst/>
              <a:gdLst>
                <a:gd name="connsiteX0" fmla="*/ 910579 w 1821158"/>
                <a:gd name="connsiteY0" fmla="*/ 0 h 4515587"/>
                <a:gd name="connsiteX1" fmla="*/ 1821158 w 1821158"/>
                <a:gd name="connsiteY1" fmla="*/ 910579 h 4515587"/>
                <a:gd name="connsiteX2" fmla="*/ 1265018 w 1821158"/>
                <a:gd name="connsiteY2" fmla="*/ 1749600 h 4515587"/>
                <a:gd name="connsiteX3" fmla="*/ 1228832 w 1821158"/>
                <a:gd name="connsiteY3" fmla="*/ 1760833 h 4515587"/>
                <a:gd name="connsiteX4" fmla="*/ 1228832 w 1821158"/>
                <a:gd name="connsiteY4" fmla="*/ 2992550 h 4515587"/>
                <a:gd name="connsiteX5" fmla="*/ 1300722 w 1821158"/>
                <a:gd name="connsiteY5" fmla="*/ 3014866 h 4515587"/>
                <a:gd name="connsiteX6" fmla="*/ 1777752 w 1821158"/>
                <a:gd name="connsiteY6" fmla="*/ 3734537 h 4515587"/>
                <a:gd name="connsiteX7" fmla="*/ 996702 w 1821158"/>
                <a:gd name="connsiteY7" fmla="*/ 4515587 h 4515587"/>
                <a:gd name="connsiteX8" fmla="*/ 215652 w 1821158"/>
                <a:gd name="connsiteY8" fmla="*/ 3734537 h 4515587"/>
                <a:gd name="connsiteX9" fmla="*/ 839293 w 1821158"/>
                <a:gd name="connsiteY9" fmla="*/ 2969355 h 4515587"/>
                <a:gd name="connsiteX10" fmla="*/ 847832 w 1821158"/>
                <a:gd name="connsiteY10" fmla="*/ 2968495 h 4515587"/>
                <a:gd name="connsiteX11" fmla="*/ 847832 w 1821158"/>
                <a:gd name="connsiteY11" fmla="*/ 1814833 h 4515587"/>
                <a:gd name="connsiteX12" fmla="*/ 727066 w 1821158"/>
                <a:gd name="connsiteY12" fmla="*/ 1802658 h 4515587"/>
                <a:gd name="connsiteX13" fmla="*/ 0 w 1821158"/>
                <a:gd name="connsiteY13" fmla="*/ 910579 h 4515587"/>
                <a:gd name="connsiteX14" fmla="*/ 910579 w 1821158"/>
                <a:gd name="connsiteY14" fmla="*/ 0 h 451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1158" h="4515587">
                  <a:moveTo>
                    <a:pt x="910579" y="0"/>
                  </a:moveTo>
                  <a:cubicBezTo>
                    <a:pt x="1413478" y="0"/>
                    <a:pt x="1821158" y="407680"/>
                    <a:pt x="1821158" y="910579"/>
                  </a:cubicBezTo>
                  <a:cubicBezTo>
                    <a:pt x="1821158" y="1287753"/>
                    <a:pt x="1591838" y="1611367"/>
                    <a:pt x="1265018" y="1749600"/>
                  </a:cubicBezTo>
                  <a:lnTo>
                    <a:pt x="1228832" y="1760833"/>
                  </a:lnTo>
                  <a:lnTo>
                    <a:pt x="1228832" y="2992550"/>
                  </a:lnTo>
                  <a:lnTo>
                    <a:pt x="1300722" y="3014866"/>
                  </a:lnTo>
                  <a:cubicBezTo>
                    <a:pt x="1581053" y="3133436"/>
                    <a:pt x="1777752" y="3411016"/>
                    <a:pt x="1777752" y="3734537"/>
                  </a:cubicBezTo>
                  <a:cubicBezTo>
                    <a:pt x="1777752" y="4165899"/>
                    <a:pt x="1428064" y="4515587"/>
                    <a:pt x="996702" y="4515587"/>
                  </a:cubicBezTo>
                  <a:cubicBezTo>
                    <a:pt x="565340" y="4515587"/>
                    <a:pt x="215652" y="4165899"/>
                    <a:pt x="215652" y="3734537"/>
                  </a:cubicBezTo>
                  <a:cubicBezTo>
                    <a:pt x="215652" y="3357095"/>
                    <a:pt x="483382" y="3042185"/>
                    <a:pt x="839293" y="2969355"/>
                  </a:cubicBezTo>
                  <a:lnTo>
                    <a:pt x="847832" y="2968495"/>
                  </a:lnTo>
                  <a:lnTo>
                    <a:pt x="847832" y="1814833"/>
                  </a:lnTo>
                  <a:lnTo>
                    <a:pt x="727066" y="1802658"/>
                  </a:lnTo>
                  <a:cubicBezTo>
                    <a:pt x="312130" y="1717750"/>
                    <a:pt x="0" y="1350616"/>
                    <a:pt x="0" y="910579"/>
                  </a:cubicBezTo>
                  <a:cubicBezTo>
                    <a:pt x="0" y="407680"/>
                    <a:pt x="407680" y="0"/>
                    <a:pt x="910579" y="0"/>
                  </a:cubicBezTo>
                  <a:close/>
                </a:path>
              </a:pathLst>
            </a:cu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2" name="Freeform 51">
              <a:extLst>
                <a:ext uri="{FF2B5EF4-FFF2-40B4-BE49-F238E27FC236}">
                  <a16:creationId xmlns:a16="http://schemas.microsoft.com/office/drawing/2014/main" id="{54D266B2-158F-A945-BED8-6A2759DA7C86}"/>
                </a:ext>
              </a:extLst>
            </p:cNvPr>
            <p:cNvSpPr/>
            <p:nvPr/>
          </p:nvSpPr>
          <p:spPr bwMode="gray">
            <a:xfrm>
              <a:off x="3813969" y="2116954"/>
              <a:ext cx="2737195" cy="2770284"/>
            </a:xfrm>
            <a:custGeom>
              <a:avLst/>
              <a:gdLst>
                <a:gd name="connsiteX0" fmla="*/ 2725706 w 3400053"/>
                <a:gd name="connsiteY0" fmla="*/ 0 h 3441155"/>
                <a:gd name="connsiteX1" fmla="*/ 3400053 w 3400053"/>
                <a:gd name="connsiteY1" fmla="*/ 674347 h 3441155"/>
                <a:gd name="connsiteX2" fmla="*/ 2725706 w 3400053"/>
                <a:gd name="connsiteY2" fmla="*/ 1348694 h 3441155"/>
                <a:gd name="connsiteX3" fmla="*/ 2463220 w 3400053"/>
                <a:gd name="connsiteY3" fmla="*/ 1295701 h 3441155"/>
                <a:gd name="connsiteX4" fmla="*/ 2383082 w 3400053"/>
                <a:gd name="connsiteY4" fmla="*/ 1252204 h 3441155"/>
                <a:gd name="connsiteX5" fmla="*/ 1429611 w 3400053"/>
                <a:gd name="connsiteY5" fmla="*/ 2225074 h 3441155"/>
                <a:gd name="connsiteX6" fmla="*/ 1500721 w 3400053"/>
                <a:gd name="connsiteY6" fmla="*/ 2356085 h 3441155"/>
                <a:gd name="connsiteX7" fmla="*/ 1562100 w 3400053"/>
                <a:gd name="connsiteY7" fmla="*/ 2660105 h 3441155"/>
                <a:gd name="connsiteX8" fmla="*/ 781050 w 3400053"/>
                <a:gd name="connsiteY8" fmla="*/ 3441155 h 3441155"/>
                <a:gd name="connsiteX9" fmla="*/ 0 w 3400053"/>
                <a:gd name="connsiteY9" fmla="*/ 2660105 h 3441155"/>
                <a:gd name="connsiteX10" fmla="*/ 781050 w 3400053"/>
                <a:gd name="connsiteY10" fmla="*/ 1879055 h 3441155"/>
                <a:gd name="connsiteX11" fmla="*/ 1085070 w 3400053"/>
                <a:gd name="connsiteY11" fmla="*/ 1940434 h 3441155"/>
                <a:gd name="connsiteX12" fmla="*/ 1143841 w 3400053"/>
                <a:gd name="connsiteY12" fmla="*/ 1972334 h 3441155"/>
                <a:gd name="connsiteX13" fmla="*/ 2123721 w 3400053"/>
                <a:gd name="connsiteY13" fmla="*/ 972517 h 3441155"/>
                <a:gd name="connsiteX14" fmla="*/ 2104353 w 3400053"/>
                <a:gd name="connsiteY14" fmla="*/ 936834 h 3441155"/>
                <a:gd name="connsiteX15" fmla="*/ 2051359 w 3400053"/>
                <a:gd name="connsiteY15" fmla="*/ 674347 h 3441155"/>
                <a:gd name="connsiteX16" fmla="*/ 2725706 w 3400053"/>
                <a:gd name="connsiteY16" fmla="*/ 0 h 344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00053" h="3441155">
                  <a:moveTo>
                    <a:pt x="2725706" y="0"/>
                  </a:moveTo>
                  <a:cubicBezTo>
                    <a:pt x="3098138" y="0"/>
                    <a:pt x="3400053" y="301915"/>
                    <a:pt x="3400053" y="674347"/>
                  </a:cubicBezTo>
                  <a:cubicBezTo>
                    <a:pt x="3400053" y="1046779"/>
                    <a:pt x="3098138" y="1348694"/>
                    <a:pt x="2725706" y="1348694"/>
                  </a:cubicBezTo>
                  <a:cubicBezTo>
                    <a:pt x="2632598" y="1348694"/>
                    <a:pt x="2543897" y="1329824"/>
                    <a:pt x="2463220" y="1295701"/>
                  </a:cubicBezTo>
                  <a:lnTo>
                    <a:pt x="2383082" y="1252204"/>
                  </a:lnTo>
                  <a:lnTo>
                    <a:pt x="1429611" y="2225074"/>
                  </a:lnTo>
                  <a:lnTo>
                    <a:pt x="1500721" y="2356085"/>
                  </a:lnTo>
                  <a:cubicBezTo>
                    <a:pt x="1540245" y="2449529"/>
                    <a:pt x="1562100" y="2552265"/>
                    <a:pt x="1562100" y="2660105"/>
                  </a:cubicBezTo>
                  <a:cubicBezTo>
                    <a:pt x="1562100" y="3091467"/>
                    <a:pt x="1212412" y="3441155"/>
                    <a:pt x="781050" y="3441155"/>
                  </a:cubicBezTo>
                  <a:cubicBezTo>
                    <a:pt x="349688" y="3441155"/>
                    <a:pt x="0" y="3091467"/>
                    <a:pt x="0" y="2660105"/>
                  </a:cubicBezTo>
                  <a:cubicBezTo>
                    <a:pt x="0" y="2228743"/>
                    <a:pt x="349688" y="1879055"/>
                    <a:pt x="781050" y="1879055"/>
                  </a:cubicBezTo>
                  <a:cubicBezTo>
                    <a:pt x="888891" y="1879055"/>
                    <a:pt x="991627" y="1900911"/>
                    <a:pt x="1085070" y="1940434"/>
                  </a:cubicBezTo>
                  <a:lnTo>
                    <a:pt x="1143841" y="1972334"/>
                  </a:lnTo>
                  <a:lnTo>
                    <a:pt x="2123721" y="972517"/>
                  </a:lnTo>
                  <a:lnTo>
                    <a:pt x="2104353" y="936834"/>
                  </a:lnTo>
                  <a:cubicBezTo>
                    <a:pt x="2070229" y="856156"/>
                    <a:pt x="2051359" y="767455"/>
                    <a:pt x="2051359" y="674347"/>
                  </a:cubicBezTo>
                  <a:cubicBezTo>
                    <a:pt x="2051359" y="301915"/>
                    <a:pt x="2353274" y="0"/>
                    <a:pt x="2725706" y="0"/>
                  </a:cubicBezTo>
                  <a:close/>
                </a:path>
              </a:pathLst>
            </a:cu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3" name="Oval 52">
              <a:extLst>
                <a:ext uri="{FF2B5EF4-FFF2-40B4-BE49-F238E27FC236}">
                  <a16:creationId xmlns:a16="http://schemas.microsoft.com/office/drawing/2014/main" id="{16D912E1-5C11-E44B-A360-409B2087AC30}"/>
                </a:ext>
              </a:extLst>
            </p:cNvPr>
            <p:cNvSpPr/>
            <p:nvPr/>
          </p:nvSpPr>
          <p:spPr bwMode="gray">
            <a:xfrm>
              <a:off x="5711640" y="2363190"/>
              <a:ext cx="593288" cy="593288"/>
            </a:xfrm>
            <a:prstGeom prst="ellipse">
              <a:avLst/>
            </a:prstGeom>
            <a:solidFill>
              <a:schemeClr val="bg1"/>
            </a:solidFill>
            <a:ln w="19050" algn="ctr">
              <a:noFill/>
              <a:miter lim="800000"/>
              <a:headEnd/>
              <a:tailEnd/>
            </a:ln>
            <a:effectLst/>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4" name="Oval 53">
              <a:extLst>
                <a:ext uri="{FF2B5EF4-FFF2-40B4-BE49-F238E27FC236}">
                  <a16:creationId xmlns:a16="http://schemas.microsoft.com/office/drawing/2014/main" id="{40607615-F9A0-3645-BF3C-67705FA204E0}"/>
                </a:ext>
              </a:extLst>
            </p:cNvPr>
            <p:cNvSpPr/>
            <p:nvPr/>
          </p:nvSpPr>
          <p:spPr bwMode="gray">
            <a:xfrm>
              <a:off x="3960940" y="3790409"/>
              <a:ext cx="944904" cy="944904"/>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5" name="Oval 54">
              <a:extLst>
                <a:ext uri="{FF2B5EF4-FFF2-40B4-BE49-F238E27FC236}">
                  <a16:creationId xmlns:a16="http://schemas.microsoft.com/office/drawing/2014/main" id="{970A213E-E317-7E47-AA6E-A6CC4F891765}"/>
                </a:ext>
              </a:extLst>
            </p:cNvPr>
            <p:cNvSpPr/>
            <p:nvPr/>
          </p:nvSpPr>
          <p:spPr bwMode="gray">
            <a:xfrm>
              <a:off x="5606260" y="4471967"/>
              <a:ext cx="944904" cy="944904"/>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6" name="Oval 55">
              <a:extLst>
                <a:ext uri="{FF2B5EF4-FFF2-40B4-BE49-F238E27FC236}">
                  <a16:creationId xmlns:a16="http://schemas.microsoft.com/office/drawing/2014/main" id="{01F2ECE8-E2F7-724A-B829-7470F517AF01}"/>
                </a:ext>
              </a:extLst>
            </p:cNvPr>
            <p:cNvSpPr/>
            <p:nvPr/>
          </p:nvSpPr>
          <p:spPr bwMode="gray">
            <a:xfrm>
              <a:off x="7263315" y="3784272"/>
              <a:ext cx="944904" cy="944904"/>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57" name="Group 235">
              <a:extLst>
                <a:ext uri="{FF2B5EF4-FFF2-40B4-BE49-F238E27FC236}">
                  <a16:creationId xmlns:a16="http://schemas.microsoft.com/office/drawing/2014/main" id="{5D4E0E94-6DCD-4C43-A47D-C044BBAF9B6F}"/>
                </a:ext>
              </a:extLst>
            </p:cNvPr>
            <p:cNvGrpSpPr>
              <a:grpSpLocks noChangeAspect="1"/>
            </p:cNvGrpSpPr>
            <p:nvPr/>
          </p:nvGrpSpPr>
          <p:grpSpPr bwMode="auto">
            <a:xfrm>
              <a:off x="4118603" y="3941936"/>
              <a:ext cx="629576" cy="629576"/>
              <a:chOff x="4264" y="792"/>
              <a:chExt cx="340" cy="340"/>
            </a:xfrm>
            <a:solidFill>
              <a:srgbClr val="86BC25"/>
            </a:solidFill>
          </p:grpSpPr>
          <p:sp>
            <p:nvSpPr>
              <p:cNvPr id="58" name="Freeform 236">
                <a:extLst>
                  <a:ext uri="{FF2B5EF4-FFF2-40B4-BE49-F238E27FC236}">
                    <a16:creationId xmlns:a16="http://schemas.microsoft.com/office/drawing/2014/main" id="{64F7EBEA-2009-A44A-8B14-3A25780B3819}"/>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237">
                <a:extLst>
                  <a:ext uri="{FF2B5EF4-FFF2-40B4-BE49-F238E27FC236}">
                    <a16:creationId xmlns:a16="http://schemas.microsoft.com/office/drawing/2014/main" id="{9D67E100-CD14-7D4A-8AB6-2BE05726690D}"/>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238">
                <a:extLst>
                  <a:ext uri="{FF2B5EF4-FFF2-40B4-BE49-F238E27FC236}">
                    <a16:creationId xmlns:a16="http://schemas.microsoft.com/office/drawing/2014/main" id="{A4580A79-8967-3247-AF9C-9F5EE8784FD6}"/>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1" name="Group 816">
              <a:extLst>
                <a:ext uri="{FF2B5EF4-FFF2-40B4-BE49-F238E27FC236}">
                  <a16:creationId xmlns:a16="http://schemas.microsoft.com/office/drawing/2014/main" id="{CE5E264D-33AF-774C-8166-ACDC8F4155DD}"/>
                </a:ext>
              </a:extLst>
            </p:cNvPr>
            <p:cNvGrpSpPr>
              <a:grpSpLocks noChangeAspect="1"/>
            </p:cNvGrpSpPr>
            <p:nvPr/>
          </p:nvGrpSpPr>
          <p:grpSpPr bwMode="auto">
            <a:xfrm>
              <a:off x="5763243" y="4644348"/>
              <a:ext cx="630936" cy="630936"/>
              <a:chOff x="4518" y="3391"/>
              <a:chExt cx="340" cy="340"/>
            </a:xfrm>
            <a:solidFill>
              <a:srgbClr val="000000"/>
            </a:solidFill>
          </p:grpSpPr>
          <p:sp>
            <p:nvSpPr>
              <p:cNvPr id="62" name="Freeform 817">
                <a:extLst>
                  <a:ext uri="{FF2B5EF4-FFF2-40B4-BE49-F238E27FC236}">
                    <a16:creationId xmlns:a16="http://schemas.microsoft.com/office/drawing/2014/main" id="{5DBD49C8-657B-3E4B-9BCA-7C13D3BBD9E5}"/>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818">
                <a:extLst>
                  <a:ext uri="{FF2B5EF4-FFF2-40B4-BE49-F238E27FC236}">
                    <a16:creationId xmlns:a16="http://schemas.microsoft.com/office/drawing/2014/main" id="{FE59031B-479F-E342-9D06-FDF1F6770F02}"/>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4" name="Group 541">
              <a:extLst>
                <a:ext uri="{FF2B5EF4-FFF2-40B4-BE49-F238E27FC236}">
                  <a16:creationId xmlns:a16="http://schemas.microsoft.com/office/drawing/2014/main" id="{056194E4-097E-934F-8E7E-241EC7AB8B17}"/>
                </a:ext>
              </a:extLst>
            </p:cNvPr>
            <p:cNvGrpSpPr>
              <a:grpSpLocks noChangeAspect="1"/>
            </p:cNvGrpSpPr>
            <p:nvPr/>
          </p:nvGrpSpPr>
          <p:grpSpPr bwMode="auto">
            <a:xfrm>
              <a:off x="7437618" y="3940576"/>
              <a:ext cx="630936" cy="630936"/>
              <a:chOff x="5326" y="2494"/>
              <a:chExt cx="340" cy="340"/>
            </a:xfrm>
            <a:solidFill>
              <a:srgbClr val="43B02A"/>
            </a:solidFill>
          </p:grpSpPr>
          <p:sp>
            <p:nvSpPr>
              <p:cNvPr id="65" name="Freeform 542">
                <a:extLst>
                  <a:ext uri="{FF2B5EF4-FFF2-40B4-BE49-F238E27FC236}">
                    <a16:creationId xmlns:a16="http://schemas.microsoft.com/office/drawing/2014/main" id="{EDF15C26-1E8A-904B-8225-F01736B83C83}"/>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543">
                <a:extLst>
                  <a:ext uri="{FF2B5EF4-FFF2-40B4-BE49-F238E27FC236}">
                    <a16:creationId xmlns:a16="http://schemas.microsoft.com/office/drawing/2014/main" id="{21F464D4-7A4F-5B49-B0BF-E6E03029F061}"/>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7" name="Freeform 723">
              <a:extLst>
                <a:ext uri="{FF2B5EF4-FFF2-40B4-BE49-F238E27FC236}">
                  <a16:creationId xmlns:a16="http://schemas.microsoft.com/office/drawing/2014/main" id="{8F51BE4E-5564-2C4B-83EB-5339CECC1AA7}"/>
                </a:ext>
              </a:extLst>
            </p:cNvPr>
            <p:cNvSpPr>
              <a:spLocks noChangeAspect="1" noEditPoints="1"/>
            </p:cNvSpPr>
            <p:nvPr/>
          </p:nvSpPr>
          <p:spPr bwMode="auto">
            <a:xfrm>
              <a:off x="5827421" y="2475299"/>
              <a:ext cx="367982" cy="367982"/>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68" name="Rectangle 67">
            <a:extLst>
              <a:ext uri="{FF2B5EF4-FFF2-40B4-BE49-F238E27FC236}">
                <a16:creationId xmlns:a16="http://schemas.microsoft.com/office/drawing/2014/main" id="{7254345E-0D40-9248-8847-27E5C49E5325}"/>
              </a:ext>
            </a:extLst>
          </p:cNvPr>
          <p:cNvSpPr/>
          <p:nvPr/>
        </p:nvSpPr>
        <p:spPr>
          <a:xfrm>
            <a:off x="2995636" y="5041626"/>
            <a:ext cx="1802809" cy="400110"/>
          </a:xfrm>
          <a:prstGeom prst="rect">
            <a:avLst/>
          </a:prstGeom>
        </p:spPr>
        <p:txBody>
          <a:bodyPr wrap="square" lIns="0" tIns="0" rIns="0" bIns="0">
            <a:spAutoFit/>
          </a:bodyPr>
          <a:lstStyle/>
          <a:p>
            <a:pPr marL="137160" indent="-137160">
              <a:buFont typeface="Arial" panose="020B0604020202020204" pitchFamily="34" charset="0"/>
              <a:buChar char="•"/>
            </a:pPr>
            <a:r>
              <a:rPr lang="en-US" sz="1300" dirty="0"/>
              <a:t>Please replace with your text content here.</a:t>
            </a:r>
          </a:p>
        </p:txBody>
      </p:sp>
      <p:sp>
        <p:nvSpPr>
          <p:cNvPr id="69" name="Rectangle 68">
            <a:extLst>
              <a:ext uri="{FF2B5EF4-FFF2-40B4-BE49-F238E27FC236}">
                <a16:creationId xmlns:a16="http://schemas.microsoft.com/office/drawing/2014/main" id="{E54B4CB1-5ECF-554F-A363-F3C92A6890A7}"/>
              </a:ext>
            </a:extLst>
          </p:cNvPr>
          <p:cNvSpPr/>
          <p:nvPr/>
        </p:nvSpPr>
        <p:spPr>
          <a:xfrm>
            <a:off x="5182565" y="5603259"/>
            <a:ext cx="1998202" cy="400110"/>
          </a:xfrm>
          <a:prstGeom prst="rect">
            <a:avLst/>
          </a:prstGeom>
        </p:spPr>
        <p:txBody>
          <a:bodyPr wrap="square" lIns="0" tIns="0" rIns="0" bIns="0">
            <a:spAutoFit/>
          </a:bodyPr>
          <a:lstStyle/>
          <a:p>
            <a:pPr marL="137160" indent="-137160">
              <a:buFont typeface="Arial" panose="020B0604020202020204" pitchFamily="34" charset="0"/>
              <a:buChar char="•"/>
            </a:pPr>
            <a:r>
              <a:rPr lang="en-US" sz="1300" dirty="0"/>
              <a:t>Please replace with your text content here.</a:t>
            </a:r>
          </a:p>
        </p:txBody>
      </p:sp>
      <p:sp>
        <p:nvSpPr>
          <p:cNvPr id="70" name="Rectangle 69">
            <a:extLst>
              <a:ext uri="{FF2B5EF4-FFF2-40B4-BE49-F238E27FC236}">
                <a16:creationId xmlns:a16="http://schemas.microsoft.com/office/drawing/2014/main" id="{EF9C6A03-F2BB-D046-940F-25CD8A9CCACA}"/>
              </a:ext>
            </a:extLst>
          </p:cNvPr>
          <p:cNvSpPr/>
          <p:nvPr/>
        </p:nvSpPr>
        <p:spPr>
          <a:xfrm>
            <a:off x="7392470" y="5041625"/>
            <a:ext cx="1749374" cy="400110"/>
          </a:xfrm>
          <a:prstGeom prst="rect">
            <a:avLst/>
          </a:prstGeom>
        </p:spPr>
        <p:txBody>
          <a:bodyPr wrap="square" lIns="0" tIns="0" rIns="0" bIns="0">
            <a:spAutoFit/>
          </a:bodyPr>
          <a:lstStyle/>
          <a:p>
            <a:pPr marL="137160" indent="-137160">
              <a:buFont typeface="Arial" panose="020B0604020202020204" pitchFamily="34" charset="0"/>
              <a:buChar char="•"/>
            </a:pPr>
            <a:r>
              <a:rPr lang="en-US" sz="1300" dirty="0"/>
              <a:t>Please replace with your text content here.</a:t>
            </a:r>
          </a:p>
        </p:txBody>
      </p:sp>
    </p:spTree>
    <p:custDataLst>
      <p:tags r:id="rId1"/>
    </p:custDataLst>
    <p:extLst>
      <p:ext uri="{BB962C8B-B14F-4D97-AF65-F5344CB8AC3E}">
        <p14:creationId xmlns:p14="http://schemas.microsoft.com/office/powerpoint/2010/main" val="153874630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2">
            <a:extLst>
              <a:ext uri="{FF2B5EF4-FFF2-40B4-BE49-F238E27FC236}">
                <a16:creationId xmlns:a16="http://schemas.microsoft.com/office/drawing/2014/main" id="{B629A7FE-9895-47A8-9C27-FADFE23615DC}"/>
              </a:ext>
            </a:extLst>
          </p:cNvPr>
          <p:cNvSpPr/>
          <p:nvPr/>
        </p:nvSpPr>
        <p:spPr>
          <a:xfrm rot="18199285">
            <a:off x="483645" y="2166097"/>
            <a:ext cx="3354764" cy="3374017"/>
          </a:xfrm>
          <a:prstGeom prst="ellipse">
            <a:avLst/>
          </a:prstGeom>
          <a:solidFill>
            <a:srgbClr val="FFFFFF"/>
          </a:solidFill>
          <a:ln w="53975" cmpd="dbl">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32" name="Freeform 611">
            <a:extLst>
              <a:ext uri="{FF2B5EF4-FFF2-40B4-BE49-F238E27FC236}">
                <a16:creationId xmlns:a16="http://schemas.microsoft.com/office/drawing/2014/main" id="{561183C2-2CBE-493C-801C-5433218DA912}"/>
              </a:ext>
            </a:extLst>
          </p:cNvPr>
          <p:cNvSpPr>
            <a:spLocks noChangeAspect="1" noEditPoints="1"/>
          </p:cNvSpPr>
          <p:nvPr/>
        </p:nvSpPr>
        <p:spPr bwMode="auto">
          <a:xfrm>
            <a:off x="1757276" y="2702114"/>
            <a:ext cx="861234" cy="8612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000000"/>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9" name="Oval 3">
            <a:extLst>
              <a:ext uri="{FF2B5EF4-FFF2-40B4-BE49-F238E27FC236}">
                <a16:creationId xmlns:a16="http://schemas.microsoft.com/office/drawing/2014/main" id="{A8A659F9-D6CE-43A6-A0B2-02B0E08E3DEC}"/>
              </a:ext>
            </a:extLst>
          </p:cNvPr>
          <p:cNvSpPr/>
          <p:nvPr/>
        </p:nvSpPr>
        <p:spPr>
          <a:xfrm>
            <a:off x="2763232" y="1746207"/>
            <a:ext cx="1158413" cy="1165060"/>
          </a:xfrm>
          <a:prstGeom prst="ellipse">
            <a:avLst/>
          </a:prstGeom>
          <a:solidFill>
            <a:srgbClr val="86BC25"/>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dirty="0">
              <a:solidFill>
                <a:schemeClr val="bg1"/>
              </a:solidFill>
              <a:latin typeface="+mj-lt"/>
            </a:endParaRPr>
          </a:p>
        </p:txBody>
      </p:sp>
      <p:sp>
        <p:nvSpPr>
          <p:cNvPr id="10" name="Oval 4">
            <a:extLst>
              <a:ext uri="{FF2B5EF4-FFF2-40B4-BE49-F238E27FC236}">
                <a16:creationId xmlns:a16="http://schemas.microsoft.com/office/drawing/2014/main" id="{2FC8DF40-584F-4E45-A0C0-5F9358190F3C}"/>
              </a:ext>
            </a:extLst>
          </p:cNvPr>
          <p:cNvSpPr/>
          <p:nvPr/>
        </p:nvSpPr>
        <p:spPr>
          <a:xfrm>
            <a:off x="3437737" y="3005328"/>
            <a:ext cx="1053102" cy="1059146"/>
          </a:xfrm>
          <a:prstGeom prst="ellipse">
            <a:avLst/>
          </a:prstGeom>
          <a:solidFill>
            <a:srgbClr val="009A44"/>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1" name="Oval 5">
            <a:extLst>
              <a:ext uri="{FF2B5EF4-FFF2-40B4-BE49-F238E27FC236}">
                <a16:creationId xmlns:a16="http://schemas.microsoft.com/office/drawing/2014/main" id="{263A5215-C43A-461E-9B37-9EDFA862C0AC}"/>
              </a:ext>
            </a:extLst>
          </p:cNvPr>
          <p:cNvSpPr/>
          <p:nvPr/>
        </p:nvSpPr>
        <p:spPr>
          <a:xfrm>
            <a:off x="3234590" y="4353972"/>
            <a:ext cx="946452" cy="951883"/>
          </a:xfrm>
          <a:prstGeom prst="ellipse">
            <a:avLst/>
          </a:prstGeom>
          <a:solidFill>
            <a:srgbClr val="43B02A"/>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3" name="Text Box 10">
            <a:extLst>
              <a:ext uri="{FF2B5EF4-FFF2-40B4-BE49-F238E27FC236}">
                <a16:creationId xmlns:a16="http://schemas.microsoft.com/office/drawing/2014/main" id="{0A029585-5ECA-4163-89A5-A16EF5899C87}"/>
              </a:ext>
            </a:extLst>
          </p:cNvPr>
          <p:cNvSpPr txBox="1">
            <a:spLocks noChangeArrowheads="1"/>
          </p:cNvSpPr>
          <p:nvPr/>
        </p:nvSpPr>
        <p:spPr bwMode="auto">
          <a:xfrm>
            <a:off x="4975421" y="5245498"/>
            <a:ext cx="6739855" cy="846386"/>
          </a:xfrm>
          <a:prstGeom prst="rect">
            <a:avLst/>
          </a:prstGeom>
          <a:noFill/>
          <a:ln w="9525">
            <a:noFill/>
            <a:miter lim="800000"/>
            <a:headEnd/>
            <a:tailEnd/>
          </a:ln>
        </p:spPr>
        <p:txBody>
          <a:bodyPr wrap="square" lIns="45720" tIns="22860" rIns="45720" bIns="22860">
            <a:spAutoFit/>
          </a:bodyPr>
          <a:lstStyle/>
          <a:p>
            <a:pPr defTabSz="1088232"/>
            <a:r>
              <a:rPr lang="en-US" sz="1300" i="1" dirty="0">
                <a:solidFill>
                  <a:schemeClr val="bg1">
                    <a:lumMod val="65000"/>
                  </a:schemeClr>
                </a:solidFill>
                <a:latin typeface="+mj-lt"/>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23" name="Rounded Rectangle 18">
            <a:extLst>
              <a:ext uri="{FF2B5EF4-FFF2-40B4-BE49-F238E27FC236}">
                <a16:creationId xmlns:a16="http://schemas.microsoft.com/office/drawing/2014/main" id="{6A2B6FCD-4210-408F-B2C1-9C7392430941}"/>
              </a:ext>
            </a:extLst>
          </p:cNvPr>
          <p:cNvSpPr/>
          <p:nvPr/>
        </p:nvSpPr>
        <p:spPr>
          <a:xfrm>
            <a:off x="4990115" y="1801812"/>
            <a:ext cx="2106205" cy="3276151"/>
          </a:xfrm>
          <a:prstGeom prst="roundRect">
            <a:avLst>
              <a:gd name="adj" fmla="val 5186"/>
            </a:avLst>
          </a:prstGeom>
          <a:noFill/>
          <a:ln w="1905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4" name="Text Box 10">
            <a:extLst>
              <a:ext uri="{FF2B5EF4-FFF2-40B4-BE49-F238E27FC236}">
                <a16:creationId xmlns:a16="http://schemas.microsoft.com/office/drawing/2014/main" id="{369F9FFA-2AE9-48C6-B1A9-4D6C368F04FA}"/>
              </a:ext>
            </a:extLst>
          </p:cNvPr>
          <p:cNvSpPr txBox="1">
            <a:spLocks noChangeArrowheads="1"/>
          </p:cNvSpPr>
          <p:nvPr/>
        </p:nvSpPr>
        <p:spPr bwMode="auto">
          <a:xfrm>
            <a:off x="5168353" y="3199799"/>
            <a:ext cx="1849950" cy="1646605"/>
          </a:xfrm>
          <a:prstGeom prst="rect">
            <a:avLst/>
          </a:prstGeom>
          <a:noFill/>
          <a:ln w="9525">
            <a:noFill/>
            <a:miter lim="800000"/>
            <a:headEnd/>
            <a:tailEnd/>
          </a:ln>
        </p:spPr>
        <p:txBody>
          <a:bodyPr wrap="square" lIns="45720" tIns="22860" rIns="45720" bIns="22860">
            <a:spAutoFit/>
          </a:bodyPr>
          <a:lstStyle/>
          <a:p>
            <a:pPr defTabSz="1088232"/>
            <a:r>
              <a:rPr lang="en-US" sz="1300" b="1" dirty="0">
                <a:solidFill>
                  <a:srgbClr val="046A38"/>
                </a:solidFill>
                <a:latin typeface="+mj-lt"/>
                <a:ea typeface="Open Sans" pitchFamily="34" charset="0"/>
                <a:cs typeface="Open Sans" pitchFamily="34" charset="0"/>
              </a:rPr>
              <a:t>Lorem Ipsum</a:t>
            </a:r>
          </a:p>
          <a:p>
            <a:pPr defTabSz="1088232"/>
            <a:endParaRPr lang="en-US" sz="1300" b="1" dirty="0">
              <a:solidFill>
                <a:srgbClr val="45C1A4"/>
              </a:solidFill>
              <a:latin typeface="+mj-lt"/>
              <a:ea typeface="Open Sans" pitchFamily="34" charset="0"/>
              <a:cs typeface="Open Sans" pitchFamily="34" charset="0"/>
            </a:endParaRPr>
          </a:p>
          <a:p>
            <a:pPr defTabSz="1088232"/>
            <a:r>
              <a:rPr lang="en-US" sz="1300" dirty="0">
                <a:solidFill>
                  <a:srgbClr val="FFFFFF"/>
                </a:solidFill>
                <a:latin typeface="+mj-lt"/>
                <a:ea typeface="Open Sans" pitchFamily="34" charset="0"/>
                <a:cs typeface="Open Sans" pitchFamily="34" charset="0"/>
              </a:rPr>
              <a:t>This is dummy text it is not here to be read. The is just text to show where you could insert text. The is just text to show where you could insert text. </a:t>
            </a:r>
          </a:p>
        </p:txBody>
      </p:sp>
      <p:sp>
        <p:nvSpPr>
          <p:cNvPr id="25" name="Rectangle 22">
            <a:extLst>
              <a:ext uri="{FF2B5EF4-FFF2-40B4-BE49-F238E27FC236}">
                <a16:creationId xmlns:a16="http://schemas.microsoft.com/office/drawing/2014/main" id="{673F535C-9364-4C2D-BA50-E9EA40BA077B}"/>
              </a:ext>
            </a:extLst>
          </p:cNvPr>
          <p:cNvSpPr/>
          <p:nvPr/>
        </p:nvSpPr>
        <p:spPr>
          <a:xfrm>
            <a:off x="5542114" y="2016433"/>
            <a:ext cx="1002205" cy="1002205"/>
          </a:xfrm>
          <a:prstGeom prst="round1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mj-lt"/>
                <a:ea typeface="Open Sans" pitchFamily="34" charset="0"/>
                <a:cs typeface="Open Sans" pitchFamily="34" charset="0"/>
              </a:rPr>
              <a:t>80%</a:t>
            </a:r>
          </a:p>
        </p:txBody>
      </p:sp>
      <p:sp>
        <p:nvSpPr>
          <p:cNvPr id="26" name="Rounded Rectangle 23">
            <a:extLst>
              <a:ext uri="{FF2B5EF4-FFF2-40B4-BE49-F238E27FC236}">
                <a16:creationId xmlns:a16="http://schemas.microsoft.com/office/drawing/2014/main" id="{08FCE429-DDC0-4344-B382-CE384965F770}"/>
              </a:ext>
            </a:extLst>
          </p:cNvPr>
          <p:cNvSpPr/>
          <p:nvPr/>
        </p:nvSpPr>
        <p:spPr>
          <a:xfrm>
            <a:off x="7306940" y="1801812"/>
            <a:ext cx="2106205" cy="3276151"/>
          </a:xfrm>
          <a:prstGeom prst="roundRect">
            <a:avLst>
              <a:gd name="adj" fmla="val 5186"/>
            </a:avLst>
          </a:prstGeom>
          <a:noFill/>
          <a:ln w="1905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7" name="Text Box 10">
            <a:extLst>
              <a:ext uri="{FF2B5EF4-FFF2-40B4-BE49-F238E27FC236}">
                <a16:creationId xmlns:a16="http://schemas.microsoft.com/office/drawing/2014/main" id="{88117FE2-6FA1-489F-A23D-40120878BAEB}"/>
              </a:ext>
            </a:extLst>
          </p:cNvPr>
          <p:cNvSpPr txBox="1">
            <a:spLocks noChangeArrowheads="1"/>
          </p:cNvSpPr>
          <p:nvPr/>
        </p:nvSpPr>
        <p:spPr bwMode="auto">
          <a:xfrm>
            <a:off x="7485173" y="3199799"/>
            <a:ext cx="1849950" cy="1646605"/>
          </a:xfrm>
          <a:prstGeom prst="rect">
            <a:avLst/>
          </a:prstGeom>
          <a:noFill/>
          <a:ln w="9525">
            <a:noFill/>
            <a:miter lim="800000"/>
            <a:headEnd/>
            <a:tailEnd/>
          </a:ln>
        </p:spPr>
        <p:txBody>
          <a:bodyPr wrap="square" lIns="45720" tIns="22860" rIns="45720" bIns="22860">
            <a:spAutoFit/>
          </a:bodyPr>
          <a:lstStyle/>
          <a:p>
            <a:pPr defTabSz="1088232"/>
            <a:r>
              <a:rPr lang="en-US" altLang="zh-CN" sz="1300" b="1" dirty="0">
                <a:solidFill>
                  <a:srgbClr val="009A44"/>
                </a:solidFill>
                <a:ea typeface="Open Sans" pitchFamily="34" charset="0"/>
                <a:cs typeface="Open Sans" pitchFamily="34" charset="0"/>
              </a:rPr>
              <a:t>Lorem Ipsum</a:t>
            </a:r>
          </a:p>
          <a:p>
            <a:pPr defTabSz="1088232"/>
            <a:endParaRPr lang="en-US" altLang="zh-CN" sz="1300" b="1" dirty="0">
              <a:solidFill>
                <a:srgbClr val="45C1A4"/>
              </a:solidFill>
              <a:ea typeface="Open Sans" pitchFamily="34" charset="0"/>
              <a:cs typeface="Open Sans" pitchFamily="34" charset="0"/>
            </a:endParaRPr>
          </a:p>
          <a:p>
            <a:pP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a:t>
            </a:r>
          </a:p>
        </p:txBody>
      </p:sp>
      <p:sp>
        <p:nvSpPr>
          <p:cNvPr id="28" name="Rectangle 25">
            <a:extLst>
              <a:ext uri="{FF2B5EF4-FFF2-40B4-BE49-F238E27FC236}">
                <a16:creationId xmlns:a16="http://schemas.microsoft.com/office/drawing/2014/main" id="{EB11699F-7597-462E-8A5E-FA2038AD73C3}"/>
              </a:ext>
            </a:extLst>
          </p:cNvPr>
          <p:cNvSpPr/>
          <p:nvPr/>
        </p:nvSpPr>
        <p:spPr>
          <a:xfrm>
            <a:off x="7858940" y="2016433"/>
            <a:ext cx="1002205" cy="1002205"/>
          </a:xfrm>
          <a:prstGeom prst="round1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mj-lt"/>
                <a:ea typeface="Open Sans" pitchFamily="34" charset="0"/>
                <a:cs typeface="Open Sans" pitchFamily="34" charset="0"/>
              </a:rPr>
              <a:t>56%</a:t>
            </a:r>
          </a:p>
        </p:txBody>
      </p:sp>
      <p:sp>
        <p:nvSpPr>
          <p:cNvPr id="29" name="Rounded Rectangle 26">
            <a:extLst>
              <a:ext uri="{FF2B5EF4-FFF2-40B4-BE49-F238E27FC236}">
                <a16:creationId xmlns:a16="http://schemas.microsoft.com/office/drawing/2014/main" id="{863C7D9B-02B0-4CA7-8F93-78F3DAE59DFD}"/>
              </a:ext>
            </a:extLst>
          </p:cNvPr>
          <p:cNvSpPr/>
          <p:nvPr/>
        </p:nvSpPr>
        <p:spPr>
          <a:xfrm>
            <a:off x="9609071" y="1801812"/>
            <a:ext cx="2106205" cy="3276151"/>
          </a:xfrm>
          <a:prstGeom prst="roundRect">
            <a:avLst>
              <a:gd name="adj" fmla="val 5186"/>
            </a:avLst>
          </a:prstGeom>
          <a:noFill/>
          <a:ln w="1905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0" name="Text Box 10">
            <a:extLst>
              <a:ext uri="{FF2B5EF4-FFF2-40B4-BE49-F238E27FC236}">
                <a16:creationId xmlns:a16="http://schemas.microsoft.com/office/drawing/2014/main" id="{C71B6EB3-889F-4946-BCAC-DC173D7C26A9}"/>
              </a:ext>
            </a:extLst>
          </p:cNvPr>
          <p:cNvSpPr txBox="1">
            <a:spLocks noChangeArrowheads="1"/>
          </p:cNvSpPr>
          <p:nvPr/>
        </p:nvSpPr>
        <p:spPr bwMode="auto">
          <a:xfrm>
            <a:off x="9787299" y="3199799"/>
            <a:ext cx="1849950" cy="1646605"/>
          </a:xfrm>
          <a:prstGeom prst="rect">
            <a:avLst/>
          </a:prstGeom>
          <a:noFill/>
          <a:ln w="9525">
            <a:noFill/>
            <a:miter lim="800000"/>
            <a:headEnd/>
            <a:tailEnd/>
          </a:ln>
        </p:spPr>
        <p:txBody>
          <a:bodyPr wrap="square" lIns="45720" tIns="22860" rIns="45720" bIns="22860">
            <a:spAutoFit/>
          </a:bodyPr>
          <a:lstStyle/>
          <a:p>
            <a:pPr defTabSz="1088232"/>
            <a:r>
              <a:rPr lang="en-US" altLang="zh-CN" sz="1300" b="1" dirty="0">
                <a:solidFill>
                  <a:srgbClr val="43B02A"/>
                </a:solidFill>
                <a:ea typeface="Open Sans" pitchFamily="34" charset="0"/>
                <a:cs typeface="Open Sans" pitchFamily="34" charset="0"/>
              </a:rPr>
              <a:t>Lorem Ipsum</a:t>
            </a:r>
          </a:p>
          <a:p>
            <a:pPr defTabSz="1088232"/>
            <a:endParaRPr lang="en-US" altLang="zh-CN" sz="1300" b="1" dirty="0">
              <a:solidFill>
                <a:srgbClr val="45C1A4"/>
              </a:solidFill>
              <a:ea typeface="Open Sans" pitchFamily="34" charset="0"/>
              <a:cs typeface="Open Sans" pitchFamily="34" charset="0"/>
            </a:endParaRPr>
          </a:p>
          <a:p>
            <a:pP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a:t>
            </a:r>
          </a:p>
        </p:txBody>
      </p:sp>
      <p:sp>
        <p:nvSpPr>
          <p:cNvPr id="31" name="Rectangle 28">
            <a:extLst>
              <a:ext uri="{FF2B5EF4-FFF2-40B4-BE49-F238E27FC236}">
                <a16:creationId xmlns:a16="http://schemas.microsoft.com/office/drawing/2014/main" id="{E1F2C21E-5D31-4ABD-BC9A-5CBEE3D2DF4F}"/>
              </a:ext>
            </a:extLst>
          </p:cNvPr>
          <p:cNvSpPr/>
          <p:nvPr/>
        </p:nvSpPr>
        <p:spPr>
          <a:xfrm>
            <a:off x="10161071" y="2016433"/>
            <a:ext cx="1002205" cy="1002205"/>
          </a:xfrm>
          <a:prstGeom prst="round1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mj-lt"/>
                <a:ea typeface="Open Sans" pitchFamily="34" charset="0"/>
                <a:cs typeface="Open Sans" pitchFamily="34" charset="0"/>
              </a:rPr>
              <a:t>30%</a:t>
            </a:r>
          </a:p>
        </p:txBody>
      </p:sp>
      <p:sp>
        <p:nvSpPr>
          <p:cNvPr id="33" name="Text Box 10">
            <a:extLst>
              <a:ext uri="{FF2B5EF4-FFF2-40B4-BE49-F238E27FC236}">
                <a16:creationId xmlns:a16="http://schemas.microsoft.com/office/drawing/2014/main" id="{19DA81B5-86D7-4629-A264-FDAD0353BEFB}"/>
              </a:ext>
            </a:extLst>
          </p:cNvPr>
          <p:cNvSpPr txBox="1">
            <a:spLocks noChangeArrowheads="1"/>
          </p:cNvSpPr>
          <p:nvPr/>
        </p:nvSpPr>
        <p:spPr bwMode="auto">
          <a:xfrm>
            <a:off x="1070636" y="3780408"/>
            <a:ext cx="2234515" cy="846386"/>
          </a:xfrm>
          <a:prstGeom prst="rect">
            <a:avLst/>
          </a:prstGeom>
          <a:noFill/>
          <a:ln w="9525">
            <a:noFill/>
            <a:miter lim="800000"/>
            <a:headEnd/>
            <a:tailEnd/>
          </a:ln>
        </p:spPr>
        <p:txBody>
          <a:bodyPr wrap="square" lIns="45720" tIns="22860" rIns="45720" bIns="22860">
            <a:spAutoFit/>
          </a:bodyPr>
          <a:lstStyle/>
          <a:p>
            <a:pPr algn="ctr"/>
            <a:r>
              <a:rPr lang="en-US" sz="1300" b="1" dirty="0">
                <a:solidFill>
                  <a:srgbClr val="000000"/>
                </a:solidFill>
              </a:rPr>
              <a:t>Lorem ipsum </a:t>
            </a:r>
            <a:r>
              <a:rPr lang="en-US" sz="1300" b="1" dirty="0" err="1">
                <a:solidFill>
                  <a:srgbClr val="000000"/>
                </a:solidFill>
              </a:rPr>
              <a:t>dolo</a:t>
            </a:r>
            <a:endParaRPr lang="en-US" sz="1300" b="1" dirty="0">
              <a:solidFill>
                <a:srgbClr val="000000"/>
              </a:solidFill>
            </a:endParaRPr>
          </a:p>
          <a:p>
            <a:pPr algn="ctr"/>
            <a:endParaRPr lang="en-US" sz="1300" b="1" dirty="0">
              <a:solidFill>
                <a:srgbClr val="000000"/>
              </a:solidFill>
            </a:endParaRPr>
          </a:p>
          <a:p>
            <a:pPr algn="ctr" defTabSz="1088232"/>
            <a:r>
              <a:rPr lang="en-US" sz="1300" dirty="0">
                <a:solidFill>
                  <a:srgbClr val="000000"/>
                </a:solidFill>
                <a:latin typeface="+mj-lt"/>
                <a:ea typeface="Open Sans" pitchFamily="34" charset="0"/>
                <a:cs typeface="Open Sans" pitchFamily="34" charset="0"/>
              </a:rPr>
              <a:t>The is just text to show where you could insert text. </a:t>
            </a:r>
          </a:p>
        </p:txBody>
      </p:sp>
      <p:grpSp>
        <p:nvGrpSpPr>
          <p:cNvPr id="38" name="Group 57">
            <a:extLst>
              <a:ext uri="{FF2B5EF4-FFF2-40B4-BE49-F238E27FC236}">
                <a16:creationId xmlns:a16="http://schemas.microsoft.com/office/drawing/2014/main" id="{77382626-7694-4BBC-83BB-9227747B5797}"/>
              </a:ext>
            </a:extLst>
          </p:cNvPr>
          <p:cNvGrpSpPr>
            <a:grpSpLocks noChangeAspect="1"/>
          </p:cNvGrpSpPr>
          <p:nvPr/>
        </p:nvGrpSpPr>
        <p:grpSpPr bwMode="auto">
          <a:xfrm>
            <a:off x="2994025" y="1980325"/>
            <a:ext cx="696826" cy="696826"/>
            <a:chOff x="3880" y="2160"/>
            <a:chExt cx="340" cy="340"/>
          </a:xfrm>
          <a:solidFill>
            <a:schemeClr val="bg1"/>
          </a:solidFill>
        </p:grpSpPr>
        <p:sp>
          <p:nvSpPr>
            <p:cNvPr id="39" name="Freeform 58">
              <a:extLst>
                <a:ext uri="{FF2B5EF4-FFF2-40B4-BE49-F238E27FC236}">
                  <a16:creationId xmlns:a16="http://schemas.microsoft.com/office/drawing/2014/main" id="{081C3B08-724C-4C83-B1A3-42CEBA18BC97}"/>
                </a:ext>
              </a:extLst>
            </p:cNvPr>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0" name="Freeform 59">
              <a:extLst>
                <a:ext uri="{FF2B5EF4-FFF2-40B4-BE49-F238E27FC236}">
                  <a16:creationId xmlns:a16="http://schemas.microsoft.com/office/drawing/2014/main" id="{4A4AA742-80AD-49CD-B49F-7304C39468F6}"/>
                </a:ext>
              </a:extLst>
            </p:cNvPr>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1" name="Oval 60">
              <a:extLst>
                <a:ext uri="{FF2B5EF4-FFF2-40B4-BE49-F238E27FC236}">
                  <a16:creationId xmlns:a16="http://schemas.microsoft.com/office/drawing/2014/main" id="{924B3FB3-10A6-45B8-B408-BA6D03661569}"/>
                </a:ext>
              </a:extLst>
            </p:cNvPr>
            <p:cNvSpPr>
              <a:spLocks noChangeArrowheads="1"/>
            </p:cNvSpPr>
            <p:nvPr/>
          </p:nvSpPr>
          <p:spPr bwMode="auto">
            <a:xfrm>
              <a:off x="4014" y="2315"/>
              <a:ext cx="15" cy="15"/>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2" name="Oval 61">
              <a:extLst>
                <a:ext uri="{FF2B5EF4-FFF2-40B4-BE49-F238E27FC236}">
                  <a16:creationId xmlns:a16="http://schemas.microsoft.com/office/drawing/2014/main" id="{12CA9607-62C0-46E7-9F3D-8A87AFBE583F}"/>
                </a:ext>
              </a:extLst>
            </p:cNvPr>
            <p:cNvSpPr>
              <a:spLocks noChangeArrowheads="1"/>
            </p:cNvSpPr>
            <p:nvPr/>
          </p:nvSpPr>
          <p:spPr bwMode="auto">
            <a:xfrm>
              <a:off x="4043" y="2315"/>
              <a:ext cx="14" cy="15"/>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3" name="Oval 62">
              <a:extLst>
                <a:ext uri="{FF2B5EF4-FFF2-40B4-BE49-F238E27FC236}">
                  <a16:creationId xmlns:a16="http://schemas.microsoft.com/office/drawing/2014/main" id="{7F9FDCC8-1522-4666-9803-623FC544EB69}"/>
                </a:ext>
              </a:extLst>
            </p:cNvPr>
            <p:cNvSpPr>
              <a:spLocks noChangeArrowheads="1"/>
            </p:cNvSpPr>
            <p:nvPr/>
          </p:nvSpPr>
          <p:spPr bwMode="auto">
            <a:xfrm>
              <a:off x="4071" y="2315"/>
              <a:ext cx="14" cy="15"/>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grpSp>
      <p:grpSp>
        <p:nvGrpSpPr>
          <p:cNvPr id="44" name="Group 503">
            <a:extLst>
              <a:ext uri="{FF2B5EF4-FFF2-40B4-BE49-F238E27FC236}">
                <a16:creationId xmlns:a16="http://schemas.microsoft.com/office/drawing/2014/main" id="{76AF6D62-7B7C-4E2B-BA65-FCBAA70CE32B}"/>
              </a:ext>
            </a:extLst>
          </p:cNvPr>
          <p:cNvGrpSpPr>
            <a:grpSpLocks noChangeAspect="1"/>
          </p:cNvGrpSpPr>
          <p:nvPr/>
        </p:nvGrpSpPr>
        <p:grpSpPr bwMode="auto">
          <a:xfrm>
            <a:off x="3615875" y="3186489"/>
            <a:ext cx="696826" cy="696826"/>
            <a:chOff x="1920" y="2027"/>
            <a:chExt cx="340" cy="340"/>
          </a:xfrm>
          <a:solidFill>
            <a:schemeClr val="bg1"/>
          </a:solidFill>
        </p:grpSpPr>
        <p:sp>
          <p:nvSpPr>
            <p:cNvPr id="45" name="Freeform 504">
              <a:extLst>
                <a:ext uri="{FF2B5EF4-FFF2-40B4-BE49-F238E27FC236}">
                  <a16:creationId xmlns:a16="http://schemas.microsoft.com/office/drawing/2014/main" id="{6E3DD5D3-C113-46BD-BC37-9FBBC9A28D7E}"/>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6" name="Freeform 505">
              <a:extLst>
                <a:ext uri="{FF2B5EF4-FFF2-40B4-BE49-F238E27FC236}">
                  <a16:creationId xmlns:a16="http://schemas.microsoft.com/office/drawing/2014/main" id="{C489D58D-C574-4F9C-B393-0BF750D8A8C0}"/>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grpSp>
      <p:grpSp>
        <p:nvGrpSpPr>
          <p:cNvPr id="47" name="Group 1014">
            <a:extLst>
              <a:ext uri="{FF2B5EF4-FFF2-40B4-BE49-F238E27FC236}">
                <a16:creationId xmlns:a16="http://schemas.microsoft.com/office/drawing/2014/main" id="{5E9A5AC9-B582-4D8D-AC2B-600DF4DF9D97}"/>
              </a:ext>
            </a:extLst>
          </p:cNvPr>
          <p:cNvGrpSpPr>
            <a:grpSpLocks noChangeAspect="1"/>
          </p:cNvGrpSpPr>
          <p:nvPr/>
        </p:nvGrpSpPr>
        <p:grpSpPr bwMode="auto">
          <a:xfrm>
            <a:off x="3359962" y="4482061"/>
            <a:ext cx="695710" cy="695706"/>
            <a:chOff x="5069" y="3987"/>
            <a:chExt cx="340" cy="340"/>
          </a:xfrm>
          <a:solidFill>
            <a:schemeClr val="bg1"/>
          </a:solidFill>
        </p:grpSpPr>
        <p:sp>
          <p:nvSpPr>
            <p:cNvPr id="48" name="Freeform 1015">
              <a:extLst>
                <a:ext uri="{FF2B5EF4-FFF2-40B4-BE49-F238E27FC236}">
                  <a16:creationId xmlns:a16="http://schemas.microsoft.com/office/drawing/2014/main" id="{C5297F7D-EB98-42DA-A077-B9BD67415D34}"/>
                </a:ext>
              </a:extLst>
            </p:cNvPr>
            <p:cNvSpPr>
              <a:spLocks noEditPoints="1"/>
            </p:cNvSpPr>
            <p:nvPr/>
          </p:nvSpPr>
          <p:spPr bwMode="auto">
            <a:xfrm>
              <a:off x="5069" y="39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9" name="Freeform 1016">
              <a:extLst>
                <a:ext uri="{FF2B5EF4-FFF2-40B4-BE49-F238E27FC236}">
                  <a16:creationId xmlns:a16="http://schemas.microsoft.com/office/drawing/2014/main" id="{14EE4728-C8CE-4B31-9510-5422E8BFA9A8}"/>
                </a:ext>
              </a:extLst>
            </p:cNvPr>
            <p:cNvSpPr>
              <a:spLocks noEditPoints="1"/>
            </p:cNvSpPr>
            <p:nvPr/>
          </p:nvSpPr>
          <p:spPr bwMode="auto">
            <a:xfrm>
              <a:off x="5134" y="4071"/>
              <a:ext cx="211" cy="171"/>
            </a:xfrm>
            <a:custGeom>
              <a:avLst/>
              <a:gdLst>
                <a:gd name="T0" fmla="*/ 316 w 318"/>
                <a:gd name="T1" fmla="*/ 123 h 257"/>
                <a:gd name="T2" fmla="*/ 245 w 318"/>
                <a:gd name="T3" fmla="*/ 57 h 257"/>
                <a:gd name="T4" fmla="*/ 283 w 318"/>
                <a:gd name="T5" fmla="*/ 19 h 257"/>
                <a:gd name="T6" fmla="*/ 283 w 318"/>
                <a:gd name="T7" fmla="*/ 4 h 257"/>
                <a:gd name="T8" fmla="*/ 267 w 318"/>
                <a:gd name="T9" fmla="*/ 4 h 257"/>
                <a:gd name="T10" fmla="*/ 225 w 318"/>
                <a:gd name="T11" fmla="*/ 47 h 257"/>
                <a:gd name="T12" fmla="*/ 159 w 318"/>
                <a:gd name="T13" fmla="*/ 33 h 257"/>
                <a:gd name="T14" fmla="*/ 1 w 318"/>
                <a:gd name="T15" fmla="*/ 122 h 257"/>
                <a:gd name="T16" fmla="*/ 0 w 318"/>
                <a:gd name="T17" fmla="*/ 129 h 257"/>
                <a:gd name="T18" fmla="*/ 1 w 318"/>
                <a:gd name="T19" fmla="*/ 134 h 257"/>
                <a:gd name="T20" fmla="*/ 71 w 318"/>
                <a:gd name="T21" fmla="*/ 200 h 257"/>
                <a:gd name="T22" fmla="*/ 33 w 318"/>
                <a:gd name="T23" fmla="*/ 238 h 257"/>
                <a:gd name="T24" fmla="*/ 33 w 318"/>
                <a:gd name="T25" fmla="*/ 254 h 257"/>
                <a:gd name="T26" fmla="*/ 40 w 318"/>
                <a:gd name="T27" fmla="*/ 257 h 257"/>
                <a:gd name="T28" fmla="*/ 48 w 318"/>
                <a:gd name="T29" fmla="*/ 254 h 257"/>
                <a:gd name="T30" fmla="*/ 91 w 318"/>
                <a:gd name="T31" fmla="*/ 210 h 257"/>
                <a:gd name="T32" fmla="*/ 159 w 318"/>
                <a:gd name="T33" fmla="*/ 225 h 257"/>
                <a:gd name="T34" fmla="*/ 316 w 318"/>
                <a:gd name="T35" fmla="*/ 135 h 257"/>
                <a:gd name="T36" fmla="*/ 317 w 318"/>
                <a:gd name="T37" fmla="*/ 128 h 257"/>
                <a:gd name="T38" fmla="*/ 316 w 318"/>
                <a:gd name="T39" fmla="*/ 123 h 257"/>
                <a:gd name="T40" fmla="*/ 23 w 318"/>
                <a:gd name="T41" fmla="*/ 129 h 257"/>
                <a:gd name="T42" fmla="*/ 159 w 318"/>
                <a:gd name="T43" fmla="*/ 54 h 257"/>
                <a:gd name="T44" fmla="*/ 208 w 318"/>
                <a:gd name="T45" fmla="*/ 63 h 257"/>
                <a:gd name="T46" fmla="*/ 187 w 318"/>
                <a:gd name="T47" fmla="*/ 84 h 257"/>
                <a:gd name="T48" fmla="*/ 158 w 318"/>
                <a:gd name="T49" fmla="*/ 75 h 257"/>
                <a:gd name="T50" fmla="*/ 104 w 318"/>
                <a:gd name="T51" fmla="*/ 129 h 257"/>
                <a:gd name="T52" fmla="*/ 113 w 318"/>
                <a:gd name="T53" fmla="*/ 158 h 257"/>
                <a:gd name="T54" fmla="*/ 87 w 318"/>
                <a:gd name="T55" fmla="*/ 184 h 257"/>
                <a:gd name="T56" fmla="*/ 23 w 318"/>
                <a:gd name="T57" fmla="*/ 129 h 257"/>
                <a:gd name="T58" fmla="*/ 190 w 318"/>
                <a:gd name="T59" fmla="*/ 129 h 257"/>
                <a:gd name="T60" fmla="*/ 158 w 318"/>
                <a:gd name="T61" fmla="*/ 161 h 257"/>
                <a:gd name="T62" fmla="*/ 144 w 318"/>
                <a:gd name="T63" fmla="*/ 157 h 257"/>
                <a:gd name="T64" fmla="*/ 186 w 318"/>
                <a:gd name="T65" fmla="*/ 115 h 257"/>
                <a:gd name="T66" fmla="*/ 190 w 318"/>
                <a:gd name="T67" fmla="*/ 129 h 257"/>
                <a:gd name="T68" fmla="*/ 126 w 318"/>
                <a:gd name="T69" fmla="*/ 129 h 257"/>
                <a:gd name="T70" fmla="*/ 158 w 318"/>
                <a:gd name="T71" fmla="*/ 97 h 257"/>
                <a:gd name="T72" fmla="*/ 171 w 318"/>
                <a:gd name="T73" fmla="*/ 100 h 257"/>
                <a:gd name="T74" fmla="*/ 129 w 318"/>
                <a:gd name="T75" fmla="*/ 142 h 257"/>
                <a:gd name="T76" fmla="*/ 126 w 318"/>
                <a:gd name="T77" fmla="*/ 129 h 257"/>
                <a:gd name="T78" fmla="*/ 159 w 318"/>
                <a:gd name="T79" fmla="*/ 203 h 257"/>
                <a:gd name="T80" fmla="*/ 108 w 318"/>
                <a:gd name="T81" fmla="*/ 194 h 257"/>
                <a:gd name="T82" fmla="*/ 128 w 318"/>
                <a:gd name="T83" fmla="*/ 173 h 257"/>
                <a:gd name="T84" fmla="*/ 158 w 318"/>
                <a:gd name="T85" fmla="*/ 182 h 257"/>
                <a:gd name="T86" fmla="*/ 211 w 318"/>
                <a:gd name="T87" fmla="*/ 129 h 257"/>
                <a:gd name="T88" fmla="*/ 202 w 318"/>
                <a:gd name="T89" fmla="*/ 99 h 257"/>
                <a:gd name="T90" fmla="*/ 229 w 318"/>
                <a:gd name="T91" fmla="*/ 72 h 257"/>
                <a:gd name="T92" fmla="*/ 294 w 318"/>
                <a:gd name="T93" fmla="*/ 129 h 257"/>
                <a:gd name="T94" fmla="*/ 159 w 318"/>
                <a:gd name="T95" fmla="*/ 20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8" h="257">
                  <a:moveTo>
                    <a:pt x="316" y="123"/>
                  </a:moveTo>
                  <a:cubicBezTo>
                    <a:pt x="303" y="103"/>
                    <a:pt x="278" y="76"/>
                    <a:pt x="245" y="57"/>
                  </a:cubicBezTo>
                  <a:cubicBezTo>
                    <a:pt x="283" y="19"/>
                    <a:pt x="283" y="19"/>
                    <a:pt x="283" y="19"/>
                  </a:cubicBezTo>
                  <a:cubicBezTo>
                    <a:pt x="287" y="15"/>
                    <a:pt x="287" y="8"/>
                    <a:pt x="283" y="4"/>
                  </a:cubicBezTo>
                  <a:cubicBezTo>
                    <a:pt x="278" y="0"/>
                    <a:pt x="272" y="0"/>
                    <a:pt x="267" y="4"/>
                  </a:cubicBezTo>
                  <a:cubicBezTo>
                    <a:pt x="225" y="47"/>
                    <a:pt x="225" y="47"/>
                    <a:pt x="225" y="47"/>
                  </a:cubicBezTo>
                  <a:cubicBezTo>
                    <a:pt x="205" y="38"/>
                    <a:pt x="183" y="33"/>
                    <a:pt x="159" y="33"/>
                  </a:cubicBezTo>
                  <a:cubicBezTo>
                    <a:pt x="88" y="33"/>
                    <a:pt x="31" y="79"/>
                    <a:pt x="1" y="122"/>
                  </a:cubicBezTo>
                  <a:cubicBezTo>
                    <a:pt x="0" y="124"/>
                    <a:pt x="0" y="127"/>
                    <a:pt x="0" y="129"/>
                  </a:cubicBezTo>
                  <a:cubicBezTo>
                    <a:pt x="0" y="131"/>
                    <a:pt x="0" y="133"/>
                    <a:pt x="1" y="134"/>
                  </a:cubicBezTo>
                  <a:cubicBezTo>
                    <a:pt x="14" y="154"/>
                    <a:pt x="38" y="181"/>
                    <a:pt x="71" y="200"/>
                  </a:cubicBezTo>
                  <a:cubicBezTo>
                    <a:pt x="33" y="238"/>
                    <a:pt x="33" y="238"/>
                    <a:pt x="33" y="238"/>
                  </a:cubicBezTo>
                  <a:cubicBezTo>
                    <a:pt x="29" y="243"/>
                    <a:pt x="29" y="249"/>
                    <a:pt x="33" y="254"/>
                  </a:cubicBezTo>
                  <a:cubicBezTo>
                    <a:pt x="35" y="256"/>
                    <a:pt x="38" y="257"/>
                    <a:pt x="40" y="257"/>
                  </a:cubicBezTo>
                  <a:cubicBezTo>
                    <a:pt x="43" y="257"/>
                    <a:pt x="46" y="256"/>
                    <a:pt x="48" y="254"/>
                  </a:cubicBezTo>
                  <a:cubicBezTo>
                    <a:pt x="91" y="210"/>
                    <a:pt x="91" y="210"/>
                    <a:pt x="91" y="210"/>
                  </a:cubicBezTo>
                  <a:cubicBezTo>
                    <a:pt x="111" y="219"/>
                    <a:pt x="134" y="225"/>
                    <a:pt x="159" y="225"/>
                  </a:cubicBezTo>
                  <a:cubicBezTo>
                    <a:pt x="229" y="225"/>
                    <a:pt x="286" y="178"/>
                    <a:pt x="316" y="135"/>
                  </a:cubicBezTo>
                  <a:cubicBezTo>
                    <a:pt x="317" y="133"/>
                    <a:pt x="318" y="131"/>
                    <a:pt x="317" y="128"/>
                  </a:cubicBezTo>
                  <a:cubicBezTo>
                    <a:pt x="317" y="127"/>
                    <a:pt x="317" y="125"/>
                    <a:pt x="316" y="123"/>
                  </a:cubicBezTo>
                  <a:close/>
                  <a:moveTo>
                    <a:pt x="23" y="129"/>
                  </a:moveTo>
                  <a:cubicBezTo>
                    <a:pt x="50" y="91"/>
                    <a:pt x="99" y="54"/>
                    <a:pt x="159" y="54"/>
                  </a:cubicBezTo>
                  <a:cubicBezTo>
                    <a:pt x="176" y="54"/>
                    <a:pt x="193" y="57"/>
                    <a:pt x="208" y="63"/>
                  </a:cubicBezTo>
                  <a:cubicBezTo>
                    <a:pt x="187" y="84"/>
                    <a:pt x="187" y="84"/>
                    <a:pt x="187" y="84"/>
                  </a:cubicBezTo>
                  <a:cubicBezTo>
                    <a:pt x="179" y="79"/>
                    <a:pt x="169" y="75"/>
                    <a:pt x="158" y="75"/>
                  </a:cubicBezTo>
                  <a:cubicBezTo>
                    <a:pt x="128" y="75"/>
                    <a:pt x="104" y="99"/>
                    <a:pt x="104" y="129"/>
                  </a:cubicBezTo>
                  <a:cubicBezTo>
                    <a:pt x="104" y="140"/>
                    <a:pt x="108" y="150"/>
                    <a:pt x="113" y="158"/>
                  </a:cubicBezTo>
                  <a:cubicBezTo>
                    <a:pt x="87" y="184"/>
                    <a:pt x="87" y="184"/>
                    <a:pt x="87" y="184"/>
                  </a:cubicBezTo>
                  <a:cubicBezTo>
                    <a:pt x="58" y="169"/>
                    <a:pt x="36" y="146"/>
                    <a:pt x="23" y="129"/>
                  </a:cubicBezTo>
                  <a:close/>
                  <a:moveTo>
                    <a:pt x="190" y="129"/>
                  </a:moveTo>
                  <a:cubicBezTo>
                    <a:pt x="190" y="146"/>
                    <a:pt x="175" y="161"/>
                    <a:pt x="158" y="161"/>
                  </a:cubicBezTo>
                  <a:cubicBezTo>
                    <a:pt x="153" y="161"/>
                    <a:pt x="148" y="159"/>
                    <a:pt x="144" y="157"/>
                  </a:cubicBezTo>
                  <a:cubicBezTo>
                    <a:pt x="186" y="115"/>
                    <a:pt x="186" y="115"/>
                    <a:pt x="186" y="115"/>
                  </a:cubicBezTo>
                  <a:cubicBezTo>
                    <a:pt x="188" y="119"/>
                    <a:pt x="190" y="124"/>
                    <a:pt x="190" y="129"/>
                  </a:cubicBezTo>
                  <a:close/>
                  <a:moveTo>
                    <a:pt x="126" y="129"/>
                  </a:moveTo>
                  <a:cubicBezTo>
                    <a:pt x="126" y="111"/>
                    <a:pt x="140" y="97"/>
                    <a:pt x="158" y="97"/>
                  </a:cubicBezTo>
                  <a:cubicBezTo>
                    <a:pt x="163" y="97"/>
                    <a:pt x="167" y="98"/>
                    <a:pt x="171" y="100"/>
                  </a:cubicBezTo>
                  <a:cubicBezTo>
                    <a:pt x="129" y="142"/>
                    <a:pt x="129" y="142"/>
                    <a:pt x="129" y="142"/>
                  </a:cubicBezTo>
                  <a:cubicBezTo>
                    <a:pt x="127" y="138"/>
                    <a:pt x="126" y="134"/>
                    <a:pt x="126" y="129"/>
                  </a:cubicBezTo>
                  <a:close/>
                  <a:moveTo>
                    <a:pt x="159" y="203"/>
                  </a:moveTo>
                  <a:cubicBezTo>
                    <a:pt x="140" y="203"/>
                    <a:pt x="123" y="200"/>
                    <a:pt x="108" y="194"/>
                  </a:cubicBezTo>
                  <a:cubicBezTo>
                    <a:pt x="128" y="173"/>
                    <a:pt x="128" y="173"/>
                    <a:pt x="128" y="173"/>
                  </a:cubicBezTo>
                  <a:cubicBezTo>
                    <a:pt x="137" y="179"/>
                    <a:pt x="147" y="182"/>
                    <a:pt x="158" y="182"/>
                  </a:cubicBezTo>
                  <a:cubicBezTo>
                    <a:pt x="187" y="182"/>
                    <a:pt x="211" y="158"/>
                    <a:pt x="211" y="129"/>
                  </a:cubicBezTo>
                  <a:cubicBezTo>
                    <a:pt x="211" y="118"/>
                    <a:pt x="208" y="108"/>
                    <a:pt x="202" y="99"/>
                  </a:cubicBezTo>
                  <a:cubicBezTo>
                    <a:pt x="229" y="72"/>
                    <a:pt x="229" y="72"/>
                    <a:pt x="229" y="72"/>
                  </a:cubicBezTo>
                  <a:cubicBezTo>
                    <a:pt x="259" y="88"/>
                    <a:pt x="281" y="111"/>
                    <a:pt x="294" y="129"/>
                  </a:cubicBezTo>
                  <a:cubicBezTo>
                    <a:pt x="267" y="166"/>
                    <a:pt x="218" y="203"/>
                    <a:pt x="159" y="20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grpSp>
    </p:spTree>
    <p:custDataLst>
      <p:tags r:id="rId1"/>
    </p:custDataLst>
    <p:extLst>
      <p:ext uri="{BB962C8B-B14F-4D97-AF65-F5344CB8AC3E}">
        <p14:creationId xmlns:p14="http://schemas.microsoft.com/office/powerpoint/2010/main" val="83322756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椭圆 16"/>
          <p:cNvSpPr/>
          <p:nvPr/>
        </p:nvSpPr>
        <p:spPr>
          <a:xfrm>
            <a:off x="6960879" y="1718208"/>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7905750" y="1683844"/>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8039250" y="1621259"/>
            <a:ext cx="3466950"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Lorem ipsum </a:t>
            </a:r>
            <a:br>
              <a:rPr lang="en-US" sz="1600" b="1" dirty="0">
                <a:solidFill>
                  <a:schemeClr val="accent4"/>
                </a:solidFill>
              </a:rPr>
            </a:br>
            <a:r>
              <a:rPr lang="en-US" sz="1600" dirty="0">
                <a:solidFill>
                  <a:srgbClr val="000000"/>
                </a:solidFill>
              </a:rPr>
              <a:t>This is dummy text it is not here to be read this is dummy text it is not here to be read. </a:t>
            </a:r>
          </a:p>
        </p:txBody>
      </p:sp>
      <p:cxnSp>
        <p:nvCxnSpPr>
          <p:cNvPr id="18" name="直接连接符 53"/>
          <p:cNvCxnSpPr/>
          <p:nvPr/>
        </p:nvCxnSpPr>
        <p:spPr>
          <a:xfrm>
            <a:off x="7905750" y="3366908"/>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8039250" y="3274994"/>
            <a:ext cx="3466950"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Lorem ipsum </a:t>
            </a:r>
            <a:br>
              <a:rPr lang="en-US" sz="1600" b="1" dirty="0">
                <a:solidFill>
                  <a:schemeClr val="accent4"/>
                </a:solidFill>
              </a:rPr>
            </a:br>
            <a:r>
              <a:rPr lang="en-US" sz="1600" dirty="0">
                <a:solidFill>
                  <a:srgbClr val="000000"/>
                </a:solidFill>
              </a:rPr>
              <a:t>This is dummy text it is not here to be read this is dummy text it is not here to be read. </a:t>
            </a:r>
          </a:p>
        </p:txBody>
      </p:sp>
      <p:sp>
        <p:nvSpPr>
          <p:cNvPr id="21" name="椭圆 33"/>
          <p:cNvSpPr/>
          <p:nvPr/>
        </p:nvSpPr>
        <p:spPr>
          <a:xfrm>
            <a:off x="6960879" y="3401272"/>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58"/>
          <p:cNvCxnSpPr/>
          <p:nvPr/>
        </p:nvCxnSpPr>
        <p:spPr>
          <a:xfrm>
            <a:off x="7905750" y="5049972"/>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文本框 36"/>
          <p:cNvSpPr txBox="1"/>
          <p:nvPr/>
        </p:nvSpPr>
        <p:spPr>
          <a:xfrm>
            <a:off x="8039250" y="5017324"/>
            <a:ext cx="3466950"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Lorem ipsum </a:t>
            </a:r>
            <a:br>
              <a:rPr lang="en-US" sz="1600" b="1" dirty="0">
                <a:solidFill>
                  <a:schemeClr val="accent4"/>
                </a:solidFill>
              </a:rPr>
            </a:br>
            <a:r>
              <a:rPr lang="en-US" sz="1600" dirty="0">
                <a:solidFill>
                  <a:srgbClr val="000000"/>
                </a:solidFill>
              </a:rPr>
              <a:t>This is dummy text it is not here to be read this is dummy text it is not here to be read. </a:t>
            </a:r>
          </a:p>
        </p:txBody>
      </p:sp>
      <p:sp>
        <p:nvSpPr>
          <p:cNvPr id="27" name="椭圆 39"/>
          <p:cNvSpPr/>
          <p:nvPr/>
        </p:nvSpPr>
        <p:spPr>
          <a:xfrm>
            <a:off x="6960879" y="5084336"/>
            <a:ext cx="811372" cy="811372"/>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Group 6"/>
          <p:cNvGrpSpPr/>
          <p:nvPr/>
        </p:nvGrpSpPr>
        <p:grpSpPr>
          <a:xfrm>
            <a:off x="516147" y="1718208"/>
            <a:ext cx="5921975" cy="4331633"/>
            <a:chOff x="908033" y="1897753"/>
            <a:chExt cx="5465789" cy="3997955"/>
          </a:xfrm>
        </p:grpSpPr>
        <p:sp>
          <p:nvSpPr>
            <p:cNvPr id="4" name="Rectangle 3"/>
            <p:cNvSpPr/>
            <p:nvPr/>
          </p:nvSpPr>
          <p:spPr bwMode="gray">
            <a:xfrm>
              <a:off x="3039103" y="5017324"/>
              <a:ext cx="1203649" cy="795647"/>
            </a:xfrm>
            <a:prstGeom prst="rect">
              <a:avLst/>
            </a:prstGeom>
            <a:solidFill>
              <a:schemeClr val="tx1">
                <a:lumMod val="85000"/>
                <a:lumOff val="15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 name="Rounded Rectangle 2"/>
            <p:cNvSpPr/>
            <p:nvPr/>
          </p:nvSpPr>
          <p:spPr bwMode="gray">
            <a:xfrm>
              <a:off x="908033" y="1897753"/>
              <a:ext cx="5465789" cy="3336720"/>
            </a:xfrm>
            <a:prstGeom prst="roundRect">
              <a:avLst>
                <a:gd name="adj" fmla="val 2965"/>
              </a:avLst>
            </a:prstGeom>
            <a:gradFill>
              <a:gsLst>
                <a:gs pos="0">
                  <a:schemeClr val="tx1">
                    <a:lumMod val="75000"/>
                    <a:lumOff val="25000"/>
                  </a:schemeClr>
                </a:gs>
                <a:gs pos="100000">
                  <a:srgbClr val="000000"/>
                </a:gs>
              </a:gsLst>
              <a:lin ang="2700000" scaled="0"/>
            </a:gra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 name="Rounded Rectangle 13"/>
            <p:cNvSpPr/>
            <p:nvPr/>
          </p:nvSpPr>
          <p:spPr bwMode="gray">
            <a:xfrm>
              <a:off x="1021942" y="2024140"/>
              <a:ext cx="5237970" cy="3083946"/>
            </a:xfrm>
            <a:prstGeom prst="roundRect">
              <a:avLst>
                <a:gd name="adj" fmla="val 0"/>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 name="Rectangle 5"/>
            <p:cNvSpPr/>
            <p:nvPr/>
          </p:nvSpPr>
          <p:spPr bwMode="gray">
            <a:xfrm>
              <a:off x="2427948" y="5812971"/>
              <a:ext cx="2425959" cy="82737"/>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Tree>
    <p:custDataLst>
      <p:tags r:id="rId1"/>
    </p:custDataLst>
    <p:extLst>
      <p:ext uri="{BB962C8B-B14F-4D97-AF65-F5344CB8AC3E}">
        <p14:creationId xmlns:p14="http://schemas.microsoft.com/office/powerpoint/2010/main" val="205885266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73">
            <a:extLst>
              <a:ext uri="{FF2B5EF4-FFF2-40B4-BE49-F238E27FC236}">
                <a16:creationId xmlns:a16="http://schemas.microsoft.com/office/drawing/2014/main" id="{7CA9B1B8-8055-45DC-AD96-21E8AA9C5DF7}"/>
              </a:ext>
            </a:extLst>
          </p:cNvPr>
          <p:cNvGrpSpPr/>
          <p:nvPr/>
        </p:nvGrpSpPr>
        <p:grpSpPr>
          <a:xfrm>
            <a:off x="990600" y="1721793"/>
            <a:ext cx="1953864" cy="3445905"/>
            <a:chOff x="990600" y="2196640"/>
            <a:chExt cx="1953864" cy="3445905"/>
          </a:xfrm>
        </p:grpSpPr>
        <p:sp>
          <p:nvSpPr>
            <p:cNvPr id="5" name="Freeform 5">
              <a:extLst>
                <a:ext uri="{FF2B5EF4-FFF2-40B4-BE49-F238E27FC236}">
                  <a16:creationId xmlns:a16="http://schemas.microsoft.com/office/drawing/2014/main" id="{AB992DD5-0FDC-48D5-9419-76D86EBCFD55}"/>
                </a:ext>
              </a:extLst>
            </p:cNvPr>
            <p:cNvSpPr>
              <a:spLocks/>
            </p:cNvSpPr>
            <p:nvPr/>
          </p:nvSpPr>
          <p:spPr bwMode="auto">
            <a:xfrm>
              <a:off x="990600" y="2196640"/>
              <a:ext cx="1953864" cy="3445905"/>
            </a:xfrm>
            <a:prstGeom prst="roundRect">
              <a:avLst>
                <a:gd name="adj" fmla="val 3342"/>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sym typeface="+mn-lt"/>
              </a:endParaRPr>
            </a:p>
          </p:txBody>
        </p:sp>
        <p:sp>
          <p:nvSpPr>
            <p:cNvPr id="6" name="Rectangle 6">
              <a:extLst>
                <a:ext uri="{FF2B5EF4-FFF2-40B4-BE49-F238E27FC236}">
                  <a16:creationId xmlns:a16="http://schemas.microsoft.com/office/drawing/2014/main" id="{26F8162E-4D9C-410F-B91E-87B74E6AC4A2}"/>
                </a:ext>
              </a:extLst>
            </p:cNvPr>
            <p:cNvSpPr>
              <a:spLocks noChangeArrowheads="1"/>
            </p:cNvSpPr>
            <p:nvPr/>
          </p:nvSpPr>
          <p:spPr bwMode="auto">
            <a:xfrm>
              <a:off x="1631315" y="2348889"/>
              <a:ext cx="672434" cy="74856"/>
            </a:xfrm>
            <a:prstGeom prst="rect">
              <a:avLst/>
            </a:prstGeom>
            <a:solidFill>
              <a:sysClr val="window" lastClr="FFFFFF">
                <a:lumMod val="9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7" name="Oval 7">
              <a:extLst>
                <a:ext uri="{FF2B5EF4-FFF2-40B4-BE49-F238E27FC236}">
                  <a16:creationId xmlns:a16="http://schemas.microsoft.com/office/drawing/2014/main" id="{B2CAB6EA-205C-4910-A86B-A41E0DD90F8F}"/>
                </a:ext>
              </a:extLst>
            </p:cNvPr>
            <p:cNvSpPr>
              <a:spLocks noChangeArrowheads="1"/>
            </p:cNvSpPr>
            <p:nvPr/>
          </p:nvSpPr>
          <p:spPr bwMode="auto">
            <a:xfrm>
              <a:off x="1820358" y="5171841"/>
              <a:ext cx="294348" cy="294348"/>
            </a:xfrm>
            <a:prstGeom prst="ellipse">
              <a:avLst/>
            </a:pr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9" name="Rectangle 8">
            <a:extLst>
              <a:ext uri="{FF2B5EF4-FFF2-40B4-BE49-F238E27FC236}">
                <a16:creationId xmlns:a16="http://schemas.microsoft.com/office/drawing/2014/main" id="{119C80A8-5B95-4588-9647-463C614162DC}"/>
              </a:ext>
            </a:extLst>
          </p:cNvPr>
          <p:cNvSpPr>
            <a:spLocks noChangeArrowheads="1"/>
          </p:cNvSpPr>
          <p:nvPr/>
        </p:nvSpPr>
        <p:spPr bwMode="auto">
          <a:xfrm>
            <a:off x="990600" y="2112566"/>
            <a:ext cx="1953864" cy="2404267"/>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0" name="Rectangle 9">
            <a:extLst>
              <a:ext uri="{FF2B5EF4-FFF2-40B4-BE49-F238E27FC236}">
                <a16:creationId xmlns:a16="http://schemas.microsoft.com/office/drawing/2014/main" id="{27053BE1-4855-49C9-95E1-51D1EE4C297C}"/>
              </a:ext>
            </a:extLst>
          </p:cNvPr>
          <p:cNvSpPr>
            <a:spLocks noChangeArrowheads="1"/>
          </p:cNvSpPr>
          <p:nvPr/>
        </p:nvSpPr>
        <p:spPr bwMode="auto">
          <a:xfrm>
            <a:off x="990600" y="2112566"/>
            <a:ext cx="1953864"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1" name="Rectangle 10">
            <a:extLst>
              <a:ext uri="{FF2B5EF4-FFF2-40B4-BE49-F238E27FC236}">
                <a16:creationId xmlns:a16="http://schemas.microsoft.com/office/drawing/2014/main" id="{160D5100-8978-434F-B560-164C9AFEB660}"/>
              </a:ext>
            </a:extLst>
          </p:cNvPr>
          <p:cNvSpPr>
            <a:spLocks noChangeArrowheads="1"/>
          </p:cNvSpPr>
          <p:nvPr/>
        </p:nvSpPr>
        <p:spPr bwMode="auto">
          <a:xfrm>
            <a:off x="990600" y="2112566"/>
            <a:ext cx="1953864" cy="233449"/>
          </a:xfrm>
          <a:prstGeom prst="rect">
            <a:avLst/>
          </a:pr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nvGrpSpPr>
          <p:cNvPr id="63" name="Group 62"/>
          <p:cNvGrpSpPr/>
          <p:nvPr/>
        </p:nvGrpSpPr>
        <p:grpSpPr>
          <a:xfrm>
            <a:off x="2560035" y="2159509"/>
            <a:ext cx="290542" cy="140830"/>
            <a:chOff x="2560035" y="2159509"/>
            <a:chExt cx="290542" cy="140830"/>
          </a:xfrm>
        </p:grpSpPr>
        <p:sp>
          <p:nvSpPr>
            <p:cNvPr id="12" name="Freeform 12">
              <a:extLst>
                <a:ext uri="{FF2B5EF4-FFF2-40B4-BE49-F238E27FC236}">
                  <a16:creationId xmlns:a16="http://schemas.microsoft.com/office/drawing/2014/main" id="{FDB2FBEE-3E49-4F4B-BFB7-78311E8B26ED}"/>
                </a:ext>
              </a:extLst>
            </p:cNvPr>
            <p:cNvSpPr>
              <a:spLocks noEditPoints="1"/>
            </p:cNvSpPr>
            <p:nvPr/>
          </p:nvSpPr>
          <p:spPr bwMode="auto">
            <a:xfrm>
              <a:off x="2560035" y="2159509"/>
              <a:ext cx="290542" cy="140830"/>
            </a:xfrm>
            <a:custGeom>
              <a:avLst/>
              <a:gdLst>
                <a:gd name="T0" fmla="*/ 5 w 229"/>
                <a:gd name="T1" fmla="*/ 74 h 111"/>
                <a:gd name="T2" fmla="*/ 5 w 229"/>
                <a:gd name="T3" fmla="*/ 38 h 111"/>
                <a:gd name="T4" fmla="*/ 33 w 229"/>
                <a:gd name="T5" fmla="*/ 38 h 111"/>
                <a:gd name="T6" fmla="*/ 33 w 229"/>
                <a:gd name="T7" fmla="*/ 5 h 111"/>
                <a:gd name="T8" fmla="*/ 224 w 229"/>
                <a:gd name="T9" fmla="*/ 5 h 111"/>
                <a:gd name="T10" fmla="*/ 224 w 229"/>
                <a:gd name="T11" fmla="*/ 107 h 111"/>
                <a:gd name="T12" fmla="*/ 33 w 229"/>
                <a:gd name="T13" fmla="*/ 107 h 111"/>
                <a:gd name="T14" fmla="*/ 33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3" y="38"/>
                  </a:lnTo>
                  <a:lnTo>
                    <a:pt x="33" y="5"/>
                  </a:lnTo>
                  <a:lnTo>
                    <a:pt x="224" y="5"/>
                  </a:lnTo>
                  <a:lnTo>
                    <a:pt x="224" y="107"/>
                  </a:lnTo>
                  <a:lnTo>
                    <a:pt x="33" y="107"/>
                  </a:lnTo>
                  <a:lnTo>
                    <a:pt x="33" y="74"/>
                  </a:lnTo>
                  <a:lnTo>
                    <a:pt x="5" y="74"/>
                  </a:lnTo>
                  <a:close/>
                  <a:moveTo>
                    <a:pt x="229" y="0"/>
                  </a:moveTo>
                  <a:lnTo>
                    <a:pt x="28" y="0"/>
                  </a:lnTo>
                  <a:lnTo>
                    <a:pt x="28" y="33"/>
                  </a:lnTo>
                  <a:lnTo>
                    <a:pt x="0" y="33"/>
                  </a:lnTo>
                  <a:lnTo>
                    <a:pt x="0" y="79"/>
                  </a:lnTo>
                  <a:lnTo>
                    <a:pt x="28" y="79"/>
                  </a:lnTo>
                  <a:lnTo>
                    <a:pt x="28" y="111"/>
                  </a:lnTo>
                  <a:lnTo>
                    <a:pt x="229" y="111"/>
                  </a:lnTo>
                  <a:lnTo>
                    <a:pt x="229"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 name="Freeform 13">
              <a:extLst>
                <a:ext uri="{FF2B5EF4-FFF2-40B4-BE49-F238E27FC236}">
                  <a16:creationId xmlns:a16="http://schemas.microsoft.com/office/drawing/2014/main" id="{7115D062-25C8-42B5-AA77-FA3930005554}"/>
                </a:ext>
              </a:extLst>
            </p:cNvPr>
            <p:cNvSpPr>
              <a:spLocks noEditPoints="1"/>
            </p:cNvSpPr>
            <p:nvPr/>
          </p:nvSpPr>
          <p:spPr bwMode="auto">
            <a:xfrm>
              <a:off x="2560035" y="2159509"/>
              <a:ext cx="290542" cy="140830"/>
            </a:xfrm>
            <a:custGeom>
              <a:avLst/>
              <a:gdLst>
                <a:gd name="T0" fmla="*/ 5 w 229"/>
                <a:gd name="T1" fmla="*/ 74 h 111"/>
                <a:gd name="T2" fmla="*/ 5 w 229"/>
                <a:gd name="T3" fmla="*/ 38 h 111"/>
                <a:gd name="T4" fmla="*/ 33 w 229"/>
                <a:gd name="T5" fmla="*/ 38 h 111"/>
                <a:gd name="T6" fmla="*/ 33 w 229"/>
                <a:gd name="T7" fmla="*/ 5 h 111"/>
                <a:gd name="T8" fmla="*/ 224 w 229"/>
                <a:gd name="T9" fmla="*/ 5 h 111"/>
                <a:gd name="T10" fmla="*/ 224 w 229"/>
                <a:gd name="T11" fmla="*/ 107 h 111"/>
                <a:gd name="T12" fmla="*/ 33 w 229"/>
                <a:gd name="T13" fmla="*/ 107 h 111"/>
                <a:gd name="T14" fmla="*/ 33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3" y="38"/>
                  </a:lnTo>
                  <a:lnTo>
                    <a:pt x="33" y="5"/>
                  </a:lnTo>
                  <a:lnTo>
                    <a:pt x="224" y="5"/>
                  </a:lnTo>
                  <a:lnTo>
                    <a:pt x="224" y="107"/>
                  </a:lnTo>
                  <a:lnTo>
                    <a:pt x="33" y="107"/>
                  </a:lnTo>
                  <a:lnTo>
                    <a:pt x="33" y="74"/>
                  </a:lnTo>
                  <a:lnTo>
                    <a:pt x="5" y="74"/>
                  </a:lnTo>
                  <a:moveTo>
                    <a:pt x="229" y="0"/>
                  </a:moveTo>
                  <a:lnTo>
                    <a:pt x="28" y="0"/>
                  </a:lnTo>
                  <a:lnTo>
                    <a:pt x="28" y="33"/>
                  </a:lnTo>
                  <a:lnTo>
                    <a:pt x="0" y="33"/>
                  </a:lnTo>
                  <a:lnTo>
                    <a:pt x="0" y="79"/>
                  </a:lnTo>
                  <a:lnTo>
                    <a:pt x="28" y="79"/>
                  </a:lnTo>
                  <a:lnTo>
                    <a:pt x="28" y="111"/>
                  </a:lnTo>
                  <a:lnTo>
                    <a:pt x="229" y="111"/>
                  </a:lnTo>
                  <a:lnTo>
                    <a:pt x="229" y="0"/>
                  </a:ln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4" name="Rectangle 14">
              <a:extLst>
                <a:ext uri="{FF2B5EF4-FFF2-40B4-BE49-F238E27FC236}">
                  <a16:creationId xmlns:a16="http://schemas.microsoft.com/office/drawing/2014/main" id="{FC7D68E5-1424-4297-8F1B-7B07DF99D7DE}"/>
                </a:ext>
              </a:extLst>
            </p:cNvPr>
            <p:cNvSpPr>
              <a:spLocks noChangeArrowheads="1"/>
            </p:cNvSpPr>
            <p:nvPr/>
          </p:nvSpPr>
          <p:spPr bwMode="auto">
            <a:xfrm>
              <a:off x="2792215"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5" name="Rectangle 15">
              <a:extLst>
                <a:ext uri="{FF2B5EF4-FFF2-40B4-BE49-F238E27FC236}">
                  <a16:creationId xmlns:a16="http://schemas.microsoft.com/office/drawing/2014/main" id="{8BCE5CA6-3714-409B-8BCD-DCBAF7D5DFC8}"/>
                </a:ext>
              </a:extLst>
            </p:cNvPr>
            <p:cNvSpPr>
              <a:spLocks noChangeArrowheads="1"/>
            </p:cNvSpPr>
            <p:nvPr/>
          </p:nvSpPr>
          <p:spPr bwMode="auto">
            <a:xfrm>
              <a:off x="2792215"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6" name="Rectangle 16">
              <a:extLst>
                <a:ext uri="{FF2B5EF4-FFF2-40B4-BE49-F238E27FC236}">
                  <a16:creationId xmlns:a16="http://schemas.microsoft.com/office/drawing/2014/main" id="{8E148C2B-84D1-4322-B709-D1090E70DF71}"/>
                </a:ext>
              </a:extLst>
            </p:cNvPr>
            <p:cNvSpPr>
              <a:spLocks noChangeArrowheads="1"/>
            </p:cNvSpPr>
            <p:nvPr/>
          </p:nvSpPr>
          <p:spPr bwMode="auto">
            <a:xfrm>
              <a:off x="2735121"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7" name="Rectangle 17">
              <a:extLst>
                <a:ext uri="{FF2B5EF4-FFF2-40B4-BE49-F238E27FC236}">
                  <a16:creationId xmlns:a16="http://schemas.microsoft.com/office/drawing/2014/main" id="{E0A36725-F13D-46AB-AD00-49956664F0B3}"/>
                </a:ext>
              </a:extLst>
            </p:cNvPr>
            <p:cNvSpPr>
              <a:spLocks noChangeArrowheads="1"/>
            </p:cNvSpPr>
            <p:nvPr/>
          </p:nvSpPr>
          <p:spPr bwMode="auto">
            <a:xfrm>
              <a:off x="2735121"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 name="Rectangle 18">
              <a:extLst>
                <a:ext uri="{FF2B5EF4-FFF2-40B4-BE49-F238E27FC236}">
                  <a16:creationId xmlns:a16="http://schemas.microsoft.com/office/drawing/2014/main" id="{37E5A769-68B1-4F4A-A58F-52EF14161F73}"/>
                </a:ext>
              </a:extLst>
            </p:cNvPr>
            <p:cNvSpPr>
              <a:spLocks noChangeArrowheads="1"/>
            </p:cNvSpPr>
            <p:nvPr/>
          </p:nvSpPr>
          <p:spPr bwMode="auto">
            <a:xfrm>
              <a:off x="2676759"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9" name="Rectangle 19">
              <a:extLst>
                <a:ext uri="{FF2B5EF4-FFF2-40B4-BE49-F238E27FC236}">
                  <a16:creationId xmlns:a16="http://schemas.microsoft.com/office/drawing/2014/main" id="{311CC4D3-BE83-40BA-BBDF-FAF94FEFB031}"/>
                </a:ext>
              </a:extLst>
            </p:cNvPr>
            <p:cNvSpPr>
              <a:spLocks noChangeArrowheads="1"/>
            </p:cNvSpPr>
            <p:nvPr/>
          </p:nvSpPr>
          <p:spPr bwMode="auto">
            <a:xfrm>
              <a:off x="2676759"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 name="Rectangle 20">
              <a:extLst>
                <a:ext uri="{FF2B5EF4-FFF2-40B4-BE49-F238E27FC236}">
                  <a16:creationId xmlns:a16="http://schemas.microsoft.com/office/drawing/2014/main" id="{711557DC-3751-4891-83EB-EC710A04E137}"/>
                </a:ext>
              </a:extLst>
            </p:cNvPr>
            <p:cNvSpPr>
              <a:spLocks noChangeArrowheads="1"/>
            </p:cNvSpPr>
            <p:nvPr/>
          </p:nvSpPr>
          <p:spPr bwMode="auto">
            <a:xfrm>
              <a:off x="2615859"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1" name="Rectangle 21">
              <a:extLst>
                <a:ext uri="{FF2B5EF4-FFF2-40B4-BE49-F238E27FC236}">
                  <a16:creationId xmlns:a16="http://schemas.microsoft.com/office/drawing/2014/main" id="{96B8AD03-CDD7-42C0-A6E9-DF1F12F136CD}"/>
                </a:ext>
              </a:extLst>
            </p:cNvPr>
            <p:cNvSpPr>
              <a:spLocks noChangeArrowheads="1"/>
            </p:cNvSpPr>
            <p:nvPr/>
          </p:nvSpPr>
          <p:spPr bwMode="auto">
            <a:xfrm>
              <a:off x="2615859"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grpSp>
        <p:nvGrpSpPr>
          <p:cNvPr id="42" name="Group 41"/>
          <p:cNvGrpSpPr/>
          <p:nvPr/>
        </p:nvGrpSpPr>
        <p:grpSpPr>
          <a:xfrm>
            <a:off x="1075606" y="2149359"/>
            <a:ext cx="218224" cy="162400"/>
            <a:chOff x="1075606" y="2149359"/>
            <a:chExt cx="218224" cy="162400"/>
          </a:xfrm>
        </p:grpSpPr>
        <p:sp>
          <p:nvSpPr>
            <p:cNvPr id="22" name="Freeform 22">
              <a:extLst>
                <a:ext uri="{FF2B5EF4-FFF2-40B4-BE49-F238E27FC236}">
                  <a16:creationId xmlns:a16="http://schemas.microsoft.com/office/drawing/2014/main" id="{FE2DE8F3-476F-4C72-8165-6853B5651D7B}"/>
                </a:ext>
              </a:extLst>
            </p:cNvPr>
            <p:cNvSpPr>
              <a:spLocks/>
            </p:cNvSpPr>
            <p:nvPr/>
          </p:nvSpPr>
          <p:spPr bwMode="auto">
            <a:xfrm>
              <a:off x="1163149" y="2269890"/>
              <a:ext cx="40600" cy="41869"/>
            </a:xfrm>
            <a:custGeom>
              <a:avLst/>
              <a:gdLst>
                <a:gd name="T0" fmla="*/ 10 w 20"/>
                <a:gd name="T1" fmla="*/ 0 h 20"/>
                <a:gd name="T2" fmla="*/ 0 w 20"/>
                <a:gd name="T3" fmla="*/ 10 h 20"/>
                <a:gd name="T4" fmla="*/ 10 w 20"/>
                <a:gd name="T5" fmla="*/ 20 h 20"/>
                <a:gd name="T6" fmla="*/ 10 w 20"/>
                <a:gd name="T7" fmla="*/ 20 h 20"/>
                <a:gd name="T8" fmla="*/ 20 w 20"/>
                <a:gd name="T9" fmla="*/ 10 h 20"/>
                <a:gd name="T10" fmla="*/ 10 w 20"/>
                <a:gd name="T11" fmla="*/ 0 h 20"/>
                <a:gd name="T12" fmla="*/ 10 w 2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0" y="0"/>
                  </a:moveTo>
                  <a:cubicBezTo>
                    <a:pt x="4" y="0"/>
                    <a:pt x="0" y="4"/>
                    <a:pt x="0" y="10"/>
                  </a:cubicBezTo>
                  <a:cubicBezTo>
                    <a:pt x="0" y="16"/>
                    <a:pt x="4" y="20"/>
                    <a:pt x="10" y="20"/>
                  </a:cubicBezTo>
                  <a:cubicBezTo>
                    <a:pt x="10" y="20"/>
                    <a:pt x="10" y="20"/>
                    <a:pt x="10" y="20"/>
                  </a:cubicBezTo>
                  <a:cubicBezTo>
                    <a:pt x="16" y="20"/>
                    <a:pt x="20" y="16"/>
                    <a:pt x="20" y="10"/>
                  </a:cubicBezTo>
                  <a:cubicBezTo>
                    <a:pt x="20" y="4"/>
                    <a:pt x="16" y="0"/>
                    <a:pt x="10" y="0"/>
                  </a:cubicBezTo>
                  <a:cubicBezTo>
                    <a:pt x="10" y="0"/>
                    <a:pt x="10" y="0"/>
                    <a:pt x="10"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3" name="Freeform 23">
              <a:extLst>
                <a:ext uri="{FF2B5EF4-FFF2-40B4-BE49-F238E27FC236}">
                  <a16:creationId xmlns:a16="http://schemas.microsoft.com/office/drawing/2014/main" id="{81FF0125-732C-4955-B924-E78A370765A7}"/>
                </a:ext>
              </a:extLst>
            </p:cNvPr>
            <p:cNvSpPr>
              <a:spLocks/>
            </p:cNvSpPr>
            <p:nvPr/>
          </p:nvSpPr>
          <p:spPr bwMode="auto">
            <a:xfrm>
              <a:off x="1104787" y="2205184"/>
              <a:ext cx="157324" cy="60900"/>
            </a:xfrm>
            <a:custGeom>
              <a:avLst/>
              <a:gdLst>
                <a:gd name="T0" fmla="*/ 38 w 76"/>
                <a:gd name="T1" fmla="*/ 0 h 29"/>
                <a:gd name="T2" fmla="*/ 0 w 76"/>
                <a:gd name="T3" fmla="*/ 13 h 29"/>
                <a:gd name="T4" fmla="*/ 13 w 76"/>
                <a:gd name="T5" fmla="*/ 28 h 29"/>
                <a:gd name="T6" fmla="*/ 38 w 76"/>
                <a:gd name="T7" fmla="*/ 20 h 29"/>
                <a:gd name="T8" fmla="*/ 65 w 76"/>
                <a:gd name="T9" fmla="*/ 29 h 29"/>
                <a:gd name="T10" fmla="*/ 76 w 76"/>
                <a:gd name="T11" fmla="*/ 13 h 29"/>
                <a:gd name="T12" fmla="*/ 38 w 7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76" h="29">
                  <a:moveTo>
                    <a:pt x="38" y="0"/>
                  </a:moveTo>
                  <a:cubicBezTo>
                    <a:pt x="21" y="0"/>
                    <a:pt x="7" y="7"/>
                    <a:pt x="0" y="13"/>
                  </a:cubicBezTo>
                  <a:cubicBezTo>
                    <a:pt x="13" y="28"/>
                    <a:pt x="13" y="28"/>
                    <a:pt x="13" y="28"/>
                  </a:cubicBezTo>
                  <a:cubicBezTo>
                    <a:pt x="13" y="28"/>
                    <a:pt x="23" y="20"/>
                    <a:pt x="38" y="20"/>
                  </a:cubicBezTo>
                  <a:cubicBezTo>
                    <a:pt x="46" y="20"/>
                    <a:pt x="55" y="22"/>
                    <a:pt x="65" y="29"/>
                  </a:cubicBezTo>
                  <a:cubicBezTo>
                    <a:pt x="76" y="13"/>
                    <a:pt x="76" y="13"/>
                    <a:pt x="76" y="13"/>
                  </a:cubicBezTo>
                  <a:cubicBezTo>
                    <a:pt x="63" y="4"/>
                    <a:pt x="50" y="0"/>
                    <a:pt x="38"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4" name="Freeform 24">
              <a:extLst>
                <a:ext uri="{FF2B5EF4-FFF2-40B4-BE49-F238E27FC236}">
                  <a16:creationId xmlns:a16="http://schemas.microsoft.com/office/drawing/2014/main" id="{D0F50F88-DF42-4A6A-8513-711896F11A46}"/>
                </a:ext>
              </a:extLst>
            </p:cNvPr>
            <p:cNvSpPr>
              <a:spLocks/>
            </p:cNvSpPr>
            <p:nvPr/>
          </p:nvSpPr>
          <p:spPr bwMode="auto">
            <a:xfrm>
              <a:off x="1075606" y="2149359"/>
              <a:ext cx="218224" cy="68512"/>
            </a:xfrm>
            <a:custGeom>
              <a:avLst/>
              <a:gdLst>
                <a:gd name="T0" fmla="*/ 52 w 105"/>
                <a:gd name="T1" fmla="*/ 0 h 33"/>
                <a:gd name="T2" fmla="*/ 0 w 105"/>
                <a:gd name="T3" fmla="*/ 16 h 33"/>
                <a:gd name="T4" fmla="*/ 11 w 105"/>
                <a:gd name="T5" fmla="*/ 32 h 33"/>
                <a:gd name="T6" fmla="*/ 52 w 105"/>
                <a:gd name="T7" fmla="*/ 20 h 33"/>
                <a:gd name="T8" fmla="*/ 94 w 105"/>
                <a:gd name="T9" fmla="*/ 33 h 33"/>
                <a:gd name="T10" fmla="*/ 105 w 105"/>
                <a:gd name="T11" fmla="*/ 16 h 33"/>
                <a:gd name="T12" fmla="*/ 52 w 105"/>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05" h="33">
                  <a:moveTo>
                    <a:pt x="52" y="0"/>
                  </a:moveTo>
                  <a:cubicBezTo>
                    <a:pt x="22" y="0"/>
                    <a:pt x="1" y="15"/>
                    <a:pt x="0" y="16"/>
                  </a:cubicBezTo>
                  <a:cubicBezTo>
                    <a:pt x="11" y="32"/>
                    <a:pt x="11" y="32"/>
                    <a:pt x="11" y="32"/>
                  </a:cubicBezTo>
                  <a:cubicBezTo>
                    <a:pt x="12" y="31"/>
                    <a:pt x="29" y="20"/>
                    <a:pt x="52" y="20"/>
                  </a:cubicBezTo>
                  <a:cubicBezTo>
                    <a:pt x="65" y="20"/>
                    <a:pt x="79" y="23"/>
                    <a:pt x="94" y="33"/>
                  </a:cubicBezTo>
                  <a:cubicBezTo>
                    <a:pt x="105" y="16"/>
                    <a:pt x="105" y="16"/>
                    <a:pt x="105" y="16"/>
                  </a:cubicBezTo>
                  <a:cubicBezTo>
                    <a:pt x="86" y="4"/>
                    <a:pt x="68" y="0"/>
                    <a:pt x="52"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26" name="Rectangle 25">
            <a:extLst>
              <a:ext uri="{FF2B5EF4-FFF2-40B4-BE49-F238E27FC236}">
                <a16:creationId xmlns:a16="http://schemas.microsoft.com/office/drawing/2014/main" id="{F281C33A-FF6D-4BD9-915D-6C3392A976D4}"/>
              </a:ext>
            </a:extLst>
          </p:cNvPr>
          <p:cNvSpPr>
            <a:spLocks noChangeArrowheads="1"/>
          </p:cNvSpPr>
          <p:nvPr/>
        </p:nvSpPr>
        <p:spPr bwMode="auto">
          <a:xfrm>
            <a:off x="2944464" y="2112566"/>
            <a:ext cx="1951326" cy="240426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7" name="Rectangle 26">
            <a:extLst>
              <a:ext uri="{FF2B5EF4-FFF2-40B4-BE49-F238E27FC236}">
                <a16:creationId xmlns:a16="http://schemas.microsoft.com/office/drawing/2014/main" id="{4CDB9930-2D00-4611-A7D5-61E4FA09FC20}"/>
              </a:ext>
            </a:extLst>
          </p:cNvPr>
          <p:cNvSpPr>
            <a:spLocks noChangeArrowheads="1"/>
          </p:cNvSpPr>
          <p:nvPr/>
        </p:nvSpPr>
        <p:spPr bwMode="auto">
          <a:xfrm>
            <a:off x="2944464" y="2112566"/>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8" name="Rectangle 27">
            <a:extLst>
              <a:ext uri="{FF2B5EF4-FFF2-40B4-BE49-F238E27FC236}">
                <a16:creationId xmlns:a16="http://schemas.microsoft.com/office/drawing/2014/main" id="{58A6624A-644D-4770-AA7D-447F7DA8E906}"/>
              </a:ext>
            </a:extLst>
          </p:cNvPr>
          <p:cNvSpPr>
            <a:spLocks noChangeArrowheads="1"/>
          </p:cNvSpPr>
          <p:nvPr/>
        </p:nvSpPr>
        <p:spPr bwMode="auto">
          <a:xfrm>
            <a:off x="2944464" y="2112566"/>
            <a:ext cx="1951326" cy="233449"/>
          </a:xfrm>
          <a:prstGeom prst="rect">
            <a:avLst/>
          </a:pr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nvGrpSpPr>
          <p:cNvPr id="8" name="Group 7"/>
          <p:cNvGrpSpPr/>
          <p:nvPr/>
        </p:nvGrpSpPr>
        <p:grpSpPr>
          <a:xfrm>
            <a:off x="4511361" y="2159509"/>
            <a:ext cx="290542" cy="140830"/>
            <a:chOff x="4511361" y="2159509"/>
            <a:chExt cx="290542" cy="140830"/>
          </a:xfrm>
        </p:grpSpPr>
        <p:sp>
          <p:nvSpPr>
            <p:cNvPr id="29" name="Freeform 29">
              <a:extLst>
                <a:ext uri="{FF2B5EF4-FFF2-40B4-BE49-F238E27FC236}">
                  <a16:creationId xmlns:a16="http://schemas.microsoft.com/office/drawing/2014/main" id="{2B0C2371-8628-4CBE-B9FB-2F83B458925F}"/>
                </a:ext>
              </a:extLst>
            </p:cNvPr>
            <p:cNvSpPr>
              <a:spLocks noEditPoints="1"/>
            </p:cNvSpPr>
            <p:nvPr/>
          </p:nvSpPr>
          <p:spPr bwMode="auto">
            <a:xfrm>
              <a:off x="4511361" y="2159509"/>
              <a:ext cx="290542" cy="140830"/>
            </a:xfrm>
            <a:custGeom>
              <a:avLst/>
              <a:gdLst>
                <a:gd name="T0" fmla="*/ 5 w 229"/>
                <a:gd name="T1" fmla="*/ 74 h 111"/>
                <a:gd name="T2" fmla="*/ 5 w 229"/>
                <a:gd name="T3" fmla="*/ 38 h 111"/>
                <a:gd name="T4" fmla="*/ 33 w 229"/>
                <a:gd name="T5" fmla="*/ 38 h 111"/>
                <a:gd name="T6" fmla="*/ 33 w 229"/>
                <a:gd name="T7" fmla="*/ 5 h 111"/>
                <a:gd name="T8" fmla="*/ 224 w 229"/>
                <a:gd name="T9" fmla="*/ 5 h 111"/>
                <a:gd name="T10" fmla="*/ 224 w 229"/>
                <a:gd name="T11" fmla="*/ 107 h 111"/>
                <a:gd name="T12" fmla="*/ 33 w 229"/>
                <a:gd name="T13" fmla="*/ 107 h 111"/>
                <a:gd name="T14" fmla="*/ 33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3" y="38"/>
                  </a:lnTo>
                  <a:lnTo>
                    <a:pt x="33" y="5"/>
                  </a:lnTo>
                  <a:lnTo>
                    <a:pt x="224" y="5"/>
                  </a:lnTo>
                  <a:lnTo>
                    <a:pt x="224" y="107"/>
                  </a:lnTo>
                  <a:lnTo>
                    <a:pt x="33" y="107"/>
                  </a:lnTo>
                  <a:lnTo>
                    <a:pt x="33" y="74"/>
                  </a:lnTo>
                  <a:lnTo>
                    <a:pt x="5" y="74"/>
                  </a:lnTo>
                  <a:close/>
                  <a:moveTo>
                    <a:pt x="229" y="0"/>
                  </a:moveTo>
                  <a:lnTo>
                    <a:pt x="28" y="0"/>
                  </a:lnTo>
                  <a:lnTo>
                    <a:pt x="28" y="33"/>
                  </a:lnTo>
                  <a:lnTo>
                    <a:pt x="0" y="33"/>
                  </a:lnTo>
                  <a:lnTo>
                    <a:pt x="0" y="79"/>
                  </a:lnTo>
                  <a:lnTo>
                    <a:pt x="28" y="79"/>
                  </a:lnTo>
                  <a:lnTo>
                    <a:pt x="28" y="111"/>
                  </a:lnTo>
                  <a:lnTo>
                    <a:pt x="229" y="111"/>
                  </a:lnTo>
                  <a:lnTo>
                    <a:pt x="229"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0" name="Freeform 30">
              <a:extLst>
                <a:ext uri="{FF2B5EF4-FFF2-40B4-BE49-F238E27FC236}">
                  <a16:creationId xmlns:a16="http://schemas.microsoft.com/office/drawing/2014/main" id="{1443B075-C0B6-4FE1-B3B7-9480F5DF31E1}"/>
                </a:ext>
              </a:extLst>
            </p:cNvPr>
            <p:cNvSpPr>
              <a:spLocks noEditPoints="1"/>
            </p:cNvSpPr>
            <p:nvPr/>
          </p:nvSpPr>
          <p:spPr bwMode="auto">
            <a:xfrm>
              <a:off x="4511361" y="2159509"/>
              <a:ext cx="290542" cy="140830"/>
            </a:xfrm>
            <a:custGeom>
              <a:avLst/>
              <a:gdLst>
                <a:gd name="T0" fmla="*/ 5 w 229"/>
                <a:gd name="T1" fmla="*/ 74 h 111"/>
                <a:gd name="T2" fmla="*/ 5 w 229"/>
                <a:gd name="T3" fmla="*/ 38 h 111"/>
                <a:gd name="T4" fmla="*/ 33 w 229"/>
                <a:gd name="T5" fmla="*/ 38 h 111"/>
                <a:gd name="T6" fmla="*/ 33 w 229"/>
                <a:gd name="T7" fmla="*/ 5 h 111"/>
                <a:gd name="T8" fmla="*/ 224 w 229"/>
                <a:gd name="T9" fmla="*/ 5 h 111"/>
                <a:gd name="T10" fmla="*/ 224 w 229"/>
                <a:gd name="T11" fmla="*/ 107 h 111"/>
                <a:gd name="T12" fmla="*/ 33 w 229"/>
                <a:gd name="T13" fmla="*/ 107 h 111"/>
                <a:gd name="T14" fmla="*/ 33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3" y="38"/>
                  </a:lnTo>
                  <a:lnTo>
                    <a:pt x="33" y="5"/>
                  </a:lnTo>
                  <a:lnTo>
                    <a:pt x="224" y="5"/>
                  </a:lnTo>
                  <a:lnTo>
                    <a:pt x="224" y="107"/>
                  </a:lnTo>
                  <a:lnTo>
                    <a:pt x="33" y="107"/>
                  </a:lnTo>
                  <a:lnTo>
                    <a:pt x="33" y="74"/>
                  </a:lnTo>
                  <a:lnTo>
                    <a:pt x="5" y="74"/>
                  </a:lnTo>
                  <a:moveTo>
                    <a:pt x="229" y="0"/>
                  </a:moveTo>
                  <a:lnTo>
                    <a:pt x="28" y="0"/>
                  </a:lnTo>
                  <a:lnTo>
                    <a:pt x="28" y="33"/>
                  </a:lnTo>
                  <a:lnTo>
                    <a:pt x="0" y="33"/>
                  </a:lnTo>
                  <a:lnTo>
                    <a:pt x="0" y="79"/>
                  </a:lnTo>
                  <a:lnTo>
                    <a:pt x="28" y="79"/>
                  </a:lnTo>
                  <a:lnTo>
                    <a:pt x="28" y="111"/>
                  </a:lnTo>
                  <a:lnTo>
                    <a:pt x="229" y="111"/>
                  </a:lnTo>
                  <a:lnTo>
                    <a:pt x="229" y="0"/>
                  </a:ln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1" name="Rectangle 31">
              <a:extLst>
                <a:ext uri="{FF2B5EF4-FFF2-40B4-BE49-F238E27FC236}">
                  <a16:creationId xmlns:a16="http://schemas.microsoft.com/office/drawing/2014/main" id="{B4B72A83-21FB-4E2D-978D-2A96582727B8}"/>
                </a:ext>
              </a:extLst>
            </p:cNvPr>
            <p:cNvSpPr>
              <a:spLocks noChangeArrowheads="1"/>
            </p:cNvSpPr>
            <p:nvPr/>
          </p:nvSpPr>
          <p:spPr bwMode="auto">
            <a:xfrm>
              <a:off x="4746078"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2" name="Rectangle 32">
              <a:extLst>
                <a:ext uri="{FF2B5EF4-FFF2-40B4-BE49-F238E27FC236}">
                  <a16:creationId xmlns:a16="http://schemas.microsoft.com/office/drawing/2014/main" id="{B4E8F19C-1015-490C-B9C1-A46F410DAE34}"/>
                </a:ext>
              </a:extLst>
            </p:cNvPr>
            <p:cNvSpPr>
              <a:spLocks noChangeArrowheads="1"/>
            </p:cNvSpPr>
            <p:nvPr/>
          </p:nvSpPr>
          <p:spPr bwMode="auto">
            <a:xfrm>
              <a:off x="4746078"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3" name="Rectangle 33">
              <a:extLst>
                <a:ext uri="{FF2B5EF4-FFF2-40B4-BE49-F238E27FC236}">
                  <a16:creationId xmlns:a16="http://schemas.microsoft.com/office/drawing/2014/main" id="{AE4BAE8C-B333-459F-85AF-8BFD61EF864F}"/>
                </a:ext>
              </a:extLst>
            </p:cNvPr>
            <p:cNvSpPr>
              <a:spLocks noChangeArrowheads="1"/>
            </p:cNvSpPr>
            <p:nvPr/>
          </p:nvSpPr>
          <p:spPr bwMode="auto">
            <a:xfrm>
              <a:off x="4685178"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4" name="Rectangle 34">
              <a:extLst>
                <a:ext uri="{FF2B5EF4-FFF2-40B4-BE49-F238E27FC236}">
                  <a16:creationId xmlns:a16="http://schemas.microsoft.com/office/drawing/2014/main" id="{1F875043-672E-4A24-ADBA-FC1B0E2FFCF8}"/>
                </a:ext>
              </a:extLst>
            </p:cNvPr>
            <p:cNvSpPr>
              <a:spLocks noChangeArrowheads="1"/>
            </p:cNvSpPr>
            <p:nvPr/>
          </p:nvSpPr>
          <p:spPr bwMode="auto">
            <a:xfrm>
              <a:off x="4685178"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5" name="Rectangle 35">
              <a:extLst>
                <a:ext uri="{FF2B5EF4-FFF2-40B4-BE49-F238E27FC236}">
                  <a16:creationId xmlns:a16="http://schemas.microsoft.com/office/drawing/2014/main" id="{A51D6CF9-A7B7-4BFB-A4A7-CF4B5014B3D3}"/>
                </a:ext>
              </a:extLst>
            </p:cNvPr>
            <p:cNvSpPr>
              <a:spLocks noChangeArrowheads="1"/>
            </p:cNvSpPr>
            <p:nvPr/>
          </p:nvSpPr>
          <p:spPr bwMode="auto">
            <a:xfrm>
              <a:off x="4628085"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6" name="Rectangle 36">
              <a:extLst>
                <a:ext uri="{FF2B5EF4-FFF2-40B4-BE49-F238E27FC236}">
                  <a16:creationId xmlns:a16="http://schemas.microsoft.com/office/drawing/2014/main" id="{CD255E5B-A12E-4403-A237-E149CD606921}"/>
                </a:ext>
              </a:extLst>
            </p:cNvPr>
            <p:cNvSpPr>
              <a:spLocks noChangeArrowheads="1"/>
            </p:cNvSpPr>
            <p:nvPr/>
          </p:nvSpPr>
          <p:spPr bwMode="auto">
            <a:xfrm>
              <a:off x="4628085"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7" name="Rectangle 37">
              <a:extLst>
                <a:ext uri="{FF2B5EF4-FFF2-40B4-BE49-F238E27FC236}">
                  <a16:creationId xmlns:a16="http://schemas.microsoft.com/office/drawing/2014/main" id="{983C4FC8-E48E-485C-A2EE-E077F7A891C2}"/>
                </a:ext>
              </a:extLst>
            </p:cNvPr>
            <p:cNvSpPr>
              <a:spLocks noChangeArrowheads="1"/>
            </p:cNvSpPr>
            <p:nvPr/>
          </p:nvSpPr>
          <p:spPr bwMode="auto">
            <a:xfrm>
              <a:off x="4569723"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8" name="Rectangle 38">
              <a:extLst>
                <a:ext uri="{FF2B5EF4-FFF2-40B4-BE49-F238E27FC236}">
                  <a16:creationId xmlns:a16="http://schemas.microsoft.com/office/drawing/2014/main" id="{45D1D5B7-1CBB-4ED7-BDF6-87872078C010}"/>
                </a:ext>
              </a:extLst>
            </p:cNvPr>
            <p:cNvSpPr>
              <a:spLocks noChangeArrowheads="1"/>
            </p:cNvSpPr>
            <p:nvPr/>
          </p:nvSpPr>
          <p:spPr bwMode="auto">
            <a:xfrm>
              <a:off x="4569723"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grpSp>
        <p:nvGrpSpPr>
          <p:cNvPr id="25" name="Group 24"/>
          <p:cNvGrpSpPr/>
          <p:nvPr/>
        </p:nvGrpSpPr>
        <p:grpSpPr>
          <a:xfrm>
            <a:off x="3026932" y="2149359"/>
            <a:ext cx="218224" cy="162400"/>
            <a:chOff x="3026932" y="2149359"/>
            <a:chExt cx="218224" cy="162400"/>
          </a:xfrm>
        </p:grpSpPr>
        <p:sp>
          <p:nvSpPr>
            <p:cNvPr id="39" name="Freeform 39">
              <a:extLst>
                <a:ext uri="{FF2B5EF4-FFF2-40B4-BE49-F238E27FC236}">
                  <a16:creationId xmlns:a16="http://schemas.microsoft.com/office/drawing/2014/main" id="{F1847573-4E11-4D63-9BD5-F6E9D7CC1571}"/>
                </a:ext>
              </a:extLst>
            </p:cNvPr>
            <p:cNvSpPr>
              <a:spLocks/>
            </p:cNvSpPr>
            <p:nvPr/>
          </p:nvSpPr>
          <p:spPr bwMode="auto">
            <a:xfrm>
              <a:off x="3114475" y="2269890"/>
              <a:ext cx="43137" cy="41869"/>
            </a:xfrm>
            <a:custGeom>
              <a:avLst/>
              <a:gdLst>
                <a:gd name="T0" fmla="*/ 10 w 21"/>
                <a:gd name="T1" fmla="*/ 0 h 20"/>
                <a:gd name="T2" fmla="*/ 0 w 21"/>
                <a:gd name="T3" fmla="*/ 10 h 20"/>
                <a:gd name="T4" fmla="*/ 10 w 21"/>
                <a:gd name="T5" fmla="*/ 20 h 20"/>
                <a:gd name="T6" fmla="*/ 10 w 21"/>
                <a:gd name="T7" fmla="*/ 20 h 20"/>
                <a:gd name="T8" fmla="*/ 21 w 21"/>
                <a:gd name="T9" fmla="*/ 10 h 20"/>
                <a:gd name="T10" fmla="*/ 10 w 21"/>
                <a:gd name="T11" fmla="*/ 0 h 20"/>
                <a:gd name="T12" fmla="*/ 10 w 2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10" y="0"/>
                  </a:moveTo>
                  <a:cubicBezTo>
                    <a:pt x="5" y="0"/>
                    <a:pt x="0" y="4"/>
                    <a:pt x="0" y="10"/>
                  </a:cubicBezTo>
                  <a:cubicBezTo>
                    <a:pt x="0" y="16"/>
                    <a:pt x="5" y="20"/>
                    <a:pt x="10" y="20"/>
                  </a:cubicBezTo>
                  <a:cubicBezTo>
                    <a:pt x="10" y="20"/>
                    <a:pt x="10" y="20"/>
                    <a:pt x="10" y="20"/>
                  </a:cubicBezTo>
                  <a:cubicBezTo>
                    <a:pt x="16" y="20"/>
                    <a:pt x="21" y="16"/>
                    <a:pt x="21" y="10"/>
                  </a:cubicBezTo>
                  <a:cubicBezTo>
                    <a:pt x="21" y="4"/>
                    <a:pt x="16" y="0"/>
                    <a:pt x="10" y="0"/>
                  </a:cubicBezTo>
                  <a:cubicBezTo>
                    <a:pt x="10" y="0"/>
                    <a:pt x="10" y="0"/>
                    <a:pt x="10"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0" name="Freeform 40">
              <a:extLst>
                <a:ext uri="{FF2B5EF4-FFF2-40B4-BE49-F238E27FC236}">
                  <a16:creationId xmlns:a16="http://schemas.microsoft.com/office/drawing/2014/main" id="{7812C9CD-8841-49A9-9EEF-26CCB1569DBB}"/>
                </a:ext>
              </a:extLst>
            </p:cNvPr>
            <p:cNvSpPr>
              <a:spLocks/>
            </p:cNvSpPr>
            <p:nvPr/>
          </p:nvSpPr>
          <p:spPr bwMode="auto">
            <a:xfrm>
              <a:off x="3056113" y="2205184"/>
              <a:ext cx="157324" cy="60900"/>
            </a:xfrm>
            <a:custGeom>
              <a:avLst/>
              <a:gdLst>
                <a:gd name="T0" fmla="*/ 38 w 76"/>
                <a:gd name="T1" fmla="*/ 0 h 29"/>
                <a:gd name="T2" fmla="*/ 0 w 76"/>
                <a:gd name="T3" fmla="*/ 13 h 29"/>
                <a:gd name="T4" fmla="*/ 13 w 76"/>
                <a:gd name="T5" fmla="*/ 28 h 29"/>
                <a:gd name="T6" fmla="*/ 38 w 76"/>
                <a:gd name="T7" fmla="*/ 20 h 29"/>
                <a:gd name="T8" fmla="*/ 65 w 76"/>
                <a:gd name="T9" fmla="*/ 29 h 29"/>
                <a:gd name="T10" fmla="*/ 76 w 76"/>
                <a:gd name="T11" fmla="*/ 13 h 29"/>
                <a:gd name="T12" fmla="*/ 38 w 7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76" h="29">
                  <a:moveTo>
                    <a:pt x="38" y="0"/>
                  </a:moveTo>
                  <a:cubicBezTo>
                    <a:pt x="21" y="0"/>
                    <a:pt x="8" y="7"/>
                    <a:pt x="0" y="13"/>
                  </a:cubicBezTo>
                  <a:cubicBezTo>
                    <a:pt x="13" y="28"/>
                    <a:pt x="13" y="28"/>
                    <a:pt x="13" y="28"/>
                  </a:cubicBezTo>
                  <a:cubicBezTo>
                    <a:pt x="14" y="28"/>
                    <a:pt x="24" y="20"/>
                    <a:pt x="38" y="20"/>
                  </a:cubicBezTo>
                  <a:cubicBezTo>
                    <a:pt x="46" y="20"/>
                    <a:pt x="55" y="22"/>
                    <a:pt x="65" y="29"/>
                  </a:cubicBezTo>
                  <a:cubicBezTo>
                    <a:pt x="76" y="13"/>
                    <a:pt x="76" y="13"/>
                    <a:pt x="76" y="13"/>
                  </a:cubicBezTo>
                  <a:cubicBezTo>
                    <a:pt x="63" y="4"/>
                    <a:pt x="50" y="0"/>
                    <a:pt x="38"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1" name="Freeform 41">
              <a:extLst>
                <a:ext uri="{FF2B5EF4-FFF2-40B4-BE49-F238E27FC236}">
                  <a16:creationId xmlns:a16="http://schemas.microsoft.com/office/drawing/2014/main" id="{43828BF2-BE0E-40D1-938B-C1365D0566AC}"/>
                </a:ext>
              </a:extLst>
            </p:cNvPr>
            <p:cNvSpPr>
              <a:spLocks/>
            </p:cNvSpPr>
            <p:nvPr/>
          </p:nvSpPr>
          <p:spPr bwMode="auto">
            <a:xfrm>
              <a:off x="3026932" y="2149359"/>
              <a:ext cx="218224" cy="68512"/>
            </a:xfrm>
            <a:custGeom>
              <a:avLst/>
              <a:gdLst>
                <a:gd name="T0" fmla="*/ 53 w 105"/>
                <a:gd name="T1" fmla="*/ 0 h 33"/>
                <a:gd name="T2" fmla="*/ 0 w 105"/>
                <a:gd name="T3" fmla="*/ 16 h 33"/>
                <a:gd name="T4" fmla="*/ 12 w 105"/>
                <a:gd name="T5" fmla="*/ 32 h 33"/>
                <a:gd name="T6" fmla="*/ 52 w 105"/>
                <a:gd name="T7" fmla="*/ 20 h 33"/>
                <a:gd name="T8" fmla="*/ 94 w 105"/>
                <a:gd name="T9" fmla="*/ 33 h 33"/>
                <a:gd name="T10" fmla="*/ 105 w 105"/>
                <a:gd name="T11" fmla="*/ 16 h 33"/>
                <a:gd name="T12" fmla="*/ 53 w 105"/>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05" h="33">
                  <a:moveTo>
                    <a:pt x="53" y="0"/>
                  </a:moveTo>
                  <a:cubicBezTo>
                    <a:pt x="23" y="0"/>
                    <a:pt x="1" y="15"/>
                    <a:pt x="0" y="16"/>
                  </a:cubicBezTo>
                  <a:cubicBezTo>
                    <a:pt x="12" y="32"/>
                    <a:pt x="12" y="32"/>
                    <a:pt x="12" y="32"/>
                  </a:cubicBezTo>
                  <a:cubicBezTo>
                    <a:pt x="13" y="31"/>
                    <a:pt x="29" y="20"/>
                    <a:pt x="52" y="20"/>
                  </a:cubicBezTo>
                  <a:cubicBezTo>
                    <a:pt x="65" y="20"/>
                    <a:pt x="79" y="23"/>
                    <a:pt x="94" y="33"/>
                  </a:cubicBezTo>
                  <a:cubicBezTo>
                    <a:pt x="105" y="16"/>
                    <a:pt x="105" y="16"/>
                    <a:pt x="105" y="16"/>
                  </a:cubicBezTo>
                  <a:cubicBezTo>
                    <a:pt x="86" y="4"/>
                    <a:pt x="68" y="0"/>
                    <a:pt x="53"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43" name="Rectangle 42">
            <a:extLst>
              <a:ext uri="{FF2B5EF4-FFF2-40B4-BE49-F238E27FC236}">
                <a16:creationId xmlns:a16="http://schemas.microsoft.com/office/drawing/2014/main" id="{A0B0A14C-35E9-46B1-87D5-D5E08E6ED27C}"/>
              </a:ext>
            </a:extLst>
          </p:cNvPr>
          <p:cNvSpPr>
            <a:spLocks noChangeArrowheads="1"/>
          </p:cNvSpPr>
          <p:nvPr/>
        </p:nvSpPr>
        <p:spPr bwMode="auto">
          <a:xfrm>
            <a:off x="4880565" y="2112566"/>
            <a:ext cx="1951326" cy="2404267"/>
          </a:xfrm>
          <a:prstGeom prst="rect">
            <a:avLst/>
          </a:prstGeom>
          <a:solidFill>
            <a:srgbClr val="97999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4" name="Rectangle 43">
            <a:extLst>
              <a:ext uri="{FF2B5EF4-FFF2-40B4-BE49-F238E27FC236}">
                <a16:creationId xmlns:a16="http://schemas.microsoft.com/office/drawing/2014/main" id="{C0809430-AC26-4310-88E4-BFC02215F60F}"/>
              </a:ext>
            </a:extLst>
          </p:cNvPr>
          <p:cNvSpPr>
            <a:spLocks noChangeArrowheads="1"/>
          </p:cNvSpPr>
          <p:nvPr/>
        </p:nvSpPr>
        <p:spPr bwMode="auto">
          <a:xfrm>
            <a:off x="4880565" y="2112566"/>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5" name="Rectangle 44">
            <a:extLst>
              <a:ext uri="{FF2B5EF4-FFF2-40B4-BE49-F238E27FC236}">
                <a16:creationId xmlns:a16="http://schemas.microsoft.com/office/drawing/2014/main" id="{9AAF958E-57C1-47B6-A6BC-88AD48E0D047}"/>
              </a:ext>
            </a:extLst>
          </p:cNvPr>
          <p:cNvSpPr>
            <a:spLocks noChangeArrowheads="1"/>
          </p:cNvSpPr>
          <p:nvPr/>
        </p:nvSpPr>
        <p:spPr bwMode="auto">
          <a:xfrm>
            <a:off x="4880565" y="2112566"/>
            <a:ext cx="1951326" cy="233449"/>
          </a:xfrm>
          <a:prstGeom prst="rect">
            <a:avLst/>
          </a:prstGeom>
          <a:solidFill>
            <a:srgbClr val="75787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nvGrpSpPr>
          <p:cNvPr id="2" name="Group 1"/>
          <p:cNvGrpSpPr/>
          <p:nvPr/>
        </p:nvGrpSpPr>
        <p:grpSpPr>
          <a:xfrm>
            <a:off x="6449999" y="2159509"/>
            <a:ext cx="290542" cy="140830"/>
            <a:chOff x="6449999" y="2159509"/>
            <a:chExt cx="290542" cy="140830"/>
          </a:xfrm>
        </p:grpSpPr>
        <p:sp>
          <p:nvSpPr>
            <p:cNvPr id="46" name="Freeform 46">
              <a:extLst>
                <a:ext uri="{FF2B5EF4-FFF2-40B4-BE49-F238E27FC236}">
                  <a16:creationId xmlns:a16="http://schemas.microsoft.com/office/drawing/2014/main" id="{7B860D15-57B9-49D9-9957-55F5CCAA1E25}"/>
                </a:ext>
              </a:extLst>
            </p:cNvPr>
            <p:cNvSpPr>
              <a:spLocks noEditPoints="1"/>
            </p:cNvSpPr>
            <p:nvPr/>
          </p:nvSpPr>
          <p:spPr bwMode="auto">
            <a:xfrm>
              <a:off x="6449999" y="2159509"/>
              <a:ext cx="290542" cy="140830"/>
            </a:xfrm>
            <a:custGeom>
              <a:avLst/>
              <a:gdLst>
                <a:gd name="T0" fmla="*/ 5 w 229"/>
                <a:gd name="T1" fmla="*/ 74 h 111"/>
                <a:gd name="T2" fmla="*/ 5 w 229"/>
                <a:gd name="T3" fmla="*/ 38 h 111"/>
                <a:gd name="T4" fmla="*/ 31 w 229"/>
                <a:gd name="T5" fmla="*/ 38 h 111"/>
                <a:gd name="T6" fmla="*/ 31 w 229"/>
                <a:gd name="T7" fmla="*/ 5 h 111"/>
                <a:gd name="T8" fmla="*/ 224 w 229"/>
                <a:gd name="T9" fmla="*/ 5 h 111"/>
                <a:gd name="T10" fmla="*/ 224 w 229"/>
                <a:gd name="T11" fmla="*/ 107 h 111"/>
                <a:gd name="T12" fmla="*/ 31 w 229"/>
                <a:gd name="T13" fmla="*/ 107 h 111"/>
                <a:gd name="T14" fmla="*/ 31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1" y="38"/>
                  </a:lnTo>
                  <a:lnTo>
                    <a:pt x="31" y="5"/>
                  </a:lnTo>
                  <a:lnTo>
                    <a:pt x="224" y="5"/>
                  </a:lnTo>
                  <a:lnTo>
                    <a:pt x="224" y="107"/>
                  </a:lnTo>
                  <a:lnTo>
                    <a:pt x="31" y="107"/>
                  </a:lnTo>
                  <a:lnTo>
                    <a:pt x="31" y="74"/>
                  </a:lnTo>
                  <a:lnTo>
                    <a:pt x="5" y="74"/>
                  </a:lnTo>
                  <a:close/>
                  <a:moveTo>
                    <a:pt x="229" y="0"/>
                  </a:moveTo>
                  <a:lnTo>
                    <a:pt x="28" y="0"/>
                  </a:lnTo>
                  <a:lnTo>
                    <a:pt x="28" y="33"/>
                  </a:lnTo>
                  <a:lnTo>
                    <a:pt x="0" y="33"/>
                  </a:lnTo>
                  <a:lnTo>
                    <a:pt x="0" y="79"/>
                  </a:lnTo>
                  <a:lnTo>
                    <a:pt x="28" y="79"/>
                  </a:lnTo>
                  <a:lnTo>
                    <a:pt x="28" y="111"/>
                  </a:lnTo>
                  <a:lnTo>
                    <a:pt x="229" y="111"/>
                  </a:lnTo>
                  <a:lnTo>
                    <a:pt x="229"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7" name="Freeform 47">
              <a:extLst>
                <a:ext uri="{FF2B5EF4-FFF2-40B4-BE49-F238E27FC236}">
                  <a16:creationId xmlns:a16="http://schemas.microsoft.com/office/drawing/2014/main" id="{62CBDD42-88CE-45DE-988A-CAE9E1C27251}"/>
                </a:ext>
              </a:extLst>
            </p:cNvPr>
            <p:cNvSpPr>
              <a:spLocks noEditPoints="1"/>
            </p:cNvSpPr>
            <p:nvPr/>
          </p:nvSpPr>
          <p:spPr bwMode="auto">
            <a:xfrm>
              <a:off x="6449999" y="2159509"/>
              <a:ext cx="290542" cy="140830"/>
            </a:xfrm>
            <a:custGeom>
              <a:avLst/>
              <a:gdLst>
                <a:gd name="T0" fmla="*/ 5 w 229"/>
                <a:gd name="T1" fmla="*/ 74 h 111"/>
                <a:gd name="T2" fmla="*/ 5 w 229"/>
                <a:gd name="T3" fmla="*/ 38 h 111"/>
                <a:gd name="T4" fmla="*/ 31 w 229"/>
                <a:gd name="T5" fmla="*/ 38 h 111"/>
                <a:gd name="T6" fmla="*/ 31 w 229"/>
                <a:gd name="T7" fmla="*/ 5 h 111"/>
                <a:gd name="T8" fmla="*/ 224 w 229"/>
                <a:gd name="T9" fmla="*/ 5 h 111"/>
                <a:gd name="T10" fmla="*/ 224 w 229"/>
                <a:gd name="T11" fmla="*/ 107 h 111"/>
                <a:gd name="T12" fmla="*/ 31 w 229"/>
                <a:gd name="T13" fmla="*/ 107 h 111"/>
                <a:gd name="T14" fmla="*/ 31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1" y="38"/>
                  </a:lnTo>
                  <a:lnTo>
                    <a:pt x="31" y="5"/>
                  </a:lnTo>
                  <a:lnTo>
                    <a:pt x="224" y="5"/>
                  </a:lnTo>
                  <a:lnTo>
                    <a:pt x="224" y="107"/>
                  </a:lnTo>
                  <a:lnTo>
                    <a:pt x="31" y="107"/>
                  </a:lnTo>
                  <a:lnTo>
                    <a:pt x="31" y="74"/>
                  </a:lnTo>
                  <a:lnTo>
                    <a:pt x="5" y="74"/>
                  </a:lnTo>
                  <a:moveTo>
                    <a:pt x="229" y="0"/>
                  </a:moveTo>
                  <a:lnTo>
                    <a:pt x="28" y="0"/>
                  </a:lnTo>
                  <a:lnTo>
                    <a:pt x="28" y="33"/>
                  </a:lnTo>
                  <a:lnTo>
                    <a:pt x="0" y="33"/>
                  </a:lnTo>
                  <a:lnTo>
                    <a:pt x="0" y="79"/>
                  </a:lnTo>
                  <a:lnTo>
                    <a:pt x="28" y="79"/>
                  </a:lnTo>
                  <a:lnTo>
                    <a:pt x="28" y="111"/>
                  </a:lnTo>
                  <a:lnTo>
                    <a:pt x="229" y="111"/>
                  </a:lnTo>
                  <a:lnTo>
                    <a:pt x="229" y="0"/>
                  </a:ln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8" name="Rectangle 48">
              <a:extLst>
                <a:ext uri="{FF2B5EF4-FFF2-40B4-BE49-F238E27FC236}">
                  <a16:creationId xmlns:a16="http://schemas.microsoft.com/office/drawing/2014/main" id="{C1464873-26FA-402D-B869-061913846780}"/>
                </a:ext>
              </a:extLst>
            </p:cNvPr>
            <p:cNvSpPr>
              <a:spLocks noChangeArrowheads="1"/>
            </p:cNvSpPr>
            <p:nvPr/>
          </p:nvSpPr>
          <p:spPr bwMode="auto">
            <a:xfrm>
              <a:off x="6682179"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9" name="Rectangle 49">
              <a:extLst>
                <a:ext uri="{FF2B5EF4-FFF2-40B4-BE49-F238E27FC236}">
                  <a16:creationId xmlns:a16="http://schemas.microsoft.com/office/drawing/2014/main" id="{A46A5A88-43FF-4860-B24A-F1A209A46283}"/>
                </a:ext>
              </a:extLst>
            </p:cNvPr>
            <p:cNvSpPr>
              <a:spLocks noChangeArrowheads="1"/>
            </p:cNvSpPr>
            <p:nvPr/>
          </p:nvSpPr>
          <p:spPr bwMode="auto">
            <a:xfrm>
              <a:off x="6682179"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0" name="Rectangle 50">
              <a:extLst>
                <a:ext uri="{FF2B5EF4-FFF2-40B4-BE49-F238E27FC236}">
                  <a16:creationId xmlns:a16="http://schemas.microsoft.com/office/drawing/2014/main" id="{431B27DD-AD1D-4C1C-B1E8-1DB02D027119}"/>
                </a:ext>
              </a:extLst>
            </p:cNvPr>
            <p:cNvSpPr>
              <a:spLocks noChangeArrowheads="1"/>
            </p:cNvSpPr>
            <p:nvPr/>
          </p:nvSpPr>
          <p:spPr bwMode="auto">
            <a:xfrm>
              <a:off x="6625086"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1" name="Rectangle 51">
              <a:extLst>
                <a:ext uri="{FF2B5EF4-FFF2-40B4-BE49-F238E27FC236}">
                  <a16:creationId xmlns:a16="http://schemas.microsoft.com/office/drawing/2014/main" id="{16E18EB9-B21C-4B0A-9CEC-AC8DEE8600F8}"/>
                </a:ext>
              </a:extLst>
            </p:cNvPr>
            <p:cNvSpPr>
              <a:spLocks noChangeArrowheads="1"/>
            </p:cNvSpPr>
            <p:nvPr/>
          </p:nvSpPr>
          <p:spPr bwMode="auto">
            <a:xfrm>
              <a:off x="6625086"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2" name="Rectangle 52">
              <a:extLst>
                <a:ext uri="{FF2B5EF4-FFF2-40B4-BE49-F238E27FC236}">
                  <a16:creationId xmlns:a16="http://schemas.microsoft.com/office/drawing/2014/main" id="{D1E57527-5D97-44C3-8FE1-629D085FD9B3}"/>
                </a:ext>
              </a:extLst>
            </p:cNvPr>
            <p:cNvSpPr>
              <a:spLocks noChangeArrowheads="1"/>
            </p:cNvSpPr>
            <p:nvPr/>
          </p:nvSpPr>
          <p:spPr bwMode="auto">
            <a:xfrm>
              <a:off x="6564186"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3" name="Rectangle 53">
              <a:extLst>
                <a:ext uri="{FF2B5EF4-FFF2-40B4-BE49-F238E27FC236}">
                  <a16:creationId xmlns:a16="http://schemas.microsoft.com/office/drawing/2014/main" id="{0D00C7C3-B132-4D0E-A65B-AF1D336EA361}"/>
                </a:ext>
              </a:extLst>
            </p:cNvPr>
            <p:cNvSpPr>
              <a:spLocks noChangeArrowheads="1"/>
            </p:cNvSpPr>
            <p:nvPr/>
          </p:nvSpPr>
          <p:spPr bwMode="auto">
            <a:xfrm>
              <a:off x="6564186"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4" name="Rectangle 54">
              <a:extLst>
                <a:ext uri="{FF2B5EF4-FFF2-40B4-BE49-F238E27FC236}">
                  <a16:creationId xmlns:a16="http://schemas.microsoft.com/office/drawing/2014/main" id="{9068C97B-E44E-4565-B84B-701F450C42B2}"/>
                </a:ext>
              </a:extLst>
            </p:cNvPr>
            <p:cNvSpPr>
              <a:spLocks noChangeArrowheads="1"/>
            </p:cNvSpPr>
            <p:nvPr/>
          </p:nvSpPr>
          <p:spPr bwMode="auto">
            <a:xfrm>
              <a:off x="6505824"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5" name="Rectangle 55">
              <a:extLst>
                <a:ext uri="{FF2B5EF4-FFF2-40B4-BE49-F238E27FC236}">
                  <a16:creationId xmlns:a16="http://schemas.microsoft.com/office/drawing/2014/main" id="{A38E3394-05EE-4201-80A9-20A544A96E10}"/>
                </a:ext>
              </a:extLst>
            </p:cNvPr>
            <p:cNvSpPr>
              <a:spLocks noChangeArrowheads="1"/>
            </p:cNvSpPr>
            <p:nvPr/>
          </p:nvSpPr>
          <p:spPr bwMode="auto">
            <a:xfrm>
              <a:off x="6505824"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grpSp>
        <p:nvGrpSpPr>
          <p:cNvPr id="3" name="Group 2"/>
          <p:cNvGrpSpPr/>
          <p:nvPr/>
        </p:nvGrpSpPr>
        <p:grpSpPr>
          <a:xfrm>
            <a:off x="4965571" y="2149359"/>
            <a:ext cx="215686" cy="162400"/>
            <a:chOff x="4965571" y="2149359"/>
            <a:chExt cx="215686" cy="162400"/>
          </a:xfrm>
        </p:grpSpPr>
        <p:sp>
          <p:nvSpPr>
            <p:cNvPr id="56" name="Freeform 56">
              <a:extLst>
                <a:ext uri="{FF2B5EF4-FFF2-40B4-BE49-F238E27FC236}">
                  <a16:creationId xmlns:a16="http://schemas.microsoft.com/office/drawing/2014/main" id="{A16DBD61-B708-4418-AD6C-1A3A5D4BE0C2}"/>
                </a:ext>
              </a:extLst>
            </p:cNvPr>
            <p:cNvSpPr>
              <a:spLocks/>
            </p:cNvSpPr>
            <p:nvPr/>
          </p:nvSpPr>
          <p:spPr bwMode="auto">
            <a:xfrm>
              <a:off x="5053114" y="2269890"/>
              <a:ext cx="40600" cy="41869"/>
            </a:xfrm>
            <a:custGeom>
              <a:avLst/>
              <a:gdLst>
                <a:gd name="T0" fmla="*/ 10 w 20"/>
                <a:gd name="T1" fmla="*/ 0 h 20"/>
                <a:gd name="T2" fmla="*/ 0 w 20"/>
                <a:gd name="T3" fmla="*/ 10 h 20"/>
                <a:gd name="T4" fmla="*/ 10 w 20"/>
                <a:gd name="T5" fmla="*/ 20 h 20"/>
                <a:gd name="T6" fmla="*/ 10 w 20"/>
                <a:gd name="T7" fmla="*/ 20 h 20"/>
                <a:gd name="T8" fmla="*/ 20 w 20"/>
                <a:gd name="T9" fmla="*/ 10 h 20"/>
                <a:gd name="T10" fmla="*/ 10 w 20"/>
                <a:gd name="T11" fmla="*/ 0 h 20"/>
                <a:gd name="T12" fmla="*/ 10 w 2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0" y="0"/>
                  </a:moveTo>
                  <a:cubicBezTo>
                    <a:pt x="4" y="0"/>
                    <a:pt x="0" y="4"/>
                    <a:pt x="0" y="10"/>
                  </a:cubicBezTo>
                  <a:cubicBezTo>
                    <a:pt x="0" y="16"/>
                    <a:pt x="4" y="20"/>
                    <a:pt x="10" y="20"/>
                  </a:cubicBezTo>
                  <a:cubicBezTo>
                    <a:pt x="10" y="20"/>
                    <a:pt x="10" y="20"/>
                    <a:pt x="10" y="20"/>
                  </a:cubicBezTo>
                  <a:cubicBezTo>
                    <a:pt x="15" y="20"/>
                    <a:pt x="20" y="16"/>
                    <a:pt x="20" y="10"/>
                  </a:cubicBezTo>
                  <a:cubicBezTo>
                    <a:pt x="20" y="4"/>
                    <a:pt x="15" y="0"/>
                    <a:pt x="10" y="0"/>
                  </a:cubicBezTo>
                  <a:cubicBezTo>
                    <a:pt x="10" y="0"/>
                    <a:pt x="10" y="0"/>
                    <a:pt x="10"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7" name="Freeform 57">
              <a:extLst>
                <a:ext uri="{FF2B5EF4-FFF2-40B4-BE49-F238E27FC236}">
                  <a16:creationId xmlns:a16="http://schemas.microsoft.com/office/drawing/2014/main" id="{C208233B-31F7-42EF-A8E0-B6B87AD1C9AF}"/>
                </a:ext>
              </a:extLst>
            </p:cNvPr>
            <p:cNvSpPr>
              <a:spLocks/>
            </p:cNvSpPr>
            <p:nvPr/>
          </p:nvSpPr>
          <p:spPr bwMode="auto">
            <a:xfrm>
              <a:off x="4994752" y="2205184"/>
              <a:ext cx="157324" cy="60900"/>
            </a:xfrm>
            <a:custGeom>
              <a:avLst/>
              <a:gdLst>
                <a:gd name="T0" fmla="*/ 38 w 76"/>
                <a:gd name="T1" fmla="*/ 0 h 29"/>
                <a:gd name="T2" fmla="*/ 0 w 76"/>
                <a:gd name="T3" fmla="*/ 13 h 29"/>
                <a:gd name="T4" fmla="*/ 13 w 76"/>
                <a:gd name="T5" fmla="*/ 28 h 29"/>
                <a:gd name="T6" fmla="*/ 38 w 76"/>
                <a:gd name="T7" fmla="*/ 20 h 29"/>
                <a:gd name="T8" fmla="*/ 65 w 76"/>
                <a:gd name="T9" fmla="*/ 29 h 29"/>
                <a:gd name="T10" fmla="*/ 76 w 76"/>
                <a:gd name="T11" fmla="*/ 13 h 29"/>
                <a:gd name="T12" fmla="*/ 38 w 7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76" h="29">
                  <a:moveTo>
                    <a:pt x="38" y="0"/>
                  </a:moveTo>
                  <a:cubicBezTo>
                    <a:pt x="21" y="0"/>
                    <a:pt x="7" y="7"/>
                    <a:pt x="0" y="13"/>
                  </a:cubicBezTo>
                  <a:cubicBezTo>
                    <a:pt x="13" y="28"/>
                    <a:pt x="13" y="28"/>
                    <a:pt x="13" y="28"/>
                  </a:cubicBezTo>
                  <a:cubicBezTo>
                    <a:pt x="13" y="28"/>
                    <a:pt x="23" y="20"/>
                    <a:pt x="38" y="20"/>
                  </a:cubicBezTo>
                  <a:cubicBezTo>
                    <a:pt x="46" y="20"/>
                    <a:pt x="55" y="22"/>
                    <a:pt x="65" y="29"/>
                  </a:cubicBezTo>
                  <a:cubicBezTo>
                    <a:pt x="76" y="13"/>
                    <a:pt x="76" y="13"/>
                    <a:pt x="76" y="13"/>
                  </a:cubicBezTo>
                  <a:cubicBezTo>
                    <a:pt x="62" y="4"/>
                    <a:pt x="49" y="0"/>
                    <a:pt x="38"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8" name="Freeform 58">
              <a:extLst>
                <a:ext uri="{FF2B5EF4-FFF2-40B4-BE49-F238E27FC236}">
                  <a16:creationId xmlns:a16="http://schemas.microsoft.com/office/drawing/2014/main" id="{FD828221-CF7A-4371-A030-3C95A1A8AB83}"/>
                </a:ext>
              </a:extLst>
            </p:cNvPr>
            <p:cNvSpPr>
              <a:spLocks/>
            </p:cNvSpPr>
            <p:nvPr/>
          </p:nvSpPr>
          <p:spPr bwMode="auto">
            <a:xfrm>
              <a:off x="4965571" y="2149359"/>
              <a:ext cx="215686" cy="68512"/>
            </a:xfrm>
            <a:custGeom>
              <a:avLst/>
              <a:gdLst>
                <a:gd name="T0" fmla="*/ 52 w 104"/>
                <a:gd name="T1" fmla="*/ 0 h 33"/>
                <a:gd name="T2" fmla="*/ 0 w 104"/>
                <a:gd name="T3" fmla="*/ 16 h 33"/>
                <a:gd name="T4" fmla="*/ 11 w 104"/>
                <a:gd name="T5" fmla="*/ 32 h 33"/>
                <a:gd name="T6" fmla="*/ 52 w 104"/>
                <a:gd name="T7" fmla="*/ 20 h 33"/>
                <a:gd name="T8" fmla="*/ 94 w 104"/>
                <a:gd name="T9" fmla="*/ 33 h 33"/>
                <a:gd name="T10" fmla="*/ 104 w 104"/>
                <a:gd name="T11" fmla="*/ 16 h 33"/>
                <a:gd name="T12" fmla="*/ 52 w 10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04" h="33">
                  <a:moveTo>
                    <a:pt x="52" y="0"/>
                  </a:moveTo>
                  <a:cubicBezTo>
                    <a:pt x="22" y="0"/>
                    <a:pt x="1" y="15"/>
                    <a:pt x="0" y="16"/>
                  </a:cubicBezTo>
                  <a:cubicBezTo>
                    <a:pt x="11" y="32"/>
                    <a:pt x="11" y="32"/>
                    <a:pt x="11" y="32"/>
                  </a:cubicBezTo>
                  <a:cubicBezTo>
                    <a:pt x="12" y="31"/>
                    <a:pt x="28" y="20"/>
                    <a:pt x="52" y="20"/>
                  </a:cubicBezTo>
                  <a:cubicBezTo>
                    <a:pt x="64" y="20"/>
                    <a:pt x="79" y="23"/>
                    <a:pt x="94" y="33"/>
                  </a:cubicBezTo>
                  <a:cubicBezTo>
                    <a:pt x="104" y="16"/>
                    <a:pt x="104" y="16"/>
                    <a:pt x="104" y="16"/>
                  </a:cubicBezTo>
                  <a:cubicBezTo>
                    <a:pt x="86" y="4"/>
                    <a:pt x="68" y="0"/>
                    <a:pt x="52"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66" name="TextBox 5">
            <a:extLst>
              <a:ext uri="{FF2B5EF4-FFF2-40B4-BE49-F238E27FC236}">
                <a16:creationId xmlns:a16="http://schemas.microsoft.com/office/drawing/2014/main" id="{3E722CE2-FE94-474F-91D5-3113D8C00471}"/>
              </a:ext>
            </a:extLst>
          </p:cNvPr>
          <p:cNvSpPr txBox="1"/>
          <p:nvPr/>
        </p:nvSpPr>
        <p:spPr>
          <a:xfrm>
            <a:off x="1472849" y="3684610"/>
            <a:ext cx="989373" cy="33855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prstClr val="white"/>
                </a:solidFill>
                <a:sym typeface="+mn-lt"/>
              </a:rPr>
              <a:t>Text here</a:t>
            </a:r>
            <a:endParaRPr kumimoji="0" lang="en-US" sz="1600" b="1" i="0" u="none" strike="noStrike" kern="0" cap="none" spc="0" normalizeH="0" baseline="0" noProof="0" dirty="0">
              <a:ln>
                <a:noFill/>
              </a:ln>
              <a:solidFill>
                <a:prstClr val="white"/>
              </a:solidFill>
              <a:effectLst/>
              <a:uLnTx/>
              <a:uFillTx/>
              <a:sym typeface="+mn-lt"/>
            </a:endParaRPr>
          </a:p>
        </p:txBody>
      </p:sp>
      <p:sp>
        <p:nvSpPr>
          <p:cNvPr id="67" name="TextBox 6">
            <a:extLst>
              <a:ext uri="{FF2B5EF4-FFF2-40B4-BE49-F238E27FC236}">
                <a16:creationId xmlns:a16="http://schemas.microsoft.com/office/drawing/2014/main" id="{AECF93DD-76AC-4B25-9EE2-210DEFCBF298}"/>
              </a:ext>
            </a:extLst>
          </p:cNvPr>
          <p:cNvSpPr txBox="1"/>
          <p:nvPr/>
        </p:nvSpPr>
        <p:spPr>
          <a:xfrm>
            <a:off x="1659595" y="3500444"/>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1</a:t>
            </a:r>
          </a:p>
        </p:txBody>
      </p:sp>
      <p:sp>
        <p:nvSpPr>
          <p:cNvPr id="68" name="TextBox 67">
            <a:extLst>
              <a:ext uri="{FF2B5EF4-FFF2-40B4-BE49-F238E27FC236}">
                <a16:creationId xmlns:a16="http://schemas.microsoft.com/office/drawing/2014/main" id="{520E09D0-7A35-484E-B2EA-0093DC16735E}"/>
              </a:ext>
            </a:extLst>
          </p:cNvPr>
          <p:cNvSpPr txBox="1"/>
          <p:nvPr/>
        </p:nvSpPr>
        <p:spPr>
          <a:xfrm>
            <a:off x="3425442" y="3684610"/>
            <a:ext cx="989373" cy="338554"/>
          </a:xfrm>
          <a:prstGeom prst="rect">
            <a:avLst/>
          </a:prstGeom>
          <a:noFill/>
        </p:spPr>
        <p:txBody>
          <a:bodyPr wrap="none" rtlCol="0">
            <a:spAutoFit/>
          </a:bodyPr>
          <a:lstStyle/>
          <a:p>
            <a:pPr lvl="0" algn="ctr" defTabSz="914400">
              <a:defRPr/>
            </a:pPr>
            <a:r>
              <a:rPr lang="en-US" altLang="zh-CN" sz="1600" b="1" kern="0" dirty="0">
                <a:solidFill>
                  <a:prstClr val="white"/>
                </a:solidFill>
                <a:sym typeface="+mn-lt"/>
              </a:rPr>
              <a:t>Text here</a:t>
            </a:r>
          </a:p>
        </p:txBody>
      </p:sp>
      <p:sp>
        <p:nvSpPr>
          <p:cNvPr id="69" name="TextBox 68">
            <a:extLst>
              <a:ext uri="{FF2B5EF4-FFF2-40B4-BE49-F238E27FC236}">
                <a16:creationId xmlns:a16="http://schemas.microsoft.com/office/drawing/2014/main" id="{68D50BE7-1F86-4AEC-B142-FB777B449BF4}"/>
              </a:ext>
            </a:extLst>
          </p:cNvPr>
          <p:cNvSpPr txBox="1"/>
          <p:nvPr/>
        </p:nvSpPr>
        <p:spPr>
          <a:xfrm>
            <a:off x="3612190" y="3500444"/>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sym typeface="+mn-lt"/>
              </a:rPr>
              <a:t>Step 02</a:t>
            </a:r>
          </a:p>
        </p:txBody>
      </p:sp>
      <p:sp>
        <p:nvSpPr>
          <p:cNvPr id="70" name="TextBox 69">
            <a:extLst>
              <a:ext uri="{FF2B5EF4-FFF2-40B4-BE49-F238E27FC236}">
                <a16:creationId xmlns:a16="http://schemas.microsoft.com/office/drawing/2014/main" id="{3FDE498E-D8AF-4EFA-92B0-28A99B315907}"/>
              </a:ext>
            </a:extLst>
          </p:cNvPr>
          <p:cNvSpPr txBox="1"/>
          <p:nvPr/>
        </p:nvSpPr>
        <p:spPr>
          <a:xfrm>
            <a:off x="5361543" y="3684610"/>
            <a:ext cx="989373" cy="338554"/>
          </a:xfrm>
          <a:prstGeom prst="rect">
            <a:avLst/>
          </a:prstGeom>
          <a:noFill/>
        </p:spPr>
        <p:txBody>
          <a:bodyPr wrap="none" rtlCol="0">
            <a:spAutoFit/>
          </a:bodyPr>
          <a:lstStyle/>
          <a:p>
            <a:pPr lvl="0" algn="ctr" defTabSz="914400">
              <a:defRPr/>
            </a:pPr>
            <a:r>
              <a:rPr lang="en-US" altLang="zh-CN" sz="1600" b="1" kern="0" dirty="0">
                <a:solidFill>
                  <a:prstClr val="white"/>
                </a:solidFill>
                <a:sym typeface="+mn-lt"/>
              </a:rPr>
              <a:t>Text here</a:t>
            </a:r>
          </a:p>
        </p:txBody>
      </p:sp>
      <p:sp>
        <p:nvSpPr>
          <p:cNvPr id="71" name="TextBox 70">
            <a:extLst>
              <a:ext uri="{FF2B5EF4-FFF2-40B4-BE49-F238E27FC236}">
                <a16:creationId xmlns:a16="http://schemas.microsoft.com/office/drawing/2014/main" id="{085933D5-5481-45D3-8381-8A6BE3E9ED75}"/>
              </a:ext>
            </a:extLst>
          </p:cNvPr>
          <p:cNvSpPr txBox="1"/>
          <p:nvPr/>
        </p:nvSpPr>
        <p:spPr>
          <a:xfrm>
            <a:off x="5548291" y="3500444"/>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3</a:t>
            </a:r>
          </a:p>
        </p:txBody>
      </p:sp>
      <p:sp>
        <p:nvSpPr>
          <p:cNvPr id="72" name="Oval 47">
            <a:extLst>
              <a:ext uri="{FF2B5EF4-FFF2-40B4-BE49-F238E27FC236}">
                <a16:creationId xmlns:a16="http://schemas.microsoft.com/office/drawing/2014/main" id="{7F279DF8-41D4-433D-B5FA-E36ED11B8ACC}"/>
              </a:ext>
            </a:extLst>
          </p:cNvPr>
          <p:cNvSpPr/>
          <p:nvPr/>
        </p:nvSpPr>
        <p:spPr>
          <a:xfrm>
            <a:off x="7905493" y="2118206"/>
            <a:ext cx="389257" cy="389257"/>
          </a:xfrm>
          <a:prstGeom prst="ellipse">
            <a:avLst/>
          </a:prstGeom>
          <a:solidFill>
            <a:schemeClr val="accent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cs typeface="+mn-cs"/>
                <a:sym typeface="+mn-lt"/>
              </a:rPr>
              <a:t>1</a:t>
            </a:r>
          </a:p>
        </p:txBody>
      </p:sp>
      <p:sp>
        <p:nvSpPr>
          <p:cNvPr id="74" name="TextBox 77">
            <a:extLst>
              <a:ext uri="{FF2B5EF4-FFF2-40B4-BE49-F238E27FC236}">
                <a16:creationId xmlns:a16="http://schemas.microsoft.com/office/drawing/2014/main" id="{D977DDFE-9686-4063-8172-C7BA6FCCBB22}"/>
              </a:ext>
            </a:extLst>
          </p:cNvPr>
          <p:cNvSpPr txBox="1"/>
          <p:nvPr/>
        </p:nvSpPr>
        <p:spPr>
          <a:xfrm flipH="1">
            <a:off x="9170494" y="2217871"/>
            <a:ext cx="1952187" cy="492443"/>
          </a:xfrm>
          <a:prstGeom prst="rect">
            <a:avLst/>
          </a:prstGeom>
          <a:noFill/>
        </p:spPr>
        <p:txBody>
          <a:bodyPr wrap="square" rtlCol="0">
            <a:spAutoFit/>
          </a:bodyPr>
          <a:lstStyle/>
          <a:p>
            <a:pPr defTabSz="914400">
              <a:defRPr/>
            </a:pPr>
            <a:r>
              <a:rPr lang="en-US" altLang="zh-CN" sz="1300" kern="0" dirty="0">
                <a:solidFill>
                  <a:schemeClr val="tx1">
                    <a:lumMod val="75000"/>
                    <a:lumOff val="25000"/>
                  </a:schemeClr>
                </a:solidFill>
                <a:sym typeface="+mn-lt"/>
              </a:rPr>
              <a:t>Text here, text here, Text here, text here, Text here, </a:t>
            </a:r>
          </a:p>
        </p:txBody>
      </p:sp>
      <p:sp>
        <p:nvSpPr>
          <p:cNvPr id="75" name="TextBox 78">
            <a:extLst>
              <a:ext uri="{FF2B5EF4-FFF2-40B4-BE49-F238E27FC236}">
                <a16:creationId xmlns:a16="http://schemas.microsoft.com/office/drawing/2014/main" id="{5A87BAF6-4EEC-4D8E-B6F9-C82A9C91C19D}"/>
              </a:ext>
            </a:extLst>
          </p:cNvPr>
          <p:cNvSpPr txBox="1"/>
          <p:nvPr/>
        </p:nvSpPr>
        <p:spPr>
          <a:xfrm flipH="1">
            <a:off x="9170494" y="1947898"/>
            <a:ext cx="989373" cy="338554"/>
          </a:xfrm>
          <a:prstGeom prst="rect">
            <a:avLst/>
          </a:prstGeom>
          <a:noFill/>
        </p:spPr>
        <p:txBody>
          <a:bodyPr wrap="none" rtlCol="0">
            <a:spAutoFit/>
          </a:bodyPr>
          <a:lstStyle/>
          <a:p>
            <a:pPr lvl="0">
              <a:defRPr/>
            </a:pPr>
            <a:r>
              <a:rPr lang="en-US" sz="1600" b="1" kern="0" dirty="0">
                <a:solidFill>
                  <a:schemeClr val="tx1">
                    <a:lumMod val="75000"/>
                    <a:lumOff val="25000"/>
                  </a:schemeClr>
                </a:solidFill>
                <a:sym typeface="+mn-lt"/>
              </a:rPr>
              <a:t>Text here</a:t>
            </a:r>
          </a:p>
        </p:txBody>
      </p:sp>
      <p:sp>
        <p:nvSpPr>
          <p:cNvPr id="77" name="Oval 82">
            <a:extLst>
              <a:ext uri="{FF2B5EF4-FFF2-40B4-BE49-F238E27FC236}">
                <a16:creationId xmlns:a16="http://schemas.microsoft.com/office/drawing/2014/main" id="{ACD36FB9-F2A3-41A2-B73F-2F1FA00B1B30}"/>
              </a:ext>
            </a:extLst>
          </p:cNvPr>
          <p:cNvSpPr/>
          <p:nvPr/>
        </p:nvSpPr>
        <p:spPr>
          <a:xfrm>
            <a:off x="7905493" y="3288277"/>
            <a:ext cx="389257" cy="389257"/>
          </a:xfrm>
          <a:prstGeom prst="ellipse">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cs typeface="+mn-cs"/>
                <a:sym typeface="+mn-lt"/>
              </a:rPr>
              <a:t>2</a:t>
            </a:r>
          </a:p>
        </p:txBody>
      </p:sp>
      <p:sp>
        <p:nvSpPr>
          <p:cNvPr id="78" name="TextBox 85">
            <a:extLst>
              <a:ext uri="{FF2B5EF4-FFF2-40B4-BE49-F238E27FC236}">
                <a16:creationId xmlns:a16="http://schemas.microsoft.com/office/drawing/2014/main" id="{CD1DADEA-5191-46A9-8D3E-F0117555B76F}"/>
              </a:ext>
            </a:extLst>
          </p:cNvPr>
          <p:cNvSpPr txBox="1"/>
          <p:nvPr/>
        </p:nvSpPr>
        <p:spPr>
          <a:xfrm flipH="1">
            <a:off x="9170494" y="3377442"/>
            <a:ext cx="1952187" cy="492443"/>
          </a:xfrm>
          <a:prstGeom prst="rect">
            <a:avLst/>
          </a:prstGeom>
          <a:noFill/>
        </p:spPr>
        <p:txBody>
          <a:bodyPr wrap="square" rtlCol="0">
            <a:spAutoFit/>
          </a:bodyPr>
          <a:lstStyle/>
          <a:p>
            <a:pPr defTabSz="914400">
              <a:defRPr/>
            </a:pPr>
            <a:r>
              <a:rPr lang="en-US" altLang="zh-CN" sz="1300" kern="0" dirty="0">
                <a:solidFill>
                  <a:schemeClr val="tx1">
                    <a:lumMod val="75000"/>
                    <a:lumOff val="25000"/>
                  </a:schemeClr>
                </a:solidFill>
                <a:sym typeface="+mn-lt"/>
              </a:rPr>
              <a:t>Text here, text here, Text here, text here, Text here, </a:t>
            </a:r>
          </a:p>
        </p:txBody>
      </p:sp>
      <p:sp>
        <p:nvSpPr>
          <p:cNvPr id="79" name="TextBox 86">
            <a:extLst>
              <a:ext uri="{FF2B5EF4-FFF2-40B4-BE49-F238E27FC236}">
                <a16:creationId xmlns:a16="http://schemas.microsoft.com/office/drawing/2014/main" id="{5EE96A73-0225-49CA-A47B-EE8E67DD6E40}"/>
              </a:ext>
            </a:extLst>
          </p:cNvPr>
          <p:cNvSpPr txBox="1"/>
          <p:nvPr/>
        </p:nvSpPr>
        <p:spPr>
          <a:xfrm flipH="1">
            <a:off x="9170494" y="3107469"/>
            <a:ext cx="989373" cy="338554"/>
          </a:xfrm>
          <a:prstGeom prst="rect">
            <a:avLst/>
          </a:prstGeom>
          <a:noFill/>
        </p:spPr>
        <p:txBody>
          <a:bodyPr wrap="none" rtlCol="0">
            <a:spAutoFit/>
          </a:bodyPr>
          <a:lstStyle/>
          <a:p>
            <a:pPr lvl="0">
              <a:defRPr/>
            </a:pPr>
            <a:r>
              <a:rPr lang="en-US" sz="1600" b="1" kern="0" dirty="0">
                <a:solidFill>
                  <a:schemeClr val="tx1">
                    <a:lumMod val="75000"/>
                    <a:lumOff val="25000"/>
                  </a:schemeClr>
                </a:solidFill>
                <a:sym typeface="+mn-lt"/>
              </a:rPr>
              <a:t>Text here</a:t>
            </a:r>
          </a:p>
        </p:txBody>
      </p:sp>
      <p:sp>
        <p:nvSpPr>
          <p:cNvPr id="81" name="Oval 88">
            <a:extLst>
              <a:ext uri="{FF2B5EF4-FFF2-40B4-BE49-F238E27FC236}">
                <a16:creationId xmlns:a16="http://schemas.microsoft.com/office/drawing/2014/main" id="{D5B34D9E-03C7-49C2-8A18-62044BC358DE}"/>
              </a:ext>
            </a:extLst>
          </p:cNvPr>
          <p:cNvSpPr/>
          <p:nvPr/>
        </p:nvSpPr>
        <p:spPr>
          <a:xfrm>
            <a:off x="7905493" y="4406591"/>
            <a:ext cx="389257" cy="389257"/>
          </a:xfrm>
          <a:prstGeom prst="ellipse">
            <a:avLst/>
          </a:prstGeom>
          <a:solidFill>
            <a:srgbClr val="97999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cs typeface="+mn-cs"/>
                <a:sym typeface="+mn-lt"/>
              </a:rPr>
              <a:t>3</a:t>
            </a:r>
          </a:p>
        </p:txBody>
      </p:sp>
      <p:sp>
        <p:nvSpPr>
          <p:cNvPr id="82" name="TextBox 91">
            <a:extLst>
              <a:ext uri="{FF2B5EF4-FFF2-40B4-BE49-F238E27FC236}">
                <a16:creationId xmlns:a16="http://schemas.microsoft.com/office/drawing/2014/main" id="{1E62B133-6268-46EB-89EC-6AD679F9B19A}"/>
              </a:ext>
            </a:extLst>
          </p:cNvPr>
          <p:cNvSpPr txBox="1"/>
          <p:nvPr/>
        </p:nvSpPr>
        <p:spPr>
          <a:xfrm flipH="1">
            <a:off x="9170494" y="4537013"/>
            <a:ext cx="1952187" cy="492443"/>
          </a:xfrm>
          <a:prstGeom prst="rect">
            <a:avLst/>
          </a:prstGeom>
          <a:noFill/>
        </p:spPr>
        <p:txBody>
          <a:bodyPr wrap="square" rtlCol="0">
            <a:spAutoFit/>
          </a:bodyPr>
          <a:lstStyle/>
          <a:p>
            <a:pPr defTabSz="914400">
              <a:defRPr/>
            </a:pPr>
            <a:r>
              <a:rPr lang="en-US" altLang="zh-CN" sz="1300" kern="0" dirty="0">
                <a:solidFill>
                  <a:schemeClr val="tx1">
                    <a:lumMod val="75000"/>
                    <a:lumOff val="25000"/>
                  </a:schemeClr>
                </a:solidFill>
                <a:sym typeface="+mn-lt"/>
              </a:rPr>
              <a:t>Text here, text here, Text here, text here, Text here, </a:t>
            </a:r>
          </a:p>
        </p:txBody>
      </p:sp>
      <p:sp>
        <p:nvSpPr>
          <p:cNvPr id="83" name="TextBox 92">
            <a:extLst>
              <a:ext uri="{FF2B5EF4-FFF2-40B4-BE49-F238E27FC236}">
                <a16:creationId xmlns:a16="http://schemas.microsoft.com/office/drawing/2014/main" id="{5778AF0D-793E-4DEA-81CE-AA71674EE0EF}"/>
              </a:ext>
            </a:extLst>
          </p:cNvPr>
          <p:cNvSpPr txBox="1"/>
          <p:nvPr/>
        </p:nvSpPr>
        <p:spPr>
          <a:xfrm flipH="1">
            <a:off x="9170494" y="4267040"/>
            <a:ext cx="989373" cy="338554"/>
          </a:xfrm>
          <a:prstGeom prst="rect">
            <a:avLst/>
          </a:prstGeom>
          <a:noFill/>
        </p:spPr>
        <p:txBody>
          <a:bodyPr wrap="none" rtlCol="0">
            <a:spAutoFit/>
          </a:bodyPr>
          <a:lstStyle/>
          <a:p>
            <a:pPr lvl="0">
              <a:defRPr/>
            </a:pPr>
            <a:r>
              <a:rPr lang="en-US" sz="1600" b="1" kern="0" dirty="0">
                <a:solidFill>
                  <a:schemeClr val="tx1">
                    <a:lumMod val="75000"/>
                    <a:lumOff val="25000"/>
                  </a:schemeClr>
                </a:solidFill>
                <a:sym typeface="+mn-lt"/>
              </a:rPr>
              <a:t>Text here</a:t>
            </a:r>
          </a:p>
        </p:txBody>
      </p:sp>
      <p:grpSp>
        <p:nvGrpSpPr>
          <p:cNvPr id="84" name="Group 872"/>
          <p:cNvGrpSpPr>
            <a:grpSpLocks noChangeAspect="1"/>
          </p:cNvGrpSpPr>
          <p:nvPr/>
        </p:nvGrpSpPr>
        <p:grpSpPr bwMode="auto">
          <a:xfrm>
            <a:off x="1694210" y="2693206"/>
            <a:ext cx="541588" cy="540000"/>
            <a:chOff x="2723" y="3051"/>
            <a:chExt cx="341" cy="340"/>
          </a:xfrm>
          <a:solidFill>
            <a:schemeClr val="bg1"/>
          </a:solidFill>
        </p:grpSpPr>
        <p:sp>
          <p:nvSpPr>
            <p:cNvPr id="85" name="Freeform 873"/>
            <p:cNvSpPr>
              <a:spLocks noEditPoints="1"/>
            </p:cNvSpPr>
            <p:nvPr/>
          </p:nvSpPr>
          <p:spPr bwMode="auto">
            <a:xfrm>
              <a:off x="2723" y="305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874"/>
            <p:cNvSpPr>
              <a:spLocks noEditPoints="1"/>
            </p:cNvSpPr>
            <p:nvPr/>
          </p:nvSpPr>
          <p:spPr bwMode="auto">
            <a:xfrm>
              <a:off x="2786" y="3143"/>
              <a:ext cx="215" cy="170"/>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7" name="Group 286"/>
          <p:cNvGrpSpPr>
            <a:grpSpLocks noChangeAspect="1"/>
          </p:cNvGrpSpPr>
          <p:nvPr/>
        </p:nvGrpSpPr>
        <p:grpSpPr bwMode="auto">
          <a:xfrm>
            <a:off x="3648403" y="2700759"/>
            <a:ext cx="540000" cy="540000"/>
            <a:chOff x="2962" y="2267"/>
            <a:chExt cx="340" cy="340"/>
          </a:xfrm>
          <a:solidFill>
            <a:schemeClr val="bg1"/>
          </a:solidFill>
        </p:grpSpPr>
        <p:sp>
          <p:nvSpPr>
            <p:cNvPr id="88" name="Freeform 287"/>
            <p:cNvSpPr>
              <a:spLocks noEditPoints="1"/>
            </p:cNvSpPr>
            <p:nvPr/>
          </p:nvSpPr>
          <p:spPr bwMode="auto">
            <a:xfrm>
              <a:off x="3032" y="2331"/>
              <a:ext cx="199" cy="184"/>
            </a:xfrm>
            <a:custGeom>
              <a:avLst/>
              <a:gdLst>
                <a:gd name="T0" fmla="*/ 11 w 299"/>
                <a:gd name="T1" fmla="*/ 149 h 277"/>
                <a:gd name="T2" fmla="*/ 32 w 299"/>
                <a:gd name="T3" fmla="*/ 128 h 277"/>
                <a:gd name="T4" fmla="*/ 11 w 299"/>
                <a:gd name="T5" fmla="*/ 170 h 277"/>
                <a:gd name="T6" fmla="*/ 32 w 299"/>
                <a:gd name="T7" fmla="*/ 192 h 277"/>
                <a:gd name="T8" fmla="*/ 32 w 299"/>
                <a:gd name="T9" fmla="*/ 213 h 277"/>
                <a:gd name="T10" fmla="*/ 11 w 299"/>
                <a:gd name="T11" fmla="*/ 234 h 277"/>
                <a:gd name="T12" fmla="*/ 32 w 299"/>
                <a:gd name="T13" fmla="*/ 213 h 277"/>
                <a:gd name="T14" fmla="*/ 0 w 299"/>
                <a:gd name="T15" fmla="*/ 266 h 277"/>
                <a:gd name="T16" fmla="*/ 43 w 299"/>
                <a:gd name="T17" fmla="*/ 266 h 277"/>
                <a:gd name="T18" fmla="*/ 96 w 299"/>
                <a:gd name="T19" fmla="*/ 170 h 277"/>
                <a:gd name="T20" fmla="*/ 118 w 299"/>
                <a:gd name="T21" fmla="*/ 192 h 277"/>
                <a:gd name="T22" fmla="*/ 118 w 299"/>
                <a:gd name="T23" fmla="*/ 213 h 277"/>
                <a:gd name="T24" fmla="*/ 96 w 299"/>
                <a:gd name="T25" fmla="*/ 234 h 277"/>
                <a:gd name="T26" fmla="*/ 118 w 299"/>
                <a:gd name="T27" fmla="*/ 213 h 277"/>
                <a:gd name="T28" fmla="*/ 86 w 299"/>
                <a:gd name="T29" fmla="*/ 266 h 277"/>
                <a:gd name="T30" fmla="*/ 128 w 299"/>
                <a:gd name="T31" fmla="*/ 266 h 277"/>
                <a:gd name="T32" fmla="*/ 182 w 299"/>
                <a:gd name="T33" fmla="*/ 170 h 277"/>
                <a:gd name="T34" fmla="*/ 203 w 299"/>
                <a:gd name="T35" fmla="*/ 192 h 277"/>
                <a:gd name="T36" fmla="*/ 203 w 299"/>
                <a:gd name="T37" fmla="*/ 213 h 277"/>
                <a:gd name="T38" fmla="*/ 182 w 299"/>
                <a:gd name="T39" fmla="*/ 234 h 277"/>
                <a:gd name="T40" fmla="*/ 203 w 299"/>
                <a:gd name="T41" fmla="*/ 213 h 277"/>
                <a:gd name="T42" fmla="*/ 171 w 299"/>
                <a:gd name="T43" fmla="*/ 266 h 277"/>
                <a:gd name="T44" fmla="*/ 214 w 299"/>
                <a:gd name="T45" fmla="*/ 266 h 277"/>
                <a:gd name="T46" fmla="*/ 182 w 299"/>
                <a:gd name="T47" fmla="*/ 42 h 277"/>
                <a:gd name="T48" fmla="*/ 203 w 299"/>
                <a:gd name="T49" fmla="*/ 64 h 277"/>
                <a:gd name="T50" fmla="*/ 203 w 299"/>
                <a:gd name="T51" fmla="*/ 85 h 277"/>
                <a:gd name="T52" fmla="*/ 182 w 299"/>
                <a:gd name="T53" fmla="*/ 106 h 277"/>
                <a:gd name="T54" fmla="*/ 203 w 299"/>
                <a:gd name="T55" fmla="*/ 85 h 277"/>
                <a:gd name="T56" fmla="*/ 171 w 299"/>
                <a:gd name="T57" fmla="*/ 138 h 277"/>
                <a:gd name="T58" fmla="*/ 214 w 299"/>
                <a:gd name="T59" fmla="*/ 138 h 277"/>
                <a:gd name="T60" fmla="*/ 182 w 299"/>
                <a:gd name="T61" fmla="*/ 0 h 277"/>
                <a:gd name="T62" fmla="*/ 203 w 299"/>
                <a:gd name="T63" fmla="*/ 21 h 277"/>
                <a:gd name="T64" fmla="*/ 288 w 299"/>
                <a:gd name="T65" fmla="*/ 170 h 277"/>
                <a:gd name="T66" fmla="*/ 267 w 299"/>
                <a:gd name="T67" fmla="*/ 192 h 277"/>
                <a:gd name="T68" fmla="*/ 288 w 299"/>
                <a:gd name="T69" fmla="*/ 170 h 277"/>
                <a:gd name="T70" fmla="*/ 256 w 299"/>
                <a:gd name="T71" fmla="*/ 224 h 277"/>
                <a:gd name="T72" fmla="*/ 299 w 299"/>
                <a:gd name="T73" fmla="*/ 224 h 277"/>
                <a:gd name="T74" fmla="*/ 267 w 299"/>
                <a:gd name="T75" fmla="*/ 256 h 277"/>
                <a:gd name="T76" fmla="*/ 288 w 299"/>
                <a:gd name="T77" fmla="*/ 277 h 277"/>
                <a:gd name="T78" fmla="*/ 267 w 299"/>
                <a:gd name="T79" fmla="*/ 106 h 277"/>
                <a:gd name="T80" fmla="*/ 288 w 299"/>
                <a:gd name="T81" fmla="*/ 85 h 277"/>
                <a:gd name="T82" fmla="*/ 267 w 299"/>
                <a:gd name="T83" fmla="*/ 106 h 277"/>
                <a:gd name="T84" fmla="*/ 256 w 299"/>
                <a:gd name="T85" fmla="*/ 138 h 277"/>
                <a:gd name="T86" fmla="*/ 299 w 299"/>
                <a:gd name="T87"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9" h="277">
                  <a:moveTo>
                    <a:pt x="43" y="138"/>
                  </a:moveTo>
                  <a:cubicBezTo>
                    <a:pt x="43" y="144"/>
                    <a:pt x="38" y="149"/>
                    <a:pt x="32" y="149"/>
                  </a:cubicBezTo>
                  <a:cubicBezTo>
                    <a:pt x="11" y="149"/>
                    <a:pt x="11" y="149"/>
                    <a:pt x="11" y="149"/>
                  </a:cubicBezTo>
                  <a:cubicBezTo>
                    <a:pt x="5" y="149"/>
                    <a:pt x="0" y="144"/>
                    <a:pt x="0" y="138"/>
                  </a:cubicBezTo>
                  <a:cubicBezTo>
                    <a:pt x="0" y="132"/>
                    <a:pt x="5" y="128"/>
                    <a:pt x="11" y="128"/>
                  </a:cubicBezTo>
                  <a:cubicBezTo>
                    <a:pt x="32" y="128"/>
                    <a:pt x="32" y="128"/>
                    <a:pt x="32" y="128"/>
                  </a:cubicBezTo>
                  <a:cubicBezTo>
                    <a:pt x="38" y="128"/>
                    <a:pt x="43" y="132"/>
                    <a:pt x="43" y="138"/>
                  </a:cubicBezTo>
                  <a:close/>
                  <a:moveTo>
                    <a:pt x="32" y="170"/>
                  </a:moveTo>
                  <a:cubicBezTo>
                    <a:pt x="11" y="170"/>
                    <a:pt x="11" y="170"/>
                    <a:pt x="11" y="170"/>
                  </a:cubicBezTo>
                  <a:cubicBezTo>
                    <a:pt x="5" y="170"/>
                    <a:pt x="0" y="175"/>
                    <a:pt x="0" y="181"/>
                  </a:cubicBezTo>
                  <a:cubicBezTo>
                    <a:pt x="0" y="187"/>
                    <a:pt x="5" y="192"/>
                    <a:pt x="11" y="192"/>
                  </a:cubicBezTo>
                  <a:cubicBezTo>
                    <a:pt x="32" y="192"/>
                    <a:pt x="32" y="192"/>
                    <a:pt x="32" y="192"/>
                  </a:cubicBezTo>
                  <a:cubicBezTo>
                    <a:pt x="38" y="192"/>
                    <a:pt x="43" y="187"/>
                    <a:pt x="43" y="181"/>
                  </a:cubicBezTo>
                  <a:cubicBezTo>
                    <a:pt x="43" y="175"/>
                    <a:pt x="38" y="170"/>
                    <a:pt x="32" y="170"/>
                  </a:cubicBezTo>
                  <a:close/>
                  <a:moveTo>
                    <a:pt x="32" y="213"/>
                  </a:moveTo>
                  <a:cubicBezTo>
                    <a:pt x="11" y="213"/>
                    <a:pt x="11" y="213"/>
                    <a:pt x="11" y="213"/>
                  </a:cubicBezTo>
                  <a:cubicBezTo>
                    <a:pt x="5" y="213"/>
                    <a:pt x="0" y="218"/>
                    <a:pt x="0" y="224"/>
                  </a:cubicBezTo>
                  <a:cubicBezTo>
                    <a:pt x="0" y="230"/>
                    <a:pt x="5" y="234"/>
                    <a:pt x="11" y="234"/>
                  </a:cubicBezTo>
                  <a:cubicBezTo>
                    <a:pt x="32" y="234"/>
                    <a:pt x="32" y="234"/>
                    <a:pt x="32" y="234"/>
                  </a:cubicBezTo>
                  <a:cubicBezTo>
                    <a:pt x="38" y="234"/>
                    <a:pt x="43" y="230"/>
                    <a:pt x="43" y="224"/>
                  </a:cubicBezTo>
                  <a:cubicBezTo>
                    <a:pt x="43" y="218"/>
                    <a:pt x="38" y="213"/>
                    <a:pt x="32" y="213"/>
                  </a:cubicBezTo>
                  <a:close/>
                  <a:moveTo>
                    <a:pt x="32" y="256"/>
                  </a:moveTo>
                  <a:cubicBezTo>
                    <a:pt x="11" y="256"/>
                    <a:pt x="11" y="256"/>
                    <a:pt x="11" y="256"/>
                  </a:cubicBezTo>
                  <a:cubicBezTo>
                    <a:pt x="5" y="256"/>
                    <a:pt x="0" y="260"/>
                    <a:pt x="0" y="266"/>
                  </a:cubicBezTo>
                  <a:cubicBezTo>
                    <a:pt x="0" y="272"/>
                    <a:pt x="5" y="277"/>
                    <a:pt x="11" y="277"/>
                  </a:cubicBezTo>
                  <a:cubicBezTo>
                    <a:pt x="32" y="277"/>
                    <a:pt x="32" y="277"/>
                    <a:pt x="32" y="277"/>
                  </a:cubicBezTo>
                  <a:cubicBezTo>
                    <a:pt x="38" y="277"/>
                    <a:pt x="43" y="272"/>
                    <a:pt x="43" y="266"/>
                  </a:cubicBezTo>
                  <a:cubicBezTo>
                    <a:pt x="43" y="260"/>
                    <a:pt x="38" y="256"/>
                    <a:pt x="32" y="256"/>
                  </a:cubicBezTo>
                  <a:close/>
                  <a:moveTo>
                    <a:pt x="118" y="170"/>
                  </a:moveTo>
                  <a:cubicBezTo>
                    <a:pt x="96" y="170"/>
                    <a:pt x="96" y="170"/>
                    <a:pt x="96" y="170"/>
                  </a:cubicBezTo>
                  <a:cubicBezTo>
                    <a:pt x="90" y="170"/>
                    <a:pt x="86" y="175"/>
                    <a:pt x="86" y="181"/>
                  </a:cubicBezTo>
                  <a:cubicBezTo>
                    <a:pt x="86" y="187"/>
                    <a:pt x="90" y="192"/>
                    <a:pt x="96" y="192"/>
                  </a:cubicBezTo>
                  <a:cubicBezTo>
                    <a:pt x="118" y="192"/>
                    <a:pt x="118" y="192"/>
                    <a:pt x="118" y="192"/>
                  </a:cubicBezTo>
                  <a:cubicBezTo>
                    <a:pt x="124" y="192"/>
                    <a:pt x="128" y="187"/>
                    <a:pt x="128" y="181"/>
                  </a:cubicBezTo>
                  <a:cubicBezTo>
                    <a:pt x="128" y="175"/>
                    <a:pt x="124" y="170"/>
                    <a:pt x="118" y="170"/>
                  </a:cubicBezTo>
                  <a:close/>
                  <a:moveTo>
                    <a:pt x="118" y="213"/>
                  </a:moveTo>
                  <a:cubicBezTo>
                    <a:pt x="96" y="213"/>
                    <a:pt x="96" y="213"/>
                    <a:pt x="96" y="213"/>
                  </a:cubicBezTo>
                  <a:cubicBezTo>
                    <a:pt x="90" y="213"/>
                    <a:pt x="86" y="218"/>
                    <a:pt x="86" y="224"/>
                  </a:cubicBezTo>
                  <a:cubicBezTo>
                    <a:pt x="86" y="230"/>
                    <a:pt x="90" y="234"/>
                    <a:pt x="96" y="234"/>
                  </a:cubicBezTo>
                  <a:cubicBezTo>
                    <a:pt x="118" y="234"/>
                    <a:pt x="118" y="234"/>
                    <a:pt x="118" y="234"/>
                  </a:cubicBezTo>
                  <a:cubicBezTo>
                    <a:pt x="124" y="234"/>
                    <a:pt x="128" y="230"/>
                    <a:pt x="128" y="224"/>
                  </a:cubicBezTo>
                  <a:cubicBezTo>
                    <a:pt x="128" y="218"/>
                    <a:pt x="124" y="213"/>
                    <a:pt x="118" y="213"/>
                  </a:cubicBezTo>
                  <a:close/>
                  <a:moveTo>
                    <a:pt x="118" y="256"/>
                  </a:moveTo>
                  <a:cubicBezTo>
                    <a:pt x="96" y="256"/>
                    <a:pt x="96" y="256"/>
                    <a:pt x="96" y="256"/>
                  </a:cubicBezTo>
                  <a:cubicBezTo>
                    <a:pt x="90" y="256"/>
                    <a:pt x="86" y="260"/>
                    <a:pt x="86" y="266"/>
                  </a:cubicBezTo>
                  <a:cubicBezTo>
                    <a:pt x="86" y="272"/>
                    <a:pt x="90" y="277"/>
                    <a:pt x="96" y="277"/>
                  </a:cubicBezTo>
                  <a:cubicBezTo>
                    <a:pt x="118" y="277"/>
                    <a:pt x="118" y="277"/>
                    <a:pt x="118" y="277"/>
                  </a:cubicBezTo>
                  <a:cubicBezTo>
                    <a:pt x="124" y="277"/>
                    <a:pt x="128" y="272"/>
                    <a:pt x="128" y="266"/>
                  </a:cubicBezTo>
                  <a:cubicBezTo>
                    <a:pt x="128" y="260"/>
                    <a:pt x="124" y="256"/>
                    <a:pt x="118" y="256"/>
                  </a:cubicBezTo>
                  <a:close/>
                  <a:moveTo>
                    <a:pt x="203" y="170"/>
                  </a:moveTo>
                  <a:cubicBezTo>
                    <a:pt x="182" y="170"/>
                    <a:pt x="182" y="170"/>
                    <a:pt x="182" y="170"/>
                  </a:cubicBezTo>
                  <a:cubicBezTo>
                    <a:pt x="176" y="170"/>
                    <a:pt x="171" y="175"/>
                    <a:pt x="171" y="181"/>
                  </a:cubicBezTo>
                  <a:cubicBezTo>
                    <a:pt x="171" y="187"/>
                    <a:pt x="176" y="192"/>
                    <a:pt x="182" y="192"/>
                  </a:cubicBezTo>
                  <a:cubicBezTo>
                    <a:pt x="203" y="192"/>
                    <a:pt x="203" y="192"/>
                    <a:pt x="203" y="192"/>
                  </a:cubicBezTo>
                  <a:cubicBezTo>
                    <a:pt x="209" y="192"/>
                    <a:pt x="214" y="187"/>
                    <a:pt x="214" y="181"/>
                  </a:cubicBezTo>
                  <a:cubicBezTo>
                    <a:pt x="214" y="175"/>
                    <a:pt x="209" y="170"/>
                    <a:pt x="203" y="170"/>
                  </a:cubicBezTo>
                  <a:close/>
                  <a:moveTo>
                    <a:pt x="203" y="213"/>
                  </a:moveTo>
                  <a:cubicBezTo>
                    <a:pt x="182" y="213"/>
                    <a:pt x="182" y="213"/>
                    <a:pt x="182" y="213"/>
                  </a:cubicBezTo>
                  <a:cubicBezTo>
                    <a:pt x="176" y="213"/>
                    <a:pt x="171" y="218"/>
                    <a:pt x="171" y="224"/>
                  </a:cubicBezTo>
                  <a:cubicBezTo>
                    <a:pt x="171" y="230"/>
                    <a:pt x="176" y="234"/>
                    <a:pt x="182" y="234"/>
                  </a:cubicBezTo>
                  <a:cubicBezTo>
                    <a:pt x="203" y="234"/>
                    <a:pt x="203" y="234"/>
                    <a:pt x="203" y="234"/>
                  </a:cubicBezTo>
                  <a:cubicBezTo>
                    <a:pt x="209" y="234"/>
                    <a:pt x="214" y="230"/>
                    <a:pt x="214" y="224"/>
                  </a:cubicBezTo>
                  <a:cubicBezTo>
                    <a:pt x="214" y="218"/>
                    <a:pt x="209" y="213"/>
                    <a:pt x="203" y="213"/>
                  </a:cubicBezTo>
                  <a:close/>
                  <a:moveTo>
                    <a:pt x="203" y="256"/>
                  </a:moveTo>
                  <a:cubicBezTo>
                    <a:pt x="182" y="256"/>
                    <a:pt x="182" y="256"/>
                    <a:pt x="182" y="256"/>
                  </a:cubicBezTo>
                  <a:cubicBezTo>
                    <a:pt x="176" y="256"/>
                    <a:pt x="171" y="260"/>
                    <a:pt x="171" y="266"/>
                  </a:cubicBezTo>
                  <a:cubicBezTo>
                    <a:pt x="171" y="272"/>
                    <a:pt x="176" y="277"/>
                    <a:pt x="182" y="277"/>
                  </a:cubicBezTo>
                  <a:cubicBezTo>
                    <a:pt x="203" y="277"/>
                    <a:pt x="203" y="277"/>
                    <a:pt x="203" y="277"/>
                  </a:cubicBezTo>
                  <a:cubicBezTo>
                    <a:pt x="209" y="277"/>
                    <a:pt x="214" y="272"/>
                    <a:pt x="214" y="266"/>
                  </a:cubicBezTo>
                  <a:cubicBezTo>
                    <a:pt x="214" y="260"/>
                    <a:pt x="209" y="256"/>
                    <a:pt x="203" y="256"/>
                  </a:cubicBezTo>
                  <a:close/>
                  <a:moveTo>
                    <a:pt x="203" y="42"/>
                  </a:moveTo>
                  <a:cubicBezTo>
                    <a:pt x="182" y="42"/>
                    <a:pt x="182" y="42"/>
                    <a:pt x="182" y="42"/>
                  </a:cubicBezTo>
                  <a:cubicBezTo>
                    <a:pt x="176" y="42"/>
                    <a:pt x="171" y="47"/>
                    <a:pt x="171" y="53"/>
                  </a:cubicBezTo>
                  <a:cubicBezTo>
                    <a:pt x="171" y="59"/>
                    <a:pt x="176" y="64"/>
                    <a:pt x="182" y="64"/>
                  </a:cubicBezTo>
                  <a:cubicBezTo>
                    <a:pt x="203" y="64"/>
                    <a:pt x="203" y="64"/>
                    <a:pt x="203" y="64"/>
                  </a:cubicBezTo>
                  <a:cubicBezTo>
                    <a:pt x="209" y="64"/>
                    <a:pt x="214" y="59"/>
                    <a:pt x="214" y="53"/>
                  </a:cubicBezTo>
                  <a:cubicBezTo>
                    <a:pt x="214" y="47"/>
                    <a:pt x="209" y="42"/>
                    <a:pt x="203" y="42"/>
                  </a:cubicBezTo>
                  <a:close/>
                  <a:moveTo>
                    <a:pt x="203" y="85"/>
                  </a:moveTo>
                  <a:cubicBezTo>
                    <a:pt x="182" y="85"/>
                    <a:pt x="182" y="85"/>
                    <a:pt x="182" y="85"/>
                  </a:cubicBezTo>
                  <a:cubicBezTo>
                    <a:pt x="176" y="85"/>
                    <a:pt x="171" y="90"/>
                    <a:pt x="171" y="96"/>
                  </a:cubicBezTo>
                  <a:cubicBezTo>
                    <a:pt x="171" y="102"/>
                    <a:pt x="176" y="106"/>
                    <a:pt x="182" y="106"/>
                  </a:cubicBezTo>
                  <a:cubicBezTo>
                    <a:pt x="203" y="106"/>
                    <a:pt x="203" y="106"/>
                    <a:pt x="203" y="106"/>
                  </a:cubicBezTo>
                  <a:cubicBezTo>
                    <a:pt x="209" y="106"/>
                    <a:pt x="214" y="102"/>
                    <a:pt x="214" y="96"/>
                  </a:cubicBezTo>
                  <a:cubicBezTo>
                    <a:pt x="214" y="90"/>
                    <a:pt x="209" y="85"/>
                    <a:pt x="203" y="85"/>
                  </a:cubicBezTo>
                  <a:close/>
                  <a:moveTo>
                    <a:pt x="203" y="128"/>
                  </a:moveTo>
                  <a:cubicBezTo>
                    <a:pt x="182" y="128"/>
                    <a:pt x="182" y="128"/>
                    <a:pt x="182" y="128"/>
                  </a:cubicBezTo>
                  <a:cubicBezTo>
                    <a:pt x="176" y="128"/>
                    <a:pt x="171" y="132"/>
                    <a:pt x="171" y="138"/>
                  </a:cubicBezTo>
                  <a:cubicBezTo>
                    <a:pt x="171" y="144"/>
                    <a:pt x="176" y="149"/>
                    <a:pt x="182" y="149"/>
                  </a:cubicBezTo>
                  <a:cubicBezTo>
                    <a:pt x="203" y="149"/>
                    <a:pt x="203" y="149"/>
                    <a:pt x="203" y="149"/>
                  </a:cubicBezTo>
                  <a:cubicBezTo>
                    <a:pt x="209" y="149"/>
                    <a:pt x="214" y="144"/>
                    <a:pt x="214" y="138"/>
                  </a:cubicBezTo>
                  <a:cubicBezTo>
                    <a:pt x="214" y="132"/>
                    <a:pt x="209" y="128"/>
                    <a:pt x="203" y="128"/>
                  </a:cubicBezTo>
                  <a:close/>
                  <a:moveTo>
                    <a:pt x="203" y="0"/>
                  </a:moveTo>
                  <a:cubicBezTo>
                    <a:pt x="182" y="0"/>
                    <a:pt x="182" y="0"/>
                    <a:pt x="182" y="0"/>
                  </a:cubicBezTo>
                  <a:cubicBezTo>
                    <a:pt x="176" y="0"/>
                    <a:pt x="171" y="4"/>
                    <a:pt x="171" y="10"/>
                  </a:cubicBezTo>
                  <a:cubicBezTo>
                    <a:pt x="171" y="16"/>
                    <a:pt x="176" y="21"/>
                    <a:pt x="182" y="21"/>
                  </a:cubicBezTo>
                  <a:cubicBezTo>
                    <a:pt x="203" y="21"/>
                    <a:pt x="203" y="21"/>
                    <a:pt x="203" y="21"/>
                  </a:cubicBezTo>
                  <a:cubicBezTo>
                    <a:pt x="209" y="21"/>
                    <a:pt x="214" y="16"/>
                    <a:pt x="214" y="10"/>
                  </a:cubicBezTo>
                  <a:cubicBezTo>
                    <a:pt x="214" y="4"/>
                    <a:pt x="209" y="0"/>
                    <a:pt x="203" y="0"/>
                  </a:cubicBezTo>
                  <a:close/>
                  <a:moveTo>
                    <a:pt x="288" y="170"/>
                  </a:moveTo>
                  <a:cubicBezTo>
                    <a:pt x="267" y="170"/>
                    <a:pt x="267" y="170"/>
                    <a:pt x="267" y="170"/>
                  </a:cubicBezTo>
                  <a:cubicBezTo>
                    <a:pt x="261" y="170"/>
                    <a:pt x="256" y="175"/>
                    <a:pt x="256" y="181"/>
                  </a:cubicBezTo>
                  <a:cubicBezTo>
                    <a:pt x="256" y="187"/>
                    <a:pt x="261" y="192"/>
                    <a:pt x="267" y="192"/>
                  </a:cubicBezTo>
                  <a:cubicBezTo>
                    <a:pt x="288" y="192"/>
                    <a:pt x="288" y="192"/>
                    <a:pt x="288" y="192"/>
                  </a:cubicBezTo>
                  <a:cubicBezTo>
                    <a:pt x="294" y="192"/>
                    <a:pt x="299" y="187"/>
                    <a:pt x="299" y="181"/>
                  </a:cubicBezTo>
                  <a:cubicBezTo>
                    <a:pt x="299" y="175"/>
                    <a:pt x="294" y="170"/>
                    <a:pt x="288" y="170"/>
                  </a:cubicBezTo>
                  <a:close/>
                  <a:moveTo>
                    <a:pt x="288" y="213"/>
                  </a:moveTo>
                  <a:cubicBezTo>
                    <a:pt x="267" y="213"/>
                    <a:pt x="267" y="213"/>
                    <a:pt x="267" y="213"/>
                  </a:cubicBezTo>
                  <a:cubicBezTo>
                    <a:pt x="261" y="213"/>
                    <a:pt x="256" y="218"/>
                    <a:pt x="256" y="224"/>
                  </a:cubicBezTo>
                  <a:cubicBezTo>
                    <a:pt x="256" y="230"/>
                    <a:pt x="261" y="234"/>
                    <a:pt x="267" y="234"/>
                  </a:cubicBezTo>
                  <a:cubicBezTo>
                    <a:pt x="288" y="234"/>
                    <a:pt x="288" y="234"/>
                    <a:pt x="288" y="234"/>
                  </a:cubicBezTo>
                  <a:cubicBezTo>
                    <a:pt x="294" y="234"/>
                    <a:pt x="299" y="230"/>
                    <a:pt x="299" y="224"/>
                  </a:cubicBezTo>
                  <a:cubicBezTo>
                    <a:pt x="299" y="218"/>
                    <a:pt x="294" y="213"/>
                    <a:pt x="288" y="213"/>
                  </a:cubicBezTo>
                  <a:close/>
                  <a:moveTo>
                    <a:pt x="288" y="256"/>
                  </a:moveTo>
                  <a:cubicBezTo>
                    <a:pt x="267" y="256"/>
                    <a:pt x="267" y="256"/>
                    <a:pt x="267" y="256"/>
                  </a:cubicBezTo>
                  <a:cubicBezTo>
                    <a:pt x="261" y="256"/>
                    <a:pt x="256" y="260"/>
                    <a:pt x="256" y="266"/>
                  </a:cubicBezTo>
                  <a:cubicBezTo>
                    <a:pt x="256" y="272"/>
                    <a:pt x="261" y="277"/>
                    <a:pt x="267" y="277"/>
                  </a:cubicBezTo>
                  <a:cubicBezTo>
                    <a:pt x="288" y="277"/>
                    <a:pt x="288" y="277"/>
                    <a:pt x="288" y="277"/>
                  </a:cubicBezTo>
                  <a:cubicBezTo>
                    <a:pt x="294" y="277"/>
                    <a:pt x="299" y="272"/>
                    <a:pt x="299" y="266"/>
                  </a:cubicBezTo>
                  <a:cubicBezTo>
                    <a:pt x="299" y="260"/>
                    <a:pt x="294" y="256"/>
                    <a:pt x="288" y="256"/>
                  </a:cubicBezTo>
                  <a:close/>
                  <a:moveTo>
                    <a:pt x="267" y="106"/>
                  </a:moveTo>
                  <a:cubicBezTo>
                    <a:pt x="288" y="106"/>
                    <a:pt x="288" y="106"/>
                    <a:pt x="288" y="106"/>
                  </a:cubicBezTo>
                  <a:cubicBezTo>
                    <a:pt x="294" y="106"/>
                    <a:pt x="299" y="102"/>
                    <a:pt x="299" y="96"/>
                  </a:cubicBezTo>
                  <a:cubicBezTo>
                    <a:pt x="299" y="90"/>
                    <a:pt x="294" y="85"/>
                    <a:pt x="288" y="85"/>
                  </a:cubicBezTo>
                  <a:cubicBezTo>
                    <a:pt x="267" y="85"/>
                    <a:pt x="267" y="85"/>
                    <a:pt x="267" y="85"/>
                  </a:cubicBezTo>
                  <a:cubicBezTo>
                    <a:pt x="261" y="85"/>
                    <a:pt x="256" y="90"/>
                    <a:pt x="256" y="96"/>
                  </a:cubicBezTo>
                  <a:cubicBezTo>
                    <a:pt x="256" y="102"/>
                    <a:pt x="261" y="106"/>
                    <a:pt x="267" y="106"/>
                  </a:cubicBezTo>
                  <a:close/>
                  <a:moveTo>
                    <a:pt x="288" y="128"/>
                  </a:moveTo>
                  <a:cubicBezTo>
                    <a:pt x="267" y="128"/>
                    <a:pt x="267" y="128"/>
                    <a:pt x="267" y="128"/>
                  </a:cubicBezTo>
                  <a:cubicBezTo>
                    <a:pt x="261" y="128"/>
                    <a:pt x="256" y="132"/>
                    <a:pt x="256" y="138"/>
                  </a:cubicBezTo>
                  <a:cubicBezTo>
                    <a:pt x="256" y="144"/>
                    <a:pt x="261" y="149"/>
                    <a:pt x="267" y="149"/>
                  </a:cubicBezTo>
                  <a:cubicBezTo>
                    <a:pt x="288" y="149"/>
                    <a:pt x="288" y="149"/>
                    <a:pt x="288" y="149"/>
                  </a:cubicBezTo>
                  <a:cubicBezTo>
                    <a:pt x="294" y="149"/>
                    <a:pt x="299" y="144"/>
                    <a:pt x="299" y="138"/>
                  </a:cubicBezTo>
                  <a:cubicBezTo>
                    <a:pt x="299" y="132"/>
                    <a:pt x="294" y="128"/>
                    <a:pt x="288" y="12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288"/>
            <p:cNvSpPr>
              <a:spLocks noEditPoints="1"/>
            </p:cNvSpPr>
            <p:nvPr/>
          </p:nvSpPr>
          <p:spPr bwMode="auto">
            <a:xfrm>
              <a:off x="2962" y="22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0" name="Group 974"/>
          <p:cNvGrpSpPr>
            <a:grpSpLocks noChangeAspect="1"/>
          </p:cNvGrpSpPr>
          <p:nvPr/>
        </p:nvGrpSpPr>
        <p:grpSpPr bwMode="auto">
          <a:xfrm>
            <a:off x="5595355" y="2669451"/>
            <a:ext cx="540000" cy="540000"/>
            <a:chOff x="3511" y="3902"/>
            <a:chExt cx="340" cy="340"/>
          </a:xfrm>
          <a:solidFill>
            <a:schemeClr val="bg1"/>
          </a:solidFill>
        </p:grpSpPr>
        <p:sp>
          <p:nvSpPr>
            <p:cNvPr id="91" name="Freeform 299"/>
            <p:cNvSpPr>
              <a:spLocks noEditPoints="1"/>
            </p:cNvSpPr>
            <p:nvPr/>
          </p:nvSpPr>
          <p:spPr bwMode="auto">
            <a:xfrm>
              <a:off x="3579" y="3969"/>
              <a:ext cx="194" cy="195"/>
            </a:xfrm>
            <a:custGeom>
              <a:avLst/>
              <a:gdLst>
                <a:gd name="T0" fmla="*/ 90 w 292"/>
                <a:gd name="T1" fmla="*/ 123 h 293"/>
                <a:gd name="T2" fmla="*/ 100 w 292"/>
                <a:gd name="T3" fmla="*/ 119 h 293"/>
                <a:gd name="T4" fmla="*/ 171 w 292"/>
                <a:gd name="T5" fmla="*/ 95 h 293"/>
                <a:gd name="T6" fmla="*/ 242 w 292"/>
                <a:gd name="T7" fmla="*/ 70 h 293"/>
                <a:gd name="T8" fmla="*/ 271 w 292"/>
                <a:gd name="T9" fmla="*/ 57 h 293"/>
                <a:gd name="T10" fmla="*/ 258 w 292"/>
                <a:gd name="T11" fmla="*/ 9 h 293"/>
                <a:gd name="T12" fmla="*/ 8 w 292"/>
                <a:gd name="T13" fmla="*/ 83 h 293"/>
                <a:gd name="T14" fmla="*/ 15 w 292"/>
                <a:gd name="T15" fmla="*/ 135 h 293"/>
                <a:gd name="T16" fmla="*/ 26 w 292"/>
                <a:gd name="T17" fmla="*/ 293 h 293"/>
                <a:gd name="T18" fmla="*/ 292 w 292"/>
                <a:gd name="T19" fmla="*/ 283 h 293"/>
                <a:gd name="T20" fmla="*/ 282 w 292"/>
                <a:gd name="T21" fmla="*/ 123 h 293"/>
                <a:gd name="T22" fmla="*/ 254 w 292"/>
                <a:gd name="T23" fmla="*/ 165 h 293"/>
                <a:gd name="T24" fmla="*/ 271 w 292"/>
                <a:gd name="T25" fmla="*/ 144 h 293"/>
                <a:gd name="T26" fmla="*/ 179 w 292"/>
                <a:gd name="T27" fmla="*/ 165 h 293"/>
                <a:gd name="T28" fmla="*/ 203 w 292"/>
                <a:gd name="T29" fmla="*/ 144 h 293"/>
                <a:gd name="T30" fmla="*/ 179 w 292"/>
                <a:gd name="T31" fmla="*/ 165 h 293"/>
                <a:gd name="T32" fmla="*/ 83 w 292"/>
                <a:gd name="T33" fmla="*/ 144 h 293"/>
                <a:gd name="T34" fmla="*/ 149 w 292"/>
                <a:gd name="T35" fmla="*/ 165 h 293"/>
                <a:gd name="T36" fmla="*/ 36 w 292"/>
                <a:gd name="T37" fmla="*/ 144 h 293"/>
                <a:gd name="T38" fmla="*/ 75 w 292"/>
                <a:gd name="T39" fmla="*/ 165 h 293"/>
                <a:gd name="T40" fmla="*/ 36 w 292"/>
                <a:gd name="T41" fmla="*/ 144 h 293"/>
                <a:gd name="T42" fmla="*/ 139 w 292"/>
                <a:gd name="T43" fmla="*/ 83 h 293"/>
                <a:gd name="T44" fmla="*/ 70 w 292"/>
                <a:gd name="T45" fmla="*/ 84 h 293"/>
                <a:gd name="T46" fmla="*/ 183 w 292"/>
                <a:gd name="T47" fmla="*/ 46 h 293"/>
                <a:gd name="T48" fmla="*/ 168 w 292"/>
                <a:gd name="T49" fmla="*/ 73 h 293"/>
                <a:gd name="T50" fmla="*/ 183 w 292"/>
                <a:gd name="T51" fmla="*/ 46 h 293"/>
                <a:gd name="T52" fmla="*/ 238 w 292"/>
                <a:gd name="T53" fmla="*/ 49 h 293"/>
                <a:gd name="T54" fmla="*/ 241 w 292"/>
                <a:gd name="T55" fmla="*/ 26 h 293"/>
                <a:gd name="T56" fmla="*/ 41 w 292"/>
                <a:gd name="T57" fmla="*/ 94 h 293"/>
                <a:gd name="T58" fmla="*/ 32 w 292"/>
                <a:gd name="T59" fmla="*/ 120 h 293"/>
                <a:gd name="T60" fmla="*/ 41 w 292"/>
                <a:gd name="T61" fmla="*/ 94 h 293"/>
                <a:gd name="T62" fmla="*/ 36 w 292"/>
                <a:gd name="T63" fmla="*/ 187 h 293"/>
                <a:gd name="T64" fmla="*/ 271 w 292"/>
                <a:gd name="T65" fmla="*/ 27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93">
                  <a:moveTo>
                    <a:pt x="282" y="123"/>
                  </a:moveTo>
                  <a:cubicBezTo>
                    <a:pt x="90" y="123"/>
                    <a:pt x="90" y="123"/>
                    <a:pt x="90" y="123"/>
                  </a:cubicBezTo>
                  <a:cubicBezTo>
                    <a:pt x="99" y="119"/>
                    <a:pt x="99" y="119"/>
                    <a:pt x="99" y="119"/>
                  </a:cubicBezTo>
                  <a:cubicBezTo>
                    <a:pt x="99" y="119"/>
                    <a:pt x="99" y="119"/>
                    <a:pt x="100" y="119"/>
                  </a:cubicBezTo>
                  <a:cubicBezTo>
                    <a:pt x="169" y="95"/>
                    <a:pt x="169" y="95"/>
                    <a:pt x="169" y="95"/>
                  </a:cubicBezTo>
                  <a:cubicBezTo>
                    <a:pt x="170" y="95"/>
                    <a:pt x="171" y="95"/>
                    <a:pt x="171" y="95"/>
                  </a:cubicBezTo>
                  <a:cubicBezTo>
                    <a:pt x="240" y="71"/>
                    <a:pt x="240" y="71"/>
                    <a:pt x="240" y="71"/>
                  </a:cubicBezTo>
                  <a:cubicBezTo>
                    <a:pt x="241" y="71"/>
                    <a:pt x="242" y="71"/>
                    <a:pt x="242" y="70"/>
                  </a:cubicBezTo>
                  <a:cubicBezTo>
                    <a:pt x="265" y="63"/>
                    <a:pt x="265" y="63"/>
                    <a:pt x="265" y="63"/>
                  </a:cubicBezTo>
                  <a:cubicBezTo>
                    <a:pt x="268" y="62"/>
                    <a:pt x="270" y="60"/>
                    <a:pt x="271" y="57"/>
                  </a:cubicBezTo>
                  <a:cubicBezTo>
                    <a:pt x="272" y="55"/>
                    <a:pt x="272" y="52"/>
                    <a:pt x="272" y="49"/>
                  </a:cubicBezTo>
                  <a:cubicBezTo>
                    <a:pt x="258" y="9"/>
                    <a:pt x="258" y="9"/>
                    <a:pt x="258" y="9"/>
                  </a:cubicBezTo>
                  <a:cubicBezTo>
                    <a:pt x="256" y="3"/>
                    <a:pt x="250" y="0"/>
                    <a:pt x="244" y="2"/>
                  </a:cubicBezTo>
                  <a:cubicBezTo>
                    <a:pt x="8" y="83"/>
                    <a:pt x="8" y="83"/>
                    <a:pt x="8" y="83"/>
                  </a:cubicBezTo>
                  <a:cubicBezTo>
                    <a:pt x="3" y="85"/>
                    <a:pt x="0" y="91"/>
                    <a:pt x="2" y="96"/>
                  </a:cubicBezTo>
                  <a:cubicBezTo>
                    <a:pt x="15" y="135"/>
                    <a:pt x="15" y="135"/>
                    <a:pt x="15" y="135"/>
                  </a:cubicBezTo>
                  <a:cubicBezTo>
                    <a:pt x="15" y="283"/>
                    <a:pt x="15" y="283"/>
                    <a:pt x="15" y="283"/>
                  </a:cubicBezTo>
                  <a:cubicBezTo>
                    <a:pt x="15" y="289"/>
                    <a:pt x="20" y="293"/>
                    <a:pt x="26" y="293"/>
                  </a:cubicBezTo>
                  <a:cubicBezTo>
                    <a:pt x="282" y="293"/>
                    <a:pt x="282" y="293"/>
                    <a:pt x="282" y="293"/>
                  </a:cubicBezTo>
                  <a:cubicBezTo>
                    <a:pt x="288" y="293"/>
                    <a:pt x="292" y="289"/>
                    <a:pt x="292" y="283"/>
                  </a:cubicBezTo>
                  <a:cubicBezTo>
                    <a:pt x="292" y="133"/>
                    <a:pt x="292" y="133"/>
                    <a:pt x="292" y="133"/>
                  </a:cubicBezTo>
                  <a:cubicBezTo>
                    <a:pt x="292" y="127"/>
                    <a:pt x="288" y="123"/>
                    <a:pt x="282" y="123"/>
                  </a:cubicBezTo>
                  <a:close/>
                  <a:moveTo>
                    <a:pt x="271" y="165"/>
                  </a:moveTo>
                  <a:cubicBezTo>
                    <a:pt x="254" y="165"/>
                    <a:pt x="254" y="165"/>
                    <a:pt x="254" y="165"/>
                  </a:cubicBezTo>
                  <a:cubicBezTo>
                    <a:pt x="233" y="144"/>
                    <a:pt x="233" y="144"/>
                    <a:pt x="233" y="144"/>
                  </a:cubicBezTo>
                  <a:cubicBezTo>
                    <a:pt x="271" y="144"/>
                    <a:pt x="271" y="144"/>
                    <a:pt x="271" y="144"/>
                  </a:cubicBezTo>
                  <a:lnTo>
                    <a:pt x="271" y="165"/>
                  </a:lnTo>
                  <a:close/>
                  <a:moveTo>
                    <a:pt x="179" y="165"/>
                  </a:moveTo>
                  <a:cubicBezTo>
                    <a:pt x="158" y="144"/>
                    <a:pt x="158" y="144"/>
                    <a:pt x="158" y="144"/>
                  </a:cubicBezTo>
                  <a:cubicBezTo>
                    <a:pt x="203" y="144"/>
                    <a:pt x="203" y="144"/>
                    <a:pt x="203" y="144"/>
                  </a:cubicBezTo>
                  <a:cubicBezTo>
                    <a:pt x="224" y="165"/>
                    <a:pt x="224" y="165"/>
                    <a:pt x="224" y="165"/>
                  </a:cubicBezTo>
                  <a:lnTo>
                    <a:pt x="179" y="165"/>
                  </a:lnTo>
                  <a:close/>
                  <a:moveTo>
                    <a:pt x="105" y="165"/>
                  </a:moveTo>
                  <a:cubicBezTo>
                    <a:pt x="83" y="144"/>
                    <a:pt x="83" y="144"/>
                    <a:pt x="83" y="144"/>
                  </a:cubicBezTo>
                  <a:cubicBezTo>
                    <a:pt x="128" y="144"/>
                    <a:pt x="128" y="144"/>
                    <a:pt x="128" y="144"/>
                  </a:cubicBezTo>
                  <a:cubicBezTo>
                    <a:pt x="149" y="165"/>
                    <a:pt x="149" y="165"/>
                    <a:pt x="149" y="165"/>
                  </a:cubicBezTo>
                  <a:lnTo>
                    <a:pt x="105" y="165"/>
                  </a:lnTo>
                  <a:close/>
                  <a:moveTo>
                    <a:pt x="36" y="144"/>
                  </a:moveTo>
                  <a:cubicBezTo>
                    <a:pt x="53" y="144"/>
                    <a:pt x="53" y="144"/>
                    <a:pt x="53" y="144"/>
                  </a:cubicBezTo>
                  <a:cubicBezTo>
                    <a:pt x="75" y="165"/>
                    <a:pt x="75" y="165"/>
                    <a:pt x="75" y="165"/>
                  </a:cubicBezTo>
                  <a:cubicBezTo>
                    <a:pt x="36" y="165"/>
                    <a:pt x="36" y="165"/>
                    <a:pt x="36" y="165"/>
                  </a:cubicBezTo>
                  <a:lnTo>
                    <a:pt x="36" y="144"/>
                  </a:lnTo>
                  <a:close/>
                  <a:moveTo>
                    <a:pt x="112" y="70"/>
                  </a:moveTo>
                  <a:cubicBezTo>
                    <a:pt x="139" y="83"/>
                    <a:pt x="139" y="83"/>
                    <a:pt x="139" y="83"/>
                  </a:cubicBezTo>
                  <a:cubicBezTo>
                    <a:pt x="97" y="98"/>
                    <a:pt x="97" y="98"/>
                    <a:pt x="97" y="98"/>
                  </a:cubicBezTo>
                  <a:cubicBezTo>
                    <a:pt x="70" y="84"/>
                    <a:pt x="70" y="84"/>
                    <a:pt x="70" y="84"/>
                  </a:cubicBezTo>
                  <a:lnTo>
                    <a:pt x="112" y="70"/>
                  </a:lnTo>
                  <a:close/>
                  <a:moveTo>
                    <a:pt x="183" y="46"/>
                  </a:moveTo>
                  <a:cubicBezTo>
                    <a:pt x="210" y="59"/>
                    <a:pt x="210" y="59"/>
                    <a:pt x="210" y="59"/>
                  </a:cubicBezTo>
                  <a:cubicBezTo>
                    <a:pt x="168" y="73"/>
                    <a:pt x="168" y="73"/>
                    <a:pt x="168" y="73"/>
                  </a:cubicBezTo>
                  <a:cubicBezTo>
                    <a:pt x="140" y="60"/>
                    <a:pt x="140" y="60"/>
                    <a:pt x="140" y="60"/>
                  </a:cubicBezTo>
                  <a:lnTo>
                    <a:pt x="183" y="46"/>
                  </a:lnTo>
                  <a:close/>
                  <a:moveTo>
                    <a:pt x="248" y="46"/>
                  </a:moveTo>
                  <a:cubicBezTo>
                    <a:pt x="238" y="49"/>
                    <a:pt x="238" y="49"/>
                    <a:pt x="238" y="49"/>
                  </a:cubicBezTo>
                  <a:cubicBezTo>
                    <a:pt x="211" y="36"/>
                    <a:pt x="211" y="36"/>
                    <a:pt x="211" y="36"/>
                  </a:cubicBezTo>
                  <a:cubicBezTo>
                    <a:pt x="241" y="26"/>
                    <a:pt x="241" y="26"/>
                    <a:pt x="241" y="26"/>
                  </a:cubicBezTo>
                  <a:lnTo>
                    <a:pt x="248" y="46"/>
                  </a:lnTo>
                  <a:close/>
                  <a:moveTo>
                    <a:pt x="41" y="94"/>
                  </a:moveTo>
                  <a:cubicBezTo>
                    <a:pt x="68" y="107"/>
                    <a:pt x="68" y="107"/>
                    <a:pt x="68" y="107"/>
                  </a:cubicBezTo>
                  <a:cubicBezTo>
                    <a:pt x="32" y="120"/>
                    <a:pt x="32" y="120"/>
                    <a:pt x="32" y="120"/>
                  </a:cubicBezTo>
                  <a:cubicBezTo>
                    <a:pt x="25" y="100"/>
                    <a:pt x="25" y="100"/>
                    <a:pt x="25" y="100"/>
                  </a:cubicBezTo>
                  <a:lnTo>
                    <a:pt x="41" y="94"/>
                  </a:lnTo>
                  <a:close/>
                  <a:moveTo>
                    <a:pt x="36" y="272"/>
                  </a:moveTo>
                  <a:cubicBezTo>
                    <a:pt x="36" y="187"/>
                    <a:pt x="36" y="187"/>
                    <a:pt x="36" y="187"/>
                  </a:cubicBezTo>
                  <a:cubicBezTo>
                    <a:pt x="271" y="187"/>
                    <a:pt x="271" y="187"/>
                    <a:pt x="271" y="187"/>
                  </a:cubicBezTo>
                  <a:cubicBezTo>
                    <a:pt x="271" y="272"/>
                    <a:pt x="271" y="272"/>
                    <a:pt x="271" y="272"/>
                  </a:cubicBezTo>
                  <a:lnTo>
                    <a:pt x="36" y="27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300"/>
            <p:cNvSpPr>
              <a:spLocks noEditPoints="1"/>
            </p:cNvSpPr>
            <p:nvPr/>
          </p:nvSpPr>
          <p:spPr bwMode="auto">
            <a:xfrm>
              <a:off x="3511" y="39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Group 872"/>
          <p:cNvGrpSpPr>
            <a:grpSpLocks noChangeAspect="1"/>
          </p:cNvGrpSpPr>
          <p:nvPr/>
        </p:nvGrpSpPr>
        <p:grpSpPr bwMode="auto">
          <a:xfrm>
            <a:off x="8459866" y="2042834"/>
            <a:ext cx="541588" cy="540000"/>
            <a:chOff x="2723" y="3051"/>
            <a:chExt cx="341" cy="340"/>
          </a:xfrm>
          <a:solidFill>
            <a:schemeClr val="accent3"/>
          </a:solidFill>
        </p:grpSpPr>
        <p:sp>
          <p:nvSpPr>
            <p:cNvPr id="97" name="Freeform 873"/>
            <p:cNvSpPr>
              <a:spLocks noEditPoints="1"/>
            </p:cNvSpPr>
            <p:nvPr/>
          </p:nvSpPr>
          <p:spPr bwMode="auto">
            <a:xfrm>
              <a:off x="2723" y="305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874"/>
            <p:cNvSpPr>
              <a:spLocks noEditPoints="1"/>
            </p:cNvSpPr>
            <p:nvPr/>
          </p:nvSpPr>
          <p:spPr bwMode="auto">
            <a:xfrm>
              <a:off x="2786" y="3143"/>
              <a:ext cx="215" cy="170"/>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9" name="Group 286"/>
          <p:cNvGrpSpPr>
            <a:grpSpLocks noChangeAspect="1"/>
          </p:cNvGrpSpPr>
          <p:nvPr/>
        </p:nvGrpSpPr>
        <p:grpSpPr bwMode="auto">
          <a:xfrm>
            <a:off x="8459866" y="3212905"/>
            <a:ext cx="540000" cy="540000"/>
            <a:chOff x="2962" y="2267"/>
            <a:chExt cx="340" cy="340"/>
          </a:xfrm>
          <a:solidFill>
            <a:schemeClr val="accent1"/>
          </a:solidFill>
        </p:grpSpPr>
        <p:sp>
          <p:nvSpPr>
            <p:cNvPr id="100" name="Freeform 287"/>
            <p:cNvSpPr>
              <a:spLocks noEditPoints="1"/>
            </p:cNvSpPr>
            <p:nvPr/>
          </p:nvSpPr>
          <p:spPr bwMode="auto">
            <a:xfrm>
              <a:off x="3032" y="2331"/>
              <a:ext cx="199" cy="184"/>
            </a:xfrm>
            <a:custGeom>
              <a:avLst/>
              <a:gdLst>
                <a:gd name="T0" fmla="*/ 11 w 299"/>
                <a:gd name="T1" fmla="*/ 149 h 277"/>
                <a:gd name="T2" fmla="*/ 32 w 299"/>
                <a:gd name="T3" fmla="*/ 128 h 277"/>
                <a:gd name="T4" fmla="*/ 11 w 299"/>
                <a:gd name="T5" fmla="*/ 170 h 277"/>
                <a:gd name="T6" fmla="*/ 32 w 299"/>
                <a:gd name="T7" fmla="*/ 192 h 277"/>
                <a:gd name="T8" fmla="*/ 32 w 299"/>
                <a:gd name="T9" fmla="*/ 213 h 277"/>
                <a:gd name="T10" fmla="*/ 11 w 299"/>
                <a:gd name="T11" fmla="*/ 234 h 277"/>
                <a:gd name="T12" fmla="*/ 32 w 299"/>
                <a:gd name="T13" fmla="*/ 213 h 277"/>
                <a:gd name="T14" fmla="*/ 0 w 299"/>
                <a:gd name="T15" fmla="*/ 266 h 277"/>
                <a:gd name="T16" fmla="*/ 43 w 299"/>
                <a:gd name="T17" fmla="*/ 266 h 277"/>
                <a:gd name="T18" fmla="*/ 96 w 299"/>
                <a:gd name="T19" fmla="*/ 170 h 277"/>
                <a:gd name="T20" fmla="*/ 118 w 299"/>
                <a:gd name="T21" fmla="*/ 192 h 277"/>
                <a:gd name="T22" fmla="*/ 118 w 299"/>
                <a:gd name="T23" fmla="*/ 213 h 277"/>
                <a:gd name="T24" fmla="*/ 96 w 299"/>
                <a:gd name="T25" fmla="*/ 234 h 277"/>
                <a:gd name="T26" fmla="*/ 118 w 299"/>
                <a:gd name="T27" fmla="*/ 213 h 277"/>
                <a:gd name="T28" fmla="*/ 86 w 299"/>
                <a:gd name="T29" fmla="*/ 266 h 277"/>
                <a:gd name="T30" fmla="*/ 128 w 299"/>
                <a:gd name="T31" fmla="*/ 266 h 277"/>
                <a:gd name="T32" fmla="*/ 182 w 299"/>
                <a:gd name="T33" fmla="*/ 170 h 277"/>
                <a:gd name="T34" fmla="*/ 203 w 299"/>
                <a:gd name="T35" fmla="*/ 192 h 277"/>
                <a:gd name="T36" fmla="*/ 203 w 299"/>
                <a:gd name="T37" fmla="*/ 213 h 277"/>
                <a:gd name="T38" fmla="*/ 182 w 299"/>
                <a:gd name="T39" fmla="*/ 234 h 277"/>
                <a:gd name="T40" fmla="*/ 203 w 299"/>
                <a:gd name="T41" fmla="*/ 213 h 277"/>
                <a:gd name="T42" fmla="*/ 171 w 299"/>
                <a:gd name="T43" fmla="*/ 266 h 277"/>
                <a:gd name="T44" fmla="*/ 214 w 299"/>
                <a:gd name="T45" fmla="*/ 266 h 277"/>
                <a:gd name="T46" fmla="*/ 182 w 299"/>
                <a:gd name="T47" fmla="*/ 42 h 277"/>
                <a:gd name="T48" fmla="*/ 203 w 299"/>
                <a:gd name="T49" fmla="*/ 64 h 277"/>
                <a:gd name="T50" fmla="*/ 203 w 299"/>
                <a:gd name="T51" fmla="*/ 85 h 277"/>
                <a:gd name="T52" fmla="*/ 182 w 299"/>
                <a:gd name="T53" fmla="*/ 106 h 277"/>
                <a:gd name="T54" fmla="*/ 203 w 299"/>
                <a:gd name="T55" fmla="*/ 85 h 277"/>
                <a:gd name="T56" fmla="*/ 171 w 299"/>
                <a:gd name="T57" fmla="*/ 138 h 277"/>
                <a:gd name="T58" fmla="*/ 214 w 299"/>
                <a:gd name="T59" fmla="*/ 138 h 277"/>
                <a:gd name="T60" fmla="*/ 182 w 299"/>
                <a:gd name="T61" fmla="*/ 0 h 277"/>
                <a:gd name="T62" fmla="*/ 203 w 299"/>
                <a:gd name="T63" fmla="*/ 21 h 277"/>
                <a:gd name="T64" fmla="*/ 288 w 299"/>
                <a:gd name="T65" fmla="*/ 170 h 277"/>
                <a:gd name="T66" fmla="*/ 267 w 299"/>
                <a:gd name="T67" fmla="*/ 192 h 277"/>
                <a:gd name="T68" fmla="*/ 288 w 299"/>
                <a:gd name="T69" fmla="*/ 170 h 277"/>
                <a:gd name="T70" fmla="*/ 256 w 299"/>
                <a:gd name="T71" fmla="*/ 224 h 277"/>
                <a:gd name="T72" fmla="*/ 299 w 299"/>
                <a:gd name="T73" fmla="*/ 224 h 277"/>
                <a:gd name="T74" fmla="*/ 267 w 299"/>
                <a:gd name="T75" fmla="*/ 256 h 277"/>
                <a:gd name="T76" fmla="*/ 288 w 299"/>
                <a:gd name="T77" fmla="*/ 277 h 277"/>
                <a:gd name="T78" fmla="*/ 267 w 299"/>
                <a:gd name="T79" fmla="*/ 106 h 277"/>
                <a:gd name="T80" fmla="*/ 288 w 299"/>
                <a:gd name="T81" fmla="*/ 85 h 277"/>
                <a:gd name="T82" fmla="*/ 267 w 299"/>
                <a:gd name="T83" fmla="*/ 106 h 277"/>
                <a:gd name="T84" fmla="*/ 256 w 299"/>
                <a:gd name="T85" fmla="*/ 138 h 277"/>
                <a:gd name="T86" fmla="*/ 299 w 299"/>
                <a:gd name="T87"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9" h="277">
                  <a:moveTo>
                    <a:pt x="43" y="138"/>
                  </a:moveTo>
                  <a:cubicBezTo>
                    <a:pt x="43" y="144"/>
                    <a:pt x="38" y="149"/>
                    <a:pt x="32" y="149"/>
                  </a:cubicBezTo>
                  <a:cubicBezTo>
                    <a:pt x="11" y="149"/>
                    <a:pt x="11" y="149"/>
                    <a:pt x="11" y="149"/>
                  </a:cubicBezTo>
                  <a:cubicBezTo>
                    <a:pt x="5" y="149"/>
                    <a:pt x="0" y="144"/>
                    <a:pt x="0" y="138"/>
                  </a:cubicBezTo>
                  <a:cubicBezTo>
                    <a:pt x="0" y="132"/>
                    <a:pt x="5" y="128"/>
                    <a:pt x="11" y="128"/>
                  </a:cubicBezTo>
                  <a:cubicBezTo>
                    <a:pt x="32" y="128"/>
                    <a:pt x="32" y="128"/>
                    <a:pt x="32" y="128"/>
                  </a:cubicBezTo>
                  <a:cubicBezTo>
                    <a:pt x="38" y="128"/>
                    <a:pt x="43" y="132"/>
                    <a:pt x="43" y="138"/>
                  </a:cubicBezTo>
                  <a:close/>
                  <a:moveTo>
                    <a:pt x="32" y="170"/>
                  </a:moveTo>
                  <a:cubicBezTo>
                    <a:pt x="11" y="170"/>
                    <a:pt x="11" y="170"/>
                    <a:pt x="11" y="170"/>
                  </a:cubicBezTo>
                  <a:cubicBezTo>
                    <a:pt x="5" y="170"/>
                    <a:pt x="0" y="175"/>
                    <a:pt x="0" y="181"/>
                  </a:cubicBezTo>
                  <a:cubicBezTo>
                    <a:pt x="0" y="187"/>
                    <a:pt x="5" y="192"/>
                    <a:pt x="11" y="192"/>
                  </a:cubicBezTo>
                  <a:cubicBezTo>
                    <a:pt x="32" y="192"/>
                    <a:pt x="32" y="192"/>
                    <a:pt x="32" y="192"/>
                  </a:cubicBezTo>
                  <a:cubicBezTo>
                    <a:pt x="38" y="192"/>
                    <a:pt x="43" y="187"/>
                    <a:pt x="43" y="181"/>
                  </a:cubicBezTo>
                  <a:cubicBezTo>
                    <a:pt x="43" y="175"/>
                    <a:pt x="38" y="170"/>
                    <a:pt x="32" y="170"/>
                  </a:cubicBezTo>
                  <a:close/>
                  <a:moveTo>
                    <a:pt x="32" y="213"/>
                  </a:moveTo>
                  <a:cubicBezTo>
                    <a:pt x="11" y="213"/>
                    <a:pt x="11" y="213"/>
                    <a:pt x="11" y="213"/>
                  </a:cubicBezTo>
                  <a:cubicBezTo>
                    <a:pt x="5" y="213"/>
                    <a:pt x="0" y="218"/>
                    <a:pt x="0" y="224"/>
                  </a:cubicBezTo>
                  <a:cubicBezTo>
                    <a:pt x="0" y="230"/>
                    <a:pt x="5" y="234"/>
                    <a:pt x="11" y="234"/>
                  </a:cubicBezTo>
                  <a:cubicBezTo>
                    <a:pt x="32" y="234"/>
                    <a:pt x="32" y="234"/>
                    <a:pt x="32" y="234"/>
                  </a:cubicBezTo>
                  <a:cubicBezTo>
                    <a:pt x="38" y="234"/>
                    <a:pt x="43" y="230"/>
                    <a:pt x="43" y="224"/>
                  </a:cubicBezTo>
                  <a:cubicBezTo>
                    <a:pt x="43" y="218"/>
                    <a:pt x="38" y="213"/>
                    <a:pt x="32" y="213"/>
                  </a:cubicBezTo>
                  <a:close/>
                  <a:moveTo>
                    <a:pt x="32" y="256"/>
                  </a:moveTo>
                  <a:cubicBezTo>
                    <a:pt x="11" y="256"/>
                    <a:pt x="11" y="256"/>
                    <a:pt x="11" y="256"/>
                  </a:cubicBezTo>
                  <a:cubicBezTo>
                    <a:pt x="5" y="256"/>
                    <a:pt x="0" y="260"/>
                    <a:pt x="0" y="266"/>
                  </a:cubicBezTo>
                  <a:cubicBezTo>
                    <a:pt x="0" y="272"/>
                    <a:pt x="5" y="277"/>
                    <a:pt x="11" y="277"/>
                  </a:cubicBezTo>
                  <a:cubicBezTo>
                    <a:pt x="32" y="277"/>
                    <a:pt x="32" y="277"/>
                    <a:pt x="32" y="277"/>
                  </a:cubicBezTo>
                  <a:cubicBezTo>
                    <a:pt x="38" y="277"/>
                    <a:pt x="43" y="272"/>
                    <a:pt x="43" y="266"/>
                  </a:cubicBezTo>
                  <a:cubicBezTo>
                    <a:pt x="43" y="260"/>
                    <a:pt x="38" y="256"/>
                    <a:pt x="32" y="256"/>
                  </a:cubicBezTo>
                  <a:close/>
                  <a:moveTo>
                    <a:pt x="118" y="170"/>
                  </a:moveTo>
                  <a:cubicBezTo>
                    <a:pt x="96" y="170"/>
                    <a:pt x="96" y="170"/>
                    <a:pt x="96" y="170"/>
                  </a:cubicBezTo>
                  <a:cubicBezTo>
                    <a:pt x="90" y="170"/>
                    <a:pt x="86" y="175"/>
                    <a:pt x="86" y="181"/>
                  </a:cubicBezTo>
                  <a:cubicBezTo>
                    <a:pt x="86" y="187"/>
                    <a:pt x="90" y="192"/>
                    <a:pt x="96" y="192"/>
                  </a:cubicBezTo>
                  <a:cubicBezTo>
                    <a:pt x="118" y="192"/>
                    <a:pt x="118" y="192"/>
                    <a:pt x="118" y="192"/>
                  </a:cubicBezTo>
                  <a:cubicBezTo>
                    <a:pt x="124" y="192"/>
                    <a:pt x="128" y="187"/>
                    <a:pt x="128" y="181"/>
                  </a:cubicBezTo>
                  <a:cubicBezTo>
                    <a:pt x="128" y="175"/>
                    <a:pt x="124" y="170"/>
                    <a:pt x="118" y="170"/>
                  </a:cubicBezTo>
                  <a:close/>
                  <a:moveTo>
                    <a:pt x="118" y="213"/>
                  </a:moveTo>
                  <a:cubicBezTo>
                    <a:pt x="96" y="213"/>
                    <a:pt x="96" y="213"/>
                    <a:pt x="96" y="213"/>
                  </a:cubicBezTo>
                  <a:cubicBezTo>
                    <a:pt x="90" y="213"/>
                    <a:pt x="86" y="218"/>
                    <a:pt x="86" y="224"/>
                  </a:cubicBezTo>
                  <a:cubicBezTo>
                    <a:pt x="86" y="230"/>
                    <a:pt x="90" y="234"/>
                    <a:pt x="96" y="234"/>
                  </a:cubicBezTo>
                  <a:cubicBezTo>
                    <a:pt x="118" y="234"/>
                    <a:pt x="118" y="234"/>
                    <a:pt x="118" y="234"/>
                  </a:cubicBezTo>
                  <a:cubicBezTo>
                    <a:pt x="124" y="234"/>
                    <a:pt x="128" y="230"/>
                    <a:pt x="128" y="224"/>
                  </a:cubicBezTo>
                  <a:cubicBezTo>
                    <a:pt x="128" y="218"/>
                    <a:pt x="124" y="213"/>
                    <a:pt x="118" y="213"/>
                  </a:cubicBezTo>
                  <a:close/>
                  <a:moveTo>
                    <a:pt x="118" y="256"/>
                  </a:moveTo>
                  <a:cubicBezTo>
                    <a:pt x="96" y="256"/>
                    <a:pt x="96" y="256"/>
                    <a:pt x="96" y="256"/>
                  </a:cubicBezTo>
                  <a:cubicBezTo>
                    <a:pt x="90" y="256"/>
                    <a:pt x="86" y="260"/>
                    <a:pt x="86" y="266"/>
                  </a:cubicBezTo>
                  <a:cubicBezTo>
                    <a:pt x="86" y="272"/>
                    <a:pt x="90" y="277"/>
                    <a:pt x="96" y="277"/>
                  </a:cubicBezTo>
                  <a:cubicBezTo>
                    <a:pt x="118" y="277"/>
                    <a:pt x="118" y="277"/>
                    <a:pt x="118" y="277"/>
                  </a:cubicBezTo>
                  <a:cubicBezTo>
                    <a:pt x="124" y="277"/>
                    <a:pt x="128" y="272"/>
                    <a:pt x="128" y="266"/>
                  </a:cubicBezTo>
                  <a:cubicBezTo>
                    <a:pt x="128" y="260"/>
                    <a:pt x="124" y="256"/>
                    <a:pt x="118" y="256"/>
                  </a:cubicBezTo>
                  <a:close/>
                  <a:moveTo>
                    <a:pt x="203" y="170"/>
                  </a:moveTo>
                  <a:cubicBezTo>
                    <a:pt x="182" y="170"/>
                    <a:pt x="182" y="170"/>
                    <a:pt x="182" y="170"/>
                  </a:cubicBezTo>
                  <a:cubicBezTo>
                    <a:pt x="176" y="170"/>
                    <a:pt x="171" y="175"/>
                    <a:pt x="171" y="181"/>
                  </a:cubicBezTo>
                  <a:cubicBezTo>
                    <a:pt x="171" y="187"/>
                    <a:pt x="176" y="192"/>
                    <a:pt x="182" y="192"/>
                  </a:cubicBezTo>
                  <a:cubicBezTo>
                    <a:pt x="203" y="192"/>
                    <a:pt x="203" y="192"/>
                    <a:pt x="203" y="192"/>
                  </a:cubicBezTo>
                  <a:cubicBezTo>
                    <a:pt x="209" y="192"/>
                    <a:pt x="214" y="187"/>
                    <a:pt x="214" y="181"/>
                  </a:cubicBezTo>
                  <a:cubicBezTo>
                    <a:pt x="214" y="175"/>
                    <a:pt x="209" y="170"/>
                    <a:pt x="203" y="170"/>
                  </a:cubicBezTo>
                  <a:close/>
                  <a:moveTo>
                    <a:pt x="203" y="213"/>
                  </a:moveTo>
                  <a:cubicBezTo>
                    <a:pt x="182" y="213"/>
                    <a:pt x="182" y="213"/>
                    <a:pt x="182" y="213"/>
                  </a:cubicBezTo>
                  <a:cubicBezTo>
                    <a:pt x="176" y="213"/>
                    <a:pt x="171" y="218"/>
                    <a:pt x="171" y="224"/>
                  </a:cubicBezTo>
                  <a:cubicBezTo>
                    <a:pt x="171" y="230"/>
                    <a:pt x="176" y="234"/>
                    <a:pt x="182" y="234"/>
                  </a:cubicBezTo>
                  <a:cubicBezTo>
                    <a:pt x="203" y="234"/>
                    <a:pt x="203" y="234"/>
                    <a:pt x="203" y="234"/>
                  </a:cubicBezTo>
                  <a:cubicBezTo>
                    <a:pt x="209" y="234"/>
                    <a:pt x="214" y="230"/>
                    <a:pt x="214" y="224"/>
                  </a:cubicBezTo>
                  <a:cubicBezTo>
                    <a:pt x="214" y="218"/>
                    <a:pt x="209" y="213"/>
                    <a:pt x="203" y="213"/>
                  </a:cubicBezTo>
                  <a:close/>
                  <a:moveTo>
                    <a:pt x="203" y="256"/>
                  </a:moveTo>
                  <a:cubicBezTo>
                    <a:pt x="182" y="256"/>
                    <a:pt x="182" y="256"/>
                    <a:pt x="182" y="256"/>
                  </a:cubicBezTo>
                  <a:cubicBezTo>
                    <a:pt x="176" y="256"/>
                    <a:pt x="171" y="260"/>
                    <a:pt x="171" y="266"/>
                  </a:cubicBezTo>
                  <a:cubicBezTo>
                    <a:pt x="171" y="272"/>
                    <a:pt x="176" y="277"/>
                    <a:pt x="182" y="277"/>
                  </a:cubicBezTo>
                  <a:cubicBezTo>
                    <a:pt x="203" y="277"/>
                    <a:pt x="203" y="277"/>
                    <a:pt x="203" y="277"/>
                  </a:cubicBezTo>
                  <a:cubicBezTo>
                    <a:pt x="209" y="277"/>
                    <a:pt x="214" y="272"/>
                    <a:pt x="214" y="266"/>
                  </a:cubicBezTo>
                  <a:cubicBezTo>
                    <a:pt x="214" y="260"/>
                    <a:pt x="209" y="256"/>
                    <a:pt x="203" y="256"/>
                  </a:cubicBezTo>
                  <a:close/>
                  <a:moveTo>
                    <a:pt x="203" y="42"/>
                  </a:moveTo>
                  <a:cubicBezTo>
                    <a:pt x="182" y="42"/>
                    <a:pt x="182" y="42"/>
                    <a:pt x="182" y="42"/>
                  </a:cubicBezTo>
                  <a:cubicBezTo>
                    <a:pt x="176" y="42"/>
                    <a:pt x="171" y="47"/>
                    <a:pt x="171" y="53"/>
                  </a:cubicBezTo>
                  <a:cubicBezTo>
                    <a:pt x="171" y="59"/>
                    <a:pt x="176" y="64"/>
                    <a:pt x="182" y="64"/>
                  </a:cubicBezTo>
                  <a:cubicBezTo>
                    <a:pt x="203" y="64"/>
                    <a:pt x="203" y="64"/>
                    <a:pt x="203" y="64"/>
                  </a:cubicBezTo>
                  <a:cubicBezTo>
                    <a:pt x="209" y="64"/>
                    <a:pt x="214" y="59"/>
                    <a:pt x="214" y="53"/>
                  </a:cubicBezTo>
                  <a:cubicBezTo>
                    <a:pt x="214" y="47"/>
                    <a:pt x="209" y="42"/>
                    <a:pt x="203" y="42"/>
                  </a:cubicBezTo>
                  <a:close/>
                  <a:moveTo>
                    <a:pt x="203" y="85"/>
                  </a:moveTo>
                  <a:cubicBezTo>
                    <a:pt x="182" y="85"/>
                    <a:pt x="182" y="85"/>
                    <a:pt x="182" y="85"/>
                  </a:cubicBezTo>
                  <a:cubicBezTo>
                    <a:pt x="176" y="85"/>
                    <a:pt x="171" y="90"/>
                    <a:pt x="171" y="96"/>
                  </a:cubicBezTo>
                  <a:cubicBezTo>
                    <a:pt x="171" y="102"/>
                    <a:pt x="176" y="106"/>
                    <a:pt x="182" y="106"/>
                  </a:cubicBezTo>
                  <a:cubicBezTo>
                    <a:pt x="203" y="106"/>
                    <a:pt x="203" y="106"/>
                    <a:pt x="203" y="106"/>
                  </a:cubicBezTo>
                  <a:cubicBezTo>
                    <a:pt x="209" y="106"/>
                    <a:pt x="214" y="102"/>
                    <a:pt x="214" y="96"/>
                  </a:cubicBezTo>
                  <a:cubicBezTo>
                    <a:pt x="214" y="90"/>
                    <a:pt x="209" y="85"/>
                    <a:pt x="203" y="85"/>
                  </a:cubicBezTo>
                  <a:close/>
                  <a:moveTo>
                    <a:pt x="203" y="128"/>
                  </a:moveTo>
                  <a:cubicBezTo>
                    <a:pt x="182" y="128"/>
                    <a:pt x="182" y="128"/>
                    <a:pt x="182" y="128"/>
                  </a:cubicBezTo>
                  <a:cubicBezTo>
                    <a:pt x="176" y="128"/>
                    <a:pt x="171" y="132"/>
                    <a:pt x="171" y="138"/>
                  </a:cubicBezTo>
                  <a:cubicBezTo>
                    <a:pt x="171" y="144"/>
                    <a:pt x="176" y="149"/>
                    <a:pt x="182" y="149"/>
                  </a:cubicBezTo>
                  <a:cubicBezTo>
                    <a:pt x="203" y="149"/>
                    <a:pt x="203" y="149"/>
                    <a:pt x="203" y="149"/>
                  </a:cubicBezTo>
                  <a:cubicBezTo>
                    <a:pt x="209" y="149"/>
                    <a:pt x="214" y="144"/>
                    <a:pt x="214" y="138"/>
                  </a:cubicBezTo>
                  <a:cubicBezTo>
                    <a:pt x="214" y="132"/>
                    <a:pt x="209" y="128"/>
                    <a:pt x="203" y="128"/>
                  </a:cubicBezTo>
                  <a:close/>
                  <a:moveTo>
                    <a:pt x="203" y="0"/>
                  </a:moveTo>
                  <a:cubicBezTo>
                    <a:pt x="182" y="0"/>
                    <a:pt x="182" y="0"/>
                    <a:pt x="182" y="0"/>
                  </a:cubicBezTo>
                  <a:cubicBezTo>
                    <a:pt x="176" y="0"/>
                    <a:pt x="171" y="4"/>
                    <a:pt x="171" y="10"/>
                  </a:cubicBezTo>
                  <a:cubicBezTo>
                    <a:pt x="171" y="16"/>
                    <a:pt x="176" y="21"/>
                    <a:pt x="182" y="21"/>
                  </a:cubicBezTo>
                  <a:cubicBezTo>
                    <a:pt x="203" y="21"/>
                    <a:pt x="203" y="21"/>
                    <a:pt x="203" y="21"/>
                  </a:cubicBezTo>
                  <a:cubicBezTo>
                    <a:pt x="209" y="21"/>
                    <a:pt x="214" y="16"/>
                    <a:pt x="214" y="10"/>
                  </a:cubicBezTo>
                  <a:cubicBezTo>
                    <a:pt x="214" y="4"/>
                    <a:pt x="209" y="0"/>
                    <a:pt x="203" y="0"/>
                  </a:cubicBezTo>
                  <a:close/>
                  <a:moveTo>
                    <a:pt x="288" y="170"/>
                  </a:moveTo>
                  <a:cubicBezTo>
                    <a:pt x="267" y="170"/>
                    <a:pt x="267" y="170"/>
                    <a:pt x="267" y="170"/>
                  </a:cubicBezTo>
                  <a:cubicBezTo>
                    <a:pt x="261" y="170"/>
                    <a:pt x="256" y="175"/>
                    <a:pt x="256" y="181"/>
                  </a:cubicBezTo>
                  <a:cubicBezTo>
                    <a:pt x="256" y="187"/>
                    <a:pt x="261" y="192"/>
                    <a:pt x="267" y="192"/>
                  </a:cubicBezTo>
                  <a:cubicBezTo>
                    <a:pt x="288" y="192"/>
                    <a:pt x="288" y="192"/>
                    <a:pt x="288" y="192"/>
                  </a:cubicBezTo>
                  <a:cubicBezTo>
                    <a:pt x="294" y="192"/>
                    <a:pt x="299" y="187"/>
                    <a:pt x="299" y="181"/>
                  </a:cubicBezTo>
                  <a:cubicBezTo>
                    <a:pt x="299" y="175"/>
                    <a:pt x="294" y="170"/>
                    <a:pt x="288" y="170"/>
                  </a:cubicBezTo>
                  <a:close/>
                  <a:moveTo>
                    <a:pt x="288" y="213"/>
                  </a:moveTo>
                  <a:cubicBezTo>
                    <a:pt x="267" y="213"/>
                    <a:pt x="267" y="213"/>
                    <a:pt x="267" y="213"/>
                  </a:cubicBezTo>
                  <a:cubicBezTo>
                    <a:pt x="261" y="213"/>
                    <a:pt x="256" y="218"/>
                    <a:pt x="256" y="224"/>
                  </a:cubicBezTo>
                  <a:cubicBezTo>
                    <a:pt x="256" y="230"/>
                    <a:pt x="261" y="234"/>
                    <a:pt x="267" y="234"/>
                  </a:cubicBezTo>
                  <a:cubicBezTo>
                    <a:pt x="288" y="234"/>
                    <a:pt x="288" y="234"/>
                    <a:pt x="288" y="234"/>
                  </a:cubicBezTo>
                  <a:cubicBezTo>
                    <a:pt x="294" y="234"/>
                    <a:pt x="299" y="230"/>
                    <a:pt x="299" y="224"/>
                  </a:cubicBezTo>
                  <a:cubicBezTo>
                    <a:pt x="299" y="218"/>
                    <a:pt x="294" y="213"/>
                    <a:pt x="288" y="213"/>
                  </a:cubicBezTo>
                  <a:close/>
                  <a:moveTo>
                    <a:pt x="288" y="256"/>
                  </a:moveTo>
                  <a:cubicBezTo>
                    <a:pt x="267" y="256"/>
                    <a:pt x="267" y="256"/>
                    <a:pt x="267" y="256"/>
                  </a:cubicBezTo>
                  <a:cubicBezTo>
                    <a:pt x="261" y="256"/>
                    <a:pt x="256" y="260"/>
                    <a:pt x="256" y="266"/>
                  </a:cubicBezTo>
                  <a:cubicBezTo>
                    <a:pt x="256" y="272"/>
                    <a:pt x="261" y="277"/>
                    <a:pt x="267" y="277"/>
                  </a:cubicBezTo>
                  <a:cubicBezTo>
                    <a:pt x="288" y="277"/>
                    <a:pt x="288" y="277"/>
                    <a:pt x="288" y="277"/>
                  </a:cubicBezTo>
                  <a:cubicBezTo>
                    <a:pt x="294" y="277"/>
                    <a:pt x="299" y="272"/>
                    <a:pt x="299" y="266"/>
                  </a:cubicBezTo>
                  <a:cubicBezTo>
                    <a:pt x="299" y="260"/>
                    <a:pt x="294" y="256"/>
                    <a:pt x="288" y="256"/>
                  </a:cubicBezTo>
                  <a:close/>
                  <a:moveTo>
                    <a:pt x="267" y="106"/>
                  </a:moveTo>
                  <a:cubicBezTo>
                    <a:pt x="288" y="106"/>
                    <a:pt x="288" y="106"/>
                    <a:pt x="288" y="106"/>
                  </a:cubicBezTo>
                  <a:cubicBezTo>
                    <a:pt x="294" y="106"/>
                    <a:pt x="299" y="102"/>
                    <a:pt x="299" y="96"/>
                  </a:cubicBezTo>
                  <a:cubicBezTo>
                    <a:pt x="299" y="90"/>
                    <a:pt x="294" y="85"/>
                    <a:pt x="288" y="85"/>
                  </a:cubicBezTo>
                  <a:cubicBezTo>
                    <a:pt x="267" y="85"/>
                    <a:pt x="267" y="85"/>
                    <a:pt x="267" y="85"/>
                  </a:cubicBezTo>
                  <a:cubicBezTo>
                    <a:pt x="261" y="85"/>
                    <a:pt x="256" y="90"/>
                    <a:pt x="256" y="96"/>
                  </a:cubicBezTo>
                  <a:cubicBezTo>
                    <a:pt x="256" y="102"/>
                    <a:pt x="261" y="106"/>
                    <a:pt x="267" y="106"/>
                  </a:cubicBezTo>
                  <a:close/>
                  <a:moveTo>
                    <a:pt x="288" y="128"/>
                  </a:moveTo>
                  <a:cubicBezTo>
                    <a:pt x="267" y="128"/>
                    <a:pt x="267" y="128"/>
                    <a:pt x="267" y="128"/>
                  </a:cubicBezTo>
                  <a:cubicBezTo>
                    <a:pt x="261" y="128"/>
                    <a:pt x="256" y="132"/>
                    <a:pt x="256" y="138"/>
                  </a:cubicBezTo>
                  <a:cubicBezTo>
                    <a:pt x="256" y="144"/>
                    <a:pt x="261" y="149"/>
                    <a:pt x="267" y="149"/>
                  </a:cubicBezTo>
                  <a:cubicBezTo>
                    <a:pt x="288" y="149"/>
                    <a:pt x="288" y="149"/>
                    <a:pt x="288" y="149"/>
                  </a:cubicBezTo>
                  <a:cubicBezTo>
                    <a:pt x="294" y="149"/>
                    <a:pt x="299" y="144"/>
                    <a:pt x="299" y="138"/>
                  </a:cubicBezTo>
                  <a:cubicBezTo>
                    <a:pt x="299" y="132"/>
                    <a:pt x="294" y="128"/>
                    <a:pt x="288" y="12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288"/>
            <p:cNvSpPr>
              <a:spLocks noEditPoints="1"/>
            </p:cNvSpPr>
            <p:nvPr/>
          </p:nvSpPr>
          <p:spPr bwMode="auto">
            <a:xfrm>
              <a:off x="2962" y="22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2" name="Group 974"/>
          <p:cNvGrpSpPr>
            <a:grpSpLocks noChangeAspect="1"/>
          </p:cNvGrpSpPr>
          <p:nvPr/>
        </p:nvGrpSpPr>
        <p:grpSpPr bwMode="auto">
          <a:xfrm>
            <a:off x="8459866" y="4331219"/>
            <a:ext cx="540000" cy="540000"/>
            <a:chOff x="3511" y="3902"/>
            <a:chExt cx="340" cy="340"/>
          </a:xfrm>
          <a:solidFill>
            <a:srgbClr val="97999B"/>
          </a:solidFill>
        </p:grpSpPr>
        <p:sp>
          <p:nvSpPr>
            <p:cNvPr id="103" name="Freeform 299"/>
            <p:cNvSpPr>
              <a:spLocks noEditPoints="1"/>
            </p:cNvSpPr>
            <p:nvPr/>
          </p:nvSpPr>
          <p:spPr bwMode="auto">
            <a:xfrm>
              <a:off x="3579" y="3969"/>
              <a:ext cx="194" cy="195"/>
            </a:xfrm>
            <a:custGeom>
              <a:avLst/>
              <a:gdLst>
                <a:gd name="T0" fmla="*/ 90 w 292"/>
                <a:gd name="T1" fmla="*/ 123 h 293"/>
                <a:gd name="T2" fmla="*/ 100 w 292"/>
                <a:gd name="T3" fmla="*/ 119 h 293"/>
                <a:gd name="T4" fmla="*/ 171 w 292"/>
                <a:gd name="T5" fmla="*/ 95 h 293"/>
                <a:gd name="T6" fmla="*/ 242 w 292"/>
                <a:gd name="T7" fmla="*/ 70 h 293"/>
                <a:gd name="T8" fmla="*/ 271 w 292"/>
                <a:gd name="T9" fmla="*/ 57 h 293"/>
                <a:gd name="T10" fmla="*/ 258 w 292"/>
                <a:gd name="T11" fmla="*/ 9 h 293"/>
                <a:gd name="T12" fmla="*/ 8 w 292"/>
                <a:gd name="T13" fmla="*/ 83 h 293"/>
                <a:gd name="T14" fmla="*/ 15 w 292"/>
                <a:gd name="T15" fmla="*/ 135 h 293"/>
                <a:gd name="T16" fmla="*/ 26 w 292"/>
                <a:gd name="T17" fmla="*/ 293 h 293"/>
                <a:gd name="T18" fmla="*/ 292 w 292"/>
                <a:gd name="T19" fmla="*/ 283 h 293"/>
                <a:gd name="T20" fmla="*/ 282 w 292"/>
                <a:gd name="T21" fmla="*/ 123 h 293"/>
                <a:gd name="T22" fmla="*/ 254 w 292"/>
                <a:gd name="T23" fmla="*/ 165 h 293"/>
                <a:gd name="T24" fmla="*/ 271 w 292"/>
                <a:gd name="T25" fmla="*/ 144 h 293"/>
                <a:gd name="T26" fmla="*/ 179 w 292"/>
                <a:gd name="T27" fmla="*/ 165 h 293"/>
                <a:gd name="T28" fmla="*/ 203 w 292"/>
                <a:gd name="T29" fmla="*/ 144 h 293"/>
                <a:gd name="T30" fmla="*/ 179 w 292"/>
                <a:gd name="T31" fmla="*/ 165 h 293"/>
                <a:gd name="T32" fmla="*/ 83 w 292"/>
                <a:gd name="T33" fmla="*/ 144 h 293"/>
                <a:gd name="T34" fmla="*/ 149 w 292"/>
                <a:gd name="T35" fmla="*/ 165 h 293"/>
                <a:gd name="T36" fmla="*/ 36 w 292"/>
                <a:gd name="T37" fmla="*/ 144 h 293"/>
                <a:gd name="T38" fmla="*/ 75 w 292"/>
                <a:gd name="T39" fmla="*/ 165 h 293"/>
                <a:gd name="T40" fmla="*/ 36 w 292"/>
                <a:gd name="T41" fmla="*/ 144 h 293"/>
                <a:gd name="T42" fmla="*/ 139 w 292"/>
                <a:gd name="T43" fmla="*/ 83 h 293"/>
                <a:gd name="T44" fmla="*/ 70 w 292"/>
                <a:gd name="T45" fmla="*/ 84 h 293"/>
                <a:gd name="T46" fmla="*/ 183 w 292"/>
                <a:gd name="T47" fmla="*/ 46 h 293"/>
                <a:gd name="T48" fmla="*/ 168 w 292"/>
                <a:gd name="T49" fmla="*/ 73 h 293"/>
                <a:gd name="T50" fmla="*/ 183 w 292"/>
                <a:gd name="T51" fmla="*/ 46 h 293"/>
                <a:gd name="T52" fmla="*/ 238 w 292"/>
                <a:gd name="T53" fmla="*/ 49 h 293"/>
                <a:gd name="T54" fmla="*/ 241 w 292"/>
                <a:gd name="T55" fmla="*/ 26 h 293"/>
                <a:gd name="T56" fmla="*/ 41 w 292"/>
                <a:gd name="T57" fmla="*/ 94 h 293"/>
                <a:gd name="T58" fmla="*/ 32 w 292"/>
                <a:gd name="T59" fmla="*/ 120 h 293"/>
                <a:gd name="T60" fmla="*/ 41 w 292"/>
                <a:gd name="T61" fmla="*/ 94 h 293"/>
                <a:gd name="T62" fmla="*/ 36 w 292"/>
                <a:gd name="T63" fmla="*/ 187 h 293"/>
                <a:gd name="T64" fmla="*/ 271 w 292"/>
                <a:gd name="T65" fmla="*/ 27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93">
                  <a:moveTo>
                    <a:pt x="282" y="123"/>
                  </a:moveTo>
                  <a:cubicBezTo>
                    <a:pt x="90" y="123"/>
                    <a:pt x="90" y="123"/>
                    <a:pt x="90" y="123"/>
                  </a:cubicBezTo>
                  <a:cubicBezTo>
                    <a:pt x="99" y="119"/>
                    <a:pt x="99" y="119"/>
                    <a:pt x="99" y="119"/>
                  </a:cubicBezTo>
                  <a:cubicBezTo>
                    <a:pt x="99" y="119"/>
                    <a:pt x="99" y="119"/>
                    <a:pt x="100" y="119"/>
                  </a:cubicBezTo>
                  <a:cubicBezTo>
                    <a:pt x="169" y="95"/>
                    <a:pt x="169" y="95"/>
                    <a:pt x="169" y="95"/>
                  </a:cubicBezTo>
                  <a:cubicBezTo>
                    <a:pt x="170" y="95"/>
                    <a:pt x="171" y="95"/>
                    <a:pt x="171" y="95"/>
                  </a:cubicBezTo>
                  <a:cubicBezTo>
                    <a:pt x="240" y="71"/>
                    <a:pt x="240" y="71"/>
                    <a:pt x="240" y="71"/>
                  </a:cubicBezTo>
                  <a:cubicBezTo>
                    <a:pt x="241" y="71"/>
                    <a:pt x="242" y="71"/>
                    <a:pt x="242" y="70"/>
                  </a:cubicBezTo>
                  <a:cubicBezTo>
                    <a:pt x="265" y="63"/>
                    <a:pt x="265" y="63"/>
                    <a:pt x="265" y="63"/>
                  </a:cubicBezTo>
                  <a:cubicBezTo>
                    <a:pt x="268" y="62"/>
                    <a:pt x="270" y="60"/>
                    <a:pt x="271" y="57"/>
                  </a:cubicBezTo>
                  <a:cubicBezTo>
                    <a:pt x="272" y="55"/>
                    <a:pt x="272" y="52"/>
                    <a:pt x="272" y="49"/>
                  </a:cubicBezTo>
                  <a:cubicBezTo>
                    <a:pt x="258" y="9"/>
                    <a:pt x="258" y="9"/>
                    <a:pt x="258" y="9"/>
                  </a:cubicBezTo>
                  <a:cubicBezTo>
                    <a:pt x="256" y="3"/>
                    <a:pt x="250" y="0"/>
                    <a:pt x="244" y="2"/>
                  </a:cubicBezTo>
                  <a:cubicBezTo>
                    <a:pt x="8" y="83"/>
                    <a:pt x="8" y="83"/>
                    <a:pt x="8" y="83"/>
                  </a:cubicBezTo>
                  <a:cubicBezTo>
                    <a:pt x="3" y="85"/>
                    <a:pt x="0" y="91"/>
                    <a:pt x="2" y="96"/>
                  </a:cubicBezTo>
                  <a:cubicBezTo>
                    <a:pt x="15" y="135"/>
                    <a:pt x="15" y="135"/>
                    <a:pt x="15" y="135"/>
                  </a:cubicBezTo>
                  <a:cubicBezTo>
                    <a:pt x="15" y="283"/>
                    <a:pt x="15" y="283"/>
                    <a:pt x="15" y="283"/>
                  </a:cubicBezTo>
                  <a:cubicBezTo>
                    <a:pt x="15" y="289"/>
                    <a:pt x="20" y="293"/>
                    <a:pt x="26" y="293"/>
                  </a:cubicBezTo>
                  <a:cubicBezTo>
                    <a:pt x="282" y="293"/>
                    <a:pt x="282" y="293"/>
                    <a:pt x="282" y="293"/>
                  </a:cubicBezTo>
                  <a:cubicBezTo>
                    <a:pt x="288" y="293"/>
                    <a:pt x="292" y="289"/>
                    <a:pt x="292" y="283"/>
                  </a:cubicBezTo>
                  <a:cubicBezTo>
                    <a:pt x="292" y="133"/>
                    <a:pt x="292" y="133"/>
                    <a:pt x="292" y="133"/>
                  </a:cubicBezTo>
                  <a:cubicBezTo>
                    <a:pt x="292" y="127"/>
                    <a:pt x="288" y="123"/>
                    <a:pt x="282" y="123"/>
                  </a:cubicBezTo>
                  <a:close/>
                  <a:moveTo>
                    <a:pt x="271" y="165"/>
                  </a:moveTo>
                  <a:cubicBezTo>
                    <a:pt x="254" y="165"/>
                    <a:pt x="254" y="165"/>
                    <a:pt x="254" y="165"/>
                  </a:cubicBezTo>
                  <a:cubicBezTo>
                    <a:pt x="233" y="144"/>
                    <a:pt x="233" y="144"/>
                    <a:pt x="233" y="144"/>
                  </a:cubicBezTo>
                  <a:cubicBezTo>
                    <a:pt x="271" y="144"/>
                    <a:pt x="271" y="144"/>
                    <a:pt x="271" y="144"/>
                  </a:cubicBezTo>
                  <a:lnTo>
                    <a:pt x="271" y="165"/>
                  </a:lnTo>
                  <a:close/>
                  <a:moveTo>
                    <a:pt x="179" y="165"/>
                  </a:moveTo>
                  <a:cubicBezTo>
                    <a:pt x="158" y="144"/>
                    <a:pt x="158" y="144"/>
                    <a:pt x="158" y="144"/>
                  </a:cubicBezTo>
                  <a:cubicBezTo>
                    <a:pt x="203" y="144"/>
                    <a:pt x="203" y="144"/>
                    <a:pt x="203" y="144"/>
                  </a:cubicBezTo>
                  <a:cubicBezTo>
                    <a:pt x="224" y="165"/>
                    <a:pt x="224" y="165"/>
                    <a:pt x="224" y="165"/>
                  </a:cubicBezTo>
                  <a:lnTo>
                    <a:pt x="179" y="165"/>
                  </a:lnTo>
                  <a:close/>
                  <a:moveTo>
                    <a:pt x="105" y="165"/>
                  </a:moveTo>
                  <a:cubicBezTo>
                    <a:pt x="83" y="144"/>
                    <a:pt x="83" y="144"/>
                    <a:pt x="83" y="144"/>
                  </a:cubicBezTo>
                  <a:cubicBezTo>
                    <a:pt x="128" y="144"/>
                    <a:pt x="128" y="144"/>
                    <a:pt x="128" y="144"/>
                  </a:cubicBezTo>
                  <a:cubicBezTo>
                    <a:pt x="149" y="165"/>
                    <a:pt x="149" y="165"/>
                    <a:pt x="149" y="165"/>
                  </a:cubicBezTo>
                  <a:lnTo>
                    <a:pt x="105" y="165"/>
                  </a:lnTo>
                  <a:close/>
                  <a:moveTo>
                    <a:pt x="36" y="144"/>
                  </a:moveTo>
                  <a:cubicBezTo>
                    <a:pt x="53" y="144"/>
                    <a:pt x="53" y="144"/>
                    <a:pt x="53" y="144"/>
                  </a:cubicBezTo>
                  <a:cubicBezTo>
                    <a:pt x="75" y="165"/>
                    <a:pt x="75" y="165"/>
                    <a:pt x="75" y="165"/>
                  </a:cubicBezTo>
                  <a:cubicBezTo>
                    <a:pt x="36" y="165"/>
                    <a:pt x="36" y="165"/>
                    <a:pt x="36" y="165"/>
                  </a:cubicBezTo>
                  <a:lnTo>
                    <a:pt x="36" y="144"/>
                  </a:lnTo>
                  <a:close/>
                  <a:moveTo>
                    <a:pt x="112" y="70"/>
                  </a:moveTo>
                  <a:cubicBezTo>
                    <a:pt x="139" y="83"/>
                    <a:pt x="139" y="83"/>
                    <a:pt x="139" y="83"/>
                  </a:cubicBezTo>
                  <a:cubicBezTo>
                    <a:pt x="97" y="98"/>
                    <a:pt x="97" y="98"/>
                    <a:pt x="97" y="98"/>
                  </a:cubicBezTo>
                  <a:cubicBezTo>
                    <a:pt x="70" y="84"/>
                    <a:pt x="70" y="84"/>
                    <a:pt x="70" y="84"/>
                  </a:cubicBezTo>
                  <a:lnTo>
                    <a:pt x="112" y="70"/>
                  </a:lnTo>
                  <a:close/>
                  <a:moveTo>
                    <a:pt x="183" y="46"/>
                  </a:moveTo>
                  <a:cubicBezTo>
                    <a:pt x="210" y="59"/>
                    <a:pt x="210" y="59"/>
                    <a:pt x="210" y="59"/>
                  </a:cubicBezTo>
                  <a:cubicBezTo>
                    <a:pt x="168" y="73"/>
                    <a:pt x="168" y="73"/>
                    <a:pt x="168" y="73"/>
                  </a:cubicBezTo>
                  <a:cubicBezTo>
                    <a:pt x="140" y="60"/>
                    <a:pt x="140" y="60"/>
                    <a:pt x="140" y="60"/>
                  </a:cubicBezTo>
                  <a:lnTo>
                    <a:pt x="183" y="46"/>
                  </a:lnTo>
                  <a:close/>
                  <a:moveTo>
                    <a:pt x="248" y="46"/>
                  </a:moveTo>
                  <a:cubicBezTo>
                    <a:pt x="238" y="49"/>
                    <a:pt x="238" y="49"/>
                    <a:pt x="238" y="49"/>
                  </a:cubicBezTo>
                  <a:cubicBezTo>
                    <a:pt x="211" y="36"/>
                    <a:pt x="211" y="36"/>
                    <a:pt x="211" y="36"/>
                  </a:cubicBezTo>
                  <a:cubicBezTo>
                    <a:pt x="241" y="26"/>
                    <a:pt x="241" y="26"/>
                    <a:pt x="241" y="26"/>
                  </a:cubicBezTo>
                  <a:lnTo>
                    <a:pt x="248" y="46"/>
                  </a:lnTo>
                  <a:close/>
                  <a:moveTo>
                    <a:pt x="41" y="94"/>
                  </a:moveTo>
                  <a:cubicBezTo>
                    <a:pt x="68" y="107"/>
                    <a:pt x="68" y="107"/>
                    <a:pt x="68" y="107"/>
                  </a:cubicBezTo>
                  <a:cubicBezTo>
                    <a:pt x="32" y="120"/>
                    <a:pt x="32" y="120"/>
                    <a:pt x="32" y="120"/>
                  </a:cubicBezTo>
                  <a:cubicBezTo>
                    <a:pt x="25" y="100"/>
                    <a:pt x="25" y="100"/>
                    <a:pt x="25" y="100"/>
                  </a:cubicBezTo>
                  <a:lnTo>
                    <a:pt x="41" y="94"/>
                  </a:lnTo>
                  <a:close/>
                  <a:moveTo>
                    <a:pt x="36" y="272"/>
                  </a:moveTo>
                  <a:cubicBezTo>
                    <a:pt x="36" y="187"/>
                    <a:pt x="36" y="187"/>
                    <a:pt x="36" y="187"/>
                  </a:cubicBezTo>
                  <a:cubicBezTo>
                    <a:pt x="271" y="187"/>
                    <a:pt x="271" y="187"/>
                    <a:pt x="271" y="187"/>
                  </a:cubicBezTo>
                  <a:cubicBezTo>
                    <a:pt x="271" y="272"/>
                    <a:pt x="271" y="272"/>
                    <a:pt x="271" y="272"/>
                  </a:cubicBezTo>
                  <a:lnTo>
                    <a:pt x="36" y="27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300"/>
            <p:cNvSpPr>
              <a:spLocks noEditPoints="1"/>
            </p:cNvSpPr>
            <p:nvPr/>
          </p:nvSpPr>
          <p:spPr bwMode="auto">
            <a:xfrm>
              <a:off x="3511" y="39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ustDataLst>
      <p:tags r:id="rId1"/>
    </p:custDataLst>
    <p:extLst>
      <p:ext uri="{BB962C8B-B14F-4D97-AF65-F5344CB8AC3E}">
        <p14:creationId xmlns:p14="http://schemas.microsoft.com/office/powerpoint/2010/main" val="2000118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16" presetClass="entr" presetSubtype="21" fill="hold" grpId="0" nodeType="withEffect">
                                  <p:stCondLst>
                                    <p:cond delay="0"/>
                                  </p:stCondLst>
                                  <p:childTnLst>
                                    <p:set>
                                      <p:cBhvr>
                                        <p:cTn id="10" dur="1" fill="hold">
                                          <p:stCondLst>
                                            <p:cond delay="0"/>
                                          </p:stCondLst>
                                        </p:cTn>
                                        <p:tgtEl>
                                          <p:spTgt spid="67"/>
                                        </p:tgtEl>
                                        <p:attrNameLst>
                                          <p:attrName>style.visibility</p:attrName>
                                        </p:attrNameLst>
                                      </p:cBhvr>
                                      <p:to>
                                        <p:strVal val="visible"/>
                                      </p:to>
                                    </p:set>
                                    <p:animEffect transition="in" filter="barn(inVertical)">
                                      <p:cBhvr>
                                        <p:cTn id="11" dur="500"/>
                                        <p:tgtEl>
                                          <p:spTgt spid="67"/>
                                        </p:tgtEl>
                                      </p:cBhvr>
                                    </p:animEffect>
                                  </p:childTnLst>
                                </p:cTn>
                              </p:par>
                              <p:par>
                                <p:cTn id="12" presetID="16" presetClass="entr" presetSubtype="21" fill="hold" grpId="0" nodeType="withEffect">
                                  <p:stCondLst>
                                    <p:cond delay="0"/>
                                  </p:stCondLst>
                                  <p:childTnLst>
                                    <p:set>
                                      <p:cBhvr>
                                        <p:cTn id="13" dur="1" fill="hold">
                                          <p:stCondLst>
                                            <p:cond delay="0"/>
                                          </p:stCondLst>
                                        </p:cTn>
                                        <p:tgtEl>
                                          <p:spTgt spid="66"/>
                                        </p:tgtEl>
                                        <p:attrNameLst>
                                          <p:attrName>style.visibility</p:attrName>
                                        </p:attrNameLst>
                                      </p:cBhvr>
                                      <p:to>
                                        <p:strVal val="visible"/>
                                      </p:to>
                                    </p:set>
                                    <p:animEffect transition="in" filter="barn(inVertical)">
                                      <p:cBhvr>
                                        <p:cTn id="14" dur="500"/>
                                        <p:tgtEl>
                                          <p:spTgt spid="66"/>
                                        </p:tgtEl>
                                      </p:cBhvr>
                                    </p:animEffect>
                                  </p:childTnLst>
                                </p:cTn>
                              </p:par>
                              <p:par>
                                <p:cTn id="15" presetID="16" presetClass="entr" presetSubtype="21" fill="hold" grpId="0" nodeType="withEffect">
                                  <p:stCondLst>
                                    <p:cond delay="0"/>
                                  </p:stCondLst>
                                  <p:childTnLst>
                                    <p:set>
                                      <p:cBhvr>
                                        <p:cTn id="16" dur="1" fill="hold">
                                          <p:stCondLst>
                                            <p:cond delay="0"/>
                                          </p:stCondLst>
                                        </p:cTn>
                                        <p:tgtEl>
                                          <p:spTgt spid="69"/>
                                        </p:tgtEl>
                                        <p:attrNameLst>
                                          <p:attrName>style.visibility</p:attrName>
                                        </p:attrNameLst>
                                      </p:cBhvr>
                                      <p:to>
                                        <p:strVal val="visible"/>
                                      </p:to>
                                    </p:set>
                                    <p:animEffect transition="in" filter="barn(inVertical)">
                                      <p:cBhvr>
                                        <p:cTn id="17" dur="500"/>
                                        <p:tgtEl>
                                          <p:spTgt spid="69"/>
                                        </p:tgtEl>
                                      </p:cBhvr>
                                    </p:animEffect>
                                  </p:childTnLst>
                                </p:cTn>
                              </p:par>
                              <p:par>
                                <p:cTn id="18" presetID="16" presetClass="entr" presetSubtype="21"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Effect transition="in" filter="barn(inVertical)">
                                      <p:cBhvr>
                                        <p:cTn id="20" dur="500"/>
                                        <p:tgtEl>
                                          <p:spTgt spid="68"/>
                                        </p:tgtEl>
                                      </p:cBhvr>
                                    </p:animEffect>
                                  </p:childTnLst>
                                </p:cTn>
                              </p:par>
                              <p:par>
                                <p:cTn id="21" presetID="16" presetClass="entr" presetSubtype="21" fill="hold" grpId="0" nodeType="withEffect">
                                  <p:stCondLst>
                                    <p:cond delay="0"/>
                                  </p:stCondLst>
                                  <p:childTnLst>
                                    <p:set>
                                      <p:cBhvr>
                                        <p:cTn id="22" dur="1" fill="hold">
                                          <p:stCondLst>
                                            <p:cond delay="0"/>
                                          </p:stCondLst>
                                        </p:cTn>
                                        <p:tgtEl>
                                          <p:spTgt spid="71"/>
                                        </p:tgtEl>
                                        <p:attrNameLst>
                                          <p:attrName>style.visibility</p:attrName>
                                        </p:attrNameLst>
                                      </p:cBhvr>
                                      <p:to>
                                        <p:strVal val="visible"/>
                                      </p:to>
                                    </p:set>
                                    <p:animEffect transition="in" filter="barn(inVertical)">
                                      <p:cBhvr>
                                        <p:cTn id="23" dur="500"/>
                                        <p:tgtEl>
                                          <p:spTgt spid="71"/>
                                        </p:tgtEl>
                                      </p:cBhvr>
                                    </p:animEffect>
                                  </p:childTnLst>
                                </p:cTn>
                              </p:par>
                              <p:par>
                                <p:cTn id="24" presetID="16" presetClass="entr" presetSubtype="21" fill="hold" grpId="0" nodeType="with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barn(inVertical)">
                                      <p:cBhvr>
                                        <p:cTn id="26" dur="500"/>
                                        <p:tgtEl>
                                          <p:spTgt spid="70"/>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72"/>
                                        </p:tgtEl>
                                        <p:attrNameLst>
                                          <p:attrName>style.visibility</p:attrName>
                                        </p:attrNameLst>
                                      </p:cBhvr>
                                      <p:to>
                                        <p:strVal val="visible"/>
                                      </p:to>
                                    </p:set>
                                    <p:anim calcmode="lin" valueType="num">
                                      <p:cBhvr>
                                        <p:cTn id="29" dur="500" fill="hold"/>
                                        <p:tgtEl>
                                          <p:spTgt spid="72"/>
                                        </p:tgtEl>
                                        <p:attrNameLst>
                                          <p:attrName>ppt_w</p:attrName>
                                        </p:attrNameLst>
                                      </p:cBhvr>
                                      <p:tavLst>
                                        <p:tav tm="0">
                                          <p:val>
                                            <p:fltVal val="0"/>
                                          </p:val>
                                        </p:tav>
                                        <p:tav tm="100000">
                                          <p:val>
                                            <p:strVal val="#ppt_w"/>
                                          </p:val>
                                        </p:tav>
                                      </p:tavLst>
                                    </p:anim>
                                    <p:anim calcmode="lin" valueType="num">
                                      <p:cBhvr>
                                        <p:cTn id="30" dur="500" fill="hold"/>
                                        <p:tgtEl>
                                          <p:spTgt spid="72"/>
                                        </p:tgtEl>
                                        <p:attrNameLst>
                                          <p:attrName>ppt_h</p:attrName>
                                        </p:attrNameLst>
                                      </p:cBhvr>
                                      <p:tavLst>
                                        <p:tav tm="0">
                                          <p:val>
                                            <p:fltVal val="0"/>
                                          </p:val>
                                        </p:tav>
                                        <p:tav tm="100000">
                                          <p:val>
                                            <p:strVal val="#ppt_h"/>
                                          </p:val>
                                        </p:tav>
                                      </p:tavLst>
                                    </p:anim>
                                    <p:animEffect transition="in" filter="fade">
                                      <p:cBhvr>
                                        <p:cTn id="31" dur="500"/>
                                        <p:tgtEl>
                                          <p:spTgt spid="72"/>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75"/>
                                        </p:tgtEl>
                                        <p:attrNameLst>
                                          <p:attrName>style.visibility</p:attrName>
                                        </p:attrNameLst>
                                      </p:cBhvr>
                                      <p:to>
                                        <p:strVal val="visible"/>
                                      </p:to>
                                    </p:set>
                                    <p:animEffect transition="in" filter="wipe(left)">
                                      <p:cBhvr>
                                        <p:cTn id="34" dur="500"/>
                                        <p:tgtEl>
                                          <p:spTgt spid="7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Effect transition="in" filter="fade">
                                      <p:cBhvr>
                                        <p:cTn id="37" dur="500"/>
                                        <p:tgtEl>
                                          <p:spTgt spid="74"/>
                                        </p:tgtEl>
                                      </p:cBhvr>
                                    </p:animEffect>
                                  </p:childTnLst>
                                </p:cTn>
                              </p:par>
                              <p:par>
                                <p:cTn id="38" presetID="53" presetClass="entr" presetSubtype="16" fill="hold" grpId="0" nodeType="withEffect">
                                  <p:stCondLst>
                                    <p:cond delay="0"/>
                                  </p:stCondLst>
                                  <p:childTnLst>
                                    <p:set>
                                      <p:cBhvr>
                                        <p:cTn id="39" dur="1" fill="hold">
                                          <p:stCondLst>
                                            <p:cond delay="0"/>
                                          </p:stCondLst>
                                        </p:cTn>
                                        <p:tgtEl>
                                          <p:spTgt spid="77"/>
                                        </p:tgtEl>
                                        <p:attrNameLst>
                                          <p:attrName>style.visibility</p:attrName>
                                        </p:attrNameLst>
                                      </p:cBhvr>
                                      <p:to>
                                        <p:strVal val="visible"/>
                                      </p:to>
                                    </p:set>
                                    <p:anim calcmode="lin" valueType="num">
                                      <p:cBhvr>
                                        <p:cTn id="40" dur="500" fill="hold"/>
                                        <p:tgtEl>
                                          <p:spTgt spid="77"/>
                                        </p:tgtEl>
                                        <p:attrNameLst>
                                          <p:attrName>ppt_w</p:attrName>
                                        </p:attrNameLst>
                                      </p:cBhvr>
                                      <p:tavLst>
                                        <p:tav tm="0">
                                          <p:val>
                                            <p:fltVal val="0"/>
                                          </p:val>
                                        </p:tav>
                                        <p:tav tm="100000">
                                          <p:val>
                                            <p:strVal val="#ppt_w"/>
                                          </p:val>
                                        </p:tav>
                                      </p:tavLst>
                                    </p:anim>
                                    <p:anim calcmode="lin" valueType="num">
                                      <p:cBhvr>
                                        <p:cTn id="41" dur="500" fill="hold"/>
                                        <p:tgtEl>
                                          <p:spTgt spid="77"/>
                                        </p:tgtEl>
                                        <p:attrNameLst>
                                          <p:attrName>ppt_h</p:attrName>
                                        </p:attrNameLst>
                                      </p:cBhvr>
                                      <p:tavLst>
                                        <p:tav tm="0">
                                          <p:val>
                                            <p:fltVal val="0"/>
                                          </p:val>
                                        </p:tav>
                                        <p:tav tm="100000">
                                          <p:val>
                                            <p:strVal val="#ppt_h"/>
                                          </p:val>
                                        </p:tav>
                                      </p:tavLst>
                                    </p:anim>
                                    <p:animEffect transition="in" filter="fade">
                                      <p:cBhvr>
                                        <p:cTn id="42" dur="500"/>
                                        <p:tgtEl>
                                          <p:spTgt spid="77"/>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wipe(left)">
                                      <p:cBhvr>
                                        <p:cTn id="45" dur="500"/>
                                        <p:tgtEl>
                                          <p:spTgt spid="7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8"/>
                                        </p:tgtEl>
                                        <p:attrNameLst>
                                          <p:attrName>style.visibility</p:attrName>
                                        </p:attrNameLst>
                                      </p:cBhvr>
                                      <p:to>
                                        <p:strVal val="visible"/>
                                      </p:to>
                                    </p:set>
                                    <p:animEffect transition="in" filter="fade">
                                      <p:cBhvr>
                                        <p:cTn id="48" dur="500"/>
                                        <p:tgtEl>
                                          <p:spTgt spid="78"/>
                                        </p:tgtEl>
                                      </p:cBhvr>
                                    </p:animEffect>
                                  </p:childTnLst>
                                </p:cTn>
                              </p:par>
                              <p:par>
                                <p:cTn id="49" presetID="53" presetClass="entr" presetSubtype="16" fill="hold" grpId="0" nodeType="withEffect">
                                  <p:stCondLst>
                                    <p:cond delay="0"/>
                                  </p:stCondLst>
                                  <p:childTnLst>
                                    <p:set>
                                      <p:cBhvr>
                                        <p:cTn id="50" dur="1" fill="hold">
                                          <p:stCondLst>
                                            <p:cond delay="0"/>
                                          </p:stCondLst>
                                        </p:cTn>
                                        <p:tgtEl>
                                          <p:spTgt spid="81"/>
                                        </p:tgtEl>
                                        <p:attrNameLst>
                                          <p:attrName>style.visibility</p:attrName>
                                        </p:attrNameLst>
                                      </p:cBhvr>
                                      <p:to>
                                        <p:strVal val="visible"/>
                                      </p:to>
                                    </p:set>
                                    <p:anim calcmode="lin" valueType="num">
                                      <p:cBhvr>
                                        <p:cTn id="51" dur="500" fill="hold"/>
                                        <p:tgtEl>
                                          <p:spTgt spid="81"/>
                                        </p:tgtEl>
                                        <p:attrNameLst>
                                          <p:attrName>ppt_w</p:attrName>
                                        </p:attrNameLst>
                                      </p:cBhvr>
                                      <p:tavLst>
                                        <p:tav tm="0">
                                          <p:val>
                                            <p:fltVal val="0"/>
                                          </p:val>
                                        </p:tav>
                                        <p:tav tm="100000">
                                          <p:val>
                                            <p:strVal val="#ppt_w"/>
                                          </p:val>
                                        </p:tav>
                                      </p:tavLst>
                                    </p:anim>
                                    <p:anim calcmode="lin" valueType="num">
                                      <p:cBhvr>
                                        <p:cTn id="52" dur="500" fill="hold"/>
                                        <p:tgtEl>
                                          <p:spTgt spid="81"/>
                                        </p:tgtEl>
                                        <p:attrNameLst>
                                          <p:attrName>ppt_h</p:attrName>
                                        </p:attrNameLst>
                                      </p:cBhvr>
                                      <p:tavLst>
                                        <p:tav tm="0">
                                          <p:val>
                                            <p:fltVal val="0"/>
                                          </p:val>
                                        </p:tav>
                                        <p:tav tm="100000">
                                          <p:val>
                                            <p:strVal val="#ppt_h"/>
                                          </p:val>
                                        </p:tav>
                                      </p:tavLst>
                                    </p:anim>
                                    <p:animEffect transition="in" filter="fade">
                                      <p:cBhvr>
                                        <p:cTn id="53" dur="500"/>
                                        <p:tgtEl>
                                          <p:spTgt spid="81"/>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83"/>
                                        </p:tgtEl>
                                        <p:attrNameLst>
                                          <p:attrName>style.visibility</p:attrName>
                                        </p:attrNameLst>
                                      </p:cBhvr>
                                      <p:to>
                                        <p:strVal val="visible"/>
                                      </p:to>
                                    </p:set>
                                    <p:animEffect transition="in" filter="wipe(left)">
                                      <p:cBhvr>
                                        <p:cTn id="56" dur="500"/>
                                        <p:tgtEl>
                                          <p:spTgt spid="83"/>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2"/>
                                        </p:tgtEl>
                                        <p:attrNameLst>
                                          <p:attrName>style.visibility</p:attrName>
                                        </p:attrNameLst>
                                      </p:cBhvr>
                                      <p:to>
                                        <p:strVal val="visible"/>
                                      </p:to>
                                    </p:set>
                                    <p:animEffect transition="in" filter="fade">
                                      <p:cBhvr>
                                        <p:cTn id="59"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7" grpId="0"/>
      <p:bldP spid="68" grpId="0"/>
      <p:bldP spid="69" grpId="0"/>
      <p:bldP spid="70" grpId="0"/>
      <p:bldP spid="71" grpId="0"/>
      <p:bldP spid="72" grpId="0" animBg="1"/>
      <p:bldP spid="74" grpId="0"/>
      <p:bldP spid="75" grpId="0"/>
      <p:bldP spid="77" grpId="0" animBg="1"/>
      <p:bldP spid="78" grpId="0"/>
      <p:bldP spid="79" grpId="0"/>
      <p:bldP spid="81" grpId="0" animBg="1"/>
      <p:bldP spid="82" grpId="0"/>
      <p:bldP spid="8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Arc 35">
            <a:extLst>
              <a:ext uri="{FF2B5EF4-FFF2-40B4-BE49-F238E27FC236}">
                <a16:creationId xmlns:a16="http://schemas.microsoft.com/office/drawing/2014/main" id="{C5E8A21A-C674-476C-A0E9-41947BB38F18}"/>
              </a:ext>
            </a:extLst>
          </p:cNvPr>
          <p:cNvSpPr/>
          <p:nvPr/>
        </p:nvSpPr>
        <p:spPr>
          <a:xfrm>
            <a:off x="729919" y="1693103"/>
            <a:ext cx="4088045" cy="4088045"/>
          </a:xfrm>
          <a:prstGeom prst="arc">
            <a:avLst>
              <a:gd name="adj1" fmla="val 16812435"/>
              <a:gd name="adj2" fmla="val 4781030"/>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00"/>
          </a:p>
        </p:txBody>
      </p:sp>
      <p:sp>
        <p:nvSpPr>
          <p:cNvPr id="37" name="Arc 36">
            <a:extLst>
              <a:ext uri="{FF2B5EF4-FFF2-40B4-BE49-F238E27FC236}">
                <a16:creationId xmlns:a16="http://schemas.microsoft.com/office/drawing/2014/main" id="{3B27D4D6-F06F-4941-9B1D-99559099373C}"/>
              </a:ext>
            </a:extLst>
          </p:cNvPr>
          <p:cNvSpPr/>
          <p:nvPr/>
        </p:nvSpPr>
        <p:spPr>
          <a:xfrm flipH="1">
            <a:off x="755336" y="1693103"/>
            <a:ext cx="4088045" cy="4088045"/>
          </a:xfrm>
          <a:prstGeom prst="arc">
            <a:avLst>
              <a:gd name="adj1" fmla="val 16812435"/>
              <a:gd name="adj2" fmla="val 4781841"/>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00"/>
          </a:p>
        </p:txBody>
      </p:sp>
      <p:sp>
        <p:nvSpPr>
          <p:cNvPr id="14" name="Oval 13">
            <a:extLst>
              <a:ext uri="{FF2B5EF4-FFF2-40B4-BE49-F238E27FC236}">
                <a16:creationId xmlns:a16="http://schemas.microsoft.com/office/drawing/2014/main" id="{0CE2C832-D59F-44DD-BDE0-C7857C106B53}"/>
              </a:ext>
            </a:extLst>
          </p:cNvPr>
          <p:cNvSpPr/>
          <p:nvPr/>
        </p:nvSpPr>
        <p:spPr bwMode="gray">
          <a:xfrm>
            <a:off x="967627" y="1899909"/>
            <a:ext cx="3674434" cy="3674434"/>
          </a:xfrm>
          <a:prstGeom prst="ellipse">
            <a:avLst/>
          </a:prstGeom>
          <a:noFill/>
          <a:ln w="19050" algn="ctr">
            <a:solidFill>
              <a:srgbClr val="046A38"/>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1134647" y="2066929"/>
            <a:ext cx="3340395" cy="3340395"/>
          </a:xfrm>
          <a:prstGeom prst="ellipse">
            <a:avLst/>
          </a:prstGeom>
          <a:noFill/>
          <a:ln w="19050" algn="ctr">
            <a:solidFill>
              <a:srgbClr val="009A44"/>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1286483" y="2218765"/>
            <a:ext cx="3036722" cy="3036722"/>
          </a:xfrm>
          <a:prstGeom prst="ellipse">
            <a:avLst/>
          </a:prstGeom>
          <a:noFill/>
          <a:ln w="19050" algn="ctr">
            <a:solidFill>
              <a:srgbClr val="009A44"/>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1424516" y="2356798"/>
            <a:ext cx="2760657" cy="2760657"/>
          </a:xfrm>
          <a:prstGeom prst="ellipse">
            <a:avLst/>
          </a:prstGeom>
          <a:no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44" name="Group 43">
            <a:extLst>
              <a:ext uri="{FF2B5EF4-FFF2-40B4-BE49-F238E27FC236}">
                <a16:creationId xmlns:a16="http://schemas.microsoft.com/office/drawing/2014/main" id="{FD4822F1-D35A-4529-B33C-5058B2AB54C4}"/>
              </a:ext>
            </a:extLst>
          </p:cNvPr>
          <p:cNvGrpSpPr/>
          <p:nvPr/>
        </p:nvGrpSpPr>
        <p:grpSpPr>
          <a:xfrm>
            <a:off x="1989268" y="2948637"/>
            <a:ext cx="1631154" cy="1406167"/>
            <a:chOff x="1669172" y="3314575"/>
            <a:chExt cx="1794269" cy="1546784"/>
          </a:xfrm>
        </p:grpSpPr>
        <p:sp>
          <p:nvSpPr>
            <p:cNvPr id="8" name="Isosceles Triangle 7">
              <a:extLst>
                <a:ext uri="{FF2B5EF4-FFF2-40B4-BE49-F238E27FC236}">
                  <a16:creationId xmlns:a16="http://schemas.microsoft.com/office/drawing/2014/main" id="{C3A8CFA0-6085-4DD3-A77E-2D5168F1AA48}"/>
                </a:ext>
              </a:extLst>
            </p:cNvPr>
            <p:cNvSpPr/>
            <p:nvPr/>
          </p:nvSpPr>
          <p:spPr bwMode="gray">
            <a:xfrm>
              <a:off x="1669172" y="3314575"/>
              <a:ext cx="1794269" cy="1546784"/>
            </a:xfrm>
            <a:prstGeom prst="triangle">
              <a:avLst/>
            </a:prstGeom>
            <a:noFill/>
            <a:ln w="25400" algn="ctr">
              <a:solidFill>
                <a:schemeClr val="accent3">
                  <a:lumMod val="60000"/>
                  <a:lumOff val="40000"/>
                </a:schemeClr>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11" name="Group 10">
              <a:extLst>
                <a:ext uri="{FF2B5EF4-FFF2-40B4-BE49-F238E27FC236}">
                  <a16:creationId xmlns:a16="http://schemas.microsoft.com/office/drawing/2014/main" id="{507358F6-4FF9-48E9-9ED0-8491AA14F01D}"/>
                </a:ext>
              </a:extLst>
            </p:cNvPr>
            <p:cNvGrpSpPr/>
            <p:nvPr/>
          </p:nvGrpSpPr>
          <p:grpSpPr>
            <a:xfrm>
              <a:off x="2498918" y="3740398"/>
              <a:ext cx="134776" cy="907079"/>
              <a:chOff x="6005513" y="2852709"/>
              <a:chExt cx="179387" cy="1207323"/>
            </a:xfrm>
          </p:grpSpPr>
          <p:sp>
            <p:nvSpPr>
              <p:cNvPr id="9" name="Trapezoid 8">
                <a:extLst>
                  <a:ext uri="{FF2B5EF4-FFF2-40B4-BE49-F238E27FC236}">
                    <a16:creationId xmlns:a16="http://schemas.microsoft.com/office/drawing/2014/main" id="{5536512C-43CB-40CD-94B3-085713923BE7}"/>
                  </a:ext>
                </a:extLst>
              </p:cNvPr>
              <p:cNvSpPr/>
              <p:nvPr/>
            </p:nvSpPr>
            <p:spPr bwMode="gray">
              <a:xfrm flipV="1">
                <a:off x="6005513" y="2852709"/>
                <a:ext cx="179387" cy="1007483"/>
              </a:xfrm>
              <a:prstGeom prst="trapezoid">
                <a:avLst/>
              </a:prstGeom>
              <a:noFill/>
              <a:ln w="25400" algn="ctr">
                <a:solidFill>
                  <a:schemeClr val="accent3">
                    <a:lumMod val="60000"/>
                    <a:lumOff val="4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endParaRPr lang="en-US" sz="1300" b="1" dirty="0">
                  <a:solidFill>
                    <a:schemeClr val="bg1"/>
                  </a:solidFill>
                </a:endParaRPr>
              </a:p>
            </p:txBody>
          </p:sp>
          <p:sp>
            <p:nvSpPr>
              <p:cNvPr id="10" name="Rectangle 9">
                <a:extLst>
                  <a:ext uri="{FF2B5EF4-FFF2-40B4-BE49-F238E27FC236}">
                    <a16:creationId xmlns:a16="http://schemas.microsoft.com/office/drawing/2014/main" id="{B4FFEFF4-0F7D-4EA5-BB18-9E5FFF5774D2}"/>
                  </a:ext>
                </a:extLst>
              </p:cNvPr>
              <p:cNvSpPr/>
              <p:nvPr/>
            </p:nvSpPr>
            <p:spPr bwMode="gray">
              <a:xfrm>
                <a:off x="6049962" y="3960019"/>
                <a:ext cx="90488" cy="100013"/>
              </a:xfrm>
              <a:prstGeom prst="rect">
                <a:avLst/>
              </a:prstGeom>
              <a:noFill/>
              <a:ln w="25400" algn="ctr">
                <a:solidFill>
                  <a:schemeClr val="accent3">
                    <a:lumMod val="60000"/>
                    <a:lumOff val="4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endParaRPr lang="en-US" sz="1300" b="1" dirty="0">
                  <a:solidFill>
                    <a:schemeClr val="bg1"/>
                  </a:solidFill>
                </a:endParaRPr>
              </a:p>
            </p:txBody>
          </p:sp>
        </p:grpSp>
      </p:grpSp>
      <p:sp>
        <p:nvSpPr>
          <p:cNvPr id="19" name="Rectangle 18">
            <a:extLst>
              <a:ext uri="{FF2B5EF4-FFF2-40B4-BE49-F238E27FC236}">
                <a16:creationId xmlns:a16="http://schemas.microsoft.com/office/drawing/2014/main" id="{6F4B5722-2CDC-4CC6-B138-D8EDB141AE62}"/>
              </a:ext>
            </a:extLst>
          </p:cNvPr>
          <p:cNvSpPr/>
          <p:nvPr/>
        </p:nvSpPr>
        <p:spPr>
          <a:xfrm>
            <a:off x="6949184" y="1483654"/>
            <a:ext cx="4747515" cy="600164"/>
          </a:xfrm>
          <a:prstGeom prst="rect">
            <a:avLst/>
          </a:prstGeom>
        </p:spPr>
        <p:txBody>
          <a:bodyPr wrap="square" lIns="0" tIns="0" rIns="0" bIns="0" anchor="ctr">
            <a:spAutoFit/>
          </a:bodyPr>
          <a:lstStyle/>
          <a:p>
            <a:r>
              <a:rPr lang="en-US" sz="1300" b="1" dirty="0">
                <a:solidFill>
                  <a:srgbClr val="009A44"/>
                </a:solidFill>
              </a:rPr>
              <a:t>Lorem ipsum </a:t>
            </a:r>
          </a:p>
          <a:p>
            <a:r>
              <a:rPr lang="en-US" sz="1300" dirty="0">
                <a:solidFill>
                  <a:schemeClr val="bg1"/>
                </a:solidFill>
              </a:rPr>
              <a:t>This is dummy text it is not here to be read. The is just text to show where you could insert text.</a:t>
            </a:r>
          </a:p>
        </p:txBody>
      </p:sp>
      <p:sp>
        <p:nvSpPr>
          <p:cNvPr id="23" name="TextBox 22">
            <a:extLst>
              <a:ext uri="{FF2B5EF4-FFF2-40B4-BE49-F238E27FC236}">
                <a16:creationId xmlns:a16="http://schemas.microsoft.com/office/drawing/2014/main" id="{BB417DA9-D89D-4B3F-A131-0462D93B4E68}"/>
              </a:ext>
            </a:extLst>
          </p:cNvPr>
          <p:cNvSpPr txBox="1"/>
          <p:nvPr/>
        </p:nvSpPr>
        <p:spPr>
          <a:xfrm>
            <a:off x="6957469" y="5301233"/>
            <a:ext cx="4747516" cy="600164"/>
          </a:xfrm>
          <a:prstGeom prst="rect">
            <a:avLst/>
          </a:prstGeom>
          <a:noFill/>
        </p:spPr>
        <p:txBody>
          <a:bodyPr wrap="square" lIns="0" tIns="0" rIns="0" bIns="0" rtlCol="0" anchor="ctr">
            <a:spAutoFit/>
          </a:bodyPr>
          <a:lstStyle/>
          <a:p>
            <a:r>
              <a:rPr lang="en-US" sz="1300" b="1" dirty="0">
                <a:solidFill>
                  <a:srgbClr val="009A44"/>
                </a:solidFill>
              </a:rPr>
              <a:t>Lorem ipsum </a:t>
            </a:r>
          </a:p>
          <a:p>
            <a:r>
              <a:rPr lang="en-US" sz="1300" dirty="0">
                <a:solidFill>
                  <a:schemeClr val="bg1"/>
                </a:solidFill>
              </a:rPr>
              <a:t>This is dummy text it is not here to be read. The is just text to show where you could insert text.</a:t>
            </a:r>
          </a:p>
        </p:txBody>
      </p:sp>
      <p:sp>
        <p:nvSpPr>
          <p:cNvPr id="27" name="TextBox 26">
            <a:extLst>
              <a:ext uri="{FF2B5EF4-FFF2-40B4-BE49-F238E27FC236}">
                <a16:creationId xmlns:a16="http://schemas.microsoft.com/office/drawing/2014/main" id="{071F6CF4-79C8-4CC2-8527-96D8F97ED4DA}"/>
              </a:ext>
            </a:extLst>
          </p:cNvPr>
          <p:cNvSpPr txBox="1"/>
          <p:nvPr/>
        </p:nvSpPr>
        <p:spPr>
          <a:xfrm>
            <a:off x="6949185" y="4375691"/>
            <a:ext cx="4747516" cy="600164"/>
          </a:xfrm>
          <a:prstGeom prst="rect">
            <a:avLst/>
          </a:prstGeom>
          <a:noFill/>
        </p:spPr>
        <p:txBody>
          <a:bodyPr wrap="square" lIns="0" tIns="0" rIns="0" bIns="0" rtlCol="0" anchor="ctr">
            <a:spAutoFit/>
          </a:bodyPr>
          <a:lstStyle/>
          <a:p>
            <a:r>
              <a:rPr lang="en-US" sz="1300" b="1" dirty="0">
                <a:solidFill>
                  <a:srgbClr val="009A44"/>
                </a:solidFill>
              </a:rPr>
              <a:t>Lorem ipsum </a:t>
            </a:r>
          </a:p>
          <a:p>
            <a:r>
              <a:rPr lang="en-US" sz="1300" dirty="0">
                <a:solidFill>
                  <a:schemeClr val="bg1"/>
                </a:solidFill>
              </a:rPr>
              <a:t>This is dummy text it is not here to be read. The is just text to show where you could insert text.</a:t>
            </a:r>
          </a:p>
        </p:txBody>
      </p:sp>
      <p:sp>
        <p:nvSpPr>
          <p:cNvPr id="31" name="TextBox 30">
            <a:extLst>
              <a:ext uri="{FF2B5EF4-FFF2-40B4-BE49-F238E27FC236}">
                <a16:creationId xmlns:a16="http://schemas.microsoft.com/office/drawing/2014/main" id="{5C61A11C-C01A-4F64-9A2B-A7776ABA120C}"/>
              </a:ext>
            </a:extLst>
          </p:cNvPr>
          <p:cNvSpPr txBox="1"/>
          <p:nvPr/>
        </p:nvSpPr>
        <p:spPr>
          <a:xfrm>
            <a:off x="6949184" y="2524611"/>
            <a:ext cx="4747515" cy="600164"/>
          </a:xfrm>
          <a:prstGeom prst="rect">
            <a:avLst/>
          </a:prstGeom>
          <a:noFill/>
        </p:spPr>
        <p:txBody>
          <a:bodyPr wrap="square" lIns="0" tIns="0" rIns="0" bIns="0" rtlCol="0" anchor="ctr">
            <a:spAutoFit/>
          </a:bodyPr>
          <a:lstStyle/>
          <a:p>
            <a:r>
              <a:rPr lang="en-US" sz="1300" b="1" dirty="0">
                <a:solidFill>
                  <a:srgbClr val="009A44"/>
                </a:solidFill>
              </a:rPr>
              <a:t>Lorem ipsum </a:t>
            </a:r>
          </a:p>
          <a:p>
            <a:r>
              <a:rPr lang="en-US" sz="1300" dirty="0">
                <a:solidFill>
                  <a:schemeClr val="bg1"/>
                </a:solidFill>
              </a:rPr>
              <a:t>This is dummy text it is not here to be read. The is just text to show where you could insert text.</a:t>
            </a:r>
          </a:p>
        </p:txBody>
      </p:sp>
      <p:sp>
        <p:nvSpPr>
          <p:cNvPr id="35" name="TextBox 34">
            <a:extLst>
              <a:ext uri="{FF2B5EF4-FFF2-40B4-BE49-F238E27FC236}">
                <a16:creationId xmlns:a16="http://schemas.microsoft.com/office/drawing/2014/main" id="{6CF5C9AA-2CAE-430A-9770-0A854565AACD}"/>
              </a:ext>
            </a:extLst>
          </p:cNvPr>
          <p:cNvSpPr txBox="1"/>
          <p:nvPr/>
        </p:nvSpPr>
        <p:spPr>
          <a:xfrm>
            <a:off x="6949185" y="3450151"/>
            <a:ext cx="4747516" cy="600164"/>
          </a:xfrm>
          <a:prstGeom prst="rect">
            <a:avLst/>
          </a:prstGeom>
          <a:noFill/>
        </p:spPr>
        <p:txBody>
          <a:bodyPr wrap="square" lIns="0" tIns="0" rIns="0" bIns="0" rtlCol="0" anchor="ctr">
            <a:spAutoFit/>
          </a:bodyPr>
          <a:lstStyle/>
          <a:p>
            <a:r>
              <a:rPr lang="en-US" sz="1300" b="1" dirty="0">
                <a:solidFill>
                  <a:srgbClr val="009A44"/>
                </a:solidFill>
              </a:rPr>
              <a:t>Lorem ipsum </a:t>
            </a:r>
          </a:p>
          <a:p>
            <a:r>
              <a:rPr lang="en-US" sz="1300" dirty="0">
                <a:solidFill>
                  <a:schemeClr val="bg1"/>
                </a:solidFill>
              </a:rPr>
              <a:t>This is dummy text it is not here to be read. The is just text to show where you could insert text.</a:t>
            </a:r>
          </a:p>
        </p:txBody>
      </p:sp>
      <p:cxnSp>
        <p:nvCxnSpPr>
          <p:cNvPr id="39" name="Straight Connector 38">
            <a:extLst>
              <a:ext uri="{FF2B5EF4-FFF2-40B4-BE49-F238E27FC236}">
                <a16:creationId xmlns:a16="http://schemas.microsoft.com/office/drawing/2014/main" id="{C0B86FC4-2DE4-4A25-87BC-F32109C3457F}"/>
              </a:ext>
            </a:extLst>
          </p:cNvPr>
          <p:cNvCxnSpPr>
            <a:cxnSpLocks/>
          </p:cNvCxnSpPr>
          <p:nvPr/>
        </p:nvCxnSpPr>
        <p:spPr>
          <a:xfrm>
            <a:off x="6945448" y="2230619"/>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43B02A"/>
                </a:gs>
              </a:gsLst>
              <a:lin ang="0" scaled="1"/>
              <a:tileRect/>
            </a:gradFill>
            <a:miter lim="800000"/>
            <a:headEnd/>
            <a:tailEnd type="none" w="lg" len="lg"/>
          </a:ln>
        </p:spPr>
      </p:cxnSp>
      <p:cxnSp>
        <p:nvCxnSpPr>
          <p:cNvPr id="41" name="Straight Connector 40">
            <a:extLst>
              <a:ext uri="{FF2B5EF4-FFF2-40B4-BE49-F238E27FC236}">
                <a16:creationId xmlns:a16="http://schemas.microsoft.com/office/drawing/2014/main" id="{E8228A18-081A-4834-BEC0-ADB2CF894D6E}"/>
              </a:ext>
            </a:extLst>
          </p:cNvPr>
          <p:cNvCxnSpPr>
            <a:cxnSpLocks/>
          </p:cNvCxnSpPr>
          <p:nvPr/>
        </p:nvCxnSpPr>
        <p:spPr>
          <a:xfrm>
            <a:off x="6945448" y="3156159"/>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43B02A"/>
                </a:gs>
              </a:gsLst>
              <a:lin ang="0" scaled="1"/>
              <a:tileRect/>
            </a:gradFill>
            <a:miter lim="800000"/>
            <a:headEnd/>
            <a:tailEnd type="none" w="lg" len="lg"/>
          </a:ln>
        </p:spPr>
      </p:cxnSp>
      <p:cxnSp>
        <p:nvCxnSpPr>
          <p:cNvPr id="42" name="Straight Connector 41">
            <a:extLst>
              <a:ext uri="{FF2B5EF4-FFF2-40B4-BE49-F238E27FC236}">
                <a16:creationId xmlns:a16="http://schemas.microsoft.com/office/drawing/2014/main" id="{0AC8A759-E312-45DB-8B8F-7A5AE70F0F1A}"/>
              </a:ext>
            </a:extLst>
          </p:cNvPr>
          <p:cNvCxnSpPr>
            <a:cxnSpLocks/>
          </p:cNvCxnSpPr>
          <p:nvPr/>
        </p:nvCxnSpPr>
        <p:spPr>
          <a:xfrm>
            <a:off x="6945448" y="4081699"/>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43B02A"/>
                </a:gs>
              </a:gsLst>
              <a:lin ang="0" scaled="1"/>
              <a:tileRect/>
            </a:gradFill>
            <a:miter lim="800000"/>
            <a:headEnd/>
            <a:tailEnd type="none" w="lg" len="lg"/>
          </a:ln>
        </p:spPr>
      </p:cxnSp>
      <p:cxnSp>
        <p:nvCxnSpPr>
          <p:cNvPr id="43" name="Straight Connector 42">
            <a:extLst>
              <a:ext uri="{FF2B5EF4-FFF2-40B4-BE49-F238E27FC236}">
                <a16:creationId xmlns:a16="http://schemas.microsoft.com/office/drawing/2014/main" id="{1DB27507-FF8D-4DEE-B972-E5BD9DB82664}"/>
              </a:ext>
            </a:extLst>
          </p:cNvPr>
          <p:cNvCxnSpPr>
            <a:cxnSpLocks/>
          </p:cNvCxnSpPr>
          <p:nvPr/>
        </p:nvCxnSpPr>
        <p:spPr>
          <a:xfrm>
            <a:off x="6945448" y="5007239"/>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43B02A"/>
                </a:gs>
              </a:gsLst>
              <a:lin ang="0" scaled="1"/>
              <a:tileRect/>
            </a:gradFill>
            <a:miter lim="800000"/>
            <a:headEnd/>
            <a:tailEnd type="none" w="lg" len="lg"/>
          </a:ln>
        </p:spPr>
      </p:cxnSp>
      <p:grpSp>
        <p:nvGrpSpPr>
          <p:cNvPr id="142" name="Group 74">
            <a:extLst>
              <a:ext uri="{FF2B5EF4-FFF2-40B4-BE49-F238E27FC236}">
                <a16:creationId xmlns:a16="http://schemas.microsoft.com/office/drawing/2014/main" id="{7847FEF3-EC51-48C0-984F-0A3935FD0361}"/>
              </a:ext>
            </a:extLst>
          </p:cNvPr>
          <p:cNvGrpSpPr>
            <a:grpSpLocks noChangeAspect="1"/>
          </p:cNvGrpSpPr>
          <p:nvPr/>
        </p:nvGrpSpPr>
        <p:grpSpPr bwMode="auto">
          <a:xfrm>
            <a:off x="6078298" y="2596590"/>
            <a:ext cx="578159" cy="559950"/>
            <a:chOff x="2417" y="4694"/>
            <a:chExt cx="1143" cy="1107"/>
          </a:xfrm>
          <a:solidFill>
            <a:srgbClr val="43B02A"/>
          </a:solidFill>
        </p:grpSpPr>
        <p:sp>
          <p:nvSpPr>
            <p:cNvPr id="144" name="Freeform 75">
              <a:extLst>
                <a:ext uri="{FF2B5EF4-FFF2-40B4-BE49-F238E27FC236}">
                  <a16:creationId xmlns:a16="http://schemas.microsoft.com/office/drawing/2014/main" id="{F70F5629-21BD-4FE4-BC7D-F3E73A74FABD}"/>
                </a:ext>
              </a:extLst>
            </p:cNvPr>
            <p:cNvSpPr>
              <a:spLocks noEditPoints="1"/>
            </p:cNvSpPr>
            <p:nvPr/>
          </p:nvSpPr>
          <p:spPr bwMode="auto">
            <a:xfrm>
              <a:off x="2855" y="5044"/>
              <a:ext cx="113"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1" y="0"/>
                    <a:pt x="0" y="11"/>
                    <a:pt x="0" y="25"/>
                  </a:cubicBezTo>
                  <a:cubicBezTo>
                    <a:pt x="17" y="25"/>
                    <a:pt x="17" y="25"/>
                    <a:pt x="17" y="25"/>
                  </a:cubicBezTo>
                  <a:cubicBezTo>
                    <a:pt x="17" y="21"/>
                    <a:pt x="21" y="17"/>
                    <a:pt x="26" y="17"/>
                  </a:cubicBezTo>
                  <a:cubicBezTo>
                    <a:pt x="30"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45" name="Freeform 76">
              <a:extLst>
                <a:ext uri="{FF2B5EF4-FFF2-40B4-BE49-F238E27FC236}">
                  <a16:creationId xmlns:a16="http://schemas.microsoft.com/office/drawing/2014/main" id="{09A91123-6DCB-47D3-895B-1B52B034CCD3}"/>
                </a:ext>
              </a:extLst>
            </p:cNvPr>
            <p:cNvSpPr>
              <a:spLocks noEditPoints="1"/>
            </p:cNvSpPr>
            <p:nvPr/>
          </p:nvSpPr>
          <p:spPr bwMode="auto">
            <a:xfrm>
              <a:off x="3006" y="5044"/>
              <a:ext cx="114"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2" y="0"/>
                    <a:pt x="0" y="11"/>
                    <a:pt x="0" y="25"/>
                  </a:cubicBezTo>
                  <a:cubicBezTo>
                    <a:pt x="17" y="25"/>
                    <a:pt x="17" y="25"/>
                    <a:pt x="17" y="25"/>
                  </a:cubicBezTo>
                  <a:cubicBezTo>
                    <a:pt x="17" y="21"/>
                    <a:pt x="21" y="17"/>
                    <a:pt x="26" y="17"/>
                  </a:cubicBezTo>
                  <a:cubicBezTo>
                    <a:pt x="31"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46" name="Freeform 77">
              <a:extLst>
                <a:ext uri="{FF2B5EF4-FFF2-40B4-BE49-F238E27FC236}">
                  <a16:creationId xmlns:a16="http://schemas.microsoft.com/office/drawing/2014/main" id="{58A17C57-0F33-4F72-946D-ED4EC9BC1A02}"/>
                </a:ext>
              </a:extLst>
            </p:cNvPr>
            <p:cNvSpPr>
              <a:spLocks noEditPoints="1"/>
            </p:cNvSpPr>
            <p:nvPr/>
          </p:nvSpPr>
          <p:spPr bwMode="auto">
            <a:xfrm>
              <a:off x="2913" y="5542"/>
              <a:ext cx="151" cy="147"/>
            </a:xfrm>
            <a:custGeom>
              <a:avLst/>
              <a:gdLst>
                <a:gd name="T0" fmla="*/ 34 w 68"/>
                <a:gd name="T1" fmla="*/ 0 h 68"/>
                <a:gd name="T2" fmla="*/ 0 w 68"/>
                <a:gd name="T3" fmla="*/ 34 h 68"/>
                <a:gd name="T4" fmla="*/ 34 w 68"/>
                <a:gd name="T5" fmla="*/ 68 h 68"/>
                <a:gd name="T6" fmla="*/ 68 w 68"/>
                <a:gd name="T7" fmla="*/ 34 h 68"/>
                <a:gd name="T8" fmla="*/ 34 w 68"/>
                <a:gd name="T9" fmla="*/ 0 h 68"/>
                <a:gd name="T10" fmla="*/ 34 w 68"/>
                <a:gd name="T11" fmla="*/ 51 h 68"/>
                <a:gd name="T12" fmla="*/ 17 w 68"/>
                <a:gd name="T13" fmla="*/ 34 h 68"/>
                <a:gd name="T14" fmla="*/ 34 w 68"/>
                <a:gd name="T15" fmla="*/ 17 h 68"/>
                <a:gd name="T16" fmla="*/ 51 w 68"/>
                <a:gd name="T17" fmla="*/ 34 h 68"/>
                <a:gd name="T18" fmla="*/ 34 w 68"/>
                <a:gd name="T19" fmla="*/ 51 h 68"/>
                <a:gd name="T20" fmla="*/ 34 w 68"/>
                <a:gd name="T21" fmla="*/ 51 h 68"/>
                <a:gd name="T22" fmla="*/ 34 w 68"/>
                <a:gd name="T23"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68">
                  <a:moveTo>
                    <a:pt x="34" y="0"/>
                  </a:moveTo>
                  <a:cubicBezTo>
                    <a:pt x="15" y="0"/>
                    <a:pt x="0" y="16"/>
                    <a:pt x="0" y="34"/>
                  </a:cubicBezTo>
                  <a:cubicBezTo>
                    <a:pt x="0" y="53"/>
                    <a:pt x="15" y="68"/>
                    <a:pt x="34" y="68"/>
                  </a:cubicBezTo>
                  <a:cubicBezTo>
                    <a:pt x="52" y="68"/>
                    <a:pt x="68" y="53"/>
                    <a:pt x="68" y="34"/>
                  </a:cubicBezTo>
                  <a:cubicBezTo>
                    <a:pt x="68" y="16"/>
                    <a:pt x="52" y="0"/>
                    <a:pt x="34" y="0"/>
                  </a:cubicBezTo>
                  <a:close/>
                  <a:moveTo>
                    <a:pt x="34" y="51"/>
                  </a:moveTo>
                  <a:cubicBezTo>
                    <a:pt x="24" y="51"/>
                    <a:pt x="17" y="44"/>
                    <a:pt x="17" y="34"/>
                  </a:cubicBezTo>
                  <a:cubicBezTo>
                    <a:pt x="17" y="25"/>
                    <a:pt x="24" y="17"/>
                    <a:pt x="34" y="17"/>
                  </a:cubicBezTo>
                  <a:cubicBezTo>
                    <a:pt x="43" y="17"/>
                    <a:pt x="51" y="25"/>
                    <a:pt x="51" y="34"/>
                  </a:cubicBezTo>
                  <a:cubicBezTo>
                    <a:pt x="51" y="44"/>
                    <a:pt x="43" y="51"/>
                    <a:pt x="34" y="51"/>
                  </a:cubicBezTo>
                  <a:close/>
                  <a:moveTo>
                    <a:pt x="34" y="51"/>
                  </a:moveTo>
                  <a:cubicBezTo>
                    <a:pt x="34" y="51"/>
                    <a:pt x="34" y="51"/>
                    <a:pt x="34"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47" name="Freeform 78">
              <a:extLst>
                <a:ext uri="{FF2B5EF4-FFF2-40B4-BE49-F238E27FC236}">
                  <a16:creationId xmlns:a16="http://schemas.microsoft.com/office/drawing/2014/main" id="{DFE9CEE0-1091-4142-8736-3D86E0B81938}"/>
                </a:ext>
              </a:extLst>
            </p:cNvPr>
            <p:cNvSpPr>
              <a:spLocks noEditPoints="1"/>
            </p:cNvSpPr>
            <p:nvPr/>
          </p:nvSpPr>
          <p:spPr bwMode="auto">
            <a:xfrm>
              <a:off x="2417" y="4694"/>
              <a:ext cx="1143" cy="1107"/>
            </a:xfrm>
            <a:custGeom>
              <a:avLst/>
              <a:gdLst>
                <a:gd name="T0" fmla="*/ 460 w 512"/>
                <a:gd name="T1" fmla="*/ 384 h 512"/>
                <a:gd name="T2" fmla="*/ 323 w 512"/>
                <a:gd name="T3" fmla="*/ 256 h 512"/>
                <a:gd name="T4" fmla="*/ 341 w 512"/>
                <a:gd name="T5" fmla="*/ 247 h 512"/>
                <a:gd name="T6" fmla="*/ 384 w 512"/>
                <a:gd name="T7" fmla="*/ 189 h 512"/>
                <a:gd name="T8" fmla="*/ 384 w 512"/>
                <a:gd name="T9" fmla="*/ 126 h 512"/>
                <a:gd name="T10" fmla="*/ 128 w 512"/>
                <a:gd name="T11" fmla="*/ 126 h 512"/>
                <a:gd name="T12" fmla="*/ 149 w 512"/>
                <a:gd name="T13" fmla="*/ 196 h 512"/>
                <a:gd name="T14" fmla="*/ 188 w 512"/>
                <a:gd name="T15" fmla="*/ 256 h 512"/>
                <a:gd name="T16" fmla="*/ 51 w 512"/>
                <a:gd name="T17" fmla="*/ 384 h 512"/>
                <a:gd name="T18" fmla="*/ 0 w 512"/>
                <a:gd name="T19" fmla="*/ 495 h 512"/>
                <a:gd name="T20" fmla="*/ 512 w 512"/>
                <a:gd name="T21" fmla="*/ 512 h 512"/>
                <a:gd name="T22" fmla="*/ 460 w 512"/>
                <a:gd name="T23" fmla="*/ 495 h 512"/>
                <a:gd name="T24" fmla="*/ 344 w 512"/>
                <a:gd name="T25" fmla="*/ 230 h 512"/>
                <a:gd name="T26" fmla="*/ 362 w 512"/>
                <a:gd name="T27" fmla="*/ 196 h 512"/>
                <a:gd name="T28" fmla="*/ 367 w 512"/>
                <a:gd name="T29" fmla="*/ 204 h 512"/>
                <a:gd name="T30" fmla="*/ 362 w 512"/>
                <a:gd name="T31" fmla="*/ 179 h 512"/>
                <a:gd name="T32" fmla="*/ 358 w 512"/>
                <a:gd name="T33" fmla="*/ 136 h 512"/>
                <a:gd name="T34" fmla="*/ 384 w 512"/>
                <a:gd name="T35" fmla="*/ 158 h 512"/>
                <a:gd name="T36" fmla="*/ 149 w 512"/>
                <a:gd name="T37" fmla="*/ 179 h 512"/>
                <a:gd name="T38" fmla="*/ 149 w 512"/>
                <a:gd name="T39" fmla="*/ 136 h 512"/>
                <a:gd name="T40" fmla="*/ 153 w 512"/>
                <a:gd name="T41" fmla="*/ 179 h 512"/>
                <a:gd name="T42" fmla="*/ 145 w 512"/>
                <a:gd name="T43" fmla="*/ 120 h 512"/>
                <a:gd name="T44" fmla="*/ 366 w 512"/>
                <a:gd name="T45" fmla="*/ 120 h 512"/>
                <a:gd name="T46" fmla="*/ 357 w 512"/>
                <a:gd name="T47" fmla="*/ 119 h 512"/>
                <a:gd name="T48" fmla="*/ 155 w 512"/>
                <a:gd name="T49" fmla="*/ 119 h 512"/>
                <a:gd name="T50" fmla="*/ 341 w 512"/>
                <a:gd name="T51" fmla="*/ 136 h 512"/>
                <a:gd name="T52" fmla="*/ 230 w 512"/>
                <a:gd name="T53" fmla="*/ 76 h 512"/>
                <a:gd name="T54" fmla="*/ 171 w 512"/>
                <a:gd name="T55" fmla="*/ 127 h 512"/>
                <a:gd name="T56" fmla="*/ 341 w 512"/>
                <a:gd name="T57" fmla="*/ 136 h 512"/>
                <a:gd name="T58" fmla="*/ 170 w 512"/>
                <a:gd name="T59" fmla="*/ 144 h 512"/>
                <a:gd name="T60" fmla="*/ 341 w 512"/>
                <a:gd name="T61" fmla="*/ 153 h 512"/>
                <a:gd name="T62" fmla="*/ 324 w 512"/>
                <a:gd name="T63" fmla="*/ 230 h 512"/>
                <a:gd name="T64" fmla="*/ 256 w 512"/>
                <a:gd name="T65" fmla="*/ 247 h 512"/>
                <a:gd name="T66" fmla="*/ 291 w 512"/>
                <a:gd name="T67" fmla="*/ 257 h 512"/>
                <a:gd name="T68" fmla="*/ 170 w 512"/>
                <a:gd name="T69" fmla="*/ 179 h 512"/>
                <a:gd name="T70" fmla="*/ 256 w 512"/>
                <a:gd name="T71" fmla="*/ 281 h 512"/>
                <a:gd name="T72" fmla="*/ 256 w 512"/>
                <a:gd name="T73" fmla="*/ 330 h 512"/>
                <a:gd name="T74" fmla="*/ 242 w 512"/>
                <a:gd name="T75" fmla="*/ 341 h 512"/>
                <a:gd name="T76" fmla="*/ 193 w 512"/>
                <a:gd name="T77" fmla="*/ 273 h 512"/>
                <a:gd name="T78" fmla="*/ 242 w 512"/>
                <a:gd name="T79" fmla="*/ 341 h 512"/>
                <a:gd name="T80" fmla="*/ 319 w 512"/>
                <a:gd name="T81" fmla="*/ 273 h 512"/>
                <a:gd name="T82" fmla="*/ 269 w 512"/>
                <a:gd name="T83" fmla="*/ 341 h 512"/>
                <a:gd name="T84" fmla="*/ 94 w 512"/>
                <a:gd name="T85" fmla="*/ 384 h 512"/>
                <a:gd name="T86" fmla="*/ 68 w 512"/>
                <a:gd name="T87" fmla="*/ 495 h 512"/>
                <a:gd name="T88" fmla="*/ 174 w 512"/>
                <a:gd name="T89" fmla="*/ 273 h 512"/>
                <a:gd name="T90" fmla="*/ 136 w 512"/>
                <a:gd name="T91" fmla="*/ 341 h 512"/>
                <a:gd name="T92" fmla="*/ 401 w 512"/>
                <a:gd name="T93" fmla="*/ 495 h 512"/>
                <a:gd name="T94" fmla="*/ 111 w 512"/>
                <a:gd name="T95" fmla="*/ 384 h 512"/>
                <a:gd name="T96" fmla="*/ 375 w 512"/>
                <a:gd name="T97" fmla="*/ 358 h 512"/>
                <a:gd name="T98" fmla="*/ 401 w 512"/>
                <a:gd name="T99" fmla="*/ 495 h 512"/>
                <a:gd name="T100" fmla="*/ 418 w 512"/>
                <a:gd name="T101" fmla="*/ 495 h 512"/>
                <a:gd name="T102" fmla="*/ 375 w 512"/>
                <a:gd name="T103" fmla="*/ 341 h 512"/>
                <a:gd name="T104" fmla="*/ 338 w 512"/>
                <a:gd name="T105" fmla="*/ 273 h 512"/>
                <a:gd name="T106" fmla="*/ 443 w 512"/>
                <a:gd name="T107" fmla="*/ 495 h 512"/>
                <a:gd name="T108" fmla="*/ 443 w 512"/>
                <a:gd name="T109" fmla="*/ 4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460" y="495"/>
                  </a:moveTo>
                  <a:cubicBezTo>
                    <a:pt x="460" y="384"/>
                    <a:pt x="460" y="384"/>
                    <a:pt x="460" y="384"/>
                  </a:cubicBezTo>
                  <a:cubicBezTo>
                    <a:pt x="460" y="313"/>
                    <a:pt x="403" y="256"/>
                    <a:pt x="332" y="256"/>
                  </a:cubicBezTo>
                  <a:cubicBezTo>
                    <a:pt x="323" y="256"/>
                    <a:pt x="323" y="256"/>
                    <a:pt x="323" y="256"/>
                  </a:cubicBezTo>
                  <a:cubicBezTo>
                    <a:pt x="326" y="253"/>
                    <a:pt x="329" y="250"/>
                    <a:pt x="332" y="247"/>
                  </a:cubicBezTo>
                  <a:cubicBezTo>
                    <a:pt x="341" y="247"/>
                    <a:pt x="341" y="247"/>
                    <a:pt x="341" y="247"/>
                  </a:cubicBezTo>
                  <a:cubicBezTo>
                    <a:pt x="365" y="247"/>
                    <a:pt x="384" y="228"/>
                    <a:pt x="384" y="204"/>
                  </a:cubicBezTo>
                  <a:cubicBezTo>
                    <a:pt x="384" y="189"/>
                    <a:pt x="384" y="189"/>
                    <a:pt x="384" y="189"/>
                  </a:cubicBezTo>
                  <a:cubicBezTo>
                    <a:pt x="394" y="183"/>
                    <a:pt x="401" y="171"/>
                    <a:pt x="401" y="158"/>
                  </a:cubicBezTo>
                  <a:cubicBezTo>
                    <a:pt x="401" y="144"/>
                    <a:pt x="394" y="132"/>
                    <a:pt x="384" y="126"/>
                  </a:cubicBezTo>
                  <a:cubicBezTo>
                    <a:pt x="382" y="56"/>
                    <a:pt x="326" y="0"/>
                    <a:pt x="256" y="0"/>
                  </a:cubicBezTo>
                  <a:cubicBezTo>
                    <a:pt x="186" y="0"/>
                    <a:pt x="129" y="56"/>
                    <a:pt x="128" y="126"/>
                  </a:cubicBezTo>
                  <a:cubicBezTo>
                    <a:pt x="117" y="132"/>
                    <a:pt x="111" y="144"/>
                    <a:pt x="111" y="158"/>
                  </a:cubicBezTo>
                  <a:cubicBezTo>
                    <a:pt x="111" y="179"/>
                    <a:pt x="128" y="196"/>
                    <a:pt x="149" y="196"/>
                  </a:cubicBezTo>
                  <a:cubicBezTo>
                    <a:pt x="155" y="196"/>
                    <a:pt x="155" y="196"/>
                    <a:pt x="155" y="196"/>
                  </a:cubicBezTo>
                  <a:cubicBezTo>
                    <a:pt x="159" y="220"/>
                    <a:pt x="171" y="240"/>
                    <a:pt x="188" y="256"/>
                  </a:cubicBezTo>
                  <a:cubicBezTo>
                    <a:pt x="179" y="256"/>
                    <a:pt x="179" y="256"/>
                    <a:pt x="179" y="256"/>
                  </a:cubicBezTo>
                  <a:cubicBezTo>
                    <a:pt x="108" y="256"/>
                    <a:pt x="51" y="313"/>
                    <a:pt x="51" y="384"/>
                  </a:cubicBezTo>
                  <a:cubicBezTo>
                    <a:pt x="51" y="495"/>
                    <a:pt x="51" y="495"/>
                    <a:pt x="51" y="495"/>
                  </a:cubicBezTo>
                  <a:cubicBezTo>
                    <a:pt x="0" y="495"/>
                    <a:pt x="0" y="495"/>
                    <a:pt x="0" y="495"/>
                  </a:cubicBezTo>
                  <a:cubicBezTo>
                    <a:pt x="0" y="512"/>
                    <a:pt x="0" y="512"/>
                    <a:pt x="0" y="512"/>
                  </a:cubicBezTo>
                  <a:cubicBezTo>
                    <a:pt x="512" y="512"/>
                    <a:pt x="512" y="512"/>
                    <a:pt x="512" y="512"/>
                  </a:cubicBezTo>
                  <a:cubicBezTo>
                    <a:pt x="512" y="495"/>
                    <a:pt x="512" y="495"/>
                    <a:pt x="512" y="495"/>
                  </a:cubicBezTo>
                  <a:lnTo>
                    <a:pt x="460" y="495"/>
                  </a:lnTo>
                  <a:close/>
                  <a:moveTo>
                    <a:pt x="367" y="204"/>
                  </a:moveTo>
                  <a:cubicBezTo>
                    <a:pt x="367" y="217"/>
                    <a:pt x="357" y="228"/>
                    <a:pt x="344" y="230"/>
                  </a:cubicBezTo>
                  <a:cubicBezTo>
                    <a:pt x="350" y="219"/>
                    <a:pt x="354" y="208"/>
                    <a:pt x="357" y="196"/>
                  </a:cubicBezTo>
                  <a:cubicBezTo>
                    <a:pt x="362" y="196"/>
                    <a:pt x="362" y="196"/>
                    <a:pt x="362" y="196"/>
                  </a:cubicBezTo>
                  <a:cubicBezTo>
                    <a:pt x="364" y="196"/>
                    <a:pt x="365" y="196"/>
                    <a:pt x="367" y="196"/>
                  </a:cubicBezTo>
                  <a:lnTo>
                    <a:pt x="367" y="204"/>
                  </a:lnTo>
                  <a:close/>
                  <a:moveTo>
                    <a:pt x="384" y="158"/>
                  </a:moveTo>
                  <a:cubicBezTo>
                    <a:pt x="384" y="169"/>
                    <a:pt x="374" y="179"/>
                    <a:pt x="362" y="179"/>
                  </a:cubicBezTo>
                  <a:cubicBezTo>
                    <a:pt x="358" y="179"/>
                    <a:pt x="358" y="179"/>
                    <a:pt x="358" y="179"/>
                  </a:cubicBezTo>
                  <a:cubicBezTo>
                    <a:pt x="358" y="136"/>
                    <a:pt x="358" y="136"/>
                    <a:pt x="358" y="136"/>
                  </a:cubicBezTo>
                  <a:cubicBezTo>
                    <a:pt x="362" y="136"/>
                    <a:pt x="362" y="136"/>
                    <a:pt x="362" y="136"/>
                  </a:cubicBezTo>
                  <a:cubicBezTo>
                    <a:pt x="374" y="136"/>
                    <a:pt x="384" y="146"/>
                    <a:pt x="384" y="158"/>
                  </a:cubicBezTo>
                  <a:close/>
                  <a:moveTo>
                    <a:pt x="153" y="179"/>
                  </a:moveTo>
                  <a:cubicBezTo>
                    <a:pt x="149" y="179"/>
                    <a:pt x="149" y="179"/>
                    <a:pt x="149" y="179"/>
                  </a:cubicBezTo>
                  <a:cubicBezTo>
                    <a:pt x="137" y="179"/>
                    <a:pt x="128" y="169"/>
                    <a:pt x="128" y="158"/>
                  </a:cubicBezTo>
                  <a:cubicBezTo>
                    <a:pt x="128" y="146"/>
                    <a:pt x="137" y="136"/>
                    <a:pt x="149" y="136"/>
                  </a:cubicBezTo>
                  <a:cubicBezTo>
                    <a:pt x="153" y="136"/>
                    <a:pt x="153" y="136"/>
                    <a:pt x="153" y="136"/>
                  </a:cubicBezTo>
                  <a:lnTo>
                    <a:pt x="153" y="179"/>
                  </a:lnTo>
                  <a:close/>
                  <a:moveTo>
                    <a:pt x="149" y="119"/>
                  </a:moveTo>
                  <a:cubicBezTo>
                    <a:pt x="148" y="119"/>
                    <a:pt x="146" y="119"/>
                    <a:pt x="145" y="120"/>
                  </a:cubicBezTo>
                  <a:cubicBezTo>
                    <a:pt x="149" y="62"/>
                    <a:pt x="197" y="17"/>
                    <a:pt x="256" y="17"/>
                  </a:cubicBezTo>
                  <a:cubicBezTo>
                    <a:pt x="314" y="17"/>
                    <a:pt x="362" y="62"/>
                    <a:pt x="366" y="120"/>
                  </a:cubicBezTo>
                  <a:cubicBezTo>
                    <a:pt x="365" y="119"/>
                    <a:pt x="364" y="119"/>
                    <a:pt x="362" y="119"/>
                  </a:cubicBezTo>
                  <a:cubicBezTo>
                    <a:pt x="357" y="119"/>
                    <a:pt x="357" y="119"/>
                    <a:pt x="357" y="119"/>
                  </a:cubicBezTo>
                  <a:cubicBezTo>
                    <a:pt x="348" y="71"/>
                    <a:pt x="306" y="34"/>
                    <a:pt x="256" y="34"/>
                  </a:cubicBezTo>
                  <a:cubicBezTo>
                    <a:pt x="205" y="34"/>
                    <a:pt x="163" y="71"/>
                    <a:pt x="155" y="119"/>
                  </a:cubicBezTo>
                  <a:lnTo>
                    <a:pt x="149" y="119"/>
                  </a:lnTo>
                  <a:close/>
                  <a:moveTo>
                    <a:pt x="341" y="136"/>
                  </a:moveTo>
                  <a:cubicBezTo>
                    <a:pt x="279" y="134"/>
                    <a:pt x="239" y="109"/>
                    <a:pt x="239" y="85"/>
                  </a:cubicBezTo>
                  <a:cubicBezTo>
                    <a:pt x="239" y="80"/>
                    <a:pt x="235" y="76"/>
                    <a:pt x="230" y="76"/>
                  </a:cubicBezTo>
                  <a:cubicBezTo>
                    <a:pt x="225" y="76"/>
                    <a:pt x="222" y="80"/>
                    <a:pt x="222" y="85"/>
                  </a:cubicBezTo>
                  <a:cubicBezTo>
                    <a:pt x="222" y="106"/>
                    <a:pt x="199" y="124"/>
                    <a:pt x="171" y="127"/>
                  </a:cubicBezTo>
                  <a:cubicBezTo>
                    <a:pt x="175" y="84"/>
                    <a:pt x="212" y="51"/>
                    <a:pt x="256" y="51"/>
                  </a:cubicBezTo>
                  <a:cubicBezTo>
                    <a:pt x="303" y="51"/>
                    <a:pt x="341" y="89"/>
                    <a:pt x="341" y="136"/>
                  </a:cubicBezTo>
                  <a:close/>
                  <a:moveTo>
                    <a:pt x="170" y="179"/>
                  </a:moveTo>
                  <a:cubicBezTo>
                    <a:pt x="170" y="144"/>
                    <a:pt x="170" y="144"/>
                    <a:pt x="170" y="144"/>
                  </a:cubicBezTo>
                  <a:cubicBezTo>
                    <a:pt x="197" y="142"/>
                    <a:pt x="220" y="129"/>
                    <a:pt x="231" y="111"/>
                  </a:cubicBezTo>
                  <a:cubicBezTo>
                    <a:pt x="249" y="135"/>
                    <a:pt x="290" y="151"/>
                    <a:pt x="341" y="153"/>
                  </a:cubicBezTo>
                  <a:cubicBezTo>
                    <a:pt x="341" y="179"/>
                    <a:pt x="341" y="179"/>
                    <a:pt x="341" y="179"/>
                  </a:cubicBezTo>
                  <a:cubicBezTo>
                    <a:pt x="341" y="198"/>
                    <a:pt x="335" y="216"/>
                    <a:pt x="324" y="230"/>
                  </a:cubicBezTo>
                  <a:cubicBezTo>
                    <a:pt x="256" y="230"/>
                    <a:pt x="256" y="230"/>
                    <a:pt x="256" y="230"/>
                  </a:cubicBezTo>
                  <a:cubicBezTo>
                    <a:pt x="256" y="247"/>
                    <a:pt x="256" y="247"/>
                    <a:pt x="256" y="247"/>
                  </a:cubicBezTo>
                  <a:cubicBezTo>
                    <a:pt x="307" y="247"/>
                    <a:pt x="307" y="247"/>
                    <a:pt x="307" y="247"/>
                  </a:cubicBezTo>
                  <a:cubicBezTo>
                    <a:pt x="302" y="251"/>
                    <a:pt x="296" y="254"/>
                    <a:pt x="291" y="257"/>
                  </a:cubicBezTo>
                  <a:cubicBezTo>
                    <a:pt x="268" y="267"/>
                    <a:pt x="243" y="267"/>
                    <a:pt x="220" y="257"/>
                  </a:cubicBezTo>
                  <a:cubicBezTo>
                    <a:pt x="191" y="243"/>
                    <a:pt x="170" y="213"/>
                    <a:pt x="170" y="179"/>
                  </a:cubicBezTo>
                  <a:close/>
                  <a:moveTo>
                    <a:pt x="229" y="278"/>
                  </a:moveTo>
                  <a:cubicBezTo>
                    <a:pt x="238" y="280"/>
                    <a:pt x="247" y="281"/>
                    <a:pt x="256" y="281"/>
                  </a:cubicBezTo>
                  <a:cubicBezTo>
                    <a:pt x="265" y="281"/>
                    <a:pt x="274" y="280"/>
                    <a:pt x="282" y="278"/>
                  </a:cubicBezTo>
                  <a:cubicBezTo>
                    <a:pt x="256" y="330"/>
                    <a:pt x="256" y="330"/>
                    <a:pt x="256" y="330"/>
                  </a:cubicBezTo>
                  <a:lnTo>
                    <a:pt x="229" y="278"/>
                  </a:lnTo>
                  <a:close/>
                  <a:moveTo>
                    <a:pt x="242" y="341"/>
                  </a:moveTo>
                  <a:cubicBezTo>
                    <a:pt x="227" y="341"/>
                    <a:pt x="227" y="341"/>
                    <a:pt x="227" y="341"/>
                  </a:cubicBezTo>
                  <a:cubicBezTo>
                    <a:pt x="193" y="273"/>
                    <a:pt x="193" y="273"/>
                    <a:pt x="193" y="273"/>
                  </a:cubicBezTo>
                  <a:cubicBezTo>
                    <a:pt x="208" y="273"/>
                    <a:pt x="208" y="273"/>
                    <a:pt x="208" y="273"/>
                  </a:cubicBezTo>
                  <a:lnTo>
                    <a:pt x="242" y="341"/>
                  </a:lnTo>
                  <a:close/>
                  <a:moveTo>
                    <a:pt x="304" y="273"/>
                  </a:moveTo>
                  <a:cubicBezTo>
                    <a:pt x="319" y="273"/>
                    <a:pt x="319" y="273"/>
                    <a:pt x="319" y="273"/>
                  </a:cubicBezTo>
                  <a:cubicBezTo>
                    <a:pt x="285" y="341"/>
                    <a:pt x="285" y="341"/>
                    <a:pt x="285" y="341"/>
                  </a:cubicBezTo>
                  <a:cubicBezTo>
                    <a:pt x="269" y="341"/>
                    <a:pt x="269" y="341"/>
                    <a:pt x="269" y="341"/>
                  </a:cubicBezTo>
                  <a:lnTo>
                    <a:pt x="304" y="273"/>
                  </a:lnTo>
                  <a:close/>
                  <a:moveTo>
                    <a:pt x="94" y="384"/>
                  </a:moveTo>
                  <a:cubicBezTo>
                    <a:pt x="94" y="495"/>
                    <a:pt x="94" y="495"/>
                    <a:pt x="94" y="495"/>
                  </a:cubicBezTo>
                  <a:cubicBezTo>
                    <a:pt x="68" y="495"/>
                    <a:pt x="68" y="495"/>
                    <a:pt x="68" y="495"/>
                  </a:cubicBezTo>
                  <a:cubicBezTo>
                    <a:pt x="68" y="384"/>
                    <a:pt x="68" y="384"/>
                    <a:pt x="68" y="384"/>
                  </a:cubicBezTo>
                  <a:cubicBezTo>
                    <a:pt x="68" y="324"/>
                    <a:pt x="115" y="276"/>
                    <a:pt x="174" y="273"/>
                  </a:cubicBezTo>
                  <a:cubicBezTo>
                    <a:pt x="208" y="341"/>
                    <a:pt x="208" y="341"/>
                    <a:pt x="208" y="341"/>
                  </a:cubicBezTo>
                  <a:cubicBezTo>
                    <a:pt x="136" y="341"/>
                    <a:pt x="136" y="341"/>
                    <a:pt x="136" y="341"/>
                  </a:cubicBezTo>
                  <a:cubicBezTo>
                    <a:pt x="113" y="341"/>
                    <a:pt x="94" y="360"/>
                    <a:pt x="94" y="384"/>
                  </a:cubicBezTo>
                  <a:close/>
                  <a:moveTo>
                    <a:pt x="401" y="495"/>
                  </a:moveTo>
                  <a:cubicBezTo>
                    <a:pt x="111" y="495"/>
                    <a:pt x="111" y="495"/>
                    <a:pt x="111" y="495"/>
                  </a:cubicBezTo>
                  <a:cubicBezTo>
                    <a:pt x="111" y="384"/>
                    <a:pt x="111" y="384"/>
                    <a:pt x="111" y="384"/>
                  </a:cubicBezTo>
                  <a:cubicBezTo>
                    <a:pt x="111" y="370"/>
                    <a:pt x="122" y="358"/>
                    <a:pt x="136" y="358"/>
                  </a:cubicBezTo>
                  <a:cubicBezTo>
                    <a:pt x="375" y="358"/>
                    <a:pt x="375" y="358"/>
                    <a:pt x="375" y="358"/>
                  </a:cubicBezTo>
                  <a:cubicBezTo>
                    <a:pt x="389" y="358"/>
                    <a:pt x="401" y="370"/>
                    <a:pt x="401" y="384"/>
                  </a:cubicBezTo>
                  <a:lnTo>
                    <a:pt x="401" y="495"/>
                  </a:lnTo>
                  <a:close/>
                  <a:moveTo>
                    <a:pt x="443" y="495"/>
                  </a:moveTo>
                  <a:cubicBezTo>
                    <a:pt x="418" y="495"/>
                    <a:pt x="418" y="495"/>
                    <a:pt x="418" y="495"/>
                  </a:cubicBezTo>
                  <a:cubicBezTo>
                    <a:pt x="418" y="384"/>
                    <a:pt x="418" y="384"/>
                    <a:pt x="418" y="384"/>
                  </a:cubicBezTo>
                  <a:cubicBezTo>
                    <a:pt x="418" y="360"/>
                    <a:pt x="399" y="341"/>
                    <a:pt x="375" y="341"/>
                  </a:cubicBezTo>
                  <a:cubicBezTo>
                    <a:pt x="304" y="341"/>
                    <a:pt x="304" y="341"/>
                    <a:pt x="304" y="341"/>
                  </a:cubicBezTo>
                  <a:cubicBezTo>
                    <a:pt x="338" y="273"/>
                    <a:pt x="338" y="273"/>
                    <a:pt x="338" y="273"/>
                  </a:cubicBezTo>
                  <a:cubicBezTo>
                    <a:pt x="396" y="276"/>
                    <a:pt x="443" y="324"/>
                    <a:pt x="443" y="384"/>
                  </a:cubicBezTo>
                  <a:lnTo>
                    <a:pt x="443" y="495"/>
                  </a:lnTo>
                  <a:close/>
                  <a:moveTo>
                    <a:pt x="443" y="495"/>
                  </a:moveTo>
                  <a:cubicBezTo>
                    <a:pt x="443" y="495"/>
                    <a:pt x="443" y="495"/>
                    <a:pt x="443" y="49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48" name="Rectangle 79">
              <a:extLst>
                <a:ext uri="{FF2B5EF4-FFF2-40B4-BE49-F238E27FC236}">
                  <a16:creationId xmlns:a16="http://schemas.microsoft.com/office/drawing/2014/main" id="{FB3BC415-6923-47CB-A92F-BAB7FDCBF272}"/>
                </a:ext>
              </a:extLst>
            </p:cNvPr>
            <p:cNvSpPr>
              <a:spLocks noChangeArrowheads="1"/>
            </p:cNvSpPr>
            <p:nvPr/>
          </p:nvSpPr>
          <p:spPr bwMode="auto">
            <a:xfrm>
              <a:off x="3236" y="5598"/>
              <a:ext cx="38" cy="1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49" name="Rectangle 80">
              <a:extLst>
                <a:ext uri="{FF2B5EF4-FFF2-40B4-BE49-F238E27FC236}">
                  <a16:creationId xmlns:a16="http://schemas.microsoft.com/office/drawing/2014/main" id="{D7D88654-7716-487A-81AA-5D203078038A}"/>
                </a:ext>
              </a:extLst>
            </p:cNvPr>
            <p:cNvSpPr>
              <a:spLocks noChangeArrowheads="1"/>
            </p:cNvSpPr>
            <p:nvPr/>
          </p:nvSpPr>
          <p:spPr bwMode="auto">
            <a:xfrm>
              <a:off x="3236" y="552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0" name="Rectangle 81">
              <a:extLst>
                <a:ext uri="{FF2B5EF4-FFF2-40B4-BE49-F238E27FC236}">
                  <a16:creationId xmlns:a16="http://schemas.microsoft.com/office/drawing/2014/main" id="{3AE879D5-8173-4E0D-9474-C07E424B0D70}"/>
                </a:ext>
              </a:extLst>
            </p:cNvPr>
            <p:cNvSpPr>
              <a:spLocks noChangeArrowheads="1"/>
            </p:cNvSpPr>
            <p:nvPr/>
          </p:nvSpPr>
          <p:spPr bwMode="auto">
            <a:xfrm>
              <a:off x="3406" y="4858"/>
              <a:ext cx="38" cy="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1" name="Rectangle 82">
              <a:extLst>
                <a:ext uri="{FF2B5EF4-FFF2-40B4-BE49-F238E27FC236}">
                  <a16:creationId xmlns:a16="http://schemas.microsoft.com/office/drawing/2014/main" id="{62809CE3-16C4-4613-AF2B-D59BCA66443F}"/>
                </a:ext>
              </a:extLst>
            </p:cNvPr>
            <p:cNvSpPr>
              <a:spLocks noChangeArrowheads="1"/>
            </p:cNvSpPr>
            <p:nvPr/>
          </p:nvSpPr>
          <p:spPr bwMode="auto">
            <a:xfrm>
              <a:off x="3406" y="493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2" name="Rectangle 83">
              <a:extLst>
                <a:ext uri="{FF2B5EF4-FFF2-40B4-BE49-F238E27FC236}">
                  <a16:creationId xmlns:a16="http://schemas.microsoft.com/office/drawing/2014/main" id="{31625862-846D-4832-A5A1-ED8CE3D8DD89}"/>
                </a:ext>
              </a:extLst>
            </p:cNvPr>
            <p:cNvSpPr>
              <a:spLocks noChangeArrowheads="1"/>
            </p:cNvSpPr>
            <p:nvPr/>
          </p:nvSpPr>
          <p:spPr bwMode="auto">
            <a:xfrm>
              <a:off x="3406" y="5008"/>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3" name="Rectangle 84">
              <a:extLst>
                <a:ext uri="{FF2B5EF4-FFF2-40B4-BE49-F238E27FC236}">
                  <a16:creationId xmlns:a16="http://schemas.microsoft.com/office/drawing/2014/main" id="{E98DEBD4-DF16-4987-94D7-3BB915716A9C}"/>
                </a:ext>
              </a:extLst>
            </p:cNvPr>
            <p:cNvSpPr>
              <a:spLocks noChangeArrowheads="1"/>
            </p:cNvSpPr>
            <p:nvPr/>
          </p:nvSpPr>
          <p:spPr bwMode="auto">
            <a:xfrm>
              <a:off x="2531" y="5081"/>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4" name="Rectangle 85">
              <a:extLst>
                <a:ext uri="{FF2B5EF4-FFF2-40B4-BE49-F238E27FC236}">
                  <a16:creationId xmlns:a16="http://schemas.microsoft.com/office/drawing/2014/main" id="{62DDE55A-9FD7-4F57-8E62-E1439213FFDC}"/>
                </a:ext>
              </a:extLst>
            </p:cNvPr>
            <p:cNvSpPr>
              <a:spLocks noChangeArrowheads="1"/>
            </p:cNvSpPr>
            <p:nvPr/>
          </p:nvSpPr>
          <p:spPr bwMode="auto">
            <a:xfrm>
              <a:off x="2531" y="5155"/>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5" name="Rectangle 86">
              <a:extLst>
                <a:ext uri="{FF2B5EF4-FFF2-40B4-BE49-F238E27FC236}">
                  <a16:creationId xmlns:a16="http://schemas.microsoft.com/office/drawing/2014/main" id="{99A9F315-9363-480B-A0FF-CB03372861A2}"/>
                </a:ext>
              </a:extLst>
            </p:cNvPr>
            <p:cNvSpPr>
              <a:spLocks noChangeArrowheads="1"/>
            </p:cNvSpPr>
            <p:nvPr/>
          </p:nvSpPr>
          <p:spPr bwMode="auto">
            <a:xfrm>
              <a:off x="2531" y="5228"/>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grpSp>
      <p:grpSp>
        <p:nvGrpSpPr>
          <p:cNvPr id="211" name="Group 210">
            <a:extLst>
              <a:ext uri="{FF2B5EF4-FFF2-40B4-BE49-F238E27FC236}">
                <a16:creationId xmlns:a16="http://schemas.microsoft.com/office/drawing/2014/main" id="{95DB733D-4977-4D52-B56D-3F4B549E0100}"/>
              </a:ext>
            </a:extLst>
          </p:cNvPr>
          <p:cNvGrpSpPr/>
          <p:nvPr/>
        </p:nvGrpSpPr>
        <p:grpSpPr>
          <a:xfrm rot="5400000">
            <a:off x="6075331" y="5378560"/>
            <a:ext cx="584092" cy="584092"/>
            <a:chOff x="5125249" y="5746282"/>
            <a:chExt cx="398943" cy="398943"/>
          </a:xfrm>
        </p:grpSpPr>
        <p:cxnSp>
          <p:nvCxnSpPr>
            <p:cNvPr id="157" name="Straight Connector 156">
              <a:extLst>
                <a:ext uri="{FF2B5EF4-FFF2-40B4-BE49-F238E27FC236}">
                  <a16:creationId xmlns:a16="http://schemas.microsoft.com/office/drawing/2014/main" id="{332A49EC-9ADD-43E9-9428-80DEEBC26266}"/>
                </a:ext>
              </a:extLst>
            </p:cNvPr>
            <p:cNvCxnSpPr>
              <a:cxnSpLocks/>
            </p:cNvCxnSpPr>
            <p:nvPr/>
          </p:nvCxnSpPr>
          <p:spPr>
            <a:xfrm>
              <a:off x="5324720" y="5746282"/>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AB81BF5E-331C-4878-8D3B-F45ECD892BF8}"/>
                </a:ext>
              </a:extLst>
            </p:cNvPr>
            <p:cNvCxnSpPr>
              <a:cxnSpLocks/>
            </p:cNvCxnSpPr>
            <p:nvPr/>
          </p:nvCxnSpPr>
          <p:spPr>
            <a:xfrm>
              <a:off x="5324720" y="604790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954147BF-096A-4672-974C-926590BBDC3F}"/>
                </a:ext>
              </a:extLst>
            </p:cNvPr>
            <p:cNvCxnSpPr>
              <a:cxnSpLocks/>
            </p:cNvCxnSpPr>
            <p:nvPr/>
          </p:nvCxnSpPr>
          <p:spPr>
            <a:xfrm rot="5400000">
              <a:off x="5475533"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687A2E01-C053-4E1C-BD8A-3B2725227120}"/>
                </a:ext>
              </a:extLst>
            </p:cNvPr>
            <p:cNvCxnSpPr>
              <a:cxnSpLocks/>
            </p:cNvCxnSpPr>
            <p:nvPr/>
          </p:nvCxnSpPr>
          <p:spPr>
            <a:xfrm rot="5400000">
              <a:off x="5173908"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C7B7D694-1F19-405E-914E-9CA3569B47AD}"/>
                </a:ext>
              </a:extLst>
            </p:cNvPr>
            <p:cNvCxnSpPr>
              <a:cxnSpLocks/>
            </p:cNvCxnSpPr>
            <p:nvPr/>
          </p:nvCxnSpPr>
          <p:spPr>
            <a:xfrm rot="2733160">
              <a:off x="5436868" y="578587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1DF5D175-D2A9-44FF-8F8D-FF46E35C5C1F}"/>
                </a:ext>
              </a:extLst>
            </p:cNvPr>
            <p:cNvCxnSpPr>
              <a:cxnSpLocks/>
            </p:cNvCxnSpPr>
            <p:nvPr/>
          </p:nvCxnSpPr>
          <p:spPr>
            <a:xfrm rot="8133160">
              <a:off x="5424443" y="6008301"/>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518C1BE0-F999-4DB2-A325-D818B85B0ED5}"/>
                </a:ext>
              </a:extLst>
            </p:cNvPr>
            <p:cNvCxnSpPr>
              <a:cxnSpLocks/>
            </p:cNvCxnSpPr>
            <p:nvPr/>
          </p:nvCxnSpPr>
          <p:spPr>
            <a:xfrm rot="8133160">
              <a:off x="5213230" y="5792973"/>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86" name="Straight Connector 85">
            <a:extLst>
              <a:ext uri="{FF2B5EF4-FFF2-40B4-BE49-F238E27FC236}">
                <a16:creationId xmlns:a16="http://schemas.microsoft.com/office/drawing/2014/main" id="{1E8CFD2D-8AB4-4AD3-959F-9DB5264F40AA}"/>
              </a:ext>
            </a:extLst>
          </p:cNvPr>
          <p:cNvCxnSpPr>
            <a:cxnSpLocks/>
          </p:cNvCxnSpPr>
          <p:nvPr/>
        </p:nvCxnSpPr>
        <p:spPr>
          <a:xfrm>
            <a:off x="6945448" y="5936153"/>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43B02A"/>
                </a:gs>
              </a:gsLst>
              <a:lin ang="0" scaled="1"/>
              <a:tileRect/>
            </a:gradFill>
            <a:miter lim="800000"/>
            <a:headEnd/>
            <a:tailEnd type="none" w="lg" len="lg"/>
          </a:ln>
        </p:spPr>
      </p:cxnSp>
      <p:grpSp>
        <p:nvGrpSpPr>
          <p:cNvPr id="4" name="Group 4">
            <a:extLst>
              <a:ext uri="{FF2B5EF4-FFF2-40B4-BE49-F238E27FC236}">
                <a16:creationId xmlns:a16="http://schemas.microsoft.com/office/drawing/2014/main" id="{C217140D-72AA-4321-8210-1F681B4DA127}"/>
              </a:ext>
            </a:extLst>
          </p:cNvPr>
          <p:cNvGrpSpPr>
            <a:grpSpLocks noChangeAspect="1"/>
          </p:cNvGrpSpPr>
          <p:nvPr/>
        </p:nvGrpSpPr>
        <p:grpSpPr bwMode="auto">
          <a:xfrm>
            <a:off x="6050350" y="1544582"/>
            <a:ext cx="634055" cy="559950"/>
            <a:chOff x="2686" y="4998"/>
            <a:chExt cx="1523" cy="1345"/>
          </a:xfrm>
          <a:solidFill>
            <a:srgbClr val="43B02A"/>
          </a:solidFill>
        </p:grpSpPr>
        <p:sp>
          <p:nvSpPr>
            <p:cNvPr id="13" name="Freeform 5">
              <a:extLst>
                <a:ext uri="{FF2B5EF4-FFF2-40B4-BE49-F238E27FC236}">
                  <a16:creationId xmlns:a16="http://schemas.microsoft.com/office/drawing/2014/main" id="{372B270B-6C61-4773-B8A0-DC50A87532CD}"/>
                </a:ext>
              </a:extLst>
            </p:cNvPr>
            <p:cNvSpPr>
              <a:spLocks noEditPoints="1"/>
            </p:cNvSpPr>
            <p:nvPr/>
          </p:nvSpPr>
          <p:spPr bwMode="auto">
            <a:xfrm>
              <a:off x="2686" y="4998"/>
              <a:ext cx="1523" cy="1345"/>
            </a:xfrm>
            <a:custGeom>
              <a:avLst/>
              <a:gdLst>
                <a:gd name="T0" fmla="*/ 640 w 683"/>
                <a:gd name="T1" fmla="*/ 156 h 622"/>
                <a:gd name="T2" fmla="*/ 407 w 683"/>
                <a:gd name="T3" fmla="*/ 86 h 622"/>
                <a:gd name="T4" fmla="*/ 342 w 683"/>
                <a:gd name="T5" fmla="*/ 34 h 622"/>
                <a:gd name="T6" fmla="*/ 276 w 683"/>
                <a:gd name="T7" fmla="*/ 86 h 622"/>
                <a:gd name="T8" fmla="*/ 107 w 683"/>
                <a:gd name="T9" fmla="*/ 92 h 622"/>
                <a:gd name="T10" fmla="*/ 54 w 683"/>
                <a:gd name="T11" fmla="*/ 413 h 622"/>
                <a:gd name="T12" fmla="*/ 107 w 683"/>
                <a:gd name="T13" fmla="*/ 112 h 622"/>
                <a:gd name="T14" fmla="*/ 259 w 683"/>
                <a:gd name="T15" fmla="*/ 132 h 622"/>
                <a:gd name="T16" fmla="*/ 84 w 683"/>
                <a:gd name="T17" fmla="*/ 156 h 622"/>
                <a:gd name="T18" fmla="*/ 181 w 683"/>
                <a:gd name="T19" fmla="*/ 495 h 622"/>
                <a:gd name="T20" fmla="*/ 64 w 683"/>
                <a:gd name="T21" fmla="*/ 516 h 622"/>
                <a:gd name="T22" fmla="*/ 44 w 683"/>
                <a:gd name="T23" fmla="*/ 437 h 622"/>
                <a:gd name="T24" fmla="*/ 0 w 683"/>
                <a:gd name="T25" fmla="*/ 526 h 622"/>
                <a:gd name="T26" fmla="*/ 601 w 683"/>
                <a:gd name="T27" fmla="*/ 622 h 622"/>
                <a:gd name="T28" fmla="*/ 673 w 683"/>
                <a:gd name="T29" fmla="*/ 516 h 622"/>
                <a:gd name="T30" fmla="*/ 472 w 683"/>
                <a:gd name="T31" fmla="*/ 516 h 622"/>
                <a:gd name="T32" fmla="*/ 589 w 683"/>
                <a:gd name="T33" fmla="*/ 495 h 622"/>
                <a:gd name="T34" fmla="*/ 576 w 683"/>
                <a:gd name="T35" fmla="*/ 133 h 622"/>
                <a:gd name="T36" fmla="*/ 432 w 683"/>
                <a:gd name="T37" fmla="*/ 114 h 622"/>
                <a:gd name="T38" fmla="*/ 619 w 683"/>
                <a:gd name="T39" fmla="*/ 156 h 622"/>
                <a:gd name="T40" fmla="*/ 303 w 683"/>
                <a:gd name="T41" fmla="*/ 556 h 622"/>
                <a:gd name="T42" fmla="*/ 286 w 683"/>
                <a:gd name="T43" fmla="*/ 24 h 622"/>
                <a:gd name="T44" fmla="*/ 342 w 683"/>
                <a:gd name="T45" fmla="*/ 61 h 622"/>
                <a:gd name="T46" fmla="*/ 391 w 683"/>
                <a:gd name="T47" fmla="*/ 21 h 622"/>
                <a:gd name="T48" fmla="*/ 299 w 683"/>
                <a:gd name="T49" fmla="*/ 86 h 622"/>
                <a:gd name="T50" fmla="*/ 404 w 683"/>
                <a:gd name="T51" fmla="*/ 107 h 622"/>
                <a:gd name="T52" fmla="*/ 279 w 683"/>
                <a:gd name="T53" fmla="*/ 121 h 622"/>
                <a:gd name="T54" fmla="*/ 104 w 683"/>
                <a:gd name="T55" fmla="*/ 156 h 622"/>
                <a:gd name="T56" fmla="*/ 180 w 683"/>
                <a:gd name="T57" fmla="*/ 217 h 622"/>
                <a:gd name="T58" fmla="*/ 104 w 683"/>
                <a:gd name="T59" fmla="*/ 475 h 622"/>
                <a:gd name="T60" fmla="*/ 198 w 683"/>
                <a:gd name="T61" fmla="*/ 226 h 622"/>
                <a:gd name="T62" fmla="*/ 461 w 683"/>
                <a:gd name="T63" fmla="*/ 191 h 622"/>
                <a:gd name="T64" fmla="*/ 477 w 683"/>
                <a:gd name="T65" fmla="*/ 178 h 622"/>
                <a:gd name="T66" fmla="*/ 579 w 683"/>
                <a:gd name="T67" fmla="*/ 156 h 622"/>
                <a:gd name="T68" fmla="*/ 543 w 683"/>
                <a:gd name="T69" fmla="*/ 374 h 622"/>
                <a:gd name="T70" fmla="*/ 479 w 683"/>
                <a:gd name="T71" fmla="*/ 216 h 622"/>
                <a:gd name="T72" fmla="*/ 342 w 683"/>
                <a:gd name="T73" fmla="*/ 515 h 622"/>
                <a:gd name="T74" fmla="*/ 663 w 683"/>
                <a:gd name="T75" fmla="*/ 540 h 622"/>
                <a:gd name="T76" fmla="*/ 21 w 683"/>
                <a:gd name="T77" fmla="*/ 540 h 622"/>
                <a:gd name="T78" fmla="*/ 303 w 683"/>
                <a:gd name="T79" fmla="*/ 577 h 622"/>
                <a:gd name="T80" fmla="*/ 630 w 683"/>
                <a:gd name="T81" fmla="*/ 536 h 622"/>
                <a:gd name="T82" fmla="*/ 663 w 683"/>
                <a:gd name="T83" fmla="*/ 54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3" h="622">
                  <a:moveTo>
                    <a:pt x="673" y="516"/>
                  </a:moveTo>
                  <a:cubicBezTo>
                    <a:pt x="640" y="516"/>
                    <a:pt x="640" y="516"/>
                    <a:pt x="640" y="516"/>
                  </a:cubicBezTo>
                  <a:cubicBezTo>
                    <a:pt x="640" y="156"/>
                    <a:pt x="640" y="156"/>
                    <a:pt x="640" y="156"/>
                  </a:cubicBezTo>
                  <a:cubicBezTo>
                    <a:pt x="640" y="120"/>
                    <a:pt x="611" y="92"/>
                    <a:pt x="576" y="92"/>
                  </a:cubicBezTo>
                  <a:cubicBezTo>
                    <a:pt x="421" y="92"/>
                    <a:pt x="421" y="92"/>
                    <a:pt x="421" y="92"/>
                  </a:cubicBezTo>
                  <a:cubicBezTo>
                    <a:pt x="417" y="89"/>
                    <a:pt x="412" y="87"/>
                    <a:pt x="407" y="86"/>
                  </a:cubicBezTo>
                  <a:cubicBezTo>
                    <a:pt x="424" y="49"/>
                    <a:pt x="425" y="23"/>
                    <a:pt x="412" y="9"/>
                  </a:cubicBezTo>
                  <a:cubicBezTo>
                    <a:pt x="406" y="3"/>
                    <a:pt x="398" y="0"/>
                    <a:pt x="390" y="1"/>
                  </a:cubicBezTo>
                  <a:cubicBezTo>
                    <a:pt x="371" y="3"/>
                    <a:pt x="352" y="22"/>
                    <a:pt x="342" y="34"/>
                  </a:cubicBezTo>
                  <a:cubicBezTo>
                    <a:pt x="331" y="22"/>
                    <a:pt x="312" y="3"/>
                    <a:pt x="294" y="1"/>
                  </a:cubicBezTo>
                  <a:cubicBezTo>
                    <a:pt x="285" y="0"/>
                    <a:pt x="278" y="3"/>
                    <a:pt x="272" y="9"/>
                  </a:cubicBezTo>
                  <a:cubicBezTo>
                    <a:pt x="258" y="23"/>
                    <a:pt x="260" y="49"/>
                    <a:pt x="276" y="86"/>
                  </a:cubicBezTo>
                  <a:cubicBezTo>
                    <a:pt x="271" y="87"/>
                    <a:pt x="266" y="89"/>
                    <a:pt x="262" y="92"/>
                  </a:cubicBezTo>
                  <a:cubicBezTo>
                    <a:pt x="262" y="92"/>
                    <a:pt x="262" y="92"/>
                    <a:pt x="262" y="92"/>
                  </a:cubicBezTo>
                  <a:cubicBezTo>
                    <a:pt x="107" y="92"/>
                    <a:pt x="107" y="92"/>
                    <a:pt x="107" y="92"/>
                  </a:cubicBezTo>
                  <a:cubicBezTo>
                    <a:pt x="72" y="92"/>
                    <a:pt x="44" y="120"/>
                    <a:pt x="44" y="156"/>
                  </a:cubicBezTo>
                  <a:cubicBezTo>
                    <a:pt x="44" y="403"/>
                    <a:pt x="44" y="403"/>
                    <a:pt x="44" y="403"/>
                  </a:cubicBezTo>
                  <a:cubicBezTo>
                    <a:pt x="44" y="409"/>
                    <a:pt x="48" y="413"/>
                    <a:pt x="54" y="413"/>
                  </a:cubicBezTo>
                  <a:cubicBezTo>
                    <a:pt x="59" y="413"/>
                    <a:pt x="64" y="409"/>
                    <a:pt x="64" y="403"/>
                  </a:cubicBezTo>
                  <a:cubicBezTo>
                    <a:pt x="64" y="156"/>
                    <a:pt x="64" y="156"/>
                    <a:pt x="64" y="156"/>
                  </a:cubicBezTo>
                  <a:cubicBezTo>
                    <a:pt x="64" y="132"/>
                    <a:pt x="83" y="112"/>
                    <a:pt x="107" y="112"/>
                  </a:cubicBezTo>
                  <a:cubicBezTo>
                    <a:pt x="252" y="112"/>
                    <a:pt x="252" y="112"/>
                    <a:pt x="252" y="112"/>
                  </a:cubicBezTo>
                  <a:cubicBezTo>
                    <a:pt x="252" y="113"/>
                    <a:pt x="252" y="113"/>
                    <a:pt x="252" y="114"/>
                  </a:cubicBezTo>
                  <a:cubicBezTo>
                    <a:pt x="252" y="121"/>
                    <a:pt x="255" y="127"/>
                    <a:pt x="259" y="132"/>
                  </a:cubicBezTo>
                  <a:cubicBezTo>
                    <a:pt x="259" y="132"/>
                    <a:pt x="259" y="132"/>
                    <a:pt x="258" y="133"/>
                  </a:cubicBezTo>
                  <a:cubicBezTo>
                    <a:pt x="107" y="133"/>
                    <a:pt x="107" y="133"/>
                    <a:pt x="107" y="133"/>
                  </a:cubicBezTo>
                  <a:cubicBezTo>
                    <a:pt x="94" y="133"/>
                    <a:pt x="84" y="143"/>
                    <a:pt x="84" y="156"/>
                  </a:cubicBezTo>
                  <a:cubicBezTo>
                    <a:pt x="84" y="485"/>
                    <a:pt x="84" y="485"/>
                    <a:pt x="84" y="485"/>
                  </a:cubicBezTo>
                  <a:cubicBezTo>
                    <a:pt x="84" y="491"/>
                    <a:pt x="89" y="495"/>
                    <a:pt x="94" y="495"/>
                  </a:cubicBezTo>
                  <a:cubicBezTo>
                    <a:pt x="181" y="495"/>
                    <a:pt x="181" y="495"/>
                    <a:pt x="181" y="495"/>
                  </a:cubicBezTo>
                  <a:cubicBezTo>
                    <a:pt x="187" y="501"/>
                    <a:pt x="194" y="506"/>
                    <a:pt x="202" y="511"/>
                  </a:cubicBezTo>
                  <a:cubicBezTo>
                    <a:pt x="205" y="513"/>
                    <a:pt x="208" y="514"/>
                    <a:pt x="211" y="516"/>
                  </a:cubicBezTo>
                  <a:cubicBezTo>
                    <a:pt x="64" y="516"/>
                    <a:pt x="64" y="516"/>
                    <a:pt x="64" y="516"/>
                  </a:cubicBezTo>
                  <a:cubicBezTo>
                    <a:pt x="64" y="437"/>
                    <a:pt x="64" y="437"/>
                    <a:pt x="64" y="437"/>
                  </a:cubicBezTo>
                  <a:cubicBezTo>
                    <a:pt x="64" y="431"/>
                    <a:pt x="59" y="427"/>
                    <a:pt x="54" y="427"/>
                  </a:cubicBezTo>
                  <a:cubicBezTo>
                    <a:pt x="48" y="427"/>
                    <a:pt x="44" y="431"/>
                    <a:pt x="44" y="437"/>
                  </a:cubicBezTo>
                  <a:cubicBezTo>
                    <a:pt x="44" y="516"/>
                    <a:pt x="44" y="516"/>
                    <a:pt x="44" y="516"/>
                  </a:cubicBezTo>
                  <a:cubicBezTo>
                    <a:pt x="10" y="516"/>
                    <a:pt x="10" y="516"/>
                    <a:pt x="10" y="516"/>
                  </a:cubicBezTo>
                  <a:cubicBezTo>
                    <a:pt x="5" y="516"/>
                    <a:pt x="0" y="520"/>
                    <a:pt x="0" y="526"/>
                  </a:cubicBezTo>
                  <a:cubicBezTo>
                    <a:pt x="0" y="540"/>
                    <a:pt x="0" y="540"/>
                    <a:pt x="0" y="540"/>
                  </a:cubicBezTo>
                  <a:cubicBezTo>
                    <a:pt x="0" y="585"/>
                    <a:pt x="37" y="622"/>
                    <a:pt x="82" y="622"/>
                  </a:cubicBezTo>
                  <a:cubicBezTo>
                    <a:pt x="601" y="622"/>
                    <a:pt x="601" y="622"/>
                    <a:pt x="601" y="622"/>
                  </a:cubicBezTo>
                  <a:cubicBezTo>
                    <a:pt x="646" y="622"/>
                    <a:pt x="683" y="585"/>
                    <a:pt x="683" y="540"/>
                  </a:cubicBezTo>
                  <a:cubicBezTo>
                    <a:pt x="683" y="526"/>
                    <a:pt x="683" y="526"/>
                    <a:pt x="683" y="526"/>
                  </a:cubicBezTo>
                  <a:cubicBezTo>
                    <a:pt x="683" y="520"/>
                    <a:pt x="678" y="516"/>
                    <a:pt x="673" y="516"/>
                  </a:cubicBezTo>
                  <a:close/>
                  <a:moveTo>
                    <a:pt x="619" y="156"/>
                  </a:moveTo>
                  <a:cubicBezTo>
                    <a:pt x="619" y="516"/>
                    <a:pt x="619" y="516"/>
                    <a:pt x="619" y="516"/>
                  </a:cubicBezTo>
                  <a:cubicBezTo>
                    <a:pt x="472" y="516"/>
                    <a:pt x="472" y="516"/>
                    <a:pt x="472" y="516"/>
                  </a:cubicBezTo>
                  <a:cubicBezTo>
                    <a:pt x="476" y="514"/>
                    <a:pt x="479" y="513"/>
                    <a:pt x="482" y="511"/>
                  </a:cubicBezTo>
                  <a:cubicBezTo>
                    <a:pt x="489" y="506"/>
                    <a:pt x="496" y="501"/>
                    <a:pt x="502" y="495"/>
                  </a:cubicBezTo>
                  <a:cubicBezTo>
                    <a:pt x="589" y="495"/>
                    <a:pt x="589" y="495"/>
                    <a:pt x="589" y="495"/>
                  </a:cubicBezTo>
                  <a:cubicBezTo>
                    <a:pt x="595" y="495"/>
                    <a:pt x="599" y="491"/>
                    <a:pt x="599" y="485"/>
                  </a:cubicBezTo>
                  <a:cubicBezTo>
                    <a:pt x="599" y="156"/>
                    <a:pt x="599" y="156"/>
                    <a:pt x="599" y="156"/>
                  </a:cubicBezTo>
                  <a:cubicBezTo>
                    <a:pt x="599" y="143"/>
                    <a:pt x="589" y="133"/>
                    <a:pt x="576" y="133"/>
                  </a:cubicBezTo>
                  <a:cubicBezTo>
                    <a:pt x="425" y="133"/>
                    <a:pt x="425" y="133"/>
                    <a:pt x="425" y="133"/>
                  </a:cubicBezTo>
                  <a:cubicBezTo>
                    <a:pt x="425" y="132"/>
                    <a:pt x="424" y="132"/>
                    <a:pt x="424" y="132"/>
                  </a:cubicBezTo>
                  <a:cubicBezTo>
                    <a:pt x="429" y="127"/>
                    <a:pt x="432" y="121"/>
                    <a:pt x="432" y="114"/>
                  </a:cubicBezTo>
                  <a:cubicBezTo>
                    <a:pt x="432" y="113"/>
                    <a:pt x="431" y="113"/>
                    <a:pt x="431" y="112"/>
                  </a:cubicBezTo>
                  <a:cubicBezTo>
                    <a:pt x="576" y="112"/>
                    <a:pt x="576" y="112"/>
                    <a:pt x="576" y="112"/>
                  </a:cubicBezTo>
                  <a:cubicBezTo>
                    <a:pt x="600" y="112"/>
                    <a:pt x="619" y="132"/>
                    <a:pt x="619" y="156"/>
                  </a:cubicBezTo>
                  <a:close/>
                  <a:moveTo>
                    <a:pt x="403" y="536"/>
                  </a:moveTo>
                  <a:cubicBezTo>
                    <a:pt x="402" y="547"/>
                    <a:pt x="392" y="556"/>
                    <a:pt x="380" y="556"/>
                  </a:cubicBezTo>
                  <a:cubicBezTo>
                    <a:pt x="303" y="556"/>
                    <a:pt x="303" y="556"/>
                    <a:pt x="303" y="556"/>
                  </a:cubicBezTo>
                  <a:cubicBezTo>
                    <a:pt x="292" y="556"/>
                    <a:pt x="282" y="547"/>
                    <a:pt x="280" y="536"/>
                  </a:cubicBezTo>
                  <a:lnTo>
                    <a:pt x="403" y="536"/>
                  </a:lnTo>
                  <a:close/>
                  <a:moveTo>
                    <a:pt x="286" y="24"/>
                  </a:moveTo>
                  <a:cubicBezTo>
                    <a:pt x="288" y="22"/>
                    <a:pt x="290" y="21"/>
                    <a:pt x="292" y="21"/>
                  </a:cubicBezTo>
                  <a:cubicBezTo>
                    <a:pt x="304" y="22"/>
                    <a:pt x="323" y="43"/>
                    <a:pt x="333" y="57"/>
                  </a:cubicBezTo>
                  <a:cubicBezTo>
                    <a:pt x="335" y="59"/>
                    <a:pt x="338" y="61"/>
                    <a:pt x="342" y="61"/>
                  </a:cubicBezTo>
                  <a:cubicBezTo>
                    <a:pt x="342" y="61"/>
                    <a:pt x="342" y="61"/>
                    <a:pt x="342" y="61"/>
                  </a:cubicBezTo>
                  <a:cubicBezTo>
                    <a:pt x="345" y="61"/>
                    <a:pt x="348" y="59"/>
                    <a:pt x="350" y="57"/>
                  </a:cubicBezTo>
                  <a:cubicBezTo>
                    <a:pt x="360" y="43"/>
                    <a:pt x="379" y="22"/>
                    <a:pt x="391" y="21"/>
                  </a:cubicBezTo>
                  <a:cubicBezTo>
                    <a:pt x="394" y="21"/>
                    <a:pt x="395" y="22"/>
                    <a:pt x="397" y="24"/>
                  </a:cubicBezTo>
                  <a:cubicBezTo>
                    <a:pt x="403" y="29"/>
                    <a:pt x="403" y="49"/>
                    <a:pt x="385" y="86"/>
                  </a:cubicBezTo>
                  <a:cubicBezTo>
                    <a:pt x="299" y="86"/>
                    <a:pt x="299" y="86"/>
                    <a:pt x="299" y="86"/>
                  </a:cubicBezTo>
                  <a:cubicBezTo>
                    <a:pt x="281" y="49"/>
                    <a:pt x="280" y="29"/>
                    <a:pt x="286" y="24"/>
                  </a:cubicBezTo>
                  <a:close/>
                  <a:moveTo>
                    <a:pt x="279" y="107"/>
                  </a:moveTo>
                  <a:cubicBezTo>
                    <a:pt x="404" y="107"/>
                    <a:pt x="404" y="107"/>
                    <a:pt x="404" y="107"/>
                  </a:cubicBezTo>
                  <a:cubicBezTo>
                    <a:pt x="408" y="107"/>
                    <a:pt x="411" y="110"/>
                    <a:pt x="411" y="114"/>
                  </a:cubicBezTo>
                  <a:cubicBezTo>
                    <a:pt x="411" y="117"/>
                    <a:pt x="408" y="121"/>
                    <a:pt x="404" y="121"/>
                  </a:cubicBezTo>
                  <a:cubicBezTo>
                    <a:pt x="279" y="121"/>
                    <a:pt x="279" y="121"/>
                    <a:pt x="279" y="121"/>
                  </a:cubicBezTo>
                  <a:cubicBezTo>
                    <a:pt x="275" y="121"/>
                    <a:pt x="272" y="117"/>
                    <a:pt x="272" y="114"/>
                  </a:cubicBezTo>
                  <a:cubicBezTo>
                    <a:pt x="272" y="110"/>
                    <a:pt x="275" y="107"/>
                    <a:pt x="279" y="107"/>
                  </a:cubicBezTo>
                  <a:close/>
                  <a:moveTo>
                    <a:pt x="104" y="156"/>
                  </a:moveTo>
                  <a:cubicBezTo>
                    <a:pt x="104" y="154"/>
                    <a:pt x="106" y="153"/>
                    <a:pt x="107" y="153"/>
                  </a:cubicBezTo>
                  <a:cubicBezTo>
                    <a:pt x="231" y="153"/>
                    <a:pt x="231" y="153"/>
                    <a:pt x="231" y="153"/>
                  </a:cubicBezTo>
                  <a:cubicBezTo>
                    <a:pt x="211" y="170"/>
                    <a:pt x="194" y="191"/>
                    <a:pt x="180" y="217"/>
                  </a:cubicBezTo>
                  <a:cubicBezTo>
                    <a:pt x="154" y="262"/>
                    <a:pt x="141" y="317"/>
                    <a:pt x="141" y="374"/>
                  </a:cubicBezTo>
                  <a:cubicBezTo>
                    <a:pt x="141" y="416"/>
                    <a:pt x="149" y="450"/>
                    <a:pt x="165" y="475"/>
                  </a:cubicBezTo>
                  <a:cubicBezTo>
                    <a:pt x="104" y="475"/>
                    <a:pt x="104" y="475"/>
                    <a:pt x="104" y="475"/>
                  </a:cubicBezTo>
                  <a:lnTo>
                    <a:pt x="104" y="156"/>
                  </a:lnTo>
                  <a:close/>
                  <a:moveTo>
                    <a:pt x="161" y="374"/>
                  </a:moveTo>
                  <a:cubicBezTo>
                    <a:pt x="161" y="320"/>
                    <a:pt x="174" y="269"/>
                    <a:pt x="198" y="226"/>
                  </a:cubicBezTo>
                  <a:cubicBezTo>
                    <a:pt x="220" y="186"/>
                    <a:pt x="251" y="156"/>
                    <a:pt x="287" y="141"/>
                  </a:cubicBezTo>
                  <a:cubicBezTo>
                    <a:pt x="397" y="141"/>
                    <a:pt x="397" y="141"/>
                    <a:pt x="397" y="141"/>
                  </a:cubicBezTo>
                  <a:cubicBezTo>
                    <a:pt x="421" y="151"/>
                    <a:pt x="442" y="168"/>
                    <a:pt x="461" y="191"/>
                  </a:cubicBezTo>
                  <a:cubicBezTo>
                    <a:pt x="463" y="193"/>
                    <a:pt x="466" y="194"/>
                    <a:pt x="469" y="194"/>
                  </a:cubicBezTo>
                  <a:cubicBezTo>
                    <a:pt x="471" y="194"/>
                    <a:pt x="474" y="194"/>
                    <a:pt x="476" y="192"/>
                  </a:cubicBezTo>
                  <a:cubicBezTo>
                    <a:pt x="480" y="188"/>
                    <a:pt x="481" y="182"/>
                    <a:pt x="477" y="178"/>
                  </a:cubicBezTo>
                  <a:cubicBezTo>
                    <a:pt x="469" y="169"/>
                    <a:pt x="461" y="160"/>
                    <a:pt x="453" y="153"/>
                  </a:cubicBezTo>
                  <a:cubicBezTo>
                    <a:pt x="576" y="153"/>
                    <a:pt x="576" y="153"/>
                    <a:pt x="576" y="153"/>
                  </a:cubicBezTo>
                  <a:cubicBezTo>
                    <a:pt x="578" y="153"/>
                    <a:pt x="579" y="154"/>
                    <a:pt x="579" y="156"/>
                  </a:cubicBezTo>
                  <a:cubicBezTo>
                    <a:pt x="579" y="475"/>
                    <a:pt x="579" y="475"/>
                    <a:pt x="579" y="475"/>
                  </a:cubicBezTo>
                  <a:cubicBezTo>
                    <a:pt x="519" y="475"/>
                    <a:pt x="519" y="475"/>
                    <a:pt x="519" y="475"/>
                  </a:cubicBezTo>
                  <a:cubicBezTo>
                    <a:pt x="535" y="450"/>
                    <a:pt x="543" y="416"/>
                    <a:pt x="543" y="374"/>
                  </a:cubicBezTo>
                  <a:cubicBezTo>
                    <a:pt x="543" y="312"/>
                    <a:pt x="526" y="252"/>
                    <a:pt x="496" y="205"/>
                  </a:cubicBezTo>
                  <a:cubicBezTo>
                    <a:pt x="493" y="200"/>
                    <a:pt x="487" y="199"/>
                    <a:pt x="482" y="202"/>
                  </a:cubicBezTo>
                  <a:cubicBezTo>
                    <a:pt x="478" y="205"/>
                    <a:pt x="476" y="211"/>
                    <a:pt x="479" y="216"/>
                  </a:cubicBezTo>
                  <a:cubicBezTo>
                    <a:pt x="507" y="260"/>
                    <a:pt x="522" y="316"/>
                    <a:pt x="522" y="374"/>
                  </a:cubicBezTo>
                  <a:cubicBezTo>
                    <a:pt x="522" y="435"/>
                    <a:pt x="506" y="473"/>
                    <a:pt x="471" y="493"/>
                  </a:cubicBezTo>
                  <a:cubicBezTo>
                    <a:pt x="449" y="506"/>
                    <a:pt x="419" y="515"/>
                    <a:pt x="342" y="515"/>
                  </a:cubicBezTo>
                  <a:cubicBezTo>
                    <a:pt x="286" y="515"/>
                    <a:pt x="243" y="511"/>
                    <a:pt x="212" y="493"/>
                  </a:cubicBezTo>
                  <a:cubicBezTo>
                    <a:pt x="177" y="473"/>
                    <a:pt x="161" y="435"/>
                    <a:pt x="161" y="374"/>
                  </a:cubicBezTo>
                  <a:close/>
                  <a:moveTo>
                    <a:pt x="663" y="540"/>
                  </a:moveTo>
                  <a:cubicBezTo>
                    <a:pt x="663" y="574"/>
                    <a:pt x="635" y="602"/>
                    <a:pt x="601" y="602"/>
                  </a:cubicBezTo>
                  <a:cubicBezTo>
                    <a:pt x="82" y="602"/>
                    <a:pt x="82" y="602"/>
                    <a:pt x="82" y="602"/>
                  </a:cubicBezTo>
                  <a:cubicBezTo>
                    <a:pt x="48" y="602"/>
                    <a:pt x="21" y="574"/>
                    <a:pt x="21" y="540"/>
                  </a:cubicBezTo>
                  <a:cubicBezTo>
                    <a:pt x="21" y="536"/>
                    <a:pt x="21" y="536"/>
                    <a:pt x="21" y="536"/>
                  </a:cubicBezTo>
                  <a:cubicBezTo>
                    <a:pt x="260" y="536"/>
                    <a:pt x="260" y="536"/>
                    <a:pt x="260" y="536"/>
                  </a:cubicBezTo>
                  <a:cubicBezTo>
                    <a:pt x="261" y="559"/>
                    <a:pt x="280" y="577"/>
                    <a:pt x="303" y="577"/>
                  </a:cubicBezTo>
                  <a:cubicBezTo>
                    <a:pt x="380" y="577"/>
                    <a:pt x="380" y="577"/>
                    <a:pt x="380" y="577"/>
                  </a:cubicBezTo>
                  <a:cubicBezTo>
                    <a:pt x="403" y="577"/>
                    <a:pt x="422" y="559"/>
                    <a:pt x="424" y="536"/>
                  </a:cubicBezTo>
                  <a:cubicBezTo>
                    <a:pt x="630" y="536"/>
                    <a:pt x="630" y="536"/>
                    <a:pt x="630" y="536"/>
                  </a:cubicBezTo>
                  <a:cubicBezTo>
                    <a:pt x="630" y="536"/>
                    <a:pt x="630" y="536"/>
                    <a:pt x="630" y="536"/>
                  </a:cubicBezTo>
                  <a:cubicBezTo>
                    <a:pt x="663" y="536"/>
                    <a:pt x="663" y="536"/>
                    <a:pt x="663" y="536"/>
                  </a:cubicBezTo>
                  <a:lnTo>
                    <a:pt x="663" y="540"/>
                  </a:lnTo>
                  <a:close/>
                  <a:moveTo>
                    <a:pt x="663" y="540"/>
                  </a:moveTo>
                  <a:cubicBezTo>
                    <a:pt x="663" y="540"/>
                    <a:pt x="663" y="540"/>
                    <a:pt x="663" y="5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 name="Freeform 6">
              <a:extLst>
                <a:ext uri="{FF2B5EF4-FFF2-40B4-BE49-F238E27FC236}">
                  <a16:creationId xmlns:a16="http://schemas.microsoft.com/office/drawing/2014/main" id="{C44373D8-518A-4CAD-A641-30353E471717}"/>
                </a:ext>
              </a:extLst>
            </p:cNvPr>
            <p:cNvSpPr>
              <a:spLocks noEditPoints="1"/>
            </p:cNvSpPr>
            <p:nvPr/>
          </p:nvSpPr>
          <p:spPr bwMode="auto">
            <a:xfrm>
              <a:off x="3322" y="5467"/>
              <a:ext cx="252" cy="504"/>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grpSp>
      <p:grpSp>
        <p:nvGrpSpPr>
          <p:cNvPr id="21" name="Group 9">
            <a:extLst>
              <a:ext uri="{FF2B5EF4-FFF2-40B4-BE49-F238E27FC236}">
                <a16:creationId xmlns:a16="http://schemas.microsoft.com/office/drawing/2014/main" id="{10A99B64-595D-4263-B729-30D7965642AA}"/>
              </a:ext>
            </a:extLst>
          </p:cNvPr>
          <p:cNvGrpSpPr>
            <a:grpSpLocks noChangeAspect="1"/>
          </p:cNvGrpSpPr>
          <p:nvPr/>
        </p:nvGrpSpPr>
        <p:grpSpPr bwMode="auto">
          <a:xfrm>
            <a:off x="6072368" y="4459157"/>
            <a:ext cx="590019" cy="573659"/>
            <a:chOff x="4224" y="4480"/>
            <a:chExt cx="1118" cy="1087"/>
          </a:xfrm>
          <a:solidFill>
            <a:srgbClr val="43B02A"/>
          </a:solidFill>
        </p:grpSpPr>
        <p:sp>
          <p:nvSpPr>
            <p:cNvPr id="24" name="Freeform 10">
              <a:extLst>
                <a:ext uri="{FF2B5EF4-FFF2-40B4-BE49-F238E27FC236}">
                  <a16:creationId xmlns:a16="http://schemas.microsoft.com/office/drawing/2014/main" id="{D617EC80-D0CA-46B1-B9E5-19C968C06E52}"/>
                </a:ext>
              </a:extLst>
            </p:cNvPr>
            <p:cNvSpPr>
              <a:spLocks noEditPoints="1"/>
            </p:cNvSpPr>
            <p:nvPr/>
          </p:nvSpPr>
          <p:spPr bwMode="auto">
            <a:xfrm>
              <a:off x="4224" y="4480"/>
              <a:ext cx="937" cy="849"/>
            </a:xfrm>
            <a:custGeom>
              <a:avLst/>
              <a:gdLst>
                <a:gd name="T0" fmla="*/ 270 w 420"/>
                <a:gd name="T1" fmla="*/ 327 h 392"/>
                <a:gd name="T2" fmla="*/ 278 w 420"/>
                <a:gd name="T3" fmla="*/ 319 h 392"/>
                <a:gd name="T4" fmla="*/ 270 w 420"/>
                <a:gd name="T5" fmla="*/ 311 h 392"/>
                <a:gd name="T6" fmla="*/ 17 w 420"/>
                <a:gd name="T7" fmla="*/ 311 h 392"/>
                <a:gd name="T8" fmla="*/ 16 w 420"/>
                <a:gd name="T9" fmla="*/ 310 h 392"/>
                <a:gd name="T10" fmla="*/ 16 w 420"/>
                <a:gd name="T11" fmla="*/ 18 h 392"/>
                <a:gd name="T12" fmla="*/ 17 w 420"/>
                <a:gd name="T13" fmla="*/ 16 h 392"/>
                <a:gd name="T14" fmla="*/ 403 w 420"/>
                <a:gd name="T15" fmla="*/ 16 h 392"/>
                <a:gd name="T16" fmla="*/ 404 w 420"/>
                <a:gd name="T17" fmla="*/ 18 h 392"/>
                <a:gd name="T18" fmla="*/ 404 w 420"/>
                <a:gd name="T19" fmla="*/ 158 h 392"/>
                <a:gd name="T20" fmla="*/ 412 w 420"/>
                <a:gd name="T21" fmla="*/ 166 h 392"/>
                <a:gd name="T22" fmla="*/ 420 w 420"/>
                <a:gd name="T23" fmla="*/ 158 h 392"/>
                <a:gd name="T24" fmla="*/ 420 w 420"/>
                <a:gd name="T25" fmla="*/ 18 h 392"/>
                <a:gd name="T26" fmla="*/ 403 w 420"/>
                <a:gd name="T27" fmla="*/ 0 h 392"/>
                <a:gd name="T28" fmla="*/ 17 w 420"/>
                <a:gd name="T29" fmla="*/ 0 h 392"/>
                <a:gd name="T30" fmla="*/ 0 w 420"/>
                <a:gd name="T31" fmla="*/ 18 h 392"/>
                <a:gd name="T32" fmla="*/ 0 w 420"/>
                <a:gd name="T33" fmla="*/ 310 h 392"/>
                <a:gd name="T34" fmla="*/ 17 w 420"/>
                <a:gd name="T35" fmla="*/ 327 h 392"/>
                <a:gd name="T36" fmla="*/ 161 w 420"/>
                <a:gd name="T37" fmla="*/ 327 h 392"/>
                <a:gd name="T38" fmla="*/ 161 w 420"/>
                <a:gd name="T39" fmla="*/ 376 h 392"/>
                <a:gd name="T40" fmla="*/ 100 w 420"/>
                <a:gd name="T41" fmla="*/ 376 h 392"/>
                <a:gd name="T42" fmla="*/ 92 w 420"/>
                <a:gd name="T43" fmla="*/ 384 h 392"/>
                <a:gd name="T44" fmla="*/ 100 w 420"/>
                <a:gd name="T45" fmla="*/ 392 h 392"/>
                <a:gd name="T46" fmla="*/ 270 w 420"/>
                <a:gd name="T47" fmla="*/ 392 h 392"/>
                <a:gd name="T48" fmla="*/ 278 w 420"/>
                <a:gd name="T49" fmla="*/ 384 h 392"/>
                <a:gd name="T50" fmla="*/ 270 w 420"/>
                <a:gd name="T51" fmla="*/ 376 h 392"/>
                <a:gd name="T52" fmla="*/ 259 w 420"/>
                <a:gd name="T53" fmla="*/ 376 h 392"/>
                <a:gd name="T54" fmla="*/ 259 w 420"/>
                <a:gd name="T55" fmla="*/ 327 h 392"/>
                <a:gd name="T56" fmla="*/ 270 w 420"/>
                <a:gd name="T57" fmla="*/ 327 h 392"/>
                <a:gd name="T58" fmla="*/ 243 w 420"/>
                <a:gd name="T59" fmla="*/ 376 h 392"/>
                <a:gd name="T60" fmla="*/ 177 w 420"/>
                <a:gd name="T61" fmla="*/ 376 h 392"/>
                <a:gd name="T62" fmla="*/ 177 w 420"/>
                <a:gd name="T63" fmla="*/ 327 h 392"/>
                <a:gd name="T64" fmla="*/ 243 w 420"/>
                <a:gd name="T65" fmla="*/ 327 h 392"/>
                <a:gd name="T66" fmla="*/ 243 w 420"/>
                <a:gd name="T67" fmla="*/ 376 h 392"/>
                <a:gd name="T68" fmla="*/ 243 w 420"/>
                <a:gd name="T69" fmla="*/ 376 h 392"/>
                <a:gd name="T70" fmla="*/ 243 w 420"/>
                <a:gd name="T71" fmla="*/ 37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392">
                  <a:moveTo>
                    <a:pt x="270" y="327"/>
                  </a:moveTo>
                  <a:cubicBezTo>
                    <a:pt x="275" y="327"/>
                    <a:pt x="278" y="324"/>
                    <a:pt x="278" y="319"/>
                  </a:cubicBezTo>
                  <a:cubicBezTo>
                    <a:pt x="278" y="315"/>
                    <a:pt x="275" y="311"/>
                    <a:pt x="270" y="311"/>
                  </a:cubicBezTo>
                  <a:cubicBezTo>
                    <a:pt x="17" y="311"/>
                    <a:pt x="17" y="311"/>
                    <a:pt x="17" y="311"/>
                  </a:cubicBezTo>
                  <a:cubicBezTo>
                    <a:pt x="17" y="311"/>
                    <a:pt x="16" y="311"/>
                    <a:pt x="16" y="310"/>
                  </a:cubicBezTo>
                  <a:cubicBezTo>
                    <a:pt x="16" y="18"/>
                    <a:pt x="16" y="18"/>
                    <a:pt x="16" y="18"/>
                  </a:cubicBezTo>
                  <a:cubicBezTo>
                    <a:pt x="16" y="17"/>
                    <a:pt x="17" y="16"/>
                    <a:pt x="17" y="16"/>
                  </a:cubicBezTo>
                  <a:cubicBezTo>
                    <a:pt x="403" y="16"/>
                    <a:pt x="403" y="16"/>
                    <a:pt x="403" y="16"/>
                  </a:cubicBezTo>
                  <a:cubicBezTo>
                    <a:pt x="404" y="16"/>
                    <a:pt x="404" y="17"/>
                    <a:pt x="404" y="18"/>
                  </a:cubicBezTo>
                  <a:cubicBezTo>
                    <a:pt x="404" y="158"/>
                    <a:pt x="404" y="158"/>
                    <a:pt x="404" y="158"/>
                  </a:cubicBezTo>
                  <a:cubicBezTo>
                    <a:pt x="404" y="163"/>
                    <a:pt x="408" y="166"/>
                    <a:pt x="412" y="166"/>
                  </a:cubicBezTo>
                  <a:cubicBezTo>
                    <a:pt x="417" y="166"/>
                    <a:pt x="420" y="163"/>
                    <a:pt x="420" y="158"/>
                  </a:cubicBezTo>
                  <a:cubicBezTo>
                    <a:pt x="420" y="18"/>
                    <a:pt x="420" y="18"/>
                    <a:pt x="420" y="18"/>
                  </a:cubicBezTo>
                  <a:cubicBezTo>
                    <a:pt x="420" y="8"/>
                    <a:pt x="413" y="0"/>
                    <a:pt x="403" y="0"/>
                  </a:cubicBezTo>
                  <a:cubicBezTo>
                    <a:pt x="17" y="0"/>
                    <a:pt x="17" y="0"/>
                    <a:pt x="17" y="0"/>
                  </a:cubicBezTo>
                  <a:cubicBezTo>
                    <a:pt x="8" y="0"/>
                    <a:pt x="0" y="8"/>
                    <a:pt x="0" y="18"/>
                  </a:cubicBezTo>
                  <a:cubicBezTo>
                    <a:pt x="0" y="310"/>
                    <a:pt x="0" y="310"/>
                    <a:pt x="0" y="310"/>
                  </a:cubicBezTo>
                  <a:cubicBezTo>
                    <a:pt x="0" y="319"/>
                    <a:pt x="8" y="327"/>
                    <a:pt x="17" y="327"/>
                  </a:cubicBezTo>
                  <a:cubicBezTo>
                    <a:pt x="161" y="327"/>
                    <a:pt x="161" y="327"/>
                    <a:pt x="161" y="327"/>
                  </a:cubicBezTo>
                  <a:cubicBezTo>
                    <a:pt x="161" y="376"/>
                    <a:pt x="161" y="376"/>
                    <a:pt x="161" y="376"/>
                  </a:cubicBezTo>
                  <a:cubicBezTo>
                    <a:pt x="100" y="376"/>
                    <a:pt x="100" y="376"/>
                    <a:pt x="100" y="376"/>
                  </a:cubicBezTo>
                  <a:cubicBezTo>
                    <a:pt x="95" y="376"/>
                    <a:pt x="92" y="379"/>
                    <a:pt x="92" y="384"/>
                  </a:cubicBezTo>
                  <a:cubicBezTo>
                    <a:pt x="92" y="388"/>
                    <a:pt x="95" y="392"/>
                    <a:pt x="100" y="392"/>
                  </a:cubicBezTo>
                  <a:cubicBezTo>
                    <a:pt x="270" y="392"/>
                    <a:pt x="270" y="392"/>
                    <a:pt x="270" y="392"/>
                  </a:cubicBezTo>
                  <a:cubicBezTo>
                    <a:pt x="275" y="392"/>
                    <a:pt x="278" y="388"/>
                    <a:pt x="278" y="384"/>
                  </a:cubicBezTo>
                  <a:cubicBezTo>
                    <a:pt x="278" y="379"/>
                    <a:pt x="275" y="376"/>
                    <a:pt x="270" y="376"/>
                  </a:cubicBezTo>
                  <a:cubicBezTo>
                    <a:pt x="259" y="376"/>
                    <a:pt x="259" y="376"/>
                    <a:pt x="259" y="376"/>
                  </a:cubicBezTo>
                  <a:cubicBezTo>
                    <a:pt x="259" y="327"/>
                    <a:pt x="259" y="327"/>
                    <a:pt x="259" y="327"/>
                  </a:cubicBezTo>
                  <a:lnTo>
                    <a:pt x="270" y="327"/>
                  </a:lnTo>
                  <a:close/>
                  <a:moveTo>
                    <a:pt x="243" y="376"/>
                  </a:moveTo>
                  <a:cubicBezTo>
                    <a:pt x="177" y="376"/>
                    <a:pt x="177" y="376"/>
                    <a:pt x="177" y="376"/>
                  </a:cubicBezTo>
                  <a:cubicBezTo>
                    <a:pt x="177" y="327"/>
                    <a:pt x="177" y="327"/>
                    <a:pt x="177" y="327"/>
                  </a:cubicBezTo>
                  <a:cubicBezTo>
                    <a:pt x="243" y="327"/>
                    <a:pt x="243" y="327"/>
                    <a:pt x="243" y="327"/>
                  </a:cubicBezTo>
                  <a:lnTo>
                    <a:pt x="243" y="376"/>
                  </a:lnTo>
                  <a:close/>
                  <a:moveTo>
                    <a:pt x="243" y="376"/>
                  </a:moveTo>
                  <a:cubicBezTo>
                    <a:pt x="243" y="376"/>
                    <a:pt x="243" y="376"/>
                    <a:pt x="243"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25" name="Freeform 11">
              <a:extLst>
                <a:ext uri="{FF2B5EF4-FFF2-40B4-BE49-F238E27FC236}">
                  <a16:creationId xmlns:a16="http://schemas.microsoft.com/office/drawing/2014/main" id="{6FD3876F-5CC5-4BE3-8BB1-3BFB4B01B817}"/>
                </a:ext>
              </a:extLst>
            </p:cNvPr>
            <p:cNvSpPr>
              <a:spLocks noEditPoints="1"/>
            </p:cNvSpPr>
            <p:nvPr/>
          </p:nvSpPr>
          <p:spPr bwMode="auto">
            <a:xfrm>
              <a:off x="4295" y="5037"/>
              <a:ext cx="549" cy="34"/>
            </a:xfrm>
            <a:custGeom>
              <a:avLst/>
              <a:gdLst>
                <a:gd name="T0" fmla="*/ 238 w 246"/>
                <a:gd name="T1" fmla="*/ 0 h 16"/>
                <a:gd name="T2" fmla="*/ 8 w 246"/>
                <a:gd name="T3" fmla="*/ 0 h 16"/>
                <a:gd name="T4" fmla="*/ 0 w 246"/>
                <a:gd name="T5" fmla="*/ 8 h 16"/>
                <a:gd name="T6" fmla="*/ 8 w 246"/>
                <a:gd name="T7" fmla="*/ 16 h 16"/>
                <a:gd name="T8" fmla="*/ 238 w 246"/>
                <a:gd name="T9" fmla="*/ 16 h 16"/>
                <a:gd name="T10" fmla="*/ 246 w 246"/>
                <a:gd name="T11" fmla="*/ 8 h 16"/>
                <a:gd name="T12" fmla="*/ 238 w 246"/>
                <a:gd name="T13" fmla="*/ 0 h 16"/>
                <a:gd name="T14" fmla="*/ 238 w 246"/>
                <a:gd name="T15" fmla="*/ 0 h 16"/>
                <a:gd name="T16" fmla="*/ 238 w 24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16">
                  <a:moveTo>
                    <a:pt x="238" y="0"/>
                  </a:moveTo>
                  <a:cubicBezTo>
                    <a:pt x="8" y="0"/>
                    <a:pt x="8" y="0"/>
                    <a:pt x="8" y="0"/>
                  </a:cubicBezTo>
                  <a:cubicBezTo>
                    <a:pt x="4" y="0"/>
                    <a:pt x="0" y="4"/>
                    <a:pt x="0" y="8"/>
                  </a:cubicBezTo>
                  <a:cubicBezTo>
                    <a:pt x="0" y="12"/>
                    <a:pt x="4" y="16"/>
                    <a:pt x="8" y="16"/>
                  </a:cubicBezTo>
                  <a:cubicBezTo>
                    <a:pt x="238" y="16"/>
                    <a:pt x="238" y="16"/>
                    <a:pt x="238" y="16"/>
                  </a:cubicBezTo>
                  <a:cubicBezTo>
                    <a:pt x="243" y="16"/>
                    <a:pt x="246" y="12"/>
                    <a:pt x="246" y="8"/>
                  </a:cubicBezTo>
                  <a:cubicBezTo>
                    <a:pt x="246" y="4"/>
                    <a:pt x="243" y="0"/>
                    <a:pt x="238" y="0"/>
                  </a:cubicBezTo>
                  <a:close/>
                  <a:moveTo>
                    <a:pt x="238" y="0"/>
                  </a:moveTo>
                  <a:cubicBezTo>
                    <a:pt x="238" y="0"/>
                    <a:pt x="238" y="0"/>
                    <a:pt x="2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26" name="Freeform 12">
              <a:extLst>
                <a:ext uri="{FF2B5EF4-FFF2-40B4-BE49-F238E27FC236}">
                  <a16:creationId xmlns:a16="http://schemas.microsoft.com/office/drawing/2014/main" id="{621DC3F7-3208-4F08-9AA4-322D9F9AE2E4}"/>
                </a:ext>
              </a:extLst>
            </p:cNvPr>
            <p:cNvSpPr>
              <a:spLocks noEditPoints="1"/>
            </p:cNvSpPr>
            <p:nvPr/>
          </p:nvSpPr>
          <p:spPr bwMode="auto">
            <a:xfrm>
              <a:off x="4880" y="4874"/>
              <a:ext cx="462" cy="693"/>
            </a:xfrm>
            <a:custGeom>
              <a:avLst/>
              <a:gdLst>
                <a:gd name="T0" fmla="*/ 190 w 207"/>
                <a:gd name="T1" fmla="*/ 0 h 320"/>
                <a:gd name="T2" fmla="*/ 18 w 207"/>
                <a:gd name="T3" fmla="*/ 0 h 320"/>
                <a:gd name="T4" fmla="*/ 0 w 207"/>
                <a:gd name="T5" fmla="*/ 18 h 320"/>
                <a:gd name="T6" fmla="*/ 0 w 207"/>
                <a:gd name="T7" fmla="*/ 302 h 320"/>
                <a:gd name="T8" fmla="*/ 18 w 207"/>
                <a:gd name="T9" fmla="*/ 320 h 320"/>
                <a:gd name="T10" fmla="*/ 190 w 207"/>
                <a:gd name="T11" fmla="*/ 320 h 320"/>
                <a:gd name="T12" fmla="*/ 207 w 207"/>
                <a:gd name="T13" fmla="*/ 302 h 320"/>
                <a:gd name="T14" fmla="*/ 207 w 207"/>
                <a:gd name="T15" fmla="*/ 18 h 320"/>
                <a:gd name="T16" fmla="*/ 190 w 207"/>
                <a:gd name="T17" fmla="*/ 0 h 320"/>
                <a:gd name="T18" fmla="*/ 16 w 207"/>
                <a:gd name="T19" fmla="*/ 48 h 320"/>
                <a:gd name="T20" fmla="*/ 191 w 207"/>
                <a:gd name="T21" fmla="*/ 48 h 320"/>
                <a:gd name="T22" fmla="*/ 191 w 207"/>
                <a:gd name="T23" fmla="*/ 240 h 320"/>
                <a:gd name="T24" fmla="*/ 16 w 207"/>
                <a:gd name="T25" fmla="*/ 240 h 320"/>
                <a:gd name="T26" fmla="*/ 16 w 207"/>
                <a:gd name="T27" fmla="*/ 48 h 320"/>
                <a:gd name="T28" fmla="*/ 18 w 207"/>
                <a:gd name="T29" fmla="*/ 16 h 320"/>
                <a:gd name="T30" fmla="*/ 190 w 207"/>
                <a:gd name="T31" fmla="*/ 16 h 320"/>
                <a:gd name="T32" fmla="*/ 191 w 207"/>
                <a:gd name="T33" fmla="*/ 18 h 320"/>
                <a:gd name="T34" fmla="*/ 191 w 207"/>
                <a:gd name="T35" fmla="*/ 32 h 320"/>
                <a:gd name="T36" fmla="*/ 16 w 207"/>
                <a:gd name="T37" fmla="*/ 32 h 320"/>
                <a:gd name="T38" fmla="*/ 16 w 207"/>
                <a:gd name="T39" fmla="*/ 18 h 320"/>
                <a:gd name="T40" fmla="*/ 18 w 207"/>
                <a:gd name="T41" fmla="*/ 16 h 320"/>
                <a:gd name="T42" fmla="*/ 190 w 207"/>
                <a:gd name="T43" fmla="*/ 304 h 320"/>
                <a:gd name="T44" fmla="*/ 18 w 207"/>
                <a:gd name="T45" fmla="*/ 304 h 320"/>
                <a:gd name="T46" fmla="*/ 16 w 207"/>
                <a:gd name="T47" fmla="*/ 302 h 320"/>
                <a:gd name="T48" fmla="*/ 16 w 207"/>
                <a:gd name="T49" fmla="*/ 256 h 320"/>
                <a:gd name="T50" fmla="*/ 191 w 207"/>
                <a:gd name="T51" fmla="*/ 256 h 320"/>
                <a:gd name="T52" fmla="*/ 191 w 207"/>
                <a:gd name="T53" fmla="*/ 302 h 320"/>
                <a:gd name="T54" fmla="*/ 190 w 207"/>
                <a:gd name="T55" fmla="*/ 304 h 320"/>
                <a:gd name="T56" fmla="*/ 190 w 207"/>
                <a:gd name="T57" fmla="*/ 304 h 320"/>
                <a:gd name="T58" fmla="*/ 190 w 207"/>
                <a:gd name="T59"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7" h="320">
                  <a:moveTo>
                    <a:pt x="190" y="0"/>
                  </a:moveTo>
                  <a:cubicBezTo>
                    <a:pt x="18" y="0"/>
                    <a:pt x="18" y="0"/>
                    <a:pt x="18" y="0"/>
                  </a:cubicBezTo>
                  <a:cubicBezTo>
                    <a:pt x="8" y="0"/>
                    <a:pt x="0" y="8"/>
                    <a:pt x="0" y="18"/>
                  </a:cubicBezTo>
                  <a:cubicBezTo>
                    <a:pt x="0" y="302"/>
                    <a:pt x="0" y="302"/>
                    <a:pt x="0" y="302"/>
                  </a:cubicBezTo>
                  <a:cubicBezTo>
                    <a:pt x="0" y="312"/>
                    <a:pt x="8" y="320"/>
                    <a:pt x="18" y="320"/>
                  </a:cubicBezTo>
                  <a:cubicBezTo>
                    <a:pt x="190" y="320"/>
                    <a:pt x="190" y="320"/>
                    <a:pt x="190" y="320"/>
                  </a:cubicBezTo>
                  <a:cubicBezTo>
                    <a:pt x="200" y="320"/>
                    <a:pt x="207" y="312"/>
                    <a:pt x="207" y="302"/>
                  </a:cubicBezTo>
                  <a:cubicBezTo>
                    <a:pt x="207" y="18"/>
                    <a:pt x="207" y="18"/>
                    <a:pt x="207" y="18"/>
                  </a:cubicBezTo>
                  <a:cubicBezTo>
                    <a:pt x="207" y="8"/>
                    <a:pt x="200" y="0"/>
                    <a:pt x="190" y="0"/>
                  </a:cubicBezTo>
                  <a:close/>
                  <a:moveTo>
                    <a:pt x="16" y="48"/>
                  </a:moveTo>
                  <a:cubicBezTo>
                    <a:pt x="191" y="48"/>
                    <a:pt x="191" y="48"/>
                    <a:pt x="191" y="48"/>
                  </a:cubicBezTo>
                  <a:cubicBezTo>
                    <a:pt x="191" y="240"/>
                    <a:pt x="191" y="240"/>
                    <a:pt x="191" y="240"/>
                  </a:cubicBezTo>
                  <a:cubicBezTo>
                    <a:pt x="16" y="240"/>
                    <a:pt x="16" y="240"/>
                    <a:pt x="16" y="240"/>
                  </a:cubicBezTo>
                  <a:lnTo>
                    <a:pt x="16" y="48"/>
                  </a:lnTo>
                  <a:close/>
                  <a:moveTo>
                    <a:pt x="18" y="16"/>
                  </a:moveTo>
                  <a:cubicBezTo>
                    <a:pt x="190" y="16"/>
                    <a:pt x="190" y="16"/>
                    <a:pt x="190" y="16"/>
                  </a:cubicBezTo>
                  <a:cubicBezTo>
                    <a:pt x="191" y="16"/>
                    <a:pt x="191" y="17"/>
                    <a:pt x="191" y="18"/>
                  </a:cubicBezTo>
                  <a:cubicBezTo>
                    <a:pt x="191" y="32"/>
                    <a:pt x="191" y="32"/>
                    <a:pt x="191" y="32"/>
                  </a:cubicBezTo>
                  <a:cubicBezTo>
                    <a:pt x="16" y="32"/>
                    <a:pt x="16" y="32"/>
                    <a:pt x="16" y="32"/>
                  </a:cubicBezTo>
                  <a:cubicBezTo>
                    <a:pt x="16" y="18"/>
                    <a:pt x="16" y="18"/>
                    <a:pt x="16" y="18"/>
                  </a:cubicBezTo>
                  <a:cubicBezTo>
                    <a:pt x="16" y="17"/>
                    <a:pt x="17" y="16"/>
                    <a:pt x="18" y="16"/>
                  </a:cubicBezTo>
                  <a:close/>
                  <a:moveTo>
                    <a:pt x="190" y="304"/>
                  </a:moveTo>
                  <a:cubicBezTo>
                    <a:pt x="18" y="304"/>
                    <a:pt x="18" y="304"/>
                    <a:pt x="18" y="304"/>
                  </a:cubicBezTo>
                  <a:cubicBezTo>
                    <a:pt x="17" y="304"/>
                    <a:pt x="16" y="303"/>
                    <a:pt x="16" y="302"/>
                  </a:cubicBezTo>
                  <a:cubicBezTo>
                    <a:pt x="16" y="256"/>
                    <a:pt x="16" y="256"/>
                    <a:pt x="16" y="256"/>
                  </a:cubicBezTo>
                  <a:cubicBezTo>
                    <a:pt x="191" y="256"/>
                    <a:pt x="191" y="256"/>
                    <a:pt x="191" y="256"/>
                  </a:cubicBezTo>
                  <a:cubicBezTo>
                    <a:pt x="191" y="302"/>
                    <a:pt x="191" y="302"/>
                    <a:pt x="191" y="302"/>
                  </a:cubicBezTo>
                  <a:cubicBezTo>
                    <a:pt x="191" y="303"/>
                    <a:pt x="191" y="304"/>
                    <a:pt x="190" y="304"/>
                  </a:cubicBezTo>
                  <a:close/>
                  <a:moveTo>
                    <a:pt x="190" y="304"/>
                  </a:moveTo>
                  <a:cubicBezTo>
                    <a:pt x="190" y="304"/>
                    <a:pt x="190" y="304"/>
                    <a:pt x="190" y="30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28" name="Freeform 13">
              <a:extLst>
                <a:ext uri="{FF2B5EF4-FFF2-40B4-BE49-F238E27FC236}">
                  <a16:creationId xmlns:a16="http://schemas.microsoft.com/office/drawing/2014/main" id="{25497BAF-DD5C-4FD8-832B-F1F71D46C509}"/>
                </a:ext>
              </a:extLst>
            </p:cNvPr>
            <p:cNvSpPr>
              <a:spLocks noEditPoints="1"/>
            </p:cNvSpPr>
            <p:nvPr/>
          </p:nvSpPr>
          <p:spPr bwMode="auto">
            <a:xfrm>
              <a:off x="5059" y="5463"/>
              <a:ext cx="107" cy="35"/>
            </a:xfrm>
            <a:custGeom>
              <a:avLst/>
              <a:gdLst>
                <a:gd name="T0" fmla="*/ 40 w 48"/>
                <a:gd name="T1" fmla="*/ 0 h 16"/>
                <a:gd name="T2" fmla="*/ 8 w 48"/>
                <a:gd name="T3" fmla="*/ 0 h 16"/>
                <a:gd name="T4" fmla="*/ 0 w 48"/>
                <a:gd name="T5" fmla="*/ 8 h 16"/>
                <a:gd name="T6" fmla="*/ 8 w 48"/>
                <a:gd name="T7" fmla="*/ 16 h 16"/>
                <a:gd name="T8" fmla="*/ 40 w 48"/>
                <a:gd name="T9" fmla="*/ 16 h 16"/>
                <a:gd name="T10" fmla="*/ 48 w 48"/>
                <a:gd name="T11" fmla="*/ 8 h 16"/>
                <a:gd name="T12" fmla="*/ 40 w 48"/>
                <a:gd name="T13" fmla="*/ 0 h 16"/>
                <a:gd name="T14" fmla="*/ 40 w 48"/>
                <a:gd name="T15" fmla="*/ 0 h 16"/>
                <a:gd name="T16" fmla="*/ 40 w 4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6">
                  <a:moveTo>
                    <a:pt x="40" y="0"/>
                  </a:moveTo>
                  <a:cubicBezTo>
                    <a:pt x="8" y="0"/>
                    <a:pt x="8" y="0"/>
                    <a:pt x="8" y="0"/>
                  </a:cubicBezTo>
                  <a:cubicBezTo>
                    <a:pt x="3" y="0"/>
                    <a:pt x="0" y="3"/>
                    <a:pt x="0" y="8"/>
                  </a:cubicBezTo>
                  <a:cubicBezTo>
                    <a:pt x="0" y="12"/>
                    <a:pt x="3" y="16"/>
                    <a:pt x="8" y="16"/>
                  </a:cubicBezTo>
                  <a:cubicBezTo>
                    <a:pt x="40" y="16"/>
                    <a:pt x="40" y="16"/>
                    <a:pt x="40" y="16"/>
                  </a:cubicBezTo>
                  <a:cubicBezTo>
                    <a:pt x="44" y="16"/>
                    <a:pt x="48" y="12"/>
                    <a:pt x="48" y="8"/>
                  </a:cubicBezTo>
                  <a:cubicBezTo>
                    <a:pt x="48" y="3"/>
                    <a:pt x="44" y="0"/>
                    <a:pt x="40" y="0"/>
                  </a:cubicBezTo>
                  <a:close/>
                  <a:moveTo>
                    <a:pt x="40" y="0"/>
                  </a:moveTo>
                  <a:cubicBezTo>
                    <a:pt x="40" y="0"/>
                    <a:pt x="40"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grpSp>
      <p:grpSp>
        <p:nvGrpSpPr>
          <p:cNvPr id="32" name="Group 16">
            <a:extLst>
              <a:ext uri="{FF2B5EF4-FFF2-40B4-BE49-F238E27FC236}">
                <a16:creationId xmlns:a16="http://schemas.microsoft.com/office/drawing/2014/main" id="{3A2A6A25-4073-4DF0-A4FE-880ED86FCF88}"/>
              </a:ext>
            </a:extLst>
          </p:cNvPr>
          <p:cNvGrpSpPr>
            <a:grpSpLocks noChangeAspect="1"/>
          </p:cNvGrpSpPr>
          <p:nvPr/>
        </p:nvGrpSpPr>
        <p:grpSpPr bwMode="auto">
          <a:xfrm>
            <a:off x="6078558" y="3523195"/>
            <a:ext cx="577639" cy="559950"/>
            <a:chOff x="3736" y="4411"/>
            <a:chExt cx="1143" cy="1108"/>
          </a:xfrm>
          <a:solidFill>
            <a:srgbClr val="43B02A"/>
          </a:solidFill>
        </p:grpSpPr>
        <p:sp>
          <p:nvSpPr>
            <p:cNvPr id="34" name="Freeform 17">
              <a:extLst>
                <a:ext uri="{FF2B5EF4-FFF2-40B4-BE49-F238E27FC236}">
                  <a16:creationId xmlns:a16="http://schemas.microsoft.com/office/drawing/2014/main" id="{D908A833-A126-4135-9E07-FDF0A6ACDF1E}"/>
                </a:ext>
              </a:extLst>
            </p:cNvPr>
            <p:cNvSpPr>
              <a:spLocks noEditPoints="1"/>
            </p:cNvSpPr>
            <p:nvPr/>
          </p:nvSpPr>
          <p:spPr bwMode="auto">
            <a:xfrm>
              <a:off x="3736" y="4558"/>
              <a:ext cx="741" cy="961"/>
            </a:xfrm>
            <a:custGeom>
              <a:avLst/>
              <a:gdLst>
                <a:gd name="T0" fmla="*/ 290 w 332"/>
                <a:gd name="T1" fmla="*/ 341 h 444"/>
                <a:gd name="T2" fmla="*/ 256 w 332"/>
                <a:gd name="T3" fmla="*/ 307 h 444"/>
                <a:gd name="T4" fmla="*/ 256 w 332"/>
                <a:gd name="T5" fmla="*/ 265 h 444"/>
                <a:gd name="T6" fmla="*/ 273 w 332"/>
                <a:gd name="T7" fmla="*/ 204 h 444"/>
                <a:gd name="T8" fmla="*/ 273 w 332"/>
                <a:gd name="T9" fmla="*/ 128 h 444"/>
                <a:gd name="T10" fmla="*/ 136 w 332"/>
                <a:gd name="T11" fmla="*/ 0 h 444"/>
                <a:gd name="T12" fmla="*/ 0 w 332"/>
                <a:gd name="T13" fmla="*/ 128 h 444"/>
                <a:gd name="T14" fmla="*/ 0 w 332"/>
                <a:gd name="T15" fmla="*/ 204 h 444"/>
                <a:gd name="T16" fmla="*/ 69 w 332"/>
                <a:gd name="T17" fmla="*/ 315 h 444"/>
                <a:gd name="T18" fmla="*/ 77 w 332"/>
                <a:gd name="T19" fmla="*/ 300 h 444"/>
                <a:gd name="T20" fmla="*/ 17 w 332"/>
                <a:gd name="T21" fmla="*/ 204 h 444"/>
                <a:gd name="T22" fmla="*/ 17 w 332"/>
                <a:gd name="T23" fmla="*/ 128 h 444"/>
                <a:gd name="T24" fmla="*/ 136 w 332"/>
                <a:gd name="T25" fmla="*/ 17 h 444"/>
                <a:gd name="T26" fmla="*/ 256 w 332"/>
                <a:gd name="T27" fmla="*/ 128 h 444"/>
                <a:gd name="T28" fmla="*/ 256 w 332"/>
                <a:gd name="T29" fmla="*/ 204 h 444"/>
                <a:gd name="T30" fmla="*/ 196 w 332"/>
                <a:gd name="T31" fmla="*/ 300 h 444"/>
                <a:gd name="T32" fmla="*/ 155 w 332"/>
                <a:gd name="T33" fmla="*/ 322 h 444"/>
                <a:gd name="T34" fmla="*/ 118 w 332"/>
                <a:gd name="T35" fmla="*/ 322 h 444"/>
                <a:gd name="T36" fmla="*/ 109 w 332"/>
                <a:gd name="T37" fmla="*/ 337 h 444"/>
                <a:gd name="T38" fmla="*/ 163 w 332"/>
                <a:gd name="T39" fmla="*/ 337 h 444"/>
                <a:gd name="T40" fmla="*/ 170 w 332"/>
                <a:gd name="T41" fmla="*/ 333 h 444"/>
                <a:gd name="T42" fmla="*/ 170 w 332"/>
                <a:gd name="T43" fmla="*/ 375 h 444"/>
                <a:gd name="T44" fmla="*/ 178 w 332"/>
                <a:gd name="T45" fmla="*/ 384 h 444"/>
                <a:gd name="T46" fmla="*/ 240 w 332"/>
                <a:gd name="T47" fmla="*/ 390 h 444"/>
                <a:gd name="T48" fmla="*/ 256 w 332"/>
                <a:gd name="T49" fmla="*/ 407 h 444"/>
                <a:gd name="T50" fmla="*/ 256 w 332"/>
                <a:gd name="T51" fmla="*/ 444 h 444"/>
                <a:gd name="T52" fmla="*/ 273 w 332"/>
                <a:gd name="T53" fmla="*/ 444 h 444"/>
                <a:gd name="T54" fmla="*/ 273 w 332"/>
                <a:gd name="T55" fmla="*/ 407 h 444"/>
                <a:gd name="T56" fmla="*/ 242 w 332"/>
                <a:gd name="T57" fmla="*/ 373 h 444"/>
                <a:gd name="T58" fmla="*/ 187 w 332"/>
                <a:gd name="T59" fmla="*/ 368 h 444"/>
                <a:gd name="T60" fmla="*/ 187 w 332"/>
                <a:gd name="T61" fmla="*/ 324 h 444"/>
                <a:gd name="T62" fmla="*/ 204 w 332"/>
                <a:gd name="T63" fmla="*/ 315 h 444"/>
                <a:gd name="T64" fmla="*/ 239 w 332"/>
                <a:gd name="T65" fmla="*/ 288 h 444"/>
                <a:gd name="T66" fmla="*/ 239 w 332"/>
                <a:gd name="T67" fmla="*/ 307 h 444"/>
                <a:gd name="T68" fmla="*/ 290 w 332"/>
                <a:gd name="T69" fmla="*/ 358 h 444"/>
                <a:gd name="T70" fmla="*/ 332 w 332"/>
                <a:gd name="T71" fmla="*/ 358 h 444"/>
                <a:gd name="T72" fmla="*/ 332 w 332"/>
                <a:gd name="T73" fmla="*/ 341 h 444"/>
                <a:gd name="T74" fmla="*/ 290 w 332"/>
                <a:gd name="T75" fmla="*/ 341 h 444"/>
                <a:gd name="T76" fmla="*/ 290 w 332"/>
                <a:gd name="T77" fmla="*/ 341 h 444"/>
                <a:gd name="T78" fmla="*/ 290 w 332"/>
                <a:gd name="T79" fmla="*/ 34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2" h="444">
                  <a:moveTo>
                    <a:pt x="290" y="341"/>
                  </a:moveTo>
                  <a:cubicBezTo>
                    <a:pt x="271" y="341"/>
                    <a:pt x="256" y="326"/>
                    <a:pt x="256" y="307"/>
                  </a:cubicBezTo>
                  <a:cubicBezTo>
                    <a:pt x="256" y="265"/>
                    <a:pt x="256" y="265"/>
                    <a:pt x="256" y="265"/>
                  </a:cubicBezTo>
                  <a:cubicBezTo>
                    <a:pt x="267" y="247"/>
                    <a:pt x="273" y="225"/>
                    <a:pt x="273" y="204"/>
                  </a:cubicBezTo>
                  <a:cubicBezTo>
                    <a:pt x="273" y="128"/>
                    <a:pt x="273" y="128"/>
                    <a:pt x="273" y="128"/>
                  </a:cubicBezTo>
                  <a:cubicBezTo>
                    <a:pt x="273" y="57"/>
                    <a:pt x="211" y="0"/>
                    <a:pt x="136" y="0"/>
                  </a:cubicBezTo>
                  <a:cubicBezTo>
                    <a:pt x="61" y="0"/>
                    <a:pt x="0" y="57"/>
                    <a:pt x="0" y="128"/>
                  </a:cubicBezTo>
                  <a:cubicBezTo>
                    <a:pt x="0" y="204"/>
                    <a:pt x="0" y="204"/>
                    <a:pt x="0" y="204"/>
                  </a:cubicBezTo>
                  <a:cubicBezTo>
                    <a:pt x="0" y="251"/>
                    <a:pt x="27" y="293"/>
                    <a:pt x="69" y="315"/>
                  </a:cubicBezTo>
                  <a:cubicBezTo>
                    <a:pt x="77" y="300"/>
                    <a:pt x="77" y="300"/>
                    <a:pt x="77" y="300"/>
                  </a:cubicBezTo>
                  <a:cubicBezTo>
                    <a:pt x="40" y="281"/>
                    <a:pt x="17" y="244"/>
                    <a:pt x="17" y="204"/>
                  </a:cubicBezTo>
                  <a:cubicBezTo>
                    <a:pt x="17" y="128"/>
                    <a:pt x="17" y="128"/>
                    <a:pt x="17" y="128"/>
                  </a:cubicBezTo>
                  <a:cubicBezTo>
                    <a:pt x="17" y="67"/>
                    <a:pt x="70" y="17"/>
                    <a:pt x="136" y="17"/>
                  </a:cubicBezTo>
                  <a:cubicBezTo>
                    <a:pt x="202" y="17"/>
                    <a:pt x="256" y="67"/>
                    <a:pt x="256" y="128"/>
                  </a:cubicBezTo>
                  <a:cubicBezTo>
                    <a:pt x="256" y="204"/>
                    <a:pt x="256" y="204"/>
                    <a:pt x="256" y="204"/>
                  </a:cubicBezTo>
                  <a:cubicBezTo>
                    <a:pt x="255" y="244"/>
                    <a:pt x="232" y="281"/>
                    <a:pt x="196" y="300"/>
                  </a:cubicBezTo>
                  <a:cubicBezTo>
                    <a:pt x="155" y="322"/>
                    <a:pt x="155" y="322"/>
                    <a:pt x="155" y="322"/>
                  </a:cubicBezTo>
                  <a:cubicBezTo>
                    <a:pt x="143" y="328"/>
                    <a:pt x="129" y="328"/>
                    <a:pt x="118" y="322"/>
                  </a:cubicBezTo>
                  <a:cubicBezTo>
                    <a:pt x="109" y="337"/>
                    <a:pt x="109" y="337"/>
                    <a:pt x="109" y="337"/>
                  </a:cubicBezTo>
                  <a:cubicBezTo>
                    <a:pt x="126" y="345"/>
                    <a:pt x="146" y="345"/>
                    <a:pt x="163" y="337"/>
                  </a:cubicBezTo>
                  <a:cubicBezTo>
                    <a:pt x="170" y="333"/>
                    <a:pt x="170" y="333"/>
                    <a:pt x="170" y="333"/>
                  </a:cubicBezTo>
                  <a:cubicBezTo>
                    <a:pt x="170" y="375"/>
                    <a:pt x="170" y="375"/>
                    <a:pt x="170" y="375"/>
                  </a:cubicBezTo>
                  <a:cubicBezTo>
                    <a:pt x="170" y="380"/>
                    <a:pt x="174" y="383"/>
                    <a:pt x="178" y="384"/>
                  </a:cubicBezTo>
                  <a:cubicBezTo>
                    <a:pt x="240" y="390"/>
                    <a:pt x="240" y="390"/>
                    <a:pt x="240" y="390"/>
                  </a:cubicBezTo>
                  <a:cubicBezTo>
                    <a:pt x="249" y="391"/>
                    <a:pt x="256" y="398"/>
                    <a:pt x="256" y="407"/>
                  </a:cubicBezTo>
                  <a:cubicBezTo>
                    <a:pt x="256" y="444"/>
                    <a:pt x="256" y="444"/>
                    <a:pt x="256" y="444"/>
                  </a:cubicBezTo>
                  <a:cubicBezTo>
                    <a:pt x="273" y="444"/>
                    <a:pt x="273" y="444"/>
                    <a:pt x="273" y="444"/>
                  </a:cubicBezTo>
                  <a:cubicBezTo>
                    <a:pt x="273" y="407"/>
                    <a:pt x="273" y="407"/>
                    <a:pt x="273" y="407"/>
                  </a:cubicBezTo>
                  <a:cubicBezTo>
                    <a:pt x="273" y="390"/>
                    <a:pt x="259" y="375"/>
                    <a:pt x="242" y="373"/>
                  </a:cubicBezTo>
                  <a:cubicBezTo>
                    <a:pt x="187" y="368"/>
                    <a:pt x="187" y="368"/>
                    <a:pt x="187" y="368"/>
                  </a:cubicBezTo>
                  <a:cubicBezTo>
                    <a:pt x="187" y="324"/>
                    <a:pt x="187" y="324"/>
                    <a:pt x="187" y="324"/>
                  </a:cubicBezTo>
                  <a:cubicBezTo>
                    <a:pt x="204" y="315"/>
                    <a:pt x="204" y="315"/>
                    <a:pt x="204" y="315"/>
                  </a:cubicBezTo>
                  <a:cubicBezTo>
                    <a:pt x="217" y="308"/>
                    <a:pt x="229" y="299"/>
                    <a:pt x="239" y="288"/>
                  </a:cubicBezTo>
                  <a:cubicBezTo>
                    <a:pt x="239" y="307"/>
                    <a:pt x="239" y="307"/>
                    <a:pt x="239" y="307"/>
                  </a:cubicBezTo>
                  <a:cubicBezTo>
                    <a:pt x="239" y="335"/>
                    <a:pt x="262" y="358"/>
                    <a:pt x="290" y="358"/>
                  </a:cubicBezTo>
                  <a:cubicBezTo>
                    <a:pt x="332" y="358"/>
                    <a:pt x="332" y="358"/>
                    <a:pt x="332" y="358"/>
                  </a:cubicBezTo>
                  <a:cubicBezTo>
                    <a:pt x="332" y="341"/>
                    <a:pt x="332" y="341"/>
                    <a:pt x="332" y="341"/>
                  </a:cubicBezTo>
                  <a:lnTo>
                    <a:pt x="290" y="341"/>
                  </a:lnTo>
                  <a:close/>
                  <a:moveTo>
                    <a:pt x="290" y="341"/>
                  </a:moveTo>
                  <a:cubicBezTo>
                    <a:pt x="290" y="341"/>
                    <a:pt x="290" y="341"/>
                    <a:pt x="290" y="3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38" name="Freeform 18">
              <a:extLst>
                <a:ext uri="{FF2B5EF4-FFF2-40B4-BE49-F238E27FC236}">
                  <a16:creationId xmlns:a16="http://schemas.microsoft.com/office/drawing/2014/main" id="{26F215D8-9AB4-42E1-98DF-DC8F3D13D851}"/>
                </a:ext>
              </a:extLst>
            </p:cNvPr>
            <p:cNvSpPr>
              <a:spLocks noEditPoints="1"/>
            </p:cNvSpPr>
            <p:nvPr/>
          </p:nvSpPr>
          <p:spPr bwMode="auto">
            <a:xfrm>
              <a:off x="3736" y="5244"/>
              <a:ext cx="228" cy="275"/>
            </a:xfrm>
            <a:custGeom>
              <a:avLst/>
              <a:gdLst>
                <a:gd name="T0" fmla="*/ 85 w 102"/>
                <a:gd name="T1" fmla="*/ 0 h 127"/>
                <a:gd name="T2" fmla="*/ 85 w 102"/>
                <a:gd name="T3" fmla="*/ 51 h 127"/>
                <a:gd name="T4" fmla="*/ 30 w 102"/>
                <a:gd name="T5" fmla="*/ 56 h 127"/>
                <a:gd name="T6" fmla="*/ 0 w 102"/>
                <a:gd name="T7" fmla="*/ 90 h 127"/>
                <a:gd name="T8" fmla="*/ 0 w 102"/>
                <a:gd name="T9" fmla="*/ 127 h 127"/>
                <a:gd name="T10" fmla="*/ 17 w 102"/>
                <a:gd name="T11" fmla="*/ 127 h 127"/>
                <a:gd name="T12" fmla="*/ 17 w 102"/>
                <a:gd name="T13" fmla="*/ 90 h 127"/>
                <a:gd name="T14" fmla="*/ 32 w 102"/>
                <a:gd name="T15" fmla="*/ 73 h 127"/>
                <a:gd name="T16" fmla="*/ 94 w 102"/>
                <a:gd name="T17" fmla="*/ 67 h 127"/>
                <a:gd name="T18" fmla="*/ 102 w 102"/>
                <a:gd name="T19" fmla="*/ 58 h 127"/>
                <a:gd name="T20" fmla="*/ 102 w 102"/>
                <a:gd name="T21" fmla="*/ 0 h 127"/>
                <a:gd name="T22" fmla="*/ 85 w 102"/>
                <a:gd name="T23" fmla="*/ 0 h 127"/>
                <a:gd name="T24" fmla="*/ 85 w 102"/>
                <a:gd name="T25" fmla="*/ 0 h 127"/>
                <a:gd name="T26" fmla="*/ 85 w 102"/>
                <a:gd name="T2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127">
                  <a:moveTo>
                    <a:pt x="85" y="0"/>
                  </a:moveTo>
                  <a:cubicBezTo>
                    <a:pt x="85" y="51"/>
                    <a:pt x="85" y="51"/>
                    <a:pt x="85" y="51"/>
                  </a:cubicBezTo>
                  <a:cubicBezTo>
                    <a:pt x="30" y="56"/>
                    <a:pt x="30" y="56"/>
                    <a:pt x="30" y="56"/>
                  </a:cubicBezTo>
                  <a:cubicBezTo>
                    <a:pt x="13" y="58"/>
                    <a:pt x="0" y="73"/>
                    <a:pt x="0" y="90"/>
                  </a:cubicBezTo>
                  <a:cubicBezTo>
                    <a:pt x="0" y="127"/>
                    <a:pt x="0" y="127"/>
                    <a:pt x="0" y="127"/>
                  </a:cubicBezTo>
                  <a:cubicBezTo>
                    <a:pt x="17" y="127"/>
                    <a:pt x="17" y="127"/>
                    <a:pt x="17" y="127"/>
                  </a:cubicBezTo>
                  <a:cubicBezTo>
                    <a:pt x="17" y="90"/>
                    <a:pt x="17" y="90"/>
                    <a:pt x="17" y="90"/>
                  </a:cubicBezTo>
                  <a:cubicBezTo>
                    <a:pt x="17" y="81"/>
                    <a:pt x="23" y="74"/>
                    <a:pt x="32" y="73"/>
                  </a:cubicBezTo>
                  <a:cubicBezTo>
                    <a:pt x="94" y="67"/>
                    <a:pt x="94" y="67"/>
                    <a:pt x="94" y="67"/>
                  </a:cubicBezTo>
                  <a:cubicBezTo>
                    <a:pt x="99" y="66"/>
                    <a:pt x="102" y="63"/>
                    <a:pt x="102" y="58"/>
                  </a:cubicBezTo>
                  <a:cubicBezTo>
                    <a:pt x="102" y="0"/>
                    <a:pt x="102" y="0"/>
                    <a:pt x="102" y="0"/>
                  </a:cubicBezTo>
                  <a:lnTo>
                    <a:pt x="85" y="0"/>
                  </a:lnTo>
                  <a:close/>
                  <a:moveTo>
                    <a:pt x="85" y="0"/>
                  </a:moveTo>
                  <a:cubicBezTo>
                    <a:pt x="85" y="0"/>
                    <a:pt x="85" y="0"/>
                    <a:pt x="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40" name="Freeform 19">
              <a:extLst>
                <a:ext uri="{FF2B5EF4-FFF2-40B4-BE49-F238E27FC236}">
                  <a16:creationId xmlns:a16="http://schemas.microsoft.com/office/drawing/2014/main" id="{564207AA-79ED-4395-A53D-85E86834F042}"/>
                </a:ext>
              </a:extLst>
            </p:cNvPr>
            <p:cNvSpPr>
              <a:spLocks noEditPoints="1"/>
            </p:cNvSpPr>
            <p:nvPr/>
          </p:nvSpPr>
          <p:spPr bwMode="auto">
            <a:xfrm>
              <a:off x="3812" y="4669"/>
              <a:ext cx="458" cy="443"/>
            </a:xfrm>
            <a:custGeom>
              <a:avLst/>
              <a:gdLst>
                <a:gd name="T0" fmla="*/ 173 w 205"/>
                <a:gd name="T1" fmla="*/ 73 h 205"/>
                <a:gd name="T2" fmla="*/ 186 w 205"/>
                <a:gd name="T3" fmla="*/ 42 h 205"/>
                <a:gd name="T4" fmla="*/ 152 w 205"/>
                <a:gd name="T5" fmla="*/ 17 h 205"/>
                <a:gd name="T6" fmla="*/ 126 w 205"/>
                <a:gd name="T7" fmla="*/ 7 h 205"/>
                <a:gd name="T8" fmla="*/ 87 w 205"/>
                <a:gd name="T9" fmla="*/ 0 h 205"/>
                <a:gd name="T10" fmla="*/ 73 w 205"/>
                <a:gd name="T11" fmla="*/ 32 h 205"/>
                <a:gd name="T12" fmla="*/ 41 w 205"/>
                <a:gd name="T13" fmla="*/ 18 h 205"/>
                <a:gd name="T14" fmla="*/ 17 w 205"/>
                <a:gd name="T15" fmla="*/ 53 h 205"/>
                <a:gd name="T16" fmla="*/ 7 w 205"/>
                <a:gd name="T17" fmla="*/ 79 h 205"/>
                <a:gd name="T18" fmla="*/ 0 w 205"/>
                <a:gd name="T19" fmla="*/ 118 h 205"/>
                <a:gd name="T20" fmla="*/ 31 w 205"/>
                <a:gd name="T21" fmla="*/ 132 h 205"/>
                <a:gd name="T22" fmla="*/ 18 w 205"/>
                <a:gd name="T23" fmla="*/ 163 h 205"/>
                <a:gd name="T24" fmla="*/ 52 w 205"/>
                <a:gd name="T25" fmla="*/ 188 h 205"/>
                <a:gd name="T26" fmla="*/ 78 w 205"/>
                <a:gd name="T27" fmla="*/ 198 h 205"/>
                <a:gd name="T28" fmla="*/ 118 w 205"/>
                <a:gd name="T29" fmla="*/ 205 h 205"/>
                <a:gd name="T30" fmla="*/ 131 w 205"/>
                <a:gd name="T31" fmla="*/ 173 h 205"/>
                <a:gd name="T32" fmla="*/ 163 w 205"/>
                <a:gd name="T33" fmla="*/ 187 h 205"/>
                <a:gd name="T34" fmla="*/ 187 w 205"/>
                <a:gd name="T35" fmla="*/ 152 h 205"/>
                <a:gd name="T36" fmla="*/ 198 w 205"/>
                <a:gd name="T37" fmla="*/ 127 h 205"/>
                <a:gd name="T38" fmla="*/ 205 w 205"/>
                <a:gd name="T39" fmla="*/ 87 h 205"/>
                <a:gd name="T40" fmla="*/ 188 w 205"/>
                <a:gd name="T41" fmla="*/ 111 h 205"/>
                <a:gd name="T42" fmla="*/ 156 w 205"/>
                <a:gd name="T43" fmla="*/ 135 h 205"/>
                <a:gd name="T44" fmla="*/ 169 w 205"/>
                <a:gd name="T45" fmla="*/ 156 h 205"/>
                <a:gd name="T46" fmla="*/ 140 w 205"/>
                <a:gd name="T47" fmla="*/ 159 h 205"/>
                <a:gd name="T48" fmla="*/ 115 w 205"/>
                <a:gd name="T49" fmla="*/ 169 h 205"/>
                <a:gd name="T50" fmla="*/ 93 w 205"/>
                <a:gd name="T51" fmla="*/ 188 h 205"/>
                <a:gd name="T52" fmla="*/ 70 w 205"/>
                <a:gd name="T53" fmla="*/ 156 h 205"/>
                <a:gd name="T54" fmla="*/ 48 w 205"/>
                <a:gd name="T55" fmla="*/ 170 h 205"/>
                <a:gd name="T56" fmla="*/ 46 w 205"/>
                <a:gd name="T57" fmla="*/ 141 h 205"/>
                <a:gd name="T58" fmla="*/ 36 w 205"/>
                <a:gd name="T59" fmla="*/ 115 h 205"/>
                <a:gd name="T60" fmla="*/ 17 w 205"/>
                <a:gd name="T61" fmla="*/ 94 h 205"/>
                <a:gd name="T62" fmla="*/ 48 w 205"/>
                <a:gd name="T63" fmla="*/ 70 h 205"/>
                <a:gd name="T64" fmla="*/ 35 w 205"/>
                <a:gd name="T65" fmla="*/ 49 h 205"/>
                <a:gd name="T66" fmla="*/ 64 w 205"/>
                <a:gd name="T67" fmla="*/ 46 h 205"/>
                <a:gd name="T68" fmla="*/ 89 w 205"/>
                <a:gd name="T69" fmla="*/ 36 h 205"/>
                <a:gd name="T70" fmla="*/ 111 w 205"/>
                <a:gd name="T71" fmla="*/ 17 h 205"/>
                <a:gd name="T72" fmla="*/ 134 w 205"/>
                <a:gd name="T73" fmla="*/ 49 h 205"/>
                <a:gd name="T74" fmla="*/ 156 w 205"/>
                <a:gd name="T75" fmla="*/ 35 h 205"/>
                <a:gd name="T76" fmla="*/ 159 w 205"/>
                <a:gd name="T77" fmla="*/ 65 h 205"/>
                <a:gd name="T78" fmla="*/ 169 w 205"/>
                <a:gd name="T79" fmla="*/ 90 h 205"/>
                <a:gd name="T80" fmla="*/ 188 w 205"/>
                <a:gd name="T81" fmla="*/ 111 h 205"/>
                <a:gd name="T82" fmla="*/ 188 w 205"/>
                <a:gd name="T83" fmla="*/ 11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5" h="205">
                  <a:moveTo>
                    <a:pt x="198" y="79"/>
                  </a:moveTo>
                  <a:cubicBezTo>
                    <a:pt x="173" y="73"/>
                    <a:pt x="173" y="73"/>
                    <a:pt x="173" y="73"/>
                  </a:cubicBezTo>
                  <a:cubicBezTo>
                    <a:pt x="187" y="53"/>
                    <a:pt x="187" y="53"/>
                    <a:pt x="187" y="53"/>
                  </a:cubicBezTo>
                  <a:cubicBezTo>
                    <a:pt x="190" y="49"/>
                    <a:pt x="189" y="45"/>
                    <a:pt x="186" y="42"/>
                  </a:cubicBezTo>
                  <a:cubicBezTo>
                    <a:pt x="163" y="18"/>
                    <a:pt x="163" y="18"/>
                    <a:pt x="163" y="18"/>
                  </a:cubicBezTo>
                  <a:cubicBezTo>
                    <a:pt x="160" y="15"/>
                    <a:pt x="156" y="15"/>
                    <a:pt x="152" y="17"/>
                  </a:cubicBezTo>
                  <a:cubicBezTo>
                    <a:pt x="131" y="32"/>
                    <a:pt x="131" y="32"/>
                    <a:pt x="131" y="32"/>
                  </a:cubicBezTo>
                  <a:cubicBezTo>
                    <a:pt x="126" y="7"/>
                    <a:pt x="126" y="7"/>
                    <a:pt x="126" y="7"/>
                  </a:cubicBezTo>
                  <a:cubicBezTo>
                    <a:pt x="125" y="3"/>
                    <a:pt x="122" y="0"/>
                    <a:pt x="118" y="0"/>
                  </a:cubicBezTo>
                  <a:cubicBezTo>
                    <a:pt x="87" y="0"/>
                    <a:pt x="87" y="0"/>
                    <a:pt x="87" y="0"/>
                  </a:cubicBezTo>
                  <a:cubicBezTo>
                    <a:pt x="83" y="0"/>
                    <a:pt x="79" y="3"/>
                    <a:pt x="78" y="7"/>
                  </a:cubicBezTo>
                  <a:cubicBezTo>
                    <a:pt x="73" y="32"/>
                    <a:pt x="73" y="32"/>
                    <a:pt x="73" y="32"/>
                  </a:cubicBezTo>
                  <a:cubicBezTo>
                    <a:pt x="52" y="17"/>
                    <a:pt x="52" y="17"/>
                    <a:pt x="52" y="17"/>
                  </a:cubicBezTo>
                  <a:cubicBezTo>
                    <a:pt x="49" y="15"/>
                    <a:pt x="44" y="15"/>
                    <a:pt x="41" y="18"/>
                  </a:cubicBezTo>
                  <a:cubicBezTo>
                    <a:pt x="18" y="42"/>
                    <a:pt x="18" y="42"/>
                    <a:pt x="18" y="42"/>
                  </a:cubicBezTo>
                  <a:cubicBezTo>
                    <a:pt x="15" y="45"/>
                    <a:pt x="15" y="49"/>
                    <a:pt x="17" y="53"/>
                  </a:cubicBezTo>
                  <a:cubicBezTo>
                    <a:pt x="31" y="73"/>
                    <a:pt x="31" y="73"/>
                    <a:pt x="31" y="73"/>
                  </a:cubicBezTo>
                  <a:cubicBezTo>
                    <a:pt x="7" y="79"/>
                    <a:pt x="7" y="79"/>
                    <a:pt x="7" y="79"/>
                  </a:cubicBezTo>
                  <a:cubicBezTo>
                    <a:pt x="3" y="79"/>
                    <a:pt x="0" y="83"/>
                    <a:pt x="0" y="87"/>
                  </a:cubicBezTo>
                  <a:cubicBezTo>
                    <a:pt x="0" y="118"/>
                    <a:pt x="0" y="118"/>
                    <a:pt x="0" y="118"/>
                  </a:cubicBezTo>
                  <a:cubicBezTo>
                    <a:pt x="0" y="122"/>
                    <a:pt x="3" y="126"/>
                    <a:pt x="7" y="127"/>
                  </a:cubicBezTo>
                  <a:cubicBezTo>
                    <a:pt x="31" y="132"/>
                    <a:pt x="31" y="132"/>
                    <a:pt x="31" y="132"/>
                  </a:cubicBezTo>
                  <a:cubicBezTo>
                    <a:pt x="17" y="152"/>
                    <a:pt x="17" y="152"/>
                    <a:pt x="17" y="152"/>
                  </a:cubicBezTo>
                  <a:cubicBezTo>
                    <a:pt x="15" y="156"/>
                    <a:pt x="15" y="160"/>
                    <a:pt x="18" y="163"/>
                  </a:cubicBezTo>
                  <a:cubicBezTo>
                    <a:pt x="41" y="187"/>
                    <a:pt x="41" y="187"/>
                    <a:pt x="41" y="187"/>
                  </a:cubicBezTo>
                  <a:cubicBezTo>
                    <a:pt x="44" y="190"/>
                    <a:pt x="49" y="190"/>
                    <a:pt x="52" y="188"/>
                  </a:cubicBezTo>
                  <a:cubicBezTo>
                    <a:pt x="73" y="173"/>
                    <a:pt x="73" y="173"/>
                    <a:pt x="73" y="173"/>
                  </a:cubicBezTo>
                  <a:cubicBezTo>
                    <a:pt x="78" y="198"/>
                    <a:pt x="78" y="198"/>
                    <a:pt x="78" y="198"/>
                  </a:cubicBezTo>
                  <a:cubicBezTo>
                    <a:pt x="79" y="202"/>
                    <a:pt x="83" y="205"/>
                    <a:pt x="87" y="205"/>
                  </a:cubicBezTo>
                  <a:cubicBezTo>
                    <a:pt x="118" y="205"/>
                    <a:pt x="118" y="205"/>
                    <a:pt x="118" y="205"/>
                  </a:cubicBezTo>
                  <a:cubicBezTo>
                    <a:pt x="122" y="205"/>
                    <a:pt x="125" y="202"/>
                    <a:pt x="126" y="198"/>
                  </a:cubicBezTo>
                  <a:cubicBezTo>
                    <a:pt x="131" y="173"/>
                    <a:pt x="131" y="173"/>
                    <a:pt x="131" y="173"/>
                  </a:cubicBezTo>
                  <a:cubicBezTo>
                    <a:pt x="152" y="188"/>
                    <a:pt x="152" y="188"/>
                    <a:pt x="152" y="188"/>
                  </a:cubicBezTo>
                  <a:cubicBezTo>
                    <a:pt x="156" y="190"/>
                    <a:pt x="160" y="190"/>
                    <a:pt x="163" y="187"/>
                  </a:cubicBezTo>
                  <a:cubicBezTo>
                    <a:pt x="186" y="163"/>
                    <a:pt x="186" y="163"/>
                    <a:pt x="186" y="163"/>
                  </a:cubicBezTo>
                  <a:cubicBezTo>
                    <a:pt x="189" y="160"/>
                    <a:pt x="190" y="156"/>
                    <a:pt x="187" y="152"/>
                  </a:cubicBezTo>
                  <a:cubicBezTo>
                    <a:pt x="173" y="132"/>
                    <a:pt x="173" y="132"/>
                    <a:pt x="173" y="132"/>
                  </a:cubicBezTo>
                  <a:cubicBezTo>
                    <a:pt x="198" y="127"/>
                    <a:pt x="198" y="127"/>
                    <a:pt x="198" y="127"/>
                  </a:cubicBezTo>
                  <a:cubicBezTo>
                    <a:pt x="202" y="126"/>
                    <a:pt x="205" y="122"/>
                    <a:pt x="205" y="118"/>
                  </a:cubicBezTo>
                  <a:cubicBezTo>
                    <a:pt x="205" y="87"/>
                    <a:pt x="205" y="87"/>
                    <a:pt x="205" y="87"/>
                  </a:cubicBezTo>
                  <a:cubicBezTo>
                    <a:pt x="205" y="83"/>
                    <a:pt x="202" y="79"/>
                    <a:pt x="198" y="79"/>
                  </a:cubicBezTo>
                  <a:close/>
                  <a:moveTo>
                    <a:pt x="188" y="111"/>
                  </a:moveTo>
                  <a:cubicBezTo>
                    <a:pt x="169" y="115"/>
                    <a:pt x="169" y="115"/>
                    <a:pt x="169" y="115"/>
                  </a:cubicBezTo>
                  <a:cubicBezTo>
                    <a:pt x="160" y="117"/>
                    <a:pt x="154" y="126"/>
                    <a:pt x="156" y="135"/>
                  </a:cubicBezTo>
                  <a:cubicBezTo>
                    <a:pt x="156" y="137"/>
                    <a:pt x="157" y="139"/>
                    <a:pt x="159" y="141"/>
                  </a:cubicBezTo>
                  <a:cubicBezTo>
                    <a:pt x="169" y="156"/>
                    <a:pt x="169" y="156"/>
                    <a:pt x="169" y="156"/>
                  </a:cubicBezTo>
                  <a:cubicBezTo>
                    <a:pt x="156" y="170"/>
                    <a:pt x="156" y="170"/>
                    <a:pt x="156" y="170"/>
                  </a:cubicBezTo>
                  <a:cubicBezTo>
                    <a:pt x="140" y="159"/>
                    <a:pt x="140" y="159"/>
                    <a:pt x="140" y="159"/>
                  </a:cubicBezTo>
                  <a:cubicBezTo>
                    <a:pt x="133" y="154"/>
                    <a:pt x="123" y="156"/>
                    <a:pt x="117" y="163"/>
                  </a:cubicBezTo>
                  <a:cubicBezTo>
                    <a:pt x="116" y="165"/>
                    <a:pt x="115" y="167"/>
                    <a:pt x="115" y="169"/>
                  </a:cubicBezTo>
                  <a:cubicBezTo>
                    <a:pt x="111" y="188"/>
                    <a:pt x="111" y="188"/>
                    <a:pt x="111" y="188"/>
                  </a:cubicBezTo>
                  <a:cubicBezTo>
                    <a:pt x="93" y="188"/>
                    <a:pt x="93" y="188"/>
                    <a:pt x="93" y="188"/>
                  </a:cubicBezTo>
                  <a:cubicBezTo>
                    <a:pt x="89" y="169"/>
                    <a:pt x="89" y="169"/>
                    <a:pt x="89" y="169"/>
                  </a:cubicBezTo>
                  <a:cubicBezTo>
                    <a:pt x="88" y="160"/>
                    <a:pt x="79" y="154"/>
                    <a:pt x="70" y="156"/>
                  </a:cubicBezTo>
                  <a:cubicBezTo>
                    <a:pt x="68" y="157"/>
                    <a:pt x="66" y="158"/>
                    <a:pt x="64" y="159"/>
                  </a:cubicBezTo>
                  <a:cubicBezTo>
                    <a:pt x="48" y="170"/>
                    <a:pt x="48" y="170"/>
                    <a:pt x="48" y="170"/>
                  </a:cubicBezTo>
                  <a:cubicBezTo>
                    <a:pt x="35" y="156"/>
                    <a:pt x="35" y="156"/>
                    <a:pt x="35" y="156"/>
                  </a:cubicBezTo>
                  <a:cubicBezTo>
                    <a:pt x="46" y="141"/>
                    <a:pt x="46" y="141"/>
                    <a:pt x="46" y="141"/>
                  </a:cubicBezTo>
                  <a:cubicBezTo>
                    <a:pt x="51" y="133"/>
                    <a:pt x="49" y="123"/>
                    <a:pt x="42" y="118"/>
                  </a:cubicBezTo>
                  <a:cubicBezTo>
                    <a:pt x="40" y="117"/>
                    <a:pt x="38" y="116"/>
                    <a:pt x="36" y="115"/>
                  </a:cubicBezTo>
                  <a:cubicBezTo>
                    <a:pt x="17" y="111"/>
                    <a:pt x="17" y="111"/>
                    <a:pt x="17" y="111"/>
                  </a:cubicBezTo>
                  <a:cubicBezTo>
                    <a:pt x="17" y="94"/>
                    <a:pt x="17" y="94"/>
                    <a:pt x="17" y="94"/>
                  </a:cubicBezTo>
                  <a:cubicBezTo>
                    <a:pt x="36" y="90"/>
                    <a:pt x="36" y="90"/>
                    <a:pt x="36" y="90"/>
                  </a:cubicBezTo>
                  <a:cubicBezTo>
                    <a:pt x="45" y="88"/>
                    <a:pt x="50" y="79"/>
                    <a:pt x="48" y="70"/>
                  </a:cubicBezTo>
                  <a:cubicBezTo>
                    <a:pt x="48" y="68"/>
                    <a:pt x="47" y="66"/>
                    <a:pt x="46" y="65"/>
                  </a:cubicBezTo>
                  <a:cubicBezTo>
                    <a:pt x="35" y="49"/>
                    <a:pt x="35" y="49"/>
                    <a:pt x="35" y="49"/>
                  </a:cubicBezTo>
                  <a:cubicBezTo>
                    <a:pt x="48" y="35"/>
                    <a:pt x="48" y="35"/>
                    <a:pt x="48" y="35"/>
                  </a:cubicBezTo>
                  <a:cubicBezTo>
                    <a:pt x="64" y="46"/>
                    <a:pt x="64" y="46"/>
                    <a:pt x="64" y="46"/>
                  </a:cubicBezTo>
                  <a:cubicBezTo>
                    <a:pt x="72" y="51"/>
                    <a:pt x="82" y="49"/>
                    <a:pt x="87" y="42"/>
                  </a:cubicBezTo>
                  <a:cubicBezTo>
                    <a:pt x="88" y="40"/>
                    <a:pt x="89" y="38"/>
                    <a:pt x="89" y="36"/>
                  </a:cubicBezTo>
                  <a:cubicBezTo>
                    <a:pt x="93" y="17"/>
                    <a:pt x="93" y="17"/>
                    <a:pt x="93" y="17"/>
                  </a:cubicBezTo>
                  <a:cubicBezTo>
                    <a:pt x="111" y="17"/>
                    <a:pt x="111" y="17"/>
                    <a:pt x="111" y="17"/>
                  </a:cubicBezTo>
                  <a:cubicBezTo>
                    <a:pt x="115" y="36"/>
                    <a:pt x="115" y="36"/>
                    <a:pt x="115" y="36"/>
                  </a:cubicBezTo>
                  <a:cubicBezTo>
                    <a:pt x="117" y="45"/>
                    <a:pt x="125" y="51"/>
                    <a:pt x="134" y="49"/>
                  </a:cubicBezTo>
                  <a:cubicBezTo>
                    <a:pt x="136" y="48"/>
                    <a:pt x="138" y="47"/>
                    <a:pt x="140" y="46"/>
                  </a:cubicBezTo>
                  <a:cubicBezTo>
                    <a:pt x="156" y="35"/>
                    <a:pt x="156" y="35"/>
                    <a:pt x="156" y="35"/>
                  </a:cubicBezTo>
                  <a:cubicBezTo>
                    <a:pt x="169" y="49"/>
                    <a:pt x="169" y="49"/>
                    <a:pt x="169" y="49"/>
                  </a:cubicBezTo>
                  <a:cubicBezTo>
                    <a:pt x="159" y="65"/>
                    <a:pt x="159" y="65"/>
                    <a:pt x="159" y="65"/>
                  </a:cubicBezTo>
                  <a:cubicBezTo>
                    <a:pt x="153" y="72"/>
                    <a:pt x="155" y="82"/>
                    <a:pt x="163" y="87"/>
                  </a:cubicBezTo>
                  <a:cubicBezTo>
                    <a:pt x="164" y="89"/>
                    <a:pt x="167" y="89"/>
                    <a:pt x="169" y="90"/>
                  </a:cubicBezTo>
                  <a:cubicBezTo>
                    <a:pt x="188" y="94"/>
                    <a:pt x="188" y="94"/>
                    <a:pt x="188" y="94"/>
                  </a:cubicBezTo>
                  <a:lnTo>
                    <a:pt x="188" y="111"/>
                  </a:lnTo>
                  <a:close/>
                  <a:moveTo>
                    <a:pt x="188" y="111"/>
                  </a:moveTo>
                  <a:cubicBezTo>
                    <a:pt x="188" y="111"/>
                    <a:pt x="188" y="111"/>
                    <a:pt x="188" y="1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45" name="Freeform 20">
              <a:extLst>
                <a:ext uri="{FF2B5EF4-FFF2-40B4-BE49-F238E27FC236}">
                  <a16:creationId xmlns:a16="http://schemas.microsoft.com/office/drawing/2014/main" id="{442B09A2-1D72-4B5F-A05B-06CBC5D39131}"/>
                </a:ext>
              </a:extLst>
            </p:cNvPr>
            <p:cNvSpPr>
              <a:spLocks noEditPoints="1"/>
            </p:cNvSpPr>
            <p:nvPr/>
          </p:nvSpPr>
          <p:spPr bwMode="auto">
            <a:xfrm>
              <a:off x="3946" y="4798"/>
              <a:ext cx="190" cy="184"/>
            </a:xfrm>
            <a:custGeom>
              <a:avLst/>
              <a:gdLst>
                <a:gd name="T0" fmla="*/ 42 w 85"/>
                <a:gd name="T1" fmla="*/ 0 h 85"/>
                <a:gd name="T2" fmla="*/ 0 w 85"/>
                <a:gd name="T3" fmla="*/ 43 h 85"/>
                <a:gd name="T4" fmla="*/ 42 w 85"/>
                <a:gd name="T5" fmla="*/ 85 h 85"/>
                <a:gd name="T6" fmla="*/ 85 w 85"/>
                <a:gd name="T7" fmla="*/ 43 h 85"/>
                <a:gd name="T8" fmla="*/ 42 w 85"/>
                <a:gd name="T9" fmla="*/ 0 h 85"/>
                <a:gd name="T10" fmla="*/ 42 w 85"/>
                <a:gd name="T11" fmla="*/ 68 h 85"/>
                <a:gd name="T12" fmla="*/ 17 w 85"/>
                <a:gd name="T13" fmla="*/ 43 h 85"/>
                <a:gd name="T14" fmla="*/ 42 w 85"/>
                <a:gd name="T15" fmla="*/ 17 h 85"/>
                <a:gd name="T16" fmla="*/ 68 w 85"/>
                <a:gd name="T17" fmla="*/ 43 h 85"/>
                <a:gd name="T18" fmla="*/ 42 w 85"/>
                <a:gd name="T19" fmla="*/ 68 h 85"/>
                <a:gd name="T20" fmla="*/ 42 w 85"/>
                <a:gd name="T21" fmla="*/ 68 h 85"/>
                <a:gd name="T22" fmla="*/ 42 w 85"/>
                <a:gd name="T23" fmla="*/ 6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2" y="0"/>
                  </a:moveTo>
                  <a:cubicBezTo>
                    <a:pt x="19" y="0"/>
                    <a:pt x="0" y="19"/>
                    <a:pt x="0" y="43"/>
                  </a:cubicBezTo>
                  <a:cubicBezTo>
                    <a:pt x="0" y="66"/>
                    <a:pt x="19" y="85"/>
                    <a:pt x="42" y="85"/>
                  </a:cubicBezTo>
                  <a:cubicBezTo>
                    <a:pt x="66" y="85"/>
                    <a:pt x="85" y="66"/>
                    <a:pt x="85" y="43"/>
                  </a:cubicBezTo>
                  <a:cubicBezTo>
                    <a:pt x="85" y="19"/>
                    <a:pt x="66" y="0"/>
                    <a:pt x="42" y="0"/>
                  </a:cubicBezTo>
                  <a:close/>
                  <a:moveTo>
                    <a:pt x="42" y="68"/>
                  </a:moveTo>
                  <a:cubicBezTo>
                    <a:pt x="28" y="68"/>
                    <a:pt x="17" y="57"/>
                    <a:pt x="17" y="43"/>
                  </a:cubicBezTo>
                  <a:cubicBezTo>
                    <a:pt x="17" y="28"/>
                    <a:pt x="28" y="17"/>
                    <a:pt x="42" y="17"/>
                  </a:cubicBezTo>
                  <a:cubicBezTo>
                    <a:pt x="56" y="17"/>
                    <a:pt x="68" y="28"/>
                    <a:pt x="68" y="43"/>
                  </a:cubicBezTo>
                  <a:cubicBezTo>
                    <a:pt x="68" y="57"/>
                    <a:pt x="56" y="68"/>
                    <a:pt x="42" y="68"/>
                  </a:cubicBezTo>
                  <a:close/>
                  <a:moveTo>
                    <a:pt x="42" y="68"/>
                  </a:moveTo>
                  <a:cubicBezTo>
                    <a:pt x="42" y="68"/>
                    <a:pt x="42" y="68"/>
                    <a:pt x="42"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46" name="Freeform 21">
              <a:extLst>
                <a:ext uri="{FF2B5EF4-FFF2-40B4-BE49-F238E27FC236}">
                  <a16:creationId xmlns:a16="http://schemas.microsoft.com/office/drawing/2014/main" id="{574B09E6-17F0-4F29-9432-A5B433E5D450}"/>
                </a:ext>
              </a:extLst>
            </p:cNvPr>
            <p:cNvSpPr>
              <a:spLocks noEditPoints="1"/>
            </p:cNvSpPr>
            <p:nvPr/>
          </p:nvSpPr>
          <p:spPr bwMode="auto">
            <a:xfrm>
              <a:off x="4383" y="4502"/>
              <a:ext cx="478" cy="407"/>
            </a:xfrm>
            <a:custGeom>
              <a:avLst/>
              <a:gdLst>
                <a:gd name="T0" fmla="*/ 187 w 214"/>
                <a:gd name="T1" fmla="*/ 0 h 188"/>
                <a:gd name="T2" fmla="*/ 162 w 214"/>
                <a:gd name="T3" fmla="*/ 26 h 188"/>
                <a:gd name="T4" fmla="*/ 172 w 214"/>
                <a:gd name="T5" fmla="*/ 46 h 188"/>
                <a:gd name="T6" fmla="*/ 153 w 214"/>
                <a:gd name="T7" fmla="*/ 103 h 188"/>
                <a:gd name="T8" fmla="*/ 137 w 214"/>
                <a:gd name="T9" fmla="*/ 109 h 188"/>
                <a:gd name="T10" fmla="*/ 102 w 214"/>
                <a:gd name="T11" fmla="*/ 90 h 188"/>
                <a:gd name="T12" fmla="*/ 82 w 214"/>
                <a:gd name="T13" fmla="*/ 61 h 188"/>
                <a:gd name="T14" fmla="*/ 77 w 214"/>
                <a:gd name="T15" fmla="*/ 60 h 188"/>
                <a:gd name="T16" fmla="*/ 51 w 214"/>
                <a:gd name="T17" fmla="*/ 86 h 188"/>
                <a:gd name="T18" fmla="*/ 56 w 214"/>
                <a:gd name="T19" fmla="*/ 101 h 188"/>
                <a:gd name="T20" fmla="*/ 32 w 214"/>
                <a:gd name="T21" fmla="*/ 138 h 188"/>
                <a:gd name="T22" fmla="*/ 25 w 214"/>
                <a:gd name="T23" fmla="*/ 137 h 188"/>
                <a:gd name="T24" fmla="*/ 0 w 214"/>
                <a:gd name="T25" fmla="*/ 162 h 188"/>
                <a:gd name="T26" fmla="*/ 25 w 214"/>
                <a:gd name="T27" fmla="*/ 188 h 188"/>
                <a:gd name="T28" fmla="*/ 51 w 214"/>
                <a:gd name="T29" fmla="*/ 162 h 188"/>
                <a:gd name="T30" fmla="*/ 46 w 214"/>
                <a:gd name="T31" fmla="*/ 147 h 188"/>
                <a:gd name="T32" fmla="*/ 70 w 214"/>
                <a:gd name="T33" fmla="*/ 110 h 188"/>
                <a:gd name="T34" fmla="*/ 77 w 214"/>
                <a:gd name="T35" fmla="*/ 111 h 188"/>
                <a:gd name="T36" fmla="*/ 93 w 214"/>
                <a:gd name="T37" fmla="*/ 105 h 188"/>
                <a:gd name="T38" fmla="*/ 128 w 214"/>
                <a:gd name="T39" fmla="*/ 124 h 188"/>
                <a:gd name="T40" fmla="*/ 149 w 214"/>
                <a:gd name="T41" fmla="*/ 154 h 188"/>
                <a:gd name="T42" fmla="*/ 179 w 214"/>
                <a:gd name="T43" fmla="*/ 133 h 188"/>
                <a:gd name="T44" fmla="*/ 169 w 214"/>
                <a:gd name="T45" fmla="*/ 108 h 188"/>
                <a:gd name="T46" fmla="*/ 188 w 214"/>
                <a:gd name="T47" fmla="*/ 51 h 188"/>
                <a:gd name="T48" fmla="*/ 213 w 214"/>
                <a:gd name="T49" fmla="*/ 25 h 188"/>
                <a:gd name="T50" fmla="*/ 187 w 214"/>
                <a:gd name="T51" fmla="*/ 0 h 188"/>
                <a:gd name="T52" fmla="*/ 25 w 214"/>
                <a:gd name="T53" fmla="*/ 171 h 188"/>
                <a:gd name="T54" fmla="*/ 17 w 214"/>
                <a:gd name="T55" fmla="*/ 162 h 188"/>
                <a:gd name="T56" fmla="*/ 25 w 214"/>
                <a:gd name="T57" fmla="*/ 154 h 188"/>
                <a:gd name="T58" fmla="*/ 34 w 214"/>
                <a:gd name="T59" fmla="*/ 162 h 188"/>
                <a:gd name="T60" fmla="*/ 25 w 214"/>
                <a:gd name="T61" fmla="*/ 171 h 188"/>
                <a:gd name="T62" fmla="*/ 77 w 214"/>
                <a:gd name="T63" fmla="*/ 94 h 188"/>
                <a:gd name="T64" fmla="*/ 68 w 214"/>
                <a:gd name="T65" fmla="*/ 86 h 188"/>
                <a:gd name="T66" fmla="*/ 77 w 214"/>
                <a:gd name="T67" fmla="*/ 77 h 188"/>
                <a:gd name="T68" fmla="*/ 85 w 214"/>
                <a:gd name="T69" fmla="*/ 86 h 188"/>
                <a:gd name="T70" fmla="*/ 77 w 214"/>
                <a:gd name="T71" fmla="*/ 94 h 188"/>
                <a:gd name="T72" fmla="*/ 153 w 214"/>
                <a:gd name="T73" fmla="*/ 137 h 188"/>
                <a:gd name="T74" fmla="*/ 145 w 214"/>
                <a:gd name="T75" fmla="*/ 128 h 188"/>
                <a:gd name="T76" fmla="*/ 153 w 214"/>
                <a:gd name="T77" fmla="*/ 120 h 188"/>
                <a:gd name="T78" fmla="*/ 162 w 214"/>
                <a:gd name="T79" fmla="*/ 128 h 188"/>
                <a:gd name="T80" fmla="*/ 153 w 214"/>
                <a:gd name="T81" fmla="*/ 137 h 188"/>
                <a:gd name="T82" fmla="*/ 188 w 214"/>
                <a:gd name="T83" fmla="*/ 34 h 188"/>
                <a:gd name="T84" fmla="*/ 179 w 214"/>
                <a:gd name="T85" fmla="*/ 26 h 188"/>
                <a:gd name="T86" fmla="*/ 188 w 214"/>
                <a:gd name="T87" fmla="*/ 17 h 188"/>
                <a:gd name="T88" fmla="*/ 196 w 214"/>
                <a:gd name="T89" fmla="*/ 26 h 188"/>
                <a:gd name="T90" fmla="*/ 188 w 214"/>
                <a:gd name="T91" fmla="*/ 34 h 188"/>
                <a:gd name="T92" fmla="*/ 188 w 214"/>
                <a:gd name="T93" fmla="*/ 34 h 188"/>
                <a:gd name="T94" fmla="*/ 188 w 214"/>
                <a:gd name="T95" fmla="*/ 3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88">
                  <a:moveTo>
                    <a:pt x="187" y="0"/>
                  </a:moveTo>
                  <a:cubicBezTo>
                    <a:pt x="173" y="0"/>
                    <a:pt x="162" y="12"/>
                    <a:pt x="162" y="26"/>
                  </a:cubicBezTo>
                  <a:cubicBezTo>
                    <a:pt x="162" y="34"/>
                    <a:pt x="166" y="41"/>
                    <a:pt x="172" y="46"/>
                  </a:cubicBezTo>
                  <a:cubicBezTo>
                    <a:pt x="153" y="103"/>
                    <a:pt x="153" y="103"/>
                    <a:pt x="153" y="103"/>
                  </a:cubicBezTo>
                  <a:cubicBezTo>
                    <a:pt x="147" y="103"/>
                    <a:pt x="141" y="105"/>
                    <a:pt x="137" y="109"/>
                  </a:cubicBezTo>
                  <a:cubicBezTo>
                    <a:pt x="102" y="90"/>
                    <a:pt x="102" y="90"/>
                    <a:pt x="102" y="90"/>
                  </a:cubicBezTo>
                  <a:cubicBezTo>
                    <a:pt x="104" y="76"/>
                    <a:pt x="95" y="63"/>
                    <a:pt x="82" y="61"/>
                  </a:cubicBezTo>
                  <a:cubicBezTo>
                    <a:pt x="80" y="60"/>
                    <a:pt x="78" y="60"/>
                    <a:pt x="77" y="60"/>
                  </a:cubicBezTo>
                  <a:cubicBezTo>
                    <a:pt x="62" y="60"/>
                    <a:pt x="51" y="72"/>
                    <a:pt x="51" y="86"/>
                  </a:cubicBezTo>
                  <a:cubicBezTo>
                    <a:pt x="51" y="91"/>
                    <a:pt x="53" y="97"/>
                    <a:pt x="56" y="101"/>
                  </a:cubicBezTo>
                  <a:cubicBezTo>
                    <a:pt x="32" y="138"/>
                    <a:pt x="32" y="138"/>
                    <a:pt x="32" y="138"/>
                  </a:cubicBezTo>
                  <a:cubicBezTo>
                    <a:pt x="30" y="137"/>
                    <a:pt x="28" y="137"/>
                    <a:pt x="25" y="137"/>
                  </a:cubicBezTo>
                  <a:cubicBezTo>
                    <a:pt x="11" y="137"/>
                    <a:pt x="0" y="148"/>
                    <a:pt x="0" y="162"/>
                  </a:cubicBezTo>
                  <a:cubicBezTo>
                    <a:pt x="0" y="177"/>
                    <a:pt x="11" y="188"/>
                    <a:pt x="25" y="188"/>
                  </a:cubicBezTo>
                  <a:cubicBezTo>
                    <a:pt x="40" y="188"/>
                    <a:pt x="51" y="177"/>
                    <a:pt x="51" y="162"/>
                  </a:cubicBezTo>
                  <a:cubicBezTo>
                    <a:pt x="51" y="157"/>
                    <a:pt x="49" y="152"/>
                    <a:pt x="46" y="147"/>
                  </a:cubicBezTo>
                  <a:cubicBezTo>
                    <a:pt x="70" y="110"/>
                    <a:pt x="70" y="110"/>
                    <a:pt x="70" y="110"/>
                  </a:cubicBezTo>
                  <a:cubicBezTo>
                    <a:pt x="72" y="111"/>
                    <a:pt x="74" y="111"/>
                    <a:pt x="77" y="111"/>
                  </a:cubicBezTo>
                  <a:cubicBezTo>
                    <a:pt x="83" y="111"/>
                    <a:pt x="89" y="109"/>
                    <a:pt x="93" y="105"/>
                  </a:cubicBezTo>
                  <a:cubicBezTo>
                    <a:pt x="128" y="124"/>
                    <a:pt x="128" y="124"/>
                    <a:pt x="128" y="124"/>
                  </a:cubicBezTo>
                  <a:cubicBezTo>
                    <a:pt x="126" y="138"/>
                    <a:pt x="135" y="151"/>
                    <a:pt x="149" y="154"/>
                  </a:cubicBezTo>
                  <a:cubicBezTo>
                    <a:pt x="163" y="156"/>
                    <a:pt x="176" y="147"/>
                    <a:pt x="179" y="133"/>
                  </a:cubicBezTo>
                  <a:cubicBezTo>
                    <a:pt x="180" y="124"/>
                    <a:pt x="177" y="114"/>
                    <a:pt x="169" y="108"/>
                  </a:cubicBezTo>
                  <a:cubicBezTo>
                    <a:pt x="188" y="51"/>
                    <a:pt x="188" y="51"/>
                    <a:pt x="188" y="51"/>
                  </a:cubicBezTo>
                  <a:cubicBezTo>
                    <a:pt x="202" y="51"/>
                    <a:pt x="214" y="40"/>
                    <a:pt x="213" y="25"/>
                  </a:cubicBezTo>
                  <a:cubicBezTo>
                    <a:pt x="213" y="11"/>
                    <a:pt x="202" y="0"/>
                    <a:pt x="187" y="0"/>
                  </a:cubicBezTo>
                  <a:close/>
                  <a:moveTo>
                    <a:pt x="25" y="171"/>
                  </a:moveTo>
                  <a:cubicBezTo>
                    <a:pt x="21" y="171"/>
                    <a:pt x="17" y="167"/>
                    <a:pt x="17" y="162"/>
                  </a:cubicBezTo>
                  <a:cubicBezTo>
                    <a:pt x="17" y="158"/>
                    <a:pt x="21" y="154"/>
                    <a:pt x="25" y="154"/>
                  </a:cubicBezTo>
                  <a:cubicBezTo>
                    <a:pt x="30" y="154"/>
                    <a:pt x="34" y="158"/>
                    <a:pt x="34" y="162"/>
                  </a:cubicBezTo>
                  <a:cubicBezTo>
                    <a:pt x="34" y="167"/>
                    <a:pt x="30" y="171"/>
                    <a:pt x="25" y="171"/>
                  </a:cubicBezTo>
                  <a:close/>
                  <a:moveTo>
                    <a:pt x="77" y="94"/>
                  </a:moveTo>
                  <a:cubicBezTo>
                    <a:pt x="72" y="94"/>
                    <a:pt x="68" y="90"/>
                    <a:pt x="68" y="86"/>
                  </a:cubicBezTo>
                  <a:cubicBezTo>
                    <a:pt x="68" y="81"/>
                    <a:pt x="72" y="77"/>
                    <a:pt x="77" y="77"/>
                  </a:cubicBezTo>
                  <a:cubicBezTo>
                    <a:pt x="81" y="77"/>
                    <a:pt x="85" y="81"/>
                    <a:pt x="85" y="86"/>
                  </a:cubicBezTo>
                  <a:cubicBezTo>
                    <a:pt x="85" y="90"/>
                    <a:pt x="81" y="94"/>
                    <a:pt x="77" y="94"/>
                  </a:cubicBezTo>
                  <a:close/>
                  <a:moveTo>
                    <a:pt x="153" y="137"/>
                  </a:moveTo>
                  <a:cubicBezTo>
                    <a:pt x="149" y="137"/>
                    <a:pt x="145" y="133"/>
                    <a:pt x="145" y="128"/>
                  </a:cubicBezTo>
                  <a:cubicBezTo>
                    <a:pt x="145" y="124"/>
                    <a:pt x="149" y="120"/>
                    <a:pt x="153" y="120"/>
                  </a:cubicBezTo>
                  <a:cubicBezTo>
                    <a:pt x="158" y="120"/>
                    <a:pt x="162" y="124"/>
                    <a:pt x="162" y="128"/>
                  </a:cubicBezTo>
                  <a:cubicBezTo>
                    <a:pt x="162" y="133"/>
                    <a:pt x="158" y="137"/>
                    <a:pt x="153" y="137"/>
                  </a:cubicBezTo>
                  <a:close/>
                  <a:moveTo>
                    <a:pt x="188" y="34"/>
                  </a:moveTo>
                  <a:cubicBezTo>
                    <a:pt x="183" y="34"/>
                    <a:pt x="179" y="31"/>
                    <a:pt x="179" y="26"/>
                  </a:cubicBezTo>
                  <a:cubicBezTo>
                    <a:pt x="179" y="21"/>
                    <a:pt x="183" y="17"/>
                    <a:pt x="188" y="17"/>
                  </a:cubicBezTo>
                  <a:cubicBezTo>
                    <a:pt x="192" y="17"/>
                    <a:pt x="196" y="21"/>
                    <a:pt x="196" y="26"/>
                  </a:cubicBezTo>
                  <a:cubicBezTo>
                    <a:pt x="196" y="31"/>
                    <a:pt x="192" y="34"/>
                    <a:pt x="188" y="34"/>
                  </a:cubicBezTo>
                  <a:close/>
                  <a:moveTo>
                    <a:pt x="188" y="34"/>
                  </a:moveTo>
                  <a:cubicBezTo>
                    <a:pt x="188" y="34"/>
                    <a:pt x="188" y="34"/>
                    <a:pt x="188" y="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48" name="Freeform 22">
              <a:extLst>
                <a:ext uri="{FF2B5EF4-FFF2-40B4-BE49-F238E27FC236}">
                  <a16:creationId xmlns:a16="http://schemas.microsoft.com/office/drawing/2014/main" id="{69894D07-6656-4D45-9ACE-DF249B30779E}"/>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close/>
                  <a:moveTo>
                    <a:pt x="420" y="0"/>
                  </a:moveTo>
                  <a:lnTo>
                    <a:pt x="4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53" name="Freeform 23">
              <a:extLst>
                <a:ext uri="{FF2B5EF4-FFF2-40B4-BE49-F238E27FC236}">
                  <a16:creationId xmlns:a16="http://schemas.microsoft.com/office/drawing/2014/main" id="{61B6CBC3-FD79-4662-A0EF-E3742BD83F50}"/>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moveTo>
                    <a:pt x="420" y="0"/>
                  </a:moveTo>
                  <a:lnTo>
                    <a:pt x="42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54" name="Freeform 24">
              <a:extLst>
                <a:ext uri="{FF2B5EF4-FFF2-40B4-BE49-F238E27FC236}">
                  <a16:creationId xmlns:a16="http://schemas.microsoft.com/office/drawing/2014/main" id="{9BF7259B-36AE-42F2-BDB6-CA3915945DAE}"/>
                </a:ext>
              </a:extLst>
            </p:cNvPr>
            <p:cNvSpPr>
              <a:spLocks noEditPoints="1"/>
            </p:cNvSpPr>
            <p:nvPr/>
          </p:nvSpPr>
          <p:spPr bwMode="auto">
            <a:xfrm>
              <a:off x="4270" y="4411"/>
              <a:ext cx="207" cy="203"/>
            </a:xfrm>
            <a:custGeom>
              <a:avLst/>
              <a:gdLst>
                <a:gd name="T0" fmla="*/ 51 w 93"/>
                <a:gd name="T1" fmla="*/ 0 h 94"/>
                <a:gd name="T2" fmla="*/ 0 w 93"/>
                <a:gd name="T3" fmla="*/ 51 h 94"/>
                <a:gd name="T4" fmla="*/ 0 w 93"/>
                <a:gd name="T5" fmla="*/ 94 h 94"/>
                <a:gd name="T6" fmla="*/ 17 w 93"/>
                <a:gd name="T7" fmla="*/ 94 h 94"/>
                <a:gd name="T8" fmla="*/ 17 w 93"/>
                <a:gd name="T9" fmla="*/ 51 h 94"/>
                <a:gd name="T10" fmla="*/ 51 w 93"/>
                <a:gd name="T11" fmla="*/ 17 h 94"/>
                <a:gd name="T12" fmla="*/ 93 w 93"/>
                <a:gd name="T13" fmla="*/ 17 h 94"/>
                <a:gd name="T14" fmla="*/ 93 w 93"/>
                <a:gd name="T15" fmla="*/ 0 h 94"/>
                <a:gd name="T16" fmla="*/ 51 w 93"/>
                <a:gd name="T17" fmla="*/ 0 h 94"/>
                <a:gd name="T18" fmla="*/ 51 w 93"/>
                <a:gd name="T19" fmla="*/ 0 h 94"/>
                <a:gd name="T20" fmla="*/ 51 w 93"/>
                <a:gd name="T2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94">
                  <a:moveTo>
                    <a:pt x="51" y="0"/>
                  </a:moveTo>
                  <a:cubicBezTo>
                    <a:pt x="23" y="0"/>
                    <a:pt x="0" y="23"/>
                    <a:pt x="0" y="51"/>
                  </a:cubicBezTo>
                  <a:cubicBezTo>
                    <a:pt x="0" y="94"/>
                    <a:pt x="0" y="94"/>
                    <a:pt x="0" y="94"/>
                  </a:cubicBezTo>
                  <a:cubicBezTo>
                    <a:pt x="17" y="94"/>
                    <a:pt x="17" y="94"/>
                    <a:pt x="17" y="94"/>
                  </a:cubicBezTo>
                  <a:cubicBezTo>
                    <a:pt x="17" y="51"/>
                    <a:pt x="17" y="51"/>
                    <a:pt x="17" y="51"/>
                  </a:cubicBezTo>
                  <a:cubicBezTo>
                    <a:pt x="17" y="32"/>
                    <a:pt x="32" y="17"/>
                    <a:pt x="51" y="17"/>
                  </a:cubicBezTo>
                  <a:cubicBezTo>
                    <a:pt x="93" y="17"/>
                    <a:pt x="93" y="17"/>
                    <a:pt x="93" y="17"/>
                  </a:cubicBezTo>
                  <a:cubicBezTo>
                    <a:pt x="93" y="0"/>
                    <a:pt x="93" y="0"/>
                    <a:pt x="93" y="0"/>
                  </a:cubicBezTo>
                  <a:lnTo>
                    <a:pt x="51" y="0"/>
                  </a:lnTo>
                  <a:close/>
                  <a:moveTo>
                    <a:pt x="51" y="0"/>
                  </a:moveTo>
                  <a:cubicBezTo>
                    <a:pt x="51" y="0"/>
                    <a:pt x="51"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55" name="Rectangle 25">
              <a:extLst>
                <a:ext uri="{FF2B5EF4-FFF2-40B4-BE49-F238E27FC236}">
                  <a16:creationId xmlns:a16="http://schemas.microsoft.com/office/drawing/2014/main" id="{627B8248-1954-4EA8-A86D-21DAF30DFD00}"/>
                </a:ext>
              </a:extLst>
            </p:cNvPr>
            <p:cNvSpPr>
              <a:spLocks noChangeArrowheads="1"/>
            </p:cNvSpPr>
            <p:nvPr/>
          </p:nvSpPr>
          <p:spPr bwMode="auto">
            <a:xfrm>
              <a:off x="4517" y="5296"/>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56" name="Rectangle 26">
              <a:extLst>
                <a:ext uri="{FF2B5EF4-FFF2-40B4-BE49-F238E27FC236}">
                  <a16:creationId xmlns:a16="http://schemas.microsoft.com/office/drawing/2014/main" id="{322A6646-FE05-4528-BFE7-94F0DB6DAC12}"/>
                </a:ext>
              </a:extLst>
            </p:cNvPr>
            <p:cNvSpPr>
              <a:spLocks noChangeArrowheads="1"/>
            </p:cNvSpPr>
            <p:nvPr/>
          </p:nvSpPr>
          <p:spPr bwMode="auto">
            <a:xfrm>
              <a:off x="4593" y="5296"/>
              <a:ext cx="286"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57" name="Rectangle 27">
              <a:extLst>
                <a:ext uri="{FF2B5EF4-FFF2-40B4-BE49-F238E27FC236}">
                  <a16:creationId xmlns:a16="http://schemas.microsoft.com/office/drawing/2014/main" id="{6A8315B0-9051-4D19-A909-7F9D6697D0EF}"/>
                </a:ext>
              </a:extLst>
            </p:cNvPr>
            <p:cNvSpPr>
              <a:spLocks noChangeArrowheads="1"/>
            </p:cNvSpPr>
            <p:nvPr/>
          </p:nvSpPr>
          <p:spPr bwMode="auto">
            <a:xfrm>
              <a:off x="4535" y="4411"/>
              <a:ext cx="344"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grpSp>
      <p:sp>
        <p:nvSpPr>
          <p:cNvPr id="58" name="Oval 57">
            <a:extLst>
              <a:ext uri="{FF2B5EF4-FFF2-40B4-BE49-F238E27FC236}">
                <a16:creationId xmlns:a16="http://schemas.microsoft.com/office/drawing/2014/main" id="{FCBD7454-7927-4CED-8B22-0E89345F3F2D}"/>
              </a:ext>
            </a:extLst>
          </p:cNvPr>
          <p:cNvSpPr/>
          <p:nvPr/>
        </p:nvSpPr>
        <p:spPr bwMode="gray">
          <a:xfrm>
            <a:off x="4322543" y="2415815"/>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62" name="Group 61">
            <a:extLst>
              <a:ext uri="{FF2B5EF4-FFF2-40B4-BE49-F238E27FC236}">
                <a16:creationId xmlns:a16="http://schemas.microsoft.com/office/drawing/2014/main" id="{25CEE592-BD4E-4107-807E-5C39A3317EFB}"/>
              </a:ext>
            </a:extLst>
          </p:cNvPr>
          <p:cNvGrpSpPr/>
          <p:nvPr/>
        </p:nvGrpSpPr>
        <p:grpSpPr>
          <a:xfrm>
            <a:off x="4445587" y="1830391"/>
            <a:ext cx="1337549" cy="694394"/>
            <a:chOff x="4207048" y="2110398"/>
            <a:chExt cx="1337549" cy="694394"/>
          </a:xfrm>
        </p:grpSpPr>
        <p:cxnSp>
          <p:nvCxnSpPr>
            <p:cNvPr id="3" name="Straight Connector 2">
              <a:extLst>
                <a:ext uri="{FF2B5EF4-FFF2-40B4-BE49-F238E27FC236}">
                  <a16:creationId xmlns:a16="http://schemas.microsoft.com/office/drawing/2014/main" id="{50635576-2736-4706-AEFF-548320266983}"/>
                </a:ext>
              </a:extLst>
            </p:cNvPr>
            <p:cNvCxnSpPr>
              <a:cxnSpLocks/>
            </p:cNvCxnSpPr>
            <p:nvPr/>
          </p:nvCxnSpPr>
          <p:spPr>
            <a:xfrm>
              <a:off x="4922598" y="2110398"/>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7D45BDA-C4FC-49AB-A250-FCD6A639F145}"/>
                </a:ext>
              </a:extLst>
            </p:cNvPr>
            <p:cNvCxnSpPr>
              <a:cxnSpLocks/>
            </p:cNvCxnSpPr>
            <p:nvPr/>
          </p:nvCxnSpPr>
          <p:spPr>
            <a:xfrm flipH="1">
              <a:off x="4207048" y="2129350"/>
              <a:ext cx="696600" cy="675442"/>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88" name="Oval 87">
            <a:extLst>
              <a:ext uri="{FF2B5EF4-FFF2-40B4-BE49-F238E27FC236}">
                <a16:creationId xmlns:a16="http://schemas.microsoft.com/office/drawing/2014/main" id="{FF0C98C5-4079-4685-8258-420B338C93D7}"/>
              </a:ext>
            </a:extLst>
          </p:cNvPr>
          <p:cNvSpPr/>
          <p:nvPr/>
        </p:nvSpPr>
        <p:spPr bwMode="gray">
          <a:xfrm>
            <a:off x="4639065" y="3058122"/>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9" name="Oval 88">
            <a:extLst>
              <a:ext uri="{FF2B5EF4-FFF2-40B4-BE49-F238E27FC236}">
                <a16:creationId xmlns:a16="http://schemas.microsoft.com/office/drawing/2014/main" id="{CFF3E96F-FFC3-4145-A97A-A11D1F86F6D6}"/>
              </a:ext>
            </a:extLst>
          </p:cNvPr>
          <p:cNvSpPr/>
          <p:nvPr/>
        </p:nvSpPr>
        <p:spPr bwMode="gray">
          <a:xfrm>
            <a:off x="4703917" y="3694917"/>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0" name="Oval 89">
            <a:extLst>
              <a:ext uri="{FF2B5EF4-FFF2-40B4-BE49-F238E27FC236}">
                <a16:creationId xmlns:a16="http://schemas.microsoft.com/office/drawing/2014/main" id="{69F160FB-5739-4BDF-9C32-AD8264318671}"/>
              </a:ext>
            </a:extLst>
          </p:cNvPr>
          <p:cNvSpPr/>
          <p:nvPr/>
        </p:nvSpPr>
        <p:spPr bwMode="gray">
          <a:xfrm>
            <a:off x="4612822" y="4241855"/>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1" name="Oval 90">
            <a:extLst>
              <a:ext uri="{FF2B5EF4-FFF2-40B4-BE49-F238E27FC236}">
                <a16:creationId xmlns:a16="http://schemas.microsoft.com/office/drawing/2014/main" id="{CBD2B340-FC41-44E2-964B-C4F6EC7AFF73}"/>
              </a:ext>
            </a:extLst>
          </p:cNvPr>
          <p:cNvSpPr/>
          <p:nvPr/>
        </p:nvSpPr>
        <p:spPr bwMode="gray">
          <a:xfrm>
            <a:off x="4335943" y="4804692"/>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cxnSp>
        <p:nvCxnSpPr>
          <p:cNvPr id="71" name="Straight Connector 70">
            <a:extLst>
              <a:ext uri="{FF2B5EF4-FFF2-40B4-BE49-F238E27FC236}">
                <a16:creationId xmlns:a16="http://schemas.microsoft.com/office/drawing/2014/main" id="{986955B4-D4A9-417A-8BEC-27F9F1DD2A74}"/>
              </a:ext>
            </a:extLst>
          </p:cNvPr>
          <p:cNvCxnSpPr>
            <a:cxnSpLocks/>
          </p:cNvCxnSpPr>
          <p:nvPr/>
        </p:nvCxnSpPr>
        <p:spPr>
          <a:xfrm>
            <a:off x="4817964" y="3811761"/>
            <a:ext cx="965172" cy="0"/>
          </a:xfrm>
          <a:prstGeom prst="line">
            <a:avLst/>
          </a:prstGeom>
          <a:ln w="15875"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7DE936E2-FA1B-4399-B0B4-1CFB8CBB4A47}"/>
              </a:ext>
            </a:extLst>
          </p:cNvPr>
          <p:cNvGrpSpPr/>
          <p:nvPr/>
        </p:nvGrpSpPr>
        <p:grpSpPr>
          <a:xfrm>
            <a:off x="4445588" y="4918400"/>
            <a:ext cx="1393083" cy="747346"/>
            <a:chOff x="4207049" y="5198407"/>
            <a:chExt cx="1393083" cy="747346"/>
          </a:xfrm>
        </p:grpSpPr>
        <p:cxnSp>
          <p:nvCxnSpPr>
            <p:cNvPr id="73" name="Straight Connector 72">
              <a:extLst>
                <a:ext uri="{FF2B5EF4-FFF2-40B4-BE49-F238E27FC236}">
                  <a16:creationId xmlns:a16="http://schemas.microsoft.com/office/drawing/2014/main" id="{484233C2-410A-4807-9DB7-D138878EBD1C}"/>
                </a:ext>
              </a:extLst>
            </p:cNvPr>
            <p:cNvCxnSpPr>
              <a:cxnSpLocks/>
            </p:cNvCxnSpPr>
            <p:nvPr/>
          </p:nvCxnSpPr>
          <p:spPr>
            <a:xfrm>
              <a:off x="4978133" y="594575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61D5B3F-FDD2-4EF1-9FF4-AE088EE5C264}"/>
                </a:ext>
              </a:extLst>
            </p:cNvPr>
            <p:cNvCxnSpPr>
              <a:cxnSpLocks/>
            </p:cNvCxnSpPr>
            <p:nvPr/>
          </p:nvCxnSpPr>
          <p:spPr>
            <a:xfrm flipH="1" flipV="1">
              <a:off x="4207049" y="5198407"/>
              <a:ext cx="741652" cy="747345"/>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224B5A01-297A-4FC1-BEB5-25C05A791FA0}"/>
              </a:ext>
            </a:extLst>
          </p:cNvPr>
          <p:cNvGrpSpPr/>
          <p:nvPr/>
        </p:nvGrpSpPr>
        <p:grpSpPr>
          <a:xfrm>
            <a:off x="4761925" y="2871199"/>
            <a:ext cx="1021211" cy="300631"/>
            <a:chOff x="4523386" y="3151206"/>
            <a:chExt cx="1021211" cy="300631"/>
          </a:xfrm>
        </p:grpSpPr>
        <p:cxnSp>
          <p:nvCxnSpPr>
            <p:cNvPr id="70" name="Straight Connector 69">
              <a:extLst>
                <a:ext uri="{FF2B5EF4-FFF2-40B4-BE49-F238E27FC236}">
                  <a16:creationId xmlns:a16="http://schemas.microsoft.com/office/drawing/2014/main" id="{7EF48578-389D-4BEF-A45B-3191CBB81511}"/>
                </a:ext>
              </a:extLst>
            </p:cNvPr>
            <p:cNvCxnSpPr>
              <a:cxnSpLocks/>
            </p:cNvCxnSpPr>
            <p:nvPr/>
          </p:nvCxnSpPr>
          <p:spPr>
            <a:xfrm>
              <a:off x="4922598" y="3151712"/>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5EAD347-F34C-4205-9D7A-4A30576A4C03}"/>
                </a:ext>
              </a:extLst>
            </p:cNvPr>
            <p:cNvCxnSpPr>
              <a:cxnSpLocks/>
            </p:cNvCxnSpPr>
            <p:nvPr/>
          </p:nvCxnSpPr>
          <p:spPr>
            <a:xfrm flipH="1">
              <a:off x="4523386" y="3151206"/>
              <a:ext cx="371734" cy="300631"/>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C1609B99-BFF8-432F-8542-96EC62EFB6AD}"/>
              </a:ext>
            </a:extLst>
          </p:cNvPr>
          <p:cNvGrpSpPr/>
          <p:nvPr/>
        </p:nvGrpSpPr>
        <p:grpSpPr>
          <a:xfrm>
            <a:off x="4726530" y="4354804"/>
            <a:ext cx="1056606" cy="391402"/>
            <a:chOff x="4487991" y="4634811"/>
            <a:chExt cx="1056606" cy="391402"/>
          </a:xfrm>
        </p:grpSpPr>
        <p:cxnSp>
          <p:nvCxnSpPr>
            <p:cNvPr id="72" name="Straight Connector 71">
              <a:extLst>
                <a:ext uri="{FF2B5EF4-FFF2-40B4-BE49-F238E27FC236}">
                  <a16:creationId xmlns:a16="http://schemas.microsoft.com/office/drawing/2014/main" id="{20032D42-15B0-420F-A943-9DB4F968FA5B}"/>
                </a:ext>
              </a:extLst>
            </p:cNvPr>
            <p:cNvCxnSpPr>
              <a:cxnSpLocks/>
            </p:cNvCxnSpPr>
            <p:nvPr/>
          </p:nvCxnSpPr>
          <p:spPr>
            <a:xfrm>
              <a:off x="4922598" y="502621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6138207-8AFD-4292-830F-23D35667751B}"/>
                </a:ext>
              </a:extLst>
            </p:cNvPr>
            <p:cNvCxnSpPr>
              <a:cxnSpLocks/>
            </p:cNvCxnSpPr>
            <p:nvPr/>
          </p:nvCxnSpPr>
          <p:spPr>
            <a:xfrm flipH="1" flipV="1">
              <a:off x="4487991" y="4634811"/>
              <a:ext cx="419702" cy="391183"/>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565477307"/>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up)">
                                          <p:cBhvr>
                                            <p:cTn id="7" dur="500"/>
                                            <p:tgtEl>
                                              <p:spTgt spid="36"/>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wipe(down)">
                                          <p:cBhvr>
                                            <p:cTn id="10" dur="500"/>
                                            <p:tgtEl>
                                              <p:spTgt spid="37"/>
                                            </p:tgtEl>
                                          </p:cBhvr>
                                        </p:animEffect>
                                      </p:childTnLst>
                                    </p:cTn>
                                  </p:par>
                                </p:childTnLst>
                              </p:cTn>
                            </p:par>
                            <p:par>
                              <p:cTn id="11" fill="hold">
                                <p:stCondLst>
                                  <p:cond delay="500"/>
                                </p:stCondLst>
                                <p:childTnLst>
                                  <p:par>
                                    <p:cTn id="12" presetID="53" presetClass="entr" presetSubtype="16" fill="hold" grpId="0" nodeType="after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p:cTn id="14" dur="500" fill="hold"/>
                                            <p:tgtEl>
                                              <p:spTgt spid="14"/>
                                            </p:tgtEl>
                                            <p:attrNameLst>
                                              <p:attrName>ppt_w</p:attrName>
                                            </p:attrNameLst>
                                          </p:cBhvr>
                                          <p:tavLst>
                                            <p:tav tm="0">
                                              <p:val>
                                                <p:fltVal val="0"/>
                                              </p:val>
                                            </p:tav>
                                            <p:tav tm="100000">
                                              <p:val>
                                                <p:strVal val="#ppt_w"/>
                                              </p:val>
                                            </p:tav>
                                          </p:tavLst>
                                        </p:anim>
                                        <p:anim calcmode="lin" valueType="num">
                                          <p:cBhvr>
                                            <p:cTn id="15" dur="500" fill="hold"/>
                                            <p:tgtEl>
                                              <p:spTgt spid="14"/>
                                            </p:tgtEl>
                                            <p:attrNameLst>
                                              <p:attrName>ppt_h</p:attrName>
                                            </p:attrNameLst>
                                          </p:cBhvr>
                                          <p:tavLst>
                                            <p:tav tm="0">
                                              <p:val>
                                                <p:fltVal val="0"/>
                                              </p:val>
                                            </p:tav>
                                            <p:tav tm="100000">
                                              <p:val>
                                                <p:strVal val="#ppt_h"/>
                                              </p:val>
                                            </p:tav>
                                          </p:tavLst>
                                        </p:anim>
                                        <p:animEffect transition="in" filter="fade">
                                          <p:cBhvr>
                                            <p:cTn id="16" dur="500"/>
                                            <p:tgtEl>
                                              <p:spTgt spid="14"/>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750" fill="hold"/>
                                            <p:tgtEl>
                                              <p:spTgt spid="6"/>
                                            </p:tgtEl>
                                            <p:attrNameLst>
                                              <p:attrName>ppt_w</p:attrName>
                                            </p:attrNameLst>
                                          </p:cBhvr>
                                          <p:tavLst>
                                            <p:tav tm="0">
                                              <p:val>
                                                <p:fltVal val="0"/>
                                              </p:val>
                                            </p:tav>
                                            <p:tav tm="100000">
                                              <p:val>
                                                <p:strVal val="#ppt_w"/>
                                              </p:val>
                                            </p:tav>
                                          </p:tavLst>
                                        </p:anim>
                                        <p:anim calcmode="lin" valueType="num">
                                          <p:cBhvr>
                                            <p:cTn id="20" dur="750" fill="hold"/>
                                            <p:tgtEl>
                                              <p:spTgt spid="6"/>
                                            </p:tgtEl>
                                            <p:attrNameLst>
                                              <p:attrName>ppt_h</p:attrName>
                                            </p:attrNameLst>
                                          </p:cBhvr>
                                          <p:tavLst>
                                            <p:tav tm="0">
                                              <p:val>
                                                <p:fltVal val="0"/>
                                              </p:val>
                                            </p:tav>
                                            <p:tav tm="100000">
                                              <p:val>
                                                <p:strVal val="#ppt_h"/>
                                              </p:val>
                                            </p:tav>
                                          </p:tavLst>
                                        </p:anim>
                                        <p:animEffect transition="in" filter="fade">
                                          <p:cBhvr>
                                            <p:cTn id="21" dur="750"/>
                                            <p:tgtEl>
                                              <p:spTgt spid="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 calcmode="lin" valueType="num">
                                          <p:cBhvr>
                                            <p:cTn id="24" dur="1000" fill="hold"/>
                                            <p:tgtEl>
                                              <p:spTgt spid="12"/>
                                            </p:tgtEl>
                                            <p:attrNameLst>
                                              <p:attrName>ppt_w</p:attrName>
                                            </p:attrNameLst>
                                          </p:cBhvr>
                                          <p:tavLst>
                                            <p:tav tm="0">
                                              <p:val>
                                                <p:fltVal val="0"/>
                                              </p:val>
                                            </p:tav>
                                            <p:tav tm="100000">
                                              <p:val>
                                                <p:strVal val="#ppt_w"/>
                                              </p:val>
                                            </p:tav>
                                          </p:tavLst>
                                        </p:anim>
                                        <p:anim calcmode="lin" valueType="num">
                                          <p:cBhvr>
                                            <p:cTn id="25" dur="1000" fill="hold"/>
                                            <p:tgtEl>
                                              <p:spTgt spid="12"/>
                                            </p:tgtEl>
                                            <p:attrNameLst>
                                              <p:attrName>ppt_h</p:attrName>
                                            </p:attrNameLst>
                                          </p:cBhvr>
                                          <p:tavLst>
                                            <p:tav tm="0">
                                              <p:val>
                                                <p:fltVal val="0"/>
                                              </p:val>
                                            </p:tav>
                                            <p:tav tm="100000">
                                              <p:val>
                                                <p:strVal val="#ppt_h"/>
                                              </p:val>
                                            </p:tav>
                                          </p:tavLst>
                                        </p:anim>
                                        <p:animEffect transition="in" filter="fade">
                                          <p:cBhvr>
                                            <p:cTn id="26" dur="1000"/>
                                            <p:tgtEl>
                                              <p:spTgt spid="12"/>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p:cTn id="29" dur="1250" fill="hold"/>
                                            <p:tgtEl>
                                              <p:spTgt spid="7"/>
                                            </p:tgtEl>
                                            <p:attrNameLst>
                                              <p:attrName>ppt_w</p:attrName>
                                            </p:attrNameLst>
                                          </p:cBhvr>
                                          <p:tavLst>
                                            <p:tav tm="0">
                                              <p:val>
                                                <p:fltVal val="0"/>
                                              </p:val>
                                            </p:tav>
                                            <p:tav tm="100000">
                                              <p:val>
                                                <p:strVal val="#ppt_w"/>
                                              </p:val>
                                            </p:tav>
                                          </p:tavLst>
                                        </p:anim>
                                        <p:anim calcmode="lin" valueType="num">
                                          <p:cBhvr>
                                            <p:cTn id="30" dur="1250" fill="hold"/>
                                            <p:tgtEl>
                                              <p:spTgt spid="7"/>
                                            </p:tgtEl>
                                            <p:attrNameLst>
                                              <p:attrName>ppt_h</p:attrName>
                                            </p:attrNameLst>
                                          </p:cBhvr>
                                          <p:tavLst>
                                            <p:tav tm="0">
                                              <p:val>
                                                <p:fltVal val="0"/>
                                              </p:val>
                                            </p:tav>
                                            <p:tav tm="100000">
                                              <p:val>
                                                <p:strVal val="#ppt_h"/>
                                              </p:val>
                                            </p:tav>
                                          </p:tavLst>
                                        </p:anim>
                                        <p:animEffect transition="in" filter="fade">
                                          <p:cBhvr>
                                            <p:cTn id="31" dur="1250"/>
                                            <p:tgtEl>
                                              <p:spTgt spid="7"/>
                                            </p:tgtEl>
                                          </p:cBhvr>
                                        </p:animEffect>
                                      </p:childTnLst>
                                    </p:cTn>
                                  </p:par>
                                  <p:par>
                                    <p:cTn id="32" presetID="53" presetClass="entr" presetSubtype="16" fill="hold" nodeType="withEffect">
                                      <p:stCondLst>
                                        <p:cond delay="0"/>
                                      </p:stCondLst>
                                      <p:childTnLst>
                                        <p:set>
                                          <p:cBhvr>
                                            <p:cTn id="33" dur="1" fill="hold">
                                              <p:stCondLst>
                                                <p:cond delay="0"/>
                                              </p:stCondLst>
                                            </p:cTn>
                                            <p:tgtEl>
                                              <p:spTgt spid="44"/>
                                            </p:tgtEl>
                                            <p:attrNameLst>
                                              <p:attrName>style.visibility</p:attrName>
                                            </p:attrNameLst>
                                          </p:cBhvr>
                                          <p:to>
                                            <p:strVal val="visible"/>
                                          </p:to>
                                        </p:set>
                                        <p:anim calcmode="lin" valueType="num">
                                          <p:cBhvr>
                                            <p:cTn id="34" dur="500" fill="hold"/>
                                            <p:tgtEl>
                                              <p:spTgt spid="44"/>
                                            </p:tgtEl>
                                            <p:attrNameLst>
                                              <p:attrName>ppt_w</p:attrName>
                                            </p:attrNameLst>
                                          </p:cBhvr>
                                          <p:tavLst>
                                            <p:tav tm="0">
                                              <p:val>
                                                <p:fltVal val="0"/>
                                              </p:val>
                                            </p:tav>
                                            <p:tav tm="100000">
                                              <p:val>
                                                <p:strVal val="#ppt_w"/>
                                              </p:val>
                                            </p:tav>
                                          </p:tavLst>
                                        </p:anim>
                                        <p:anim calcmode="lin" valueType="num">
                                          <p:cBhvr>
                                            <p:cTn id="35" dur="500" fill="hold"/>
                                            <p:tgtEl>
                                              <p:spTgt spid="44"/>
                                            </p:tgtEl>
                                            <p:attrNameLst>
                                              <p:attrName>ppt_h</p:attrName>
                                            </p:attrNameLst>
                                          </p:cBhvr>
                                          <p:tavLst>
                                            <p:tav tm="0">
                                              <p:val>
                                                <p:fltVal val="0"/>
                                              </p:val>
                                            </p:tav>
                                            <p:tav tm="100000">
                                              <p:val>
                                                <p:strVal val="#ppt_h"/>
                                              </p:val>
                                            </p:tav>
                                          </p:tavLst>
                                        </p:anim>
                                        <p:animEffect transition="in" filter="fade">
                                          <p:cBhvr>
                                            <p:cTn id="36" dur="500"/>
                                            <p:tgtEl>
                                              <p:spTgt spid="44"/>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grpId="0" nodeType="clickEffect">
                                      <p:stCondLst>
                                        <p:cond delay="0"/>
                                      </p:stCondLst>
                                      <p:childTnLst>
                                        <p:set>
                                          <p:cBhvr>
                                            <p:cTn id="40" dur="1" fill="hold">
                                              <p:stCondLst>
                                                <p:cond delay="0"/>
                                              </p:stCondLst>
                                            </p:cTn>
                                            <p:tgtEl>
                                              <p:spTgt spid="58"/>
                                            </p:tgtEl>
                                            <p:attrNameLst>
                                              <p:attrName>style.visibility</p:attrName>
                                            </p:attrNameLst>
                                          </p:cBhvr>
                                          <p:to>
                                            <p:strVal val="visible"/>
                                          </p:to>
                                        </p:set>
                                        <p:anim calcmode="lin" valueType="num">
                                          <p:cBhvr>
                                            <p:cTn id="41" dur="250" fill="hold"/>
                                            <p:tgtEl>
                                              <p:spTgt spid="58"/>
                                            </p:tgtEl>
                                            <p:attrNameLst>
                                              <p:attrName>ppt_w</p:attrName>
                                            </p:attrNameLst>
                                          </p:cBhvr>
                                          <p:tavLst>
                                            <p:tav tm="0">
                                              <p:val>
                                                <p:fltVal val="0"/>
                                              </p:val>
                                            </p:tav>
                                            <p:tav tm="100000">
                                              <p:val>
                                                <p:strVal val="#ppt_w"/>
                                              </p:val>
                                            </p:tav>
                                          </p:tavLst>
                                        </p:anim>
                                        <p:anim calcmode="lin" valueType="num">
                                          <p:cBhvr>
                                            <p:cTn id="42" dur="250" fill="hold"/>
                                            <p:tgtEl>
                                              <p:spTgt spid="58"/>
                                            </p:tgtEl>
                                            <p:attrNameLst>
                                              <p:attrName>ppt_h</p:attrName>
                                            </p:attrNameLst>
                                          </p:cBhvr>
                                          <p:tavLst>
                                            <p:tav tm="0">
                                              <p:val>
                                                <p:fltVal val="0"/>
                                              </p:val>
                                            </p:tav>
                                            <p:tav tm="100000">
                                              <p:val>
                                                <p:strVal val="#ppt_h"/>
                                              </p:val>
                                            </p:tav>
                                          </p:tavLst>
                                        </p:anim>
                                        <p:animEffect transition="in" filter="fade">
                                          <p:cBhvr>
                                            <p:cTn id="43" dur="250"/>
                                            <p:tgtEl>
                                              <p:spTgt spid="58"/>
                                            </p:tgtEl>
                                          </p:cBhvr>
                                        </p:animEffect>
                                      </p:childTnLst>
                                    </p:cTn>
                                  </p:par>
                                  <p:par>
                                    <p:cTn id="44" presetID="22" presetClass="entr" presetSubtype="8" fill="hold" nodeType="withEffect">
                                      <p:stCondLst>
                                        <p:cond delay="0"/>
                                      </p:stCondLst>
                                      <p:childTnLst>
                                        <p:set>
                                          <p:cBhvr>
                                            <p:cTn id="45" dur="1" fill="hold">
                                              <p:stCondLst>
                                                <p:cond delay="0"/>
                                              </p:stCondLst>
                                            </p:cTn>
                                            <p:tgtEl>
                                              <p:spTgt spid="62"/>
                                            </p:tgtEl>
                                            <p:attrNameLst>
                                              <p:attrName>style.visibility</p:attrName>
                                            </p:attrNameLst>
                                          </p:cBhvr>
                                          <p:to>
                                            <p:strVal val="visible"/>
                                          </p:to>
                                        </p:set>
                                        <p:animEffect transition="in" filter="wipe(left)">
                                          <p:cBhvr>
                                            <p:cTn id="46" dur="500"/>
                                            <p:tgtEl>
                                              <p:spTgt spid="62"/>
                                            </p:tgtEl>
                                          </p:cBhvr>
                                        </p:animEffec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wipe(left)">
                                          <p:cBhvr>
                                            <p:cTn id="53" dur="500"/>
                                            <p:tgtEl>
                                              <p:spTgt spid="19"/>
                                            </p:tgtEl>
                                          </p:cBhvr>
                                        </p:animEffect>
                                      </p:childTnLst>
                                    </p:cTn>
                                  </p:par>
                                  <p:par>
                                    <p:cTn id="54" presetID="10" presetClass="entr" presetSubtype="0" fill="hold" nodeType="withEffect">
                                      <p:stCondLst>
                                        <p:cond delay="0"/>
                                      </p:stCondLst>
                                      <p:childTnLst>
                                        <p:set>
                                          <p:cBhvr>
                                            <p:cTn id="55" dur="1" fill="hold">
                                              <p:stCondLst>
                                                <p:cond delay="0"/>
                                              </p:stCondLst>
                                            </p:cTn>
                                            <p:tgtEl>
                                              <p:spTgt spid="39"/>
                                            </p:tgtEl>
                                            <p:attrNameLst>
                                              <p:attrName>style.visibility</p:attrName>
                                            </p:attrNameLst>
                                          </p:cBhvr>
                                          <p:to>
                                            <p:strVal val="visible"/>
                                          </p:to>
                                        </p:set>
                                        <p:animEffect transition="in" filter="fade">
                                          <p:cBhvr>
                                            <p:cTn id="56" dur="500"/>
                                            <p:tgtEl>
                                              <p:spTgt spid="39"/>
                                            </p:tgtEl>
                                          </p:cBhvr>
                                        </p:animEffect>
                                      </p:childTnLst>
                                    </p:cTn>
                                  </p:par>
                                </p:childTnLst>
                              </p:cTn>
                            </p:par>
                          </p:childTnLst>
                        </p:cTn>
                      </p:par>
                      <p:par>
                        <p:cTn id="57" fill="hold">
                          <p:stCondLst>
                            <p:cond delay="indefinite"/>
                          </p:stCondLst>
                          <p:childTnLst>
                            <p:par>
                              <p:cTn id="58" fill="hold">
                                <p:stCondLst>
                                  <p:cond delay="0"/>
                                </p:stCondLst>
                                <p:childTnLst>
                                  <p:par>
                                    <p:cTn id="59" presetID="53" presetClass="entr" presetSubtype="16" fill="hold" grpId="0" nodeType="clickEffect">
                                      <p:stCondLst>
                                        <p:cond delay="0"/>
                                      </p:stCondLst>
                                      <p:childTnLst>
                                        <p:set>
                                          <p:cBhvr>
                                            <p:cTn id="60" dur="1" fill="hold">
                                              <p:stCondLst>
                                                <p:cond delay="0"/>
                                              </p:stCondLst>
                                            </p:cTn>
                                            <p:tgtEl>
                                              <p:spTgt spid="88"/>
                                            </p:tgtEl>
                                            <p:attrNameLst>
                                              <p:attrName>style.visibility</p:attrName>
                                            </p:attrNameLst>
                                          </p:cBhvr>
                                          <p:to>
                                            <p:strVal val="visible"/>
                                          </p:to>
                                        </p:set>
                                        <p:anim calcmode="lin" valueType="num">
                                          <p:cBhvr>
                                            <p:cTn id="61" dur="250" fill="hold"/>
                                            <p:tgtEl>
                                              <p:spTgt spid="88"/>
                                            </p:tgtEl>
                                            <p:attrNameLst>
                                              <p:attrName>ppt_w</p:attrName>
                                            </p:attrNameLst>
                                          </p:cBhvr>
                                          <p:tavLst>
                                            <p:tav tm="0">
                                              <p:val>
                                                <p:fltVal val="0"/>
                                              </p:val>
                                            </p:tav>
                                            <p:tav tm="100000">
                                              <p:val>
                                                <p:strVal val="#ppt_w"/>
                                              </p:val>
                                            </p:tav>
                                          </p:tavLst>
                                        </p:anim>
                                        <p:anim calcmode="lin" valueType="num">
                                          <p:cBhvr>
                                            <p:cTn id="62" dur="250" fill="hold"/>
                                            <p:tgtEl>
                                              <p:spTgt spid="88"/>
                                            </p:tgtEl>
                                            <p:attrNameLst>
                                              <p:attrName>ppt_h</p:attrName>
                                            </p:attrNameLst>
                                          </p:cBhvr>
                                          <p:tavLst>
                                            <p:tav tm="0">
                                              <p:val>
                                                <p:fltVal val="0"/>
                                              </p:val>
                                            </p:tav>
                                            <p:tav tm="100000">
                                              <p:val>
                                                <p:strVal val="#ppt_h"/>
                                              </p:val>
                                            </p:tav>
                                          </p:tavLst>
                                        </p:anim>
                                        <p:animEffect transition="in" filter="fade">
                                          <p:cBhvr>
                                            <p:cTn id="63" dur="250"/>
                                            <p:tgtEl>
                                              <p:spTgt spid="88"/>
                                            </p:tgtEl>
                                          </p:cBhvr>
                                        </p:animEffect>
                                      </p:childTnLst>
                                    </p:cTn>
                                  </p:par>
                                  <p:par>
                                    <p:cTn id="64" presetID="22" presetClass="entr" presetSubtype="8" fill="hold" nodeType="with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wipe(left)">
                                          <p:cBhvr>
                                            <p:cTn id="66" dur="500"/>
                                            <p:tgtEl>
                                              <p:spTgt spid="63"/>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142"/>
                                            </p:tgtEl>
                                            <p:attrNameLst>
                                              <p:attrName>style.visibility</p:attrName>
                                            </p:attrNameLst>
                                          </p:cBhvr>
                                          <p:to>
                                            <p:strVal val="visible"/>
                                          </p:to>
                                        </p:set>
                                        <p:animEffect transition="in" filter="fade">
                                          <p:cBhvr>
                                            <p:cTn id="70" dur="500"/>
                                            <p:tgtEl>
                                              <p:spTgt spid="142"/>
                                            </p:tgtEl>
                                          </p:cBhvr>
                                        </p:animEffect>
                                      </p:childTnLst>
                                    </p:cTn>
                                  </p:par>
                                  <p:par>
                                    <p:cTn id="71" presetID="22" presetClass="entr" presetSubtype="8" fill="hold" grpId="0" nodeType="withEffect">
                                      <p:stCondLst>
                                        <p:cond delay="250"/>
                                      </p:stCondLst>
                                      <p:childTnLst>
                                        <p:set>
                                          <p:cBhvr>
                                            <p:cTn id="72" dur="1" fill="hold">
                                              <p:stCondLst>
                                                <p:cond delay="0"/>
                                              </p:stCondLst>
                                            </p:cTn>
                                            <p:tgtEl>
                                              <p:spTgt spid="31"/>
                                            </p:tgtEl>
                                            <p:attrNameLst>
                                              <p:attrName>style.visibility</p:attrName>
                                            </p:attrNameLst>
                                          </p:cBhvr>
                                          <p:to>
                                            <p:strVal val="visible"/>
                                          </p:to>
                                        </p:set>
                                        <p:animEffect transition="in" filter="wipe(left)">
                                          <p:cBhvr>
                                            <p:cTn id="73" dur="500"/>
                                            <p:tgtEl>
                                              <p:spTgt spid="31"/>
                                            </p:tgtEl>
                                          </p:cBhvr>
                                        </p:animEffect>
                                      </p:childTnLst>
                                    </p:cTn>
                                  </p:par>
                                  <p:par>
                                    <p:cTn id="74" presetID="10" presetClass="entr" presetSubtype="0" fill="hold" nodeType="withEffect">
                                      <p:stCondLst>
                                        <p:cond delay="0"/>
                                      </p:stCondLst>
                                      <p:childTnLst>
                                        <p:set>
                                          <p:cBhvr>
                                            <p:cTn id="75" dur="1" fill="hold">
                                              <p:stCondLst>
                                                <p:cond delay="0"/>
                                              </p:stCondLst>
                                            </p:cTn>
                                            <p:tgtEl>
                                              <p:spTgt spid="41"/>
                                            </p:tgtEl>
                                            <p:attrNameLst>
                                              <p:attrName>style.visibility</p:attrName>
                                            </p:attrNameLst>
                                          </p:cBhvr>
                                          <p:to>
                                            <p:strVal val="visible"/>
                                          </p:to>
                                        </p:set>
                                        <p:animEffect transition="in" filter="fade">
                                          <p:cBhvr>
                                            <p:cTn id="76" dur="500"/>
                                            <p:tgtEl>
                                              <p:spTgt spid="41"/>
                                            </p:tgtEl>
                                          </p:cBhvr>
                                        </p:animEffect>
                                      </p:childTnLst>
                                    </p:cTn>
                                  </p:par>
                                </p:childTnLst>
                              </p:cTn>
                            </p:par>
                          </p:childTnLst>
                        </p:cTn>
                      </p:par>
                      <p:par>
                        <p:cTn id="77" fill="hold">
                          <p:stCondLst>
                            <p:cond delay="indefinite"/>
                          </p:stCondLst>
                          <p:childTnLst>
                            <p:par>
                              <p:cTn id="78" fill="hold">
                                <p:stCondLst>
                                  <p:cond delay="0"/>
                                </p:stCondLst>
                                <p:childTnLst>
                                  <p:par>
                                    <p:cTn id="79" presetID="53" presetClass="entr" presetSubtype="16" fill="hold" grpId="0" nodeType="clickEffect">
                                      <p:stCondLst>
                                        <p:cond delay="0"/>
                                      </p:stCondLst>
                                      <p:childTnLst>
                                        <p:set>
                                          <p:cBhvr>
                                            <p:cTn id="80" dur="1" fill="hold">
                                              <p:stCondLst>
                                                <p:cond delay="0"/>
                                              </p:stCondLst>
                                            </p:cTn>
                                            <p:tgtEl>
                                              <p:spTgt spid="89"/>
                                            </p:tgtEl>
                                            <p:attrNameLst>
                                              <p:attrName>style.visibility</p:attrName>
                                            </p:attrNameLst>
                                          </p:cBhvr>
                                          <p:to>
                                            <p:strVal val="visible"/>
                                          </p:to>
                                        </p:set>
                                        <p:anim calcmode="lin" valueType="num">
                                          <p:cBhvr>
                                            <p:cTn id="81" dur="250" fill="hold"/>
                                            <p:tgtEl>
                                              <p:spTgt spid="89"/>
                                            </p:tgtEl>
                                            <p:attrNameLst>
                                              <p:attrName>ppt_w</p:attrName>
                                            </p:attrNameLst>
                                          </p:cBhvr>
                                          <p:tavLst>
                                            <p:tav tm="0">
                                              <p:val>
                                                <p:fltVal val="0"/>
                                              </p:val>
                                            </p:tav>
                                            <p:tav tm="100000">
                                              <p:val>
                                                <p:strVal val="#ppt_w"/>
                                              </p:val>
                                            </p:tav>
                                          </p:tavLst>
                                        </p:anim>
                                        <p:anim calcmode="lin" valueType="num">
                                          <p:cBhvr>
                                            <p:cTn id="82" dur="250" fill="hold"/>
                                            <p:tgtEl>
                                              <p:spTgt spid="89"/>
                                            </p:tgtEl>
                                            <p:attrNameLst>
                                              <p:attrName>ppt_h</p:attrName>
                                            </p:attrNameLst>
                                          </p:cBhvr>
                                          <p:tavLst>
                                            <p:tav tm="0">
                                              <p:val>
                                                <p:fltVal val="0"/>
                                              </p:val>
                                            </p:tav>
                                            <p:tav tm="100000">
                                              <p:val>
                                                <p:strVal val="#ppt_h"/>
                                              </p:val>
                                            </p:tav>
                                          </p:tavLst>
                                        </p:anim>
                                        <p:animEffect transition="in" filter="fade">
                                          <p:cBhvr>
                                            <p:cTn id="83" dur="250"/>
                                            <p:tgtEl>
                                              <p:spTgt spid="89"/>
                                            </p:tgtEl>
                                          </p:cBhvr>
                                        </p:animEffect>
                                      </p:childTnLst>
                                    </p:cTn>
                                  </p:par>
                                  <p:par>
                                    <p:cTn id="84" presetID="22" presetClass="entr" presetSubtype="8" fill="hold" nodeType="withEffect">
                                      <p:stCondLst>
                                        <p:cond delay="0"/>
                                      </p:stCondLst>
                                      <p:childTnLst>
                                        <p:set>
                                          <p:cBhvr>
                                            <p:cTn id="85" dur="1" fill="hold">
                                              <p:stCondLst>
                                                <p:cond delay="0"/>
                                              </p:stCondLst>
                                            </p:cTn>
                                            <p:tgtEl>
                                              <p:spTgt spid="71"/>
                                            </p:tgtEl>
                                            <p:attrNameLst>
                                              <p:attrName>style.visibility</p:attrName>
                                            </p:attrNameLst>
                                          </p:cBhvr>
                                          <p:to>
                                            <p:strVal val="visible"/>
                                          </p:to>
                                        </p:set>
                                        <p:animEffect transition="in" filter="wipe(left)">
                                          <p:cBhvr>
                                            <p:cTn id="86" dur="500"/>
                                            <p:tgtEl>
                                              <p:spTgt spid="71"/>
                                            </p:tgtEl>
                                          </p:cBhvr>
                                        </p:animEffect>
                                      </p:childTnLst>
                                    </p:cTn>
                                  </p:par>
                                </p:childTnLst>
                              </p:cTn>
                            </p:par>
                            <p:par>
                              <p:cTn id="87" fill="hold">
                                <p:stCondLst>
                                  <p:cond delay="500"/>
                                </p:stCondLst>
                                <p:childTnLst>
                                  <p:par>
                                    <p:cTn id="88" presetID="2" presetClass="entr" presetSubtype="2" fill="hold" nodeType="afterEffect" p14:presetBounceEnd="60000">
                                      <p:stCondLst>
                                        <p:cond delay="0"/>
                                      </p:stCondLst>
                                      <p:childTnLst>
                                        <p:set>
                                          <p:cBhvr>
                                            <p:cTn id="89" dur="1" fill="hold">
                                              <p:stCondLst>
                                                <p:cond delay="0"/>
                                              </p:stCondLst>
                                            </p:cTn>
                                            <p:tgtEl>
                                              <p:spTgt spid="32"/>
                                            </p:tgtEl>
                                            <p:attrNameLst>
                                              <p:attrName>style.visibility</p:attrName>
                                            </p:attrNameLst>
                                          </p:cBhvr>
                                          <p:to>
                                            <p:strVal val="visible"/>
                                          </p:to>
                                        </p:set>
                                        <p:anim calcmode="lin" valueType="num" p14:bounceEnd="60000">
                                          <p:cBhvr additive="base">
                                            <p:cTn id="90" dur="500" fill="hold"/>
                                            <p:tgtEl>
                                              <p:spTgt spid="32"/>
                                            </p:tgtEl>
                                            <p:attrNameLst>
                                              <p:attrName>ppt_x</p:attrName>
                                            </p:attrNameLst>
                                          </p:cBhvr>
                                          <p:tavLst>
                                            <p:tav tm="0">
                                              <p:val>
                                                <p:strVal val="1+#ppt_w/2"/>
                                              </p:val>
                                            </p:tav>
                                            <p:tav tm="100000">
                                              <p:val>
                                                <p:strVal val="#ppt_x"/>
                                              </p:val>
                                            </p:tav>
                                          </p:tavLst>
                                        </p:anim>
                                        <p:anim calcmode="lin" valueType="num" p14:bounceEnd="60000">
                                          <p:cBhvr additive="base">
                                            <p:cTn id="91" dur="500" fill="hold"/>
                                            <p:tgtEl>
                                              <p:spTgt spid="32"/>
                                            </p:tgtEl>
                                            <p:attrNameLst>
                                              <p:attrName>ppt_y</p:attrName>
                                            </p:attrNameLst>
                                          </p:cBhvr>
                                          <p:tavLst>
                                            <p:tav tm="0">
                                              <p:val>
                                                <p:strVal val="#ppt_y"/>
                                              </p:val>
                                            </p:tav>
                                            <p:tav tm="100000">
                                              <p:val>
                                                <p:strVal val="#ppt_y"/>
                                              </p:val>
                                            </p:tav>
                                          </p:tavLst>
                                        </p:anim>
                                      </p:childTnLst>
                                    </p:cTn>
                                  </p:par>
                                  <p:par>
                                    <p:cTn id="92" presetID="22" presetClass="entr" presetSubtype="8" fill="hold" grpId="0" nodeType="withEffect">
                                      <p:stCondLst>
                                        <p:cond delay="250"/>
                                      </p:stCondLst>
                                      <p:childTnLst>
                                        <p:set>
                                          <p:cBhvr>
                                            <p:cTn id="93" dur="1" fill="hold">
                                              <p:stCondLst>
                                                <p:cond delay="0"/>
                                              </p:stCondLst>
                                            </p:cTn>
                                            <p:tgtEl>
                                              <p:spTgt spid="35"/>
                                            </p:tgtEl>
                                            <p:attrNameLst>
                                              <p:attrName>style.visibility</p:attrName>
                                            </p:attrNameLst>
                                          </p:cBhvr>
                                          <p:to>
                                            <p:strVal val="visible"/>
                                          </p:to>
                                        </p:set>
                                        <p:animEffect transition="in" filter="wipe(left)">
                                          <p:cBhvr>
                                            <p:cTn id="94" dur="500"/>
                                            <p:tgtEl>
                                              <p:spTgt spid="35"/>
                                            </p:tgtEl>
                                          </p:cBhvr>
                                        </p:animEffect>
                                      </p:childTnLst>
                                    </p:cTn>
                                  </p:par>
                                  <p:par>
                                    <p:cTn id="95" presetID="10" presetClass="entr" presetSubtype="0" fill="hold" nodeType="withEffect">
                                      <p:stCondLst>
                                        <p:cond delay="0"/>
                                      </p:stCondLst>
                                      <p:childTnLst>
                                        <p:set>
                                          <p:cBhvr>
                                            <p:cTn id="96" dur="1" fill="hold">
                                              <p:stCondLst>
                                                <p:cond delay="0"/>
                                              </p:stCondLst>
                                            </p:cTn>
                                            <p:tgtEl>
                                              <p:spTgt spid="42"/>
                                            </p:tgtEl>
                                            <p:attrNameLst>
                                              <p:attrName>style.visibility</p:attrName>
                                            </p:attrNameLst>
                                          </p:cBhvr>
                                          <p:to>
                                            <p:strVal val="visible"/>
                                          </p:to>
                                        </p:set>
                                        <p:animEffect transition="in" filter="fade">
                                          <p:cBhvr>
                                            <p:cTn id="97" dur="500"/>
                                            <p:tgtEl>
                                              <p:spTgt spid="42"/>
                                            </p:tgtEl>
                                          </p:cBhvr>
                                        </p:animEffect>
                                      </p:childTnLst>
                                    </p:cTn>
                                  </p:par>
                                </p:childTnLst>
                              </p:cTn>
                            </p:par>
                          </p:childTnLst>
                        </p:cTn>
                      </p:par>
                      <p:par>
                        <p:cTn id="98" fill="hold">
                          <p:stCondLst>
                            <p:cond delay="indefinite"/>
                          </p:stCondLst>
                          <p:childTnLst>
                            <p:par>
                              <p:cTn id="99" fill="hold">
                                <p:stCondLst>
                                  <p:cond delay="0"/>
                                </p:stCondLst>
                                <p:childTnLst>
                                  <p:par>
                                    <p:cTn id="100" presetID="53" presetClass="entr" presetSubtype="16" fill="hold" grpId="0" nodeType="clickEffect">
                                      <p:stCondLst>
                                        <p:cond delay="0"/>
                                      </p:stCondLst>
                                      <p:childTnLst>
                                        <p:set>
                                          <p:cBhvr>
                                            <p:cTn id="101" dur="1" fill="hold">
                                              <p:stCondLst>
                                                <p:cond delay="0"/>
                                              </p:stCondLst>
                                            </p:cTn>
                                            <p:tgtEl>
                                              <p:spTgt spid="90"/>
                                            </p:tgtEl>
                                            <p:attrNameLst>
                                              <p:attrName>style.visibility</p:attrName>
                                            </p:attrNameLst>
                                          </p:cBhvr>
                                          <p:to>
                                            <p:strVal val="visible"/>
                                          </p:to>
                                        </p:set>
                                        <p:anim calcmode="lin" valueType="num">
                                          <p:cBhvr>
                                            <p:cTn id="102" dur="250" fill="hold"/>
                                            <p:tgtEl>
                                              <p:spTgt spid="90"/>
                                            </p:tgtEl>
                                            <p:attrNameLst>
                                              <p:attrName>ppt_w</p:attrName>
                                            </p:attrNameLst>
                                          </p:cBhvr>
                                          <p:tavLst>
                                            <p:tav tm="0">
                                              <p:val>
                                                <p:fltVal val="0"/>
                                              </p:val>
                                            </p:tav>
                                            <p:tav tm="100000">
                                              <p:val>
                                                <p:strVal val="#ppt_w"/>
                                              </p:val>
                                            </p:tav>
                                          </p:tavLst>
                                        </p:anim>
                                        <p:anim calcmode="lin" valueType="num">
                                          <p:cBhvr>
                                            <p:cTn id="103" dur="250" fill="hold"/>
                                            <p:tgtEl>
                                              <p:spTgt spid="90"/>
                                            </p:tgtEl>
                                            <p:attrNameLst>
                                              <p:attrName>ppt_h</p:attrName>
                                            </p:attrNameLst>
                                          </p:cBhvr>
                                          <p:tavLst>
                                            <p:tav tm="0">
                                              <p:val>
                                                <p:fltVal val="0"/>
                                              </p:val>
                                            </p:tav>
                                            <p:tav tm="100000">
                                              <p:val>
                                                <p:strVal val="#ppt_h"/>
                                              </p:val>
                                            </p:tav>
                                          </p:tavLst>
                                        </p:anim>
                                        <p:animEffect transition="in" filter="fade">
                                          <p:cBhvr>
                                            <p:cTn id="104" dur="250"/>
                                            <p:tgtEl>
                                              <p:spTgt spid="90"/>
                                            </p:tgtEl>
                                          </p:cBhvr>
                                        </p:animEffect>
                                      </p:childTnLst>
                                    </p:cTn>
                                  </p:par>
                                  <p:par>
                                    <p:cTn id="105" presetID="22" presetClass="entr" presetSubtype="8" fill="hold" nodeType="withEffect">
                                      <p:stCondLst>
                                        <p:cond delay="0"/>
                                      </p:stCondLst>
                                      <p:childTnLst>
                                        <p:set>
                                          <p:cBhvr>
                                            <p:cTn id="106" dur="1" fill="hold">
                                              <p:stCondLst>
                                                <p:cond delay="0"/>
                                              </p:stCondLst>
                                            </p:cTn>
                                            <p:tgtEl>
                                              <p:spTgt spid="64"/>
                                            </p:tgtEl>
                                            <p:attrNameLst>
                                              <p:attrName>style.visibility</p:attrName>
                                            </p:attrNameLst>
                                          </p:cBhvr>
                                          <p:to>
                                            <p:strVal val="visible"/>
                                          </p:to>
                                        </p:set>
                                        <p:animEffect transition="in" filter="wipe(left)">
                                          <p:cBhvr>
                                            <p:cTn id="107" dur="500"/>
                                            <p:tgtEl>
                                              <p:spTgt spid="64"/>
                                            </p:tgtEl>
                                          </p:cBhvr>
                                        </p:animEffect>
                                      </p:childTnLst>
                                    </p:cTn>
                                  </p:par>
                                </p:childTnLst>
                              </p:cTn>
                            </p:par>
                            <p:par>
                              <p:cTn id="108" fill="hold">
                                <p:stCondLst>
                                  <p:cond delay="500"/>
                                </p:stCondLst>
                                <p:childTnLst>
                                  <p:par>
                                    <p:cTn id="109" presetID="2" presetClass="entr" presetSubtype="2" fill="hold" nodeType="afterEffect" p14:presetBounceEnd="60000">
                                      <p:stCondLst>
                                        <p:cond delay="0"/>
                                      </p:stCondLst>
                                      <p:childTnLst>
                                        <p:set>
                                          <p:cBhvr>
                                            <p:cTn id="110" dur="1" fill="hold">
                                              <p:stCondLst>
                                                <p:cond delay="0"/>
                                              </p:stCondLst>
                                            </p:cTn>
                                            <p:tgtEl>
                                              <p:spTgt spid="21"/>
                                            </p:tgtEl>
                                            <p:attrNameLst>
                                              <p:attrName>style.visibility</p:attrName>
                                            </p:attrNameLst>
                                          </p:cBhvr>
                                          <p:to>
                                            <p:strVal val="visible"/>
                                          </p:to>
                                        </p:set>
                                        <p:anim calcmode="lin" valueType="num" p14:bounceEnd="60000">
                                          <p:cBhvr additive="base">
                                            <p:cTn id="111" dur="500" fill="hold"/>
                                            <p:tgtEl>
                                              <p:spTgt spid="21"/>
                                            </p:tgtEl>
                                            <p:attrNameLst>
                                              <p:attrName>ppt_x</p:attrName>
                                            </p:attrNameLst>
                                          </p:cBhvr>
                                          <p:tavLst>
                                            <p:tav tm="0">
                                              <p:val>
                                                <p:strVal val="1+#ppt_w/2"/>
                                              </p:val>
                                            </p:tav>
                                            <p:tav tm="100000">
                                              <p:val>
                                                <p:strVal val="#ppt_x"/>
                                              </p:val>
                                            </p:tav>
                                          </p:tavLst>
                                        </p:anim>
                                        <p:anim calcmode="lin" valueType="num" p14:bounceEnd="60000">
                                          <p:cBhvr additive="base">
                                            <p:cTn id="112" dur="500" fill="hold"/>
                                            <p:tgtEl>
                                              <p:spTgt spid="21"/>
                                            </p:tgtEl>
                                            <p:attrNameLst>
                                              <p:attrName>ppt_y</p:attrName>
                                            </p:attrNameLst>
                                          </p:cBhvr>
                                          <p:tavLst>
                                            <p:tav tm="0">
                                              <p:val>
                                                <p:strVal val="#ppt_y"/>
                                              </p:val>
                                            </p:tav>
                                            <p:tav tm="100000">
                                              <p:val>
                                                <p:strVal val="#ppt_y"/>
                                              </p:val>
                                            </p:tav>
                                          </p:tavLst>
                                        </p:anim>
                                      </p:childTnLst>
                                    </p:cTn>
                                  </p:par>
                                  <p:par>
                                    <p:cTn id="113" presetID="22" presetClass="entr" presetSubtype="8" fill="hold" grpId="0" nodeType="withEffect">
                                      <p:stCondLst>
                                        <p:cond delay="250"/>
                                      </p:stCondLst>
                                      <p:childTnLst>
                                        <p:set>
                                          <p:cBhvr>
                                            <p:cTn id="114" dur="1" fill="hold">
                                              <p:stCondLst>
                                                <p:cond delay="0"/>
                                              </p:stCondLst>
                                            </p:cTn>
                                            <p:tgtEl>
                                              <p:spTgt spid="27"/>
                                            </p:tgtEl>
                                            <p:attrNameLst>
                                              <p:attrName>style.visibility</p:attrName>
                                            </p:attrNameLst>
                                          </p:cBhvr>
                                          <p:to>
                                            <p:strVal val="visible"/>
                                          </p:to>
                                        </p:set>
                                        <p:animEffect transition="in" filter="wipe(left)">
                                          <p:cBhvr>
                                            <p:cTn id="115" dur="500"/>
                                            <p:tgtEl>
                                              <p:spTgt spid="27"/>
                                            </p:tgtEl>
                                          </p:cBhvr>
                                        </p:animEffect>
                                      </p:childTnLst>
                                    </p:cTn>
                                  </p:par>
                                  <p:par>
                                    <p:cTn id="116" presetID="10" presetClass="entr" presetSubtype="0" fill="hold" nodeType="withEffect">
                                      <p:stCondLst>
                                        <p:cond delay="0"/>
                                      </p:stCondLst>
                                      <p:childTnLst>
                                        <p:set>
                                          <p:cBhvr>
                                            <p:cTn id="117" dur="1" fill="hold">
                                              <p:stCondLst>
                                                <p:cond delay="0"/>
                                              </p:stCondLst>
                                            </p:cTn>
                                            <p:tgtEl>
                                              <p:spTgt spid="43"/>
                                            </p:tgtEl>
                                            <p:attrNameLst>
                                              <p:attrName>style.visibility</p:attrName>
                                            </p:attrNameLst>
                                          </p:cBhvr>
                                          <p:to>
                                            <p:strVal val="visible"/>
                                          </p:to>
                                        </p:set>
                                        <p:animEffect transition="in" filter="fade">
                                          <p:cBhvr>
                                            <p:cTn id="118" dur="500"/>
                                            <p:tgtEl>
                                              <p:spTgt spid="43"/>
                                            </p:tgtEl>
                                          </p:cBhvr>
                                        </p:animEffect>
                                      </p:childTnLst>
                                    </p:cTn>
                                  </p:par>
                                </p:childTnLst>
                              </p:cTn>
                            </p:par>
                          </p:childTnLst>
                        </p:cTn>
                      </p:par>
                      <p:par>
                        <p:cTn id="119" fill="hold">
                          <p:stCondLst>
                            <p:cond delay="indefinite"/>
                          </p:stCondLst>
                          <p:childTnLst>
                            <p:par>
                              <p:cTn id="120" fill="hold">
                                <p:stCondLst>
                                  <p:cond delay="0"/>
                                </p:stCondLst>
                                <p:childTnLst>
                                  <p:par>
                                    <p:cTn id="121" presetID="53" presetClass="entr" presetSubtype="16" fill="hold" grpId="0" nodeType="clickEffect">
                                      <p:stCondLst>
                                        <p:cond delay="0"/>
                                      </p:stCondLst>
                                      <p:childTnLst>
                                        <p:set>
                                          <p:cBhvr>
                                            <p:cTn id="122" dur="1" fill="hold">
                                              <p:stCondLst>
                                                <p:cond delay="0"/>
                                              </p:stCondLst>
                                            </p:cTn>
                                            <p:tgtEl>
                                              <p:spTgt spid="91"/>
                                            </p:tgtEl>
                                            <p:attrNameLst>
                                              <p:attrName>style.visibility</p:attrName>
                                            </p:attrNameLst>
                                          </p:cBhvr>
                                          <p:to>
                                            <p:strVal val="visible"/>
                                          </p:to>
                                        </p:set>
                                        <p:anim calcmode="lin" valueType="num">
                                          <p:cBhvr>
                                            <p:cTn id="123" dur="250" fill="hold"/>
                                            <p:tgtEl>
                                              <p:spTgt spid="91"/>
                                            </p:tgtEl>
                                            <p:attrNameLst>
                                              <p:attrName>ppt_w</p:attrName>
                                            </p:attrNameLst>
                                          </p:cBhvr>
                                          <p:tavLst>
                                            <p:tav tm="0">
                                              <p:val>
                                                <p:fltVal val="0"/>
                                              </p:val>
                                            </p:tav>
                                            <p:tav tm="100000">
                                              <p:val>
                                                <p:strVal val="#ppt_w"/>
                                              </p:val>
                                            </p:tav>
                                          </p:tavLst>
                                        </p:anim>
                                        <p:anim calcmode="lin" valueType="num">
                                          <p:cBhvr>
                                            <p:cTn id="124" dur="250" fill="hold"/>
                                            <p:tgtEl>
                                              <p:spTgt spid="91"/>
                                            </p:tgtEl>
                                            <p:attrNameLst>
                                              <p:attrName>ppt_h</p:attrName>
                                            </p:attrNameLst>
                                          </p:cBhvr>
                                          <p:tavLst>
                                            <p:tav tm="0">
                                              <p:val>
                                                <p:fltVal val="0"/>
                                              </p:val>
                                            </p:tav>
                                            <p:tav tm="100000">
                                              <p:val>
                                                <p:strVal val="#ppt_h"/>
                                              </p:val>
                                            </p:tav>
                                          </p:tavLst>
                                        </p:anim>
                                        <p:animEffect transition="in" filter="fade">
                                          <p:cBhvr>
                                            <p:cTn id="125" dur="250"/>
                                            <p:tgtEl>
                                              <p:spTgt spid="91"/>
                                            </p:tgtEl>
                                          </p:cBhvr>
                                        </p:animEffect>
                                      </p:childTnLst>
                                    </p:cTn>
                                  </p:par>
                                  <p:par>
                                    <p:cTn id="126" presetID="22" presetClass="entr" presetSubtype="8" fill="hold" nodeType="withEffect">
                                      <p:stCondLst>
                                        <p:cond delay="0"/>
                                      </p:stCondLst>
                                      <p:childTnLst>
                                        <p:set>
                                          <p:cBhvr>
                                            <p:cTn id="127" dur="1" fill="hold">
                                              <p:stCondLst>
                                                <p:cond delay="0"/>
                                              </p:stCondLst>
                                            </p:cTn>
                                            <p:tgtEl>
                                              <p:spTgt spid="65"/>
                                            </p:tgtEl>
                                            <p:attrNameLst>
                                              <p:attrName>style.visibility</p:attrName>
                                            </p:attrNameLst>
                                          </p:cBhvr>
                                          <p:to>
                                            <p:strVal val="visible"/>
                                          </p:to>
                                        </p:set>
                                        <p:animEffect transition="in" filter="wipe(left)">
                                          <p:cBhvr>
                                            <p:cTn id="128" dur="500"/>
                                            <p:tgtEl>
                                              <p:spTgt spid="65"/>
                                            </p:tgtEl>
                                          </p:cBhvr>
                                        </p:animEffect>
                                      </p:childTnLst>
                                    </p:cTn>
                                  </p:par>
                                </p:childTnLst>
                              </p:cTn>
                            </p:par>
                            <p:par>
                              <p:cTn id="129" fill="hold">
                                <p:stCondLst>
                                  <p:cond delay="500"/>
                                </p:stCondLst>
                                <p:childTnLst>
                                  <p:par>
                                    <p:cTn id="130" presetID="2" presetClass="entr" presetSubtype="2" fill="hold" nodeType="afterEffect" p14:presetBounceEnd="60000">
                                      <p:stCondLst>
                                        <p:cond delay="0"/>
                                      </p:stCondLst>
                                      <p:childTnLst>
                                        <p:set>
                                          <p:cBhvr>
                                            <p:cTn id="131" dur="1" fill="hold">
                                              <p:stCondLst>
                                                <p:cond delay="0"/>
                                              </p:stCondLst>
                                            </p:cTn>
                                            <p:tgtEl>
                                              <p:spTgt spid="211"/>
                                            </p:tgtEl>
                                            <p:attrNameLst>
                                              <p:attrName>style.visibility</p:attrName>
                                            </p:attrNameLst>
                                          </p:cBhvr>
                                          <p:to>
                                            <p:strVal val="visible"/>
                                          </p:to>
                                        </p:set>
                                        <p:anim calcmode="lin" valueType="num" p14:bounceEnd="60000">
                                          <p:cBhvr additive="base">
                                            <p:cTn id="132" dur="500" fill="hold"/>
                                            <p:tgtEl>
                                              <p:spTgt spid="211"/>
                                            </p:tgtEl>
                                            <p:attrNameLst>
                                              <p:attrName>ppt_x</p:attrName>
                                            </p:attrNameLst>
                                          </p:cBhvr>
                                          <p:tavLst>
                                            <p:tav tm="0">
                                              <p:val>
                                                <p:strVal val="1+#ppt_w/2"/>
                                              </p:val>
                                            </p:tav>
                                            <p:tav tm="100000">
                                              <p:val>
                                                <p:strVal val="#ppt_x"/>
                                              </p:val>
                                            </p:tav>
                                          </p:tavLst>
                                        </p:anim>
                                        <p:anim calcmode="lin" valueType="num" p14:bounceEnd="60000">
                                          <p:cBhvr additive="base">
                                            <p:cTn id="133" dur="500" fill="hold"/>
                                            <p:tgtEl>
                                              <p:spTgt spid="211"/>
                                            </p:tgtEl>
                                            <p:attrNameLst>
                                              <p:attrName>ppt_y</p:attrName>
                                            </p:attrNameLst>
                                          </p:cBhvr>
                                          <p:tavLst>
                                            <p:tav tm="0">
                                              <p:val>
                                                <p:strVal val="#ppt_y"/>
                                              </p:val>
                                            </p:tav>
                                            <p:tav tm="100000">
                                              <p:val>
                                                <p:strVal val="#ppt_y"/>
                                              </p:val>
                                            </p:tav>
                                          </p:tavLst>
                                        </p:anim>
                                      </p:childTnLst>
                                    </p:cTn>
                                  </p:par>
                                  <p:par>
                                    <p:cTn id="134" presetID="22" presetClass="entr" presetSubtype="8" fill="hold" grpId="0" nodeType="withEffect">
                                      <p:stCondLst>
                                        <p:cond delay="0"/>
                                      </p:stCondLst>
                                      <p:childTnLst>
                                        <p:set>
                                          <p:cBhvr>
                                            <p:cTn id="135" dur="1" fill="hold">
                                              <p:stCondLst>
                                                <p:cond delay="0"/>
                                              </p:stCondLst>
                                            </p:cTn>
                                            <p:tgtEl>
                                              <p:spTgt spid="23"/>
                                            </p:tgtEl>
                                            <p:attrNameLst>
                                              <p:attrName>style.visibility</p:attrName>
                                            </p:attrNameLst>
                                          </p:cBhvr>
                                          <p:to>
                                            <p:strVal val="visible"/>
                                          </p:to>
                                        </p:set>
                                        <p:animEffect transition="in" filter="wipe(left)">
                                          <p:cBhvr>
                                            <p:cTn id="136" dur="500"/>
                                            <p:tgtEl>
                                              <p:spTgt spid="23"/>
                                            </p:tgtEl>
                                          </p:cBhvr>
                                        </p:animEffect>
                                      </p:childTnLst>
                                    </p:cTn>
                                  </p:par>
                                  <p:par>
                                    <p:cTn id="137" presetID="10" presetClass="entr" presetSubtype="0" fill="hold" nodeType="withEffect">
                                      <p:stCondLst>
                                        <p:cond delay="250"/>
                                      </p:stCondLst>
                                      <p:childTnLst>
                                        <p:set>
                                          <p:cBhvr>
                                            <p:cTn id="138" dur="1" fill="hold">
                                              <p:stCondLst>
                                                <p:cond delay="0"/>
                                              </p:stCondLst>
                                            </p:cTn>
                                            <p:tgtEl>
                                              <p:spTgt spid="86"/>
                                            </p:tgtEl>
                                            <p:attrNameLst>
                                              <p:attrName>style.visibility</p:attrName>
                                            </p:attrNameLst>
                                          </p:cBhvr>
                                          <p:to>
                                            <p:strVal val="visible"/>
                                          </p:to>
                                        </p:set>
                                        <p:animEffect transition="in" filter="fade">
                                          <p:cBhvr>
                                            <p:cTn id="139" dur="500"/>
                                            <p:tgtEl>
                                              <p:spTgt spid="86"/>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nodeType="clickEffect">
                                      <p:stCondLst>
                                        <p:cond delay="0"/>
                                      </p:stCondLst>
                                      <p:childTnLst>
                                        <p:set>
                                          <p:cBhvr>
                                            <p:cTn id="143" dur="1" fill="hold">
                                              <p:stCondLst>
                                                <p:cond delay="0"/>
                                              </p:stCondLst>
                                            </p:cTn>
                                            <p:tgtEl>
                                              <p:spTgt spid="32"/>
                                            </p:tgtEl>
                                            <p:attrNameLst>
                                              <p:attrName>style.visibility</p:attrName>
                                            </p:attrNameLst>
                                          </p:cBhvr>
                                          <p:to>
                                            <p:strVal val="visible"/>
                                          </p:to>
                                        </p:set>
                                        <p:animEffect transition="in" filter="fade">
                                          <p:cBhvr>
                                            <p:cTn id="144" dur="500"/>
                                            <p:tgtEl>
                                              <p:spTgt spid="32"/>
                                            </p:tgtEl>
                                          </p:cBhvr>
                                        </p:animEffect>
                                      </p:childTnLst>
                                    </p:cTn>
                                  </p:par>
                                  <p:par>
                                    <p:cTn id="145" presetID="10" presetClass="entr" presetSubtype="0" fill="hold" nodeType="withEffect">
                                      <p:stCondLst>
                                        <p:cond delay="0"/>
                                      </p:stCondLst>
                                      <p:childTnLst>
                                        <p:set>
                                          <p:cBhvr>
                                            <p:cTn id="146" dur="1" fill="hold">
                                              <p:stCondLst>
                                                <p:cond delay="0"/>
                                              </p:stCondLst>
                                            </p:cTn>
                                            <p:tgtEl>
                                              <p:spTgt spid="21"/>
                                            </p:tgtEl>
                                            <p:attrNameLst>
                                              <p:attrName>style.visibility</p:attrName>
                                            </p:attrNameLst>
                                          </p:cBhvr>
                                          <p:to>
                                            <p:strVal val="visible"/>
                                          </p:to>
                                        </p:set>
                                        <p:animEffect transition="in" filter="fade">
                                          <p:cBhvr>
                                            <p:cTn id="147" dur="500"/>
                                            <p:tgtEl>
                                              <p:spTgt spid="21"/>
                                            </p:tgtEl>
                                          </p:cBhvr>
                                        </p:animEffect>
                                      </p:childTnLst>
                                    </p:cTn>
                                  </p:par>
                                  <p:par>
                                    <p:cTn id="148" presetID="10" presetClass="entr" presetSubtype="0" fill="hold" nodeType="withEffect">
                                      <p:stCondLst>
                                        <p:cond delay="0"/>
                                      </p:stCondLst>
                                      <p:childTnLst>
                                        <p:set>
                                          <p:cBhvr>
                                            <p:cTn id="149" dur="1" fill="hold">
                                              <p:stCondLst>
                                                <p:cond delay="0"/>
                                              </p:stCondLst>
                                            </p:cTn>
                                            <p:tgtEl>
                                              <p:spTgt spid="211"/>
                                            </p:tgtEl>
                                            <p:attrNameLst>
                                              <p:attrName>style.visibility</p:attrName>
                                            </p:attrNameLst>
                                          </p:cBhvr>
                                          <p:to>
                                            <p:strVal val="visible"/>
                                          </p:to>
                                        </p:set>
                                        <p:animEffect transition="in" filter="fade">
                                          <p:cBhvr>
                                            <p:cTn id="150" dur="50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Lst>
      </p:timing>
    </mc:Choice>
    <mc:Fallback xmlns:a14="http://schemas.microsoft.com/office/drawing/2010/main" xmlns:a16="http://schemas.microsoft.com/office/drawing/2014/main"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up)">
                                          <p:cBhvr>
                                            <p:cTn id="7" dur="500"/>
                                            <p:tgtEl>
                                              <p:spTgt spid="36"/>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wipe(down)">
                                          <p:cBhvr>
                                            <p:cTn id="10" dur="500"/>
                                            <p:tgtEl>
                                              <p:spTgt spid="37"/>
                                            </p:tgtEl>
                                          </p:cBhvr>
                                        </p:animEffect>
                                      </p:childTnLst>
                                    </p:cTn>
                                  </p:par>
                                </p:childTnLst>
                              </p:cTn>
                            </p:par>
                            <p:par>
                              <p:cTn id="11" fill="hold">
                                <p:stCondLst>
                                  <p:cond delay="500"/>
                                </p:stCondLst>
                                <p:childTnLst>
                                  <p:par>
                                    <p:cTn id="12" presetID="53" presetClass="entr" presetSubtype="16" fill="hold" grpId="0" nodeType="after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p:cTn id="14" dur="500" fill="hold"/>
                                            <p:tgtEl>
                                              <p:spTgt spid="14"/>
                                            </p:tgtEl>
                                            <p:attrNameLst>
                                              <p:attrName>ppt_w</p:attrName>
                                            </p:attrNameLst>
                                          </p:cBhvr>
                                          <p:tavLst>
                                            <p:tav tm="0">
                                              <p:val>
                                                <p:fltVal val="0"/>
                                              </p:val>
                                            </p:tav>
                                            <p:tav tm="100000">
                                              <p:val>
                                                <p:strVal val="#ppt_w"/>
                                              </p:val>
                                            </p:tav>
                                          </p:tavLst>
                                        </p:anim>
                                        <p:anim calcmode="lin" valueType="num">
                                          <p:cBhvr>
                                            <p:cTn id="15" dur="500" fill="hold"/>
                                            <p:tgtEl>
                                              <p:spTgt spid="14"/>
                                            </p:tgtEl>
                                            <p:attrNameLst>
                                              <p:attrName>ppt_h</p:attrName>
                                            </p:attrNameLst>
                                          </p:cBhvr>
                                          <p:tavLst>
                                            <p:tav tm="0">
                                              <p:val>
                                                <p:fltVal val="0"/>
                                              </p:val>
                                            </p:tav>
                                            <p:tav tm="100000">
                                              <p:val>
                                                <p:strVal val="#ppt_h"/>
                                              </p:val>
                                            </p:tav>
                                          </p:tavLst>
                                        </p:anim>
                                        <p:animEffect transition="in" filter="fade">
                                          <p:cBhvr>
                                            <p:cTn id="16" dur="500"/>
                                            <p:tgtEl>
                                              <p:spTgt spid="14"/>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750" fill="hold"/>
                                            <p:tgtEl>
                                              <p:spTgt spid="6"/>
                                            </p:tgtEl>
                                            <p:attrNameLst>
                                              <p:attrName>ppt_w</p:attrName>
                                            </p:attrNameLst>
                                          </p:cBhvr>
                                          <p:tavLst>
                                            <p:tav tm="0">
                                              <p:val>
                                                <p:fltVal val="0"/>
                                              </p:val>
                                            </p:tav>
                                            <p:tav tm="100000">
                                              <p:val>
                                                <p:strVal val="#ppt_w"/>
                                              </p:val>
                                            </p:tav>
                                          </p:tavLst>
                                        </p:anim>
                                        <p:anim calcmode="lin" valueType="num">
                                          <p:cBhvr>
                                            <p:cTn id="20" dur="750" fill="hold"/>
                                            <p:tgtEl>
                                              <p:spTgt spid="6"/>
                                            </p:tgtEl>
                                            <p:attrNameLst>
                                              <p:attrName>ppt_h</p:attrName>
                                            </p:attrNameLst>
                                          </p:cBhvr>
                                          <p:tavLst>
                                            <p:tav tm="0">
                                              <p:val>
                                                <p:fltVal val="0"/>
                                              </p:val>
                                            </p:tav>
                                            <p:tav tm="100000">
                                              <p:val>
                                                <p:strVal val="#ppt_h"/>
                                              </p:val>
                                            </p:tav>
                                          </p:tavLst>
                                        </p:anim>
                                        <p:animEffect transition="in" filter="fade">
                                          <p:cBhvr>
                                            <p:cTn id="21" dur="750"/>
                                            <p:tgtEl>
                                              <p:spTgt spid="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 calcmode="lin" valueType="num">
                                          <p:cBhvr>
                                            <p:cTn id="24" dur="1000" fill="hold"/>
                                            <p:tgtEl>
                                              <p:spTgt spid="12"/>
                                            </p:tgtEl>
                                            <p:attrNameLst>
                                              <p:attrName>ppt_w</p:attrName>
                                            </p:attrNameLst>
                                          </p:cBhvr>
                                          <p:tavLst>
                                            <p:tav tm="0">
                                              <p:val>
                                                <p:fltVal val="0"/>
                                              </p:val>
                                            </p:tav>
                                            <p:tav tm="100000">
                                              <p:val>
                                                <p:strVal val="#ppt_w"/>
                                              </p:val>
                                            </p:tav>
                                          </p:tavLst>
                                        </p:anim>
                                        <p:anim calcmode="lin" valueType="num">
                                          <p:cBhvr>
                                            <p:cTn id="25" dur="1000" fill="hold"/>
                                            <p:tgtEl>
                                              <p:spTgt spid="12"/>
                                            </p:tgtEl>
                                            <p:attrNameLst>
                                              <p:attrName>ppt_h</p:attrName>
                                            </p:attrNameLst>
                                          </p:cBhvr>
                                          <p:tavLst>
                                            <p:tav tm="0">
                                              <p:val>
                                                <p:fltVal val="0"/>
                                              </p:val>
                                            </p:tav>
                                            <p:tav tm="100000">
                                              <p:val>
                                                <p:strVal val="#ppt_h"/>
                                              </p:val>
                                            </p:tav>
                                          </p:tavLst>
                                        </p:anim>
                                        <p:animEffect transition="in" filter="fade">
                                          <p:cBhvr>
                                            <p:cTn id="26" dur="1000"/>
                                            <p:tgtEl>
                                              <p:spTgt spid="12"/>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p:cTn id="29" dur="1250" fill="hold"/>
                                            <p:tgtEl>
                                              <p:spTgt spid="7"/>
                                            </p:tgtEl>
                                            <p:attrNameLst>
                                              <p:attrName>ppt_w</p:attrName>
                                            </p:attrNameLst>
                                          </p:cBhvr>
                                          <p:tavLst>
                                            <p:tav tm="0">
                                              <p:val>
                                                <p:fltVal val="0"/>
                                              </p:val>
                                            </p:tav>
                                            <p:tav tm="100000">
                                              <p:val>
                                                <p:strVal val="#ppt_w"/>
                                              </p:val>
                                            </p:tav>
                                          </p:tavLst>
                                        </p:anim>
                                        <p:anim calcmode="lin" valueType="num">
                                          <p:cBhvr>
                                            <p:cTn id="30" dur="1250" fill="hold"/>
                                            <p:tgtEl>
                                              <p:spTgt spid="7"/>
                                            </p:tgtEl>
                                            <p:attrNameLst>
                                              <p:attrName>ppt_h</p:attrName>
                                            </p:attrNameLst>
                                          </p:cBhvr>
                                          <p:tavLst>
                                            <p:tav tm="0">
                                              <p:val>
                                                <p:fltVal val="0"/>
                                              </p:val>
                                            </p:tav>
                                            <p:tav tm="100000">
                                              <p:val>
                                                <p:strVal val="#ppt_h"/>
                                              </p:val>
                                            </p:tav>
                                          </p:tavLst>
                                        </p:anim>
                                        <p:animEffect transition="in" filter="fade">
                                          <p:cBhvr>
                                            <p:cTn id="31" dur="1250"/>
                                            <p:tgtEl>
                                              <p:spTgt spid="7"/>
                                            </p:tgtEl>
                                          </p:cBhvr>
                                        </p:animEffect>
                                      </p:childTnLst>
                                    </p:cTn>
                                  </p:par>
                                  <p:par>
                                    <p:cTn id="32" presetID="53" presetClass="entr" presetSubtype="16" fill="hold" nodeType="withEffect">
                                      <p:stCondLst>
                                        <p:cond delay="0"/>
                                      </p:stCondLst>
                                      <p:childTnLst>
                                        <p:set>
                                          <p:cBhvr>
                                            <p:cTn id="33" dur="1" fill="hold">
                                              <p:stCondLst>
                                                <p:cond delay="0"/>
                                              </p:stCondLst>
                                            </p:cTn>
                                            <p:tgtEl>
                                              <p:spTgt spid="44"/>
                                            </p:tgtEl>
                                            <p:attrNameLst>
                                              <p:attrName>style.visibility</p:attrName>
                                            </p:attrNameLst>
                                          </p:cBhvr>
                                          <p:to>
                                            <p:strVal val="visible"/>
                                          </p:to>
                                        </p:set>
                                        <p:anim calcmode="lin" valueType="num">
                                          <p:cBhvr>
                                            <p:cTn id="34" dur="500" fill="hold"/>
                                            <p:tgtEl>
                                              <p:spTgt spid="44"/>
                                            </p:tgtEl>
                                            <p:attrNameLst>
                                              <p:attrName>ppt_w</p:attrName>
                                            </p:attrNameLst>
                                          </p:cBhvr>
                                          <p:tavLst>
                                            <p:tav tm="0">
                                              <p:val>
                                                <p:fltVal val="0"/>
                                              </p:val>
                                            </p:tav>
                                            <p:tav tm="100000">
                                              <p:val>
                                                <p:strVal val="#ppt_w"/>
                                              </p:val>
                                            </p:tav>
                                          </p:tavLst>
                                        </p:anim>
                                        <p:anim calcmode="lin" valueType="num">
                                          <p:cBhvr>
                                            <p:cTn id="35" dur="500" fill="hold"/>
                                            <p:tgtEl>
                                              <p:spTgt spid="44"/>
                                            </p:tgtEl>
                                            <p:attrNameLst>
                                              <p:attrName>ppt_h</p:attrName>
                                            </p:attrNameLst>
                                          </p:cBhvr>
                                          <p:tavLst>
                                            <p:tav tm="0">
                                              <p:val>
                                                <p:fltVal val="0"/>
                                              </p:val>
                                            </p:tav>
                                            <p:tav tm="100000">
                                              <p:val>
                                                <p:strVal val="#ppt_h"/>
                                              </p:val>
                                            </p:tav>
                                          </p:tavLst>
                                        </p:anim>
                                        <p:animEffect transition="in" filter="fade">
                                          <p:cBhvr>
                                            <p:cTn id="36" dur="500"/>
                                            <p:tgtEl>
                                              <p:spTgt spid="44"/>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grpId="0" nodeType="clickEffect">
                                      <p:stCondLst>
                                        <p:cond delay="0"/>
                                      </p:stCondLst>
                                      <p:childTnLst>
                                        <p:set>
                                          <p:cBhvr>
                                            <p:cTn id="40" dur="1" fill="hold">
                                              <p:stCondLst>
                                                <p:cond delay="0"/>
                                              </p:stCondLst>
                                            </p:cTn>
                                            <p:tgtEl>
                                              <p:spTgt spid="58"/>
                                            </p:tgtEl>
                                            <p:attrNameLst>
                                              <p:attrName>style.visibility</p:attrName>
                                            </p:attrNameLst>
                                          </p:cBhvr>
                                          <p:to>
                                            <p:strVal val="visible"/>
                                          </p:to>
                                        </p:set>
                                        <p:anim calcmode="lin" valueType="num">
                                          <p:cBhvr>
                                            <p:cTn id="41" dur="250" fill="hold"/>
                                            <p:tgtEl>
                                              <p:spTgt spid="58"/>
                                            </p:tgtEl>
                                            <p:attrNameLst>
                                              <p:attrName>ppt_w</p:attrName>
                                            </p:attrNameLst>
                                          </p:cBhvr>
                                          <p:tavLst>
                                            <p:tav tm="0">
                                              <p:val>
                                                <p:fltVal val="0"/>
                                              </p:val>
                                            </p:tav>
                                            <p:tav tm="100000">
                                              <p:val>
                                                <p:strVal val="#ppt_w"/>
                                              </p:val>
                                            </p:tav>
                                          </p:tavLst>
                                        </p:anim>
                                        <p:anim calcmode="lin" valueType="num">
                                          <p:cBhvr>
                                            <p:cTn id="42" dur="250" fill="hold"/>
                                            <p:tgtEl>
                                              <p:spTgt spid="58"/>
                                            </p:tgtEl>
                                            <p:attrNameLst>
                                              <p:attrName>ppt_h</p:attrName>
                                            </p:attrNameLst>
                                          </p:cBhvr>
                                          <p:tavLst>
                                            <p:tav tm="0">
                                              <p:val>
                                                <p:fltVal val="0"/>
                                              </p:val>
                                            </p:tav>
                                            <p:tav tm="100000">
                                              <p:val>
                                                <p:strVal val="#ppt_h"/>
                                              </p:val>
                                            </p:tav>
                                          </p:tavLst>
                                        </p:anim>
                                        <p:animEffect transition="in" filter="fade">
                                          <p:cBhvr>
                                            <p:cTn id="43" dur="250"/>
                                            <p:tgtEl>
                                              <p:spTgt spid="58"/>
                                            </p:tgtEl>
                                          </p:cBhvr>
                                        </p:animEffect>
                                      </p:childTnLst>
                                    </p:cTn>
                                  </p:par>
                                  <p:par>
                                    <p:cTn id="44" presetID="22" presetClass="entr" presetSubtype="8" fill="hold" nodeType="withEffect">
                                      <p:stCondLst>
                                        <p:cond delay="0"/>
                                      </p:stCondLst>
                                      <p:childTnLst>
                                        <p:set>
                                          <p:cBhvr>
                                            <p:cTn id="45" dur="1" fill="hold">
                                              <p:stCondLst>
                                                <p:cond delay="0"/>
                                              </p:stCondLst>
                                            </p:cTn>
                                            <p:tgtEl>
                                              <p:spTgt spid="62"/>
                                            </p:tgtEl>
                                            <p:attrNameLst>
                                              <p:attrName>style.visibility</p:attrName>
                                            </p:attrNameLst>
                                          </p:cBhvr>
                                          <p:to>
                                            <p:strVal val="visible"/>
                                          </p:to>
                                        </p:set>
                                        <p:animEffect transition="in" filter="wipe(left)">
                                          <p:cBhvr>
                                            <p:cTn id="46" dur="500"/>
                                            <p:tgtEl>
                                              <p:spTgt spid="62"/>
                                            </p:tgtEl>
                                          </p:cBhvr>
                                        </p:animEffec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wipe(left)">
                                          <p:cBhvr>
                                            <p:cTn id="53" dur="500"/>
                                            <p:tgtEl>
                                              <p:spTgt spid="19"/>
                                            </p:tgtEl>
                                          </p:cBhvr>
                                        </p:animEffect>
                                      </p:childTnLst>
                                    </p:cTn>
                                  </p:par>
                                  <p:par>
                                    <p:cTn id="54" presetID="10" presetClass="entr" presetSubtype="0" fill="hold" nodeType="withEffect">
                                      <p:stCondLst>
                                        <p:cond delay="0"/>
                                      </p:stCondLst>
                                      <p:childTnLst>
                                        <p:set>
                                          <p:cBhvr>
                                            <p:cTn id="55" dur="1" fill="hold">
                                              <p:stCondLst>
                                                <p:cond delay="0"/>
                                              </p:stCondLst>
                                            </p:cTn>
                                            <p:tgtEl>
                                              <p:spTgt spid="39"/>
                                            </p:tgtEl>
                                            <p:attrNameLst>
                                              <p:attrName>style.visibility</p:attrName>
                                            </p:attrNameLst>
                                          </p:cBhvr>
                                          <p:to>
                                            <p:strVal val="visible"/>
                                          </p:to>
                                        </p:set>
                                        <p:animEffect transition="in" filter="fade">
                                          <p:cBhvr>
                                            <p:cTn id="56" dur="500"/>
                                            <p:tgtEl>
                                              <p:spTgt spid="39"/>
                                            </p:tgtEl>
                                          </p:cBhvr>
                                        </p:animEffect>
                                      </p:childTnLst>
                                    </p:cTn>
                                  </p:par>
                                </p:childTnLst>
                              </p:cTn>
                            </p:par>
                          </p:childTnLst>
                        </p:cTn>
                      </p:par>
                      <p:par>
                        <p:cTn id="57" fill="hold">
                          <p:stCondLst>
                            <p:cond delay="indefinite"/>
                          </p:stCondLst>
                          <p:childTnLst>
                            <p:par>
                              <p:cTn id="58" fill="hold">
                                <p:stCondLst>
                                  <p:cond delay="0"/>
                                </p:stCondLst>
                                <p:childTnLst>
                                  <p:par>
                                    <p:cTn id="59" presetID="53" presetClass="entr" presetSubtype="16" fill="hold" grpId="0" nodeType="clickEffect">
                                      <p:stCondLst>
                                        <p:cond delay="0"/>
                                      </p:stCondLst>
                                      <p:childTnLst>
                                        <p:set>
                                          <p:cBhvr>
                                            <p:cTn id="60" dur="1" fill="hold">
                                              <p:stCondLst>
                                                <p:cond delay="0"/>
                                              </p:stCondLst>
                                            </p:cTn>
                                            <p:tgtEl>
                                              <p:spTgt spid="88"/>
                                            </p:tgtEl>
                                            <p:attrNameLst>
                                              <p:attrName>style.visibility</p:attrName>
                                            </p:attrNameLst>
                                          </p:cBhvr>
                                          <p:to>
                                            <p:strVal val="visible"/>
                                          </p:to>
                                        </p:set>
                                        <p:anim calcmode="lin" valueType="num">
                                          <p:cBhvr>
                                            <p:cTn id="61" dur="250" fill="hold"/>
                                            <p:tgtEl>
                                              <p:spTgt spid="88"/>
                                            </p:tgtEl>
                                            <p:attrNameLst>
                                              <p:attrName>ppt_w</p:attrName>
                                            </p:attrNameLst>
                                          </p:cBhvr>
                                          <p:tavLst>
                                            <p:tav tm="0">
                                              <p:val>
                                                <p:fltVal val="0"/>
                                              </p:val>
                                            </p:tav>
                                            <p:tav tm="100000">
                                              <p:val>
                                                <p:strVal val="#ppt_w"/>
                                              </p:val>
                                            </p:tav>
                                          </p:tavLst>
                                        </p:anim>
                                        <p:anim calcmode="lin" valueType="num">
                                          <p:cBhvr>
                                            <p:cTn id="62" dur="250" fill="hold"/>
                                            <p:tgtEl>
                                              <p:spTgt spid="88"/>
                                            </p:tgtEl>
                                            <p:attrNameLst>
                                              <p:attrName>ppt_h</p:attrName>
                                            </p:attrNameLst>
                                          </p:cBhvr>
                                          <p:tavLst>
                                            <p:tav tm="0">
                                              <p:val>
                                                <p:fltVal val="0"/>
                                              </p:val>
                                            </p:tav>
                                            <p:tav tm="100000">
                                              <p:val>
                                                <p:strVal val="#ppt_h"/>
                                              </p:val>
                                            </p:tav>
                                          </p:tavLst>
                                        </p:anim>
                                        <p:animEffect transition="in" filter="fade">
                                          <p:cBhvr>
                                            <p:cTn id="63" dur="250"/>
                                            <p:tgtEl>
                                              <p:spTgt spid="88"/>
                                            </p:tgtEl>
                                          </p:cBhvr>
                                        </p:animEffect>
                                      </p:childTnLst>
                                    </p:cTn>
                                  </p:par>
                                  <p:par>
                                    <p:cTn id="64" presetID="22" presetClass="entr" presetSubtype="8" fill="hold" nodeType="with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wipe(left)">
                                          <p:cBhvr>
                                            <p:cTn id="66" dur="500"/>
                                            <p:tgtEl>
                                              <p:spTgt spid="63"/>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142"/>
                                            </p:tgtEl>
                                            <p:attrNameLst>
                                              <p:attrName>style.visibility</p:attrName>
                                            </p:attrNameLst>
                                          </p:cBhvr>
                                          <p:to>
                                            <p:strVal val="visible"/>
                                          </p:to>
                                        </p:set>
                                        <p:animEffect transition="in" filter="fade">
                                          <p:cBhvr>
                                            <p:cTn id="70" dur="500"/>
                                            <p:tgtEl>
                                              <p:spTgt spid="142"/>
                                            </p:tgtEl>
                                          </p:cBhvr>
                                        </p:animEffect>
                                      </p:childTnLst>
                                    </p:cTn>
                                  </p:par>
                                  <p:par>
                                    <p:cTn id="71" presetID="22" presetClass="entr" presetSubtype="8" fill="hold" grpId="0" nodeType="withEffect">
                                      <p:stCondLst>
                                        <p:cond delay="250"/>
                                      </p:stCondLst>
                                      <p:childTnLst>
                                        <p:set>
                                          <p:cBhvr>
                                            <p:cTn id="72" dur="1" fill="hold">
                                              <p:stCondLst>
                                                <p:cond delay="0"/>
                                              </p:stCondLst>
                                            </p:cTn>
                                            <p:tgtEl>
                                              <p:spTgt spid="31"/>
                                            </p:tgtEl>
                                            <p:attrNameLst>
                                              <p:attrName>style.visibility</p:attrName>
                                            </p:attrNameLst>
                                          </p:cBhvr>
                                          <p:to>
                                            <p:strVal val="visible"/>
                                          </p:to>
                                        </p:set>
                                        <p:animEffect transition="in" filter="wipe(left)">
                                          <p:cBhvr>
                                            <p:cTn id="73" dur="500"/>
                                            <p:tgtEl>
                                              <p:spTgt spid="31"/>
                                            </p:tgtEl>
                                          </p:cBhvr>
                                        </p:animEffect>
                                      </p:childTnLst>
                                    </p:cTn>
                                  </p:par>
                                  <p:par>
                                    <p:cTn id="74" presetID="10" presetClass="entr" presetSubtype="0" fill="hold" nodeType="withEffect">
                                      <p:stCondLst>
                                        <p:cond delay="0"/>
                                      </p:stCondLst>
                                      <p:childTnLst>
                                        <p:set>
                                          <p:cBhvr>
                                            <p:cTn id="75" dur="1" fill="hold">
                                              <p:stCondLst>
                                                <p:cond delay="0"/>
                                              </p:stCondLst>
                                            </p:cTn>
                                            <p:tgtEl>
                                              <p:spTgt spid="41"/>
                                            </p:tgtEl>
                                            <p:attrNameLst>
                                              <p:attrName>style.visibility</p:attrName>
                                            </p:attrNameLst>
                                          </p:cBhvr>
                                          <p:to>
                                            <p:strVal val="visible"/>
                                          </p:to>
                                        </p:set>
                                        <p:animEffect transition="in" filter="fade">
                                          <p:cBhvr>
                                            <p:cTn id="76" dur="500"/>
                                            <p:tgtEl>
                                              <p:spTgt spid="41"/>
                                            </p:tgtEl>
                                          </p:cBhvr>
                                        </p:animEffect>
                                      </p:childTnLst>
                                    </p:cTn>
                                  </p:par>
                                </p:childTnLst>
                              </p:cTn>
                            </p:par>
                          </p:childTnLst>
                        </p:cTn>
                      </p:par>
                      <p:par>
                        <p:cTn id="77" fill="hold">
                          <p:stCondLst>
                            <p:cond delay="indefinite"/>
                          </p:stCondLst>
                          <p:childTnLst>
                            <p:par>
                              <p:cTn id="78" fill="hold">
                                <p:stCondLst>
                                  <p:cond delay="0"/>
                                </p:stCondLst>
                                <p:childTnLst>
                                  <p:par>
                                    <p:cTn id="79" presetID="53" presetClass="entr" presetSubtype="16" fill="hold" grpId="0" nodeType="clickEffect">
                                      <p:stCondLst>
                                        <p:cond delay="0"/>
                                      </p:stCondLst>
                                      <p:childTnLst>
                                        <p:set>
                                          <p:cBhvr>
                                            <p:cTn id="80" dur="1" fill="hold">
                                              <p:stCondLst>
                                                <p:cond delay="0"/>
                                              </p:stCondLst>
                                            </p:cTn>
                                            <p:tgtEl>
                                              <p:spTgt spid="89"/>
                                            </p:tgtEl>
                                            <p:attrNameLst>
                                              <p:attrName>style.visibility</p:attrName>
                                            </p:attrNameLst>
                                          </p:cBhvr>
                                          <p:to>
                                            <p:strVal val="visible"/>
                                          </p:to>
                                        </p:set>
                                        <p:anim calcmode="lin" valueType="num">
                                          <p:cBhvr>
                                            <p:cTn id="81" dur="250" fill="hold"/>
                                            <p:tgtEl>
                                              <p:spTgt spid="89"/>
                                            </p:tgtEl>
                                            <p:attrNameLst>
                                              <p:attrName>ppt_w</p:attrName>
                                            </p:attrNameLst>
                                          </p:cBhvr>
                                          <p:tavLst>
                                            <p:tav tm="0">
                                              <p:val>
                                                <p:fltVal val="0"/>
                                              </p:val>
                                            </p:tav>
                                            <p:tav tm="100000">
                                              <p:val>
                                                <p:strVal val="#ppt_w"/>
                                              </p:val>
                                            </p:tav>
                                          </p:tavLst>
                                        </p:anim>
                                        <p:anim calcmode="lin" valueType="num">
                                          <p:cBhvr>
                                            <p:cTn id="82" dur="250" fill="hold"/>
                                            <p:tgtEl>
                                              <p:spTgt spid="89"/>
                                            </p:tgtEl>
                                            <p:attrNameLst>
                                              <p:attrName>ppt_h</p:attrName>
                                            </p:attrNameLst>
                                          </p:cBhvr>
                                          <p:tavLst>
                                            <p:tav tm="0">
                                              <p:val>
                                                <p:fltVal val="0"/>
                                              </p:val>
                                            </p:tav>
                                            <p:tav tm="100000">
                                              <p:val>
                                                <p:strVal val="#ppt_h"/>
                                              </p:val>
                                            </p:tav>
                                          </p:tavLst>
                                        </p:anim>
                                        <p:animEffect transition="in" filter="fade">
                                          <p:cBhvr>
                                            <p:cTn id="83" dur="250"/>
                                            <p:tgtEl>
                                              <p:spTgt spid="89"/>
                                            </p:tgtEl>
                                          </p:cBhvr>
                                        </p:animEffect>
                                      </p:childTnLst>
                                    </p:cTn>
                                  </p:par>
                                  <p:par>
                                    <p:cTn id="84" presetID="22" presetClass="entr" presetSubtype="8" fill="hold" nodeType="withEffect">
                                      <p:stCondLst>
                                        <p:cond delay="0"/>
                                      </p:stCondLst>
                                      <p:childTnLst>
                                        <p:set>
                                          <p:cBhvr>
                                            <p:cTn id="85" dur="1" fill="hold">
                                              <p:stCondLst>
                                                <p:cond delay="0"/>
                                              </p:stCondLst>
                                            </p:cTn>
                                            <p:tgtEl>
                                              <p:spTgt spid="71"/>
                                            </p:tgtEl>
                                            <p:attrNameLst>
                                              <p:attrName>style.visibility</p:attrName>
                                            </p:attrNameLst>
                                          </p:cBhvr>
                                          <p:to>
                                            <p:strVal val="visible"/>
                                          </p:to>
                                        </p:set>
                                        <p:animEffect transition="in" filter="wipe(left)">
                                          <p:cBhvr>
                                            <p:cTn id="86" dur="500"/>
                                            <p:tgtEl>
                                              <p:spTgt spid="71"/>
                                            </p:tgtEl>
                                          </p:cBhvr>
                                        </p:animEffect>
                                      </p:childTnLst>
                                    </p:cTn>
                                  </p:par>
                                </p:childTnLst>
                              </p:cTn>
                            </p:par>
                            <p:par>
                              <p:cTn id="87" fill="hold">
                                <p:stCondLst>
                                  <p:cond delay="500"/>
                                </p:stCondLst>
                                <p:childTnLst>
                                  <p:par>
                                    <p:cTn id="88" presetID="2" presetClass="entr" presetSubtype="2" fill="hold" nodeType="afterEffect">
                                      <p:stCondLst>
                                        <p:cond delay="0"/>
                                      </p:stCondLst>
                                      <p:childTnLst>
                                        <p:set>
                                          <p:cBhvr>
                                            <p:cTn id="89" dur="1" fill="hold">
                                              <p:stCondLst>
                                                <p:cond delay="0"/>
                                              </p:stCondLst>
                                            </p:cTn>
                                            <p:tgtEl>
                                              <p:spTgt spid="32"/>
                                            </p:tgtEl>
                                            <p:attrNameLst>
                                              <p:attrName>style.visibility</p:attrName>
                                            </p:attrNameLst>
                                          </p:cBhvr>
                                          <p:to>
                                            <p:strVal val="visible"/>
                                          </p:to>
                                        </p:set>
                                        <p:anim calcmode="lin" valueType="num">
                                          <p:cBhvr additive="base">
                                            <p:cTn id="90" dur="500" fill="hold"/>
                                            <p:tgtEl>
                                              <p:spTgt spid="32"/>
                                            </p:tgtEl>
                                            <p:attrNameLst>
                                              <p:attrName>ppt_x</p:attrName>
                                            </p:attrNameLst>
                                          </p:cBhvr>
                                          <p:tavLst>
                                            <p:tav tm="0">
                                              <p:val>
                                                <p:strVal val="1+#ppt_w/2"/>
                                              </p:val>
                                            </p:tav>
                                            <p:tav tm="100000">
                                              <p:val>
                                                <p:strVal val="#ppt_x"/>
                                              </p:val>
                                            </p:tav>
                                          </p:tavLst>
                                        </p:anim>
                                        <p:anim calcmode="lin" valueType="num">
                                          <p:cBhvr additive="base">
                                            <p:cTn id="91" dur="500" fill="hold"/>
                                            <p:tgtEl>
                                              <p:spTgt spid="32"/>
                                            </p:tgtEl>
                                            <p:attrNameLst>
                                              <p:attrName>ppt_y</p:attrName>
                                            </p:attrNameLst>
                                          </p:cBhvr>
                                          <p:tavLst>
                                            <p:tav tm="0">
                                              <p:val>
                                                <p:strVal val="#ppt_y"/>
                                              </p:val>
                                            </p:tav>
                                            <p:tav tm="100000">
                                              <p:val>
                                                <p:strVal val="#ppt_y"/>
                                              </p:val>
                                            </p:tav>
                                          </p:tavLst>
                                        </p:anim>
                                      </p:childTnLst>
                                    </p:cTn>
                                  </p:par>
                                  <p:par>
                                    <p:cTn id="92" presetID="22" presetClass="entr" presetSubtype="8" fill="hold" grpId="0" nodeType="withEffect">
                                      <p:stCondLst>
                                        <p:cond delay="250"/>
                                      </p:stCondLst>
                                      <p:childTnLst>
                                        <p:set>
                                          <p:cBhvr>
                                            <p:cTn id="93" dur="1" fill="hold">
                                              <p:stCondLst>
                                                <p:cond delay="0"/>
                                              </p:stCondLst>
                                            </p:cTn>
                                            <p:tgtEl>
                                              <p:spTgt spid="35"/>
                                            </p:tgtEl>
                                            <p:attrNameLst>
                                              <p:attrName>style.visibility</p:attrName>
                                            </p:attrNameLst>
                                          </p:cBhvr>
                                          <p:to>
                                            <p:strVal val="visible"/>
                                          </p:to>
                                        </p:set>
                                        <p:animEffect transition="in" filter="wipe(left)">
                                          <p:cBhvr>
                                            <p:cTn id="94" dur="500"/>
                                            <p:tgtEl>
                                              <p:spTgt spid="35"/>
                                            </p:tgtEl>
                                          </p:cBhvr>
                                        </p:animEffect>
                                      </p:childTnLst>
                                    </p:cTn>
                                  </p:par>
                                  <p:par>
                                    <p:cTn id="95" presetID="10" presetClass="entr" presetSubtype="0" fill="hold" nodeType="withEffect">
                                      <p:stCondLst>
                                        <p:cond delay="0"/>
                                      </p:stCondLst>
                                      <p:childTnLst>
                                        <p:set>
                                          <p:cBhvr>
                                            <p:cTn id="96" dur="1" fill="hold">
                                              <p:stCondLst>
                                                <p:cond delay="0"/>
                                              </p:stCondLst>
                                            </p:cTn>
                                            <p:tgtEl>
                                              <p:spTgt spid="42"/>
                                            </p:tgtEl>
                                            <p:attrNameLst>
                                              <p:attrName>style.visibility</p:attrName>
                                            </p:attrNameLst>
                                          </p:cBhvr>
                                          <p:to>
                                            <p:strVal val="visible"/>
                                          </p:to>
                                        </p:set>
                                        <p:animEffect transition="in" filter="fade">
                                          <p:cBhvr>
                                            <p:cTn id="97" dur="500"/>
                                            <p:tgtEl>
                                              <p:spTgt spid="42"/>
                                            </p:tgtEl>
                                          </p:cBhvr>
                                        </p:animEffect>
                                      </p:childTnLst>
                                    </p:cTn>
                                  </p:par>
                                </p:childTnLst>
                              </p:cTn>
                            </p:par>
                          </p:childTnLst>
                        </p:cTn>
                      </p:par>
                      <p:par>
                        <p:cTn id="98" fill="hold">
                          <p:stCondLst>
                            <p:cond delay="indefinite"/>
                          </p:stCondLst>
                          <p:childTnLst>
                            <p:par>
                              <p:cTn id="99" fill="hold">
                                <p:stCondLst>
                                  <p:cond delay="0"/>
                                </p:stCondLst>
                                <p:childTnLst>
                                  <p:par>
                                    <p:cTn id="100" presetID="53" presetClass="entr" presetSubtype="16" fill="hold" grpId="0" nodeType="clickEffect">
                                      <p:stCondLst>
                                        <p:cond delay="0"/>
                                      </p:stCondLst>
                                      <p:childTnLst>
                                        <p:set>
                                          <p:cBhvr>
                                            <p:cTn id="101" dur="1" fill="hold">
                                              <p:stCondLst>
                                                <p:cond delay="0"/>
                                              </p:stCondLst>
                                            </p:cTn>
                                            <p:tgtEl>
                                              <p:spTgt spid="90"/>
                                            </p:tgtEl>
                                            <p:attrNameLst>
                                              <p:attrName>style.visibility</p:attrName>
                                            </p:attrNameLst>
                                          </p:cBhvr>
                                          <p:to>
                                            <p:strVal val="visible"/>
                                          </p:to>
                                        </p:set>
                                        <p:anim calcmode="lin" valueType="num">
                                          <p:cBhvr>
                                            <p:cTn id="102" dur="250" fill="hold"/>
                                            <p:tgtEl>
                                              <p:spTgt spid="90"/>
                                            </p:tgtEl>
                                            <p:attrNameLst>
                                              <p:attrName>ppt_w</p:attrName>
                                            </p:attrNameLst>
                                          </p:cBhvr>
                                          <p:tavLst>
                                            <p:tav tm="0">
                                              <p:val>
                                                <p:fltVal val="0"/>
                                              </p:val>
                                            </p:tav>
                                            <p:tav tm="100000">
                                              <p:val>
                                                <p:strVal val="#ppt_w"/>
                                              </p:val>
                                            </p:tav>
                                          </p:tavLst>
                                        </p:anim>
                                        <p:anim calcmode="lin" valueType="num">
                                          <p:cBhvr>
                                            <p:cTn id="103" dur="250" fill="hold"/>
                                            <p:tgtEl>
                                              <p:spTgt spid="90"/>
                                            </p:tgtEl>
                                            <p:attrNameLst>
                                              <p:attrName>ppt_h</p:attrName>
                                            </p:attrNameLst>
                                          </p:cBhvr>
                                          <p:tavLst>
                                            <p:tav tm="0">
                                              <p:val>
                                                <p:fltVal val="0"/>
                                              </p:val>
                                            </p:tav>
                                            <p:tav tm="100000">
                                              <p:val>
                                                <p:strVal val="#ppt_h"/>
                                              </p:val>
                                            </p:tav>
                                          </p:tavLst>
                                        </p:anim>
                                        <p:animEffect transition="in" filter="fade">
                                          <p:cBhvr>
                                            <p:cTn id="104" dur="250"/>
                                            <p:tgtEl>
                                              <p:spTgt spid="90"/>
                                            </p:tgtEl>
                                          </p:cBhvr>
                                        </p:animEffect>
                                      </p:childTnLst>
                                    </p:cTn>
                                  </p:par>
                                  <p:par>
                                    <p:cTn id="105" presetID="22" presetClass="entr" presetSubtype="8" fill="hold" nodeType="withEffect">
                                      <p:stCondLst>
                                        <p:cond delay="0"/>
                                      </p:stCondLst>
                                      <p:childTnLst>
                                        <p:set>
                                          <p:cBhvr>
                                            <p:cTn id="106" dur="1" fill="hold">
                                              <p:stCondLst>
                                                <p:cond delay="0"/>
                                              </p:stCondLst>
                                            </p:cTn>
                                            <p:tgtEl>
                                              <p:spTgt spid="64"/>
                                            </p:tgtEl>
                                            <p:attrNameLst>
                                              <p:attrName>style.visibility</p:attrName>
                                            </p:attrNameLst>
                                          </p:cBhvr>
                                          <p:to>
                                            <p:strVal val="visible"/>
                                          </p:to>
                                        </p:set>
                                        <p:animEffect transition="in" filter="wipe(left)">
                                          <p:cBhvr>
                                            <p:cTn id="107" dur="500"/>
                                            <p:tgtEl>
                                              <p:spTgt spid="64"/>
                                            </p:tgtEl>
                                          </p:cBhvr>
                                        </p:animEffect>
                                      </p:childTnLst>
                                    </p:cTn>
                                  </p:par>
                                </p:childTnLst>
                              </p:cTn>
                            </p:par>
                            <p:par>
                              <p:cTn id="108" fill="hold">
                                <p:stCondLst>
                                  <p:cond delay="500"/>
                                </p:stCondLst>
                                <p:childTnLst>
                                  <p:par>
                                    <p:cTn id="109" presetID="2" presetClass="entr" presetSubtype="2" fill="hold" nodeType="afterEffect">
                                      <p:stCondLst>
                                        <p:cond delay="0"/>
                                      </p:stCondLst>
                                      <p:childTnLst>
                                        <p:set>
                                          <p:cBhvr>
                                            <p:cTn id="110" dur="1" fill="hold">
                                              <p:stCondLst>
                                                <p:cond delay="0"/>
                                              </p:stCondLst>
                                            </p:cTn>
                                            <p:tgtEl>
                                              <p:spTgt spid="21"/>
                                            </p:tgtEl>
                                            <p:attrNameLst>
                                              <p:attrName>style.visibility</p:attrName>
                                            </p:attrNameLst>
                                          </p:cBhvr>
                                          <p:to>
                                            <p:strVal val="visible"/>
                                          </p:to>
                                        </p:set>
                                        <p:anim calcmode="lin" valueType="num">
                                          <p:cBhvr additive="base">
                                            <p:cTn id="111" dur="500" fill="hold"/>
                                            <p:tgtEl>
                                              <p:spTgt spid="21"/>
                                            </p:tgtEl>
                                            <p:attrNameLst>
                                              <p:attrName>ppt_x</p:attrName>
                                            </p:attrNameLst>
                                          </p:cBhvr>
                                          <p:tavLst>
                                            <p:tav tm="0">
                                              <p:val>
                                                <p:strVal val="1+#ppt_w/2"/>
                                              </p:val>
                                            </p:tav>
                                            <p:tav tm="100000">
                                              <p:val>
                                                <p:strVal val="#ppt_x"/>
                                              </p:val>
                                            </p:tav>
                                          </p:tavLst>
                                        </p:anim>
                                        <p:anim calcmode="lin" valueType="num">
                                          <p:cBhvr additive="base">
                                            <p:cTn id="112" dur="500" fill="hold"/>
                                            <p:tgtEl>
                                              <p:spTgt spid="21"/>
                                            </p:tgtEl>
                                            <p:attrNameLst>
                                              <p:attrName>ppt_y</p:attrName>
                                            </p:attrNameLst>
                                          </p:cBhvr>
                                          <p:tavLst>
                                            <p:tav tm="0">
                                              <p:val>
                                                <p:strVal val="#ppt_y"/>
                                              </p:val>
                                            </p:tav>
                                            <p:tav tm="100000">
                                              <p:val>
                                                <p:strVal val="#ppt_y"/>
                                              </p:val>
                                            </p:tav>
                                          </p:tavLst>
                                        </p:anim>
                                      </p:childTnLst>
                                    </p:cTn>
                                  </p:par>
                                  <p:par>
                                    <p:cTn id="113" presetID="22" presetClass="entr" presetSubtype="8" fill="hold" grpId="0" nodeType="withEffect">
                                      <p:stCondLst>
                                        <p:cond delay="250"/>
                                      </p:stCondLst>
                                      <p:childTnLst>
                                        <p:set>
                                          <p:cBhvr>
                                            <p:cTn id="114" dur="1" fill="hold">
                                              <p:stCondLst>
                                                <p:cond delay="0"/>
                                              </p:stCondLst>
                                            </p:cTn>
                                            <p:tgtEl>
                                              <p:spTgt spid="27"/>
                                            </p:tgtEl>
                                            <p:attrNameLst>
                                              <p:attrName>style.visibility</p:attrName>
                                            </p:attrNameLst>
                                          </p:cBhvr>
                                          <p:to>
                                            <p:strVal val="visible"/>
                                          </p:to>
                                        </p:set>
                                        <p:animEffect transition="in" filter="wipe(left)">
                                          <p:cBhvr>
                                            <p:cTn id="115" dur="500"/>
                                            <p:tgtEl>
                                              <p:spTgt spid="27"/>
                                            </p:tgtEl>
                                          </p:cBhvr>
                                        </p:animEffect>
                                      </p:childTnLst>
                                    </p:cTn>
                                  </p:par>
                                  <p:par>
                                    <p:cTn id="116" presetID="10" presetClass="entr" presetSubtype="0" fill="hold" nodeType="withEffect">
                                      <p:stCondLst>
                                        <p:cond delay="0"/>
                                      </p:stCondLst>
                                      <p:childTnLst>
                                        <p:set>
                                          <p:cBhvr>
                                            <p:cTn id="117" dur="1" fill="hold">
                                              <p:stCondLst>
                                                <p:cond delay="0"/>
                                              </p:stCondLst>
                                            </p:cTn>
                                            <p:tgtEl>
                                              <p:spTgt spid="43"/>
                                            </p:tgtEl>
                                            <p:attrNameLst>
                                              <p:attrName>style.visibility</p:attrName>
                                            </p:attrNameLst>
                                          </p:cBhvr>
                                          <p:to>
                                            <p:strVal val="visible"/>
                                          </p:to>
                                        </p:set>
                                        <p:animEffect transition="in" filter="fade">
                                          <p:cBhvr>
                                            <p:cTn id="118" dur="500"/>
                                            <p:tgtEl>
                                              <p:spTgt spid="43"/>
                                            </p:tgtEl>
                                          </p:cBhvr>
                                        </p:animEffect>
                                      </p:childTnLst>
                                    </p:cTn>
                                  </p:par>
                                </p:childTnLst>
                              </p:cTn>
                            </p:par>
                          </p:childTnLst>
                        </p:cTn>
                      </p:par>
                      <p:par>
                        <p:cTn id="119" fill="hold">
                          <p:stCondLst>
                            <p:cond delay="indefinite"/>
                          </p:stCondLst>
                          <p:childTnLst>
                            <p:par>
                              <p:cTn id="120" fill="hold">
                                <p:stCondLst>
                                  <p:cond delay="0"/>
                                </p:stCondLst>
                                <p:childTnLst>
                                  <p:par>
                                    <p:cTn id="121" presetID="53" presetClass="entr" presetSubtype="16" fill="hold" grpId="0" nodeType="clickEffect">
                                      <p:stCondLst>
                                        <p:cond delay="0"/>
                                      </p:stCondLst>
                                      <p:childTnLst>
                                        <p:set>
                                          <p:cBhvr>
                                            <p:cTn id="122" dur="1" fill="hold">
                                              <p:stCondLst>
                                                <p:cond delay="0"/>
                                              </p:stCondLst>
                                            </p:cTn>
                                            <p:tgtEl>
                                              <p:spTgt spid="91"/>
                                            </p:tgtEl>
                                            <p:attrNameLst>
                                              <p:attrName>style.visibility</p:attrName>
                                            </p:attrNameLst>
                                          </p:cBhvr>
                                          <p:to>
                                            <p:strVal val="visible"/>
                                          </p:to>
                                        </p:set>
                                        <p:anim calcmode="lin" valueType="num">
                                          <p:cBhvr>
                                            <p:cTn id="123" dur="250" fill="hold"/>
                                            <p:tgtEl>
                                              <p:spTgt spid="91"/>
                                            </p:tgtEl>
                                            <p:attrNameLst>
                                              <p:attrName>ppt_w</p:attrName>
                                            </p:attrNameLst>
                                          </p:cBhvr>
                                          <p:tavLst>
                                            <p:tav tm="0">
                                              <p:val>
                                                <p:fltVal val="0"/>
                                              </p:val>
                                            </p:tav>
                                            <p:tav tm="100000">
                                              <p:val>
                                                <p:strVal val="#ppt_w"/>
                                              </p:val>
                                            </p:tav>
                                          </p:tavLst>
                                        </p:anim>
                                        <p:anim calcmode="lin" valueType="num">
                                          <p:cBhvr>
                                            <p:cTn id="124" dur="250" fill="hold"/>
                                            <p:tgtEl>
                                              <p:spTgt spid="91"/>
                                            </p:tgtEl>
                                            <p:attrNameLst>
                                              <p:attrName>ppt_h</p:attrName>
                                            </p:attrNameLst>
                                          </p:cBhvr>
                                          <p:tavLst>
                                            <p:tav tm="0">
                                              <p:val>
                                                <p:fltVal val="0"/>
                                              </p:val>
                                            </p:tav>
                                            <p:tav tm="100000">
                                              <p:val>
                                                <p:strVal val="#ppt_h"/>
                                              </p:val>
                                            </p:tav>
                                          </p:tavLst>
                                        </p:anim>
                                        <p:animEffect transition="in" filter="fade">
                                          <p:cBhvr>
                                            <p:cTn id="125" dur="250"/>
                                            <p:tgtEl>
                                              <p:spTgt spid="91"/>
                                            </p:tgtEl>
                                          </p:cBhvr>
                                        </p:animEffect>
                                      </p:childTnLst>
                                    </p:cTn>
                                  </p:par>
                                  <p:par>
                                    <p:cTn id="126" presetID="22" presetClass="entr" presetSubtype="8" fill="hold" nodeType="withEffect">
                                      <p:stCondLst>
                                        <p:cond delay="0"/>
                                      </p:stCondLst>
                                      <p:childTnLst>
                                        <p:set>
                                          <p:cBhvr>
                                            <p:cTn id="127" dur="1" fill="hold">
                                              <p:stCondLst>
                                                <p:cond delay="0"/>
                                              </p:stCondLst>
                                            </p:cTn>
                                            <p:tgtEl>
                                              <p:spTgt spid="65"/>
                                            </p:tgtEl>
                                            <p:attrNameLst>
                                              <p:attrName>style.visibility</p:attrName>
                                            </p:attrNameLst>
                                          </p:cBhvr>
                                          <p:to>
                                            <p:strVal val="visible"/>
                                          </p:to>
                                        </p:set>
                                        <p:animEffect transition="in" filter="wipe(left)">
                                          <p:cBhvr>
                                            <p:cTn id="128" dur="500"/>
                                            <p:tgtEl>
                                              <p:spTgt spid="65"/>
                                            </p:tgtEl>
                                          </p:cBhvr>
                                        </p:animEffect>
                                      </p:childTnLst>
                                    </p:cTn>
                                  </p:par>
                                </p:childTnLst>
                              </p:cTn>
                            </p:par>
                            <p:par>
                              <p:cTn id="129" fill="hold">
                                <p:stCondLst>
                                  <p:cond delay="500"/>
                                </p:stCondLst>
                                <p:childTnLst>
                                  <p:par>
                                    <p:cTn id="130" presetID="2" presetClass="entr" presetSubtype="2" fill="hold" nodeType="afterEffect">
                                      <p:stCondLst>
                                        <p:cond delay="0"/>
                                      </p:stCondLst>
                                      <p:childTnLst>
                                        <p:set>
                                          <p:cBhvr>
                                            <p:cTn id="131" dur="1" fill="hold">
                                              <p:stCondLst>
                                                <p:cond delay="0"/>
                                              </p:stCondLst>
                                            </p:cTn>
                                            <p:tgtEl>
                                              <p:spTgt spid="211"/>
                                            </p:tgtEl>
                                            <p:attrNameLst>
                                              <p:attrName>style.visibility</p:attrName>
                                            </p:attrNameLst>
                                          </p:cBhvr>
                                          <p:to>
                                            <p:strVal val="visible"/>
                                          </p:to>
                                        </p:set>
                                        <p:anim calcmode="lin" valueType="num">
                                          <p:cBhvr additive="base">
                                            <p:cTn id="132" dur="500" fill="hold"/>
                                            <p:tgtEl>
                                              <p:spTgt spid="211"/>
                                            </p:tgtEl>
                                            <p:attrNameLst>
                                              <p:attrName>ppt_x</p:attrName>
                                            </p:attrNameLst>
                                          </p:cBhvr>
                                          <p:tavLst>
                                            <p:tav tm="0">
                                              <p:val>
                                                <p:strVal val="1+#ppt_w/2"/>
                                              </p:val>
                                            </p:tav>
                                            <p:tav tm="100000">
                                              <p:val>
                                                <p:strVal val="#ppt_x"/>
                                              </p:val>
                                            </p:tav>
                                          </p:tavLst>
                                        </p:anim>
                                        <p:anim calcmode="lin" valueType="num">
                                          <p:cBhvr additive="base">
                                            <p:cTn id="133" dur="500" fill="hold"/>
                                            <p:tgtEl>
                                              <p:spTgt spid="211"/>
                                            </p:tgtEl>
                                            <p:attrNameLst>
                                              <p:attrName>ppt_y</p:attrName>
                                            </p:attrNameLst>
                                          </p:cBhvr>
                                          <p:tavLst>
                                            <p:tav tm="0">
                                              <p:val>
                                                <p:strVal val="#ppt_y"/>
                                              </p:val>
                                            </p:tav>
                                            <p:tav tm="100000">
                                              <p:val>
                                                <p:strVal val="#ppt_y"/>
                                              </p:val>
                                            </p:tav>
                                          </p:tavLst>
                                        </p:anim>
                                      </p:childTnLst>
                                    </p:cTn>
                                  </p:par>
                                  <p:par>
                                    <p:cTn id="134" presetID="22" presetClass="entr" presetSubtype="8" fill="hold" grpId="0" nodeType="withEffect">
                                      <p:stCondLst>
                                        <p:cond delay="0"/>
                                      </p:stCondLst>
                                      <p:childTnLst>
                                        <p:set>
                                          <p:cBhvr>
                                            <p:cTn id="135" dur="1" fill="hold">
                                              <p:stCondLst>
                                                <p:cond delay="0"/>
                                              </p:stCondLst>
                                            </p:cTn>
                                            <p:tgtEl>
                                              <p:spTgt spid="23"/>
                                            </p:tgtEl>
                                            <p:attrNameLst>
                                              <p:attrName>style.visibility</p:attrName>
                                            </p:attrNameLst>
                                          </p:cBhvr>
                                          <p:to>
                                            <p:strVal val="visible"/>
                                          </p:to>
                                        </p:set>
                                        <p:animEffect transition="in" filter="wipe(left)">
                                          <p:cBhvr>
                                            <p:cTn id="136" dur="500"/>
                                            <p:tgtEl>
                                              <p:spTgt spid="23"/>
                                            </p:tgtEl>
                                          </p:cBhvr>
                                        </p:animEffect>
                                      </p:childTnLst>
                                    </p:cTn>
                                  </p:par>
                                  <p:par>
                                    <p:cTn id="137" presetID="10" presetClass="entr" presetSubtype="0" fill="hold" nodeType="withEffect">
                                      <p:stCondLst>
                                        <p:cond delay="250"/>
                                      </p:stCondLst>
                                      <p:childTnLst>
                                        <p:set>
                                          <p:cBhvr>
                                            <p:cTn id="138" dur="1" fill="hold">
                                              <p:stCondLst>
                                                <p:cond delay="0"/>
                                              </p:stCondLst>
                                            </p:cTn>
                                            <p:tgtEl>
                                              <p:spTgt spid="86"/>
                                            </p:tgtEl>
                                            <p:attrNameLst>
                                              <p:attrName>style.visibility</p:attrName>
                                            </p:attrNameLst>
                                          </p:cBhvr>
                                          <p:to>
                                            <p:strVal val="visible"/>
                                          </p:to>
                                        </p:set>
                                        <p:animEffect transition="in" filter="fade">
                                          <p:cBhvr>
                                            <p:cTn id="139" dur="500"/>
                                            <p:tgtEl>
                                              <p:spTgt spid="86"/>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nodeType="clickEffect">
                                      <p:stCondLst>
                                        <p:cond delay="0"/>
                                      </p:stCondLst>
                                      <p:childTnLst>
                                        <p:set>
                                          <p:cBhvr>
                                            <p:cTn id="143" dur="1" fill="hold">
                                              <p:stCondLst>
                                                <p:cond delay="0"/>
                                              </p:stCondLst>
                                            </p:cTn>
                                            <p:tgtEl>
                                              <p:spTgt spid="32"/>
                                            </p:tgtEl>
                                            <p:attrNameLst>
                                              <p:attrName>style.visibility</p:attrName>
                                            </p:attrNameLst>
                                          </p:cBhvr>
                                          <p:to>
                                            <p:strVal val="visible"/>
                                          </p:to>
                                        </p:set>
                                        <p:animEffect transition="in" filter="fade">
                                          <p:cBhvr>
                                            <p:cTn id="144" dur="500"/>
                                            <p:tgtEl>
                                              <p:spTgt spid="32"/>
                                            </p:tgtEl>
                                          </p:cBhvr>
                                        </p:animEffect>
                                      </p:childTnLst>
                                    </p:cTn>
                                  </p:par>
                                  <p:par>
                                    <p:cTn id="145" presetID="10" presetClass="entr" presetSubtype="0" fill="hold" nodeType="withEffect">
                                      <p:stCondLst>
                                        <p:cond delay="0"/>
                                      </p:stCondLst>
                                      <p:childTnLst>
                                        <p:set>
                                          <p:cBhvr>
                                            <p:cTn id="146" dur="1" fill="hold">
                                              <p:stCondLst>
                                                <p:cond delay="0"/>
                                              </p:stCondLst>
                                            </p:cTn>
                                            <p:tgtEl>
                                              <p:spTgt spid="21"/>
                                            </p:tgtEl>
                                            <p:attrNameLst>
                                              <p:attrName>style.visibility</p:attrName>
                                            </p:attrNameLst>
                                          </p:cBhvr>
                                          <p:to>
                                            <p:strVal val="visible"/>
                                          </p:to>
                                        </p:set>
                                        <p:animEffect transition="in" filter="fade">
                                          <p:cBhvr>
                                            <p:cTn id="147" dur="500"/>
                                            <p:tgtEl>
                                              <p:spTgt spid="21"/>
                                            </p:tgtEl>
                                          </p:cBhvr>
                                        </p:animEffect>
                                      </p:childTnLst>
                                    </p:cTn>
                                  </p:par>
                                  <p:par>
                                    <p:cTn id="148" presetID="10" presetClass="entr" presetSubtype="0" fill="hold" nodeType="withEffect">
                                      <p:stCondLst>
                                        <p:cond delay="0"/>
                                      </p:stCondLst>
                                      <p:childTnLst>
                                        <p:set>
                                          <p:cBhvr>
                                            <p:cTn id="149" dur="1" fill="hold">
                                              <p:stCondLst>
                                                <p:cond delay="0"/>
                                              </p:stCondLst>
                                            </p:cTn>
                                            <p:tgtEl>
                                              <p:spTgt spid="211"/>
                                            </p:tgtEl>
                                            <p:attrNameLst>
                                              <p:attrName>style.visibility</p:attrName>
                                            </p:attrNameLst>
                                          </p:cBhvr>
                                          <p:to>
                                            <p:strVal val="visible"/>
                                          </p:to>
                                        </p:set>
                                        <p:animEffect transition="in" filter="fade">
                                          <p:cBhvr>
                                            <p:cTn id="150" dur="50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Lst>
      </p:timing>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斜纹 13"/>
          <p:cNvSpPr/>
          <p:nvPr/>
        </p:nvSpPr>
        <p:spPr>
          <a:xfrm rot="13500000" flipH="1" flipV="1">
            <a:off x="6129090" y="2661776"/>
            <a:ext cx="3442731" cy="3442730"/>
          </a:xfrm>
          <a:prstGeom prst="diagStripe">
            <a:avLst>
              <a:gd name="adj" fmla="val 7760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5" name="同心圆 2"/>
          <p:cNvSpPr/>
          <p:nvPr/>
        </p:nvSpPr>
        <p:spPr>
          <a:xfrm>
            <a:off x="4281714" y="1888933"/>
            <a:ext cx="3628572" cy="3628570"/>
          </a:xfrm>
          <a:prstGeom prst="donut">
            <a:avLst>
              <a:gd name="adj" fmla="val 12506"/>
            </a:avLst>
          </a:prstGeom>
          <a:solidFill>
            <a:schemeClr val="bg1">
              <a:lumMod val="9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400" dirty="0">
              <a:solidFill>
                <a:schemeClr val="tx1"/>
              </a:solidFill>
              <a:latin typeface="+mj-lt"/>
            </a:endParaRPr>
          </a:p>
        </p:txBody>
      </p:sp>
      <p:sp>
        <p:nvSpPr>
          <p:cNvPr id="6" name="矩形 6"/>
          <p:cNvSpPr/>
          <p:nvPr/>
        </p:nvSpPr>
        <p:spPr>
          <a:xfrm>
            <a:off x="8122904" y="1520624"/>
            <a:ext cx="3542047" cy="1436291"/>
          </a:xfrm>
          <a:prstGeom prst="rect">
            <a:avLst/>
          </a:prstGeom>
        </p:spPr>
        <p:txBody>
          <a:bodyPr wrap="square">
            <a:spAutoFit/>
          </a:bodyPr>
          <a:lstStyle/>
          <a:p>
            <a:r>
              <a:rPr lang="en-US" altLang="zh-CN" sz="3600" b="1" dirty="0">
                <a:latin typeface="+mj-lt"/>
              </a:rPr>
              <a:t>Text</a:t>
            </a:r>
          </a:p>
          <a:p>
            <a:r>
              <a:rPr lang="en-US" altLang="zh-CN" sz="2400" dirty="0"/>
              <a:t>This is dummy text it is not here to be read this</a:t>
            </a:r>
          </a:p>
        </p:txBody>
      </p:sp>
      <p:sp>
        <p:nvSpPr>
          <p:cNvPr id="7" name="矩形 11"/>
          <p:cNvSpPr/>
          <p:nvPr/>
        </p:nvSpPr>
        <p:spPr>
          <a:xfrm flipH="1">
            <a:off x="527048" y="3599808"/>
            <a:ext cx="3538648" cy="1436291"/>
          </a:xfrm>
          <a:prstGeom prst="rect">
            <a:avLst/>
          </a:prstGeom>
        </p:spPr>
        <p:txBody>
          <a:bodyPr wrap="square">
            <a:spAutoFit/>
          </a:bodyPr>
          <a:lstStyle/>
          <a:p>
            <a:pPr algn="r"/>
            <a:r>
              <a:rPr lang="en-US" altLang="zh-CN" sz="3600" b="1" dirty="0"/>
              <a:t>Text</a:t>
            </a:r>
          </a:p>
          <a:p>
            <a:pPr algn="r"/>
            <a:r>
              <a:rPr lang="en-US" altLang="zh-CN" sz="2400" dirty="0"/>
              <a:t>This is dummy text it is not here to be read this</a:t>
            </a:r>
          </a:p>
        </p:txBody>
      </p:sp>
      <p:sp>
        <p:nvSpPr>
          <p:cNvPr id="8" name="斜纹 3"/>
          <p:cNvSpPr/>
          <p:nvPr/>
        </p:nvSpPr>
        <p:spPr>
          <a:xfrm rot="13500000">
            <a:off x="2620179" y="1301930"/>
            <a:ext cx="3442731" cy="3442730"/>
          </a:xfrm>
          <a:prstGeom prst="diagStripe">
            <a:avLst>
              <a:gd name="adj" fmla="val 77605"/>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9" name="矩形 19"/>
          <p:cNvSpPr/>
          <p:nvPr/>
        </p:nvSpPr>
        <p:spPr>
          <a:xfrm>
            <a:off x="5138403" y="3278038"/>
            <a:ext cx="1922798" cy="769441"/>
          </a:xfrm>
          <a:prstGeom prst="rect">
            <a:avLst/>
          </a:prstGeom>
        </p:spPr>
        <p:txBody>
          <a:bodyPr wrap="square">
            <a:spAutoFit/>
          </a:bodyPr>
          <a:lstStyle/>
          <a:p>
            <a:pPr algn="ctr"/>
            <a:r>
              <a:rPr lang="en-US" altLang="zh-CN" sz="4400" b="1" dirty="0">
                <a:latin typeface="+mj-lt"/>
              </a:rPr>
              <a:t>Text</a:t>
            </a:r>
            <a:endParaRPr lang="en-US" altLang="zh-CN" sz="2400" b="1" dirty="0">
              <a:latin typeface="+mj-lt"/>
            </a:endParaRPr>
          </a:p>
        </p:txBody>
      </p:sp>
    </p:spTree>
    <p:custDataLst>
      <p:tags r:id="rId1"/>
    </p:custDataLst>
    <p:extLst>
      <p:ext uri="{BB962C8B-B14F-4D97-AF65-F5344CB8AC3E}">
        <p14:creationId xmlns:p14="http://schemas.microsoft.com/office/powerpoint/2010/main" val="399126746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10"/>
          <p:cNvSpPr/>
          <p:nvPr/>
        </p:nvSpPr>
        <p:spPr>
          <a:xfrm>
            <a:off x="3835375" y="2603499"/>
            <a:ext cx="2771952" cy="2723040"/>
          </a:xfrm>
          <a:custGeom>
            <a:avLst/>
            <a:gdLst>
              <a:gd name="connsiteX0" fmla="*/ 1550731 w 1550731"/>
              <a:gd name="connsiteY0" fmla="*/ 761202 h 1523369"/>
              <a:gd name="connsiteX1" fmla="*/ 1550684 w 1550731"/>
              <a:gd name="connsiteY1" fmla="*/ 761690 h 1523369"/>
              <a:gd name="connsiteX2" fmla="*/ 1550730 w 1550731"/>
              <a:gd name="connsiteY2" fmla="*/ 762168 h 1523369"/>
              <a:gd name="connsiteX3" fmla="*/ 1476913 w 1550731"/>
              <a:gd name="connsiteY3" fmla="*/ 940378 h 1523369"/>
              <a:gd name="connsiteX4" fmla="*/ 967739 w 1550731"/>
              <a:gd name="connsiteY4" fmla="*/ 1449552 h 1523369"/>
              <a:gd name="connsiteX5" fmla="*/ 611318 w 1550731"/>
              <a:gd name="connsiteY5" fmla="*/ 1449552 h 1523369"/>
              <a:gd name="connsiteX6" fmla="*/ 611318 w 1550731"/>
              <a:gd name="connsiteY6" fmla="*/ 1093130 h 1523369"/>
              <a:gd name="connsiteX7" fmla="*/ 687694 w 1550731"/>
              <a:gd name="connsiteY7" fmla="*/ 1016754 h 1523369"/>
              <a:gd name="connsiteX8" fmla="*/ 252028 w 1550731"/>
              <a:gd name="connsiteY8" fmla="*/ 1016754 h 1523369"/>
              <a:gd name="connsiteX9" fmla="*/ 0 w 1550731"/>
              <a:gd name="connsiteY9" fmla="*/ 764726 h 1523369"/>
              <a:gd name="connsiteX10" fmla="*/ 252028 w 1550731"/>
              <a:gd name="connsiteY10" fmla="*/ 512698 h 1523369"/>
              <a:gd name="connsiteX11" fmla="*/ 693779 w 1550731"/>
              <a:gd name="connsiteY11" fmla="*/ 512698 h 1523369"/>
              <a:gd name="connsiteX12" fmla="*/ 611319 w 1550731"/>
              <a:gd name="connsiteY12" fmla="*/ 430238 h 1523369"/>
              <a:gd name="connsiteX13" fmla="*/ 611319 w 1550731"/>
              <a:gd name="connsiteY13" fmla="*/ 73817 h 1523369"/>
              <a:gd name="connsiteX14" fmla="*/ 967741 w 1550731"/>
              <a:gd name="connsiteY14" fmla="*/ 73817 h 1523369"/>
              <a:gd name="connsiteX15" fmla="*/ 1476914 w 1550731"/>
              <a:gd name="connsiteY15" fmla="*/ 582991 h 1523369"/>
              <a:gd name="connsiteX16" fmla="*/ 1550731 w 1550731"/>
              <a:gd name="connsiteY16" fmla="*/ 761202 h 152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0731" h="1523369">
                <a:moveTo>
                  <a:pt x="1550731" y="761202"/>
                </a:moveTo>
                <a:lnTo>
                  <a:pt x="1550684" y="761690"/>
                </a:lnTo>
                <a:lnTo>
                  <a:pt x="1550730" y="762168"/>
                </a:lnTo>
                <a:cubicBezTo>
                  <a:pt x="1550730" y="826667"/>
                  <a:pt x="1526124" y="891167"/>
                  <a:pt x="1476913" y="940378"/>
                </a:cubicBezTo>
                <a:lnTo>
                  <a:pt x="967739" y="1449552"/>
                </a:lnTo>
                <a:cubicBezTo>
                  <a:pt x="869316" y="1547975"/>
                  <a:pt x="709741" y="1547975"/>
                  <a:pt x="611318" y="1449552"/>
                </a:cubicBezTo>
                <a:cubicBezTo>
                  <a:pt x="512895" y="1351129"/>
                  <a:pt x="512895" y="1191553"/>
                  <a:pt x="611318" y="1093130"/>
                </a:cubicBezTo>
                <a:lnTo>
                  <a:pt x="687694" y="1016754"/>
                </a:lnTo>
                <a:lnTo>
                  <a:pt x="252028" y="1016754"/>
                </a:lnTo>
                <a:cubicBezTo>
                  <a:pt x="112837" y="1016754"/>
                  <a:pt x="0" y="903917"/>
                  <a:pt x="0" y="764726"/>
                </a:cubicBezTo>
                <a:cubicBezTo>
                  <a:pt x="0" y="625535"/>
                  <a:pt x="112837" y="512698"/>
                  <a:pt x="252028" y="512698"/>
                </a:cubicBezTo>
                <a:lnTo>
                  <a:pt x="693779" y="512698"/>
                </a:lnTo>
                <a:lnTo>
                  <a:pt x="611319" y="430238"/>
                </a:lnTo>
                <a:cubicBezTo>
                  <a:pt x="512896" y="331815"/>
                  <a:pt x="512896" y="172240"/>
                  <a:pt x="611319" y="73817"/>
                </a:cubicBezTo>
                <a:cubicBezTo>
                  <a:pt x="709742" y="-24606"/>
                  <a:pt x="869318" y="-24606"/>
                  <a:pt x="967741" y="73817"/>
                </a:cubicBezTo>
                <a:lnTo>
                  <a:pt x="1476914" y="582991"/>
                </a:lnTo>
                <a:cubicBezTo>
                  <a:pt x="1526125" y="632202"/>
                  <a:pt x="1550731" y="696702"/>
                  <a:pt x="1550731" y="761202"/>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5" name="矩形 15"/>
          <p:cNvSpPr/>
          <p:nvPr/>
        </p:nvSpPr>
        <p:spPr>
          <a:xfrm>
            <a:off x="349058" y="3136812"/>
            <a:ext cx="3408710" cy="1261884"/>
          </a:xfrm>
          <a:prstGeom prst="rect">
            <a:avLst/>
          </a:prstGeom>
        </p:spPr>
        <p:txBody>
          <a:bodyPr wrap="square">
            <a:spAutoFit/>
          </a:bodyPr>
          <a:lstStyle/>
          <a:p>
            <a:pPr algn="r"/>
            <a:r>
              <a:rPr lang="en-US" altLang="zh-CN" sz="3600" b="1" dirty="0">
                <a:latin typeface="+mj-lt"/>
              </a:rPr>
              <a:t>Text</a:t>
            </a:r>
            <a:endParaRPr lang="en-US" altLang="zh-CN" sz="3200" b="1" dirty="0">
              <a:latin typeface="+mj-lt"/>
            </a:endParaRPr>
          </a:p>
          <a:p>
            <a:pPr algn="r"/>
            <a:r>
              <a:rPr lang="en-US" altLang="zh-CN" sz="2000" dirty="0"/>
              <a:t>This is dummy text it is not here to be read this</a:t>
            </a:r>
          </a:p>
        </p:txBody>
      </p:sp>
      <p:sp>
        <p:nvSpPr>
          <p:cNvPr id="6" name="矩形 17"/>
          <p:cNvSpPr/>
          <p:nvPr/>
        </p:nvSpPr>
        <p:spPr>
          <a:xfrm>
            <a:off x="4177410" y="3703409"/>
            <a:ext cx="797206" cy="523220"/>
          </a:xfrm>
          <a:prstGeom prst="rect">
            <a:avLst/>
          </a:prstGeom>
        </p:spPr>
        <p:txBody>
          <a:bodyPr wrap="none" anchor="ctr">
            <a:spAutoFit/>
          </a:bodyPr>
          <a:lstStyle/>
          <a:p>
            <a:pPr algn="ctr"/>
            <a:r>
              <a:rPr lang="en-US" altLang="zh-CN" sz="2800" b="1" dirty="0">
                <a:solidFill>
                  <a:schemeClr val="bg1"/>
                </a:solidFill>
                <a:latin typeface="+mj-lt"/>
              </a:rPr>
              <a:t>Text</a:t>
            </a:r>
            <a:endParaRPr lang="en-US" altLang="zh-CN" sz="1400" b="1" dirty="0">
              <a:solidFill>
                <a:schemeClr val="bg1"/>
              </a:solidFill>
              <a:latin typeface="+mj-lt"/>
            </a:endParaRPr>
          </a:p>
        </p:txBody>
      </p:sp>
      <p:sp>
        <p:nvSpPr>
          <p:cNvPr id="7" name="任意多边形 11"/>
          <p:cNvSpPr/>
          <p:nvPr/>
        </p:nvSpPr>
        <p:spPr>
          <a:xfrm rot="10800000">
            <a:off x="6005513" y="1714500"/>
            <a:ext cx="2240845" cy="2201305"/>
          </a:xfrm>
          <a:custGeom>
            <a:avLst/>
            <a:gdLst>
              <a:gd name="connsiteX0" fmla="*/ 1550731 w 1550731"/>
              <a:gd name="connsiteY0" fmla="*/ 761202 h 1523369"/>
              <a:gd name="connsiteX1" fmla="*/ 1550684 w 1550731"/>
              <a:gd name="connsiteY1" fmla="*/ 761690 h 1523369"/>
              <a:gd name="connsiteX2" fmla="*/ 1550730 w 1550731"/>
              <a:gd name="connsiteY2" fmla="*/ 762168 h 1523369"/>
              <a:gd name="connsiteX3" fmla="*/ 1476913 w 1550731"/>
              <a:gd name="connsiteY3" fmla="*/ 940378 h 1523369"/>
              <a:gd name="connsiteX4" fmla="*/ 967739 w 1550731"/>
              <a:gd name="connsiteY4" fmla="*/ 1449552 h 1523369"/>
              <a:gd name="connsiteX5" fmla="*/ 611318 w 1550731"/>
              <a:gd name="connsiteY5" fmla="*/ 1449552 h 1523369"/>
              <a:gd name="connsiteX6" fmla="*/ 611318 w 1550731"/>
              <a:gd name="connsiteY6" fmla="*/ 1093130 h 1523369"/>
              <a:gd name="connsiteX7" fmla="*/ 687694 w 1550731"/>
              <a:gd name="connsiteY7" fmla="*/ 1016754 h 1523369"/>
              <a:gd name="connsiteX8" fmla="*/ 252028 w 1550731"/>
              <a:gd name="connsiteY8" fmla="*/ 1016754 h 1523369"/>
              <a:gd name="connsiteX9" fmla="*/ 0 w 1550731"/>
              <a:gd name="connsiteY9" fmla="*/ 764726 h 1523369"/>
              <a:gd name="connsiteX10" fmla="*/ 252028 w 1550731"/>
              <a:gd name="connsiteY10" fmla="*/ 512698 h 1523369"/>
              <a:gd name="connsiteX11" fmla="*/ 693779 w 1550731"/>
              <a:gd name="connsiteY11" fmla="*/ 512698 h 1523369"/>
              <a:gd name="connsiteX12" fmla="*/ 611319 w 1550731"/>
              <a:gd name="connsiteY12" fmla="*/ 430238 h 1523369"/>
              <a:gd name="connsiteX13" fmla="*/ 611319 w 1550731"/>
              <a:gd name="connsiteY13" fmla="*/ 73817 h 1523369"/>
              <a:gd name="connsiteX14" fmla="*/ 967741 w 1550731"/>
              <a:gd name="connsiteY14" fmla="*/ 73817 h 1523369"/>
              <a:gd name="connsiteX15" fmla="*/ 1476914 w 1550731"/>
              <a:gd name="connsiteY15" fmla="*/ 582991 h 1523369"/>
              <a:gd name="connsiteX16" fmla="*/ 1550731 w 1550731"/>
              <a:gd name="connsiteY16" fmla="*/ 761202 h 152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0731" h="1523369">
                <a:moveTo>
                  <a:pt x="1550731" y="761202"/>
                </a:moveTo>
                <a:lnTo>
                  <a:pt x="1550684" y="761690"/>
                </a:lnTo>
                <a:lnTo>
                  <a:pt x="1550730" y="762168"/>
                </a:lnTo>
                <a:cubicBezTo>
                  <a:pt x="1550730" y="826667"/>
                  <a:pt x="1526124" y="891167"/>
                  <a:pt x="1476913" y="940378"/>
                </a:cubicBezTo>
                <a:lnTo>
                  <a:pt x="967739" y="1449552"/>
                </a:lnTo>
                <a:cubicBezTo>
                  <a:pt x="869316" y="1547975"/>
                  <a:pt x="709741" y="1547975"/>
                  <a:pt x="611318" y="1449552"/>
                </a:cubicBezTo>
                <a:cubicBezTo>
                  <a:pt x="512895" y="1351129"/>
                  <a:pt x="512895" y="1191553"/>
                  <a:pt x="611318" y="1093130"/>
                </a:cubicBezTo>
                <a:lnTo>
                  <a:pt x="687694" y="1016754"/>
                </a:lnTo>
                <a:lnTo>
                  <a:pt x="252028" y="1016754"/>
                </a:lnTo>
                <a:cubicBezTo>
                  <a:pt x="112837" y="1016754"/>
                  <a:pt x="0" y="903917"/>
                  <a:pt x="0" y="764726"/>
                </a:cubicBezTo>
                <a:cubicBezTo>
                  <a:pt x="0" y="625535"/>
                  <a:pt x="112837" y="512698"/>
                  <a:pt x="252028" y="512698"/>
                </a:cubicBezTo>
                <a:lnTo>
                  <a:pt x="693779" y="512698"/>
                </a:lnTo>
                <a:lnTo>
                  <a:pt x="611319" y="430238"/>
                </a:lnTo>
                <a:cubicBezTo>
                  <a:pt x="512896" y="331815"/>
                  <a:pt x="512896" y="172240"/>
                  <a:pt x="611319" y="73817"/>
                </a:cubicBezTo>
                <a:cubicBezTo>
                  <a:pt x="709742" y="-24606"/>
                  <a:pt x="869318" y="-24606"/>
                  <a:pt x="967741" y="73817"/>
                </a:cubicBezTo>
                <a:lnTo>
                  <a:pt x="1476914" y="582991"/>
                </a:lnTo>
                <a:cubicBezTo>
                  <a:pt x="1526125" y="632202"/>
                  <a:pt x="1550731" y="696702"/>
                  <a:pt x="1550731" y="761202"/>
                </a:cubicBezTo>
                <a:close/>
              </a:path>
            </a:pathLst>
          </a:custGeom>
          <a:solidFill>
            <a:srgbClr val="000000"/>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400" dirty="0">
              <a:solidFill>
                <a:schemeClr val="tx1"/>
              </a:solidFill>
              <a:latin typeface="+mj-lt"/>
            </a:endParaRPr>
          </a:p>
        </p:txBody>
      </p:sp>
      <p:sp>
        <p:nvSpPr>
          <p:cNvPr id="8" name="矩形 16"/>
          <p:cNvSpPr/>
          <p:nvPr/>
        </p:nvSpPr>
        <p:spPr>
          <a:xfrm>
            <a:off x="8297038" y="1950491"/>
            <a:ext cx="3189916" cy="1138773"/>
          </a:xfrm>
          <a:prstGeom prst="rect">
            <a:avLst/>
          </a:prstGeom>
        </p:spPr>
        <p:txBody>
          <a:bodyPr wrap="square">
            <a:spAutoFit/>
          </a:bodyPr>
          <a:lstStyle/>
          <a:p>
            <a:r>
              <a:rPr lang="en-US" altLang="zh-CN" sz="2800" b="1" dirty="0">
                <a:latin typeface="+mj-lt"/>
              </a:rPr>
              <a:t>Text</a:t>
            </a:r>
            <a:endParaRPr lang="en-US" altLang="zh-CN" b="1" dirty="0">
              <a:latin typeface="+mj-lt"/>
            </a:endParaRPr>
          </a:p>
          <a:p>
            <a:r>
              <a:rPr lang="en-US" altLang="zh-CN" sz="2000" dirty="0"/>
              <a:t>This is dummy text it is not here to be read this</a:t>
            </a:r>
          </a:p>
        </p:txBody>
      </p:sp>
      <p:sp>
        <p:nvSpPr>
          <p:cNvPr id="9" name="矩形 18"/>
          <p:cNvSpPr/>
          <p:nvPr/>
        </p:nvSpPr>
        <p:spPr>
          <a:xfrm>
            <a:off x="7340055" y="2630486"/>
            <a:ext cx="576312" cy="369332"/>
          </a:xfrm>
          <a:prstGeom prst="rect">
            <a:avLst/>
          </a:prstGeom>
        </p:spPr>
        <p:txBody>
          <a:bodyPr wrap="none" anchor="ctr">
            <a:spAutoFit/>
          </a:bodyPr>
          <a:lstStyle/>
          <a:p>
            <a:pPr algn="ctr"/>
            <a:r>
              <a:rPr lang="en-US" altLang="zh-CN" b="1" dirty="0">
                <a:solidFill>
                  <a:srgbClr val="FFFFFF"/>
                </a:solidFill>
                <a:latin typeface="+mj-lt"/>
              </a:rPr>
              <a:t>Text</a:t>
            </a:r>
            <a:endParaRPr lang="en-US" altLang="zh-CN" sz="1200" b="1" dirty="0">
              <a:solidFill>
                <a:srgbClr val="FFFFFF"/>
              </a:solidFill>
              <a:latin typeface="+mj-lt"/>
            </a:endParaRPr>
          </a:p>
        </p:txBody>
      </p:sp>
      <p:sp>
        <p:nvSpPr>
          <p:cNvPr id="10" name="任意多边形 12"/>
          <p:cNvSpPr/>
          <p:nvPr/>
        </p:nvSpPr>
        <p:spPr>
          <a:xfrm rot="10800000">
            <a:off x="6005513" y="4014235"/>
            <a:ext cx="2240845" cy="2201305"/>
          </a:xfrm>
          <a:custGeom>
            <a:avLst/>
            <a:gdLst>
              <a:gd name="connsiteX0" fmla="*/ 1550731 w 1550731"/>
              <a:gd name="connsiteY0" fmla="*/ 761202 h 1523369"/>
              <a:gd name="connsiteX1" fmla="*/ 1550684 w 1550731"/>
              <a:gd name="connsiteY1" fmla="*/ 761690 h 1523369"/>
              <a:gd name="connsiteX2" fmla="*/ 1550730 w 1550731"/>
              <a:gd name="connsiteY2" fmla="*/ 762168 h 1523369"/>
              <a:gd name="connsiteX3" fmla="*/ 1476913 w 1550731"/>
              <a:gd name="connsiteY3" fmla="*/ 940378 h 1523369"/>
              <a:gd name="connsiteX4" fmla="*/ 967739 w 1550731"/>
              <a:gd name="connsiteY4" fmla="*/ 1449552 h 1523369"/>
              <a:gd name="connsiteX5" fmla="*/ 611318 w 1550731"/>
              <a:gd name="connsiteY5" fmla="*/ 1449552 h 1523369"/>
              <a:gd name="connsiteX6" fmla="*/ 611318 w 1550731"/>
              <a:gd name="connsiteY6" fmla="*/ 1093130 h 1523369"/>
              <a:gd name="connsiteX7" fmla="*/ 687694 w 1550731"/>
              <a:gd name="connsiteY7" fmla="*/ 1016754 h 1523369"/>
              <a:gd name="connsiteX8" fmla="*/ 252028 w 1550731"/>
              <a:gd name="connsiteY8" fmla="*/ 1016754 h 1523369"/>
              <a:gd name="connsiteX9" fmla="*/ 0 w 1550731"/>
              <a:gd name="connsiteY9" fmla="*/ 764726 h 1523369"/>
              <a:gd name="connsiteX10" fmla="*/ 252028 w 1550731"/>
              <a:gd name="connsiteY10" fmla="*/ 512698 h 1523369"/>
              <a:gd name="connsiteX11" fmla="*/ 693779 w 1550731"/>
              <a:gd name="connsiteY11" fmla="*/ 512698 h 1523369"/>
              <a:gd name="connsiteX12" fmla="*/ 611319 w 1550731"/>
              <a:gd name="connsiteY12" fmla="*/ 430238 h 1523369"/>
              <a:gd name="connsiteX13" fmla="*/ 611319 w 1550731"/>
              <a:gd name="connsiteY13" fmla="*/ 73817 h 1523369"/>
              <a:gd name="connsiteX14" fmla="*/ 967741 w 1550731"/>
              <a:gd name="connsiteY14" fmla="*/ 73817 h 1523369"/>
              <a:gd name="connsiteX15" fmla="*/ 1476914 w 1550731"/>
              <a:gd name="connsiteY15" fmla="*/ 582991 h 1523369"/>
              <a:gd name="connsiteX16" fmla="*/ 1550731 w 1550731"/>
              <a:gd name="connsiteY16" fmla="*/ 761202 h 152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0731" h="1523369">
                <a:moveTo>
                  <a:pt x="1550731" y="761202"/>
                </a:moveTo>
                <a:lnTo>
                  <a:pt x="1550684" y="761690"/>
                </a:lnTo>
                <a:lnTo>
                  <a:pt x="1550730" y="762168"/>
                </a:lnTo>
                <a:cubicBezTo>
                  <a:pt x="1550730" y="826667"/>
                  <a:pt x="1526124" y="891167"/>
                  <a:pt x="1476913" y="940378"/>
                </a:cubicBezTo>
                <a:lnTo>
                  <a:pt x="967739" y="1449552"/>
                </a:lnTo>
                <a:cubicBezTo>
                  <a:pt x="869316" y="1547975"/>
                  <a:pt x="709741" y="1547975"/>
                  <a:pt x="611318" y="1449552"/>
                </a:cubicBezTo>
                <a:cubicBezTo>
                  <a:pt x="512895" y="1351129"/>
                  <a:pt x="512895" y="1191553"/>
                  <a:pt x="611318" y="1093130"/>
                </a:cubicBezTo>
                <a:lnTo>
                  <a:pt x="687694" y="1016754"/>
                </a:lnTo>
                <a:lnTo>
                  <a:pt x="252028" y="1016754"/>
                </a:lnTo>
                <a:cubicBezTo>
                  <a:pt x="112837" y="1016754"/>
                  <a:pt x="0" y="903917"/>
                  <a:pt x="0" y="764726"/>
                </a:cubicBezTo>
                <a:cubicBezTo>
                  <a:pt x="0" y="625535"/>
                  <a:pt x="112837" y="512698"/>
                  <a:pt x="252028" y="512698"/>
                </a:cubicBezTo>
                <a:lnTo>
                  <a:pt x="693779" y="512698"/>
                </a:lnTo>
                <a:lnTo>
                  <a:pt x="611319" y="430238"/>
                </a:lnTo>
                <a:cubicBezTo>
                  <a:pt x="512896" y="331815"/>
                  <a:pt x="512896" y="172240"/>
                  <a:pt x="611319" y="73817"/>
                </a:cubicBezTo>
                <a:cubicBezTo>
                  <a:pt x="709742" y="-24606"/>
                  <a:pt x="869318" y="-24606"/>
                  <a:pt x="967741" y="73817"/>
                </a:cubicBezTo>
                <a:lnTo>
                  <a:pt x="1476914" y="582991"/>
                </a:lnTo>
                <a:cubicBezTo>
                  <a:pt x="1526125" y="632202"/>
                  <a:pt x="1550731" y="696702"/>
                  <a:pt x="1550731" y="761202"/>
                </a:cubicBezTo>
                <a:close/>
              </a:path>
            </a:pathLst>
          </a:custGeom>
          <a:solidFill>
            <a:srgbClr val="D0D0CE"/>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400" dirty="0">
              <a:solidFill>
                <a:schemeClr val="tx1"/>
              </a:solidFill>
              <a:latin typeface="+mj-lt"/>
            </a:endParaRPr>
          </a:p>
        </p:txBody>
      </p:sp>
      <p:sp>
        <p:nvSpPr>
          <p:cNvPr id="11" name="矩形 13"/>
          <p:cNvSpPr/>
          <p:nvPr/>
        </p:nvSpPr>
        <p:spPr>
          <a:xfrm>
            <a:off x="8297038" y="4250226"/>
            <a:ext cx="3189916" cy="1138773"/>
          </a:xfrm>
          <a:prstGeom prst="rect">
            <a:avLst/>
          </a:prstGeom>
        </p:spPr>
        <p:txBody>
          <a:bodyPr wrap="square">
            <a:spAutoFit/>
          </a:bodyPr>
          <a:lstStyle/>
          <a:p>
            <a:r>
              <a:rPr lang="en-US" altLang="zh-CN" sz="2800" dirty="0">
                <a:latin typeface="+mj-lt"/>
              </a:rPr>
              <a:t>Text</a:t>
            </a:r>
            <a:endParaRPr lang="en-US" altLang="zh-CN" dirty="0">
              <a:latin typeface="+mj-lt"/>
            </a:endParaRPr>
          </a:p>
          <a:p>
            <a:r>
              <a:rPr lang="en-US" altLang="zh-CN" sz="2000" dirty="0"/>
              <a:t>This is dummy text it is not here to be read this</a:t>
            </a:r>
          </a:p>
        </p:txBody>
      </p:sp>
      <p:sp>
        <p:nvSpPr>
          <p:cNvPr id="12" name="矩形 14"/>
          <p:cNvSpPr/>
          <p:nvPr/>
        </p:nvSpPr>
        <p:spPr>
          <a:xfrm>
            <a:off x="7340056" y="4930221"/>
            <a:ext cx="576312" cy="369332"/>
          </a:xfrm>
          <a:prstGeom prst="rect">
            <a:avLst/>
          </a:prstGeom>
        </p:spPr>
        <p:txBody>
          <a:bodyPr wrap="none" anchor="ctr">
            <a:spAutoFit/>
          </a:bodyPr>
          <a:lstStyle/>
          <a:p>
            <a:pPr algn="ctr"/>
            <a:r>
              <a:rPr lang="en-US" altLang="zh-CN" b="1" dirty="0">
                <a:latin typeface="+mj-lt"/>
              </a:rPr>
              <a:t>Text</a:t>
            </a:r>
            <a:endParaRPr lang="en-US" altLang="zh-CN" sz="1200" b="1" dirty="0">
              <a:latin typeface="+mj-lt"/>
            </a:endParaRPr>
          </a:p>
        </p:txBody>
      </p:sp>
    </p:spTree>
    <p:custDataLst>
      <p:tags r:id="rId1"/>
    </p:custDataLst>
    <p:extLst>
      <p:ext uri="{BB962C8B-B14F-4D97-AF65-F5344CB8AC3E}">
        <p14:creationId xmlns:p14="http://schemas.microsoft.com/office/powerpoint/2010/main" val="93090712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lowchart: Stored Data 63">
            <a:extLst>
              <a:ext uri="{FF2B5EF4-FFF2-40B4-BE49-F238E27FC236}">
                <a16:creationId xmlns:a16="http://schemas.microsoft.com/office/drawing/2014/main" id="{3DCA7D52-1E34-2C45-B5DE-513E3B1BEA6F}"/>
              </a:ext>
            </a:extLst>
          </p:cNvPr>
          <p:cNvSpPr/>
          <p:nvPr/>
        </p:nvSpPr>
        <p:spPr>
          <a:xfrm>
            <a:off x="525908" y="4489097"/>
            <a:ext cx="11234291" cy="114387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rtlCol="0" anchor="ctr"/>
          <a:lstStyle/>
          <a:p>
            <a:r>
              <a:rPr lang="en-US" sz="1300" dirty="0"/>
              <a:t>This is dummy text it is not here to be read. The is just text to show where you could insert text. The is just text to show where you could insert text. Please replace with your text content here.</a:t>
            </a:r>
          </a:p>
        </p:txBody>
      </p:sp>
      <p:sp>
        <p:nvSpPr>
          <p:cNvPr id="32" name="Flowchart: Stored Data 63">
            <a:extLst>
              <a:ext uri="{FF2B5EF4-FFF2-40B4-BE49-F238E27FC236}">
                <a16:creationId xmlns:a16="http://schemas.microsoft.com/office/drawing/2014/main" id="{3DCA7D52-1E34-2C45-B5DE-513E3B1BEA6F}"/>
              </a:ext>
            </a:extLst>
          </p:cNvPr>
          <p:cNvSpPr/>
          <p:nvPr/>
        </p:nvSpPr>
        <p:spPr>
          <a:xfrm>
            <a:off x="525908" y="3108489"/>
            <a:ext cx="11234291" cy="1143873"/>
          </a:xfrm>
          <a:prstGeom prst="roundRect">
            <a:avLst>
              <a:gd name="adj" fmla="val 5000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Ins="1260000" rtlCol="0" anchor="ctr"/>
          <a:lstStyle/>
          <a:p>
            <a:pPr algn="r"/>
            <a:r>
              <a:rPr lang="en-US" sz="1300" dirty="0"/>
              <a:t>This is dummy text it is not here to be read. The is just text to show where you could insert text. The is just text to show where you could insert text. Please replace with your text content here.</a:t>
            </a:r>
          </a:p>
        </p:txBody>
      </p:sp>
      <p:sp>
        <p:nvSpPr>
          <p:cNvPr id="28" name="Flowchart: Stored Data 63">
            <a:extLst>
              <a:ext uri="{FF2B5EF4-FFF2-40B4-BE49-F238E27FC236}">
                <a16:creationId xmlns:a16="http://schemas.microsoft.com/office/drawing/2014/main" id="{3DCA7D52-1E34-2C45-B5DE-513E3B1BEA6F}"/>
              </a:ext>
            </a:extLst>
          </p:cNvPr>
          <p:cNvSpPr/>
          <p:nvPr/>
        </p:nvSpPr>
        <p:spPr>
          <a:xfrm>
            <a:off x="525908" y="1727881"/>
            <a:ext cx="11234291" cy="1143873"/>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rtlCol="0" anchor="ctr"/>
          <a:lstStyle/>
          <a:p>
            <a:r>
              <a:rPr lang="en-US" sz="1300" dirty="0"/>
              <a:t>This is dummy text it is not here to be read. The is just text to show where you could insert text. The is just text to show where you could insert text. Please replace with your text content here.</a:t>
            </a:r>
          </a:p>
        </p:txBody>
      </p:sp>
      <p:grpSp>
        <p:nvGrpSpPr>
          <p:cNvPr id="4" name="Group 3"/>
          <p:cNvGrpSpPr/>
          <p:nvPr/>
        </p:nvGrpSpPr>
        <p:grpSpPr>
          <a:xfrm>
            <a:off x="10654268" y="3095108"/>
            <a:ext cx="1170634" cy="1170634"/>
            <a:chOff x="8006318" y="3368946"/>
            <a:chExt cx="1170634" cy="1170634"/>
          </a:xfrm>
        </p:grpSpPr>
        <p:sp>
          <p:nvSpPr>
            <p:cNvPr id="24" name="Flowchart: Connector 64">
              <a:extLst>
                <a:ext uri="{FF2B5EF4-FFF2-40B4-BE49-F238E27FC236}">
                  <a16:creationId xmlns:a16="http://schemas.microsoft.com/office/drawing/2014/main" id="{39EACFBE-801D-2743-9CBB-55B3638D8F2A}"/>
                </a:ext>
              </a:extLst>
            </p:cNvPr>
            <p:cNvSpPr/>
            <p:nvPr/>
          </p:nvSpPr>
          <p:spPr>
            <a:xfrm>
              <a:off x="8006318" y="3368946"/>
              <a:ext cx="1170634" cy="1170634"/>
            </a:xfrm>
            <a:prstGeom prst="flowChartConnector">
              <a:avLst/>
            </a:prstGeom>
            <a:solidFill>
              <a:srgbClr val="FFFFFF"/>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3" name="Group 2"/>
            <p:cNvGrpSpPr/>
            <p:nvPr/>
          </p:nvGrpSpPr>
          <p:grpSpPr>
            <a:xfrm>
              <a:off x="8093928" y="3456556"/>
              <a:ext cx="995414" cy="995414"/>
              <a:chOff x="7351088" y="3562225"/>
              <a:chExt cx="995414" cy="995414"/>
            </a:xfrm>
          </p:grpSpPr>
          <p:sp>
            <p:nvSpPr>
              <p:cNvPr id="23" name="Flowchart: Connector 3">
                <a:extLst>
                  <a:ext uri="{FF2B5EF4-FFF2-40B4-BE49-F238E27FC236}">
                    <a16:creationId xmlns:a16="http://schemas.microsoft.com/office/drawing/2014/main" id="{193DA19F-2DC0-A249-8AAD-1B41B7324C87}"/>
                  </a:ext>
                </a:extLst>
              </p:cNvPr>
              <p:cNvSpPr/>
              <p:nvPr/>
            </p:nvSpPr>
            <p:spPr>
              <a:xfrm flipH="1">
                <a:off x="7351088" y="3562225"/>
                <a:ext cx="995414" cy="995414"/>
              </a:xfrm>
              <a:prstGeom prst="flowChartConnector">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Freeform 547">
                <a:extLst>
                  <a:ext uri="{FF2B5EF4-FFF2-40B4-BE49-F238E27FC236}">
                    <a16:creationId xmlns:a16="http://schemas.microsoft.com/office/drawing/2014/main" id="{8109469B-DC1D-45E8-8C23-4E195A100ABA}"/>
                  </a:ext>
                </a:extLst>
              </p:cNvPr>
              <p:cNvSpPr>
                <a:spLocks noChangeAspect="1" noEditPoints="1"/>
              </p:cNvSpPr>
              <p:nvPr/>
            </p:nvSpPr>
            <p:spPr bwMode="auto">
              <a:xfrm>
                <a:off x="7414455" y="3626080"/>
                <a:ext cx="868680" cy="868680"/>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2" name="Group 1"/>
          <p:cNvGrpSpPr/>
          <p:nvPr/>
        </p:nvGrpSpPr>
        <p:grpSpPr>
          <a:xfrm>
            <a:off x="438298" y="1714500"/>
            <a:ext cx="1170634" cy="1170634"/>
            <a:chOff x="438298" y="2059260"/>
            <a:chExt cx="1170634" cy="1170634"/>
          </a:xfrm>
        </p:grpSpPr>
        <p:sp>
          <p:nvSpPr>
            <p:cNvPr id="20" name="Flowchart: Connector 64">
              <a:extLst>
                <a:ext uri="{FF2B5EF4-FFF2-40B4-BE49-F238E27FC236}">
                  <a16:creationId xmlns:a16="http://schemas.microsoft.com/office/drawing/2014/main" id="{39EACFBE-801D-2743-9CBB-55B3638D8F2A}"/>
                </a:ext>
              </a:extLst>
            </p:cNvPr>
            <p:cNvSpPr/>
            <p:nvPr/>
          </p:nvSpPr>
          <p:spPr>
            <a:xfrm>
              <a:off x="438298" y="2059260"/>
              <a:ext cx="1170634" cy="1170634"/>
            </a:xfrm>
            <a:prstGeom prst="flowChartConnector">
              <a:avLst/>
            </a:prstGeom>
            <a:solidFill>
              <a:srgbClr val="FFFFFF"/>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9" name="Flowchart: Connector 64">
              <a:extLst>
                <a:ext uri="{FF2B5EF4-FFF2-40B4-BE49-F238E27FC236}">
                  <a16:creationId xmlns:a16="http://schemas.microsoft.com/office/drawing/2014/main" id="{39EACFBE-801D-2743-9CBB-55B3638D8F2A}"/>
                </a:ext>
              </a:extLst>
            </p:cNvPr>
            <p:cNvSpPr/>
            <p:nvPr/>
          </p:nvSpPr>
          <p:spPr>
            <a:xfrm>
              <a:off x="525908" y="2146870"/>
              <a:ext cx="995414" cy="995414"/>
            </a:xfrm>
            <a:prstGeom prst="flowChartConnector">
              <a:avLst/>
            </a:prstGeom>
            <a:no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Freeform 528">
              <a:extLst>
                <a:ext uri="{FF2B5EF4-FFF2-40B4-BE49-F238E27FC236}">
                  <a16:creationId xmlns:a16="http://schemas.microsoft.com/office/drawing/2014/main" id="{AD9FDF6C-EF61-4CCD-A601-BD4B8D9C27A0}"/>
                </a:ext>
              </a:extLst>
            </p:cNvPr>
            <p:cNvSpPr>
              <a:spLocks noChangeAspect="1" noEditPoints="1"/>
            </p:cNvSpPr>
            <p:nvPr/>
          </p:nvSpPr>
          <p:spPr bwMode="auto">
            <a:xfrm>
              <a:off x="589275" y="2210237"/>
              <a:ext cx="868680" cy="8686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5" name="Group 4"/>
          <p:cNvGrpSpPr/>
          <p:nvPr/>
        </p:nvGrpSpPr>
        <p:grpSpPr>
          <a:xfrm>
            <a:off x="438298" y="4475716"/>
            <a:ext cx="1170634" cy="1170634"/>
            <a:chOff x="438298" y="4820476"/>
            <a:chExt cx="1170634" cy="1170634"/>
          </a:xfrm>
        </p:grpSpPr>
        <p:sp>
          <p:nvSpPr>
            <p:cNvPr id="36" name="Flowchart: Connector 64">
              <a:extLst>
                <a:ext uri="{FF2B5EF4-FFF2-40B4-BE49-F238E27FC236}">
                  <a16:creationId xmlns:a16="http://schemas.microsoft.com/office/drawing/2014/main" id="{39EACFBE-801D-2743-9CBB-55B3638D8F2A}"/>
                </a:ext>
              </a:extLst>
            </p:cNvPr>
            <p:cNvSpPr/>
            <p:nvPr/>
          </p:nvSpPr>
          <p:spPr>
            <a:xfrm>
              <a:off x="438298" y="4820476"/>
              <a:ext cx="1170634" cy="1170634"/>
            </a:xfrm>
            <a:prstGeom prst="flowChartConnector">
              <a:avLst/>
            </a:prstGeom>
            <a:solidFill>
              <a:srgbClr val="FFFFFF"/>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Freeform 852">
              <a:extLst>
                <a:ext uri="{FF2B5EF4-FFF2-40B4-BE49-F238E27FC236}">
                  <a16:creationId xmlns:a16="http://schemas.microsoft.com/office/drawing/2014/main" id="{3D5C60FF-AB4A-40D0-90B7-1506E627F6C7}"/>
                </a:ext>
              </a:extLst>
            </p:cNvPr>
            <p:cNvSpPr>
              <a:spLocks noChangeAspect="1" noEditPoints="1"/>
            </p:cNvSpPr>
            <p:nvPr/>
          </p:nvSpPr>
          <p:spPr bwMode="auto">
            <a:xfrm>
              <a:off x="590550" y="4971453"/>
              <a:ext cx="866131" cy="868680"/>
            </a:xfrm>
            <a:custGeom>
              <a:avLst/>
              <a:gdLst>
                <a:gd name="T0" fmla="*/ 256 w 512"/>
                <a:gd name="T1" fmla="*/ 309 h 512"/>
                <a:gd name="T2" fmla="*/ 202 w 512"/>
                <a:gd name="T3" fmla="*/ 256 h 512"/>
                <a:gd name="T4" fmla="*/ 202 w 512"/>
                <a:gd name="T5" fmla="*/ 149 h 512"/>
                <a:gd name="T6" fmla="*/ 256 w 512"/>
                <a:gd name="T7" fmla="*/ 96 h 512"/>
                <a:gd name="T8" fmla="*/ 309 w 512"/>
                <a:gd name="T9" fmla="*/ 149 h 512"/>
                <a:gd name="T10" fmla="*/ 309 w 512"/>
                <a:gd name="T11" fmla="*/ 256 h 512"/>
                <a:gd name="T12" fmla="*/ 256 w 512"/>
                <a:gd name="T13" fmla="*/ 309 h 512"/>
                <a:gd name="T14" fmla="*/ 256 w 512"/>
                <a:gd name="T15" fmla="*/ 117 h 512"/>
                <a:gd name="T16" fmla="*/ 224 w 512"/>
                <a:gd name="T17" fmla="*/ 149 h 512"/>
                <a:gd name="T18" fmla="*/ 224 w 512"/>
                <a:gd name="T19" fmla="*/ 256 h 512"/>
                <a:gd name="T20" fmla="*/ 256 w 512"/>
                <a:gd name="T21" fmla="*/ 288 h 512"/>
                <a:gd name="T22" fmla="*/ 288 w 512"/>
                <a:gd name="T23" fmla="*/ 256 h 512"/>
                <a:gd name="T24" fmla="*/ 288 w 512"/>
                <a:gd name="T25" fmla="*/ 149 h 512"/>
                <a:gd name="T26" fmla="*/ 256 w 512"/>
                <a:gd name="T27" fmla="*/ 117 h 512"/>
                <a:gd name="T28" fmla="*/ 256 w 512"/>
                <a:gd name="T29" fmla="*/ 0 h 512"/>
                <a:gd name="T30" fmla="*/ 0 w 512"/>
                <a:gd name="T31" fmla="*/ 256 h 512"/>
                <a:gd name="T32" fmla="*/ 256 w 512"/>
                <a:gd name="T33" fmla="*/ 512 h 512"/>
                <a:gd name="T34" fmla="*/ 512 w 512"/>
                <a:gd name="T35" fmla="*/ 256 h 512"/>
                <a:gd name="T36" fmla="*/ 256 w 512"/>
                <a:gd name="T37" fmla="*/ 0 h 512"/>
                <a:gd name="T38" fmla="*/ 266 w 512"/>
                <a:gd name="T39" fmla="*/ 351 h 512"/>
                <a:gd name="T40" fmla="*/ 266 w 512"/>
                <a:gd name="T41" fmla="*/ 394 h 512"/>
                <a:gd name="T42" fmla="*/ 309 w 512"/>
                <a:gd name="T43" fmla="*/ 394 h 512"/>
                <a:gd name="T44" fmla="*/ 320 w 512"/>
                <a:gd name="T45" fmla="*/ 405 h 512"/>
                <a:gd name="T46" fmla="*/ 309 w 512"/>
                <a:gd name="T47" fmla="*/ 416 h 512"/>
                <a:gd name="T48" fmla="*/ 202 w 512"/>
                <a:gd name="T49" fmla="*/ 416 h 512"/>
                <a:gd name="T50" fmla="*/ 192 w 512"/>
                <a:gd name="T51" fmla="*/ 405 h 512"/>
                <a:gd name="T52" fmla="*/ 202 w 512"/>
                <a:gd name="T53" fmla="*/ 394 h 512"/>
                <a:gd name="T54" fmla="*/ 245 w 512"/>
                <a:gd name="T55" fmla="*/ 394 h 512"/>
                <a:gd name="T56" fmla="*/ 245 w 512"/>
                <a:gd name="T57" fmla="*/ 351 h 512"/>
                <a:gd name="T58" fmla="*/ 160 w 512"/>
                <a:gd name="T59" fmla="*/ 256 h 512"/>
                <a:gd name="T60" fmla="*/ 170 w 512"/>
                <a:gd name="T61" fmla="*/ 245 h 512"/>
                <a:gd name="T62" fmla="*/ 181 w 512"/>
                <a:gd name="T63" fmla="*/ 256 h 512"/>
                <a:gd name="T64" fmla="*/ 256 w 512"/>
                <a:gd name="T65" fmla="*/ 330 h 512"/>
                <a:gd name="T66" fmla="*/ 330 w 512"/>
                <a:gd name="T67" fmla="*/ 256 h 512"/>
                <a:gd name="T68" fmla="*/ 341 w 512"/>
                <a:gd name="T69" fmla="*/ 245 h 512"/>
                <a:gd name="T70" fmla="*/ 352 w 512"/>
                <a:gd name="T71" fmla="*/ 256 h 512"/>
                <a:gd name="T72" fmla="*/ 266 w 512"/>
                <a:gd name="T7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51"/>
                  </a:moveTo>
                  <a:cubicBezTo>
                    <a:pt x="266" y="394"/>
                    <a:pt x="266" y="394"/>
                    <a:pt x="266" y="394"/>
                  </a:cubicBezTo>
                  <a:cubicBezTo>
                    <a:pt x="309" y="394"/>
                    <a:pt x="309" y="394"/>
                    <a:pt x="309" y="394"/>
                  </a:cubicBezTo>
                  <a:cubicBezTo>
                    <a:pt x="315" y="394"/>
                    <a:pt x="320" y="399"/>
                    <a:pt x="320" y="405"/>
                  </a:cubicBezTo>
                  <a:cubicBezTo>
                    <a:pt x="320" y="411"/>
                    <a:pt x="315" y="416"/>
                    <a:pt x="309" y="416"/>
                  </a:cubicBezTo>
                  <a:cubicBezTo>
                    <a:pt x="202" y="416"/>
                    <a:pt x="202" y="416"/>
                    <a:pt x="202" y="416"/>
                  </a:cubicBezTo>
                  <a:cubicBezTo>
                    <a:pt x="196" y="416"/>
                    <a:pt x="192" y="411"/>
                    <a:pt x="192" y="405"/>
                  </a:cubicBezTo>
                  <a:cubicBezTo>
                    <a:pt x="192" y="399"/>
                    <a:pt x="196" y="394"/>
                    <a:pt x="202" y="394"/>
                  </a:cubicBezTo>
                  <a:cubicBezTo>
                    <a:pt x="245" y="394"/>
                    <a:pt x="245" y="394"/>
                    <a:pt x="245" y="394"/>
                  </a:cubicBezTo>
                  <a:cubicBezTo>
                    <a:pt x="245" y="351"/>
                    <a:pt x="245" y="351"/>
                    <a:pt x="245" y="351"/>
                  </a:cubicBezTo>
                  <a:cubicBezTo>
                    <a:pt x="197" y="346"/>
                    <a:pt x="160" y="305"/>
                    <a:pt x="160" y="256"/>
                  </a:cubicBezTo>
                  <a:cubicBezTo>
                    <a:pt x="160" y="250"/>
                    <a:pt x="164" y="245"/>
                    <a:pt x="170" y="245"/>
                  </a:cubicBezTo>
                  <a:cubicBezTo>
                    <a:pt x="176" y="245"/>
                    <a:pt x="181" y="250"/>
                    <a:pt x="181" y="256"/>
                  </a:cubicBezTo>
                  <a:cubicBezTo>
                    <a:pt x="181" y="297"/>
                    <a:pt x="214" y="330"/>
                    <a:pt x="256" y="330"/>
                  </a:cubicBezTo>
                  <a:cubicBezTo>
                    <a:pt x="297" y="330"/>
                    <a:pt x="330" y="297"/>
                    <a:pt x="330" y="256"/>
                  </a:cubicBezTo>
                  <a:cubicBezTo>
                    <a:pt x="330" y="250"/>
                    <a:pt x="335" y="245"/>
                    <a:pt x="341" y="245"/>
                  </a:cubicBezTo>
                  <a:cubicBezTo>
                    <a:pt x="347" y="245"/>
                    <a:pt x="352" y="250"/>
                    <a:pt x="352" y="256"/>
                  </a:cubicBezTo>
                  <a:cubicBezTo>
                    <a:pt x="352" y="305"/>
                    <a:pt x="314" y="346"/>
                    <a:pt x="266" y="351"/>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 name="Flowchart: Connector 64">
              <a:extLst>
                <a:ext uri="{FF2B5EF4-FFF2-40B4-BE49-F238E27FC236}">
                  <a16:creationId xmlns:a16="http://schemas.microsoft.com/office/drawing/2014/main" id="{39EACFBE-801D-2743-9CBB-55B3638D8F2A}"/>
                </a:ext>
              </a:extLst>
            </p:cNvPr>
            <p:cNvSpPr/>
            <p:nvPr/>
          </p:nvSpPr>
          <p:spPr>
            <a:xfrm>
              <a:off x="525908" y="4908086"/>
              <a:ext cx="995414" cy="995414"/>
            </a:xfrm>
            <a:prstGeom prst="flowChartConnector">
              <a:avLst/>
            </a:prstGeom>
            <a:no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Tree>
    <p:custDataLst>
      <p:tags r:id="rId1"/>
    </p:custDataLst>
    <p:extLst>
      <p:ext uri="{BB962C8B-B14F-4D97-AF65-F5344CB8AC3E}">
        <p14:creationId xmlns:p14="http://schemas.microsoft.com/office/powerpoint/2010/main" val="14971937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5542435" y="2665939"/>
            <a:ext cx="239550" cy="705341"/>
            <a:chOff x="4761446" y="723889"/>
            <a:chExt cx="345565" cy="1017498"/>
          </a:xfrm>
          <a:solidFill>
            <a:srgbClr val="43B02A"/>
          </a:solidFill>
        </p:grpSpPr>
        <p:sp>
          <p:nvSpPr>
            <p:cNvPr id="59" name="Freeform 829">
              <a:extLst>
                <a:ext uri="{FF2B5EF4-FFF2-40B4-BE49-F238E27FC236}">
                  <a16:creationId xmlns:a16="http://schemas.microsoft.com/office/drawing/2014/main" id="{07836776-62FC-4F1B-A03C-928F58C85B0B}"/>
                </a:ext>
              </a:extLst>
            </p:cNvPr>
            <p:cNvSpPr>
              <a:spLocks noEditPoints="1"/>
            </p:cNvSpPr>
            <p:nvPr/>
          </p:nvSpPr>
          <p:spPr bwMode="auto">
            <a:xfrm>
              <a:off x="4761446" y="992662"/>
              <a:ext cx="345565" cy="748725"/>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0" name="Freeform 830">
              <a:extLst>
                <a:ext uri="{FF2B5EF4-FFF2-40B4-BE49-F238E27FC236}">
                  <a16:creationId xmlns:a16="http://schemas.microsoft.com/office/drawing/2014/main" id="{D9F5D4C9-EB36-4F9C-AF86-F6979107C4F3}"/>
                </a:ext>
              </a:extLst>
            </p:cNvPr>
            <p:cNvSpPr>
              <a:spLocks noEditPoints="1"/>
            </p:cNvSpPr>
            <p:nvPr/>
          </p:nvSpPr>
          <p:spPr bwMode="auto">
            <a:xfrm>
              <a:off x="4828640" y="723889"/>
              <a:ext cx="206379" cy="201580"/>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 name="Group 2"/>
          <p:cNvGrpSpPr/>
          <p:nvPr/>
        </p:nvGrpSpPr>
        <p:grpSpPr>
          <a:xfrm>
            <a:off x="5544099" y="1703101"/>
            <a:ext cx="236222" cy="705341"/>
            <a:chOff x="4286295" y="723889"/>
            <a:chExt cx="340765" cy="1017498"/>
          </a:xfrm>
          <a:solidFill>
            <a:srgbClr val="86BC25"/>
          </a:solidFill>
        </p:grpSpPr>
        <p:sp>
          <p:nvSpPr>
            <p:cNvPr id="61" name="Freeform 831">
              <a:extLst>
                <a:ext uri="{FF2B5EF4-FFF2-40B4-BE49-F238E27FC236}">
                  <a16:creationId xmlns:a16="http://schemas.microsoft.com/office/drawing/2014/main" id="{BA3F05AE-D1C1-4142-B177-888BE752F774}"/>
                </a:ext>
              </a:extLst>
            </p:cNvPr>
            <p:cNvSpPr>
              <a:spLocks noEditPoints="1"/>
            </p:cNvSpPr>
            <p:nvPr/>
          </p:nvSpPr>
          <p:spPr bwMode="auto">
            <a:xfrm>
              <a:off x="4286295" y="992662"/>
              <a:ext cx="340765" cy="748725"/>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2" name="Freeform 832">
              <a:extLst>
                <a:ext uri="{FF2B5EF4-FFF2-40B4-BE49-F238E27FC236}">
                  <a16:creationId xmlns:a16="http://schemas.microsoft.com/office/drawing/2014/main" id="{CD0E67D4-5C34-4ED4-B63A-0698B678A004}"/>
                </a:ext>
              </a:extLst>
            </p:cNvPr>
            <p:cNvSpPr>
              <a:spLocks noEditPoints="1"/>
            </p:cNvSpPr>
            <p:nvPr/>
          </p:nvSpPr>
          <p:spPr bwMode="auto">
            <a:xfrm>
              <a:off x="4353488" y="723889"/>
              <a:ext cx="206379" cy="201580"/>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4" name="Group 63"/>
          <p:cNvGrpSpPr/>
          <p:nvPr/>
        </p:nvGrpSpPr>
        <p:grpSpPr>
          <a:xfrm>
            <a:off x="5544099" y="3572397"/>
            <a:ext cx="236222" cy="705341"/>
            <a:chOff x="4286295" y="723889"/>
            <a:chExt cx="340765" cy="1017498"/>
          </a:xfrm>
        </p:grpSpPr>
        <p:sp>
          <p:nvSpPr>
            <p:cNvPr id="65" name="Freeform 831">
              <a:extLst>
                <a:ext uri="{FF2B5EF4-FFF2-40B4-BE49-F238E27FC236}">
                  <a16:creationId xmlns:a16="http://schemas.microsoft.com/office/drawing/2014/main" id="{BA3F05AE-D1C1-4142-B177-888BE752F774}"/>
                </a:ext>
              </a:extLst>
            </p:cNvPr>
            <p:cNvSpPr>
              <a:spLocks noEditPoints="1"/>
            </p:cNvSpPr>
            <p:nvPr/>
          </p:nvSpPr>
          <p:spPr bwMode="auto">
            <a:xfrm>
              <a:off x="4286295" y="992662"/>
              <a:ext cx="340765" cy="748725"/>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solidFill>
              <a:schemeClr val="accent3"/>
            </a:solid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6" name="Freeform 832">
              <a:extLst>
                <a:ext uri="{FF2B5EF4-FFF2-40B4-BE49-F238E27FC236}">
                  <a16:creationId xmlns:a16="http://schemas.microsoft.com/office/drawing/2014/main" id="{CD0E67D4-5C34-4ED4-B63A-0698B678A004}"/>
                </a:ext>
              </a:extLst>
            </p:cNvPr>
            <p:cNvSpPr>
              <a:spLocks noEditPoints="1"/>
            </p:cNvSpPr>
            <p:nvPr/>
          </p:nvSpPr>
          <p:spPr bwMode="auto">
            <a:xfrm>
              <a:off x="4353488" y="723889"/>
              <a:ext cx="206379" cy="201580"/>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3"/>
            </a:solid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8" name="Group 14"/>
          <p:cNvGrpSpPr/>
          <p:nvPr/>
        </p:nvGrpSpPr>
        <p:grpSpPr>
          <a:xfrm>
            <a:off x="469900" y="1236663"/>
            <a:ext cx="2326617" cy="3220853"/>
            <a:chOff x="580606" y="1131575"/>
            <a:chExt cx="2339350" cy="3238299"/>
          </a:xfrm>
          <a:solidFill>
            <a:schemeClr val="bg1"/>
          </a:solidFill>
        </p:grpSpPr>
        <p:sp>
          <p:nvSpPr>
            <p:cNvPr id="39" name="Freeform 90"/>
            <p:cNvSpPr>
              <a:spLocks noEditPoints="1"/>
            </p:cNvSpPr>
            <p:nvPr/>
          </p:nvSpPr>
          <p:spPr bwMode="auto">
            <a:xfrm flipH="1">
              <a:off x="639484" y="1131575"/>
              <a:ext cx="2280472" cy="3099394"/>
            </a:xfrm>
            <a:custGeom>
              <a:avLst/>
              <a:gdLst/>
              <a:ahLst/>
              <a:cxnLst>
                <a:cxn ang="0">
                  <a:pos x="130" y="294"/>
                </a:cxn>
                <a:cxn ang="0">
                  <a:pos x="109" y="255"/>
                </a:cxn>
                <a:cxn ang="0">
                  <a:pos x="37" y="183"/>
                </a:cxn>
                <a:cxn ang="0">
                  <a:pos x="1" y="138"/>
                </a:cxn>
                <a:cxn ang="0">
                  <a:pos x="14" y="128"/>
                </a:cxn>
                <a:cxn ang="0">
                  <a:pos x="38" y="134"/>
                </a:cxn>
                <a:cxn ang="0">
                  <a:pos x="60" y="153"/>
                </a:cxn>
                <a:cxn ang="0">
                  <a:pos x="79" y="174"/>
                </a:cxn>
                <a:cxn ang="0">
                  <a:pos x="118" y="164"/>
                </a:cxn>
                <a:cxn ang="0">
                  <a:pos x="66" y="114"/>
                </a:cxn>
                <a:cxn ang="0">
                  <a:pos x="47" y="107"/>
                </a:cxn>
                <a:cxn ang="0">
                  <a:pos x="10" y="92"/>
                </a:cxn>
                <a:cxn ang="0">
                  <a:pos x="10" y="86"/>
                </a:cxn>
                <a:cxn ang="0">
                  <a:pos x="10" y="85"/>
                </a:cxn>
                <a:cxn ang="0">
                  <a:pos x="10" y="81"/>
                </a:cxn>
                <a:cxn ang="0">
                  <a:pos x="18" y="80"/>
                </a:cxn>
                <a:cxn ang="0">
                  <a:pos x="34" y="81"/>
                </a:cxn>
                <a:cxn ang="0">
                  <a:pos x="79" y="87"/>
                </a:cxn>
                <a:cxn ang="0">
                  <a:pos x="92" y="90"/>
                </a:cxn>
                <a:cxn ang="0">
                  <a:pos x="77" y="81"/>
                </a:cxn>
                <a:cxn ang="0">
                  <a:pos x="61" y="68"/>
                </a:cxn>
                <a:cxn ang="0">
                  <a:pos x="50" y="65"/>
                </a:cxn>
                <a:cxn ang="0">
                  <a:pos x="24" y="34"/>
                </a:cxn>
                <a:cxn ang="0">
                  <a:pos x="25" y="32"/>
                </a:cxn>
                <a:cxn ang="0">
                  <a:pos x="27" y="28"/>
                </a:cxn>
                <a:cxn ang="0">
                  <a:pos x="83" y="49"/>
                </a:cxn>
                <a:cxn ang="0">
                  <a:pos x="109" y="63"/>
                </a:cxn>
                <a:cxn ang="0">
                  <a:pos x="109" y="63"/>
                </a:cxn>
                <a:cxn ang="0">
                  <a:pos x="98" y="48"/>
                </a:cxn>
                <a:cxn ang="0">
                  <a:pos x="71" y="21"/>
                </a:cxn>
                <a:cxn ang="0">
                  <a:pos x="72" y="6"/>
                </a:cxn>
                <a:cxn ang="0">
                  <a:pos x="79" y="3"/>
                </a:cxn>
                <a:cxn ang="0">
                  <a:pos x="80" y="2"/>
                </a:cxn>
                <a:cxn ang="0">
                  <a:pos x="83" y="1"/>
                </a:cxn>
                <a:cxn ang="0">
                  <a:pos x="144" y="53"/>
                </a:cxn>
                <a:cxn ang="0">
                  <a:pos x="149" y="59"/>
                </a:cxn>
                <a:cxn ang="0">
                  <a:pos x="147" y="56"/>
                </a:cxn>
                <a:cxn ang="0">
                  <a:pos x="139" y="24"/>
                </a:cxn>
                <a:cxn ang="0">
                  <a:pos x="151" y="17"/>
                </a:cxn>
                <a:cxn ang="0">
                  <a:pos x="154" y="18"/>
                </a:cxn>
                <a:cxn ang="0">
                  <a:pos x="160" y="29"/>
                </a:cxn>
                <a:cxn ang="0">
                  <a:pos x="163" y="37"/>
                </a:cxn>
                <a:cxn ang="0">
                  <a:pos x="187" y="76"/>
                </a:cxn>
                <a:cxn ang="0">
                  <a:pos x="197" y="108"/>
                </a:cxn>
                <a:cxn ang="0">
                  <a:pos x="220" y="299"/>
                </a:cxn>
                <a:cxn ang="0">
                  <a:pos x="132" y="299"/>
                </a:cxn>
              </a:cxnLst>
              <a:rect l="0" t="0" r="r" b="b"/>
              <a:pathLst>
                <a:path w="220" h="299">
                  <a:moveTo>
                    <a:pt x="132" y="299"/>
                  </a:moveTo>
                  <a:cubicBezTo>
                    <a:pt x="131" y="297"/>
                    <a:pt x="131" y="295"/>
                    <a:pt x="130" y="294"/>
                  </a:cubicBezTo>
                  <a:cubicBezTo>
                    <a:pt x="130" y="292"/>
                    <a:pt x="129" y="291"/>
                    <a:pt x="128" y="289"/>
                  </a:cubicBezTo>
                  <a:cubicBezTo>
                    <a:pt x="128" y="289"/>
                    <a:pt x="120" y="262"/>
                    <a:pt x="109" y="255"/>
                  </a:cubicBezTo>
                  <a:cubicBezTo>
                    <a:pt x="95" y="247"/>
                    <a:pt x="86" y="239"/>
                    <a:pt x="86" y="239"/>
                  </a:cubicBezTo>
                  <a:cubicBezTo>
                    <a:pt x="86" y="239"/>
                    <a:pt x="46" y="202"/>
                    <a:pt x="37" y="183"/>
                  </a:cubicBezTo>
                  <a:cubicBezTo>
                    <a:pt x="25" y="160"/>
                    <a:pt x="4" y="144"/>
                    <a:pt x="4" y="144"/>
                  </a:cubicBezTo>
                  <a:cubicBezTo>
                    <a:pt x="3" y="142"/>
                    <a:pt x="1" y="139"/>
                    <a:pt x="1" y="138"/>
                  </a:cubicBezTo>
                  <a:cubicBezTo>
                    <a:pt x="0" y="135"/>
                    <a:pt x="3" y="136"/>
                    <a:pt x="5" y="134"/>
                  </a:cubicBezTo>
                  <a:cubicBezTo>
                    <a:pt x="7" y="131"/>
                    <a:pt x="10" y="128"/>
                    <a:pt x="14" y="128"/>
                  </a:cubicBezTo>
                  <a:cubicBezTo>
                    <a:pt x="14" y="128"/>
                    <a:pt x="23" y="127"/>
                    <a:pt x="30" y="130"/>
                  </a:cubicBezTo>
                  <a:cubicBezTo>
                    <a:pt x="33" y="132"/>
                    <a:pt x="35" y="133"/>
                    <a:pt x="38" y="134"/>
                  </a:cubicBezTo>
                  <a:cubicBezTo>
                    <a:pt x="38" y="134"/>
                    <a:pt x="49" y="140"/>
                    <a:pt x="56" y="149"/>
                  </a:cubicBezTo>
                  <a:cubicBezTo>
                    <a:pt x="57" y="150"/>
                    <a:pt x="58" y="152"/>
                    <a:pt x="60" y="153"/>
                  </a:cubicBezTo>
                  <a:cubicBezTo>
                    <a:pt x="60" y="154"/>
                    <a:pt x="60" y="154"/>
                    <a:pt x="61" y="155"/>
                  </a:cubicBezTo>
                  <a:cubicBezTo>
                    <a:pt x="63" y="158"/>
                    <a:pt x="78" y="174"/>
                    <a:pt x="79" y="174"/>
                  </a:cubicBezTo>
                  <a:cubicBezTo>
                    <a:pt x="80" y="176"/>
                    <a:pt x="87" y="182"/>
                    <a:pt x="94" y="182"/>
                  </a:cubicBezTo>
                  <a:cubicBezTo>
                    <a:pt x="118" y="182"/>
                    <a:pt x="120" y="167"/>
                    <a:pt x="118" y="164"/>
                  </a:cubicBezTo>
                  <a:cubicBezTo>
                    <a:pt x="118" y="163"/>
                    <a:pt x="113" y="149"/>
                    <a:pt x="105" y="142"/>
                  </a:cubicBezTo>
                  <a:cubicBezTo>
                    <a:pt x="94" y="131"/>
                    <a:pt x="79" y="118"/>
                    <a:pt x="66" y="114"/>
                  </a:cubicBezTo>
                  <a:cubicBezTo>
                    <a:pt x="61" y="113"/>
                    <a:pt x="56" y="111"/>
                    <a:pt x="53" y="108"/>
                  </a:cubicBezTo>
                  <a:cubicBezTo>
                    <a:pt x="51" y="107"/>
                    <a:pt x="50" y="107"/>
                    <a:pt x="47" y="107"/>
                  </a:cubicBezTo>
                  <a:cubicBezTo>
                    <a:pt x="35" y="106"/>
                    <a:pt x="17" y="98"/>
                    <a:pt x="17" y="98"/>
                  </a:cubicBezTo>
                  <a:cubicBezTo>
                    <a:pt x="14" y="97"/>
                    <a:pt x="11" y="93"/>
                    <a:pt x="10" y="92"/>
                  </a:cubicBezTo>
                  <a:cubicBezTo>
                    <a:pt x="10" y="92"/>
                    <a:pt x="10" y="92"/>
                    <a:pt x="10" y="91"/>
                  </a:cubicBezTo>
                  <a:cubicBezTo>
                    <a:pt x="9" y="90"/>
                    <a:pt x="9" y="88"/>
                    <a:pt x="10" y="86"/>
                  </a:cubicBezTo>
                  <a:cubicBezTo>
                    <a:pt x="10" y="86"/>
                    <a:pt x="10" y="85"/>
                    <a:pt x="10" y="85"/>
                  </a:cubicBezTo>
                  <a:cubicBezTo>
                    <a:pt x="10" y="85"/>
                    <a:pt x="10" y="85"/>
                    <a:pt x="10" y="85"/>
                  </a:cubicBezTo>
                  <a:cubicBezTo>
                    <a:pt x="10" y="84"/>
                    <a:pt x="9" y="84"/>
                    <a:pt x="9" y="83"/>
                  </a:cubicBezTo>
                  <a:cubicBezTo>
                    <a:pt x="9" y="82"/>
                    <a:pt x="10" y="82"/>
                    <a:pt x="10" y="81"/>
                  </a:cubicBezTo>
                  <a:cubicBezTo>
                    <a:pt x="11" y="81"/>
                    <a:pt x="12" y="81"/>
                    <a:pt x="13" y="81"/>
                  </a:cubicBezTo>
                  <a:cubicBezTo>
                    <a:pt x="15" y="80"/>
                    <a:pt x="17" y="80"/>
                    <a:pt x="18" y="80"/>
                  </a:cubicBezTo>
                  <a:cubicBezTo>
                    <a:pt x="22" y="80"/>
                    <a:pt x="26" y="80"/>
                    <a:pt x="29" y="80"/>
                  </a:cubicBezTo>
                  <a:cubicBezTo>
                    <a:pt x="31" y="81"/>
                    <a:pt x="32" y="81"/>
                    <a:pt x="34" y="81"/>
                  </a:cubicBezTo>
                  <a:cubicBezTo>
                    <a:pt x="34" y="81"/>
                    <a:pt x="43" y="80"/>
                    <a:pt x="45" y="80"/>
                  </a:cubicBezTo>
                  <a:cubicBezTo>
                    <a:pt x="45" y="80"/>
                    <a:pt x="77" y="87"/>
                    <a:pt x="79" y="87"/>
                  </a:cubicBezTo>
                  <a:cubicBezTo>
                    <a:pt x="80" y="87"/>
                    <a:pt x="85" y="89"/>
                    <a:pt x="85" y="89"/>
                  </a:cubicBezTo>
                  <a:cubicBezTo>
                    <a:pt x="86" y="89"/>
                    <a:pt x="89" y="90"/>
                    <a:pt x="92" y="90"/>
                  </a:cubicBezTo>
                  <a:cubicBezTo>
                    <a:pt x="92" y="90"/>
                    <a:pt x="92" y="90"/>
                    <a:pt x="92" y="90"/>
                  </a:cubicBezTo>
                  <a:cubicBezTo>
                    <a:pt x="92" y="90"/>
                    <a:pt x="79" y="82"/>
                    <a:pt x="77" y="81"/>
                  </a:cubicBezTo>
                  <a:cubicBezTo>
                    <a:pt x="76" y="80"/>
                    <a:pt x="75" y="80"/>
                    <a:pt x="74" y="79"/>
                  </a:cubicBezTo>
                  <a:cubicBezTo>
                    <a:pt x="72" y="78"/>
                    <a:pt x="62" y="69"/>
                    <a:pt x="61" y="68"/>
                  </a:cubicBezTo>
                  <a:cubicBezTo>
                    <a:pt x="59" y="68"/>
                    <a:pt x="57" y="67"/>
                    <a:pt x="55" y="66"/>
                  </a:cubicBezTo>
                  <a:cubicBezTo>
                    <a:pt x="54" y="66"/>
                    <a:pt x="51" y="65"/>
                    <a:pt x="50" y="65"/>
                  </a:cubicBezTo>
                  <a:cubicBezTo>
                    <a:pt x="50" y="65"/>
                    <a:pt x="43" y="62"/>
                    <a:pt x="43" y="62"/>
                  </a:cubicBezTo>
                  <a:cubicBezTo>
                    <a:pt x="23" y="54"/>
                    <a:pt x="23" y="37"/>
                    <a:pt x="24" y="34"/>
                  </a:cubicBezTo>
                  <a:cubicBezTo>
                    <a:pt x="24" y="33"/>
                    <a:pt x="24" y="32"/>
                    <a:pt x="25" y="32"/>
                  </a:cubicBezTo>
                  <a:cubicBezTo>
                    <a:pt x="25" y="32"/>
                    <a:pt x="25" y="32"/>
                    <a:pt x="25" y="32"/>
                  </a:cubicBezTo>
                  <a:cubicBezTo>
                    <a:pt x="25" y="31"/>
                    <a:pt x="25" y="31"/>
                    <a:pt x="25" y="30"/>
                  </a:cubicBezTo>
                  <a:cubicBezTo>
                    <a:pt x="26" y="28"/>
                    <a:pt x="27" y="28"/>
                    <a:pt x="27" y="28"/>
                  </a:cubicBezTo>
                  <a:cubicBezTo>
                    <a:pt x="27" y="28"/>
                    <a:pt x="55" y="37"/>
                    <a:pt x="56" y="37"/>
                  </a:cubicBezTo>
                  <a:cubicBezTo>
                    <a:pt x="83" y="49"/>
                    <a:pt x="83" y="49"/>
                    <a:pt x="83" y="49"/>
                  </a:cubicBezTo>
                  <a:cubicBezTo>
                    <a:pt x="92" y="53"/>
                    <a:pt x="102" y="59"/>
                    <a:pt x="103" y="59"/>
                  </a:cubicBezTo>
                  <a:cubicBezTo>
                    <a:pt x="105" y="61"/>
                    <a:pt x="107" y="62"/>
                    <a:pt x="109" y="63"/>
                  </a:cubicBezTo>
                  <a:cubicBezTo>
                    <a:pt x="109" y="63"/>
                    <a:pt x="109" y="63"/>
                    <a:pt x="109" y="63"/>
                  </a:cubicBezTo>
                  <a:cubicBezTo>
                    <a:pt x="109" y="63"/>
                    <a:pt x="109" y="63"/>
                    <a:pt x="109" y="63"/>
                  </a:cubicBezTo>
                  <a:cubicBezTo>
                    <a:pt x="109" y="63"/>
                    <a:pt x="106" y="54"/>
                    <a:pt x="98" y="48"/>
                  </a:cubicBezTo>
                  <a:cubicBezTo>
                    <a:pt x="98" y="48"/>
                    <a:pt x="98" y="48"/>
                    <a:pt x="98" y="48"/>
                  </a:cubicBezTo>
                  <a:cubicBezTo>
                    <a:pt x="98" y="48"/>
                    <a:pt x="80" y="34"/>
                    <a:pt x="80" y="34"/>
                  </a:cubicBezTo>
                  <a:cubicBezTo>
                    <a:pt x="74" y="28"/>
                    <a:pt x="71" y="22"/>
                    <a:pt x="71" y="21"/>
                  </a:cubicBezTo>
                  <a:cubicBezTo>
                    <a:pt x="71" y="21"/>
                    <a:pt x="71" y="21"/>
                    <a:pt x="71" y="21"/>
                  </a:cubicBezTo>
                  <a:cubicBezTo>
                    <a:pt x="69" y="15"/>
                    <a:pt x="69" y="10"/>
                    <a:pt x="72" y="6"/>
                  </a:cubicBezTo>
                  <a:cubicBezTo>
                    <a:pt x="72" y="6"/>
                    <a:pt x="75" y="2"/>
                    <a:pt x="79" y="3"/>
                  </a:cubicBezTo>
                  <a:cubicBezTo>
                    <a:pt x="79" y="3"/>
                    <a:pt x="79" y="3"/>
                    <a:pt x="79" y="3"/>
                  </a:cubicBezTo>
                  <a:cubicBezTo>
                    <a:pt x="79" y="2"/>
                    <a:pt x="80" y="2"/>
                    <a:pt x="80" y="2"/>
                  </a:cubicBezTo>
                  <a:cubicBezTo>
                    <a:pt x="80" y="2"/>
                    <a:pt x="80" y="2"/>
                    <a:pt x="80" y="2"/>
                  </a:cubicBezTo>
                  <a:cubicBezTo>
                    <a:pt x="80" y="1"/>
                    <a:pt x="81" y="0"/>
                    <a:pt x="82" y="0"/>
                  </a:cubicBezTo>
                  <a:cubicBezTo>
                    <a:pt x="82" y="0"/>
                    <a:pt x="82" y="0"/>
                    <a:pt x="83" y="1"/>
                  </a:cubicBezTo>
                  <a:cubicBezTo>
                    <a:pt x="134" y="43"/>
                    <a:pt x="134" y="43"/>
                    <a:pt x="134" y="43"/>
                  </a:cubicBezTo>
                  <a:cubicBezTo>
                    <a:pt x="137" y="46"/>
                    <a:pt x="141" y="49"/>
                    <a:pt x="144" y="53"/>
                  </a:cubicBezTo>
                  <a:cubicBezTo>
                    <a:pt x="145" y="55"/>
                    <a:pt x="146" y="56"/>
                    <a:pt x="148" y="57"/>
                  </a:cubicBezTo>
                  <a:cubicBezTo>
                    <a:pt x="148" y="58"/>
                    <a:pt x="149" y="58"/>
                    <a:pt x="149" y="59"/>
                  </a:cubicBezTo>
                  <a:cubicBezTo>
                    <a:pt x="149" y="59"/>
                    <a:pt x="149" y="59"/>
                    <a:pt x="149" y="59"/>
                  </a:cubicBezTo>
                  <a:cubicBezTo>
                    <a:pt x="149" y="58"/>
                    <a:pt x="148" y="57"/>
                    <a:pt x="147" y="56"/>
                  </a:cubicBezTo>
                  <a:cubicBezTo>
                    <a:pt x="146" y="54"/>
                    <a:pt x="145" y="53"/>
                    <a:pt x="144" y="51"/>
                  </a:cubicBezTo>
                  <a:cubicBezTo>
                    <a:pt x="138" y="39"/>
                    <a:pt x="137" y="28"/>
                    <a:pt x="139" y="24"/>
                  </a:cubicBezTo>
                  <a:cubicBezTo>
                    <a:pt x="141" y="22"/>
                    <a:pt x="143" y="19"/>
                    <a:pt x="148" y="17"/>
                  </a:cubicBezTo>
                  <a:cubicBezTo>
                    <a:pt x="149" y="17"/>
                    <a:pt x="150" y="17"/>
                    <a:pt x="151" y="17"/>
                  </a:cubicBezTo>
                  <a:cubicBezTo>
                    <a:pt x="151" y="16"/>
                    <a:pt x="152" y="16"/>
                    <a:pt x="152" y="16"/>
                  </a:cubicBezTo>
                  <a:cubicBezTo>
                    <a:pt x="153" y="16"/>
                    <a:pt x="153" y="17"/>
                    <a:pt x="154" y="18"/>
                  </a:cubicBezTo>
                  <a:cubicBezTo>
                    <a:pt x="155" y="20"/>
                    <a:pt x="156" y="22"/>
                    <a:pt x="157" y="24"/>
                  </a:cubicBezTo>
                  <a:cubicBezTo>
                    <a:pt x="158" y="26"/>
                    <a:pt x="159" y="28"/>
                    <a:pt x="160" y="29"/>
                  </a:cubicBezTo>
                  <a:cubicBezTo>
                    <a:pt x="160" y="30"/>
                    <a:pt x="160" y="31"/>
                    <a:pt x="161" y="32"/>
                  </a:cubicBezTo>
                  <a:cubicBezTo>
                    <a:pt x="161" y="34"/>
                    <a:pt x="162" y="36"/>
                    <a:pt x="163" y="37"/>
                  </a:cubicBezTo>
                  <a:cubicBezTo>
                    <a:pt x="163" y="37"/>
                    <a:pt x="176" y="54"/>
                    <a:pt x="182" y="66"/>
                  </a:cubicBezTo>
                  <a:cubicBezTo>
                    <a:pt x="183" y="68"/>
                    <a:pt x="186" y="75"/>
                    <a:pt x="187" y="76"/>
                  </a:cubicBezTo>
                  <a:cubicBezTo>
                    <a:pt x="187" y="77"/>
                    <a:pt x="187" y="77"/>
                    <a:pt x="187" y="77"/>
                  </a:cubicBezTo>
                  <a:cubicBezTo>
                    <a:pt x="196" y="93"/>
                    <a:pt x="197" y="107"/>
                    <a:pt x="197" y="108"/>
                  </a:cubicBezTo>
                  <a:cubicBezTo>
                    <a:pt x="197" y="108"/>
                    <a:pt x="205" y="226"/>
                    <a:pt x="210" y="254"/>
                  </a:cubicBezTo>
                  <a:cubicBezTo>
                    <a:pt x="215" y="282"/>
                    <a:pt x="220" y="297"/>
                    <a:pt x="220" y="299"/>
                  </a:cubicBezTo>
                  <a:cubicBezTo>
                    <a:pt x="132" y="299"/>
                    <a:pt x="132" y="299"/>
                    <a:pt x="132" y="299"/>
                  </a:cubicBezTo>
                  <a:close/>
                  <a:moveTo>
                    <a:pt x="132" y="299"/>
                  </a:moveTo>
                  <a:cubicBezTo>
                    <a:pt x="132" y="299"/>
                    <a:pt x="132" y="299"/>
                    <a:pt x="132" y="299"/>
                  </a:cubicBezTo>
                </a:path>
              </a:pathLst>
            </a:custGeom>
            <a:grpFill/>
            <a:ln w="19050">
              <a:solidFill>
                <a:srgbClr val="000000"/>
              </a:solidFill>
              <a:round/>
              <a:headEnd/>
              <a:tailEnd/>
            </a:ln>
          </p:spPr>
          <p:txBody>
            <a:bodyPr vert="horz" wrap="square" lIns="99229" tIns="49615" rIns="99229" bIns="49615" numCol="1" anchor="t" anchorCtr="0" compatLnSpc="1">
              <a:prstTxWarp prst="textNoShape">
                <a:avLst/>
              </a:prstTxWarp>
            </a:bodyPr>
            <a:lstStyle/>
            <a:p>
              <a:endParaRPr lang="en-US" sz="2400" dirty="0">
                <a:cs typeface="+mn-ea"/>
                <a:sym typeface="Arial" panose="020B0604020202020204" pitchFamily="34" charset="0"/>
              </a:endParaRPr>
            </a:p>
          </p:txBody>
        </p:sp>
        <p:sp>
          <p:nvSpPr>
            <p:cNvPr id="40" name="Rounded Rectangle 10"/>
            <p:cNvSpPr/>
            <p:nvPr/>
          </p:nvSpPr>
          <p:spPr>
            <a:xfrm>
              <a:off x="580606" y="4081839"/>
              <a:ext cx="1152140" cy="288035"/>
            </a:xfrm>
            <a:prstGeom prst="roundRect">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cs typeface="+mn-ea"/>
                <a:sym typeface="Arial" panose="020B0604020202020204" pitchFamily="34" charset="0"/>
              </a:endParaRPr>
            </a:p>
          </p:txBody>
        </p:sp>
      </p:grpSp>
      <p:grpSp>
        <p:nvGrpSpPr>
          <p:cNvPr id="41" name="Group 13"/>
          <p:cNvGrpSpPr/>
          <p:nvPr/>
        </p:nvGrpSpPr>
        <p:grpSpPr>
          <a:xfrm rot="1521600">
            <a:off x="2346595" y="2284796"/>
            <a:ext cx="306720" cy="306738"/>
            <a:chOff x="3765502" y="2110894"/>
            <a:chExt cx="403249" cy="403249"/>
          </a:xfrm>
        </p:grpSpPr>
        <p:sp>
          <p:nvSpPr>
            <p:cNvPr id="42" name="Oval 11"/>
            <p:cNvSpPr/>
            <p:nvPr/>
          </p:nvSpPr>
          <p:spPr>
            <a:xfrm>
              <a:off x="3765502" y="2110894"/>
              <a:ext cx="403249" cy="403249"/>
            </a:xfrm>
            <a:prstGeom prst="ellipse">
              <a:avLst/>
            </a:prstGeom>
            <a:solidFill>
              <a:srgbClr val="00000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cs typeface="+mn-ea"/>
                <a:sym typeface="Arial" panose="020B0604020202020204" pitchFamily="34" charset="0"/>
              </a:endParaRPr>
            </a:p>
          </p:txBody>
        </p:sp>
        <p:sp>
          <p:nvSpPr>
            <p:cNvPr id="43" name="Rounded Rectangle 12"/>
            <p:cNvSpPr/>
            <p:nvPr/>
          </p:nvSpPr>
          <p:spPr>
            <a:xfrm>
              <a:off x="3938323" y="2110894"/>
              <a:ext cx="57607" cy="403249"/>
            </a:xfrm>
            <a:prstGeom prst="round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cs typeface="+mn-ea"/>
                <a:sym typeface="Arial" panose="020B0604020202020204" pitchFamily="34" charset="0"/>
              </a:endParaRPr>
            </a:p>
          </p:txBody>
        </p:sp>
      </p:grpSp>
      <p:grpSp>
        <p:nvGrpSpPr>
          <p:cNvPr id="44" name="Group 19"/>
          <p:cNvGrpSpPr/>
          <p:nvPr/>
        </p:nvGrpSpPr>
        <p:grpSpPr>
          <a:xfrm rot="10800000">
            <a:off x="5220022" y="3651109"/>
            <a:ext cx="162250" cy="635906"/>
            <a:chOff x="4514393" y="1036303"/>
            <a:chExt cx="115214" cy="1487365"/>
          </a:xfrm>
        </p:grpSpPr>
        <p:cxnSp>
          <p:nvCxnSpPr>
            <p:cNvPr id="45" name="Straight Connector 20"/>
            <p:cNvCxnSpPr/>
            <p:nvPr/>
          </p:nvCxnSpPr>
          <p:spPr>
            <a:xfrm flipV="1">
              <a:off x="4629607" y="1041066"/>
              <a:ext cx="0" cy="1482602"/>
            </a:xfrm>
            <a:prstGeom prst="line">
              <a:avLst/>
            </a:prstGeom>
            <a:ln w="1905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21"/>
            <p:cNvCxnSpPr/>
            <p:nvPr/>
          </p:nvCxnSpPr>
          <p:spPr>
            <a:xfrm flipH="1">
              <a:off x="4514393" y="1036303"/>
              <a:ext cx="115214" cy="0"/>
            </a:xfrm>
            <a:prstGeom prst="line">
              <a:avLst/>
            </a:prstGeom>
            <a:ln w="19050" cap="rnd">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22"/>
            <p:cNvCxnSpPr/>
            <p:nvPr/>
          </p:nvCxnSpPr>
          <p:spPr>
            <a:xfrm flipH="1">
              <a:off x="4514393" y="2523668"/>
              <a:ext cx="115214" cy="0"/>
            </a:xfrm>
            <a:prstGeom prst="line">
              <a:avLst/>
            </a:prstGeom>
            <a:ln w="19050" cap="rnd">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grpSp>
        <p:nvGrpSpPr>
          <p:cNvPr id="48" name="Group 23"/>
          <p:cNvGrpSpPr/>
          <p:nvPr/>
        </p:nvGrpSpPr>
        <p:grpSpPr>
          <a:xfrm rot="10800000">
            <a:off x="5220022" y="2747120"/>
            <a:ext cx="162250" cy="635906"/>
            <a:chOff x="4514393" y="1036303"/>
            <a:chExt cx="115214" cy="1487365"/>
          </a:xfrm>
        </p:grpSpPr>
        <p:cxnSp>
          <p:nvCxnSpPr>
            <p:cNvPr id="49" name="Straight Connector 24"/>
            <p:cNvCxnSpPr/>
            <p:nvPr/>
          </p:nvCxnSpPr>
          <p:spPr>
            <a:xfrm flipV="1">
              <a:off x="4629607" y="1041066"/>
              <a:ext cx="0" cy="1482602"/>
            </a:xfrm>
            <a:prstGeom prst="line">
              <a:avLst/>
            </a:prstGeom>
            <a:ln w="19050" cap="rnd">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25"/>
            <p:cNvCxnSpPr/>
            <p:nvPr/>
          </p:nvCxnSpPr>
          <p:spPr>
            <a:xfrm flipH="1">
              <a:off x="4514393" y="1036303"/>
              <a:ext cx="115214" cy="0"/>
            </a:xfrm>
            <a:prstGeom prst="line">
              <a:avLst/>
            </a:prstGeom>
            <a:ln w="19050" cap="rnd">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51" name="Straight Connector 26"/>
            <p:cNvCxnSpPr/>
            <p:nvPr/>
          </p:nvCxnSpPr>
          <p:spPr>
            <a:xfrm flipH="1">
              <a:off x="4514393" y="2523668"/>
              <a:ext cx="115214" cy="0"/>
            </a:xfrm>
            <a:prstGeom prst="line">
              <a:avLst/>
            </a:prstGeom>
            <a:ln w="19050" cap="rnd">
              <a:solidFill>
                <a:schemeClr val="accent2"/>
              </a:solidFill>
              <a:prstDash val="solid"/>
            </a:ln>
          </p:spPr>
          <p:style>
            <a:lnRef idx="1">
              <a:schemeClr val="accent1"/>
            </a:lnRef>
            <a:fillRef idx="0">
              <a:schemeClr val="accent1"/>
            </a:fillRef>
            <a:effectRef idx="0">
              <a:schemeClr val="accent1"/>
            </a:effectRef>
            <a:fontRef idx="minor">
              <a:schemeClr val="tx1"/>
            </a:fontRef>
          </p:style>
        </p:cxnSp>
      </p:grpSp>
      <p:grpSp>
        <p:nvGrpSpPr>
          <p:cNvPr id="52" name="Group 27"/>
          <p:cNvGrpSpPr/>
          <p:nvPr/>
        </p:nvGrpSpPr>
        <p:grpSpPr>
          <a:xfrm rot="10800000">
            <a:off x="5220022" y="1751093"/>
            <a:ext cx="162250" cy="635906"/>
            <a:chOff x="4514393" y="1036303"/>
            <a:chExt cx="115214" cy="1487365"/>
          </a:xfrm>
        </p:grpSpPr>
        <p:cxnSp>
          <p:nvCxnSpPr>
            <p:cNvPr id="53" name="Straight Connector 28"/>
            <p:cNvCxnSpPr/>
            <p:nvPr/>
          </p:nvCxnSpPr>
          <p:spPr>
            <a:xfrm flipV="1">
              <a:off x="4629607" y="1041066"/>
              <a:ext cx="0" cy="1482602"/>
            </a:xfrm>
            <a:prstGeom prst="line">
              <a:avLst/>
            </a:prstGeom>
            <a:ln w="1905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30"/>
            <p:cNvCxnSpPr/>
            <p:nvPr/>
          </p:nvCxnSpPr>
          <p:spPr>
            <a:xfrm flipH="1">
              <a:off x="4514393" y="1036303"/>
              <a:ext cx="115214" cy="0"/>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55" name="Straight Connector 31"/>
            <p:cNvCxnSpPr/>
            <p:nvPr/>
          </p:nvCxnSpPr>
          <p:spPr>
            <a:xfrm flipH="1">
              <a:off x="4514393" y="2523668"/>
              <a:ext cx="115214" cy="0"/>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cxnSp>
        <p:nvCxnSpPr>
          <p:cNvPr id="56" name="Straight Connector 32"/>
          <p:cNvCxnSpPr/>
          <p:nvPr/>
        </p:nvCxnSpPr>
        <p:spPr>
          <a:xfrm>
            <a:off x="2986061" y="2056395"/>
            <a:ext cx="2233978" cy="0"/>
          </a:xfrm>
          <a:prstGeom prst="line">
            <a:avLst/>
          </a:prstGeom>
          <a:ln w="19050">
            <a:solidFill>
              <a:schemeClr val="accent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57" name="Elbow Connector 33"/>
          <p:cNvCxnSpPr/>
          <p:nvPr/>
        </p:nvCxnSpPr>
        <p:spPr>
          <a:xfrm>
            <a:off x="2985766" y="2348577"/>
            <a:ext cx="2234280" cy="717517"/>
          </a:xfrm>
          <a:prstGeom prst="bentConnector3">
            <a:avLst>
              <a:gd name="adj1" fmla="val 79927"/>
            </a:avLst>
          </a:prstGeom>
          <a:ln w="19050" cmpd="sng">
            <a:solidFill>
              <a:schemeClr val="accent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82" name="Elbow Connector 34"/>
          <p:cNvCxnSpPr/>
          <p:nvPr/>
        </p:nvCxnSpPr>
        <p:spPr>
          <a:xfrm>
            <a:off x="2986061" y="2665507"/>
            <a:ext cx="2233978" cy="1313788"/>
          </a:xfrm>
          <a:prstGeom prst="bentConnector3">
            <a:avLst>
              <a:gd name="adj1" fmla="val 65448"/>
            </a:avLst>
          </a:prstGeom>
          <a:ln w="19050" cmpd="sng">
            <a:solidFill>
              <a:schemeClr val="accent3"/>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94" name="TextBox 63"/>
          <p:cNvSpPr txBox="1"/>
          <p:nvPr/>
        </p:nvSpPr>
        <p:spPr>
          <a:xfrm>
            <a:off x="6864350" y="3795805"/>
            <a:ext cx="4832349" cy="400110"/>
          </a:xfrm>
          <a:prstGeom prst="rect">
            <a:avLst/>
          </a:prstGeom>
          <a:noFill/>
        </p:spPr>
        <p:txBody>
          <a:bodyPr wrap="square" lIns="0" tIns="0" rIns="0" bIns="0" rtlCol="0" anchor="ctr">
            <a:spAutoFit/>
          </a:bodyPr>
          <a:lstStyle/>
          <a:p>
            <a:pPr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p>
        </p:txBody>
      </p:sp>
      <p:sp>
        <p:nvSpPr>
          <p:cNvPr id="95" name="TextBox 66"/>
          <p:cNvSpPr txBox="1"/>
          <p:nvPr/>
        </p:nvSpPr>
        <p:spPr>
          <a:xfrm>
            <a:off x="6864350" y="1812061"/>
            <a:ext cx="4832349" cy="400110"/>
          </a:xfrm>
          <a:prstGeom prst="rect">
            <a:avLst/>
          </a:prstGeom>
          <a:noFill/>
        </p:spPr>
        <p:txBody>
          <a:bodyPr wrap="square" lIns="0" tIns="0" rIns="0" bIns="0" rtlCol="0" anchor="ctr">
            <a:spAutoFit/>
          </a:bodyPr>
          <a:lstStyle/>
          <a:p>
            <a:pPr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p>
        </p:txBody>
      </p:sp>
      <p:sp>
        <p:nvSpPr>
          <p:cNvPr id="97" name="TextBox 69"/>
          <p:cNvSpPr txBox="1"/>
          <p:nvPr/>
        </p:nvSpPr>
        <p:spPr>
          <a:xfrm>
            <a:off x="6864353" y="2803933"/>
            <a:ext cx="4832351" cy="400110"/>
          </a:xfrm>
          <a:prstGeom prst="rect">
            <a:avLst/>
          </a:prstGeom>
          <a:noFill/>
        </p:spPr>
        <p:txBody>
          <a:bodyPr wrap="square" lIns="0" tIns="0" rIns="0" bIns="0" rtlCol="0" anchor="ctr">
            <a:spAutoFit/>
          </a:bodyPr>
          <a:lstStyle/>
          <a:p>
            <a:pPr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p>
        </p:txBody>
      </p:sp>
      <p:sp>
        <p:nvSpPr>
          <p:cNvPr id="98" name="Text Placeholder 3"/>
          <p:cNvSpPr txBox="1">
            <a:spLocks/>
          </p:cNvSpPr>
          <p:nvPr/>
        </p:nvSpPr>
        <p:spPr>
          <a:xfrm>
            <a:off x="5904899" y="1759951"/>
            <a:ext cx="804707" cy="553998"/>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sz="3600" dirty="0">
                <a:solidFill>
                  <a:schemeClr val="accent1"/>
                </a:solidFill>
                <a:cs typeface="+mn-ea"/>
                <a:sym typeface="Arial" panose="020B0604020202020204" pitchFamily="34" charset="0"/>
              </a:rPr>
              <a:t>35%</a:t>
            </a:r>
          </a:p>
        </p:txBody>
      </p:sp>
      <p:sp>
        <p:nvSpPr>
          <p:cNvPr id="99" name="Text Placeholder 3"/>
          <p:cNvSpPr txBox="1">
            <a:spLocks/>
          </p:cNvSpPr>
          <p:nvPr/>
        </p:nvSpPr>
        <p:spPr>
          <a:xfrm>
            <a:off x="5904899" y="2730783"/>
            <a:ext cx="804707" cy="553998"/>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sz="3600" dirty="0">
                <a:solidFill>
                  <a:schemeClr val="accent2"/>
                </a:solidFill>
                <a:cs typeface="+mn-ea"/>
                <a:sym typeface="Arial" panose="020B0604020202020204" pitchFamily="34" charset="0"/>
              </a:rPr>
              <a:t>50%</a:t>
            </a:r>
          </a:p>
        </p:txBody>
      </p:sp>
      <p:sp>
        <p:nvSpPr>
          <p:cNvPr id="100" name="Text Placeholder 3"/>
          <p:cNvSpPr txBox="1">
            <a:spLocks/>
          </p:cNvSpPr>
          <p:nvPr/>
        </p:nvSpPr>
        <p:spPr>
          <a:xfrm>
            <a:off x="5904899" y="3702759"/>
            <a:ext cx="804707" cy="553998"/>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sz="3600" dirty="0">
                <a:solidFill>
                  <a:schemeClr val="accent3"/>
                </a:solidFill>
                <a:cs typeface="+mn-ea"/>
                <a:sym typeface="Arial" panose="020B0604020202020204" pitchFamily="34" charset="0"/>
              </a:rPr>
              <a:t>15%</a:t>
            </a:r>
          </a:p>
        </p:txBody>
      </p:sp>
      <p:sp>
        <p:nvSpPr>
          <p:cNvPr id="102" name="Text Placeholder 3"/>
          <p:cNvSpPr txBox="1">
            <a:spLocks/>
          </p:cNvSpPr>
          <p:nvPr/>
        </p:nvSpPr>
        <p:spPr>
          <a:xfrm>
            <a:off x="1447484" y="4953120"/>
            <a:ext cx="2026196"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600" b="1" dirty="0">
                <a:solidFill>
                  <a:srgbClr val="000000"/>
                </a:solidFill>
                <a:cs typeface="+mn-ea"/>
                <a:sym typeface="Arial" panose="020B0604020202020204" pitchFamily="34" charset="0"/>
              </a:rPr>
              <a:t>Please replace with text</a:t>
            </a:r>
            <a:endParaRPr lang="en-US" sz="1600" b="1" dirty="0">
              <a:solidFill>
                <a:srgbClr val="000000"/>
              </a:solidFill>
              <a:cs typeface="+mn-ea"/>
              <a:sym typeface="Arial" panose="020B0604020202020204" pitchFamily="34" charset="0"/>
            </a:endParaRPr>
          </a:p>
        </p:txBody>
      </p:sp>
      <p:sp>
        <p:nvSpPr>
          <p:cNvPr id="111" name="Text Placeholder 3"/>
          <p:cNvSpPr txBox="1">
            <a:spLocks/>
          </p:cNvSpPr>
          <p:nvPr/>
        </p:nvSpPr>
        <p:spPr>
          <a:xfrm>
            <a:off x="1447506" y="5340676"/>
            <a:ext cx="2111283" cy="800219"/>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endParaRPr lang="en-US" sz="1300" dirty="0">
              <a:solidFill>
                <a:srgbClr val="000000"/>
              </a:solidFill>
              <a:cs typeface="+mn-ea"/>
              <a:sym typeface="Arial" panose="020B0604020202020204" pitchFamily="34" charset="0"/>
            </a:endParaRPr>
          </a:p>
        </p:txBody>
      </p:sp>
      <p:sp>
        <p:nvSpPr>
          <p:cNvPr id="112" name="Text Placeholder 3"/>
          <p:cNvSpPr txBox="1">
            <a:spLocks/>
          </p:cNvSpPr>
          <p:nvPr/>
        </p:nvSpPr>
        <p:spPr>
          <a:xfrm>
            <a:off x="889555" y="5283369"/>
            <a:ext cx="416782" cy="492443"/>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705561">
              <a:defRPr/>
            </a:pPr>
            <a:r>
              <a:rPr lang="en-US" sz="3200" b="0" dirty="0">
                <a:solidFill>
                  <a:schemeClr val="accent1"/>
                </a:solidFill>
                <a:cs typeface="+mn-ea"/>
                <a:sym typeface="Arial" panose="020B0604020202020204" pitchFamily="34" charset="0"/>
              </a:rPr>
              <a:t>01</a:t>
            </a:r>
          </a:p>
        </p:txBody>
      </p:sp>
      <p:sp>
        <p:nvSpPr>
          <p:cNvPr id="113" name="Text Placeholder 3"/>
          <p:cNvSpPr txBox="1">
            <a:spLocks/>
          </p:cNvSpPr>
          <p:nvPr/>
        </p:nvSpPr>
        <p:spPr>
          <a:xfrm>
            <a:off x="4480228" y="4953120"/>
            <a:ext cx="2026196"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600" b="1" dirty="0">
                <a:solidFill>
                  <a:srgbClr val="000000"/>
                </a:solidFill>
                <a:cs typeface="+mn-ea"/>
                <a:sym typeface="Arial" panose="020B0604020202020204" pitchFamily="34" charset="0"/>
              </a:rPr>
              <a:t>Please replace with text</a:t>
            </a:r>
            <a:endParaRPr lang="en-US" sz="1600" b="1" dirty="0">
              <a:solidFill>
                <a:srgbClr val="000000"/>
              </a:solidFill>
              <a:cs typeface="+mn-ea"/>
              <a:sym typeface="Arial" panose="020B0604020202020204" pitchFamily="34" charset="0"/>
            </a:endParaRPr>
          </a:p>
        </p:txBody>
      </p:sp>
      <p:sp>
        <p:nvSpPr>
          <p:cNvPr id="114" name="Text Placeholder 3"/>
          <p:cNvSpPr txBox="1">
            <a:spLocks/>
          </p:cNvSpPr>
          <p:nvPr/>
        </p:nvSpPr>
        <p:spPr>
          <a:xfrm>
            <a:off x="4480240" y="5340676"/>
            <a:ext cx="2111283" cy="800219"/>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endParaRPr lang="en-US" sz="1300" dirty="0">
              <a:solidFill>
                <a:srgbClr val="000000"/>
              </a:solidFill>
              <a:cs typeface="+mn-ea"/>
              <a:sym typeface="Arial" panose="020B0604020202020204" pitchFamily="34" charset="0"/>
            </a:endParaRPr>
          </a:p>
        </p:txBody>
      </p:sp>
      <p:sp>
        <p:nvSpPr>
          <p:cNvPr id="115" name="Text Placeholder 3"/>
          <p:cNvSpPr txBox="1">
            <a:spLocks/>
          </p:cNvSpPr>
          <p:nvPr/>
        </p:nvSpPr>
        <p:spPr>
          <a:xfrm>
            <a:off x="3837071" y="5283369"/>
            <a:ext cx="416782" cy="492443"/>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705561">
              <a:defRPr/>
            </a:pPr>
            <a:r>
              <a:rPr lang="en-US" sz="3200" b="0" dirty="0">
                <a:solidFill>
                  <a:schemeClr val="accent2"/>
                </a:solidFill>
                <a:cs typeface="+mn-ea"/>
                <a:sym typeface="Arial" panose="020B0604020202020204" pitchFamily="34" charset="0"/>
              </a:rPr>
              <a:t>02</a:t>
            </a:r>
          </a:p>
        </p:txBody>
      </p:sp>
      <p:sp>
        <p:nvSpPr>
          <p:cNvPr id="116" name="Text Placeholder 3"/>
          <p:cNvSpPr txBox="1">
            <a:spLocks/>
          </p:cNvSpPr>
          <p:nvPr/>
        </p:nvSpPr>
        <p:spPr>
          <a:xfrm>
            <a:off x="7496724" y="4953120"/>
            <a:ext cx="2026196"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600" b="1" dirty="0">
                <a:solidFill>
                  <a:srgbClr val="000000"/>
                </a:solidFill>
                <a:cs typeface="+mn-ea"/>
                <a:sym typeface="Arial" panose="020B0604020202020204" pitchFamily="34" charset="0"/>
              </a:rPr>
              <a:t>Please replace with text</a:t>
            </a:r>
            <a:endParaRPr lang="en-US" sz="1600" b="1" dirty="0">
              <a:solidFill>
                <a:srgbClr val="000000"/>
              </a:solidFill>
              <a:cs typeface="+mn-ea"/>
              <a:sym typeface="Arial" panose="020B0604020202020204" pitchFamily="34" charset="0"/>
            </a:endParaRPr>
          </a:p>
        </p:txBody>
      </p:sp>
      <p:sp>
        <p:nvSpPr>
          <p:cNvPr id="117" name="Text Placeholder 3"/>
          <p:cNvSpPr txBox="1">
            <a:spLocks/>
          </p:cNvSpPr>
          <p:nvPr/>
        </p:nvSpPr>
        <p:spPr>
          <a:xfrm>
            <a:off x="7496735" y="5340676"/>
            <a:ext cx="2111283" cy="800219"/>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endParaRPr lang="en-US" sz="1300" dirty="0">
              <a:solidFill>
                <a:srgbClr val="000000"/>
              </a:solidFill>
              <a:cs typeface="+mn-ea"/>
              <a:sym typeface="Arial" panose="020B0604020202020204" pitchFamily="34" charset="0"/>
            </a:endParaRPr>
          </a:p>
        </p:txBody>
      </p:sp>
      <p:sp>
        <p:nvSpPr>
          <p:cNvPr id="118" name="Text Placeholder 3"/>
          <p:cNvSpPr txBox="1">
            <a:spLocks/>
          </p:cNvSpPr>
          <p:nvPr/>
        </p:nvSpPr>
        <p:spPr>
          <a:xfrm>
            <a:off x="6864350" y="5283369"/>
            <a:ext cx="416782" cy="492443"/>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705561">
              <a:defRPr/>
            </a:pPr>
            <a:r>
              <a:rPr lang="en-US" sz="3200" b="0" dirty="0">
                <a:solidFill>
                  <a:schemeClr val="accent3"/>
                </a:solidFill>
                <a:cs typeface="+mn-ea"/>
                <a:sym typeface="Arial" panose="020B0604020202020204" pitchFamily="34" charset="0"/>
              </a:rPr>
              <a:t>03</a:t>
            </a:r>
          </a:p>
        </p:txBody>
      </p:sp>
    </p:spTree>
    <p:custDataLst>
      <p:tags r:id="rId1"/>
    </p:custDataLst>
    <p:extLst>
      <p:ext uri="{BB962C8B-B14F-4D97-AF65-F5344CB8AC3E}">
        <p14:creationId xmlns:p14="http://schemas.microsoft.com/office/powerpoint/2010/main" val="1867776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6EFD14B7-F154-524B-B194-8214CFE876D8}"/>
              </a:ext>
            </a:extLst>
          </p:cNvPr>
          <p:cNvSpPr>
            <a:spLocks/>
          </p:cNvSpPr>
          <p:nvPr/>
        </p:nvSpPr>
        <p:spPr bwMode="auto">
          <a:xfrm>
            <a:off x="553991" y="1714500"/>
            <a:ext cx="273050" cy="4629966"/>
          </a:xfrm>
          <a:custGeom>
            <a:avLst/>
            <a:gdLst>
              <a:gd name="T0" fmla="*/ 0 w 401"/>
              <a:gd name="T1" fmla="*/ 7214 h 7214"/>
              <a:gd name="T2" fmla="*/ 0 w 401"/>
              <a:gd name="T3" fmla="*/ 7214 h 7214"/>
              <a:gd name="T4" fmla="*/ 401 w 401"/>
              <a:gd name="T5" fmla="*/ 7214 h 7214"/>
              <a:gd name="T6" fmla="*/ 401 w 401"/>
              <a:gd name="T7" fmla="*/ 0 h 7214"/>
              <a:gd name="T8" fmla="*/ 0 w 401"/>
              <a:gd name="T9" fmla="*/ 0 h 7214"/>
              <a:gd name="T10" fmla="*/ 0 w 401"/>
              <a:gd name="T11" fmla="*/ 7214 h 7214"/>
            </a:gdLst>
            <a:ahLst/>
            <a:cxnLst>
              <a:cxn ang="0">
                <a:pos x="T0" y="T1"/>
              </a:cxn>
              <a:cxn ang="0">
                <a:pos x="T2" y="T3"/>
              </a:cxn>
              <a:cxn ang="0">
                <a:pos x="T4" y="T5"/>
              </a:cxn>
              <a:cxn ang="0">
                <a:pos x="T6" y="T7"/>
              </a:cxn>
              <a:cxn ang="0">
                <a:pos x="T8" y="T9"/>
              </a:cxn>
              <a:cxn ang="0">
                <a:pos x="T10" y="T11"/>
              </a:cxn>
            </a:cxnLst>
            <a:rect l="0" t="0" r="r" b="b"/>
            <a:pathLst>
              <a:path w="401" h="7214">
                <a:moveTo>
                  <a:pt x="0" y="7214"/>
                </a:moveTo>
                <a:lnTo>
                  <a:pt x="0" y="7214"/>
                </a:lnTo>
                <a:lnTo>
                  <a:pt x="401" y="7214"/>
                </a:lnTo>
                <a:lnTo>
                  <a:pt x="401" y="0"/>
                </a:lnTo>
                <a:lnTo>
                  <a:pt x="0" y="0"/>
                </a:lnTo>
                <a:lnTo>
                  <a:pt x="0" y="7214"/>
                </a:lnTo>
                <a:close/>
              </a:path>
            </a:pathLst>
          </a:custGeom>
          <a:solidFill>
            <a:srgbClr val="000000"/>
          </a:solidFill>
          <a:ln w="0">
            <a:noFill/>
            <a:prstDash val="solid"/>
            <a:round/>
            <a:headEnd/>
            <a:tailEnd/>
          </a:ln>
        </p:spPr>
        <p:txBody>
          <a:bodyPr vert="horz" wrap="square" lIns="91370" tIns="45685" rIns="91370" bIns="45685" numCol="1" anchor="t" anchorCtr="0" compatLnSpc="1">
            <a:prstTxWarp prst="textNoShape">
              <a:avLst/>
            </a:prstTxWarp>
          </a:bodyPr>
          <a:lstStyle/>
          <a:p>
            <a:pPr defTabSz="913686"/>
            <a:endParaRPr lang="en-US" dirty="0">
              <a:solidFill>
                <a:prstClr val="black"/>
              </a:solidFill>
            </a:endParaRPr>
          </a:p>
        </p:txBody>
      </p:sp>
      <p:sp>
        <p:nvSpPr>
          <p:cNvPr id="43" name="Rectangle 42">
            <a:extLst>
              <a:ext uri="{FF2B5EF4-FFF2-40B4-BE49-F238E27FC236}">
                <a16:creationId xmlns:a16="http://schemas.microsoft.com/office/drawing/2014/main" id="{62DF63C5-3DC8-DB49-B5D3-F6742AEC7AA3}"/>
              </a:ext>
            </a:extLst>
          </p:cNvPr>
          <p:cNvSpPr/>
          <p:nvPr/>
        </p:nvSpPr>
        <p:spPr>
          <a:xfrm>
            <a:off x="2895601" y="2057400"/>
            <a:ext cx="8872537" cy="1000274"/>
          </a:xfrm>
          <a:prstGeom prst="rect">
            <a:avLst/>
          </a:prstGeom>
          <a:noFill/>
        </p:spPr>
        <p:txBody>
          <a:bodyPr wrap="square" lIns="0" tIns="0" rIns="0" bIns="0" rtlCol="0" anchor="t">
            <a:spAutoFit/>
          </a:bodyPr>
          <a:lstStyle/>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64972" lvl="1" indent="-164972" defTabSz="913686">
              <a:buSzPct val="100000"/>
              <a:buFont typeface="Arial"/>
              <a:buChar char="•"/>
              <a:defRPr/>
            </a:pPr>
            <a:endParaRPr lang="en-US" sz="1300" dirty="0">
              <a:solidFill>
                <a:srgbClr val="313131"/>
              </a:solidFill>
            </a:endParaRPr>
          </a:p>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nvGrpSpPr>
          <p:cNvPr id="5" name="Group 4"/>
          <p:cNvGrpSpPr/>
          <p:nvPr/>
        </p:nvGrpSpPr>
        <p:grpSpPr>
          <a:xfrm>
            <a:off x="384999" y="2057400"/>
            <a:ext cx="2394405" cy="857250"/>
            <a:chOff x="384999" y="2057400"/>
            <a:chExt cx="2394405" cy="857250"/>
          </a:xfrm>
        </p:grpSpPr>
        <p:sp>
          <p:nvSpPr>
            <p:cNvPr id="2" name="Isosceles Triangle 1"/>
            <p:cNvSpPr/>
            <p:nvPr/>
          </p:nvSpPr>
          <p:spPr bwMode="gray">
            <a:xfrm rot="16200000">
              <a:off x="270707" y="2631366"/>
              <a:ext cx="397576" cy="168992"/>
            </a:xfrm>
            <a:prstGeom prst="triangl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 name="Pentagon 14">
              <a:extLst>
                <a:ext uri="{FF2B5EF4-FFF2-40B4-BE49-F238E27FC236}">
                  <a16:creationId xmlns:a16="http://schemas.microsoft.com/office/drawing/2014/main" id="{3F3C8098-EE61-4B40-AF5E-2139C6737A97}"/>
                </a:ext>
              </a:extLst>
            </p:cNvPr>
            <p:cNvSpPr>
              <a:spLocks/>
            </p:cNvSpPr>
            <p:nvPr/>
          </p:nvSpPr>
          <p:spPr bwMode="auto">
            <a:xfrm>
              <a:off x="384999" y="2057400"/>
              <a:ext cx="2394405" cy="658462"/>
            </a:xfrm>
            <a:prstGeom prst="homePlate">
              <a:avLst/>
            </a:pr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dirty="0">
                <a:solidFill>
                  <a:prstClr val="black"/>
                </a:solidFill>
              </a:endParaRPr>
            </a:p>
          </p:txBody>
        </p:sp>
        <p:sp>
          <p:nvSpPr>
            <p:cNvPr id="19" name="Pentagon 18">
              <a:extLst>
                <a:ext uri="{FF2B5EF4-FFF2-40B4-BE49-F238E27FC236}">
                  <a16:creationId xmlns:a16="http://schemas.microsoft.com/office/drawing/2014/main" id="{3F3C8098-EE61-4B40-AF5E-2139C6737A97}"/>
                </a:ext>
              </a:extLst>
            </p:cNvPr>
            <p:cNvSpPr>
              <a:spLocks/>
            </p:cNvSpPr>
            <p:nvPr/>
          </p:nvSpPr>
          <p:spPr bwMode="auto">
            <a:xfrm>
              <a:off x="481013" y="2126456"/>
              <a:ext cx="2200169" cy="520350"/>
            </a:xfrm>
            <a:prstGeom prst="homePlate">
              <a:avLst/>
            </a:prstGeom>
            <a:solidFill>
              <a:schemeClr val="bg1"/>
            </a:solidFill>
            <a:ln w="0">
              <a:noFill/>
              <a:prstDash val="solid"/>
              <a:round/>
              <a:headEnd/>
              <a:tailEnd/>
            </a:ln>
          </p:spPr>
          <p:txBody>
            <a:bodyPr vert="horz" wrap="square" lIns="91440" tIns="45720" rIns="91440" bIns="45720" numCol="1" anchor="ctr" anchorCtr="0" compatLnSpc="1">
              <a:prstTxWarp prst="textNoShape">
                <a:avLst/>
              </a:prstTxWarp>
            </a:bodyPr>
            <a:lstStyle/>
            <a:p>
              <a:pPr defTabSz="913686"/>
              <a:r>
                <a:rPr lang="en-US" sz="1300" b="1" dirty="0">
                  <a:solidFill>
                    <a:srgbClr val="313131"/>
                  </a:solidFill>
                </a:rPr>
                <a:t>Lorem ipsum</a:t>
              </a:r>
            </a:p>
          </p:txBody>
        </p:sp>
      </p:grpSp>
      <p:grpSp>
        <p:nvGrpSpPr>
          <p:cNvPr id="4" name="Group 3"/>
          <p:cNvGrpSpPr/>
          <p:nvPr/>
        </p:nvGrpSpPr>
        <p:grpSpPr>
          <a:xfrm>
            <a:off x="384999" y="3424703"/>
            <a:ext cx="2394405" cy="857250"/>
            <a:chOff x="384999" y="3244289"/>
            <a:chExt cx="2394405" cy="857250"/>
          </a:xfrm>
        </p:grpSpPr>
        <p:sp>
          <p:nvSpPr>
            <p:cNvPr id="24" name="Isosceles Triangle 23"/>
            <p:cNvSpPr/>
            <p:nvPr/>
          </p:nvSpPr>
          <p:spPr bwMode="gray">
            <a:xfrm rot="16200000">
              <a:off x="270707" y="3818255"/>
              <a:ext cx="397576" cy="168992"/>
            </a:xfrm>
            <a:prstGeom prst="triangle">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5" name="Pentagon 24">
              <a:extLst>
                <a:ext uri="{FF2B5EF4-FFF2-40B4-BE49-F238E27FC236}">
                  <a16:creationId xmlns:a16="http://schemas.microsoft.com/office/drawing/2014/main" id="{3F3C8098-EE61-4B40-AF5E-2139C6737A97}"/>
                </a:ext>
              </a:extLst>
            </p:cNvPr>
            <p:cNvSpPr>
              <a:spLocks/>
            </p:cNvSpPr>
            <p:nvPr/>
          </p:nvSpPr>
          <p:spPr bwMode="auto">
            <a:xfrm>
              <a:off x="384999" y="3244289"/>
              <a:ext cx="2394405" cy="658462"/>
            </a:xfrm>
            <a:prstGeom prst="homePlate">
              <a:avLst/>
            </a:prstGeom>
            <a:solidFill>
              <a:srgbClr val="009A44"/>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dirty="0">
                <a:solidFill>
                  <a:prstClr val="black"/>
                </a:solidFill>
              </a:endParaRPr>
            </a:p>
          </p:txBody>
        </p:sp>
        <p:sp>
          <p:nvSpPr>
            <p:cNvPr id="26" name="Pentagon 25">
              <a:extLst>
                <a:ext uri="{FF2B5EF4-FFF2-40B4-BE49-F238E27FC236}">
                  <a16:creationId xmlns:a16="http://schemas.microsoft.com/office/drawing/2014/main" id="{3F3C8098-EE61-4B40-AF5E-2139C6737A97}"/>
                </a:ext>
              </a:extLst>
            </p:cNvPr>
            <p:cNvSpPr>
              <a:spLocks/>
            </p:cNvSpPr>
            <p:nvPr/>
          </p:nvSpPr>
          <p:spPr bwMode="auto">
            <a:xfrm>
              <a:off x="481013" y="3313345"/>
              <a:ext cx="2200169" cy="520350"/>
            </a:xfrm>
            <a:prstGeom prst="homePlate">
              <a:avLst/>
            </a:prstGeom>
            <a:solidFill>
              <a:schemeClr val="bg1"/>
            </a:solidFill>
            <a:ln w="0">
              <a:noFill/>
              <a:prstDash val="solid"/>
              <a:round/>
              <a:headEnd/>
              <a:tailEnd/>
            </a:ln>
          </p:spPr>
          <p:txBody>
            <a:bodyPr vert="horz" wrap="square" lIns="91440" tIns="45720" rIns="91440" bIns="45720" numCol="1" anchor="ctr" anchorCtr="0" compatLnSpc="1">
              <a:prstTxWarp prst="textNoShape">
                <a:avLst/>
              </a:prstTxWarp>
            </a:bodyPr>
            <a:lstStyle/>
            <a:p>
              <a:pPr defTabSz="913686"/>
              <a:r>
                <a:rPr lang="en-US" sz="1300" b="1" dirty="0">
                  <a:solidFill>
                    <a:srgbClr val="313131"/>
                  </a:solidFill>
                </a:rPr>
                <a:t>Lorem ipsum</a:t>
              </a:r>
            </a:p>
          </p:txBody>
        </p:sp>
      </p:grpSp>
      <p:grpSp>
        <p:nvGrpSpPr>
          <p:cNvPr id="3" name="Group 2"/>
          <p:cNvGrpSpPr/>
          <p:nvPr/>
        </p:nvGrpSpPr>
        <p:grpSpPr>
          <a:xfrm>
            <a:off x="384999" y="4792005"/>
            <a:ext cx="2394405" cy="857250"/>
            <a:chOff x="384999" y="4465145"/>
            <a:chExt cx="2394405" cy="857250"/>
          </a:xfrm>
        </p:grpSpPr>
        <p:sp>
          <p:nvSpPr>
            <p:cNvPr id="28" name="Isosceles Triangle 27"/>
            <p:cNvSpPr/>
            <p:nvPr/>
          </p:nvSpPr>
          <p:spPr bwMode="gray">
            <a:xfrm rot="16200000">
              <a:off x="270707" y="5039111"/>
              <a:ext cx="397576" cy="168992"/>
            </a:xfrm>
            <a:prstGeom prst="triangle">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9" name="Pentagon 28">
              <a:extLst>
                <a:ext uri="{FF2B5EF4-FFF2-40B4-BE49-F238E27FC236}">
                  <a16:creationId xmlns:a16="http://schemas.microsoft.com/office/drawing/2014/main" id="{3F3C8098-EE61-4B40-AF5E-2139C6737A97}"/>
                </a:ext>
              </a:extLst>
            </p:cNvPr>
            <p:cNvSpPr>
              <a:spLocks/>
            </p:cNvSpPr>
            <p:nvPr/>
          </p:nvSpPr>
          <p:spPr bwMode="auto">
            <a:xfrm>
              <a:off x="384999" y="4465145"/>
              <a:ext cx="2394405" cy="658462"/>
            </a:xfrm>
            <a:prstGeom prst="homePlate">
              <a:avLst/>
            </a:prstGeom>
            <a:solidFill>
              <a:srgbClr val="86BC2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dirty="0">
                <a:solidFill>
                  <a:prstClr val="black"/>
                </a:solidFill>
              </a:endParaRPr>
            </a:p>
          </p:txBody>
        </p:sp>
        <p:sp>
          <p:nvSpPr>
            <p:cNvPr id="30" name="Pentagon 29">
              <a:extLst>
                <a:ext uri="{FF2B5EF4-FFF2-40B4-BE49-F238E27FC236}">
                  <a16:creationId xmlns:a16="http://schemas.microsoft.com/office/drawing/2014/main" id="{3F3C8098-EE61-4B40-AF5E-2139C6737A97}"/>
                </a:ext>
              </a:extLst>
            </p:cNvPr>
            <p:cNvSpPr>
              <a:spLocks/>
            </p:cNvSpPr>
            <p:nvPr/>
          </p:nvSpPr>
          <p:spPr bwMode="auto">
            <a:xfrm>
              <a:off x="481013" y="4534201"/>
              <a:ext cx="2200169" cy="520350"/>
            </a:xfrm>
            <a:prstGeom prst="homePlate">
              <a:avLst/>
            </a:prstGeom>
            <a:solidFill>
              <a:schemeClr val="bg1"/>
            </a:solidFill>
            <a:ln w="0">
              <a:noFill/>
              <a:prstDash val="solid"/>
              <a:round/>
              <a:headEnd/>
              <a:tailEnd/>
            </a:ln>
          </p:spPr>
          <p:txBody>
            <a:bodyPr vert="horz" wrap="square" lIns="91440" tIns="45720" rIns="91440" bIns="45720" numCol="1" anchor="ctr" anchorCtr="0" compatLnSpc="1">
              <a:prstTxWarp prst="textNoShape">
                <a:avLst/>
              </a:prstTxWarp>
            </a:bodyPr>
            <a:lstStyle/>
            <a:p>
              <a:pPr defTabSz="913686"/>
              <a:r>
                <a:rPr lang="en-US" sz="1300" b="1" dirty="0">
                  <a:solidFill>
                    <a:srgbClr val="313131"/>
                  </a:solidFill>
                </a:rPr>
                <a:t>Lorem ipsum</a:t>
              </a:r>
            </a:p>
          </p:txBody>
        </p:sp>
      </p:grpSp>
      <p:sp>
        <p:nvSpPr>
          <p:cNvPr id="31" name="Rectangle 30">
            <a:extLst>
              <a:ext uri="{FF2B5EF4-FFF2-40B4-BE49-F238E27FC236}">
                <a16:creationId xmlns:a16="http://schemas.microsoft.com/office/drawing/2014/main" id="{62DF63C5-3DC8-DB49-B5D3-F6742AEC7AA3}"/>
              </a:ext>
            </a:extLst>
          </p:cNvPr>
          <p:cNvSpPr/>
          <p:nvPr/>
        </p:nvSpPr>
        <p:spPr>
          <a:xfrm>
            <a:off x="2895601" y="3424703"/>
            <a:ext cx="8872537" cy="1000274"/>
          </a:xfrm>
          <a:prstGeom prst="rect">
            <a:avLst/>
          </a:prstGeom>
          <a:noFill/>
        </p:spPr>
        <p:txBody>
          <a:bodyPr wrap="square" lIns="0" tIns="0" rIns="0" bIns="0" rtlCol="0" anchor="t">
            <a:spAutoFit/>
          </a:bodyPr>
          <a:lstStyle/>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64972" lvl="1" indent="-164972" defTabSz="913686">
              <a:buSzPct val="100000"/>
              <a:buFont typeface="Arial"/>
              <a:buChar char="•"/>
              <a:defRPr/>
            </a:pPr>
            <a:endParaRPr lang="en-US" sz="1300" dirty="0">
              <a:solidFill>
                <a:srgbClr val="313131"/>
              </a:solidFill>
            </a:endParaRPr>
          </a:p>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32" name="Rectangle 31">
            <a:extLst>
              <a:ext uri="{FF2B5EF4-FFF2-40B4-BE49-F238E27FC236}">
                <a16:creationId xmlns:a16="http://schemas.microsoft.com/office/drawing/2014/main" id="{62DF63C5-3DC8-DB49-B5D3-F6742AEC7AA3}"/>
              </a:ext>
            </a:extLst>
          </p:cNvPr>
          <p:cNvSpPr/>
          <p:nvPr/>
        </p:nvSpPr>
        <p:spPr>
          <a:xfrm>
            <a:off x="2895601" y="4792005"/>
            <a:ext cx="8872537" cy="1000274"/>
          </a:xfrm>
          <a:prstGeom prst="rect">
            <a:avLst/>
          </a:prstGeom>
          <a:noFill/>
        </p:spPr>
        <p:txBody>
          <a:bodyPr wrap="square" lIns="0" tIns="0" rIns="0" bIns="0" rtlCol="0" anchor="t">
            <a:spAutoFit/>
          </a:bodyPr>
          <a:lstStyle/>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64972" lvl="1" indent="-164972" defTabSz="913686">
              <a:buSzPct val="100000"/>
              <a:buFont typeface="Arial"/>
              <a:buChar char="•"/>
              <a:defRPr/>
            </a:pPr>
            <a:endParaRPr lang="en-US" sz="1300" dirty="0">
              <a:solidFill>
                <a:srgbClr val="313131"/>
              </a:solidFill>
            </a:endParaRPr>
          </a:p>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Tree>
    <p:custDataLst>
      <p:tags r:id="rId1"/>
    </p:custDataLst>
    <p:extLst>
      <p:ext uri="{BB962C8B-B14F-4D97-AF65-F5344CB8AC3E}">
        <p14:creationId xmlns:p14="http://schemas.microsoft.com/office/powerpoint/2010/main" val="8323942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矩形 32"/>
          <p:cNvSpPr/>
          <p:nvPr/>
        </p:nvSpPr>
        <p:spPr bwMode="gray">
          <a:xfrm>
            <a:off x="3971857" y="1714498"/>
            <a:ext cx="7499707" cy="1170000"/>
          </a:xfrm>
          <a:prstGeom prst="rect">
            <a:avLst/>
          </a:prstGeom>
          <a:solidFill>
            <a:srgbClr val="FFFFFF"/>
          </a:solidFill>
          <a:ln w="19050" algn="ctr">
            <a:solidFill>
              <a:srgbClr val="43B02A"/>
            </a:solidFill>
            <a:miter lim="800000"/>
            <a:headEnd/>
            <a:tailEnd/>
          </a:ln>
        </p:spPr>
        <p:txBody>
          <a:bodyPr wrap="square" lIns="1080000" tIns="88900" rIns="108000" bIns="88900" rtlCol="0" anchor="ctr" anchorCtr="1"/>
          <a:lstStyle/>
          <a:p>
            <a:r>
              <a:rPr lang="en-US" sz="1300" dirty="0">
                <a:solidFill>
                  <a:srgbClr val="000000"/>
                </a:solidFill>
                <a:ea typeface="Lato" pitchFamily="34" charset="0"/>
                <a:cs typeface="Lato" pitchFamily="34" charset="0"/>
              </a:rPr>
              <a:t>This is dummy text it is not here to be read. The is just text to show where you could insert text. The is just text to show where you could insert text. Please replace with your text content here.</a:t>
            </a:r>
          </a:p>
        </p:txBody>
      </p:sp>
      <p:sp>
        <p:nvSpPr>
          <p:cNvPr id="38" name="任意多边形 37"/>
          <p:cNvSpPr/>
          <p:nvPr/>
        </p:nvSpPr>
        <p:spPr bwMode="gray">
          <a:xfrm>
            <a:off x="2804538" y="1714501"/>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86BC25"/>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9" name="任意多边形 38"/>
          <p:cNvSpPr/>
          <p:nvPr/>
        </p:nvSpPr>
        <p:spPr bwMode="gray">
          <a:xfrm flipH="1" flipV="1">
            <a:off x="3971857" y="1714500"/>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43B02A"/>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6" name="文本框 35"/>
          <p:cNvSpPr txBox="1"/>
          <p:nvPr/>
        </p:nvSpPr>
        <p:spPr>
          <a:xfrm>
            <a:off x="4129207" y="2009184"/>
            <a:ext cx="694967" cy="492443"/>
          </a:xfrm>
          <a:prstGeom prst="rect">
            <a:avLst/>
          </a:prstGeom>
          <a:noFill/>
        </p:spPr>
        <p:txBody>
          <a:bodyPr wrap="square" lIns="0" tIns="0" rIns="0" bIns="0" rtlCol="0">
            <a:spAutoFit/>
          </a:bodyPr>
          <a:lstStyle/>
          <a:p>
            <a:pPr>
              <a:buSzPct val="100000"/>
            </a:pPr>
            <a:r>
              <a:rPr lang="en-US" sz="3200" b="1" dirty="0">
                <a:solidFill>
                  <a:srgbClr val="FFFFFF"/>
                </a:solidFill>
              </a:rPr>
              <a:t>01</a:t>
            </a:r>
          </a:p>
        </p:txBody>
      </p:sp>
      <p:sp>
        <p:nvSpPr>
          <p:cNvPr id="37" name="矩形 36"/>
          <p:cNvSpPr/>
          <p:nvPr/>
        </p:nvSpPr>
        <p:spPr bwMode="gray">
          <a:xfrm>
            <a:off x="11471564" y="1714498"/>
            <a:ext cx="105415" cy="1170000"/>
          </a:xfrm>
          <a:prstGeom prst="rect">
            <a:avLst/>
          </a:prstGeom>
          <a:solidFill>
            <a:srgbClr val="43B02A"/>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5" name="矩形 24"/>
          <p:cNvSpPr/>
          <p:nvPr/>
        </p:nvSpPr>
        <p:spPr bwMode="gray">
          <a:xfrm>
            <a:off x="2804538" y="2882219"/>
            <a:ext cx="7794189" cy="1170000"/>
          </a:xfrm>
          <a:prstGeom prst="rect">
            <a:avLst/>
          </a:prstGeom>
          <a:solidFill>
            <a:srgbClr val="FFFFFF"/>
          </a:solidFill>
          <a:ln w="19050" algn="ctr">
            <a:solidFill>
              <a:schemeClr val="accent3"/>
            </a:solidFill>
            <a:miter lim="800000"/>
            <a:headEnd/>
            <a:tailEnd/>
          </a:ln>
        </p:spPr>
        <p:txBody>
          <a:bodyPr wrap="square" lIns="1404000" tIns="88900" rIns="324000" bIns="88900" rtlCol="0" anchor="ctr" anchorCtr="1"/>
          <a:lstStyle/>
          <a:p>
            <a:r>
              <a:rPr lang="en-US" sz="1300" dirty="0">
                <a:solidFill>
                  <a:srgbClr val="000000"/>
                </a:solidFill>
                <a:ea typeface="Lato" pitchFamily="34" charset="0"/>
                <a:cs typeface="Lato" pitchFamily="34" charset="0"/>
              </a:rPr>
              <a:t>This is dummy text it is not here to be read. The is just text to show where you could insert text. The is just text to show where you could insert text. Please replace with your text content here.</a:t>
            </a:r>
          </a:p>
        </p:txBody>
      </p:sp>
      <p:sp>
        <p:nvSpPr>
          <p:cNvPr id="30" name="任意多边形 29"/>
          <p:cNvSpPr/>
          <p:nvPr/>
        </p:nvSpPr>
        <p:spPr bwMode="gray">
          <a:xfrm>
            <a:off x="1637219" y="2882219"/>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009A44"/>
          </a:solidFill>
          <a:ln w="19050" algn="ctr">
            <a:solidFill>
              <a:srgbClr val="009A44"/>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1" name="任意多边形 30"/>
          <p:cNvSpPr/>
          <p:nvPr/>
        </p:nvSpPr>
        <p:spPr bwMode="gray">
          <a:xfrm flipH="1" flipV="1">
            <a:off x="2804538" y="2882219"/>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chemeClr val="accent3"/>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8" name="文本框 27"/>
          <p:cNvSpPr txBox="1"/>
          <p:nvPr/>
        </p:nvSpPr>
        <p:spPr>
          <a:xfrm>
            <a:off x="2961888" y="3185332"/>
            <a:ext cx="694967" cy="492443"/>
          </a:xfrm>
          <a:prstGeom prst="rect">
            <a:avLst/>
          </a:prstGeom>
          <a:noFill/>
        </p:spPr>
        <p:txBody>
          <a:bodyPr wrap="square" lIns="0" tIns="0" rIns="0" bIns="0" rtlCol="0">
            <a:spAutoFit/>
          </a:bodyPr>
          <a:lstStyle/>
          <a:p>
            <a:pPr>
              <a:buSzPct val="100000"/>
            </a:pPr>
            <a:r>
              <a:rPr lang="en-US" sz="3200" b="1" dirty="0">
                <a:solidFill>
                  <a:srgbClr val="FFFFFF"/>
                </a:solidFill>
              </a:rPr>
              <a:t>02</a:t>
            </a:r>
          </a:p>
        </p:txBody>
      </p:sp>
      <p:sp>
        <p:nvSpPr>
          <p:cNvPr id="40" name="矩形 39"/>
          <p:cNvSpPr/>
          <p:nvPr/>
        </p:nvSpPr>
        <p:spPr bwMode="gray">
          <a:xfrm>
            <a:off x="10598727" y="2882219"/>
            <a:ext cx="105415" cy="117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0" name="矩形 19"/>
          <p:cNvSpPr/>
          <p:nvPr/>
        </p:nvSpPr>
        <p:spPr bwMode="gray">
          <a:xfrm>
            <a:off x="1637219" y="4051178"/>
            <a:ext cx="8010166" cy="1169089"/>
          </a:xfrm>
          <a:prstGeom prst="rect">
            <a:avLst/>
          </a:prstGeom>
          <a:solidFill>
            <a:srgbClr val="FFFFFF"/>
          </a:solidFill>
          <a:ln w="19050" algn="ctr">
            <a:solidFill>
              <a:srgbClr val="000000"/>
            </a:solidFill>
            <a:miter lim="800000"/>
            <a:headEnd/>
            <a:tailEnd/>
          </a:ln>
        </p:spPr>
        <p:txBody>
          <a:bodyPr wrap="square" lIns="1440000" tIns="88900" rIns="144000" bIns="88900" rtlCol="0" anchor="ctr"/>
          <a:lstStyle/>
          <a:p>
            <a:r>
              <a:rPr lang="en-US" sz="1300" dirty="0">
                <a:solidFill>
                  <a:srgbClr val="000000"/>
                </a:solidFill>
                <a:ea typeface="Lato" pitchFamily="34" charset="0"/>
                <a:cs typeface="Lato" pitchFamily="34" charset="0"/>
              </a:rPr>
              <a:t>This is dummy text it is not here to be read. The is just text to show where you could insert text. The is just text to show where you could insert text. Please replace with your text content here.</a:t>
            </a:r>
          </a:p>
        </p:txBody>
      </p:sp>
      <p:sp>
        <p:nvSpPr>
          <p:cNvPr id="14" name="任意多边形 13"/>
          <p:cNvSpPr/>
          <p:nvPr/>
        </p:nvSpPr>
        <p:spPr bwMode="gray">
          <a:xfrm>
            <a:off x="469900" y="4050722"/>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53565A"/>
          </a:solidFill>
          <a:ln w="19050" algn="ctr">
            <a:solidFill>
              <a:srgbClr val="53565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8" name="任意多边形 17"/>
          <p:cNvSpPr/>
          <p:nvPr/>
        </p:nvSpPr>
        <p:spPr bwMode="gray">
          <a:xfrm flipH="1" flipV="1">
            <a:off x="1637219" y="4050722"/>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000000"/>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9" name="Freeform 607"/>
          <p:cNvSpPr>
            <a:spLocks noChangeAspect="1" noEditPoints="1"/>
          </p:cNvSpPr>
          <p:nvPr/>
        </p:nvSpPr>
        <p:spPr bwMode="auto">
          <a:xfrm>
            <a:off x="933970" y="4470567"/>
            <a:ext cx="466725" cy="46672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 name="文本框 10"/>
          <p:cNvSpPr txBox="1"/>
          <p:nvPr/>
        </p:nvSpPr>
        <p:spPr>
          <a:xfrm>
            <a:off x="1794569" y="4354619"/>
            <a:ext cx="694967" cy="492443"/>
          </a:xfrm>
          <a:prstGeom prst="rect">
            <a:avLst/>
          </a:prstGeom>
          <a:noFill/>
        </p:spPr>
        <p:txBody>
          <a:bodyPr wrap="square" lIns="0" tIns="0" rIns="0" bIns="0" rtlCol="0">
            <a:spAutoFit/>
          </a:bodyPr>
          <a:lstStyle/>
          <a:p>
            <a:pPr>
              <a:buSzPct val="100000"/>
            </a:pPr>
            <a:r>
              <a:rPr lang="en-US" sz="3200" b="1" dirty="0">
                <a:solidFill>
                  <a:srgbClr val="FFFFFF"/>
                </a:solidFill>
              </a:rPr>
              <a:t>03</a:t>
            </a:r>
          </a:p>
        </p:txBody>
      </p:sp>
      <p:sp>
        <p:nvSpPr>
          <p:cNvPr id="41" name="矩形 40"/>
          <p:cNvSpPr/>
          <p:nvPr/>
        </p:nvSpPr>
        <p:spPr bwMode="gray">
          <a:xfrm>
            <a:off x="9647385" y="4050394"/>
            <a:ext cx="104172" cy="1170656"/>
          </a:xfrm>
          <a:prstGeom prst="rect">
            <a:avLst/>
          </a:prstGeom>
          <a:solidFill>
            <a:srgbClr val="000000"/>
          </a:solidFill>
          <a:ln w="1905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9" name="Freeform 607"/>
          <p:cNvSpPr>
            <a:spLocks noChangeAspect="1" noEditPoints="1"/>
          </p:cNvSpPr>
          <p:nvPr/>
        </p:nvSpPr>
        <p:spPr bwMode="auto">
          <a:xfrm>
            <a:off x="2101289" y="3301281"/>
            <a:ext cx="466725" cy="46672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42" name="Freeform 607"/>
          <p:cNvSpPr>
            <a:spLocks noChangeAspect="1" noEditPoints="1"/>
          </p:cNvSpPr>
          <p:nvPr/>
        </p:nvSpPr>
        <p:spPr bwMode="auto">
          <a:xfrm>
            <a:off x="3268608" y="2133561"/>
            <a:ext cx="466725" cy="46672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custDataLst>
      <p:tags r:id="rId1"/>
    </p:custDataLst>
    <p:extLst>
      <p:ext uri="{BB962C8B-B14F-4D97-AF65-F5344CB8AC3E}">
        <p14:creationId xmlns:p14="http://schemas.microsoft.com/office/powerpoint/2010/main" val="88340555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63">
            <a:extLst>
              <a:ext uri="{FF2B5EF4-FFF2-40B4-BE49-F238E27FC236}">
                <a16:creationId xmlns:a16="http://schemas.microsoft.com/office/drawing/2014/main" id="{BA84F731-BE1E-4541-B0E3-58758779CE39}"/>
              </a:ext>
            </a:extLst>
          </p:cNvPr>
          <p:cNvSpPr>
            <a:spLocks/>
          </p:cNvSpPr>
          <p:nvPr/>
        </p:nvSpPr>
        <p:spPr bwMode="auto">
          <a:xfrm>
            <a:off x="3767139" y="1714500"/>
            <a:ext cx="2252663" cy="2254250"/>
          </a:xfrm>
          <a:custGeom>
            <a:avLst/>
            <a:gdLst>
              <a:gd name="T0" fmla="*/ 1730 w 3218"/>
              <a:gd name="T1" fmla="*/ 3150 h 3217"/>
              <a:gd name="T2" fmla="*/ 1730 w 3218"/>
              <a:gd name="T3" fmla="*/ 3150 h 3217"/>
              <a:gd name="T4" fmla="*/ 1488 w 3218"/>
              <a:gd name="T5" fmla="*/ 3150 h 3217"/>
              <a:gd name="T6" fmla="*/ 67 w 3218"/>
              <a:gd name="T7" fmla="*/ 1729 h 3217"/>
              <a:gd name="T8" fmla="*/ 67 w 3218"/>
              <a:gd name="T9" fmla="*/ 1487 h 3217"/>
              <a:gd name="T10" fmla="*/ 1488 w 3218"/>
              <a:gd name="T11" fmla="*/ 66 h 3217"/>
              <a:gd name="T12" fmla="*/ 1730 w 3218"/>
              <a:gd name="T13" fmla="*/ 66 h 3217"/>
              <a:gd name="T14" fmla="*/ 3151 w 3218"/>
              <a:gd name="T15" fmla="*/ 1487 h 3217"/>
              <a:gd name="T16" fmla="*/ 3151 w 3218"/>
              <a:gd name="T17" fmla="*/ 1729 h 3217"/>
              <a:gd name="T18" fmla="*/ 1730 w 3218"/>
              <a:gd name="T19" fmla="*/ 3150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8" h="3217">
                <a:moveTo>
                  <a:pt x="1730" y="3150"/>
                </a:moveTo>
                <a:lnTo>
                  <a:pt x="1730" y="3150"/>
                </a:lnTo>
                <a:cubicBezTo>
                  <a:pt x="1663" y="3217"/>
                  <a:pt x="1555" y="3217"/>
                  <a:pt x="1488" y="3150"/>
                </a:cubicBezTo>
                <a:lnTo>
                  <a:pt x="67" y="1729"/>
                </a:lnTo>
                <a:cubicBezTo>
                  <a:pt x="0" y="1662"/>
                  <a:pt x="0" y="1554"/>
                  <a:pt x="67" y="1487"/>
                </a:cubicBezTo>
                <a:lnTo>
                  <a:pt x="1488" y="66"/>
                </a:lnTo>
                <a:cubicBezTo>
                  <a:pt x="1555" y="0"/>
                  <a:pt x="1663" y="0"/>
                  <a:pt x="1730" y="66"/>
                </a:cubicBezTo>
                <a:lnTo>
                  <a:pt x="3151" y="1487"/>
                </a:lnTo>
                <a:cubicBezTo>
                  <a:pt x="3218" y="1554"/>
                  <a:pt x="3218" y="1662"/>
                  <a:pt x="3151" y="1729"/>
                </a:cubicBezTo>
                <a:lnTo>
                  <a:pt x="1730" y="3150"/>
                </a:lnTo>
                <a:close/>
              </a:path>
            </a:pathLst>
          </a:custGeom>
          <a:solidFill>
            <a:srgbClr val="86BC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5" name="Freeform 64">
            <a:extLst>
              <a:ext uri="{FF2B5EF4-FFF2-40B4-BE49-F238E27FC236}">
                <a16:creationId xmlns:a16="http://schemas.microsoft.com/office/drawing/2014/main" id="{9546FED2-034A-914D-A82D-435F2C15F035}"/>
              </a:ext>
            </a:extLst>
          </p:cNvPr>
          <p:cNvSpPr>
            <a:spLocks/>
          </p:cNvSpPr>
          <p:nvPr/>
        </p:nvSpPr>
        <p:spPr bwMode="auto">
          <a:xfrm>
            <a:off x="3741739" y="4189412"/>
            <a:ext cx="2252663" cy="2254250"/>
          </a:xfrm>
          <a:custGeom>
            <a:avLst/>
            <a:gdLst>
              <a:gd name="T0" fmla="*/ 1487 w 3217"/>
              <a:gd name="T1" fmla="*/ 67 h 3217"/>
              <a:gd name="T2" fmla="*/ 1487 w 3217"/>
              <a:gd name="T3" fmla="*/ 67 h 3217"/>
              <a:gd name="T4" fmla="*/ 1730 w 3217"/>
              <a:gd name="T5" fmla="*/ 67 h 3217"/>
              <a:gd name="T6" fmla="*/ 3150 w 3217"/>
              <a:gd name="T7" fmla="*/ 1487 h 3217"/>
              <a:gd name="T8" fmla="*/ 3150 w 3217"/>
              <a:gd name="T9" fmla="*/ 1730 h 3217"/>
              <a:gd name="T10" fmla="*/ 1730 w 3217"/>
              <a:gd name="T11" fmla="*/ 3150 h 3217"/>
              <a:gd name="T12" fmla="*/ 1487 w 3217"/>
              <a:gd name="T13" fmla="*/ 3150 h 3217"/>
              <a:gd name="T14" fmla="*/ 67 w 3217"/>
              <a:gd name="T15" fmla="*/ 1730 h 3217"/>
              <a:gd name="T16" fmla="*/ 67 w 3217"/>
              <a:gd name="T17" fmla="*/ 1487 h 3217"/>
              <a:gd name="T18" fmla="*/ 1487 w 3217"/>
              <a:gd name="T19" fmla="*/ 67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7">
                <a:moveTo>
                  <a:pt x="1487" y="67"/>
                </a:moveTo>
                <a:lnTo>
                  <a:pt x="1487" y="67"/>
                </a:lnTo>
                <a:cubicBezTo>
                  <a:pt x="1554" y="0"/>
                  <a:pt x="1663" y="0"/>
                  <a:pt x="1730" y="67"/>
                </a:cubicBezTo>
                <a:lnTo>
                  <a:pt x="3150" y="1487"/>
                </a:lnTo>
                <a:cubicBezTo>
                  <a:pt x="3217" y="1554"/>
                  <a:pt x="3217" y="1663"/>
                  <a:pt x="3150" y="1730"/>
                </a:cubicBezTo>
                <a:lnTo>
                  <a:pt x="1730" y="3150"/>
                </a:lnTo>
                <a:cubicBezTo>
                  <a:pt x="1663" y="3217"/>
                  <a:pt x="1554" y="3217"/>
                  <a:pt x="1487" y="3150"/>
                </a:cubicBezTo>
                <a:lnTo>
                  <a:pt x="67" y="1730"/>
                </a:lnTo>
                <a:cubicBezTo>
                  <a:pt x="0" y="1663"/>
                  <a:pt x="0" y="1554"/>
                  <a:pt x="67" y="1487"/>
                </a:cubicBezTo>
                <a:lnTo>
                  <a:pt x="1487" y="67"/>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6" name="Freeform 65">
            <a:extLst>
              <a:ext uri="{FF2B5EF4-FFF2-40B4-BE49-F238E27FC236}">
                <a16:creationId xmlns:a16="http://schemas.microsoft.com/office/drawing/2014/main" id="{5CCA953B-8E7E-7849-9C3E-23005CEB5776}"/>
              </a:ext>
            </a:extLst>
          </p:cNvPr>
          <p:cNvSpPr>
            <a:spLocks/>
          </p:cNvSpPr>
          <p:nvPr/>
        </p:nvSpPr>
        <p:spPr bwMode="auto">
          <a:xfrm>
            <a:off x="4991101" y="2963863"/>
            <a:ext cx="2252663" cy="2255837"/>
          </a:xfrm>
          <a:custGeom>
            <a:avLst/>
            <a:gdLst>
              <a:gd name="T0" fmla="*/ 67 w 3217"/>
              <a:gd name="T1" fmla="*/ 1730 h 3218"/>
              <a:gd name="T2" fmla="*/ 67 w 3217"/>
              <a:gd name="T3" fmla="*/ 1730 h 3218"/>
              <a:gd name="T4" fmla="*/ 67 w 3217"/>
              <a:gd name="T5" fmla="*/ 1488 h 3218"/>
              <a:gd name="T6" fmla="*/ 1487 w 3217"/>
              <a:gd name="T7" fmla="*/ 67 h 3218"/>
              <a:gd name="T8" fmla="*/ 1730 w 3217"/>
              <a:gd name="T9" fmla="*/ 67 h 3218"/>
              <a:gd name="T10" fmla="*/ 3150 w 3217"/>
              <a:gd name="T11" fmla="*/ 1488 h 3218"/>
              <a:gd name="T12" fmla="*/ 3150 w 3217"/>
              <a:gd name="T13" fmla="*/ 1730 h 3218"/>
              <a:gd name="T14" fmla="*/ 1730 w 3217"/>
              <a:gd name="T15" fmla="*/ 3151 h 3218"/>
              <a:gd name="T16" fmla="*/ 1487 w 3217"/>
              <a:gd name="T17" fmla="*/ 3151 h 3218"/>
              <a:gd name="T18" fmla="*/ 67 w 3217"/>
              <a:gd name="T19" fmla="*/ 1730 h 3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8">
                <a:moveTo>
                  <a:pt x="67" y="1730"/>
                </a:moveTo>
                <a:lnTo>
                  <a:pt x="67" y="1730"/>
                </a:lnTo>
                <a:cubicBezTo>
                  <a:pt x="0" y="1663"/>
                  <a:pt x="0" y="1555"/>
                  <a:pt x="67" y="1488"/>
                </a:cubicBezTo>
                <a:lnTo>
                  <a:pt x="1487" y="67"/>
                </a:lnTo>
                <a:cubicBezTo>
                  <a:pt x="1554" y="0"/>
                  <a:pt x="1663" y="0"/>
                  <a:pt x="1730" y="67"/>
                </a:cubicBezTo>
                <a:lnTo>
                  <a:pt x="3150" y="1488"/>
                </a:lnTo>
                <a:cubicBezTo>
                  <a:pt x="3217" y="1555"/>
                  <a:pt x="3217" y="1663"/>
                  <a:pt x="3150" y="1730"/>
                </a:cubicBezTo>
                <a:lnTo>
                  <a:pt x="1730" y="3151"/>
                </a:lnTo>
                <a:cubicBezTo>
                  <a:pt x="1663" y="3218"/>
                  <a:pt x="1554" y="3218"/>
                  <a:pt x="1487" y="3151"/>
                </a:cubicBezTo>
                <a:lnTo>
                  <a:pt x="67" y="1730"/>
                </a:lnTo>
                <a:close/>
              </a:path>
            </a:pathLst>
          </a:cu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7" name="Freeform 66">
            <a:extLst>
              <a:ext uri="{FF2B5EF4-FFF2-40B4-BE49-F238E27FC236}">
                <a16:creationId xmlns:a16="http://schemas.microsoft.com/office/drawing/2014/main" id="{A67F0343-4365-AC4F-8910-F47E02730714}"/>
              </a:ext>
            </a:extLst>
          </p:cNvPr>
          <p:cNvSpPr>
            <a:spLocks/>
          </p:cNvSpPr>
          <p:nvPr/>
        </p:nvSpPr>
        <p:spPr bwMode="auto">
          <a:xfrm>
            <a:off x="1524000" y="2949575"/>
            <a:ext cx="3246438" cy="2233612"/>
          </a:xfrm>
          <a:custGeom>
            <a:avLst/>
            <a:gdLst>
              <a:gd name="T0" fmla="*/ 4569 w 4636"/>
              <a:gd name="T1" fmla="*/ 1472 h 3187"/>
              <a:gd name="T2" fmla="*/ 4569 w 4636"/>
              <a:gd name="T3" fmla="*/ 1472 h 3187"/>
              <a:gd name="T4" fmla="*/ 3148 w 4636"/>
              <a:gd name="T5" fmla="*/ 52 h 3187"/>
              <a:gd name="T6" fmla="*/ 3019 w 4636"/>
              <a:gd name="T7" fmla="*/ 2 h 3187"/>
              <a:gd name="T8" fmla="*/ 3012 w 4636"/>
              <a:gd name="T9" fmla="*/ 1 h 3187"/>
              <a:gd name="T10" fmla="*/ 171 w 4636"/>
              <a:gd name="T11" fmla="*/ 1 h 3187"/>
              <a:gd name="T12" fmla="*/ 0 w 4636"/>
              <a:gd name="T13" fmla="*/ 173 h 3187"/>
              <a:gd name="T14" fmla="*/ 0 w 4636"/>
              <a:gd name="T15" fmla="*/ 3014 h 3187"/>
              <a:gd name="T16" fmla="*/ 171 w 4636"/>
              <a:gd name="T17" fmla="*/ 3185 h 3187"/>
              <a:gd name="T18" fmla="*/ 3012 w 4636"/>
              <a:gd name="T19" fmla="*/ 3185 h 3187"/>
              <a:gd name="T20" fmla="*/ 3019 w 4636"/>
              <a:gd name="T21" fmla="*/ 3185 h 3187"/>
              <a:gd name="T22" fmla="*/ 3148 w 4636"/>
              <a:gd name="T23" fmla="*/ 3135 h 3187"/>
              <a:gd name="T24" fmla="*/ 4569 w 4636"/>
              <a:gd name="T25" fmla="*/ 1715 h 3187"/>
              <a:gd name="T26" fmla="*/ 4569 w 4636"/>
              <a:gd name="T27" fmla="*/ 1472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6" h="3187">
                <a:moveTo>
                  <a:pt x="4569" y="1472"/>
                </a:moveTo>
                <a:lnTo>
                  <a:pt x="4569" y="1472"/>
                </a:lnTo>
                <a:lnTo>
                  <a:pt x="3148" y="52"/>
                </a:lnTo>
                <a:cubicBezTo>
                  <a:pt x="3113" y="16"/>
                  <a:pt x="3066" y="0"/>
                  <a:pt x="3019" y="2"/>
                </a:cubicBezTo>
                <a:cubicBezTo>
                  <a:pt x="3017" y="2"/>
                  <a:pt x="3015" y="1"/>
                  <a:pt x="3012" y="1"/>
                </a:cubicBezTo>
                <a:lnTo>
                  <a:pt x="171" y="1"/>
                </a:lnTo>
                <a:cubicBezTo>
                  <a:pt x="76" y="1"/>
                  <a:pt x="0" y="78"/>
                  <a:pt x="0" y="173"/>
                </a:cubicBezTo>
                <a:lnTo>
                  <a:pt x="0" y="3014"/>
                </a:lnTo>
                <a:cubicBezTo>
                  <a:pt x="0" y="3109"/>
                  <a:pt x="76" y="3185"/>
                  <a:pt x="171" y="3185"/>
                </a:cubicBezTo>
                <a:lnTo>
                  <a:pt x="3012" y="3185"/>
                </a:lnTo>
                <a:cubicBezTo>
                  <a:pt x="3015" y="3185"/>
                  <a:pt x="3017" y="3185"/>
                  <a:pt x="3019" y="3185"/>
                </a:cubicBezTo>
                <a:cubicBezTo>
                  <a:pt x="3066" y="3187"/>
                  <a:pt x="3113" y="3171"/>
                  <a:pt x="3148" y="3135"/>
                </a:cubicBezTo>
                <a:lnTo>
                  <a:pt x="4569" y="1715"/>
                </a:lnTo>
                <a:cubicBezTo>
                  <a:pt x="4636" y="1648"/>
                  <a:pt x="4636" y="1539"/>
                  <a:pt x="4569" y="1472"/>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8" name="Rectangle 67">
            <a:extLst>
              <a:ext uri="{FF2B5EF4-FFF2-40B4-BE49-F238E27FC236}">
                <a16:creationId xmlns:a16="http://schemas.microsoft.com/office/drawing/2014/main" id="{BD722413-56C6-8249-AAFB-5B804BA84055}"/>
              </a:ext>
            </a:extLst>
          </p:cNvPr>
          <p:cNvSpPr/>
          <p:nvPr/>
        </p:nvSpPr>
        <p:spPr>
          <a:xfrm>
            <a:off x="1947920" y="3866325"/>
            <a:ext cx="1963636" cy="400110"/>
          </a:xfrm>
          <a:prstGeom prst="rect">
            <a:avLst/>
          </a:prstGeom>
        </p:spPr>
        <p:txBody>
          <a:bodyPr wrap="square" lIns="0" tIns="0" rIns="0" bIns="0" anchor="ctr">
            <a:spAutoFit/>
          </a:bodyPr>
          <a:lstStyle/>
          <a:p>
            <a:r>
              <a:rPr lang="en-US" sz="1300" b="1" dirty="0">
                <a:solidFill>
                  <a:prstClr val="white"/>
                </a:solidFill>
              </a:rPr>
              <a:t>Lorem ipsum dolor sit </a:t>
            </a:r>
            <a:r>
              <a:rPr lang="en-US" sz="1300" b="1" dirty="0" err="1">
                <a:solidFill>
                  <a:prstClr val="white"/>
                </a:solidFill>
              </a:rPr>
              <a:t>amet</a:t>
            </a:r>
            <a:r>
              <a:rPr lang="en-US" sz="1300" b="1" dirty="0">
                <a:solidFill>
                  <a:prstClr val="white"/>
                </a:solidFill>
              </a:rPr>
              <a:t>, </a:t>
            </a:r>
            <a:r>
              <a:rPr lang="en-US" sz="1300" b="1" dirty="0" err="1">
                <a:solidFill>
                  <a:prstClr val="white"/>
                </a:solidFill>
              </a:rPr>
              <a:t>consectetur</a:t>
            </a:r>
            <a:endParaRPr lang="en-US" sz="1300" b="1" dirty="0">
              <a:solidFill>
                <a:prstClr val="white"/>
              </a:solidFill>
            </a:endParaRPr>
          </a:p>
        </p:txBody>
      </p:sp>
      <p:sp>
        <p:nvSpPr>
          <p:cNvPr id="69" name="Rectangle 68">
            <a:extLst>
              <a:ext uri="{FF2B5EF4-FFF2-40B4-BE49-F238E27FC236}">
                <a16:creationId xmlns:a16="http://schemas.microsoft.com/office/drawing/2014/main" id="{E94CC317-DE63-294F-9952-63C431B0C556}"/>
              </a:ext>
            </a:extLst>
          </p:cNvPr>
          <p:cNvSpPr/>
          <p:nvPr/>
        </p:nvSpPr>
        <p:spPr>
          <a:xfrm>
            <a:off x="5825775" y="1803047"/>
            <a:ext cx="4486588" cy="600164"/>
          </a:xfrm>
          <a:prstGeom prst="rect">
            <a:avLst/>
          </a:prstGeom>
        </p:spPr>
        <p:txBody>
          <a:bodyPr wrap="square" lIns="0" tIns="0" rIns="0" bIns="0" anchor="ctr">
            <a:spAutoFit/>
          </a:bodyPr>
          <a:lstStyle/>
          <a:p>
            <a:r>
              <a:rPr lang="en-US" sz="1300" dirty="0"/>
              <a:t>This is dummy text it is not here to be read. The is just text to show where you could insert text. The is just text to show where you could insert text. Please replace with your text content here.</a:t>
            </a:r>
          </a:p>
        </p:txBody>
      </p:sp>
      <p:sp>
        <p:nvSpPr>
          <p:cNvPr id="70" name="Rectangle 69">
            <a:extLst>
              <a:ext uri="{FF2B5EF4-FFF2-40B4-BE49-F238E27FC236}">
                <a16:creationId xmlns:a16="http://schemas.microsoft.com/office/drawing/2014/main" id="{F6D0F1D7-5225-4B4E-A1DB-0FFC61BED4FA}"/>
              </a:ext>
            </a:extLst>
          </p:cNvPr>
          <p:cNvSpPr/>
          <p:nvPr/>
        </p:nvSpPr>
        <p:spPr>
          <a:xfrm>
            <a:off x="7499207" y="3638467"/>
            <a:ext cx="4097704" cy="800219"/>
          </a:xfrm>
          <a:prstGeom prst="rect">
            <a:avLst/>
          </a:prstGeom>
        </p:spPr>
        <p:txBody>
          <a:bodyPr wrap="square" lIns="0" tIns="0" rIns="0" bIns="0" anchor="ctr">
            <a:spAutoFit/>
          </a:bodyPr>
          <a:lstStyle/>
          <a:p>
            <a:r>
              <a:rPr lang="en-US" sz="1300" dirty="0"/>
              <a:t>This is dummy text it is not here to be read. The is just text to show where you could insert text. The is just text to show where you could insert text. Please replace with your text content here.</a:t>
            </a:r>
          </a:p>
        </p:txBody>
      </p:sp>
      <p:sp>
        <p:nvSpPr>
          <p:cNvPr id="71" name="Rectangle 70">
            <a:extLst>
              <a:ext uri="{FF2B5EF4-FFF2-40B4-BE49-F238E27FC236}">
                <a16:creationId xmlns:a16="http://schemas.microsoft.com/office/drawing/2014/main" id="{21FC5C20-613F-CE47-AADE-5A31BC473DCC}"/>
              </a:ext>
            </a:extLst>
          </p:cNvPr>
          <p:cNvSpPr/>
          <p:nvPr/>
        </p:nvSpPr>
        <p:spPr>
          <a:xfrm>
            <a:off x="5825775" y="5693754"/>
            <a:ext cx="4486588" cy="600164"/>
          </a:xfrm>
          <a:prstGeom prst="rect">
            <a:avLst/>
          </a:prstGeom>
        </p:spPr>
        <p:txBody>
          <a:bodyPr wrap="square" lIns="0" tIns="0" rIns="0" bIns="0" anchor="ctr">
            <a:spAutoFit/>
          </a:bodyPr>
          <a:lstStyle/>
          <a:p>
            <a:r>
              <a:rPr lang="en-US" sz="1300" dirty="0"/>
              <a:t>This is dummy text it is not here to be read. The is just text to show where you could insert text. The is just text to show where you could insert text. Please replace with your text content here.</a:t>
            </a:r>
          </a:p>
        </p:txBody>
      </p:sp>
      <p:grpSp>
        <p:nvGrpSpPr>
          <p:cNvPr id="33" name="Group 109">
            <a:extLst>
              <a:ext uri="{FF2B5EF4-FFF2-40B4-BE49-F238E27FC236}">
                <a16:creationId xmlns:a16="http://schemas.microsoft.com/office/drawing/2014/main" id="{E8D13A41-9F63-4A2B-B31F-C53B7D603D07}"/>
              </a:ext>
            </a:extLst>
          </p:cNvPr>
          <p:cNvGrpSpPr>
            <a:grpSpLocks noChangeAspect="1"/>
          </p:cNvGrpSpPr>
          <p:nvPr/>
        </p:nvGrpSpPr>
        <p:grpSpPr bwMode="auto">
          <a:xfrm>
            <a:off x="4385362" y="2383825"/>
            <a:ext cx="977264" cy="977258"/>
            <a:chOff x="1129" y="363"/>
            <a:chExt cx="340" cy="340"/>
          </a:xfrm>
          <a:solidFill>
            <a:schemeClr val="bg1"/>
          </a:solidFill>
        </p:grpSpPr>
        <p:sp>
          <p:nvSpPr>
            <p:cNvPr id="34" name="Freeform 110">
              <a:extLst>
                <a:ext uri="{FF2B5EF4-FFF2-40B4-BE49-F238E27FC236}">
                  <a16:creationId xmlns:a16="http://schemas.microsoft.com/office/drawing/2014/main" id="{4D3F41F2-8246-4EEE-8AA5-AE709E0EA752}"/>
                </a:ext>
              </a:extLst>
            </p:cNvPr>
            <p:cNvSpPr>
              <a:spLocks noEditPoints="1"/>
            </p:cNvSpPr>
            <p:nvPr/>
          </p:nvSpPr>
          <p:spPr bwMode="auto">
            <a:xfrm>
              <a:off x="1129" y="36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5" name="Freeform 111">
              <a:extLst>
                <a:ext uri="{FF2B5EF4-FFF2-40B4-BE49-F238E27FC236}">
                  <a16:creationId xmlns:a16="http://schemas.microsoft.com/office/drawing/2014/main" id="{45F88A90-C860-421C-B51F-33F298A692DE}"/>
                </a:ext>
              </a:extLst>
            </p:cNvPr>
            <p:cNvSpPr>
              <a:spLocks noEditPoints="1"/>
            </p:cNvSpPr>
            <p:nvPr/>
          </p:nvSpPr>
          <p:spPr bwMode="auto">
            <a:xfrm>
              <a:off x="1207" y="426"/>
              <a:ext cx="184" cy="213"/>
            </a:xfrm>
            <a:custGeom>
              <a:avLst/>
              <a:gdLst>
                <a:gd name="T0" fmla="*/ 210 w 277"/>
                <a:gd name="T1" fmla="*/ 79 h 321"/>
                <a:gd name="T2" fmla="*/ 187 w 277"/>
                <a:gd name="T3" fmla="*/ 97 h 321"/>
                <a:gd name="T4" fmla="*/ 186 w 277"/>
                <a:gd name="T5" fmla="*/ 57 h 321"/>
                <a:gd name="T6" fmla="*/ 133 w 277"/>
                <a:gd name="T7" fmla="*/ 1 h 321"/>
                <a:gd name="T8" fmla="*/ 94 w 277"/>
                <a:gd name="T9" fmla="*/ 25 h 321"/>
                <a:gd name="T10" fmla="*/ 72 w 277"/>
                <a:gd name="T11" fmla="*/ 46 h 321"/>
                <a:gd name="T12" fmla="*/ 78 w 277"/>
                <a:gd name="T13" fmla="*/ 65 h 321"/>
                <a:gd name="T14" fmla="*/ 91 w 277"/>
                <a:gd name="T15" fmla="*/ 97 h 321"/>
                <a:gd name="T16" fmla="*/ 67 w 277"/>
                <a:gd name="T17" fmla="*/ 80 h 321"/>
                <a:gd name="T18" fmla="*/ 0 w 277"/>
                <a:gd name="T19" fmla="*/ 102 h 321"/>
                <a:gd name="T20" fmla="*/ 6 w 277"/>
                <a:gd name="T21" fmla="*/ 298 h 321"/>
                <a:gd name="T22" fmla="*/ 59 w 277"/>
                <a:gd name="T23" fmla="*/ 266 h 321"/>
                <a:gd name="T24" fmla="*/ 75 w 277"/>
                <a:gd name="T25" fmla="*/ 307 h 321"/>
                <a:gd name="T26" fmla="*/ 85 w 277"/>
                <a:gd name="T27" fmla="*/ 321 h 321"/>
                <a:gd name="T28" fmla="*/ 192 w 277"/>
                <a:gd name="T29" fmla="*/ 321 h 321"/>
                <a:gd name="T30" fmla="*/ 195 w 277"/>
                <a:gd name="T31" fmla="*/ 320 h 321"/>
                <a:gd name="T32" fmla="*/ 187 w 277"/>
                <a:gd name="T33" fmla="*/ 253 h 321"/>
                <a:gd name="T34" fmla="*/ 260 w 277"/>
                <a:gd name="T35" fmla="*/ 297 h 321"/>
                <a:gd name="T36" fmla="*/ 271 w 277"/>
                <a:gd name="T37" fmla="*/ 298 h 321"/>
                <a:gd name="T38" fmla="*/ 277 w 277"/>
                <a:gd name="T39" fmla="*/ 102 h 321"/>
                <a:gd name="T40" fmla="*/ 256 w 277"/>
                <a:gd name="T41" fmla="*/ 267 h 321"/>
                <a:gd name="T42" fmla="*/ 235 w 277"/>
                <a:gd name="T43" fmla="*/ 203 h 321"/>
                <a:gd name="T44" fmla="*/ 213 w 277"/>
                <a:gd name="T45" fmla="*/ 203 h 321"/>
                <a:gd name="T46" fmla="*/ 181 w 277"/>
                <a:gd name="T47" fmla="*/ 228 h 321"/>
                <a:gd name="T48" fmla="*/ 171 w 277"/>
                <a:gd name="T49" fmla="*/ 193 h 321"/>
                <a:gd name="T50" fmla="*/ 160 w 277"/>
                <a:gd name="T51" fmla="*/ 235 h 321"/>
                <a:gd name="T52" fmla="*/ 160 w 277"/>
                <a:gd name="T53" fmla="*/ 238 h 321"/>
                <a:gd name="T54" fmla="*/ 99 w 277"/>
                <a:gd name="T55" fmla="*/ 299 h 321"/>
                <a:gd name="T56" fmla="*/ 117 w 277"/>
                <a:gd name="T57" fmla="*/ 236 h 321"/>
                <a:gd name="T58" fmla="*/ 117 w 277"/>
                <a:gd name="T59" fmla="*/ 203 h 321"/>
                <a:gd name="T60" fmla="*/ 96 w 277"/>
                <a:gd name="T61" fmla="*/ 203 h 321"/>
                <a:gd name="T62" fmla="*/ 64 w 277"/>
                <a:gd name="T63" fmla="*/ 241 h 321"/>
                <a:gd name="T64" fmla="*/ 53 w 277"/>
                <a:gd name="T65" fmla="*/ 193 h 321"/>
                <a:gd name="T66" fmla="*/ 43 w 277"/>
                <a:gd name="T67" fmla="*/ 251 h 321"/>
                <a:gd name="T68" fmla="*/ 21 w 277"/>
                <a:gd name="T69" fmla="*/ 102 h 321"/>
                <a:gd name="T70" fmla="*/ 50 w 277"/>
                <a:gd name="T71" fmla="*/ 92 h 321"/>
                <a:gd name="T72" fmla="*/ 91 w 277"/>
                <a:gd name="T73" fmla="*/ 118 h 321"/>
                <a:gd name="T74" fmla="*/ 101 w 277"/>
                <a:gd name="T75" fmla="*/ 48 h 321"/>
                <a:gd name="T76" fmla="*/ 109 w 277"/>
                <a:gd name="T77" fmla="*/ 40 h 321"/>
                <a:gd name="T78" fmla="*/ 134 w 277"/>
                <a:gd name="T79" fmla="*/ 22 h 321"/>
                <a:gd name="T80" fmla="*/ 166 w 277"/>
                <a:gd name="T81" fmla="*/ 51 h 321"/>
                <a:gd name="T82" fmla="*/ 152 w 277"/>
                <a:gd name="T83" fmla="*/ 68 h 321"/>
                <a:gd name="T84" fmla="*/ 187 w 277"/>
                <a:gd name="T85" fmla="*/ 118 h 321"/>
                <a:gd name="T86" fmla="*/ 227 w 277"/>
                <a:gd name="T87" fmla="*/ 92 h 321"/>
                <a:gd name="T88" fmla="*/ 256 w 277"/>
                <a:gd name="T89" fmla="*/ 10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321">
                  <a:moveTo>
                    <a:pt x="240" y="65"/>
                  </a:moveTo>
                  <a:cubicBezTo>
                    <a:pt x="228" y="65"/>
                    <a:pt x="217" y="70"/>
                    <a:pt x="210" y="79"/>
                  </a:cubicBezTo>
                  <a:cubicBezTo>
                    <a:pt x="210" y="79"/>
                    <a:pt x="205" y="85"/>
                    <a:pt x="202" y="90"/>
                  </a:cubicBezTo>
                  <a:cubicBezTo>
                    <a:pt x="199" y="94"/>
                    <a:pt x="194" y="97"/>
                    <a:pt x="187" y="97"/>
                  </a:cubicBezTo>
                  <a:cubicBezTo>
                    <a:pt x="181" y="97"/>
                    <a:pt x="173" y="91"/>
                    <a:pt x="171" y="80"/>
                  </a:cubicBezTo>
                  <a:cubicBezTo>
                    <a:pt x="176" y="75"/>
                    <a:pt x="184" y="67"/>
                    <a:pt x="186" y="57"/>
                  </a:cubicBezTo>
                  <a:cubicBezTo>
                    <a:pt x="189" y="46"/>
                    <a:pt x="188" y="31"/>
                    <a:pt x="178" y="19"/>
                  </a:cubicBezTo>
                  <a:cubicBezTo>
                    <a:pt x="172" y="10"/>
                    <a:pt x="158" y="0"/>
                    <a:pt x="133" y="1"/>
                  </a:cubicBezTo>
                  <a:cubicBezTo>
                    <a:pt x="115" y="1"/>
                    <a:pt x="106" y="12"/>
                    <a:pt x="99" y="19"/>
                  </a:cubicBezTo>
                  <a:cubicBezTo>
                    <a:pt x="97" y="21"/>
                    <a:pt x="96" y="23"/>
                    <a:pt x="94" y="25"/>
                  </a:cubicBezTo>
                  <a:cubicBezTo>
                    <a:pt x="91" y="28"/>
                    <a:pt x="90" y="29"/>
                    <a:pt x="88" y="30"/>
                  </a:cubicBezTo>
                  <a:cubicBezTo>
                    <a:pt x="72" y="46"/>
                    <a:pt x="72" y="46"/>
                    <a:pt x="72" y="46"/>
                  </a:cubicBezTo>
                  <a:cubicBezTo>
                    <a:pt x="70" y="49"/>
                    <a:pt x="69" y="53"/>
                    <a:pt x="70" y="57"/>
                  </a:cubicBezTo>
                  <a:cubicBezTo>
                    <a:pt x="71" y="61"/>
                    <a:pt x="74" y="64"/>
                    <a:pt x="78" y="65"/>
                  </a:cubicBezTo>
                  <a:cubicBezTo>
                    <a:pt x="91" y="67"/>
                    <a:pt x="105" y="72"/>
                    <a:pt x="107" y="75"/>
                  </a:cubicBezTo>
                  <a:cubicBezTo>
                    <a:pt x="107" y="97"/>
                    <a:pt x="97" y="97"/>
                    <a:pt x="91" y="97"/>
                  </a:cubicBezTo>
                  <a:cubicBezTo>
                    <a:pt x="85" y="97"/>
                    <a:pt x="81" y="96"/>
                    <a:pt x="75" y="90"/>
                  </a:cubicBezTo>
                  <a:cubicBezTo>
                    <a:pt x="71" y="86"/>
                    <a:pt x="67" y="80"/>
                    <a:pt x="67" y="80"/>
                  </a:cubicBezTo>
                  <a:cubicBezTo>
                    <a:pt x="60" y="70"/>
                    <a:pt x="49" y="65"/>
                    <a:pt x="37" y="65"/>
                  </a:cubicBezTo>
                  <a:cubicBezTo>
                    <a:pt x="17" y="65"/>
                    <a:pt x="0" y="81"/>
                    <a:pt x="0" y="102"/>
                  </a:cubicBezTo>
                  <a:cubicBezTo>
                    <a:pt x="0" y="289"/>
                    <a:pt x="0" y="289"/>
                    <a:pt x="0" y="289"/>
                  </a:cubicBezTo>
                  <a:cubicBezTo>
                    <a:pt x="0" y="293"/>
                    <a:pt x="2" y="296"/>
                    <a:pt x="6" y="298"/>
                  </a:cubicBezTo>
                  <a:cubicBezTo>
                    <a:pt x="10" y="300"/>
                    <a:pt x="14" y="300"/>
                    <a:pt x="17" y="297"/>
                  </a:cubicBezTo>
                  <a:cubicBezTo>
                    <a:pt x="59" y="266"/>
                    <a:pt x="59" y="266"/>
                    <a:pt x="59" y="266"/>
                  </a:cubicBezTo>
                  <a:cubicBezTo>
                    <a:pt x="90" y="253"/>
                    <a:pt x="90" y="253"/>
                    <a:pt x="90" y="253"/>
                  </a:cubicBezTo>
                  <a:cubicBezTo>
                    <a:pt x="75" y="307"/>
                    <a:pt x="75" y="307"/>
                    <a:pt x="75" y="307"/>
                  </a:cubicBezTo>
                  <a:cubicBezTo>
                    <a:pt x="73" y="313"/>
                    <a:pt x="77" y="319"/>
                    <a:pt x="82" y="320"/>
                  </a:cubicBezTo>
                  <a:cubicBezTo>
                    <a:pt x="83" y="321"/>
                    <a:pt x="84" y="321"/>
                    <a:pt x="85" y="321"/>
                  </a:cubicBezTo>
                  <a:cubicBezTo>
                    <a:pt x="85" y="321"/>
                    <a:pt x="85" y="321"/>
                    <a:pt x="85" y="321"/>
                  </a:cubicBezTo>
                  <a:cubicBezTo>
                    <a:pt x="192" y="321"/>
                    <a:pt x="192" y="321"/>
                    <a:pt x="192" y="321"/>
                  </a:cubicBezTo>
                  <a:cubicBezTo>
                    <a:pt x="192" y="321"/>
                    <a:pt x="192" y="321"/>
                    <a:pt x="192" y="321"/>
                  </a:cubicBezTo>
                  <a:cubicBezTo>
                    <a:pt x="193" y="321"/>
                    <a:pt x="194" y="321"/>
                    <a:pt x="195" y="320"/>
                  </a:cubicBezTo>
                  <a:cubicBezTo>
                    <a:pt x="201" y="319"/>
                    <a:pt x="204" y="313"/>
                    <a:pt x="202" y="307"/>
                  </a:cubicBezTo>
                  <a:cubicBezTo>
                    <a:pt x="187" y="253"/>
                    <a:pt x="187" y="253"/>
                    <a:pt x="187" y="253"/>
                  </a:cubicBezTo>
                  <a:cubicBezTo>
                    <a:pt x="219" y="266"/>
                    <a:pt x="219" y="266"/>
                    <a:pt x="219" y="266"/>
                  </a:cubicBezTo>
                  <a:cubicBezTo>
                    <a:pt x="260" y="297"/>
                    <a:pt x="260" y="297"/>
                    <a:pt x="260" y="297"/>
                  </a:cubicBezTo>
                  <a:cubicBezTo>
                    <a:pt x="262" y="299"/>
                    <a:pt x="264" y="299"/>
                    <a:pt x="267" y="299"/>
                  </a:cubicBezTo>
                  <a:cubicBezTo>
                    <a:pt x="268" y="299"/>
                    <a:pt x="270" y="299"/>
                    <a:pt x="271" y="298"/>
                  </a:cubicBezTo>
                  <a:cubicBezTo>
                    <a:pt x="275" y="296"/>
                    <a:pt x="277" y="293"/>
                    <a:pt x="277" y="289"/>
                  </a:cubicBezTo>
                  <a:cubicBezTo>
                    <a:pt x="277" y="102"/>
                    <a:pt x="277" y="102"/>
                    <a:pt x="277" y="102"/>
                  </a:cubicBezTo>
                  <a:cubicBezTo>
                    <a:pt x="277" y="81"/>
                    <a:pt x="261" y="65"/>
                    <a:pt x="240" y="65"/>
                  </a:cubicBezTo>
                  <a:close/>
                  <a:moveTo>
                    <a:pt x="256" y="267"/>
                  </a:moveTo>
                  <a:cubicBezTo>
                    <a:pt x="235" y="251"/>
                    <a:pt x="235" y="251"/>
                    <a:pt x="235" y="251"/>
                  </a:cubicBezTo>
                  <a:cubicBezTo>
                    <a:pt x="235" y="203"/>
                    <a:pt x="235" y="203"/>
                    <a:pt x="235" y="203"/>
                  </a:cubicBezTo>
                  <a:cubicBezTo>
                    <a:pt x="235" y="197"/>
                    <a:pt x="230" y="193"/>
                    <a:pt x="224" y="193"/>
                  </a:cubicBezTo>
                  <a:cubicBezTo>
                    <a:pt x="218" y="193"/>
                    <a:pt x="213" y="197"/>
                    <a:pt x="213" y="203"/>
                  </a:cubicBezTo>
                  <a:cubicBezTo>
                    <a:pt x="213" y="241"/>
                    <a:pt x="213" y="241"/>
                    <a:pt x="213" y="241"/>
                  </a:cubicBezTo>
                  <a:cubicBezTo>
                    <a:pt x="181" y="228"/>
                    <a:pt x="181" y="228"/>
                    <a:pt x="181" y="228"/>
                  </a:cubicBezTo>
                  <a:cubicBezTo>
                    <a:pt x="181" y="203"/>
                    <a:pt x="181" y="203"/>
                    <a:pt x="181" y="203"/>
                  </a:cubicBezTo>
                  <a:cubicBezTo>
                    <a:pt x="181" y="197"/>
                    <a:pt x="177" y="193"/>
                    <a:pt x="171" y="193"/>
                  </a:cubicBezTo>
                  <a:cubicBezTo>
                    <a:pt x="165" y="193"/>
                    <a:pt x="160" y="197"/>
                    <a:pt x="160" y="203"/>
                  </a:cubicBezTo>
                  <a:cubicBezTo>
                    <a:pt x="160" y="235"/>
                    <a:pt x="160" y="235"/>
                    <a:pt x="160" y="235"/>
                  </a:cubicBezTo>
                  <a:cubicBezTo>
                    <a:pt x="160" y="236"/>
                    <a:pt x="160" y="236"/>
                    <a:pt x="160" y="236"/>
                  </a:cubicBezTo>
                  <a:cubicBezTo>
                    <a:pt x="160" y="237"/>
                    <a:pt x="160" y="237"/>
                    <a:pt x="160" y="238"/>
                  </a:cubicBezTo>
                  <a:cubicBezTo>
                    <a:pt x="178" y="299"/>
                    <a:pt x="178" y="299"/>
                    <a:pt x="178" y="299"/>
                  </a:cubicBezTo>
                  <a:cubicBezTo>
                    <a:pt x="99" y="299"/>
                    <a:pt x="99" y="299"/>
                    <a:pt x="99" y="299"/>
                  </a:cubicBezTo>
                  <a:cubicBezTo>
                    <a:pt x="117" y="238"/>
                    <a:pt x="117" y="238"/>
                    <a:pt x="117" y="238"/>
                  </a:cubicBezTo>
                  <a:cubicBezTo>
                    <a:pt x="117" y="237"/>
                    <a:pt x="117" y="237"/>
                    <a:pt x="117" y="236"/>
                  </a:cubicBezTo>
                  <a:cubicBezTo>
                    <a:pt x="117" y="236"/>
                    <a:pt x="117" y="236"/>
                    <a:pt x="117" y="235"/>
                  </a:cubicBezTo>
                  <a:cubicBezTo>
                    <a:pt x="117" y="203"/>
                    <a:pt x="117" y="203"/>
                    <a:pt x="117" y="203"/>
                  </a:cubicBezTo>
                  <a:cubicBezTo>
                    <a:pt x="117" y="197"/>
                    <a:pt x="113" y="193"/>
                    <a:pt x="107" y="193"/>
                  </a:cubicBezTo>
                  <a:cubicBezTo>
                    <a:pt x="101" y="193"/>
                    <a:pt x="96" y="197"/>
                    <a:pt x="96" y="203"/>
                  </a:cubicBezTo>
                  <a:cubicBezTo>
                    <a:pt x="96" y="228"/>
                    <a:pt x="96" y="228"/>
                    <a:pt x="96" y="228"/>
                  </a:cubicBezTo>
                  <a:cubicBezTo>
                    <a:pt x="64" y="241"/>
                    <a:pt x="64" y="241"/>
                    <a:pt x="64" y="241"/>
                  </a:cubicBezTo>
                  <a:cubicBezTo>
                    <a:pt x="64" y="203"/>
                    <a:pt x="64" y="203"/>
                    <a:pt x="64" y="203"/>
                  </a:cubicBezTo>
                  <a:cubicBezTo>
                    <a:pt x="64" y="197"/>
                    <a:pt x="59" y="193"/>
                    <a:pt x="53" y="193"/>
                  </a:cubicBezTo>
                  <a:cubicBezTo>
                    <a:pt x="47" y="193"/>
                    <a:pt x="43" y="197"/>
                    <a:pt x="43" y="203"/>
                  </a:cubicBezTo>
                  <a:cubicBezTo>
                    <a:pt x="43" y="251"/>
                    <a:pt x="43" y="251"/>
                    <a:pt x="43" y="251"/>
                  </a:cubicBezTo>
                  <a:cubicBezTo>
                    <a:pt x="21" y="267"/>
                    <a:pt x="21" y="267"/>
                    <a:pt x="21" y="267"/>
                  </a:cubicBezTo>
                  <a:cubicBezTo>
                    <a:pt x="21" y="102"/>
                    <a:pt x="21" y="102"/>
                    <a:pt x="21" y="102"/>
                  </a:cubicBezTo>
                  <a:cubicBezTo>
                    <a:pt x="21" y="93"/>
                    <a:pt x="29" y="86"/>
                    <a:pt x="37" y="86"/>
                  </a:cubicBezTo>
                  <a:cubicBezTo>
                    <a:pt x="42" y="86"/>
                    <a:pt x="47" y="88"/>
                    <a:pt x="50" y="92"/>
                  </a:cubicBezTo>
                  <a:cubicBezTo>
                    <a:pt x="50" y="92"/>
                    <a:pt x="55" y="99"/>
                    <a:pt x="59" y="104"/>
                  </a:cubicBezTo>
                  <a:cubicBezTo>
                    <a:pt x="70" y="116"/>
                    <a:pt x="81" y="118"/>
                    <a:pt x="91" y="118"/>
                  </a:cubicBezTo>
                  <a:cubicBezTo>
                    <a:pt x="115" y="118"/>
                    <a:pt x="128" y="103"/>
                    <a:pt x="128" y="75"/>
                  </a:cubicBezTo>
                  <a:cubicBezTo>
                    <a:pt x="128" y="61"/>
                    <a:pt x="114" y="53"/>
                    <a:pt x="101" y="48"/>
                  </a:cubicBezTo>
                  <a:cubicBezTo>
                    <a:pt x="104" y="45"/>
                    <a:pt x="104" y="45"/>
                    <a:pt x="104" y="45"/>
                  </a:cubicBezTo>
                  <a:cubicBezTo>
                    <a:pt x="105" y="44"/>
                    <a:pt x="106" y="43"/>
                    <a:pt x="109" y="40"/>
                  </a:cubicBezTo>
                  <a:cubicBezTo>
                    <a:pt x="111" y="38"/>
                    <a:pt x="113" y="36"/>
                    <a:pt x="115" y="33"/>
                  </a:cubicBezTo>
                  <a:cubicBezTo>
                    <a:pt x="122" y="26"/>
                    <a:pt x="125" y="22"/>
                    <a:pt x="134" y="22"/>
                  </a:cubicBezTo>
                  <a:cubicBezTo>
                    <a:pt x="147" y="22"/>
                    <a:pt x="156" y="25"/>
                    <a:pt x="162" y="32"/>
                  </a:cubicBezTo>
                  <a:cubicBezTo>
                    <a:pt x="167" y="38"/>
                    <a:pt x="167" y="46"/>
                    <a:pt x="166" y="51"/>
                  </a:cubicBezTo>
                  <a:cubicBezTo>
                    <a:pt x="164" y="57"/>
                    <a:pt x="157" y="63"/>
                    <a:pt x="154" y="66"/>
                  </a:cubicBezTo>
                  <a:cubicBezTo>
                    <a:pt x="154" y="67"/>
                    <a:pt x="153" y="67"/>
                    <a:pt x="152" y="68"/>
                  </a:cubicBezTo>
                  <a:cubicBezTo>
                    <a:pt x="150" y="70"/>
                    <a:pt x="149" y="72"/>
                    <a:pt x="149" y="75"/>
                  </a:cubicBezTo>
                  <a:cubicBezTo>
                    <a:pt x="149" y="102"/>
                    <a:pt x="169" y="118"/>
                    <a:pt x="187" y="118"/>
                  </a:cubicBezTo>
                  <a:cubicBezTo>
                    <a:pt x="205" y="118"/>
                    <a:pt x="215" y="109"/>
                    <a:pt x="219" y="103"/>
                  </a:cubicBezTo>
                  <a:cubicBezTo>
                    <a:pt x="222" y="98"/>
                    <a:pt x="227" y="93"/>
                    <a:pt x="227" y="92"/>
                  </a:cubicBezTo>
                  <a:cubicBezTo>
                    <a:pt x="230" y="88"/>
                    <a:pt x="235" y="86"/>
                    <a:pt x="240" y="86"/>
                  </a:cubicBezTo>
                  <a:cubicBezTo>
                    <a:pt x="249" y="86"/>
                    <a:pt x="256" y="93"/>
                    <a:pt x="256" y="102"/>
                  </a:cubicBezTo>
                  <a:lnTo>
                    <a:pt x="256" y="26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6" name="Group 118">
            <a:extLst>
              <a:ext uri="{FF2B5EF4-FFF2-40B4-BE49-F238E27FC236}">
                <a16:creationId xmlns:a16="http://schemas.microsoft.com/office/drawing/2014/main" id="{A49FE25D-A013-4A81-A149-649054FBDFCC}"/>
              </a:ext>
            </a:extLst>
          </p:cNvPr>
          <p:cNvGrpSpPr>
            <a:grpSpLocks noChangeAspect="1"/>
          </p:cNvGrpSpPr>
          <p:nvPr/>
        </p:nvGrpSpPr>
        <p:grpSpPr bwMode="auto">
          <a:xfrm>
            <a:off x="4338922" y="4848343"/>
            <a:ext cx="980140" cy="980134"/>
            <a:chOff x="1926" y="383"/>
            <a:chExt cx="341" cy="341"/>
          </a:xfrm>
          <a:solidFill>
            <a:schemeClr val="bg1"/>
          </a:solidFill>
        </p:grpSpPr>
        <p:sp>
          <p:nvSpPr>
            <p:cNvPr id="37" name="Freeform 119">
              <a:extLst>
                <a:ext uri="{FF2B5EF4-FFF2-40B4-BE49-F238E27FC236}">
                  <a16:creationId xmlns:a16="http://schemas.microsoft.com/office/drawing/2014/main" id="{331CB019-D2EB-441D-87D9-9EF0A9664A36}"/>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8" name="Freeform 120">
              <a:extLst>
                <a:ext uri="{FF2B5EF4-FFF2-40B4-BE49-F238E27FC236}">
                  <a16:creationId xmlns:a16="http://schemas.microsoft.com/office/drawing/2014/main" id="{4B6EEC1B-DB80-4AC6-9480-5750A3165D69}"/>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9" name="Group 192">
            <a:extLst>
              <a:ext uri="{FF2B5EF4-FFF2-40B4-BE49-F238E27FC236}">
                <a16:creationId xmlns:a16="http://schemas.microsoft.com/office/drawing/2014/main" id="{7371705B-7D3A-46BF-A338-55E673C96577}"/>
              </a:ext>
            </a:extLst>
          </p:cNvPr>
          <p:cNvGrpSpPr>
            <a:grpSpLocks noChangeAspect="1"/>
          </p:cNvGrpSpPr>
          <p:nvPr/>
        </p:nvGrpSpPr>
        <p:grpSpPr bwMode="auto">
          <a:xfrm>
            <a:off x="5641819" y="3603152"/>
            <a:ext cx="977264" cy="977258"/>
            <a:chOff x="378" y="713"/>
            <a:chExt cx="340" cy="340"/>
          </a:xfrm>
          <a:solidFill>
            <a:schemeClr val="bg1"/>
          </a:solidFill>
        </p:grpSpPr>
        <p:sp>
          <p:nvSpPr>
            <p:cNvPr id="40" name="Freeform 193">
              <a:extLst>
                <a:ext uri="{FF2B5EF4-FFF2-40B4-BE49-F238E27FC236}">
                  <a16:creationId xmlns:a16="http://schemas.microsoft.com/office/drawing/2014/main" id="{D1B0A318-A34B-42B3-9654-6CC4E14BD9BA}"/>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41" name="Freeform 194">
              <a:extLst>
                <a:ext uri="{FF2B5EF4-FFF2-40B4-BE49-F238E27FC236}">
                  <a16:creationId xmlns:a16="http://schemas.microsoft.com/office/drawing/2014/main" id="{9EF1B5AA-D6EC-49DC-B3C6-6B6A74C53EEF}"/>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custDataLst>
      <p:tags r:id="rId1"/>
    </p:custDataLst>
    <p:extLst>
      <p:ext uri="{BB962C8B-B14F-4D97-AF65-F5344CB8AC3E}">
        <p14:creationId xmlns:p14="http://schemas.microsoft.com/office/powerpoint/2010/main" val="117714222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3BDC1CB9-5BC9-A44E-8E55-E15B416B8E84}"/>
              </a:ext>
            </a:extLst>
          </p:cNvPr>
          <p:cNvSpPr/>
          <p:nvPr/>
        </p:nvSpPr>
        <p:spPr bwMode="gray">
          <a:xfrm>
            <a:off x="2832937" y="1714500"/>
            <a:ext cx="7458824" cy="1503886"/>
          </a:xfrm>
          <a:custGeom>
            <a:avLst/>
            <a:gdLst>
              <a:gd name="connsiteX0" fmla="*/ 0 w 7458824"/>
              <a:gd name="connsiteY0" fmla="*/ 0 h 1536192"/>
              <a:gd name="connsiteX1" fmla="*/ 255746 w 7458824"/>
              <a:gd name="connsiteY1" fmla="*/ 0 h 1536192"/>
              <a:gd name="connsiteX2" fmla="*/ 677677 w 7458824"/>
              <a:gd name="connsiteY2" fmla="*/ 0 h 1536192"/>
              <a:gd name="connsiteX3" fmla="*/ 7203078 w 7458824"/>
              <a:gd name="connsiteY3" fmla="*/ 0 h 1536192"/>
              <a:gd name="connsiteX4" fmla="*/ 7458824 w 7458824"/>
              <a:gd name="connsiteY4" fmla="*/ 255746 h 1536192"/>
              <a:gd name="connsiteX5" fmla="*/ 7458824 w 7458824"/>
              <a:gd name="connsiteY5" fmla="*/ 1278701 h 1536192"/>
              <a:gd name="connsiteX6" fmla="*/ 7203078 w 7458824"/>
              <a:gd name="connsiteY6" fmla="*/ 1534447 h 1536192"/>
              <a:gd name="connsiteX7" fmla="*/ 677677 w 7458824"/>
              <a:gd name="connsiteY7" fmla="*/ 1534447 h 1536192"/>
              <a:gd name="connsiteX8" fmla="*/ 677677 w 7458824"/>
              <a:gd name="connsiteY8" fmla="*/ 1536192 h 1536192"/>
              <a:gd name="connsiteX9" fmla="*/ 0 w 7458824"/>
              <a:gd name="connsiteY9" fmla="*/ 1536192 h 1536192"/>
              <a:gd name="connsiteX10" fmla="*/ 0 w 7458824"/>
              <a:gd name="connsiteY10" fmla="*/ 1278701 h 1536192"/>
              <a:gd name="connsiteX11" fmla="*/ 0 w 7458824"/>
              <a:gd name="connsiteY11" fmla="*/ 255746 h 15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8824" h="1536192">
                <a:moveTo>
                  <a:pt x="0" y="0"/>
                </a:moveTo>
                <a:lnTo>
                  <a:pt x="255746" y="0"/>
                </a:lnTo>
                <a:lnTo>
                  <a:pt x="677677" y="0"/>
                </a:lnTo>
                <a:lnTo>
                  <a:pt x="7203078" y="0"/>
                </a:lnTo>
                <a:cubicBezTo>
                  <a:pt x="7344323" y="0"/>
                  <a:pt x="7458824" y="114501"/>
                  <a:pt x="7458824" y="255746"/>
                </a:cubicBezTo>
                <a:lnTo>
                  <a:pt x="7458824" y="1278701"/>
                </a:lnTo>
                <a:cubicBezTo>
                  <a:pt x="7458824" y="1419946"/>
                  <a:pt x="7344323" y="1534447"/>
                  <a:pt x="7203078" y="1534447"/>
                </a:cubicBezTo>
                <a:lnTo>
                  <a:pt x="677677" y="1534447"/>
                </a:lnTo>
                <a:lnTo>
                  <a:pt x="677677" y="1536192"/>
                </a:lnTo>
                <a:lnTo>
                  <a:pt x="0" y="1536192"/>
                </a:lnTo>
                <a:lnTo>
                  <a:pt x="0" y="1278701"/>
                </a:lnTo>
                <a:lnTo>
                  <a:pt x="0" y="255746"/>
                </a:lnTo>
                <a:close/>
              </a:path>
            </a:pathLst>
          </a:custGeom>
          <a:solidFill>
            <a:srgbClr val="000000"/>
          </a:solidFill>
          <a:ln w="19050" algn="ctr">
            <a:noFill/>
            <a:miter lim="800000"/>
            <a:headEnd/>
            <a:tailEnd/>
          </a:ln>
        </p:spPr>
        <p:txBody>
          <a:bodyPr wrap="square" lIns="182880" tIns="88900" rIns="1800000" bIns="88900" rtlCol="0" anchor="ctr"/>
          <a:lstStyle/>
          <a:p>
            <a:pPr defTabSz="913686"/>
            <a:r>
              <a:rPr lang="en-US" sz="1300" b="1" dirty="0">
                <a:solidFill>
                  <a:prstClr val="white"/>
                </a:solidFill>
              </a:rPr>
              <a:t>Lorem ipsum dolor</a:t>
            </a:r>
          </a:p>
          <a:p>
            <a:pPr defTabSz="913686"/>
            <a:endParaRPr lang="en-US" sz="1300" b="1" dirty="0">
              <a:solidFill>
                <a:prstClr val="white"/>
              </a:solidFill>
            </a:endParaRPr>
          </a:p>
          <a:p>
            <a:pPr marL="171450" indent="-171450" defTabSz="913686">
              <a:buFont typeface="Arial" panose="020B0604020202020204" pitchFamily="34" charset="0"/>
              <a:buChar char="•"/>
            </a:pPr>
            <a:r>
              <a:rPr lang="en-US" sz="1300" dirty="0">
                <a:solidFill>
                  <a:prstClr val="white"/>
                </a:solidFill>
              </a:rPr>
              <a:t>This is dummy text it is not here to be read. The is just text to show where you could insert text. The is just text to show where you could insert text. </a:t>
            </a:r>
          </a:p>
          <a:p>
            <a:pPr marL="171450" indent="-171450" defTabSz="913686">
              <a:buFont typeface="Arial" panose="020B0604020202020204" pitchFamily="34" charset="0"/>
              <a:buChar char="•"/>
            </a:pPr>
            <a:endParaRPr lang="en-US" sz="1300" dirty="0">
              <a:solidFill>
                <a:prstClr val="white"/>
              </a:solidFill>
            </a:endParaRPr>
          </a:p>
          <a:p>
            <a:pPr marL="171450" indent="-171450" defTabSz="913686">
              <a:buFont typeface="Arial" panose="020B0604020202020204" pitchFamily="34" charset="0"/>
              <a:buChar char="•"/>
            </a:pPr>
            <a:r>
              <a:rPr lang="en-US" sz="1300" dirty="0">
                <a:solidFill>
                  <a:prstClr val="white"/>
                </a:solidFill>
              </a:rPr>
              <a:t>Please replace with your text content here.</a:t>
            </a:r>
          </a:p>
        </p:txBody>
      </p:sp>
      <p:sp>
        <p:nvSpPr>
          <p:cNvPr id="31" name="Freeform 30">
            <a:extLst>
              <a:ext uri="{FF2B5EF4-FFF2-40B4-BE49-F238E27FC236}">
                <a16:creationId xmlns:a16="http://schemas.microsoft.com/office/drawing/2014/main" id="{6CA6289B-0A8F-9246-B270-74F6B4787C8A}"/>
              </a:ext>
            </a:extLst>
          </p:cNvPr>
          <p:cNvSpPr/>
          <p:nvPr/>
        </p:nvSpPr>
        <p:spPr bwMode="gray">
          <a:xfrm>
            <a:off x="2832937" y="3283128"/>
            <a:ext cx="7458824" cy="1503886"/>
          </a:xfrm>
          <a:custGeom>
            <a:avLst/>
            <a:gdLst>
              <a:gd name="connsiteX0" fmla="*/ 0 w 7458824"/>
              <a:gd name="connsiteY0" fmla="*/ 0 h 1536192"/>
              <a:gd name="connsiteX1" fmla="*/ 255746 w 7458824"/>
              <a:gd name="connsiteY1" fmla="*/ 0 h 1536192"/>
              <a:gd name="connsiteX2" fmla="*/ 677677 w 7458824"/>
              <a:gd name="connsiteY2" fmla="*/ 0 h 1536192"/>
              <a:gd name="connsiteX3" fmla="*/ 7203078 w 7458824"/>
              <a:gd name="connsiteY3" fmla="*/ 0 h 1536192"/>
              <a:gd name="connsiteX4" fmla="*/ 7458824 w 7458824"/>
              <a:gd name="connsiteY4" fmla="*/ 255746 h 1536192"/>
              <a:gd name="connsiteX5" fmla="*/ 7458824 w 7458824"/>
              <a:gd name="connsiteY5" fmla="*/ 1278701 h 1536192"/>
              <a:gd name="connsiteX6" fmla="*/ 7203078 w 7458824"/>
              <a:gd name="connsiteY6" fmla="*/ 1534447 h 1536192"/>
              <a:gd name="connsiteX7" fmla="*/ 677677 w 7458824"/>
              <a:gd name="connsiteY7" fmla="*/ 1534447 h 1536192"/>
              <a:gd name="connsiteX8" fmla="*/ 677677 w 7458824"/>
              <a:gd name="connsiteY8" fmla="*/ 1536192 h 1536192"/>
              <a:gd name="connsiteX9" fmla="*/ 0 w 7458824"/>
              <a:gd name="connsiteY9" fmla="*/ 1536192 h 1536192"/>
              <a:gd name="connsiteX10" fmla="*/ 0 w 7458824"/>
              <a:gd name="connsiteY10" fmla="*/ 1278701 h 1536192"/>
              <a:gd name="connsiteX11" fmla="*/ 0 w 7458824"/>
              <a:gd name="connsiteY11" fmla="*/ 255746 h 15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8824" h="1536192">
                <a:moveTo>
                  <a:pt x="0" y="0"/>
                </a:moveTo>
                <a:lnTo>
                  <a:pt x="255746" y="0"/>
                </a:lnTo>
                <a:lnTo>
                  <a:pt x="677677" y="0"/>
                </a:lnTo>
                <a:lnTo>
                  <a:pt x="7203078" y="0"/>
                </a:lnTo>
                <a:cubicBezTo>
                  <a:pt x="7344323" y="0"/>
                  <a:pt x="7458824" y="114501"/>
                  <a:pt x="7458824" y="255746"/>
                </a:cubicBezTo>
                <a:lnTo>
                  <a:pt x="7458824" y="1278701"/>
                </a:lnTo>
                <a:cubicBezTo>
                  <a:pt x="7458824" y="1419946"/>
                  <a:pt x="7344323" y="1534447"/>
                  <a:pt x="7203078" y="1534447"/>
                </a:cubicBezTo>
                <a:lnTo>
                  <a:pt x="677677" y="1534447"/>
                </a:lnTo>
                <a:lnTo>
                  <a:pt x="677677" y="1536192"/>
                </a:lnTo>
                <a:lnTo>
                  <a:pt x="0" y="1536192"/>
                </a:lnTo>
                <a:lnTo>
                  <a:pt x="0" y="1278701"/>
                </a:lnTo>
                <a:lnTo>
                  <a:pt x="0" y="255746"/>
                </a:lnTo>
                <a:close/>
              </a:path>
            </a:pathLst>
          </a:custGeom>
          <a:solidFill>
            <a:srgbClr val="FFFFFF"/>
          </a:solidFill>
          <a:ln w="19050" algn="ctr">
            <a:solidFill>
              <a:srgbClr val="43B02A"/>
            </a:solidFill>
            <a:miter lim="800000"/>
            <a:headEnd/>
            <a:tailEnd/>
          </a:ln>
        </p:spPr>
        <p:txBody>
          <a:bodyPr wrap="square" lIns="182880" tIns="88900" rIns="1800000" bIns="88900" rtlCol="0" anchor="ctr"/>
          <a:lstStyle/>
          <a:p>
            <a:pPr defTabSz="913686"/>
            <a:r>
              <a:rPr lang="en-US" sz="1300" b="1" dirty="0">
                <a:solidFill>
                  <a:srgbClr val="000000"/>
                </a:solidFill>
              </a:rPr>
              <a:t>Lorem ipsum dolor</a:t>
            </a:r>
          </a:p>
          <a:p>
            <a:pPr defTabSz="913686"/>
            <a:endParaRPr lang="en-US" sz="1300" b="1" dirty="0">
              <a:solidFill>
                <a:srgbClr val="000000"/>
              </a:solidFill>
            </a:endParaRPr>
          </a:p>
          <a:p>
            <a:pPr marL="171450" indent="-171450" defTabSz="913686">
              <a:buFont typeface="Arial" panose="020B0604020202020204" pitchFamily="34" charset="0"/>
              <a:buChar char="•"/>
            </a:pPr>
            <a:r>
              <a:rPr lang="en-US" sz="1300" dirty="0">
                <a:solidFill>
                  <a:srgbClr val="000000"/>
                </a:solidFill>
              </a:rPr>
              <a:t>This is dummy text it is not here to be read. The is just text to show where you could insert text. The is just text to show where you could insert text. </a:t>
            </a:r>
          </a:p>
          <a:p>
            <a:pPr marL="171450" indent="-171450" defTabSz="913686">
              <a:buFont typeface="Arial" panose="020B0604020202020204" pitchFamily="34" charset="0"/>
              <a:buChar char="•"/>
            </a:pPr>
            <a:endParaRPr lang="en-US" sz="1300" dirty="0">
              <a:solidFill>
                <a:srgbClr val="000000"/>
              </a:solidFill>
            </a:endParaRPr>
          </a:p>
          <a:p>
            <a:pPr marL="171450" indent="-171450" defTabSz="913686">
              <a:buFont typeface="Arial" panose="020B0604020202020204" pitchFamily="34" charset="0"/>
              <a:buChar char="•"/>
            </a:pPr>
            <a:r>
              <a:rPr lang="en-US" sz="1300" dirty="0">
                <a:solidFill>
                  <a:srgbClr val="000000"/>
                </a:solidFill>
              </a:rPr>
              <a:t>Please replace with your text content here.</a:t>
            </a:r>
          </a:p>
        </p:txBody>
      </p:sp>
      <p:sp>
        <p:nvSpPr>
          <p:cNvPr id="32" name="Freeform 31">
            <a:extLst>
              <a:ext uri="{FF2B5EF4-FFF2-40B4-BE49-F238E27FC236}">
                <a16:creationId xmlns:a16="http://schemas.microsoft.com/office/drawing/2014/main" id="{156FEE05-0C40-DE42-BA0A-DB46EED06014}"/>
              </a:ext>
            </a:extLst>
          </p:cNvPr>
          <p:cNvSpPr/>
          <p:nvPr/>
        </p:nvSpPr>
        <p:spPr bwMode="gray">
          <a:xfrm>
            <a:off x="2832937" y="4851755"/>
            <a:ext cx="7458824" cy="1503886"/>
          </a:xfrm>
          <a:custGeom>
            <a:avLst/>
            <a:gdLst>
              <a:gd name="connsiteX0" fmla="*/ 0 w 7458824"/>
              <a:gd name="connsiteY0" fmla="*/ 0 h 1536192"/>
              <a:gd name="connsiteX1" fmla="*/ 255746 w 7458824"/>
              <a:gd name="connsiteY1" fmla="*/ 0 h 1536192"/>
              <a:gd name="connsiteX2" fmla="*/ 677677 w 7458824"/>
              <a:gd name="connsiteY2" fmla="*/ 0 h 1536192"/>
              <a:gd name="connsiteX3" fmla="*/ 7203078 w 7458824"/>
              <a:gd name="connsiteY3" fmla="*/ 0 h 1536192"/>
              <a:gd name="connsiteX4" fmla="*/ 7458824 w 7458824"/>
              <a:gd name="connsiteY4" fmla="*/ 255746 h 1536192"/>
              <a:gd name="connsiteX5" fmla="*/ 7458824 w 7458824"/>
              <a:gd name="connsiteY5" fmla="*/ 1278701 h 1536192"/>
              <a:gd name="connsiteX6" fmla="*/ 7203078 w 7458824"/>
              <a:gd name="connsiteY6" fmla="*/ 1534447 h 1536192"/>
              <a:gd name="connsiteX7" fmla="*/ 677677 w 7458824"/>
              <a:gd name="connsiteY7" fmla="*/ 1534447 h 1536192"/>
              <a:gd name="connsiteX8" fmla="*/ 677677 w 7458824"/>
              <a:gd name="connsiteY8" fmla="*/ 1536192 h 1536192"/>
              <a:gd name="connsiteX9" fmla="*/ 0 w 7458824"/>
              <a:gd name="connsiteY9" fmla="*/ 1536192 h 1536192"/>
              <a:gd name="connsiteX10" fmla="*/ 0 w 7458824"/>
              <a:gd name="connsiteY10" fmla="*/ 1278701 h 1536192"/>
              <a:gd name="connsiteX11" fmla="*/ 0 w 7458824"/>
              <a:gd name="connsiteY11" fmla="*/ 255746 h 15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8824" h="1536192">
                <a:moveTo>
                  <a:pt x="0" y="0"/>
                </a:moveTo>
                <a:lnTo>
                  <a:pt x="255746" y="0"/>
                </a:lnTo>
                <a:lnTo>
                  <a:pt x="677677" y="0"/>
                </a:lnTo>
                <a:lnTo>
                  <a:pt x="7203078" y="0"/>
                </a:lnTo>
                <a:cubicBezTo>
                  <a:pt x="7344323" y="0"/>
                  <a:pt x="7458824" y="114501"/>
                  <a:pt x="7458824" y="255746"/>
                </a:cubicBezTo>
                <a:lnTo>
                  <a:pt x="7458824" y="1278701"/>
                </a:lnTo>
                <a:cubicBezTo>
                  <a:pt x="7458824" y="1419946"/>
                  <a:pt x="7344323" y="1534447"/>
                  <a:pt x="7203078" y="1534447"/>
                </a:cubicBezTo>
                <a:lnTo>
                  <a:pt x="677677" y="1534447"/>
                </a:lnTo>
                <a:lnTo>
                  <a:pt x="677677" y="1536192"/>
                </a:lnTo>
                <a:lnTo>
                  <a:pt x="0" y="1536192"/>
                </a:lnTo>
                <a:lnTo>
                  <a:pt x="0" y="1278701"/>
                </a:lnTo>
                <a:lnTo>
                  <a:pt x="0" y="255746"/>
                </a:lnTo>
                <a:close/>
              </a:path>
            </a:pathLst>
          </a:custGeom>
          <a:solidFill>
            <a:srgbClr val="C4D600"/>
          </a:solidFill>
          <a:ln w="19050" algn="ctr">
            <a:noFill/>
            <a:miter lim="800000"/>
            <a:headEnd/>
            <a:tailEnd/>
          </a:ln>
        </p:spPr>
        <p:txBody>
          <a:bodyPr wrap="square" lIns="182880" tIns="88900" rIns="1800000" bIns="88900" rtlCol="0" anchor="ctr"/>
          <a:lstStyle/>
          <a:p>
            <a:pPr defTabSz="913686"/>
            <a:r>
              <a:rPr lang="en-US" sz="1300" b="1" dirty="0">
                <a:solidFill>
                  <a:srgbClr val="000000"/>
                </a:solidFill>
              </a:rPr>
              <a:t>Lorem ipsum dolor</a:t>
            </a:r>
          </a:p>
          <a:p>
            <a:pPr defTabSz="913686"/>
            <a:endParaRPr lang="en-US" sz="1300" b="1" dirty="0">
              <a:solidFill>
                <a:srgbClr val="000000"/>
              </a:solidFill>
            </a:endParaRPr>
          </a:p>
          <a:p>
            <a:pPr marL="171450" indent="-171450" defTabSz="913686">
              <a:buFont typeface="Arial" panose="020B0604020202020204" pitchFamily="34" charset="0"/>
              <a:buChar char="•"/>
            </a:pPr>
            <a:r>
              <a:rPr lang="en-US" sz="1300" dirty="0">
                <a:solidFill>
                  <a:srgbClr val="000000"/>
                </a:solidFill>
              </a:rPr>
              <a:t>This is dummy text it is not here to be read. The is just text to show where you could insert text. The is just text to show where you could insert text. </a:t>
            </a:r>
          </a:p>
          <a:p>
            <a:pPr marL="171450" indent="-171450" defTabSz="913686">
              <a:buFont typeface="Arial" panose="020B0604020202020204" pitchFamily="34" charset="0"/>
              <a:buChar char="•"/>
            </a:pPr>
            <a:endParaRPr lang="en-US" sz="1300" dirty="0">
              <a:solidFill>
                <a:srgbClr val="000000"/>
              </a:solidFill>
            </a:endParaRPr>
          </a:p>
          <a:p>
            <a:pPr marL="171450" indent="-171450" defTabSz="913686">
              <a:buFont typeface="Arial" panose="020B0604020202020204" pitchFamily="34" charset="0"/>
              <a:buChar char="•"/>
            </a:pPr>
            <a:r>
              <a:rPr lang="en-US" sz="1300" dirty="0">
                <a:solidFill>
                  <a:srgbClr val="000000"/>
                </a:solidFill>
              </a:rPr>
              <a:t>Please replace with your text content here.</a:t>
            </a:r>
          </a:p>
        </p:txBody>
      </p:sp>
      <p:sp>
        <p:nvSpPr>
          <p:cNvPr id="33" name="TextBox 32">
            <a:extLst>
              <a:ext uri="{FF2B5EF4-FFF2-40B4-BE49-F238E27FC236}">
                <a16:creationId xmlns:a16="http://schemas.microsoft.com/office/drawing/2014/main" id="{BEE4392C-761C-4E4E-9025-1ED374F1BF09}"/>
              </a:ext>
            </a:extLst>
          </p:cNvPr>
          <p:cNvSpPr txBox="1"/>
          <p:nvPr/>
        </p:nvSpPr>
        <p:spPr>
          <a:xfrm>
            <a:off x="1733131" y="1203922"/>
            <a:ext cx="1040349" cy="2462213"/>
          </a:xfrm>
          <a:prstGeom prst="rect">
            <a:avLst/>
          </a:prstGeom>
          <a:noFill/>
        </p:spPr>
        <p:txBody>
          <a:bodyPr wrap="none" lIns="0" tIns="0" rIns="0" bIns="0" rtlCol="0">
            <a:spAutoFit/>
          </a:bodyPr>
          <a:lstStyle/>
          <a:p>
            <a:pPr defTabSz="913686">
              <a:buSzPct val="100000"/>
            </a:pPr>
            <a:r>
              <a:rPr lang="en-US" sz="16000" dirty="0">
                <a:solidFill>
                  <a:srgbClr val="000000"/>
                </a:solidFill>
              </a:rPr>
              <a:t>1</a:t>
            </a:r>
            <a:endParaRPr lang="en-GB" sz="16000" dirty="0">
              <a:solidFill>
                <a:srgbClr val="000000"/>
              </a:solidFill>
            </a:endParaRPr>
          </a:p>
        </p:txBody>
      </p:sp>
      <p:sp>
        <p:nvSpPr>
          <p:cNvPr id="34" name="TextBox 33">
            <a:extLst>
              <a:ext uri="{FF2B5EF4-FFF2-40B4-BE49-F238E27FC236}">
                <a16:creationId xmlns:a16="http://schemas.microsoft.com/office/drawing/2014/main" id="{C9B3E88F-916A-F644-AD29-A5A7527F4EFE}"/>
              </a:ext>
            </a:extLst>
          </p:cNvPr>
          <p:cNvSpPr txBox="1"/>
          <p:nvPr/>
        </p:nvSpPr>
        <p:spPr>
          <a:xfrm>
            <a:off x="1733131" y="2768149"/>
            <a:ext cx="1040349" cy="2462213"/>
          </a:xfrm>
          <a:prstGeom prst="rect">
            <a:avLst/>
          </a:prstGeom>
          <a:noFill/>
        </p:spPr>
        <p:txBody>
          <a:bodyPr wrap="none" lIns="0" tIns="0" rIns="0" bIns="0" rtlCol="0">
            <a:spAutoFit/>
          </a:bodyPr>
          <a:lstStyle/>
          <a:p>
            <a:pPr defTabSz="913686">
              <a:buSzPct val="100000"/>
            </a:pPr>
            <a:r>
              <a:rPr lang="en-US" sz="16000" dirty="0">
                <a:solidFill>
                  <a:srgbClr val="43B02A"/>
                </a:solidFill>
              </a:rPr>
              <a:t>2</a:t>
            </a:r>
            <a:endParaRPr lang="en-GB" sz="16000" dirty="0">
              <a:solidFill>
                <a:srgbClr val="43B02A"/>
              </a:solidFill>
            </a:endParaRPr>
          </a:p>
        </p:txBody>
      </p:sp>
      <p:sp>
        <p:nvSpPr>
          <p:cNvPr id="35" name="TextBox 34">
            <a:extLst>
              <a:ext uri="{FF2B5EF4-FFF2-40B4-BE49-F238E27FC236}">
                <a16:creationId xmlns:a16="http://schemas.microsoft.com/office/drawing/2014/main" id="{71970A48-EA16-CC4D-AB80-0083DF68C1E8}"/>
              </a:ext>
            </a:extLst>
          </p:cNvPr>
          <p:cNvSpPr txBox="1"/>
          <p:nvPr/>
        </p:nvSpPr>
        <p:spPr>
          <a:xfrm>
            <a:off x="1733131" y="4316867"/>
            <a:ext cx="1040349" cy="2462213"/>
          </a:xfrm>
          <a:prstGeom prst="rect">
            <a:avLst/>
          </a:prstGeom>
          <a:noFill/>
        </p:spPr>
        <p:txBody>
          <a:bodyPr wrap="none" lIns="0" tIns="0" rIns="0" bIns="0" rtlCol="0">
            <a:spAutoFit/>
          </a:bodyPr>
          <a:lstStyle/>
          <a:p>
            <a:pPr defTabSz="913686">
              <a:buSzPct val="100000"/>
            </a:pPr>
            <a:r>
              <a:rPr lang="en-US" sz="16000" dirty="0">
                <a:solidFill>
                  <a:srgbClr val="C4D600"/>
                </a:solidFill>
              </a:rPr>
              <a:t>3</a:t>
            </a:r>
            <a:endParaRPr lang="en-GB" sz="16000" dirty="0">
              <a:solidFill>
                <a:srgbClr val="C4D600"/>
              </a:solidFill>
            </a:endParaRPr>
          </a:p>
        </p:txBody>
      </p:sp>
      <p:grpSp>
        <p:nvGrpSpPr>
          <p:cNvPr id="36" name="Group 224">
            <a:extLst>
              <a:ext uri="{FF2B5EF4-FFF2-40B4-BE49-F238E27FC236}">
                <a16:creationId xmlns:a16="http://schemas.microsoft.com/office/drawing/2014/main" id="{6F5F6B16-CF03-634C-823C-CCEBE38F8341}"/>
              </a:ext>
            </a:extLst>
          </p:cNvPr>
          <p:cNvGrpSpPr>
            <a:grpSpLocks noChangeAspect="1"/>
          </p:cNvGrpSpPr>
          <p:nvPr/>
        </p:nvGrpSpPr>
        <p:grpSpPr bwMode="auto">
          <a:xfrm>
            <a:off x="9154596" y="2009243"/>
            <a:ext cx="914400" cy="914400"/>
            <a:chOff x="2713" y="721"/>
            <a:chExt cx="340" cy="340"/>
          </a:xfrm>
          <a:solidFill>
            <a:schemeClr val="bg1"/>
          </a:solidFill>
        </p:grpSpPr>
        <p:sp>
          <p:nvSpPr>
            <p:cNvPr id="37" name="Freeform 225">
              <a:extLst>
                <a:ext uri="{FF2B5EF4-FFF2-40B4-BE49-F238E27FC236}">
                  <a16:creationId xmlns:a16="http://schemas.microsoft.com/office/drawing/2014/main" id="{1F51A760-DE06-1044-B7F7-6208DD952F8B}"/>
                </a:ext>
              </a:extLst>
            </p:cNvPr>
            <p:cNvSpPr>
              <a:spLocks noEditPoints="1"/>
            </p:cNvSpPr>
            <p:nvPr/>
          </p:nvSpPr>
          <p:spPr bwMode="auto">
            <a:xfrm>
              <a:off x="2713" y="7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38" name="Freeform 226">
              <a:extLst>
                <a:ext uri="{FF2B5EF4-FFF2-40B4-BE49-F238E27FC236}">
                  <a16:creationId xmlns:a16="http://schemas.microsoft.com/office/drawing/2014/main" id="{7D9E53B9-B9AC-5E43-9E63-402E60B622F5}"/>
                </a:ext>
              </a:extLst>
            </p:cNvPr>
            <p:cNvSpPr>
              <a:spLocks noEditPoints="1"/>
            </p:cNvSpPr>
            <p:nvPr/>
          </p:nvSpPr>
          <p:spPr bwMode="auto">
            <a:xfrm>
              <a:off x="2791" y="791"/>
              <a:ext cx="184" cy="185"/>
            </a:xfrm>
            <a:custGeom>
              <a:avLst/>
              <a:gdLst>
                <a:gd name="T0" fmla="*/ 139 w 277"/>
                <a:gd name="T1" fmla="*/ 0 h 278"/>
                <a:gd name="T2" fmla="*/ 0 w 277"/>
                <a:gd name="T3" fmla="*/ 134 h 278"/>
                <a:gd name="T4" fmla="*/ 0 w 277"/>
                <a:gd name="T5" fmla="*/ 240 h 278"/>
                <a:gd name="T6" fmla="*/ 37 w 277"/>
                <a:gd name="T7" fmla="*/ 278 h 278"/>
                <a:gd name="T8" fmla="*/ 75 w 277"/>
                <a:gd name="T9" fmla="*/ 240 h 278"/>
                <a:gd name="T10" fmla="*/ 75 w 277"/>
                <a:gd name="T11" fmla="*/ 166 h 278"/>
                <a:gd name="T12" fmla="*/ 37 w 277"/>
                <a:gd name="T13" fmla="*/ 128 h 278"/>
                <a:gd name="T14" fmla="*/ 21 w 277"/>
                <a:gd name="T15" fmla="*/ 132 h 278"/>
                <a:gd name="T16" fmla="*/ 139 w 277"/>
                <a:gd name="T17" fmla="*/ 22 h 278"/>
                <a:gd name="T18" fmla="*/ 256 w 277"/>
                <a:gd name="T19" fmla="*/ 132 h 278"/>
                <a:gd name="T20" fmla="*/ 240 w 277"/>
                <a:gd name="T21" fmla="*/ 128 h 278"/>
                <a:gd name="T22" fmla="*/ 203 w 277"/>
                <a:gd name="T23" fmla="*/ 166 h 278"/>
                <a:gd name="T24" fmla="*/ 203 w 277"/>
                <a:gd name="T25" fmla="*/ 240 h 278"/>
                <a:gd name="T26" fmla="*/ 240 w 277"/>
                <a:gd name="T27" fmla="*/ 278 h 278"/>
                <a:gd name="T28" fmla="*/ 277 w 277"/>
                <a:gd name="T29" fmla="*/ 240 h 278"/>
                <a:gd name="T30" fmla="*/ 277 w 277"/>
                <a:gd name="T31" fmla="*/ 134 h 278"/>
                <a:gd name="T32" fmla="*/ 139 w 277"/>
                <a:gd name="T33" fmla="*/ 0 h 278"/>
                <a:gd name="T34" fmla="*/ 37 w 277"/>
                <a:gd name="T35" fmla="*/ 150 h 278"/>
                <a:gd name="T36" fmla="*/ 53 w 277"/>
                <a:gd name="T37" fmla="*/ 166 h 278"/>
                <a:gd name="T38" fmla="*/ 53 w 277"/>
                <a:gd name="T39" fmla="*/ 240 h 278"/>
                <a:gd name="T40" fmla="*/ 37 w 277"/>
                <a:gd name="T41" fmla="*/ 256 h 278"/>
                <a:gd name="T42" fmla="*/ 21 w 277"/>
                <a:gd name="T43" fmla="*/ 240 h 278"/>
                <a:gd name="T44" fmla="*/ 21 w 277"/>
                <a:gd name="T45" fmla="*/ 166 h 278"/>
                <a:gd name="T46" fmla="*/ 37 w 277"/>
                <a:gd name="T47" fmla="*/ 150 h 278"/>
                <a:gd name="T48" fmla="*/ 256 w 277"/>
                <a:gd name="T49" fmla="*/ 240 h 278"/>
                <a:gd name="T50" fmla="*/ 240 w 277"/>
                <a:gd name="T51" fmla="*/ 256 h 278"/>
                <a:gd name="T52" fmla="*/ 224 w 277"/>
                <a:gd name="T53" fmla="*/ 240 h 278"/>
                <a:gd name="T54" fmla="*/ 224 w 277"/>
                <a:gd name="T55" fmla="*/ 166 h 278"/>
                <a:gd name="T56" fmla="*/ 240 w 277"/>
                <a:gd name="T57" fmla="*/ 150 h 278"/>
                <a:gd name="T58" fmla="*/ 256 w 277"/>
                <a:gd name="T59" fmla="*/ 166 h 278"/>
                <a:gd name="T60" fmla="*/ 256 w 277"/>
                <a:gd name="T61" fmla="*/ 24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7" h="278">
                  <a:moveTo>
                    <a:pt x="139" y="0"/>
                  </a:moveTo>
                  <a:cubicBezTo>
                    <a:pt x="62" y="0"/>
                    <a:pt x="0" y="60"/>
                    <a:pt x="0" y="134"/>
                  </a:cubicBezTo>
                  <a:cubicBezTo>
                    <a:pt x="0" y="240"/>
                    <a:pt x="0" y="240"/>
                    <a:pt x="0" y="240"/>
                  </a:cubicBezTo>
                  <a:cubicBezTo>
                    <a:pt x="0" y="261"/>
                    <a:pt x="17" y="278"/>
                    <a:pt x="37" y="278"/>
                  </a:cubicBezTo>
                  <a:cubicBezTo>
                    <a:pt x="58" y="278"/>
                    <a:pt x="75" y="261"/>
                    <a:pt x="75" y="240"/>
                  </a:cubicBezTo>
                  <a:cubicBezTo>
                    <a:pt x="75" y="166"/>
                    <a:pt x="75" y="166"/>
                    <a:pt x="75" y="166"/>
                  </a:cubicBezTo>
                  <a:cubicBezTo>
                    <a:pt x="75" y="145"/>
                    <a:pt x="58" y="128"/>
                    <a:pt x="37" y="128"/>
                  </a:cubicBezTo>
                  <a:cubicBezTo>
                    <a:pt x="32" y="128"/>
                    <a:pt x="26" y="130"/>
                    <a:pt x="21" y="132"/>
                  </a:cubicBezTo>
                  <a:cubicBezTo>
                    <a:pt x="22" y="71"/>
                    <a:pt x="75" y="22"/>
                    <a:pt x="139" y="22"/>
                  </a:cubicBezTo>
                  <a:cubicBezTo>
                    <a:pt x="203" y="22"/>
                    <a:pt x="255" y="71"/>
                    <a:pt x="256" y="132"/>
                  </a:cubicBezTo>
                  <a:cubicBezTo>
                    <a:pt x="251" y="130"/>
                    <a:pt x="246" y="128"/>
                    <a:pt x="240" y="128"/>
                  </a:cubicBezTo>
                  <a:cubicBezTo>
                    <a:pt x="219" y="128"/>
                    <a:pt x="203" y="145"/>
                    <a:pt x="203" y="166"/>
                  </a:cubicBezTo>
                  <a:cubicBezTo>
                    <a:pt x="203" y="240"/>
                    <a:pt x="203" y="240"/>
                    <a:pt x="203" y="240"/>
                  </a:cubicBezTo>
                  <a:cubicBezTo>
                    <a:pt x="203" y="261"/>
                    <a:pt x="219" y="278"/>
                    <a:pt x="240" y="278"/>
                  </a:cubicBezTo>
                  <a:cubicBezTo>
                    <a:pt x="261" y="278"/>
                    <a:pt x="277" y="261"/>
                    <a:pt x="277" y="240"/>
                  </a:cubicBezTo>
                  <a:cubicBezTo>
                    <a:pt x="277" y="134"/>
                    <a:pt x="277" y="134"/>
                    <a:pt x="277" y="134"/>
                  </a:cubicBezTo>
                  <a:cubicBezTo>
                    <a:pt x="277" y="60"/>
                    <a:pt x="215" y="0"/>
                    <a:pt x="139" y="0"/>
                  </a:cubicBezTo>
                  <a:close/>
                  <a:moveTo>
                    <a:pt x="37" y="150"/>
                  </a:moveTo>
                  <a:cubicBezTo>
                    <a:pt x="46" y="150"/>
                    <a:pt x="53" y="157"/>
                    <a:pt x="53" y="166"/>
                  </a:cubicBezTo>
                  <a:cubicBezTo>
                    <a:pt x="53" y="240"/>
                    <a:pt x="53" y="240"/>
                    <a:pt x="53" y="240"/>
                  </a:cubicBezTo>
                  <a:cubicBezTo>
                    <a:pt x="53" y="249"/>
                    <a:pt x="46" y="256"/>
                    <a:pt x="37" y="256"/>
                  </a:cubicBezTo>
                  <a:cubicBezTo>
                    <a:pt x="29" y="256"/>
                    <a:pt x="21" y="249"/>
                    <a:pt x="21" y="240"/>
                  </a:cubicBezTo>
                  <a:cubicBezTo>
                    <a:pt x="21" y="166"/>
                    <a:pt x="21" y="166"/>
                    <a:pt x="21" y="166"/>
                  </a:cubicBezTo>
                  <a:cubicBezTo>
                    <a:pt x="21" y="157"/>
                    <a:pt x="29" y="150"/>
                    <a:pt x="37" y="150"/>
                  </a:cubicBezTo>
                  <a:close/>
                  <a:moveTo>
                    <a:pt x="256" y="240"/>
                  </a:moveTo>
                  <a:cubicBezTo>
                    <a:pt x="256" y="249"/>
                    <a:pt x="249" y="256"/>
                    <a:pt x="240" y="256"/>
                  </a:cubicBezTo>
                  <a:cubicBezTo>
                    <a:pt x="231" y="256"/>
                    <a:pt x="224" y="249"/>
                    <a:pt x="224" y="240"/>
                  </a:cubicBezTo>
                  <a:cubicBezTo>
                    <a:pt x="224" y="166"/>
                    <a:pt x="224" y="166"/>
                    <a:pt x="224" y="166"/>
                  </a:cubicBezTo>
                  <a:cubicBezTo>
                    <a:pt x="224" y="157"/>
                    <a:pt x="231" y="150"/>
                    <a:pt x="240" y="150"/>
                  </a:cubicBezTo>
                  <a:cubicBezTo>
                    <a:pt x="249" y="150"/>
                    <a:pt x="256" y="157"/>
                    <a:pt x="256" y="166"/>
                  </a:cubicBezTo>
                  <a:lnTo>
                    <a:pt x="256" y="24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grpSp>
        <p:nvGrpSpPr>
          <p:cNvPr id="39" name="Group 487">
            <a:extLst>
              <a:ext uri="{FF2B5EF4-FFF2-40B4-BE49-F238E27FC236}">
                <a16:creationId xmlns:a16="http://schemas.microsoft.com/office/drawing/2014/main" id="{281FCB50-3486-954D-B1F2-C4DEC1714E47}"/>
              </a:ext>
            </a:extLst>
          </p:cNvPr>
          <p:cNvGrpSpPr>
            <a:grpSpLocks noChangeAspect="1"/>
          </p:cNvGrpSpPr>
          <p:nvPr/>
        </p:nvGrpSpPr>
        <p:grpSpPr bwMode="auto">
          <a:xfrm>
            <a:off x="9154596" y="3577871"/>
            <a:ext cx="914400" cy="914400"/>
            <a:chOff x="6566" y="1944"/>
            <a:chExt cx="341" cy="341"/>
          </a:xfrm>
          <a:solidFill>
            <a:srgbClr val="43B02A"/>
          </a:solidFill>
        </p:grpSpPr>
        <p:sp>
          <p:nvSpPr>
            <p:cNvPr id="40" name="Freeform 488">
              <a:extLst>
                <a:ext uri="{FF2B5EF4-FFF2-40B4-BE49-F238E27FC236}">
                  <a16:creationId xmlns:a16="http://schemas.microsoft.com/office/drawing/2014/main" id="{E2DA18CC-9BCE-1944-A606-D3E83A7E7F84}"/>
                </a:ext>
              </a:extLst>
            </p:cNvPr>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1" name="Freeform 489">
              <a:extLst>
                <a:ext uri="{FF2B5EF4-FFF2-40B4-BE49-F238E27FC236}">
                  <a16:creationId xmlns:a16="http://schemas.microsoft.com/office/drawing/2014/main" id="{1E0B6B97-062D-2549-BCED-1B261F9C3AAA}"/>
                </a:ext>
              </a:extLst>
            </p:cNvPr>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2" name="Freeform 490">
              <a:extLst>
                <a:ext uri="{FF2B5EF4-FFF2-40B4-BE49-F238E27FC236}">
                  <a16:creationId xmlns:a16="http://schemas.microsoft.com/office/drawing/2014/main" id="{D28423D7-D825-FF4A-A955-CC1C399D0419}"/>
                </a:ext>
              </a:extLst>
            </p:cNvPr>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grpSp>
        <p:nvGrpSpPr>
          <p:cNvPr id="43" name="Group 614">
            <a:extLst>
              <a:ext uri="{FF2B5EF4-FFF2-40B4-BE49-F238E27FC236}">
                <a16:creationId xmlns:a16="http://schemas.microsoft.com/office/drawing/2014/main" id="{BC31CA4D-9A97-0341-842C-AB4EA285EE1E}"/>
              </a:ext>
            </a:extLst>
          </p:cNvPr>
          <p:cNvGrpSpPr>
            <a:grpSpLocks noChangeAspect="1"/>
          </p:cNvGrpSpPr>
          <p:nvPr/>
        </p:nvGrpSpPr>
        <p:grpSpPr bwMode="auto">
          <a:xfrm>
            <a:off x="9154596" y="5146498"/>
            <a:ext cx="914400" cy="914400"/>
            <a:chOff x="3780" y="2658"/>
            <a:chExt cx="340" cy="340"/>
          </a:xfrm>
          <a:solidFill>
            <a:srgbClr val="000000"/>
          </a:solidFill>
        </p:grpSpPr>
        <p:sp>
          <p:nvSpPr>
            <p:cNvPr id="44" name="Freeform 615">
              <a:extLst>
                <a:ext uri="{FF2B5EF4-FFF2-40B4-BE49-F238E27FC236}">
                  <a16:creationId xmlns:a16="http://schemas.microsoft.com/office/drawing/2014/main" id="{5FEC89CA-A0F0-7D42-9AEF-142C1F4A26B4}"/>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5" name="Freeform 616">
              <a:extLst>
                <a:ext uri="{FF2B5EF4-FFF2-40B4-BE49-F238E27FC236}">
                  <a16:creationId xmlns:a16="http://schemas.microsoft.com/office/drawing/2014/main" id="{26F8D4FA-E6E3-C84F-BEC7-83994856870E}"/>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6" name="Freeform 617">
              <a:extLst>
                <a:ext uri="{FF2B5EF4-FFF2-40B4-BE49-F238E27FC236}">
                  <a16:creationId xmlns:a16="http://schemas.microsoft.com/office/drawing/2014/main" id="{175C949A-F438-8547-B2EC-E2DB1AE8D307}"/>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7" name="Freeform 618">
              <a:extLst>
                <a:ext uri="{FF2B5EF4-FFF2-40B4-BE49-F238E27FC236}">
                  <a16:creationId xmlns:a16="http://schemas.microsoft.com/office/drawing/2014/main" id="{F1A9CF50-AC55-7F4B-9249-E4FFDB93E1D7}"/>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8" name="Freeform 619">
              <a:extLst>
                <a:ext uri="{FF2B5EF4-FFF2-40B4-BE49-F238E27FC236}">
                  <a16:creationId xmlns:a16="http://schemas.microsoft.com/office/drawing/2014/main" id="{26819231-1CA1-0C4F-B2B9-37BABAB37955}"/>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9" name="Freeform 620">
              <a:extLst>
                <a:ext uri="{FF2B5EF4-FFF2-40B4-BE49-F238E27FC236}">
                  <a16:creationId xmlns:a16="http://schemas.microsoft.com/office/drawing/2014/main" id="{66FC9474-C850-4C4D-89AD-77DFB82C8F5B}"/>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50" name="Freeform 621">
              <a:extLst>
                <a:ext uri="{FF2B5EF4-FFF2-40B4-BE49-F238E27FC236}">
                  <a16:creationId xmlns:a16="http://schemas.microsoft.com/office/drawing/2014/main" id="{160CB47B-84FC-C642-92DD-A30982A22676}"/>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51" name="Freeform 622">
              <a:extLst>
                <a:ext uri="{FF2B5EF4-FFF2-40B4-BE49-F238E27FC236}">
                  <a16:creationId xmlns:a16="http://schemas.microsoft.com/office/drawing/2014/main" id="{89A259A8-54E1-6745-A2C6-BBBB4155E261}"/>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52" name="Freeform 623">
              <a:extLst>
                <a:ext uri="{FF2B5EF4-FFF2-40B4-BE49-F238E27FC236}">
                  <a16:creationId xmlns:a16="http://schemas.microsoft.com/office/drawing/2014/main" id="{A6893DE7-9D4D-5745-A5CD-ADA1C79CE4C1}"/>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cxnSp>
        <p:nvCxnSpPr>
          <p:cNvPr id="53" name="Straight Connector 52">
            <a:extLst>
              <a:ext uri="{FF2B5EF4-FFF2-40B4-BE49-F238E27FC236}">
                <a16:creationId xmlns:a16="http://schemas.microsoft.com/office/drawing/2014/main" id="{68CC6C4A-2F4A-E144-8C7A-834888AAC03E}"/>
              </a:ext>
            </a:extLst>
          </p:cNvPr>
          <p:cNvCxnSpPr/>
          <p:nvPr/>
        </p:nvCxnSpPr>
        <p:spPr>
          <a:xfrm>
            <a:off x="8928100" y="2009243"/>
            <a:ext cx="0" cy="9144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3328463-C7F0-354D-A96B-5ED0753A29A7}"/>
              </a:ext>
            </a:extLst>
          </p:cNvPr>
          <p:cNvCxnSpPr/>
          <p:nvPr/>
        </p:nvCxnSpPr>
        <p:spPr>
          <a:xfrm>
            <a:off x="8928100" y="3577871"/>
            <a:ext cx="0" cy="914400"/>
          </a:xfrm>
          <a:prstGeom prst="line">
            <a:avLst/>
          </a:prstGeom>
          <a:ln w="381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1D46B88-D507-384F-B2A8-FB1E41FCECCC}"/>
              </a:ext>
            </a:extLst>
          </p:cNvPr>
          <p:cNvCxnSpPr/>
          <p:nvPr/>
        </p:nvCxnSpPr>
        <p:spPr>
          <a:xfrm>
            <a:off x="8928100" y="5146498"/>
            <a:ext cx="0" cy="91440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0786987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5223644" y="3624000"/>
            <a:ext cx="2767831" cy="413377"/>
          </a:xfrm>
          <a:prstGeom prst="rect">
            <a:avLst/>
          </a:prstGeom>
        </p:spPr>
      </p:pic>
      <p:grpSp>
        <p:nvGrpSpPr>
          <p:cNvPr id="2" name="Group 1"/>
          <p:cNvGrpSpPr/>
          <p:nvPr/>
        </p:nvGrpSpPr>
        <p:grpSpPr>
          <a:xfrm>
            <a:off x="10567513" y="2572471"/>
            <a:ext cx="1102201" cy="2539980"/>
            <a:chOff x="9189563" y="2475471"/>
            <a:chExt cx="1102201" cy="2539980"/>
          </a:xfrm>
        </p:grpSpPr>
        <p:sp>
          <p:nvSpPr>
            <p:cNvPr id="33" name="Freeform 5">
              <a:extLst>
                <a:ext uri="{FF2B5EF4-FFF2-40B4-BE49-F238E27FC236}">
                  <a16:creationId xmlns:a16="http://schemas.microsoft.com/office/drawing/2014/main" id="{E8011C8B-EC28-3845-B9F8-9E070BC2CEF4}"/>
                </a:ext>
              </a:extLst>
            </p:cNvPr>
            <p:cNvSpPr>
              <a:spLocks/>
            </p:cNvSpPr>
            <p:nvPr/>
          </p:nvSpPr>
          <p:spPr bwMode="auto">
            <a:xfrm>
              <a:off x="9399863" y="2475471"/>
              <a:ext cx="891901" cy="2539980"/>
            </a:xfrm>
            <a:custGeom>
              <a:avLst/>
              <a:gdLst>
                <a:gd name="T0" fmla="*/ 96 w 192"/>
                <a:gd name="T1" fmla="*/ 0 h 546"/>
                <a:gd name="T2" fmla="*/ 51 w 192"/>
                <a:gd name="T3" fmla="*/ 0 h 546"/>
                <a:gd name="T4" fmla="*/ 51 w 192"/>
                <a:gd name="T5" fmla="*/ 33 h 546"/>
                <a:gd name="T6" fmla="*/ 0 w 192"/>
                <a:gd name="T7" fmla="*/ 273 h 546"/>
                <a:gd name="T8" fmla="*/ 51 w 192"/>
                <a:gd name="T9" fmla="*/ 513 h 546"/>
                <a:gd name="T10" fmla="*/ 51 w 192"/>
                <a:gd name="T11" fmla="*/ 546 h 546"/>
                <a:gd name="T12" fmla="*/ 96 w 192"/>
                <a:gd name="T13" fmla="*/ 546 h 546"/>
                <a:gd name="T14" fmla="*/ 192 w 192"/>
                <a:gd name="T15" fmla="*/ 273 h 546"/>
                <a:gd name="T16" fmla="*/ 96 w 192"/>
                <a:gd name="T17"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46">
                  <a:moveTo>
                    <a:pt x="96" y="0"/>
                  </a:moveTo>
                  <a:cubicBezTo>
                    <a:pt x="51" y="0"/>
                    <a:pt x="51" y="0"/>
                    <a:pt x="51" y="0"/>
                  </a:cubicBezTo>
                  <a:cubicBezTo>
                    <a:pt x="51" y="33"/>
                    <a:pt x="51" y="33"/>
                    <a:pt x="51" y="33"/>
                  </a:cubicBezTo>
                  <a:cubicBezTo>
                    <a:pt x="21" y="79"/>
                    <a:pt x="0" y="169"/>
                    <a:pt x="0" y="273"/>
                  </a:cubicBezTo>
                  <a:cubicBezTo>
                    <a:pt x="0" y="377"/>
                    <a:pt x="21" y="467"/>
                    <a:pt x="51" y="513"/>
                  </a:cubicBezTo>
                  <a:cubicBezTo>
                    <a:pt x="51" y="546"/>
                    <a:pt x="51" y="546"/>
                    <a:pt x="51" y="546"/>
                  </a:cubicBezTo>
                  <a:cubicBezTo>
                    <a:pt x="96" y="546"/>
                    <a:pt x="96" y="546"/>
                    <a:pt x="96" y="546"/>
                  </a:cubicBezTo>
                  <a:cubicBezTo>
                    <a:pt x="149" y="546"/>
                    <a:pt x="192" y="424"/>
                    <a:pt x="192" y="273"/>
                  </a:cubicBezTo>
                  <a:cubicBezTo>
                    <a:pt x="192" y="122"/>
                    <a:pt x="149" y="0"/>
                    <a:pt x="96" y="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 name="Oval 6">
              <a:extLst>
                <a:ext uri="{FF2B5EF4-FFF2-40B4-BE49-F238E27FC236}">
                  <a16:creationId xmlns:a16="http://schemas.microsoft.com/office/drawing/2014/main" id="{6A34AB09-FD24-794B-A82C-AA349FC10287}"/>
                </a:ext>
              </a:extLst>
            </p:cNvPr>
            <p:cNvSpPr>
              <a:spLocks noChangeArrowheads="1"/>
            </p:cNvSpPr>
            <p:nvPr/>
          </p:nvSpPr>
          <p:spPr bwMode="auto">
            <a:xfrm>
              <a:off x="9189563" y="2475471"/>
              <a:ext cx="888918" cy="2539980"/>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Oval 7">
              <a:extLst>
                <a:ext uri="{FF2B5EF4-FFF2-40B4-BE49-F238E27FC236}">
                  <a16:creationId xmlns:a16="http://schemas.microsoft.com/office/drawing/2014/main" id="{C19AD6F2-7BED-2348-A166-8630639A268A}"/>
                </a:ext>
              </a:extLst>
            </p:cNvPr>
            <p:cNvSpPr>
              <a:spLocks noChangeArrowheads="1"/>
            </p:cNvSpPr>
            <p:nvPr/>
          </p:nvSpPr>
          <p:spPr bwMode="auto">
            <a:xfrm>
              <a:off x="9241765" y="2732005"/>
              <a:ext cx="709942" cy="2026913"/>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Oval 8">
              <a:extLst>
                <a:ext uri="{FF2B5EF4-FFF2-40B4-BE49-F238E27FC236}">
                  <a16:creationId xmlns:a16="http://schemas.microsoft.com/office/drawing/2014/main" id="{0EAEF041-BB78-4743-AC66-361B8413C061}"/>
                </a:ext>
              </a:extLst>
            </p:cNvPr>
            <p:cNvSpPr>
              <a:spLocks noChangeArrowheads="1"/>
            </p:cNvSpPr>
            <p:nvPr/>
          </p:nvSpPr>
          <p:spPr bwMode="auto">
            <a:xfrm>
              <a:off x="9305899" y="3024333"/>
              <a:ext cx="507101" cy="1442256"/>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 name="Oval 9">
              <a:extLst>
                <a:ext uri="{FF2B5EF4-FFF2-40B4-BE49-F238E27FC236}">
                  <a16:creationId xmlns:a16="http://schemas.microsoft.com/office/drawing/2014/main" id="{85B3F1F1-A18C-2045-A5A8-F500BEE20873}"/>
                </a:ext>
              </a:extLst>
            </p:cNvPr>
            <p:cNvSpPr>
              <a:spLocks noChangeArrowheads="1"/>
            </p:cNvSpPr>
            <p:nvPr/>
          </p:nvSpPr>
          <p:spPr bwMode="auto">
            <a:xfrm>
              <a:off x="9367049" y="3270427"/>
              <a:ext cx="334090" cy="950069"/>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Oval 10">
              <a:extLst>
                <a:ext uri="{FF2B5EF4-FFF2-40B4-BE49-F238E27FC236}">
                  <a16:creationId xmlns:a16="http://schemas.microsoft.com/office/drawing/2014/main" id="{5AD92937-8582-7947-9E07-44A35B1D5B1A}"/>
                </a:ext>
              </a:extLst>
            </p:cNvPr>
            <p:cNvSpPr>
              <a:spLocks noChangeArrowheads="1"/>
            </p:cNvSpPr>
            <p:nvPr/>
          </p:nvSpPr>
          <p:spPr bwMode="auto">
            <a:xfrm>
              <a:off x="9437148" y="3531435"/>
              <a:ext cx="152130" cy="428053"/>
            </a:xfrm>
            <a:prstGeom prst="ellipse">
              <a:avLst/>
            </a:prstGeom>
            <a:solidFill>
              <a:srgbClr val="000000"/>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 name="Group 2"/>
          <p:cNvGrpSpPr/>
          <p:nvPr/>
        </p:nvGrpSpPr>
        <p:grpSpPr>
          <a:xfrm>
            <a:off x="9588443" y="3810394"/>
            <a:ext cx="674146" cy="64134"/>
            <a:chOff x="9588443" y="3713394"/>
            <a:chExt cx="674146" cy="64134"/>
          </a:xfrm>
          <a:solidFill>
            <a:srgbClr val="97999B"/>
          </a:solidFill>
        </p:grpSpPr>
        <p:sp>
          <p:nvSpPr>
            <p:cNvPr id="39" name="Freeform 11">
              <a:extLst>
                <a:ext uri="{FF2B5EF4-FFF2-40B4-BE49-F238E27FC236}">
                  <a16:creationId xmlns:a16="http://schemas.microsoft.com/office/drawing/2014/main" id="{DE3DB427-130A-5847-B3F1-83D30839E758}"/>
                </a:ext>
              </a:extLst>
            </p:cNvPr>
            <p:cNvSpPr>
              <a:spLocks/>
            </p:cNvSpPr>
            <p:nvPr/>
          </p:nvSpPr>
          <p:spPr bwMode="auto">
            <a:xfrm>
              <a:off x="9588443" y="3746207"/>
              <a:ext cx="674146" cy="31321"/>
            </a:xfrm>
            <a:custGeom>
              <a:avLst/>
              <a:gdLst>
                <a:gd name="T0" fmla="*/ 418 w 452"/>
                <a:gd name="T1" fmla="*/ 0 h 21"/>
                <a:gd name="T2" fmla="*/ 418 w 452"/>
                <a:gd name="T3" fmla="*/ 0 h 21"/>
                <a:gd name="T4" fmla="*/ 0 w 452"/>
                <a:gd name="T5" fmla="*/ 0 h 21"/>
                <a:gd name="T6" fmla="*/ 0 w 452"/>
                <a:gd name="T7" fmla="*/ 21 h 21"/>
                <a:gd name="T8" fmla="*/ 418 w 452"/>
                <a:gd name="T9" fmla="*/ 21 h 21"/>
                <a:gd name="T10" fmla="*/ 452 w 452"/>
                <a:gd name="T11" fmla="*/ 0 h 21"/>
                <a:gd name="T12" fmla="*/ 418 w 45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52" h="21">
                  <a:moveTo>
                    <a:pt x="418" y="0"/>
                  </a:moveTo>
                  <a:lnTo>
                    <a:pt x="418" y="0"/>
                  </a:lnTo>
                  <a:lnTo>
                    <a:pt x="0" y="0"/>
                  </a:lnTo>
                  <a:lnTo>
                    <a:pt x="0" y="21"/>
                  </a:lnTo>
                  <a:lnTo>
                    <a:pt x="418" y="21"/>
                  </a:lnTo>
                  <a:lnTo>
                    <a:pt x="452" y="0"/>
                  </a:lnTo>
                  <a:lnTo>
                    <a:pt x="4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Freeform 12">
              <a:extLst>
                <a:ext uri="{FF2B5EF4-FFF2-40B4-BE49-F238E27FC236}">
                  <a16:creationId xmlns:a16="http://schemas.microsoft.com/office/drawing/2014/main" id="{CA36FD58-A8D0-8A4D-A082-18B80C676F84}"/>
                </a:ext>
              </a:extLst>
            </p:cNvPr>
            <p:cNvSpPr>
              <a:spLocks/>
            </p:cNvSpPr>
            <p:nvPr/>
          </p:nvSpPr>
          <p:spPr bwMode="auto">
            <a:xfrm>
              <a:off x="9588443" y="3713394"/>
              <a:ext cx="674146" cy="32812"/>
            </a:xfrm>
            <a:custGeom>
              <a:avLst/>
              <a:gdLst>
                <a:gd name="T0" fmla="*/ 452 w 452"/>
                <a:gd name="T1" fmla="*/ 22 h 22"/>
                <a:gd name="T2" fmla="*/ 418 w 452"/>
                <a:gd name="T3" fmla="*/ 0 h 22"/>
                <a:gd name="T4" fmla="*/ 418 w 452"/>
                <a:gd name="T5" fmla="*/ 0 h 22"/>
                <a:gd name="T6" fmla="*/ 0 w 452"/>
                <a:gd name="T7" fmla="*/ 0 h 22"/>
                <a:gd name="T8" fmla="*/ 0 w 452"/>
                <a:gd name="T9" fmla="*/ 22 h 22"/>
                <a:gd name="T10" fmla="*/ 437 w 452"/>
                <a:gd name="T11" fmla="*/ 22 h 22"/>
                <a:gd name="T12" fmla="*/ 437 w 452"/>
                <a:gd name="T13" fmla="*/ 22 h 22"/>
                <a:gd name="T14" fmla="*/ 452 w 45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22">
                  <a:moveTo>
                    <a:pt x="452" y="22"/>
                  </a:moveTo>
                  <a:lnTo>
                    <a:pt x="418" y="0"/>
                  </a:lnTo>
                  <a:lnTo>
                    <a:pt x="418" y="0"/>
                  </a:lnTo>
                  <a:lnTo>
                    <a:pt x="0" y="0"/>
                  </a:lnTo>
                  <a:lnTo>
                    <a:pt x="0" y="22"/>
                  </a:lnTo>
                  <a:lnTo>
                    <a:pt x="437" y="22"/>
                  </a:lnTo>
                  <a:lnTo>
                    <a:pt x="437" y="22"/>
                  </a:lnTo>
                  <a:lnTo>
                    <a:pt x="452" y="2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3" name="Freeform 16">
            <a:extLst>
              <a:ext uri="{FF2B5EF4-FFF2-40B4-BE49-F238E27FC236}">
                <a16:creationId xmlns:a16="http://schemas.microsoft.com/office/drawing/2014/main" id="{2192A157-F2B8-D743-A4BA-67319ED16AFF}"/>
              </a:ext>
            </a:extLst>
          </p:cNvPr>
          <p:cNvSpPr>
            <a:spLocks/>
          </p:cNvSpPr>
          <p:nvPr/>
        </p:nvSpPr>
        <p:spPr bwMode="auto">
          <a:xfrm>
            <a:off x="6186391" y="3726872"/>
            <a:ext cx="2450492" cy="1897155"/>
          </a:xfrm>
          <a:custGeom>
            <a:avLst/>
            <a:gdLst>
              <a:gd name="T0" fmla="*/ 356 w 527"/>
              <a:gd name="T1" fmla="*/ 146 h 408"/>
              <a:gd name="T2" fmla="*/ 66 w 527"/>
              <a:gd name="T3" fmla="*/ 408 h 408"/>
              <a:gd name="T4" fmla="*/ 72 w 527"/>
              <a:gd name="T5" fmla="*/ 330 h 408"/>
              <a:gd name="T6" fmla="*/ 0 w 527"/>
              <a:gd name="T7" fmla="*/ 331 h 408"/>
              <a:gd name="T8" fmla="*/ 312 w 527"/>
              <a:gd name="T9" fmla="*/ 69 h 408"/>
              <a:gd name="T10" fmla="*/ 527 w 527"/>
              <a:gd name="T11" fmla="*/ 0 h 408"/>
              <a:gd name="T12" fmla="*/ 527 w 527"/>
              <a:gd name="T13" fmla="*/ 50 h 408"/>
              <a:gd name="T14" fmla="*/ 356 w 527"/>
              <a:gd name="T15" fmla="*/ 146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408">
                <a:moveTo>
                  <a:pt x="356" y="146"/>
                </a:moveTo>
                <a:cubicBezTo>
                  <a:pt x="66" y="408"/>
                  <a:pt x="66" y="408"/>
                  <a:pt x="66" y="408"/>
                </a:cubicBezTo>
                <a:cubicBezTo>
                  <a:pt x="72" y="330"/>
                  <a:pt x="72" y="330"/>
                  <a:pt x="72" y="330"/>
                </a:cubicBezTo>
                <a:cubicBezTo>
                  <a:pt x="0" y="331"/>
                  <a:pt x="0" y="331"/>
                  <a:pt x="0" y="331"/>
                </a:cubicBezTo>
                <a:cubicBezTo>
                  <a:pt x="312" y="69"/>
                  <a:pt x="312" y="69"/>
                  <a:pt x="312" y="69"/>
                </a:cubicBezTo>
                <a:cubicBezTo>
                  <a:pt x="364" y="27"/>
                  <a:pt x="413" y="0"/>
                  <a:pt x="527" y="0"/>
                </a:cubicBezTo>
                <a:cubicBezTo>
                  <a:pt x="527" y="50"/>
                  <a:pt x="527" y="50"/>
                  <a:pt x="527" y="50"/>
                </a:cubicBezTo>
                <a:cubicBezTo>
                  <a:pt x="469" y="55"/>
                  <a:pt x="396" y="105"/>
                  <a:pt x="356" y="146"/>
                </a:cubicBezTo>
                <a:close/>
              </a:path>
            </a:pathLst>
          </a:custGeom>
          <a:solidFill>
            <a:srgbClr val="009A44"/>
          </a:solidFill>
          <a:ln w="19050">
            <a:noFill/>
          </a:ln>
        </p:spPr>
        <p:txBody>
          <a:bodyPr vert="horz" wrap="square" lIns="91440" tIns="45720" rIns="91440" bIns="45720" numCol="1" anchor="t" anchorCtr="0" compatLnSpc="1">
            <a:prstTxWarp prst="textNoShape">
              <a:avLst/>
            </a:prstTxWarp>
          </a:bodyPr>
          <a:lstStyle/>
          <a:p>
            <a:endParaRPr lang="en-US" dirty="0"/>
          </a:p>
        </p:txBody>
      </p:sp>
      <p:sp>
        <p:nvSpPr>
          <p:cNvPr id="74" name="Freeform 17">
            <a:extLst>
              <a:ext uri="{FF2B5EF4-FFF2-40B4-BE49-F238E27FC236}">
                <a16:creationId xmlns:a16="http://schemas.microsoft.com/office/drawing/2014/main" id="{C49E0F68-5A09-3648-B552-BFE3A65C9A0B}"/>
              </a:ext>
            </a:extLst>
          </p:cNvPr>
          <p:cNvSpPr>
            <a:spLocks/>
          </p:cNvSpPr>
          <p:nvPr/>
        </p:nvSpPr>
        <p:spPr bwMode="auto">
          <a:xfrm>
            <a:off x="6186391" y="2060896"/>
            <a:ext cx="2450492" cy="1898647"/>
          </a:xfrm>
          <a:custGeom>
            <a:avLst/>
            <a:gdLst>
              <a:gd name="T0" fmla="*/ 356 w 527"/>
              <a:gd name="T1" fmla="*/ 262 h 408"/>
              <a:gd name="T2" fmla="*/ 66 w 527"/>
              <a:gd name="T3" fmla="*/ 0 h 408"/>
              <a:gd name="T4" fmla="*/ 72 w 527"/>
              <a:gd name="T5" fmla="*/ 78 h 408"/>
              <a:gd name="T6" fmla="*/ 0 w 527"/>
              <a:gd name="T7" fmla="*/ 77 h 408"/>
              <a:gd name="T8" fmla="*/ 312 w 527"/>
              <a:gd name="T9" fmla="*/ 339 h 408"/>
              <a:gd name="T10" fmla="*/ 527 w 527"/>
              <a:gd name="T11" fmla="*/ 408 h 408"/>
              <a:gd name="T12" fmla="*/ 527 w 527"/>
              <a:gd name="T13" fmla="*/ 358 h 408"/>
              <a:gd name="T14" fmla="*/ 356 w 527"/>
              <a:gd name="T15" fmla="*/ 262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408">
                <a:moveTo>
                  <a:pt x="356" y="262"/>
                </a:moveTo>
                <a:cubicBezTo>
                  <a:pt x="66" y="0"/>
                  <a:pt x="66" y="0"/>
                  <a:pt x="66" y="0"/>
                </a:cubicBezTo>
                <a:cubicBezTo>
                  <a:pt x="72" y="78"/>
                  <a:pt x="72" y="78"/>
                  <a:pt x="72" y="78"/>
                </a:cubicBezTo>
                <a:cubicBezTo>
                  <a:pt x="0" y="77"/>
                  <a:pt x="0" y="77"/>
                  <a:pt x="0" y="77"/>
                </a:cubicBezTo>
                <a:cubicBezTo>
                  <a:pt x="312" y="339"/>
                  <a:pt x="312" y="339"/>
                  <a:pt x="312" y="339"/>
                </a:cubicBezTo>
                <a:cubicBezTo>
                  <a:pt x="364" y="381"/>
                  <a:pt x="413" y="408"/>
                  <a:pt x="527" y="408"/>
                </a:cubicBezTo>
                <a:cubicBezTo>
                  <a:pt x="527" y="358"/>
                  <a:pt x="527" y="358"/>
                  <a:pt x="527" y="358"/>
                </a:cubicBezTo>
                <a:cubicBezTo>
                  <a:pt x="469" y="353"/>
                  <a:pt x="396" y="303"/>
                  <a:pt x="356" y="262"/>
                </a:cubicBezTo>
                <a:close/>
              </a:path>
            </a:pathLst>
          </a:custGeom>
          <a:solidFill>
            <a:schemeClr val="accent1"/>
          </a:solidFill>
          <a:ln w="19050">
            <a:noFill/>
          </a:ln>
        </p:spPr>
        <p:txBody>
          <a:bodyPr vert="horz" wrap="square" lIns="91440" tIns="45720" rIns="91440" bIns="45720" numCol="1" anchor="t" anchorCtr="0" compatLnSpc="1">
            <a:prstTxWarp prst="textNoShape">
              <a:avLst/>
            </a:prstTxWarp>
          </a:bodyPr>
          <a:lstStyle/>
          <a:p>
            <a:endParaRPr lang="en-US" dirty="0"/>
          </a:p>
        </p:txBody>
      </p:sp>
      <p:sp>
        <p:nvSpPr>
          <p:cNvPr id="75" name="Rectangle 18">
            <a:extLst>
              <a:ext uri="{FF2B5EF4-FFF2-40B4-BE49-F238E27FC236}">
                <a16:creationId xmlns:a16="http://schemas.microsoft.com/office/drawing/2014/main" id="{1B10E203-C85D-CB40-8254-DAC43BAB5AD6}"/>
              </a:ext>
            </a:extLst>
          </p:cNvPr>
          <p:cNvSpPr>
            <a:spLocks noChangeArrowheads="1"/>
          </p:cNvSpPr>
          <p:nvPr/>
        </p:nvSpPr>
        <p:spPr bwMode="auto">
          <a:xfrm>
            <a:off x="8636883" y="3726872"/>
            <a:ext cx="292329" cy="232669"/>
          </a:xfrm>
          <a:prstGeom prst="rect">
            <a:avLst/>
          </a:prstGeom>
          <a:solidFill>
            <a:srgbClr val="53565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7" name="Rectangle 20">
            <a:extLst>
              <a:ext uri="{FF2B5EF4-FFF2-40B4-BE49-F238E27FC236}">
                <a16:creationId xmlns:a16="http://schemas.microsoft.com/office/drawing/2014/main" id="{7585C434-5328-304B-A76A-DF1BD6E15383}"/>
              </a:ext>
            </a:extLst>
          </p:cNvPr>
          <p:cNvSpPr>
            <a:spLocks noChangeArrowheads="1"/>
          </p:cNvSpPr>
          <p:nvPr/>
        </p:nvSpPr>
        <p:spPr bwMode="auto">
          <a:xfrm>
            <a:off x="9017209" y="3637384"/>
            <a:ext cx="483237" cy="414628"/>
          </a:xfrm>
          <a:prstGeom prst="rect">
            <a:avLst/>
          </a:prstGeom>
          <a:solidFill>
            <a:srgbClr val="75787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9" name="Freeform 22">
            <a:extLst>
              <a:ext uri="{FF2B5EF4-FFF2-40B4-BE49-F238E27FC236}">
                <a16:creationId xmlns:a16="http://schemas.microsoft.com/office/drawing/2014/main" id="{2193B1A2-A599-084F-AF90-A0026C1E9D41}"/>
              </a:ext>
            </a:extLst>
          </p:cNvPr>
          <p:cNvSpPr>
            <a:spLocks/>
          </p:cNvSpPr>
          <p:nvPr/>
        </p:nvSpPr>
        <p:spPr bwMode="auto">
          <a:xfrm>
            <a:off x="9500446" y="3637383"/>
            <a:ext cx="87997" cy="414630"/>
          </a:xfrm>
          <a:custGeom>
            <a:avLst/>
            <a:gdLst>
              <a:gd name="T0" fmla="*/ 0 w 59"/>
              <a:gd name="T1" fmla="*/ 278 h 278"/>
              <a:gd name="T2" fmla="*/ 59 w 59"/>
              <a:gd name="T3" fmla="*/ 219 h 278"/>
              <a:gd name="T4" fmla="*/ 59 w 59"/>
              <a:gd name="T5" fmla="*/ 60 h 278"/>
              <a:gd name="T6" fmla="*/ 0 w 59"/>
              <a:gd name="T7" fmla="*/ 0 h 278"/>
              <a:gd name="T8" fmla="*/ 0 w 59"/>
              <a:gd name="T9" fmla="*/ 278 h 278"/>
            </a:gdLst>
            <a:ahLst/>
            <a:cxnLst>
              <a:cxn ang="0">
                <a:pos x="T0" y="T1"/>
              </a:cxn>
              <a:cxn ang="0">
                <a:pos x="T2" y="T3"/>
              </a:cxn>
              <a:cxn ang="0">
                <a:pos x="T4" y="T5"/>
              </a:cxn>
              <a:cxn ang="0">
                <a:pos x="T6" y="T7"/>
              </a:cxn>
              <a:cxn ang="0">
                <a:pos x="T8" y="T9"/>
              </a:cxn>
            </a:cxnLst>
            <a:rect l="0" t="0" r="r" b="b"/>
            <a:pathLst>
              <a:path w="59" h="278">
                <a:moveTo>
                  <a:pt x="0" y="278"/>
                </a:moveTo>
                <a:lnTo>
                  <a:pt x="59" y="219"/>
                </a:lnTo>
                <a:lnTo>
                  <a:pt x="59" y="60"/>
                </a:lnTo>
                <a:lnTo>
                  <a:pt x="0" y="0"/>
                </a:lnTo>
                <a:lnTo>
                  <a:pt x="0" y="278"/>
                </a:ln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0" name="Freeform 23">
            <a:extLst>
              <a:ext uri="{FF2B5EF4-FFF2-40B4-BE49-F238E27FC236}">
                <a16:creationId xmlns:a16="http://schemas.microsoft.com/office/drawing/2014/main" id="{5C5B238B-7EF6-5A40-84C0-BB922784746B}"/>
              </a:ext>
            </a:extLst>
          </p:cNvPr>
          <p:cNvSpPr>
            <a:spLocks/>
          </p:cNvSpPr>
          <p:nvPr/>
        </p:nvSpPr>
        <p:spPr bwMode="auto">
          <a:xfrm>
            <a:off x="8929212" y="3637383"/>
            <a:ext cx="87997" cy="414630"/>
          </a:xfrm>
          <a:custGeom>
            <a:avLst/>
            <a:gdLst>
              <a:gd name="T0" fmla="*/ 59 w 59"/>
              <a:gd name="T1" fmla="*/ 0 h 278"/>
              <a:gd name="T2" fmla="*/ 0 w 59"/>
              <a:gd name="T3" fmla="*/ 60 h 278"/>
              <a:gd name="T4" fmla="*/ 0 w 59"/>
              <a:gd name="T5" fmla="*/ 219 h 278"/>
              <a:gd name="T6" fmla="*/ 59 w 59"/>
              <a:gd name="T7" fmla="*/ 278 h 278"/>
              <a:gd name="T8" fmla="*/ 59 w 59"/>
              <a:gd name="T9" fmla="*/ 0 h 278"/>
            </a:gdLst>
            <a:ahLst/>
            <a:cxnLst>
              <a:cxn ang="0">
                <a:pos x="T0" y="T1"/>
              </a:cxn>
              <a:cxn ang="0">
                <a:pos x="T2" y="T3"/>
              </a:cxn>
              <a:cxn ang="0">
                <a:pos x="T4" y="T5"/>
              </a:cxn>
              <a:cxn ang="0">
                <a:pos x="T6" y="T7"/>
              </a:cxn>
              <a:cxn ang="0">
                <a:pos x="T8" y="T9"/>
              </a:cxn>
            </a:cxnLst>
            <a:rect l="0" t="0" r="r" b="b"/>
            <a:pathLst>
              <a:path w="59" h="278">
                <a:moveTo>
                  <a:pt x="59" y="0"/>
                </a:moveTo>
                <a:lnTo>
                  <a:pt x="0" y="60"/>
                </a:lnTo>
                <a:lnTo>
                  <a:pt x="0" y="219"/>
                </a:lnTo>
                <a:lnTo>
                  <a:pt x="59" y="278"/>
                </a:lnTo>
                <a:lnTo>
                  <a:pt x="59" y="0"/>
                </a:ln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1" name="Rectangle 24">
            <a:extLst>
              <a:ext uri="{FF2B5EF4-FFF2-40B4-BE49-F238E27FC236}">
                <a16:creationId xmlns:a16="http://schemas.microsoft.com/office/drawing/2014/main" id="{7AF885FE-2DD7-2F4D-8CC0-2DD5F5CB189F}"/>
              </a:ext>
            </a:extLst>
          </p:cNvPr>
          <p:cNvSpPr>
            <a:spLocks noChangeArrowheads="1"/>
          </p:cNvSpPr>
          <p:nvPr/>
        </p:nvSpPr>
        <p:spPr bwMode="auto">
          <a:xfrm>
            <a:off x="8636883" y="3726871"/>
            <a:ext cx="37287" cy="23267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2" name="Group 235">
            <a:extLst>
              <a:ext uri="{FF2B5EF4-FFF2-40B4-BE49-F238E27FC236}">
                <a16:creationId xmlns:a16="http://schemas.microsoft.com/office/drawing/2014/main" id="{FAD1B516-AA07-374D-919F-CD63F9A6D8CC}"/>
              </a:ext>
            </a:extLst>
          </p:cNvPr>
          <p:cNvGrpSpPr>
            <a:grpSpLocks noChangeAspect="1"/>
          </p:cNvGrpSpPr>
          <p:nvPr/>
        </p:nvGrpSpPr>
        <p:grpSpPr bwMode="auto">
          <a:xfrm>
            <a:off x="5981735" y="1897045"/>
            <a:ext cx="481296" cy="481296"/>
            <a:chOff x="4264" y="792"/>
            <a:chExt cx="340" cy="340"/>
          </a:xfrm>
          <a:solidFill>
            <a:schemeClr val="accent1"/>
          </a:solidFill>
        </p:grpSpPr>
        <p:sp>
          <p:nvSpPr>
            <p:cNvPr id="83" name="Freeform 236">
              <a:extLst>
                <a:ext uri="{FF2B5EF4-FFF2-40B4-BE49-F238E27FC236}">
                  <a16:creationId xmlns:a16="http://schemas.microsoft.com/office/drawing/2014/main" id="{DE1AA34B-EFD1-F24D-B02D-8AFDA94DF203}"/>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237">
              <a:extLst>
                <a:ext uri="{FF2B5EF4-FFF2-40B4-BE49-F238E27FC236}">
                  <a16:creationId xmlns:a16="http://schemas.microsoft.com/office/drawing/2014/main" id="{3E001F9C-BB50-FE4D-B1F1-38E42C0F66AD}"/>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5" name="Freeform 238">
              <a:extLst>
                <a:ext uri="{FF2B5EF4-FFF2-40B4-BE49-F238E27FC236}">
                  <a16:creationId xmlns:a16="http://schemas.microsoft.com/office/drawing/2014/main" id="{38586387-D87A-7E45-B800-FBF5736E6EF7}"/>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6" name="Rectangle 85">
            <a:extLst>
              <a:ext uri="{FF2B5EF4-FFF2-40B4-BE49-F238E27FC236}">
                <a16:creationId xmlns:a16="http://schemas.microsoft.com/office/drawing/2014/main" id="{148400D8-DD18-BD4B-A6EA-E358884B24A4}"/>
              </a:ext>
            </a:extLst>
          </p:cNvPr>
          <p:cNvSpPr/>
          <p:nvPr/>
        </p:nvSpPr>
        <p:spPr>
          <a:xfrm rot="2480149">
            <a:off x="6428958" y="2723354"/>
            <a:ext cx="1261178" cy="276999"/>
          </a:xfrm>
          <a:prstGeom prst="rect">
            <a:avLst/>
          </a:prstGeom>
        </p:spPr>
        <p:txBody>
          <a:bodyPr wrap="none">
            <a:spAutoFit/>
          </a:bodyPr>
          <a:lstStyle/>
          <a:p>
            <a:pPr algn="ctr"/>
            <a:r>
              <a:rPr lang="en-US" sz="1200" b="1" dirty="0">
                <a:solidFill>
                  <a:schemeClr val="bg1"/>
                </a:solidFill>
              </a:rPr>
              <a:t>Lorem ipsum do</a:t>
            </a:r>
          </a:p>
        </p:txBody>
      </p:sp>
      <p:grpSp>
        <p:nvGrpSpPr>
          <p:cNvPr id="87" name="Group 816">
            <a:extLst>
              <a:ext uri="{FF2B5EF4-FFF2-40B4-BE49-F238E27FC236}">
                <a16:creationId xmlns:a16="http://schemas.microsoft.com/office/drawing/2014/main" id="{185FB666-3EBE-9E44-981D-76A4D4ED82DD}"/>
              </a:ext>
            </a:extLst>
          </p:cNvPr>
          <p:cNvGrpSpPr>
            <a:grpSpLocks noChangeAspect="1"/>
          </p:cNvGrpSpPr>
          <p:nvPr/>
        </p:nvGrpSpPr>
        <p:grpSpPr bwMode="auto">
          <a:xfrm>
            <a:off x="4808950" y="3603276"/>
            <a:ext cx="481090" cy="481090"/>
            <a:chOff x="4518" y="3391"/>
            <a:chExt cx="340" cy="340"/>
          </a:xfrm>
          <a:solidFill>
            <a:schemeClr val="accent3"/>
          </a:solidFill>
        </p:grpSpPr>
        <p:sp>
          <p:nvSpPr>
            <p:cNvPr id="88" name="Freeform 817">
              <a:extLst>
                <a:ext uri="{FF2B5EF4-FFF2-40B4-BE49-F238E27FC236}">
                  <a16:creationId xmlns:a16="http://schemas.microsoft.com/office/drawing/2014/main" id="{BC1156A4-8197-7243-A39D-8FFF151FA7CF}"/>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818">
              <a:extLst>
                <a:ext uri="{FF2B5EF4-FFF2-40B4-BE49-F238E27FC236}">
                  <a16:creationId xmlns:a16="http://schemas.microsoft.com/office/drawing/2014/main" id="{D9D59739-5B4F-9A40-A630-9DDEBFA22D15}"/>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0" name="Group 541">
            <a:extLst>
              <a:ext uri="{FF2B5EF4-FFF2-40B4-BE49-F238E27FC236}">
                <a16:creationId xmlns:a16="http://schemas.microsoft.com/office/drawing/2014/main" id="{69C09456-7F19-0E42-BA46-B77236B2C754}"/>
              </a:ext>
            </a:extLst>
          </p:cNvPr>
          <p:cNvGrpSpPr>
            <a:grpSpLocks noChangeAspect="1"/>
          </p:cNvGrpSpPr>
          <p:nvPr/>
        </p:nvGrpSpPr>
        <p:grpSpPr bwMode="auto">
          <a:xfrm>
            <a:off x="5981735" y="5328714"/>
            <a:ext cx="481090" cy="481090"/>
            <a:chOff x="5326" y="2494"/>
            <a:chExt cx="340" cy="340"/>
          </a:xfrm>
          <a:solidFill>
            <a:srgbClr val="009A44"/>
          </a:solidFill>
        </p:grpSpPr>
        <p:sp>
          <p:nvSpPr>
            <p:cNvPr id="91" name="Freeform 542">
              <a:extLst>
                <a:ext uri="{FF2B5EF4-FFF2-40B4-BE49-F238E27FC236}">
                  <a16:creationId xmlns:a16="http://schemas.microsoft.com/office/drawing/2014/main" id="{D5D197B9-1C3A-1B44-BBF7-FE3FBDE5DA6E}"/>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2" name="Freeform 543">
              <a:extLst>
                <a:ext uri="{FF2B5EF4-FFF2-40B4-BE49-F238E27FC236}">
                  <a16:creationId xmlns:a16="http://schemas.microsoft.com/office/drawing/2014/main" id="{1A1EBEBC-11DE-E34C-B0FF-4E2864586D67}"/>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3" name="Rectangle 92">
            <a:extLst>
              <a:ext uri="{FF2B5EF4-FFF2-40B4-BE49-F238E27FC236}">
                <a16:creationId xmlns:a16="http://schemas.microsoft.com/office/drawing/2014/main" id="{68CA6985-BBCC-1F49-BA97-B1F967EADC46}"/>
              </a:ext>
            </a:extLst>
          </p:cNvPr>
          <p:cNvSpPr/>
          <p:nvPr/>
        </p:nvSpPr>
        <p:spPr>
          <a:xfrm>
            <a:off x="5499292" y="3693478"/>
            <a:ext cx="1216103" cy="276999"/>
          </a:xfrm>
          <a:prstGeom prst="rect">
            <a:avLst/>
          </a:prstGeom>
        </p:spPr>
        <p:txBody>
          <a:bodyPr wrap="none">
            <a:spAutoFit/>
          </a:bodyPr>
          <a:lstStyle/>
          <a:p>
            <a:pPr algn="ctr"/>
            <a:r>
              <a:rPr lang="en-US" sz="1200" b="1" dirty="0">
                <a:solidFill>
                  <a:schemeClr val="bg1"/>
                </a:solidFill>
              </a:rPr>
              <a:t>Lorem ipsum do</a:t>
            </a:r>
          </a:p>
        </p:txBody>
      </p:sp>
      <p:sp>
        <p:nvSpPr>
          <p:cNvPr id="94" name="Rectangle 93">
            <a:extLst>
              <a:ext uri="{FF2B5EF4-FFF2-40B4-BE49-F238E27FC236}">
                <a16:creationId xmlns:a16="http://schemas.microsoft.com/office/drawing/2014/main" id="{D1335C16-AF87-ED42-94DB-4F6FDAFDF972}"/>
              </a:ext>
            </a:extLst>
          </p:cNvPr>
          <p:cNvSpPr/>
          <p:nvPr/>
        </p:nvSpPr>
        <p:spPr>
          <a:xfrm rot="19185495">
            <a:off x="6648847" y="4508246"/>
            <a:ext cx="1216102" cy="276999"/>
          </a:xfrm>
          <a:prstGeom prst="rect">
            <a:avLst/>
          </a:prstGeom>
        </p:spPr>
        <p:txBody>
          <a:bodyPr wrap="none">
            <a:spAutoFit/>
          </a:bodyPr>
          <a:lstStyle/>
          <a:p>
            <a:pPr algn="ctr"/>
            <a:r>
              <a:rPr lang="en-US" sz="1200" b="1" dirty="0">
                <a:solidFill>
                  <a:schemeClr val="bg1"/>
                </a:solidFill>
              </a:rPr>
              <a:t>Lorem ipsum do</a:t>
            </a:r>
          </a:p>
        </p:txBody>
      </p:sp>
      <p:sp>
        <p:nvSpPr>
          <p:cNvPr id="95" name="Rectangle 94">
            <a:extLst>
              <a:ext uri="{FF2B5EF4-FFF2-40B4-BE49-F238E27FC236}">
                <a16:creationId xmlns:a16="http://schemas.microsoft.com/office/drawing/2014/main" id="{3A70743B-921D-DB46-A7C5-152A0BE0188F}"/>
              </a:ext>
            </a:extLst>
          </p:cNvPr>
          <p:cNvSpPr/>
          <p:nvPr/>
        </p:nvSpPr>
        <p:spPr>
          <a:xfrm>
            <a:off x="1909763" y="1737583"/>
            <a:ext cx="3779643" cy="800219"/>
          </a:xfrm>
          <a:prstGeom prst="rect">
            <a:avLst/>
          </a:prstGeom>
        </p:spPr>
        <p:txBody>
          <a:bodyPr wrap="square" lIns="0" tIns="0" rIns="0" bIns="0" anchor="ctr">
            <a:spAutoFit/>
          </a:bodyPr>
          <a:lstStyle/>
          <a:p>
            <a:pPr algn="r"/>
            <a:r>
              <a:rPr lang="en-US" sz="1300" dirty="0"/>
              <a:t>This is dummy text it is not here to be read. The is just text to show where you could insert text. The is just text to show where you could insert text. Please replace with your text content here .</a:t>
            </a:r>
          </a:p>
        </p:txBody>
      </p:sp>
      <p:sp>
        <p:nvSpPr>
          <p:cNvPr id="96" name="Rectangle 95">
            <a:extLst>
              <a:ext uri="{FF2B5EF4-FFF2-40B4-BE49-F238E27FC236}">
                <a16:creationId xmlns:a16="http://schemas.microsoft.com/office/drawing/2014/main" id="{AEEFC4B1-5166-4744-92C8-FFCF8C512FB8}"/>
              </a:ext>
            </a:extLst>
          </p:cNvPr>
          <p:cNvSpPr/>
          <p:nvPr/>
        </p:nvSpPr>
        <p:spPr>
          <a:xfrm>
            <a:off x="595313" y="3443096"/>
            <a:ext cx="3921308" cy="800219"/>
          </a:xfrm>
          <a:prstGeom prst="rect">
            <a:avLst/>
          </a:prstGeom>
        </p:spPr>
        <p:txBody>
          <a:bodyPr wrap="square" lIns="0" tIns="0" rIns="0" bIns="0" anchor="ctr">
            <a:spAutoFit/>
          </a:bodyPr>
          <a:lstStyle/>
          <a:p>
            <a:pPr algn="r"/>
            <a:r>
              <a:rPr lang="en-US" sz="1300" dirty="0"/>
              <a:t>This is dummy text it is not here to be read. The is just text to show where you could insert text. The is just text to show where you could insert text. Please replace with your text content here.</a:t>
            </a:r>
          </a:p>
        </p:txBody>
      </p:sp>
      <p:sp>
        <p:nvSpPr>
          <p:cNvPr id="97" name="Rectangle 96">
            <a:extLst>
              <a:ext uri="{FF2B5EF4-FFF2-40B4-BE49-F238E27FC236}">
                <a16:creationId xmlns:a16="http://schemas.microsoft.com/office/drawing/2014/main" id="{F0CEE352-8525-5946-87BA-0872273C7A7E}"/>
              </a:ext>
            </a:extLst>
          </p:cNvPr>
          <p:cNvSpPr/>
          <p:nvPr/>
        </p:nvSpPr>
        <p:spPr>
          <a:xfrm>
            <a:off x="2463445" y="5247361"/>
            <a:ext cx="3281792" cy="800219"/>
          </a:xfrm>
          <a:prstGeom prst="rect">
            <a:avLst/>
          </a:prstGeom>
        </p:spPr>
        <p:txBody>
          <a:bodyPr wrap="square" lIns="0" tIns="0" rIns="0" bIns="0" anchor="ctr">
            <a:spAutoFit/>
          </a:bodyPr>
          <a:lstStyle/>
          <a:p>
            <a:pPr algn="r"/>
            <a:r>
              <a:rPr lang="en-US" sz="1300" dirty="0"/>
              <a:t>This is dummy text it is not here to be read. The is just text to show where you could insert text. The is just text to show where you could insert text. Please replace with your text content here.</a:t>
            </a:r>
          </a:p>
        </p:txBody>
      </p:sp>
    </p:spTree>
    <p:custDataLst>
      <p:tags r:id="rId1"/>
    </p:custDataLst>
    <p:extLst>
      <p:ext uri="{BB962C8B-B14F-4D97-AF65-F5344CB8AC3E}">
        <p14:creationId xmlns:p14="http://schemas.microsoft.com/office/powerpoint/2010/main" val="14613074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02"/>
          <p:cNvSpPr txBox="1"/>
          <p:nvPr/>
        </p:nvSpPr>
        <p:spPr>
          <a:xfrm>
            <a:off x="1194782" y="4399809"/>
            <a:ext cx="208390" cy="492443"/>
          </a:xfrm>
          <a:prstGeom prst="rect">
            <a:avLst/>
          </a:prstGeom>
          <a:noFill/>
        </p:spPr>
        <p:txBody>
          <a:bodyPr wrap="none" lIns="0" tIns="0" rIns="0" bIns="0" rtlCol="0">
            <a:spAutoFit/>
          </a:bodyPr>
          <a:lstStyle/>
          <a:p>
            <a:pPr algn="ctr">
              <a:buSzPct val="100000"/>
            </a:pPr>
            <a:r>
              <a:rPr lang="en-US" altLang="zh-CN" sz="3200" b="1" dirty="0">
                <a:solidFill>
                  <a:srgbClr val="000000"/>
                </a:solidFill>
              </a:rPr>
              <a:t>1</a:t>
            </a:r>
            <a:endParaRPr lang="en-US" sz="3200" b="1" dirty="0">
              <a:solidFill>
                <a:srgbClr val="000000"/>
              </a:solidFill>
            </a:endParaRPr>
          </a:p>
        </p:txBody>
      </p:sp>
      <p:sp>
        <p:nvSpPr>
          <p:cNvPr id="40" name="Rounded Rectangle 83"/>
          <p:cNvSpPr/>
          <p:nvPr/>
        </p:nvSpPr>
        <p:spPr bwMode="gray">
          <a:xfrm>
            <a:off x="2337125" y="4282391"/>
            <a:ext cx="4567532" cy="727278"/>
          </a:xfrm>
          <a:prstGeom prst="roundRect">
            <a:avLst>
              <a:gd name="adj" fmla="val 0"/>
            </a:avLst>
          </a:prstGeom>
          <a:solidFill>
            <a:schemeClr val="bg1">
              <a:lumMod val="95000"/>
            </a:schemeClr>
          </a:solidFill>
          <a:ln w="6350" algn="ctr">
            <a:solidFill>
              <a:srgbClr val="A7A8AA"/>
            </a:solidFill>
            <a:miter lim="800000"/>
            <a:headEnd/>
            <a:tailEnd/>
          </a:ln>
        </p:spPr>
        <p:txBody>
          <a:bodyPr wrap="square" lIns="1800000" tIns="88900" rIns="88900" bIns="88900" rtlCol="0" anchor="ctr"/>
          <a:lstStyle/>
          <a:p>
            <a:r>
              <a:rPr lang="en-US" altLang="zh-CN" sz="1300" b="1" dirty="0">
                <a:solidFill>
                  <a:srgbClr val="000000"/>
                </a:solidFill>
                <a:ea typeface="华文细黑" panose="02010600040101010101" pitchFamily="2" charset="-122"/>
              </a:rPr>
              <a:t>Text here</a:t>
            </a:r>
          </a:p>
        </p:txBody>
      </p:sp>
      <p:grpSp>
        <p:nvGrpSpPr>
          <p:cNvPr id="43" name="Group 116"/>
          <p:cNvGrpSpPr/>
          <p:nvPr/>
        </p:nvGrpSpPr>
        <p:grpSpPr>
          <a:xfrm>
            <a:off x="1849026" y="4223349"/>
            <a:ext cx="2028353" cy="845362"/>
            <a:chOff x="6031766" y="4584520"/>
            <a:chExt cx="1942247" cy="809475"/>
          </a:xfrm>
        </p:grpSpPr>
        <p:sp>
          <p:nvSpPr>
            <p:cNvPr id="45" name="Round Same Side Corner Rectangle 134"/>
            <p:cNvSpPr/>
            <p:nvPr/>
          </p:nvSpPr>
          <p:spPr bwMode="gray">
            <a:xfrm rot="16200000">
              <a:off x="6562435" y="4053852"/>
              <a:ext cx="809474" cy="1870811"/>
            </a:xfrm>
            <a:prstGeom prst="round2SameRect">
              <a:avLst>
                <a:gd name="adj1" fmla="val 0"/>
                <a:gd name="adj2" fmla="val 0"/>
              </a:avLst>
            </a:prstGeom>
            <a:solidFill>
              <a:srgbClr val="000000"/>
            </a:solidFill>
            <a:ln w="9525" algn="ctr">
              <a:noFill/>
              <a:miter lim="800000"/>
              <a:headEnd/>
              <a:tailEnd/>
            </a:ln>
          </p:spPr>
          <p:txBody>
            <a:bodyPr vert="vert" wrap="square" lIns="91440" tIns="0" rIns="88900" bIns="180000" rtlCol="0" anchor="ctr" anchorCtr="1"/>
            <a:lstStyle/>
            <a:p>
              <a:r>
                <a:rPr lang="en-US" altLang="zh-CN" sz="1300" b="1" dirty="0">
                  <a:solidFill>
                    <a:schemeClr val="bg1"/>
                  </a:solidFill>
                  <a:ea typeface="华文细黑" panose="02010600040101010101" pitchFamily="2" charset="-122"/>
                </a:rPr>
                <a:t>Text here</a:t>
              </a:r>
              <a:endParaRPr lang="en-US" sz="1300" b="1" dirty="0">
                <a:solidFill>
                  <a:schemeClr val="bg1"/>
                </a:solidFill>
                <a:ea typeface="华文细黑" panose="02010600040101010101" pitchFamily="2" charset="-122"/>
              </a:endParaRPr>
            </a:p>
          </p:txBody>
        </p:sp>
        <p:sp>
          <p:nvSpPr>
            <p:cNvPr id="46" name="Round Same Side Corner Rectangle 62"/>
            <p:cNvSpPr/>
            <p:nvPr/>
          </p:nvSpPr>
          <p:spPr bwMode="gray">
            <a:xfrm rot="16200000">
              <a:off x="7910026" y="4577069"/>
              <a:ext cx="56535" cy="71438"/>
            </a:xfrm>
            <a:custGeom>
              <a:avLst/>
              <a:gdLst>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56535 w 56535"/>
                <a:gd name="connsiteY4" fmla="*/ 71438 h 71438"/>
                <a:gd name="connsiteX5" fmla="*/ 0 w 56535"/>
                <a:gd name="connsiteY5" fmla="*/ 71438 h 71438"/>
                <a:gd name="connsiteX6" fmla="*/ 0 w 56535"/>
                <a:gd name="connsiteY6" fmla="*/ 71438 h 71438"/>
                <a:gd name="connsiteX7" fmla="*/ 0 w 56535"/>
                <a:gd name="connsiteY7" fmla="*/ 0 h 71438"/>
                <a:gd name="connsiteX8" fmla="*/ 0 w 56535"/>
                <a:gd name="connsiteY8" fmla="*/ 0 h 71438"/>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0 w 56535"/>
                <a:gd name="connsiteY4" fmla="*/ 71438 h 71438"/>
                <a:gd name="connsiteX5" fmla="*/ 0 w 56535"/>
                <a:gd name="connsiteY5" fmla="*/ 71438 h 71438"/>
                <a:gd name="connsiteX6" fmla="*/ 0 w 56535"/>
                <a:gd name="connsiteY6" fmla="*/ 0 h 71438"/>
                <a:gd name="connsiteX7" fmla="*/ 0 w 56535"/>
                <a:gd name="connsiteY7" fmla="*/ 0 h 71438"/>
                <a:gd name="connsiteX0" fmla="*/ 0 w 56535"/>
                <a:gd name="connsiteY0" fmla="*/ 0 h 71438"/>
                <a:gd name="connsiteX1" fmla="*/ 56535 w 56535"/>
                <a:gd name="connsiteY1" fmla="*/ 0 h 71438"/>
                <a:gd name="connsiteX2" fmla="*/ 56535 w 56535"/>
                <a:gd name="connsiteY2" fmla="*/ 0 h 71438"/>
                <a:gd name="connsiteX3" fmla="*/ 0 w 56535"/>
                <a:gd name="connsiteY3" fmla="*/ 71438 h 71438"/>
                <a:gd name="connsiteX4" fmla="*/ 0 w 56535"/>
                <a:gd name="connsiteY4" fmla="*/ 71438 h 71438"/>
                <a:gd name="connsiteX5" fmla="*/ 0 w 56535"/>
                <a:gd name="connsiteY5" fmla="*/ 0 h 71438"/>
                <a:gd name="connsiteX6" fmla="*/ 0 w 56535"/>
                <a:gd name="connsiteY6" fmla="*/ 0 h 7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35" h="71438">
                  <a:moveTo>
                    <a:pt x="0" y="0"/>
                  </a:moveTo>
                  <a:lnTo>
                    <a:pt x="56535" y="0"/>
                  </a:lnTo>
                  <a:lnTo>
                    <a:pt x="56535" y="0"/>
                  </a:lnTo>
                  <a:lnTo>
                    <a:pt x="0" y="71438"/>
                  </a:lnTo>
                  <a:lnTo>
                    <a:pt x="0" y="71438"/>
                  </a:lnTo>
                  <a:lnTo>
                    <a:pt x="0" y="0"/>
                  </a:lnTo>
                  <a:lnTo>
                    <a:pt x="0" y="0"/>
                  </a:lnTo>
                  <a:close/>
                </a:path>
              </a:pathLst>
            </a:custGeom>
            <a:solidFill>
              <a:srgbClr val="53565A"/>
            </a:solidFill>
            <a:ln w="9525" algn="ctr">
              <a:noFill/>
              <a:miter lim="800000"/>
              <a:headEnd/>
              <a:tailEnd/>
            </a:ln>
          </p:spPr>
          <p:txBody>
            <a:bodyPr wrap="square" lIns="91440" tIns="88900" rIns="88900" bIns="88900" rtlCol="0" anchor="ctr" anchorCtr="1"/>
            <a:lstStyle/>
            <a:p>
              <a:pPr marL="171450" indent="-171450">
                <a:buFont typeface="Arial" panose="020B0604020202020204" pitchFamily="34" charset="0"/>
                <a:buChar char="•"/>
              </a:pPr>
              <a:endParaRPr lang="en-US" sz="1300" dirty="0"/>
            </a:p>
          </p:txBody>
        </p:sp>
      </p:grpSp>
      <p:grpSp>
        <p:nvGrpSpPr>
          <p:cNvPr id="54" name="Group 367"/>
          <p:cNvGrpSpPr>
            <a:grpSpLocks noChangeAspect="1"/>
          </p:cNvGrpSpPr>
          <p:nvPr/>
        </p:nvGrpSpPr>
        <p:grpSpPr bwMode="auto">
          <a:xfrm>
            <a:off x="409548" y="4353458"/>
            <a:ext cx="583429" cy="585144"/>
            <a:chOff x="4383" y="2091"/>
            <a:chExt cx="340" cy="341"/>
          </a:xfrm>
          <a:solidFill>
            <a:srgbClr val="000000"/>
          </a:solidFill>
        </p:grpSpPr>
        <p:sp>
          <p:nvSpPr>
            <p:cNvPr id="55" name="Freeform 262"/>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56" name="Freeform 263"/>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8" name="Group 7"/>
          <p:cNvGrpSpPr/>
          <p:nvPr/>
        </p:nvGrpSpPr>
        <p:grpSpPr>
          <a:xfrm>
            <a:off x="1624013" y="4059724"/>
            <a:ext cx="2423156" cy="1172612"/>
            <a:chOff x="1624013" y="4654583"/>
            <a:chExt cx="2386012" cy="1172612"/>
          </a:xfrm>
        </p:grpSpPr>
        <p:cxnSp>
          <p:nvCxnSpPr>
            <p:cNvPr id="5" name="Straight Connector 4"/>
            <p:cNvCxnSpPr/>
            <p:nvPr/>
          </p:nvCxnSpPr>
          <p:spPr>
            <a:xfrm flipV="1">
              <a:off x="1624013" y="4654583"/>
              <a:ext cx="0" cy="1172612"/>
            </a:xfrm>
            <a:prstGeom prst="line">
              <a:avLst/>
            </a:prstGeom>
            <a:ln w="25400" cap="rnd">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624013" y="4654583"/>
              <a:ext cx="2386012" cy="0"/>
            </a:xfrm>
            <a:prstGeom prst="line">
              <a:avLst/>
            </a:prstGeom>
            <a:ln w="25400" cap="rnd">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6" name="TextBox 103"/>
          <p:cNvSpPr txBox="1"/>
          <p:nvPr/>
        </p:nvSpPr>
        <p:spPr>
          <a:xfrm>
            <a:off x="3636974" y="3227197"/>
            <a:ext cx="208390" cy="492443"/>
          </a:xfrm>
          <a:prstGeom prst="rect">
            <a:avLst/>
          </a:prstGeom>
          <a:noFill/>
        </p:spPr>
        <p:txBody>
          <a:bodyPr wrap="none" lIns="0" tIns="0" rIns="0" bIns="0" rtlCol="0">
            <a:spAutoFit/>
          </a:bodyPr>
          <a:lstStyle/>
          <a:p>
            <a:pPr algn="ctr">
              <a:buSzPct val="100000"/>
            </a:pPr>
            <a:r>
              <a:rPr lang="en-US" altLang="zh-CN" sz="3200" b="1" dirty="0">
                <a:solidFill>
                  <a:srgbClr val="009A44"/>
                </a:solidFill>
              </a:rPr>
              <a:t>2</a:t>
            </a:r>
            <a:endParaRPr lang="en-US" sz="3200" b="1" dirty="0">
              <a:solidFill>
                <a:srgbClr val="009A44"/>
              </a:solidFill>
            </a:endParaRPr>
          </a:p>
        </p:txBody>
      </p:sp>
      <p:sp>
        <p:nvSpPr>
          <p:cNvPr id="31" name="Rounded Rectangle 82"/>
          <p:cNvSpPr/>
          <p:nvPr/>
        </p:nvSpPr>
        <p:spPr bwMode="gray">
          <a:xfrm>
            <a:off x="4761114" y="3109779"/>
            <a:ext cx="4568400" cy="727278"/>
          </a:xfrm>
          <a:prstGeom prst="roundRect">
            <a:avLst>
              <a:gd name="adj" fmla="val 0"/>
            </a:avLst>
          </a:prstGeom>
          <a:solidFill>
            <a:schemeClr val="bg1">
              <a:lumMod val="95000"/>
            </a:schemeClr>
          </a:solidFill>
          <a:ln w="6350" algn="ctr">
            <a:solidFill>
              <a:srgbClr val="A7A8AA"/>
            </a:solidFill>
            <a:miter lim="800000"/>
            <a:headEnd/>
            <a:tailEnd/>
          </a:ln>
        </p:spPr>
        <p:txBody>
          <a:bodyPr wrap="square" lIns="1800000" tIns="88900" rIns="88900" bIns="88900" rtlCol="0" anchor="ctr"/>
          <a:lstStyle/>
          <a:p>
            <a:r>
              <a:rPr lang="en-US" altLang="zh-CN" sz="1300" b="1" dirty="0">
                <a:solidFill>
                  <a:srgbClr val="000000"/>
                </a:solidFill>
                <a:ea typeface="华文细黑" panose="02010600040101010101" pitchFamily="2" charset="-122"/>
              </a:rPr>
              <a:t>Text here</a:t>
            </a:r>
          </a:p>
        </p:txBody>
      </p:sp>
      <p:grpSp>
        <p:nvGrpSpPr>
          <p:cNvPr id="34" name="Group 114"/>
          <p:cNvGrpSpPr/>
          <p:nvPr/>
        </p:nvGrpSpPr>
        <p:grpSpPr>
          <a:xfrm>
            <a:off x="4273019" y="3050737"/>
            <a:ext cx="2028352" cy="845362"/>
            <a:chOff x="5267697" y="3705137"/>
            <a:chExt cx="1942245" cy="809474"/>
          </a:xfrm>
        </p:grpSpPr>
        <p:sp>
          <p:nvSpPr>
            <p:cNvPr id="35" name="Round Same Side Corner Rectangle 142"/>
            <p:cNvSpPr/>
            <p:nvPr/>
          </p:nvSpPr>
          <p:spPr bwMode="gray">
            <a:xfrm rot="16200000">
              <a:off x="5798365" y="3174469"/>
              <a:ext cx="809474" cy="1870810"/>
            </a:xfrm>
            <a:prstGeom prst="round2SameRect">
              <a:avLst>
                <a:gd name="adj1" fmla="val 0"/>
                <a:gd name="adj2" fmla="val 0"/>
              </a:avLst>
            </a:prstGeom>
            <a:solidFill>
              <a:srgbClr val="009A44"/>
            </a:solidFill>
            <a:ln w="9525" algn="ctr">
              <a:noFill/>
              <a:miter lim="800000"/>
              <a:headEnd/>
              <a:tailEnd/>
            </a:ln>
          </p:spPr>
          <p:txBody>
            <a:bodyPr vert="vert" wrap="square" lIns="91440" tIns="0" rIns="88900" bIns="216000" rtlCol="0" anchor="ctr" anchorCtr="1"/>
            <a:lstStyle/>
            <a:p>
              <a:r>
                <a:rPr lang="en-US" altLang="zh-CN" sz="1300" b="1" dirty="0">
                  <a:solidFill>
                    <a:schemeClr val="bg1"/>
                  </a:solidFill>
                  <a:ea typeface="华文细黑" panose="02010600040101010101" pitchFamily="2" charset="-122"/>
                </a:rPr>
                <a:t>Text here</a:t>
              </a:r>
              <a:endParaRPr lang="en-US" sz="1300" b="1" dirty="0">
                <a:solidFill>
                  <a:schemeClr val="bg1"/>
                </a:solidFill>
                <a:ea typeface="华文细黑" panose="02010600040101010101" pitchFamily="2" charset="-122"/>
              </a:endParaRPr>
            </a:p>
          </p:txBody>
        </p:sp>
        <p:sp>
          <p:nvSpPr>
            <p:cNvPr id="36" name="Round Same Side Corner Rectangle 62"/>
            <p:cNvSpPr/>
            <p:nvPr/>
          </p:nvSpPr>
          <p:spPr bwMode="gray">
            <a:xfrm rot="16200000">
              <a:off x="7145955" y="3697687"/>
              <a:ext cx="56535" cy="71438"/>
            </a:xfrm>
            <a:custGeom>
              <a:avLst/>
              <a:gdLst>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56535 w 56535"/>
                <a:gd name="connsiteY4" fmla="*/ 71438 h 71438"/>
                <a:gd name="connsiteX5" fmla="*/ 0 w 56535"/>
                <a:gd name="connsiteY5" fmla="*/ 71438 h 71438"/>
                <a:gd name="connsiteX6" fmla="*/ 0 w 56535"/>
                <a:gd name="connsiteY6" fmla="*/ 71438 h 71438"/>
                <a:gd name="connsiteX7" fmla="*/ 0 w 56535"/>
                <a:gd name="connsiteY7" fmla="*/ 0 h 71438"/>
                <a:gd name="connsiteX8" fmla="*/ 0 w 56535"/>
                <a:gd name="connsiteY8" fmla="*/ 0 h 71438"/>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0 w 56535"/>
                <a:gd name="connsiteY4" fmla="*/ 71438 h 71438"/>
                <a:gd name="connsiteX5" fmla="*/ 0 w 56535"/>
                <a:gd name="connsiteY5" fmla="*/ 71438 h 71438"/>
                <a:gd name="connsiteX6" fmla="*/ 0 w 56535"/>
                <a:gd name="connsiteY6" fmla="*/ 0 h 71438"/>
                <a:gd name="connsiteX7" fmla="*/ 0 w 56535"/>
                <a:gd name="connsiteY7" fmla="*/ 0 h 71438"/>
                <a:gd name="connsiteX0" fmla="*/ 0 w 56535"/>
                <a:gd name="connsiteY0" fmla="*/ 0 h 71438"/>
                <a:gd name="connsiteX1" fmla="*/ 56535 w 56535"/>
                <a:gd name="connsiteY1" fmla="*/ 0 h 71438"/>
                <a:gd name="connsiteX2" fmla="*/ 56535 w 56535"/>
                <a:gd name="connsiteY2" fmla="*/ 0 h 71438"/>
                <a:gd name="connsiteX3" fmla="*/ 0 w 56535"/>
                <a:gd name="connsiteY3" fmla="*/ 71438 h 71438"/>
                <a:gd name="connsiteX4" fmla="*/ 0 w 56535"/>
                <a:gd name="connsiteY4" fmla="*/ 71438 h 71438"/>
                <a:gd name="connsiteX5" fmla="*/ 0 w 56535"/>
                <a:gd name="connsiteY5" fmla="*/ 0 h 71438"/>
                <a:gd name="connsiteX6" fmla="*/ 0 w 56535"/>
                <a:gd name="connsiteY6" fmla="*/ 0 h 7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35" h="71438">
                  <a:moveTo>
                    <a:pt x="0" y="0"/>
                  </a:moveTo>
                  <a:lnTo>
                    <a:pt x="56535" y="0"/>
                  </a:lnTo>
                  <a:lnTo>
                    <a:pt x="56535" y="0"/>
                  </a:lnTo>
                  <a:lnTo>
                    <a:pt x="0" y="71438"/>
                  </a:lnTo>
                  <a:lnTo>
                    <a:pt x="0" y="71438"/>
                  </a:lnTo>
                  <a:lnTo>
                    <a:pt x="0" y="0"/>
                  </a:lnTo>
                  <a:lnTo>
                    <a:pt x="0" y="0"/>
                  </a:lnTo>
                  <a:close/>
                </a:path>
              </a:pathLst>
            </a:custGeom>
            <a:solidFill>
              <a:srgbClr val="046A38"/>
            </a:solidFill>
            <a:ln w="9525" algn="ctr">
              <a:noFill/>
              <a:miter lim="800000"/>
              <a:headEnd/>
              <a:tailEnd/>
            </a:ln>
          </p:spPr>
          <p:txBody>
            <a:bodyPr wrap="square" lIns="91440" tIns="88900" rIns="88900" bIns="88900" rtlCol="0" anchor="ctr" anchorCtr="1"/>
            <a:lstStyle/>
            <a:p>
              <a:pPr marL="171450" indent="-171450">
                <a:buFont typeface="Arial" panose="020B0604020202020204" pitchFamily="34" charset="0"/>
                <a:buChar char="•"/>
              </a:pPr>
              <a:endParaRPr lang="en-US" sz="1300" dirty="0"/>
            </a:p>
          </p:txBody>
        </p:sp>
      </p:grpSp>
      <p:grpSp>
        <p:nvGrpSpPr>
          <p:cNvPr id="51" name="Group 112"/>
          <p:cNvGrpSpPr>
            <a:grpSpLocks noChangeAspect="1"/>
          </p:cNvGrpSpPr>
          <p:nvPr/>
        </p:nvGrpSpPr>
        <p:grpSpPr bwMode="auto">
          <a:xfrm>
            <a:off x="2848634" y="3180880"/>
            <a:ext cx="585076" cy="585076"/>
            <a:chOff x="1157" y="393"/>
            <a:chExt cx="340" cy="340"/>
          </a:xfrm>
          <a:solidFill>
            <a:srgbClr val="009A44"/>
          </a:solidFill>
        </p:grpSpPr>
        <p:sp>
          <p:nvSpPr>
            <p:cNvPr id="52"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53"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69" name="Group 68"/>
          <p:cNvGrpSpPr/>
          <p:nvPr/>
        </p:nvGrpSpPr>
        <p:grpSpPr>
          <a:xfrm>
            <a:off x="4047169" y="2887112"/>
            <a:ext cx="2423156" cy="1172612"/>
            <a:chOff x="1624013" y="4654583"/>
            <a:chExt cx="2386012" cy="1172612"/>
          </a:xfrm>
        </p:grpSpPr>
        <p:cxnSp>
          <p:nvCxnSpPr>
            <p:cNvPr id="70" name="Straight Connector 69"/>
            <p:cNvCxnSpPr/>
            <p:nvPr/>
          </p:nvCxnSpPr>
          <p:spPr>
            <a:xfrm flipV="1">
              <a:off x="1624013" y="4654583"/>
              <a:ext cx="0" cy="1172612"/>
            </a:xfrm>
            <a:prstGeom prst="line">
              <a:avLst/>
            </a:prstGeom>
            <a:ln w="25400" cap="rnd">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1624013" y="4654583"/>
              <a:ext cx="2386012" cy="0"/>
            </a:xfrm>
            <a:prstGeom prst="line">
              <a:avLst/>
            </a:prstGeom>
            <a:ln w="25400" cap="rnd">
              <a:solidFill>
                <a:srgbClr val="009A44"/>
              </a:solidFill>
            </a:ln>
          </p:spPr>
          <p:style>
            <a:lnRef idx="1">
              <a:schemeClr val="accent1"/>
            </a:lnRef>
            <a:fillRef idx="0">
              <a:schemeClr val="accent1"/>
            </a:fillRef>
            <a:effectRef idx="0">
              <a:schemeClr val="accent1"/>
            </a:effectRef>
            <a:fontRef idx="minor">
              <a:schemeClr val="tx1"/>
            </a:fontRef>
          </p:style>
        </p:cxnSp>
      </p:grpSp>
      <p:sp>
        <p:nvSpPr>
          <p:cNvPr id="20" name="TextBox 104"/>
          <p:cNvSpPr txBox="1"/>
          <p:nvPr/>
        </p:nvSpPr>
        <p:spPr>
          <a:xfrm>
            <a:off x="6062887" y="2054585"/>
            <a:ext cx="208390" cy="492443"/>
          </a:xfrm>
          <a:prstGeom prst="rect">
            <a:avLst/>
          </a:prstGeom>
          <a:noFill/>
        </p:spPr>
        <p:txBody>
          <a:bodyPr wrap="none" lIns="0" tIns="0" rIns="0" bIns="0" rtlCol="0">
            <a:spAutoFit/>
          </a:bodyPr>
          <a:lstStyle/>
          <a:p>
            <a:pPr algn="ctr">
              <a:buSzPct val="100000"/>
            </a:pPr>
            <a:r>
              <a:rPr lang="en-US" altLang="zh-CN" sz="3200" b="1" dirty="0">
                <a:solidFill>
                  <a:srgbClr val="43B02A"/>
                </a:solidFill>
              </a:rPr>
              <a:t>3</a:t>
            </a:r>
            <a:endParaRPr lang="en-US" sz="3200" b="1" dirty="0">
              <a:solidFill>
                <a:srgbClr val="43B02A"/>
              </a:solidFill>
            </a:endParaRPr>
          </a:p>
        </p:txBody>
      </p:sp>
      <p:sp>
        <p:nvSpPr>
          <p:cNvPr id="22" name="Rounded Rectangle 81"/>
          <p:cNvSpPr/>
          <p:nvPr/>
        </p:nvSpPr>
        <p:spPr bwMode="gray">
          <a:xfrm>
            <a:off x="7176758" y="1937167"/>
            <a:ext cx="4568400" cy="727278"/>
          </a:xfrm>
          <a:prstGeom prst="roundRect">
            <a:avLst>
              <a:gd name="adj" fmla="val 0"/>
            </a:avLst>
          </a:prstGeom>
          <a:solidFill>
            <a:schemeClr val="bg1">
              <a:lumMod val="95000"/>
            </a:schemeClr>
          </a:solidFill>
          <a:ln w="6350" algn="ctr">
            <a:solidFill>
              <a:srgbClr val="A7A8AA"/>
            </a:solidFill>
            <a:miter lim="800000"/>
            <a:headEnd/>
            <a:tailEnd/>
          </a:ln>
        </p:spPr>
        <p:txBody>
          <a:bodyPr wrap="square" lIns="1800000" tIns="88900" rIns="88900" bIns="88900" rtlCol="0" anchor="ctr"/>
          <a:lstStyle/>
          <a:p>
            <a:r>
              <a:rPr lang="en-US" altLang="zh-CN" sz="1300" b="1" dirty="0">
                <a:solidFill>
                  <a:srgbClr val="000000"/>
                </a:solidFill>
                <a:ea typeface="华文细黑" panose="02010600040101010101" pitchFamily="2" charset="-122"/>
              </a:rPr>
              <a:t>Text here</a:t>
            </a:r>
          </a:p>
        </p:txBody>
      </p:sp>
      <p:grpSp>
        <p:nvGrpSpPr>
          <p:cNvPr id="25" name="Group 113"/>
          <p:cNvGrpSpPr/>
          <p:nvPr/>
        </p:nvGrpSpPr>
        <p:grpSpPr>
          <a:xfrm>
            <a:off x="6688660" y="1878126"/>
            <a:ext cx="2028348" cy="845361"/>
            <a:chOff x="6031770" y="2792563"/>
            <a:chExt cx="1942243" cy="809474"/>
          </a:xfrm>
        </p:grpSpPr>
        <p:sp>
          <p:nvSpPr>
            <p:cNvPr id="26" name="Round Same Side Corner Rectangle 146"/>
            <p:cNvSpPr/>
            <p:nvPr/>
          </p:nvSpPr>
          <p:spPr bwMode="gray">
            <a:xfrm rot="16200000">
              <a:off x="6562438" y="2261895"/>
              <a:ext cx="809474" cy="1870810"/>
            </a:xfrm>
            <a:prstGeom prst="round2SameRect">
              <a:avLst>
                <a:gd name="adj1" fmla="val 0"/>
                <a:gd name="adj2" fmla="val 0"/>
              </a:avLst>
            </a:prstGeom>
            <a:solidFill>
              <a:srgbClr val="43B02A"/>
            </a:solidFill>
            <a:ln w="9525" algn="ctr">
              <a:noFill/>
              <a:miter lim="800000"/>
              <a:headEnd/>
              <a:tailEnd/>
            </a:ln>
          </p:spPr>
          <p:txBody>
            <a:bodyPr vert="vert" wrap="square" lIns="91440" tIns="0" rIns="88900" bIns="36000" rtlCol="0" anchor="ctr" anchorCtr="1"/>
            <a:lstStyle/>
            <a:p>
              <a:r>
                <a:rPr lang="en-US" altLang="zh-CN" sz="1300" b="1" dirty="0">
                  <a:solidFill>
                    <a:schemeClr val="bg1"/>
                  </a:solidFill>
                  <a:ea typeface="华文细黑" panose="02010600040101010101" pitchFamily="2" charset="-122"/>
                </a:rPr>
                <a:t>Text here</a:t>
              </a:r>
              <a:endParaRPr lang="en-US" sz="1300" b="1" dirty="0">
                <a:solidFill>
                  <a:schemeClr val="bg1"/>
                </a:solidFill>
                <a:ea typeface="华文细黑" panose="02010600040101010101" pitchFamily="2" charset="-122"/>
              </a:endParaRPr>
            </a:p>
          </p:txBody>
        </p:sp>
        <p:sp>
          <p:nvSpPr>
            <p:cNvPr id="27" name="Round Same Side Corner Rectangle 62"/>
            <p:cNvSpPr/>
            <p:nvPr/>
          </p:nvSpPr>
          <p:spPr bwMode="gray">
            <a:xfrm rot="16200000">
              <a:off x="7910026" y="2785113"/>
              <a:ext cx="56535" cy="71438"/>
            </a:xfrm>
            <a:custGeom>
              <a:avLst/>
              <a:gdLst>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56535 w 56535"/>
                <a:gd name="connsiteY4" fmla="*/ 71438 h 71438"/>
                <a:gd name="connsiteX5" fmla="*/ 0 w 56535"/>
                <a:gd name="connsiteY5" fmla="*/ 71438 h 71438"/>
                <a:gd name="connsiteX6" fmla="*/ 0 w 56535"/>
                <a:gd name="connsiteY6" fmla="*/ 71438 h 71438"/>
                <a:gd name="connsiteX7" fmla="*/ 0 w 56535"/>
                <a:gd name="connsiteY7" fmla="*/ 0 h 71438"/>
                <a:gd name="connsiteX8" fmla="*/ 0 w 56535"/>
                <a:gd name="connsiteY8" fmla="*/ 0 h 71438"/>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0 w 56535"/>
                <a:gd name="connsiteY4" fmla="*/ 71438 h 71438"/>
                <a:gd name="connsiteX5" fmla="*/ 0 w 56535"/>
                <a:gd name="connsiteY5" fmla="*/ 71438 h 71438"/>
                <a:gd name="connsiteX6" fmla="*/ 0 w 56535"/>
                <a:gd name="connsiteY6" fmla="*/ 0 h 71438"/>
                <a:gd name="connsiteX7" fmla="*/ 0 w 56535"/>
                <a:gd name="connsiteY7" fmla="*/ 0 h 71438"/>
                <a:gd name="connsiteX0" fmla="*/ 0 w 56535"/>
                <a:gd name="connsiteY0" fmla="*/ 0 h 71438"/>
                <a:gd name="connsiteX1" fmla="*/ 56535 w 56535"/>
                <a:gd name="connsiteY1" fmla="*/ 0 h 71438"/>
                <a:gd name="connsiteX2" fmla="*/ 56535 w 56535"/>
                <a:gd name="connsiteY2" fmla="*/ 0 h 71438"/>
                <a:gd name="connsiteX3" fmla="*/ 0 w 56535"/>
                <a:gd name="connsiteY3" fmla="*/ 71438 h 71438"/>
                <a:gd name="connsiteX4" fmla="*/ 0 w 56535"/>
                <a:gd name="connsiteY4" fmla="*/ 71438 h 71438"/>
                <a:gd name="connsiteX5" fmla="*/ 0 w 56535"/>
                <a:gd name="connsiteY5" fmla="*/ 0 h 71438"/>
                <a:gd name="connsiteX6" fmla="*/ 0 w 56535"/>
                <a:gd name="connsiteY6" fmla="*/ 0 h 7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35" h="71438">
                  <a:moveTo>
                    <a:pt x="0" y="0"/>
                  </a:moveTo>
                  <a:lnTo>
                    <a:pt x="56535" y="0"/>
                  </a:lnTo>
                  <a:lnTo>
                    <a:pt x="56535" y="0"/>
                  </a:lnTo>
                  <a:lnTo>
                    <a:pt x="0" y="71438"/>
                  </a:lnTo>
                  <a:lnTo>
                    <a:pt x="0" y="71438"/>
                  </a:lnTo>
                  <a:lnTo>
                    <a:pt x="0" y="0"/>
                  </a:lnTo>
                  <a:lnTo>
                    <a:pt x="0" y="0"/>
                  </a:lnTo>
                  <a:close/>
                </a:path>
              </a:pathLst>
            </a:custGeom>
            <a:solidFill>
              <a:srgbClr val="009A44"/>
            </a:solidFill>
            <a:ln w="9525" algn="ctr">
              <a:noFill/>
              <a:miter lim="800000"/>
              <a:headEnd/>
              <a:tailEnd/>
            </a:ln>
          </p:spPr>
          <p:txBody>
            <a:bodyPr wrap="square" lIns="91440" tIns="88900" rIns="88900" bIns="88900" rtlCol="0" anchor="ctr" anchorCtr="1"/>
            <a:lstStyle/>
            <a:p>
              <a:pPr marL="171450" indent="-171450">
                <a:buFont typeface="Arial" panose="020B0604020202020204" pitchFamily="34" charset="0"/>
                <a:buChar char="•"/>
              </a:pPr>
              <a:endParaRPr lang="en-US" sz="1300" dirty="0"/>
            </a:p>
          </p:txBody>
        </p:sp>
      </p:grpSp>
      <p:grpSp>
        <p:nvGrpSpPr>
          <p:cNvPr id="48" name="Group 781"/>
          <p:cNvGrpSpPr>
            <a:grpSpLocks noChangeAspect="1"/>
          </p:cNvGrpSpPr>
          <p:nvPr/>
        </p:nvGrpSpPr>
        <p:grpSpPr bwMode="auto">
          <a:xfrm>
            <a:off x="5273491" y="2009370"/>
            <a:ext cx="582872" cy="582872"/>
            <a:chOff x="7332" y="2771"/>
            <a:chExt cx="340" cy="340"/>
          </a:xfrm>
          <a:solidFill>
            <a:srgbClr val="43B02A"/>
          </a:solidFill>
        </p:grpSpPr>
        <p:sp>
          <p:nvSpPr>
            <p:cNvPr id="49" name="Freeform 782"/>
            <p:cNvSpPr>
              <a:spLocks noEditPoints="1"/>
            </p:cNvSpPr>
            <p:nvPr/>
          </p:nvSpPr>
          <p:spPr bwMode="auto">
            <a:xfrm>
              <a:off x="7332"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50" name="Freeform 783"/>
            <p:cNvSpPr>
              <a:spLocks noEditPoints="1"/>
            </p:cNvSpPr>
            <p:nvPr/>
          </p:nvSpPr>
          <p:spPr bwMode="auto">
            <a:xfrm>
              <a:off x="7436" y="2835"/>
              <a:ext cx="144" cy="212"/>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72" name="Group 71"/>
          <p:cNvGrpSpPr/>
          <p:nvPr/>
        </p:nvGrpSpPr>
        <p:grpSpPr>
          <a:xfrm>
            <a:off x="6477801" y="1714500"/>
            <a:ext cx="2423156" cy="1172612"/>
            <a:chOff x="1624013" y="4654583"/>
            <a:chExt cx="2386012" cy="1172612"/>
          </a:xfrm>
        </p:grpSpPr>
        <p:cxnSp>
          <p:nvCxnSpPr>
            <p:cNvPr id="73" name="Straight Connector 72"/>
            <p:cNvCxnSpPr/>
            <p:nvPr/>
          </p:nvCxnSpPr>
          <p:spPr>
            <a:xfrm flipV="1">
              <a:off x="1624013" y="4654583"/>
              <a:ext cx="0" cy="1172612"/>
            </a:xfrm>
            <a:prstGeom prst="line">
              <a:avLst/>
            </a:prstGeom>
            <a:ln w="25400" cap="rnd">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1624013" y="4654583"/>
              <a:ext cx="2386012" cy="0"/>
            </a:xfrm>
            <a:prstGeom prst="line">
              <a:avLst/>
            </a:prstGeom>
            <a:ln w="25400" cap="rnd">
              <a:solidFill>
                <a:srgbClr val="43B02A"/>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67063688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mbined_Safe">
            <a:hlinkClick r:id="" action="ppaction://media"/>
            <a:extLst>
              <a:ext uri="{FF2B5EF4-FFF2-40B4-BE49-F238E27FC236}">
                <a16:creationId xmlns:a16="http://schemas.microsoft.com/office/drawing/2014/main" id="{48DF5573-5D7A-458B-8385-C1B3460351B4}"/>
              </a:ext>
            </a:extLst>
          </p:cNvPr>
          <p:cNvPicPr preferRelativeResize="0">
            <a:picLocks/>
          </p:cNvPicPr>
          <p:nvPr>
            <a:videoFile r:link="rId3"/>
            <p:extLst>
              <p:ext uri="{DAA4B4D4-6D71-4841-9C94-3DE7FCFB9230}">
                <p14:media xmlns:p14="http://schemas.microsoft.com/office/powerpoint/2010/main" r:embed="rId2"/>
              </p:ext>
            </p:extLst>
          </p:nvPr>
        </p:nvPicPr>
        <p:blipFill>
          <a:blip r:embed="rId6"/>
          <a:stretch>
            <a:fillRect/>
          </a:stretch>
        </p:blipFill>
        <p:spPr>
          <a:xfrm>
            <a:off x="2321384" y="1261720"/>
            <a:ext cx="7463281" cy="3833581"/>
          </a:xfrm>
          <a:prstGeom prst="rect">
            <a:avLst/>
          </a:prstGeom>
        </p:spPr>
      </p:pic>
      <p:sp>
        <p:nvSpPr>
          <p:cNvPr id="16" name="Trapezoid 15">
            <a:extLst>
              <a:ext uri="{FF2B5EF4-FFF2-40B4-BE49-F238E27FC236}">
                <a16:creationId xmlns:a16="http://schemas.microsoft.com/office/drawing/2014/main" id="{75A63693-8C45-4784-A1C9-911708AED7B3}"/>
              </a:ext>
            </a:extLst>
          </p:cNvPr>
          <p:cNvSpPr/>
          <p:nvPr/>
        </p:nvSpPr>
        <p:spPr bwMode="gray">
          <a:xfrm>
            <a:off x="1439245" y="5174820"/>
            <a:ext cx="9231866" cy="903826"/>
          </a:xfrm>
          <a:prstGeom prst="trapezoid">
            <a:avLst>
              <a:gd name="adj" fmla="val 72788"/>
            </a:avLst>
          </a:prstGeom>
          <a:gradFill>
            <a:gsLst>
              <a:gs pos="100000">
                <a:schemeClr val="tx1">
                  <a:alpha val="25000"/>
                </a:schemeClr>
              </a:gs>
              <a:gs pos="37000">
                <a:schemeClr val="accent3">
                  <a:lumMod val="75000"/>
                  <a:alpha val="15000"/>
                </a:schemeClr>
              </a:gs>
            </a:gsLst>
            <a:lin ang="5400000" scaled="1"/>
          </a:gradFill>
          <a:ln w="19050" algn="ctr">
            <a:solidFill>
              <a:srgbClr val="00A3E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0" name="Rectangle 19">
            <a:extLst>
              <a:ext uri="{FF2B5EF4-FFF2-40B4-BE49-F238E27FC236}">
                <a16:creationId xmlns:a16="http://schemas.microsoft.com/office/drawing/2014/main" id="{78664738-0EE3-45F5-9427-4570D7716EF3}"/>
              </a:ext>
            </a:extLst>
          </p:cNvPr>
          <p:cNvSpPr/>
          <p:nvPr/>
        </p:nvSpPr>
        <p:spPr bwMode="gray">
          <a:xfrm>
            <a:off x="2079172" y="1183703"/>
            <a:ext cx="7935686" cy="3989614"/>
          </a:xfrm>
          <a:prstGeom prst="rect">
            <a:avLst/>
          </a:prstGeom>
          <a:noFill/>
          <a:ln w="19050"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endParaRPr lang="en-US" sz="1600" b="1" dirty="0">
              <a:solidFill>
                <a:schemeClr val="bg1"/>
              </a:solidFill>
            </a:endParaRPr>
          </a:p>
        </p:txBody>
      </p:sp>
      <p:sp>
        <p:nvSpPr>
          <p:cNvPr id="69" name="Rectangle 68">
            <a:extLst>
              <a:ext uri="{FF2B5EF4-FFF2-40B4-BE49-F238E27FC236}">
                <a16:creationId xmlns:a16="http://schemas.microsoft.com/office/drawing/2014/main" id="{1F629931-8A14-4C3D-BEB9-8094E1BCC378}"/>
              </a:ext>
            </a:extLst>
          </p:cNvPr>
          <p:cNvSpPr/>
          <p:nvPr/>
        </p:nvSpPr>
        <p:spPr bwMode="gray">
          <a:xfrm>
            <a:off x="1436070" y="6081821"/>
            <a:ext cx="9231866" cy="120109"/>
          </a:xfrm>
          <a:prstGeom prst="rect">
            <a:avLst/>
          </a:prstGeom>
          <a:noFill/>
          <a:ln w="19050"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endParaRPr lang="en-US" sz="1600" b="1" dirty="0">
              <a:solidFill>
                <a:schemeClr val="bg1"/>
              </a:solidFill>
            </a:endParaRPr>
          </a:p>
        </p:txBody>
      </p:sp>
      <p:sp>
        <p:nvSpPr>
          <p:cNvPr id="70" name="Trapezoid 69">
            <a:extLst>
              <a:ext uri="{FF2B5EF4-FFF2-40B4-BE49-F238E27FC236}">
                <a16:creationId xmlns:a16="http://schemas.microsoft.com/office/drawing/2014/main" id="{6F7F800B-7C21-4F10-BA6E-35E030F77774}"/>
              </a:ext>
            </a:extLst>
          </p:cNvPr>
          <p:cNvSpPr/>
          <p:nvPr/>
        </p:nvSpPr>
        <p:spPr bwMode="gray">
          <a:xfrm>
            <a:off x="5300436" y="5708290"/>
            <a:ext cx="1509484" cy="370355"/>
          </a:xfrm>
          <a:prstGeom prst="trapezoid">
            <a:avLst>
              <a:gd name="adj" fmla="val 37999"/>
            </a:avLst>
          </a:prstGeom>
          <a:gradFill>
            <a:gsLst>
              <a:gs pos="100000">
                <a:schemeClr val="tx1">
                  <a:alpha val="25000"/>
                </a:schemeClr>
              </a:gs>
              <a:gs pos="37000">
                <a:schemeClr val="accent3">
                  <a:lumMod val="75000"/>
                  <a:alpha val="15000"/>
                </a:schemeClr>
              </a:gs>
            </a:gsLst>
            <a:lin ang="5400000" scaled="1"/>
          </a:gradFill>
          <a:ln w="19050" algn="ctr">
            <a:solidFill>
              <a:srgbClr val="00A3E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Tree>
    <p:custDataLst>
      <p:tags r:id="rId1"/>
    </p:custDataLst>
    <p:extLst>
      <p:ext uri="{BB962C8B-B14F-4D97-AF65-F5344CB8AC3E}">
        <p14:creationId xmlns:p14="http://schemas.microsoft.com/office/powerpoint/2010/main" val="26946165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7" presetClass="entr" presetSubtype="4" fill="hold" grpId="0" nodeType="withEffect">
                                  <p:stCondLst>
                                    <p:cond delay="500"/>
                                  </p:stCondLst>
                                  <p:childTnLst>
                                    <p:set>
                                      <p:cBhvr>
                                        <p:cTn id="12" dur="1" fill="hold">
                                          <p:stCondLst>
                                            <p:cond delay="0"/>
                                          </p:stCondLst>
                                        </p:cTn>
                                        <p:tgtEl>
                                          <p:spTgt spid="20"/>
                                        </p:tgtEl>
                                        <p:attrNameLst>
                                          <p:attrName>style.visibility</p:attrName>
                                        </p:attrNameLst>
                                      </p:cBhvr>
                                      <p:to>
                                        <p:strVal val="visible"/>
                                      </p:to>
                                    </p:set>
                                    <p:anim calcmode="lin" valueType="num">
                                      <p:cBhvr>
                                        <p:cTn id="13" dur="500" fill="hold"/>
                                        <p:tgtEl>
                                          <p:spTgt spid="20"/>
                                        </p:tgtEl>
                                        <p:attrNameLst>
                                          <p:attrName>ppt_x</p:attrName>
                                        </p:attrNameLst>
                                      </p:cBhvr>
                                      <p:tavLst>
                                        <p:tav tm="0">
                                          <p:val>
                                            <p:strVal val="#ppt_x"/>
                                          </p:val>
                                        </p:tav>
                                        <p:tav tm="100000">
                                          <p:val>
                                            <p:strVal val="#ppt_x"/>
                                          </p:val>
                                        </p:tav>
                                      </p:tavLst>
                                    </p:anim>
                                    <p:anim calcmode="lin" valueType="num">
                                      <p:cBhvr>
                                        <p:cTn id="14" dur="500" fill="hold"/>
                                        <p:tgtEl>
                                          <p:spTgt spid="20"/>
                                        </p:tgtEl>
                                        <p:attrNameLst>
                                          <p:attrName>ppt_y</p:attrName>
                                        </p:attrNameLst>
                                      </p:cBhvr>
                                      <p:tavLst>
                                        <p:tav tm="0">
                                          <p:val>
                                            <p:strVal val="#ppt_y+#ppt_h/2"/>
                                          </p:val>
                                        </p:tav>
                                        <p:tav tm="100000">
                                          <p:val>
                                            <p:strVal val="#ppt_y"/>
                                          </p:val>
                                        </p:tav>
                                      </p:tavLst>
                                    </p:anim>
                                    <p:anim calcmode="lin" valueType="num">
                                      <p:cBhvr>
                                        <p:cTn id="15" dur="500" fill="hold"/>
                                        <p:tgtEl>
                                          <p:spTgt spid="20"/>
                                        </p:tgtEl>
                                        <p:attrNameLst>
                                          <p:attrName>ppt_w</p:attrName>
                                        </p:attrNameLst>
                                      </p:cBhvr>
                                      <p:tavLst>
                                        <p:tav tm="0">
                                          <p:val>
                                            <p:strVal val="#ppt_w"/>
                                          </p:val>
                                        </p:tav>
                                        <p:tav tm="100000">
                                          <p:val>
                                            <p:strVal val="#ppt_w"/>
                                          </p:val>
                                        </p:tav>
                                      </p:tavLst>
                                    </p:anim>
                                    <p:anim calcmode="lin" valueType="num">
                                      <p:cBhvr>
                                        <p:cTn id="16" dur="500" fill="hold"/>
                                        <p:tgtEl>
                                          <p:spTgt spid="20"/>
                                        </p:tgtEl>
                                        <p:attrNameLst>
                                          <p:attrName>ppt_h</p:attrName>
                                        </p:attrNameLst>
                                      </p:cBhvr>
                                      <p:tavLst>
                                        <p:tav tm="0">
                                          <p:val>
                                            <p:fltVal val="0"/>
                                          </p:val>
                                        </p:tav>
                                        <p:tav tm="100000">
                                          <p:val>
                                            <p:strVal val="#ppt_h"/>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70"/>
                                        </p:tgtEl>
                                        <p:attrNameLst>
                                          <p:attrName>style.visibility</p:attrName>
                                        </p:attrNameLst>
                                      </p:cBhvr>
                                      <p:to>
                                        <p:strVal val="visible"/>
                                      </p:to>
                                    </p:set>
                                    <p:animEffect transition="in" filter="fade">
                                      <p:cBhvr>
                                        <p:cTn id="19" dur="500"/>
                                        <p:tgtEl>
                                          <p:spTgt spid="70"/>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1000"/>
                                        <p:tgtEl>
                                          <p:spTgt spid="7"/>
                                        </p:tgtEl>
                                      </p:cBhvr>
                                    </p:animEffect>
                                  </p:childTnLst>
                                </p:cTn>
                              </p:par>
                            </p:childTnLst>
                          </p:cTn>
                        </p:par>
                        <p:par>
                          <p:cTn id="24" fill="hold">
                            <p:stCondLst>
                              <p:cond delay="2000"/>
                            </p:stCondLst>
                            <p:childTnLst>
                              <p:par>
                                <p:cTn id="25" presetID="1" presetClass="mediacall" presetSubtype="0" fill="hold" nodeType="afterEffect">
                                  <p:stCondLst>
                                    <p:cond delay="0"/>
                                  </p:stCondLst>
                                  <p:childTnLst>
                                    <p:cmd type="call" cmd="playFrom(0.0)">
                                      <p:cBhvr>
                                        <p:cTn id="26" dur="65173"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27" restart="whenNotActive" fill="hold" evtFilter="cancelBubble" nodeType="interactiveSeq">
                <p:stCondLst>
                  <p:cond evt="onClick" delay="0">
                    <p:tgtEl>
                      <p:spTgt spid="7"/>
                    </p:tgtEl>
                  </p:cond>
                </p:stCondLst>
                <p:endSync evt="end" delay="0">
                  <p:rtn val="all"/>
                </p:endSync>
                <p:childTnLst>
                  <p:par>
                    <p:cTn id="28" fill="hold">
                      <p:stCondLst>
                        <p:cond delay="0"/>
                      </p:stCondLst>
                      <p:childTnLst>
                        <p:par>
                          <p:cTn id="29" fill="hold">
                            <p:stCondLst>
                              <p:cond delay="0"/>
                            </p:stCondLst>
                            <p:childTnLst>
                              <p:par>
                                <p:cTn id="30" presetID="2" presetClass="mediacall" presetSubtype="0" fill="hold" nodeType="clickEffect">
                                  <p:stCondLst>
                                    <p:cond delay="0"/>
                                  </p:stCondLst>
                                  <p:childTnLst>
                                    <p:cmd type="call" cmd="togglePause">
                                      <p:cBhvr>
                                        <p:cTn id="31" dur="1" fill="hold"/>
                                        <p:tgtEl>
                                          <p:spTgt spid="7"/>
                                        </p:tgtEl>
                                      </p:cBhvr>
                                    </p:cmd>
                                  </p:childTnLst>
                                </p:cTn>
                              </p:par>
                            </p:childTnLst>
                          </p:cTn>
                        </p:par>
                      </p:childTnLst>
                    </p:cTn>
                  </p:par>
                </p:childTnLst>
              </p:cTn>
              <p:nextCondLst>
                <p:cond evt="onClick" delay="0">
                  <p:tgtEl>
                    <p:spTgt spid="7"/>
                  </p:tgtEl>
                </p:cond>
              </p:nextCondLst>
            </p:seq>
            <p:video>
              <p:cMediaNode vol="80000">
                <p:cTn id="32" fill="hold" display="0">
                  <p:stCondLst>
                    <p:cond delay="indefinite"/>
                  </p:stCondLst>
                </p:cTn>
                <p:tgtEl>
                  <p:spTgt spid="7"/>
                </p:tgtEl>
              </p:cMediaNode>
            </p:video>
          </p:childTnLst>
        </p:cTn>
      </p:par>
    </p:tnLst>
    <p:bldLst>
      <p:bldP spid="16" grpId="0" animBg="1"/>
      <p:bldP spid="20" grpId="0" animBg="1"/>
      <p:bldP spid="69" grpId="0" animBg="1"/>
      <p:bldP spid="70"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171A2A64-B0B7-D542-8031-972FA31B34F9}"/>
              </a:ext>
            </a:extLst>
          </p:cNvPr>
          <p:cNvSpPr txBox="1"/>
          <p:nvPr/>
        </p:nvSpPr>
        <p:spPr>
          <a:xfrm>
            <a:off x="2666168" y="1776969"/>
            <a:ext cx="9055932" cy="1000274"/>
          </a:xfrm>
          <a:prstGeom prst="rect">
            <a:avLst/>
          </a:prstGeom>
          <a:noFill/>
        </p:spPr>
        <p:txBody>
          <a:bodyPr wrap="square" lIns="0" tIns="0" rIns="0" bIns="0" rtlCol="0">
            <a:spAutoFit/>
          </a:bodyPr>
          <a:lstStyle/>
          <a:p>
            <a:pPr marL="173585" lvl="5" indent="-173585" defTabSz="913686">
              <a:buFont typeface="Arial" panose="020B0604020202020204" pitchFamily="34" charset="0"/>
              <a:buChar char="•"/>
              <a:defRPr/>
            </a:pPr>
            <a:r>
              <a:rPr lang="en-US" sz="1300" dirty="0">
                <a:solidFill>
                  <a:srgbClr val="313131"/>
                </a:solidFill>
              </a:rPr>
              <a:t>This is dummy text it is not here to be read. The is just text to show where you could insert text. </a:t>
            </a:r>
          </a:p>
          <a:p>
            <a:pPr marL="173585" lvl="5" indent="-173585" defTabSz="913686">
              <a:buFont typeface="Arial" panose="020B0604020202020204" pitchFamily="34" charset="0"/>
              <a:buChar char="•"/>
              <a:defRPr/>
            </a:pPr>
            <a:endParaRPr lang="en-US" sz="1300" dirty="0">
              <a:solidFill>
                <a:srgbClr val="313131"/>
              </a:solidFill>
            </a:endParaRPr>
          </a:p>
          <a:p>
            <a:pPr marL="173585" lvl="5" indent="-173585" defTabSz="913686">
              <a:buFont typeface="Arial" panose="020B0604020202020204" pitchFamily="34" charset="0"/>
              <a:buChar char="•"/>
              <a:defRPr/>
            </a:pPr>
            <a:r>
              <a:rPr lang="en-US" sz="1300" dirty="0">
                <a:solidFill>
                  <a:srgbClr val="313131"/>
                </a:solidFill>
              </a:rPr>
              <a:t>The is just text to show where you could insert text. </a:t>
            </a:r>
          </a:p>
          <a:p>
            <a:pPr marL="173585" lvl="5" indent="-173585" defTabSz="913686">
              <a:buFont typeface="Arial" panose="020B0604020202020204" pitchFamily="34" charset="0"/>
              <a:buChar char="•"/>
              <a:defRPr/>
            </a:pPr>
            <a:endParaRPr lang="en-US" sz="1300" dirty="0">
              <a:solidFill>
                <a:srgbClr val="313131"/>
              </a:solidFill>
            </a:endParaRPr>
          </a:p>
          <a:p>
            <a:pPr marL="173585" lvl="5" indent="-173585" defTabSz="913686">
              <a:buFont typeface="Arial" panose="020B0604020202020204" pitchFamily="34" charset="0"/>
              <a:buChar char="•"/>
              <a:defRPr/>
            </a:pPr>
            <a:r>
              <a:rPr lang="en-US" sz="1300" dirty="0">
                <a:solidFill>
                  <a:srgbClr val="313131"/>
                </a:solidFill>
              </a:rPr>
              <a:t>Please replace with your text content here.</a:t>
            </a:r>
          </a:p>
        </p:txBody>
      </p:sp>
      <p:sp>
        <p:nvSpPr>
          <p:cNvPr id="39" name="Down Arrow 38">
            <a:extLst>
              <a:ext uri="{FF2B5EF4-FFF2-40B4-BE49-F238E27FC236}">
                <a16:creationId xmlns:a16="http://schemas.microsoft.com/office/drawing/2014/main" id="{C4D969DD-AD5B-6746-8854-A3A7E2E84F5C}"/>
              </a:ext>
            </a:extLst>
          </p:cNvPr>
          <p:cNvSpPr/>
          <p:nvPr/>
        </p:nvSpPr>
        <p:spPr bwMode="gray">
          <a:xfrm>
            <a:off x="494620" y="1714502"/>
            <a:ext cx="2525114" cy="4303076"/>
          </a:xfrm>
          <a:prstGeom prst="downArrow">
            <a:avLst>
              <a:gd name="adj1" fmla="val 59855"/>
              <a:gd name="adj2" fmla="val 40146"/>
            </a:avLst>
          </a:prstGeom>
          <a:solidFill>
            <a:srgbClr val="000000"/>
          </a:solidFill>
          <a:ln>
            <a:noFill/>
            <a:headEnd/>
            <a:tailEnd/>
          </a:ln>
        </p:spPr>
        <p:style>
          <a:lnRef idx="2">
            <a:schemeClr val="accent1"/>
          </a:lnRef>
          <a:fillRef idx="1">
            <a:schemeClr val="lt1"/>
          </a:fillRef>
          <a:effectRef idx="0">
            <a:schemeClr val="accent1"/>
          </a:effectRef>
          <a:fontRef idx="minor">
            <a:schemeClr val="dk1"/>
          </a:fontRef>
        </p:style>
        <p:txBody>
          <a:bodyPr wrap="square" lIns="88822" tIns="88822" rIns="88822" bIns="88822" rtlCol="0" anchor="ctr"/>
          <a:lstStyle/>
          <a:p>
            <a:pPr algn="ctr" defTabSz="913686"/>
            <a:endParaRPr lang="en-US" sz="1400" b="1" dirty="0">
              <a:solidFill>
                <a:prstClr val="white"/>
              </a:solidFill>
            </a:endParaRPr>
          </a:p>
        </p:txBody>
      </p:sp>
      <p:sp>
        <p:nvSpPr>
          <p:cNvPr id="40" name="Rectangle 39">
            <a:extLst>
              <a:ext uri="{FF2B5EF4-FFF2-40B4-BE49-F238E27FC236}">
                <a16:creationId xmlns:a16="http://schemas.microsoft.com/office/drawing/2014/main" id="{C82CE6BC-3283-4B49-8AE0-3F19A3B94339}"/>
              </a:ext>
            </a:extLst>
          </p:cNvPr>
          <p:cNvSpPr/>
          <p:nvPr/>
        </p:nvSpPr>
        <p:spPr bwMode="gray">
          <a:xfrm>
            <a:off x="1188805" y="1714500"/>
            <a:ext cx="1136744" cy="1841044"/>
          </a:xfrm>
          <a:prstGeom prst="rect">
            <a:avLst/>
          </a:prstGeom>
          <a:solidFill>
            <a:schemeClr val="accent1"/>
          </a:solidFill>
          <a:ln w="19050" algn="ctr">
            <a:noFill/>
            <a:miter lim="800000"/>
            <a:headEnd/>
            <a:tailEnd/>
          </a:ln>
        </p:spPr>
        <p:txBody>
          <a:bodyPr vert="horz" wrap="square" lIns="88822" tIns="88822" rIns="88822" bIns="88822" rtlCol="0" anchor="ctr"/>
          <a:lstStyle/>
          <a:p>
            <a:pPr algn="ctr" defTabSz="913686"/>
            <a:endParaRPr lang="en-US" sz="1400" b="1" dirty="0">
              <a:solidFill>
                <a:prstClr val="white"/>
              </a:solidFill>
            </a:endParaRPr>
          </a:p>
          <a:p>
            <a:pPr algn="ctr" defTabSz="913686"/>
            <a:r>
              <a:rPr lang="en-US" sz="1400" b="1" dirty="0">
                <a:solidFill>
                  <a:prstClr val="white"/>
                </a:solidFill>
              </a:rPr>
              <a:t>October</a:t>
            </a:r>
          </a:p>
        </p:txBody>
      </p:sp>
      <p:sp>
        <p:nvSpPr>
          <p:cNvPr id="41" name="Rectangle 40">
            <a:extLst>
              <a:ext uri="{FF2B5EF4-FFF2-40B4-BE49-F238E27FC236}">
                <a16:creationId xmlns:a16="http://schemas.microsoft.com/office/drawing/2014/main" id="{1833CE9C-C46C-B142-97CF-69D0F95BA1D0}"/>
              </a:ext>
            </a:extLst>
          </p:cNvPr>
          <p:cNvSpPr/>
          <p:nvPr/>
        </p:nvSpPr>
        <p:spPr bwMode="gray">
          <a:xfrm>
            <a:off x="1188805" y="3657509"/>
            <a:ext cx="1136744" cy="714002"/>
          </a:xfrm>
          <a:prstGeom prst="rect">
            <a:avLst/>
          </a:prstGeom>
          <a:solidFill>
            <a:schemeClr val="accent2"/>
          </a:solidFill>
          <a:ln w="19050" algn="ctr">
            <a:noFill/>
            <a:miter lim="800000"/>
            <a:headEnd/>
            <a:tailEnd/>
          </a:ln>
        </p:spPr>
        <p:txBody>
          <a:bodyPr vert="horz" wrap="square" lIns="88822" tIns="88822" rIns="88822" bIns="88822" rtlCol="0" anchor="ctr"/>
          <a:lstStyle/>
          <a:p>
            <a:pPr algn="ctr" defTabSz="913686"/>
            <a:r>
              <a:rPr lang="en-US" sz="1400" b="1" dirty="0">
                <a:solidFill>
                  <a:prstClr val="white"/>
                </a:solidFill>
              </a:rPr>
              <a:t>November</a:t>
            </a:r>
          </a:p>
        </p:txBody>
      </p:sp>
      <p:sp>
        <p:nvSpPr>
          <p:cNvPr id="42" name="Rectangle 41">
            <a:extLst>
              <a:ext uri="{FF2B5EF4-FFF2-40B4-BE49-F238E27FC236}">
                <a16:creationId xmlns:a16="http://schemas.microsoft.com/office/drawing/2014/main" id="{8E7EF1C9-F133-B948-9F69-0C6179D3AD03}"/>
              </a:ext>
            </a:extLst>
          </p:cNvPr>
          <p:cNvSpPr/>
          <p:nvPr/>
        </p:nvSpPr>
        <p:spPr bwMode="gray">
          <a:xfrm>
            <a:off x="1189296" y="4468311"/>
            <a:ext cx="1136744" cy="530480"/>
          </a:xfrm>
          <a:prstGeom prst="rect">
            <a:avLst/>
          </a:prstGeom>
          <a:solidFill>
            <a:schemeClr val="accent3"/>
          </a:solidFill>
          <a:ln w="19050" algn="ctr">
            <a:noFill/>
            <a:miter lim="800000"/>
            <a:headEnd/>
            <a:tailEnd/>
          </a:ln>
        </p:spPr>
        <p:txBody>
          <a:bodyPr vert="horz" wrap="square" lIns="88822" tIns="88822" rIns="88822" bIns="88822" rtlCol="0" anchor="ctr"/>
          <a:lstStyle/>
          <a:p>
            <a:pPr algn="ctr" defTabSz="913686"/>
            <a:r>
              <a:rPr lang="en-US" sz="1400" b="1" dirty="0">
                <a:solidFill>
                  <a:prstClr val="white"/>
                </a:solidFill>
              </a:rPr>
              <a:t>December</a:t>
            </a:r>
          </a:p>
        </p:txBody>
      </p:sp>
      <p:sp>
        <p:nvSpPr>
          <p:cNvPr id="44" name="TextBox 43">
            <a:extLst>
              <a:ext uri="{FF2B5EF4-FFF2-40B4-BE49-F238E27FC236}">
                <a16:creationId xmlns:a16="http://schemas.microsoft.com/office/drawing/2014/main" id="{E418AB1E-8428-6544-B4D0-99BBD4F16127}"/>
              </a:ext>
            </a:extLst>
          </p:cNvPr>
          <p:cNvSpPr txBox="1"/>
          <p:nvPr/>
        </p:nvSpPr>
        <p:spPr>
          <a:xfrm>
            <a:off x="2666169" y="4556020"/>
            <a:ext cx="9055931" cy="200055"/>
          </a:xfrm>
          <a:prstGeom prst="rect">
            <a:avLst/>
          </a:prstGeom>
          <a:noFill/>
        </p:spPr>
        <p:txBody>
          <a:bodyPr wrap="square" lIns="0" tIns="0" rIns="0" bIns="0" rtlCol="0">
            <a:spAutoFit/>
          </a:bodyPr>
          <a:lstStyle/>
          <a:p>
            <a:pPr marL="173585" lvl="5" indent="-173585" defTabSz="913686">
              <a:buFont typeface="Arial" panose="020B0604020202020204" pitchFamily="34" charset="0"/>
              <a:buChar char="•"/>
              <a:defRPr/>
            </a:pPr>
            <a:r>
              <a:rPr lang="en-US" sz="1300" b="1" dirty="0">
                <a:solidFill>
                  <a:srgbClr val="313131"/>
                </a:solidFill>
              </a:rPr>
              <a:t>Please replace with your text content here.</a:t>
            </a:r>
          </a:p>
        </p:txBody>
      </p:sp>
      <p:sp>
        <p:nvSpPr>
          <p:cNvPr id="12" name="Freeform 974">
            <a:extLst>
              <a:ext uri="{FF2B5EF4-FFF2-40B4-BE49-F238E27FC236}">
                <a16:creationId xmlns:a16="http://schemas.microsoft.com/office/drawing/2014/main" id="{1B6607B0-B057-4767-A4D0-403D7A6CA9E1}"/>
              </a:ext>
            </a:extLst>
          </p:cNvPr>
          <p:cNvSpPr>
            <a:spLocks noChangeAspect="1" noEditPoints="1"/>
          </p:cNvSpPr>
          <p:nvPr/>
        </p:nvSpPr>
        <p:spPr bwMode="auto">
          <a:xfrm>
            <a:off x="1500377" y="1911905"/>
            <a:ext cx="513600" cy="51359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9" name="TextBox 8">
            <a:extLst>
              <a:ext uri="{FF2B5EF4-FFF2-40B4-BE49-F238E27FC236}">
                <a16:creationId xmlns:a16="http://schemas.microsoft.com/office/drawing/2014/main" id="{171A2A64-B0B7-D542-8031-972FA31B34F9}"/>
              </a:ext>
            </a:extLst>
          </p:cNvPr>
          <p:cNvSpPr txBox="1"/>
          <p:nvPr/>
        </p:nvSpPr>
        <p:spPr>
          <a:xfrm>
            <a:off x="2666168" y="3657509"/>
            <a:ext cx="9055932" cy="600164"/>
          </a:xfrm>
          <a:prstGeom prst="rect">
            <a:avLst/>
          </a:prstGeom>
          <a:noFill/>
        </p:spPr>
        <p:txBody>
          <a:bodyPr wrap="square" lIns="0" tIns="0" rIns="0" bIns="0" rtlCol="0">
            <a:spAutoFit/>
          </a:bodyPr>
          <a:lstStyle/>
          <a:p>
            <a:pPr marL="173585" lvl="5" indent="-173585" defTabSz="913686">
              <a:buFont typeface="Arial" panose="020B0604020202020204" pitchFamily="34" charset="0"/>
              <a:buChar char="•"/>
              <a:defRPr/>
            </a:pPr>
            <a:r>
              <a:rPr lang="en-US" sz="1300" dirty="0">
                <a:solidFill>
                  <a:srgbClr val="313131"/>
                </a:solidFill>
              </a:rPr>
              <a:t>This is dummy text it is not here to be read. The is just text to show where you could insert text. </a:t>
            </a:r>
          </a:p>
          <a:p>
            <a:pPr marL="173585" lvl="5" indent="-173585" defTabSz="913686">
              <a:buFont typeface="Arial" panose="020B0604020202020204" pitchFamily="34" charset="0"/>
              <a:buChar char="•"/>
              <a:defRPr/>
            </a:pPr>
            <a:endParaRPr lang="en-US" sz="1300" dirty="0">
              <a:solidFill>
                <a:srgbClr val="313131"/>
              </a:solidFill>
            </a:endParaRPr>
          </a:p>
          <a:p>
            <a:pPr marL="173585" lvl="5" indent="-173585" defTabSz="913686">
              <a:buFont typeface="Arial" panose="020B0604020202020204" pitchFamily="34" charset="0"/>
              <a:buChar char="•"/>
              <a:defRPr/>
            </a:pPr>
            <a:r>
              <a:rPr lang="en-US" sz="1300" dirty="0">
                <a:solidFill>
                  <a:srgbClr val="313131"/>
                </a:solidFill>
              </a:rPr>
              <a:t>The is just text to show where you could insert text. </a:t>
            </a:r>
          </a:p>
        </p:txBody>
      </p:sp>
    </p:spTree>
    <p:custDataLst>
      <p:tags r:id="rId1"/>
    </p:custDataLst>
    <p:extLst>
      <p:ext uri="{BB962C8B-B14F-4D97-AF65-F5344CB8AC3E}">
        <p14:creationId xmlns:p14="http://schemas.microsoft.com/office/powerpoint/2010/main" val="178775460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reeform 10"/>
          <p:cNvSpPr>
            <a:spLocks/>
          </p:cNvSpPr>
          <p:nvPr/>
        </p:nvSpPr>
        <p:spPr bwMode="auto">
          <a:xfrm rot="8100000">
            <a:off x="5247593" y="836286"/>
            <a:ext cx="1755775" cy="4306888"/>
          </a:xfrm>
          <a:custGeom>
            <a:avLst/>
            <a:gdLst>
              <a:gd name="T0" fmla="*/ 0 w 529"/>
              <a:gd name="T1" fmla="*/ 0 h 1298"/>
              <a:gd name="T2" fmla="*/ 412 w 529"/>
              <a:gd name="T3" fmla="*/ 628 h 1298"/>
              <a:gd name="T4" fmla="*/ 412 w 529"/>
              <a:gd name="T5" fmla="*/ 628 h 1298"/>
              <a:gd name="T6" fmla="*/ 412 w 529"/>
              <a:gd name="T7" fmla="*/ 1059 h 1298"/>
              <a:gd name="T8" fmla="*/ 412 w 529"/>
              <a:gd name="T9" fmla="*/ 1059 h 1298"/>
              <a:gd name="T10" fmla="*/ 412 w 529"/>
              <a:gd name="T11" fmla="*/ 1059 h 1298"/>
              <a:gd name="T12" fmla="*/ 529 w 529"/>
              <a:gd name="T13" fmla="*/ 1298 h 1298"/>
              <a:gd name="T14" fmla="*/ 116 w 529"/>
              <a:gd name="T15" fmla="*/ 671 h 1298"/>
              <a:gd name="T16" fmla="*/ 117 w 529"/>
              <a:gd name="T17" fmla="*/ 671 h 1298"/>
              <a:gd name="T18" fmla="*/ 117 w 529"/>
              <a:gd name="T19" fmla="*/ 240 h 1298"/>
              <a:gd name="T20" fmla="*/ 117 w 529"/>
              <a:gd name="T21" fmla="*/ 240 h 1298"/>
              <a:gd name="T22" fmla="*/ 117 w 529"/>
              <a:gd name="T23" fmla="*/ 239 h 1298"/>
              <a:gd name="T24" fmla="*/ 0 w 529"/>
              <a:gd name="T25" fmla="*/ 0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9" h="1298">
                <a:moveTo>
                  <a:pt x="0" y="0"/>
                </a:moveTo>
                <a:cubicBezTo>
                  <a:pt x="242" y="105"/>
                  <a:pt x="412" y="347"/>
                  <a:pt x="412" y="628"/>
                </a:cubicBezTo>
                <a:cubicBezTo>
                  <a:pt x="412" y="628"/>
                  <a:pt x="412" y="628"/>
                  <a:pt x="412" y="628"/>
                </a:cubicBezTo>
                <a:cubicBezTo>
                  <a:pt x="412" y="1059"/>
                  <a:pt x="412" y="1059"/>
                  <a:pt x="412" y="1059"/>
                </a:cubicBezTo>
                <a:cubicBezTo>
                  <a:pt x="412" y="1059"/>
                  <a:pt x="412" y="1059"/>
                  <a:pt x="412" y="1059"/>
                </a:cubicBezTo>
                <a:cubicBezTo>
                  <a:pt x="412" y="1059"/>
                  <a:pt x="412" y="1059"/>
                  <a:pt x="412" y="1059"/>
                </a:cubicBezTo>
                <a:cubicBezTo>
                  <a:pt x="412" y="1157"/>
                  <a:pt x="458" y="1243"/>
                  <a:pt x="529" y="1298"/>
                </a:cubicBezTo>
                <a:cubicBezTo>
                  <a:pt x="286" y="1193"/>
                  <a:pt x="116" y="952"/>
                  <a:pt x="116" y="671"/>
                </a:cubicBezTo>
                <a:cubicBezTo>
                  <a:pt x="117" y="671"/>
                  <a:pt x="117" y="671"/>
                  <a:pt x="117" y="671"/>
                </a:cubicBezTo>
                <a:cubicBezTo>
                  <a:pt x="117" y="240"/>
                  <a:pt x="117" y="240"/>
                  <a:pt x="117" y="240"/>
                </a:cubicBezTo>
                <a:cubicBezTo>
                  <a:pt x="117" y="240"/>
                  <a:pt x="117" y="240"/>
                  <a:pt x="117" y="240"/>
                </a:cubicBezTo>
                <a:cubicBezTo>
                  <a:pt x="117" y="240"/>
                  <a:pt x="117" y="239"/>
                  <a:pt x="117" y="239"/>
                </a:cubicBezTo>
                <a:cubicBezTo>
                  <a:pt x="117" y="142"/>
                  <a:pt x="71" y="56"/>
                  <a:pt x="0" y="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2" name="Freeform 12"/>
          <p:cNvSpPr>
            <a:spLocks/>
          </p:cNvSpPr>
          <p:nvPr/>
        </p:nvSpPr>
        <p:spPr bwMode="auto">
          <a:xfrm rot="8100000">
            <a:off x="1933116" y="2591472"/>
            <a:ext cx="2979738" cy="979488"/>
          </a:xfrm>
          <a:custGeom>
            <a:avLst/>
            <a:gdLst>
              <a:gd name="T0" fmla="*/ 117 w 898"/>
              <a:gd name="T1" fmla="*/ 239 h 295"/>
              <a:gd name="T2" fmla="*/ 388 w 898"/>
              <a:gd name="T3" fmla="*/ 295 h 295"/>
              <a:gd name="T4" fmla="*/ 750 w 898"/>
              <a:gd name="T5" fmla="*/ 295 h 295"/>
              <a:gd name="T6" fmla="*/ 898 w 898"/>
              <a:gd name="T7" fmla="*/ 148 h 295"/>
              <a:gd name="T8" fmla="*/ 750 w 898"/>
              <a:gd name="T9" fmla="*/ 0 h 295"/>
              <a:gd name="T10" fmla="*/ 696 w 898"/>
              <a:gd name="T11" fmla="*/ 0 h 295"/>
              <a:gd name="T12" fmla="*/ 388 w 898"/>
              <a:gd name="T13" fmla="*/ 0 h 295"/>
              <a:gd name="T14" fmla="*/ 0 w 898"/>
              <a:gd name="T15" fmla="*/ 0 h 295"/>
              <a:gd name="T16" fmla="*/ 0 w 898"/>
              <a:gd name="T17" fmla="*/ 0 h 295"/>
              <a:gd name="T18" fmla="*/ 117 w 898"/>
              <a:gd name="T19" fmla="*/ 23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295">
                <a:moveTo>
                  <a:pt x="117" y="239"/>
                </a:moveTo>
                <a:cubicBezTo>
                  <a:pt x="200" y="275"/>
                  <a:pt x="292" y="295"/>
                  <a:pt x="388" y="295"/>
                </a:cubicBezTo>
                <a:cubicBezTo>
                  <a:pt x="750" y="295"/>
                  <a:pt x="750" y="295"/>
                  <a:pt x="750" y="295"/>
                </a:cubicBezTo>
                <a:cubicBezTo>
                  <a:pt x="832" y="295"/>
                  <a:pt x="898" y="229"/>
                  <a:pt x="898" y="148"/>
                </a:cubicBezTo>
                <a:cubicBezTo>
                  <a:pt x="898" y="66"/>
                  <a:pt x="832" y="0"/>
                  <a:pt x="750" y="0"/>
                </a:cubicBezTo>
                <a:cubicBezTo>
                  <a:pt x="696" y="0"/>
                  <a:pt x="696" y="0"/>
                  <a:pt x="696" y="0"/>
                </a:cubicBezTo>
                <a:cubicBezTo>
                  <a:pt x="388" y="0"/>
                  <a:pt x="388" y="0"/>
                  <a:pt x="388" y="0"/>
                </a:cubicBezTo>
                <a:cubicBezTo>
                  <a:pt x="0" y="0"/>
                  <a:pt x="0" y="0"/>
                  <a:pt x="0" y="0"/>
                </a:cubicBezTo>
                <a:cubicBezTo>
                  <a:pt x="0" y="0"/>
                  <a:pt x="0" y="0"/>
                  <a:pt x="0" y="0"/>
                </a:cubicBezTo>
                <a:cubicBezTo>
                  <a:pt x="0" y="97"/>
                  <a:pt x="46" y="184"/>
                  <a:pt x="117" y="239"/>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14"/>
          <p:cNvSpPr>
            <a:spLocks/>
          </p:cNvSpPr>
          <p:nvPr/>
        </p:nvSpPr>
        <p:spPr bwMode="auto">
          <a:xfrm rot="8100000">
            <a:off x="4227277" y="1495637"/>
            <a:ext cx="1184275" cy="1184275"/>
          </a:xfrm>
          <a:custGeom>
            <a:avLst/>
            <a:gdLst>
              <a:gd name="T0" fmla="*/ 0 w 357"/>
              <a:gd name="T1" fmla="*/ 0 h 357"/>
              <a:gd name="T2" fmla="*/ 357 w 357"/>
              <a:gd name="T3" fmla="*/ 357 h 357"/>
              <a:gd name="T4" fmla="*/ 240 w 357"/>
              <a:gd name="T5" fmla="*/ 118 h 357"/>
              <a:gd name="T6" fmla="*/ 0 w 357"/>
              <a:gd name="T7" fmla="*/ 0 h 357"/>
            </a:gdLst>
            <a:ahLst/>
            <a:cxnLst>
              <a:cxn ang="0">
                <a:pos x="T0" y="T1"/>
              </a:cxn>
              <a:cxn ang="0">
                <a:pos x="T2" y="T3"/>
              </a:cxn>
              <a:cxn ang="0">
                <a:pos x="T4" y="T5"/>
              </a:cxn>
              <a:cxn ang="0">
                <a:pos x="T6" y="T7"/>
              </a:cxn>
            </a:cxnLst>
            <a:rect l="0" t="0" r="r" b="b"/>
            <a:pathLst>
              <a:path w="357" h="357">
                <a:moveTo>
                  <a:pt x="0" y="0"/>
                </a:moveTo>
                <a:cubicBezTo>
                  <a:pt x="69" y="160"/>
                  <a:pt x="197" y="288"/>
                  <a:pt x="357" y="357"/>
                </a:cubicBezTo>
                <a:cubicBezTo>
                  <a:pt x="286" y="302"/>
                  <a:pt x="240" y="216"/>
                  <a:pt x="240" y="118"/>
                </a:cubicBezTo>
                <a:cubicBezTo>
                  <a:pt x="142" y="118"/>
                  <a:pt x="55" y="72"/>
                  <a:pt x="0"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Freeform 15"/>
          <p:cNvSpPr>
            <a:spLocks/>
          </p:cNvSpPr>
          <p:nvPr/>
        </p:nvSpPr>
        <p:spPr bwMode="auto">
          <a:xfrm rot="8100000">
            <a:off x="7352170" y="2431607"/>
            <a:ext cx="2906713" cy="982663"/>
          </a:xfrm>
          <a:custGeom>
            <a:avLst/>
            <a:gdLst>
              <a:gd name="T0" fmla="*/ 759 w 876"/>
              <a:gd name="T1" fmla="*/ 57 h 296"/>
              <a:gd name="T2" fmla="*/ 488 w 876"/>
              <a:gd name="T3" fmla="*/ 0 h 296"/>
              <a:gd name="T4" fmla="*/ 148 w 876"/>
              <a:gd name="T5" fmla="*/ 0 h 296"/>
              <a:gd name="T6" fmla="*/ 0 w 876"/>
              <a:gd name="T7" fmla="*/ 148 h 296"/>
              <a:gd name="T8" fmla="*/ 148 w 876"/>
              <a:gd name="T9" fmla="*/ 296 h 296"/>
              <a:gd name="T10" fmla="*/ 202 w 876"/>
              <a:gd name="T11" fmla="*/ 296 h 296"/>
              <a:gd name="T12" fmla="*/ 488 w 876"/>
              <a:gd name="T13" fmla="*/ 296 h 296"/>
              <a:gd name="T14" fmla="*/ 876 w 876"/>
              <a:gd name="T15" fmla="*/ 296 h 296"/>
              <a:gd name="T16" fmla="*/ 876 w 876"/>
              <a:gd name="T17" fmla="*/ 295 h 296"/>
              <a:gd name="T18" fmla="*/ 759 w 876"/>
              <a:gd name="T19" fmla="*/ 5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6" h="296">
                <a:moveTo>
                  <a:pt x="759" y="57"/>
                </a:moveTo>
                <a:cubicBezTo>
                  <a:pt x="676" y="20"/>
                  <a:pt x="584" y="0"/>
                  <a:pt x="488" y="0"/>
                </a:cubicBezTo>
                <a:cubicBezTo>
                  <a:pt x="148" y="0"/>
                  <a:pt x="148" y="0"/>
                  <a:pt x="148" y="0"/>
                </a:cubicBezTo>
                <a:cubicBezTo>
                  <a:pt x="66" y="0"/>
                  <a:pt x="0" y="66"/>
                  <a:pt x="0" y="148"/>
                </a:cubicBezTo>
                <a:cubicBezTo>
                  <a:pt x="0" y="230"/>
                  <a:pt x="66" y="296"/>
                  <a:pt x="148" y="296"/>
                </a:cubicBezTo>
                <a:cubicBezTo>
                  <a:pt x="202" y="296"/>
                  <a:pt x="202" y="296"/>
                  <a:pt x="202" y="296"/>
                </a:cubicBezTo>
                <a:cubicBezTo>
                  <a:pt x="488" y="296"/>
                  <a:pt x="488" y="296"/>
                  <a:pt x="488" y="296"/>
                </a:cubicBezTo>
                <a:cubicBezTo>
                  <a:pt x="876" y="296"/>
                  <a:pt x="876" y="296"/>
                  <a:pt x="876" y="296"/>
                </a:cubicBezTo>
                <a:cubicBezTo>
                  <a:pt x="876" y="295"/>
                  <a:pt x="876" y="295"/>
                  <a:pt x="876" y="295"/>
                </a:cubicBezTo>
                <a:cubicBezTo>
                  <a:pt x="876" y="198"/>
                  <a:pt x="830" y="112"/>
                  <a:pt x="759" y="57"/>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2" name="Freeform 17"/>
          <p:cNvSpPr>
            <a:spLocks/>
          </p:cNvSpPr>
          <p:nvPr/>
        </p:nvSpPr>
        <p:spPr bwMode="auto">
          <a:xfrm rot="8100000">
            <a:off x="6842119" y="3298424"/>
            <a:ext cx="1181100" cy="1184275"/>
          </a:xfrm>
          <a:custGeom>
            <a:avLst/>
            <a:gdLst>
              <a:gd name="T0" fmla="*/ 356 w 356"/>
              <a:gd name="T1" fmla="*/ 357 h 357"/>
              <a:gd name="T2" fmla="*/ 0 w 356"/>
              <a:gd name="T3" fmla="*/ 0 h 357"/>
              <a:gd name="T4" fmla="*/ 117 w 356"/>
              <a:gd name="T5" fmla="*/ 239 h 357"/>
              <a:gd name="T6" fmla="*/ 356 w 356"/>
              <a:gd name="T7" fmla="*/ 357 h 357"/>
            </a:gdLst>
            <a:ahLst/>
            <a:cxnLst>
              <a:cxn ang="0">
                <a:pos x="T0" y="T1"/>
              </a:cxn>
              <a:cxn ang="0">
                <a:pos x="T2" y="T3"/>
              </a:cxn>
              <a:cxn ang="0">
                <a:pos x="T4" y="T5"/>
              </a:cxn>
              <a:cxn ang="0">
                <a:pos x="T6" y="T7"/>
              </a:cxn>
            </a:cxnLst>
            <a:rect l="0" t="0" r="r" b="b"/>
            <a:pathLst>
              <a:path w="356" h="357">
                <a:moveTo>
                  <a:pt x="356" y="357"/>
                </a:moveTo>
                <a:cubicBezTo>
                  <a:pt x="287" y="198"/>
                  <a:pt x="159" y="70"/>
                  <a:pt x="0" y="0"/>
                </a:cubicBezTo>
                <a:cubicBezTo>
                  <a:pt x="71" y="56"/>
                  <a:pt x="117" y="142"/>
                  <a:pt x="117" y="239"/>
                </a:cubicBezTo>
                <a:cubicBezTo>
                  <a:pt x="214" y="239"/>
                  <a:pt x="301" y="285"/>
                  <a:pt x="356" y="357"/>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5"/>
          <p:cNvSpPr>
            <a:spLocks/>
          </p:cNvSpPr>
          <p:nvPr/>
        </p:nvSpPr>
        <p:spPr bwMode="auto">
          <a:xfrm rot="8100000">
            <a:off x="3961875" y="2142213"/>
            <a:ext cx="4306888" cy="1758950"/>
          </a:xfrm>
          <a:custGeom>
            <a:avLst/>
            <a:gdLst>
              <a:gd name="T0" fmla="*/ 0 w 1298"/>
              <a:gd name="T1" fmla="*/ 0 h 530"/>
              <a:gd name="T2" fmla="*/ 627 w 1298"/>
              <a:gd name="T3" fmla="*/ 413 h 530"/>
              <a:gd name="T4" fmla="*/ 627 w 1298"/>
              <a:gd name="T5" fmla="*/ 412 h 530"/>
              <a:gd name="T6" fmla="*/ 1058 w 1298"/>
              <a:gd name="T7" fmla="*/ 412 h 530"/>
              <a:gd name="T8" fmla="*/ 1058 w 1298"/>
              <a:gd name="T9" fmla="*/ 412 h 530"/>
              <a:gd name="T10" fmla="*/ 1059 w 1298"/>
              <a:gd name="T11" fmla="*/ 412 h 530"/>
              <a:gd name="T12" fmla="*/ 1298 w 1298"/>
              <a:gd name="T13" fmla="*/ 530 h 530"/>
              <a:gd name="T14" fmla="*/ 670 w 1298"/>
              <a:gd name="T15" fmla="*/ 117 h 530"/>
              <a:gd name="T16" fmla="*/ 670 w 1298"/>
              <a:gd name="T17" fmla="*/ 117 h 530"/>
              <a:gd name="T18" fmla="*/ 239 w 1298"/>
              <a:gd name="T19" fmla="*/ 117 h 530"/>
              <a:gd name="T20" fmla="*/ 239 w 1298"/>
              <a:gd name="T21" fmla="*/ 117 h 530"/>
              <a:gd name="T22" fmla="*/ 238 w 1298"/>
              <a:gd name="T23" fmla="*/ 117 h 530"/>
              <a:gd name="T24" fmla="*/ 0 w 1298"/>
              <a:gd name="T25" fmla="*/ 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8" h="530">
                <a:moveTo>
                  <a:pt x="0" y="0"/>
                </a:moveTo>
                <a:cubicBezTo>
                  <a:pt x="105" y="243"/>
                  <a:pt x="346" y="413"/>
                  <a:pt x="627" y="413"/>
                </a:cubicBezTo>
                <a:cubicBezTo>
                  <a:pt x="627" y="412"/>
                  <a:pt x="627" y="412"/>
                  <a:pt x="627" y="412"/>
                </a:cubicBezTo>
                <a:cubicBezTo>
                  <a:pt x="1058" y="412"/>
                  <a:pt x="1058" y="412"/>
                  <a:pt x="1058" y="412"/>
                </a:cubicBezTo>
                <a:cubicBezTo>
                  <a:pt x="1058" y="412"/>
                  <a:pt x="1058" y="412"/>
                  <a:pt x="1058" y="412"/>
                </a:cubicBezTo>
                <a:cubicBezTo>
                  <a:pt x="1058" y="412"/>
                  <a:pt x="1059" y="412"/>
                  <a:pt x="1059" y="412"/>
                </a:cubicBezTo>
                <a:cubicBezTo>
                  <a:pt x="1156" y="412"/>
                  <a:pt x="1242" y="458"/>
                  <a:pt x="1298" y="530"/>
                </a:cubicBezTo>
                <a:cubicBezTo>
                  <a:pt x="1192" y="287"/>
                  <a:pt x="951" y="117"/>
                  <a:pt x="670" y="117"/>
                </a:cubicBezTo>
                <a:cubicBezTo>
                  <a:pt x="670" y="117"/>
                  <a:pt x="670" y="117"/>
                  <a:pt x="670" y="117"/>
                </a:cubicBezTo>
                <a:cubicBezTo>
                  <a:pt x="239" y="117"/>
                  <a:pt x="239" y="117"/>
                  <a:pt x="239" y="117"/>
                </a:cubicBezTo>
                <a:cubicBezTo>
                  <a:pt x="239" y="117"/>
                  <a:pt x="239" y="117"/>
                  <a:pt x="239" y="117"/>
                </a:cubicBezTo>
                <a:cubicBezTo>
                  <a:pt x="239" y="117"/>
                  <a:pt x="239" y="117"/>
                  <a:pt x="238" y="117"/>
                </a:cubicBezTo>
                <a:cubicBezTo>
                  <a:pt x="141" y="117"/>
                  <a:pt x="55" y="71"/>
                  <a:pt x="0" y="0"/>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6"/>
          <p:cNvSpPr>
            <a:spLocks/>
          </p:cNvSpPr>
          <p:nvPr/>
        </p:nvSpPr>
        <p:spPr bwMode="auto">
          <a:xfrm rot="8100000">
            <a:off x="2919246" y="1440333"/>
            <a:ext cx="982663" cy="2979738"/>
          </a:xfrm>
          <a:custGeom>
            <a:avLst/>
            <a:gdLst>
              <a:gd name="T0" fmla="*/ 239 w 296"/>
              <a:gd name="T1" fmla="*/ 117 h 898"/>
              <a:gd name="T2" fmla="*/ 296 w 296"/>
              <a:gd name="T3" fmla="*/ 388 h 898"/>
              <a:gd name="T4" fmla="*/ 296 w 296"/>
              <a:gd name="T5" fmla="*/ 751 h 898"/>
              <a:gd name="T6" fmla="*/ 148 w 296"/>
              <a:gd name="T7" fmla="*/ 898 h 898"/>
              <a:gd name="T8" fmla="*/ 0 w 296"/>
              <a:gd name="T9" fmla="*/ 751 h 898"/>
              <a:gd name="T10" fmla="*/ 0 w 296"/>
              <a:gd name="T11" fmla="*/ 697 h 898"/>
              <a:gd name="T12" fmla="*/ 0 w 296"/>
              <a:gd name="T13" fmla="*/ 388 h 898"/>
              <a:gd name="T14" fmla="*/ 0 w 296"/>
              <a:gd name="T15" fmla="*/ 0 h 898"/>
              <a:gd name="T16" fmla="*/ 1 w 296"/>
              <a:gd name="T17" fmla="*/ 0 h 898"/>
              <a:gd name="T18" fmla="*/ 239 w 296"/>
              <a:gd name="T19" fmla="*/ 117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898">
                <a:moveTo>
                  <a:pt x="239" y="117"/>
                </a:moveTo>
                <a:cubicBezTo>
                  <a:pt x="275" y="200"/>
                  <a:pt x="296" y="292"/>
                  <a:pt x="296" y="388"/>
                </a:cubicBezTo>
                <a:cubicBezTo>
                  <a:pt x="296" y="751"/>
                  <a:pt x="296" y="751"/>
                  <a:pt x="296" y="751"/>
                </a:cubicBezTo>
                <a:cubicBezTo>
                  <a:pt x="296" y="832"/>
                  <a:pt x="229" y="898"/>
                  <a:pt x="148" y="898"/>
                </a:cubicBezTo>
                <a:cubicBezTo>
                  <a:pt x="66" y="898"/>
                  <a:pt x="0" y="832"/>
                  <a:pt x="0" y="751"/>
                </a:cubicBezTo>
                <a:cubicBezTo>
                  <a:pt x="0" y="697"/>
                  <a:pt x="0" y="697"/>
                  <a:pt x="0" y="697"/>
                </a:cubicBezTo>
                <a:cubicBezTo>
                  <a:pt x="0" y="388"/>
                  <a:pt x="0" y="388"/>
                  <a:pt x="0" y="388"/>
                </a:cubicBezTo>
                <a:cubicBezTo>
                  <a:pt x="0" y="0"/>
                  <a:pt x="0" y="0"/>
                  <a:pt x="0" y="0"/>
                </a:cubicBezTo>
                <a:cubicBezTo>
                  <a:pt x="1" y="0"/>
                  <a:pt x="1" y="0"/>
                  <a:pt x="1" y="0"/>
                </a:cubicBezTo>
                <a:cubicBezTo>
                  <a:pt x="98" y="0"/>
                  <a:pt x="184" y="46"/>
                  <a:pt x="239" y="117"/>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7"/>
          <p:cNvSpPr>
            <a:spLocks/>
          </p:cNvSpPr>
          <p:nvPr/>
        </p:nvSpPr>
        <p:spPr bwMode="auto">
          <a:xfrm rot="8100000">
            <a:off x="4215992" y="3330383"/>
            <a:ext cx="1184275" cy="1184275"/>
          </a:xfrm>
          <a:custGeom>
            <a:avLst/>
            <a:gdLst>
              <a:gd name="T0" fmla="*/ 0 w 357"/>
              <a:gd name="T1" fmla="*/ 0 h 357"/>
              <a:gd name="T2" fmla="*/ 357 w 357"/>
              <a:gd name="T3" fmla="*/ 357 h 357"/>
              <a:gd name="T4" fmla="*/ 118 w 357"/>
              <a:gd name="T5" fmla="*/ 239 h 357"/>
              <a:gd name="T6" fmla="*/ 0 w 357"/>
              <a:gd name="T7" fmla="*/ 0 h 357"/>
            </a:gdLst>
            <a:ahLst/>
            <a:cxnLst>
              <a:cxn ang="0">
                <a:pos x="T0" y="T1"/>
              </a:cxn>
              <a:cxn ang="0">
                <a:pos x="T2" y="T3"/>
              </a:cxn>
              <a:cxn ang="0">
                <a:pos x="T4" y="T5"/>
              </a:cxn>
              <a:cxn ang="0">
                <a:pos x="T6" y="T7"/>
              </a:cxn>
            </a:cxnLst>
            <a:rect l="0" t="0" r="r" b="b"/>
            <a:pathLst>
              <a:path w="357" h="357">
                <a:moveTo>
                  <a:pt x="0" y="0"/>
                </a:moveTo>
                <a:cubicBezTo>
                  <a:pt x="159" y="69"/>
                  <a:pt x="287" y="197"/>
                  <a:pt x="357" y="357"/>
                </a:cubicBezTo>
                <a:cubicBezTo>
                  <a:pt x="301" y="285"/>
                  <a:pt x="215" y="239"/>
                  <a:pt x="118" y="239"/>
                </a:cubicBezTo>
                <a:cubicBezTo>
                  <a:pt x="118" y="142"/>
                  <a:pt x="71" y="55"/>
                  <a:pt x="0"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8"/>
          <p:cNvSpPr>
            <a:spLocks/>
          </p:cNvSpPr>
          <p:nvPr/>
        </p:nvSpPr>
        <p:spPr bwMode="auto">
          <a:xfrm rot="8100000">
            <a:off x="8306742" y="1635588"/>
            <a:ext cx="979488" cy="2903538"/>
          </a:xfrm>
          <a:custGeom>
            <a:avLst/>
            <a:gdLst>
              <a:gd name="T0" fmla="*/ 56 w 295"/>
              <a:gd name="T1" fmla="*/ 758 h 875"/>
              <a:gd name="T2" fmla="*/ 0 w 295"/>
              <a:gd name="T3" fmla="*/ 487 h 875"/>
              <a:gd name="T4" fmla="*/ 0 w 295"/>
              <a:gd name="T5" fmla="*/ 147 h 875"/>
              <a:gd name="T6" fmla="*/ 147 w 295"/>
              <a:gd name="T7" fmla="*/ 0 h 875"/>
              <a:gd name="T8" fmla="*/ 295 w 295"/>
              <a:gd name="T9" fmla="*/ 147 h 875"/>
              <a:gd name="T10" fmla="*/ 295 w 295"/>
              <a:gd name="T11" fmla="*/ 201 h 875"/>
              <a:gd name="T12" fmla="*/ 295 w 295"/>
              <a:gd name="T13" fmla="*/ 487 h 875"/>
              <a:gd name="T14" fmla="*/ 295 w 295"/>
              <a:gd name="T15" fmla="*/ 875 h 875"/>
              <a:gd name="T16" fmla="*/ 294 w 295"/>
              <a:gd name="T17" fmla="*/ 875 h 875"/>
              <a:gd name="T18" fmla="*/ 56 w 295"/>
              <a:gd name="T19" fmla="*/ 758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5" h="875">
                <a:moveTo>
                  <a:pt x="56" y="758"/>
                </a:moveTo>
                <a:cubicBezTo>
                  <a:pt x="20" y="675"/>
                  <a:pt x="0" y="584"/>
                  <a:pt x="0" y="487"/>
                </a:cubicBezTo>
                <a:cubicBezTo>
                  <a:pt x="0" y="147"/>
                  <a:pt x="0" y="147"/>
                  <a:pt x="0" y="147"/>
                </a:cubicBezTo>
                <a:cubicBezTo>
                  <a:pt x="0" y="66"/>
                  <a:pt x="66" y="0"/>
                  <a:pt x="147" y="0"/>
                </a:cubicBezTo>
                <a:cubicBezTo>
                  <a:pt x="229" y="0"/>
                  <a:pt x="295" y="66"/>
                  <a:pt x="295" y="147"/>
                </a:cubicBezTo>
                <a:cubicBezTo>
                  <a:pt x="295" y="201"/>
                  <a:pt x="295" y="201"/>
                  <a:pt x="295" y="201"/>
                </a:cubicBezTo>
                <a:cubicBezTo>
                  <a:pt x="295" y="487"/>
                  <a:pt x="295" y="487"/>
                  <a:pt x="295" y="487"/>
                </a:cubicBezTo>
                <a:cubicBezTo>
                  <a:pt x="295" y="875"/>
                  <a:pt x="295" y="875"/>
                  <a:pt x="295" y="875"/>
                </a:cubicBezTo>
                <a:cubicBezTo>
                  <a:pt x="294" y="875"/>
                  <a:pt x="294" y="875"/>
                  <a:pt x="294" y="875"/>
                </a:cubicBezTo>
                <a:cubicBezTo>
                  <a:pt x="197" y="875"/>
                  <a:pt x="111" y="830"/>
                  <a:pt x="56" y="758"/>
                </a:cubicBez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9"/>
          <p:cNvSpPr>
            <a:spLocks/>
          </p:cNvSpPr>
          <p:nvPr/>
        </p:nvSpPr>
        <p:spPr bwMode="auto">
          <a:xfrm rot="8100000">
            <a:off x="6830369" y="1528719"/>
            <a:ext cx="1184275" cy="1184275"/>
          </a:xfrm>
          <a:custGeom>
            <a:avLst/>
            <a:gdLst>
              <a:gd name="T0" fmla="*/ 357 w 357"/>
              <a:gd name="T1" fmla="*/ 357 h 357"/>
              <a:gd name="T2" fmla="*/ 0 w 357"/>
              <a:gd name="T3" fmla="*/ 0 h 357"/>
              <a:gd name="T4" fmla="*/ 238 w 357"/>
              <a:gd name="T5" fmla="*/ 117 h 357"/>
              <a:gd name="T6" fmla="*/ 357 w 357"/>
              <a:gd name="T7" fmla="*/ 357 h 357"/>
            </a:gdLst>
            <a:ahLst/>
            <a:cxnLst>
              <a:cxn ang="0">
                <a:pos x="T0" y="T1"/>
              </a:cxn>
              <a:cxn ang="0">
                <a:pos x="T2" y="T3"/>
              </a:cxn>
              <a:cxn ang="0">
                <a:pos x="T4" y="T5"/>
              </a:cxn>
              <a:cxn ang="0">
                <a:pos x="T6" y="T7"/>
              </a:cxn>
            </a:cxnLst>
            <a:rect l="0" t="0" r="r" b="b"/>
            <a:pathLst>
              <a:path w="357" h="357">
                <a:moveTo>
                  <a:pt x="357" y="357"/>
                </a:moveTo>
                <a:cubicBezTo>
                  <a:pt x="197" y="288"/>
                  <a:pt x="69" y="160"/>
                  <a:pt x="0" y="0"/>
                </a:cubicBezTo>
                <a:cubicBezTo>
                  <a:pt x="55" y="71"/>
                  <a:pt x="141" y="117"/>
                  <a:pt x="238" y="117"/>
                </a:cubicBezTo>
                <a:cubicBezTo>
                  <a:pt x="238" y="215"/>
                  <a:pt x="285" y="302"/>
                  <a:pt x="357" y="357"/>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11"/>
          <p:cNvSpPr>
            <a:spLocks/>
          </p:cNvSpPr>
          <p:nvPr/>
        </p:nvSpPr>
        <p:spPr bwMode="auto">
          <a:xfrm rot="8100000">
            <a:off x="5641057" y="2514874"/>
            <a:ext cx="981075" cy="981075"/>
          </a:xfrm>
          <a:custGeom>
            <a:avLst/>
            <a:gdLst>
              <a:gd name="T0" fmla="*/ 133 w 296"/>
              <a:gd name="T1" fmla="*/ 295 h 296"/>
              <a:gd name="T2" fmla="*/ 296 w 296"/>
              <a:gd name="T3" fmla="*/ 295 h 296"/>
              <a:gd name="T4" fmla="*/ 296 w 296"/>
              <a:gd name="T5" fmla="*/ 133 h 296"/>
              <a:gd name="T6" fmla="*/ 296 w 296"/>
              <a:gd name="T7" fmla="*/ 133 h 296"/>
              <a:gd name="T8" fmla="*/ 285 w 296"/>
              <a:gd name="T9" fmla="*/ 9 h 296"/>
              <a:gd name="T10" fmla="*/ 176 w 296"/>
              <a:gd name="T11" fmla="*/ 0 h 296"/>
              <a:gd name="T12" fmla="*/ 176 w 296"/>
              <a:gd name="T13" fmla="*/ 0 h 296"/>
              <a:gd name="T14" fmla="*/ 1 w 296"/>
              <a:gd name="T15" fmla="*/ 0 h 296"/>
              <a:gd name="T16" fmla="*/ 1 w 296"/>
              <a:gd name="T17" fmla="*/ 176 h 296"/>
              <a:gd name="T18" fmla="*/ 0 w 296"/>
              <a:gd name="T19" fmla="*/ 176 h 296"/>
              <a:gd name="T20" fmla="*/ 9 w 296"/>
              <a:gd name="T21" fmla="*/ 284 h 296"/>
              <a:gd name="T22" fmla="*/ 133 w 296"/>
              <a:gd name="T23" fmla="*/ 296 h 296"/>
              <a:gd name="T24" fmla="*/ 133 w 296"/>
              <a:gd name="T25" fmla="*/ 295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6" h="296">
                <a:moveTo>
                  <a:pt x="133" y="295"/>
                </a:moveTo>
                <a:cubicBezTo>
                  <a:pt x="296" y="295"/>
                  <a:pt x="296" y="295"/>
                  <a:pt x="296" y="295"/>
                </a:cubicBezTo>
                <a:cubicBezTo>
                  <a:pt x="296" y="133"/>
                  <a:pt x="296" y="133"/>
                  <a:pt x="296" y="133"/>
                </a:cubicBezTo>
                <a:cubicBezTo>
                  <a:pt x="296" y="133"/>
                  <a:pt x="296" y="133"/>
                  <a:pt x="296" y="133"/>
                </a:cubicBezTo>
                <a:cubicBezTo>
                  <a:pt x="296" y="90"/>
                  <a:pt x="292" y="49"/>
                  <a:pt x="285" y="9"/>
                </a:cubicBezTo>
                <a:cubicBezTo>
                  <a:pt x="249" y="3"/>
                  <a:pt x="213" y="0"/>
                  <a:pt x="176" y="0"/>
                </a:cubicBezTo>
                <a:cubicBezTo>
                  <a:pt x="176" y="0"/>
                  <a:pt x="176" y="0"/>
                  <a:pt x="176" y="0"/>
                </a:cubicBezTo>
                <a:cubicBezTo>
                  <a:pt x="1" y="0"/>
                  <a:pt x="1" y="0"/>
                  <a:pt x="1" y="0"/>
                </a:cubicBezTo>
                <a:cubicBezTo>
                  <a:pt x="1" y="176"/>
                  <a:pt x="1" y="176"/>
                  <a:pt x="1" y="176"/>
                </a:cubicBezTo>
                <a:cubicBezTo>
                  <a:pt x="0" y="176"/>
                  <a:pt x="0" y="176"/>
                  <a:pt x="0" y="176"/>
                </a:cubicBezTo>
                <a:cubicBezTo>
                  <a:pt x="0" y="213"/>
                  <a:pt x="3" y="249"/>
                  <a:pt x="9" y="284"/>
                </a:cubicBezTo>
                <a:cubicBezTo>
                  <a:pt x="49" y="292"/>
                  <a:pt x="91" y="296"/>
                  <a:pt x="133" y="296"/>
                </a:cubicBezTo>
                <a:lnTo>
                  <a:pt x="133" y="29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13"/>
          <p:cNvSpPr>
            <a:spLocks/>
          </p:cNvSpPr>
          <p:nvPr/>
        </p:nvSpPr>
        <p:spPr bwMode="auto">
          <a:xfrm rot="8100000">
            <a:off x="3000068" y="2516790"/>
            <a:ext cx="982663" cy="979488"/>
          </a:xfrm>
          <a:custGeom>
            <a:avLst/>
            <a:gdLst>
              <a:gd name="T0" fmla="*/ 296 w 296"/>
              <a:gd name="T1" fmla="*/ 123 h 295"/>
              <a:gd name="T2" fmla="*/ 284 w 296"/>
              <a:gd name="T3" fmla="*/ 0 h 295"/>
              <a:gd name="T4" fmla="*/ 123 w 296"/>
              <a:gd name="T5" fmla="*/ 0 h 295"/>
              <a:gd name="T6" fmla="*/ 0 w 296"/>
              <a:gd name="T7" fmla="*/ 0 h 295"/>
              <a:gd name="T8" fmla="*/ 0 w 296"/>
              <a:gd name="T9" fmla="*/ 123 h 295"/>
              <a:gd name="T10" fmla="*/ 0 w 296"/>
              <a:gd name="T11" fmla="*/ 284 h 295"/>
              <a:gd name="T12" fmla="*/ 123 w 296"/>
              <a:gd name="T13" fmla="*/ 295 h 295"/>
              <a:gd name="T14" fmla="*/ 296 w 296"/>
              <a:gd name="T15" fmla="*/ 295 h 295"/>
              <a:gd name="T16" fmla="*/ 296 w 296"/>
              <a:gd name="T17" fmla="*/ 12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295">
                <a:moveTo>
                  <a:pt x="296" y="123"/>
                </a:moveTo>
                <a:cubicBezTo>
                  <a:pt x="296" y="81"/>
                  <a:pt x="292" y="40"/>
                  <a:pt x="284" y="0"/>
                </a:cubicBezTo>
                <a:cubicBezTo>
                  <a:pt x="123" y="0"/>
                  <a:pt x="123" y="0"/>
                  <a:pt x="123" y="0"/>
                </a:cubicBezTo>
                <a:cubicBezTo>
                  <a:pt x="0" y="0"/>
                  <a:pt x="0" y="0"/>
                  <a:pt x="0" y="0"/>
                </a:cubicBezTo>
                <a:cubicBezTo>
                  <a:pt x="0" y="123"/>
                  <a:pt x="0" y="123"/>
                  <a:pt x="0" y="123"/>
                </a:cubicBezTo>
                <a:cubicBezTo>
                  <a:pt x="0" y="284"/>
                  <a:pt x="0" y="284"/>
                  <a:pt x="0" y="284"/>
                </a:cubicBezTo>
                <a:cubicBezTo>
                  <a:pt x="40" y="291"/>
                  <a:pt x="81" y="295"/>
                  <a:pt x="123" y="295"/>
                </a:cubicBezTo>
                <a:cubicBezTo>
                  <a:pt x="296" y="295"/>
                  <a:pt x="296" y="295"/>
                  <a:pt x="296" y="295"/>
                </a:cubicBezTo>
                <a:lnTo>
                  <a:pt x="296" y="123"/>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16"/>
          <p:cNvSpPr>
            <a:spLocks/>
          </p:cNvSpPr>
          <p:nvPr/>
        </p:nvSpPr>
        <p:spPr bwMode="auto">
          <a:xfrm rot="8100000">
            <a:off x="8225920" y="2515203"/>
            <a:ext cx="979488" cy="982663"/>
          </a:xfrm>
          <a:custGeom>
            <a:avLst/>
            <a:gdLst>
              <a:gd name="T0" fmla="*/ 295 w 295"/>
              <a:gd name="T1" fmla="*/ 163 h 296"/>
              <a:gd name="T2" fmla="*/ 295 w 295"/>
              <a:gd name="T3" fmla="*/ 13 h 296"/>
              <a:gd name="T4" fmla="*/ 163 w 295"/>
              <a:gd name="T5" fmla="*/ 0 h 296"/>
              <a:gd name="T6" fmla="*/ 0 w 295"/>
              <a:gd name="T7" fmla="*/ 0 h 296"/>
              <a:gd name="T8" fmla="*/ 0 w 295"/>
              <a:gd name="T9" fmla="*/ 163 h 296"/>
              <a:gd name="T10" fmla="*/ 13 w 295"/>
              <a:gd name="T11" fmla="*/ 296 h 296"/>
              <a:gd name="T12" fmla="*/ 163 w 295"/>
              <a:gd name="T13" fmla="*/ 296 h 296"/>
              <a:gd name="T14" fmla="*/ 295 w 295"/>
              <a:gd name="T15" fmla="*/ 296 h 296"/>
              <a:gd name="T16" fmla="*/ 295 w 295"/>
              <a:gd name="T17" fmla="*/ 163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5" h="296">
                <a:moveTo>
                  <a:pt x="295" y="163"/>
                </a:moveTo>
                <a:cubicBezTo>
                  <a:pt x="295" y="13"/>
                  <a:pt x="295" y="13"/>
                  <a:pt x="295" y="13"/>
                </a:cubicBezTo>
                <a:cubicBezTo>
                  <a:pt x="252" y="5"/>
                  <a:pt x="208" y="0"/>
                  <a:pt x="163" y="0"/>
                </a:cubicBezTo>
                <a:cubicBezTo>
                  <a:pt x="0" y="0"/>
                  <a:pt x="0" y="0"/>
                  <a:pt x="0" y="0"/>
                </a:cubicBezTo>
                <a:cubicBezTo>
                  <a:pt x="0" y="163"/>
                  <a:pt x="0" y="163"/>
                  <a:pt x="0" y="163"/>
                </a:cubicBezTo>
                <a:cubicBezTo>
                  <a:pt x="0" y="209"/>
                  <a:pt x="4" y="253"/>
                  <a:pt x="13" y="296"/>
                </a:cubicBezTo>
                <a:cubicBezTo>
                  <a:pt x="163" y="296"/>
                  <a:pt x="163" y="296"/>
                  <a:pt x="163" y="296"/>
                </a:cubicBezTo>
                <a:cubicBezTo>
                  <a:pt x="295" y="296"/>
                  <a:pt x="295" y="296"/>
                  <a:pt x="295" y="296"/>
                </a:cubicBezTo>
                <a:lnTo>
                  <a:pt x="295" y="16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Content Placeholder 2"/>
          <p:cNvSpPr txBox="1">
            <a:spLocks/>
          </p:cNvSpPr>
          <p:nvPr/>
        </p:nvSpPr>
        <p:spPr>
          <a:xfrm>
            <a:off x="2851443" y="3172435"/>
            <a:ext cx="1278106" cy="326467"/>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spcBef>
                <a:spcPts val="0"/>
              </a:spcBef>
              <a:spcAft>
                <a:spcPts val="0"/>
              </a:spcAft>
              <a:buClr>
                <a:srgbClr val="00B0F0">
                  <a:lumMod val="75000"/>
                </a:srgbClr>
              </a:buClr>
            </a:pPr>
            <a:r>
              <a:rPr lang="en-US" sz="1400" b="1" dirty="0">
                <a:solidFill>
                  <a:prstClr val="white"/>
                </a:solidFill>
                <a:ea typeface="Roboto" panose="02000000000000000000" pitchFamily="2" charset="0"/>
                <a:cs typeface="Arial" panose="020B0604020202020204" pitchFamily="34" charset="0"/>
              </a:rPr>
              <a:t>T</a:t>
            </a:r>
            <a:r>
              <a:rPr lang="en-US" altLang="zh-CN" sz="1400" b="1" dirty="0">
                <a:solidFill>
                  <a:prstClr val="white"/>
                </a:solidFill>
                <a:ea typeface="Roboto" panose="02000000000000000000" pitchFamily="2" charset="0"/>
                <a:cs typeface="Arial" panose="020B0604020202020204" pitchFamily="34" charset="0"/>
              </a:rPr>
              <a:t>itle</a:t>
            </a:r>
            <a:endParaRPr lang="en-US" sz="1100" b="1" dirty="0">
              <a:solidFill>
                <a:prstClr val="white"/>
              </a:solidFill>
              <a:ea typeface="Roboto" panose="02000000000000000000" pitchFamily="2" charset="0"/>
              <a:cs typeface="Arial" panose="020B0604020202020204" pitchFamily="34" charset="0"/>
            </a:endParaRPr>
          </a:p>
        </p:txBody>
      </p:sp>
      <p:sp>
        <p:nvSpPr>
          <p:cNvPr id="47" name="Content Placeholder 2"/>
          <p:cNvSpPr txBox="1">
            <a:spLocks/>
          </p:cNvSpPr>
          <p:nvPr/>
        </p:nvSpPr>
        <p:spPr>
          <a:xfrm>
            <a:off x="5489966" y="3148551"/>
            <a:ext cx="1278106" cy="326467"/>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spcBef>
                <a:spcPts val="0"/>
              </a:spcBef>
              <a:spcAft>
                <a:spcPts val="0"/>
              </a:spcAft>
              <a:buClr>
                <a:srgbClr val="00B0F0">
                  <a:lumMod val="75000"/>
                </a:srgbClr>
              </a:buClr>
            </a:pPr>
            <a:r>
              <a:rPr lang="en-US" sz="1400" b="1" dirty="0">
                <a:solidFill>
                  <a:prstClr val="white"/>
                </a:solidFill>
                <a:ea typeface="Roboto" panose="02000000000000000000" pitchFamily="2" charset="0"/>
                <a:cs typeface="Arial" panose="020B0604020202020204" pitchFamily="34" charset="0"/>
              </a:rPr>
              <a:t>T</a:t>
            </a:r>
            <a:r>
              <a:rPr lang="en-US" altLang="zh-CN" sz="1400" b="1" dirty="0">
                <a:solidFill>
                  <a:prstClr val="white"/>
                </a:solidFill>
                <a:ea typeface="Roboto" panose="02000000000000000000" pitchFamily="2" charset="0"/>
                <a:cs typeface="Arial" panose="020B0604020202020204" pitchFamily="34" charset="0"/>
              </a:rPr>
              <a:t>itle</a:t>
            </a:r>
            <a:endParaRPr lang="en-US" sz="1100" b="1" dirty="0">
              <a:solidFill>
                <a:prstClr val="white"/>
              </a:solidFill>
              <a:ea typeface="Roboto" panose="02000000000000000000" pitchFamily="2" charset="0"/>
              <a:cs typeface="Arial" panose="020B0604020202020204" pitchFamily="34" charset="0"/>
            </a:endParaRPr>
          </a:p>
        </p:txBody>
      </p:sp>
      <p:sp>
        <p:nvSpPr>
          <p:cNvPr id="48" name="Content Placeholder 2"/>
          <p:cNvSpPr txBox="1">
            <a:spLocks/>
          </p:cNvSpPr>
          <p:nvPr/>
        </p:nvSpPr>
        <p:spPr>
          <a:xfrm>
            <a:off x="8076611" y="3148551"/>
            <a:ext cx="1278106" cy="326467"/>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spcBef>
                <a:spcPts val="0"/>
              </a:spcBef>
              <a:spcAft>
                <a:spcPts val="0"/>
              </a:spcAft>
              <a:buClr>
                <a:srgbClr val="00B0F0">
                  <a:lumMod val="75000"/>
                </a:srgbClr>
              </a:buClr>
            </a:pPr>
            <a:r>
              <a:rPr lang="en-US" sz="1400" b="1" dirty="0">
                <a:solidFill>
                  <a:prstClr val="white"/>
                </a:solidFill>
                <a:ea typeface="Roboto" panose="02000000000000000000" pitchFamily="2" charset="0"/>
                <a:cs typeface="Arial" panose="020B0604020202020204" pitchFamily="34" charset="0"/>
              </a:rPr>
              <a:t>T</a:t>
            </a:r>
            <a:r>
              <a:rPr lang="en-US" altLang="zh-CN" sz="1400" b="1" dirty="0">
                <a:solidFill>
                  <a:prstClr val="white"/>
                </a:solidFill>
                <a:ea typeface="Roboto" panose="02000000000000000000" pitchFamily="2" charset="0"/>
                <a:cs typeface="Arial" panose="020B0604020202020204" pitchFamily="34" charset="0"/>
              </a:rPr>
              <a:t>itle</a:t>
            </a:r>
            <a:endParaRPr lang="en-US" sz="1100" b="1" dirty="0">
              <a:solidFill>
                <a:prstClr val="white"/>
              </a:solidFill>
              <a:ea typeface="Roboto" panose="02000000000000000000" pitchFamily="2" charset="0"/>
              <a:cs typeface="Arial" panose="020B0604020202020204" pitchFamily="34" charset="0"/>
            </a:endParaRPr>
          </a:p>
        </p:txBody>
      </p:sp>
      <p:sp>
        <p:nvSpPr>
          <p:cNvPr id="49" name="TextBox 53"/>
          <p:cNvSpPr txBox="1"/>
          <p:nvPr/>
        </p:nvSpPr>
        <p:spPr>
          <a:xfrm>
            <a:off x="1045923" y="4614691"/>
            <a:ext cx="10118500" cy="682682"/>
          </a:xfrm>
          <a:prstGeom prst="rect">
            <a:avLst/>
          </a:prstGeom>
          <a:noFill/>
        </p:spPr>
        <p:txBody>
          <a:bodyPr wrap="square" rIns="144000" bIns="36000" numCol="1" spcCol="360000">
            <a:spAutoFit/>
          </a:bodyPr>
          <a:lstStyle/>
          <a:p>
            <a:pPr algn="ctr"/>
            <a:r>
              <a:rPr lang="en-US" sz="1300" dirty="0"/>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68" name="Freeform 650"/>
          <p:cNvSpPr>
            <a:spLocks noEditPoints="1"/>
          </p:cNvSpPr>
          <p:nvPr/>
        </p:nvSpPr>
        <p:spPr bwMode="auto">
          <a:xfrm>
            <a:off x="3287185" y="2583863"/>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69" name="Freeform 650"/>
          <p:cNvSpPr>
            <a:spLocks noEditPoints="1"/>
          </p:cNvSpPr>
          <p:nvPr/>
        </p:nvSpPr>
        <p:spPr bwMode="auto">
          <a:xfrm>
            <a:off x="5921858" y="2540738"/>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70" name="Freeform 650"/>
          <p:cNvSpPr>
            <a:spLocks noEditPoints="1"/>
          </p:cNvSpPr>
          <p:nvPr/>
        </p:nvSpPr>
        <p:spPr bwMode="auto">
          <a:xfrm>
            <a:off x="8506928" y="2549557"/>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custDataLst>
      <p:tags r:id="rId1"/>
    </p:custDataLst>
    <p:extLst>
      <p:ext uri="{BB962C8B-B14F-4D97-AF65-F5344CB8AC3E}">
        <p14:creationId xmlns:p14="http://schemas.microsoft.com/office/powerpoint/2010/main" val="190228152"/>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7">
            <a:extLst>
              <a:ext uri="{FF2B5EF4-FFF2-40B4-BE49-F238E27FC236}">
                <a16:creationId xmlns:a16="http://schemas.microsoft.com/office/drawing/2014/main" id="{89BA834D-5263-421F-85ED-E43FFD0E84FD}"/>
              </a:ext>
            </a:extLst>
          </p:cNvPr>
          <p:cNvSpPr txBox="1">
            <a:spLocks noChangeArrowheads="1"/>
          </p:cNvSpPr>
          <p:nvPr/>
        </p:nvSpPr>
        <p:spPr bwMode="auto">
          <a:xfrm>
            <a:off x="488180" y="1683223"/>
            <a:ext cx="8337176" cy="353943"/>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rgbClr val="FFFFFF"/>
                </a:solidFill>
                <a:latin typeface="+mj-lt"/>
                <a:ea typeface="Open Sans" pitchFamily="34" charset="0"/>
                <a:cs typeface="Open Sans" pitchFamily="34" charset="0"/>
              </a:rPr>
              <a:t>This is dummy text it is not here </a:t>
            </a:r>
            <a:endParaRPr lang="en-CA" sz="2000" b="1" dirty="0">
              <a:solidFill>
                <a:srgbClr val="FFFFFF"/>
              </a:solidFill>
              <a:latin typeface="+mj-lt"/>
              <a:ea typeface="Open Sans" pitchFamily="34" charset="0"/>
              <a:cs typeface="Open Sans" pitchFamily="34" charset="0"/>
            </a:endParaRPr>
          </a:p>
        </p:txBody>
      </p:sp>
      <p:sp>
        <p:nvSpPr>
          <p:cNvPr id="23" name="Freeform 6">
            <a:extLst>
              <a:ext uri="{FF2B5EF4-FFF2-40B4-BE49-F238E27FC236}">
                <a16:creationId xmlns:a16="http://schemas.microsoft.com/office/drawing/2014/main" id="{D18E59D3-BC9C-4A91-B3E1-2D10AE9E1BD4}"/>
              </a:ext>
            </a:extLst>
          </p:cNvPr>
          <p:cNvSpPr>
            <a:spLocks noEditPoints="1"/>
          </p:cNvSpPr>
          <p:nvPr/>
        </p:nvSpPr>
        <p:spPr bwMode="auto">
          <a:xfrm>
            <a:off x="3116572" y="6018781"/>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4" name="Freeform 6">
            <a:extLst>
              <a:ext uri="{FF2B5EF4-FFF2-40B4-BE49-F238E27FC236}">
                <a16:creationId xmlns:a16="http://schemas.microsoft.com/office/drawing/2014/main" id="{FAF20691-DB54-4313-AD38-730DAFD859A2}"/>
              </a:ext>
            </a:extLst>
          </p:cNvPr>
          <p:cNvSpPr>
            <a:spLocks noEditPoints="1"/>
          </p:cNvSpPr>
          <p:nvPr/>
        </p:nvSpPr>
        <p:spPr bwMode="auto">
          <a:xfrm>
            <a:off x="5189919" y="6043674"/>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5" name="Freeform 6">
            <a:extLst>
              <a:ext uri="{FF2B5EF4-FFF2-40B4-BE49-F238E27FC236}">
                <a16:creationId xmlns:a16="http://schemas.microsoft.com/office/drawing/2014/main" id="{5AE92771-B930-4E44-9A09-9A51AB72DB87}"/>
              </a:ext>
            </a:extLst>
          </p:cNvPr>
          <p:cNvSpPr>
            <a:spLocks noEditPoints="1"/>
          </p:cNvSpPr>
          <p:nvPr/>
        </p:nvSpPr>
        <p:spPr bwMode="auto">
          <a:xfrm>
            <a:off x="4882281" y="6153850"/>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A7A8A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Freeform 6">
            <a:extLst>
              <a:ext uri="{FF2B5EF4-FFF2-40B4-BE49-F238E27FC236}">
                <a16:creationId xmlns:a16="http://schemas.microsoft.com/office/drawing/2014/main" id="{B1BC9DE3-C01D-4CB8-823E-DD88314650CE}"/>
              </a:ext>
            </a:extLst>
          </p:cNvPr>
          <p:cNvSpPr>
            <a:spLocks noEditPoints="1"/>
          </p:cNvSpPr>
          <p:nvPr/>
        </p:nvSpPr>
        <p:spPr bwMode="auto">
          <a:xfrm>
            <a:off x="2642616" y="5180317"/>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A7A8A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Freeform 6">
            <a:extLst>
              <a:ext uri="{FF2B5EF4-FFF2-40B4-BE49-F238E27FC236}">
                <a16:creationId xmlns:a16="http://schemas.microsoft.com/office/drawing/2014/main" id="{7F44D719-406E-4F53-9C1F-6F2F21253568}"/>
              </a:ext>
            </a:extLst>
          </p:cNvPr>
          <p:cNvSpPr>
            <a:spLocks noEditPoints="1"/>
          </p:cNvSpPr>
          <p:nvPr/>
        </p:nvSpPr>
        <p:spPr bwMode="auto">
          <a:xfrm>
            <a:off x="1903392" y="4525404"/>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Freeform 6">
            <a:extLst>
              <a:ext uri="{FF2B5EF4-FFF2-40B4-BE49-F238E27FC236}">
                <a16:creationId xmlns:a16="http://schemas.microsoft.com/office/drawing/2014/main" id="{649B1FE6-03E2-4A10-8F22-093A4F3B4DDE}"/>
              </a:ext>
            </a:extLst>
          </p:cNvPr>
          <p:cNvSpPr>
            <a:spLocks noEditPoints="1"/>
          </p:cNvSpPr>
          <p:nvPr/>
        </p:nvSpPr>
        <p:spPr bwMode="auto">
          <a:xfrm>
            <a:off x="5511846" y="6166322"/>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Freeform 6">
            <a:extLst>
              <a:ext uri="{FF2B5EF4-FFF2-40B4-BE49-F238E27FC236}">
                <a16:creationId xmlns:a16="http://schemas.microsoft.com/office/drawing/2014/main" id="{54348D72-0824-4918-BFD0-AD635C85F757}"/>
              </a:ext>
            </a:extLst>
          </p:cNvPr>
          <p:cNvSpPr>
            <a:spLocks noEditPoints="1"/>
          </p:cNvSpPr>
          <p:nvPr/>
        </p:nvSpPr>
        <p:spPr bwMode="auto">
          <a:xfrm>
            <a:off x="2542838" y="6098633"/>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Freeform 6">
            <a:extLst>
              <a:ext uri="{FF2B5EF4-FFF2-40B4-BE49-F238E27FC236}">
                <a16:creationId xmlns:a16="http://schemas.microsoft.com/office/drawing/2014/main" id="{A36A2BAD-F298-4EA0-AA91-AF350B830F13}"/>
              </a:ext>
            </a:extLst>
          </p:cNvPr>
          <p:cNvSpPr>
            <a:spLocks noEditPoints="1"/>
          </p:cNvSpPr>
          <p:nvPr/>
        </p:nvSpPr>
        <p:spPr bwMode="auto">
          <a:xfrm>
            <a:off x="621888" y="4924197"/>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Freeform 6">
            <a:extLst>
              <a:ext uri="{FF2B5EF4-FFF2-40B4-BE49-F238E27FC236}">
                <a16:creationId xmlns:a16="http://schemas.microsoft.com/office/drawing/2014/main" id="{F11B48B5-8D70-46E6-A625-95F58ED6F9FA}"/>
              </a:ext>
            </a:extLst>
          </p:cNvPr>
          <p:cNvSpPr>
            <a:spLocks noEditPoints="1"/>
          </p:cNvSpPr>
          <p:nvPr/>
        </p:nvSpPr>
        <p:spPr bwMode="auto">
          <a:xfrm>
            <a:off x="4329594" y="5522847"/>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Freeform 6">
            <a:extLst>
              <a:ext uri="{FF2B5EF4-FFF2-40B4-BE49-F238E27FC236}">
                <a16:creationId xmlns:a16="http://schemas.microsoft.com/office/drawing/2014/main" id="{46A37E1B-C000-451E-B72C-7160BAEE31F7}"/>
              </a:ext>
            </a:extLst>
          </p:cNvPr>
          <p:cNvSpPr>
            <a:spLocks noEditPoints="1"/>
          </p:cNvSpPr>
          <p:nvPr/>
        </p:nvSpPr>
        <p:spPr bwMode="auto">
          <a:xfrm>
            <a:off x="10725000" y="2284824"/>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Freeform 6">
            <a:extLst>
              <a:ext uri="{FF2B5EF4-FFF2-40B4-BE49-F238E27FC236}">
                <a16:creationId xmlns:a16="http://schemas.microsoft.com/office/drawing/2014/main" id="{D97165B7-D068-468B-8766-7CF8CAAC703B}"/>
              </a:ext>
            </a:extLst>
          </p:cNvPr>
          <p:cNvSpPr>
            <a:spLocks noEditPoints="1"/>
          </p:cNvSpPr>
          <p:nvPr/>
        </p:nvSpPr>
        <p:spPr bwMode="auto">
          <a:xfrm>
            <a:off x="1456188" y="5951621"/>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 name="Freeform 6">
            <a:extLst>
              <a:ext uri="{FF2B5EF4-FFF2-40B4-BE49-F238E27FC236}">
                <a16:creationId xmlns:a16="http://schemas.microsoft.com/office/drawing/2014/main" id="{35A3D510-2E74-4B6E-BB20-C3FD7F2E2A07}"/>
              </a:ext>
            </a:extLst>
          </p:cNvPr>
          <p:cNvSpPr>
            <a:spLocks noEditPoints="1"/>
          </p:cNvSpPr>
          <p:nvPr/>
        </p:nvSpPr>
        <p:spPr bwMode="auto">
          <a:xfrm>
            <a:off x="1171286" y="5133022"/>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 name="Freeform 6">
            <a:extLst>
              <a:ext uri="{FF2B5EF4-FFF2-40B4-BE49-F238E27FC236}">
                <a16:creationId xmlns:a16="http://schemas.microsoft.com/office/drawing/2014/main" id="{3705ECDB-8C8A-4ED2-B415-E1818EB40DBE}"/>
              </a:ext>
            </a:extLst>
          </p:cNvPr>
          <p:cNvSpPr>
            <a:spLocks noEditPoints="1"/>
          </p:cNvSpPr>
          <p:nvPr/>
        </p:nvSpPr>
        <p:spPr bwMode="auto">
          <a:xfrm>
            <a:off x="11347544" y="2457748"/>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9" name="Rounded Rectangle 106">
            <a:extLst>
              <a:ext uri="{FF2B5EF4-FFF2-40B4-BE49-F238E27FC236}">
                <a16:creationId xmlns:a16="http://schemas.microsoft.com/office/drawing/2014/main" id="{78971FF5-C3EC-45C8-8E58-3E037FB32E40}"/>
              </a:ext>
            </a:extLst>
          </p:cNvPr>
          <p:cNvSpPr/>
          <p:nvPr/>
        </p:nvSpPr>
        <p:spPr>
          <a:xfrm>
            <a:off x="488181" y="2215838"/>
            <a:ext cx="9150762" cy="1057457"/>
          </a:xfrm>
          <a:prstGeom prst="snip2DiagRect">
            <a:avLst/>
          </a:prstGeom>
          <a:no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0" name="Text Box 10">
            <a:extLst>
              <a:ext uri="{FF2B5EF4-FFF2-40B4-BE49-F238E27FC236}">
                <a16:creationId xmlns:a16="http://schemas.microsoft.com/office/drawing/2014/main" id="{6F9D2D40-0820-4B6F-99C2-A109018D9485}"/>
              </a:ext>
            </a:extLst>
          </p:cNvPr>
          <p:cNvSpPr txBox="1">
            <a:spLocks noChangeArrowheads="1"/>
          </p:cNvSpPr>
          <p:nvPr/>
        </p:nvSpPr>
        <p:spPr bwMode="auto">
          <a:xfrm>
            <a:off x="613943" y="2341601"/>
            <a:ext cx="8631299" cy="553998"/>
          </a:xfrm>
          <a:prstGeom prst="rect">
            <a:avLst/>
          </a:prstGeom>
          <a:noFill/>
          <a:ln w="9525">
            <a:noFill/>
            <a:miter lim="800000"/>
            <a:headEnd/>
            <a:tailEnd/>
          </a:ln>
        </p:spPr>
        <p:txBody>
          <a:bodyPr wrap="square" lIns="45720" tIns="22860" rIns="45720" bIns="22860">
            <a:spAutoFit/>
          </a:bodyPr>
          <a:lstStyle/>
          <a:p>
            <a:pPr defTabSz="1088232"/>
            <a:r>
              <a:rPr lang="en-US" altLang="zh-CN" sz="1100" dirty="0">
                <a:solidFill>
                  <a:srgbClr val="FFFFFF"/>
                </a:solidFill>
                <a:latin typeface="+mj-lt"/>
                <a:ea typeface="Open Sans" pitchFamily="34" charset="0"/>
                <a:cs typeface="Open Sans" pitchFamily="34" charset="0"/>
              </a:rPr>
              <a:t>This is dummy text it is not here to be read it is here to show how this document will </a:t>
            </a:r>
            <a:r>
              <a:rPr lang="en-US" altLang="zh-CN" sz="1100" dirty="0" err="1">
                <a:solidFill>
                  <a:srgbClr val="FFFFFF"/>
                </a:solidFill>
                <a:latin typeface="+mj-lt"/>
                <a:ea typeface="Open Sans" pitchFamily="34" charset="0"/>
                <a:cs typeface="Open Sans" pitchFamily="34" charset="0"/>
              </a:rPr>
              <a:t>lookthis</a:t>
            </a:r>
            <a:r>
              <a:rPr lang="en-US" altLang="zh-CN" sz="1100" dirty="0">
                <a:solidFill>
                  <a:srgbClr val="FFFFFF"/>
                </a:solidFill>
                <a:latin typeface="+mj-lt"/>
                <a:ea typeface="Open Sans" pitchFamily="34" charset="0"/>
                <a:cs typeface="Open Sans" pitchFamily="34" charset="0"/>
              </a:rPr>
              <a:t> is dummy text it is not here to be read it is here to show how this document will </a:t>
            </a:r>
            <a:r>
              <a:rPr lang="en-US" altLang="zh-CN" sz="1100" dirty="0" err="1">
                <a:solidFill>
                  <a:srgbClr val="FFFFFF"/>
                </a:solidFill>
                <a:latin typeface="+mj-lt"/>
                <a:ea typeface="Open Sans" pitchFamily="34" charset="0"/>
                <a:cs typeface="Open Sans" pitchFamily="34" charset="0"/>
              </a:rPr>
              <a:t>lookthis</a:t>
            </a:r>
            <a:r>
              <a:rPr lang="en-US" altLang="zh-CN" sz="1100" dirty="0">
                <a:solidFill>
                  <a:srgbClr val="FFFFFF"/>
                </a:solidFill>
                <a:latin typeface="+mj-lt"/>
                <a:ea typeface="Open Sans" pitchFamily="34" charset="0"/>
                <a:cs typeface="Open Sans" pitchFamily="34" charset="0"/>
              </a:rPr>
              <a:t> is dummy text it is not here to be</a:t>
            </a:r>
          </a:p>
          <a:p>
            <a:pPr defTabSz="1088232"/>
            <a:endParaRPr lang="en-US" altLang="zh-CN" sz="1100" dirty="0">
              <a:solidFill>
                <a:srgbClr val="FFFFFF"/>
              </a:solidFill>
              <a:latin typeface="+mj-lt"/>
              <a:ea typeface="Open Sans" pitchFamily="34" charset="0"/>
              <a:cs typeface="Open Sans" pitchFamily="34" charset="0"/>
            </a:endParaRPr>
          </a:p>
        </p:txBody>
      </p:sp>
      <p:sp>
        <p:nvSpPr>
          <p:cNvPr id="101" name="Text Box 10">
            <a:extLst>
              <a:ext uri="{FF2B5EF4-FFF2-40B4-BE49-F238E27FC236}">
                <a16:creationId xmlns:a16="http://schemas.microsoft.com/office/drawing/2014/main" id="{BAAA9039-128E-478A-B909-8E51FE5403CC}"/>
              </a:ext>
            </a:extLst>
          </p:cNvPr>
          <p:cNvSpPr txBox="1">
            <a:spLocks noChangeArrowheads="1"/>
          </p:cNvSpPr>
          <p:nvPr/>
        </p:nvSpPr>
        <p:spPr bwMode="auto">
          <a:xfrm>
            <a:off x="613943" y="2780407"/>
            <a:ext cx="8985620" cy="384721"/>
          </a:xfrm>
          <a:prstGeom prst="rect">
            <a:avLst/>
          </a:prstGeom>
          <a:noFill/>
          <a:ln w="9525">
            <a:noFill/>
            <a:miter lim="800000"/>
            <a:headEnd/>
            <a:tailEnd/>
          </a:ln>
        </p:spPr>
        <p:txBody>
          <a:bodyPr wrap="square" lIns="45720" tIns="22860" rIns="45720" bIns="22860">
            <a:spAutoFit/>
          </a:bodyPr>
          <a:lstStyle/>
          <a:p>
            <a:pPr defTabSz="1088232"/>
            <a:r>
              <a:rPr lang="en-US" altLang="zh-CN" sz="1100" i="1" dirty="0">
                <a:solidFill>
                  <a:srgbClr val="86BC25"/>
                </a:solidFill>
                <a:latin typeface="+mj-lt"/>
                <a:ea typeface="Open Sans" pitchFamily="34" charset="0"/>
                <a:cs typeface="Open Sans" pitchFamily="34" charset="0"/>
              </a:rPr>
              <a:t>Read it is here to show how this document  Will look this is dummy text it is not here to be read it is here to show how this document will look this is</a:t>
            </a:r>
          </a:p>
          <a:p>
            <a:pPr defTabSz="1088232"/>
            <a:r>
              <a:rPr lang="en-US" altLang="zh-CN" sz="1100" i="1" dirty="0">
                <a:solidFill>
                  <a:srgbClr val="86BC25"/>
                </a:solidFill>
                <a:latin typeface="+mj-lt"/>
                <a:ea typeface="Open Sans" pitchFamily="34" charset="0"/>
                <a:cs typeface="Open Sans" pitchFamily="34" charset="0"/>
              </a:rPr>
              <a:t> Dummy text it is not here to be read it is here to show how this document will look</a:t>
            </a:r>
            <a:endParaRPr lang="en-US" sz="1100" i="1" dirty="0">
              <a:solidFill>
                <a:srgbClr val="86BC25"/>
              </a:solidFill>
              <a:latin typeface="+mj-lt"/>
              <a:ea typeface="Open Sans" pitchFamily="34" charset="0"/>
              <a:cs typeface="Open Sans" pitchFamily="34" charset="0"/>
            </a:endParaRPr>
          </a:p>
        </p:txBody>
      </p:sp>
      <p:grpSp>
        <p:nvGrpSpPr>
          <p:cNvPr id="106" name="组合 105">
            <a:extLst>
              <a:ext uri="{FF2B5EF4-FFF2-40B4-BE49-F238E27FC236}">
                <a16:creationId xmlns:a16="http://schemas.microsoft.com/office/drawing/2014/main" id="{7968E9AA-FB55-402D-AF10-AFB6FB43F6FC}"/>
              </a:ext>
            </a:extLst>
          </p:cNvPr>
          <p:cNvGrpSpPr/>
          <p:nvPr/>
        </p:nvGrpSpPr>
        <p:grpSpPr>
          <a:xfrm>
            <a:off x="3273768" y="3535312"/>
            <a:ext cx="4046097" cy="1210320"/>
            <a:chOff x="3201313" y="4298205"/>
            <a:chExt cx="4046097" cy="1210320"/>
          </a:xfrm>
        </p:grpSpPr>
        <p:sp>
          <p:nvSpPr>
            <p:cNvPr id="102" name="Text Box 10">
              <a:extLst>
                <a:ext uri="{FF2B5EF4-FFF2-40B4-BE49-F238E27FC236}">
                  <a16:creationId xmlns:a16="http://schemas.microsoft.com/office/drawing/2014/main" id="{5ABD9FEA-D33F-4A46-9099-93F341358E65}"/>
                </a:ext>
              </a:extLst>
            </p:cNvPr>
            <p:cNvSpPr txBox="1">
              <a:spLocks noChangeArrowheads="1"/>
            </p:cNvSpPr>
            <p:nvPr/>
          </p:nvSpPr>
          <p:spPr bwMode="auto">
            <a:xfrm>
              <a:off x="3378736" y="4368790"/>
              <a:ext cx="3697631" cy="892552"/>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a:solidFill>
                    <a:srgbClr val="43B02A"/>
                  </a:solidFill>
                  <a:ea typeface="Open Sans" pitchFamily="34" charset="0"/>
                  <a:cs typeface="Open Sans" pitchFamily="34" charset="0"/>
                </a:rPr>
                <a:t>This is dummy text it is not here </a:t>
              </a:r>
            </a:p>
            <a:p>
              <a:pPr defTabSz="1088232"/>
              <a:r>
                <a:rPr lang="en-US" altLang="zh-CN" sz="1100" dirty="0">
                  <a:solidFill>
                    <a:srgbClr val="FFFFFF"/>
                  </a:solidFill>
                  <a:ea typeface="Open Sans" pitchFamily="34" charset="0"/>
                  <a:cs typeface="Open Sans" pitchFamily="34" charset="0"/>
                </a:rPr>
                <a:t>This is dummy text it is not here to be read it is here to show how this document will look this is dummy text it is not here to be read it is here to show how this document will </a:t>
              </a:r>
              <a:r>
                <a:rPr lang="en-US" altLang="zh-CN" sz="1100" dirty="0" err="1">
                  <a:solidFill>
                    <a:srgbClr val="FFFFFF"/>
                  </a:solidFill>
                  <a:ea typeface="Open Sans" pitchFamily="34" charset="0"/>
                  <a:cs typeface="Open Sans" pitchFamily="34" charset="0"/>
                </a:rPr>
                <a:t>lookthis</a:t>
              </a:r>
              <a:r>
                <a:rPr lang="en-US" altLang="zh-CN" sz="1100" dirty="0">
                  <a:solidFill>
                    <a:srgbClr val="FFFFFF"/>
                  </a:solidFill>
                  <a:ea typeface="Open Sans" pitchFamily="34" charset="0"/>
                  <a:cs typeface="Open Sans" pitchFamily="34" charset="0"/>
                </a:rPr>
                <a:t> is dummy text it is not here to be</a:t>
              </a:r>
            </a:p>
          </p:txBody>
        </p:sp>
        <p:sp>
          <p:nvSpPr>
            <p:cNvPr id="105" name="Rounded Rectangle 106">
              <a:extLst>
                <a:ext uri="{FF2B5EF4-FFF2-40B4-BE49-F238E27FC236}">
                  <a16:creationId xmlns:a16="http://schemas.microsoft.com/office/drawing/2014/main" id="{5EDA49B6-2B03-4349-ABB7-8B06D9661E92}"/>
                </a:ext>
              </a:extLst>
            </p:cNvPr>
            <p:cNvSpPr/>
            <p:nvPr/>
          </p:nvSpPr>
          <p:spPr>
            <a:xfrm>
              <a:off x="3201313" y="4298205"/>
              <a:ext cx="4046097" cy="1210320"/>
            </a:xfrm>
            <a:prstGeom prst="snipRoundRect">
              <a:avLst>
                <a:gd name="adj1" fmla="val 0"/>
                <a:gd name="adj2" fmla="val 16667"/>
              </a:avLst>
            </a:prstGeom>
            <a:noFill/>
            <a:ln w="1905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grpSp>
      <p:grpSp>
        <p:nvGrpSpPr>
          <p:cNvPr id="107" name="组合 106">
            <a:extLst>
              <a:ext uri="{FF2B5EF4-FFF2-40B4-BE49-F238E27FC236}">
                <a16:creationId xmlns:a16="http://schemas.microsoft.com/office/drawing/2014/main" id="{A487660C-FBC7-49DB-8A9B-BA99B01EDC78}"/>
              </a:ext>
            </a:extLst>
          </p:cNvPr>
          <p:cNvGrpSpPr/>
          <p:nvPr/>
        </p:nvGrpSpPr>
        <p:grpSpPr>
          <a:xfrm>
            <a:off x="7567419" y="3516262"/>
            <a:ext cx="4046097" cy="2700336"/>
            <a:chOff x="3201313" y="4298205"/>
            <a:chExt cx="4046097" cy="2700336"/>
          </a:xfrm>
        </p:grpSpPr>
        <p:sp>
          <p:nvSpPr>
            <p:cNvPr id="108" name="Text Box 10">
              <a:extLst>
                <a:ext uri="{FF2B5EF4-FFF2-40B4-BE49-F238E27FC236}">
                  <a16:creationId xmlns:a16="http://schemas.microsoft.com/office/drawing/2014/main" id="{A01369A3-CBFA-4E34-BFFE-905790499BC6}"/>
                </a:ext>
              </a:extLst>
            </p:cNvPr>
            <p:cNvSpPr txBox="1">
              <a:spLocks noChangeArrowheads="1"/>
            </p:cNvSpPr>
            <p:nvPr/>
          </p:nvSpPr>
          <p:spPr bwMode="auto">
            <a:xfrm>
              <a:off x="3378736" y="4368790"/>
              <a:ext cx="3697631" cy="2585323"/>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a:solidFill>
                    <a:schemeClr val="accent3"/>
                  </a:solidFill>
                  <a:ea typeface="Open Sans" pitchFamily="34" charset="0"/>
                  <a:cs typeface="Open Sans" pitchFamily="34" charset="0"/>
                </a:rPr>
                <a:t>This is dummy text it is not here </a:t>
              </a:r>
            </a:p>
            <a:p>
              <a:pPr defTabSz="1088232"/>
              <a:r>
                <a:rPr lang="en-US" altLang="zh-CN" sz="1100" dirty="0">
                  <a:solidFill>
                    <a:srgbClr val="FFFFFF"/>
                  </a:solidFill>
                  <a:ea typeface="Open Sans" pitchFamily="34" charset="0"/>
                  <a:cs typeface="Open Sans" pitchFamily="34" charset="0"/>
                </a:rPr>
                <a:t>This is dummy text it is not here to be read it is here to show how this document will look this is dummy text it is not here to be read it is here to show how this document will look this is dummy text it is not here to be</a:t>
              </a:r>
            </a:p>
            <a:p>
              <a:pPr defTabSz="1088232"/>
              <a:endParaRPr lang="en-US" altLang="zh-CN" sz="1100" dirty="0">
                <a:solidFill>
                  <a:srgbClr val="FFFFFF"/>
                </a:solidFill>
                <a:ea typeface="Open Sans" pitchFamily="34" charset="0"/>
                <a:cs typeface="Open Sans" pitchFamily="34" charset="0"/>
              </a:endParaRPr>
            </a:p>
            <a:p>
              <a:pPr defTabSz="1088232"/>
              <a:r>
                <a:rPr lang="en-US" altLang="zh-CN" sz="1100" dirty="0">
                  <a:solidFill>
                    <a:srgbClr val="FFFFFF"/>
                  </a:solidFill>
                  <a:ea typeface="Open Sans" pitchFamily="34" charset="0"/>
                  <a:cs typeface="Open Sans" pitchFamily="34" charset="0"/>
                </a:rPr>
                <a:t>This is dummy text it is not here to be read it is here to show how this document will </a:t>
              </a:r>
              <a:r>
                <a:rPr lang="en-US" altLang="zh-CN" sz="1100" dirty="0" err="1">
                  <a:solidFill>
                    <a:srgbClr val="FFFFFF"/>
                  </a:solidFill>
                  <a:ea typeface="Open Sans" pitchFamily="34" charset="0"/>
                  <a:cs typeface="Open Sans" pitchFamily="34" charset="0"/>
                </a:rPr>
                <a:t>lookthis</a:t>
              </a:r>
              <a:r>
                <a:rPr lang="en-US" altLang="zh-CN" sz="1100" dirty="0">
                  <a:solidFill>
                    <a:srgbClr val="FFFFFF"/>
                  </a:solidFill>
                  <a:ea typeface="Open Sans" pitchFamily="34" charset="0"/>
                  <a:cs typeface="Open Sans" pitchFamily="34" charset="0"/>
                </a:rPr>
                <a:t> is dummy text it is not here to be read it is here to show how this document will </a:t>
              </a:r>
              <a:r>
                <a:rPr lang="en-US" altLang="zh-CN" sz="1100" dirty="0" err="1">
                  <a:solidFill>
                    <a:srgbClr val="FFFFFF"/>
                  </a:solidFill>
                  <a:ea typeface="Open Sans" pitchFamily="34" charset="0"/>
                  <a:cs typeface="Open Sans" pitchFamily="34" charset="0"/>
                </a:rPr>
                <a:t>lookthis</a:t>
              </a:r>
              <a:r>
                <a:rPr lang="en-US" altLang="zh-CN" sz="1100" dirty="0">
                  <a:solidFill>
                    <a:srgbClr val="FFFFFF"/>
                  </a:solidFill>
                  <a:ea typeface="Open Sans" pitchFamily="34" charset="0"/>
                  <a:cs typeface="Open Sans" pitchFamily="34" charset="0"/>
                </a:rPr>
                <a:t> is dummy text it is not here to be</a:t>
              </a:r>
            </a:p>
            <a:p>
              <a:pPr defTabSz="1088232"/>
              <a:endParaRPr lang="en-US" altLang="zh-CN" sz="1100" dirty="0">
                <a:solidFill>
                  <a:srgbClr val="FFFFFF"/>
                </a:solidFill>
                <a:ea typeface="Open Sans" pitchFamily="34" charset="0"/>
                <a:cs typeface="Open Sans" pitchFamily="34" charset="0"/>
              </a:endParaRPr>
            </a:p>
            <a:p>
              <a:pPr defTabSz="1088232"/>
              <a:r>
                <a:rPr lang="en-US" altLang="zh-CN" sz="1100" dirty="0">
                  <a:solidFill>
                    <a:srgbClr val="FFFFFF"/>
                  </a:solidFill>
                  <a:ea typeface="Open Sans" pitchFamily="34" charset="0"/>
                  <a:cs typeface="Open Sans" pitchFamily="34" charset="0"/>
                </a:rPr>
                <a:t>This is dummy text it is not here to be read it is here to show how this document will </a:t>
              </a:r>
              <a:r>
                <a:rPr lang="en-US" altLang="zh-CN" sz="1100" dirty="0" err="1">
                  <a:solidFill>
                    <a:srgbClr val="FFFFFF"/>
                  </a:solidFill>
                  <a:ea typeface="Open Sans" pitchFamily="34" charset="0"/>
                  <a:cs typeface="Open Sans" pitchFamily="34" charset="0"/>
                </a:rPr>
                <a:t>lookthis</a:t>
              </a:r>
              <a:r>
                <a:rPr lang="en-US" altLang="zh-CN" sz="1100" dirty="0">
                  <a:solidFill>
                    <a:srgbClr val="FFFFFF"/>
                  </a:solidFill>
                  <a:ea typeface="Open Sans" pitchFamily="34" charset="0"/>
                  <a:cs typeface="Open Sans" pitchFamily="34" charset="0"/>
                </a:rPr>
                <a:t> is dummy text it is not here to be read it is here to show how this document will </a:t>
              </a:r>
              <a:r>
                <a:rPr lang="en-US" altLang="zh-CN" sz="1100" dirty="0" err="1">
                  <a:solidFill>
                    <a:srgbClr val="FFFFFF"/>
                  </a:solidFill>
                  <a:ea typeface="Open Sans" pitchFamily="34" charset="0"/>
                  <a:cs typeface="Open Sans" pitchFamily="34" charset="0"/>
                </a:rPr>
                <a:t>lookthis</a:t>
              </a:r>
              <a:r>
                <a:rPr lang="en-US" altLang="zh-CN" sz="1100" dirty="0">
                  <a:solidFill>
                    <a:srgbClr val="FFFFFF"/>
                  </a:solidFill>
                  <a:ea typeface="Open Sans" pitchFamily="34" charset="0"/>
                  <a:cs typeface="Open Sans" pitchFamily="34" charset="0"/>
                </a:rPr>
                <a:t> is dummy text it is not here to be</a:t>
              </a:r>
            </a:p>
          </p:txBody>
        </p:sp>
        <p:sp>
          <p:nvSpPr>
            <p:cNvPr id="109" name="Rounded Rectangle 106">
              <a:extLst>
                <a:ext uri="{FF2B5EF4-FFF2-40B4-BE49-F238E27FC236}">
                  <a16:creationId xmlns:a16="http://schemas.microsoft.com/office/drawing/2014/main" id="{18F05B0C-3819-4637-8607-8EA5453A1A17}"/>
                </a:ext>
              </a:extLst>
            </p:cNvPr>
            <p:cNvSpPr/>
            <p:nvPr/>
          </p:nvSpPr>
          <p:spPr>
            <a:xfrm>
              <a:off x="3201313" y="4298205"/>
              <a:ext cx="4046097" cy="2700336"/>
            </a:xfrm>
            <a:prstGeom prst="snipRoundRect">
              <a:avLst>
                <a:gd name="adj1" fmla="val 0"/>
                <a:gd name="adj2" fmla="val 9377"/>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grpSp>
      <p:grpSp>
        <p:nvGrpSpPr>
          <p:cNvPr id="2" name="Group 1"/>
          <p:cNvGrpSpPr/>
          <p:nvPr/>
        </p:nvGrpSpPr>
        <p:grpSpPr>
          <a:xfrm>
            <a:off x="4185613" y="5825413"/>
            <a:ext cx="461518" cy="463375"/>
            <a:chOff x="1375131" y="1918988"/>
            <a:chExt cx="651085" cy="653705"/>
          </a:xfrm>
        </p:grpSpPr>
        <p:sp>
          <p:nvSpPr>
            <p:cNvPr id="16" name="Freeform 17">
              <a:extLst>
                <a:ext uri="{FF2B5EF4-FFF2-40B4-BE49-F238E27FC236}">
                  <a16:creationId xmlns:a16="http://schemas.microsoft.com/office/drawing/2014/main" id="{1708E0D4-A265-44C4-BC4B-4012FA05CF6C}"/>
                </a:ext>
              </a:extLst>
            </p:cNvPr>
            <p:cNvSpPr>
              <a:spLocks noEditPoints="1"/>
            </p:cNvSpPr>
            <p:nvPr/>
          </p:nvSpPr>
          <p:spPr bwMode="auto">
            <a:xfrm>
              <a:off x="1375131" y="1918988"/>
              <a:ext cx="651085" cy="653705"/>
            </a:xfrm>
            <a:custGeom>
              <a:avLst/>
              <a:gdLst>
                <a:gd name="T0" fmla="*/ 214 w 223"/>
                <a:gd name="T1" fmla="*/ 105 h 224"/>
                <a:gd name="T2" fmla="*/ 213 w 223"/>
                <a:gd name="T3" fmla="*/ 94 h 224"/>
                <a:gd name="T4" fmla="*/ 210 w 223"/>
                <a:gd name="T5" fmla="*/ 83 h 224"/>
                <a:gd name="T6" fmla="*/ 207 w 223"/>
                <a:gd name="T7" fmla="*/ 73 h 224"/>
                <a:gd name="T8" fmla="*/ 202 w 223"/>
                <a:gd name="T9" fmla="*/ 64 h 224"/>
                <a:gd name="T10" fmla="*/ 197 w 223"/>
                <a:gd name="T11" fmla="*/ 54 h 224"/>
                <a:gd name="T12" fmla="*/ 190 w 223"/>
                <a:gd name="T13" fmla="*/ 46 h 224"/>
                <a:gd name="T14" fmla="*/ 183 w 223"/>
                <a:gd name="T15" fmla="*/ 38 h 224"/>
                <a:gd name="T16" fmla="*/ 175 w 223"/>
                <a:gd name="T17" fmla="*/ 31 h 224"/>
                <a:gd name="T18" fmla="*/ 166 w 223"/>
                <a:gd name="T19" fmla="*/ 25 h 224"/>
                <a:gd name="T20" fmla="*/ 156 w 223"/>
                <a:gd name="T21" fmla="*/ 20 h 224"/>
                <a:gd name="T22" fmla="*/ 146 w 223"/>
                <a:gd name="T23" fmla="*/ 15 h 224"/>
                <a:gd name="T24" fmla="*/ 136 w 223"/>
                <a:gd name="T25" fmla="*/ 12 h 224"/>
                <a:gd name="T26" fmla="*/ 125 w 223"/>
                <a:gd name="T27" fmla="*/ 10 h 224"/>
                <a:gd name="T28" fmla="*/ 115 w 223"/>
                <a:gd name="T29" fmla="*/ 9 h 224"/>
                <a:gd name="T30" fmla="*/ 104 w 223"/>
                <a:gd name="T31" fmla="*/ 10 h 224"/>
                <a:gd name="T32" fmla="*/ 93 w 223"/>
                <a:gd name="T33" fmla="*/ 11 h 224"/>
                <a:gd name="T34" fmla="*/ 83 w 223"/>
                <a:gd name="T35" fmla="*/ 14 h 224"/>
                <a:gd name="T36" fmla="*/ 73 w 223"/>
                <a:gd name="T37" fmla="*/ 17 h 224"/>
                <a:gd name="T38" fmla="*/ 63 w 223"/>
                <a:gd name="T39" fmla="*/ 22 h 224"/>
                <a:gd name="T40" fmla="*/ 54 w 223"/>
                <a:gd name="T41" fmla="*/ 27 h 224"/>
                <a:gd name="T42" fmla="*/ 45 w 223"/>
                <a:gd name="T43" fmla="*/ 34 h 224"/>
                <a:gd name="T44" fmla="*/ 38 w 223"/>
                <a:gd name="T45" fmla="*/ 41 h 224"/>
                <a:gd name="T46" fmla="*/ 30 w 223"/>
                <a:gd name="T47" fmla="*/ 49 h 224"/>
                <a:gd name="T48" fmla="*/ 24 w 223"/>
                <a:gd name="T49" fmla="*/ 58 h 224"/>
                <a:gd name="T50" fmla="*/ 19 w 223"/>
                <a:gd name="T51" fmla="*/ 68 h 224"/>
                <a:gd name="T52" fmla="*/ 15 w 223"/>
                <a:gd name="T53" fmla="*/ 78 h 224"/>
                <a:gd name="T54" fmla="*/ 12 w 223"/>
                <a:gd name="T55" fmla="*/ 88 h 224"/>
                <a:gd name="T56" fmla="*/ 10 w 223"/>
                <a:gd name="T57" fmla="*/ 98 h 224"/>
                <a:gd name="T58" fmla="*/ 9 w 223"/>
                <a:gd name="T59" fmla="*/ 109 h 224"/>
                <a:gd name="T60" fmla="*/ 9 w 223"/>
                <a:gd name="T61" fmla="*/ 120 h 224"/>
                <a:gd name="T62" fmla="*/ 11 w 223"/>
                <a:gd name="T63" fmla="*/ 131 h 224"/>
                <a:gd name="T64" fmla="*/ 13 w 223"/>
                <a:gd name="T65" fmla="*/ 141 h 224"/>
                <a:gd name="T66" fmla="*/ 17 w 223"/>
                <a:gd name="T67" fmla="*/ 151 h 224"/>
                <a:gd name="T68" fmla="*/ 21 w 223"/>
                <a:gd name="T69" fmla="*/ 161 h 224"/>
                <a:gd name="T70" fmla="*/ 27 w 223"/>
                <a:gd name="T71" fmla="*/ 170 h 224"/>
                <a:gd name="T72" fmla="*/ 33 w 223"/>
                <a:gd name="T73" fmla="*/ 179 h 224"/>
                <a:gd name="T74" fmla="*/ 41 w 223"/>
                <a:gd name="T75" fmla="*/ 187 h 224"/>
                <a:gd name="T76" fmla="*/ 49 w 223"/>
                <a:gd name="T77" fmla="*/ 194 h 224"/>
                <a:gd name="T78" fmla="*/ 58 w 223"/>
                <a:gd name="T79" fmla="*/ 200 h 224"/>
                <a:gd name="T80" fmla="*/ 67 w 223"/>
                <a:gd name="T81" fmla="*/ 205 h 224"/>
                <a:gd name="T82" fmla="*/ 77 w 223"/>
                <a:gd name="T83" fmla="*/ 209 h 224"/>
                <a:gd name="T84" fmla="*/ 87 w 223"/>
                <a:gd name="T85" fmla="*/ 212 h 224"/>
                <a:gd name="T86" fmla="*/ 98 w 223"/>
                <a:gd name="T87" fmla="*/ 214 h 224"/>
                <a:gd name="T88" fmla="*/ 109 w 223"/>
                <a:gd name="T89" fmla="*/ 215 h 224"/>
                <a:gd name="T90" fmla="*/ 119 w 223"/>
                <a:gd name="T91" fmla="*/ 215 h 224"/>
                <a:gd name="T92" fmla="*/ 130 w 223"/>
                <a:gd name="T93" fmla="*/ 213 h 224"/>
                <a:gd name="T94" fmla="*/ 141 w 223"/>
                <a:gd name="T95" fmla="*/ 211 h 224"/>
                <a:gd name="T96" fmla="*/ 151 w 223"/>
                <a:gd name="T97" fmla="*/ 207 h 224"/>
                <a:gd name="T98" fmla="*/ 160 w 223"/>
                <a:gd name="T99" fmla="*/ 203 h 224"/>
                <a:gd name="T100" fmla="*/ 170 w 223"/>
                <a:gd name="T101" fmla="*/ 197 h 224"/>
                <a:gd name="T102" fmla="*/ 178 w 223"/>
                <a:gd name="T103" fmla="*/ 191 h 224"/>
                <a:gd name="T104" fmla="*/ 186 w 223"/>
                <a:gd name="T105" fmla="*/ 183 h 224"/>
                <a:gd name="T106" fmla="*/ 193 w 223"/>
                <a:gd name="T107" fmla="*/ 175 h 224"/>
                <a:gd name="T108" fmla="*/ 199 w 223"/>
                <a:gd name="T109" fmla="*/ 166 h 224"/>
                <a:gd name="T110" fmla="*/ 204 w 223"/>
                <a:gd name="T111" fmla="*/ 157 h 224"/>
                <a:gd name="T112" fmla="*/ 208 w 223"/>
                <a:gd name="T113" fmla="*/ 147 h 224"/>
                <a:gd name="T114" fmla="*/ 211 w 223"/>
                <a:gd name="T115" fmla="*/ 137 h 224"/>
                <a:gd name="T116" fmla="*/ 214 w 223"/>
                <a:gd name="T117" fmla="*/ 126 h 224"/>
                <a:gd name="T118" fmla="*/ 214 w 223"/>
                <a:gd name="T119" fmla="*/ 11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3" h="224">
                  <a:moveTo>
                    <a:pt x="221" y="115"/>
                  </a:moveTo>
                  <a:cubicBezTo>
                    <a:pt x="222" y="115"/>
                    <a:pt x="222" y="114"/>
                    <a:pt x="223" y="114"/>
                  </a:cubicBezTo>
                  <a:cubicBezTo>
                    <a:pt x="223" y="113"/>
                    <a:pt x="223" y="113"/>
                    <a:pt x="223" y="112"/>
                  </a:cubicBezTo>
                  <a:cubicBezTo>
                    <a:pt x="223" y="112"/>
                    <a:pt x="223" y="111"/>
                    <a:pt x="223" y="111"/>
                  </a:cubicBezTo>
                  <a:cubicBezTo>
                    <a:pt x="222" y="110"/>
                    <a:pt x="222" y="110"/>
                    <a:pt x="221" y="110"/>
                  </a:cubicBezTo>
                  <a:cubicBezTo>
                    <a:pt x="221" y="110"/>
                    <a:pt x="217" y="109"/>
                    <a:pt x="214" y="109"/>
                  </a:cubicBezTo>
                  <a:cubicBezTo>
                    <a:pt x="214" y="108"/>
                    <a:pt x="214" y="106"/>
                    <a:pt x="214" y="105"/>
                  </a:cubicBezTo>
                  <a:cubicBezTo>
                    <a:pt x="217" y="104"/>
                    <a:pt x="220" y="103"/>
                    <a:pt x="221" y="103"/>
                  </a:cubicBezTo>
                  <a:cubicBezTo>
                    <a:pt x="222" y="103"/>
                    <a:pt x="222" y="103"/>
                    <a:pt x="222" y="102"/>
                  </a:cubicBezTo>
                  <a:cubicBezTo>
                    <a:pt x="223" y="102"/>
                    <a:pt x="223" y="101"/>
                    <a:pt x="223" y="101"/>
                  </a:cubicBezTo>
                  <a:cubicBezTo>
                    <a:pt x="223" y="100"/>
                    <a:pt x="222" y="99"/>
                    <a:pt x="222" y="99"/>
                  </a:cubicBezTo>
                  <a:cubicBezTo>
                    <a:pt x="222" y="99"/>
                    <a:pt x="221" y="98"/>
                    <a:pt x="220" y="98"/>
                  </a:cubicBezTo>
                  <a:cubicBezTo>
                    <a:pt x="220" y="98"/>
                    <a:pt x="216" y="98"/>
                    <a:pt x="214" y="98"/>
                  </a:cubicBezTo>
                  <a:cubicBezTo>
                    <a:pt x="213" y="97"/>
                    <a:pt x="213" y="95"/>
                    <a:pt x="213" y="94"/>
                  </a:cubicBezTo>
                  <a:cubicBezTo>
                    <a:pt x="216" y="93"/>
                    <a:pt x="219" y="92"/>
                    <a:pt x="219" y="92"/>
                  </a:cubicBezTo>
                  <a:cubicBezTo>
                    <a:pt x="220" y="92"/>
                    <a:pt x="220" y="91"/>
                    <a:pt x="221" y="91"/>
                  </a:cubicBezTo>
                  <a:cubicBezTo>
                    <a:pt x="221" y="90"/>
                    <a:pt x="221" y="90"/>
                    <a:pt x="221" y="89"/>
                  </a:cubicBezTo>
                  <a:cubicBezTo>
                    <a:pt x="221" y="88"/>
                    <a:pt x="220" y="88"/>
                    <a:pt x="220" y="88"/>
                  </a:cubicBezTo>
                  <a:cubicBezTo>
                    <a:pt x="220" y="87"/>
                    <a:pt x="219" y="87"/>
                    <a:pt x="218" y="87"/>
                  </a:cubicBezTo>
                  <a:cubicBezTo>
                    <a:pt x="218" y="87"/>
                    <a:pt x="214" y="88"/>
                    <a:pt x="211" y="88"/>
                  </a:cubicBezTo>
                  <a:cubicBezTo>
                    <a:pt x="211" y="86"/>
                    <a:pt x="211" y="85"/>
                    <a:pt x="210" y="83"/>
                  </a:cubicBezTo>
                  <a:cubicBezTo>
                    <a:pt x="213" y="82"/>
                    <a:pt x="216" y="81"/>
                    <a:pt x="217" y="81"/>
                  </a:cubicBezTo>
                  <a:cubicBezTo>
                    <a:pt x="217" y="80"/>
                    <a:pt x="218" y="80"/>
                    <a:pt x="218" y="79"/>
                  </a:cubicBezTo>
                  <a:cubicBezTo>
                    <a:pt x="218" y="79"/>
                    <a:pt x="218" y="78"/>
                    <a:pt x="218" y="78"/>
                  </a:cubicBezTo>
                  <a:cubicBezTo>
                    <a:pt x="218" y="77"/>
                    <a:pt x="217" y="77"/>
                    <a:pt x="217" y="76"/>
                  </a:cubicBezTo>
                  <a:cubicBezTo>
                    <a:pt x="216" y="76"/>
                    <a:pt x="216" y="76"/>
                    <a:pt x="215" y="76"/>
                  </a:cubicBezTo>
                  <a:cubicBezTo>
                    <a:pt x="214" y="76"/>
                    <a:pt x="211" y="77"/>
                    <a:pt x="208" y="78"/>
                  </a:cubicBezTo>
                  <a:cubicBezTo>
                    <a:pt x="208" y="76"/>
                    <a:pt x="207" y="75"/>
                    <a:pt x="207" y="73"/>
                  </a:cubicBezTo>
                  <a:cubicBezTo>
                    <a:pt x="209" y="72"/>
                    <a:pt x="212" y="70"/>
                    <a:pt x="213" y="70"/>
                  </a:cubicBezTo>
                  <a:cubicBezTo>
                    <a:pt x="213" y="69"/>
                    <a:pt x="214" y="69"/>
                    <a:pt x="214" y="68"/>
                  </a:cubicBezTo>
                  <a:cubicBezTo>
                    <a:pt x="214" y="68"/>
                    <a:pt x="214" y="67"/>
                    <a:pt x="214" y="67"/>
                  </a:cubicBezTo>
                  <a:cubicBezTo>
                    <a:pt x="213" y="66"/>
                    <a:pt x="213" y="66"/>
                    <a:pt x="212" y="66"/>
                  </a:cubicBezTo>
                  <a:cubicBezTo>
                    <a:pt x="212" y="65"/>
                    <a:pt x="211" y="65"/>
                    <a:pt x="211" y="65"/>
                  </a:cubicBezTo>
                  <a:cubicBezTo>
                    <a:pt x="210" y="66"/>
                    <a:pt x="207" y="67"/>
                    <a:pt x="204" y="68"/>
                  </a:cubicBezTo>
                  <a:cubicBezTo>
                    <a:pt x="204" y="66"/>
                    <a:pt x="203" y="65"/>
                    <a:pt x="202" y="64"/>
                  </a:cubicBezTo>
                  <a:cubicBezTo>
                    <a:pt x="205" y="62"/>
                    <a:pt x="207" y="60"/>
                    <a:pt x="208" y="60"/>
                  </a:cubicBezTo>
                  <a:cubicBezTo>
                    <a:pt x="208" y="59"/>
                    <a:pt x="209" y="59"/>
                    <a:pt x="209" y="58"/>
                  </a:cubicBezTo>
                  <a:cubicBezTo>
                    <a:pt x="209" y="57"/>
                    <a:pt x="209" y="57"/>
                    <a:pt x="208" y="56"/>
                  </a:cubicBezTo>
                  <a:cubicBezTo>
                    <a:pt x="208" y="56"/>
                    <a:pt x="208" y="55"/>
                    <a:pt x="207" y="55"/>
                  </a:cubicBezTo>
                  <a:cubicBezTo>
                    <a:pt x="207" y="55"/>
                    <a:pt x="206" y="55"/>
                    <a:pt x="205" y="55"/>
                  </a:cubicBezTo>
                  <a:cubicBezTo>
                    <a:pt x="205" y="56"/>
                    <a:pt x="202" y="57"/>
                    <a:pt x="199" y="58"/>
                  </a:cubicBezTo>
                  <a:cubicBezTo>
                    <a:pt x="198" y="57"/>
                    <a:pt x="197" y="56"/>
                    <a:pt x="197" y="54"/>
                  </a:cubicBezTo>
                  <a:cubicBezTo>
                    <a:pt x="199" y="52"/>
                    <a:pt x="201" y="50"/>
                    <a:pt x="202" y="50"/>
                  </a:cubicBezTo>
                  <a:cubicBezTo>
                    <a:pt x="202" y="49"/>
                    <a:pt x="202" y="49"/>
                    <a:pt x="202" y="48"/>
                  </a:cubicBezTo>
                  <a:cubicBezTo>
                    <a:pt x="203" y="48"/>
                    <a:pt x="202" y="47"/>
                    <a:pt x="202" y="46"/>
                  </a:cubicBezTo>
                  <a:cubicBezTo>
                    <a:pt x="202" y="46"/>
                    <a:pt x="201" y="46"/>
                    <a:pt x="201" y="46"/>
                  </a:cubicBezTo>
                  <a:cubicBezTo>
                    <a:pt x="200" y="45"/>
                    <a:pt x="199" y="45"/>
                    <a:pt x="199" y="46"/>
                  </a:cubicBezTo>
                  <a:cubicBezTo>
                    <a:pt x="198" y="46"/>
                    <a:pt x="196" y="48"/>
                    <a:pt x="193" y="49"/>
                  </a:cubicBezTo>
                  <a:cubicBezTo>
                    <a:pt x="192" y="48"/>
                    <a:pt x="191" y="47"/>
                    <a:pt x="190" y="46"/>
                  </a:cubicBezTo>
                  <a:cubicBezTo>
                    <a:pt x="192" y="44"/>
                    <a:pt x="194" y="41"/>
                    <a:pt x="195" y="41"/>
                  </a:cubicBezTo>
                  <a:cubicBezTo>
                    <a:pt x="195" y="40"/>
                    <a:pt x="195" y="40"/>
                    <a:pt x="195" y="39"/>
                  </a:cubicBezTo>
                  <a:cubicBezTo>
                    <a:pt x="195" y="38"/>
                    <a:pt x="195" y="38"/>
                    <a:pt x="195" y="37"/>
                  </a:cubicBezTo>
                  <a:cubicBezTo>
                    <a:pt x="194" y="37"/>
                    <a:pt x="194" y="37"/>
                    <a:pt x="193" y="37"/>
                  </a:cubicBezTo>
                  <a:cubicBezTo>
                    <a:pt x="193" y="37"/>
                    <a:pt x="192" y="37"/>
                    <a:pt x="191" y="37"/>
                  </a:cubicBezTo>
                  <a:cubicBezTo>
                    <a:pt x="191" y="37"/>
                    <a:pt x="188" y="39"/>
                    <a:pt x="186" y="41"/>
                  </a:cubicBezTo>
                  <a:cubicBezTo>
                    <a:pt x="185" y="40"/>
                    <a:pt x="184" y="39"/>
                    <a:pt x="183" y="38"/>
                  </a:cubicBezTo>
                  <a:cubicBezTo>
                    <a:pt x="184" y="36"/>
                    <a:pt x="186" y="33"/>
                    <a:pt x="187" y="32"/>
                  </a:cubicBezTo>
                  <a:cubicBezTo>
                    <a:pt x="187" y="32"/>
                    <a:pt x="187" y="31"/>
                    <a:pt x="187" y="31"/>
                  </a:cubicBezTo>
                  <a:cubicBezTo>
                    <a:pt x="187" y="30"/>
                    <a:pt x="187" y="30"/>
                    <a:pt x="186" y="29"/>
                  </a:cubicBezTo>
                  <a:cubicBezTo>
                    <a:pt x="186" y="29"/>
                    <a:pt x="185" y="29"/>
                    <a:pt x="185" y="29"/>
                  </a:cubicBezTo>
                  <a:cubicBezTo>
                    <a:pt x="184" y="29"/>
                    <a:pt x="184" y="29"/>
                    <a:pt x="183" y="29"/>
                  </a:cubicBezTo>
                  <a:cubicBezTo>
                    <a:pt x="183" y="30"/>
                    <a:pt x="180" y="32"/>
                    <a:pt x="178" y="34"/>
                  </a:cubicBezTo>
                  <a:cubicBezTo>
                    <a:pt x="177" y="33"/>
                    <a:pt x="176" y="32"/>
                    <a:pt x="175" y="31"/>
                  </a:cubicBezTo>
                  <a:cubicBezTo>
                    <a:pt x="176" y="28"/>
                    <a:pt x="178" y="25"/>
                    <a:pt x="178" y="25"/>
                  </a:cubicBezTo>
                  <a:cubicBezTo>
                    <a:pt x="178" y="24"/>
                    <a:pt x="178" y="24"/>
                    <a:pt x="178" y="23"/>
                  </a:cubicBezTo>
                  <a:cubicBezTo>
                    <a:pt x="178" y="23"/>
                    <a:pt x="178" y="22"/>
                    <a:pt x="177" y="22"/>
                  </a:cubicBezTo>
                  <a:cubicBezTo>
                    <a:pt x="177" y="21"/>
                    <a:pt x="176" y="21"/>
                    <a:pt x="176" y="21"/>
                  </a:cubicBezTo>
                  <a:cubicBezTo>
                    <a:pt x="175" y="21"/>
                    <a:pt x="175" y="22"/>
                    <a:pt x="174" y="22"/>
                  </a:cubicBezTo>
                  <a:cubicBezTo>
                    <a:pt x="174" y="23"/>
                    <a:pt x="172" y="25"/>
                    <a:pt x="170" y="27"/>
                  </a:cubicBezTo>
                  <a:cubicBezTo>
                    <a:pt x="168" y="26"/>
                    <a:pt x="167" y="26"/>
                    <a:pt x="166" y="25"/>
                  </a:cubicBezTo>
                  <a:cubicBezTo>
                    <a:pt x="167" y="22"/>
                    <a:pt x="168" y="19"/>
                    <a:pt x="169" y="18"/>
                  </a:cubicBezTo>
                  <a:cubicBezTo>
                    <a:pt x="169" y="18"/>
                    <a:pt x="169" y="17"/>
                    <a:pt x="169" y="17"/>
                  </a:cubicBezTo>
                  <a:cubicBezTo>
                    <a:pt x="168" y="16"/>
                    <a:pt x="168" y="16"/>
                    <a:pt x="168" y="15"/>
                  </a:cubicBezTo>
                  <a:cubicBezTo>
                    <a:pt x="167" y="15"/>
                    <a:pt x="166" y="15"/>
                    <a:pt x="166" y="15"/>
                  </a:cubicBezTo>
                  <a:cubicBezTo>
                    <a:pt x="165" y="15"/>
                    <a:pt x="165" y="16"/>
                    <a:pt x="164" y="16"/>
                  </a:cubicBezTo>
                  <a:cubicBezTo>
                    <a:pt x="164" y="17"/>
                    <a:pt x="162" y="19"/>
                    <a:pt x="160" y="22"/>
                  </a:cubicBezTo>
                  <a:cubicBezTo>
                    <a:pt x="159" y="21"/>
                    <a:pt x="158" y="20"/>
                    <a:pt x="156" y="20"/>
                  </a:cubicBezTo>
                  <a:cubicBezTo>
                    <a:pt x="157" y="17"/>
                    <a:pt x="158" y="14"/>
                    <a:pt x="159" y="13"/>
                  </a:cubicBezTo>
                  <a:cubicBezTo>
                    <a:pt x="159" y="12"/>
                    <a:pt x="159" y="12"/>
                    <a:pt x="158" y="11"/>
                  </a:cubicBezTo>
                  <a:cubicBezTo>
                    <a:pt x="158" y="11"/>
                    <a:pt x="158" y="10"/>
                    <a:pt x="157" y="10"/>
                  </a:cubicBezTo>
                  <a:cubicBezTo>
                    <a:pt x="157" y="10"/>
                    <a:pt x="156" y="10"/>
                    <a:pt x="155" y="10"/>
                  </a:cubicBezTo>
                  <a:cubicBezTo>
                    <a:pt x="155" y="10"/>
                    <a:pt x="154" y="10"/>
                    <a:pt x="154" y="11"/>
                  </a:cubicBezTo>
                  <a:cubicBezTo>
                    <a:pt x="154" y="12"/>
                    <a:pt x="152" y="14"/>
                    <a:pt x="151" y="17"/>
                  </a:cubicBezTo>
                  <a:cubicBezTo>
                    <a:pt x="149" y="17"/>
                    <a:pt x="148" y="16"/>
                    <a:pt x="146" y="15"/>
                  </a:cubicBezTo>
                  <a:cubicBezTo>
                    <a:pt x="147" y="13"/>
                    <a:pt x="148" y="9"/>
                    <a:pt x="148" y="9"/>
                  </a:cubicBezTo>
                  <a:cubicBezTo>
                    <a:pt x="148" y="8"/>
                    <a:pt x="148" y="8"/>
                    <a:pt x="148" y="7"/>
                  </a:cubicBezTo>
                  <a:cubicBezTo>
                    <a:pt x="147" y="6"/>
                    <a:pt x="147" y="6"/>
                    <a:pt x="146" y="6"/>
                  </a:cubicBezTo>
                  <a:cubicBezTo>
                    <a:pt x="146" y="6"/>
                    <a:pt x="145" y="6"/>
                    <a:pt x="144" y="6"/>
                  </a:cubicBezTo>
                  <a:cubicBezTo>
                    <a:pt x="144" y="6"/>
                    <a:pt x="144" y="7"/>
                    <a:pt x="143" y="7"/>
                  </a:cubicBezTo>
                  <a:cubicBezTo>
                    <a:pt x="143" y="8"/>
                    <a:pt x="142" y="11"/>
                    <a:pt x="141" y="14"/>
                  </a:cubicBezTo>
                  <a:cubicBezTo>
                    <a:pt x="139" y="13"/>
                    <a:pt x="138" y="13"/>
                    <a:pt x="136" y="12"/>
                  </a:cubicBezTo>
                  <a:cubicBezTo>
                    <a:pt x="136" y="9"/>
                    <a:pt x="137" y="6"/>
                    <a:pt x="137" y="5"/>
                  </a:cubicBezTo>
                  <a:cubicBezTo>
                    <a:pt x="137" y="5"/>
                    <a:pt x="137" y="4"/>
                    <a:pt x="136" y="4"/>
                  </a:cubicBezTo>
                  <a:cubicBezTo>
                    <a:pt x="136" y="3"/>
                    <a:pt x="136" y="3"/>
                    <a:pt x="135" y="3"/>
                  </a:cubicBezTo>
                  <a:cubicBezTo>
                    <a:pt x="134" y="3"/>
                    <a:pt x="134" y="3"/>
                    <a:pt x="133" y="3"/>
                  </a:cubicBezTo>
                  <a:cubicBezTo>
                    <a:pt x="133" y="3"/>
                    <a:pt x="132" y="4"/>
                    <a:pt x="132" y="4"/>
                  </a:cubicBezTo>
                  <a:cubicBezTo>
                    <a:pt x="132" y="5"/>
                    <a:pt x="131" y="8"/>
                    <a:pt x="130" y="11"/>
                  </a:cubicBezTo>
                  <a:cubicBezTo>
                    <a:pt x="129" y="11"/>
                    <a:pt x="127" y="10"/>
                    <a:pt x="125" y="10"/>
                  </a:cubicBezTo>
                  <a:cubicBezTo>
                    <a:pt x="125" y="7"/>
                    <a:pt x="126" y="4"/>
                    <a:pt x="126" y="3"/>
                  </a:cubicBezTo>
                  <a:cubicBezTo>
                    <a:pt x="126" y="3"/>
                    <a:pt x="125" y="2"/>
                    <a:pt x="125" y="2"/>
                  </a:cubicBezTo>
                  <a:cubicBezTo>
                    <a:pt x="125" y="1"/>
                    <a:pt x="124" y="1"/>
                    <a:pt x="123" y="1"/>
                  </a:cubicBezTo>
                  <a:cubicBezTo>
                    <a:pt x="123" y="1"/>
                    <a:pt x="122" y="1"/>
                    <a:pt x="122" y="1"/>
                  </a:cubicBezTo>
                  <a:cubicBezTo>
                    <a:pt x="121" y="2"/>
                    <a:pt x="121" y="2"/>
                    <a:pt x="121" y="3"/>
                  </a:cubicBezTo>
                  <a:cubicBezTo>
                    <a:pt x="121" y="4"/>
                    <a:pt x="120" y="7"/>
                    <a:pt x="119" y="10"/>
                  </a:cubicBezTo>
                  <a:cubicBezTo>
                    <a:pt x="118" y="10"/>
                    <a:pt x="116" y="9"/>
                    <a:pt x="115" y="9"/>
                  </a:cubicBezTo>
                  <a:cubicBezTo>
                    <a:pt x="115" y="6"/>
                    <a:pt x="114" y="3"/>
                    <a:pt x="114" y="3"/>
                  </a:cubicBezTo>
                  <a:cubicBezTo>
                    <a:pt x="114" y="2"/>
                    <a:pt x="114" y="1"/>
                    <a:pt x="113" y="1"/>
                  </a:cubicBezTo>
                  <a:cubicBezTo>
                    <a:pt x="113" y="1"/>
                    <a:pt x="112" y="0"/>
                    <a:pt x="112" y="0"/>
                  </a:cubicBezTo>
                  <a:cubicBezTo>
                    <a:pt x="111" y="0"/>
                    <a:pt x="111" y="1"/>
                    <a:pt x="110" y="1"/>
                  </a:cubicBezTo>
                  <a:cubicBezTo>
                    <a:pt x="110" y="1"/>
                    <a:pt x="109" y="2"/>
                    <a:pt x="109" y="3"/>
                  </a:cubicBezTo>
                  <a:cubicBezTo>
                    <a:pt x="109" y="3"/>
                    <a:pt x="109" y="6"/>
                    <a:pt x="109" y="9"/>
                  </a:cubicBezTo>
                  <a:cubicBezTo>
                    <a:pt x="107" y="9"/>
                    <a:pt x="106" y="10"/>
                    <a:pt x="104" y="10"/>
                  </a:cubicBezTo>
                  <a:cubicBezTo>
                    <a:pt x="103" y="7"/>
                    <a:pt x="103" y="4"/>
                    <a:pt x="103" y="3"/>
                  </a:cubicBezTo>
                  <a:cubicBezTo>
                    <a:pt x="103" y="2"/>
                    <a:pt x="102" y="2"/>
                    <a:pt x="102" y="1"/>
                  </a:cubicBezTo>
                  <a:cubicBezTo>
                    <a:pt x="101" y="1"/>
                    <a:pt x="101" y="1"/>
                    <a:pt x="100" y="1"/>
                  </a:cubicBezTo>
                  <a:cubicBezTo>
                    <a:pt x="99" y="1"/>
                    <a:pt x="99" y="1"/>
                    <a:pt x="99" y="2"/>
                  </a:cubicBezTo>
                  <a:cubicBezTo>
                    <a:pt x="98" y="2"/>
                    <a:pt x="98" y="3"/>
                    <a:pt x="98" y="3"/>
                  </a:cubicBezTo>
                  <a:cubicBezTo>
                    <a:pt x="98" y="4"/>
                    <a:pt x="98" y="7"/>
                    <a:pt x="98" y="10"/>
                  </a:cubicBezTo>
                  <a:cubicBezTo>
                    <a:pt x="96" y="10"/>
                    <a:pt x="95" y="11"/>
                    <a:pt x="93" y="11"/>
                  </a:cubicBezTo>
                  <a:cubicBezTo>
                    <a:pt x="92" y="8"/>
                    <a:pt x="92" y="5"/>
                    <a:pt x="91" y="4"/>
                  </a:cubicBezTo>
                  <a:cubicBezTo>
                    <a:pt x="91" y="4"/>
                    <a:pt x="91" y="3"/>
                    <a:pt x="90" y="3"/>
                  </a:cubicBezTo>
                  <a:cubicBezTo>
                    <a:pt x="90" y="3"/>
                    <a:pt x="89" y="3"/>
                    <a:pt x="89" y="3"/>
                  </a:cubicBezTo>
                  <a:cubicBezTo>
                    <a:pt x="88" y="3"/>
                    <a:pt x="87" y="3"/>
                    <a:pt x="87" y="4"/>
                  </a:cubicBezTo>
                  <a:cubicBezTo>
                    <a:pt x="87" y="4"/>
                    <a:pt x="87" y="5"/>
                    <a:pt x="87" y="5"/>
                  </a:cubicBezTo>
                  <a:cubicBezTo>
                    <a:pt x="87" y="6"/>
                    <a:pt x="87" y="9"/>
                    <a:pt x="87" y="12"/>
                  </a:cubicBezTo>
                  <a:cubicBezTo>
                    <a:pt x="86" y="13"/>
                    <a:pt x="84" y="13"/>
                    <a:pt x="83" y="14"/>
                  </a:cubicBezTo>
                  <a:cubicBezTo>
                    <a:pt x="82" y="11"/>
                    <a:pt x="80" y="8"/>
                    <a:pt x="80" y="7"/>
                  </a:cubicBezTo>
                  <a:cubicBezTo>
                    <a:pt x="80" y="7"/>
                    <a:pt x="80" y="6"/>
                    <a:pt x="79" y="6"/>
                  </a:cubicBezTo>
                  <a:cubicBezTo>
                    <a:pt x="78" y="6"/>
                    <a:pt x="78" y="6"/>
                    <a:pt x="77" y="6"/>
                  </a:cubicBezTo>
                  <a:cubicBezTo>
                    <a:pt x="77" y="6"/>
                    <a:pt x="76" y="6"/>
                    <a:pt x="76" y="7"/>
                  </a:cubicBezTo>
                  <a:cubicBezTo>
                    <a:pt x="76" y="8"/>
                    <a:pt x="76" y="8"/>
                    <a:pt x="76" y="9"/>
                  </a:cubicBezTo>
                  <a:cubicBezTo>
                    <a:pt x="76" y="9"/>
                    <a:pt x="76" y="13"/>
                    <a:pt x="77" y="15"/>
                  </a:cubicBezTo>
                  <a:cubicBezTo>
                    <a:pt x="76" y="16"/>
                    <a:pt x="74" y="17"/>
                    <a:pt x="73" y="17"/>
                  </a:cubicBezTo>
                  <a:cubicBezTo>
                    <a:pt x="71" y="14"/>
                    <a:pt x="70" y="12"/>
                    <a:pt x="69" y="11"/>
                  </a:cubicBezTo>
                  <a:cubicBezTo>
                    <a:pt x="69" y="10"/>
                    <a:pt x="69" y="10"/>
                    <a:pt x="68" y="10"/>
                  </a:cubicBezTo>
                  <a:cubicBezTo>
                    <a:pt x="68" y="10"/>
                    <a:pt x="67" y="10"/>
                    <a:pt x="66" y="10"/>
                  </a:cubicBezTo>
                  <a:cubicBezTo>
                    <a:pt x="66" y="10"/>
                    <a:pt x="65" y="11"/>
                    <a:pt x="65" y="11"/>
                  </a:cubicBezTo>
                  <a:cubicBezTo>
                    <a:pt x="65" y="12"/>
                    <a:pt x="65" y="12"/>
                    <a:pt x="65" y="13"/>
                  </a:cubicBezTo>
                  <a:cubicBezTo>
                    <a:pt x="65" y="14"/>
                    <a:pt x="66" y="17"/>
                    <a:pt x="67" y="20"/>
                  </a:cubicBezTo>
                  <a:cubicBezTo>
                    <a:pt x="66" y="20"/>
                    <a:pt x="64" y="21"/>
                    <a:pt x="63" y="22"/>
                  </a:cubicBezTo>
                  <a:cubicBezTo>
                    <a:pt x="61" y="19"/>
                    <a:pt x="59" y="17"/>
                    <a:pt x="59" y="16"/>
                  </a:cubicBezTo>
                  <a:cubicBezTo>
                    <a:pt x="59" y="16"/>
                    <a:pt x="58" y="15"/>
                    <a:pt x="58" y="15"/>
                  </a:cubicBezTo>
                  <a:cubicBezTo>
                    <a:pt x="57" y="15"/>
                    <a:pt x="56" y="15"/>
                    <a:pt x="56" y="15"/>
                  </a:cubicBezTo>
                  <a:cubicBezTo>
                    <a:pt x="55" y="16"/>
                    <a:pt x="55" y="16"/>
                    <a:pt x="55" y="17"/>
                  </a:cubicBezTo>
                  <a:cubicBezTo>
                    <a:pt x="55" y="17"/>
                    <a:pt x="55" y="18"/>
                    <a:pt x="55" y="18"/>
                  </a:cubicBezTo>
                  <a:cubicBezTo>
                    <a:pt x="55" y="19"/>
                    <a:pt x="57" y="22"/>
                    <a:pt x="58" y="25"/>
                  </a:cubicBezTo>
                  <a:cubicBezTo>
                    <a:pt x="56" y="26"/>
                    <a:pt x="55" y="26"/>
                    <a:pt x="54" y="27"/>
                  </a:cubicBezTo>
                  <a:cubicBezTo>
                    <a:pt x="52" y="25"/>
                    <a:pt x="50" y="23"/>
                    <a:pt x="49" y="22"/>
                  </a:cubicBezTo>
                  <a:cubicBezTo>
                    <a:pt x="49" y="22"/>
                    <a:pt x="48" y="21"/>
                    <a:pt x="48" y="21"/>
                  </a:cubicBezTo>
                  <a:cubicBezTo>
                    <a:pt x="47" y="21"/>
                    <a:pt x="47" y="21"/>
                    <a:pt x="46" y="22"/>
                  </a:cubicBezTo>
                  <a:cubicBezTo>
                    <a:pt x="46" y="22"/>
                    <a:pt x="45" y="23"/>
                    <a:pt x="45" y="23"/>
                  </a:cubicBezTo>
                  <a:cubicBezTo>
                    <a:pt x="45" y="24"/>
                    <a:pt x="45" y="24"/>
                    <a:pt x="45" y="25"/>
                  </a:cubicBezTo>
                  <a:cubicBezTo>
                    <a:pt x="46" y="25"/>
                    <a:pt x="47" y="28"/>
                    <a:pt x="49" y="31"/>
                  </a:cubicBezTo>
                  <a:cubicBezTo>
                    <a:pt x="48" y="32"/>
                    <a:pt x="46" y="33"/>
                    <a:pt x="45" y="34"/>
                  </a:cubicBezTo>
                  <a:cubicBezTo>
                    <a:pt x="43" y="32"/>
                    <a:pt x="41" y="30"/>
                    <a:pt x="40" y="29"/>
                  </a:cubicBezTo>
                  <a:cubicBezTo>
                    <a:pt x="40" y="29"/>
                    <a:pt x="39" y="29"/>
                    <a:pt x="39" y="29"/>
                  </a:cubicBezTo>
                  <a:cubicBezTo>
                    <a:pt x="38" y="29"/>
                    <a:pt x="38" y="29"/>
                    <a:pt x="37" y="29"/>
                  </a:cubicBezTo>
                  <a:cubicBezTo>
                    <a:pt x="37" y="30"/>
                    <a:pt x="36" y="30"/>
                    <a:pt x="36" y="31"/>
                  </a:cubicBezTo>
                  <a:cubicBezTo>
                    <a:pt x="36" y="31"/>
                    <a:pt x="36" y="32"/>
                    <a:pt x="37" y="32"/>
                  </a:cubicBezTo>
                  <a:cubicBezTo>
                    <a:pt x="37" y="33"/>
                    <a:pt x="39" y="36"/>
                    <a:pt x="41" y="38"/>
                  </a:cubicBezTo>
                  <a:cubicBezTo>
                    <a:pt x="40" y="39"/>
                    <a:pt x="39" y="40"/>
                    <a:pt x="38" y="41"/>
                  </a:cubicBezTo>
                  <a:cubicBezTo>
                    <a:pt x="35" y="39"/>
                    <a:pt x="33" y="37"/>
                    <a:pt x="32" y="37"/>
                  </a:cubicBezTo>
                  <a:cubicBezTo>
                    <a:pt x="32" y="37"/>
                    <a:pt x="31" y="37"/>
                    <a:pt x="30" y="37"/>
                  </a:cubicBezTo>
                  <a:cubicBezTo>
                    <a:pt x="30" y="37"/>
                    <a:pt x="29" y="37"/>
                    <a:pt x="29" y="37"/>
                  </a:cubicBezTo>
                  <a:cubicBezTo>
                    <a:pt x="28" y="38"/>
                    <a:pt x="28" y="38"/>
                    <a:pt x="28" y="39"/>
                  </a:cubicBezTo>
                  <a:cubicBezTo>
                    <a:pt x="28" y="40"/>
                    <a:pt x="28" y="40"/>
                    <a:pt x="29" y="41"/>
                  </a:cubicBezTo>
                  <a:cubicBezTo>
                    <a:pt x="29" y="41"/>
                    <a:pt x="31" y="44"/>
                    <a:pt x="33" y="46"/>
                  </a:cubicBezTo>
                  <a:cubicBezTo>
                    <a:pt x="32" y="47"/>
                    <a:pt x="32" y="48"/>
                    <a:pt x="30" y="49"/>
                  </a:cubicBezTo>
                  <a:cubicBezTo>
                    <a:pt x="28" y="48"/>
                    <a:pt x="25" y="46"/>
                    <a:pt x="25" y="46"/>
                  </a:cubicBezTo>
                  <a:cubicBezTo>
                    <a:pt x="24" y="45"/>
                    <a:pt x="23" y="45"/>
                    <a:pt x="23" y="46"/>
                  </a:cubicBezTo>
                  <a:cubicBezTo>
                    <a:pt x="22" y="46"/>
                    <a:pt x="22" y="46"/>
                    <a:pt x="21" y="46"/>
                  </a:cubicBezTo>
                  <a:cubicBezTo>
                    <a:pt x="21" y="47"/>
                    <a:pt x="21" y="48"/>
                    <a:pt x="21" y="48"/>
                  </a:cubicBezTo>
                  <a:cubicBezTo>
                    <a:pt x="21" y="49"/>
                    <a:pt x="21" y="49"/>
                    <a:pt x="22" y="50"/>
                  </a:cubicBezTo>
                  <a:cubicBezTo>
                    <a:pt x="22" y="50"/>
                    <a:pt x="25" y="52"/>
                    <a:pt x="27" y="54"/>
                  </a:cubicBezTo>
                  <a:cubicBezTo>
                    <a:pt x="26" y="56"/>
                    <a:pt x="25" y="57"/>
                    <a:pt x="24" y="58"/>
                  </a:cubicBezTo>
                  <a:cubicBezTo>
                    <a:pt x="22" y="57"/>
                    <a:pt x="19" y="56"/>
                    <a:pt x="18" y="55"/>
                  </a:cubicBezTo>
                  <a:cubicBezTo>
                    <a:pt x="18" y="55"/>
                    <a:pt x="17" y="55"/>
                    <a:pt x="16" y="55"/>
                  </a:cubicBezTo>
                  <a:cubicBezTo>
                    <a:pt x="16" y="55"/>
                    <a:pt x="15" y="56"/>
                    <a:pt x="15" y="56"/>
                  </a:cubicBezTo>
                  <a:cubicBezTo>
                    <a:pt x="15" y="57"/>
                    <a:pt x="15" y="57"/>
                    <a:pt x="15" y="58"/>
                  </a:cubicBezTo>
                  <a:cubicBezTo>
                    <a:pt x="15" y="59"/>
                    <a:pt x="15" y="59"/>
                    <a:pt x="16" y="60"/>
                  </a:cubicBezTo>
                  <a:cubicBezTo>
                    <a:pt x="16" y="60"/>
                    <a:pt x="19" y="62"/>
                    <a:pt x="21" y="64"/>
                  </a:cubicBezTo>
                  <a:cubicBezTo>
                    <a:pt x="21" y="65"/>
                    <a:pt x="20" y="66"/>
                    <a:pt x="19" y="68"/>
                  </a:cubicBezTo>
                  <a:cubicBezTo>
                    <a:pt x="16" y="67"/>
                    <a:pt x="13" y="66"/>
                    <a:pt x="13" y="65"/>
                  </a:cubicBezTo>
                  <a:cubicBezTo>
                    <a:pt x="12" y="65"/>
                    <a:pt x="12" y="65"/>
                    <a:pt x="11" y="66"/>
                  </a:cubicBezTo>
                  <a:cubicBezTo>
                    <a:pt x="10" y="66"/>
                    <a:pt x="10" y="66"/>
                    <a:pt x="10" y="67"/>
                  </a:cubicBezTo>
                  <a:cubicBezTo>
                    <a:pt x="10" y="67"/>
                    <a:pt x="10" y="68"/>
                    <a:pt x="10" y="68"/>
                  </a:cubicBezTo>
                  <a:cubicBezTo>
                    <a:pt x="10" y="69"/>
                    <a:pt x="10" y="69"/>
                    <a:pt x="11" y="70"/>
                  </a:cubicBezTo>
                  <a:cubicBezTo>
                    <a:pt x="11" y="70"/>
                    <a:pt x="14" y="72"/>
                    <a:pt x="17" y="73"/>
                  </a:cubicBezTo>
                  <a:cubicBezTo>
                    <a:pt x="16" y="75"/>
                    <a:pt x="16" y="76"/>
                    <a:pt x="15" y="78"/>
                  </a:cubicBezTo>
                  <a:cubicBezTo>
                    <a:pt x="12" y="77"/>
                    <a:pt x="9" y="76"/>
                    <a:pt x="8" y="76"/>
                  </a:cubicBezTo>
                  <a:cubicBezTo>
                    <a:pt x="8" y="76"/>
                    <a:pt x="7" y="76"/>
                    <a:pt x="7" y="76"/>
                  </a:cubicBezTo>
                  <a:cubicBezTo>
                    <a:pt x="6" y="77"/>
                    <a:pt x="6" y="77"/>
                    <a:pt x="6" y="78"/>
                  </a:cubicBezTo>
                  <a:cubicBezTo>
                    <a:pt x="5" y="78"/>
                    <a:pt x="5" y="79"/>
                    <a:pt x="6" y="79"/>
                  </a:cubicBezTo>
                  <a:cubicBezTo>
                    <a:pt x="6" y="80"/>
                    <a:pt x="6" y="80"/>
                    <a:pt x="7" y="81"/>
                  </a:cubicBezTo>
                  <a:cubicBezTo>
                    <a:pt x="8" y="81"/>
                    <a:pt x="10" y="82"/>
                    <a:pt x="13" y="83"/>
                  </a:cubicBezTo>
                  <a:cubicBezTo>
                    <a:pt x="13" y="85"/>
                    <a:pt x="12" y="86"/>
                    <a:pt x="12" y="88"/>
                  </a:cubicBezTo>
                  <a:cubicBezTo>
                    <a:pt x="9" y="88"/>
                    <a:pt x="6" y="87"/>
                    <a:pt x="5" y="87"/>
                  </a:cubicBezTo>
                  <a:cubicBezTo>
                    <a:pt x="5" y="87"/>
                    <a:pt x="4" y="87"/>
                    <a:pt x="4" y="88"/>
                  </a:cubicBezTo>
                  <a:cubicBezTo>
                    <a:pt x="3" y="88"/>
                    <a:pt x="3" y="88"/>
                    <a:pt x="3" y="89"/>
                  </a:cubicBezTo>
                  <a:cubicBezTo>
                    <a:pt x="2" y="90"/>
                    <a:pt x="3" y="90"/>
                    <a:pt x="3" y="91"/>
                  </a:cubicBezTo>
                  <a:cubicBezTo>
                    <a:pt x="3" y="91"/>
                    <a:pt x="4" y="92"/>
                    <a:pt x="4" y="92"/>
                  </a:cubicBezTo>
                  <a:cubicBezTo>
                    <a:pt x="5" y="92"/>
                    <a:pt x="8" y="93"/>
                    <a:pt x="11" y="94"/>
                  </a:cubicBezTo>
                  <a:cubicBezTo>
                    <a:pt x="10" y="95"/>
                    <a:pt x="10" y="97"/>
                    <a:pt x="10" y="98"/>
                  </a:cubicBezTo>
                  <a:cubicBezTo>
                    <a:pt x="7" y="98"/>
                    <a:pt x="4" y="98"/>
                    <a:pt x="3" y="98"/>
                  </a:cubicBezTo>
                  <a:cubicBezTo>
                    <a:pt x="2" y="98"/>
                    <a:pt x="2" y="99"/>
                    <a:pt x="2" y="99"/>
                  </a:cubicBezTo>
                  <a:cubicBezTo>
                    <a:pt x="1" y="99"/>
                    <a:pt x="1" y="100"/>
                    <a:pt x="1" y="101"/>
                  </a:cubicBezTo>
                  <a:cubicBezTo>
                    <a:pt x="1" y="101"/>
                    <a:pt x="1" y="102"/>
                    <a:pt x="1" y="102"/>
                  </a:cubicBezTo>
                  <a:cubicBezTo>
                    <a:pt x="1" y="103"/>
                    <a:pt x="2" y="103"/>
                    <a:pt x="3" y="103"/>
                  </a:cubicBezTo>
                  <a:cubicBezTo>
                    <a:pt x="3" y="103"/>
                    <a:pt x="6" y="104"/>
                    <a:pt x="9" y="105"/>
                  </a:cubicBezTo>
                  <a:cubicBezTo>
                    <a:pt x="9" y="106"/>
                    <a:pt x="9" y="108"/>
                    <a:pt x="9" y="109"/>
                  </a:cubicBezTo>
                  <a:cubicBezTo>
                    <a:pt x="6" y="109"/>
                    <a:pt x="3" y="110"/>
                    <a:pt x="2" y="110"/>
                  </a:cubicBezTo>
                  <a:cubicBezTo>
                    <a:pt x="2" y="110"/>
                    <a:pt x="1" y="110"/>
                    <a:pt x="1" y="111"/>
                  </a:cubicBezTo>
                  <a:cubicBezTo>
                    <a:pt x="0" y="111"/>
                    <a:pt x="0" y="112"/>
                    <a:pt x="0" y="112"/>
                  </a:cubicBezTo>
                  <a:cubicBezTo>
                    <a:pt x="0" y="113"/>
                    <a:pt x="0" y="113"/>
                    <a:pt x="1" y="114"/>
                  </a:cubicBezTo>
                  <a:cubicBezTo>
                    <a:pt x="1" y="114"/>
                    <a:pt x="2" y="115"/>
                    <a:pt x="2" y="115"/>
                  </a:cubicBezTo>
                  <a:cubicBezTo>
                    <a:pt x="3" y="115"/>
                    <a:pt x="6" y="115"/>
                    <a:pt x="9" y="115"/>
                  </a:cubicBezTo>
                  <a:cubicBezTo>
                    <a:pt x="9" y="117"/>
                    <a:pt x="9" y="118"/>
                    <a:pt x="9" y="120"/>
                  </a:cubicBezTo>
                  <a:cubicBezTo>
                    <a:pt x="6" y="121"/>
                    <a:pt x="3" y="121"/>
                    <a:pt x="3" y="121"/>
                  </a:cubicBezTo>
                  <a:cubicBezTo>
                    <a:pt x="2" y="121"/>
                    <a:pt x="1" y="122"/>
                    <a:pt x="1" y="122"/>
                  </a:cubicBezTo>
                  <a:cubicBezTo>
                    <a:pt x="1" y="123"/>
                    <a:pt x="1" y="123"/>
                    <a:pt x="1" y="124"/>
                  </a:cubicBezTo>
                  <a:cubicBezTo>
                    <a:pt x="1" y="125"/>
                    <a:pt x="1" y="125"/>
                    <a:pt x="2" y="125"/>
                  </a:cubicBezTo>
                  <a:cubicBezTo>
                    <a:pt x="2" y="126"/>
                    <a:pt x="2" y="126"/>
                    <a:pt x="3" y="126"/>
                  </a:cubicBezTo>
                  <a:cubicBezTo>
                    <a:pt x="4" y="126"/>
                    <a:pt x="7" y="126"/>
                    <a:pt x="10" y="126"/>
                  </a:cubicBezTo>
                  <a:cubicBezTo>
                    <a:pt x="10" y="128"/>
                    <a:pt x="10" y="129"/>
                    <a:pt x="11" y="131"/>
                  </a:cubicBezTo>
                  <a:cubicBezTo>
                    <a:pt x="8" y="132"/>
                    <a:pt x="5" y="132"/>
                    <a:pt x="4" y="133"/>
                  </a:cubicBezTo>
                  <a:cubicBezTo>
                    <a:pt x="4" y="133"/>
                    <a:pt x="3" y="133"/>
                    <a:pt x="3" y="134"/>
                  </a:cubicBezTo>
                  <a:cubicBezTo>
                    <a:pt x="3" y="134"/>
                    <a:pt x="2" y="135"/>
                    <a:pt x="3" y="135"/>
                  </a:cubicBezTo>
                  <a:cubicBezTo>
                    <a:pt x="3" y="136"/>
                    <a:pt x="3" y="137"/>
                    <a:pt x="4" y="137"/>
                  </a:cubicBezTo>
                  <a:cubicBezTo>
                    <a:pt x="4" y="137"/>
                    <a:pt x="5" y="137"/>
                    <a:pt x="5" y="137"/>
                  </a:cubicBezTo>
                  <a:cubicBezTo>
                    <a:pt x="6" y="137"/>
                    <a:pt x="9" y="137"/>
                    <a:pt x="12" y="137"/>
                  </a:cubicBezTo>
                  <a:cubicBezTo>
                    <a:pt x="12" y="138"/>
                    <a:pt x="13" y="140"/>
                    <a:pt x="13" y="141"/>
                  </a:cubicBezTo>
                  <a:cubicBezTo>
                    <a:pt x="10" y="142"/>
                    <a:pt x="8" y="144"/>
                    <a:pt x="7" y="144"/>
                  </a:cubicBezTo>
                  <a:cubicBezTo>
                    <a:pt x="6" y="144"/>
                    <a:pt x="6" y="145"/>
                    <a:pt x="6" y="145"/>
                  </a:cubicBezTo>
                  <a:cubicBezTo>
                    <a:pt x="5" y="146"/>
                    <a:pt x="5" y="146"/>
                    <a:pt x="6" y="147"/>
                  </a:cubicBezTo>
                  <a:cubicBezTo>
                    <a:pt x="6" y="147"/>
                    <a:pt x="6" y="148"/>
                    <a:pt x="7" y="148"/>
                  </a:cubicBezTo>
                  <a:cubicBezTo>
                    <a:pt x="7" y="148"/>
                    <a:pt x="8" y="149"/>
                    <a:pt x="8" y="148"/>
                  </a:cubicBezTo>
                  <a:cubicBezTo>
                    <a:pt x="9" y="148"/>
                    <a:pt x="12" y="148"/>
                    <a:pt x="15" y="147"/>
                  </a:cubicBezTo>
                  <a:cubicBezTo>
                    <a:pt x="16" y="148"/>
                    <a:pt x="16" y="150"/>
                    <a:pt x="17" y="151"/>
                  </a:cubicBezTo>
                  <a:cubicBezTo>
                    <a:pt x="14" y="153"/>
                    <a:pt x="11" y="154"/>
                    <a:pt x="11" y="155"/>
                  </a:cubicBezTo>
                  <a:cubicBezTo>
                    <a:pt x="10" y="155"/>
                    <a:pt x="10" y="155"/>
                    <a:pt x="10" y="156"/>
                  </a:cubicBezTo>
                  <a:cubicBezTo>
                    <a:pt x="10" y="157"/>
                    <a:pt x="10" y="157"/>
                    <a:pt x="10" y="158"/>
                  </a:cubicBezTo>
                  <a:cubicBezTo>
                    <a:pt x="10" y="158"/>
                    <a:pt x="10" y="159"/>
                    <a:pt x="11" y="159"/>
                  </a:cubicBezTo>
                  <a:cubicBezTo>
                    <a:pt x="12" y="159"/>
                    <a:pt x="12" y="159"/>
                    <a:pt x="13" y="159"/>
                  </a:cubicBezTo>
                  <a:cubicBezTo>
                    <a:pt x="13" y="159"/>
                    <a:pt x="16" y="158"/>
                    <a:pt x="19" y="157"/>
                  </a:cubicBezTo>
                  <a:cubicBezTo>
                    <a:pt x="20" y="158"/>
                    <a:pt x="21" y="160"/>
                    <a:pt x="21" y="161"/>
                  </a:cubicBezTo>
                  <a:cubicBezTo>
                    <a:pt x="19" y="163"/>
                    <a:pt x="16" y="165"/>
                    <a:pt x="16" y="165"/>
                  </a:cubicBezTo>
                  <a:cubicBezTo>
                    <a:pt x="15" y="165"/>
                    <a:pt x="15" y="166"/>
                    <a:pt x="15" y="166"/>
                  </a:cubicBezTo>
                  <a:cubicBezTo>
                    <a:pt x="15" y="167"/>
                    <a:pt x="15" y="168"/>
                    <a:pt x="15" y="168"/>
                  </a:cubicBezTo>
                  <a:cubicBezTo>
                    <a:pt x="15" y="169"/>
                    <a:pt x="16" y="169"/>
                    <a:pt x="16" y="169"/>
                  </a:cubicBezTo>
                  <a:cubicBezTo>
                    <a:pt x="17" y="169"/>
                    <a:pt x="18" y="169"/>
                    <a:pt x="18" y="169"/>
                  </a:cubicBezTo>
                  <a:cubicBezTo>
                    <a:pt x="19" y="169"/>
                    <a:pt x="22" y="168"/>
                    <a:pt x="24" y="166"/>
                  </a:cubicBezTo>
                  <a:cubicBezTo>
                    <a:pt x="25" y="168"/>
                    <a:pt x="26" y="169"/>
                    <a:pt x="27" y="170"/>
                  </a:cubicBezTo>
                  <a:cubicBezTo>
                    <a:pt x="25" y="172"/>
                    <a:pt x="22" y="174"/>
                    <a:pt x="22" y="175"/>
                  </a:cubicBezTo>
                  <a:cubicBezTo>
                    <a:pt x="21" y="175"/>
                    <a:pt x="21" y="176"/>
                    <a:pt x="21" y="176"/>
                  </a:cubicBezTo>
                  <a:cubicBezTo>
                    <a:pt x="21" y="177"/>
                    <a:pt x="21" y="177"/>
                    <a:pt x="21" y="178"/>
                  </a:cubicBezTo>
                  <a:cubicBezTo>
                    <a:pt x="22" y="178"/>
                    <a:pt x="22" y="179"/>
                    <a:pt x="23" y="179"/>
                  </a:cubicBezTo>
                  <a:cubicBezTo>
                    <a:pt x="23" y="179"/>
                    <a:pt x="24" y="179"/>
                    <a:pt x="25" y="179"/>
                  </a:cubicBezTo>
                  <a:cubicBezTo>
                    <a:pt x="25" y="178"/>
                    <a:pt x="28" y="177"/>
                    <a:pt x="30" y="175"/>
                  </a:cubicBezTo>
                  <a:cubicBezTo>
                    <a:pt x="32" y="176"/>
                    <a:pt x="32" y="177"/>
                    <a:pt x="33" y="179"/>
                  </a:cubicBezTo>
                  <a:cubicBezTo>
                    <a:pt x="31" y="181"/>
                    <a:pt x="29" y="183"/>
                    <a:pt x="29" y="184"/>
                  </a:cubicBezTo>
                  <a:cubicBezTo>
                    <a:pt x="28" y="184"/>
                    <a:pt x="28" y="185"/>
                    <a:pt x="28" y="185"/>
                  </a:cubicBezTo>
                  <a:cubicBezTo>
                    <a:pt x="28" y="186"/>
                    <a:pt x="28" y="187"/>
                    <a:pt x="29" y="187"/>
                  </a:cubicBezTo>
                  <a:cubicBezTo>
                    <a:pt x="29" y="187"/>
                    <a:pt x="30" y="188"/>
                    <a:pt x="30" y="188"/>
                  </a:cubicBezTo>
                  <a:cubicBezTo>
                    <a:pt x="31" y="188"/>
                    <a:pt x="32" y="188"/>
                    <a:pt x="32" y="187"/>
                  </a:cubicBezTo>
                  <a:cubicBezTo>
                    <a:pt x="33" y="187"/>
                    <a:pt x="35" y="185"/>
                    <a:pt x="38" y="183"/>
                  </a:cubicBezTo>
                  <a:cubicBezTo>
                    <a:pt x="39" y="184"/>
                    <a:pt x="40" y="186"/>
                    <a:pt x="41" y="187"/>
                  </a:cubicBezTo>
                  <a:cubicBezTo>
                    <a:pt x="39" y="189"/>
                    <a:pt x="37" y="192"/>
                    <a:pt x="37" y="192"/>
                  </a:cubicBezTo>
                  <a:cubicBezTo>
                    <a:pt x="36" y="193"/>
                    <a:pt x="36" y="193"/>
                    <a:pt x="36" y="194"/>
                  </a:cubicBezTo>
                  <a:cubicBezTo>
                    <a:pt x="36" y="194"/>
                    <a:pt x="37" y="195"/>
                    <a:pt x="37" y="195"/>
                  </a:cubicBezTo>
                  <a:cubicBezTo>
                    <a:pt x="38" y="196"/>
                    <a:pt x="38" y="196"/>
                    <a:pt x="39" y="196"/>
                  </a:cubicBezTo>
                  <a:cubicBezTo>
                    <a:pt x="39" y="196"/>
                    <a:pt x="40" y="196"/>
                    <a:pt x="40" y="195"/>
                  </a:cubicBezTo>
                  <a:cubicBezTo>
                    <a:pt x="41" y="195"/>
                    <a:pt x="43" y="193"/>
                    <a:pt x="45" y="191"/>
                  </a:cubicBezTo>
                  <a:cubicBezTo>
                    <a:pt x="46" y="192"/>
                    <a:pt x="48" y="193"/>
                    <a:pt x="49" y="194"/>
                  </a:cubicBezTo>
                  <a:cubicBezTo>
                    <a:pt x="47" y="196"/>
                    <a:pt x="46" y="199"/>
                    <a:pt x="45" y="200"/>
                  </a:cubicBezTo>
                  <a:cubicBezTo>
                    <a:pt x="45" y="200"/>
                    <a:pt x="45" y="201"/>
                    <a:pt x="45" y="201"/>
                  </a:cubicBezTo>
                  <a:cubicBezTo>
                    <a:pt x="45" y="202"/>
                    <a:pt x="46" y="202"/>
                    <a:pt x="46" y="203"/>
                  </a:cubicBezTo>
                  <a:cubicBezTo>
                    <a:pt x="47" y="203"/>
                    <a:pt x="47" y="203"/>
                    <a:pt x="48" y="203"/>
                  </a:cubicBezTo>
                  <a:cubicBezTo>
                    <a:pt x="48" y="203"/>
                    <a:pt x="49" y="203"/>
                    <a:pt x="49" y="202"/>
                  </a:cubicBezTo>
                  <a:cubicBezTo>
                    <a:pt x="50" y="202"/>
                    <a:pt x="52" y="199"/>
                    <a:pt x="54" y="197"/>
                  </a:cubicBezTo>
                  <a:cubicBezTo>
                    <a:pt x="55" y="198"/>
                    <a:pt x="56" y="199"/>
                    <a:pt x="58" y="200"/>
                  </a:cubicBezTo>
                  <a:cubicBezTo>
                    <a:pt x="57" y="202"/>
                    <a:pt x="55" y="205"/>
                    <a:pt x="55" y="206"/>
                  </a:cubicBezTo>
                  <a:cubicBezTo>
                    <a:pt x="55" y="207"/>
                    <a:pt x="55" y="207"/>
                    <a:pt x="55" y="208"/>
                  </a:cubicBezTo>
                  <a:cubicBezTo>
                    <a:pt x="55" y="208"/>
                    <a:pt x="55" y="209"/>
                    <a:pt x="56" y="209"/>
                  </a:cubicBezTo>
                  <a:cubicBezTo>
                    <a:pt x="56" y="209"/>
                    <a:pt x="57" y="209"/>
                    <a:pt x="58" y="209"/>
                  </a:cubicBezTo>
                  <a:cubicBezTo>
                    <a:pt x="58" y="209"/>
                    <a:pt x="59" y="209"/>
                    <a:pt x="59" y="208"/>
                  </a:cubicBezTo>
                  <a:cubicBezTo>
                    <a:pt x="59" y="208"/>
                    <a:pt x="61" y="205"/>
                    <a:pt x="63" y="203"/>
                  </a:cubicBezTo>
                  <a:cubicBezTo>
                    <a:pt x="64" y="204"/>
                    <a:pt x="66" y="204"/>
                    <a:pt x="67" y="205"/>
                  </a:cubicBezTo>
                  <a:cubicBezTo>
                    <a:pt x="66" y="208"/>
                    <a:pt x="65" y="211"/>
                    <a:pt x="65" y="211"/>
                  </a:cubicBezTo>
                  <a:cubicBezTo>
                    <a:pt x="65" y="212"/>
                    <a:pt x="65" y="213"/>
                    <a:pt x="65" y="213"/>
                  </a:cubicBezTo>
                  <a:cubicBezTo>
                    <a:pt x="65" y="214"/>
                    <a:pt x="66" y="214"/>
                    <a:pt x="66" y="214"/>
                  </a:cubicBezTo>
                  <a:cubicBezTo>
                    <a:pt x="67" y="215"/>
                    <a:pt x="68" y="215"/>
                    <a:pt x="68" y="214"/>
                  </a:cubicBezTo>
                  <a:cubicBezTo>
                    <a:pt x="69" y="214"/>
                    <a:pt x="69" y="214"/>
                    <a:pt x="69" y="213"/>
                  </a:cubicBezTo>
                  <a:cubicBezTo>
                    <a:pt x="70" y="213"/>
                    <a:pt x="71" y="210"/>
                    <a:pt x="73" y="207"/>
                  </a:cubicBezTo>
                  <a:cubicBezTo>
                    <a:pt x="74" y="208"/>
                    <a:pt x="76" y="208"/>
                    <a:pt x="77" y="209"/>
                  </a:cubicBezTo>
                  <a:cubicBezTo>
                    <a:pt x="76" y="212"/>
                    <a:pt x="76" y="215"/>
                    <a:pt x="76" y="216"/>
                  </a:cubicBezTo>
                  <a:cubicBezTo>
                    <a:pt x="76" y="216"/>
                    <a:pt x="76" y="217"/>
                    <a:pt x="76" y="218"/>
                  </a:cubicBezTo>
                  <a:cubicBezTo>
                    <a:pt x="76" y="218"/>
                    <a:pt x="77" y="218"/>
                    <a:pt x="77" y="219"/>
                  </a:cubicBezTo>
                  <a:cubicBezTo>
                    <a:pt x="78" y="219"/>
                    <a:pt x="78" y="219"/>
                    <a:pt x="79" y="218"/>
                  </a:cubicBezTo>
                  <a:cubicBezTo>
                    <a:pt x="80" y="218"/>
                    <a:pt x="80" y="218"/>
                    <a:pt x="80" y="217"/>
                  </a:cubicBezTo>
                  <a:cubicBezTo>
                    <a:pt x="80" y="217"/>
                    <a:pt x="82" y="214"/>
                    <a:pt x="83" y="211"/>
                  </a:cubicBezTo>
                  <a:cubicBezTo>
                    <a:pt x="84" y="211"/>
                    <a:pt x="86" y="212"/>
                    <a:pt x="87" y="212"/>
                  </a:cubicBezTo>
                  <a:cubicBezTo>
                    <a:pt x="87" y="215"/>
                    <a:pt x="87" y="218"/>
                    <a:pt x="87" y="219"/>
                  </a:cubicBezTo>
                  <a:cubicBezTo>
                    <a:pt x="87" y="220"/>
                    <a:pt x="87" y="220"/>
                    <a:pt x="87" y="221"/>
                  </a:cubicBezTo>
                  <a:cubicBezTo>
                    <a:pt x="87" y="221"/>
                    <a:pt x="88" y="221"/>
                    <a:pt x="89" y="222"/>
                  </a:cubicBezTo>
                  <a:cubicBezTo>
                    <a:pt x="89" y="222"/>
                    <a:pt x="90" y="222"/>
                    <a:pt x="90" y="221"/>
                  </a:cubicBezTo>
                  <a:cubicBezTo>
                    <a:pt x="91" y="221"/>
                    <a:pt x="91" y="221"/>
                    <a:pt x="91" y="220"/>
                  </a:cubicBezTo>
                  <a:cubicBezTo>
                    <a:pt x="92" y="219"/>
                    <a:pt x="92" y="216"/>
                    <a:pt x="93" y="213"/>
                  </a:cubicBezTo>
                  <a:cubicBezTo>
                    <a:pt x="95" y="214"/>
                    <a:pt x="96" y="214"/>
                    <a:pt x="98" y="214"/>
                  </a:cubicBezTo>
                  <a:cubicBezTo>
                    <a:pt x="98" y="217"/>
                    <a:pt x="98" y="220"/>
                    <a:pt x="98" y="221"/>
                  </a:cubicBezTo>
                  <a:cubicBezTo>
                    <a:pt x="98" y="222"/>
                    <a:pt x="98" y="222"/>
                    <a:pt x="99" y="223"/>
                  </a:cubicBezTo>
                  <a:cubicBezTo>
                    <a:pt x="99" y="223"/>
                    <a:pt x="99" y="223"/>
                    <a:pt x="100" y="223"/>
                  </a:cubicBezTo>
                  <a:cubicBezTo>
                    <a:pt x="101" y="223"/>
                    <a:pt x="101" y="223"/>
                    <a:pt x="102" y="223"/>
                  </a:cubicBezTo>
                  <a:cubicBezTo>
                    <a:pt x="102" y="223"/>
                    <a:pt x="103" y="222"/>
                    <a:pt x="103" y="222"/>
                  </a:cubicBezTo>
                  <a:cubicBezTo>
                    <a:pt x="103" y="221"/>
                    <a:pt x="103" y="218"/>
                    <a:pt x="104" y="215"/>
                  </a:cubicBezTo>
                  <a:cubicBezTo>
                    <a:pt x="106" y="215"/>
                    <a:pt x="107" y="215"/>
                    <a:pt x="109" y="215"/>
                  </a:cubicBezTo>
                  <a:cubicBezTo>
                    <a:pt x="109" y="218"/>
                    <a:pt x="109" y="221"/>
                    <a:pt x="109" y="222"/>
                  </a:cubicBezTo>
                  <a:cubicBezTo>
                    <a:pt x="109" y="223"/>
                    <a:pt x="110" y="223"/>
                    <a:pt x="110" y="223"/>
                  </a:cubicBezTo>
                  <a:cubicBezTo>
                    <a:pt x="111" y="224"/>
                    <a:pt x="111" y="224"/>
                    <a:pt x="112" y="224"/>
                  </a:cubicBezTo>
                  <a:cubicBezTo>
                    <a:pt x="112" y="224"/>
                    <a:pt x="113" y="224"/>
                    <a:pt x="113" y="223"/>
                  </a:cubicBezTo>
                  <a:cubicBezTo>
                    <a:pt x="114" y="223"/>
                    <a:pt x="114" y="223"/>
                    <a:pt x="114" y="222"/>
                  </a:cubicBezTo>
                  <a:cubicBezTo>
                    <a:pt x="114" y="221"/>
                    <a:pt x="115" y="218"/>
                    <a:pt x="115" y="215"/>
                  </a:cubicBezTo>
                  <a:cubicBezTo>
                    <a:pt x="116" y="215"/>
                    <a:pt x="118" y="215"/>
                    <a:pt x="119" y="215"/>
                  </a:cubicBezTo>
                  <a:cubicBezTo>
                    <a:pt x="120" y="218"/>
                    <a:pt x="121" y="221"/>
                    <a:pt x="121" y="222"/>
                  </a:cubicBezTo>
                  <a:cubicBezTo>
                    <a:pt x="121" y="222"/>
                    <a:pt x="121" y="223"/>
                    <a:pt x="122" y="223"/>
                  </a:cubicBezTo>
                  <a:cubicBezTo>
                    <a:pt x="122" y="223"/>
                    <a:pt x="123" y="223"/>
                    <a:pt x="123" y="223"/>
                  </a:cubicBezTo>
                  <a:cubicBezTo>
                    <a:pt x="124" y="223"/>
                    <a:pt x="125" y="223"/>
                    <a:pt x="125" y="223"/>
                  </a:cubicBezTo>
                  <a:cubicBezTo>
                    <a:pt x="125" y="222"/>
                    <a:pt x="126" y="222"/>
                    <a:pt x="126" y="221"/>
                  </a:cubicBezTo>
                  <a:cubicBezTo>
                    <a:pt x="126" y="220"/>
                    <a:pt x="125" y="217"/>
                    <a:pt x="125" y="214"/>
                  </a:cubicBezTo>
                  <a:cubicBezTo>
                    <a:pt x="127" y="214"/>
                    <a:pt x="129" y="214"/>
                    <a:pt x="130" y="213"/>
                  </a:cubicBezTo>
                  <a:cubicBezTo>
                    <a:pt x="131" y="216"/>
                    <a:pt x="132" y="219"/>
                    <a:pt x="132" y="220"/>
                  </a:cubicBezTo>
                  <a:cubicBezTo>
                    <a:pt x="132" y="221"/>
                    <a:pt x="133" y="221"/>
                    <a:pt x="133" y="221"/>
                  </a:cubicBezTo>
                  <a:cubicBezTo>
                    <a:pt x="134" y="222"/>
                    <a:pt x="134" y="222"/>
                    <a:pt x="135" y="222"/>
                  </a:cubicBezTo>
                  <a:cubicBezTo>
                    <a:pt x="136" y="221"/>
                    <a:pt x="136" y="221"/>
                    <a:pt x="136" y="221"/>
                  </a:cubicBezTo>
                  <a:cubicBezTo>
                    <a:pt x="137" y="220"/>
                    <a:pt x="137" y="220"/>
                    <a:pt x="137" y="219"/>
                  </a:cubicBezTo>
                  <a:cubicBezTo>
                    <a:pt x="137" y="218"/>
                    <a:pt x="136" y="215"/>
                    <a:pt x="136" y="212"/>
                  </a:cubicBezTo>
                  <a:cubicBezTo>
                    <a:pt x="138" y="212"/>
                    <a:pt x="139" y="211"/>
                    <a:pt x="141" y="211"/>
                  </a:cubicBezTo>
                  <a:cubicBezTo>
                    <a:pt x="142" y="214"/>
                    <a:pt x="143" y="217"/>
                    <a:pt x="143" y="217"/>
                  </a:cubicBezTo>
                  <a:cubicBezTo>
                    <a:pt x="144" y="218"/>
                    <a:pt x="144" y="218"/>
                    <a:pt x="144" y="218"/>
                  </a:cubicBezTo>
                  <a:cubicBezTo>
                    <a:pt x="145" y="219"/>
                    <a:pt x="146" y="219"/>
                    <a:pt x="146" y="219"/>
                  </a:cubicBezTo>
                  <a:cubicBezTo>
                    <a:pt x="147" y="218"/>
                    <a:pt x="147" y="218"/>
                    <a:pt x="148" y="218"/>
                  </a:cubicBezTo>
                  <a:cubicBezTo>
                    <a:pt x="148" y="217"/>
                    <a:pt x="148" y="216"/>
                    <a:pt x="148" y="216"/>
                  </a:cubicBezTo>
                  <a:cubicBezTo>
                    <a:pt x="148" y="215"/>
                    <a:pt x="147" y="212"/>
                    <a:pt x="146" y="209"/>
                  </a:cubicBezTo>
                  <a:cubicBezTo>
                    <a:pt x="148" y="208"/>
                    <a:pt x="149" y="208"/>
                    <a:pt x="151" y="207"/>
                  </a:cubicBezTo>
                  <a:cubicBezTo>
                    <a:pt x="152" y="210"/>
                    <a:pt x="154" y="213"/>
                    <a:pt x="154" y="213"/>
                  </a:cubicBezTo>
                  <a:cubicBezTo>
                    <a:pt x="154" y="214"/>
                    <a:pt x="155" y="214"/>
                    <a:pt x="155" y="214"/>
                  </a:cubicBezTo>
                  <a:cubicBezTo>
                    <a:pt x="156" y="215"/>
                    <a:pt x="157" y="215"/>
                    <a:pt x="157" y="214"/>
                  </a:cubicBezTo>
                  <a:cubicBezTo>
                    <a:pt x="158" y="214"/>
                    <a:pt x="158" y="214"/>
                    <a:pt x="158" y="213"/>
                  </a:cubicBezTo>
                  <a:cubicBezTo>
                    <a:pt x="159" y="213"/>
                    <a:pt x="159" y="212"/>
                    <a:pt x="159" y="211"/>
                  </a:cubicBezTo>
                  <a:cubicBezTo>
                    <a:pt x="158" y="211"/>
                    <a:pt x="157" y="208"/>
                    <a:pt x="156" y="205"/>
                  </a:cubicBezTo>
                  <a:cubicBezTo>
                    <a:pt x="158" y="204"/>
                    <a:pt x="159" y="204"/>
                    <a:pt x="160" y="203"/>
                  </a:cubicBezTo>
                  <a:cubicBezTo>
                    <a:pt x="162" y="205"/>
                    <a:pt x="164" y="208"/>
                    <a:pt x="164" y="208"/>
                  </a:cubicBezTo>
                  <a:cubicBezTo>
                    <a:pt x="165" y="209"/>
                    <a:pt x="165" y="209"/>
                    <a:pt x="166" y="209"/>
                  </a:cubicBezTo>
                  <a:cubicBezTo>
                    <a:pt x="166" y="209"/>
                    <a:pt x="167" y="209"/>
                    <a:pt x="168" y="209"/>
                  </a:cubicBezTo>
                  <a:cubicBezTo>
                    <a:pt x="168" y="209"/>
                    <a:pt x="168" y="208"/>
                    <a:pt x="169" y="208"/>
                  </a:cubicBezTo>
                  <a:cubicBezTo>
                    <a:pt x="169" y="207"/>
                    <a:pt x="169" y="207"/>
                    <a:pt x="169" y="206"/>
                  </a:cubicBezTo>
                  <a:cubicBezTo>
                    <a:pt x="168" y="205"/>
                    <a:pt x="167" y="202"/>
                    <a:pt x="166" y="200"/>
                  </a:cubicBezTo>
                  <a:cubicBezTo>
                    <a:pt x="167" y="199"/>
                    <a:pt x="168" y="198"/>
                    <a:pt x="170" y="197"/>
                  </a:cubicBezTo>
                  <a:cubicBezTo>
                    <a:pt x="172" y="199"/>
                    <a:pt x="174" y="202"/>
                    <a:pt x="174" y="202"/>
                  </a:cubicBezTo>
                  <a:cubicBezTo>
                    <a:pt x="175" y="203"/>
                    <a:pt x="175" y="203"/>
                    <a:pt x="176" y="203"/>
                  </a:cubicBezTo>
                  <a:cubicBezTo>
                    <a:pt x="176" y="203"/>
                    <a:pt x="177" y="203"/>
                    <a:pt x="177" y="203"/>
                  </a:cubicBezTo>
                  <a:cubicBezTo>
                    <a:pt x="178" y="202"/>
                    <a:pt x="178" y="202"/>
                    <a:pt x="178" y="201"/>
                  </a:cubicBezTo>
                  <a:cubicBezTo>
                    <a:pt x="178" y="201"/>
                    <a:pt x="178" y="200"/>
                    <a:pt x="178" y="200"/>
                  </a:cubicBezTo>
                  <a:cubicBezTo>
                    <a:pt x="178" y="199"/>
                    <a:pt x="176" y="196"/>
                    <a:pt x="175" y="194"/>
                  </a:cubicBezTo>
                  <a:cubicBezTo>
                    <a:pt x="176" y="193"/>
                    <a:pt x="177" y="192"/>
                    <a:pt x="178" y="191"/>
                  </a:cubicBezTo>
                  <a:cubicBezTo>
                    <a:pt x="180" y="193"/>
                    <a:pt x="183" y="195"/>
                    <a:pt x="183" y="195"/>
                  </a:cubicBezTo>
                  <a:cubicBezTo>
                    <a:pt x="184" y="196"/>
                    <a:pt x="184" y="196"/>
                    <a:pt x="185" y="196"/>
                  </a:cubicBezTo>
                  <a:cubicBezTo>
                    <a:pt x="185" y="196"/>
                    <a:pt x="186" y="196"/>
                    <a:pt x="186" y="195"/>
                  </a:cubicBezTo>
                  <a:cubicBezTo>
                    <a:pt x="187" y="195"/>
                    <a:pt x="187" y="194"/>
                    <a:pt x="187" y="194"/>
                  </a:cubicBezTo>
                  <a:cubicBezTo>
                    <a:pt x="187" y="193"/>
                    <a:pt x="187" y="193"/>
                    <a:pt x="187" y="192"/>
                  </a:cubicBezTo>
                  <a:cubicBezTo>
                    <a:pt x="186" y="192"/>
                    <a:pt x="184" y="189"/>
                    <a:pt x="183" y="187"/>
                  </a:cubicBezTo>
                  <a:cubicBezTo>
                    <a:pt x="184" y="186"/>
                    <a:pt x="185" y="184"/>
                    <a:pt x="186" y="183"/>
                  </a:cubicBezTo>
                  <a:cubicBezTo>
                    <a:pt x="188" y="185"/>
                    <a:pt x="191" y="187"/>
                    <a:pt x="191" y="187"/>
                  </a:cubicBezTo>
                  <a:cubicBezTo>
                    <a:pt x="192" y="188"/>
                    <a:pt x="193" y="188"/>
                    <a:pt x="193" y="188"/>
                  </a:cubicBezTo>
                  <a:cubicBezTo>
                    <a:pt x="194" y="188"/>
                    <a:pt x="194" y="187"/>
                    <a:pt x="195" y="187"/>
                  </a:cubicBezTo>
                  <a:cubicBezTo>
                    <a:pt x="195" y="187"/>
                    <a:pt x="195" y="186"/>
                    <a:pt x="195" y="185"/>
                  </a:cubicBezTo>
                  <a:cubicBezTo>
                    <a:pt x="195" y="185"/>
                    <a:pt x="195" y="184"/>
                    <a:pt x="195" y="184"/>
                  </a:cubicBezTo>
                  <a:cubicBezTo>
                    <a:pt x="194" y="183"/>
                    <a:pt x="192" y="181"/>
                    <a:pt x="190" y="179"/>
                  </a:cubicBezTo>
                  <a:cubicBezTo>
                    <a:pt x="191" y="177"/>
                    <a:pt x="192" y="176"/>
                    <a:pt x="193" y="175"/>
                  </a:cubicBezTo>
                  <a:cubicBezTo>
                    <a:pt x="196" y="177"/>
                    <a:pt x="198" y="178"/>
                    <a:pt x="199" y="179"/>
                  </a:cubicBezTo>
                  <a:cubicBezTo>
                    <a:pt x="199" y="179"/>
                    <a:pt x="200" y="179"/>
                    <a:pt x="201" y="179"/>
                  </a:cubicBezTo>
                  <a:cubicBezTo>
                    <a:pt x="201" y="179"/>
                    <a:pt x="202" y="178"/>
                    <a:pt x="202" y="178"/>
                  </a:cubicBezTo>
                  <a:cubicBezTo>
                    <a:pt x="202" y="177"/>
                    <a:pt x="203" y="177"/>
                    <a:pt x="202" y="176"/>
                  </a:cubicBezTo>
                  <a:cubicBezTo>
                    <a:pt x="202" y="176"/>
                    <a:pt x="202" y="175"/>
                    <a:pt x="202" y="175"/>
                  </a:cubicBezTo>
                  <a:cubicBezTo>
                    <a:pt x="201" y="174"/>
                    <a:pt x="199" y="172"/>
                    <a:pt x="197" y="170"/>
                  </a:cubicBezTo>
                  <a:cubicBezTo>
                    <a:pt x="197" y="169"/>
                    <a:pt x="198" y="168"/>
                    <a:pt x="199" y="166"/>
                  </a:cubicBezTo>
                  <a:cubicBezTo>
                    <a:pt x="202" y="168"/>
                    <a:pt x="205" y="169"/>
                    <a:pt x="205" y="169"/>
                  </a:cubicBezTo>
                  <a:cubicBezTo>
                    <a:pt x="206" y="169"/>
                    <a:pt x="207" y="169"/>
                    <a:pt x="207" y="169"/>
                  </a:cubicBezTo>
                  <a:cubicBezTo>
                    <a:pt x="208" y="169"/>
                    <a:pt x="208" y="169"/>
                    <a:pt x="208" y="168"/>
                  </a:cubicBezTo>
                  <a:cubicBezTo>
                    <a:pt x="209" y="168"/>
                    <a:pt x="209" y="167"/>
                    <a:pt x="209" y="166"/>
                  </a:cubicBezTo>
                  <a:cubicBezTo>
                    <a:pt x="209" y="166"/>
                    <a:pt x="208" y="165"/>
                    <a:pt x="208" y="165"/>
                  </a:cubicBezTo>
                  <a:cubicBezTo>
                    <a:pt x="207" y="165"/>
                    <a:pt x="205" y="163"/>
                    <a:pt x="202" y="161"/>
                  </a:cubicBezTo>
                  <a:cubicBezTo>
                    <a:pt x="203" y="160"/>
                    <a:pt x="204" y="158"/>
                    <a:pt x="204" y="157"/>
                  </a:cubicBezTo>
                  <a:cubicBezTo>
                    <a:pt x="207" y="158"/>
                    <a:pt x="210" y="159"/>
                    <a:pt x="211" y="159"/>
                  </a:cubicBezTo>
                  <a:cubicBezTo>
                    <a:pt x="211" y="159"/>
                    <a:pt x="212" y="159"/>
                    <a:pt x="212" y="159"/>
                  </a:cubicBezTo>
                  <a:cubicBezTo>
                    <a:pt x="213" y="159"/>
                    <a:pt x="213" y="158"/>
                    <a:pt x="214" y="158"/>
                  </a:cubicBezTo>
                  <a:cubicBezTo>
                    <a:pt x="214" y="157"/>
                    <a:pt x="214" y="157"/>
                    <a:pt x="214" y="156"/>
                  </a:cubicBezTo>
                  <a:cubicBezTo>
                    <a:pt x="214" y="155"/>
                    <a:pt x="213" y="155"/>
                    <a:pt x="213" y="155"/>
                  </a:cubicBezTo>
                  <a:cubicBezTo>
                    <a:pt x="212" y="154"/>
                    <a:pt x="209" y="153"/>
                    <a:pt x="207" y="151"/>
                  </a:cubicBezTo>
                  <a:cubicBezTo>
                    <a:pt x="207" y="150"/>
                    <a:pt x="208" y="148"/>
                    <a:pt x="208" y="147"/>
                  </a:cubicBezTo>
                  <a:cubicBezTo>
                    <a:pt x="211" y="148"/>
                    <a:pt x="215" y="148"/>
                    <a:pt x="215" y="148"/>
                  </a:cubicBezTo>
                  <a:cubicBezTo>
                    <a:pt x="216" y="149"/>
                    <a:pt x="216" y="148"/>
                    <a:pt x="217" y="148"/>
                  </a:cubicBezTo>
                  <a:cubicBezTo>
                    <a:pt x="217" y="148"/>
                    <a:pt x="218" y="147"/>
                    <a:pt x="218" y="147"/>
                  </a:cubicBezTo>
                  <a:cubicBezTo>
                    <a:pt x="218" y="146"/>
                    <a:pt x="218" y="146"/>
                    <a:pt x="218" y="145"/>
                  </a:cubicBezTo>
                  <a:cubicBezTo>
                    <a:pt x="218" y="145"/>
                    <a:pt x="217" y="144"/>
                    <a:pt x="217" y="144"/>
                  </a:cubicBezTo>
                  <a:cubicBezTo>
                    <a:pt x="216" y="144"/>
                    <a:pt x="213" y="142"/>
                    <a:pt x="210" y="141"/>
                  </a:cubicBezTo>
                  <a:cubicBezTo>
                    <a:pt x="211" y="140"/>
                    <a:pt x="211" y="138"/>
                    <a:pt x="211" y="137"/>
                  </a:cubicBezTo>
                  <a:cubicBezTo>
                    <a:pt x="214" y="137"/>
                    <a:pt x="218" y="137"/>
                    <a:pt x="218" y="137"/>
                  </a:cubicBezTo>
                  <a:cubicBezTo>
                    <a:pt x="219" y="137"/>
                    <a:pt x="220" y="137"/>
                    <a:pt x="220" y="137"/>
                  </a:cubicBezTo>
                  <a:cubicBezTo>
                    <a:pt x="220" y="137"/>
                    <a:pt x="221" y="136"/>
                    <a:pt x="221" y="135"/>
                  </a:cubicBezTo>
                  <a:cubicBezTo>
                    <a:pt x="221" y="135"/>
                    <a:pt x="221" y="134"/>
                    <a:pt x="221" y="134"/>
                  </a:cubicBezTo>
                  <a:cubicBezTo>
                    <a:pt x="220" y="133"/>
                    <a:pt x="220" y="133"/>
                    <a:pt x="219" y="133"/>
                  </a:cubicBezTo>
                  <a:cubicBezTo>
                    <a:pt x="219" y="132"/>
                    <a:pt x="216" y="132"/>
                    <a:pt x="213" y="131"/>
                  </a:cubicBezTo>
                  <a:cubicBezTo>
                    <a:pt x="213" y="129"/>
                    <a:pt x="213" y="128"/>
                    <a:pt x="214" y="126"/>
                  </a:cubicBezTo>
                  <a:cubicBezTo>
                    <a:pt x="216" y="126"/>
                    <a:pt x="220" y="126"/>
                    <a:pt x="220" y="126"/>
                  </a:cubicBezTo>
                  <a:cubicBezTo>
                    <a:pt x="221" y="126"/>
                    <a:pt x="222" y="126"/>
                    <a:pt x="222" y="125"/>
                  </a:cubicBezTo>
                  <a:cubicBezTo>
                    <a:pt x="222" y="125"/>
                    <a:pt x="223" y="125"/>
                    <a:pt x="223" y="124"/>
                  </a:cubicBezTo>
                  <a:cubicBezTo>
                    <a:pt x="223" y="123"/>
                    <a:pt x="223" y="123"/>
                    <a:pt x="222" y="122"/>
                  </a:cubicBezTo>
                  <a:cubicBezTo>
                    <a:pt x="222" y="122"/>
                    <a:pt x="222" y="121"/>
                    <a:pt x="221" y="121"/>
                  </a:cubicBezTo>
                  <a:cubicBezTo>
                    <a:pt x="220" y="121"/>
                    <a:pt x="217" y="121"/>
                    <a:pt x="214" y="120"/>
                  </a:cubicBezTo>
                  <a:cubicBezTo>
                    <a:pt x="214" y="118"/>
                    <a:pt x="214" y="117"/>
                    <a:pt x="214" y="115"/>
                  </a:cubicBezTo>
                  <a:cubicBezTo>
                    <a:pt x="217" y="115"/>
                    <a:pt x="221" y="115"/>
                    <a:pt x="221" y="115"/>
                  </a:cubicBezTo>
                  <a:close/>
                  <a:moveTo>
                    <a:pt x="112" y="201"/>
                  </a:moveTo>
                  <a:cubicBezTo>
                    <a:pt x="63" y="201"/>
                    <a:pt x="23" y="161"/>
                    <a:pt x="23" y="112"/>
                  </a:cubicBezTo>
                  <a:cubicBezTo>
                    <a:pt x="23" y="63"/>
                    <a:pt x="63" y="23"/>
                    <a:pt x="112" y="23"/>
                  </a:cubicBezTo>
                  <a:cubicBezTo>
                    <a:pt x="161" y="23"/>
                    <a:pt x="201" y="63"/>
                    <a:pt x="201" y="112"/>
                  </a:cubicBezTo>
                  <a:cubicBezTo>
                    <a:pt x="201" y="161"/>
                    <a:pt x="161" y="201"/>
                    <a:pt x="112" y="201"/>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10" name="Group 818">
              <a:extLst>
                <a:ext uri="{FF2B5EF4-FFF2-40B4-BE49-F238E27FC236}">
                  <a16:creationId xmlns:a16="http://schemas.microsoft.com/office/drawing/2014/main" id="{5E3D3FAF-5B0D-48C0-82C6-5651FE901116}"/>
                </a:ext>
              </a:extLst>
            </p:cNvPr>
            <p:cNvGrpSpPr>
              <a:grpSpLocks noChangeAspect="1"/>
            </p:cNvGrpSpPr>
            <p:nvPr/>
          </p:nvGrpSpPr>
          <p:grpSpPr bwMode="auto">
            <a:xfrm>
              <a:off x="1632009" y="2040820"/>
              <a:ext cx="137328" cy="410040"/>
              <a:chOff x="5975" y="3068"/>
              <a:chExt cx="71" cy="212"/>
            </a:xfrm>
            <a:solidFill>
              <a:srgbClr val="C4D600"/>
            </a:solidFill>
          </p:grpSpPr>
          <p:sp>
            <p:nvSpPr>
              <p:cNvPr id="111" name="Freeform 819">
                <a:extLst>
                  <a:ext uri="{FF2B5EF4-FFF2-40B4-BE49-F238E27FC236}">
                    <a16:creationId xmlns:a16="http://schemas.microsoft.com/office/drawing/2014/main" id="{47439959-242F-4F66-8CE0-1B8C1D9CB040}"/>
                  </a:ext>
                </a:extLst>
              </p:cNvPr>
              <p:cNvSpPr>
                <a:spLocks noEditPoints="1"/>
              </p:cNvSpPr>
              <p:nvPr/>
            </p:nvSpPr>
            <p:spPr bwMode="auto">
              <a:xfrm>
                <a:off x="5975" y="3124"/>
                <a:ext cx="71" cy="156"/>
              </a:xfrm>
              <a:custGeom>
                <a:avLst/>
                <a:gdLst>
                  <a:gd name="T0" fmla="*/ 75 w 107"/>
                  <a:gd name="T1" fmla="*/ 8 h 235"/>
                  <a:gd name="T2" fmla="*/ 64 w 107"/>
                  <a:gd name="T3" fmla="*/ 0 h 235"/>
                  <a:gd name="T4" fmla="*/ 43 w 107"/>
                  <a:gd name="T5" fmla="*/ 0 h 235"/>
                  <a:gd name="T6" fmla="*/ 33 w 107"/>
                  <a:gd name="T7" fmla="*/ 8 h 235"/>
                  <a:gd name="T8" fmla="*/ 1 w 107"/>
                  <a:gd name="T9" fmla="*/ 136 h 235"/>
                  <a:gd name="T10" fmla="*/ 3 w 107"/>
                  <a:gd name="T11" fmla="*/ 145 h 235"/>
                  <a:gd name="T12" fmla="*/ 11 w 107"/>
                  <a:gd name="T13" fmla="*/ 149 h 235"/>
                  <a:gd name="T14" fmla="*/ 22 w 107"/>
                  <a:gd name="T15" fmla="*/ 149 h 235"/>
                  <a:gd name="T16" fmla="*/ 22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6 w 107"/>
                  <a:gd name="T31" fmla="*/ 224 h 235"/>
                  <a:gd name="T32" fmla="*/ 86 w 107"/>
                  <a:gd name="T33" fmla="*/ 149 h 235"/>
                  <a:gd name="T34" fmla="*/ 96 w 107"/>
                  <a:gd name="T35" fmla="*/ 149 h 235"/>
                  <a:gd name="T36" fmla="*/ 105 w 107"/>
                  <a:gd name="T37" fmla="*/ 145 h 235"/>
                  <a:gd name="T38" fmla="*/ 107 w 107"/>
                  <a:gd name="T39" fmla="*/ 136 h 235"/>
                  <a:gd name="T40" fmla="*/ 75 w 107"/>
                  <a:gd name="T41" fmla="*/ 8 h 235"/>
                  <a:gd name="T42" fmla="*/ 51 w 107"/>
                  <a:gd name="T43" fmla="*/ 21 h 235"/>
                  <a:gd name="T44" fmla="*/ 56 w 107"/>
                  <a:gd name="T45" fmla="*/ 21 h 235"/>
                  <a:gd name="T46" fmla="*/ 83 w 107"/>
                  <a:gd name="T47" fmla="*/ 128 h 235"/>
                  <a:gd name="T48" fmla="*/ 25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5" y="8"/>
                    </a:moveTo>
                    <a:cubicBezTo>
                      <a:pt x="73" y="3"/>
                      <a:pt x="69" y="0"/>
                      <a:pt x="64" y="0"/>
                    </a:cubicBezTo>
                    <a:cubicBezTo>
                      <a:pt x="43" y="0"/>
                      <a:pt x="43" y="0"/>
                      <a:pt x="43" y="0"/>
                    </a:cubicBezTo>
                    <a:cubicBezTo>
                      <a:pt x="38" y="0"/>
                      <a:pt x="34" y="3"/>
                      <a:pt x="33" y="8"/>
                    </a:cubicBezTo>
                    <a:cubicBezTo>
                      <a:pt x="1" y="136"/>
                      <a:pt x="1" y="136"/>
                      <a:pt x="1" y="136"/>
                    </a:cubicBezTo>
                    <a:cubicBezTo>
                      <a:pt x="0" y="139"/>
                      <a:pt x="1" y="143"/>
                      <a:pt x="3" y="145"/>
                    </a:cubicBezTo>
                    <a:cubicBezTo>
                      <a:pt x="5" y="148"/>
                      <a:pt x="8" y="149"/>
                      <a:pt x="11" y="149"/>
                    </a:cubicBezTo>
                    <a:cubicBezTo>
                      <a:pt x="22" y="149"/>
                      <a:pt x="22" y="149"/>
                      <a:pt x="22" y="149"/>
                    </a:cubicBezTo>
                    <a:cubicBezTo>
                      <a:pt x="22" y="224"/>
                      <a:pt x="22" y="224"/>
                      <a:pt x="22" y="224"/>
                    </a:cubicBezTo>
                    <a:cubicBezTo>
                      <a:pt x="22"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6" y="230"/>
                      <a:pt x="86" y="224"/>
                    </a:cubicBezTo>
                    <a:cubicBezTo>
                      <a:pt x="86" y="149"/>
                      <a:pt x="86" y="149"/>
                      <a:pt x="86" y="149"/>
                    </a:cubicBezTo>
                    <a:cubicBezTo>
                      <a:pt x="96" y="149"/>
                      <a:pt x="96" y="149"/>
                      <a:pt x="96" y="149"/>
                    </a:cubicBezTo>
                    <a:cubicBezTo>
                      <a:pt x="100" y="149"/>
                      <a:pt x="103" y="148"/>
                      <a:pt x="105" y="145"/>
                    </a:cubicBezTo>
                    <a:cubicBezTo>
                      <a:pt x="107" y="143"/>
                      <a:pt x="107" y="139"/>
                      <a:pt x="107" y="136"/>
                    </a:cubicBezTo>
                    <a:lnTo>
                      <a:pt x="75" y="8"/>
                    </a:lnTo>
                    <a:close/>
                    <a:moveTo>
                      <a:pt x="51" y="21"/>
                    </a:moveTo>
                    <a:cubicBezTo>
                      <a:pt x="56" y="21"/>
                      <a:pt x="56" y="21"/>
                      <a:pt x="56" y="21"/>
                    </a:cubicBezTo>
                    <a:cubicBezTo>
                      <a:pt x="83" y="128"/>
                      <a:pt x="83" y="128"/>
                      <a:pt x="83" y="128"/>
                    </a:cubicBezTo>
                    <a:cubicBezTo>
                      <a:pt x="25" y="128"/>
                      <a:pt x="25" y="128"/>
                      <a:pt x="25" y="128"/>
                    </a:cubicBezTo>
                    <a:lnTo>
                      <a:pt x="5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12" name="Freeform 820">
                <a:extLst>
                  <a:ext uri="{FF2B5EF4-FFF2-40B4-BE49-F238E27FC236}">
                    <a16:creationId xmlns:a16="http://schemas.microsoft.com/office/drawing/2014/main" id="{68D308CC-B047-4E30-B7F4-2B691E097A05}"/>
                  </a:ext>
                </a:extLst>
              </p:cNvPr>
              <p:cNvSpPr>
                <a:spLocks noEditPoints="1"/>
              </p:cNvSpPr>
              <p:nvPr/>
            </p:nvSpPr>
            <p:spPr bwMode="auto">
              <a:xfrm>
                <a:off x="5990" y="3068"/>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49" name="Group 48"/>
          <p:cNvGrpSpPr/>
          <p:nvPr/>
        </p:nvGrpSpPr>
        <p:grpSpPr>
          <a:xfrm>
            <a:off x="4685236" y="5513241"/>
            <a:ext cx="532428" cy="531457"/>
            <a:chOff x="1456353" y="2618544"/>
            <a:chExt cx="719207" cy="717896"/>
          </a:xfrm>
          <a:solidFill>
            <a:srgbClr val="009A44"/>
          </a:solidFill>
        </p:grpSpPr>
        <p:sp>
          <p:nvSpPr>
            <p:cNvPr id="11" name="Freeform 12">
              <a:extLst>
                <a:ext uri="{FF2B5EF4-FFF2-40B4-BE49-F238E27FC236}">
                  <a16:creationId xmlns:a16="http://schemas.microsoft.com/office/drawing/2014/main" id="{9AB67551-F7FB-4530-BC49-4D978739C713}"/>
                </a:ext>
              </a:extLst>
            </p:cNvPr>
            <p:cNvSpPr>
              <a:spLocks noEditPoints="1"/>
            </p:cNvSpPr>
            <p:nvPr/>
          </p:nvSpPr>
          <p:spPr bwMode="auto">
            <a:xfrm>
              <a:off x="1456353" y="2618544"/>
              <a:ext cx="719207" cy="717896"/>
            </a:xfrm>
            <a:custGeom>
              <a:avLst/>
              <a:gdLst>
                <a:gd name="T0" fmla="*/ 242 w 246"/>
                <a:gd name="T1" fmla="*/ 119 h 246"/>
                <a:gd name="T2" fmla="*/ 244 w 246"/>
                <a:gd name="T3" fmla="*/ 101 h 246"/>
                <a:gd name="T4" fmla="*/ 236 w 246"/>
                <a:gd name="T5" fmla="*/ 86 h 246"/>
                <a:gd name="T6" fmla="*/ 221 w 246"/>
                <a:gd name="T7" fmla="*/ 81 h 246"/>
                <a:gd name="T8" fmla="*/ 227 w 246"/>
                <a:gd name="T9" fmla="*/ 59 h 246"/>
                <a:gd name="T10" fmla="*/ 218 w 246"/>
                <a:gd name="T11" fmla="*/ 47 h 246"/>
                <a:gd name="T12" fmla="*/ 196 w 246"/>
                <a:gd name="T13" fmla="*/ 44 h 246"/>
                <a:gd name="T14" fmla="*/ 196 w 246"/>
                <a:gd name="T15" fmla="*/ 29 h 246"/>
                <a:gd name="T16" fmla="*/ 184 w 246"/>
                <a:gd name="T17" fmla="*/ 16 h 246"/>
                <a:gd name="T18" fmla="*/ 168 w 246"/>
                <a:gd name="T19" fmla="*/ 12 h 246"/>
                <a:gd name="T20" fmla="*/ 154 w 246"/>
                <a:gd name="T21" fmla="*/ 20 h 246"/>
                <a:gd name="T22" fmla="*/ 141 w 246"/>
                <a:gd name="T23" fmla="*/ 2 h 246"/>
                <a:gd name="T24" fmla="*/ 126 w 246"/>
                <a:gd name="T25" fmla="*/ 1 h 246"/>
                <a:gd name="T26" fmla="*/ 110 w 246"/>
                <a:gd name="T27" fmla="*/ 17 h 246"/>
                <a:gd name="T28" fmla="*/ 98 w 246"/>
                <a:gd name="T29" fmla="*/ 6 h 246"/>
                <a:gd name="T30" fmla="*/ 81 w 246"/>
                <a:gd name="T31" fmla="*/ 7 h 246"/>
                <a:gd name="T32" fmla="*/ 67 w 246"/>
                <a:gd name="T33" fmla="*/ 17 h 246"/>
                <a:gd name="T34" fmla="*/ 65 w 246"/>
                <a:gd name="T35" fmla="*/ 33 h 246"/>
                <a:gd name="T36" fmla="*/ 42 w 246"/>
                <a:gd name="T37" fmla="*/ 31 h 246"/>
                <a:gd name="T38" fmla="*/ 31 w 246"/>
                <a:gd name="T39" fmla="*/ 42 h 246"/>
                <a:gd name="T40" fmla="*/ 33 w 246"/>
                <a:gd name="T41" fmla="*/ 65 h 246"/>
                <a:gd name="T42" fmla="*/ 17 w 246"/>
                <a:gd name="T43" fmla="*/ 67 h 246"/>
                <a:gd name="T44" fmla="*/ 7 w 246"/>
                <a:gd name="T45" fmla="*/ 81 h 246"/>
                <a:gd name="T46" fmla="*/ 6 w 246"/>
                <a:gd name="T47" fmla="*/ 98 h 246"/>
                <a:gd name="T48" fmla="*/ 17 w 246"/>
                <a:gd name="T49" fmla="*/ 110 h 246"/>
                <a:gd name="T50" fmla="*/ 1 w 246"/>
                <a:gd name="T51" fmla="*/ 126 h 246"/>
                <a:gd name="T52" fmla="*/ 2 w 246"/>
                <a:gd name="T53" fmla="*/ 141 h 246"/>
                <a:gd name="T54" fmla="*/ 21 w 246"/>
                <a:gd name="T55" fmla="*/ 154 h 246"/>
                <a:gd name="T56" fmla="*/ 12 w 246"/>
                <a:gd name="T57" fmla="*/ 168 h 246"/>
                <a:gd name="T58" fmla="*/ 16 w 246"/>
                <a:gd name="T59" fmla="*/ 184 h 246"/>
                <a:gd name="T60" fmla="*/ 29 w 246"/>
                <a:gd name="T61" fmla="*/ 196 h 246"/>
                <a:gd name="T62" fmla="*/ 45 w 246"/>
                <a:gd name="T63" fmla="*/ 196 h 246"/>
                <a:gd name="T64" fmla="*/ 47 w 246"/>
                <a:gd name="T65" fmla="*/ 218 h 246"/>
                <a:gd name="T66" fmla="*/ 59 w 246"/>
                <a:gd name="T67" fmla="*/ 227 h 246"/>
                <a:gd name="T68" fmla="*/ 81 w 246"/>
                <a:gd name="T69" fmla="*/ 222 h 246"/>
                <a:gd name="T70" fmla="*/ 86 w 246"/>
                <a:gd name="T71" fmla="*/ 237 h 246"/>
                <a:gd name="T72" fmla="*/ 101 w 246"/>
                <a:gd name="T73" fmla="*/ 244 h 246"/>
                <a:gd name="T74" fmla="*/ 119 w 246"/>
                <a:gd name="T75" fmla="*/ 242 h 246"/>
                <a:gd name="T76" fmla="*/ 128 w 246"/>
                <a:gd name="T77" fmla="*/ 230 h 246"/>
                <a:gd name="T78" fmla="*/ 147 w 246"/>
                <a:gd name="T79" fmla="*/ 243 h 246"/>
                <a:gd name="T80" fmla="*/ 162 w 246"/>
                <a:gd name="T81" fmla="*/ 239 h 246"/>
                <a:gd name="T82" fmla="*/ 171 w 246"/>
                <a:gd name="T83" fmla="*/ 218 h 246"/>
                <a:gd name="T84" fmla="*/ 186 w 246"/>
                <a:gd name="T85" fmla="*/ 224 h 246"/>
                <a:gd name="T86" fmla="*/ 202 w 246"/>
                <a:gd name="T87" fmla="*/ 217 h 246"/>
                <a:gd name="T88" fmla="*/ 211 w 246"/>
                <a:gd name="T89" fmla="*/ 203 h 246"/>
                <a:gd name="T90" fmla="*/ 208 w 246"/>
                <a:gd name="T91" fmla="*/ 187 h 246"/>
                <a:gd name="T92" fmla="*/ 230 w 246"/>
                <a:gd name="T93" fmla="*/ 181 h 246"/>
                <a:gd name="T94" fmla="*/ 236 w 246"/>
                <a:gd name="T95" fmla="*/ 167 h 246"/>
                <a:gd name="T96" fmla="*/ 227 w 246"/>
                <a:gd name="T97" fmla="*/ 147 h 246"/>
                <a:gd name="T98" fmla="*/ 241 w 246"/>
                <a:gd name="T99" fmla="*/ 139 h 246"/>
                <a:gd name="T100" fmla="*/ 36 w 246"/>
                <a:gd name="T101" fmla="*/ 12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246">
                  <a:moveTo>
                    <a:pt x="242" y="127"/>
                  </a:moveTo>
                  <a:cubicBezTo>
                    <a:pt x="243" y="127"/>
                    <a:pt x="244" y="126"/>
                    <a:pt x="245" y="126"/>
                  </a:cubicBezTo>
                  <a:cubicBezTo>
                    <a:pt x="245" y="125"/>
                    <a:pt x="246" y="124"/>
                    <a:pt x="246" y="123"/>
                  </a:cubicBezTo>
                  <a:cubicBezTo>
                    <a:pt x="246" y="122"/>
                    <a:pt x="245" y="121"/>
                    <a:pt x="245" y="120"/>
                  </a:cubicBezTo>
                  <a:cubicBezTo>
                    <a:pt x="244" y="119"/>
                    <a:pt x="243" y="119"/>
                    <a:pt x="242" y="119"/>
                  </a:cubicBezTo>
                  <a:cubicBezTo>
                    <a:pt x="241" y="118"/>
                    <a:pt x="235" y="118"/>
                    <a:pt x="230" y="117"/>
                  </a:cubicBezTo>
                  <a:cubicBezTo>
                    <a:pt x="229" y="115"/>
                    <a:pt x="229" y="112"/>
                    <a:pt x="229" y="110"/>
                  </a:cubicBezTo>
                  <a:cubicBezTo>
                    <a:pt x="234" y="108"/>
                    <a:pt x="240" y="107"/>
                    <a:pt x="241" y="106"/>
                  </a:cubicBezTo>
                  <a:cubicBezTo>
                    <a:pt x="242" y="106"/>
                    <a:pt x="243" y="105"/>
                    <a:pt x="243" y="104"/>
                  </a:cubicBezTo>
                  <a:cubicBezTo>
                    <a:pt x="244" y="104"/>
                    <a:pt x="244" y="103"/>
                    <a:pt x="244" y="101"/>
                  </a:cubicBezTo>
                  <a:cubicBezTo>
                    <a:pt x="244" y="100"/>
                    <a:pt x="243" y="99"/>
                    <a:pt x="242" y="99"/>
                  </a:cubicBezTo>
                  <a:cubicBezTo>
                    <a:pt x="242" y="98"/>
                    <a:pt x="241" y="98"/>
                    <a:pt x="239" y="98"/>
                  </a:cubicBezTo>
                  <a:cubicBezTo>
                    <a:pt x="238" y="98"/>
                    <a:pt x="232" y="98"/>
                    <a:pt x="227" y="99"/>
                  </a:cubicBezTo>
                  <a:cubicBezTo>
                    <a:pt x="226" y="96"/>
                    <a:pt x="226" y="94"/>
                    <a:pt x="225" y="91"/>
                  </a:cubicBezTo>
                  <a:cubicBezTo>
                    <a:pt x="230" y="89"/>
                    <a:pt x="235" y="87"/>
                    <a:pt x="236" y="86"/>
                  </a:cubicBezTo>
                  <a:cubicBezTo>
                    <a:pt x="237" y="86"/>
                    <a:pt x="238" y="85"/>
                    <a:pt x="238" y="84"/>
                  </a:cubicBezTo>
                  <a:cubicBezTo>
                    <a:pt x="239" y="83"/>
                    <a:pt x="239" y="82"/>
                    <a:pt x="238" y="81"/>
                  </a:cubicBezTo>
                  <a:cubicBezTo>
                    <a:pt x="238" y="80"/>
                    <a:pt x="237" y="79"/>
                    <a:pt x="236" y="78"/>
                  </a:cubicBezTo>
                  <a:cubicBezTo>
                    <a:pt x="235" y="78"/>
                    <a:pt x="234" y="78"/>
                    <a:pt x="233" y="78"/>
                  </a:cubicBezTo>
                  <a:cubicBezTo>
                    <a:pt x="232" y="78"/>
                    <a:pt x="226" y="80"/>
                    <a:pt x="221" y="81"/>
                  </a:cubicBezTo>
                  <a:cubicBezTo>
                    <a:pt x="220" y="79"/>
                    <a:pt x="219" y="76"/>
                    <a:pt x="218" y="74"/>
                  </a:cubicBezTo>
                  <a:cubicBezTo>
                    <a:pt x="222" y="71"/>
                    <a:pt x="227" y="67"/>
                    <a:pt x="228" y="67"/>
                  </a:cubicBezTo>
                  <a:cubicBezTo>
                    <a:pt x="229" y="66"/>
                    <a:pt x="230" y="65"/>
                    <a:pt x="230" y="64"/>
                  </a:cubicBezTo>
                  <a:cubicBezTo>
                    <a:pt x="230" y="63"/>
                    <a:pt x="230" y="62"/>
                    <a:pt x="229" y="61"/>
                  </a:cubicBezTo>
                  <a:cubicBezTo>
                    <a:pt x="229" y="60"/>
                    <a:pt x="228" y="60"/>
                    <a:pt x="227" y="59"/>
                  </a:cubicBezTo>
                  <a:cubicBezTo>
                    <a:pt x="226" y="59"/>
                    <a:pt x="225" y="59"/>
                    <a:pt x="224" y="59"/>
                  </a:cubicBezTo>
                  <a:cubicBezTo>
                    <a:pt x="223" y="60"/>
                    <a:pt x="217" y="62"/>
                    <a:pt x="213" y="65"/>
                  </a:cubicBezTo>
                  <a:cubicBezTo>
                    <a:pt x="211" y="62"/>
                    <a:pt x="210" y="60"/>
                    <a:pt x="208" y="58"/>
                  </a:cubicBezTo>
                  <a:cubicBezTo>
                    <a:pt x="212" y="54"/>
                    <a:pt x="216" y="50"/>
                    <a:pt x="217" y="49"/>
                  </a:cubicBezTo>
                  <a:cubicBezTo>
                    <a:pt x="218" y="49"/>
                    <a:pt x="218" y="48"/>
                    <a:pt x="218" y="47"/>
                  </a:cubicBezTo>
                  <a:cubicBezTo>
                    <a:pt x="218" y="46"/>
                    <a:pt x="218" y="44"/>
                    <a:pt x="217" y="44"/>
                  </a:cubicBezTo>
                  <a:cubicBezTo>
                    <a:pt x="216" y="43"/>
                    <a:pt x="215" y="42"/>
                    <a:pt x="214" y="42"/>
                  </a:cubicBezTo>
                  <a:cubicBezTo>
                    <a:pt x="213" y="42"/>
                    <a:pt x="212" y="42"/>
                    <a:pt x="211" y="43"/>
                  </a:cubicBezTo>
                  <a:cubicBezTo>
                    <a:pt x="210" y="43"/>
                    <a:pt x="206" y="47"/>
                    <a:pt x="201" y="50"/>
                  </a:cubicBezTo>
                  <a:cubicBezTo>
                    <a:pt x="199" y="48"/>
                    <a:pt x="198" y="46"/>
                    <a:pt x="196" y="44"/>
                  </a:cubicBezTo>
                  <a:cubicBezTo>
                    <a:pt x="199" y="40"/>
                    <a:pt x="202" y="35"/>
                    <a:pt x="203" y="34"/>
                  </a:cubicBezTo>
                  <a:cubicBezTo>
                    <a:pt x="203" y="33"/>
                    <a:pt x="203" y="32"/>
                    <a:pt x="203" y="31"/>
                  </a:cubicBezTo>
                  <a:cubicBezTo>
                    <a:pt x="203" y="30"/>
                    <a:pt x="203" y="29"/>
                    <a:pt x="202" y="28"/>
                  </a:cubicBezTo>
                  <a:cubicBezTo>
                    <a:pt x="201" y="28"/>
                    <a:pt x="200" y="27"/>
                    <a:pt x="199" y="27"/>
                  </a:cubicBezTo>
                  <a:cubicBezTo>
                    <a:pt x="198" y="27"/>
                    <a:pt x="197" y="28"/>
                    <a:pt x="196" y="29"/>
                  </a:cubicBezTo>
                  <a:cubicBezTo>
                    <a:pt x="195" y="29"/>
                    <a:pt x="191" y="34"/>
                    <a:pt x="187" y="37"/>
                  </a:cubicBezTo>
                  <a:cubicBezTo>
                    <a:pt x="185" y="36"/>
                    <a:pt x="183" y="34"/>
                    <a:pt x="181" y="33"/>
                  </a:cubicBezTo>
                  <a:cubicBezTo>
                    <a:pt x="183" y="28"/>
                    <a:pt x="186" y="23"/>
                    <a:pt x="186" y="22"/>
                  </a:cubicBezTo>
                  <a:cubicBezTo>
                    <a:pt x="187" y="21"/>
                    <a:pt x="187" y="19"/>
                    <a:pt x="186" y="19"/>
                  </a:cubicBezTo>
                  <a:cubicBezTo>
                    <a:pt x="186" y="18"/>
                    <a:pt x="185" y="17"/>
                    <a:pt x="184" y="16"/>
                  </a:cubicBezTo>
                  <a:cubicBezTo>
                    <a:pt x="183" y="16"/>
                    <a:pt x="182" y="15"/>
                    <a:pt x="181" y="16"/>
                  </a:cubicBezTo>
                  <a:cubicBezTo>
                    <a:pt x="180" y="16"/>
                    <a:pt x="179" y="16"/>
                    <a:pt x="179" y="17"/>
                  </a:cubicBezTo>
                  <a:cubicBezTo>
                    <a:pt x="178" y="18"/>
                    <a:pt x="175" y="23"/>
                    <a:pt x="171" y="27"/>
                  </a:cubicBezTo>
                  <a:cubicBezTo>
                    <a:pt x="169" y="26"/>
                    <a:pt x="167" y="25"/>
                    <a:pt x="164" y="24"/>
                  </a:cubicBezTo>
                  <a:cubicBezTo>
                    <a:pt x="166" y="19"/>
                    <a:pt x="167" y="13"/>
                    <a:pt x="168" y="12"/>
                  </a:cubicBezTo>
                  <a:cubicBezTo>
                    <a:pt x="168" y="11"/>
                    <a:pt x="168" y="10"/>
                    <a:pt x="167" y="9"/>
                  </a:cubicBezTo>
                  <a:cubicBezTo>
                    <a:pt x="167" y="8"/>
                    <a:pt x="166" y="7"/>
                    <a:pt x="165" y="7"/>
                  </a:cubicBezTo>
                  <a:cubicBezTo>
                    <a:pt x="164" y="7"/>
                    <a:pt x="163" y="7"/>
                    <a:pt x="162" y="7"/>
                  </a:cubicBezTo>
                  <a:cubicBezTo>
                    <a:pt x="161" y="7"/>
                    <a:pt x="160" y="8"/>
                    <a:pt x="160" y="9"/>
                  </a:cubicBezTo>
                  <a:cubicBezTo>
                    <a:pt x="159" y="10"/>
                    <a:pt x="156" y="16"/>
                    <a:pt x="154" y="20"/>
                  </a:cubicBezTo>
                  <a:cubicBezTo>
                    <a:pt x="152" y="20"/>
                    <a:pt x="149" y="19"/>
                    <a:pt x="147" y="18"/>
                  </a:cubicBezTo>
                  <a:cubicBezTo>
                    <a:pt x="147" y="13"/>
                    <a:pt x="148" y="7"/>
                    <a:pt x="148" y="6"/>
                  </a:cubicBezTo>
                  <a:cubicBezTo>
                    <a:pt x="148" y="5"/>
                    <a:pt x="147" y="4"/>
                    <a:pt x="147" y="3"/>
                  </a:cubicBezTo>
                  <a:cubicBezTo>
                    <a:pt x="146" y="2"/>
                    <a:pt x="145" y="2"/>
                    <a:pt x="144" y="2"/>
                  </a:cubicBezTo>
                  <a:cubicBezTo>
                    <a:pt x="143" y="1"/>
                    <a:pt x="142" y="2"/>
                    <a:pt x="141" y="2"/>
                  </a:cubicBezTo>
                  <a:cubicBezTo>
                    <a:pt x="140" y="3"/>
                    <a:pt x="140" y="3"/>
                    <a:pt x="139" y="4"/>
                  </a:cubicBezTo>
                  <a:cubicBezTo>
                    <a:pt x="139" y="6"/>
                    <a:pt x="137" y="11"/>
                    <a:pt x="136" y="17"/>
                  </a:cubicBezTo>
                  <a:cubicBezTo>
                    <a:pt x="133" y="16"/>
                    <a:pt x="131" y="16"/>
                    <a:pt x="128" y="16"/>
                  </a:cubicBezTo>
                  <a:cubicBezTo>
                    <a:pt x="128" y="11"/>
                    <a:pt x="127" y="5"/>
                    <a:pt x="127" y="3"/>
                  </a:cubicBezTo>
                  <a:cubicBezTo>
                    <a:pt x="127" y="2"/>
                    <a:pt x="126" y="1"/>
                    <a:pt x="126" y="1"/>
                  </a:cubicBezTo>
                  <a:cubicBezTo>
                    <a:pt x="125" y="0"/>
                    <a:pt x="124" y="0"/>
                    <a:pt x="123" y="0"/>
                  </a:cubicBezTo>
                  <a:cubicBezTo>
                    <a:pt x="122" y="0"/>
                    <a:pt x="121" y="0"/>
                    <a:pt x="120" y="1"/>
                  </a:cubicBezTo>
                  <a:cubicBezTo>
                    <a:pt x="119" y="1"/>
                    <a:pt x="119" y="2"/>
                    <a:pt x="119" y="3"/>
                  </a:cubicBezTo>
                  <a:cubicBezTo>
                    <a:pt x="118" y="5"/>
                    <a:pt x="118" y="11"/>
                    <a:pt x="117" y="16"/>
                  </a:cubicBezTo>
                  <a:cubicBezTo>
                    <a:pt x="115" y="16"/>
                    <a:pt x="112" y="16"/>
                    <a:pt x="110" y="17"/>
                  </a:cubicBezTo>
                  <a:cubicBezTo>
                    <a:pt x="108" y="11"/>
                    <a:pt x="107" y="6"/>
                    <a:pt x="106" y="4"/>
                  </a:cubicBezTo>
                  <a:cubicBezTo>
                    <a:pt x="106" y="3"/>
                    <a:pt x="105" y="3"/>
                    <a:pt x="104" y="2"/>
                  </a:cubicBezTo>
                  <a:cubicBezTo>
                    <a:pt x="104" y="2"/>
                    <a:pt x="103" y="1"/>
                    <a:pt x="101" y="2"/>
                  </a:cubicBezTo>
                  <a:cubicBezTo>
                    <a:pt x="100" y="2"/>
                    <a:pt x="100" y="2"/>
                    <a:pt x="99" y="3"/>
                  </a:cubicBezTo>
                  <a:cubicBezTo>
                    <a:pt x="98" y="4"/>
                    <a:pt x="98" y="5"/>
                    <a:pt x="98" y="6"/>
                  </a:cubicBezTo>
                  <a:cubicBezTo>
                    <a:pt x="98" y="7"/>
                    <a:pt x="99" y="13"/>
                    <a:pt x="99" y="18"/>
                  </a:cubicBezTo>
                  <a:cubicBezTo>
                    <a:pt x="96" y="19"/>
                    <a:pt x="94" y="20"/>
                    <a:pt x="91" y="20"/>
                  </a:cubicBezTo>
                  <a:cubicBezTo>
                    <a:pt x="89" y="16"/>
                    <a:pt x="87" y="10"/>
                    <a:pt x="86" y="9"/>
                  </a:cubicBezTo>
                  <a:cubicBezTo>
                    <a:pt x="86" y="8"/>
                    <a:pt x="85" y="7"/>
                    <a:pt x="84" y="7"/>
                  </a:cubicBezTo>
                  <a:cubicBezTo>
                    <a:pt x="83" y="7"/>
                    <a:pt x="82" y="7"/>
                    <a:pt x="81" y="7"/>
                  </a:cubicBezTo>
                  <a:cubicBezTo>
                    <a:pt x="80" y="7"/>
                    <a:pt x="79" y="8"/>
                    <a:pt x="79" y="9"/>
                  </a:cubicBezTo>
                  <a:cubicBezTo>
                    <a:pt x="78" y="10"/>
                    <a:pt x="78" y="11"/>
                    <a:pt x="78" y="12"/>
                  </a:cubicBezTo>
                  <a:cubicBezTo>
                    <a:pt x="78" y="13"/>
                    <a:pt x="80" y="19"/>
                    <a:pt x="81" y="24"/>
                  </a:cubicBezTo>
                  <a:cubicBezTo>
                    <a:pt x="79" y="25"/>
                    <a:pt x="76" y="26"/>
                    <a:pt x="74" y="27"/>
                  </a:cubicBezTo>
                  <a:cubicBezTo>
                    <a:pt x="71" y="23"/>
                    <a:pt x="68" y="18"/>
                    <a:pt x="67" y="17"/>
                  </a:cubicBezTo>
                  <a:cubicBezTo>
                    <a:pt x="66" y="16"/>
                    <a:pt x="65" y="16"/>
                    <a:pt x="64" y="16"/>
                  </a:cubicBezTo>
                  <a:cubicBezTo>
                    <a:pt x="63" y="15"/>
                    <a:pt x="62" y="16"/>
                    <a:pt x="61" y="16"/>
                  </a:cubicBezTo>
                  <a:cubicBezTo>
                    <a:pt x="60" y="17"/>
                    <a:pt x="60" y="18"/>
                    <a:pt x="59" y="19"/>
                  </a:cubicBezTo>
                  <a:cubicBezTo>
                    <a:pt x="59" y="19"/>
                    <a:pt x="59" y="21"/>
                    <a:pt x="60" y="22"/>
                  </a:cubicBezTo>
                  <a:cubicBezTo>
                    <a:pt x="60" y="23"/>
                    <a:pt x="63" y="28"/>
                    <a:pt x="65" y="33"/>
                  </a:cubicBezTo>
                  <a:cubicBezTo>
                    <a:pt x="63" y="34"/>
                    <a:pt x="60" y="36"/>
                    <a:pt x="58" y="37"/>
                  </a:cubicBezTo>
                  <a:cubicBezTo>
                    <a:pt x="55" y="34"/>
                    <a:pt x="50" y="29"/>
                    <a:pt x="49" y="29"/>
                  </a:cubicBezTo>
                  <a:cubicBezTo>
                    <a:pt x="49" y="28"/>
                    <a:pt x="48" y="27"/>
                    <a:pt x="47" y="27"/>
                  </a:cubicBezTo>
                  <a:cubicBezTo>
                    <a:pt x="46" y="27"/>
                    <a:pt x="45" y="28"/>
                    <a:pt x="44" y="28"/>
                  </a:cubicBezTo>
                  <a:cubicBezTo>
                    <a:pt x="43" y="29"/>
                    <a:pt x="42" y="30"/>
                    <a:pt x="42" y="31"/>
                  </a:cubicBezTo>
                  <a:cubicBezTo>
                    <a:pt x="42" y="32"/>
                    <a:pt x="42" y="33"/>
                    <a:pt x="43" y="34"/>
                  </a:cubicBezTo>
                  <a:cubicBezTo>
                    <a:pt x="44" y="35"/>
                    <a:pt x="47" y="40"/>
                    <a:pt x="50" y="44"/>
                  </a:cubicBezTo>
                  <a:cubicBezTo>
                    <a:pt x="48" y="46"/>
                    <a:pt x="46" y="48"/>
                    <a:pt x="45" y="50"/>
                  </a:cubicBezTo>
                  <a:cubicBezTo>
                    <a:pt x="40" y="47"/>
                    <a:pt x="35" y="43"/>
                    <a:pt x="34" y="43"/>
                  </a:cubicBezTo>
                  <a:cubicBezTo>
                    <a:pt x="33" y="42"/>
                    <a:pt x="32" y="42"/>
                    <a:pt x="31" y="42"/>
                  </a:cubicBezTo>
                  <a:cubicBezTo>
                    <a:pt x="30" y="42"/>
                    <a:pt x="29" y="43"/>
                    <a:pt x="29" y="44"/>
                  </a:cubicBezTo>
                  <a:cubicBezTo>
                    <a:pt x="28" y="44"/>
                    <a:pt x="28" y="46"/>
                    <a:pt x="28" y="47"/>
                  </a:cubicBezTo>
                  <a:cubicBezTo>
                    <a:pt x="28" y="48"/>
                    <a:pt x="28" y="49"/>
                    <a:pt x="29" y="49"/>
                  </a:cubicBezTo>
                  <a:cubicBezTo>
                    <a:pt x="30" y="50"/>
                    <a:pt x="34" y="54"/>
                    <a:pt x="37" y="58"/>
                  </a:cubicBezTo>
                  <a:cubicBezTo>
                    <a:pt x="36" y="60"/>
                    <a:pt x="34" y="62"/>
                    <a:pt x="33" y="65"/>
                  </a:cubicBezTo>
                  <a:cubicBezTo>
                    <a:pt x="28" y="62"/>
                    <a:pt x="23" y="60"/>
                    <a:pt x="22" y="59"/>
                  </a:cubicBezTo>
                  <a:cubicBezTo>
                    <a:pt x="21" y="59"/>
                    <a:pt x="20" y="59"/>
                    <a:pt x="19" y="59"/>
                  </a:cubicBezTo>
                  <a:cubicBezTo>
                    <a:pt x="18" y="60"/>
                    <a:pt x="17" y="60"/>
                    <a:pt x="16" y="61"/>
                  </a:cubicBezTo>
                  <a:cubicBezTo>
                    <a:pt x="16" y="62"/>
                    <a:pt x="16" y="63"/>
                    <a:pt x="16" y="64"/>
                  </a:cubicBezTo>
                  <a:cubicBezTo>
                    <a:pt x="16" y="65"/>
                    <a:pt x="17" y="66"/>
                    <a:pt x="17" y="67"/>
                  </a:cubicBezTo>
                  <a:cubicBezTo>
                    <a:pt x="18" y="67"/>
                    <a:pt x="23" y="71"/>
                    <a:pt x="28" y="74"/>
                  </a:cubicBezTo>
                  <a:cubicBezTo>
                    <a:pt x="26" y="76"/>
                    <a:pt x="25" y="79"/>
                    <a:pt x="24" y="81"/>
                  </a:cubicBezTo>
                  <a:cubicBezTo>
                    <a:pt x="19" y="80"/>
                    <a:pt x="13" y="78"/>
                    <a:pt x="12" y="78"/>
                  </a:cubicBezTo>
                  <a:cubicBezTo>
                    <a:pt x="11" y="78"/>
                    <a:pt x="10" y="78"/>
                    <a:pt x="9" y="78"/>
                  </a:cubicBezTo>
                  <a:cubicBezTo>
                    <a:pt x="8" y="79"/>
                    <a:pt x="8" y="80"/>
                    <a:pt x="7" y="81"/>
                  </a:cubicBezTo>
                  <a:cubicBezTo>
                    <a:pt x="7" y="82"/>
                    <a:pt x="7" y="83"/>
                    <a:pt x="7" y="84"/>
                  </a:cubicBezTo>
                  <a:cubicBezTo>
                    <a:pt x="8" y="85"/>
                    <a:pt x="8" y="86"/>
                    <a:pt x="9" y="86"/>
                  </a:cubicBezTo>
                  <a:cubicBezTo>
                    <a:pt x="10" y="87"/>
                    <a:pt x="16" y="89"/>
                    <a:pt x="21" y="91"/>
                  </a:cubicBezTo>
                  <a:cubicBezTo>
                    <a:pt x="20" y="94"/>
                    <a:pt x="19" y="96"/>
                    <a:pt x="19" y="99"/>
                  </a:cubicBezTo>
                  <a:cubicBezTo>
                    <a:pt x="13" y="98"/>
                    <a:pt x="7" y="98"/>
                    <a:pt x="6" y="98"/>
                  </a:cubicBezTo>
                  <a:cubicBezTo>
                    <a:pt x="5" y="98"/>
                    <a:pt x="4" y="98"/>
                    <a:pt x="3" y="99"/>
                  </a:cubicBezTo>
                  <a:cubicBezTo>
                    <a:pt x="2" y="99"/>
                    <a:pt x="2" y="100"/>
                    <a:pt x="2" y="101"/>
                  </a:cubicBezTo>
                  <a:cubicBezTo>
                    <a:pt x="2" y="103"/>
                    <a:pt x="2" y="104"/>
                    <a:pt x="2" y="104"/>
                  </a:cubicBezTo>
                  <a:cubicBezTo>
                    <a:pt x="3" y="105"/>
                    <a:pt x="4" y="106"/>
                    <a:pt x="5" y="106"/>
                  </a:cubicBezTo>
                  <a:cubicBezTo>
                    <a:pt x="6" y="107"/>
                    <a:pt x="12" y="108"/>
                    <a:pt x="17" y="110"/>
                  </a:cubicBezTo>
                  <a:cubicBezTo>
                    <a:pt x="16" y="112"/>
                    <a:pt x="16" y="115"/>
                    <a:pt x="16" y="117"/>
                  </a:cubicBezTo>
                  <a:cubicBezTo>
                    <a:pt x="11" y="118"/>
                    <a:pt x="5" y="118"/>
                    <a:pt x="4" y="119"/>
                  </a:cubicBezTo>
                  <a:cubicBezTo>
                    <a:pt x="2" y="119"/>
                    <a:pt x="2" y="119"/>
                    <a:pt x="1" y="120"/>
                  </a:cubicBezTo>
                  <a:cubicBezTo>
                    <a:pt x="0" y="121"/>
                    <a:pt x="0" y="122"/>
                    <a:pt x="0" y="123"/>
                  </a:cubicBezTo>
                  <a:cubicBezTo>
                    <a:pt x="0" y="124"/>
                    <a:pt x="0" y="125"/>
                    <a:pt x="1" y="126"/>
                  </a:cubicBezTo>
                  <a:cubicBezTo>
                    <a:pt x="2" y="126"/>
                    <a:pt x="2" y="127"/>
                    <a:pt x="4" y="127"/>
                  </a:cubicBezTo>
                  <a:cubicBezTo>
                    <a:pt x="5" y="127"/>
                    <a:pt x="11" y="128"/>
                    <a:pt x="16" y="128"/>
                  </a:cubicBezTo>
                  <a:cubicBezTo>
                    <a:pt x="16" y="131"/>
                    <a:pt x="16" y="134"/>
                    <a:pt x="17" y="136"/>
                  </a:cubicBezTo>
                  <a:cubicBezTo>
                    <a:pt x="12" y="138"/>
                    <a:pt x="6" y="139"/>
                    <a:pt x="5" y="139"/>
                  </a:cubicBezTo>
                  <a:cubicBezTo>
                    <a:pt x="4" y="140"/>
                    <a:pt x="3" y="140"/>
                    <a:pt x="2" y="141"/>
                  </a:cubicBezTo>
                  <a:cubicBezTo>
                    <a:pt x="2" y="142"/>
                    <a:pt x="2" y="143"/>
                    <a:pt x="2" y="144"/>
                  </a:cubicBezTo>
                  <a:cubicBezTo>
                    <a:pt x="2" y="145"/>
                    <a:pt x="2" y="146"/>
                    <a:pt x="3" y="147"/>
                  </a:cubicBezTo>
                  <a:cubicBezTo>
                    <a:pt x="4" y="147"/>
                    <a:pt x="5" y="148"/>
                    <a:pt x="6" y="148"/>
                  </a:cubicBezTo>
                  <a:cubicBezTo>
                    <a:pt x="7" y="148"/>
                    <a:pt x="13" y="147"/>
                    <a:pt x="19" y="147"/>
                  </a:cubicBezTo>
                  <a:cubicBezTo>
                    <a:pt x="19" y="149"/>
                    <a:pt x="20" y="152"/>
                    <a:pt x="21" y="154"/>
                  </a:cubicBezTo>
                  <a:cubicBezTo>
                    <a:pt x="16" y="157"/>
                    <a:pt x="10" y="159"/>
                    <a:pt x="9" y="160"/>
                  </a:cubicBezTo>
                  <a:cubicBezTo>
                    <a:pt x="8" y="160"/>
                    <a:pt x="8" y="161"/>
                    <a:pt x="7" y="162"/>
                  </a:cubicBezTo>
                  <a:cubicBezTo>
                    <a:pt x="7" y="163"/>
                    <a:pt x="7" y="164"/>
                    <a:pt x="7" y="165"/>
                  </a:cubicBezTo>
                  <a:cubicBezTo>
                    <a:pt x="8" y="166"/>
                    <a:pt x="8" y="167"/>
                    <a:pt x="9" y="167"/>
                  </a:cubicBezTo>
                  <a:cubicBezTo>
                    <a:pt x="10" y="168"/>
                    <a:pt x="11" y="168"/>
                    <a:pt x="12" y="168"/>
                  </a:cubicBezTo>
                  <a:cubicBezTo>
                    <a:pt x="13" y="167"/>
                    <a:pt x="19" y="166"/>
                    <a:pt x="24" y="165"/>
                  </a:cubicBezTo>
                  <a:cubicBezTo>
                    <a:pt x="25" y="167"/>
                    <a:pt x="26" y="169"/>
                    <a:pt x="28" y="172"/>
                  </a:cubicBezTo>
                  <a:cubicBezTo>
                    <a:pt x="23" y="175"/>
                    <a:pt x="18" y="178"/>
                    <a:pt x="17" y="179"/>
                  </a:cubicBezTo>
                  <a:cubicBezTo>
                    <a:pt x="17" y="180"/>
                    <a:pt x="16" y="180"/>
                    <a:pt x="16" y="181"/>
                  </a:cubicBezTo>
                  <a:cubicBezTo>
                    <a:pt x="16" y="182"/>
                    <a:pt x="16" y="184"/>
                    <a:pt x="16" y="184"/>
                  </a:cubicBezTo>
                  <a:cubicBezTo>
                    <a:pt x="17" y="185"/>
                    <a:pt x="18" y="186"/>
                    <a:pt x="19" y="186"/>
                  </a:cubicBezTo>
                  <a:cubicBezTo>
                    <a:pt x="20" y="187"/>
                    <a:pt x="21" y="187"/>
                    <a:pt x="22" y="186"/>
                  </a:cubicBezTo>
                  <a:cubicBezTo>
                    <a:pt x="23" y="186"/>
                    <a:pt x="28" y="183"/>
                    <a:pt x="33" y="181"/>
                  </a:cubicBezTo>
                  <a:cubicBezTo>
                    <a:pt x="34" y="183"/>
                    <a:pt x="36" y="185"/>
                    <a:pt x="37" y="187"/>
                  </a:cubicBezTo>
                  <a:cubicBezTo>
                    <a:pt x="34" y="191"/>
                    <a:pt x="30" y="196"/>
                    <a:pt x="29" y="196"/>
                  </a:cubicBezTo>
                  <a:cubicBezTo>
                    <a:pt x="28" y="197"/>
                    <a:pt x="28" y="198"/>
                    <a:pt x="28" y="199"/>
                  </a:cubicBezTo>
                  <a:cubicBezTo>
                    <a:pt x="28" y="200"/>
                    <a:pt x="28" y="201"/>
                    <a:pt x="29" y="202"/>
                  </a:cubicBezTo>
                  <a:cubicBezTo>
                    <a:pt x="29" y="203"/>
                    <a:pt x="30" y="203"/>
                    <a:pt x="31" y="204"/>
                  </a:cubicBezTo>
                  <a:cubicBezTo>
                    <a:pt x="32" y="204"/>
                    <a:pt x="33" y="204"/>
                    <a:pt x="34" y="203"/>
                  </a:cubicBezTo>
                  <a:cubicBezTo>
                    <a:pt x="35" y="202"/>
                    <a:pt x="40" y="199"/>
                    <a:pt x="45" y="196"/>
                  </a:cubicBezTo>
                  <a:cubicBezTo>
                    <a:pt x="46" y="198"/>
                    <a:pt x="48" y="200"/>
                    <a:pt x="50" y="201"/>
                  </a:cubicBezTo>
                  <a:cubicBezTo>
                    <a:pt x="47" y="206"/>
                    <a:pt x="44" y="211"/>
                    <a:pt x="43" y="212"/>
                  </a:cubicBezTo>
                  <a:cubicBezTo>
                    <a:pt x="42" y="213"/>
                    <a:pt x="42" y="214"/>
                    <a:pt x="42" y="215"/>
                  </a:cubicBezTo>
                  <a:cubicBezTo>
                    <a:pt x="42" y="216"/>
                    <a:pt x="43" y="217"/>
                    <a:pt x="44" y="217"/>
                  </a:cubicBezTo>
                  <a:cubicBezTo>
                    <a:pt x="45" y="218"/>
                    <a:pt x="46" y="218"/>
                    <a:pt x="47" y="218"/>
                  </a:cubicBezTo>
                  <a:cubicBezTo>
                    <a:pt x="48" y="218"/>
                    <a:pt x="49" y="218"/>
                    <a:pt x="49" y="217"/>
                  </a:cubicBezTo>
                  <a:cubicBezTo>
                    <a:pt x="50" y="216"/>
                    <a:pt x="55" y="212"/>
                    <a:pt x="58" y="208"/>
                  </a:cubicBezTo>
                  <a:cubicBezTo>
                    <a:pt x="60" y="210"/>
                    <a:pt x="63" y="211"/>
                    <a:pt x="65" y="213"/>
                  </a:cubicBezTo>
                  <a:cubicBezTo>
                    <a:pt x="63" y="218"/>
                    <a:pt x="60" y="223"/>
                    <a:pt x="60" y="224"/>
                  </a:cubicBezTo>
                  <a:cubicBezTo>
                    <a:pt x="59" y="225"/>
                    <a:pt x="59" y="226"/>
                    <a:pt x="59" y="227"/>
                  </a:cubicBezTo>
                  <a:cubicBezTo>
                    <a:pt x="60" y="228"/>
                    <a:pt x="60" y="229"/>
                    <a:pt x="61" y="229"/>
                  </a:cubicBezTo>
                  <a:cubicBezTo>
                    <a:pt x="62" y="230"/>
                    <a:pt x="63" y="230"/>
                    <a:pt x="64" y="230"/>
                  </a:cubicBezTo>
                  <a:cubicBezTo>
                    <a:pt x="65" y="230"/>
                    <a:pt x="66" y="229"/>
                    <a:pt x="67" y="228"/>
                  </a:cubicBezTo>
                  <a:cubicBezTo>
                    <a:pt x="68" y="227"/>
                    <a:pt x="71" y="223"/>
                    <a:pt x="74" y="218"/>
                  </a:cubicBezTo>
                  <a:cubicBezTo>
                    <a:pt x="76" y="219"/>
                    <a:pt x="79" y="221"/>
                    <a:pt x="81" y="222"/>
                  </a:cubicBezTo>
                  <a:cubicBezTo>
                    <a:pt x="80" y="227"/>
                    <a:pt x="78" y="233"/>
                    <a:pt x="78" y="234"/>
                  </a:cubicBezTo>
                  <a:cubicBezTo>
                    <a:pt x="78" y="235"/>
                    <a:pt x="78" y="236"/>
                    <a:pt x="79" y="237"/>
                  </a:cubicBezTo>
                  <a:cubicBezTo>
                    <a:pt x="79" y="237"/>
                    <a:pt x="80" y="238"/>
                    <a:pt x="81" y="239"/>
                  </a:cubicBezTo>
                  <a:cubicBezTo>
                    <a:pt x="82" y="239"/>
                    <a:pt x="83" y="239"/>
                    <a:pt x="84" y="239"/>
                  </a:cubicBezTo>
                  <a:cubicBezTo>
                    <a:pt x="85" y="238"/>
                    <a:pt x="86" y="238"/>
                    <a:pt x="86" y="237"/>
                  </a:cubicBezTo>
                  <a:cubicBezTo>
                    <a:pt x="87" y="236"/>
                    <a:pt x="89" y="230"/>
                    <a:pt x="91" y="225"/>
                  </a:cubicBezTo>
                  <a:cubicBezTo>
                    <a:pt x="94" y="226"/>
                    <a:pt x="96" y="227"/>
                    <a:pt x="99" y="227"/>
                  </a:cubicBezTo>
                  <a:cubicBezTo>
                    <a:pt x="99" y="233"/>
                    <a:pt x="98" y="239"/>
                    <a:pt x="98" y="240"/>
                  </a:cubicBezTo>
                  <a:cubicBezTo>
                    <a:pt x="98" y="241"/>
                    <a:pt x="98" y="242"/>
                    <a:pt x="99" y="243"/>
                  </a:cubicBezTo>
                  <a:cubicBezTo>
                    <a:pt x="100" y="243"/>
                    <a:pt x="100" y="244"/>
                    <a:pt x="101" y="244"/>
                  </a:cubicBezTo>
                  <a:cubicBezTo>
                    <a:pt x="103" y="244"/>
                    <a:pt x="104" y="244"/>
                    <a:pt x="104" y="244"/>
                  </a:cubicBezTo>
                  <a:cubicBezTo>
                    <a:pt x="105" y="243"/>
                    <a:pt x="106" y="242"/>
                    <a:pt x="106" y="241"/>
                  </a:cubicBezTo>
                  <a:cubicBezTo>
                    <a:pt x="107" y="240"/>
                    <a:pt x="108" y="234"/>
                    <a:pt x="110" y="229"/>
                  </a:cubicBezTo>
                  <a:cubicBezTo>
                    <a:pt x="112" y="229"/>
                    <a:pt x="115" y="230"/>
                    <a:pt x="117" y="230"/>
                  </a:cubicBezTo>
                  <a:cubicBezTo>
                    <a:pt x="118" y="235"/>
                    <a:pt x="118" y="241"/>
                    <a:pt x="119" y="242"/>
                  </a:cubicBezTo>
                  <a:cubicBezTo>
                    <a:pt x="119" y="243"/>
                    <a:pt x="119" y="244"/>
                    <a:pt x="120" y="245"/>
                  </a:cubicBezTo>
                  <a:cubicBezTo>
                    <a:pt x="121" y="246"/>
                    <a:pt x="122" y="246"/>
                    <a:pt x="123" y="246"/>
                  </a:cubicBezTo>
                  <a:cubicBezTo>
                    <a:pt x="124" y="246"/>
                    <a:pt x="125" y="246"/>
                    <a:pt x="126" y="245"/>
                  </a:cubicBezTo>
                  <a:cubicBezTo>
                    <a:pt x="126" y="244"/>
                    <a:pt x="127" y="243"/>
                    <a:pt x="127" y="242"/>
                  </a:cubicBezTo>
                  <a:cubicBezTo>
                    <a:pt x="127" y="241"/>
                    <a:pt x="128" y="235"/>
                    <a:pt x="128" y="230"/>
                  </a:cubicBezTo>
                  <a:cubicBezTo>
                    <a:pt x="131" y="230"/>
                    <a:pt x="133" y="229"/>
                    <a:pt x="136" y="229"/>
                  </a:cubicBezTo>
                  <a:cubicBezTo>
                    <a:pt x="137" y="234"/>
                    <a:pt x="139" y="240"/>
                    <a:pt x="139" y="241"/>
                  </a:cubicBezTo>
                  <a:cubicBezTo>
                    <a:pt x="140" y="242"/>
                    <a:pt x="140" y="243"/>
                    <a:pt x="141" y="244"/>
                  </a:cubicBezTo>
                  <a:cubicBezTo>
                    <a:pt x="142" y="244"/>
                    <a:pt x="143" y="244"/>
                    <a:pt x="144" y="244"/>
                  </a:cubicBezTo>
                  <a:cubicBezTo>
                    <a:pt x="145" y="244"/>
                    <a:pt x="146" y="243"/>
                    <a:pt x="147" y="243"/>
                  </a:cubicBezTo>
                  <a:cubicBezTo>
                    <a:pt x="147" y="242"/>
                    <a:pt x="148" y="241"/>
                    <a:pt x="148" y="240"/>
                  </a:cubicBezTo>
                  <a:cubicBezTo>
                    <a:pt x="148" y="239"/>
                    <a:pt x="147" y="233"/>
                    <a:pt x="147" y="227"/>
                  </a:cubicBezTo>
                  <a:cubicBezTo>
                    <a:pt x="149" y="227"/>
                    <a:pt x="152" y="226"/>
                    <a:pt x="154" y="225"/>
                  </a:cubicBezTo>
                  <a:cubicBezTo>
                    <a:pt x="156" y="230"/>
                    <a:pt x="159" y="236"/>
                    <a:pt x="160" y="237"/>
                  </a:cubicBezTo>
                  <a:cubicBezTo>
                    <a:pt x="160" y="238"/>
                    <a:pt x="161" y="238"/>
                    <a:pt x="162" y="239"/>
                  </a:cubicBezTo>
                  <a:cubicBezTo>
                    <a:pt x="163" y="239"/>
                    <a:pt x="164" y="239"/>
                    <a:pt x="165" y="239"/>
                  </a:cubicBezTo>
                  <a:cubicBezTo>
                    <a:pt x="166" y="238"/>
                    <a:pt x="167" y="237"/>
                    <a:pt x="167" y="237"/>
                  </a:cubicBezTo>
                  <a:cubicBezTo>
                    <a:pt x="168" y="236"/>
                    <a:pt x="168" y="235"/>
                    <a:pt x="168" y="234"/>
                  </a:cubicBezTo>
                  <a:cubicBezTo>
                    <a:pt x="167" y="233"/>
                    <a:pt x="166" y="227"/>
                    <a:pt x="164" y="222"/>
                  </a:cubicBezTo>
                  <a:cubicBezTo>
                    <a:pt x="167" y="221"/>
                    <a:pt x="169" y="219"/>
                    <a:pt x="171" y="218"/>
                  </a:cubicBezTo>
                  <a:cubicBezTo>
                    <a:pt x="175" y="223"/>
                    <a:pt x="178" y="227"/>
                    <a:pt x="179" y="228"/>
                  </a:cubicBezTo>
                  <a:cubicBezTo>
                    <a:pt x="179" y="229"/>
                    <a:pt x="180" y="230"/>
                    <a:pt x="181" y="230"/>
                  </a:cubicBezTo>
                  <a:cubicBezTo>
                    <a:pt x="182" y="230"/>
                    <a:pt x="183" y="230"/>
                    <a:pt x="184" y="229"/>
                  </a:cubicBezTo>
                  <a:cubicBezTo>
                    <a:pt x="185" y="229"/>
                    <a:pt x="186" y="228"/>
                    <a:pt x="186" y="227"/>
                  </a:cubicBezTo>
                  <a:cubicBezTo>
                    <a:pt x="187" y="226"/>
                    <a:pt x="187" y="225"/>
                    <a:pt x="186" y="224"/>
                  </a:cubicBezTo>
                  <a:cubicBezTo>
                    <a:pt x="186" y="223"/>
                    <a:pt x="183" y="218"/>
                    <a:pt x="181" y="213"/>
                  </a:cubicBezTo>
                  <a:cubicBezTo>
                    <a:pt x="183" y="211"/>
                    <a:pt x="185" y="210"/>
                    <a:pt x="187" y="208"/>
                  </a:cubicBezTo>
                  <a:cubicBezTo>
                    <a:pt x="191" y="212"/>
                    <a:pt x="195" y="216"/>
                    <a:pt x="196" y="217"/>
                  </a:cubicBezTo>
                  <a:cubicBezTo>
                    <a:pt x="197" y="218"/>
                    <a:pt x="198" y="218"/>
                    <a:pt x="199" y="218"/>
                  </a:cubicBezTo>
                  <a:cubicBezTo>
                    <a:pt x="200" y="218"/>
                    <a:pt x="201" y="218"/>
                    <a:pt x="202" y="217"/>
                  </a:cubicBezTo>
                  <a:cubicBezTo>
                    <a:pt x="203" y="217"/>
                    <a:pt x="203" y="216"/>
                    <a:pt x="203" y="215"/>
                  </a:cubicBezTo>
                  <a:cubicBezTo>
                    <a:pt x="203" y="214"/>
                    <a:pt x="203" y="213"/>
                    <a:pt x="203" y="212"/>
                  </a:cubicBezTo>
                  <a:cubicBezTo>
                    <a:pt x="202" y="211"/>
                    <a:pt x="199" y="206"/>
                    <a:pt x="196" y="201"/>
                  </a:cubicBezTo>
                  <a:cubicBezTo>
                    <a:pt x="198" y="200"/>
                    <a:pt x="199" y="198"/>
                    <a:pt x="201" y="196"/>
                  </a:cubicBezTo>
                  <a:cubicBezTo>
                    <a:pt x="206" y="199"/>
                    <a:pt x="210" y="202"/>
                    <a:pt x="211" y="203"/>
                  </a:cubicBezTo>
                  <a:cubicBezTo>
                    <a:pt x="212" y="204"/>
                    <a:pt x="213" y="204"/>
                    <a:pt x="214" y="204"/>
                  </a:cubicBezTo>
                  <a:cubicBezTo>
                    <a:pt x="215" y="203"/>
                    <a:pt x="216" y="203"/>
                    <a:pt x="217" y="202"/>
                  </a:cubicBezTo>
                  <a:cubicBezTo>
                    <a:pt x="218" y="201"/>
                    <a:pt x="218" y="200"/>
                    <a:pt x="218" y="199"/>
                  </a:cubicBezTo>
                  <a:cubicBezTo>
                    <a:pt x="218" y="198"/>
                    <a:pt x="218" y="197"/>
                    <a:pt x="217" y="196"/>
                  </a:cubicBezTo>
                  <a:cubicBezTo>
                    <a:pt x="216" y="196"/>
                    <a:pt x="212" y="191"/>
                    <a:pt x="208" y="187"/>
                  </a:cubicBezTo>
                  <a:cubicBezTo>
                    <a:pt x="210" y="185"/>
                    <a:pt x="211" y="183"/>
                    <a:pt x="213" y="181"/>
                  </a:cubicBezTo>
                  <a:cubicBezTo>
                    <a:pt x="217" y="183"/>
                    <a:pt x="223" y="186"/>
                    <a:pt x="224" y="186"/>
                  </a:cubicBezTo>
                  <a:cubicBezTo>
                    <a:pt x="225" y="187"/>
                    <a:pt x="226" y="187"/>
                    <a:pt x="227" y="186"/>
                  </a:cubicBezTo>
                  <a:cubicBezTo>
                    <a:pt x="228" y="186"/>
                    <a:pt x="229" y="185"/>
                    <a:pt x="229" y="184"/>
                  </a:cubicBezTo>
                  <a:cubicBezTo>
                    <a:pt x="230" y="184"/>
                    <a:pt x="230" y="182"/>
                    <a:pt x="230" y="181"/>
                  </a:cubicBezTo>
                  <a:cubicBezTo>
                    <a:pt x="230" y="180"/>
                    <a:pt x="229" y="180"/>
                    <a:pt x="228" y="179"/>
                  </a:cubicBezTo>
                  <a:cubicBezTo>
                    <a:pt x="227" y="178"/>
                    <a:pt x="222" y="175"/>
                    <a:pt x="218" y="172"/>
                  </a:cubicBezTo>
                  <a:cubicBezTo>
                    <a:pt x="219" y="169"/>
                    <a:pt x="220" y="167"/>
                    <a:pt x="221" y="165"/>
                  </a:cubicBezTo>
                  <a:cubicBezTo>
                    <a:pt x="226" y="166"/>
                    <a:pt x="232" y="167"/>
                    <a:pt x="233" y="168"/>
                  </a:cubicBezTo>
                  <a:cubicBezTo>
                    <a:pt x="234" y="168"/>
                    <a:pt x="235" y="168"/>
                    <a:pt x="236" y="167"/>
                  </a:cubicBezTo>
                  <a:cubicBezTo>
                    <a:pt x="237" y="167"/>
                    <a:pt x="238" y="166"/>
                    <a:pt x="238" y="165"/>
                  </a:cubicBezTo>
                  <a:cubicBezTo>
                    <a:pt x="239" y="164"/>
                    <a:pt x="239" y="163"/>
                    <a:pt x="238" y="162"/>
                  </a:cubicBezTo>
                  <a:cubicBezTo>
                    <a:pt x="238" y="161"/>
                    <a:pt x="237" y="160"/>
                    <a:pt x="236" y="160"/>
                  </a:cubicBezTo>
                  <a:cubicBezTo>
                    <a:pt x="235" y="159"/>
                    <a:pt x="230" y="157"/>
                    <a:pt x="225" y="154"/>
                  </a:cubicBezTo>
                  <a:cubicBezTo>
                    <a:pt x="226" y="152"/>
                    <a:pt x="226" y="149"/>
                    <a:pt x="227" y="147"/>
                  </a:cubicBezTo>
                  <a:cubicBezTo>
                    <a:pt x="232" y="147"/>
                    <a:pt x="238" y="148"/>
                    <a:pt x="239" y="148"/>
                  </a:cubicBezTo>
                  <a:cubicBezTo>
                    <a:pt x="241" y="148"/>
                    <a:pt x="242" y="147"/>
                    <a:pt x="242" y="147"/>
                  </a:cubicBezTo>
                  <a:cubicBezTo>
                    <a:pt x="243" y="146"/>
                    <a:pt x="244" y="145"/>
                    <a:pt x="244" y="144"/>
                  </a:cubicBezTo>
                  <a:cubicBezTo>
                    <a:pt x="244" y="143"/>
                    <a:pt x="244" y="142"/>
                    <a:pt x="243" y="141"/>
                  </a:cubicBezTo>
                  <a:cubicBezTo>
                    <a:pt x="243" y="140"/>
                    <a:pt x="242" y="140"/>
                    <a:pt x="241" y="139"/>
                  </a:cubicBezTo>
                  <a:cubicBezTo>
                    <a:pt x="240" y="139"/>
                    <a:pt x="234" y="138"/>
                    <a:pt x="229" y="136"/>
                  </a:cubicBezTo>
                  <a:cubicBezTo>
                    <a:pt x="229" y="134"/>
                    <a:pt x="229" y="131"/>
                    <a:pt x="230" y="128"/>
                  </a:cubicBezTo>
                  <a:cubicBezTo>
                    <a:pt x="235" y="128"/>
                    <a:pt x="241" y="127"/>
                    <a:pt x="242" y="127"/>
                  </a:cubicBezTo>
                  <a:close/>
                  <a:moveTo>
                    <a:pt x="123" y="209"/>
                  </a:moveTo>
                  <a:cubicBezTo>
                    <a:pt x="75" y="209"/>
                    <a:pt x="36" y="171"/>
                    <a:pt x="36" y="123"/>
                  </a:cubicBezTo>
                  <a:cubicBezTo>
                    <a:pt x="36" y="75"/>
                    <a:pt x="75" y="36"/>
                    <a:pt x="123" y="36"/>
                  </a:cubicBezTo>
                  <a:cubicBezTo>
                    <a:pt x="171" y="36"/>
                    <a:pt x="209" y="75"/>
                    <a:pt x="209" y="123"/>
                  </a:cubicBezTo>
                  <a:cubicBezTo>
                    <a:pt x="209" y="171"/>
                    <a:pt x="171" y="209"/>
                    <a:pt x="123" y="20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6" name="Freeform 752">
              <a:extLst>
                <a:ext uri="{FF2B5EF4-FFF2-40B4-BE49-F238E27FC236}">
                  <a16:creationId xmlns:a16="http://schemas.microsoft.com/office/drawing/2014/main" id="{922AA2A7-25FA-4AA7-AEAB-822A53621FD3}"/>
                </a:ext>
              </a:extLst>
            </p:cNvPr>
            <p:cNvSpPr>
              <a:spLocks noEditPoints="1"/>
            </p:cNvSpPr>
            <p:nvPr/>
          </p:nvSpPr>
          <p:spPr bwMode="auto">
            <a:xfrm>
              <a:off x="1672532" y="2835603"/>
              <a:ext cx="286848" cy="283778"/>
            </a:xfrm>
            <a:custGeom>
              <a:avLst/>
              <a:gdLst>
                <a:gd name="T0" fmla="*/ 274 w 281"/>
                <a:gd name="T1" fmla="*/ 257 h 279"/>
                <a:gd name="T2" fmla="*/ 228 w 281"/>
                <a:gd name="T3" fmla="*/ 246 h 279"/>
                <a:gd name="T4" fmla="*/ 204 w 281"/>
                <a:gd name="T5" fmla="*/ 242 h 279"/>
                <a:gd name="T6" fmla="*/ 187 w 281"/>
                <a:gd name="T7" fmla="*/ 194 h 279"/>
                <a:gd name="T8" fmla="*/ 217 w 281"/>
                <a:gd name="T9" fmla="*/ 126 h 279"/>
                <a:gd name="T10" fmla="*/ 209 w 281"/>
                <a:gd name="T11" fmla="*/ 28 h 279"/>
                <a:gd name="T12" fmla="*/ 141 w 281"/>
                <a:gd name="T13" fmla="*/ 0 h 279"/>
                <a:gd name="T14" fmla="*/ 72 w 281"/>
                <a:gd name="T15" fmla="*/ 28 h 279"/>
                <a:gd name="T16" fmla="*/ 65 w 281"/>
                <a:gd name="T17" fmla="*/ 126 h 279"/>
                <a:gd name="T18" fmla="*/ 94 w 281"/>
                <a:gd name="T19" fmla="*/ 193 h 279"/>
                <a:gd name="T20" fmla="*/ 77 w 281"/>
                <a:gd name="T21" fmla="*/ 242 h 279"/>
                <a:gd name="T22" fmla="*/ 53 w 281"/>
                <a:gd name="T23" fmla="*/ 246 h 279"/>
                <a:gd name="T24" fmla="*/ 7 w 281"/>
                <a:gd name="T25" fmla="*/ 257 h 279"/>
                <a:gd name="T26" fmla="*/ 3 w 281"/>
                <a:gd name="T27" fmla="*/ 272 h 279"/>
                <a:gd name="T28" fmla="*/ 18 w 281"/>
                <a:gd name="T29" fmla="*/ 276 h 279"/>
                <a:gd name="T30" fmla="*/ 56 w 281"/>
                <a:gd name="T31" fmla="*/ 267 h 279"/>
                <a:gd name="T32" fmla="*/ 87 w 281"/>
                <a:gd name="T33" fmla="*/ 261 h 279"/>
                <a:gd name="T34" fmla="*/ 113 w 281"/>
                <a:gd name="T35" fmla="*/ 219 h 279"/>
                <a:gd name="T36" fmla="*/ 112 w 281"/>
                <a:gd name="T37" fmla="*/ 182 h 279"/>
                <a:gd name="T38" fmla="*/ 85 w 281"/>
                <a:gd name="T39" fmla="*/ 120 h 279"/>
                <a:gd name="T40" fmla="*/ 80 w 281"/>
                <a:gd name="T41" fmla="*/ 63 h 279"/>
                <a:gd name="T42" fmla="*/ 125 w 281"/>
                <a:gd name="T43" fmla="*/ 79 h 279"/>
                <a:gd name="T44" fmla="*/ 155 w 281"/>
                <a:gd name="T45" fmla="*/ 74 h 279"/>
                <a:gd name="T46" fmla="*/ 159 w 281"/>
                <a:gd name="T47" fmla="*/ 71 h 279"/>
                <a:gd name="T48" fmla="*/ 162 w 281"/>
                <a:gd name="T49" fmla="*/ 68 h 279"/>
                <a:gd name="T50" fmla="*/ 165 w 281"/>
                <a:gd name="T51" fmla="*/ 71 h 279"/>
                <a:gd name="T52" fmla="*/ 172 w 281"/>
                <a:gd name="T53" fmla="*/ 74 h 279"/>
                <a:gd name="T54" fmla="*/ 201 w 281"/>
                <a:gd name="T55" fmla="*/ 63 h 279"/>
                <a:gd name="T56" fmla="*/ 196 w 281"/>
                <a:gd name="T57" fmla="*/ 120 h 279"/>
                <a:gd name="T58" fmla="*/ 170 w 281"/>
                <a:gd name="T59" fmla="*/ 182 h 279"/>
                <a:gd name="T60" fmla="*/ 169 w 281"/>
                <a:gd name="T61" fmla="*/ 219 h 279"/>
                <a:gd name="T62" fmla="*/ 194 w 281"/>
                <a:gd name="T63" fmla="*/ 261 h 279"/>
                <a:gd name="T64" fmla="*/ 226 w 281"/>
                <a:gd name="T65" fmla="*/ 267 h 279"/>
                <a:gd name="T66" fmla="*/ 263 w 281"/>
                <a:gd name="T67" fmla="*/ 276 h 279"/>
                <a:gd name="T68" fmla="*/ 269 w 281"/>
                <a:gd name="T69" fmla="*/ 277 h 279"/>
                <a:gd name="T70" fmla="*/ 278 w 281"/>
                <a:gd name="T71" fmla="*/ 272 h 279"/>
                <a:gd name="T72" fmla="*/ 274 w 281"/>
                <a:gd name="T73" fmla="*/ 257 h 279"/>
                <a:gd name="T74" fmla="*/ 177 w 281"/>
                <a:gd name="T75" fmla="*/ 53 h 279"/>
                <a:gd name="T76" fmla="*/ 170 w 281"/>
                <a:gd name="T77" fmla="*/ 45 h 279"/>
                <a:gd name="T78" fmla="*/ 154 w 281"/>
                <a:gd name="T79" fmla="*/ 45 h 279"/>
                <a:gd name="T80" fmla="*/ 146 w 281"/>
                <a:gd name="T81" fmla="*/ 54 h 279"/>
                <a:gd name="T82" fmla="*/ 89 w 281"/>
                <a:gd name="T83" fmla="*/ 41 h 279"/>
                <a:gd name="T84" fmla="*/ 89 w 281"/>
                <a:gd name="T85" fmla="*/ 41 h 279"/>
                <a:gd name="T86" fmla="*/ 141 w 281"/>
                <a:gd name="T87" fmla="*/ 21 h 279"/>
                <a:gd name="T88" fmla="*/ 192 w 281"/>
                <a:gd name="T89" fmla="*/ 41 h 279"/>
                <a:gd name="T90" fmla="*/ 193 w 281"/>
                <a:gd name="T91" fmla="*/ 41 h 279"/>
                <a:gd name="T92" fmla="*/ 177 w 281"/>
                <a:gd name="T93" fmla="*/ 5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79">
                  <a:moveTo>
                    <a:pt x="274" y="257"/>
                  </a:moveTo>
                  <a:cubicBezTo>
                    <a:pt x="260" y="249"/>
                    <a:pt x="243" y="248"/>
                    <a:pt x="228" y="246"/>
                  </a:cubicBezTo>
                  <a:cubicBezTo>
                    <a:pt x="218" y="245"/>
                    <a:pt x="208" y="244"/>
                    <a:pt x="204" y="242"/>
                  </a:cubicBezTo>
                  <a:cubicBezTo>
                    <a:pt x="193" y="236"/>
                    <a:pt x="184" y="201"/>
                    <a:pt x="187" y="194"/>
                  </a:cubicBezTo>
                  <a:cubicBezTo>
                    <a:pt x="200" y="176"/>
                    <a:pt x="212" y="144"/>
                    <a:pt x="217" y="126"/>
                  </a:cubicBezTo>
                  <a:cubicBezTo>
                    <a:pt x="223" y="102"/>
                    <a:pt x="232" y="58"/>
                    <a:pt x="209" y="28"/>
                  </a:cubicBezTo>
                  <a:cubicBezTo>
                    <a:pt x="195" y="9"/>
                    <a:pt x="172" y="0"/>
                    <a:pt x="141" y="0"/>
                  </a:cubicBezTo>
                  <a:cubicBezTo>
                    <a:pt x="109" y="0"/>
                    <a:pt x="86" y="9"/>
                    <a:pt x="72" y="28"/>
                  </a:cubicBezTo>
                  <a:cubicBezTo>
                    <a:pt x="50" y="58"/>
                    <a:pt x="58" y="102"/>
                    <a:pt x="65" y="126"/>
                  </a:cubicBezTo>
                  <a:cubicBezTo>
                    <a:pt x="70" y="144"/>
                    <a:pt x="82" y="176"/>
                    <a:pt x="94" y="193"/>
                  </a:cubicBezTo>
                  <a:cubicBezTo>
                    <a:pt x="97" y="201"/>
                    <a:pt x="88" y="236"/>
                    <a:pt x="77" y="242"/>
                  </a:cubicBezTo>
                  <a:cubicBezTo>
                    <a:pt x="73" y="244"/>
                    <a:pt x="63" y="245"/>
                    <a:pt x="53" y="246"/>
                  </a:cubicBezTo>
                  <a:cubicBezTo>
                    <a:pt x="38" y="248"/>
                    <a:pt x="21" y="249"/>
                    <a:pt x="7" y="257"/>
                  </a:cubicBezTo>
                  <a:cubicBezTo>
                    <a:pt x="2" y="260"/>
                    <a:pt x="0" y="266"/>
                    <a:pt x="3" y="272"/>
                  </a:cubicBezTo>
                  <a:cubicBezTo>
                    <a:pt x="6" y="277"/>
                    <a:pt x="13" y="279"/>
                    <a:pt x="18" y="276"/>
                  </a:cubicBezTo>
                  <a:cubicBezTo>
                    <a:pt x="28" y="270"/>
                    <a:pt x="43" y="269"/>
                    <a:pt x="56" y="267"/>
                  </a:cubicBezTo>
                  <a:cubicBezTo>
                    <a:pt x="68" y="266"/>
                    <a:pt x="79" y="265"/>
                    <a:pt x="87" y="261"/>
                  </a:cubicBezTo>
                  <a:cubicBezTo>
                    <a:pt x="103" y="252"/>
                    <a:pt x="110" y="229"/>
                    <a:pt x="113" y="219"/>
                  </a:cubicBezTo>
                  <a:cubicBezTo>
                    <a:pt x="115" y="210"/>
                    <a:pt x="118" y="192"/>
                    <a:pt x="112" y="182"/>
                  </a:cubicBezTo>
                  <a:cubicBezTo>
                    <a:pt x="101" y="167"/>
                    <a:pt x="90" y="137"/>
                    <a:pt x="85" y="120"/>
                  </a:cubicBezTo>
                  <a:cubicBezTo>
                    <a:pt x="82" y="109"/>
                    <a:pt x="76" y="84"/>
                    <a:pt x="80" y="63"/>
                  </a:cubicBezTo>
                  <a:cubicBezTo>
                    <a:pt x="94" y="75"/>
                    <a:pt x="110" y="79"/>
                    <a:pt x="125" y="79"/>
                  </a:cubicBezTo>
                  <a:cubicBezTo>
                    <a:pt x="137" y="79"/>
                    <a:pt x="148" y="76"/>
                    <a:pt x="155" y="74"/>
                  </a:cubicBezTo>
                  <a:cubicBezTo>
                    <a:pt x="156" y="73"/>
                    <a:pt x="158" y="72"/>
                    <a:pt x="159" y="71"/>
                  </a:cubicBezTo>
                  <a:cubicBezTo>
                    <a:pt x="162" y="68"/>
                    <a:pt x="162" y="68"/>
                    <a:pt x="162" y="68"/>
                  </a:cubicBezTo>
                  <a:cubicBezTo>
                    <a:pt x="165" y="71"/>
                    <a:pt x="165" y="71"/>
                    <a:pt x="165" y="71"/>
                  </a:cubicBezTo>
                  <a:cubicBezTo>
                    <a:pt x="167" y="73"/>
                    <a:pt x="169" y="74"/>
                    <a:pt x="172" y="74"/>
                  </a:cubicBezTo>
                  <a:cubicBezTo>
                    <a:pt x="173" y="74"/>
                    <a:pt x="187" y="75"/>
                    <a:pt x="201" y="63"/>
                  </a:cubicBezTo>
                  <a:cubicBezTo>
                    <a:pt x="205" y="84"/>
                    <a:pt x="199" y="109"/>
                    <a:pt x="196" y="120"/>
                  </a:cubicBezTo>
                  <a:cubicBezTo>
                    <a:pt x="191" y="137"/>
                    <a:pt x="180" y="167"/>
                    <a:pt x="170" y="182"/>
                  </a:cubicBezTo>
                  <a:cubicBezTo>
                    <a:pt x="163" y="192"/>
                    <a:pt x="166" y="210"/>
                    <a:pt x="169" y="219"/>
                  </a:cubicBezTo>
                  <a:cubicBezTo>
                    <a:pt x="171" y="229"/>
                    <a:pt x="178" y="252"/>
                    <a:pt x="194" y="261"/>
                  </a:cubicBezTo>
                  <a:cubicBezTo>
                    <a:pt x="202" y="265"/>
                    <a:pt x="213" y="266"/>
                    <a:pt x="226" y="267"/>
                  </a:cubicBezTo>
                  <a:cubicBezTo>
                    <a:pt x="239" y="269"/>
                    <a:pt x="254" y="270"/>
                    <a:pt x="263" y="276"/>
                  </a:cubicBezTo>
                  <a:cubicBezTo>
                    <a:pt x="265" y="277"/>
                    <a:pt x="267" y="277"/>
                    <a:pt x="269" y="277"/>
                  </a:cubicBezTo>
                  <a:cubicBezTo>
                    <a:pt x="272" y="277"/>
                    <a:pt x="276" y="275"/>
                    <a:pt x="278" y="272"/>
                  </a:cubicBezTo>
                  <a:cubicBezTo>
                    <a:pt x="281" y="266"/>
                    <a:pt x="279" y="260"/>
                    <a:pt x="274" y="257"/>
                  </a:cubicBezTo>
                  <a:close/>
                  <a:moveTo>
                    <a:pt x="177" y="53"/>
                  </a:moveTo>
                  <a:cubicBezTo>
                    <a:pt x="170" y="45"/>
                    <a:pt x="170" y="45"/>
                    <a:pt x="170" y="45"/>
                  </a:cubicBezTo>
                  <a:cubicBezTo>
                    <a:pt x="165" y="41"/>
                    <a:pt x="159" y="41"/>
                    <a:pt x="154" y="45"/>
                  </a:cubicBezTo>
                  <a:cubicBezTo>
                    <a:pt x="146" y="54"/>
                    <a:pt x="146" y="54"/>
                    <a:pt x="146" y="54"/>
                  </a:cubicBezTo>
                  <a:cubicBezTo>
                    <a:pt x="137" y="57"/>
                    <a:pt x="106" y="64"/>
                    <a:pt x="89" y="41"/>
                  </a:cubicBezTo>
                  <a:cubicBezTo>
                    <a:pt x="89" y="41"/>
                    <a:pt x="89" y="41"/>
                    <a:pt x="89" y="41"/>
                  </a:cubicBezTo>
                  <a:cubicBezTo>
                    <a:pt x="99" y="28"/>
                    <a:pt x="116" y="21"/>
                    <a:pt x="141" y="21"/>
                  </a:cubicBezTo>
                  <a:cubicBezTo>
                    <a:pt x="165" y="21"/>
                    <a:pt x="182" y="28"/>
                    <a:pt x="192" y="41"/>
                  </a:cubicBezTo>
                  <a:cubicBezTo>
                    <a:pt x="192" y="41"/>
                    <a:pt x="192" y="41"/>
                    <a:pt x="193" y="41"/>
                  </a:cubicBezTo>
                  <a:cubicBezTo>
                    <a:pt x="187" y="49"/>
                    <a:pt x="180" y="52"/>
                    <a:pt x="177" y="5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7" name="Group 46"/>
          <p:cNvGrpSpPr/>
          <p:nvPr/>
        </p:nvGrpSpPr>
        <p:grpSpPr>
          <a:xfrm>
            <a:off x="10956755" y="1607287"/>
            <a:ext cx="824009" cy="825319"/>
            <a:chOff x="1740630" y="3345611"/>
            <a:chExt cx="824009" cy="825319"/>
          </a:xfrm>
        </p:grpSpPr>
        <p:sp>
          <p:nvSpPr>
            <p:cNvPr id="9" name="Freeform 9">
              <a:extLst>
                <a:ext uri="{FF2B5EF4-FFF2-40B4-BE49-F238E27FC236}">
                  <a16:creationId xmlns:a16="http://schemas.microsoft.com/office/drawing/2014/main" id="{DE05A36B-D495-45CC-869E-2A2B52464C83}"/>
                </a:ext>
              </a:extLst>
            </p:cNvPr>
            <p:cNvSpPr>
              <a:spLocks noEditPoints="1"/>
            </p:cNvSpPr>
            <p:nvPr/>
          </p:nvSpPr>
          <p:spPr bwMode="auto">
            <a:xfrm>
              <a:off x="1740630" y="3345611"/>
              <a:ext cx="824009" cy="825319"/>
            </a:xfrm>
            <a:custGeom>
              <a:avLst/>
              <a:gdLst>
                <a:gd name="T0" fmla="*/ 222 w 282"/>
                <a:gd name="T1" fmla="*/ 257 h 283"/>
                <a:gd name="T2" fmla="*/ 222 w 282"/>
                <a:gd name="T3" fmla="*/ 245 h 283"/>
                <a:gd name="T4" fmla="*/ 205 w 282"/>
                <a:gd name="T5" fmla="*/ 209 h 283"/>
                <a:gd name="T6" fmla="*/ 224 w 282"/>
                <a:gd name="T7" fmla="*/ 184 h 283"/>
                <a:gd name="T8" fmla="*/ 263 w 282"/>
                <a:gd name="T9" fmla="*/ 190 h 283"/>
                <a:gd name="T10" fmla="*/ 274 w 282"/>
                <a:gd name="T11" fmla="*/ 187 h 283"/>
                <a:gd name="T12" fmla="*/ 281 w 282"/>
                <a:gd name="T13" fmla="*/ 177 h 283"/>
                <a:gd name="T14" fmla="*/ 280 w 282"/>
                <a:gd name="T15" fmla="*/ 165 h 283"/>
                <a:gd name="T16" fmla="*/ 271 w 282"/>
                <a:gd name="T17" fmla="*/ 157 h 283"/>
                <a:gd name="T18" fmla="*/ 234 w 282"/>
                <a:gd name="T19" fmla="*/ 144 h 283"/>
                <a:gd name="T20" fmla="*/ 230 w 282"/>
                <a:gd name="T21" fmla="*/ 113 h 283"/>
                <a:gd name="T22" fmla="*/ 261 w 282"/>
                <a:gd name="T23" fmla="*/ 90 h 283"/>
                <a:gd name="T24" fmla="*/ 268 w 282"/>
                <a:gd name="T25" fmla="*/ 79 h 283"/>
                <a:gd name="T26" fmla="*/ 265 w 282"/>
                <a:gd name="T27" fmla="*/ 68 h 283"/>
                <a:gd name="T28" fmla="*/ 256 w 282"/>
                <a:gd name="T29" fmla="*/ 60 h 283"/>
                <a:gd name="T30" fmla="*/ 244 w 282"/>
                <a:gd name="T31" fmla="*/ 60 h 283"/>
                <a:gd name="T32" fmla="*/ 209 w 282"/>
                <a:gd name="T33" fmla="*/ 77 h 283"/>
                <a:gd name="T34" fmla="*/ 184 w 282"/>
                <a:gd name="T35" fmla="*/ 58 h 283"/>
                <a:gd name="T36" fmla="*/ 190 w 282"/>
                <a:gd name="T37" fmla="*/ 19 h 283"/>
                <a:gd name="T38" fmla="*/ 187 w 282"/>
                <a:gd name="T39" fmla="*/ 8 h 283"/>
                <a:gd name="T40" fmla="*/ 177 w 282"/>
                <a:gd name="T41" fmla="*/ 1 h 283"/>
                <a:gd name="T42" fmla="*/ 165 w 282"/>
                <a:gd name="T43" fmla="*/ 2 h 283"/>
                <a:gd name="T44" fmla="*/ 157 w 282"/>
                <a:gd name="T45" fmla="*/ 11 h 283"/>
                <a:gd name="T46" fmla="*/ 144 w 282"/>
                <a:gd name="T47" fmla="*/ 48 h 283"/>
                <a:gd name="T48" fmla="*/ 113 w 282"/>
                <a:gd name="T49" fmla="*/ 52 h 283"/>
                <a:gd name="T50" fmla="*/ 90 w 282"/>
                <a:gd name="T51" fmla="*/ 20 h 283"/>
                <a:gd name="T52" fmla="*/ 79 w 282"/>
                <a:gd name="T53" fmla="*/ 14 h 283"/>
                <a:gd name="T54" fmla="*/ 67 w 282"/>
                <a:gd name="T55" fmla="*/ 16 h 283"/>
                <a:gd name="T56" fmla="*/ 60 w 282"/>
                <a:gd name="T57" fmla="*/ 26 h 283"/>
                <a:gd name="T58" fmla="*/ 60 w 282"/>
                <a:gd name="T59" fmla="*/ 38 h 283"/>
                <a:gd name="T60" fmla="*/ 77 w 282"/>
                <a:gd name="T61" fmla="*/ 73 h 283"/>
                <a:gd name="T62" fmla="*/ 58 w 282"/>
                <a:gd name="T63" fmla="*/ 98 h 283"/>
                <a:gd name="T64" fmla="*/ 19 w 282"/>
                <a:gd name="T65" fmla="*/ 92 h 283"/>
                <a:gd name="T66" fmla="*/ 8 w 282"/>
                <a:gd name="T67" fmla="*/ 95 h 283"/>
                <a:gd name="T68" fmla="*/ 1 w 282"/>
                <a:gd name="T69" fmla="*/ 105 h 283"/>
                <a:gd name="T70" fmla="*/ 2 w 282"/>
                <a:gd name="T71" fmla="*/ 117 h 283"/>
                <a:gd name="T72" fmla="*/ 11 w 282"/>
                <a:gd name="T73" fmla="*/ 125 h 283"/>
                <a:gd name="T74" fmla="*/ 48 w 282"/>
                <a:gd name="T75" fmla="*/ 139 h 283"/>
                <a:gd name="T76" fmla="*/ 52 w 282"/>
                <a:gd name="T77" fmla="*/ 170 h 283"/>
                <a:gd name="T78" fmla="*/ 20 w 282"/>
                <a:gd name="T79" fmla="*/ 193 h 283"/>
                <a:gd name="T80" fmla="*/ 14 w 282"/>
                <a:gd name="T81" fmla="*/ 203 h 283"/>
                <a:gd name="T82" fmla="*/ 16 w 282"/>
                <a:gd name="T83" fmla="*/ 215 h 283"/>
                <a:gd name="T84" fmla="*/ 26 w 282"/>
                <a:gd name="T85" fmla="*/ 222 h 283"/>
                <a:gd name="T86" fmla="*/ 38 w 282"/>
                <a:gd name="T87" fmla="*/ 222 h 283"/>
                <a:gd name="T88" fmla="*/ 73 w 282"/>
                <a:gd name="T89" fmla="*/ 205 h 283"/>
                <a:gd name="T90" fmla="*/ 98 w 282"/>
                <a:gd name="T91" fmla="*/ 224 h 283"/>
                <a:gd name="T92" fmla="*/ 92 w 282"/>
                <a:gd name="T93" fmla="*/ 263 h 283"/>
                <a:gd name="T94" fmla="*/ 95 w 282"/>
                <a:gd name="T95" fmla="*/ 275 h 283"/>
                <a:gd name="T96" fmla="*/ 105 w 282"/>
                <a:gd name="T97" fmla="*/ 282 h 283"/>
                <a:gd name="T98" fmla="*/ 117 w 282"/>
                <a:gd name="T99" fmla="*/ 280 h 283"/>
                <a:gd name="T100" fmla="*/ 125 w 282"/>
                <a:gd name="T101" fmla="*/ 272 h 283"/>
                <a:gd name="T102" fmla="*/ 138 w 282"/>
                <a:gd name="T103" fmla="*/ 234 h 283"/>
                <a:gd name="T104" fmla="*/ 169 w 282"/>
                <a:gd name="T105" fmla="*/ 230 h 283"/>
                <a:gd name="T106" fmla="*/ 192 w 282"/>
                <a:gd name="T107" fmla="*/ 262 h 283"/>
                <a:gd name="T108" fmla="*/ 203 w 282"/>
                <a:gd name="T109" fmla="*/ 268 h 283"/>
                <a:gd name="T110" fmla="*/ 214 w 282"/>
                <a:gd name="T111" fmla="*/ 266 h 283"/>
                <a:gd name="T112" fmla="*/ 222 w 282"/>
                <a:gd name="T113" fmla="*/ 257 h 283"/>
                <a:gd name="T114" fmla="*/ 169 w 282"/>
                <a:gd name="T115" fmla="*/ 189 h 283"/>
                <a:gd name="T116" fmla="*/ 93 w 282"/>
                <a:gd name="T117" fmla="*/ 170 h 283"/>
                <a:gd name="T118" fmla="*/ 113 w 282"/>
                <a:gd name="T119" fmla="*/ 93 h 283"/>
                <a:gd name="T120" fmla="*/ 189 w 282"/>
                <a:gd name="T121" fmla="*/ 113 h 283"/>
                <a:gd name="T122" fmla="*/ 169 w 282"/>
                <a:gd name="T123" fmla="*/ 18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83">
                  <a:moveTo>
                    <a:pt x="222" y="257"/>
                  </a:moveTo>
                  <a:cubicBezTo>
                    <a:pt x="223" y="253"/>
                    <a:pt x="223" y="249"/>
                    <a:pt x="222" y="245"/>
                  </a:cubicBezTo>
                  <a:cubicBezTo>
                    <a:pt x="220" y="241"/>
                    <a:pt x="213" y="225"/>
                    <a:pt x="205" y="209"/>
                  </a:cubicBezTo>
                  <a:cubicBezTo>
                    <a:pt x="213" y="202"/>
                    <a:pt x="219" y="193"/>
                    <a:pt x="224" y="184"/>
                  </a:cubicBezTo>
                  <a:cubicBezTo>
                    <a:pt x="242" y="187"/>
                    <a:pt x="259" y="189"/>
                    <a:pt x="263" y="190"/>
                  </a:cubicBezTo>
                  <a:cubicBezTo>
                    <a:pt x="267" y="191"/>
                    <a:pt x="271" y="190"/>
                    <a:pt x="274" y="187"/>
                  </a:cubicBezTo>
                  <a:cubicBezTo>
                    <a:pt x="277" y="185"/>
                    <a:pt x="280" y="182"/>
                    <a:pt x="281" y="177"/>
                  </a:cubicBezTo>
                  <a:cubicBezTo>
                    <a:pt x="282" y="173"/>
                    <a:pt x="282" y="169"/>
                    <a:pt x="280" y="165"/>
                  </a:cubicBezTo>
                  <a:cubicBezTo>
                    <a:pt x="278" y="162"/>
                    <a:pt x="275" y="159"/>
                    <a:pt x="271" y="157"/>
                  </a:cubicBezTo>
                  <a:cubicBezTo>
                    <a:pt x="267" y="156"/>
                    <a:pt x="251" y="150"/>
                    <a:pt x="234" y="144"/>
                  </a:cubicBezTo>
                  <a:cubicBezTo>
                    <a:pt x="234" y="134"/>
                    <a:pt x="233" y="123"/>
                    <a:pt x="230" y="113"/>
                  </a:cubicBezTo>
                  <a:cubicBezTo>
                    <a:pt x="244" y="102"/>
                    <a:pt x="258" y="92"/>
                    <a:pt x="261" y="90"/>
                  </a:cubicBezTo>
                  <a:cubicBezTo>
                    <a:pt x="265" y="87"/>
                    <a:pt x="267" y="83"/>
                    <a:pt x="268" y="79"/>
                  </a:cubicBezTo>
                  <a:cubicBezTo>
                    <a:pt x="268" y="75"/>
                    <a:pt x="268" y="71"/>
                    <a:pt x="265" y="68"/>
                  </a:cubicBezTo>
                  <a:cubicBezTo>
                    <a:pt x="263" y="64"/>
                    <a:pt x="260" y="61"/>
                    <a:pt x="256" y="60"/>
                  </a:cubicBezTo>
                  <a:cubicBezTo>
                    <a:pt x="252" y="59"/>
                    <a:pt x="248" y="59"/>
                    <a:pt x="244" y="60"/>
                  </a:cubicBezTo>
                  <a:cubicBezTo>
                    <a:pt x="241" y="62"/>
                    <a:pt x="225" y="70"/>
                    <a:pt x="209" y="77"/>
                  </a:cubicBezTo>
                  <a:cubicBezTo>
                    <a:pt x="201" y="69"/>
                    <a:pt x="193" y="63"/>
                    <a:pt x="184" y="58"/>
                  </a:cubicBezTo>
                  <a:cubicBezTo>
                    <a:pt x="186" y="40"/>
                    <a:pt x="189" y="23"/>
                    <a:pt x="190" y="19"/>
                  </a:cubicBezTo>
                  <a:cubicBezTo>
                    <a:pt x="190" y="15"/>
                    <a:pt x="189" y="11"/>
                    <a:pt x="187" y="8"/>
                  </a:cubicBezTo>
                  <a:cubicBezTo>
                    <a:pt x="185" y="4"/>
                    <a:pt x="181" y="2"/>
                    <a:pt x="177" y="1"/>
                  </a:cubicBezTo>
                  <a:cubicBezTo>
                    <a:pt x="173" y="0"/>
                    <a:pt x="169" y="0"/>
                    <a:pt x="165" y="2"/>
                  </a:cubicBezTo>
                  <a:cubicBezTo>
                    <a:pt x="162" y="4"/>
                    <a:pt x="158" y="7"/>
                    <a:pt x="157" y="11"/>
                  </a:cubicBezTo>
                  <a:cubicBezTo>
                    <a:pt x="156" y="15"/>
                    <a:pt x="150" y="31"/>
                    <a:pt x="144" y="48"/>
                  </a:cubicBezTo>
                  <a:cubicBezTo>
                    <a:pt x="133" y="48"/>
                    <a:pt x="123" y="49"/>
                    <a:pt x="113" y="52"/>
                  </a:cubicBezTo>
                  <a:cubicBezTo>
                    <a:pt x="102" y="38"/>
                    <a:pt x="92" y="24"/>
                    <a:pt x="90" y="20"/>
                  </a:cubicBezTo>
                  <a:cubicBezTo>
                    <a:pt x="87" y="17"/>
                    <a:pt x="83" y="15"/>
                    <a:pt x="79" y="14"/>
                  </a:cubicBezTo>
                  <a:cubicBezTo>
                    <a:pt x="75" y="14"/>
                    <a:pt x="71" y="14"/>
                    <a:pt x="67" y="16"/>
                  </a:cubicBezTo>
                  <a:cubicBezTo>
                    <a:pt x="64" y="19"/>
                    <a:pt x="61" y="22"/>
                    <a:pt x="60" y="26"/>
                  </a:cubicBezTo>
                  <a:cubicBezTo>
                    <a:pt x="59" y="30"/>
                    <a:pt x="58" y="34"/>
                    <a:pt x="60" y="38"/>
                  </a:cubicBezTo>
                  <a:cubicBezTo>
                    <a:pt x="62" y="41"/>
                    <a:pt x="69" y="57"/>
                    <a:pt x="77" y="73"/>
                  </a:cubicBezTo>
                  <a:cubicBezTo>
                    <a:pt x="69" y="81"/>
                    <a:pt x="63" y="89"/>
                    <a:pt x="58" y="98"/>
                  </a:cubicBezTo>
                  <a:cubicBezTo>
                    <a:pt x="40" y="96"/>
                    <a:pt x="23" y="93"/>
                    <a:pt x="19" y="92"/>
                  </a:cubicBezTo>
                  <a:cubicBezTo>
                    <a:pt x="15" y="92"/>
                    <a:pt x="11" y="93"/>
                    <a:pt x="8" y="95"/>
                  </a:cubicBezTo>
                  <a:cubicBezTo>
                    <a:pt x="4" y="98"/>
                    <a:pt x="2" y="101"/>
                    <a:pt x="1" y="105"/>
                  </a:cubicBezTo>
                  <a:cubicBezTo>
                    <a:pt x="0" y="109"/>
                    <a:pt x="0" y="113"/>
                    <a:pt x="2" y="117"/>
                  </a:cubicBezTo>
                  <a:cubicBezTo>
                    <a:pt x="4" y="121"/>
                    <a:pt x="7" y="124"/>
                    <a:pt x="11" y="125"/>
                  </a:cubicBezTo>
                  <a:cubicBezTo>
                    <a:pt x="15" y="127"/>
                    <a:pt x="31" y="132"/>
                    <a:pt x="48" y="139"/>
                  </a:cubicBezTo>
                  <a:cubicBezTo>
                    <a:pt x="48" y="149"/>
                    <a:pt x="49" y="159"/>
                    <a:pt x="52" y="170"/>
                  </a:cubicBezTo>
                  <a:cubicBezTo>
                    <a:pt x="38" y="180"/>
                    <a:pt x="24" y="190"/>
                    <a:pt x="20" y="193"/>
                  </a:cubicBezTo>
                  <a:cubicBezTo>
                    <a:pt x="17" y="195"/>
                    <a:pt x="15" y="199"/>
                    <a:pt x="14" y="203"/>
                  </a:cubicBezTo>
                  <a:cubicBezTo>
                    <a:pt x="14" y="207"/>
                    <a:pt x="14" y="211"/>
                    <a:pt x="16" y="215"/>
                  </a:cubicBezTo>
                  <a:cubicBezTo>
                    <a:pt x="19" y="219"/>
                    <a:pt x="22" y="221"/>
                    <a:pt x="26" y="222"/>
                  </a:cubicBezTo>
                  <a:cubicBezTo>
                    <a:pt x="30" y="224"/>
                    <a:pt x="34" y="224"/>
                    <a:pt x="38" y="222"/>
                  </a:cubicBezTo>
                  <a:cubicBezTo>
                    <a:pt x="41" y="220"/>
                    <a:pt x="57" y="213"/>
                    <a:pt x="73" y="205"/>
                  </a:cubicBezTo>
                  <a:cubicBezTo>
                    <a:pt x="80" y="213"/>
                    <a:pt x="89" y="219"/>
                    <a:pt x="98" y="224"/>
                  </a:cubicBezTo>
                  <a:cubicBezTo>
                    <a:pt x="95" y="242"/>
                    <a:pt x="93" y="259"/>
                    <a:pt x="92" y="263"/>
                  </a:cubicBezTo>
                  <a:cubicBezTo>
                    <a:pt x="91" y="267"/>
                    <a:pt x="93" y="271"/>
                    <a:pt x="95" y="275"/>
                  </a:cubicBezTo>
                  <a:cubicBezTo>
                    <a:pt x="97" y="278"/>
                    <a:pt x="101" y="280"/>
                    <a:pt x="105" y="282"/>
                  </a:cubicBezTo>
                  <a:cubicBezTo>
                    <a:pt x="109" y="283"/>
                    <a:pt x="113" y="282"/>
                    <a:pt x="117" y="280"/>
                  </a:cubicBezTo>
                  <a:cubicBezTo>
                    <a:pt x="120" y="278"/>
                    <a:pt x="123" y="276"/>
                    <a:pt x="125" y="272"/>
                  </a:cubicBezTo>
                  <a:cubicBezTo>
                    <a:pt x="126" y="268"/>
                    <a:pt x="132" y="251"/>
                    <a:pt x="138" y="234"/>
                  </a:cubicBezTo>
                  <a:cubicBezTo>
                    <a:pt x="149" y="235"/>
                    <a:pt x="159" y="233"/>
                    <a:pt x="169" y="230"/>
                  </a:cubicBezTo>
                  <a:cubicBezTo>
                    <a:pt x="180" y="245"/>
                    <a:pt x="190" y="259"/>
                    <a:pt x="192" y="262"/>
                  </a:cubicBezTo>
                  <a:cubicBezTo>
                    <a:pt x="195" y="265"/>
                    <a:pt x="199" y="267"/>
                    <a:pt x="203" y="268"/>
                  </a:cubicBezTo>
                  <a:cubicBezTo>
                    <a:pt x="207" y="269"/>
                    <a:pt x="211" y="268"/>
                    <a:pt x="214" y="266"/>
                  </a:cubicBezTo>
                  <a:cubicBezTo>
                    <a:pt x="218" y="264"/>
                    <a:pt x="221" y="260"/>
                    <a:pt x="222" y="257"/>
                  </a:cubicBezTo>
                  <a:close/>
                  <a:moveTo>
                    <a:pt x="169" y="189"/>
                  </a:moveTo>
                  <a:cubicBezTo>
                    <a:pt x="143" y="205"/>
                    <a:pt x="109" y="196"/>
                    <a:pt x="93" y="170"/>
                  </a:cubicBezTo>
                  <a:cubicBezTo>
                    <a:pt x="77" y="143"/>
                    <a:pt x="86" y="109"/>
                    <a:pt x="113" y="93"/>
                  </a:cubicBezTo>
                  <a:cubicBezTo>
                    <a:pt x="139" y="78"/>
                    <a:pt x="173" y="86"/>
                    <a:pt x="189" y="113"/>
                  </a:cubicBezTo>
                  <a:cubicBezTo>
                    <a:pt x="204" y="139"/>
                    <a:pt x="196" y="174"/>
                    <a:pt x="169" y="189"/>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9" name="Freeform 585">
              <a:extLst>
                <a:ext uri="{FF2B5EF4-FFF2-40B4-BE49-F238E27FC236}">
                  <a16:creationId xmlns:a16="http://schemas.microsoft.com/office/drawing/2014/main" id="{962AC6B3-B7BD-4BD1-A342-680C717296FE}"/>
                </a:ext>
              </a:extLst>
            </p:cNvPr>
            <p:cNvSpPr>
              <a:spLocks noEditPoints="1"/>
            </p:cNvSpPr>
            <p:nvPr/>
          </p:nvSpPr>
          <p:spPr bwMode="auto">
            <a:xfrm>
              <a:off x="2117054" y="3648228"/>
              <a:ext cx="67547" cy="201689"/>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solidFill>
              <a:srgbClr val="009A44"/>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5" name="Group 44"/>
          <p:cNvGrpSpPr/>
          <p:nvPr/>
        </p:nvGrpSpPr>
        <p:grpSpPr>
          <a:xfrm>
            <a:off x="2953438" y="5467841"/>
            <a:ext cx="461131" cy="461131"/>
            <a:chOff x="2602630" y="3636437"/>
            <a:chExt cx="461131" cy="461131"/>
          </a:xfrm>
        </p:grpSpPr>
        <p:sp>
          <p:nvSpPr>
            <p:cNvPr id="21" name="Freeform 22">
              <a:extLst>
                <a:ext uri="{FF2B5EF4-FFF2-40B4-BE49-F238E27FC236}">
                  <a16:creationId xmlns:a16="http://schemas.microsoft.com/office/drawing/2014/main" id="{B966A09C-1E66-46FA-85DC-39852E414325}"/>
                </a:ext>
              </a:extLst>
            </p:cNvPr>
            <p:cNvSpPr>
              <a:spLocks noEditPoints="1"/>
            </p:cNvSpPr>
            <p:nvPr/>
          </p:nvSpPr>
          <p:spPr bwMode="auto">
            <a:xfrm>
              <a:off x="2602630" y="3636437"/>
              <a:ext cx="461131" cy="461131"/>
            </a:xfrm>
            <a:custGeom>
              <a:avLst/>
              <a:gdLst>
                <a:gd name="T0" fmla="*/ 152 w 158"/>
                <a:gd name="T1" fmla="*/ 73 h 158"/>
                <a:gd name="T2" fmla="*/ 151 w 158"/>
                <a:gd name="T3" fmla="*/ 66 h 158"/>
                <a:gd name="T4" fmla="*/ 149 w 158"/>
                <a:gd name="T5" fmla="*/ 58 h 158"/>
                <a:gd name="T6" fmla="*/ 146 w 158"/>
                <a:gd name="T7" fmla="*/ 51 h 158"/>
                <a:gd name="T8" fmla="*/ 143 w 158"/>
                <a:gd name="T9" fmla="*/ 44 h 158"/>
                <a:gd name="T10" fmla="*/ 139 w 158"/>
                <a:gd name="T11" fmla="*/ 38 h 158"/>
                <a:gd name="T12" fmla="*/ 135 w 158"/>
                <a:gd name="T13" fmla="*/ 32 h 158"/>
                <a:gd name="T14" fmla="*/ 129 w 158"/>
                <a:gd name="T15" fmla="*/ 26 h 158"/>
                <a:gd name="T16" fmla="*/ 124 w 158"/>
                <a:gd name="T17" fmla="*/ 21 h 158"/>
                <a:gd name="T18" fmla="*/ 117 w 158"/>
                <a:gd name="T19" fmla="*/ 17 h 158"/>
                <a:gd name="T20" fmla="*/ 111 w 158"/>
                <a:gd name="T21" fmla="*/ 13 h 158"/>
                <a:gd name="T22" fmla="*/ 104 w 158"/>
                <a:gd name="T23" fmla="*/ 10 h 158"/>
                <a:gd name="T24" fmla="*/ 96 w 158"/>
                <a:gd name="T25" fmla="*/ 8 h 158"/>
                <a:gd name="T26" fmla="*/ 89 w 158"/>
                <a:gd name="T27" fmla="*/ 7 h 158"/>
                <a:gd name="T28" fmla="*/ 81 w 158"/>
                <a:gd name="T29" fmla="*/ 6 h 158"/>
                <a:gd name="T30" fmla="*/ 74 w 158"/>
                <a:gd name="T31" fmla="*/ 6 h 158"/>
                <a:gd name="T32" fmla="*/ 66 w 158"/>
                <a:gd name="T33" fmla="*/ 7 h 158"/>
                <a:gd name="T34" fmla="*/ 59 w 158"/>
                <a:gd name="T35" fmla="*/ 9 h 158"/>
                <a:gd name="T36" fmla="*/ 52 w 158"/>
                <a:gd name="T37" fmla="*/ 11 h 158"/>
                <a:gd name="T38" fmla="*/ 45 w 158"/>
                <a:gd name="T39" fmla="*/ 15 h 158"/>
                <a:gd name="T40" fmla="*/ 38 w 158"/>
                <a:gd name="T41" fmla="*/ 19 h 158"/>
                <a:gd name="T42" fmla="*/ 32 w 158"/>
                <a:gd name="T43" fmla="*/ 23 h 158"/>
                <a:gd name="T44" fmla="*/ 27 w 158"/>
                <a:gd name="T45" fmla="*/ 28 h 158"/>
                <a:gd name="T46" fmla="*/ 22 w 158"/>
                <a:gd name="T47" fmla="*/ 34 h 158"/>
                <a:gd name="T48" fmla="*/ 17 w 158"/>
                <a:gd name="T49" fmla="*/ 40 h 158"/>
                <a:gd name="T50" fmla="*/ 14 w 158"/>
                <a:gd name="T51" fmla="*/ 47 h 158"/>
                <a:gd name="T52" fmla="*/ 11 w 158"/>
                <a:gd name="T53" fmla="*/ 54 h 158"/>
                <a:gd name="T54" fmla="*/ 9 w 158"/>
                <a:gd name="T55" fmla="*/ 61 h 158"/>
                <a:gd name="T56" fmla="*/ 7 w 158"/>
                <a:gd name="T57" fmla="*/ 69 h 158"/>
                <a:gd name="T58" fmla="*/ 7 w 158"/>
                <a:gd name="T59" fmla="*/ 76 h 158"/>
                <a:gd name="T60" fmla="*/ 7 w 158"/>
                <a:gd name="T61" fmla="*/ 84 h 158"/>
                <a:gd name="T62" fmla="*/ 8 w 158"/>
                <a:gd name="T63" fmla="*/ 92 h 158"/>
                <a:gd name="T64" fmla="*/ 10 w 158"/>
                <a:gd name="T65" fmla="*/ 99 h 158"/>
                <a:gd name="T66" fmla="*/ 12 w 158"/>
                <a:gd name="T67" fmla="*/ 106 h 158"/>
                <a:gd name="T68" fmla="*/ 15 w 158"/>
                <a:gd name="T69" fmla="*/ 113 h 158"/>
                <a:gd name="T70" fmla="*/ 19 w 158"/>
                <a:gd name="T71" fmla="*/ 120 h 158"/>
                <a:gd name="T72" fmla="*/ 24 w 158"/>
                <a:gd name="T73" fmla="*/ 126 h 158"/>
                <a:gd name="T74" fmla="*/ 29 w 158"/>
                <a:gd name="T75" fmla="*/ 131 h 158"/>
                <a:gd name="T76" fmla="*/ 35 w 158"/>
                <a:gd name="T77" fmla="*/ 136 h 158"/>
                <a:gd name="T78" fmla="*/ 41 w 158"/>
                <a:gd name="T79" fmla="*/ 140 h 158"/>
                <a:gd name="T80" fmla="*/ 48 w 158"/>
                <a:gd name="T81" fmla="*/ 144 h 158"/>
                <a:gd name="T82" fmla="*/ 55 w 158"/>
                <a:gd name="T83" fmla="*/ 147 h 158"/>
                <a:gd name="T84" fmla="*/ 62 w 158"/>
                <a:gd name="T85" fmla="*/ 149 h 158"/>
                <a:gd name="T86" fmla="*/ 69 w 158"/>
                <a:gd name="T87" fmla="*/ 151 h 158"/>
                <a:gd name="T88" fmla="*/ 77 w 158"/>
                <a:gd name="T89" fmla="*/ 151 h 158"/>
                <a:gd name="T90" fmla="*/ 85 w 158"/>
                <a:gd name="T91" fmla="*/ 151 h 158"/>
                <a:gd name="T92" fmla="*/ 92 w 158"/>
                <a:gd name="T93" fmla="*/ 150 h 158"/>
                <a:gd name="T94" fmla="*/ 100 w 158"/>
                <a:gd name="T95" fmla="*/ 148 h 158"/>
                <a:gd name="T96" fmla="*/ 107 w 158"/>
                <a:gd name="T97" fmla="*/ 146 h 158"/>
                <a:gd name="T98" fmla="*/ 114 w 158"/>
                <a:gd name="T99" fmla="*/ 143 h 158"/>
                <a:gd name="T100" fmla="*/ 120 w 158"/>
                <a:gd name="T101" fmla="*/ 139 h 158"/>
                <a:gd name="T102" fmla="*/ 126 w 158"/>
                <a:gd name="T103" fmla="*/ 134 h 158"/>
                <a:gd name="T104" fmla="*/ 132 w 158"/>
                <a:gd name="T105" fmla="*/ 129 h 158"/>
                <a:gd name="T106" fmla="*/ 137 w 158"/>
                <a:gd name="T107" fmla="*/ 123 h 158"/>
                <a:gd name="T108" fmla="*/ 141 w 158"/>
                <a:gd name="T109" fmla="*/ 117 h 158"/>
                <a:gd name="T110" fmla="*/ 145 w 158"/>
                <a:gd name="T111" fmla="*/ 110 h 158"/>
                <a:gd name="T112" fmla="*/ 148 w 158"/>
                <a:gd name="T113" fmla="*/ 103 h 158"/>
                <a:gd name="T114" fmla="*/ 150 w 158"/>
                <a:gd name="T115" fmla="*/ 96 h 158"/>
                <a:gd name="T116" fmla="*/ 151 w 158"/>
                <a:gd name="T117" fmla="*/ 88 h 158"/>
                <a:gd name="T118" fmla="*/ 152 w 158"/>
                <a:gd name="T119" fmla="*/ 8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8" h="158">
                  <a:moveTo>
                    <a:pt x="157" y="80"/>
                  </a:moveTo>
                  <a:cubicBezTo>
                    <a:pt x="157" y="80"/>
                    <a:pt x="157" y="80"/>
                    <a:pt x="158" y="80"/>
                  </a:cubicBezTo>
                  <a:cubicBezTo>
                    <a:pt x="158" y="79"/>
                    <a:pt x="158" y="79"/>
                    <a:pt x="158" y="79"/>
                  </a:cubicBezTo>
                  <a:cubicBezTo>
                    <a:pt x="158" y="78"/>
                    <a:pt x="158" y="78"/>
                    <a:pt x="158" y="77"/>
                  </a:cubicBezTo>
                  <a:cubicBezTo>
                    <a:pt x="157" y="77"/>
                    <a:pt x="157" y="77"/>
                    <a:pt x="157" y="77"/>
                  </a:cubicBezTo>
                  <a:cubicBezTo>
                    <a:pt x="156" y="77"/>
                    <a:pt x="154" y="77"/>
                    <a:pt x="152" y="76"/>
                  </a:cubicBezTo>
                  <a:cubicBezTo>
                    <a:pt x="152" y="75"/>
                    <a:pt x="152" y="74"/>
                    <a:pt x="152" y="73"/>
                  </a:cubicBezTo>
                  <a:cubicBezTo>
                    <a:pt x="154" y="73"/>
                    <a:pt x="156" y="72"/>
                    <a:pt x="156" y="72"/>
                  </a:cubicBezTo>
                  <a:cubicBezTo>
                    <a:pt x="157" y="72"/>
                    <a:pt x="157" y="72"/>
                    <a:pt x="157" y="71"/>
                  </a:cubicBezTo>
                  <a:cubicBezTo>
                    <a:pt x="158" y="71"/>
                    <a:pt x="158" y="71"/>
                    <a:pt x="158" y="70"/>
                  </a:cubicBezTo>
                  <a:cubicBezTo>
                    <a:pt x="158" y="70"/>
                    <a:pt x="157" y="70"/>
                    <a:pt x="157" y="69"/>
                  </a:cubicBezTo>
                  <a:cubicBezTo>
                    <a:pt x="157" y="69"/>
                    <a:pt x="156" y="69"/>
                    <a:pt x="156" y="69"/>
                  </a:cubicBezTo>
                  <a:cubicBezTo>
                    <a:pt x="156" y="69"/>
                    <a:pt x="153" y="69"/>
                    <a:pt x="151" y="69"/>
                  </a:cubicBezTo>
                  <a:cubicBezTo>
                    <a:pt x="151" y="68"/>
                    <a:pt x="151" y="67"/>
                    <a:pt x="151" y="66"/>
                  </a:cubicBezTo>
                  <a:cubicBezTo>
                    <a:pt x="153" y="65"/>
                    <a:pt x="155" y="64"/>
                    <a:pt x="155" y="64"/>
                  </a:cubicBezTo>
                  <a:cubicBezTo>
                    <a:pt x="156" y="64"/>
                    <a:pt x="156" y="64"/>
                    <a:pt x="156" y="63"/>
                  </a:cubicBezTo>
                  <a:cubicBezTo>
                    <a:pt x="156" y="63"/>
                    <a:pt x="156" y="63"/>
                    <a:pt x="156" y="62"/>
                  </a:cubicBezTo>
                  <a:cubicBezTo>
                    <a:pt x="156" y="62"/>
                    <a:pt x="156" y="61"/>
                    <a:pt x="156" y="61"/>
                  </a:cubicBezTo>
                  <a:cubicBezTo>
                    <a:pt x="155" y="61"/>
                    <a:pt x="155" y="61"/>
                    <a:pt x="155" y="61"/>
                  </a:cubicBezTo>
                  <a:cubicBezTo>
                    <a:pt x="154" y="61"/>
                    <a:pt x="152" y="61"/>
                    <a:pt x="150" y="61"/>
                  </a:cubicBezTo>
                  <a:cubicBezTo>
                    <a:pt x="149" y="60"/>
                    <a:pt x="149" y="59"/>
                    <a:pt x="149" y="58"/>
                  </a:cubicBezTo>
                  <a:cubicBezTo>
                    <a:pt x="151" y="57"/>
                    <a:pt x="153" y="56"/>
                    <a:pt x="153" y="56"/>
                  </a:cubicBezTo>
                  <a:cubicBezTo>
                    <a:pt x="154" y="56"/>
                    <a:pt x="154" y="56"/>
                    <a:pt x="154" y="55"/>
                  </a:cubicBezTo>
                  <a:cubicBezTo>
                    <a:pt x="154" y="55"/>
                    <a:pt x="154" y="55"/>
                    <a:pt x="154" y="54"/>
                  </a:cubicBezTo>
                  <a:cubicBezTo>
                    <a:pt x="154" y="54"/>
                    <a:pt x="154" y="53"/>
                    <a:pt x="153" y="53"/>
                  </a:cubicBezTo>
                  <a:cubicBezTo>
                    <a:pt x="153" y="53"/>
                    <a:pt x="153" y="53"/>
                    <a:pt x="152" y="53"/>
                  </a:cubicBezTo>
                  <a:cubicBezTo>
                    <a:pt x="152" y="53"/>
                    <a:pt x="150" y="54"/>
                    <a:pt x="148" y="54"/>
                  </a:cubicBezTo>
                  <a:cubicBezTo>
                    <a:pt x="147" y="53"/>
                    <a:pt x="147" y="52"/>
                    <a:pt x="146" y="51"/>
                  </a:cubicBezTo>
                  <a:cubicBezTo>
                    <a:pt x="148" y="50"/>
                    <a:pt x="150" y="49"/>
                    <a:pt x="151" y="49"/>
                  </a:cubicBezTo>
                  <a:cubicBezTo>
                    <a:pt x="151" y="48"/>
                    <a:pt x="151" y="48"/>
                    <a:pt x="151" y="48"/>
                  </a:cubicBezTo>
                  <a:cubicBezTo>
                    <a:pt x="152" y="47"/>
                    <a:pt x="151" y="47"/>
                    <a:pt x="151" y="46"/>
                  </a:cubicBezTo>
                  <a:cubicBezTo>
                    <a:pt x="151" y="46"/>
                    <a:pt x="151" y="46"/>
                    <a:pt x="150" y="46"/>
                  </a:cubicBezTo>
                  <a:cubicBezTo>
                    <a:pt x="150" y="45"/>
                    <a:pt x="150" y="45"/>
                    <a:pt x="149" y="46"/>
                  </a:cubicBezTo>
                  <a:cubicBezTo>
                    <a:pt x="149" y="46"/>
                    <a:pt x="147" y="46"/>
                    <a:pt x="145" y="47"/>
                  </a:cubicBezTo>
                  <a:cubicBezTo>
                    <a:pt x="144" y="46"/>
                    <a:pt x="144" y="45"/>
                    <a:pt x="143" y="44"/>
                  </a:cubicBezTo>
                  <a:cubicBezTo>
                    <a:pt x="145" y="43"/>
                    <a:pt x="147" y="42"/>
                    <a:pt x="147" y="41"/>
                  </a:cubicBezTo>
                  <a:cubicBezTo>
                    <a:pt x="147" y="41"/>
                    <a:pt x="148" y="41"/>
                    <a:pt x="148" y="40"/>
                  </a:cubicBezTo>
                  <a:cubicBezTo>
                    <a:pt x="148" y="40"/>
                    <a:pt x="148" y="39"/>
                    <a:pt x="148" y="39"/>
                  </a:cubicBezTo>
                  <a:cubicBezTo>
                    <a:pt x="147" y="39"/>
                    <a:pt x="147" y="38"/>
                    <a:pt x="147" y="38"/>
                  </a:cubicBezTo>
                  <a:cubicBezTo>
                    <a:pt x="146" y="38"/>
                    <a:pt x="146" y="38"/>
                    <a:pt x="145" y="38"/>
                  </a:cubicBezTo>
                  <a:cubicBezTo>
                    <a:pt x="145" y="39"/>
                    <a:pt x="143" y="39"/>
                    <a:pt x="141" y="40"/>
                  </a:cubicBezTo>
                  <a:cubicBezTo>
                    <a:pt x="140" y="39"/>
                    <a:pt x="140" y="39"/>
                    <a:pt x="139" y="38"/>
                  </a:cubicBezTo>
                  <a:cubicBezTo>
                    <a:pt x="141" y="36"/>
                    <a:pt x="142" y="35"/>
                    <a:pt x="143" y="34"/>
                  </a:cubicBezTo>
                  <a:cubicBezTo>
                    <a:pt x="143" y="34"/>
                    <a:pt x="143" y="34"/>
                    <a:pt x="143" y="33"/>
                  </a:cubicBezTo>
                  <a:cubicBezTo>
                    <a:pt x="143" y="33"/>
                    <a:pt x="143" y="32"/>
                    <a:pt x="143" y="32"/>
                  </a:cubicBezTo>
                  <a:cubicBezTo>
                    <a:pt x="143" y="32"/>
                    <a:pt x="142" y="32"/>
                    <a:pt x="142" y="31"/>
                  </a:cubicBezTo>
                  <a:cubicBezTo>
                    <a:pt x="142" y="31"/>
                    <a:pt x="141" y="31"/>
                    <a:pt x="141" y="32"/>
                  </a:cubicBezTo>
                  <a:cubicBezTo>
                    <a:pt x="140" y="32"/>
                    <a:pt x="138" y="33"/>
                    <a:pt x="137" y="34"/>
                  </a:cubicBezTo>
                  <a:cubicBezTo>
                    <a:pt x="136" y="33"/>
                    <a:pt x="135" y="32"/>
                    <a:pt x="135" y="32"/>
                  </a:cubicBezTo>
                  <a:cubicBezTo>
                    <a:pt x="136" y="30"/>
                    <a:pt x="138" y="28"/>
                    <a:pt x="138" y="28"/>
                  </a:cubicBezTo>
                  <a:cubicBezTo>
                    <a:pt x="138" y="28"/>
                    <a:pt x="138" y="27"/>
                    <a:pt x="138" y="27"/>
                  </a:cubicBezTo>
                  <a:cubicBezTo>
                    <a:pt x="138" y="26"/>
                    <a:pt x="138" y="26"/>
                    <a:pt x="138" y="26"/>
                  </a:cubicBezTo>
                  <a:cubicBezTo>
                    <a:pt x="138" y="25"/>
                    <a:pt x="137" y="25"/>
                    <a:pt x="137" y="25"/>
                  </a:cubicBezTo>
                  <a:cubicBezTo>
                    <a:pt x="136" y="25"/>
                    <a:pt x="136" y="25"/>
                    <a:pt x="136" y="25"/>
                  </a:cubicBezTo>
                  <a:cubicBezTo>
                    <a:pt x="135" y="26"/>
                    <a:pt x="133" y="27"/>
                    <a:pt x="132" y="28"/>
                  </a:cubicBezTo>
                  <a:cubicBezTo>
                    <a:pt x="131" y="28"/>
                    <a:pt x="130" y="27"/>
                    <a:pt x="129" y="26"/>
                  </a:cubicBezTo>
                  <a:cubicBezTo>
                    <a:pt x="131" y="24"/>
                    <a:pt x="132" y="22"/>
                    <a:pt x="132" y="22"/>
                  </a:cubicBezTo>
                  <a:cubicBezTo>
                    <a:pt x="133" y="22"/>
                    <a:pt x="133" y="21"/>
                    <a:pt x="133" y="21"/>
                  </a:cubicBezTo>
                  <a:cubicBezTo>
                    <a:pt x="133" y="20"/>
                    <a:pt x="132" y="20"/>
                    <a:pt x="132" y="20"/>
                  </a:cubicBezTo>
                  <a:cubicBezTo>
                    <a:pt x="132" y="20"/>
                    <a:pt x="131" y="19"/>
                    <a:pt x="131" y="19"/>
                  </a:cubicBezTo>
                  <a:cubicBezTo>
                    <a:pt x="130" y="19"/>
                    <a:pt x="130" y="19"/>
                    <a:pt x="130" y="20"/>
                  </a:cubicBezTo>
                  <a:cubicBezTo>
                    <a:pt x="129" y="20"/>
                    <a:pt x="128" y="22"/>
                    <a:pt x="126" y="23"/>
                  </a:cubicBezTo>
                  <a:cubicBezTo>
                    <a:pt x="125" y="22"/>
                    <a:pt x="124" y="22"/>
                    <a:pt x="124" y="21"/>
                  </a:cubicBezTo>
                  <a:cubicBezTo>
                    <a:pt x="125" y="19"/>
                    <a:pt x="126" y="17"/>
                    <a:pt x="126" y="17"/>
                  </a:cubicBezTo>
                  <a:cubicBezTo>
                    <a:pt x="126" y="16"/>
                    <a:pt x="126" y="16"/>
                    <a:pt x="126" y="16"/>
                  </a:cubicBezTo>
                  <a:cubicBezTo>
                    <a:pt x="126" y="15"/>
                    <a:pt x="126" y="15"/>
                    <a:pt x="126" y="15"/>
                  </a:cubicBezTo>
                  <a:cubicBezTo>
                    <a:pt x="125" y="14"/>
                    <a:pt x="125" y="14"/>
                    <a:pt x="124" y="14"/>
                  </a:cubicBezTo>
                  <a:cubicBezTo>
                    <a:pt x="124" y="14"/>
                    <a:pt x="124" y="15"/>
                    <a:pt x="123" y="15"/>
                  </a:cubicBezTo>
                  <a:cubicBezTo>
                    <a:pt x="123" y="15"/>
                    <a:pt x="121" y="17"/>
                    <a:pt x="120" y="19"/>
                  </a:cubicBezTo>
                  <a:cubicBezTo>
                    <a:pt x="119" y="18"/>
                    <a:pt x="118" y="17"/>
                    <a:pt x="117" y="17"/>
                  </a:cubicBezTo>
                  <a:cubicBezTo>
                    <a:pt x="118" y="15"/>
                    <a:pt x="119" y="13"/>
                    <a:pt x="119" y="12"/>
                  </a:cubicBezTo>
                  <a:cubicBezTo>
                    <a:pt x="120" y="12"/>
                    <a:pt x="120" y="11"/>
                    <a:pt x="119" y="11"/>
                  </a:cubicBezTo>
                  <a:cubicBezTo>
                    <a:pt x="119" y="11"/>
                    <a:pt x="119" y="10"/>
                    <a:pt x="119" y="10"/>
                  </a:cubicBezTo>
                  <a:cubicBezTo>
                    <a:pt x="118" y="10"/>
                    <a:pt x="118" y="10"/>
                    <a:pt x="117" y="10"/>
                  </a:cubicBezTo>
                  <a:cubicBezTo>
                    <a:pt x="117" y="10"/>
                    <a:pt x="117" y="10"/>
                    <a:pt x="116" y="11"/>
                  </a:cubicBezTo>
                  <a:cubicBezTo>
                    <a:pt x="116" y="11"/>
                    <a:pt x="115" y="13"/>
                    <a:pt x="114" y="15"/>
                  </a:cubicBezTo>
                  <a:cubicBezTo>
                    <a:pt x="113" y="14"/>
                    <a:pt x="112" y="14"/>
                    <a:pt x="111" y="13"/>
                  </a:cubicBezTo>
                  <a:cubicBezTo>
                    <a:pt x="111" y="11"/>
                    <a:pt x="112" y="9"/>
                    <a:pt x="112" y="8"/>
                  </a:cubicBezTo>
                  <a:cubicBezTo>
                    <a:pt x="112" y="8"/>
                    <a:pt x="112" y="8"/>
                    <a:pt x="112" y="7"/>
                  </a:cubicBezTo>
                  <a:cubicBezTo>
                    <a:pt x="112" y="7"/>
                    <a:pt x="112" y="7"/>
                    <a:pt x="111" y="6"/>
                  </a:cubicBezTo>
                  <a:cubicBezTo>
                    <a:pt x="111" y="6"/>
                    <a:pt x="110" y="6"/>
                    <a:pt x="110" y="6"/>
                  </a:cubicBezTo>
                  <a:cubicBezTo>
                    <a:pt x="110" y="6"/>
                    <a:pt x="109" y="7"/>
                    <a:pt x="109" y="7"/>
                  </a:cubicBezTo>
                  <a:cubicBezTo>
                    <a:pt x="109" y="7"/>
                    <a:pt x="108" y="9"/>
                    <a:pt x="107" y="11"/>
                  </a:cubicBezTo>
                  <a:cubicBezTo>
                    <a:pt x="106" y="11"/>
                    <a:pt x="105" y="10"/>
                    <a:pt x="104" y="10"/>
                  </a:cubicBezTo>
                  <a:cubicBezTo>
                    <a:pt x="104" y="8"/>
                    <a:pt x="105" y="6"/>
                    <a:pt x="105" y="5"/>
                  </a:cubicBezTo>
                  <a:cubicBezTo>
                    <a:pt x="105" y="5"/>
                    <a:pt x="105" y="4"/>
                    <a:pt x="105" y="4"/>
                  </a:cubicBezTo>
                  <a:cubicBezTo>
                    <a:pt x="104" y="4"/>
                    <a:pt x="104" y="4"/>
                    <a:pt x="104" y="3"/>
                  </a:cubicBezTo>
                  <a:cubicBezTo>
                    <a:pt x="103" y="3"/>
                    <a:pt x="103" y="3"/>
                    <a:pt x="102" y="3"/>
                  </a:cubicBezTo>
                  <a:cubicBezTo>
                    <a:pt x="102" y="4"/>
                    <a:pt x="102" y="4"/>
                    <a:pt x="101" y="4"/>
                  </a:cubicBezTo>
                  <a:cubicBezTo>
                    <a:pt x="101" y="5"/>
                    <a:pt x="100" y="7"/>
                    <a:pt x="100" y="9"/>
                  </a:cubicBezTo>
                  <a:cubicBezTo>
                    <a:pt x="98" y="8"/>
                    <a:pt x="97" y="8"/>
                    <a:pt x="96" y="8"/>
                  </a:cubicBezTo>
                  <a:cubicBezTo>
                    <a:pt x="97" y="6"/>
                    <a:pt x="97" y="4"/>
                    <a:pt x="97" y="3"/>
                  </a:cubicBezTo>
                  <a:cubicBezTo>
                    <a:pt x="97" y="3"/>
                    <a:pt x="97" y="2"/>
                    <a:pt x="97" y="2"/>
                  </a:cubicBezTo>
                  <a:cubicBezTo>
                    <a:pt x="96" y="2"/>
                    <a:pt x="96" y="1"/>
                    <a:pt x="96" y="1"/>
                  </a:cubicBezTo>
                  <a:cubicBezTo>
                    <a:pt x="95" y="1"/>
                    <a:pt x="95" y="1"/>
                    <a:pt x="94" y="1"/>
                  </a:cubicBezTo>
                  <a:cubicBezTo>
                    <a:pt x="94" y="2"/>
                    <a:pt x="94" y="2"/>
                    <a:pt x="94" y="2"/>
                  </a:cubicBezTo>
                  <a:cubicBezTo>
                    <a:pt x="93" y="3"/>
                    <a:pt x="93" y="5"/>
                    <a:pt x="92" y="7"/>
                  </a:cubicBezTo>
                  <a:cubicBezTo>
                    <a:pt x="91" y="7"/>
                    <a:pt x="90" y="7"/>
                    <a:pt x="89" y="7"/>
                  </a:cubicBezTo>
                  <a:cubicBezTo>
                    <a:pt x="89" y="4"/>
                    <a:pt x="89" y="2"/>
                    <a:pt x="89" y="2"/>
                  </a:cubicBezTo>
                  <a:cubicBezTo>
                    <a:pt x="89" y="1"/>
                    <a:pt x="89" y="1"/>
                    <a:pt x="89" y="0"/>
                  </a:cubicBezTo>
                  <a:cubicBezTo>
                    <a:pt x="88" y="0"/>
                    <a:pt x="88" y="0"/>
                    <a:pt x="87" y="0"/>
                  </a:cubicBezTo>
                  <a:cubicBezTo>
                    <a:pt x="87" y="0"/>
                    <a:pt x="87" y="0"/>
                    <a:pt x="86" y="0"/>
                  </a:cubicBezTo>
                  <a:cubicBezTo>
                    <a:pt x="86" y="0"/>
                    <a:pt x="86" y="1"/>
                    <a:pt x="86" y="1"/>
                  </a:cubicBezTo>
                  <a:cubicBezTo>
                    <a:pt x="85" y="2"/>
                    <a:pt x="85" y="4"/>
                    <a:pt x="85" y="6"/>
                  </a:cubicBezTo>
                  <a:cubicBezTo>
                    <a:pt x="84" y="6"/>
                    <a:pt x="82" y="6"/>
                    <a:pt x="81" y="6"/>
                  </a:cubicBezTo>
                  <a:cubicBezTo>
                    <a:pt x="81" y="4"/>
                    <a:pt x="81" y="2"/>
                    <a:pt x="81" y="1"/>
                  </a:cubicBezTo>
                  <a:cubicBezTo>
                    <a:pt x="81" y="1"/>
                    <a:pt x="81" y="0"/>
                    <a:pt x="80" y="0"/>
                  </a:cubicBezTo>
                  <a:cubicBezTo>
                    <a:pt x="80" y="0"/>
                    <a:pt x="80" y="0"/>
                    <a:pt x="79" y="0"/>
                  </a:cubicBezTo>
                  <a:cubicBezTo>
                    <a:pt x="79" y="0"/>
                    <a:pt x="78" y="0"/>
                    <a:pt x="78" y="0"/>
                  </a:cubicBezTo>
                  <a:cubicBezTo>
                    <a:pt x="78" y="0"/>
                    <a:pt x="78" y="1"/>
                    <a:pt x="77" y="1"/>
                  </a:cubicBezTo>
                  <a:cubicBezTo>
                    <a:pt x="77" y="2"/>
                    <a:pt x="77" y="4"/>
                    <a:pt x="77" y="6"/>
                  </a:cubicBezTo>
                  <a:cubicBezTo>
                    <a:pt x="76" y="6"/>
                    <a:pt x="75" y="6"/>
                    <a:pt x="74" y="6"/>
                  </a:cubicBezTo>
                  <a:cubicBezTo>
                    <a:pt x="73" y="4"/>
                    <a:pt x="73" y="2"/>
                    <a:pt x="73" y="1"/>
                  </a:cubicBezTo>
                  <a:cubicBezTo>
                    <a:pt x="73" y="1"/>
                    <a:pt x="72" y="0"/>
                    <a:pt x="72" y="0"/>
                  </a:cubicBezTo>
                  <a:cubicBezTo>
                    <a:pt x="72" y="0"/>
                    <a:pt x="71" y="0"/>
                    <a:pt x="71" y="0"/>
                  </a:cubicBezTo>
                  <a:cubicBezTo>
                    <a:pt x="70" y="0"/>
                    <a:pt x="70" y="0"/>
                    <a:pt x="70" y="0"/>
                  </a:cubicBezTo>
                  <a:cubicBezTo>
                    <a:pt x="70" y="1"/>
                    <a:pt x="69" y="1"/>
                    <a:pt x="69" y="2"/>
                  </a:cubicBezTo>
                  <a:cubicBezTo>
                    <a:pt x="69" y="2"/>
                    <a:pt x="69" y="4"/>
                    <a:pt x="69" y="7"/>
                  </a:cubicBezTo>
                  <a:cubicBezTo>
                    <a:pt x="68" y="7"/>
                    <a:pt x="67" y="7"/>
                    <a:pt x="66" y="7"/>
                  </a:cubicBezTo>
                  <a:cubicBezTo>
                    <a:pt x="66" y="5"/>
                    <a:pt x="65" y="3"/>
                    <a:pt x="65" y="2"/>
                  </a:cubicBezTo>
                  <a:cubicBezTo>
                    <a:pt x="65" y="2"/>
                    <a:pt x="64" y="2"/>
                    <a:pt x="64" y="1"/>
                  </a:cubicBezTo>
                  <a:cubicBezTo>
                    <a:pt x="64" y="1"/>
                    <a:pt x="63" y="1"/>
                    <a:pt x="63" y="1"/>
                  </a:cubicBezTo>
                  <a:cubicBezTo>
                    <a:pt x="62" y="1"/>
                    <a:pt x="62" y="2"/>
                    <a:pt x="62" y="2"/>
                  </a:cubicBezTo>
                  <a:cubicBezTo>
                    <a:pt x="62" y="2"/>
                    <a:pt x="61" y="3"/>
                    <a:pt x="61" y="3"/>
                  </a:cubicBezTo>
                  <a:cubicBezTo>
                    <a:pt x="61" y="4"/>
                    <a:pt x="62" y="6"/>
                    <a:pt x="62" y="8"/>
                  </a:cubicBezTo>
                  <a:cubicBezTo>
                    <a:pt x="61" y="8"/>
                    <a:pt x="60" y="8"/>
                    <a:pt x="59" y="9"/>
                  </a:cubicBezTo>
                  <a:cubicBezTo>
                    <a:pt x="58" y="7"/>
                    <a:pt x="57" y="5"/>
                    <a:pt x="57" y="4"/>
                  </a:cubicBezTo>
                  <a:cubicBezTo>
                    <a:pt x="57" y="4"/>
                    <a:pt x="56" y="4"/>
                    <a:pt x="56" y="3"/>
                  </a:cubicBezTo>
                  <a:cubicBezTo>
                    <a:pt x="56" y="3"/>
                    <a:pt x="55" y="3"/>
                    <a:pt x="55" y="3"/>
                  </a:cubicBezTo>
                  <a:cubicBezTo>
                    <a:pt x="54" y="4"/>
                    <a:pt x="54" y="4"/>
                    <a:pt x="54" y="4"/>
                  </a:cubicBezTo>
                  <a:cubicBezTo>
                    <a:pt x="54" y="4"/>
                    <a:pt x="54" y="5"/>
                    <a:pt x="54" y="5"/>
                  </a:cubicBezTo>
                  <a:cubicBezTo>
                    <a:pt x="54" y="6"/>
                    <a:pt x="54" y="8"/>
                    <a:pt x="55" y="10"/>
                  </a:cubicBezTo>
                  <a:cubicBezTo>
                    <a:pt x="54" y="10"/>
                    <a:pt x="53" y="11"/>
                    <a:pt x="52" y="11"/>
                  </a:cubicBezTo>
                  <a:cubicBezTo>
                    <a:pt x="51" y="9"/>
                    <a:pt x="49" y="7"/>
                    <a:pt x="49" y="7"/>
                  </a:cubicBezTo>
                  <a:cubicBezTo>
                    <a:pt x="49" y="7"/>
                    <a:pt x="49" y="6"/>
                    <a:pt x="48" y="6"/>
                  </a:cubicBezTo>
                  <a:cubicBezTo>
                    <a:pt x="48" y="6"/>
                    <a:pt x="47" y="6"/>
                    <a:pt x="47" y="6"/>
                  </a:cubicBezTo>
                  <a:cubicBezTo>
                    <a:pt x="47" y="7"/>
                    <a:pt x="46" y="7"/>
                    <a:pt x="46" y="7"/>
                  </a:cubicBezTo>
                  <a:cubicBezTo>
                    <a:pt x="46" y="8"/>
                    <a:pt x="46" y="8"/>
                    <a:pt x="46" y="8"/>
                  </a:cubicBezTo>
                  <a:cubicBezTo>
                    <a:pt x="46" y="9"/>
                    <a:pt x="47" y="11"/>
                    <a:pt x="48" y="13"/>
                  </a:cubicBezTo>
                  <a:cubicBezTo>
                    <a:pt x="47" y="14"/>
                    <a:pt x="46" y="14"/>
                    <a:pt x="45" y="15"/>
                  </a:cubicBezTo>
                  <a:cubicBezTo>
                    <a:pt x="44" y="13"/>
                    <a:pt x="42" y="11"/>
                    <a:pt x="42" y="11"/>
                  </a:cubicBezTo>
                  <a:cubicBezTo>
                    <a:pt x="42" y="10"/>
                    <a:pt x="41" y="10"/>
                    <a:pt x="41" y="10"/>
                  </a:cubicBezTo>
                  <a:cubicBezTo>
                    <a:pt x="41" y="10"/>
                    <a:pt x="40" y="10"/>
                    <a:pt x="40" y="10"/>
                  </a:cubicBezTo>
                  <a:cubicBezTo>
                    <a:pt x="39" y="10"/>
                    <a:pt x="39" y="11"/>
                    <a:pt x="39" y="11"/>
                  </a:cubicBezTo>
                  <a:cubicBezTo>
                    <a:pt x="39" y="11"/>
                    <a:pt x="39" y="12"/>
                    <a:pt x="39" y="12"/>
                  </a:cubicBezTo>
                  <a:cubicBezTo>
                    <a:pt x="39" y="13"/>
                    <a:pt x="40" y="15"/>
                    <a:pt x="41" y="17"/>
                  </a:cubicBezTo>
                  <a:cubicBezTo>
                    <a:pt x="40" y="17"/>
                    <a:pt x="39" y="18"/>
                    <a:pt x="38" y="19"/>
                  </a:cubicBezTo>
                  <a:cubicBezTo>
                    <a:pt x="37" y="17"/>
                    <a:pt x="35" y="15"/>
                    <a:pt x="35" y="15"/>
                  </a:cubicBezTo>
                  <a:cubicBezTo>
                    <a:pt x="35" y="15"/>
                    <a:pt x="34" y="14"/>
                    <a:pt x="34" y="14"/>
                  </a:cubicBezTo>
                  <a:cubicBezTo>
                    <a:pt x="34" y="14"/>
                    <a:pt x="33" y="14"/>
                    <a:pt x="33" y="15"/>
                  </a:cubicBezTo>
                  <a:cubicBezTo>
                    <a:pt x="32" y="15"/>
                    <a:pt x="32" y="15"/>
                    <a:pt x="32" y="16"/>
                  </a:cubicBezTo>
                  <a:cubicBezTo>
                    <a:pt x="32" y="16"/>
                    <a:pt x="32" y="16"/>
                    <a:pt x="32" y="17"/>
                  </a:cubicBezTo>
                  <a:cubicBezTo>
                    <a:pt x="33" y="17"/>
                    <a:pt x="34" y="19"/>
                    <a:pt x="35" y="21"/>
                  </a:cubicBezTo>
                  <a:cubicBezTo>
                    <a:pt x="34" y="22"/>
                    <a:pt x="33" y="22"/>
                    <a:pt x="32" y="23"/>
                  </a:cubicBezTo>
                  <a:cubicBezTo>
                    <a:pt x="31" y="22"/>
                    <a:pt x="29" y="20"/>
                    <a:pt x="29" y="20"/>
                  </a:cubicBezTo>
                  <a:cubicBezTo>
                    <a:pt x="28" y="19"/>
                    <a:pt x="28" y="19"/>
                    <a:pt x="27" y="19"/>
                  </a:cubicBezTo>
                  <a:cubicBezTo>
                    <a:pt x="27" y="19"/>
                    <a:pt x="27" y="20"/>
                    <a:pt x="26" y="20"/>
                  </a:cubicBezTo>
                  <a:cubicBezTo>
                    <a:pt x="26" y="20"/>
                    <a:pt x="26" y="20"/>
                    <a:pt x="26" y="21"/>
                  </a:cubicBezTo>
                  <a:cubicBezTo>
                    <a:pt x="26" y="21"/>
                    <a:pt x="26" y="22"/>
                    <a:pt x="26" y="22"/>
                  </a:cubicBezTo>
                  <a:cubicBezTo>
                    <a:pt x="26" y="22"/>
                    <a:pt x="28" y="24"/>
                    <a:pt x="29" y="26"/>
                  </a:cubicBezTo>
                  <a:cubicBezTo>
                    <a:pt x="28" y="27"/>
                    <a:pt x="27" y="28"/>
                    <a:pt x="27" y="28"/>
                  </a:cubicBezTo>
                  <a:cubicBezTo>
                    <a:pt x="25" y="27"/>
                    <a:pt x="23" y="26"/>
                    <a:pt x="23" y="25"/>
                  </a:cubicBezTo>
                  <a:cubicBezTo>
                    <a:pt x="22" y="25"/>
                    <a:pt x="22" y="25"/>
                    <a:pt x="22" y="25"/>
                  </a:cubicBezTo>
                  <a:cubicBezTo>
                    <a:pt x="21" y="25"/>
                    <a:pt x="21" y="25"/>
                    <a:pt x="21" y="26"/>
                  </a:cubicBezTo>
                  <a:cubicBezTo>
                    <a:pt x="20" y="26"/>
                    <a:pt x="20" y="26"/>
                    <a:pt x="20" y="27"/>
                  </a:cubicBezTo>
                  <a:cubicBezTo>
                    <a:pt x="20" y="27"/>
                    <a:pt x="20" y="28"/>
                    <a:pt x="21" y="28"/>
                  </a:cubicBezTo>
                  <a:cubicBezTo>
                    <a:pt x="21" y="28"/>
                    <a:pt x="22" y="30"/>
                    <a:pt x="24" y="32"/>
                  </a:cubicBezTo>
                  <a:cubicBezTo>
                    <a:pt x="23" y="32"/>
                    <a:pt x="22" y="33"/>
                    <a:pt x="22" y="34"/>
                  </a:cubicBezTo>
                  <a:cubicBezTo>
                    <a:pt x="20" y="33"/>
                    <a:pt x="18" y="32"/>
                    <a:pt x="18" y="32"/>
                  </a:cubicBezTo>
                  <a:cubicBezTo>
                    <a:pt x="17" y="31"/>
                    <a:pt x="17" y="31"/>
                    <a:pt x="16" y="31"/>
                  </a:cubicBezTo>
                  <a:cubicBezTo>
                    <a:pt x="16" y="32"/>
                    <a:pt x="16" y="32"/>
                    <a:pt x="15" y="32"/>
                  </a:cubicBezTo>
                  <a:cubicBezTo>
                    <a:pt x="15" y="32"/>
                    <a:pt x="15" y="33"/>
                    <a:pt x="15" y="33"/>
                  </a:cubicBezTo>
                  <a:cubicBezTo>
                    <a:pt x="15" y="34"/>
                    <a:pt x="15" y="34"/>
                    <a:pt x="16" y="34"/>
                  </a:cubicBezTo>
                  <a:cubicBezTo>
                    <a:pt x="16" y="35"/>
                    <a:pt x="18" y="36"/>
                    <a:pt x="19" y="38"/>
                  </a:cubicBezTo>
                  <a:cubicBezTo>
                    <a:pt x="19" y="39"/>
                    <a:pt x="18" y="39"/>
                    <a:pt x="17" y="40"/>
                  </a:cubicBezTo>
                  <a:cubicBezTo>
                    <a:pt x="15" y="39"/>
                    <a:pt x="13" y="39"/>
                    <a:pt x="13" y="38"/>
                  </a:cubicBezTo>
                  <a:cubicBezTo>
                    <a:pt x="13" y="38"/>
                    <a:pt x="12" y="38"/>
                    <a:pt x="12" y="38"/>
                  </a:cubicBezTo>
                  <a:cubicBezTo>
                    <a:pt x="11" y="38"/>
                    <a:pt x="11" y="39"/>
                    <a:pt x="11" y="39"/>
                  </a:cubicBezTo>
                  <a:cubicBezTo>
                    <a:pt x="11" y="39"/>
                    <a:pt x="11" y="40"/>
                    <a:pt x="11" y="40"/>
                  </a:cubicBezTo>
                  <a:cubicBezTo>
                    <a:pt x="11" y="41"/>
                    <a:pt x="11" y="41"/>
                    <a:pt x="11" y="41"/>
                  </a:cubicBezTo>
                  <a:cubicBezTo>
                    <a:pt x="12" y="42"/>
                    <a:pt x="14" y="43"/>
                    <a:pt x="15" y="44"/>
                  </a:cubicBezTo>
                  <a:cubicBezTo>
                    <a:pt x="15" y="45"/>
                    <a:pt x="14" y="46"/>
                    <a:pt x="14" y="47"/>
                  </a:cubicBezTo>
                  <a:cubicBezTo>
                    <a:pt x="12" y="46"/>
                    <a:pt x="10" y="46"/>
                    <a:pt x="9" y="46"/>
                  </a:cubicBezTo>
                  <a:cubicBezTo>
                    <a:pt x="9" y="45"/>
                    <a:pt x="8" y="45"/>
                    <a:pt x="8" y="46"/>
                  </a:cubicBezTo>
                  <a:cubicBezTo>
                    <a:pt x="8" y="46"/>
                    <a:pt x="7" y="46"/>
                    <a:pt x="7" y="46"/>
                  </a:cubicBezTo>
                  <a:cubicBezTo>
                    <a:pt x="7" y="47"/>
                    <a:pt x="7" y="47"/>
                    <a:pt x="7" y="48"/>
                  </a:cubicBezTo>
                  <a:cubicBezTo>
                    <a:pt x="7" y="48"/>
                    <a:pt x="7" y="48"/>
                    <a:pt x="8" y="49"/>
                  </a:cubicBezTo>
                  <a:cubicBezTo>
                    <a:pt x="8" y="49"/>
                    <a:pt x="10" y="50"/>
                    <a:pt x="12" y="51"/>
                  </a:cubicBezTo>
                  <a:cubicBezTo>
                    <a:pt x="12" y="52"/>
                    <a:pt x="11" y="53"/>
                    <a:pt x="11" y="54"/>
                  </a:cubicBezTo>
                  <a:cubicBezTo>
                    <a:pt x="9" y="54"/>
                    <a:pt x="7" y="53"/>
                    <a:pt x="6" y="53"/>
                  </a:cubicBezTo>
                  <a:cubicBezTo>
                    <a:pt x="6" y="53"/>
                    <a:pt x="5" y="53"/>
                    <a:pt x="5" y="53"/>
                  </a:cubicBezTo>
                  <a:cubicBezTo>
                    <a:pt x="5" y="53"/>
                    <a:pt x="4" y="54"/>
                    <a:pt x="4" y="54"/>
                  </a:cubicBezTo>
                  <a:cubicBezTo>
                    <a:pt x="4" y="55"/>
                    <a:pt x="4" y="55"/>
                    <a:pt x="4" y="55"/>
                  </a:cubicBezTo>
                  <a:cubicBezTo>
                    <a:pt x="4" y="56"/>
                    <a:pt x="5" y="56"/>
                    <a:pt x="5" y="56"/>
                  </a:cubicBezTo>
                  <a:cubicBezTo>
                    <a:pt x="5" y="56"/>
                    <a:pt x="8" y="57"/>
                    <a:pt x="10" y="58"/>
                  </a:cubicBezTo>
                  <a:cubicBezTo>
                    <a:pt x="9" y="59"/>
                    <a:pt x="9" y="60"/>
                    <a:pt x="9" y="61"/>
                  </a:cubicBezTo>
                  <a:cubicBezTo>
                    <a:pt x="7" y="61"/>
                    <a:pt x="4" y="61"/>
                    <a:pt x="4" y="61"/>
                  </a:cubicBezTo>
                  <a:cubicBezTo>
                    <a:pt x="3" y="61"/>
                    <a:pt x="3" y="61"/>
                    <a:pt x="3" y="61"/>
                  </a:cubicBezTo>
                  <a:cubicBezTo>
                    <a:pt x="2" y="61"/>
                    <a:pt x="2" y="62"/>
                    <a:pt x="2" y="62"/>
                  </a:cubicBezTo>
                  <a:cubicBezTo>
                    <a:pt x="2" y="63"/>
                    <a:pt x="2" y="63"/>
                    <a:pt x="2" y="63"/>
                  </a:cubicBezTo>
                  <a:cubicBezTo>
                    <a:pt x="2" y="64"/>
                    <a:pt x="3" y="64"/>
                    <a:pt x="3" y="64"/>
                  </a:cubicBezTo>
                  <a:cubicBezTo>
                    <a:pt x="4" y="64"/>
                    <a:pt x="6" y="65"/>
                    <a:pt x="8" y="66"/>
                  </a:cubicBezTo>
                  <a:cubicBezTo>
                    <a:pt x="8" y="67"/>
                    <a:pt x="7" y="68"/>
                    <a:pt x="7" y="69"/>
                  </a:cubicBezTo>
                  <a:cubicBezTo>
                    <a:pt x="5" y="69"/>
                    <a:pt x="3" y="69"/>
                    <a:pt x="2" y="69"/>
                  </a:cubicBezTo>
                  <a:cubicBezTo>
                    <a:pt x="2" y="69"/>
                    <a:pt x="2" y="69"/>
                    <a:pt x="1" y="69"/>
                  </a:cubicBezTo>
                  <a:cubicBezTo>
                    <a:pt x="1" y="70"/>
                    <a:pt x="1" y="70"/>
                    <a:pt x="1" y="70"/>
                  </a:cubicBezTo>
                  <a:cubicBezTo>
                    <a:pt x="1" y="71"/>
                    <a:pt x="1" y="71"/>
                    <a:pt x="1" y="71"/>
                  </a:cubicBezTo>
                  <a:cubicBezTo>
                    <a:pt x="1" y="72"/>
                    <a:pt x="2" y="72"/>
                    <a:pt x="2" y="72"/>
                  </a:cubicBezTo>
                  <a:cubicBezTo>
                    <a:pt x="2" y="72"/>
                    <a:pt x="5" y="73"/>
                    <a:pt x="7" y="73"/>
                  </a:cubicBezTo>
                  <a:cubicBezTo>
                    <a:pt x="7" y="74"/>
                    <a:pt x="7" y="75"/>
                    <a:pt x="7" y="76"/>
                  </a:cubicBezTo>
                  <a:cubicBezTo>
                    <a:pt x="5" y="77"/>
                    <a:pt x="2" y="77"/>
                    <a:pt x="2" y="77"/>
                  </a:cubicBezTo>
                  <a:cubicBezTo>
                    <a:pt x="1" y="77"/>
                    <a:pt x="1" y="77"/>
                    <a:pt x="1" y="77"/>
                  </a:cubicBezTo>
                  <a:cubicBezTo>
                    <a:pt x="0" y="78"/>
                    <a:pt x="0" y="78"/>
                    <a:pt x="0" y="79"/>
                  </a:cubicBezTo>
                  <a:cubicBezTo>
                    <a:pt x="0" y="79"/>
                    <a:pt x="0" y="79"/>
                    <a:pt x="1" y="80"/>
                  </a:cubicBezTo>
                  <a:cubicBezTo>
                    <a:pt x="1" y="80"/>
                    <a:pt x="1" y="80"/>
                    <a:pt x="2" y="80"/>
                  </a:cubicBezTo>
                  <a:cubicBezTo>
                    <a:pt x="2" y="80"/>
                    <a:pt x="5" y="81"/>
                    <a:pt x="7" y="81"/>
                  </a:cubicBezTo>
                  <a:cubicBezTo>
                    <a:pt x="7" y="82"/>
                    <a:pt x="7" y="83"/>
                    <a:pt x="7" y="84"/>
                  </a:cubicBezTo>
                  <a:cubicBezTo>
                    <a:pt x="5" y="84"/>
                    <a:pt x="2" y="85"/>
                    <a:pt x="2" y="85"/>
                  </a:cubicBezTo>
                  <a:cubicBezTo>
                    <a:pt x="2" y="85"/>
                    <a:pt x="1" y="85"/>
                    <a:pt x="1" y="86"/>
                  </a:cubicBezTo>
                  <a:cubicBezTo>
                    <a:pt x="1" y="86"/>
                    <a:pt x="1" y="86"/>
                    <a:pt x="1" y="87"/>
                  </a:cubicBezTo>
                  <a:cubicBezTo>
                    <a:pt x="1" y="87"/>
                    <a:pt x="1" y="88"/>
                    <a:pt x="1" y="88"/>
                  </a:cubicBezTo>
                  <a:cubicBezTo>
                    <a:pt x="2" y="88"/>
                    <a:pt x="2" y="88"/>
                    <a:pt x="2" y="88"/>
                  </a:cubicBezTo>
                  <a:cubicBezTo>
                    <a:pt x="3" y="88"/>
                    <a:pt x="5" y="88"/>
                    <a:pt x="7" y="88"/>
                  </a:cubicBezTo>
                  <a:cubicBezTo>
                    <a:pt x="7" y="89"/>
                    <a:pt x="8" y="90"/>
                    <a:pt x="8" y="92"/>
                  </a:cubicBezTo>
                  <a:cubicBezTo>
                    <a:pt x="6" y="92"/>
                    <a:pt x="4" y="93"/>
                    <a:pt x="3" y="93"/>
                  </a:cubicBezTo>
                  <a:cubicBezTo>
                    <a:pt x="3" y="93"/>
                    <a:pt x="2" y="93"/>
                    <a:pt x="2" y="94"/>
                  </a:cubicBezTo>
                  <a:cubicBezTo>
                    <a:pt x="2" y="94"/>
                    <a:pt x="2" y="95"/>
                    <a:pt x="2" y="95"/>
                  </a:cubicBezTo>
                  <a:cubicBezTo>
                    <a:pt x="2" y="95"/>
                    <a:pt x="2" y="96"/>
                    <a:pt x="3" y="96"/>
                  </a:cubicBezTo>
                  <a:cubicBezTo>
                    <a:pt x="3" y="96"/>
                    <a:pt x="3" y="96"/>
                    <a:pt x="4" y="96"/>
                  </a:cubicBezTo>
                  <a:cubicBezTo>
                    <a:pt x="4" y="96"/>
                    <a:pt x="7" y="96"/>
                    <a:pt x="9" y="96"/>
                  </a:cubicBezTo>
                  <a:cubicBezTo>
                    <a:pt x="9" y="97"/>
                    <a:pt x="9" y="98"/>
                    <a:pt x="10" y="99"/>
                  </a:cubicBezTo>
                  <a:cubicBezTo>
                    <a:pt x="8" y="100"/>
                    <a:pt x="5" y="101"/>
                    <a:pt x="5" y="101"/>
                  </a:cubicBezTo>
                  <a:cubicBezTo>
                    <a:pt x="5" y="101"/>
                    <a:pt x="4" y="101"/>
                    <a:pt x="4" y="102"/>
                  </a:cubicBezTo>
                  <a:cubicBezTo>
                    <a:pt x="4" y="102"/>
                    <a:pt x="4" y="103"/>
                    <a:pt x="4" y="103"/>
                  </a:cubicBezTo>
                  <a:cubicBezTo>
                    <a:pt x="4" y="103"/>
                    <a:pt x="5" y="104"/>
                    <a:pt x="5" y="104"/>
                  </a:cubicBezTo>
                  <a:cubicBezTo>
                    <a:pt x="5" y="104"/>
                    <a:pt x="6" y="104"/>
                    <a:pt x="6" y="104"/>
                  </a:cubicBezTo>
                  <a:cubicBezTo>
                    <a:pt x="7" y="104"/>
                    <a:pt x="9" y="104"/>
                    <a:pt x="11" y="103"/>
                  </a:cubicBezTo>
                  <a:cubicBezTo>
                    <a:pt x="11" y="104"/>
                    <a:pt x="12" y="105"/>
                    <a:pt x="12" y="106"/>
                  </a:cubicBezTo>
                  <a:cubicBezTo>
                    <a:pt x="10" y="107"/>
                    <a:pt x="8" y="108"/>
                    <a:pt x="8" y="109"/>
                  </a:cubicBezTo>
                  <a:cubicBezTo>
                    <a:pt x="7" y="109"/>
                    <a:pt x="7" y="109"/>
                    <a:pt x="7" y="110"/>
                  </a:cubicBezTo>
                  <a:cubicBezTo>
                    <a:pt x="7" y="110"/>
                    <a:pt x="7" y="110"/>
                    <a:pt x="7" y="111"/>
                  </a:cubicBezTo>
                  <a:cubicBezTo>
                    <a:pt x="7" y="111"/>
                    <a:pt x="8" y="111"/>
                    <a:pt x="8" y="112"/>
                  </a:cubicBezTo>
                  <a:cubicBezTo>
                    <a:pt x="8" y="112"/>
                    <a:pt x="9" y="112"/>
                    <a:pt x="9" y="112"/>
                  </a:cubicBezTo>
                  <a:cubicBezTo>
                    <a:pt x="10" y="111"/>
                    <a:pt x="12" y="111"/>
                    <a:pt x="14" y="110"/>
                  </a:cubicBezTo>
                  <a:cubicBezTo>
                    <a:pt x="14" y="111"/>
                    <a:pt x="15" y="112"/>
                    <a:pt x="15" y="113"/>
                  </a:cubicBezTo>
                  <a:cubicBezTo>
                    <a:pt x="14" y="114"/>
                    <a:pt x="12" y="116"/>
                    <a:pt x="11" y="116"/>
                  </a:cubicBezTo>
                  <a:cubicBezTo>
                    <a:pt x="11" y="116"/>
                    <a:pt x="11" y="117"/>
                    <a:pt x="11" y="117"/>
                  </a:cubicBezTo>
                  <a:cubicBezTo>
                    <a:pt x="11" y="117"/>
                    <a:pt x="11" y="118"/>
                    <a:pt x="11" y="118"/>
                  </a:cubicBezTo>
                  <a:cubicBezTo>
                    <a:pt x="11" y="118"/>
                    <a:pt x="11" y="119"/>
                    <a:pt x="12" y="119"/>
                  </a:cubicBezTo>
                  <a:cubicBezTo>
                    <a:pt x="12" y="119"/>
                    <a:pt x="13" y="119"/>
                    <a:pt x="13" y="119"/>
                  </a:cubicBezTo>
                  <a:cubicBezTo>
                    <a:pt x="13" y="119"/>
                    <a:pt x="15" y="118"/>
                    <a:pt x="17" y="117"/>
                  </a:cubicBezTo>
                  <a:cubicBezTo>
                    <a:pt x="18" y="118"/>
                    <a:pt x="19" y="119"/>
                    <a:pt x="19" y="120"/>
                  </a:cubicBezTo>
                  <a:cubicBezTo>
                    <a:pt x="18" y="121"/>
                    <a:pt x="16" y="122"/>
                    <a:pt x="16" y="123"/>
                  </a:cubicBezTo>
                  <a:cubicBezTo>
                    <a:pt x="15" y="123"/>
                    <a:pt x="15" y="123"/>
                    <a:pt x="15" y="124"/>
                  </a:cubicBezTo>
                  <a:cubicBezTo>
                    <a:pt x="15" y="124"/>
                    <a:pt x="15" y="125"/>
                    <a:pt x="15" y="125"/>
                  </a:cubicBezTo>
                  <a:cubicBezTo>
                    <a:pt x="16" y="125"/>
                    <a:pt x="16" y="126"/>
                    <a:pt x="16" y="126"/>
                  </a:cubicBezTo>
                  <a:cubicBezTo>
                    <a:pt x="17" y="126"/>
                    <a:pt x="17" y="126"/>
                    <a:pt x="18" y="126"/>
                  </a:cubicBezTo>
                  <a:cubicBezTo>
                    <a:pt x="18" y="125"/>
                    <a:pt x="20" y="124"/>
                    <a:pt x="22" y="123"/>
                  </a:cubicBezTo>
                  <a:cubicBezTo>
                    <a:pt x="22" y="124"/>
                    <a:pt x="23" y="125"/>
                    <a:pt x="24" y="126"/>
                  </a:cubicBezTo>
                  <a:cubicBezTo>
                    <a:pt x="22" y="127"/>
                    <a:pt x="21" y="129"/>
                    <a:pt x="21" y="129"/>
                  </a:cubicBezTo>
                  <a:cubicBezTo>
                    <a:pt x="20" y="130"/>
                    <a:pt x="20" y="130"/>
                    <a:pt x="20" y="130"/>
                  </a:cubicBezTo>
                  <a:cubicBezTo>
                    <a:pt x="20" y="131"/>
                    <a:pt x="20" y="131"/>
                    <a:pt x="21" y="131"/>
                  </a:cubicBezTo>
                  <a:cubicBezTo>
                    <a:pt x="21" y="132"/>
                    <a:pt x="21" y="132"/>
                    <a:pt x="22" y="132"/>
                  </a:cubicBezTo>
                  <a:cubicBezTo>
                    <a:pt x="22" y="132"/>
                    <a:pt x="22" y="132"/>
                    <a:pt x="23" y="132"/>
                  </a:cubicBezTo>
                  <a:cubicBezTo>
                    <a:pt x="23" y="131"/>
                    <a:pt x="25" y="130"/>
                    <a:pt x="27" y="129"/>
                  </a:cubicBezTo>
                  <a:cubicBezTo>
                    <a:pt x="27" y="130"/>
                    <a:pt x="28" y="130"/>
                    <a:pt x="29" y="131"/>
                  </a:cubicBezTo>
                  <a:cubicBezTo>
                    <a:pt x="28" y="133"/>
                    <a:pt x="26" y="135"/>
                    <a:pt x="26" y="135"/>
                  </a:cubicBezTo>
                  <a:cubicBezTo>
                    <a:pt x="26" y="135"/>
                    <a:pt x="26" y="136"/>
                    <a:pt x="26" y="136"/>
                  </a:cubicBezTo>
                  <a:cubicBezTo>
                    <a:pt x="26" y="137"/>
                    <a:pt x="26" y="137"/>
                    <a:pt x="26" y="137"/>
                  </a:cubicBezTo>
                  <a:cubicBezTo>
                    <a:pt x="27" y="138"/>
                    <a:pt x="27" y="138"/>
                    <a:pt x="27" y="138"/>
                  </a:cubicBezTo>
                  <a:cubicBezTo>
                    <a:pt x="28" y="138"/>
                    <a:pt x="28" y="138"/>
                    <a:pt x="29" y="137"/>
                  </a:cubicBezTo>
                  <a:cubicBezTo>
                    <a:pt x="29" y="137"/>
                    <a:pt x="31" y="135"/>
                    <a:pt x="32" y="134"/>
                  </a:cubicBezTo>
                  <a:cubicBezTo>
                    <a:pt x="33" y="135"/>
                    <a:pt x="34" y="135"/>
                    <a:pt x="35" y="136"/>
                  </a:cubicBezTo>
                  <a:cubicBezTo>
                    <a:pt x="34" y="138"/>
                    <a:pt x="33" y="140"/>
                    <a:pt x="32" y="140"/>
                  </a:cubicBezTo>
                  <a:cubicBezTo>
                    <a:pt x="32" y="141"/>
                    <a:pt x="32" y="141"/>
                    <a:pt x="32" y="142"/>
                  </a:cubicBezTo>
                  <a:cubicBezTo>
                    <a:pt x="32" y="142"/>
                    <a:pt x="32" y="142"/>
                    <a:pt x="33" y="143"/>
                  </a:cubicBezTo>
                  <a:cubicBezTo>
                    <a:pt x="33" y="143"/>
                    <a:pt x="34" y="143"/>
                    <a:pt x="34" y="143"/>
                  </a:cubicBezTo>
                  <a:cubicBezTo>
                    <a:pt x="34" y="143"/>
                    <a:pt x="35" y="143"/>
                    <a:pt x="35" y="142"/>
                  </a:cubicBezTo>
                  <a:cubicBezTo>
                    <a:pt x="35" y="142"/>
                    <a:pt x="37" y="140"/>
                    <a:pt x="38" y="139"/>
                  </a:cubicBezTo>
                  <a:cubicBezTo>
                    <a:pt x="39" y="139"/>
                    <a:pt x="40" y="140"/>
                    <a:pt x="41" y="140"/>
                  </a:cubicBezTo>
                  <a:cubicBezTo>
                    <a:pt x="40" y="142"/>
                    <a:pt x="39" y="145"/>
                    <a:pt x="39" y="145"/>
                  </a:cubicBezTo>
                  <a:cubicBezTo>
                    <a:pt x="39" y="145"/>
                    <a:pt x="39" y="146"/>
                    <a:pt x="39" y="146"/>
                  </a:cubicBezTo>
                  <a:cubicBezTo>
                    <a:pt x="39" y="146"/>
                    <a:pt x="39" y="147"/>
                    <a:pt x="40" y="147"/>
                  </a:cubicBezTo>
                  <a:cubicBezTo>
                    <a:pt x="40" y="147"/>
                    <a:pt x="41" y="147"/>
                    <a:pt x="41" y="147"/>
                  </a:cubicBezTo>
                  <a:cubicBezTo>
                    <a:pt x="41" y="147"/>
                    <a:pt x="42" y="147"/>
                    <a:pt x="42" y="147"/>
                  </a:cubicBezTo>
                  <a:cubicBezTo>
                    <a:pt x="42" y="146"/>
                    <a:pt x="44" y="144"/>
                    <a:pt x="45" y="143"/>
                  </a:cubicBezTo>
                  <a:cubicBezTo>
                    <a:pt x="46" y="143"/>
                    <a:pt x="47" y="144"/>
                    <a:pt x="48" y="144"/>
                  </a:cubicBezTo>
                  <a:cubicBezTo>
                    <a:pt x="47" y="146"/>
                    <a:pt x="46" y="148"/>
                    <a:pt x="46" y="149"/>
                  </a:cubicBezTo>
                  <a:cubicBezTo>
                    <a:pt x="46" y="149"/>
                    <a:pt x="46" y="150"/>
                    <a:pt x="46" y="150"/>
                  </a:cubicBezTo>
                  <a:cubicBezTo>
                    <a:pt x="46" y="150"/>
                    <a:pt x="47" y="151"/>
                    <a:pt x="47" y="151"/>
                  </a:cubicBezTo>
                  <a:cubicBezTo>
                    <a:pt x="47" y="151"/>
                    <a:pt x="48" y="151"/>
                    <a:pt x="48" y="151"/>
                  </a:cubicBezTo>
                  <a:cubicBezTo>
                    <a:pt x="49" y="151"/>
                    <a:pt x="49" y="150"/>
                    <a:pt x="49" y="150"/>
                  </a:cubicBezTo>
                  <a:cubicBezTo>
                    <a:pt x="49" y="150"/>
                    <a:pt x="51" y="148"/>
                    <a:pt x="52" y="146"/>
                  </a:cubicBezTo>
                  <a:cubicBezTo>
                    <a:pt x="53" y="146"/>
                    <a:pt x="54" y="147"/>
                    <a:pt x="55" y="147"/>
                  </a:cubicBezTo>
                  <a:cubicBezTo>
                    <a:pt x="54" y="149"/>
                    <a:pt x="54" y="151"/>
                    <a:pt x="54" y="152"/>
                  </a:cubicBezTo>
                  <a:cubicBezTo>
                    <a:pt x="54" y="152"/>
                    <a:pt x="54" y="153"/>
                    <a:pt x="54" y="153"/>
                  </a:cubicBezTo>
                  <a:cubicBezTo>
                    <a:pt x="54" y="153"/>
                    <a:pt x="54" y="154"/>
                    <a:pt x="55" y="154"/>
                  </a:cubicBezTo>
                  <a:cubicBezTo>
                    <a:pt x="55" y="154"/>
                    <a:pt x="56" y="154"/>
                    <a:pt x="56" y="154"/>
                  </a:cubicBezTo>
                  <a:cubicBezTo>
                    <a:pt x="56" y="154"/>
                    <a:pt x="57" y="153"/>
                    <a:pt x="57" y="153"/>
                  </a:cubicBezTo>
                  <a:cubicBezTo>
                    <a:pt x="57" y="152"/>
                    <a:pt x="58" y="150"/>
                    <a:pt x="59" y="148"/>
                  </a:cubicBezTo>
                  <a:cubicBezTo>
                    <a:pt x="60" y="149"/>
                    <a:pt x="61" y="149"/>
                    <a:pt x="62" y="149"/>
                  </a:cubicBezTo>
                  <a:cubicBezTo>
                    <a:pt x="62" y="151"/>
                    <a:pt x="61" y="154"/>
                    <a:pt x="61" y="154"/>
                  </a:cubicBezTo>
                  <a:cubicBezTo>
                    <a:pt x="61" y="155"/>
                    <a:pt x="62" y="155"/>
                    <a:pt x="62" y="155"/>
                  </a:cubicBezTo>
                  <a:cubicBezTo>
                    <a:pt x="62" y="156"/>
                    <a:pt x="62" y="156"/>
                    <a:pt x="63" y="156"/>
                  </a:cubicBezTo>
                  <a:cubicBezTo>
                    <a:pt x="63" y="156"/>
                    <a:pt x="64" y="156"/>
                    <a:pt x="64" y="156"/>
                  </a:cubicBezTo>
                  <a:cubicBezTo>
                    <a:pt x="64" y="155"/>
                    <a:pt x="65" y="155"/>
                    <a:pt x="65" y="155"/>
                  </a:cubicBezTo>
                  <a:cubicBezTo>
                    <a:pt x="65" y="154"/>
                    <a:pt x="66" y="152"/>
                    <a:pt x="66" y="150"/>
                  </a:cubicBezTo>
                  <a:cubicBezTo>
                    <a:pt x="67" y="150"/>
                    <a:pt x="68" y="150"/>
                    <a:pt x="69" y="151"/>
                  </a:cubicBezTo>
                  <a:cubicBezTo>
                    <a:pt x="69" y="153"/>
                    <a:pt x="69" y="155"/>
                    <a:pt x="69" y="155"/>
                  </a:cubicBezTo>
                  <a:cubicBezTo>
                    <a:pt x="69" y="156"/>
                    <a:pt x="70" y="156"/>
                    <a:pt x="70" y="157"/>
                  </a:cubicBezTo>
                  <a:cubicBezTo>
                    <a:pt x="70" y="157"/>
                    <a:pt x="70" y="157"/>
                    <a:pt x="71" y="157"/>
                  </a:cubicBezTo>
                  <a:cubicBezTo>
                    <a:pt x="71" y="157"/>
                    <a:pt x="72" y="157"/>
                    <a:pt x="72" y="157"/>
                  </a:cubicBezTo>
                  <a:cubicBezTo>
                    <a:pt x="72" y="157"/>
                    <a:pt x="73" y="156"/>
                    <a:pt x="73" y="156"/>
                  </a:cubicBezTo>
                  <a:cubicBezTo>
                    <a:pt x="73" y="155"/>
                    <a:pt x="73" y="153"/>
                    <a:pt x="74" y="151"/>
                  </a:cubicBezTo>
                  <a:cubicBezTo>
                    <a:pt x="75" y="151"/>
                    <a:pt x="76" y="151"/>
                    <a:pt x="77" y="151"/>
                  </a:cubicBezTo>
                  <a:cubicBezTo>
                    <a:pt x="77" y="153"/>
                    <a:pt x="77" y="156"/>
                    <a:pt x="77" y="156"/>
                  </a:cubicBezTo>
                  <a:cubicBezTo>
                    <a:pt x="78" y="157"/>
                    <a:pt x="78" y="157"/>
                    <a:pt x="78" y="157"/>
                  </a:cubicBezTo>
                  <a:cubicBezTo>
                    <a:pt x="78" y="157"/>
                    <a:pt x="79" y="158"/>
                    <a:pt x="79" y="158"/>
                  </a:cubicBezTo>
                  <a:cubicBezTo>
                    <a:pt x="80" y="158"/>
                    <a:pt x="80" y="157"/>
                    <a:pt x="80" y="157"/>
                  </a:cubicBezTo>
                  <a:cubicBezTo>
                    <a:pt x="81" y="157"/>
                    <a:pt x="81" y="157"/>
                    <a:pt x="81" y="156"/>
                  </a:cubicBezTo>
                  <a:cubicBezTo>
                    <a:pt x="81" y="156"/>
                    <a:pt x="81" y="153"/>
                    <a:pt x="81" y="151"/>
                  </a:cubicBezTo>
                  <a:cubicBezTo>
                    <a:pt x="82" y="151"/>
                    <a:pt x="84" y="151"/>
                    <a:pt x="85" y="151"/>
                  </a:cubicBezTo>
                  <a:cubicBezTo>
                    <a:pt x="85" y="153"/>
                    <a:pt x="85" y="155"/>
                    <a:pt x="86" y="156"/>
                  </a:cubicBezTo>
                  <a:cubicBezTo>
                    <a:pt x="86" y="156"/>
                    <a:pt x="86" y="157"/>
                    <a:pt x="86" y="157"/>
                  </a:cubicBezTo>
                  <a:cubicBezTo>
                    <a:pt x="87" y="157"/>
                    <a:pt x="87" y="157"/>
                    <a:pt x="87" y="157"/>
                  </a:cubicBezTo>
                  <a:cubicBezTo>
                    <a:pt x="88" y="157"/>
                    <a:pt x="88" y="157"/>
                    <a:pt x="89" y="157"/>
                  </a:cubicBezTo>
                  <a:cubicBezTo>
                    <a:pt x="89" y="156"/>
                    <a:pt x="89" y="156"/>
                    <a:pt x="89" y="155"/>
                  </a:cubicBezTo>
                  <a:cubicBezTo>
                    <a:pt x="89" y="155"/>
                    <a:pt x="89" y="153"/>
                    <a:pt x="89" y="151"/>
                  </a:cubicBezTo>
                  <a:cubicBezTo>
                    <a:pt x="90" y="150"/>
                    <a:pt x="91" y="150"/>
                    <a:pt x="92" y="150"/>
                  </a:cubicBezTo>
                  <a:cubicBezTo>
                    <a:pt x="93" y="152"/>
                    <a:pt x="93" y="154"/>
                    <a:pt x="94" y="155"/>
                  </a:cubicBezTo>
                  <a:cubicBezTo>
                    <a:pt x="94" y="155"/>
                    <a:pt x="94" y="155"/>
                    <a:pt x="94" y="156"/>
                  </a:cubicBezTo>
                  <a:cubicBezTo>
                    <a:pt x="95" y="156"/>
                    <a:pt x="95" y="156"/>
                    <a:pt x="96" y="156"/>
                  </a:cubicBezTo>
                  <a:cubicBezTo>
                    <a:pt x="96" y="156"/>
                    <a:pt x="96" y="156"/>
                    <a:pt x="97" y="155"/>
                  </a:cubicBezTo>
                  <a:cubicBezTo>
                    <a:pt x="97" y="155"/>
                    <a:pt x="97" y="155"/>
                    <a:pt x="97" y="154"/>
                  </a:cubicBezTo>
                  <a:cubicBezTo>
                    <a:pt x="97" y="154"/>
                    <a:pt x="97" y="151"/>
                    <a:pt x="96" y="149"/>
                  </a:cubicBezTo>
                  <a:cubicBezTo>
                    <a:pt x="97" y="149"/>
                    <a:pt x="98" y="149"/>
                    <a:pt x="100" y="148"/>
                  </a:cubicBezTo>
                  <a:cubicBezTo>
                    <a:pt x="100" y="150"/>
                    <a:pt x="101" y="152"/>
                    <a:pt x="101" y="153"/>
                  </a:cubicBezTo>
                  <a:cubicBezTo>
                    <a:pt x="102" y="153"/>
                    <a:pt x="102" y="154"/>
                    <a:pt x="102" y="154"/>
                  </a:cubicBezTo>
                  <a:cubicBezTo>
                    <a:pt x="103" y="154"/>
                    <a:pt x="103" y="154"/>
                    <a:pt x="104" y="154"/>
                  </a:cubicBezTo>
                  <a:cubicBezTo>
                    <a:pt x="104" y="154"/>
                    <a:pt x="104" y="153"/>
                    <a:pt x="105" y="153"/>
                  </a:cubicBezTo>
                  <a:cubicBezTo>
                    <a:pt x="105" y="153"/>
                    <a:pt x="105" y="152"/>
                    <a:pt x="105" y="152"/>
                  </a:cubicBezTo>
                  <a:cubicBezTo>
                    <a:pt x="105" y="151"/>
                    <a:pt x="104" y="149"/>
                    <a:pt x="104" y="147"/>
                  </a:cubicBezTo>
                  <a:cubicBezTo>
                    <a:pt x="105" y="147"/>
                    <a:pt x="106" y="146"/>
                    <a:pt x="107" y="146"/>
                  </a:cubicBezTo>
                  <a:cubicBezTo>
                    <a:pt x="108" y="148"/>
                    <a:pt x="109" y="150"/>
                    <a:pt x="109" y="150"/>
                  </a:cubicBezTo>
                  <a:cubicBezTo>
                    <a:pt x="109" y="150"/>
                    <a:pt x="110" y="151"/>
                    <a:pt x="110" y="151"/>
                  </a:cubicBezTo>
                  <a:cubicBezTo>
                    <a:pt x="110" y="151"/>
                    <a:pt x="111" y="151"/>
                    <a:pt x="111" y="151"/>
                  </a:cubicBezTo>
                  <a:cubicBezTo>
                    <a:pt x="112" y="151"/>
                    <a:pt x="112" y="150"/>
                    <a:pt x="112" y="150"/>
                  </a:cubicBezTo>
                  <a:cubicBezTo>
                    <a:pt x="112" y="150"/>
                    <a:pt x="112" y="149"/>
                    <a:pt x="112" y="149"/>
                  </a:cubicBezTo>
                  <a:cubicBezTo>
                    <a:pt x="112" y="148"/>
                    <a:pt x="111" y="146"/>
                    <a:pt x="111" y="144"/>
                  </a:cubicBezTo>
                  <a:cubicBezTo>
                    <a:pt x="112" y="144"/>
                    <a:pt x="113" y="143"/>
                    <a:pt x="114" y="143"/>
                  </a:cubicBezTo>
                  <a:cubicBezTo>
                    <a:pt x="115" y="144"/>
                    <a:pt x="116" y="146"/>
                    <a:pt x="116" y="147"/>
                  </a:cubicBezTo>
                  <a:cubicBezTo>
                    <a:pt x="117" y="147"/>
                    <a:pt x="117" y="147"/>
                    <a:pt x="117" y="147"/>
                  </a:cubicBezTo>
                  <a:cubicBezTo>
                    <a:pt x="118" y="147"/>
                    <a:pt x="118" y="147"/>
                    <a:pt x="119" y="147"/>
                  </a:cubicBezTo>
                  <a:cubicBezTo>
                    <a:pt x="119" y="147"/>
                    <a:pt x="119" y="146"/>
                    <a:pt x="119" y="146"/>
                  </a:cubicBezTo>
                  <a:cubicBezTo>
                    <a:pt x="120" y="146"/>
                    <a:pt x="120" y="145"/>
                    <a:pt x="119" y="145"/>
                  </a:cubicBezTo>
                  <a:cubicBezTo>
                    <a:pt x="119" y="145"/>
                    <a:pt x="118" y="142"/>
                    <a:pt x="117" y="140"/>
                  </a:cubicBezTo>
                  <a:cubicBezTo>
                    <a:pt x="118" y="140"/>
                    <a:pt x="119" y="139"/>
                    <a:pt x="120" y="139"/>
                  </a:cubicBezTo>
                  <a:cubicBezTo>
                    <a:pt x="121" y="140"/>
                    <a:pt x="123" y="142"/>
                    <a:pt x="123" y="142"/>
                  </a:cubicBezTo>
                  <a:cubicBezTo>
                    <a:pt x="124" y="143"/>
                    <a:pt x="124" y="143"/>
                    <a:pt x="124" y="143"/>
                  </a:cubicBezTo>
                  <a:cubicBezTo>
                    <a:pt x="125" y="143"/>
                    <a:pt x="125" y="143"/>
                    <a:pt x="126" y="143"/>
                  </a:cubicBezTo>
                  <a:cubicBezTo>
                    <a:pt x="126" y="142"/>
                    <a:pt x="126" y="142"/>
                    <a:pt x="126" y="142"/>
                  </a:cubicBezTo>
                  <a:cubicBezTo>
                    <a:pt x="126" y="141"/>
                    <a:pt x="126" y="141"/>
                    <a:pt x="126" y="140"/>
                  </a:cubicBezTo>
                  <a:cubicBezTo>
                    <a:pt x="126" y="140"/>
                    <a:pt x="125" y="138"/>
                    <a:pt x="124" y="136"/>
                  </a:cubicBezTo>
                  <a:cubicBezTo>
                    <a:pt x="124" y="135"/>
                    <a:pt x="125" y="135"/>
                    <a:pt x="126" y="134"/>
                  </a:cubicBezTo>
                  <a:cubicBezTo>
                    <a:pt x="128" y="135"/>
                    <a:pt x="129" y="137"/>
                    <a:pt x="130" y="137"/>
                  </a:cubicBezTo>
                  <a:cubicBezTo>
                    <a:pt x="130" y="138"/>
                    <a:pt x="130" y="138"/>
                    <a:pt x="131" y="138"/>
                  </a:cubicBezTo>
                  <a:cubicBezTo>
                    <a:pt x="131" y="138"/>
                    <a:pt x="132" y="138"/>
                    <a:pt x="132" y="137"/>
                  </a:cubicBezTo>
                  <a:cubicBezTo>
                    <a:pt x="132" y="137"/>
                    <a:pt x="133" y="137"/>
                    <a:pt x="133" y="136"/>
                  </a:cubicBezTo>
                  <a:cubicBezTo>
                    <a:pt x="133" y="136"/>
                    <a:pt x="133" y="135"/>
                    <a:pt x="132" y="135"/>
                  </a:cubicBezTo>
                  <a:cubicBezTo>
                    <a:pt x="132" y="135"/>
                    <a:pt x="131" y="133"/>
                    <a:pt x="129" y="131"/>
                  </a:cubicBezTo>
                  <a:cubicBezTo>
                    <a:pt x="130" y="130"/>
                    <a:pt x="131" y="130"/>
                    <a:pt x="132" y="129"/>
                  </a:cubicBezTo>
                  <a:cubicBezTo>
                    <a:pt x="133" y="130"/>
                    <a:pt x="135" y="131"/>
                    <a:pt x="136" y="132"/>
                  </a:cubicBezTo>
                  <a:cubicBezTo>
                    <a:pt x="136" y="132"/>
                    <a:pt x="136" y="132"/>
                    <a:pt x="137" y="132"/>
                  </a:cubicBezTo>
                  <a:cubicBezTo>
                    <a:pt x="137" y="132"/>
                    <a:pt x="138" y="132"/>
                    <a:pt x="138" y="131"/>
                  </a:cubicBezTo>
                  <a:cubicBezTo>
                    <a:pt x="138" y="131"/>
                    <a:pt x="138" y="131"/>
                    <a:pt x="138" y="130"/>
                  </a:cubicBezTo>
                  <a:cubicBezTo>
                    <a:pt x="138" y="130"/>
                    <a:pt x="138" y="130"/>
                    <a:pt x="138" y="129"/>
                  </a:cubicBezTo>
                  <a:cubicBezTo>
                    <a:pt x="138" y="129"/>
                    <a:pt x="136" y="127"/>
                    <a:pt x="135" y="126"/>
                  </a:cubicBezTo>
                  <a:cubicBezTo>
                    <a:pt x="135" y="125"/>
                    <a:pt x="136" y="124"/>
                    <a:pt x="137" y="123"/>
                  </a:cubicBezTo>
                  <a:cubicBezTo>
                    <a:pt x="138" y="124"/>
                    <a:pt x="140" y="125"/>
                    <a:pt x="141" y="126"/>
                  </a:cubicBezTo>
                  <a:cubicBezTo>
                    <a:pt x="141" y="126"/>
                    <a:pt x="142" y="126"/>
                    <a:pt x="142" y="126"/>
                  </a:cubicBezTo>
                  <a:cubicBezTo>
                    <a:pt x="142" y="126"/>
                    <a:pt x="143" y="125"/>
                    <a:pt x="143" y="125"/>
                  </a:cubicBezTo>
                  <a:cubicBezTo>
                    <a:pt x="143" y="125"/>
                    <a:pt x="143" y="124"/>
                    <a:pt x="143" y="124"/>
                  </a:cubicBezTo>
                  <a:cubicBezTo>
                    <a:pt x="143" y="123"/>
                    <a:pt x="143" y="123"/>
                    <a:pt x="143" y="123"/>
                  </a:cubicBezTo>
                  <a:cubicBezTo>
                    <a:pt x="142" y="122"/>
                    <a:pt x="141" y="121"/>
                    <a:pt x="139" y="120"/>
                  </a:cubicBezTo>
                  <a:cubicBezTo>
                    <a:pt x="140" y="119"/>
                    <a:pt x="140" y="118"/>
                    <a:pt x="141" y="117"/>
                  </a:cubicBezTo>
                  <a:cubicBezTo>
                    <a:pt x="143" y="118"/>
                    <a:pt x="145" y="119"/>
                    <a:pt x="145" y="119"/>
                  </a:cubicBezTo>
                  <a:cubicBezTo>
                    <a:pt x="146" y="119"/>
                    <a:pt x="146" y="119"/>
                    <a:pt x="147" y="119"/>
                  </a:cubicBezTo>
                  <a:cubicBezTo>
                    <a:pt x="147" y="119"/>
                    <a:pt x="147" y="118"/>
                    <a:pt x="148" y="118"/>
                  </a:cubicBezTo>
                  <a:cubicBezTo>
                    <a:pt x="148" y="118"/>
                    <a:pt x="148" y="117"/>
                    <a:pt x="148" y="117"/>
                  </a:cubicBezTo>
                  <a:cubicBezTo>
                    <a:pt x="148" y="117"/>
                    <a:pt x="147" y="116"/>
                    <a:pt x="147" y="116"/>
                  </a:cubicBezTo>
                  <a:cubicBezTo>
                    <a:pt x="147" y="116"/>
                    <a:pt x="145" y="114"/>
                    <a:pt x="143" y="113"/>
                  </a:cubicBezTo>
                  <a:cubicBezTo>
                    <a:pt x="144" y="112"/>
                    <a:pt x="144" y="111"/>
                    <a:pt x="145" y="110"/>
                  </a:cubicBezTo>
                  <a:cubicBezTo>
                    <a:pt x="147" y="111"/>
                    <a:pt x="149" y="111"/>
                    <a:pt x="149" y="112"/>
                  </a:cubicBezTo>
                  <a:cubicBezTo>
                    <a:pt x="150" y="112"/>
                    <a:pt x="150" y="112"/>
                    <a:pt x="150" y="112"/>
                  </a:cubicBezTo>
                  <a:cubicBezTo>
                    <a:pt x="151" y="111"/>
                    <a:pt x="151" y="111"/>
                    <a:pt x="151" y="111"/>
                  </a:cubicBezTo>
                  <a:cubicBezTo>
                    <a:pt x="151" y="110"/>
                    <a:pt x="152" y="110"/>
                    <a:pt x="151" y="110"/>
                  </a:cubicBezTo>
                  <a:cubicBezTo>
                    <a:pt x="151" y="109"/>
                    <a:pt x="151" y="109"/>
                    <a:pt x="151" y="109"/>
                  </a:cubicBezTo>
                  <a:cubicBezTo>
                    <a:pt x="150" y="108"/>
                    <a:pt x="148" y="107"/>
                    <a:pt x="146" y="106"/>
                  </a:cubicBezTo>
                  <a:cubicBezTo>
                    <a:pt x="147" y="105"/>
                    <a:pt x="147" y="104"/>
                    <a:pt x="148" y="103"/>
                  </a:cubicBezTo>
                  <a:cubicBezTo>
                    <a:pt x="150" y="104"/>
                    <a:pt x="152" y="104"/>
                    <a:pt x="152" y="104"/>
                  </a:cubicBezTo>
                  <a:cubicBezTo>
                    <a:pt x="153" y="104"/>
                    <a:pt x="153" y="104"/>
                    <a:pt x="153" y="104"/>
                  </a:cubicBezTo>
                  <a:cubicBezTo>
                    <a:pt x="154" y="104"/>
                    <a:pt x="154" y="103"/>
                    <a:pt x="154" y="103"/>
                  </a:cubicBezTo>
                  <a:cubicBezTo>
                    <a:pt x="154" y="103"/>
                    <a:pt x="154" y="102"/>
                    <a:pt x="154" y="102"/>
                  </a:cubicBezTo>
                  <a:cubicBezTo>
                    <a:pt x="154" y="101"/>
                    <a:pt x="154" y="101"/>
                    <a:pt x="153" y="101"/>
                  </a:cubicBezTo>
                  <a:cubicBezTo>
                    <a:pt x="153" y="101"/>
                    <a:pt x="151" y="100"/>
                    <a:pt x="149" y="99"/>
                  </a:cubicBezTo>
                  <a:cubicBezTo>
                    <a:pt x="149" y="98"/>
                    <a:pt x="149" y="97"/>
                    <a:pt x="150" y="96"/>
                  </a:cubicBezTo>
                  <a:cubicBezTo>
                    <a:pt x="152" y="96"/>
                    <a:pt x="154" y="96"/>
                    <a:pt x="155" y="96"/>
                  </a:cubicBezTo>
                  <a:cubicBezTo>
                    <a:pt x="155" y="96"/>
                    <a:pt x="155" y="96"/>
                    <a:pt x="156" y="96"/>
                  </a:cubicBezTo>
                  <a:cubicBezTo>
                    <a:pt x="156" y="96"/>
                    <a:pt x="156" y="95"/>
                    <a:pt x="156" y="95"/>
                  </a:cubicBezTo>
                  <a:cubicBezTo>
                    <a:pt x="156" y="95"/>
                    <a:pt x="156" y="94"/>
                    <a:pt x="156" y="94"/>
                  </a:cubicBezTo>
                  <a:cubicBezTo>
                    <a:pt x="156" y="93"/>
                    <a:pt x="156" y="93"/>
                    <a:pt x="155" y="93"/>
                  </a:cubicBezTo>
                  <a:cubicBezTo>
                    <a:pt x="155" y="93"/>
                    <a:pt x="153" y="92"/>
                    <a:pt x="151" y="92"/>
                  </a:cubicBezTo>
                  <a:cubicBezTo>
                    <a:pt x="151" y="90"/>
                    <a:pt x="151" y="89"/>
                    <a:pt x="151" y="88"/>
                  </a:cubicBezTo>
                  <a:cubicBezTo>
                    <a:pt x="153" y="88"/>
                    <a:pt x="156" y="88"/>
                    <a:pt x="156" y="88"/>
                  </a:cubicBezTo>
                  <a:cubicBezTo>
                    <a:pt x="156" y="88"/>
                    <a:pt x="157" y="88"/>
                    <a:pt x="157" y="88"/>
                  </a:cubicBezTo>
                  <a:cubicBezTo>
                    <a:pt x="157" y="88"/>
                    <a:pt x="158" y="87"/>
                    <a:pt x="158" y="87"/>
                  </a:cubicBezTo>
                  <a:cubicBezTo>
                    <a:pt x="158" y="86"/>
                    <a:pt x="158" y="86"/>
                    <a:pt x="157" y="86"/>
                  </a:cubicBezTo>
                  <a:cubicBezTo>
                    <a:pt x="157" y="85"/>
                    <a:pt x="157" y="85"/>
                    <a:pt x="156" y="85"/>
                  </a:cubicBezTo>
                  <a:cubicBezTo>
                    <a:pt x="156" y="85"/>
                    <a:pt x="154" y="84"/>
                    <a:pt x="152" y="84"/>
                  </a:cubicBezTo>
                  <a:cubicBezTo>
                    <a:pt x="152" y="83"/>
                    <a:pt x="152" y="82"/>
                    <a:pt x="152" y="81"/>
                  </a:cubicBezTo>
                  <a:cubicBezTo>
                    <a:pt x="154" y="81"/>
                    <a:pt x="156" y="80"/>
                    <a:pt x="157" y="80"/>
                  </a:cubicBezTo>
                  <a:close/>
                  <a:moveTo>
                    <a:pt x="79" y="142"/>
                  </a:moveTo>
                  <a:cubicBezTo>
                    <a:pt x="44" y="142"/>
                    <a:pt x="16" y="113"/>
                    <a:pt x="16" y="79"/>
                  </a:cubicBezTo>
                  <a:cubicBezTo>
                    <a:pt x="16" y="44"/>
                    <a:pt x="44" y="16"/>
                    <a:pt x="79" y="16"/>
                  </a:cubicBezTo>
                  <a:cubicBezTo>
                    <a:pt x="114" y="16"/>
                    <a:pt x="142" y="44"/>
                    <a:pt x="142" y="79"/>
                  </a:cubicBezTo>
                  <a:cubicBezTo>
                    <a:pt x="142" y="113"/>
                    <a:pt x="114" y="142"/>
                    <a:pt x="79" y="142"/>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1" name="Freeform 909">
              <a:extLst>
                <a:ext uri="{FF2B5EF4-FFF2-40B4-BE49-F238E27FC236}">
                  <a16:creationId xmlns:a16="http://schemas.microsoft.com/office/drawing/2014/main" id="{784D1B4F-39AA-427B-AAE9-DBD060CE89A5}"/>
                </a:ext>
              </a:extLst>
            </p:cNvPr>
            <p:cNvSpPr>
              <a:spLocks noEditPoints="1"/>
            </p:cNvSpPr>
            <p:nvPr/>
          </p:nvSpPr>
          <p:spPr bwMode="auto">
            <a:xfrm>
              <a:off x="2732908" y="3793206"/>
              <a:ext cx="200574" cy="147592"/>
            </a:xfrm>
            <a:custGeom>
              <a:avLst/>
              <a:gdLst>
                <a:gd name="T0" fmla="*/ 309 w 320"/>
                <a:gd name="T1" fmla="*/ 235 h 235"/>
                <a:gd name="T2" fmla="*/ 10 w 320"/>
                <a:gd name="T3" fmla="*/ 235 h 235"/>
                <a:gd name="T4" fmla="*/ 0 w 320"/>
                <a:gd name="T5" fmla="*/ 224 h 235"/>
                <a:gd name="T6" fmla="*/ 0 w 320"/>
                <a:gd name="T7" fmla="*/ 11 h 235"/>
                <a:gd name="T8" fmla="*/ 10 w 320"/>
                <a:gd name="T9" fmla="*/ 0 h 235"/>
                <a:gd name="T10" fmla="*/ 96 w 320"/>
                <a:gd name="T11" fmla="*/ 0 h 235"/>
                <a:gd name="T12" fmla="*/ 105 w 320"/>
                <a:gd name="T13" fmla="*/ 5 h 235"/>
                <a:gd name="T14" fmla="*/ 123 w 320"/>
                <a:gd name="T15" fmla="*/ 32 h 235"/>
                <a:gd name="T16" fmla="*/ 309 w 320"/>
                <a:gd name="T17" fmla="*/ 32 h 235"/>
                <a:gd name="T18" fmla="*/ 320 w 320"/>
                <a:gd name="T19" fmla="*/ 43 h 235"/>
                <a:gd name="T20" fmla="*/ 320 w 320"/>
                <a:gd name="T21" fmla="*/ 224 h 235"/>
                <a:gd name="T22" fmla="*/ 309 w 320"/>
                <a:gd name="T23" fmla="*/ 235 h 235"/>
                <a:gd name="T24" fmla="*/ 21 w 320"/>
                <a:gd name="T25" fmla="*/ 214 h 235"/>
                <a:gd name="T26" fmla="*/ 298 w 320"/>
                <a:gd name="T27" fmla="*/ 214 h 235"/>
                <a:gd name="T28" fmla="*/ 298 w 320"/>
                <a:gd name="T29" fmla="*/ 54 h 235"/>
                <a:gd name="T30" fmla="*/ 117 w 320"/>
                <a:gd name="T31" fmla="*/ 54 h 235"/>
                <a:gd name="T32" fmla="*/ 108 w 320"/>
                <a:gd name="T33" fmla="*/ 49 h 235"/>
                <a:gd name="T34" fmla="*/ 90 w 320"/>
                <a:gd name="T35" fmla="*/ 22 h 235"/>
                <a:gd name="T36" fmla="*/ 21 w 320"/>
                <a:gd name="T37" fmla="*/ 22 h 235"/>
                <a:gd name="T38" fmla="*/ 21 w 320"/>
                <a:gd name="T3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235"/>
                  </a:moveTo>
                  <a:cubicBezTo>
                    <a:pt x="10" y="235"/>
                    <a:pt x="10" y="235"/>
                    <a:pt x="10" y="235"/>
                  </a:cubicBezTo>
                  <a:cubicBezTo>
                    <a:pt x="4" y="235"/>
                    <a:pt x="0" y="230"/>
                    <a:pt x="0" y="224"/>
                  </a:cubicBezTo>
                  <a:cubicBezTo>
                    <a:pt x="0" y="11"/>
                    <a:pt x="0" y="11"/>
                    <a:pt x="0" y="11"/>
                  </a:cubicBezTo>
                  <a:cubicBezTo>
                    <a:pt x="0" y="5"/>
                    <a:pt x="4" y="0"/>
                    <a:pt x="10" y="0"/>
                  </a:cubicBezTo>
                  <a:cubicBezTo>
                    <a:pt x="96" y="0"/>
                    <a:pt x="96" y="0"/>
                    <a:pt x="96" y="0"/>
                  </a:cubicBezTo>
                  <a:cubicBezTo>
                    <a:pt x="99" y="0"/>
                    <a:pt x="103" y="2"/>
                    <a:pt x="105" y="5"/>
                  </a:cubicBezTo>
                  <a:cubicBezTo>
                    <a:pt x="123" y="32"/>
                    <a:pt x="123" y="32"/>
                    <a:pt x="123" y="32"/>
                  </a:cubicBezTo>
                  <a:cubicBezTo>
                    <a:pt x="309" y="32"/>
                    <a:pt x="309" y="32"/>
                    <a:pt x="309" y="32"/>
                  </a:cubicBezTo>
                  <a:cubicBezTo>
                    <a:pt x="315" y="32"/>
                    <a:pt x="320" y="37"/>
                    <a:pt x="320" y="43"/>
                  </a:cubicBezTo>
                  <a:cubicBezTo>
                    <a:pt x="320" y="224"/>
                    <a:pt x="320" y="224"/>
                    <a:pt x="320" y="224"/>
                  </a:cubicBezTo>
                  <a:cubicBezTo>
                    <a:pt x="320" y="230"/>
                    <a:pt x="315" y="235"/>
                    <a:pt x="309" y="235"/>
                  </a:cubicBezTo>
                  <a:close/>
                  <a:moveTo>
                    <a:pt x="21" y="214"/>
                  </a:moveTo>
                  <a:cubicBezTo>
                    <a:pt x="298" y="214"/>
                    <a:pt x="298" y="214"/>
                    <a:pt x="298" y="214"/>
                  </a:cubicBezTo>
                  <a:cubicBezTo>
                    <a:pt x="298" y="54"/>
                    <a:pt x="298" y="54"/>
                    <a:pt x="298" y="54"/>
                  </a:cubicBezTo>
                  <a:cubicBezTo>
                    <a:pt x="117" y="54"/>
                    <a:pt x="117" y="54"/>
                    <a:pt x="117" y="54"/>
                  </a:cubicBezTo>
                  <a:cubicBezTo>
                    <a:pt x="113" y="54"/>
                    <a:pt x="110" y="52"/>
                    <a:pt x="108" y="49"/>
                  </a:cubicBezTo>
                  <a:cubicBezTo>
                    <a:pt x="90" y="22"/>
                    <a:pt x="90" y="22"/>
                    <a:pt x="90" y="22"/>
                  </a:cubicBezTo>
                  <a:cubicBezTo>
                    <a:pt x="21" y="22"/>
                    <a:pt x="21" y="22"/>
                    <a:pt x="21" y="22"/>
                  </a:cubicBezTo>
                  <a:lnTo>
                    <a:pt x="21" y="214"/>
                  </a:lnTo>
                  <a:close/>
                </a:path>
              </a:pathLst>
            </a:custGeom>
            <a:solidFill>
              <a:srgbClr val="009A44"/>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4" name="Group 43"/>
          <p:cNvGrpSpPr/>
          <p:nvPr/>
        </p:nvGrpSpPr>
        <p:grpSpPr>
          <a:xfrm>
            <a:off x="1814569" y="5823997"/>
            <a:ext cx="508292" cy="506982"/>
            <a:chOff x="2344553" y="4054337"/>
            <a:chExt cx="508292" cy="506982"/>
          </a:xfrm>
        </p:grpSpPr>
        <p:sp>
          <p:nvSpPr>
            <p:cNvPr id="20" name="Freeform 21">
              <a:extLst>
                <a:ext uri="{FF2B5EF4-FFF2-40B4-BE49-F238E27FC236}">
                  <a16:creationId xmlns:a16="http://schemas.microsoft.com/office/drawing/2014/main" id="{0CF649DB-EC5F-4DA6-B167-E470F4852181}"/>
                </a:ext>
              </a:extLst>
            </p:cNvPr>
            <p:cNvSpPr>
              <a:spLocks/>
            </p:cNvSpPr>
            <p:nvPr/>
          </p:nvSpPr>
          <p:spPr bwMode="auto">
            <a:xfrm>
              <a:off x="2344553" y="4054337"/>
              <a:ext cx="508292" cy="506982"/>
            </a:xfrm>
            <a:custGeom>
              <a:avLst/>
              <a:gdLst>
                <a:gd name="T0" fmla="*/ 128 w 174"/>
                <a:gd name="T1" fmla="*/ 162 h 174"/>
                <a:gd name="T2" fmla="*/ 136 w 174"/>
                <a:gd name="T3" fmla="*/ 155 h 174"/>
                <a:gd name="T4" fmla="*/ 141 w 174"/>
                <a:gd name="T5" fmla="*/ 152 h 174"/>
                <a:gd name="T6" fmla="*/ 149 w 174"/>
                <a:gd name="T7" fmla="*/ 146 h 174"/>
                <a:gd name="T8" fmla="*/ 145 w 174"/>
                <a:gd name="T9" fmla="*/ 135 h 174"/>
                <a:gd name="T10" fmla="*/ 160 w 174"/>
                <a:gd name="T11" fmla="*/ 133 h 174"/>
                <a:gd name="T12" fmla="*/ 155 w 174"/>
                <a:gd name="T13" fmla="*/ 119 h 174"/>
                <a:gd name="T14" fmla="*/ 167 w 174"/>
                <a:gd name="T15" fmla="*/ 118 h 174"/>
                <a:gd name="T16" fmla="*/ 168 w 174"/>
                <a:gd name="T17" fmla="*/ 108 h 174"/>
                <a:gd name="T18" fmla="*/ 170 w 174"/>
                <a:gd name="T19" fmla="*/ 102 h 174"/>
                <a:gd name="T20" fmla="*/ 173 w 174"/>
                <a:gd name="T21" fmla="*/ 93 h 174"/>
                <a:gd name="T22" fmla="*/ 162 w 174"/>
                <a:gd name="T23" fmla="*/ 86 h 174"/>
                <a:gd name="T24" fmla="*/ 173 w 174"/>
                <a:gd name="T25" fmla="*/ 75 h 174"/>
                <a:gd name="T26" fmla="*/ 160 w 174"/>
                <a:gd name="T27" fmla="*/ 68 h 174"/>
                <a:gd name="T28" fmla="*/ 168 w 174"/>
                <a:gd name="T29" fmla="*/ 59 h 174"/>
                <a:gd name="T30" fmla="*/ 163 w 174"/>
                <a:gd name="T31" fmla="*/ 51 h 174"/>
                <a:gd name="T32" fmla="*/ 160 w 174"/>
                <a:gd name="T33" fmla="*/ 45 h 174"/>
                <a:gd name="T34" fmla="*/ 156 w 174"/>
                <a:gd name="T35" fmla="*/ 36 h 174"/>
                <a:gd name="T36" fmla="*/ 144 w 174"/>
                <a:gd name="T37" fmla="*/ 38 h 174"/>
                <a:gd name="T38" fmla="*/ 145 w 174"/>
                <a:gd name="T39" fmla="*/ 23 h 174"/>
                <a:gd name="T40" fmla="*/ 131 w 174"/>
                <a:gd name="T41" fmla="*/ 25 h 174"/>
                <a:gd name="T42" fmla="*/ 131 w 174"/>
                <a:gd name="T43" fmla="*/ 13 h 174"/>
                <a:gd name="T44" fmla="*/ 122 w 174"/>
                <a:gd name="T45" fmla="*/ 10 h 174"/>
                <a:gd name="T46" fmla="*/ 116 w 174"/>
                <a:gd name="T47" fmla="*/ 8 h 174"/>
                <a:gd name="T48" fmla="*/ 107 w 174"/>
                <a:gd name="T49" fmla="*/ 3 h 174"/>
                <a:gd name="T50" fmla="*/ 99 w 174"/>
                <a:gd name="T51" fmla="*/ 12 h 174"/>
                <a:gd name="T52" fmla="*/ 91 w 174"/>
                <a:gd name="T53" fmla="*/ 0 h 174"/>
                <a:gd name="T54" fmla="*/ 81 w 174"/>
                <a:gd name="T55" fmla="*/ 12 h 174"/>
                <a:gd name="T56" fmla="*/ 74 w 174"/>
                <a:gd name="T57" fmla="*/ 2 h 174"/>
                <a:gd name="T58" fmla="*/ 65 w 174"/>
                <a:gd name="T59" fmla="*/ 6 h 174"/>
                <a:gd name="T60" fmla="*/ 59 w 174"/>
                <a:gd name="T61" fmla="*/ 7 h 174"/>
                <a:gd name="T62" fmla="*/ 49 w 174"/>
                <a:gd name="T63" fmla="*/ 10 h 174"/>
                <a:gd name="T64" fmla="*/ 49 w 174"/>
                <a:gd name="T65" fmla="*/ 22 h 174"/>
                <a:gd name="T66" fmla="*/ 34 w 174"/>
                <a:gd name="T67" fmla="*/ 18 h 174"/>
                <a:gd name="T68" fmla="*/ 34 w 174"/>
                <a:gd name="T69" fmla="*/ 33 h 174"/>
                <a:gd name="T70" fmla="*/ 22 w 174"/>
                <a:gd name="T71" fmla="*/ 30 h 174"/>
                <a:gd name="T72" fmla="*/ 18 w 174"/>
                <a:gd name="T73" fmla="*/ 39 h 174"/>
                <a:gd name="T74" fmla="*/ 14 w 174"/>
                <a:gd name="T75" fmla="*/ 44 h 174"/>
                <a:gd name="T76" fmla="*/ 8 w 174"/>
                <a:gd name="T77" fmla="*/ 52 h 174"/>
                <a:gd name="T78" fmla="*/ 16 w 174"/>
                <a:gd name="T79" fmla="*/ 62 h 174"/>
                <a:gd name="T80" fmla="*/ 2 w 174"/>
                <a:gd name="T81" fmla="*/ 68 h 174"/>
                <a:gd name="T82" fmla="*/ 12 w 174"/>
                <a:gd name="T83" fmla="*/ 80 h 174"/>
                <a:gd name="T84" fmla="*/ 1 w 174"/>
                <a:gd name="T85" fmla="*/ 85 h 174"/>
                <a:gd name="T86" fmla="*/ 3 w 174"/>
                <a:gd name="T87" fmla="*/ 95 h 174"/>
                <a:gd name="T88" fmla="*/ 4 w 174"/>
                <a:gd name="T89" fmla="*/ 101 h 174"/>
                <a:gd name="T90" fmla="*/ 4 w 174"/>
                <a:gd name="T91" fmla="*/ 111 h 174"/>
                <a:gd name="T92" fmla="*/ 16 w 174"/>
                <a:gd name="T93" fmla="*/ 113 h 174"/>
                <a:gd name="T94" fmla="*/ 10 w 174"/>
                <a:gd name="T95" fmla="*/ 127 h 174"/>
                <a:gd name="T96" fmla="*/ 25 w 174"/>
                <a:gd name="T97" fmla="*/ 130 h 174"/>
                <a:gd name="T98" fmla="*/ 20 w 174"/>
                <a:gd name="T99" fmla="*/ 141 h 174"/>
                <a:gd name="T100" fmla="*/ 28 w 174"/>
                <a:gd name="T101" fmla="*/ 147 h 174"/>
                <a:gd name="T102" fmla="*/ 32 w 174"/>
                <a:gd name="T103" fmla="*/ 151 h 174"/>
                <a:gd name="T104" fmla="*/ 39 w 174"/>
                <a:gd name="T105" fmla="*/ 158 h 174"/>
                <a:gd name="T106" fmla="*/ 50 w 174"/>
                <a:gd name="T107" fmla="*/ 152 h 174"/>
                <a:gd name="T108" fmla="*/ 54 w 174"/>
                <a:gd name="T109" fmla="*/ 167 h 174"/>
                <a:gd name="T110" fmla="*/ 67 w 174"/>
                <a:gd name="T111" fmla="*/ 160 h 174"/>
                <a:gd name="T112" fmla="*/ 70 w 174"/>
                <a:gd name="T113" fmla="*/ 171 h 174"/>
                <a:gd name="T114" fmla="*/ 80 w 174"/>
                <a:gd name="T115" fmla="*/ 171 h 174"/>
                <a:gd name="T116" fmla="*/ 86 w 174"/>
                <a:gd name="T117" fmla="*/ 171 h 174"/>
                <a:gd name="T118" fmla="*/ 96 w 174"/>
                <a:gd name="T119" fmla="*/ 172 h 174"/>
                <a:gd name="T120" fmla="*/ 101 w 174"/>
                <a:gd name="T121" fmla="*/ 161 h 174"/>
                <a:gd name="T122" fmla="*/ 113 w 174"/>
                <a:gd name="T123" fmla="*/ 170 h 174"/>
                <a:gd name="T124" fmla="*/ 118 w 174"/>
                <a:gd name="T125" fmla="*/ 15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4" h="174">
                  <a:moveTo>
                    <a:pt x="123" y="163"/>
                  </a:moveTo>
                  <a:cubicBezTo>
                    <a:pt x="124" y="164"/>
                    <a:pt x="124" y="164"/>
                    <a:pt x="125" y="164"/>
                  </a:cubicBezTo>
                  <a:cubicBezTo>
                    <a:pt x="126" y="164"/>
                    <a:pt x="126" y="164"/>
                    <a:pt x="127" y="164"/>
                  </a:cubicBezTo>
                  <a:cubicBezTo>
                    <a:pt x="128" y="163"/>
                    <a:pt x="128" y="163"/>
                    <a:pt x="128" y="162"/>
                  </a:cubicBezTo>
                  <a:cubicBezTo>
                    <a:pt x="129" y="161"/>
                    <a:pt x="129" y="161"/>
                    <a:pt x="128" y="160"/>
                  </a:cubicBezTo>
                  <a:cubicBezTo>
                    <a:pt x="128" y="159"/>
                    <a:pt x="127" y="155"/>
                    <a:pt x="125" y="152"/>
                  </a:cubicBezTo>
                  <a:cubicBezTo>
                    <a:pt x="127" y="151"/>
                    <a:pt x="128" y="150"/>
                    <a:pt x="130" y="149"/>
                  </a:cubicBezTo>
                  <a:cubicBezTo>
                    <a:pt x="132" y="152"/>
                    <a:pt x="135" y="155"/>
                    <a:pt x="136" y="155"/>
                  </a:cubicBezTo>
                  <a:cubicBezTo>
                    <a:pt x="136" y="156"/>
                    <a:pt x="137" y="156"/>
                    <a:pt x="138" y="156"/>
                  </a:cubicBezTo>
                  <a:cubicBezTo>
                    <a:pt x="138" y="156"/>
                    <a:pt x="139" y="156"/>
                    <a:pt x="140" y="156"/>
                  </a:cubicBezTo>
                  <a:cubicBezTo>
                    <a:pt x="140" y="155"/>
                    <a:pt x="141" y="154"/>
                    <a:pt x="141" y="154"/>
                  </a:cubicBezTo>
                  <a:cubicBezTo>
                    <a:pt x="141" y="153"/>
                    <a:pt x="141" y="152"/>
                    <a:pt x="141" y="152"/>
                  </a:cubicBezTo>
                  <a:cubicBezTo>
                    <a:pt x="140" y="151"/>
                    <a:pt x="138" y="147"/>
                    <a:pt x="136" y="144"/>
                  </a:cubicBezTo>
                  <a:cubicBezTo>
                    <a:pt x="137" y="143"/>
                    <a:pt x="139" y="142"/>
                    <a:pt x="140" y="141"/>
                  </a:cubicBezTo>
                  <a:cubicBezTo>
                    <a:pt x="143" y="143"/>
                    <a:pt x="146" y="145"/>
                    <a:pt x="147" y="146"/>
                  </a:cubicBezTo>
                  <a:cubicBezTo>
                    <a:pt x="148" y="146"/>
                    <a:pt x="148" y="146"/>
                    <a:pt x="149" y="146"/>
                  </a:cubicBezTo>
                  <a:cubicBezTo>
                    <a:pt x="150" y="146"/>
                    <a:pt x="150" y="146"/>
                    <a:pt x="151" y="145"/>
                  </a:cubicBezTo>
                  <a:cubicBezTo>
                    <a:pt x="151" y="145"/>
                    <a:pt x="152" y="144"/>
                    <a:pt x="152" y="143"/>
                  </a:cubicBezTo>
                  <a:cubicBezTo>
                    <a:pt x="152" y="143"/>
                    <a:pt x="152" y="142"/>
                    <a:pt x="151" y="141"/>
                  </a:cubicBezTo>
                  <a:cubicBezTo>
                    <a:pt x="150" y="141"/>
                    <a:pt x="148" y="138"/>
                    <a:pt x="145" y="135"/>
                  </a:cubicBezTo>
                  <a:cubicBezTo>
                    <a:pt x="146" y="133"/>
                    <a:pt x="147" y="132"/>
                    <a:pt x="148" y="130"/>
                  </a:cubicBezTo>
                  <a:cubicBezTo>
                    <a:pt x="152" y="132"/>
                    <a:pt x="156" y="134"/>
                    <a:pt x="156" y="134"/>
                  </a:cubicBezTo>
                  <a:cubicBezTo>
                    <a:pt x="157" y="135"/>
                    <a:pt x="158" y="135"/>
                    <a:pt x="158" y="135"/>
                  </a:cubicBezTo>
                  <a:cubicBezTo>
                    <a:pt x="159" y="134"/>
                    <a:pt x="160" y="134"/>
                    <a:pt x="160" y="133"/>
                  </a:cubicBezTo>
                  <a:cubicBezTo>
                    <a:pt x="160" y="133"/>
                    <a:pt x="161" y="132"/>
                    <a:pt x="161" y="131"/>
                  </a:cubicBezTo>
                  <a:cubicBezTo>
                    <a:pt x="160" y="131"/>
                    <a:pt x="160" y="130"/>
                    <a:pt x="160" y="129"/>
                  </a:cubicBezTo>
                  <a:cubicBezTo>
                    <a:pt x="159" y="129"/>
                    <a:pt x="156" y="126"/>
                    <a:pt x="153" y="124"/>
                  </a:cubicBezTo>
                  <a:cubicBezTo>
                    <a:pt x="153" y="122"/>
                    <a:pt x="154" y="121"/>
                    <a:pt x="155" y="119"/>
                  </a:cubicBezTo>
                  <a:cubicBezTo>
                    <a:pt x="159" y="120"/>
                    <a:pt x="163" y="121"/>
                    <a:pt x="164" y="122"/>
                  </a:cubicBezTo>
                  <a:cubicBezTo>
                    <a:pt x="164" y="122"/>
                    <a:pt x="165" y="122"/>
                    <a:pt x="166" y="122"/>
                  </a:cubicBezTo>
                  <a:cubicBezTo>
                    <a:pt x="166" y="121"/>
                    <a:pt x="167" y="121"/>
                    <a:pt x="167" y="120"/>
                  </a:cubicBezTo>
                  <a:cubicBezTo>
                    <a:pt x="167" y="119"/>
                    <a:pt x="167" y="118"/>
                    <a:pt x="167" y="118"/>
                  </a:cubicBezTo>
                  <a:cubicBezTo>
                    <a:pt x="167" y="117"/>
                    <a:pt x="166" y="117"/>
                    <a:pt x="166" y="116"/>
                  </a:cubicBezTo>
                  <a:cubicBezTo>
                    <a:pt x="165" y="116"/>
                    <a:pt x="161" y="114"/>
                    <a:pt x="158" y="112"/>
                  </a:cubicBezTo>
                  <a:cubicBezTo>
                    <a:pt x="159" y="110"/>
                    <a:pt x="159" y="109"/>
                    <a:pt x="160" y="107"/>
                  </a:cubicBezTo>
                  <a:cubicBezTo>
                    <a:pt x="163" y="107"/>
                    <a:pt x="168" y="108"/>
                    <a:pt x="168" y="108"/>
                  </a:cubicBezTo>
                  <a:cubicBezTo>
                    <a:pt x="169" y="108"/>
                    <a:pt x="170" y="108"/>
                    <a:pt x="170" y="107"/>
                  </a:cubicBezTo>
                  <a:cubicBezTo>
                    <a:pt x="171" y="107"/>
                    <a:pt x="171" y="106"/>
                    <a:pt x="172" y="106"/>
                  </a:cubicBezTo>
                  <a:cubicBezTo>
                    <a:pt x="172" y="105"/>
                    <a:pt x="172" y="104"/>
                    <a:pt x="171" y="103"/>
                  </a:cubicBezTo>
                  <a:cubicBezTo>
                    <a:pt x="171" y="103"/>
                    <a:pt x="170" y="102"/>
                    <a:pt x="170" y="102"/>
                  </a:cubicBezTo>
                  <a:cubicBezTo>
                    <a:pt x="169" y="102"/>
                    <a:pt x="165" y="101"/>
                    <a:pt x="161" y="99"/>
                  </a:cubicBezTo>
                  <a:cubicBezTo>
                    <a:pt x="162" y="98"/>
                    <a:pt x="162" y="96"/>
                    <a:pt x="162" y="94"/>
                  </a:cubicBezTo>
                  <a:cubicBezTo>
                    <a:pt x="166" y="94"/>
                    <a:pt x="170" y="93"/>
                    <a:pt x="171" y="93"/>
                  </a:cubicBezTo>
                  <a:cubicBezTo>
                    <a:pt x="172" y="93"/>
                    <a:pt x="172" y="93"/>
                    <a:pt x="173" y="93"/>
                  </a:cubicBezTo>
                  <a:cubicBezTo>
                    <a:pt x="173" y="92"/>
                    <a:pt x="173" y="91"/>
                    <a:pt x="174" y="91"/>
                  </a:cubicBezTo>
                  <a:cubicBezTo>
                    <a:pt x="174" y="90"/>
                    <a:pt x="173" y="89"/>
                    <a:pt x="173" y="89"/>
                  </a:cubicBezTo>
                  <a:cubicBezTo>
                    <a:pt x="172" y="88"/>
                    <a:pt x="172" y="87"/>
                    <a:pt x="171" y="87"/>
                  </a:cubicBezTo>
                  <a:cubicBezTo>
                    <a:pt x="170" y="87"/>
                    <a:pt x="166" y="87"/>
                    <a:pt x="162" y="86"/>
                  </a:cubicBezTo>
                  <a:cubicBezTo>
                    <a:pt x="162" y="84"/>
                    <a:pt x="162" y="83"/>
                    <a:pt x="162" y="81"/>
                  </a:cubicBezTo>
                  <a:cubicBezTo>
                    <a:pt x="166" y="80"/>
                    <a:pt x="170" y="79"/>
                    <a:pt x="171" y="79"/>
                  </a:cubicBezTo>
                  <a:cubicBezTo>
                    <a:pt x="171" y="79"/>
                    <a:pt x="172" y="78"/>
                    <a:pt x="172" y="78"/>
                  </a:cubicBezTo>
                  <a:cubicBezTo>
                    <a:pt x="173" y="77"/>
                    <a:pt x="173" y="76"/>
                    <a:pt x="173" y="75"/>
                  </a:cubicBezTo>
                  <a:cubicBezTo>
                    <a:pt x="173" y="75"/>
                    <a:pt x="172" y="74"/>
                    <a:pt x="172" y="74"/>
                  </a:cubicBezTo>
                  <a:cubicBezTo>
                    <a:pt x="171" y="73"/>
                    <a:pt x="171" y="73"/>
                    <a:pt x="170" y="73"/>
                  </a:cubicBezTo>
                  <a:cubicBezTo>
                    <a:pt x="169" y="73"/>
                    <a:pt x="165" y="73"/>
                    <a:pt x="161" y="73"/>
                  </a:cubicBezTo>
                  <a:cubicBezTo>
                    <a:pt x="161" y="71"/>
                    <a:pt x="160" y="70"/>
                    <a:pt x="160" y="68"/>
                  </a:cubicBezTo>
                  <a:cubicBezTo>
                    <a:pt x="163" y="66"/>
                    <a:pt x="167" y="65"/>
                    <a:pt x="168" y="64"/>
                  </a:cubicBezTo>
                  <a:cubicBezTo>
                    <a:pt x="169" y="64"/>
                    <a:pt x="169" y="63"/>
                    <a:pt x="169" y="63"/>
                  </a:cubicBezTo>
                  <a:cubicBezTo>
                    <a:pt x="170" y="62"/>
                    <a:pt x="170" y="61"/>
                    <a:pt x="170" y="61"/>
                  </a:cubicBezTo>
                  <a:cubicBezTo>
                    <a:pt x="169" y="60"/>
                    <a:pt x="169" y="59"/>
                    <a:pt x="168" y="59"/>
                  </a:cubicBezTo>
                  <a:cubicBezTo>
                    <a:pt x="168" y="59"/>
                    <a:pt x="167" y="58"/>
                    <a:pt x="166" y="59"/>
                  </a:cubicBezTo>
                  <a:cubicBezTo>
                    <a:pt x="165" y="59"/>
                    <a:pt x="161" y="60"/>
                    <a:pt x="158" y="60"/>
                  </a:cubicBezTo>
                  <a:cubicBezTo>
                    <a:pt x="157" y="59"/>
                    <a:pt x="156" y="57"/>
                    <a:pt x="156" y="55"/>
                  </a:cubicBezTo>
                  <a:cubicBezTo>
                    <a:pt x="159" y="53"/>
                    <a:pt x="162" y="51"/>
                    <a:pt x="163" y="51"/>
                  </a:cubicBezTo>
                  <a:cubicBezTo>
                    <a:pt x="164" y="50"/>
                    <a:pt x="164" y="49"/>
                    <a:pt x="164" y="49"/>
                  </a:cubicBezTo>
                  <a:cubicBezTo>
                    <a:pt x="164" y="48"/>
                    <a:pt x="164" y="47"/>
                    <a:pt x="164" y="47"/>
                  </a:cubicBezTo>
                  <a:cubicBezTo>
                    <a:pt x="163" y="46"/>
                    <a:pt x="163" y="46"/>
                    <a:pt x="162" y="45"/>
                  </a:cubicBezTo>
                  <a:cubicBezTo>
                    <a:pt x="162" y="45"/>
                    <a:pt x="161" y="45"/>
                    <a:pt x="160" y="45"/>
                  </a:cubicBezTo>
                  <a:cubicBezTo>
                    <a:pt x="159" y="46"/>
                    <a:pt x="155" y="47"/>
                    <a:pt x="152" y="49"/>
                  </a:cubicBezTo>
                  <a:cubicBezTo>
                    <a:pt x="151" y="47"/>
                    <a:pt x="150" y="45"/>
                    <a:pt x="149" y="44"/>
                  </a:cubicBezTo>
                  <a:cubicBezTo>
                    <a:pt x="152" y="41"/>
                    <a:pt x="155" y="38"/>
                    <a:pt x="155" y="38"/>
                  </a:cubicBezTo>
                  <a:cubicBezTo>
                    <a:pt x="156" y="37"/>
                    <a:pt x="156" y="37"/>
                    <a:pt x="156" y="36"/>
                  </a:cubicBezTo>
                  <a:cubicBezTo>
                    <a:pt x="156" y="35"/>
                    <a:pt x="156" y="35"/>
                    <a:pt x="156" y="34"/>
                  </a:cubicBezTo>
                  <a:cubicBezTo>
                    <a:pt x="155" y="33"/>
                    <a:pt x="155" y="33"/>
                    <a:pt x="154" y="33"/>
                  </a:cubicBezTo>
                  <a:cubicBezTo>
                    <a:pt x="153" y="33"/>
                    <a:pt x="152" y="33"/>
                    <a:pt x="152" y="33"/>
                  </a:cubicBezTo>
                  <a:cubicBezTo>
                    <a:pt x="151" y="34"/>
                    <a:pt x="148" y="36"/>
                    <a:pt x="144" y="38"/>
                  </a:cubicBezTo>
                  <a:cubicBezTo>
                    <a:pt x="143" y="36"/>
                    <a:pt x="142" y="35"/>
                    <a:pt x="141" y="34"/>
                  </a:cubicBezTo>
                  <a:cubicBezTo>
                    <a:pt x="143" y="31"/>
                    <a:pt x="145" y="27"/>
                    <a:pt x="146" y="27"/>
                  </a:cubicBezTo>
                  <a:cubicBezTo>
                    <a:pt x="146" y="26"/>
                    <a:pt x="146" y="25"/>
                    <a:pt x="146" y="25"/>
                  </a:cubicBezTo>
                  <a:cubicBezTo>
                    <a:pt x="146" y="24"/>
                    <a:pt x="146" y="23"/>
                    <a:pt x="145" y="23"/>
                  </a:cubicBezTo>
                  <a:cubicBezTo>
                    <a:pt x="145" y="22"/>
                    <a:pt x="144" y="22"/>
                    <a:pt x="144" y="22"/>
                  </a:cubicBezTo>
                  <a:cubicBezTo>
                    <a:pt x="143" y="22"/>
                    <a:pt x="142" y="22"/>
                    <a:pt x="142" y="23"/>
                  </a:cubicBezTo>
                  <a:cubicBezTo>
                    <a:pt x="141" y="23"/>
                    <a:pt x="138" y="26"/>
                    <a:pt x="135" y="29"/>
                  </a:cubicBezTo>
                  <a:cubicBezTo>
                    <a:pt x="134" y="27"/>
                    <a:pt x="132" y="26"/>
                    <a:pt x="131" y="25"/>
                  </a:cubicBezTo>
                  <a:cubicBezTo>
                    <a:pt x="132" y="22"/>
                    <a:pt x="134" y="18"/>
                    <a:pt x="135" y="17"/>
                  </a:cubicBezTo>
                  <a:cubicBezTo>
                    <a:pt x="135" y="17"/>
                    <a:pt x="135" y="16"/>
                    <a:pt x="135" y="15"/>
                  </a:cubicBezTo>
                  <a:cubicBezTo>
                    <a:pt x="135" y="15"/>
                    <a:pt x="134" y="14"/>
                    <a:pt x="133" y="14"/>
                  </a:cubicBezTo>
                  <a:cubicBezTo>
                    <a:pt x="133" y="13"/>
                    <a:pt x="132" y="13"/>
                    <a:pt x="131" y="13"/>
                  </a:cubicBezTo>
                  <a:cubicBezTo>
                    <a:pt x="131" y="13"/>
                    <a:pt x="130" y="14"/>
                    <a:pt x="130" y="14"/>
                  </a:cubicBezTo>
                  <a:cubicBezTo>
                    <a:pt x="129" y="15"/>
                    <a:pt x="126" y="18"/>
                    <a:pt x="124" y="21"/>
                  </a:cubicBezTo>
                  <a:cubicBezTo>
                    <a:pt x="123" y="20"/>
                    <a:pt x="121" y="19"/>
                    <a:pt x="119" y="19"/>
                  </a:cubicBezTo>
                  <a:cubicBezTo>
                    <a:pt x="120" y="15"/>
                    <a:pt x="122" y="11"/>
                    <a:pt x="122" y="10"/>
                  </a:cubicBezTo>
                  <a:cubicBezTo>
                    <a:pt x="122" y="9"/>
                    <a:pt x="122" y="9"/>
                    <a:pt x="122" y="8"/>
                  </a:cubicBezTo>
                  <a:cubicBezTo>
                    <a:pt x="121" y="7"/>
                    <a:pt x="121" y="7"/>
                    <a:pt x="120" y="7"/>
                  </a:cubicBezTo>
                  <a:cubicBezTo>
                    <a:pt x="119" y="6"/>
                    <a:pt x="119" y="6"/>
                    <a:pt x="118" y="7"/>
                  </a:cubicBezTo>
                  <a:cubicBezTo>
                    <a:pt x="117" y="7"/>
                    <a:pt x="117" y="7"/>
                    <a:pt x="116" y="8"/>
                  </a:cubicBezTo>
                  <a:cubicBezTo>
                    <a:pt x="116" y="9"/>
                    <a:pt x="114" y="12"/>
                    <a:pt x="112" y="16"/>
                  </a:cubicBezTo>
                  <a:cubicBezTo>
                    <a:pt x="110" y="15"/>
                    <a:pt x="109" y="15"/>
                    <a:pt x="107" y="14"/>
                  </a:cubicBezTo>
                  <a:cubicBezTo>
                    <a:pt x="107" y="10"/>
                    <a:pt x="108" y="6"/>
                    <a:pt x="108" y="5"/>
                  </a:cubicBezTo>
                  <a:cubicBezTo>
                    <a:pt x="108" y="4"/>
                    <a:pt x="108" y="4"/>
                    <a:pt x="107" y="3"/>
                  </a:cubicBezTo>
                  <a:cubicBezTo>
                    <a:pt x="107" y="3"/>
                    <a:pt x="106" y="2"/>
                    <a:pt x="106" y="2"/>
                  </a:cubicBezTo>
                  <a:cubicBezTo>
                    <a:pt x="105" y="2"/>
                    <a:pt x="104" y="2"/>
                    <a:pt x="104" y="2"/>
                  </a:cubicBezTo>
                  <a:cubicBezTo>
                    <a:pt x="103" y="3"/>
                    <a:pt x="102" y="3"/>
                    <a:pt x="102" y="4"/>
                  </a:cubicBezTo>
                  <a:cubicBezTo>
                    <a:pt x="102" y="5"/>
                    <a:pt x="101" y="9"/>
                    <a:pt x="99" y="12"/>
                  </a:cubicBezTo>
                  <a:cubicBezTo>
                    <a:pt x="98" y="12"/>
                    <a:pt x="96" y="12"/>
                    <a:pt x="94" y="12"/>
                  </a:cubicBezTo>
                  <a:cubicBezTo>
                    <a:pt x="94" y="8"/>
                    <a:pt x="94" y="4"/>
                    <a:pt x="94" y="3"/>
                  </a:cubicBezTo>
                  <a:cubicBezTo>
                    <a:pt x="94" y="2"/>
                    <a:pt x="93" y="1"/>
                    <a:pt x="93" y="1"/>
                  </a:cubicBezTo>
                  <a:cubicBezTo>
                    <a:pt x="92" y="0"/>
                    <a:pt x="91" y="0"/>
                    <a:pt x="91" y="0"/>
                  </a:cubicBezTo>
                  <a:cubicBezTo>
                    <a:pt x="90" y="0"/>
                    <a:pt x="89" y="0"/>
                    <a:pt x="89" y="1"/>
                  </a:cubicBezTo>
                  <a:cubicBezTo>
                    <a:pt x="88" y="1"/>
                    <a:pt x="88" y="2"/>
                    <a:pt x="88" y="3"/>
                  </a:cubicBezTo>
                  <a:cubicBezTo>
                    <a:pt x="87" y="3"/>
                    <a:pt x="87" y="8"/>
                    <a:pt x="86" y="11"/>
                  </a:cubicBezTo>
                  <a:cubicBezTo>
                    <a:pt x="85" y="11"/>
                    <a:pt x="83" y="11"/>
                    <a:pt x="81" y="12"/>
                  </a:cubicBezTo>
                  <a:cubicBezTo>
                    <a:pt x="80" y="8"/>
                    <a:pt x="79" y="4"/>
                    <a:pt x="79" y="3"/>
                  </a:cubicBezTo>
                  <a:cubicBezTo>
                    <a:pt x="79" y="2"/>
                    <a:pt x="78" y="2"/>
                    <a:pt x="78" y="1"/>
                  </a:cubicBezTo>
                  <a:cubicBezTo>
                    <a:pt x="77" y="1"/>
                    <a:pt x="76" y="1"/>
                    <a:pt x="76" y="1"/>
                  </a:cubicBezTo>
                  <a:cubicBezTo>
                    <a:pt x="75" y="1"/>
                    <a:pt x="74" y="1"/>
                    <a:pt x="74" y="2"/>
                  </a:cubicBezTo>
                  <a:cubicBezTo>
                    <a:pt x="73" y="2"/>
                    <a:pt x="73" y="3"/>
                    <a:pt x="73" y="4"/>
                  </a:cubicBezTo>
                  <a:cubicBezTo>
                    <a:pt x="73" y="5"/>
                    <a:pt x="73" y="9"/>
                    <a:pt x="73" y="12"/>
                  </a:cubicBezTo>
                  <a:cubicBezTo>
                    <a:pt x="71" y="13"/>
                    <a:pt x="70" y="13"/>
                    <a:pt x="68" y="14"/>
                  </a:cubicBezTo>
                  <a:cubicBezTo>
                    <a:pt x="66" y="10"/>
                    <a:pt x="65" y="6"/>
                    <a:pt x="65" y="6"/>
                  </a:cubicBezTo>
                  <a:cubicBezTo>
                    <a:pt x="64" y="5"/>
                    <a:pt x="64" y="4"/>
                    <a:pt x="63" y="4"/>
                  </a:cubicBezTo>
                  <a:cubicBezTo>
                    <a:pt x="62" y="4"/>
                    <a:pt x="62" y="4"/>
                    <a:pt x="61" y="4"/>
                  </a:cubicBezTo>
                  <a:cubicBezTo>
                    <a:pt x="60" y="4"/>
                    <a:pt x="60" y="5"/>
                    <a:pt x="59" y="5"/>
                  </a:cubicBezTo>
                  <a:cubicBezTo>
                    <a:pt x="59" y="6"/>
                    <a:pt x="59" y="7"/>
                    <a:pt x="59" y="7"/>
                  </a:cubicBezTo>
                  <a:cubicBezTo>
                    <a:pt x="59" y="8"/>
                    <a:pt x="60" y="12"/>
                    <a:pt x="61" y="16"/>
                  </a:cubicBezTo>
                  <a:cubicBezTo>
                    <a:pt x="59" y="17"/>
                    <a:pt x="57" y="17"/>
                    <a:pt x="56" y="18"/>
                  </a:cubicBezTo>
                  <a:cubicBezTo>
                    <a:pt x="54" y="15"/>
                    <a:pt x="51" y="11"/>
                    <a:pt x="51" y="11"/>
                  </a:cubicBezTo>
                  <a:cubicBezTo>
                    <a:pt x="50" y="10"/>
                    <a:pt x="50" y="10"/>
                    <a:pt x="49" y="10"/>
                  </a:cubicBezTo>
                  <a:cubicBezTo>
                    <a:pt x="48" y="9"/>
                    <a:pt x="48" y="9"/>
                    <a:pt x="47" y="10"/>
                  </a:cubicBezTo>
                  <a:cubicBezTo>
                    <a:pt x="46" y="10"/>
                    <a:pt x="46" y="11"/>
                    <a:pt x="46" y="11"/>
                  </a:cubicBezTo>
                  <a:cubicBezTo>
                    <a:pt x="45" y="12"/>
                    <a:pt x="45" y="13"/>
                    <a:pt x="46" y="14"/>
                  </a:cubicBezTo>
                  <a:cubicBezTo>
                    <a:pt x="46" y="14"/>
                    <a:pt x="47" y="18"/>
                    <a:pt x="49" y="22"/>
                  </a:cubicBezTo>
                  <a:cubicBezTo>
                    <a:pt x="47" y="23"/>
                    <a:pt x="46" y="24"/>
                    <a:pt x="44" y="25"/>
                  </a:cubicBezTo>
                  <a:cubicBezTo>
                    <a:pt x="42" y="22"/>
                    <a:pt x="39" y="19"/>
                    <a:pt x="38" y="18"/>
                  </a:cubicBezTo>
                  <a:cubicBezTo>
                    <a:pt x="38" y="18"/>
                    <a:pt x="37" y="17"/>
                    <a:pt x="36" y="17"/>
                  </a:cubicBezTo>
                  <a:cubicBezTo>
                    <a:pt x="35" y="17"/>
                    <a:pt x="35" y="18"/>
                    <a:pt x="34" y="18"/>
                  </a:cubicBezTo>
                  <a:cubicBezTo>
                    <a:pt x="34" y="18"/>
                    <a:pt x="33" y="19"/>
                    <a:pt x="33" y="20"/>
                  </a:cubicBezTo>
                  <a:cubicBezTo>
                    <a:pt x="33" y="20"/>
                    <a:pt x="33" y="21"/>
                    <a:pt x="33" y="22"/>
                  </a:cubicBezTo>
                  <a:cubicBezTo>
                    <a:pt x="34" y="23"/>
                    <a:pt x="36" y="26"/>
                    <a:pt x="38" y="29"/>
                  </a:cubicBezTo>
                  <a:cubicBezTo>
                    <a:pt x="37" y="31"/>
                    <a:pt x="35" y="32"/>
                    <a:pt x="34" y="33"/>
                  </a:cubicBezTo>
                  <a:cubicBezTo>
                    <a:pt x="31" y="31"/>
                    <a:pt x="28" y="28"/>
                    <a:pt x="27" y="28"/>
                  </a:cubicBezTo>
                  <a:cubicBezTo>
                    <a:pt x="26" y="27"/>
                    <a:pt x="26" y="27"/>
                    <a:pt x="25" y="27"/>
                  </a:cubicBezTo>
                  <a:cubicBezTo>
                    <a:pt x="24" y="27"/>
                    <a:pt x="24" y="28"/>
                    <a:pt x="23" y="28"/>
                  </a:cubicBezTo>
                  <a:cubicBezTo>
                    <a:pt x="23" y="29"/>
                    <a:pt x="22" y="29"/>
                    <a:pt x="22" y="30"/>
                  </a:cubicBezTo>
                  <a:cubicBezTo>
                    <a:pt x="22" y="31"/>
                    <a:pt x="22" y="32"/>
                    <a:pt x="23" y="32"/>
                  </a:cubicBezTo>
                  <a:cubicBezTo>
                    <a:pt x="24" y="33"/>
                    <a:pt x="26" y="36"/>
                    <a:pt x="29" y="39"/>
                  </a:cubicBezTo>
                  <a:cubicBezTo>
                    <a:pt x="28" y="40"/>
                    <a:pt x="27" y="42"/>
                    <a:pt x="26" y="43"/>
                  </a:cubicBezTo>
                  <a:cubicBezTo>
                    <a:pt x="22" y="41"/>
                    <a:pt x="18" y="39"/>
                    <a:pt x="18" y="39"/>
                  </a:cubicBezTo>
                  <a:cubicBezTo>
                    <a:pt x="17" y="39"/>
                    <a:pt x="16" y="39"/>
                    <a:pt x="16" y="39"/>
                  </a:cubicBezTo>
                  <a:cubicBezTo>
                    <a:pt x="15" y="39"/>
                    <a:pt x="14" y="40"/>
                    <a:pt x="14" y="40"/>
                  </a:cubicBezTo>
                  <a:cubicBezTo>
                    <a:pt x="14" y="41"/>
                    <a:pt x="13" y="42"/>
                    <a:pt x="13" y="42"/>
                  </a:cubicBezTo>
                  <a:cubicBezTo>
                    <a:pt x="14" y="43"/>
                    <a:pt x="14" y="44"/>
                    <a:pt x="14" y="44"/>
                  </a:cubicBezTo>
                  <a:cubicBezTo>
                    <a:pt x="15" y="45"/>
                    <a:pt x="18" y="47"/>
                    <a:pt x="21" y="50"/>
                  </a:cubicBezTo>
                  <a:cubicBezTo>
                    <a:pt x="21" y="51"/>
                    <a:pt x="20" y="53"/>
                    <a:pt x="19" y="54"/>
                  </a:cubicBezTo>
                  <a:cubicBezTo>
                    <a:pt x="15" y="53"/>
                    <a:pt x="11" y="52"/>
                    <a:pt x="10" y="52"/>
                  </a:cubicBezTo>
                  <a:cubicBezTo>
                    <a:pt x="10" y="52"/>
                    <a:pt x="9" y="52"/>
                    <a:pt x="8" y="52"/>
                  </a:cubicBezTo>
                  <a:cubicBezTo>
                    <a:pt x="8" y="52"/>
                    <a:pt x="7" y="53"/>
                    <a:pt x="7" y="54"/>
                  </a:cubicBezTo>
                  <a:cubicBezTo>
                    <a:pt x="7" y="54"/>
                    <a:pt x="7" y="55"/>
                    <a:pt x="7" y="56"/>
                  </a:cubicBezTo>
                  <a:cubicBezTo>
                    <a:pt x="7" y="56"/>
                    <a:pt x="7" y="57"/>
                    <a:pt x="8" y="57"/>
                  </a:cubicBezTo>
                  <a:cubicBezTo>
                    <a:pt x="9" y="58"/>
                    <a:pt x="13" y="60"/>
                    <a:pt x="16" y="62"/>
                  </a:cubicBezTo>
                  <a:cubicBezTo>
                    <a:pt x="15" y="63"/>
                    <a:pt x="15" y="65"/>
                    <a:pt x="14" y="67"/>
                  </a:cubicBezTo>
                  <a:cubicBezTo>
                    <a:pt x="11" y="66"/>
                    <a:pt x="6" y="66"/>
                    <a:pt x="6" y="66"/>
                  </a:cubicBezTo>
                  <a:cubicBezTo>
                    <a:pt x="5" y="66"/>
                    <a:pt x="4" y="66"/>
                    <a:pt x="4" y="66"/>
                  </a:cubicBezTo>
                  <a:cubicBezTo>
                    <a:pt x="3" y="67"/>
                    <a:pt x="3" y="67"/>
                    <a:pt x="2" y="68"/>
                  </a:cubicBezTo>
                  <a:cubicBezTo>
                    <a:pt x="2" y="69"/>
                    <a:pt x="2" y="70"/>
                    <a:pt x="3" y="70"/>
                  </a:cubicBezTo>
                  <a:cubicBezTo>
                    <a:pt x="3" y="71"/>
                    <a:pt x="4" y="71"/>
                    <a:pt x="4" y="71"/>
                  </a:cubicBezTo>
                  <a:cubicBezTo>
                    <a:pt x="5" y="72"/>
                    <a:pt x="9" y="73"/>
                    <a:pt x="13" y="74"/>
                  </a:cubicBezTo>
                  <a:cubicBezTo>
                    <a:pt x="12" y="76"/>
                    <a:pt x="12" y="78"/>
                    <a:pt x="12" y="80"/>
                  </a:cubicBezTo>
                  <a:cubicBezTo>
                    <a:pt x="8" y="80"/>
                    <a:pt x="4" y="80"/>
                    <a:pt x="3" y="80"/>
                  </a:cubicBezTo>
                  <a:cubicBezTo>
                    <a:pt x="2" y="80"/>
                    <a:pt x="2" y="81"/>
                    <a:pt x="1" y="81"/>
                  </a:cubicBezTo>
                  <a:cubicBezTo>
                    <a:pt x="1" y="82"/>
                    <a:pt x="0" y="82"/>
                    <a:pt x="0" y="83"/>
                  </a:cubicBezTo>
                  <a:cubicBezTo>
                    <a:pt x="0" y="84"/>
                    <a:pt x="1" y="85"/>
                    <a:pt x="1" y="85"/>
                  </a:cubicBezTo>
                  <a:cubicBezTo>
                    <a:pt x="2" y="86"/>
                    <a:pt x="2" y="86"/>
                    <a:pt x="3" y="86"/>
                  </a:cubicBezTo>
                  <a:cubicBezTo>
                    <a:pt x="4" y="86"/>
                    <a:pt x="8" y="87"/>
                    <a:pt x="12" y="87"/>
                  </a:cubicBezTo>
                  <a:cubicBezTo>
                    <a:pt x="12" y="89"/>
                    <a:pt x="12" y="91"/>
                    <a:pt x="12" y="93"/>
                  </a:cubicBezTo>
                  <a:cubicBezTo>
                    <a:pt x="8" y="94"/>
                    <a:pt x="4" y="95"/>
                    <a:pt x="3" y="95"/>
                  </a:cubicBezTo>
                  <a:cubicBezTo>
                    <a:pt x="3" y="95"/>
                    <a:pt x="2" y="95"/>
                    <a:pt x="2" y="96"/>
                  </a:cubicBezTo>
                  <a:cubicBezTo>
                    <a:pt x="1" y="97"/>
                    <a:pt x="1" y="97"/>
                    <a:pt x="1" y="98"/>
                  </a:cubicBezTo>
                  <a:cubicBezTo>
                    <a:pt x="1" y="99"/>
                    <a:pt x="2" y="99"/>
                    <a:pt x="2" y="100"/>
                  </a:cubicBezTo>
                  <a:cubicBezTo>
                    <a:pt x="3" y="101"/>
                    <a:pt x="3" y="101"/>
                    <a:pt x="4" y="101"/>
                  </a:cubicBezTo>
                  <a:cubicBezTo>
                    <a:pt x="5" y="101"/>
                    <a:pt x="9" y="101"/>
                    <a:pt x="13" y="100"/>
                  </a:cubicBezTo>
                  <a:cubicBezTo>
                    <a:pt x="13" y="102"/>
                    <a:pt x="14" y="104"/>
                    <a:pt x="14" y="106"/>
                  </a:cubicBezTo>
                  <a:cubicBezTo>
                    <a:pt x="11" y="107"/>
                    <a:pt x="7" y="109"/>
                    <a:pt x="6" y="109"/>
                  </a:cubicBezTo>
                  <a:cubicBezTo>
                    <a:pt x="5" y="110"/>
                    <a:pt x="5" y="110"/>
                    <a:pt x="4" y="111"/>
                  </a:cubicBezTo>
                  <a:cubicBezTo>
                    <a:pt x="4" y="111"/>
                    <a:pt x="4" y="112"/>
                    <a:pt x="4" y="113"/>
                  </a:cubicBezTo>
                  <a:cubicBezTo>
                    <a:pt x="5" y="114"/>
                    <a:pt x="5" y="114"/>
                    <a:pt x="6" y="115"/>
                  </a:cubicBezTo>
                  <a:cubicBezTo>
                    <a:pt x="6" y="115"/>
                    <a:pt x="7" y="115"/>
                    <a:pt x="8" y="115"/>
                  </a:cubicBezTo>
                  <a:cubicBezTo>
                    <a:pt x="9" y="115"/>
                    <a:pt x="13" y="114"/>
                    <a:pt x="16" y="113"/>
                  </a:cubicBezTo>
                  <a:cubicBezTo>
                    <a:pt x="17" y="115"/>
                    <a:pt x="18" y="117"/>
                    <a:pt x="18" y="118"/>
                  </a:cubicBezTo>
                  <a:cubicBezTo>
                    <a:pt x="15" y="120"/>
                    <a:pt x="12" y="123"/>
                    <a:pt x="11" y="123"/>
                  </a:cubicBezTo>
                  <a:cubicBezTo>
                    <a:pt x="10" y="123"/>
                    <a:pt x="10" y="124"/>
                    <a:pt x="10" y="125"/>
                  </a:cubicBezTo>
                  <a:cubicBezTo>
                    <a:pt x="10" y="125"/>
                    <a:pt x="10" y="126"/>
                    <a:pt x="10" y="127"/>
                  </a:cubicBezTo>
                  <a:cubicBezTo>
                    <a:pt x="10" y="127"/>
                    <a:pt x="11" y="128"/>
                    <a:pt x="12" y="128"/>
                  </a:cubicBezTo>
                  <a:cubicBezTo>
                    <a:pt x="12" y="129"/>
                    <a:pt x="13" y="129"/>
                    <a:pt x="14" y="128"/>
                  </a:cubicBezTo>
                  <a:cubicBezTo>
                    <a:pt x="15" y="128"/>
                    <a:pt x="19" y="126"/>
                    <a:pt x="22" y="125"/>
                  </a:cubicBezTo>
                  <a:cubicBezTo>
                    <a:pt x="23" y="127"/>
                    <a:pt x="24" y="128"/>
                    <a:pt x="25" y="130"/>
                  </a:cubicBezTo>
                  <a:cubicBezTo>
                    <a:pt x="22" y="132"/>
                    <a:pt x="19" y="135"/>
                    <a:pt x="19" y="136"/>
                  </a:cubicBezTo>
                  <a:cubicBezTo>
                    <a:pt x="18" y="136"/>
                    <a:pt x="18" y="137"/>
                    <a:pt x="18" y="138"/>
                  </a:cubicBezTo>
                  <a:cubicBezTo>
                    <a:pt x="18" y="138"/>
                    <a:pt x="18" y="139"/>
                    <a:pt x="18" y="140"/>
                  </a:cubicBezTo>
                  <a:cubicBezTo>
                    <a:pt x="19" y="140"/>
                    <a:pt x="19" y="141"/>
                    <a:pt x="20" y="141"/>
                  </a:cubicBezTo>
                  <a:cubicBezTo>
                    <a:pt x="21" y="141"/>
                    <a:pt x="22" y="141"/>
                    <a:pt x="22" y="140"/>
                  </a:cubicBezTo>
                  <a:cubicBezTo>
                    <a:pt x="23" y="140"/>
                    <a:pt x="26" y="138"/>
                    <a:pt x="30" y="136"/>
                  </a:cubicBezTo>
                  <a:cubicBezTo>
                    <a:pt x="31" y="137"/>
                    <a:pt x="32" y="138"/>
                    <a:pt x="33" y="140"/>
                  </a:cubicBezTo>
                  <a:cubicBezTo>
                    <a:pt x="31" y="143"/>
                    <a:pt x="29" y="146"/>
                    <a:pt x="28" y="147"/>
                  </a:cubicBezTo>
                  <a:cubicBezTo>
                    <a:pt x="28" y="147"/>
                    <a:pt x="27" y="148"/>
                    <a:pt x="27" y="149"/>
                  </a:cubicBezTo>
                  <a:cubicBezTo>
                    <a:pt x="28" y="150"/>
                    <a:pt x="28" y="150"/>
                    <a:pt x="29" y="151"/>
                  </a:cubicBezTo>
                  <a:cubicBezTo>
                    <a:pt x="29" y="151"/>
                    <a:pt x="30" y="152"/>
                    <a:pt x="30" y="152"/>
                  </a:cubicBezTo>
                  <a:cubicBezTo>
                    <a:pt x="31" y="152"/>
                    <a:pt x="32" y="151"/>
                    <a:pt x="32" y="151"/>
                  </a:cubicBezTo>
                  <a:cubicBezTo>
                    <a:pt x="33" y="150"/>
                    <a:pt x="36" y="148"/>
                    <a:pt x="39" y="145"/>
                  </a:cubicBezTo>
                  <a:cubicBezTo>
                    <a:pt x="40" y="146"/>
                    <a:pt x="42" y="147"/>
                    <a:pt x="43" y="148"/>
                  </a:cubicBezTo>
                  <a:cubicBezTo>
                    <a:pt x="42" y="152"/>
                    <a:pt x="40" y="155"/>
                    <a:pt x="39" y="156"/>
                  </a:cubicBezTo>
                  <a:cubicBezTo>
                    <a:pt x="39" y="157"/>
                    <a:pt x="39" y="158"/>
                    <a:pt x="39" y="158"/>
                  </a:cubicBezTo>
                  <a:cubicBezTo>
                    <a:pt x="39" y="159"/>
                    <a:pt x="40" y="160"/>
                    <a:pt x="41" y="160"/>
                  </a:cubicBezTo>
                  <a:cubicBezTo>
                    <a:pt x="41" y="160"/>
                    <a:pt x="42" y="161"/>
                    <a:pt x="43" y="160"/>
                  </a:cubicBezTo>
                  <a:cubicBezTo>
                    <a:pt x="43" y="160"/>
                    <a:pt x="44" y="160"/>
                    <a:pt x="44" y="159"/>
                  </a:cubicBezTo>
                  <a:cubicBezTo>
                    <a:pt x="45" y="159"/>
                    <a:pt x="47" y="155"/>
                    <a:pt x="50" y="152"/>
                  </a:cubicBezTo>
                  <a:cubicBezTo>
                    <a:pt x="51" y="153"/>
                    <a:pt x="53" y="154"/>
                    <a:pt x="55" y="155"/>
                  </a:cubicBezTo>
                  <a:cubicBezTo>
                    <a:pt x="54" y="159"/>
                    <a:pt x="52" y="163"/>
                    <a:pt x="52" y="163"/>
                  </a:cubicBezTo>
                  <a:cubicBezTo>
                    <a:pt x="52" y="164"/>
                    <a:pt x="52" y="165"/>
                    <a:pt x="52" y="166"/>
                  </a:cubicBezTo>
                  <a:cubicBezTo>
                    <a:pt x="53" y="166"/>
                    <a:pt x="53" y="167"/>
                    <a:pt x="54" y="167"/>
                  </a:cubicBezTo>
                  <a:cubicBezTo>
                    <a:pt x="55" y="167"/>
                    <a:pt x="55" y="167"/>
                    <a:pt x="56" y="167"/>
                  </a:cubicBezTo>
                  <a:cubicBezTo>
                    <a:pt x="57" y="167"/>
                    <a:pt x="57" y="166"/>
                    <a:pt x="58" y="166"/>
                  </a:cubicBezTo>
                  <a:cubicBezTo>
                    <a:pt x="58" y="165"/>
                    <a:pt x="60" y="161"/>
                    <a:pt x="62" y="158"/>
                  </a:cubicBezTo>
                  <a:cubicBezTo>
                    <a:pt x="63" y="158"/>
                    <a:pt x="65" y="159"/>
                    <a:pt x="67" y="160"/>
                  </a:cubicBezTo>
                  <a:cubicBezTo>
                    <a:pt x="67" y="163"/>
                    <a:pt x="66" y="168"/>
                    <a:pt x="66" y="168"/>
                  </a:cubicBezTo>
                  <a:cubicBezTo>
                    <a:pt x="66" y="169"/>
                    <a:pt x="66" y="170"/>
                    <a:pt x="66" y="170"/>
                  </a:cubicBezTo>
                  <a:cubicBezTo>
                    <a:pt x="67" y="171"/>
                    <a:pt x="67" y="171"/>
                    <a:pt x="68" y="172"/>
                  </a:cubicBezTo>
                  <a:cubicBezTo>
                    <a:pt x="69" y="172"/>
                    <a:pt x="70" y="172"/>
                    <a:pt x="70" y="171"/>
                  </a:cubicBezTo>
                  <a:cubicBezTo>
                    <a:pt x="71" y="171"/>
                    <a:pt x="71" y="170"/>
                    <a:pt x="72" y="170"/>
                  </a:cubicBezTo>
                  <a:cubicBezTo>
                    <a:pt x="72" y="169"/>
                    <a:pt x="73" y="165"/>
                    <a:pt x="74" y="161"/>
                  </a:cubicBezTo>
                  <a:cubicBezTo>
                    <a:pt x="76" y="161"/>
                    <a:pt x="78" y="162"/>
                    <a:pt x="80" y="162"/>
                  </a:cubicBezTo>
                  <a:cubicBezTo>
                    <a:pt x="80" y="166"/>
                    <a:pt x="80" y="170"/>
                    <a:pt x="80" y="171"/>
                  </a:cubicBezTo>
                  <a:cubicBezTo>
                    <a:pt x="80" y="172"/>
                    <a:pt x="81" y="172"/>
                    <a:pt x="81" y="173"/>
                  </a:cubicBezTo>
                  <a:cubicBezTo>
                    <a:pt x="82" y="173"/>
                    <a:pt x="82" y="173"/>
                    <a:pt x="83" y="173"/>
                  </a:cubicBezTo>
                  <a:cubicBezTo>
                    <a:pt x="84" y="174"/>
                    <a:pt x="85" y="173"/>
                    <a:pt x="85" y="173"/>
                  </a:cubicBezTo>
                  <a:cubicBezTo>
                    <a:pt x="86" y="172"/>
                    <a:pt x="86" y="172"/>
                    <a:pt x="86" y="171"/>
                  </a:cubicBezTo>
                  <a:cubicBezTo>
                    <a:pt x="86" y="170"/>
                    <a:pt x="87" y="166"/>
                    <a:pt x="87" y="162"/>
                  </a:cubicBezTo>
                  <a:cubicBezTo>
                    <a:pt x="89" y="162"/>
                    <a:pt x="91" y="162"/>
                    <a:pt x="93" y="162"/>
                  </a:cubicBezTo>
                  <a:cubicBezTo>
                    <a:pt x="94" y="166"/>
                    <a:pt x="95" y="170"/>
                    <a:pt x="95" y="171"/>
                  </a:cubicBezTo>
                  <a:cubicBezTo>
                    <a:pt x="95" y="171"/>
                    <a:pt x="96" y="172"/>
                    <a:pt x="96" y="172"/>
                  </a:cubicBezTo>
                  <a:cubicBezTo>
                    <a:pt x="97" y="173"/>
                    <a:pt x="98" y="173"/>
                    <a:pt x="98" y="173"/>
                  </a:cubicBezTo>
                  <a:cubicBezTo>
                    <a:pt x="99" y="173"/>
                    <a:pt x="100" y="172"/>
                    <a:pt x="100" y="172"/>
                  </a:cubicBezTo>
                  <a:cubicBezTo>
                    <a:pt x="101" y="171"/>
                    <a:pt x="101" y="171"/>
                    <a:pt x="101" y="170"/>
                  </a:cubicBezTo>
                  <a:cubicBezTo>
                    <a:pt x="101" y="169"/>
                    <a:pt x="101" y="165"/>
                    <a:pt x="101" y="161"/>
                  </a:cubicBezTo>
                  <a:cubicBezTo>
                    <a:pt x="102" y="161"/>
                    <a:pt x="104" y="160"/>
                    <a:pt x="106" y="160"/>
                  </a:cubicBezTo>
                  <a:cubicBezTo>
                    <a:pt x="107" y="163"/>
                    <a:pt x="109" y="167"/>
                    <a:pt x="109" y="168"/>
                  </a:cubicBezTo>
                  <a:cubicBezTo>
                    <a:pt x="110" y="169"/>
                    <a:pt x="110" y="169"/>
                    <a:pt x="111" y="169"/>
                  </a:cubicBezTo>
                  <a:cubicBezTo>
                    <a:pt x="112" y="170"/>
                    <a:pt x="112" y="170"/>
                    <a:pt x="113" y="170"/>
                  </a:cubicBezTo>
                  <a:cubicBezTo>
                    <a:pt x="114" y="169"/>
                    <a:pt x="114" y="169"/>
                    <a:pt x="115" y="168"/>
                  </a:cubicBezTo>
                  <a:cubicBezTo>
                    <a:pt x="115" y="168"/>
                    <a:pt x="115" y="167"/>
                    <a:pt x="115" y="166"/>
                  </a:cubicBezTo>
                  <a:cubicBezTo>
                    <a:pt x="115" y="165"/>
                    <a:pt x="114" y="161"/>
                    <a:pt x="113" y="157"/>
                  </a:cubicBezTo>
                  <a:cubicBezTo>
                    <a:pt x="115" y="157"/>
                    <a:pt x="117" y="156"/>
                    <a:pt x="118" y="155"/>
                  </a:cubicBezTo>
                  <a:cubicBezTo>
                    <a:pt x="120" y="159"/>
                    <a:pt x="123" y="162"/>
                    <a:pt x="123" y="163"/>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23" name="Group 979">
              <a:extLst>
                <a:ext uri="{FF2B5EF4-FFF2-40B4-BE49-F238E27FC236}">
                  <a16:creationId xmlns:a16="http://schemas.microsoft.com/office/drawing/2014/main" id="{0C88EC94-8126-430E-ADC6-B48E35C9210C}"/>
                </a:ext>
              </a:extLst>
            </p:cNvPr>
            <p:cNvGrpSpPr>
              <a:grpSpLocks noChangeAspect="1"/>
            </p:cNvGrpSpPr>
            <p:nvPr/>
          </p:nvGrpSpPr>
          <p:grpSpPr bwMode="auto">
            <a:xfrm>
              <a:off x="2463726" y="4183178"/>
              <a:ext cx="269950" cy="242072"/>
              <a:chOff x="2110" y="4320"/>
              <a:chExt cx="184" cy="165"/>
            </a:xfrm>
            <a:solidFill>
              <a:schemeClr val="tx1"/>
            </a:solidFill>
          </p:grpSpPr>
          <p:sp>
            <p:nvSpPr>
              <p:cNvPr id="125" name="Freeform 981">
                <a:extLst>
                  <a:ext uri="{FF2B5EF4-FFF2-40B4-BE49-F238E27FC236}">
                    <a16:creationId xmlns:a16="http://schemas.microsoft.com/office/drawing/2014/main" id="{09CBC023-9851-4BDC-A084-860B52333741}"/>
                  </a:ext>
                </a:extLst>
              </p:cNvPr>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26" name="Freeform 982">
                <a:extLst>
                  <a:ext uri="{FF2B5EF4-FFF2-40B4-BE49-F238E27FC236}">
                    <a16:creationId xmlns:a16="http://schemas.microsoft.com/office/drawing/2014/main" id="{8F6B6372-7863-4F1E-914A-D345198B7DD7}"/>
                  </a:ext>
                </a:extLst>
              </p:cNvPr>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46" name="Group 45"/>
          <p:cNvGrpSpPr/>
          <p:nvPr/>
        </p:nvGrpSpPr>
        <p:grpSpPr>
          <a:xfrm>
            <a:off x="3532293" y="5906254"/>
            <a:ext cx="417900" cy="420520"/>
            <a:chOff x="1904383" y="4237741"/>
            <a:chExt cx="417900" cy="420520"/>
          </a:xfrm>
        </p:grpSpPr>
        <p:sp>
          <p:nvSpPr>
            <p:cNvPr id="19" name="Freeform 20">
              <a:extLst>
                <a:ext uri="{FF2B5EF4-FFF2-40B4-BE49-F238E27FC236}">
                  <a16:creationId xmlns:a16="http://schemas.microsoft.com/office/drawing/2014/main" id="{BEE67011-C62A-4135-B509-6C956B006618}"/>
                </a:ext>
              </a:extLst>
            </p:cNvPr>
            <p:cNvSpPr>
              <a:spLocks noEditPoints="1"/>
            </p:cNvSpPr>
            <p:nvPr/>
          </p:nvSpPr>
          <p:spPr bwMode="auto">
            <a:xfrm>
              <a:off x="1904383" y="4237741"/>
              <a:ext cx="417900" cy="420520"/>
            </a:xfrm>
            <a:custGeom>
              <a:avLst/>
              <a:gdLst>
                <a:gd name="T0" fmla="*/ 137 w 143"/>
                <a:gd name="T1" fmla="*/ 67 h 144"/>
                <a:gd name="T2" fmla="*/ 137 w 143"/>
                <a:gd name="T3" fmla="*/ 60 h 144"/>
                <a:gd name="T4" fmla="*/ 135 w 143"/>
                <a:gd name="T5" fmla="*/ 53 h 144"/>
                <a:gd name="T6" fmla="*/ 133 w 143"/>
                <a:gd name="T7" fmla="*/ 47 h 144"/>
                <a:gd name="T8" fmla="*/ 130 w 143"/>
                <a:gd name="T9" fmla="*/ 40 h 144"/>
                <a:gd name="T10" fmla="*/ 126 w 143"/>
                <a:gd name="T11" fmla="*/ 35 h 144"/>
                <a:gd name="T12" fmla="*/ 122 w 143"/>
                <a:gd name="T13" fmla="*/ 29 h 144"/>
                <a:gd name="T14" fmla="*/ 117 w 143"/>
                <a:gd name="T15" fmla="*/ 24 h 144"/>
                <a:gd name="T16" fmla="*/ 112 w 143"/>
                <a:gd name="T17" fmla="*/ 20 h 144"/>
                <a:gd name="T18" fmla="*/ 106 w 143"/>
                <a:gd name="T19" fmla="*/ 16 h 144"/>
                <a:gd name="T20" fmla="*/ 100 w 143"/>
                <a:gd name="T21" fmla="*/ 12 h 144"/>
                <a:gd name="T22" fmla="*/ 94 w 143"/>
                <a:gd name="T23" fmla="*/ 10 h 144"/>
                <a:gd name="T24" fmla="*/ 87 w 143"/>
                <a:gd name="T25" fmla="*/ 8 h 144"/>
                <a:gd name="T26" fmla="*/ 80 w 143"/>
                <a:gd name="T27" fmla="*/ 6 h 144"/>
                <a:gd name="T28" fmla="*/ 74 w 143"/>
                <a:gd name="T29" fmla="*/ 6 h 144"/>
                <a:gd name="T30" fmla="*/ 67 w 143"/>
                <a:gd name="T31" fmla="*/ 6 h 144"/>
                <a:gd name="T32" fmla="*/ 60 w 143"/>
                <a:gd name="T33" fmla="*/ 7 h 144"/>
                <a:gd name="T34" fmla="*/ 53 w 143"/>
                <a:gd name="T35" fmla="*/ 8 h 144"/>
                <a:gd name="T36" fmla="*/ 47 w 143"/>
                <a:gd name="T37" fmla="*/ 11 h 144"/>
                <a:gd name="T38" fmla="*/ 40 w 143"/>
                <a:gd name="T39" fmla="*/ 14 h 144"/>
                <a:gd name="T40" fmla="*/ 34 w 143"/>
                <a:gd name="T41" fmla="*/ 17 h 144"/>
                <a:gd name="T42" fmla="*/ 29 w 143"/>
                <a:gd name="T43" fmla="*/ 21 h 144"/>
                <a:gd name="T44" fmla="*/ 24 w 143"/>
                <a:gd name="T45" fmla="*/ 26 h 144"/>
                <a:gd name="T46" fmla="*/ 19 w 143"/>
                <a:gd name="T47" fmla="*/ 31 h 144"/>
                <a:gd name="T48" fmla="*/ 15 w 143"/>
                <a:gd name="T49" fmla="*/ 37 h 144"/>
                <a:gd name="T50" fmla="*/ 12 w 143"/>
                <a:gd name="T51" fmla="*/ 43 h 144"/>
                <a:gd name="T52" fmla="*/ 9 w 143"/>
                <a:gd name="T53" fmla="*/ 50 h 144"/>
                <a:gd name="T54" fmla="*/ 7 w 143"/>
                <a:gd name="T55" fmla="*/ 56 h 144"/>
                <a:gd name="T56" fmla="*/ 6 w 143"/>
                <a:gd name="T57" fmla="*/ 63 h 144"/>
                <a:gd name="T58" fmla="*/ 6 w 143"/>
                <a:gd name="T59" fmla="*/ 70 h 144"/>
                <a:gd name="T60" fmla="*/ 6 w 143"/>
                <a:gd name="T61" fmla="*/ 77 h 144"/>
                <a:gd name="T62" fmla="*/ 7 w 143"/>
                <a:gd name="T63" fmla="*/ 84 h 144"/>
                <a:gd name="T64" fmla="*/ 8 w 143"/>
                <a:gd name="T65" fmla="*/ 90 h 144"/>
                <a:gd name="T66" fmla="*/ 10 w 143"/>
                <a:gd name="T67" fmla="*/ 97 h 144"/>
                <a:gd name="T68" fmla="*/ 13 w 143"/>
                <a:gd name="T69" fmla="*/ 103 h 144"/>
                <a:gd name="T70" fmla="*/ 17 w 143"/>
                <a:gd name="T71" fmla="*/ 109 h 144"/>
                <a:gd name="T72" fmla="*/ 21 w 143"/>
                <a:gd name="T73" fmla="*/ 115 h 144"/>
                <a:gd name="T74" fmla="*/ 26 w 143"/>
                <a:gd name="T75" fmla="*/ 120 h 144"/>
                <a:gd name="T76" fmla="*/ 31 w 143"/>
                <a:gd name="T77" fmla="*/ 124 h 144"/>
                <a:gd name="T78" fmla="*/ 37 w 143"/>
                <a:gd name="T79" fmla="*/ 128 h 144"/>
                <a:gd name="T80" fmla="*/ 43 w 143"/>
                <a:gd name="T81" fmla="*/ 131 h 144"/>
                <a:gd name="T82" fmla="*/ 49 w 143"/>
                <a:gd name="T83" fmla="*/ 134 h 144"/>
                <a:gd name="T84" fmla="*/ 56 w 143"/>
                <a:gd name="T85" fmla="*/ 136 h 144"/>
                <a:gd name="T86" fmla="*/ 63 w 143"/>
                <a:gd name="T87" fmla="*/ 137 h 144"/>
                <a:gd name="T88" fmla="*/ 70 w 143"/>
                <a:gd name="T89" fmla="*/ 138 h 144"/>
                <a:gd name="T90" fmla="*/ 77 w 143"/>
                <a:gd name="T91" fmla="*/ 138 h 144"/>
                <a:gd name="T92" fmla="*/ 83 w 143"/>
                <a:gd name="T93" fmla="*/ 137 h 144"/>
                <a:gd name="T94" fmla="*/ 90 w 143"/>
                <a:gd name="T95" fmla="*/ 135 h 144"/>
                <a:gd name="T96" fmla="*/ 97 w 143"/>
                <a:gd name="T97" fmla="*/ 133 h 144"/>
                <a:gd name="T98" fmla="*/ 103 w 143"/>
                <a:gd name="T99" fmla="*/ 130 h 144"/>
                <a:gd name="T100" fmla="*/ 109 w 143"/>
                <a:gd name="T101" fmla="*/ 127 h 144"/>
                <a:gd name="T102" fmla="*/ 114 w 143"/>
                <a:gd name="T103" fmla="*/ 122 h 144"/>
                <a:gd name="T104" fmla="*/ 119 w 143"/>
                <a:gd name="T105" fmla="*/ 118 h 144"/>
                <a:gd name="T106" fmla="*/ 124 w 143"/>
                <a:gd name="T107" fmla="*/ 112 h 144"/>
                <a:gd name="T108" fmla="*/ 128 w 143"/>
                <a:gd name="T109" fmla="*/ 107 h 144"/>
                <a:gd name="T110" fmla="*/ 131 w 143"/>
                <a:gd name="T111" fmla="*/ 101 h 144"/>
                <a:gd name="T112" fmla="*/ 134 w 143"/>
                <a:gd name="T113" fmla="*/ 94 h 144"/>
                <a:gd name="T114" fmla="*/ 136 w 143"/>
                <a:gd name="T115" fmla="*/ 88 h 144"/>
                <a:gd name="T116" fmla="*/ 137 w 143"/>
                <a:gd name="T117" fmla="*/ 81 h 144"/>
                <a:gd name="T118" fmla="*/ 138 w 143"/>
                <a:gd name="T119" fmla="*/ 7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3" h="144">
                  <a:moveTo>
                    <a:pt x="142" y="73"/>
                  </a:moveTo>
                  <a:cubicBezTo>
                    <a:pt x="142" y="73"/>
                    <a:pt x="143" y="73"/>
                    <a:pt x="143" y="73"/>
                  </a:cubicBezTo>
                  <a:cubicBezTo>
                    <a:pt x="143" y="73"/>
                    <a:pt x="143" y="72"/>
                    <a:pt x="143" y="72"/>
                  </a:cubicBezTo>
                  <a:cubicBezTo>
                    <a:pt x="143" y="71"/>
                    <a:pt x="143" y="71"/>
                    <a:pt x="143" y="71"/>
                  </a:cubicBezTo>
                  <a:cubicBezTo>
                    <a:pt x="143" y="71"/>
                    <a:pt x="142" y="70"/>
                    <a:pt x="142" y="70"/>
                  </a:cubicBezTo>
                  <a:cubicBezTo>
                    <a:pt x="142" y="70"/>
                    <a:pt x="139" y="70"/>
                    <a:pt x="138" y="70"/>
                  </a:cubicBezTo>
                  <a:cubicBezTo>
                    <a:pt x="138" y="69"/>
                    <a:pt x="138" y="68"/>
                    <a:pt x="137" y="67"/>
                  </a:cubicBezTo>
                  <a:cubicBezTo>
                    <a:pt x="139" y="67"/>
                    <a:pt x="141" y="66"/>
                    <a:pt x="142" y="66"/>
                  </a:cubicBezTo>
                  <a:cubicBezTo>
                    <a:pt x="142" y="66"/>
                    <a:pt x="142" y="66"/>
                    <a:pt x="143" y="65"/>
                  </a:cubicBezTo>
                  <a:cubicBezTo>
                    <a:pt x="143" y="65"/>
                    <a:pt x="143" y="65"/>
                    <a:pt x="143" y="64"/>
                  </a:cubicBezTo>
                  <a:cubicBezTo>
                    <a:pt x="143" y="64"/>
                    <a:pt x="143" y="64"/>
                    <a:pt x="142" y="63"/>
                  </a:cubicBezTo>
                  <a:cubicBezTo>
                    <a:pt x="142" y="63"/>
                    <a:pt x="142" y="63"/>
                    <a:pt x="141" y="63"/>
                  </a:cubicBezTo>
                  <a:cubicBezTo>
                    <a:pt x="141" y="63"/>
                    <a:pt x="139" y="63"/>
                    <a:pt x="137" y="63"/>
                  </a:cubicBezTo>
                  <a:cubicBezTo>
                    <a:pt x="137" y="62"/>
                    <a:pt x="137" y="61"/>
                    <a:pt x="137" y="60"/>
                  </a:cubicBezTo>
                  <a:cubicBezTo>
                    <a:pt x="138" y="59"/>
                    <a:pt x="140" y="59"/>
                    <a:pt x="141" y="59"/>
                  </a:cubicBezTo>
                  <a:cubicBezTo>
                    <a:pt x="141" y="59"/>
                    <a:pt x="141" y="58"/>
                    <a:pt x="142" y="58"/>
                  </a:cubicBezTo>
                  <a:cubicBezTo>
                    <a:pt x="142" y="58"/>
                    <a:pt x="142" y="57"/>
                    <a:pt x="142" y="57"/>
                  </a:cubicBezTo>
                  <a:cubicBezTo>
                    <a:pt x="142" y="57"/>
                    <a:pt x="142" y="56"/>
                    <a:pt x="141" y="56"/>
                  </a:cubicBezTo>
                  <a:cubicBezTo>
                    <a:pt x="141" y="56"/>
                    <a:pt x="141" y="56"/>
                    <a:pt x="140" y="56"/>
                  </a:cubicBezTo>
                  <a:cubicBezTo>
                    <a:pt x="140" y="56"/>
                    <a:pt x="138" y="56"/>
                    <a:pt x="136" y="56"/>
                  </a:cubicBezTo>
                  <a:cubicBezTo>
                    <a:pt x="135" y="55"/>
                    <a:pt x="135" y="54"/>
                    <a:pt x="135" y="53"/>
                  </a:cubicBezTo>
                  <a:cubicBezTo>
                    <a:pt x="137" y="53"/>
                    <a:pt x="139" y="52"/>
                    <a:pt x="139" y="52"/>
                  </a:cubicBezTo>
                  <a:cubicBezTo>
                    <a:pt x="139" y="51"/>
                    <a:pt x="140" y="51"/>
                    <a:pt x="140" y="51"/>
                  </a:cubicBezTo>
                  <a:cubicBezTo>
                    <a:pt x="140" y="50"/>
                    <a:pt x="140" y="50"/>
                    <a:pt x="140" y="50"/>
                  </a:cubicBezTo>
                  <a:cubicBezTo>
                    <a:pt x="140" y="49"/>
                    <a:pt x="139" y="49"/>
                    <a:pt x="139" y="49"/>
                  </a:cubicBezTo>
                  <a:cubicBezTo>
                    <a:pt x="139" y="49"/>
                    <a:pt x="138" y="48"/>
                    <a:pt x="138" y="49"/>
                  </a:cubicBezTo>
                  <a:cubicBezTo>
                    <a:pt x="138" y="49"/>
                    <a:pt x="136" y="49"/>
                    <a:pt x="134" y="50"/>
                  </a:cubicBezTo>
                  <a:cubicBezTo>
                    <a:pt x="133" y="49"/>
                    <a:pt x="133" y="48"/>
                    <a:pt x="133" y="47"/>
                  </a:cubicBezTo>
                  <a:cubicBezTo>
                    <a:pt x="134" y="46"/>
                    <a:pt x="136" y="45"/>
                    <a:pt x="137" y="45"/>
                  </a:cubicBezTo>
                  <a:cubicBezTo>
                    <a:pt x="137" y="44"/>
                    <a:pt x="137" y="44"/>
                    <a:pt x="137" y="44"/>
                  </a:cubicBezTo>
                  <a:cubicBezTo>
                    <a:pt x="137" y="43"/>
                    <a:pt x="137" y="43"/>
                    <a:pt x="137" y="43"/>
                  </a:cubicBezTo>
                  <a:cubicBezTo>
                    <a:pt x="137" y="42"/>
                    <a:pt x="137" y="42"/>
                    <a:pt x="136" y="42"/>
                  </a:cubicBezTo>
                  <a:cubicBezTo>
                    <a:pt x="136" y="42"/>
                    <a:pt x="136" y="42"/>
                    <a:pt x="135" y="42"/>
                  </a:cubicBezTo>
                  <a:cubicBezTo>
                    <a:pt x="135" y="42"/>
                    <a:pt x="133" y="43"/>
                    <a:pt x="131" y="43"/>
                  </a:cubicBezTo>
                  <a:cubicBezTo>
                    <a:pt x="131" y="42"/>
                    <a:pt x="130" y="41"/>
                    <a:pt x="130" y="40"/>
                  </a:cubicBezTo>
                  <a:cubicBezTo>
                    <a:pt x="131" y="39"/>
                    <a:pt x="133" y="38"/>
                    <a:pt x="133" y="38"/>
                  </a:cubicBezTo>
                  <a:cubicBezTo>
                    <a:pt x="134" y="38"/>
                    <a:pt x="134" y="37"/>
                    <a:pt x="134" y="37"/>
                  </a:cubicBezTo>
                  <a:cubicBezTo>
                    <a:pt x="134" y="37"/>
                    <a:pt x="134" y="36"/>
                    <a:pt x="134" y="36"/>
                  </a:cubicBezTo>
                  <a:cubicBezTo>
                    <a:pt x="134" y="36"/>
                    <a:pt x="133" y="35"/>
                    <a:pt x="133" y="35"/>
                  </a:cubicBezTo>
                  <a:cubicBezTo>
                    <a:pt x="133" y="35"/>
                    <a:pt x="132" y="35"/>
                    <a:pt x="132" y="35"/>
                  </a:cubicBezTo>
                  <a:cubicBezTo>
                    <a:pt x="131" y="35"/>
                    <a:pt x="130" y="36"/>
                    <a:pt x="128" y="37"/>
                  </a:cubicBezTo>
                  <a:cubicBezTo>
                    <a:pt x="127" y="36"/>
                    <a:pt x="127" y="35"/>
                    <a:pt x="126" y="35"/>
                  </a:cubicBezTo>
                  <a:cubicBezTo>
                    <a:pt x="128" y="33"/>
                    <a:pt x="129" y="32"/>
                    <a:pt x="129" y="32"/>
                  </a:cubicBezTo>
                  <a:cubicBezTo>
                    <a:pt x="130" y="31"/>
                    <a:pt x="130" y="31"/>
                    <a:pt x="130" y="31"/>
                  </a:cubicBezTo>
                  <a:cubicBezTo>
                    <a:pt x="130" y="30"/>
                    <a:pt x="130" y="30"/>
                    <a:pt x="130" y="30"/>
                  </a:cubicBezTo>
                  <a:cubicBezTo>
                    <a:pt x="129" y="29"/>
                    <a:pt x="129" y="29"/>
                    <a:pt x="129" y="29"/>
                  </a:cubicBezTo>
                  <a:cubicBezTo>
                    <a:pt x="128" y="29"/>
                    <a:pt x="128" y="29"/>
                    <a:pt x="128" y="29"/>
                  </a:cubicBezTo>
                  <a:cubicBezTo>
                    <a:pt x="127" y="29"/>
                    <a:pt x="125" y="30"/>
                    <a:pt x="124" y="31"/>
                  </a:cubicBezTo>
                  <a:cubicBezTo>
                    <a:pt x="123" y="31"/>
                    <a:pt x="123" y="30"/>
                    <a:pt x="122" y="29"/>
                  </a:cubicBezTo>
                  <a:cubicBezTo>
                    <a:pt x="123" y="28"/>
                    <a:pt x="125" y="26"/>
                    <a:pt x="125" y="26"/>
                  </a:cubicBezTo>
                  <a:cubicBezTo>
                    <a:pt x="125" y="26"/>
                    <a:pt x="125" y="25"/>
                    <a:pt x="125" y="25"/>
                  </a:cubicBezTo>
                  <a:cubicBezTo>
                    <a:pt x="125" y="24"/>
                    <a:pt x="125" y="24"/>
                    <a:pt x="125" y="24"/>
                  </a:cubicBezTo>
                  <a:cubicBezTo>
                    <a:pt x="125" y="23"/>
                    <a:pt x="124" y="23"/>
                    <a:pt x="124" y="23"/>
                  </a:cubicBezTo>
                  <a:cubicBezTo>
                    <a:pt x="124" y="23"/>
                    <a:pt x="123" y="23"/>
                    <a:pt x="123" y="24"/>
                  </a:cubicBezTo>
                  <a:cubicBezTo>
                    <a:pt x="123" y="24"/>
                    <a:pt x="121" y="25"/>
                    <a:pt x="119" y="26"/>
                  </a:cubicBezTo>
                  <a:cubicBezTo>
                    <a:pt x="119" y="26"/>
                    <a:pt x="118" y="25"/>
                    <a:pt x="117" y="24"/>
                  </a:cubicBezTo>
                  <a:cubicBezTo>
                    <a:pt x="118" y="23"/>
                    <a:pt x="120" y="21"/>
                    <a:pt x="120" y="20"/>
                  </a:cubicBezTo>
                  <a:cubicBezTo>
                    <a:pt x="120" y="20"/>
                    <a:pt x="120" y="20"/>
                    <a:pt x="120" y="19"/>
                  </a:cubicBezTo>
                  <a:cubicBezTo>
                    <a:pt x="120" y="19"/>
                    <a:pt x="120" y="19"/>
                    <a:pt x="120" y="18"/>
                  </a:cubicBezTo>
                  <a:cubicBezTo>
                    <a:pt x="119" y="18"/>
                    <a:pt x="119" y="18"/>
                    <a:pt x="119" y="18"/>
                  </a:cubicBezTo>
                  <a:cubicBezTo>
                    <a:pt x="118" y="18"/>
                    <a:pt x="118" y="18"/>
                    <a:pt x="118" y="18"/>
                  </a:cubicBezTo>
                  <a:cubicBezTo>
                    <a:pt x="117" y="19"/>
                    <a:pt x="116" y="20"/>
                    <a:pt x="114" y="21"/>
                  </a:cubicBezTo>
                  <a:cubicBezTo>
                    <a:pt x="114" y="21"/>
                    <a:pt x="113" y="20"/>
                    <a:pt x="112" y="20"/>
                  </a:cubicBezTo>
                  <a:cubicBezTo>
                    <a:pt x="113" y="18"/>
                    <a:pt x="114" y="16"/>
                    <a:pt x="114" y="16"/>
                  </a:cubicBezTo>
                  <a:cubicBezTo>
                    <a:pt x="114" y="15"/>
                    <a:pt x="114" y="15"/>
                    <a:pt x="114" y="15"/>
                  </a:cubicBezTo>
                  <a:cubicBezTo>
                    <a:pt x="114" y="14"/>
                    <a:pt x="114" y="14"/>
                    <a:pt x="114" y="14"/>
                  </a:cubicBezTo>
                  <a:cubicBezTo>
                    <a:pt x="113" y="14"/>
                    <a:pt x="113" y="13"/>
                    <a:pt x="113" y="13"/>
                  </a:cubicBezTo>
                  <a:cubicBezTo>
                    <a:pt x="112" y="13"/>
                    <a:pt x="112" y="14"/>
                    <a:pt x="112" y="14"/>
                  </a:cubicBezTo>
                  <a:cubicBezTo>
                    <a:pt x="111" y="14"/>
                    <a:pt x="110" y="16"/>
                    <a:pt x="109" y="17"/>
                  </a:cubicBezTo>
                  <a:cubicBezTo>
                    <a:pt x="108" y="17"/>
                    <a:pt x="107" y="16"/>
                    <a:pt x="106" y="16"/>
                  </a:cubicBezTo>
                  <a:cubicBezTo>
                    <a:pt x="107" y="14"/>
                    <a:pt x="108" y="12"/>
                    <a:pt x="108" y="12"/>
                  </a:cubicBezTo>
                  <a:cubicBezTo>
                    <a:pt x="108" y="11"/>
                    <a:pt x="108" y="11"/>
                    <a:pt x="108" y="10"/>
                  </a:cubicBezTo>
                  <a:cubicBezTo>
                    <a:pt x="108" y="10"/>
                    <a:pt x="108" y="10"/>
                    <a:pt x="107" y="10"/>
                  </a:cubicBezTo>
                  <a:cubicBezTo>
                    <a:pt x="107" y="9"/>
                    <a:pt x="107" y="9"/>
                    <a:pt x="106" y="9"/>
                  </a:cubicBezTo>
                  <a:cubicBezTo>
                    <a:pt x="106" y="10"/>
                    <a:pt x="106" y="10"/>
                    <a:pt x="105" y="10"/>
                  </a:cubicBezTo>
                  <a:cubicBezTo>
                    <a:pt x="105" y="10"/>
                    <a:pt x="104" y="12"/>
                    <a:pt x="103" y="14"/>
                  </a:cubicBezTo>
                  <a:cubicBezTo>
                    <a:pt x="102" y="13"/>
                    <a:pt x="101" y="13"/>
                    <a:pt x="100" y="12"/>
                  </a:cubicBezTo>
                  <a:cubicBezTo>
                    <a:pt x="101" y="10"/>
                    <a:pt x="102" y="8"/>
                    <a:pt x="102" y="8"/>
                  </a:cubicBezTo>
                  <a:cubicBezTo>
                    <a:pt x="102" y="8"/>
                    <a:pt x="102" y="7"/>
                    <a:pt x="102" y="7"/>
                  </a:cubicBezTo>
                  <a:cubicBezTo>
                    <a:pt x="101" y="7"/>
                    <a:pt x="101" y="6"/>
                    <a:pt x="101" y="6"/>
                  </a:cubicBezTo>
                  <a:cubicBezTo>
                    <a:pt x="100" y="6"/>
                    <a:pt x="100" y="6"/>
                    <a:pt x="100" y="6"/>
                  </a:cubicBezTo>
                  <a:cubicBezTo>
                    <a:pt x="99" y="6"/>
                    <a:pt x="99" y="6"/>
                    <a:pt x="99" y="7"/>
                  </a:cubicBezTo>
                  <a:cubicBezTo>
                    <a:pt x="99" y="7"/>
                    <a:pt x="98" y="9"/>
                    <a:pt x="97" y="11"/>
                  </a:cubicBezTo>
                  <a:cubicBezTo>
                    <a:pt x="96" y="10"/>
                    <a:pt x="95" y="10"/>
                    <a:pt x="94" y="10"/>
                  </a:cubicBezTo>
                  <a:cubicBezTo>
                    <a:pt x="94" y="8"/>
                    <a:pt x="95" y="6"/>
                    <a:pt x="95" y="5"/>
                  </a:cubicBezTo>
                  <a:cubicBezTo>
                    <a:pt x="95" y="5"/>
                    <a:pt x="95" y="4"/>
                    <a:pt x="95" y="4"/>
                  </a:cubicBezTo>
                  <a:cubicBezTo>
                    <a:pt x="94" y="4"/>
                    <a:pt x="94" y="4"/>
                    <a:pt x="94" y="3"/>
                  </a:cubicBezTo>
                  <a:cubicBezTo>
                    <a:pt x="93" y="3"/>
                    <a:pt x="93" y="3"/>
                    <a:pt x="93" y="4"/>
                  </a:cubicBezTo>
                  <a:cubicBezTo>
                    <a:pt x="92" y="4"/>
                    <a:pt x="92" y="4"/>
                    <a:pt x="92" y="4"/>
                  </a:cubicBezTo>
                  <a:cubicBezTo>
                    <a:pt x="92" y="5"/>
                    <a:pt x="91" y="7"/>
                    <a:pt x="90" y="8"/>
                  </a:cubicBezTo>
                  <a:cubicBezTo>
                    <a:pt x="89" y="8"/>
                    <a:pt x="88" y="8"/>
                    <a:pt x="87" y="8"/>
                  </a:cubicBezTo>
                  <a:cubicBezTo>
                    <a:pt x="87" y="6"/>
                    <a:pt x="88" y="4"/>
                    <a:pt x="88" y="3"/>
                  </a:cubicBezTo>
                  <a:cubicBezTo>
                    <a:pt x="88" y="3"/>
                    <a:pt x="88" y="2"/>
                    <a:pt x="87" y="2"/>
                  </a:cubicBezTo>
                  <a:cubicBezTo>
                    <a:pt x="87" y="2"/>
                    <a:pt x="87" y="2"/>
                    <a:pt x="86" y="2"/>
                  </a:cubicBezTo>
                  <a:cubicBezTo>
                    <a:pt x="86" y="2"/>
                    <a:pt x="86" y="2"/>
                    <a:pt x="85" y="2"/>
                  </a:cubicBezTo>
                  <a:cubicBezTo>
                    <a:pt x="85" y="2"/>
                    <a:pt x="85" y="2"/>
                    <a:pt x="85" y="3"/>
                  </a:cubicBezTo>
                  <a:cubicBezTo>
                    <a:pt x="85" y="3"/>
                    <a:pt x="84" y="5"/>
                    <a:pt x="83" y="7"/>
                  </a:cubicBezTo>
                  <a:cubicBezTo>
                    <a:pt x="82" y="7"/>
                    <a:pt x="81" y="6"/>
                    <a:pt x="80" y="6"/>
                  </a:cubicBezTo>
                  <a:cubicBezTo>
                    <a:pt x="81" y="4"/>
                    <a:pt x="81" y="2"/>
                    <a:pt x="81" y="2"/>
                  </a:cubicBezTo>
                  <a:cubicBezTo>
                    <a:pt x="81" y="2"/>
                    <a:pt x="80" y="1"/>
                    <a:pt x="80" y="1"/>
                  </a:cubicBezTo>
                  <a:cubicBezTo>
                    <a:pt x="80" y="1"/>
                    <a:pt x="79" y="0"/>
                    <a:pt x="79" y="0"/>
                  </a:cubicBezTo>
                  <a:cubicBezTo>
                    <a:pt x="79" y="0"/>
                    <a:pt x="78" y="0"/>
                    <a:pt x="78" y="1"/>
                  </a:cubicBezTo>
                  <a:cubicBezTo>
                    <a:pt x="78" y="1"/>
                    <a:pt x="77" y="1"/>
                    <a:pt x="77" y="2"/>
                  </a:cubicBezTo>
                  <a:cubicBezTo>
                    <a:pt x="77" y="2"/>
                    <a:pt x="77" y="4"/>
                    <a:pt x="77" y="6"/>
                  </a:cubicBezTo>
                  <a:cubicBezTo>
                    <a:pt x="75" y="6"/>
                    <a:pt x="75" y="6"/>
                    <a:pt x="74" y="6"/>
                  </a:cubicBezTo>
                  <a:cubicBezTo>
                    <a:pt x="73" y="4"/>
                    <a:pt x="73" y="2"/>
                    <a:pt x="73" y="1"/>
                  </a:cubicBezTo>
                  <a:cubicBezTo>
                    <a:pt x="73" y="1"/>
                    <a:pt x="73" y="1"/>
                    <a:pt x="73" y="0"/>
                  </a:cubicBezTo>
                  <a:cubicBezTo>
                    <a:pt x="72" y="0"/>
                    <a:pt x="72" y="0"/>
                    <a:pt x="72" y="0"/>
                  </a:cubicBezTo>
                  <a:cubicBezTo>
                    <a:pt x="71" y="0"/>
                    <a:pt x="71" y="0"/>
                    <a:pt x="71" y="0"/>
                  </a:cubicBezTo>
                  <a:cubicBezTo>
                    <a:pt x="70" y="1"/>
                    <a:pt x="70" y="1"/>
                    <a:pt x="70" y="1"/>
                  </a:cubicBezTo>
                  <a:cubicBezTo>
                    <a:pt x="70" y="2"/>
                    <a:pt x="70" y="4"/>
                    <a:pt x="70" y="6"/>
                  </a:cubicBezTo>
                  <a:cubicBezTo>
                    <a:pt x="69" y="6"/>
                    <a:pt x="68" y="6"/>
                    <a:pt x="67" y="6"/>
                  </a:cubicBezTo>
                  <a:cubicBezTo>
                    <a:pt x="66" y="4"/>
                    <a:pt x="66" y="2"/>
                    <a:pt x="66" y="2"/>
                  </a:cubicBezTo>
                  <a:cubicBezTo>
                    <a:pt x="66" y="1"/>
                    <a:pt x="65" y="1"/>
                    <a:pt x="65" y="1"/>
                  </a:cubicBezTo>
                  <a:cubicBezTo>
                    <a:pt x="65" y="0"/>
                    <a:pt x="65" y="0"/>
                    <a:pt x="64" y="0"/>
                  </a:cubicBezTo>
                  <a:cubicBezTo>
                    <a:pt x="64" y="0"/>
                    <a:pt x="63" y="1"/>
                    <a:pt x="63" y="1"/>
                  </a:cubicBezTo>
                  <a:cubicBezTo>
                    <a:pt x="63" y="1"/>
                    <a:pt x="63" y="2"/>
                    <a:pt x="63" y="2"/>
                  </a:cubicBezTo>
                  <a:cubicBezTo>
                    <a:pt x="63" y="2"/>
                    <a:pt x="63" y="4"/>
                    <a:pt x="63" y="6"/>
                  </a:cubicBezTo>
                  <a:cubicBezTo>
                    <a:pt x="62" y="6"/>
                    <a:pt x="61" y="7"/>
                    <a:pt x="60" y="7"/>
                  </a:cubicBezTo>
                  <a:cubicBezTo>
                    <a:pt x="59" y="5"/>
                    <a:pt x="59" y="3"/>
                    <a:pt x="58" y="3"/>
                  </a:cubicBezTo>
                  <a:cubicBezTo>
                    <a:pt x="58" y="2"/>
                    <a:pt x="58" y="2"/>
                    <a:pt x="58" y="2"/>
                  </a:cubicBezTo>
                  <a:cubicBezTo>
                    <a:pt x="57" y="2"/>
                    <a:pt x="57" y="2"/>
                    <a:pt x="57" y="2"/>
                  </a:cubicBezTo>
                  <a:cubicBezTo>
                    <a:pt x="56" y="2"/>
                    <a:pt x="56" y="2"/>
                    <a:pt x="56" y="2"/>
                  </a:cubicBezTo>
                  <a:cubicBezTo>
                    <a:pt x="55" y="2"/>
                    <a:pt x="55" y="3"/>
                    <a:pt x="55" y="3"/>
                  </a:cubicBezTo>
                  <a:cubicBezTo>
                    <a:pt x="55" y="4"/>
                    <a:pt x="56" y="6"/>
                    <a:pt x="56" y="8"/>
                  </a:cubicBezTo>
                  <a:cubicBezTo>
                    <a:pt x="55" y="8"/>
                    <a:pt x="54" y="8"/>
                    <a:pt x="53" y="8"/>
                  </a:cubicBezTo>
                  <a:cubicBezTo>
                    <a:pt x="52" y="7"/>
                    <a:pt x="51" y="5"/>
                    <a:pt x="51" y="4"/>
                  </a:cubicBezTo>
                  <a:cubicBezTo>
                    <a:pt x="51" y="4"/>
                    <a:pt x="51" y="4"/>
                    <a:pt x="50" y="4"/>
                  </a:cubicBezTo>
                  <a:cubicBezTo>
                    <a:pt x="50" y="3"/>
                    <a:pt x="50" y="3"/>
                    <a:pt x="49" y="3"/>
                  </a:cubicBezTo>
                  <a:cubicBezTo>
                    <a:pt x="49" y="4"/>
                    <a:pt x="49" y="4"/>
                    <a:pt x="49" y="4"/>
                  </a:cubicBezTo>
                  <a:cubicBezTo>
                    <a:pt x="48" y="4"/>
                    <a:pt x="48" y="5"/>
                    <a:pt x="48" y="5"/>
                  </a:cubicBezTo>
                  <a:cubicBezTo>
                    <a:pt x="48" y="6"/>
                    <a:pt x="49" y="8"/>
                    <a:pt x="49" y="10"/>
                  </a:cubicBezTo>
                  <a:cubicBezTo>
                    <a:pt x="48" y="10"/>
                    <a:pt x="47" y="10"/>
                    <a:pt x="47" y="11"/>
                  </a:cubicBezTo>
                  <a:cubicBezTo>
                    <a:pt x="46" y="9"/>
                    <a:pt x="45" y="7"/>
                    <a:pt x="44" y="7"/>
                  </a:cubicBezTo>
                  <a:cubicBezTo>
                    <a:pt x="44" y="6"/>
                    <a:pt x="44" y="6"/>
                    <a:pt x="43" y="6"/>
                  </a:cubicBezTo>
                  <a:cubicBezTo>
                    <a:pt x="43" y="6"/>
                    <a:pt x="43" y="6"/>
                    <a:pt x="42" y="6"/>
                  </a:cubicBezTo>
                  <a:cubicBezTo>
                    <a:pt x="42" y="6"/>
                    <a:pt x="42" y="7"/>
                    <a:pt x="42" y="7"/>
                  </a:cubicBezTo>
                  <a:cubicBezTo>
                    <a:pt x="41" y="7"/>
                    <a:pt x="41" y="8"/>
                    <a:pt x="42" y="8"/>
                  </a:cubicBezTo>
                  <a:cubicBezTo>
                    <a:pt x="42" y="8"/>
                    <a:pt x="42" y="10"/>
                    <a:pt x="43" y="12"/>
                  </a:cubicBezTo>
                  <a:cubicBezTo>
                    <a:pt x="42" y="13"/>
                    <a:pt x="41" y="13"/>
                    <a:pt x="40" y="14"/>
                  </a:cubicBezTo>
                  <a:cubicBezTo>
                    <a:pt x="39" y="12"/>
                    <a:pt x="38" y="10"/>
                    <a:pt x="38" y="10"/>
                  </a:cubicBezTo>
                  <a:cubicBezTo>
                    <a:pt x="37" y="10"/>
                    <a:pt x="37" y="10"/>
                    <a:pt x="37" y="9"/>
                  </a:cubicBezTo>
                  <a:cubicBezTo>
                    <a:pt x="36" y="9"/>
                    <a:pt x="36" y="9"/>
                    <a:pt x="36" y="10"/>
                  </a:cubicBezTo>
                  <a:cubicBezTo>
                    <a:pt x="35" y="10"/>
                    <a:pt x="35" y="10"/>
                    <a:pt x="35" y="10"/>
                  </a:cubicBezTo>
                  <a:cubicBezTo>
                    <a:pt x="35" y="11"/>
                    <a:pt x="35" y="11"/>
                    <a:pt x="35" y="12"/>
                  </a:cubicBezTo>
                  <a:cubicBezTo>
                    <a:pt x="35" y="12"/>
                    <a:pt x="36" y="14"/>
                    <a:pt x="37" y="16"/>
                  </a:cubicBezTo>
                  <a:cubicBezTo>
                    <a:pt x="36" y="16"/>
                    <a:pt x="35" y="17"/>
                    <a:pt x="34" y="17"/>
                  </a:cubicBezTo>
                  <a:cubicBezTo>
                    <a:pt x="33" y="16"/>
                    <a:pt x="32" y="14"/>
                    <a:pt x="31" y="14"/>
                  </a:cubicBezTo>
                  <a:cubicBezTo>
                    <a:pt x="31" y="14"/>
                    <a:pt x="31" y="13"/>
                    <a:pt x="30" y="13"/>
                  </a:cubicBezTo>
                  <a:cubicBezTo>
                    <a:pt x="30" y="13"/>
                    <a:pt x="30" y="14"/>
                    <a:pt x="29" y="14"/>
                  </a:cubicBezTo>
                  <a:cubicBezTo>
                    <a:pt x="29" y="14"/>
                    <a:pt x="29" y="14"/>
                    <a:pt x="29" y="15"/>
                  </a:cubicBezTo>
                  <a:cubicBezTo>
                    <a:pt x="29" y="15"/>
                    <a:pt x="29" y="15"/>
                    <a:pt x="29" y="16"/>
                  </a:cubicBezTo>
                  <a:cubicBezTo>
                    <a:pt x="29" y="16"/>
                    <a:pt x="30" y="18"/>
                    <a:pt x="31" y="20"/>
                  </a:cubicBezTo>
                  <a:cubicBezTo>
                    <a:pt x="30" y="20"/>
                    <a:pt x="30" y="21"/>
                    <a:pt x="29" y="21"/>
                  </a:cubicBezTo>
                  <a:cubicBezTo>
                    <a:pt x="27" y="20"/>
                    <a:pt x="26" y="19"/>
                    <a:pt x="26" y="18"/>
                  </a:cubicBezTo>
                  <a:cubicBezTo>
                    <a:pt x="25" y="18"/>
                    <a:pt x="25" y="18"/>
                    <a:pt x="24" y="18"/>
                  </a:cubicBezTo>
                  <a:cubicBezTo>
                    <a:pt x="24" y="18"/>
                    <a:pt x="24" y="18"/>
                    <a:pt x="24" y="18"/>
                  </a:cubicBezTo>
                  <a:cubicBezTo>
                    <a:pt x="23" y="19"/>
                    <a:pt x="23" y="19"/>
                    <a:pt x="23" y="19"/>
                  </a:cubicBezTo>
                  <a:cubicBezTo>
                    <a:pt x="23" y="20"/>
                    <a:pt x="23" y="20"/>
                    <a:pt x="23" y="20"/>
                  </a:cubicBezTo>
                  <a:cubicBezTo>
                    <a:pt x="24" y="21"/>
                    <a:pt x="25" y="23"/>
                    <a:pt x="26" y="24"/>
                  </a:cubicBezTo>
                  <a:cubicBezTo>
                    <a:pt x="25" y="25"/>
                    <a:pt x="24" y="26"/>
                    <a:pt x="24" y="26"/>
                  </a:cubicBezTo>
                  <a:cubicBezTo>
                    <a:pt x="22" y="25"/>
                    <a:pt x="21" y="24"/>
                    <a:pt x="20" y="24"/>
                  </a:cubicBezTo>
                  <a:cubicBezTo>
                    <a:pt x="20" y="23"/>
                    <a:pt x="20" y="23"/>
                    <a:pt x="19" y="23"/>
                  </a:cubicBezTo>
                  <a:cubicBezTo>
                    <a:pt x="19" y="23"/>
                    <a:pt x="18" y="23"/>
                    <a:pt x="18" y="24"/>
                  </a:cubicBezTo>
                  <a:cubicBezTo>
                    <a:pt x="18" y="24"/>
                    <a:pt x="18" y="24"/>
                    <a:pt x="18" y="25"/>
                  </a:cubicBezTo>
                  <a:cubicBezTo>
                    <a:pt x="18" y="25"/>
                    <a:pt x="18" y="26"/>
                    <a:pt x="18" y="26"/>
                  </a:cubicBezTo>
                  <a:cubicBezTo>
                    <a:pt x="18" y="26"/>
                    <a:pt x="20" y="28"/>
                    <a:pt x="21" y="29"/>
                  </a:cubicBezTo>
                  <a:cubicBezTo>
                    <a:pt x="21" y="30"/>
                    <a:pt x="20" y="31"/>
                    <a:pt x="19" y="31"/>
                  </a:cubicBezTo>
                  <a:cubicBezTo>
                    <a:pt x="18" y="30"/>
                    <a:pt x="16" y="29"/>
                    <a:pt x="15" y="29"/>
                  </a:cubicBezTo>
                  <a:cubicBezTo>
                    <a:pt x="15" y="29"/>
                    <a:pt x="15" y="29"/>
                    <a:pt x="14" y="29"/>
                  </a:cubicBezTo>
                  <a:cubicBezTo>
                    <a:pt x="14" y="29"/>
                    <a:pt x="14" y="29"/>
                    <a:pt x="14" y="30"/>
                  </a:cubicBezTo>
                  <a:cubicBezTo>
                    <a:pt x="13" y="30"/>
                    <a:pt x="13" y="30"/>
                    <a:pt x="13" y="31"/>
                  </a:cubicBezTo>
                  <a:cubicBezTo>
                    <a:pt x="13" y="31"/>
                    <a:pt x="13" y="31"/>
                    <a:pt x="14" y="32"/>
                  </a:cubicBezTo>
                  <a:cubicBezTo>
                    <a:pt x="14" y="32"/>
                    <a:pt x="16" y="33"/>
                    <a:pt x="17" y="35"/>
                  </a:cubicBezTo>
                  <a:cubicBezTo>
                    <a:pt x="16" y="35"/>
                    <a:pt x="16" y="36"/>
                    <a:pt x="15" y="37"/>
                  </a:cubicBezTo>
                  <a:cubicBezTo>
                    <a:pt x="14" y="36"/>
                    <a:pt x="12" y="35"/>
                    <a:pt x="11" y="35"/>
                  </a:cubicBezTo>
                  <a:cubicBezTo>
                    <a:pt x="11" y="35"/>
                    <a:pt x="11" y="35"/>
                    <a:pt x="10" y="35"/>
                  </a:cubicBezTo>
                  <a:cubicBezTo>
                    <a:pt x="10" y="35"/>
                    <a:pt x="10" y="36"/>
                    <a:pt x="9" y="36"/>
                  </a:cubicBezTo>
                  <a:cubicBezTo>
                    <a:pt x="9" y="36"/>
                    <a:pt x="9" y="37"/>
                    <a:pt x="9" y="37"/>
                  </a:cubicBezTo>
                  <a:cubicBezTo>
                    <a:pt x="9" y="37"/>
                    <a:pt x="10" y="38"/>
                    <a:pt x="10" y="38"/>
                  </a:cubicBezTo>
                  <a:cubicBezTo>
                    <a:pt x="10" y="38"/>
                    <a:pt x="12" y="39"/>
                    <a:pt x="13" y="40"/>
                  </a:cubicBezTo>
                  <a:cubicBezTo>
                    <a:pt x="13" y="41"/>
                    <a:pt x="12" y="42"/>
                    <a:pt x="12" y="43"/>
                  </a:cubicBezTo>
                  <a:cubicBezTo>
                    <a:pt x="10" y="43"/>
                    <a:pt x="8" y="42"/>
                    <a:pt x="8" y="42"/>
                  </a:cubicBezTo>
                  <a:cubicBezTo>
                    <a:pt x="7" y="42"/>
                    <a:pt x="7" y="42"/>
                    <a:pt x="7" y="42"/>
                  </a:cubicBezTo>
                  <a:cubicBezTo>
                    <a:pt x="6" y="42"/>
                    <a:pt x="6" y="42"/>
                    <a:pt x="6" y="43"/>
                  </a:cubicBezTo>
                  <a:cubicBezTo>
                    <a:pt x="6" y="43"/>
                    <a:pt x="6" y="43"/>
                    <a:pt x="6" y="44"/>
                  </a:cubicBezTo>
                  <a:cubicBezTo>
                    <a:pt x="6" y="44"/>
                    <a:pt x="6" y="44"/>
                    <a:pt x="7" y="45"/>
                  </a:cubicBezTo>
                  <a:cubicBezTo>
                    <a:pt x="7" y="45"/>
                    <a:pt x="9" y="46"/>
                    <a:pt x="10" y="47"/>
                  </a:cubicBezTo>
                  <a:cubicBezTo>
                    <a:pt x="10" y="48"/>
                    <a:pt x="10" y="49"/>
                    <a:pt x="9" y="50"/>
                  </a:cubicBezTo>
                  <a:cubicBezTo>
                    <a:pt x="7" y="49"/>
                    <a:pt x="6" y="49"/>
                    <a:pt x="5" y="49"/>
                  </a:cubicBezTo>
                  <a:cubicBezTo>
                    <a:pt x="5" y="48"/>
                    <a:pt x="4" y="49"/>
                    <a:pt x="4" y="49"/>
                  </a:cubicBezTo>
                  <a:cubicBezTo>
                    <a:pt x="4" y="49"/>
                    <a:pt x="3" y="49"/>
                    <a:pt x="3" y="50"/>
                  </a:cubicBezTo>
                  <a:cubicBezTo>
                    <a:pt x="3" y="50"/>
                    <a:pt x="3" y="50"/>
                    <a:pt x="3" y="51"/>
                  </a:cubicBezTo>
                  <a:cubicBezTo>
                    <a:pt x="3" y="51"/>
                    <a:pt x="4" y="51"/>
                    <a:pt x="4" y="52"/>
                  </a:cubicBezTo>
                  <a:cubicBezTo>
                    <a:pt x="4" y="52"/>
                    <a:pt x="6" y="53"/>
                    <a:pt x="8" y="53"/>
                  </a:cubicBezTo>
                  <a:cubicBezTo>
                    <a:pt x="8" y="54"/>
                    <a:pt x="8" y="55"/>
                    <a:pt x="7" y="56"/>
                  </a:cubicBezTo>
                  <a:cubicBezTo>
                    <a:pt x="6" y="56"/>
                    <a:pt x="3" y="56"/>
                    <a:pt x="3" y="56"/>
                  </a:cubicBezTo>
                  <a:cubicBezTo>
                    <a:pt x="3" y="56"/>
                    <a:pt x="2" y="56"/>
                    <a:pt x="2" y="56"/>
                  </a:cubicBezTo>
                  <a:cubicBezTo>
                    <a:pt x="2" y="56"/>
                    <a:pt x="1" y="57"/>
                    <a:pt x="1" y="57"/>
                  </a:cubicBezTo>
                  <a:cubicBezTo>
                    <a:pt x="1" y="57"/>
                    <a:pt x="1" y="58"/>
                    <a:pt x="2" y="58"/>
                  </a:cubicBezTo>
                  <a:cubicBezTo>
                    <a:pt x="2" y="58"/>
                    <a:pt x="2" y="59"/>
                    <a:pt x="2" y="59"/>
                  </a:cubicBezTo>
                  <a:cubicBezTo>
                    <a:pt x="3" y="59"/>
                    <a:pt x="5" y="59"/>
                    <a:pt x="7" y="60"/>
                  </a:cubicBezTo>
                  <a:cubicBezTo>
                    <a:pt x="6" y="61"/>
                    <a:pt x="6" y="62"/>
                    <a:pt x="6" y="63"/>
                  </a:cubicBezTo>
                  <a:cubicBezTo>
                    <a:pt x="4" y="63"/>
                    <a:pt x="2" y="63"/>
                    <a:pt x="2" y="63"/>
                  </a:cubicBezTo>
                  <a:cubicBezTo>
                    <a:pt x="1" y="63"/>
                    <a:pt x="1" y="63"/>
                    <a:pt x="1" y="63"/>
                  </a:cubicBezTo>
                  <a:cubicBezTo>
                    <a:pt x="0" y="64"/>
                    <a:pt x="0" y="64"/>
                    <a:pt x="0" y="64"/>
                  </a:cubicBezTo>
                  <a:cubicBezTo>
                    <a:pt x="0" y="65"/>
                    <a:pt x="0" y="65"/>
                    <a:pt x="0" y="65"/>
                  </a:cubicBezTo>
                  <a:cubicBezTo>
                    <a:pt x="1" y="66"/>
                    <a:pt x="1" y="66"/>
                    <a:pt x="1" y="66"/>
                  </a:cubicBezTo>
                  <a:cubicBezTo>
                    <a:pt x="2" y="66"/>
                    <a:pt x="4" y="67"/>
                    <a:pt x="6" y="67"/>
                  </a:cubicBezTo>
                  <a:cubicBezTo>
                    <a:pt x="6" y="68"/>
                    <a:pt x="6" y="69"/>
                    <a:pt x="6" y="70"/>
                  </a:cubicBezTo>
                  <a:cubicBezTo>
                    <a:pt x="4" y="70"/>
                    <a:pt x="2" y="70"/>
                    <a:pt x="1" y="70"/>
                  </a:cubicBezTo>
                  <a:cubicBezTo>
                    <a:pt x="1" y="70"/>
                    <a:pt x="0" y="71"/>
                    <a:pt x="0" y="71"/>
                  </a:cubicBezTo>
                  <a:cubicBezTo>
                    <a:pt x="0" y="71"/>
                    <a:pt x="0" y="71"/>
                    <a:pt x="0" y="72"/>
                  </a:cubicBezTo>
                  <a:cubicBezTo>
                    <a:pt x="0" y="72"/>
                    <a:pt x="0" y="73"/>
                    <a:pt x="0" y="73"/>
                  </a:cubicBezTo>
                  <a:cubicBezTo>
                    <a:pt x="0" y="73"/>
                    <a:pt x="1" y="73"/>
                    <a:pt x="1" y="73"/>
                  </a:cubicBezTo>
                  <a:cubicBezTo>
                    <a:pt x="2" y="74"/>
                    <a:pt x="4" y="74"/>
                    <a:pt x="6" y="74"/>
                  </a:cubicBezTo>
                  <a:cubicBezTo>
                    <a:pt x="6" y="75"/>
                    <a:pt x="6" y="76"/>
                    <a:pt x="6" y="77"/>
                  </a:cubicBezTo>
                  <a:cubicBezTo>
                    <a:pt x="4" y="77"/>
                    <a:pt x="2" y="78"/>
                    <a:pt x="1" y="78"/>
                  </a:cubicBezTo>
                  <a:cubicBezTo>
                    <a:pt x="1" y="78"/>
                    <a:pt x="1" y="78"/>
                    <a:pt x="0" y="78"/>
                  </a:cubicBezTo>
                  <a:cubicBezTo>
                    <a:pt x="0" y="79"/>
                    <a:pt x="0" y="79"/>
                    <a:pt x="0" y="79"/>
                  </a:cubicBezTo>
                  <a:cubicBezTo>
                    <a:pt x="0" y="80"/>
                    <a:pt x="0" y="80"/>
                    <a:pt x="1" y="80"/>
                  </a:cubicBezTo>
                  <a:cubicBezTo>
                    <a:pt x="1" y="81"/>
                    <a:pt x="1" y="81"/>
                    <a:pt x="2" y="81"/>
                  </a:cubicBezTo>
                  <a:cubicBezTo>
                    <a:pt x="2" y="81"/>
                    <a:pt x="4" y="81"/>
                    <a:pt x="6" y="81"/>
                  </a:cubicBezTo>
                  <a:cubicBezTo>
                    <a:pt x="6" y="82"/>
                    <a:pt x="6" y="83"/>
                    <a:pt x="7" y="84"/>
                  </a:cubicBezTo>
                  <a:cubicBezTo>
                    <a:pt x="5" y="84"/>
                    <a:pt x="3" y="85"/>
                    <a:pt x="2" y="85"/>
                  </a:cubicBezTo>
                  <a:cubicBezTo>
                    <a:pt x="2" y="85"/>
                    <a:pt x="2" y="85"/>
                    <a:pt x="2" y="86"/>
                  </a:cubicBezTo>
                  <a:cubicBezTo>
                    <a:pt x="1" y="86"/>
                    <a:pt x="1" y="86"/>
                    <a:pt x="1" y="87"/>
                  </a:cubicBezTo>
                  <a:cubicBezTo>
                    <a:pt x="1" y="87"/>
                    <a:pt x="2" y="88"/>
                    <a:pt x="2" y="88"/>
                  </a:cubicBezTo>
                  <a:cubicBezTo>
                    <a:pt x="2" y="88"/>
                    <a:pt x="3" y="88"/>
                    <a:pt x="3" y="88"/>
                  </a:cubicBezTo>
                  <a:cubicBezTo>
                    <a:pt x="3" y="88"/>
                    <a:pt x="6" y="88"/>
                    <a:pt x="7" y="88"/>
                  </a:cubicBezTo>
                  <a:cubicBezTo>
                    <a:pt x="8" y="89"/>
                    <a:pt x="8" y="90"/>
                    <a:pt x="8" y="90"/>
                  </a:cubicBezTo>
                  <a:cubicBezTo>
                    <a:pt x="6" y="91"/>
                    <a:pt x="4" y="92"/>
                    <a:pt x="4" y="92"/>
                  </a:cubicBezTo>
                  <a:cubicBezTo>
                    <a:pt x="4" y="92"/>
                    <a:pt x="3" y="93"/>
                    <a:pt x="3" y="93"/>
                  </a:cubicBezTo>
                  <a:cubicBezTo>
                    <a:pt x="3" y="93"/>
                    <a:pt x="3" y="94"/>
                    <a:pt x="3" y="94"/>
                  </a:cubicBezTo>
                  <a:cubicBezTo>
                    <a:pt x="3" y="95"/>
                    <a:pt x="4" y="95"/>
                    <a:pt x="4" y="95"/>
                  </a:cubicBezTo>
                  <a:cubicBezTo>
                    <a:pt x="4" y="95"/>
                    <a:pt x="5" y="95"/>
                    <a:pt x="5" y="95"/>
                  </a:cubicBezTo>
                  <a:cubicBezTo>
                    <a:pt x="6" y="95"/>
                    <a:pt x="7" y="95"/>
                    <a:pt x="9" y="94"/>
                  </a:cubicBezTo>
                  <a:cubicBezTo>
                    <a:pt x="10" y="95"/>
                    <a:pt x="10" y="96"/>
                    <a:pt x="10" y="97"/>
                  </a:cubicBezTo>
                  <a:cubicBezTo>
                    <a:pt x="9" y="98"/>
                    <a:pt x="7" y="99"/>
                    <a:pt x="7" y="99"/>
                  </a:cubicBezTo>
                  <a:cubicBezTo>
                    <a:pt x="6" y="99"/>
                    <a:pt x="6" y="100"/>
                    <a:pt x="6" y="100"/>
                  </a:cubicBezTo>
                  <a:cubicBezTo>
                    <a:pt x="6" y="100"/>
                    <a:pt x="6" y="101"/>
                    <a:pt x="6" y="101"/>
                  </a:cubicBezTo>
                  <a:cubicBezTo>
                    <a:pt x="6" y="102"/>
                    <a:pt x="6" y="102"/>
                    <a:pt x="7" y="102"/>
                  </a:cubicBezTo>
                  <a:cubicBezTo>
                    <a:pt x="7" y="102"/>
                    <a:pt x="7" y="102"/>
                    <a:pt x="8" y="102"/>
                  </a:cubicBezTo>
                  <a:cubicBezTo>
                    <a:pt x="8" y="102"/>
                    <a:pt x="10" y="101"/>
                    <a:pt x="12" y="101"/>
                  </a:cubicBezTo>
                  <a:cubicBezTo>
                    <a:pt x="12" y="102"/>
                    <a:pt x="13" y="102"/>
                    <a:pt x="13" y="103"/>
                  </a:cubicBezTo>
                  <a:cubicBezTo>
                    <a:pt x="12" y="104"/>
                    <a:pt x="10" y="106"/>
                    <a:pt x="10" y="106"/>
                  </a:cubicBezTo>
                  <a:cubicBezTo>
                    <a:pt x="10" y="106"/>
                    <a:pt x="9" y="106"/>
                    <a:pt x="9" y="107"/>
                  </a:cubicBezTo>
                  <a:cubicBezTo>
                    <a:pt x="9" y="107"/>
                    <a:pt x="9" y="107"/>
                    <a:pt x="9" y="108"/>
                  </a:cubicBezTo>
                  <a:cubicBezTo>
                    <a:pt x="10" y="108"/>
                    <a:pt x="10" y="109"/>
                    <a:pt x="10" y="109"/>
                  </a:cubicBezTo>
                  <a:cubicBezTo>
                    <a:pt x="11" y="109"/>
                    <a:pt x="11" y="109"/>
                    <a:pt x="11" y="109"/>
                  </a:cubicBezTo>
                  <a:cubicBezTo>
                    <a:pt x="12" y="108"/>
                    <a:pt x="14" y="107"/>
                    <a:pt x="15" y="107"/>
                  </a:cubicBezTo>
                  <a:cubicBezTo>
                    <a:pt x="16" y="107"/>
                    <a:pt x="16" y="108"/>
                    <a:pt x="17" y="109"/>
                  </a:cubicBezTo>
                  <a:cubicBezTo>
                    <a:pt x="16" y="110"/>
                    <a:pt x="14" y="112"/>
                    <a:pt x="14" y="112"/>
                  </a:cubicBezTo>
                  <a:cubicBezTo>
                    <a:pt x="13" y="112"/>
                    <a:pt x="13" y="113"/>
                    <a:pt x="13" y="113"/>
                  </a:cubicBezTo>
                  <a:cubicBezTo>
                    <a:pt x="13" y="114"/>
                    <a:pt x="13" y="114"/>
                    <a:pt x="14" y="114"/>
                  </a:cubicBezTo>
                  <a:cubicBezTo>
                    <a:pt x="14" y="114"/>
                    <a:pt x="14" y="115"/>
                    <a:pt x="14" y="115"/>
                  </a:cubicBezTo>
                  <a:cubicBezTo>
                    <a:pt x="15" y="115"/>
                    <a:pt x="15" y="115"/>
                    <a:pt x="15" y="115"/>
                  </a:cubicBezTo>
                  <a:cubicBezTo>
                    <a:pt x="16" y="114"/>
                    <a:pt x="18" y="113"/>
                    <a:pt x="19" y="112"/>
                  </a:cubicBezTo>
                  <a:cubicBezTo>
                    <a:pt x="20" y="113"/>
                    <a:pt x="21" y="114"/>
                    <a:pt x="21" y="115"/>
                  </a:cubicBezTo>
                  <a:cubicBezTo>
                    <a:pt x="20" y="116"/>
                    <a:pt x="18" y="118"/>
                    <a:pt x="18" y="118"/>
                  </a:cubicBezTo>
                  <a:cubicBezTo>
                    <a:pt x="18" y="118"/>
                    <a:pt x="18" y="119"/>
                    <a:pt x="18" y="119"/>
                  </a:cubicBezTo>
                  <a:cubicBezTo>
                    <a:pt x="18" y="119"/>
                    <a:pt x="18" y="120"/>
                    <a:pt x="18" y="120"/>
                  </a:cubicBezTo>
                  <a:cubicBezTo>
                    <a:pt x="18" y="120"/>
                    <a:pt x="19" y="121"/>
                    <a:pt x="19" y="121"/>
                  </a:cubicBezTo>
                  <a:cubicBezTo>
                    <a:pt x="20" y="121"/>
                    <a:pt x="20" y="121"/>
                    <a:pt x="20" y="120"/>
                  </a:cubicBezTo>
                  <a:cubicBezTo>
                    <a:pt x="21" y="120"/>
                    <a:pt x="22" y="119"/>
                    <a:pt x="24" y="118"/>
                  </a:cubicBezTo>
                  <a:cubicBezTo>
                    <a:pt x="24" y="118"/>
                    <a:pt x="25" y="119"/>
                    <a:pt x="26" y="120"/>
                  </a:cubicBezTo>
                  <a:cubicBezTo>
                    <a:pt x="25" y="121"/>
                    <a:pt x="24" y="123"/>
                    <a:pt x="23" y="123"/>
                  </a:cubicBezTo>
                  <a:cubicBezTo>
                    <a:pt x="23" y="124"/>
                    <a:pt x="23" y="124"/>
                    <a:pt x="23" y="124"/>
                  </a:cubicBezTo>
                  <a:cubicBezTo>
                    <a:pt x="23" y="125"/>
                    <a:pt x="23" y="125"/>
                    <a:pt x="24" y="125"/>
                  </a:cubicBezTo>
                  <a:cubicBezTo>
                    <a:pt x="24" y="126"/>
                    <a:pt x="24" y="126"/>
                    <a:pt x="24" y="126"/>
                  </a:cubicBezTo>
                  <a:cubicBezTo>
                    <a:pt x="25" y="126"/>
                    <a:pt x="25" y="126"/>
                    <a:pt x="26" y="125"/>
                  </a:cubicBezTo>
                  <a:cubicBezTo>
                    <a:pt x="26" y="125"/>
                    <a:pt x="27" y="124"/>
                    <a:pt x="29" y="122"/>
                  </a:cubicBezTo>
                  <a:cubicBezTo>
                    <a:pt x="30" y="123"/>
                    <a:pt x="30" y="124"/>
                    <a:pt x="31" y="124"/>
                  </a:cubicBezTo>
                  <a:cubicBezTo>
                    <a:pt x="30" y="126"/>
                    <a:pt x="29" y="128"/>
                    <a:pt x="29" y="128"/>
                  </a:cubicBezTo>
                  <a:cubicBezTo>
                    <a:pt x="29" y="128"/>
                    <a:pt x="29" y="129"/>
                    <a:pt x="29" y="129"/>
                  </a:cubicBezTo>
                  <a:cubicBezTo>
                    <a:pt x="29" y="130"/>
                    <a:pt x="29" y="130"/>
                    <a:pt x="29" y="130"/>
                  </a:cubicBezTo>
                  <a:cubicBezTo>
                    <a:pt x="30" y="130"/>
                    <a:pt x="30" y="130"/>
                    <a:pt x="30" y="130"/>
                  </a:cubicBezTo>
                  <a:cubicBezTo>
                    <a:pt x="31" y="130"/>
                    <a:pt x="31" y="130"/>
                    <a:pt x="31" y="130"/>
                  </a:cubicBezTo>
                  <a:cubicBezTo>
                    <a:pt x="32" y="130"/>
                    <a:pt x="33" y="128"/>
                    <a:pt x="34" y="127"/>
                  </a:cubicBezTo>
                  <a:cubicBezTo>
                    <a:pt x="35" y="127"/>
                    <a:pt x="36" y="128"/>
                    <a:pt x="37" y="128"/>
                  </a:cubicBezTo>
                  <a:cubicBezTo>
                    <a:pt x="36" y="130"/>
                    <a:pt x="35" y="132"/>
                    <a:pt x="35" y="132"/>
                  </a:cubicBezTo>
                  <a:cubicBezTo>
                    <a:pt x="35" y="133"/>
                    <a:pt x="35" y="133"/>
                    <a:pt x="35" y="133"/>
                  </a:cubicBezTo>
                  <a:cubicBezTo>
                    <a:pt x="35" y="134"/>
                    <a:pt x="35" y="134"/>
                    <a:pt x="36" y="134"/>
                  </a:cubicBezTo>
                  <a:cubicBezTo>
                    <a:pt x="36" y="134"/>
                    <a:pt x="36" y="134"/>
                    <a:pt x="37" y="134"/>
                  </a:cubicBezTo>
                  <a:cubicBezTo>
                    <a:pt x="37" y="134"/>
                    <a:pt x="37" y="134"/>
                    <a:pt x="38" y="134"/>
                  </a:cubicBezTo>
                  <a:cubicBezTo>
                    <a:pt x="38" y="133"/>
                    <a:pt x="39" y="132"/>
                    <a:pt x="40" y="130"/>
                  </a:cubicBezTo>
                  <a:cubicBezTo>
                    <a:pt x="41" y="131"/>
                    <a:pt x="42" y="131"/>
                    <a:pt x="43" y="131"/>
                  </a:cubicBezTo>
                  <a:cubicBezTo>
                    <a:pt x="42" y="133"/>
                    <a:pt x="42" y="135"/>
                    <a:pt x="42" y="136"/>
                  </a:cubicBezTo>
                  <a:cubicBezTo>
                    <a:pt x="41" y="136"/>
                    <a:pt x="41" y="137"/>
                    <a:pt x="42" y="137"/>
                  </a:cubicBezTo>
                  <a:cubicBezTo>
                    <a:pt x="42" y="137"/>
                    <a:pt x="42" y="137"/>
                    <a:pt x="42" y="138"/>
                  </a:cubicBezTo>
                  <a:cubicBezTo>
                    <a:pt x="43" y="138"/>
                    <a:pt x="43" y="138"/>
                    <a:pt x="43" y="138"/>
                  </a:cubicBezTo>
                  <a:cubicBezTo>
                    <a:pt x="44" y="138"/>
                    <a:pt x="44" y="137"/>
                    <a:pt x="44" y="137"/>
                  </a:cubicBezTo>
                  <a:cubicBezTo>
                    <a:pt x="45" y="137"/>
                    <a:pt x="46" y="135"/>
                    <a:pt x="47" y="133"/>
                  </a:cubicBezTo>
                  <a:cubicBezTo>
                    <a:pt x="47" y="134"/>
                    <a:pt x="48" y="134"/>
                    <a:pt x="49" y="134"/>
                  </a:cubicBezTo>
                  <a:cubicBezTo>
                    <a:pt x="49" y="136"/>
                    <a:pt x="48" y="138"/>
                    <a:pt x="48" y="139"/>
                  </a:cubicBezTo>
                  <a:cubicBezTo>
                    <a:pt x="48" y="139"/>
                    <a:pt x="48" y="139"/>
                    <a:pt x="49" y="140"/>
                  </a:cubicBezTo>
                  <a:cubicBezTo>
                    <a:pt x="49" y="140"/>
                    <a:pt x="49" y="140"/>
                    <a:pt x="49" y="140"/>
                  </a:cubicBezTo>
                  <a:cubicBezTo>
                    <a:pt x="50" y="140"/>
                    <a:pt x="50" y="140"/>
                    <a:pt x="50" y="140"/>
                  </a:cubicBezTo>
                  <a:cubicBezTo>
                    <a:pt x="51" y="140"/>
                    <a:pt x="51" y="140"/>
                    <a:pt x="51" y="139"/>
                  </a:cubicBezTo>
                  <a:cubicBezTo>
                    <a:pt x="51" y="139"/>
                    <a:pt x="52" y="137"/>
                    <a:pt x="53" y="135"/>
                  </a:cubicBezTo>
                  <a:cubicBezTo>
                    <a:pt x="54" y="136"/>
                    <a:pt x="55" y="136"/>
                    <a:pt x="56" y="136"/>
                  </a:cubicBezTo>
                  <a:cubicBezTo>
                    <a:pt x="56" y="138"/>
                    <a:pt x="55" y="140"/>
                    <a:pt x="55" y="141"/>
                  </a:cubicBezTo>
                  <a:cubicBezTo>
                    <a:pt x="55" y="141"/>
                    <a:pt x="55" y="141"/>
                    <a:pt x="56" y="142"/>
                  </a:cubicBezTo>
                  <a:cubicBezTo>
                    <a:pt x="56" y="142"/>
                    <a:pt x="56" y="142"/>
                    <a:pt x="57" y="142"/>
                  </a:cubicBezTo>
                  <a:cubicBezTo>
                    <a:pt x="57" y="142"/>
                    <a:pt x="57" y="142"/>
                    <a:pt x="58" y="142"/>
                  </a:cubicBezTo>
                  <a:cubicBezTo>
                    <a:pt x="58" y="142"/>
                    <a:pt x="58" y="142"/>
                    <a:pt x="58" y="141"/>
                  </a:cubicBezTo>
                  <a:cubicBezTo>
                    <a:pt x="59" y="141"/>
                    <a:pt x="59" y="139"/>
                    <a:pt x="60" y="137"/>
                  </a:cubicBezTo>
                  <a:cubicBezTo>
                    <a:pt x="61" y="137"/>
                    <a:pt x="62" y="137"/>
                    <a:pt x="63" y="137"/>
                  </a:cubicBezTo>
                  <a:cubicBezTo>
                    <a:pt x="63" y="139"/>
                    <a:pt x="63" y="142"/>
                    <a:pt x="63" y="142"/>
                  </a:cubicBezTo>
                  <a:cubicBezTo>
                    <a:pt x="63" y="142"/>
                    <a:pt x="63" y="143"/>
                    <a:pt x="63" y="143"/>
                  </a:cubicBezTo>
                  <a:cubicBezTo>
                    <a:pt x="63" y="143"/>
                    <a:pt x="64" y="143"/>
                    <a:pt x="64" y="143"/>
                  </a:cubicBezTo>
                  <a:cubicBezTo>
                    <a:pt x="65" y="143"/>
                    <a:pt x="65" y="143"/>
                    <a:pt x="65" y="143"/>
                  </a:cubicBezTo>
                  <a:cubicBezTo>
                    <a:pt x="65" y="143"/>
                    <a:pt x="66" y="143"/>
                    <a:pt x="66" y="142"/>
                  </a:cubicBezTo>
                  <a:cubicBezTo>
                    <a:pt x="66" y="142"/>
                    <a:pt x="66" y="140"/>
                    <a:pt x="67" y="138"/>
                  </a:cubicBezTo>
                  <a:cubicBezTo>
                    <a:pt x="68" y="138"/>
                    <a:pt x="69" y="138"/>
                    <a:pt x="70" y="138"/>
                  </a:cubicBezTo>
                  <a:cubicBezTo>
                    <a:pt x="70" y="140"/>
                    <a:pt x="70" y="142"/>
                    <a:pt x="70" y="142"/>
                  </a:cubicBezTo>
                  <a:cubicBezTo>
                    <a:pt x="70" y="143"/>
                    <a:pt x="70" y="143"/>
                    <a:pt x="71" y="143"/>
                  </a:cubicBezTo>
                  <a:cubicBezTo>
                    <a:pt x="71" y="144"/>
                    <a:pt x="71" y="144"/>
                    <a:pt x="72" y="144"/>
                  </a:cubicBezTo>
                  <a:cubicBezTo>
                    <a:pt x="72" y="144"/>
                    <a:pt x="72" y="144"/>
                    <a:pt x="73" y="143"/>
                  </a:cubicBezTo>
                  <a:cubicBezTo>
                    <a:pt x="73" y="143"/>
                    <a:pt x="73" y="143"/>
                    <a:pt x="73" y="142"/>
                  </a:cubicBezTo>
                  <a:cubicBezTo>
                    <a:pt x="73" y="142"/>
                    <a:pt x="73" y="140"/>
                    <a:pt x="74" y="138"/>
                  </a:cubicBezTo>
                  <a:cubicBezTo>
                    <a:pt x="75" y="138"/>
                    <a:pt x="75" y="138"/>
                    <a:pt x="77" y="138"/>
                  </a:cubicBezTo>
                  <a:cubicBezTo>
                    <a:pt x="77" y="140"/>
                    <a:pt x="77" y="142"/>
                    <a:pt x="77" y="142"/>
                  </a:cubicBezTo>
                  <a:cubicBezTo>
                    <a:pt x="77" y="143"/>
                    <a:pt x="78" y="143"/>
                    <a:pt x="78" y="143"/>
                  </a:cubicBezTo>
                  <a:cubicBezTo>
                    <a:pt x="78" y="143"/>
                    <a:pt x="79" y="143"/>
                    <a:pt x="79" y="143"/>
                  </a:cubicBezTo>
                  <a:cubicBezTo>
                    <a:pt x="79" y="143"/>
                    <a:pt x="80" y="143"/>
                    <a:pt x="80" y="143"/>
                  </a:cubicBezTo>
                  <a:cubicBezTo>
                    <a:pt x="80" y="143"/>
                    <a:pt x="81" y="142"/>
                    <a:pt x="81" y="142"/>
                  </a:cubicBezTo>
                  <a:cubicBezTo>
                    <a:pt x="81" y="142"/>
                    <a:pt x="81" y="139"/>
                    <a:pt x="80" y="137"/>
                  </a:cubicBezTo>
                  <a:cubicBezTo>
                    <a:pt x="81" y="137"/>
                    <a:pt x="82" y="137"/>
                    <a:pt x="83" y="137"/>
                  </a:cubicBezTo>
                  <a:cubicBezTo>
                    <a:pt x="84" y="139"/>
                    <a:pt x="85" y="141"/>
                    <a:pt x="85" y="141"/>
                  </a:cubicBezTo>
                  <a:cubicBezTo>
                    <a:pt x="85" y="142"/>
                    <a:pt x="85" y="142"/>
                    <a:pt x="85" y="142"/>
                  </a:cubicBezTo>
                  <a:cubicBezTo>
                    <a:pt x="86" y="142"/>
                    <a:pt x="86" y="142"/>
                    <a:pt x="86" y="142"/>
                  </a:cubicBezTo>
                  <a:cubicBezTo>
                    <a:pt x="87" y="142"/>
                    <a:pt x="87" y="142"/>
                    <a:pt x="87" y="142"/>
                  </a:cubicBezTo>
                  <a:cubicBezTo>
                    <a:pt x="88" y="141"/>
                    <a:pt x="88" y="141"/>
                    <a:pt x="88" y="141"/>
                  </a:cubicBezTo>
                  <a:cubicBezTo>
                    <a:pt x="88" y="140"/>
                    <a:pt x="87" y="138"/>
                    <a:pt x="87" y="136"/>
                  </a:cubicBezTo>
                  <a:cubicBezTo>
                    <a:pt x="88" y="136"/>
                    <a:pt x="89" y="136"/>
                    <a:pt x="90" y="135"/>
                  </a:cubicBezTo>
                  <a:cubicBezTo>
                    <a:pt x="91" y="137"/>
                    <a:pt x="92" y="139"/>
                    <a:pt x="92" y="139"/>
                  </a:cubicBezTo>
                  <a:cubicBezTo>
                    <a:pt x="92" y="140"/>
                    <a:pt x="92" y="140"/>
                    <a:pt x="93" y="140"/>
                  </a:cubicBezTo>
                  <a:cubicBezTo>
                    <a:pt x="93" y="140"/>
                    <a:pt x="93" y="140"/>
                    <a:pt x="94" y="140"/>
                  </a:cubicBezTo>
                  <a:cubicBezTo>
                    <a:pt x="94" y="140"/>
                    <a:pt x="94" y="140"/>
                    <a:pt x="95" y="140"/>
                  </a:cubicBezTo>
                  <a:cubicBezTo>
                    <a:pt x="95" y="139"/>
                    <a:pt x="95" y="139"/>
                    <a:pt x="95" y="139"/>
                  </a:cubicBezTo>
                  <a:cubicBezTo>
                    <a:pt x="95" y="138"/>
                    <a:pt x="94" y="136"/>
                    <a:pt x="94" y="134"/>
                  </a:cubicBezTo>
                  <a:cubicBezTo>
                    <a:pt x="95" y="134"/>
                    <a:pt x="96" y="134"/>
                    <a:pt x="97" y="133"/>
                  </a:cubicBezTo>
                  <a:cubicBezTo>
                    <a:pt x="98" y="135"/>
                    <a:pt x="99" y="137"/>
                    <a:pt x="99" y="137"/>
                  </a:cubicBezTo>
                  <a:cubicBezTo>
                    <a:pt x="99" y="137"/>
                    <a:pt x="99" y="138"/>
                    <a:pt x="100" y="138"/>
                  </a:cubicBezTo>
                  <a:cubicBezTo>
                    <a:pt x="100" y="138"/>
                    <a:pt x="100" y="138"/>
                    <a:pt x="101" y="138"/>
                  </a:cubicBezTo>
                  <a:cubicBezTo>
                    <a:pt x="101" y="137"/>
                    <a:pt x="101" y="137"/>
                    <a:pt x="102" y="137"/>
                  </a:cubicBezTo>
                  <a:cubicBezTo>
                    <a:pt x="102" y="137"/>
                    <a:pt x="102" y="136"/>
                    <a:pt x="102" y="136"/>
                  </a:cubicBezTo>
                  <a:cubicBezTo>
                    <a:pt x="102" y="135"/>
                    <a:pt x="101" y="133"/>
                    <a:pt x="100" y="131"/>
                  </a:cubicBezTo>
                  <a:cubicBezTo>
                    <a:pt x="101" y="131"/>
                    <a:pt x="102" y="131"/>
                    <a:pt x="103" y="130"/>
                  </a:cubicBezTo>
                  <a:cubicBezTo>
                    <a:pt x="104" y="132"/>
                    <a:pt x="105" y="133"/>
                    <a:pt x="105" y="134"/>
                  </a:cubicBezTo>
                  <a:cubicBezTo>
                    <a:pt x="106" y="134"/>
                    <a:pt x="106" y="134"/>
                    <a:pt x="106" y="134"/>
                  </a:cubicBezTo>
                  <a:cubicBezTo>
                    <a:pt x="107" y="134"/>
                    <a:pt x="107" y="134"/>
                    <a:pt x="107" y="134"/>
                  </a:cubicBezTo>
                  <a:cubicBezTo>
                    <a:pt x="108" y="134"/>
                    <a:pt x="108" y="134"/>
                    <a:pt x="108" y="133"/>
                  </a:cubicBezTo>
                  <a:cubicBezTo>
                    <a:pt x="108" y="133"/>
                    <a:pt x="108" y="133"/>
                    <a:pt x="108" y="132"/>
                  </a:cubicBezTo>
                  <a:cubicBezTo>
                    <a:pt x="108" y="132"/>
                    <a:pt x="107" y="130"/>
                    <a:pt x="106" y="128"/>
                  </a:cubicBezTo>
                  <a:cubicBezTo>
                    <a:pt x="107" y="128"/>
                    <a:pt x="108" y="127"/>
                    <a:pt x="109" y="127"/>
                  </a:cubicBezTo>
                  <a:cubicBezTo>
                    <a:pt x="110" y="128"/>
                    <a:pt x="111" y="130"/>
                    <a:pt x="112" y="130"/>
                  </a:cubicBezTo>
                  <a:cubicBezTo>
                    <a:pt x="112" y="130"/>
                    <a:pt x="112" y="130"/>
                    <a:pt x="113" y="130"/>
                  </a:cubicBezTo>
                  <a:cubicBezTo>
                    <a:pt x="113" y="130"/>
                    <a:pt x="113" y="130"/>
                    <a:pt x="114" y="130"/>
                  </a:cubicBezTo>
                  <a:cubicBezTo>
                    <a:pt x="114" y="130"/>
                    <a:pt x="114" y="130"/>
                    <a:pt x="114" y="129"/>
                  </a:cubicBezTo>
                  <a:cubicBezTo>
                    <a:pt x="114" y="129"/>
                    <a:pt x="114" y="128"/>
                    <a:pt x="114" y="128"/>
                  </a:cubicBezTo>
                  <a:cubicBezTo>
                    <a:pt x="114" y="128"/>
                    <a:pt x="113" y="126"/>
                    <a:pt x="112" y="124"/>
                  </a:cubicBezTo>
                  <a:cubicBezTo>
                    <a:pt x="113" y="124"/>
                    <a:pt x="114" y="123"/>
                    <a:pt x="114" y="122"/>
                  </a:cubicBezTo>
                  <a:cubicBezTo>
                    <a:pt x="116" y="124"/>
                    <a:pt x="117" y="125"/>
                    <a:pt x="118" y="125"/>
                  </a:cubicBezTo>
                  <a:cubicBezTo>
                    <a:pt x="118" y="126"/>
                    <a:pt x="118" y="126"/>
                    <a:pt x="119" y="126"/>
                  </a:cubicBezTo>
                  <a:cubicBezTo>
                    <a:pt x="119" y="126"/>
                    <a:pt x="119" y="126"/>
                    <a:pt x="120" y="125"/>
                  </a:cubicBezTo>
                  <a:cubicBezTo>
                    <a:pt x="120" y="125"/>
                    <a:pt x="120" y="125"/>
                    <a:pt x="120" y="124"/>
                  </a:cubicBezTo>
                  <a:cubicBezTo>
                    <a:pt x="120" y="124"/>
                    <a:pt x="120" y="124"/>
                    <a:pt x="120" y="123"/>
                  </a:cubicBezTo>
                  <a:cubicBezTo>
                    <a:pt x="120" y="123"/>
                    <a:pt x="118" y="121"/>
                    <a:pt x="117" y="120"/>
                  </a:cubicBezTo>
                  <a:cubicBezTo>
                    <a:pt x="118" y="119"/>
                    <a:pt x="119" y="118"/>
                    <a:pt x="119" y="118"/>
                  </a:cubicBezTo>
                  <a:cubicBezTo>
                    <a:pt x="121" y="119"/>
                    <a:pt x="123" y="120"/>
                    <a:pt x="123" y="120"/>
                  </a:cubicBezTo>
                  <a:cubicBezTo>
                    <a:pt x="123" y="121"/>
                    <a:pt x="124" y="121"/>
                    <a:pt x="124" y="121"/>
                  </a:cubicBezTo>
                  <a:cubicBezTo>
                    <a:pt x="124" y="121"/>
                    <a:pt x="125" y="120"/>
                    <a:pt x="125" y="120"/>
                  </a:cubicBezTo>
                  <a:cubicBezTo>
                    <a:pt x="125" y="120"/>
                    <a:pt x="125" y="119"/>
                    <a:pt x="125" y="119"/>
                  </a:cubicBezTo>
                  <a:cubicBezTo>
                    <a:pt x="125" y="119"/>
                    <a:pt x="125" y="118"/>
                    <a:pt x="125" y="118"/>
                  </a:cubicBezTo>
                  <a:cubicBezTo>
                    <a:pt x="125" y="118"/>
                    <a:pt x="123" y="116"/>
                    <a:pt x="122" y="115"/>
                  </a:cubicBezTo>
                  <a:cubicBezTo>
                    <a:pt x="123" y="114"/>
                    <a:pt x="123" y="113"/>
                    <a:pt x="124" y="112"/>
                  </a:cubicBezTo>
                  <a:cubicBezTo>
                    <a:pt x="125" y="113"/>
                    <a:pt x="127" y="114"/>
                    <a:pt x="128" y="115"/>
                  </a:cubicBezTo>
                  <a:cubicBezTo>
                    <a:pt x="128" y="115"/>
                    <a:pt x="128" y="115"/>
                    <a:pt x="129" y="115"/>
                  </a:cubicBezTo>
                  <a:cubicBezTo>
                    <a:pt x="129" y="115"/>
                    <a:pt x="129" y="114"/>
                    <a:pt x="130" y="114"/>
                  </a:cubicBezTo>
                  <a:cubicBezTo>
                    <a:pt x="130" y="114"/>
                    <a:pt x="130" y="114"/>
                    <a:pt x="130" y="113"/>
                  </a:cubicBezTo>
                  <a:cubicBezTo>
                    <a:pt x="130" y="113"/>
                    <a:pt x="130" y="112"/>
                    <a:pt x="129" y="112"/>
                  </a:cubicBezTo>
                  <a:cubicBezTo>
                    <a:pt x="129" y="112"/>
                    <a:pt x="128" y="110"/>
                    <a:pt x="126" y="109"/>
                  </a:cubicBezTo>
                  <a:cubicBezTo>
                    <a:pt x="127" y="108"/>
                    <a:pt x="127" y="107"/>
                    <a:pt x="128" y="107"/>
                  </a:cubicBezTo>
                  <a:cubicBezTo>
                    <a:pt x="130" y="107"/>
                    <a:pt x="131" y="108"/>
                    <a:pt x="132" y="109"/>
                  </a:cubicBezTo>
                  <a:cubicBezTo>
                    <a:pt x="132" y="109"/>
                    <a:pt x="133" y="109"/>
                    <a:pt x="133" y="109"/>
                  </a:cubicBezTo>
                  <a:cubicBezTo>
                    <a:pt x="133" y="109"/>
                    <a:pt x="134" y="108"/>
                    <a:pt x="134" y="108"/>
                  </a:cubicBezTo>
                  <a:cubicBezTo>
                    <a:pt x="134" y="107"/>
                    <a:pt x="134" y="107"/>
                    <a:pt x="134" y="107"/>
                  </a:cubicBezTo>
                  <a:cubicBezTo>
                    <a:pt x="134" y="106"/>
                    <a:pt x="134" y="106"/>
                    <a:pt x="133" y="106"/>
                  </a:cubicBezTo>
                  <a:cubicBezTo>
                    <a:pt x="133" y="106"/>
                    <a:pt x="131" y="104"/>
                    <a:pt x="130" y="103"/>
                  </a:cubicBezTo>
                  <a:cubicBezTo>
                    <a:pt x="130" y="102"/>
                    <a:pt x="131" y="102"/>
                    <a:pt x="131" y="101"/>
                  </a:cubicBezTo>
                  <a:cubicBezTo>
                    <a:pt x="133" y="101"/>
                    <a:pt x="135" y="102"/>
                    <a:pt x="135" y="102"/>
                  </a:cubicBezTo>
                  <a:cubicBezTo>
                    <a:pt x="136" y="102"/>
                    <a:pt x="136" y="102"/>
                    <a:pt x="136" y="102"/>
                  </a:cubicBezTo>
                  <a:cubicBezTo>
                    <a:pt x="137" y="102"/>
                    <a:pt x="137" y="102"/>
                    <a:pt x="137" y="101"/>
                  </a:cubicBezTo>
                  <a:cubicBezTo>
                    <a:pt x="137" y="101"/>
                    <a:pt x="137" y="100"/>
                    <a:pt x="137" y="100"/>
                  </a:cubicBezTo>
                  <a:cubicBezTo>
                    <a:pt x="137" y="100"/>
                    <a:pt x="137" y="99"/>
                    <a:pt x="137" y="99"/>
                  </a:cubicBezTo>
                  <a:cubicBezTo>
                    <a:pt x="136" y="99"/>
                    <a:pt x="134" y="98"/>
                    <a:pt x="133" y="97"/>
                  </a:cubicBezTo>
                  <a:cubicBezTo>
                    <a:pt x="133" y="96"/>
                    <a:pt x="133" y="95"/>
                    <a:pt x="134" y="94"/>
                  </a:cubicBezTo>
                  <a:cubicBezTo>
                    <a:pt x="136" y="95"/>
                    <a:pt x="138" y="95"/>
                    <a:pt x="138" y="95"/>
                  </a:cubicBezTo>
                  <a:cubicBezTo>
                    <a:pt x="138" y="95"/>
                    <a:pt x="139" y="95"/>
                    <a:pt x="139" y="95"/>
                  </a:cubicBezTo>
                  <a:cubicBezTo>
                    <a:pt x="139" y="95"/>
                    <a:pt x="140" y="95"/>
                    <a:pt x="140" y="94"/>
                  </a:cubicBezTo>
                  <a:cubicBezTo>
                    <a:pt x="140" y="94"/>
                    <a:pt x="140" y="93"/>
                    <a:pt x="140" y="93"/>
                  </a:cubicBezTo>
                  <a:cubicBezTo>
                    <a:pt x="140" y="93"/>
                    <a:pt x="139" y="92"/>
                    <a:pt x="139" y="92"/>
                  </a:cubicBezTo>
                  <a:cubicBezTo>
                    <a:pt x="139" y="92"/>
                    <a:pt x="137" y="91"/>
                    <a:pt x="135" y="90"/>
                  </a:cubicBezTo>
                  <a:cubicBezTo>
                    <a:pt x="135" y="90"/>
                    <a:pt x="135" y="89"/>
                    <a:pt x="136" y="88"/>
                  </a:cubicBezTo>
                  <a:cubicBezTo>
                    <a:pt x="138" y="88"/>
                    <a:pt x="140" y="88"/>
                    <a:pt x="140" y="88"/>
                  </a:cubicBezTo>
                  <a:cubicBezTo>
                    <a:pt x="141" y="88"/>
                    <a:pt x="141" y="88"/>
                    <a:pt x="141" y="88"/>
                  </a:cubicBezTo>
                  <a:cubicBezTo>
                    <a:pt x="142" y="88"/>
                    <a:pt x="142" y="87"/>
                    <a:pt x="142" y="87"/>
                  </a:cubicBezTo>
                  <a:cubicBezTo>
                    <a:pt x="142" y="86"/>
                    <a:pt x="142" y="86"/>
                    <a:pt x="142" y="86"/>
                  </a:cubicBezTo>
                  <a:cubicBezTo>
                    <a:pt x="141" y="85"/>
                    <a:pt x="141" y="85"/>
                    <a:pt x="141" y="85"/>
                  </a:cubicBezTo>
                  <a:cubicBezTo>
                    <a:pt x="140" y="85"/>
                    <a:pt x="138" y="84"/>
                    <a:pt x="137" y="84"/>
                  </a:cubicBezTo>
                  <a:cubicBezTo>
                    <a:pt x="137" y="83"/>
                    <a:pt x="137" y="82"/>
                    <a:pt x="137" y="81"/>
                  </a:cubicBezTo>
                  <a:cubicBezTo>
                    <a:pt x="139" y="81"/>
                    <a:pt x="141" y="81"/>
                    <a:pt x="141" y="81"/>
                  </a:cubicBezTo>
                  <a:cubicBezTo>
                    <a:pt x="142" y="81"/>
                    <a:pt x="142" y="81"/>
                    <a:pt x="142" y="80"/>
                  </a:cubicBezTo>
                  <a:cubicBezTo>
                    <a:pt x="143" y="80"/>
                    <a:pt x="143" y="80"/>
                    <a:pt x="143" y="79"/>
                  </a:cubicBezTo>
                  <a:cubicBezTo>
                    <a:pt x="143" y="79"/>
                    <a:pt x="143" y="79"/>
                    <a:pt x="143" y="78"/>
                  </a:cubicBezTo>
                  <a:cubicBezTo>
                    <a:pt x="142" y="78"/>
                    <a:pt x="142" y="78"/>
                    <a:pt x="142" y="78"/>
                  </a:cubicBezTo>
                  <a:cubicBezTo>
                    <a:pt x="141" y="78"/>
                    <a:pt x="139" y="77"/>
                    <a:pt x="137" y="77"/>
                  </a:cubicBezTo>
                  <a:cubicBezTo>
                    <a:pt x="138" y="76"/>
                    <a:pt x="138" y="75"/>
                    <a:pt x="138" y="74"/>
                  </a:cubicBezTo>
                  <a:cubicBezTo>
                    <a:pt x="139" y="74"/>
                    <a:pt x="142" y="74"/>
                    <a:pt x="142" y="73"/>
                  </a:cubicBezTo>
                  <a:close/>
                  <a:moveTo>
                    <a:pt x="72" y="129"/>
                  </a:moveTo>
                  <a:cubicBezTo>
                    <a:pt x="40" y="129"/>
                    <a:pt x="14" y="104"/>
                    <a:pt x="14" y="72"/>
                  </a:cubicBezTo>
                  <a:cubicBezTo>
                    <a:pt x="14" y="40"/>
                    <a:pt x="40" y="15"/>
                    <a:pt x="72" y="15"/>
                  </a:cubicBezTo>
                  <a:cubicBezTo>
                    <a:pt x="103" y="15"/>
                    <a:pt x="129" y="40"/>
                    <a:pt x="129" y="72"/>
                  </a:cubicBezTo>
                  <a:cubicBezTo>
                    <a:pt x="129" y="104"/>
                    <a:pt x="103" y="129"/>
                    <a:pt x="72" y="12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8" name="Freeform 361">
              <a:extLst>
                <a:ext uri="{FF2B5EF4-FFF2-40B4-BE49-F238E27FC236}">
                  <a16:creationId xmlns:a16="http://schemas.microsoft.com/office/drawing/2014/main" id="{8AA5A5C6-5ECC-4D8A-A79B-2675986DC011}"/>
                </a:ext>
              </a:extLst>
            </p:cNvPr>
            <p:cNvSpPr>
              <a:spLocks noEditPoints="1"/>
            </p:cNvSpPr>
            <p:nvPr/>
          </p:nvSpPr>
          <p:spPr bwMode="auto">
            <a:xfrm>
              <a:off x="2041483" y="4347511"/>
              <a:ext cx="147592" cy="200574"/>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8" name="Group 47"/>
          <p:cNvGrpSpPr/>
          <p:nvPr/>
        </p:nvGrpSpPr>
        <p:grpSpPr>
          <a:xfrm>
            <a:off x="2297060" y="5456624"/>
            <a:ext cx="505672" cy="504362"/>
            <a:chOff x="2524706" y="5617563"/>
            <a:chExt cx="505672" cy="504362"/>
          </a:xfrm>
        </p:grpSpPr>
        <p:sp>
          <p:nvSpPr>
            <p:cNvPr id="7" name="Freeform 7">
              <a:extLst>
                <a:ext uri="{FF2B5EF4-FFF2-40B4-BE49-F238E27FC236}">
                  <a16:creationId xmlns:a16="http://schemas.microsoft.com/office/drawing/2014/main" id="{02F3BBBB-76FC-4690-B909-6963AC3B7C3A}"/>
                </a:ext>
              </a:extLst>
            </p:cNvPr>
            <p:cNvSpPr>
              <a:spLocks/>
            </p:cNvSpPr>
            <p:nvPr/>
          </p:nvSpPr>
          <p:spPr bwMode="auto">
            <a:xfrm>
              <a:off x="2524706" y="5617563"/>
              <a:ext cx="505672" cy="504362"/>
            </a:xfrm>
            <a:custGeom>
              <a:avLst/>
              <a:gdLst>
                <a:gd name="T0" fmla="*/ 128 w 173"/>
                <a:gd name="T1" fmla="*/ 162 h 173"/>
                <a:gd name="T2" fmla="*/ 135 w 173"/>
                <a:gd name="T3" fmla="*/ 155 h 173"/>
                <a:gd name="T4" fmla="*/ 140 w 173"/>
                <a:gd name="T5" fmla="*/ 151 h 173"/>
                <a:gd name="T6" fmla="*/ 148 w 173"/>
                <a:gd name="T7" fmla="*/ 146 h 173"/>
                <a:gd name="T8" fmla="*/ 144 w 173"/>
                <a:gd name="T9" fmla="*/ 135 h 173"/>
                <a:gd name="T10" fmla="*/ 159 w 173"/>
                <a:gd name="T11" fmla="*/ 133 h 173"/>
                <a:gd name="T12" fmla="*/ 154 w 173"/>
                <a:gd name="T13" fmla="*/ 119 h 173"/>
                <a:gd name="T14" fmla="*/ 166 w 173"/>
                <a:gd name="T15" fmla="*/ 118 h 173"/>
                <a:gd name="T16" fmla="*/ 168 w 173"/>
                <a:gd name="T17" fmla="*/ 108 h 173"/>
                <a:gd name="T18" fmla="*/ 169 w 173"/>
                <a:gd name="T19" fmla="*/ 102 h 173"/>
                <a:gd name="T20" fmla="*/ 172 w 173"/>
                <a:gd name="T21" fmla="*/ 92 h 173"/>
                <a:gd name="T22" fmla="*/ 162 w 173"/>
                <a:gd name="T23" fmla="*/ 86 h 173"/>
                <a:gd name="T24" fmla="*/ 172 w 173"/>
                <a:gd name="T25" fmla="*/ 75 h 173"/>
                <a:gd name="T26" fmla="*/ 159 w 173"/>
                <a:gd name="T27" fmla="*/ 68 h 173"/>
                <a:gd name="T28" fmla="*/ 167 w 173"/>
                <a:gd name="T29" fmla="*/ 59 h 173"/>
                <a:gd name="T30" fmla="*/ 162 w 173"/>
                <a:gd name="T31" fmla="*/ 50 h 173"/>
                <a:gd name="T32" fmla="*/ 159 w 173"/>
                <a:gd name="T33" fmla="*/ 45 h 173"/>
                <a:gd name="T34" fmla="*/ 155 w 173"/>
                <a:gd name="T35" fmla="*/ 36 h 173"/>
                <a:gd name="T36" fmla="*/ 144 w 173"/>
                <a:gd name="T37" fmla="*/ 38 h 173"/>
                <a:gd name="T38" fmla="*/ 145 w 173"/>
                <a:gd name="T39" fmla="*/ 22 h 173"/>
                <a:gd name="T40" fmla="*/ 130 w 173"/>
                <a:gd name="T41" fmla="*/ 25 h 173"/>
                <a:gd name="T42" fmla="*/ 131 w 173"/>
                <a:gd name="T43" fmla="*/ 13 h 173"/>
                <a:gd name="T44" fmla="*/ 121 w 173"/>
                <a:gd name="T45" fmla="*/ 10 h 173"/>
                <a:gd name="T46" fmla="*/ 116 w 173"/>
                <a:gd name="T47" fmla="*/ 8 h 173"/>
                <a:gd name="T48" fmla="*/ 107 w 173"/>
                <a:gd name="T49" fmla="*/ 3 h 173"/>
                <a:gd name="T50" fmla="*/ 99 w 173"/>
                <a:gd name="T51" fmla="*/ 12 h 173"/>
                <a:gd name="T52" fmla="*/ 90 w 173"/>
                <a:gd name="T53" fmla="*/ 0 h 173"/>
                <a:gd name="T54" fmla="*/ 80 w 173"/>
                <a:gd name="T55" fmla="*/ 11 h 173"/>
                <a:gd name="T56" fmla="*/ 73 w 173"/>
                <a:gd name="T57" fmla="*/ 1 h 173"/>
                <a:gd name="T58" fmla="*/ 64 w 173"/>
                <a:gd name="T59" fmla="*/ 5 h 173"/>
                <a:gd name="T60" fmla="*/ 58 w 173"/>
                <a:gd name="T61" fmla="*/ 7 h 173"/>
                <a:gd name="T62" fmla="*/ 48 w 173"/>
                <a:gd name="T63" fmla="*/ 9 h 173"/>
                <a:gd name="T64" fmla="*/ 48 w 173"/>
                <a:gd name="T65" fmla="*/ 21 h 173"/>
                <a:gd name="T66" fmla="*/ 33 w 173"/>
                <a:gd name="T67" fmla="*/ 18 h 173"/>
                <a:gd name="T68" fmla="*/ 33 w 173"/>
                <a:gd name="T69" fmla="*/ 33 h 173"/>
                <a:gd name="T70" fmla="*/ 22 w 173"/>
                <a:gd name="T71" fmla="*/ 30 h 173"/>
                <a:gd name="T72" fmla="*/ 17 w 173"/>
                <a:gd name="T73" fmla="*/ 39 h 173"/>
                <a:gd name="T74" fmla="*/ 14 w 173"/>
                <a:gd name="T75" fmla="*/ 44 h 173"/>
                <a:gd name="T76" fmla="*/ 8 w 173"/>
                <a:gd name="T77" fmla="*/ 52 h 173"/>
                <a:gd name="T78" fmla="*/ 15 w 173"/>
                <a:gd name="T79" fmla="*/ 61 h 173"/>
                <a:gd name="T80" fmla="*/ 2 w 173"/>
                <a:gd name="T81" fmla="*/ 68 h 173"/>
                <a:gd name="T82" fmla="*/ 11 w 173"/>
                <a:gd name="T83" fmla="*/ 79 h 173"/>
                <a:gd name="T84" fmla="*/ 0 w 173"/>
                <a:gd name="T85" fmla="*/ 85 h 173"/>
                <a:gd name="T86" fmla="*/ 3 w 173"/>
                <a:gd name="T87" fmla="*/ 95 h 173"/>
                <a:gd name="T88" fmla="*/ 3 w 173"/>
                <a:gd name="T89" fmla="*/ 101 h 173"/>
                <a:gd name="T90" fmla="*/ 4 w 173"/>
                <a:gd name="T91" fmla="*/ 111 h 173"/>
                <a:gd name="T92" fmla="*/ 16 w 173"/>
                <a:gd name="T93" fmla="*/ 113 h 173"/>
                <a:gd name="T94" fmla="*/ 9 w 173"/>
                <a:gd name="T95" fmla="*/ 127 h 173"/>
                <a:gd name="T96" fmla="*/ 24 w 173"/>
                <a:gd name="T97" fmla="*/ 129 h 173"/>
                <a:gd name="T98" fmla="*/ 19 w 173"/>
                <a:gd name="T99" fmla="*/ 140 h 173"/>
                <a:gd name="T100" fmla="*/ 27 w 173"/>
                <a:gd name="T101" fmla="*/ 147 h 173"/>
                <a:gd name="T102" fmla="*/ 32 w 173"/>
                <a:gd name="T103" fmla="*/ 151 h 173"/>
                <a:gd name="T104" fmla="*/ 38 w 173"/>
                <a:gd name="T105" fmla="*/ 158 h 173"/>
                <a:gd name="T106" fmla="*/ 49 w 173"/>
                <a:gd name="T107" fmla="*/ 152 h 173"/>
                <a:gd name="T108" fmla="*/ 53 w 173"/>
                <a:gd name="T109" fmla="*/ 167 h 173"/>
                <a:gd name="T110" fmla="*/ 66 w 173"/>
                <a:gd name="T111" fmla="*/ 159 h 173"/>
                <a:gd name="T112" fmla="*/ 70 w 173"/>
                <a:gd name="T113" fmla="*/ 171 h 173"/>
                <a:gd name="T114" fmla="*/ 80 w 173"/>
                <a:gd name="T115" fmla="*/ 171 h 173"/>
                <a:gd name="T116" fmla="*/ 86 w 173"/>
                <a:gd name="T117" fmla="*/ 171 h 173"/>
                <a:gd name="T118" fmla="*/ 95 w 173"/>
                <a:gd name="T119" fmla="*/ 172 h 173"/>
                <a:gd name="T120" fmla="*/ 100 w 173"/>
                <a:gd name="T121" fmla="*/ 161 h 173"/>
                <a:gd name="T122" fmla="*/ 112 w 173"/>
                <a:gd name="T123" fmla="*/ 169 h 173"/>
                <a:gd name="T124" fmla="*/ 118 w 173"/>
                <a:gd name="T125" fmla="*/ 15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73">
                  <a:moveTo>
                    <a:pt x="122" y="163"/>
                  </a:moveTo>
                  <a:cubicBezTo>
                    <a:pt x="123" y="163"/>
                    <a:pt x="123" y="164"/>
                    <a:pt x="124" y="164"/>
                  </a:cubicBezTo>
                  <a:cubicBezTo>
                    <a:pt x="125" y="164"/>
                    <a:pt x="126" y="164"/>
                    <a:pt x="126" y="163"/>
                  </a:cubicBezTo>
                  <a:cubicBezTo>
                    <a:pt x="127" y="163"/>
                    <a:pt x="127" y="163"/>
                    <a:pt x="128" y="162"/>
                  </a:cubicBezTo>
                  <a:cubicBezTo>
                    <a:pt x="128" y="161"/>
                    <a:pt x="128" y="160"/>
                    <a:pt x="128" y="160"/>
                  </a:cubicBezTo>
                  <a:cubicBezTo>
                    <a:pt x="127" y="159"/>
                    <a:pt x="126" y="155"/>
                    <a:pt x="124" y="152"/>
                  </a:cubicBezTo>
                  <a:cubicBezTo>
                    <a:pt x="126" y="151"/>
                    <a:pt x="127" y="150"/>
                    <a:pt x="129" y="149"/>
                  </a:cubicBezTo>
                  <a:cubicBezTo>
                    <a:pt x="132" y="151"/>
                    <a:pt x="134" y="155"/>
                    <a:pt x="135" y="155"/>
                  </a:cubicBezTo>
                  <a:cubicBezTo>
                    <a:pt x="135" y="156"/>
                    <a:pt x="136" y="156"/>
                    <a:pt x="137" y="156"/>
                  </a:cubicBezTo>
                  <a:cubicBezTo>
                    <a:pt x="138" y="156"/>
                    <a:pt x="138" y="156"/>
                    <a:pt x="139" y="155"/>
                  </a:cubicBezTo>
                  <a:cubicBezTo>
                    <a:pt x="140" y="155"/>
                    <a:pt x="140" y="154"/>
                    <a:pt x="140" y="154"/>
                  </a:cubicBezTo>
                  <a:cubicBezTo>
                    <a:pt x="140" y="153"/>
                    <a:pt x="140" y="152"/>
                    <a:pt x="140" y="151"/>
                  </a:cubicBezTo>
                  <a:cubicBezTo>
                    <a:pt x="139" y="151"/>
                    <a:pt x="137" y="147"/>
                    <a:pt x="135" y="144"/>
                  </a:cubicBezTo>
                  <a:cubicBezTo>
                    <a:pt x="137" y="143"/>
                    <a:pt x="138" y="141"/>
                    <a:pt x="139" y="140"/>
                  </a:cubicBezTo>
                  <a:cubicBezTo>
                    <a:pt x="142" y="143"/>
                    <a:pt x="145" y="145"/>
                    <a:pt x="146" y="146"/>
                  </a:cubicBezTo>
                  <a:cubicBezTo>
                    <a:pt x="147" y="146"/>
                    <a:pt x="147" y="146"/>
                    <a:pt x="148" y="146"/>
                  </a:cubicBezTo>
                  <a:cubicBezTo>
                    <a:pt x="149" y="146"/>
                    <a:pt x="150" y="146"/>
                    <a:pt x="150" y="145"/>
                  </a:cubicBezTo>
                  <a:cubicBezTo>
                    <a:pt x="151" y="145"/>
                    <a:pt x="151" y="144"/>
                    <a:pt x="151" y="143"/>
                  </a:cubicBezTo>
                  <a:cubicBezTo>
                    <a:pt x="151" y="142"/>
                    <a:pt x="151" y="142"/>
                    <a:pt x="150" y="141"/>
                  </a:cubicBezTo>
                  <a:cubicBezTo>
                    <a:pt x="150" y="141"/>
                    <a:pt x="147" y="137"/>
                    <a:pt x="144" y="135"/>
                  </a:cubicBezTo>
                  <a:cubicBezTo>
                    <a:pt x="145" y="133"/>
                    <a:pt x="147" y="132"/>
                    <a:pt x="148" y="130"/>
                  </a:cubicBezTo>
                  <a:cubicBezTo>
                    <a:pt x="151" y="132"/>
                    <a:pt x="155" y="134"/>
                    <a:pt x="155" y="134"/>
                  </a:cubicBezTo>
                  <a:cubicBezTo>
                    <a:pt x="156" y="135"/>
                    <a:pt x="157" y="135"/>
                    <a:pt x="158" y="134"/>
                  </a:cubicBezTo>
                  <a:cubicBezTo>
                    <a:pt x="158" y="134"/>
                    <a:pt x="159" y="134"/>
                    <a:pt x="159" y="133"/>
                  </a:cubicBezTo>
                  <a:cubicBezTo>
                    <a:pt x="160" y="132"/>
                    <a:pt x="160" y="132"/>
                    <a:pt x="160" y="131"/>
                  </a:cubicBezTo>
                  <a:cubicBezTo>
                    <a:pt x="160" y="130"/>
                    <a:pt x="159" y="130"/>
                    <a:pt x="159" y="129"/>
                  </a:cubicBezTo>
                  <a:cubicBezTo>
                    <a:pt x="158" y="129"/>
                    <a:pt x="155" y="126"/>
                    <a:pt x="152" y="124"/>
                  </a:cubicBezTo>
                  <a:cubicBezTo>
                    <a:pt x="153" y="122"/>
                    <a:pt x="153" y="121"/>
                    <a:pt x="154" y="119"/>
                  </a:cubicBezTo>
                  <a:cubicBezTo>
                    <a:pt x="158" y="120"/>
                    <a:pt x="162" y="121"/>
                    <a:pt x="163" y="121"/>
                  </a:cubicBezTo>
                  <a:cubicBezTo>
                    <a:pt x="163" y="122"/>
                    <a:pt x="164" y="122"/>
                    <a:pt x="165" y="121"/>
                  </a:cubicBezTo>
                  <a:cubicBezTo>
                    <a:pt x="165" y="121"/>
                    <a:pt x="166" y="120"/>
                    <a:pt x="166" y="120"/>
                  </a:cubicBezTo>
                  <a:cubicBezTo>
                    <a:pt x="167" y="119"/>
                    <a:pt x="167" y="118"/>
                    <a:pt x="166" y="118"/>
                  </a:cubicBezTo>
                  <a:cubicBezTo>
                    <a:pt x="166" y="117"/>
                    <a:pt x="166" y="116"/>
                    <a:pt x="165" y="116"/>
                  </a:cubicBezTo>
                  <a:cubicBezTo>
                    <a:pt x="164" y="116"/>
                    <a:pt x="161" y="114"/>
                    <a:pt x="157" y="112"/>
                  </a:cubicBezTo>
                  <a:cubicBezTo>
                    <a:pt x="158" y="110"/>
                    <a:pt x="158" y="108"/>
                    <a:pt x="159" y="107"/>
                  </a:cubicBezTo>
                  <a:cubicBezTo>
                    <a:pt x="163" y="107"/>
                    <a:pt x="167" y="108"/>
                    <a:pt x="168" y="108"/>
                  </a:cubicBezTo>
                  <a:cubicBezTo>
                    <a:pt x="168" y="108"/>
                    <a:pt x="169" y="108"/>
                    <a:pt x="170" y="107"/>
                  </a:cubicBezTo>
                  <a:cubicBezTo>
                    <a:pt x="170" y="107"/>
                    <a:pt x="171" y="106"/>
                    <a:pt x="171" y="105"/>
                  </a:cubicBezTo>
                  <a:cubicBezTo>
                    <a:pt x="171" y="105"/>
                    <a:pt x="171" y="104"/>
                    <a:pt x="170" y="103"/>
                  </a:cubicBezTo>
                  <a:cubicBezTo>
                    <a:pt x="170" y="103"/>
                    <a:pt x="170" y="102"/>
                    <a:pt x="169" y="102"/>
                  </a:cubicBezTo>
                  <a:cubicBezTo>
                    <a:pt x="168" y="101"/>
                    <a:pt x="164" y="100"/>
                    <a:pt x="161" y="99"/>
                  </a:cubicBezTo>
                  <a:cubicBezTo>
                    <a:pt x="161" y="97"/>
                    <a:pt x="161" y="95"/>
                    <a:pt x="161" y="94"/>
                  </a:cubicBezTo>
                  <a:cubicBezTo>
                    <a:pt x="165" y="93"/>
                    <a:pt x="169" y="93"/>
                    <a:pt x="170" y="93"/>
                  </a:cubicBezTo>
                  <a:cubicBezTo>
                    <a:pt x="171" y="93"/>
                    <a:pt x="171" y="93"/>
                    <a:pt x="172" y="92"/>
                  </a:cubicBezTo>
                  <a:cubicBezTo>
                    <a:pt x="172" y="92"/>
                    <a:pt x="173" y="91"/>
                    <a:pt x="173" y="90"/>
                  </a:cubicBezTo>
                  <a:cubicBezTo>
                    <a:pt x="173" y="89"/>
                    <a:pt x="173" y="89"/>
                    <a:pt x="172" y="88"/>
                  </a:cubicBezTo>
                  <a:cubicBezTo>
                    <a:pt x="172" y="88"/>
                    <a:pt x="171" y="87"/>
                    <a:pt x="170" y="87"/>
                  </a:cubicBezTo>
                  <a:cubicBezTo>
                    <a:pt x="169" y="87"/>
                    <a:pt x="165" y="87"/>
                    <a:pt x="162" y="86"/>
                  </a:cubicBezTo>
                  <a:cubicBezTo>
                    <a:pt x="162" y="84"/>
                    <a:pt x="161" y="82"/>
                    <a:pt x="161" y="80"/>
                  </a:cubicBezTo>
                  <a:cubicBezTo>
                    <a:pt x="165" y="80"/>
                    <a:pt x="169" y="79"/>
                    <a:pt x="170" y="79"/>
                  </a:cubicBezTo>
                  <a:cubicBezTo>
                    <a:pt x="171" y="78"/>
                    <a:pt x="171" y="78"/>
                    <a:pt x="172" y="77"/>
                  </a:cubicBezTo>
                  <a:cubicBezTo>
                    <a:pt x="172" y="77"/>
                    <a:pt x="172" y="76"/>
                    <a:pt x="172" y="75"/>
                  </a:cubicBezTo>
                  <a:cubicBezTo>
                    <a:pt x="172" y="74"/>
                    <a:pt x="172" y="74"/>
                    <a:pt x="171" y="73"/>
                  </a:cubicBezTo>
                  <a:cubicBezTo>
                    <a:pt x="171" y="73"/>
                    <a:pt x="170" y="72"/>
                    <a:pt x="169" y="73"/>
                  </a:cubicBezTo>
                  <a:cubicBezTo>
                    <a:pt x="168" y="73"/>
                    <a:pt x="164" y="73"/>
                    <a:pt x="160" y="73"/>
                  </a:cubicBezTo>
                  <a:cubicBezTo>
                    <a:pt x="160" y="71"/>
                    <a:pt x="160" y="69"/>
                    <a:pt x="159" y="68"/>
                  </a:cubicBezTo>
                  <a:cubicBezTo>
                    <a:pt x="163" y="66"/>
                    <a:pt x="166" y="64"/>
                    <a:pt x="167" y="64"/>
                  </a:cubicBezTo>
                  <a:cubicBezTo>
                    <a:pt x="168" y="64"/>
                    <a:pt x="168" y="63"/>
                    <a:pt x="169" y="63"/>
                  </a:cubicBezTo>
                  <a:cubicBezTo>
                    <a:pt x="169" y="62"/>
                    <a:pt x="169" y="61"/>
                    <a:pt x="169" y="60"/>
                  </a:cubicBezTo>
                  <a:cubicBezTo>
                    <a:pt x="169" y="60"/>
                    <a:pt x="168" y="59"/>
                    <a:pt x="167" y="59"/>
                  </a:cubicBezTo>
                  <a:cubicBezTo>
                    <a:pt x="167" y="58"/>
                    <a:pt x="166" y="58"/>
                    <a:pt x="165" y="58"/>
                  </a:cubicBezTo>
                  <a:cubicBezTo>
                    <a:pt x="165" y="59"/>
                    <a:pt x="161" y="59"/>
                    <a:pt x="157" y="60"/>
                  </a:cubicBezTo>
                  <a:cubicBezTo>
                    <a:pt x="156" y="59"/>
                    <a:pt x="155" y="57"/>
                    <a:pt x="155" y="55"/>
                  </a:cubicBezTo>
                  <a:cubicBezTo>
                    <a:pt x="158" y="53"/>
                    <a:pt x="161" y="51"/>
                    <a:pt x="162" y="50"/>
                  </a:cubicBezTo>
                  <a:cubicBezTo>
                    <a:pt x="163" y="50"/>
                    <a:pt x="163" y="49"/>
                    <a:pt x="163" y="49"/>
                  </a:cubicBezTo>
                  <a:cubicBezTo>
                    <a:pt x="163" y="48"/>
                    <a:pt x="163" y="47"/>
                    <a:pt x="163" y="46"/>
                  </a:cubicBezTo>
                  <a:cubicBezTo>
                    <a:pt x="163" y="46"/>
                    <a:pt x="162" y="45"/>
                    <a:pt x="161" y="45"/>
                  </a:cubicBezTo>
                  <a:cubicBezTo>
                    <a:pt x="161" y="45"/>
                    <a:pt x="160" y="45"/>
                    <a:pt x="159" y="45"/>
                  </a:cubicBezTo>
                  <a:cubicBezTo>
                    <a:pt x="159" y="45"/>
                    <a:pt x="155" y="47"/>
                    <a:pt x="151" y="48"/>
                  </a:cubicBezTo>
                  <a:cubicBezTo>
                    <a:pt x="150" y="47"/>
                    <a:pt x="149" y="45"/>
                    <a:pt x="148" y="44"/>
                  </a:cubicBezTo>
                  <a:cubicBezTo>
                    <a:pt x="151" y="41"/>
                    <a:pt x="154" y="38"/>
                    <a:pt x="155" y="38"/>
                  </a:cubicBezTo>
                  <a:cubicBezTo>
                    <a:pt x="155" y="37"/>
                    <a:pt x="155" y="36"/>
                    <a:pt x="155" y="36"/>
                  </a:cubicBezTo>
                  <a:cubicBezTo>
                    <a:pt x="156" y="35"/>
                    <a:pt x="155" y="34"/>
                    <a:pt x="155" y="34"/>
                  </a:cubicBezTo>
                  <a:cubicBezTo>
                    <a:pt x="154" y="33"/>
                    <a:pt x="154" y="33"/>
                    <a:pt x="153" y="33"/>
                  </a:cubicBezTo>
                  <a:cubicBezTo>
                    <a:pt x="152" y="32"/>
                    <a:pt x="152" y="32"/>
                    <a:pt x="151" y="33"/>
                  </a:cubicBezTo>
                  <a:cubicBezTo>
                    <a:pt x="150" y="33"/>
                    <a:pt x="147" y="36"/>
                    <a:pt x="144" y="38"/>
                  </a:cubicBezTo>
                  <a:cubicBezTo>
                    <a:pt x="142" y="36"/>
                    <a:pt x="141" y="35"/>
                    <a:pt x="140" y="33"/>
                  </a:cubicBezTo>
                  <a:cubicBezTo>
                    <a:pt x="142" y="30"/>
                    <a:pt x="145" y="27"/>
                    <a:pt x="145" y="26"/>
                  </a:cubicBezTo>
                  <a:cubicBezTo>
                    <a:pt x="146" y="26"/>
                    <a:pt x="146" y="25"/>
                    <a:pt x="146" y="24"/>
                  </a:cubicBezTo>
                  <a:cubicBezTo>
                    <a:pt x="146" y="24"/>
                    <a:pt x="145" y="23"/>
                    <a:pt x="145" y="22"/>
                  </a:cubicBezTo>
                  <a:cubicBezTo>
                    <a:pt x="144" y="22"/>
                    <a:pt x="143" y="22"/>
                    <a:pt x="143" y="22"/>
                  </a:cubicBezTo>
                  <a:cubicBezTo>
                    <a:pt x="142" y="22"/>
                    <a:pt x="141" y="22"/>
                    <a:pt x="141" y="22"/>
                  </a:cubicBezTo>
                  <a:cubicBezTo>
                    <a:pt x="140" y="23"/>
                    <a:pt x="137" y="26"/>
                    <a:pt x="134" y="28"/>
                  </a:cubicBezTo>
                  <a:cubicBezTo>
                    <a:pt x="133" y="27"/>
                    <a:pt x="131" y="26"/>
                    <a:pt x="130" y="25"/>
                  </a:cubicBezTo>
                  <a:cubicBezTo>
                    <a:pt x="132" y="22"/>
                    <a:pt x="133" y="18"/>
                    <a:pt x="134" y="17"/>
                  </a:cubicBezTo>
                  <a:cubicBezTo>
                    <a:pt x="134" y="16"/>
                    <a:pt x="134" y="16"/>
                    <a:pt x="134" y="15"/>
                  </a:cubicBezTo>
                  <a:cubicBezTo>
                    <a:pt x="134" y="14"/>
                    <a:pt x="133" y="14"/>
                    <a:pt x="133" y="13"/>
                  </a:cubicBezTo>
                  <a:cubicBezTo>
                    <a:pt x="132" y="13"/>
                    <a:pt x="131" y="13"/>
                    <a:pt x="131" y="13"/>
                  </a:cubicBezTo>
                  <a:cubicBezTo>
                    <a:pt x="130" y="13"/>
                    <a:pt x="129" y="13"/>
                    <a:pt x="129" y="14"/>
                  </a:cubicBezTo>
                  <a:cubicBezTo>
                    <a:pt x="128" y="15"/>
                    <a:pt x="126" y="18"/>
                    <a:pt x="123" y="21"/>
                  </a:cubicBezTo>
                  <a:cubicBezTo>
                    <a:pt x="122" y="20"/>
                    <a:pt x="120" y="19"/>
                    <a:pt x="118" y="18"/>
                  </a:cubicBezTo>
                  <a:cubicBezTo>
                    <a:pt x="120" y="15"/>
                    <a:pt x="121" y="11"/>
                    <a:pt x="121" y="10"/>
                  </a:cubicBezTo>
                  <a:cubicBezTo>
                    <a:pt x="121" y="9"/>
                    <a:pt x="121" y="8"/>
                    <a:pt x="121" y="8"/>
                  </a:cubicBezTo>
                  <a:cubicBezTo>
                    <a:pt x="121" y="7"/>
                    <a:pt x="120" y="7"/>
                    <a:pt x="119" y="6"/>
                  </a:cubicBezTo>
                  <a:cubicBezTo>
                    <a:pt x="119" y="6"/>
                    <a:pt x="118" y="6"/>
                    <a:pt x="117" y="6"/>
                  </a:cubicBezTo>
                  <a:cubicBezTo>
                    <a:pt x="117" y="6"/>
                    <a:pt x="116" y="7"/>
                    <a:pt x="116" y="8"/>
                  </a:cubicBezTo>
                  <a:cubicBezTo>
                    <a:pt x="115" y="8"/>
                    <a:pt x="113" y="12"/>
                    <a:pt x="111" y="15"/>
                  </a:cubicBezTo>
                  <a:cubicBezTo>
                    <a:pt x="110" y="15"/>
                    <a:pt x="108" y="14"/>
                    <a:pt x="106" y="14"/>
                  </a:cubicBezTo>
                  <a:cubicBezTo>
                    <a:pt x="107" y="10"/>
                    <a:pt x="107" y="6"/>
                    <a:pt x="107" y="5"/>
                  </a:cubicBezTo>
                  <a:cubicBezTo>
                    <a:pt x="107" y="4"/>
                    <a:pt x="107" y="4"/>
                    <a:pt x="107" y="3"/>
                  </a:cubicBezTo>
                  <a:cubicBezTo>
                    <a:pt x="106" y="2"/>
                    <a:pt x="106" y="2"/>
                    <a:pt x="105" y="2"/>
                  </a:cubicBezTo>
                  <a:cubicBezTo>
                    <a:pt x="104" y="2"/>
                    <a:pt x="103" y="2"/>
                    <a:pt x="103" y="2"/>
                  </a:cubicBezTo>
                  <a:cubicBezTo>
                    <a:pt x="102" y="2"/>
                    <a:pt x="102" y="3"/>
                    <a:pt x="101" y="4"/>
                  </a:cubicBezTo>
                  <a:cubicBezTo>
                    <a:pt x="101" y="5"/>
                    <a:pt x="100" y="9"/>
                    <a:pt x="99" y="12"/>
                  </a:cubicBezTo>
                  <a:cubicBezTo>
                    <a:pt x="97" y="12"/>
                    <a:pt x="95" y="12"/>
                    <a:pt x="93" y="11"/>
                  </a:cubicBezTo>
                  <a:cubicBezTo>
                    <a:pt x="93" y="8"/>
                    <a:pt x="93" y="3"/>
                    <a:pt x="93" y="3"/>
                  </a:cubicBezTo>
                  <a:cubicBezTo>
                    <a:pt x="93" y="2"/>
                    <a:pt x="92" y="1"/>
                    <a:pt x="92" y="1"/>
                  </a:cubicBezTo>
                  <a:cubicBezTo>
                    <a:pt x="91" y="0"/>
                    <a:pt x="91" y="0"/>
                    <a:pt x="90" y="0"/>
                  </a:cubicBezTo>
                  <a:cubicBezTo>
                    <a:pt x="89" y="0"/>
                    <a:pt x="88" y="0"/>
                    <a:pt x="88" y="0"/>
                  </a:cubicBezTo>
                  <a:cubicBezTo>
                    <a:pt x="87" y="1"/>
                    <a:pt x="87" y="2"/>
                    <a:pt x="87" y="2"/>
                  </a:cubicBezTo>
                  <a:cubicBezTo>
                    <a:pt x="87" y="3"/>
                    <a:pt x="86" y="7"/>
                    <a:pt x="86" y="11"/>
                  </a:cubicBezTo>
                  <a:cubicBezTo>
                    <a:pt x="84" y="11"/>
                    <a:pt x="82" y="11"/>
                    <a:pt x="80" y="11"/>
                  </a:cubicBezTo>
                  <a:cubicBezTo>
                    <a:pt x="79" y="8"/>
                    <a:pt x="78" y="4"/>
                    <a:pt x="78" y="3"/>
                  </a:cubicBezTo>
                  <a:cubicBezTo>
                    <a:pt x="78" y="2"/>
                    <a:pt x="78" y="1"/>
                    <a:pt x="77" y="1"/>
                  </a:cubicBezTo>
                  <a:cubicBezTo>
                    <a:pt x="76" y="1"/>
                    <a:pt x="76" y="0"/>
                    <a:pt x="75" y="1"/>
                  </a:cubicBezTo>
                  <a:cubicBezTo>
                    <a:pt x="74" y="1"/>
                    <a:pt x="73" y="1"/>
                    <a:pt x="73" y="1"/>
                  </a:cubicBezTo>
                  <a:cubicBezTo>
                    <a:pt x="72" y="2"/>
                    <a:pt x="72" y="3"/>
                    <a:pt x="72" y="3"/>
                  </a:cubicBezTo>
                  <a:cubicBezTo>
                    <a:pt x="72" y="4"/>
                    <a:pt x="72" y="9"/>
                    <a:pt x="72" y="12"/>
                  </a:cubicBezTo>
                  <a:cubicBezTo>
                    <a:pt x="71" y="13"/>
                    <a:pt x="69" y="13"/>
                    <a:pt x="67" y="13"/>
                  </a:cubicBezTo>
                  <a:cubicBezTo>
                    <a:pt x="66" y="10"/>
                    <a:pt x="64" y="6"/>
                    <a:pt x="64" y="5"/>
                  </a:cubicBezTo>
                  <a:cubicBezTo>
                    <a:pt x="63" y="5"/>
                    <a:pt x="63" y="4"/>
                    <a:pt x="62" y="4"/>
                  </a:cubicBezTo>
                  <a:cubicBezTo>
                    <a:pt x="62" y="4"/>
                    <a:pt x="61" y="4"/>
                    <a:pt x="60" y="4"/>
                  </a:cubicBezTo>
                  <a:cubicBezTo>
                    <a:pt x="59" y="4"/>
                    <a:pt x="59" y="4"/>
                    <a:pt x="58" y="5"/>
                  </a:cubicBezTo>
                  <a:cubicBezTo>
                    <a:pt x="58" y="6"/>
                    <a:pt x="58" y="6"/>
                    <a:pt x="58" y="7"/>
                  </a:cubicBezTo>
                  <a:cubicBezTo>
                    <a:pt x="58" y="8"/>
                    <a:pt x="59" y="12"/>
                    <a:pt x="60" y="16"/>
                  </a:cubicBezTo>
                  <a:cubicBezTo>
                    <a:pt x="58" y="16"/>
                    <a:pt x="56" y="17"/>
                    <a:pt x="55" y="18"/>
                  </a:cubicBezTo>
                  <a:cubicBezTo>
                    <a:pt x="53" y="15"/>
                    <a:pt x="50" y="11"/>
                    <a:pt x="50" y="10"/>
                  </a:cubicBezTo>
                  <a:cubicBezTo>
                    <a:pt x="50" y="10"/>
                    <a:pt x="49" y="9"/>
                    <a:pt x="48" y="9"/>
                  </a:cubicBezTo>
                  <a:cubicBezTo>
                    <a:pt x="48" y="9"/>
                    <a:pt x="47" y="9"/>
                    <a:pt x="46" y="10"/>
                  </a:cubicBezTo>
                  <a:cubicBezTo>
                    <a:pt x="46" y="10"/>
                    <a:pt x="45" y="10"/>
                    <a:pt x="45" y="11"/>
                  </a:cubicBezTo>
                  <a:cubicBezTo>
                    <a:pt x="44" y="12"/>
                    <a:pt x="44" y="13"/>
                    <a:pt x="45" y="13"/>
                  </a:cubicBezTo>
                  <a:cubicBezTo>
                    <a:pt x="45" y="14"/>
                    <a:pt x="47" y="18"/>
                    <a:pt x="48" y="21"/>
                  </a:cubicBezTo>
                  <a:cubicBezTo>
                    <a:pt x="46" y="22"/>
                    <a:pt x="45" y="23"/>
                    <a:pt x="43" y="24"/>
                  </a:cubicBezTo>
                  <a:cubicBezTo>
                    <a:pt x="41" y="22"/>
                    <a:pt x="38" y="19"/>
                    <a:pt x="37" y="18"/>
                  </a:cubicBezTo>
                  <a:cubicBezTo>
                    <a:pt x="37" y="17"/>
                    <a:pt x="36" y="17"/>
                    <a:pt x="35" y="17"/>
                  </a:cubicBezTo>
                  <a:cubicBezTo>
                    <a:pt x="35" y="17"/>
                    <a:pt x="34" y="17"/>
                    <a:pt x="33" y="18"/>
                  </a:cubicBezTo>
                  <a:cubicBezTo>
                    <a:pt x="33" y="18"/>
                    <a:pt x="32" y="19"/>
                    <a:pt x="32" y="20"/>
                  </a:cubicBezTo>
                  <a:cubicBezTo>
                    <a:pt x="32" y="20"/>
                    <a:pt x="32" y="21"/>
                    <a:pt x="33" y="22"/>
                  </a:cubicBezTo>
                  <a:cubicBezTo>
                    <a:pt x="33" y="22"/>
                    <a:pt x="35" y="26"/>
                    <a:pt x="37" y="29"/>
                  </a:cubicBezTo>
                  <a:cubicBezTo>
                    <a:pt x="36" y="30"/>
                    <a:pt x="35" y="32"/>
                    <a:pt x="33" y="33"/>
                  </a:cubicBezTo>
                  <a:cubicBezTo>
                    <a:pt x="30" y="30"/>
                    <a:pt x="27" y="28"/>
                    <a:pt x="26" y="27"/>
                  </a:cubicBezTo>
                  <a:cubicBezTo>
                    <a:pt x="26" y="27"/>
                    <a:pt x="25" y="27"/>
                    <a:pt x="24" y="27"/>
                  </a:cubicBezTo>
                  <a:cubicBezTo>
                    <a:pt x="23" y="27"/>
                    <a:pt x="23" y="27"/>
                    <a:pt x="22" y="28"/>
                  </a:cubicBezTo>
                  <a:cubicBezTo>
                    <a:pt x="22" y="28"/>
                    <a:pt x="22" y="29"/>
                    <a:pt x="22" y="30"/>
                  </a:cubicBezTo>
                  <a:cubicBezTo>
                    <a:pt x="22" y="31"/>
                    <a:pt x="22" y="31"/>
                    <a:pt x="22" y="32"/>
                  </a:cubicBezTo>
                  <a:cubicBezTo>
                    <a:pt x="23" y="33"/>
                    <a:pt x="26" y="36"/>
                    <a:pt x="28" y="38"/>
                  </a:cubicBezTo>
                  <a:cubicBezTo>
                    <a:pt x="27" y="40"/>
                    <a:pt x="26" y="41"/>
                    <a:pt x="25" y="43"/>
                  </a:cubicBezTo>
                  <a:cubicBezTo>
                    <a:pt x="21" y="41"/>
                    <a:pt x="18" y="39"/>
                    <a:pt x="17" y="39"/>
                  </a:cubicBezTo>
                  <a:cubicBezTo>
                    <a:pt x="16" y="38"/>
                    <a:pt x="15" y="38"/>
                    <a:pt x="15" y="39"/>
                  </a:cubicBezTo>
                  <a:cubicBezTo>
                    <a:pt x="14" y="39"/>
                    <a:pt x="14" y="39"/>
                    <a:pt x="13" y="40"/>
                  </a:cubicBezTo>
                  <a:cubicBezTo>
                    <a:pt x="13" y="41"/>
                    <a:pt x="13" y="41"/>
                    <a:pt x="13" y="42"/>
                  </a:cubicBezTo>
                  <a:cubicBezTo>
                    <a:pt x="13" y="43"/>
                    <a:pt x="13" y="43"/>
                    <a:pt x="14" y="44"/>
                  </a:cubicBezTo>
                  <a:cubicBezTo>
                    <a:pt x="14" y="44"/>
                    <a:pt x="18" y="47"/>
                    <a:pt x="21" y="49"/>
                  </a:cubicBezTo>
                  <a:cubicBezTo>
                    <a:pt x="20" y="51"/>
                    <a:pt x="19" y="53"/>
                    <a:pt x="18" y="54"/>
                  </a:cubicBezTo>
                  <a:cubicBezTo>
                    <a:pt x="15" y="53"/>
                    <a:pt x="11" y="52"/>
                    <a:pt x="10" y="52"/>
                  </a:cubicBezTo>
                  <a:cubicBezTo>
                    <a:pt x="9" y="51"/>
                    <a:pt x="8" y="51"/>
                    <a:pt x="8" y="52"/>
                  </a:cubicBezTo>
                  <a:cubicBezTo>
                    <a:pt x="7" y="52"/>
                    <a:pt x="6" y="53"/>
                    <a:pt x="6" y="53"/>
                  </a:cubicBezTo>
                  <a:cubicBezTo>
                    <a:pt x="6" y="54"/>
                    <a:pt x="6" y="55"/>
                    <a:pt x="6" y="55"/>
                  </a:cubicBezTo>
                  <a:cubicBezTo>
                    <a:pt x="6" y="56"/>
                    <a:pt x="7" y="57"/>
                    <a:pt x="7" y="57"/>
                  </a:cubicBezTo>
                  <a:cubicBezTo>
                    <a:pt x="8" y="57"/>
                    <a:pt x="12" y="60"/>
                    <a:pt x="15" y="61"/>
                  </a:cubicBezTo>
                  <a:cubicBezTo>
                    <a:pt x="15" y="63"/>
                    <a:pt x="14" y="65"/>
                    <a:pt x="14" y="67"/>
                  </a:cubicBezTo>
                  <a:cubicBezTo>
                    <a:pt x="10" y="66"/>
                    <a:pt x="6" y="65"/>
                    <a:pt x="5" y="65"/>
                  </a:cubicBezTo>
                  <a:cubicBezTo>
                    <a:pt x="4" y="65"/>
                    <a:pt x="3" y="66"/>
                    <a:pt x="3" y="66"/>
                  </a:cubicBezTo>
                  <a:cubicBezTo>
                    <a:pt x="2" y="66"/>
                    <a:pt x="2" y="67"/>
                    <a:pt x="2" y="68"/>
                  </a:cubicBezTo>
                  <a:cubicBezTo>
                    <a:pt x="1" y="69"/>
                    <a:pt x="2" y="69"/>
                    <a:pt x="2" y="70"/>
                  </a:cubicBezTo>
                  <a:cubicBezTo>
                    <a:pt x="2" y="71"/>
                    <a:pt x="3" y="71"/>
                    <a:pt x="3" y="71"/>
                  </a:cubicBezTo>
                  <a:cubicBezTo>
                    <a:pt x="4" y="72"/>
                    <a:pt x="8" y="73"/>
                    <a:pt x="12" y="74"/>
                  </a:cubicBezTo>
                  <a:cubicBezTo>
                    <a:pt x="12" y="76"/>
                    <a:pt x="11" y="78"/>
                    <a:pt x="11" y="79"/>
                  </a:cubicBezTo>
                  <a:cubicBezTo>
                    <a:pt x="7" y="80"/>
                    <a:pt x="3" y="80"/>
                    <a:pt x="2" y="80"/>
                  </a:cubicBezTo>
                  <a:cubicBezTo>
                    <a:pt x="2" y="80"/>
                    <a:pt x="1" y="80"/>
                    <a:pt x="0" y="81"/>
                  </a:cubicBezTo>
                  <a:cubicBezTo>
                    <a:pt x="0" y="81"/>
                    <a:pt x="0" y="82"/>
                    <a:pt x="0" y="83"/>
                  </a:cubicBezTo>
                  <a:cubicBezTo>
                    <a:pt x="0" y="84"/>
                    <a:pt x="0" y="84"/>
                    <a:pt x="0" y="85"/>
                  </a:cubicBezTo>
                  <a:cubicBezTo>
                    <a:pt x="1" y="85"/>
                    <a:pt x="1" y="86"/>
                    <a:pt x="2" y="86"/>
                  </a:cubicBezTo>
                  <a:cubicBezTo>
                    <a:pt x="3" y="86"/>
                    <a:pt x="7" y="87"/>
                    <a:pt x="11" y="87"/>
                  </a:cubicBezTo>
                  <a:cubicBezTo>
                    <a:pt x="11" y="89"/>
                    <a:pt x="11" y="91"/>
                    <a:pt x="11" y="93"/>
                  </a:cubicBezTo>
                  <a:cubicBezTo>
                    <a:pt x="7" y="93"/>
                    <a:pt x="3" y="94"/>
                    <a:pt x="3" y="95"/>
                  </a:cubicBezTo>
                  <a:cubicBezTo>
                    <a:pt x="2" y="95"/>
                    <a:pt x="1" y="95"/>
                    <a:pt x="1" y="96"/>
                  </a:cubicBezTo>
                  <a:cubicBezTo>
                    <a:pt x="0" y="96"/>
                    <a:pt x="0" y="97"/>
                    <a:pt x="0" y="98"/>
                  </a:cubicBezTo>
                  <a:cubicBezTo>
                    <a:pt x="0" y="99"/>
                    <a:pt x="1" y="99"/>
                    <a:pt x="1" y="100"/>
                  </a:cubicBezTo>
                  <a:cubicBezTo>
                    <a:pt x="2" y="100"/>
                    <a:pt x="3" y="101"/>
                    <a:pt x="3" y="101"/>
                  </a:cubicBezTo>
                  <a:cubicBezTo>
                    <a:pt x="4" y="100"/>
                    <a:pt x="8" y="100"/>
                    <a:pt x="12" y="100"/>
                  </a:cubicBezTo>
                  <a:cubicBezTo>
                    <a:pt x="12" y="102"/>
                    <a:pt x="13" y="104"/>
                    <a:pt x="13" y="106"/>
                  </a:cubicBezTo>
                  <a:cubicBezTo>
                    <a:pt x="10" y="107"/>
                    <a:pt x="6" y="109"/>
                    <a:pt x="5" y="109"/>
                  </a:cubicBezTo>
                  <a:cubicBezTo>
                    <a:pt x="4" y="109"/>
                    <a:pt x="4" y="110"/>
                    <a:pt x="4" y="111"/>
                  </a:cubicBezTo>
                  <a:cubicBezTo>
                    <a:pt x="3" y="111"/>
                    <a:pt x="3" y="112"/>
                    <a:pt x="4" y="113"/>
                  </a:cubicBezTo>
                  <a:cubicBezTo>
                    <a:pt x="4" y="113"/>
                    <a:pt x="4" y="114"/>
                    <a:pt x="5" y="114"/>
                  </a:cubicBezTo>
                  <a:cubicBezTo>
                    <a:pt x="6" y="115"/>
                    <a:pt x="6" y="115"/>
                    <a:pt x="7" y="115"/>
                  </a:cubicBezTo>
                  <a:cubicBezTo>
                    <a:pt x="8" y="115"/>
                    <a:pt x="12" y="114"/>
                    <a:pt x="16" y="113"/>
                  </a:cubicBezTo>
                  <a:cubicBezTo>
                    <a:pt x="16" y="115"/>
                    <a:pt x="17" y="116"/>
                    <a:pt x="18" y="118"/>
                  </a:cubicBezTo>
                  <a:cubicBezTo>
                    <a:pt x="15" y="120"/>
                    <a:pt x="11" y="122"/>
                    <a:pt x="10" y="123"/>
                  </a:cubicBezTo>
                  <a:cubicBezTo>
                    <a:pt x="10" y="123"/>
                    <a:pt x="9" y="124"/>
                    <a:pt x="9" y="124"/>
                  </a:cubicBezTo>
                  <a:cubicBezTo>
                    <a:pt x="9" y="125"/>
                    <a:pt x="9" y="126"/>
                    <a:pt x="9" y="127"/>
                  </a:cubicBezTo>
                  <a:cubicBezTo>
                    <a:pt x="10" y="127"/>
                    <a:pt x="10" y="128"/>
                    <a:pt x="11" y="128"/>
                  </a:cubicBezTo>
                  <a:cubicBezTo>
                    <a:pt x="12" y="128"/>
                    <a:pt x="12" y="128"/>
                    <a:pt x="13" y="128"/>
                  </a:cubicBezTo>
                  <a:cubicBezTo>
                    <a:pt x="14" y="128"/>
                    <a:pt x="18" y="126"/>
                    <a:pt x="21" y="125"/>
                  </a:cubicBezTo>
                  <a:cubicBezTo>
                    <a:pt x="22" y="126"/>
                    <a:pt x="23" y="128"/>
                    <a:pt x="24" y="129"/>
                  </a:cubicBezTo>
                  <a:cubicBezTo>
                    <a:pt x="21" y="132"/>
                    <a:pt x="18" y="135"/>
                    <a:pt x="18" y="135"/>
                  </a:cubicBezTo>
                  <a:cubicBezTo>
                    <a:pt x="17" y="136"/>
                    <a:pt x="17" y="137"/>
                    <a:pt x="17" y="137"/>
                  </a:cubicBezTo>
                  <a:cubicBezTo>
                    <a:pt x="17" y="138"/>
                    <a:pt x="17" y="139"/>
                    <a:pt x="18" y="139"/>
                  </a:cubicBezTo>
                  <a:cubicBezTo>
                    <a:pt x="18" y="140"/>
                    <a:pt x="19" y="140"/>
                    <a:pt x="19" y="140"/>
                  </a:cubicBezTo>
                  <a:cubicBezTo>
                    <a:pt x="20" y="141"/>
                    <a:pt x="21" y="141"/>
                    <a:pt x="21" y="140"/>
                  </a:cubicBezTo>
                  <a:cubicBezTo>
                    <a:pt x="22" y="140"/>
                    <a:pt x="26" y="137"/>
                    <a:pt x="29" y="135"/>
                  </a:cubicBezTo>
                  <a:cubicBezTo>
                    <a:pt x="30" y="137"/>
                    <a:pt x="31" y="138"/>
                    <a:pt x="33" y="140"/>
                  </a:cubicBezTo>
                  <a:cubicBezTo>
                    <a:pt x="30" y="143"/>
                    <a:pt x="28" y="146"/>
                    <a:pt x="27" y="147"/>
                  </a:cubicBezTo>
                  <a:cubicBezTo>
                    <a:pt x="27" y="147"/>
                    <a:pt x="27" y="148"/>
                    <a:pt x="27" y="149"/>
                  </a:cubicBezTo>
                  <a:cubicBezTo>
                    <a:pt x="27" y="149"/>
                    <a:pt x="27" y="150"/>
                    <a:pt x="28" y="151"/>
                  </a:cubicBezTo>
                  <a:cubicBezTo>
                    <a:pt x="28" y="151"/>
                    <a:pt x="29" y="151"/>
                    <a:pt x="30" y="151"/>
                  </a:cubicBezTo>
                  <a:cubicBezTo>
                    <a:pt x="30" y="151"/>
                    <a:pt x="31" y="151"/>
                    <a:pt x="32" y="151"/>
                  </a:cubicBezTo>
                  <a:cubicBezTo>
                    <a:pt x="32" y="150"/>
                    <a:pt x="35" y="147"/>
                    <a:pt x="38" y="145"/>
                  </a:cubicBezTo>
                  <a:cubicBezTo>
                    <a:pt x="40" y="146"/>
                    <a:pt x="41" y="147"/>
                    <a:pt x="43" y="148"/>
                  </a:cubicBezTo>
                  <a:cubicBezTo>
                    <a:pt x="41" y="151"/>
                    <a:pt x="39" y="155"/>
                    <a:pt x="39" y="156"/>
                  </a:cubicBezTo>
                  <a:cubicBezTo>
                    <a:pt x="38" y="157"/>
                    <a:pt x="38" y="157"/>
                    <a:pt x="38" y="158"/>
                  </a:cubicBezTo>
                  <a:cubicBezTo>
                    <a:pt x="39" y="159"/>
                    <a:pt x="39" y="159"/>
                    <a:pt x="40" y="160"/>
                  </a:cubicBezTo>
                  <a:cubicBezTo>
                    <a:pt x="40" y="160"/>
                    <a:pt x="41" y="160"/>
                    <a:pt x="42" y="160"/>
                  </a:cubicBezTo>
                  <a:cubicBezTo>
                    <a:pt x="42" y="160"/>
                    <a:pt x="43" y="160"/>
                    <a:pt x="44" y="159"/>
                  </a:cubicBezTo>
                  <a:cubicBezTo>
                    <a:pt x="44" y="159"/>
                    <a:pt x="47" y="155"/>
                    <a:pt x="49" y="152"/>
                  </a:cubicBezTo>
                  <a:cubicBezTo>
                    <a:pt x="51" y="153"/>
                    <a:pt x="52" y="154"/>
                    <a:pt x="54" y="155"/>
                  </a:cubicBezTo>
                  <a:cubicBezTo>
                    <a:pt x="53" y="158"/>
                    <a:pt x="52" y="162"/>
                    <a:pt x="51" y="163"/>
                  </a:cubicBezTo>
                  <a:cubicBezTo>
                    <a:pt x="51" y="164"/>
                    <a:pt x="51" y="165"/>
                    <a:pt x="52" y="165"/>
                  </a:cubicBezTo>
                  <a:cubicBezTo>
                    <a:pt x="52" y="166"/>
                    <a:pt x="52" y="166"/>
                    <a:pt x="53" y="167"/>
                  </a:cubicBezTo>
                  <a:cubicBezTo>
                    <a:pt x="54" y="167"/>
                    <a:pt x="55" y="167"/>
                    <a:pt x="55" y="167"/>
                  </a:cubicBezTo>
                  <a:cubicBezTo>
                    <a:pt x="56" y="167"/>
                    <a:pt x="56" y="166"/>
                    <a:pt x="57" y="166"/>
                  </a:cubicBezTo>
                  <a:cubicBezTo>
                    <a:pt x="57" y="165"/>
                    <a:pt x="59" y="161"/>
                    <a:pt x="61" y="158"/>
                  </a:cubicBezTo>
                  <a:cubicBezTo>
                    <a:pt x="63" y="158"/>
                    <a:pt x="64" y="159"/>
                    <a:pt x="66" y="159"/>
                  </a:cubicBezTo>
                  <a:cubicBezTo>
                    <a:pt x="66" y="163"/>
                    <a:pt x="65" y="167"/>
                    <a:pt x="65" y="168"/>
                  </a:cubicBezTo>
                  <a:cubicBezTo>
                    <a:pt x="65" y="169"/>
                    <a:pt x="65" y="170"/>
                    <a:pt x="66" y="170"/>
                  </a:cubicBezTo>
                  <a:cubicBezTo>
                    <a:pt x="66" y="171"/>
                    <a:pt x="67" y="171"/>
                    <a:pt x="67" y="171"/>
                  </a:cubicBezTo>
                  <a:cubicBezTo>
                    <a:pt x="68" y="171"/>
                    <a:pt x="69" y="171"/>
                    <a:pt x="70" y="171"/>
                  </a:cubicBezTo>
                  <a:cubicBezTo>
                    <a:pt x="70" y="171"/>
                    <a:pt x="71" y="170"/>
                    <a:pt x="71" y="169"/>
                  </a:cubicBezTo>
                  <a:cubicBezTo>
                    <a:pt x="71" y="169"/>
                    <a:pt x="72" y="165"/>
                    <a:pt x="74" y="161"/>
                  </a:cubicBezTo>
                  <a:cubicBezTo>
                    <a:pt x="75" y="161"/>
                    <a:pt x="77" y="162"/>
                    <a:pt x="79" y="162"/>
                  </a:cubicBezTo>
                  <a:cubicBezTo>
                    <a:pt x="79" y="166"/>
                    <a:pt x="80" y="170"/>
                    <a:pt x="80" y="171"/>
                  </a:cubicBezTo>
                  <a:cubicBezTo>
                    <a:pt x="80" y="171"/>
                    <a:pt x="80" y="172"/>
                    <a:pt x="80" y="172"/>
                  </a:cubicBezTo>
                  <a:cubicBezTo>
                    <a:pt x="81" y="173"/>
                    <a:pt x="82" y="173"/>
                    <a:pt x="82" y="173"/>
                  </a:cubicBezTo>
                  <a:cubicBezTo>
                    <a:pt x="83" y="173"/>
                    <a:pt x="84" y="173"/>
                    <a:pt x="84" y="173"/>
                  </a:cubicBezTo>
                  <a:cubicBezTo>
                    <a:pt x="85" y="172"/>
                    <a:pt x="85" y="172"/>
                    <a:pt x="86" y="171"/>
                  </a:cubicBezTo>
                  <a:cubicBezTo>
                    <a:pt x="86" y="170"/>
                    <a:pt x="86" y="166"/>
                    <a:pt x="87" y="162"/>
                  </a:cubicBezTo>
                  <a:cubicBezTo>
                    <a:pt x="89" y="162"/>
                    <a:pt x="90" y="162"/>
                    <a:pt x="92" y="162"/>
                  </a:cubicBezTo>
                  <a:cubicBezTo>
                    <a:pt x="93" y="166"/>
                    <a:pt x="94" y="170"/>
                    <a:pt x="94" y="170"/>
                  </a:cubicBezTo>
                  <a:cubicBezTo>
                    <a:pt x="94" y="171"/>
                    <a:pt x="95" y="172"/>
                    <a:pt x="95" y="172"/>
                  </a:cubicBezTo>
                  <a:cubicBezTo>
                    <a:pt x="96" y="172"/>
                    <a:pt x="97" y="173"/>
                    <a:pt x="98" y="173"/>
                  </a:cubicBezTo>
                  <a:cubicBezTo>
                    <a:pt x="98" y="172"/>
                    <a:pt x="99" y="172"/>
                    <a:pt x="99" y="172"/>
                  </a:cubicBezTo>
                  <a:cubicBezTo>
                    <a:pt x="100" y="171"/>
                    <a:pt x="100" y="170"/>
                    <a:pt x="100" y="170"/>
                  </a:cubicBezTo>
                  <a:cubicBezTo>
                    <a:pt x="100" y="169"/>
                    <a:pt x="100" y="165"/>
                    <a:pt x="100" y="161"/>
                  </a:cubicBezTo>
                  <a:cubicBezTo>
                    <a:pt x="102" y="160"/>
                    <a:pt x="103" y="160"/>
                    <a:pt x="105" y="160"/>
                  </a:cubicBezTo>
                  <a:cubicBezTo>
                    <a:pt x="107" y="163"/>
                    <a:pt x="108" y="167"/>
                    <a:pt x="109" y="168"/>
                  </a:cubicBezTo>
                  <a:cubicBezTo>
                    <a:pt x="109" y="168"/>
                    <a:pt x="110" y="169"/>
                    <a:pt x="110" y="169"/>
                  </a:cubicBezTo>
                  <a:cubicBezTo>
                    <a:pt x="111" y="170"/>
                    <a:pt x="112" y="170"/>
                    <a:pt x="112" y="169"/>
                  </a:cubicBezTo>
                  <a:cubicBezTo>
                    <a:pt x="113" y="169"/>
                    <a:pt x="114" y="169"/>
                    <a:pt x="114" y="168"/>
                  </a:cubicBezTo>
                  <a:cubicBezTo>
                    <a:pt x="114" y="167"/>
                    <a:pt x="115" y="167"/>
                    <a:pt x="114" y="166"/>
                  </a:cubicBezTo>
                  <a:cubicBezTo>
                    <a:pt x="114" y="165"/>
                    <a:pt x="113" y="161"/>
                    <a:pt x="113" y="157"/>
                  </a:cubicBezTo>
                  <a:cubicBezTo>
                    <a:pt x="114" y="157"/>
                    <a:pt x="116" y="156"/>
                    <a:pt x="118" y="155"/>
                  </a:cubicBezTo>
                  <a:cubicBezTo>
                    <a:pt x="120" y="158"/>
                    <a:pt x="122" y="162"/>
                    <a:pt x="122" y="163"/>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1" name="Freeform 579">
              <a:extLst>
                <a:ext uri="{FF2B5EF4-FFF2-40B4-BE49-F238E27FC236}">
                  <a16:creationId xmlns:a16="http://schemas.microsoft.com/office/drawing/2014/main" id="{BF7B7B39-EEDE-4B06-BD80-5F1DA66C8E37}"/>
                </a:ext>
              </a:extLst>
            </p:cNvPr>
            <p:cNvSpPr>
              <a:spLocks noEditPoints="1"/>
            </p:cNvSpPr>
            <p:nvPr/>
          </p:nvSpPr>
          <p:spPr bwMode="auto">
            <a:xfrm>
              <a:off x="2626925" y="5731803"/>
              <a:ext cx="301234" cy="275882"/>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solidFill>
              <a:schemeClr val="tx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0" name="Group 39"/>
          <p:cNvGrpSpPr/>
          <p:nvPr/>
        </p:nvGrpSpPr>
        <p:grpSpPr>
          <a:xfrm>
            <a:off x="1791646" y="4832175"/>
            <a:ext cx="651085" cy="653705"/>
            <a:chOff x="469901" y="1705453"/>
            <a:chExt cx="651085" cy="653705"/>
          </a:xfrm>
        </p:grpSpPr>
        <p:sp>
          <p:nvSpPr>
            <p:cNvPr id="12" name="Freeform 13">
              <a:extLst>
                <a:ext uri="{FF2B5EF4-FFF2-40B4-BE49-F238E27FC236}">
                  <a16:creationId xmlns:a16="http://schemas.microsoft.com/office/drawing/2014/main" id="{531A69A7-2421-44B9-B769-7DA8ABA6AFA5}"/>
                </a:ext>
              </a:extLst>
            </p:cNvPr>
            <p:cNvSpPr>
              <a:spLocks/>
            </p:cNvSpPr>
            <p:nvPr/>
          </p:nvSpPr>
          <p:spPr bwMode="auto">
            <a:xfrm>
              <a:off x="469901" y="1705453"/>
              <a:ext cx="651085" cy="653705"/>
            </a:xfrm>
            <a:custGeom>
              <a:avLst/>
              <a:gdLst>
                <a:gd name="T0" fmla="*/ 165 w 223"/>
                <a:gd name="T1" fmla="*/ 209 h 224"/>
                <a:gd name="T2" fmla="*/ 175 w 223"/>
                <a:gd name="T3" fmla="*/ 200 h 224"/>
                <a:gd name="T4" fmla="*/ 181 w 223"/>
                <a:gd name="T5" fmla="*/ 196 h 224"/>
                <a:gd name="T6" fmla="*/ 191 w 223"/>
                <a:gd name="T7" fmla="*/ 189 h 224"/>
                <a:gd name="T8" fmla="*/ 186 w 223"/>
                <a:gd name="T9" fmla="*/ 174 h 224"/>
                <a:gd name="T10" fmla="*/ 206 w 223"/>
                <a:gd name="T11" fmla="*/ 172 h 224"/>
                <a:gd name="T12" fmla="*/ 199 w 223"/>
                <a:gd name="T13" fmla="*/ 154 h 224"/>
                <a:gd name="T14" fmla="*/ 215 w 223"/>
                <a:gd name="T15" fmla="*/ 152 h 224"/>
                <a:gd name="T16" fmla="*/ 216 w 223"/>
                <a:gd name="T17" fmla="*/ 139 h 224"/>
                <a:gd name="T18" fmla="*/ 218 w 223"/>
                <a:gd name="T19" fmla="*/ 132 h 224"/>
                <a:gd name="T20" fmla="*/ 222 w 223"/>
                <a:gd name="T21" fmla="*/ 119 h 224"/>
                <a:gd name="T22" fmla="*/ 209 w 223"/>
                <a:gd name="T23" fmla="*/ 111 h 224"/>
                <a:gd name="T24" fmla="*/ 222 w 223"/>
                <a:gd name="T25" fmla="*/ 98 h 224"/>
                <a:gd name="T26" fmla="*/ 205 w 223"/>
                <a:gd name="T27" fmla="*/ 88 h 224"/>
                <a:gd name="T28" fmla="*/ 216 w 223"/>
                <a:gd name="T29" fmla="*/ 76 h 224"/>
                <a:gd name="T30" fmla="*/ 209 w 223"/>
                <a:gd name="T31" fmla="*/ 66 h 224"/>
                <a:gd name="T32" fmla="*/ 206 w 223"/>
                <a:gd name="T33" fmla="*/ 59 h 224"/>
                <a:gd name="T34" fmla="*/ 201 w 223"/>
                <a:gd name="T35" fmla="*/ 47 h 224"/>
                <a:gd name="T36" fmla="*/ 185 w 223"/>
                <a:gd name="T37" fmla="*/ 49 h 224"/>
                <a:gd name="T38" fmla="*/ 187 w 223"/>
                <a:gd name="T39" fmla="*/ 30 h 224"/>
                <a:gd name="T40" fmla="*/ 168 w 223"/>
                <a:gd name="T41" fmla="*/ 33 h 224"/>
                <a:gd name="T42" fmla="*/ 169 w 223"/>
                <a:gd name="T43" fmla="*/ 17 h 224"/>
                <a:gd name="T44" fmla="*/ 157 w 223"/>
                <a:gd name="T45" fmla="*/ 14 h 224"/>
                <a:gd name="T46" fmla="*/ 149 w 223"/>
                <a:gd name="T47" fmla="*/ 11 h 224"/>
                <a:gd name="T48" fmla="*/ 138 w 223"/>
                <a:gd name="T49" fmla="*/ 4 h 224"/>
                <a:gd name="T50" fmla="*/ 128 w 223"/>
                <a:gd name="T51" fmla="*/ 16 h 224"/>
                <a:gd name="T52" fmla="*/ 116 w 223"/>
                <a:gd name="T53" fmla="*/ 0 h 224"/>
                <a:gd name="T54" fmla="*/ 104 w 223"/>
                <a:gd name="T55" fmla="*/ 15 h 224"/>
                <a:gd name="T56" fmla="*/ 95 w 223"/>
                <a:gd name="T57" fmla="*/ 3 h 224"/>
                <a:gd name="T58" fmla="*/ 83 w 223"/>
                <a:gd name="T59" fmla="*/ 8 h 224"/>
                <a:gd name="T60" fmla="*/ 75 w 223"/>
                <a:gd name="T61" fmla="*/ 10 h 224"/>
                <a:gd name="T62" fmla="*/ 63 w 223"/>
                <a:gd name="T63" fmla="*/ 13 h 224"/>
                <a:gd name="T64" fmla="*/ 62 w 223"/>
                <a:gd name="T65" fmla="*/ 28 h 224"/>
                <a:gd name="T66" fmla="*/ 44 w 223"/>
                <a:gd name="T67" fmla="*/ 24 h 224"/>
                <a:gd name="T68" fmla="*/ 44 w 223"/>
                <a:gd name="T69" fmla="*/ 43 h 224"/>
                <a:gd name="T70" fmla="*/ 28 w 223"/>
                <a:gd name="T71" fmla="*/ 39 h 224"/>
                <a:gd name="T72" fmla="*/ 22 w 223"/>
                <a:gd name="T73" fmla="*/ 51 h 224"/>
                <a:gd name="T74" fmla="*/ 18 w 223"/>
                <a:gd name="T75" fmla="*/ 57 h 224"/>
                <a:gd name="T76" fmla="*/ 10 w 223"/>
                <a:gd name="T77" fmla="*/ 67 h 224"/>
                <a:gd name="T78" fmla="*/ 20 w 223"/>
                <a:gd name="T79" fmla="*/ 80 h 224"/>
                <a:gd name="T80" fmla="*/ 3 w 223"/>
                <a:gd name="T81" fmla="*/ 88 h 224"/>
                <a:gd name="T82" fmla="*/ 15 w 223"/>
                <a:gd name="T83" fmla="*/ 103 h 224"/>
                <a:gd name="T84" fmla="*/ 1 w 223"/>
                <a:gd name="T85" fmla="*/ 110 h 224"/>
                <a:gd name="T86" fmla="*/ 4 w 223"/>
                <a:gd name="T87" fmla="*/ 123 h 224"/>
                <a:gd name="T88" fmla="*/ 5 w 223"/>
                <a:gd name="T89" fmla="*/ 130 h 224"/>
                <a:gd name="T90" fmla="*/ 5 w 223"/>
                <a:gd name="T91" fmla="*/ 143 h 224"/>
                <a:gd name="T92" fmla="*/ 21 w 223"/>
                <a:gd name="T93" fmla="*/ 146 h 224"/>
                <a:gd name="T94" fmla="*/ 13 w 223"/>
                <a:gd name="T95" fmla="*/ 164 h 224"/>
                <a:gd name="T96" fmla="*/ 32 w 223"/>
                <a:gd name="T97" fmla="*/ 167 h 224"/>
                <a:gd name="T98" fmla="*/ 25 w 223"/>
                <a:gd name="T99" fmla="*/ 182 h 224"/>
                <a:gd name="T100" fmla="*/ 36 w 223"/>
                <a:gd name="T101" fmla="*/ 189 h 224"/>
                <a:gd name="T102" fmla="*/ 41 w 223"/>
                <a:gd name="T103" fmla="*/ 195 h 224"/>
                <a:gd name="T104" fmla="*/ 50 w 223"/>
                <a:gd name="T105" fmla="*/ 204 h 224"/>
                <a:gd name="T106" fmla="*/ 64 w 223"/>
                <a:gd name="T107" fmla="*/ 197 h 224"/>
                <a:gd name="T108" fmla="*/ 69 w 223"/>
                <a:gd name="T109" fmla="*/ 215 h 224"/>
                <a:gd name="T110" fmla="*/ 86 w 223"/>
                <a:gd name="T111" fmla="*/ 206 h 224"/>
                <a:gd name="T112" fmla="*/ 90 w 223"/>
                <a:gd name="T113" fmla="*/ 221 h 224"/>
                <a:gd name="T114" fmla="*/ 103 w 223"/>
                <a:gd name="T115" fmla="*/ 220 h 224"/>
                <a:gd name="T116" fmla="*/ 111 w 223"/>
                <a:gd name="T117" fmla="*/ 221 h 224"/>
                <a:gd name="T118" fmla="*/ 124 w 223"/>
                <a:gd name="T119" fmla="*/ 222 h 224"/>
                <a:gd name="T120" fmla="*/ 129 w 223"/>
                <a:gd name="T121" fmla="*/ 208 h 224"/>
                <a:gd name="T122" fmla="*/ 145 w 223"/>
                <a:gd name="T123" fmla="*/ 219 h 224"/>
                <a:gd name="T124" fmla="*/ 152 w 223"/>
                <a:gd name="T125" fmla="*/ 20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3" h="224">
                  <a:moveTo>
                    <a:pt x="158" y="210"/>
                  </a:moveTo>
                  <a:cubicBezTo>
                    <a:pt x="159" y="211"/>
                    <a:pt x="160" y="211"/>
                    <a:pt x="160" y="212"/>
                  </a:cubicBezTo>
                  <a:cubicBezTo>
                    <a:pt x="161" y="212"/>
                    <a:pt x="162" y="212"/>
                    <a:pt x="163" y="211"/>
                  </a:cubicBezTo>
                  <a:cubicBezTo>
                    <a:pt x="164" y="211"/>
                    <a:pt x="165" y="210"/>
                    <a:pt x="165" y="209"/>
                  </a:cubicBezTo>
                  <a:cubicBezTo>
                    <a:pt x="165" y="208"/>
                    <a:pt x="165" y="207"/>
                    <a:pt x="165" y="206"/>
                  </a:cubicBezTo>
                  <a:cubicBezTo>
                    <a:pt x="165" y="205"/>
                    <a:pt x="163" y="200"/>
                    <a:pt x="161" y="196"/>
                  </a:cubicBezTo>
                  <a:cubicBezTo>
                    <a:pt x="163" y="195"/>
                    <a:pt x="165" y="193"/>
                    <a:pt x="167" y="192"/>
                  </a:cubicBezTo>
                  <a:cubicBezTo>
                    <a:pt x="170" y="196"/>
                    <a:pt x="174" y="200"/>
                    <a:pt x="175" y="200"/>
                  </a:cubicBezTo>
                  <a:cubicBezTo>
                    <a:pt x="175" y="201"/>
                    <a:pt x="176" y="202"/>
                    <a:pt x="177" y="202"/>
                  </a:cubicBezTo>
                  <a:cubicBezTo>
                    <a:pt x="178" y="202"/>
                    <a:pt x="179" y="201"/>
                    <a:pt x="180" y="201"/>
                  </a:cubicBezTo>
                  <a:cubicBezTo>
                    <a:pt x="180" y="200"/>
                    <a:pt x="181" y="199"/>
                    <a:pt x="181" y="198"/>
                  </a:cubicBezTo>
                  <a:cubicBezTo>
                    <a:pt x="181" y="198"/>
                    <a:pt x="181" y="197"/>
                    <a:pt x="181" y="196"/>
                  </a:cubicBezTo>
                  <a:cubicBezTo>
                    <a:pt x="180" y="195"/>
                    <a:pt x="177" y="190"/>
                    <a:pt x="175" y="186"/>
                  </a:cubicBezTo>
                  <a:cubicBezTo>
                    <a:pt x="176" y="185"/>
                    <a:pt x="178" y="183"/>
                    <a:pt x="180" y="181"/>
                  </a:cubicBezTo>
                  <a:cubicBezTo>
                    <a:pt x="184" y="184"/>
                    <a:pt x="188" y="188"/>
                    <a:pt x="189" y="188"/>
                  </a:cubicBezTo>
                  <a:cubicBezTo>
                    <a:pt x="190" y="189"/>
                    <a:pt x="191" y="189"/>
                    <a:pt x="191" y="189"/>
                  </a:cubicBezTo>
                  <a:cubicBezTo>
                    <a:pt x="192" y="189"/>
                    <a:pt x="193" y="188"/>
                    <a:pt x="194" y="188"/>
                  </a:cubicBezTo>
                  <a:cubicBezTo>
                    <a:pt x="195" y="187"/>
                    <a:pt x="195" y="186"/>
                    <a:pt x="195" y="185"/>
                  </a:cubicBezTo>
                  <a:cubicBezTo>
                    <a:pt x="195" y="184"/>
                    <a:pt x="195" y="183"/>
                    <a:pt x="194" y="182"/>
                  </a:cubicBezTo>
                  <a:cubicBezTo>
                    <a:pt x="193" y="182"/>
                    <a:pt x="190" y="178"/>
                    <a:pt x="186" y="174"/>
                  </a:cubicBezTo>
                  <a:cubicBezTo>
                    <a:pt x="188" y="172"/>
                    <a:pt x="189" y="170"/>
                    <a:pt x="191" y="168"/>
                  </a:cubicBezTo>
                  <a:cubicBezTo>
                    <a:pt x="195" y="171"/>
                    <a:pt x="200" y="173"/>
                    <a:pt x="201" y="174"/>
                  </a:cubicBezTo>
                  <a:cubicBezTo>
                    <a:pt x="202" y="174"/>
                    <a:pt x="203" y="174"/>
                    <a:pt x="204" y="174"/>
                  </a:cubicBezTo>
                  <a:cubicBezTo>
                    <a:pt x="204" y="174"/>
                    <a:pt x="205" y="173"/>
                    <a:pt x="206" y="172"/>
                  </a:cubicBezTo>
                  <a:cubicBezTo>
                    <a:pt x="206" y="171"/>
                    <a:pt x="206" y="170"/>
                    <a:pt x="206" y="169"/>
                  </a:cubicBezTo>
                  <a:cubicBezTo>
                    <a:pt x="206" y="169"/>
                    <a:pt x="206" y="168"/>
                    <a:pt x="205" y="167"/>
                  </a:cubicBezTo>
                  <a:cubicBezTo>
                    <a:pt x="204" y="166"/>
                    <a:pt x="200" y="163"/>
                    <a:pt x="196" y="160"/>
                  </a:cubicBezTo>
                  <a:cubicBezTo>
                    <a:pt x="197" y="158"/>
                    <a:pt x="198" y="156"/>
                    <a:pt x="199" y="154"/>
                  </a:cubicBezTo>
                  <a:cubicBezTo>
                    <a:pt x="204" y="155"/>
                    <a:pt x="209" y="157"/>
                    <a:pt x="210" y="157"/>
                  </a:cubicBezTo>
                  <a:cubicBezTo>
                    <a:pt x="211" y="157"/>
                    <a:pt x="212" y="157"/>
                    <a:pt x="213" y="157"/>
                  </a:cubicBezTo>
                  <a:cubicBezTo>
                    <a:pt x="214" y="157"/>
                    <a:pt x="214" y="156"/>
                    <a:pt x="215" y="155"/>
                  </a:cubicBezTo>
                  <a:cubicBezTo>
                    <a:pt x="215" y="154"/>
                    <a:pt x="215" y="153"/>
                    <a:pt x="215" y="152"/>
                  </a:cubicBezTo>
                  <a:cubicBezTo>
                    <a:pt x="215" y="151"/>
                    <a:pt x="214" y="150"/>
                    <a:pt x="213" y="150"/>
                  </a:cubicBezTo>
                  <a:cubicBezTo>
                    <a:pt x="212" y="150"/>
                    <a:pt x="207" y="147"/>
                    <a:pt x="203" y="145"/>
                  </a:cubicBezTo>
                  <a:cubicBezTo>
                    <a:pt x="204" y="142"/>
                    <a:pt x="204" y="140"/>
                    <a:pt x="205" y="138"/>
                  </a:cubicBezTo>
                  <a:cubicBezTo>
                    <a:pt x="210" y="139"/>
                    <a:pt x="215" y="139"/>
                    <a:pt x="216" y="139"/>
                  </a:cubicBezTo>
                  <a:cubicBezTo>
                    <a:pt x="217" y="139"/>
                    <a:pt x="218" y="139"/>
                    <a:pt x="219" y="139"/>
                  </a:cubicBezTo>
                  <a:cubicBezTo>
                    <a:pt x="220" y="138"/>
                    <a:pt x="220" y="137"/>
                    <a:pt x="221" y="136"/>
                  </a:cubicBezTo>
                  <a:cubicBezTo>
                    <a:pt x="221" y="135"/>
                    <a:pt x="221" y="134"/>
                    <a:pt x="220" y="134"/>
                  </a:cubicBezTo>
                  <a:cubicBezTo>
                    <a:pt x="220" y="133"/>
                    <a:pt x="219" y="132"/>
                    <a:pt x="218" y="132"/>
                  </a:cubicBezTo>
                  <a:cubicBezTo>
                    <a:pt x="217" y="131"/>
                    <a:pt x="212" y="130"/>
                    <a:pt x="207" y="128"/>
                  </a:cubicBezTo>
                  <a:cubicBezTo>
                    <a:pt x="208" y="126"/>
                    <a:pt x="208" y="124"/>
                    <a:pt x="208" y="121"/>
                  </a:cubicBezTo>
                  <a:cubicBezTo>
                    <a:pt x="213" y="121"/>
                    <a:pt x="219" y="121"/>
                    <a:pt x="220" y="121"/>
                  </a:cubicBezTo>
                  <a:cubicBezTo>
                    <a:pt x="221" y="121"/>
                    <a:pt x="221" y="120"/>
                    <a:pt x="222" y="119"/>
                  </a:cubicBezTo>
                  <a:cubicBezTo>
                    <a:pt x="223" y="119"/>
                    <a:pt x="223" y="118"/>
                    <a:pt x="223" y="117"/>
                  </a:cubicBezTo>
                  <a:cubicBezTo>
                    <a:pt x="223" y="116"/>
                    <a:pt x="223" y="115"/>
                    <a:pt x="222" y="114"/>
                  </a:cubicBezTo>
                  <a:cubicBezTo>
                    <a:pt x="222" y="114"/>
                    <a:pt x="221" y="113"/>
                    <a:pt x="220" y="113"/>
                  </a:cubicBezTo>
                  <a:cubicBezTo>
                    <a:pt x="219" y="113"/>
                    <a:pt x="213" y="112"/>
                    <a:pt x="209" y="111"/>
                  </a:cubicBezTo>
                  <a:cubicBezTo>
                    <a:pt x="209" y="109"/>
                    <a:pt x="209" y="107"/>
                    <a:pt x="208" y="104"/>
                  </a:cubicBezTo>
                  <a:cubicBezTo>
                    <a:pt x="213" y="103"/>
                    <a:pt x="218" y="102"/>
                    <a:pt x="219" y="102"/>
                  </a:cubicBezTo>
                  <a:cubicBezTo>
                    <a:pt x="220" y="102"/>
                    <a:pt x="221" y="101"/>
                    <a:pt x="222" y="100"/>
                  </a:cubicBezTo>
                  <a:cubicBezTo>
                    <a:pt x="222" y="99"/>
                    <a:pt x="222" y="98"/>
                    <a:pt x="222" y="98"/>
                  </a:cubicBezTo>
                  <a:cubicBezTo>
                    <a:pt x="222" y="97"/>
                    <a:pt x="222" y="96"/>
                    <a:pt x="221" y="95"/>
                  </a:cubicBezTo>
                  <a:cubicBezTo>
                    <a:pt x="220" y="94"/>
                    <a:pt x="219" y="94"/>
                    <a:pt x="218" y="94"/>
                  </a:cubicBezTo>
                  <a:cubicBezTo>
                    <a:pt x="217" y="94"/>
                    <a:pt x="212" y="94"/>
                    <a:pt x="207" y="95"/>
                  </a:cubicBezTo>
                  <a:cubicBezTo>
                    <a:pt x="207" y="92"/>
                    <a:pt x="206" y="90"/>
                    <a:pt x="205" y="88"/>
                  </a:cubicBezTo>
                  <a:cubicBezTo>
                    <a:pt x="210" y="86"/>
                    <a:pt x="215" y="84"/>
                    <a:pt x="216" y="83"/>
                  </a:cubicBezTo>
                  <a:cubicBezTo>
                    <a:pt x="217" y="83"/>
                    <a:pt x="217" y="82"/>
                    <a:pt x="218" y="81"/>
                  </a:cubicBezTo>
                  <a:cubicBezTo>
                    <a:pt x="218" y="80"/>
                    <a:pt x="218" y="79"/>
                    <a:pt x="218" y="79"/>
                  </a:cubicBezTo>
                  <a:cubicBezTo>
                    <a:pt x="218" y="78"/>
                    <a:pt x="217" y="77"/>
                    <a:pt x="216" y="76"/>
                  </a:cubicBezTo>
                  <a:cubicBezTo>
                    <a:pt x="216" y="76"/>
                    <a:pt x="215" y="76"/>
                    <a:pt x="214" y="76"/>
                  </a:cubicBezTo>
                  <a:cubicBezTo>
                    <a:pt x="213" y="76"/>
                    <a:pt x="207" y="77"/>
                    <a:pt x="203" y="78"/>
                  </a:cubicBezTo>
                  <a:cubicBezTo>
                    <a:pt x="202" y="76"/>
                    <a:pt x="201" y="74"/>
                    <a:pt x="200" y="72"/>
                  </a:cubicBezTo>
                  <a:cubicBezTo>
                    <a:pt x="204" y="69"/>
                    <a:pt x="208" y="66"/>
                    <a:pt x="209" y="66"/>
                  </a:cubicBezTo>
                  <a:cubicBezTo>
                    <a:pt x="210" y="65"/>
                    <a:pt x="211" y="64"/>
                    <a:pt x="211" y="63"/>
                  </a:cubicBezTo>
                  <a:cubicBezTo>
                    <a:pt x="211" y="62"/>
                    <a:pt x="211" y="61"/>
                    <a:pt x="211" y="61"/>
                  </a:cubicBezTo>
                  <a:cubicBezTo>
                    <a:pt x="210" y="60"/>
                    <a:pt x="209" y="59"/>
                    <a:pt x="209" y="59"/>
                  </a:cubicBezTo>
                  <a:cubicBezTo>
                    <a:pt x="208" y="58"/>
                    <a:pt x="207" y="58"/>
                    <a:pt x="206" y="59"/>
                  </a:cubicBezTo>
                  <a:cubicBezTo>
                    <a:pt x="205" y="59"/>
                    <a:pt x="200" y="61"/>
                    <a:pt x="195" y="63"/>
                  </a:cubicBezTo>
                  <a:cubicBezTo>
                    <a:pt x="194" y="61"/>
                    <a:pt x="193" y="59"/>
                    <a:pt x="191" y="57"/>
                  </a:cubicBezTo>
                  <a:cubicBezTo>
                    <a:pt x="195" y="54"/>
                    <a:pt x="199" y="50"/>
                    <a:pt x="200" y="49"/>
                  </a:cubicBezTo>
                  <a:cubicBezTo>
                    <a:pt x="200" y="49"/>
                    <a:pt x="201" y="48"/>
                    <a:pt x="201" y="47"/>
                  </a:cubicBezTo>
                  <a:cubicBezTo>
                    <a:pt x="201" y="46"/>
                    <a:pt x="201" y="45"/>
                    <a:pt x="200" y="44"/>
                  </a:cubicBezTo>
                  <a:cubicBezTo>
                    <a:pt x="200" y="43"/>
                    <a:pt x="199" y="43"/>
                    <a:pt x="198" y="43"/>
                  </a:cubicBezTo>
                  <a:cubicBezTo>
                    <a:pt x="197" y="42"/>
                    <a:pt x="196" y="43"/>
                    <a:pt x="195" y="43"/>
                  </a:cubicBezTo>
                  <a:cubicBezTo>
                    <a:pt x="194" y="44"/>
                    <a:pt x="190" y="47"/>
                    <a:pt x="185" y="49"/>
                  </a:cubicBezTo>
                  <a:cubicBezTo>
                    <a:pt x="184" y="47"/>
                    <a:pt x="182" y="46"/>
                    <a:pt x="181" y="44"/>
                  </a:cubicBezTo>
                  <a:cubicBezTo>
                    <a:pt x="184" y="40"/>
                    <a:pt x="187" y="36"/>
                    <a:pt x="188" y="35"/>
                  </a:cubicBezTo>
                  <a:cubicBezTo>
                    <a:pt x="188" y="34"/>
                    <a:pt x="188" y="33"/>
                    <a:pt x="188" y="32"/>
                  </a:cubicBezTo>
                  <a:cubicBezTo>
                    <a:pt x="188" y="31"/>
                    <a:pt x="188" y="30"/>
                    <a:pt x="187" y="30"/>
                  </a:cubicBezTo>
                  <a:cubicBezTo>
                    <a:pt x="186" y="29"/>
                    <a:pt x="185" y="29"/>
                    <a:pt x="184" y="29"/>
                  </a:cubicBezTo>
                  <a:cubicBezTo>
                    <a:pt x="184" y="29"/>
                    <a:pt x="183" y="29"/>
                    <a:pt x="182" y="30"/>
                  </a:cubicBezTo>
                  <a:cubicBezTo>
                    <a:pt x="181" y="30"/>
                    <a:pt x="177" y="34"/>
                    <a:pt x="173" y="37"/>
                  </a:cubicBezTo>
                  <a:cubicBezTo>
                    <a:pt x="172" y="36"/>
                    <a:pt x="170" y="34"/>
                    <a:pt x="168" y="33"/>
                  </a:cubicBezTo>
                  <a:cubicBezTo>
                    <a:pt x="170" y="29"/>
                    <a:pt x="172" y="24"/>
                    <a:pt x="173" y="23"/>
                  </a:cubicBezTo>
                  <a:cubicBezTo>
                    <a:pt x="173" y="22"/>
                    <a:pt x="173" y="21"/>
                    <a:pt x="173" y="20"/>
                  </a:cubicBezTo>
                  <a:cubicBezTo>
                    <a:pt x="173" y="19"/>
                    <a:pt x="172" y="18"/>
                    <a:pt x="172" y="18"/>
                  </a:cubicBezTo>
                  <a:cubicBezTo>
                    <a:pt x="171" y="17"/>
                    <a:pt x="170" y="17"/>
                    <a:pt x="169" y="17"/>
                  </a:cubicBezTo>
                  <a:cubicBezTo>
                    <a:pt x="168" y="17"/>
                    <a:pt x="167" y="18"/>
                    <a:pt x="167" y="19"/>
                  </a:cubicBezTo>
                  <a:cubicBezTo>
                    <a:pt x="166" y="19"/>
                    <a:pt x="163" y="24"/>
                    <a:pt x="160" y="28"/>
                  </a:cubicBezTo>
                  <a:cubicBezTo>
                    <a:pt x="157" y="26"/>
                    <a:pt x="155" y="25"/>
                    <a:pt x="153" y="24"/>
                  </a:cubicBezTo>
                  <a:cubicBezTo>
                    <a:pt x="155" y="20"/>
                    <a:pt x="156" y="15"/>
                    <a:pt x="157" y="14"/>
                  </a:cubicBezTo>
                  <a:cubicBezTo>
                    <a:pt x="157" y="13"/>
                    <a:pt x="157" y="12"/>
                    <a:pt x="156" y="11"/>
                  </a:cubicBezTo>
                  <a:cubicBezTo>
                    <a:pt x="156" y="10"/>
                    <a:pt x="155" y="9"/>
                    <a:pt x="154" y="9"/>
                  </a:cubicBezTo>
                  <a:cubicBezTo>
                    <a:pt x="153" y="8"/>
                    <a:pt x="152" y="8"/>
                    <a:pt x="152" y="9"/>
                  </a:cubicBezTo>
                  <a:cubicBezTo>
                    <a:pt x="151" y="9"/>
                    <a:pt x="150" y="10"/>
                    <a:pt x="149" y="11"/>
                  </a:cubicBezTo>
                  <a:cubicBezTo>
                    <a:pt x="149" y="11"/>
                    <a:pt x="146" y="16"/>
                    <a:pt x="144" y="21"/>
                  </a:cubicBezTo>
                  <a:cubicBezTo>
                    <a:pt x="142" y="20"/>
                    <a:pt x="140" y="19"/>
                    <a:pt x="137" y="19"/>
                  </a:cubicBezTo>
                  <a:cubicBezTo>
                    <a:pt x="138" y="14"/>
                    <a:pt x="139" y="8"/>
                    <a:pt x="139" y="7"/>
                  </a:cubicBezTo>
                  <a:cubicBezTo>
                    <a:pt x="139" y="6"/>
                    <a:pt x="139" y="5"/>
                    <a:pt x="138" y="4"/>
                  </a:cubicBezTo>
                  <a:cubicBezTo>
                    <a:pt x="137" y="4"/>
                    <a:pt x="137" y="3"/>
                    <a:pt x="136" y="3"/>
                  </a:cubicBezTo>
                  <a:cubicBezTo>
                    <a:pt x="135" y="3"/>
                    <a:pt x="134" y="3"/>
                    <a:pt x="133" y="3"/>
                  </a:cubicBezTo>
                  <a:cubicBezTo>
                    <a:pt x="132" y="4"/>
                    <a:pt x="132" y="5"/>
                    <a:pt x="131" y="6"/>
                  </a:cubicBezTo>
                  <a:cubicBezTo>
                    <a:pt x="131" y="7"/>
                    <a:pt x="129" y="12"/>
                    <a:pt x="128" y="16"/>
                  </a:cubicBezTo>
                  <a:cubicBezTo>
                    <a:pt x="125" y="16"/>
                    <a:pt x="123" y="16"/>
                    <a:pt x="121" y="15"/>
                  </a:cubicBezTo>
                  <a:cubicBezTo>
                    <a:pt x="120" y="11"/>
                    <a:pt x="120" y="5"/>
                    <a:pt x="120" y="4"/>
                  </a:cubicBezTo>
                  <a:cubicBezTo>
                    <a:pt x="120" y="3"/>
                    <a:pt x="120" y="2"/>
                    <a:pt x="119" y="2"/>
                  </a:cubicBezTo>
                  <a:cubicBezTo>
                    <a:pt x="118" y="1"/>
                    <a:pt x="117" y="1"/>
                    <a:pt x="116" y="0"/>
                  </a:cubicBezTo>
                  <a:cubicBezTo>
                    <a:pt x="116" y="0"/>
                    <a:pt x="115" y="1"/>
                    <a:pt x="114" y="1"/>
                  </a:cubicBezTo>
                  <a:cubicBezTo>
                    <a:pt x="113" y="2"/>
                    <a:pt x="113" y="3"/>
                    <a:pt x="112" y="4"/>
                  </a:cubicBezTo>
                  <a:cubicBezTo>
                    <a:pt x="112" y="5"/>
                    <a:pt x="112" y="10"/>
                    <a:pt x="111" y="15"/>
                  </a:cubicBezTo>
                  <a:cubicBezTo>
                    <a:pt x="109" y="15"/>
                    <a:pt x="106" y="15"/>
                    <a:pt x="104" y="15"/>
                  </a:cubicBezTo>
                  <a:cubicBezTo>
                    <a:pt x="103" y="11"/>
                    <a:pt x="102" y="5"/>
                    <a:pt x="101" y="4"/>
                  </a:cubicBezTo>
                  <a:cubicBezTo>
                    <a:pt x="101" y="3"/>
                    <a:pt x="100" y="3"/>
                    <a:pt x="100" y="2"/>
                  </a:cubicBezTo>
                  <a:cubicBezTo>
                    <a:pt x="99" y="2"/>
                    <a:pt x="98" y="1"/>
                    <a:pt x="97" y="1"/>
                  </a:cubicBezTo>
                  <a:cubicBezTo>
                    <a:pt x="96" y="2"/>
                    <a:pt x="95" y="2"/>
                    <a:pt x="95" y="3"/>
                  </a:cubicBezTo>
                  <a:cubicBezTo>
                    <a:pt x="94" y="3"/>
                    <a:pt x="94" y="4"/>
                    <a:pt x="94" y="5"/>
                  </a:cubicBezTo>
                  <a:cubicBezTo>
                    <a:pt x="94" y="6"/>
                    <a:pt x="94" y="12"/>
                    <a:pt x="94" y="17"/>
                  </a:cubicBezTo>
                  <a:cubicBezTo>
                    <a:pt x="92" y="17"/>
                    <a:pt x="89" y="18"/>
                    <a:pt x="87" y="18"/>
                  </a:cubicBezTo>
                  <a:cubicBezTo>
                    <a:pt x="85" y="14"/>
                    <a:pt x="83" y="9"/>
                    <a:pt x="83" y="8"/>
                  </a:cubicBezTo>
                  <a:cubicBezTo>
                    <a:pt x="82" y="7"/>
                    <a:pt x="82" y="6"/>
                    <a:pt x="81" y="6"/>
                  </a:cubicBezTo>
                  <a:cubicBezTo>
                    <a:pt x="80" y="5"/>
                    <a:pt x="79" y="5"/>
                    <a:pt x="78" y="6"/>
                  </a:cubicBezTo>
                  <a:cubicBezTo>
                    <a:pt x="77" y="6"/>
                    <a:pt x="76" y="7"/>
                    <a:pt x="76" y="7"/>
                  </a:cubicBezTo>
                  <a:cubicBezTo>
                    <a:pt x="75" y="8"/>
                    <a:pt x="75" y="9"/>
                    <a:pt x="75" y="10"/>
                  </a:cubicBezTo>
                  <a:cubicBezTo>
                    <a:pt x="76" y="11"/>
                    <a:pt x="77" y="16"/>
                    <a:pt x="78" y="21"/>
                  </a:cubicBezTo>
                  <a:cubicBezTo>
                    <a:pt x="76" y="22"/>
                    <a:pt x="73" y="23"/>
                    <a:pt x="71" y="24"/>
                  </a:cubicBezTo>
                  <a:cubicBezTo>
                    <a:pt x="69" y="20"/>
                    <a:pt x="66" y="15"/>
                    <a:pt x="65" y="14"/>
                  </a:cubicBezTo>
                  <a:cubicBezTo>
                    <a:pt x="65" y="13"/>
                    <a:pt x="64" y="13"/>
                    <a:pt x="63" y="13"/>
                  </a:cubicBezTo>
                  <a:cubicBezTo>
                    <a:pt x="62" y="12"/>
                    <a:pt x="61" y="13"/>
                    <a:pt x="60" y="13"/>
                  </a:cubicBezTo>
                  <a:cubicBezTo>
                    <a:pt x="59" y="14"/>
                    <a:pt x="59" y="14"/>
                    <a:pt x="58" y="15"/>
                  </a:cubicBezTo>
                  <a:cubicBezTo>
                    <a:pt x="58" y="16"/>
                    <a:pt x="58" y="17"/>
                    <a:pt x="58" y="18"/>
                  </a:cubicBezTo>
                  <a:cubicBezTo>
                    <a:pt x="59" y="19"/>
                    <a:pt x="61" y="24"/>
                    <a:pt x="62" y="28"/>
                  </a:cubicBezTo>
                  <a:cubicBezTo>
                    <a:pt x="60" y="30"/>
                    <a:pt x="58" y="31"/>
                    <a:pt x="57" y="32"/>
                  </a:cubicBezTo>
                  <a:cubicBezTo>
                    <a:pt x="53" y="29"/>
                    <a:pt x="50" y="25"/>
                    <a:pt x="49" y="24"/>
                  </a:cubicBezTo>
                  <a:cubicBezTo>
                    <a:pt x="48" y="23"/>
                    <a:pt x="47" y="23"/>
                    <a:pt x="46" y="23"/>
                  </a:cubicBezTo>
                  <a:cubicBezTo>
                    <a:pt x="45" y="23"/>
                    <a:pt x="44" y="23"/>
                    <a:pt x="44" y="24"/>
                  </a:cubicBezTo>
                  <a:cubicBezTo>
                    <a:pt x="43" y="24"/>
                    <a:pt x="42" y="25"/>
                    <a:pt x="42" y="26"/>
                  </a:cubicBezTo>
                  <a:cubicBezTo>
                    <a:pt x="42" y="27"/>
                    <a:pt x="42" y="28"/>
                    <a:pt x="43" y="29"/>
                  </a:cubicBezTo>
                  <a:cubicBezTo>
                    <a:pt x="43" y="30"/>
                    <a:pt x="46" y="34"/>
                    <a:pt x="49" y="38"/>
                  </a:cubicBezTo>
                  <a:cubicBezTo>
                    <a:pt x="47" y="40"/>
                    <a:pt x="45" y="41"/>
                    <a:pt x="44" y="43"/>
                  </a:cubicBezTo>
                  <a:cubicBezTo>
                    <a:pt x="40" y="40"/>
                    <a:pt x="35" y="37"/>
                    <a:pt x="34" y="36"/>
                  </a:cubicBezTo>
                  <a:cubicBezTo>
                    <a:pt x="34" y="36"/>
                    <a:pt x="33" y="35"/>
                    <a:pt x="32" y="35"/>
                  </a:cubicBezTo>
                  <a:cubicBezTo>
                    <a:pt x="31" y="36"/>
                    <a:pt x="30" y="36"/>
                    <a:pt x="29" y="37"/>
                  </a:cubicBezTo>
                  <a:cubicBezTo>
                    <a:pt x="29" y="37"/>
                    <a:pt x="28" y="38"/>
                    <a:pt x="28" y="39"/>
                  </a:cubicBezTo>
                  <a:cubicBezTo>
                    <a:pt x="28" y="40"/>
                    <a:pt x="29" y="41"/>
                    <a:pt x="29" y="42"/>
                  </a:cubicBezTo>
                  <a:cubicBezTo>
                    <a:pt x="30" y="43"/>
                    <a:pt x="34" y="47"/>
                    <a:pt x="37" y="50"/>
                  </a:cubicBezTo>
                  <a:cubicBezTo>
                    <a:pt x="35" y="52"/>
                    <a:pt x="34" y="54"/>
                    <a:pt x="33" y="56"/>
                  </a:cubicBezTo>
                  <a:cubicBezTo>
                    <a:pt x="28" y="54"/>
                    <a:pt x="23" y="51"/>
                    <a:pt x="22" y="51"/>
                  </a:cubicBezTo>
                  <a:cubicBezTo>
                    <a:pt x="22" y="50"/>
                    <a:pt x="21" y="50"/>
                    <a:pt x="20" y="51"/>
                  </a:cubicBezTo>
                  <a:cubicBezTo>
                    <a:pt x="19" y="51"/>
                    <a:pt x="18" y="51"/>
                    <a:pt x="18" y="52"/>
                  </a:cubicBezTo>
                  <a:cubicBezTo>
                    <a:pt x="17" y="53"/>
                    <a:pt x="17" y="54"/>
                    <a:pt x="17" y="55"/>
                  </a:cubicBezTo>
                  <a:cubicBezTo>
                    <a:pt x="17" y="56"/>
                    <a:pt x="18" y="57"/>
                    <a:pt x="18" y="57"/>
                  </a:cubicBezTo>
                  <a:cubicBezTo>
                    <a:pt x="19" y="58"/>
                    <a:pt x="23" y="61"/>
                    <a:pt x="27" y="64"/>
                  </a:cubicBezTo>
                  <a:cubicBezTo>
                    <a:pt x="26" y="66"/>
                    <a:pt x="25" y="68"/>
                    <a:pt x="24" y="70"/>
                  </a:cubicBezTo>
                  <a:cubicBezTo>
                    <a:pt x="19" y="69"/>
                    <a:pt x="14" y="67"/>
                    <a:pt x="13" y="67"/>
                  </a:cubicBezTo>
                  <a:cubicBezTo>
                    <a:pt x="12" y="67"/>
                    <a:pt x="11" y="67"/>
                    <a:pt x="10" y="67"/>
                  </a:cubicBezTo>
                  <a:cubicBezTo>
                    <a:pt x="10" y="68"/>
                    <a:pt x="9" y="69"/>
                    <a:pt x="9" y="69"/>
                  </a:cubicBezTo>
                  <a:cubicBezTo>
                    <a:pt x="8" y="70"/>
                    <a:pt x="8" y="71"/>
                    <a:pt x="8" y="72"/>
                  </a:cubicBezTo>
                  <a:cubicBezTo>
                    <a:pt x="9" y="73"/>
                    <a:pt x="9" y="74"/>
                    <a:pt x="10" y="74"/>
                  </a:cubicBezTo>
                  <a:cubicBezTo>
                    <a:pt x="11" y="75"/>
                    <a:pt x="16" y="77"/>
                    <a:pt x="20" y="80"/>
                  </a:cubicBezTo>
                  <a:cubicBezTo>
                    <a:pt x="20" y="82"/>
                    <a:pt x="19" y="84"/>
                    <a:pt x="18" y="86"/>
                  </a:cubicBezTo>
                  <a:cubicBezTo>
                    <a:pt x="13" y="86"/>
                    <a:pt x="8" y="85"/>
                    <a:pt x="7" y="85"/>
                  </a:cubicBezTo>
                  <a:cubicBezTo>
                    <a:pt x="6" y="85"/>
                    <a:pt x="5" y="85"/>
                    <a:pt x="4" y="86"/>
                  </a:cubicBezTo>
                  <a:cubicBezTo>
                    <a:pt x="4" y="86"/>
                    <a:pt x="3" y="87"/>
                    <a:pt x="3" y="88"/>
                  </a:cubicBezTo>
                  <a:cubicBezTo>
                    <a:pt x="2" y="89"/>
                    <a:pt x="3" y="90"/>
                    <a:pt x="3" y="91"/>
                  </a:cubicBezTo>
                  <a:cubicBezTo>
                    <a:pt x="4" y="92"/>
                    <a:pt x="4" y="92"/>
                    <a:pt x="5" y="93"/>
                  </a:cubicBezTo>
                  <a:cubicBezTo>
                    <a:pt x="6" y="93"/>
                    <a:pt x="11" y="95"/>
                    <a:pt x="16" y="96"/>
                  </a:cubicBezTo>
                  <a:cubicBezTo>
                    <a:pt x="16" y="98"/>
                    <a:pt x="15" y="101"/>
                    <a:pt x="15" y="103"/>
                  </a:cubicBezTo>
                  <a:cubicBezTo>
                    <a:pt x="10" y="103"/>
                    <a:pt x="5" y="104"/>
                    <a:pt x="4" y="104"/>
                  </a:cubicBezTo>
                  <a:cubicBezTo>
                    <a:pt x="3" y="104"/>
                    <a:pt x="2" y="104"/>
                    <a:pt x="1" y="105"/>
                  </a:cubicBezTo>
                  <a:cubicBezTo>
                    <a:pt x="1" y="105"/>
                    <a:pt x="0" y="106"/>
                    <a:pt x="0" y="107"/>
                  </a:cubicBezTo>
                  <a:cubicBezTo>
                    <a:pt x="0" y="108"/>
                    <a:pt x="1" y="109"/>
                    <a:pt x="1" y="110"/>
                  </a:cubicBezTo>
                  <a:cubicBezTo>
                    <a:pt x="2" y="111"/>
                    <a:pt x="2" y="111"/>
                    <a:pt x="3" y="111"/>
                  </a:cubicBezTo>
                  <a:cubicBezTo>
                    <a:pt x="4" y="111"/>
                    <a:pt x="10" y="112"/>
                    <a:pt x="15" y="113"/>
                  </a:cubicBezTo>
                  <a:cubicBezTo>
                    <a:pt x="15" y="115"/>
                    <a:pt x="15" y="118"/>
                    <a:pt x="15" y="120"/>
                  </a:cubicBezTo>
                  <a:cubicBezTo>
                    <a:pt x="10" y="121"/>
                    <a:pt x="5" y="122"/>
                    <a:pt x="4" y="123"/>
                  </a:cubicBezTo>
                  <a:cubicBezTo>
                    <a:pt x="3" y="123"/>
                    <a:pt x="2" y="123"/>
                    <a:pt x="2" y="124"/>
                  </a:cubicBezTo>
                  <a:cubicBezTo>
                    <a:pt x="1" y="125"/>
                    <a:pt x="1" y="126"/>
                    <a:pt x="1" y="127"/>
                  </a:cubicBezTo>
                  <a:cubicBezTo>
                    <a:pt x="1" y="128"/>
                    <a:pt x="2" y="129"/>
                    <a:pt x="2" y="129"/>
                  </a:cubicBezTo>
                  <a:cubicBezTo>
                    <a:pt x="3" y="130"/>
                    <a:pt x="4" y="130"/>
                    <a:pt x="5" y="130"/>
                  </a:cubicBezTo>
                  <a:cubicBezTo>
                    <a:pt x="6" y="130"/>
                    <a:pt x="11" y="130"/>
                    <a:pt x="16" y="130"/>
                  </a:cubicBezTo>
                  <a:cubicBezTo>
                    <a:pt x="17" y="132"/>
                    <a:pt x="17" y="134"/>
                    <a:pt x="18" y="137"/>
                  </a:cubicBezTo>
                  <a:cubicBezTo>
                    <a:pt x="13" y="139"/>
                    <a:pt x="8" y="141"/>
                    <a:pt x="7" y="141"/>
                  </a:cubicBezTo>
                  <a:cubicBezTo>
                    <a:pt x="6" y="141"/>
                    <a:pt x="6" y="142"/>
                    <a:pt x="5" y="143"/>
                  </a:cubicBezTo>
                  <a:cubicBezTo>
                    <a:pt x="5" y="144"/>
                    <a:pt x="5" y="145"/>
                    <a:pt x="5" y="146"/>
                  </a:cubicBezTo>
                  <a:cubicBezTo>
                    <a:pt x="6" y="147"/>
                    <a:pt x="6" y="148"/>
                    <a:pt x="7" y="148"/>
                  </a:cubicBezTo>
                  <a:cubicBezTo>
                    <a:pt x="8" y="148"/>
                    <a:pt x="9" y="149"/>
                    <a:pt x="10" y="149"/>
                  </a:cubicBezTo>
                  <a:cubicBezTo>
                    <a:pt x="11" y="148"/>
                    <a:pt x="16" y="147"/>
                    <a:pt x="21" y="146"/>
                  </a:cubicBezTo>
                  <a:cubicBezTo>
                    <a:pt x="22" y="148"/>
                    <a:pt x="22" y="150"/>
                    <a:pt x="24" y="153"/>
                  </a:cubicBezTo>
                  <a:cubicBezTo>
                    <a:pt x="19" y="155"/>
                    <a:pt x="15" y="158"/>
                    <a:pt x="14" y="159"/>
                  </a:cubicBezTo>
                  <a:cubicBezTo>
                    <a:pt x="13" y="159"/>
                    <a:pt x="13" y="160"/>
                    <a:pt x="12" y="161"/>
                  </a:cubicBezTo>
                  <a:cubicBezTo>
                    <a:pt x="12" y="162"/>
                    <a:pt x="12" y="163"/>
                    <a:pt x="13" y="164"/>
                  </a:cubicBezTo>
                  <a:cubicBezTo>
                    <a:pt x="13" y="165"/>
                    <a:pt x="14" y="165"/>
                    <a:pt x="15" y="166"/>
                  </a:cubicBezTo>
                  <a:cubicBezTo>
                    <a:pt x="16" y="166"/>
                    <a:pt x="17" y="166"/>
                    <a:pt x="17" y="166"/>
                  </a:cubicBezTo>
                  <a:cubicBezTo>
                    <a:pt x="18" y="165"/>
                    <a:pt x="24" y="163"/>
                    <a:pt x="28" y="161"/>
                  </a:cubicBezTo>
                  <a:cubicBezTo>
                    <a:pt x="29" y="163"/>
                    <a:pt x="30" y="165"/>
                    <a:pt x="32" y="167"/>
                  </a:cubicBezTo>
                  <a:cubicBezTo>
                    <a:pt x="28" y="171"/>
                    <a:pt x="24" y="174"/>
                    <a:pt x="24" y="175"/>
                  </a:cubicBezTo>
                  <a:cubicBezTo>
                    <a:pt x="23" y="176"/>
                    <a:pt x="22" y="177"/>
                    <a:pt x="22" y="178"/>
                  </a:cubicBezTo>
                  <a:cubicBezTo>
                    <a:pt x="22" y="178"/>
                    <a:pt x="23" y="179"/>
                    <a:pt x="23" y="180"/>
                  </a:cubicBezTo>
                  <a:cubicBezTo>
                    <a:pt x="24" y="181"/>
                    <a:pt x="25" y="181"/>
                    <a:pt x="25" y="182"/>
                  </a:cubicBezTo>
                  <a:cubicBezTo>
                    <a:pt x="26" y="182"/>
                    <a:pt x="27" y="182"/>
                    <a:pt x="28" y="181"/>
                  </a:cubicBezTo>
                  <a:cubicBezTo>
                    <a:pt x="29" y="181"/>
                    <a:pt x="34" y="178"/>
                    <a:pt x="38" y="175"/>
                  </a:cubicBezTo>
                  <a:cubicBezTo>
                    <a:pt x="39" y="177"/>
                    <a:pt x="41" y="179"/>
                    <a:pt x="43" y="180"/>
                  </a:cubicBezTo>
                  <a:cubicBezTo>
                    <a:pt x="40" y="184"/>
                    <a:pt x="36" y="189"/>
                    <a:pt x="36" y="189"/>
                  </a:cubicBezTo>
                  <a:cubicBezTo>
                    <a:pt x="35" y="190"/>
                    <a:pt x="35" y="191"/>
                    <a:pt x="35" y="192"/>
                  </a:cubicBezTo>
                  <a:cubicBezTo>
                    <a:pt x="35" y="193"/>
                    <a:pt x="36" y="194"/>
                    <a:pt x="36" y="195"/>
                  </a:cubicBezTo>
                  <a:cubicBezTo>
                    <a:pt x="37" y="195"/>
                    <a:pt x="38" y="196"/>
                    <a:pt x="39" y="196"/>
                  </a:cubicBezTo>
                  <a:cubicBezTo>
                    <a:pt x="40" y="196"/>
                    <a:pt x="41" y="195"/>
                    <a:pt x="41" y="195"/>
                  </a:cubicBezTo>
                  <a:cubicBezTo>
                    <a:pt x="42" y="194"/>
                    <a:pt x="46" y="190"/>
                    <a:pt x="50" y="187"/>
                  </a:cubicBezTo>
                  <a:cubicBezTo>
                    <a:pt x="52" y="189"/>
                    <a:pt x="54" y="190"/>
                    <a:pt x="56" y="191"/>
                  </a:cubicBezTo>
                  <a:cubicBezTo>
                    <a:pt x="53" y="196"/>
                    <a:pt x="51" y="201"/>
                    <a:pt x="50" y="202"/>
                  </a:cubicBezTo>
                  <a:cubicBezTo>
                    <a:pt x="50" y="202"/>
                    <a:pt x="50" y="203"/>
                    <a:pt x="50" y="204"/>
                  </a:cubicBezTo>
                  <a:cubicBezTo>
                    <a:pt x="50" y="205"/>
                    <a:pt x="51" y="206"/>
                    <a:pt x="52" y="206"/>
                  </a:cubicBezTo>
                  <a:cubicBezTo>
                    <a:pt x="53" y="207"/>
                    <a:pt x="53" y="207"/>
                    <a:pt x="54" y="207"/>
                  </a:cubicBezTo>
                  <a:cubicBezTo>
                    <a:pt x="55" y="207"/>
                    <a:pt x="56" y="206"/>
                    <a:pt x="57" y="206"/>
                  </a:cubicBezTo>
                  <a:cubicBezTo>
                    <a:pt x="57" y="205"/>
                    <a:pt x="61" y="201"/>
                    <a:pt x="64" y="197"/>
                  </a:cubicBezTo>
                  <a:cubicBezTo>
                    <a:pt x="66" y="198"/>
                    <a:pt x="68" y="199"/>
                    <a:pt x="70" y="200"/>
                  </a:cubicBezTo>
                  <a:cubicBezTo>
                    <a:pt x="69" y="205"/>
                    <a:pt x="67" y="210"/>
                    <a:pt x="67" y="211"/>
                  </a:cubicBezTo>
                  <a:cubicBezTo>
                    <a:pt x="66" y="212"/>
                    <a:pt x="67" y="213"/>
                    <a:pt x="67" y="214"/>
                  </a:cubicBezTo>
                  <a:cubicBezTo>
                    <a:pt x="67" y="214"/>
                    <a:pt x="68" y="215"/>
                    <a:pt x="69" y="215"/>
                  </a:cubicBezTo>
                  <a:cubicBezTo>
                    <a:pt x="70" y="216"/>
                    <a:pt x="71" y="216"/>
                    <a:pt x="72" y="216"/>
                  </a:cubicBezTo>
                  <a:cubicBezTo>
                    <a:pt x="73" y="215"/>
                    <a:pt x="73" y="215"/>
                    <a:pt x="74" y="214"/>
                  </a:cubicBezTo>
                  <a:cubicBezTo>
                    <a:pt x="74" y="213"/>
                    <a:pt x="77" y="208"/>
                    <a:pt x="79" y="204"/>
                  </a:cubicBezTo>
                  <a:cubicBezTo>
                    <a:pt x="81" y="205"/>
                    <a:pt x="84" y="205"/>
                    <a:pt x="86" y="206"/>
                  </a:cubicBezTo>
                  <a:cubicBezTo>
                    <a:pt x="85" y="211"/>
                    <a:pt x="85" y="216"/>
                    <a:pt x="85" y="217"/>
                  </a:cubicBezTo>
                  <a:cubicBezTo>
                    <a:pt x="84" y="218"/>
                    <a:pt x="85" y="219"/>
                    <a:pt x="85" y="220"/>
                  </a:cubicBezTo>
                  <a:cubicBezTo>
                    <a:pt x="86" y="221"/>
                    <a:pt x="87" y="221"/>
                    <a:pt x="88" y="221"/>
                  </a:cubicBezTo>
                  <a:cubicBezTo>
                    <a:pt x="88" y="221"/>
                    <a:pt x="89" y="221"/>
                    <a:pt x="90" y="221"/>
                  </a:cubicBezTo>
                  <a:cubicBezTo>
                    <a:pt x="91" y="220"/>
                    <a:pt x="92" y="220"/>
                    <a:pt x="92" y="219"/>
                  </a:cubicBezTo>
                  <a:cubicBezTo>
                    <a:pt x="92" y="218"/>
                    <a:pt x="94" y="213"/>
                    <a:pt x="96" y="208"/>
                  </a:cubicBezTo>
                  <a:cubicBezTo>
                    <a:pt x="98" y="208"/>
                    <a:pt x="100" y="209"/>
                    <a:pt x="102" y="209"/>
                  </a:cubicBezTo>
                  <a:cubicBezTo>
                    <a:pt x="103" y="214"/>
                    <a:pt x="103" y="219"/>
                    <a:pt x="103" y="220"/>
                  </a:cubicBezTo>
                  <a:cubicBezTo>
                    <a:pt x="103" y="221"/>
                    <a:pt x="104" y="222"/>
                    <a:pt x="104" y="223"/>
                  </a:cubicBezTo>
                  <a:cubicBezTo>
                    <a:pt x="105" y="223"/>
                    <a:pt x="106" y="224"/>
                    <a:pt x="107" y="224"/>
                  </a:cubicBezTo>
                  <a:cubicBezTo>
                    <a:pt x="108" y="224"/>
                    <a:pt x="109" y="224"/>
                    <a:pt x="109" y="223"/>
                  </a:cubicBezTo>
                  <a:cubicBezTo>
                    <a:pt x="110" y="222"/>
                    <a:pt x="111" y="222"/>
                    <a:pt x="111" y="221"/>
                  </a:cubicBezTo>
                  <a:cubicBezTo>
                    <a:pt x="111" y="220"/>
                    <a:pt x="112" y="214"/>
                    <a:pt x="112" y="209"/>
                  </a:cubicBezTo>
                  <a:cubicBezTo>
                    <a:pt x="115" y="209"/>
                    <a:pt x="117" y="209"/>
                    <a:pt x="119" y="209"/>
                  </a:cubicBezTo>
                  <a:cubicBezTo>
                    <a:pt x="121" y="214"/>
                    <a:pt x="122" y="219"/>
                    <a:pt x="122" y="220"/>
                  </a:cubicBezTo>
                  <a:cubicBezTo>
                    <a:pt x="122" y="221"/>
                    <a:pt x="123" y="222"/>
                    <a:pt x="124" y="222"/>
                  </a:cubicBezTo>
                  <a:cubicBezTo>
                    <a:pt x="124" y="223"/>
                    <a:pt x="125" y="223"/>
                    <a:pt x="126" y="223"/>
                  </a:cubicBezTo>
                  <a:cubicBezTo>
                    <a:pt x="127" y="223"/>
                    <a:pt x="128" y="222"/>
                    <a:pt x="129" y="222"/>
                  </a:cubicBezTo>
                  <a:cubicBezTo>
                    <a:pt x="129" y="221"/>
                    <a:pt x="130" y="220"/>
                    <a:pt x="130" y="219"/>
                  </a:cubicBezTo>
                  <a:cubicBezTo>
                    <a:pt x="130" y="218"/>
                    <a:pt x="129" y="213"/>
                    <a:pt x="129" y="208"/>
                  </a:cubicBezTo>
                  <a:cubicBezTo>
                    <a:pt x="132" y="207"/>
                    <a:pt x="134" y="207"/>
                    <a:pt x="136" y="206"/>
                  </a:cubicBezTo>
                  <a:cubicBezTo>
                    <a:pt x="138" y="211"/>
                    <a:pt x="140" y="216"/>
                    <a:pt x="141" y="217"/>
                  </a:cubicBezTo>
                  <a:cubicBezTo>
                    <a:pt x="141" y="218"/>
                    <a:pt x="142" y="218"/>
                    <a:pt x="143" y="219"/>
                  </a:cubicBezTo>
                  <a:cubicBezTo>
                    <a:pt x="143" y="219"/>
                    <a:pt x="144" y="219"/>
                    <a:pt x="145" y="219"/>
                  </a:cubicBezTo>
                  <a:cubicBezTo>
                    <a:pt x="146" y="218"/>
                    <a:pt x="147" y="218"/>
                    <a:pt x="147" y="217"/>
                  </a:cubicBezTo>
                  <a:cubicBezTo>
                    <a:pt x="148" y="216"/>
                    <a:pt x="148" y="215"/>
                    <a:pt x="148" y="214"/>
                  </a:cubicBezTo>
                  <a:cubicBezTo>
                    <a:pt x="148" y="213"/>
                    <a:pt x="147" y="208"/>
                    <a:pt x="145" y="203"/>
                  </a:cubicBezTo>
                  <a:cubicBezTo>
                    <a:pt x="148" y="202"/>
                    <a:pt x="150" y="201"/>
                    <a:pt x="152" y="201"/>
                  </a:cubicBezTo>
                  <a:cubicBezTo>
                    <a:pt x="155" y="205"/>
                    <a:pt x="158" y="209"/>
                    <a:pt x="158" y="21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4" name="Freeform 893">
              <a:extLst>
                <a:ext uri="{FF2B5EF4-FFF2-40B4-BE49-F238E27FC236}">
                  <a16:creationId xmlns:a16="http://schemas.microsoft.com/office/drawing/2014/main" id="{E0BB4B11-2128-4E5C-8240-12E3E0EF799D}"/>
                </a:ext>
              </a:extLst>
            </p:cNvPr>
            <p:cNvSpPr>
              <a:spLocks noEditPoints="1"/>
            </p:cNvSpPr>
            <p:nvPr/>
          </p:nvSpPr>
          <p:spPr bwMode="auto">
            <a:xfrm>
              <a:off x="625435" y="1851025"/>
              <a:ext cx="343842" cy="34384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tx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3" name="Group 42"/>
          <p:cNvGrpSpPr/>
          <p:nvPr/>
        </p:nvGrpSpPr>
        <p:grpSpPr>
          <a:xfrm>
            <a:off x="515752" y="3648228"/>
            <a:ext cx="1350641" cy="1350641"/>
            <a:chOff x="515752" y="3648228"/>
            <a:chExt cx="1350641" cy="1350641"/>
          </a:xfrm>
        </p:grpSpPr>
        <p:sp>
          <p:nvSpPr>
            <p:cNvPr id="10" name="Freeform 10">
              <a:extLst>
                <a:ext uri="{FF2B5EF4-FFF2-40B4-BE49-F238E27FC236}">
                  <a16:creationId xmlns:a16="http://schemas.microsoft.com/office/drawing/2014/main" id="{5D635D3A-07F8-4F73-87DB-E28662DEBA5D}"/>
                </a:ext>
              </a:extLst>
            </p:cNvPr>
            <p:cNvSpPr>
              <a:spLocks noEditPoints="1"/>
            </p:cNvSpPr>
            <p:nvPr/>
          </p:nvSpPr>
          <p:spPr bwMode="auto">
            <a:xfrm>
              <a:off x="515752" y="3648228"/>
              <a:ext cx="1350641" cy="1350641"/>
            </a:xfrm>
            <a:custGeom>
              <a:avLst/>
              <a:gdLst>
                <a:gd name="T0" fmla="*/ 469 w 489"/>
                <a:gd name="T1" fmla="*/ 228 h 490"/>
                <a:gd name="T2" fmla="*/ 466 w 489"/>
                <a:gd name="T3" fmla="*/ 204 h 490"/>
                <a:gd name="T4" fmla="*/ 461 w 489"/>
                <a:gd name="T5" fmla="*/ 181 h 490"/>
                <a:gd name="T6" fmla="*/ 453 w 489"/>
                <a:gd name="T7" fmla="*/ 159 h 490"/>
                <a:gd name="T8" fmla="*/ 443 w 489"/>
                <a:gd name="T9" fmla="*/ 138 h 490"/>
                <a:gd name="T10" fmla="*/ 431 w 489"/>
                <a:gd name="T11" fmla="*/ 118 h 490"/>
                <a:gd name="T12" fmla="*/ 416 w 489"/>
                <a:gd name="T13" fmla="*/ 99 h 490"/>
                <a:gd name="T14" fmla="*/ 400 w 489"/>
                <a:gd name="T15" fmla="*/ 82 h 490"/>
                <a:gd name="T16" fmla="*/ 382 w 489"/>
                <a:gd name="T17" fmla="*/ 66 h 490"/>
                <a:gd name="T18" fmla="*/ 363 w 489"/>
                <a:gd name="T19" fmla="*/ 53 h 490"/>
                <a:gd name="T20" fmla="*/ 342 w 489"/>
                <a:gd name="T21" fmla="*/ 42 h 490"/>
                <a:gd name="T22" fmla="*/ 321 w 489"/>
                <a:gd name="T23" fmla="*/ 32 h 490"/>
                <a:gd name="T24" fmla="*/ 298 w 489"/>
                <a:gd name="T25" fmla="*/ 26 h 490"/>
                <a:gd name="T26" fmla="*/ 275 w 489"/>
                <a:gd name="T27" fmla="*/ 21 h 490"/>
                <a:gd name="T28" fmla="*/ 251 w 489"/>
                <a:gd name="T29" fmla="*/ 19 h 490"/>
                <a:gd name="T30" fmla="*/ 228 w 489"/>
                <a:gd name="T31" fmla="*/ 20 h 490"/>
                <a:gd name="T32" fmla="*/ 204 w 489"/>
                <a:gd name="T33" fmla="*/ 23 h 490"/>
                <a:gd name="T34" fmla="*/ 182 w 489"/>
                <a:gd name="T35" fmla="*/ 28 h 490"/>
                <a:gd name="T36" fmla="*/ 159 w 489"/>
                <a:gd name="T37" fmla="*/ 36 h 490"/>
                <a:gd name="T38" fmla="*/ 138 w 489"/>
                <a:gd name="T39" fmla="*/ 46 h 490"/>
                <a:gd name="T40" fmla="*/ 118 w 489"/>
                <a:gd name="T41" fmla="*/ 58 h 490"/>
                <a:gd name="T42" fmla="*/ 99 w 489"/>
                <a:gd name="T43" fmla="*/ 73 h 490"/>
                <a:gd name="T44" fmla="*/ 82 w 489"/>
                <a:gd name="T45" fmla="*/ 89 h 490"/>
                <a:gd name="T46" fmla="*/ 67 w 489"/>
                <a:gd name="T47" fmla="*/ 107 h 490"/>
                <a:gd name="T48" fmla="*/ 53 w 489"/>
                <a:gd name="T49" fmla="*/ 126 h 490"/>
                <a:gd name="T50" fmla="*/ 42 w 489"/>
                <a:gd name="T51" fmla="*/ 147 h 490"/>
                <a:gd name="T52" fmla="*/ 33 w 489"/>
                <a:gd name="T53" fmla="*/ 169 h 490"/>
                <a:gd name="T54" fmla="*/ 26 w 489"/>
                <a:gd name="T55" fmla="*/ 191 h 490"/>
                <a:gd name="T56" fmla="*/ 21 w 489"/>
                <a:gd name="T57" fmla="*/ 214 h 490"/>
                <a:gd name="T58" fmla="*/ 20 w 489"/>
                <a:gd name="T59" fmla="*/ 238 h 490"/>
                <a:gd name="T60" fmla="*/ 20 w 489"/>
                <a:gd name="T61" fmla="*/ 262 h 490"/>
                <a:gd name="T62" fmla="*/ 23 w 489"/>
                <a:gd name="T63" fmla="*/ 285 h 490"/>
                <a:gd name="T64" fmla="*/ 28 w 489"/>
                <a:gd name="T65" fmla="*/ 308 h 490"/>
                <a:gd name="T66" fmla="*/ 36 w 489"/>
                <a:gd name="T67" fmla="*/ 330 h 490"/>
                <a:gd name="T68" fmla="*/ 46 w 489"/>
                <a:gd name="T69" fmla="*/ 352 h 490"/>
                <a:gd name="T70" fmla="*/ 59 w 489"/>
                <a:gd name="T71" fmla="*/ 372 h 490"/>
                <a:gd name="T72" fmla="*/ 73 w 489"/>
                <a:gd name="T73" fmla="*/ 391 h 490"/>
                <a:gd name="T74" fmla="*/ 89 w 489"/>
                <a:gd name="T75" fmla="*/ 408 h 490"/>
                <a:gd name="T76" fmla="*/ 107 w 489"/>
                <a:gd name="T77" fmla="*/ 423 h 490"/>
                <a:gd name="T78" fmla="*/ 126 w 489"/>
                <a:gd name="T79" fmla="*/ 437 h 490"/>
                <a:gd name="T80" fmla="*/ 147 w 489"/>
                <a:gd name="T81" fmla="*/ 448 h 490"/>
                <a:gd name="T82" fmla="*/ 169 w 489"/>
                <a:gd name="T83" fmla="*/ 457 h 490"/>
                <a:gd name="T84" fmla="*/ 191 w 489"/>
                <a:gd name="T85" fmla="*/ 464 h 490"/>
                <a:gd name="T86" fmla="*/ 214 w 489"/>
                <a:gd name="T87" fmla="*/ 468 h 490"/>
                <a:gd name="T88" fmla="*/ 238 w 489"/>
                <a:gd name="T89" fmla="*/ 470 h 490"/>
                <a:gd name="T90" fmla="*/ 262 w 489"/>
                <a:gd name="T91" fmla="*/ 470 h 490"/>
                <a:gd name="T92" fmla="*/ 285 w 489"/>
                <a:gd name="T93" fmla="*/ 467 h 490"/>
                <a:gd name="T94" fmla="*/ 308 w 489"/>
                <a:gd name="T95" fmla="*/ 461 h 490"/>
                <a:gd name="T96" fmla="*/ 330 w 489"/>
                <a:gd name="T97" fmla="*/ 454 h 490"/>
                <a:gd name="T98" fmla="*/ 351 w 489"/>
                <a:gd name="T99" fmla="*/ 443 h 490"/>
                <a:gd name="T100" fmla="*/ 371 w 489"/>
                <a:gd name="T101" fmla="*/ 431 h 490"/>
                <a:gd name="T102" fmla="*/ 390 w 489"/>
                <a:gd name="T103" fmla="*/ 417 h 490"/>
                <a:gd name="T104" fmla="*/ 407 w 489"/>
                <a:gd name="T105" fmla="*/ 401 h 490"/>
                <a:gd name="T106" fmla="*/ 423 w 489"/>
                <a:gd name="T107" fmla="*/ 383 h 490"/>
                <a:gd name="T108" fmla="*/ 436 w 489"/>
                <a:gd name="T109" fmla="*/ 363 h 490"/>
                <a:gd name="T110" fmla="*/ 448 w 489"/>
                <a:gd name="T111" fmla="*/ 343 h 490"/>
                <a:gd name="T112" fmla="*/ 457 w 489"/>
                <a:gd name="T113" fmla="*/ 321 h 490"/>
                <a:gd name="T114" fmla="*/ 463 w 489"/>
                <a:gd name="T115" fmla="*/ 298 h 490"/>
                <a:gd name="T116" fmla="*/ 468 w 489"/>
                <a:gd name="T117" fmla="*/ 275 h 490"/>
                <a:gd name="T118" fmla="*/ 470 w 489"/>
                <a:gd name="T119" fmla="*/ 252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9" h="490">
                  <a:moveTo>
                    <a:pt x="485" y="250"/>
                  </a:moveTo>
                  <a:cubicBezTo>
                    <a:pt x="486" y="250"/>
                    <a:pt x="487" y="249"/>
                    <a:pt x="488" y="248"/>
                  </a:cubicBezTo>
                  <a:cubicBezTo>
                    <a:pt x="489" y="247"/>
                    <a:pt x="489" y="246"/>
                    <a:pt x="489" y="245"/>
                  </a:cubicBezTo>
                  <a:cubicBezTo>
                    <a:pt x="489" y="243"/>
                    <a:pt x="489" y="242"/>
                    <a:pt x="488" y="241"/>
                  </a:cubicBezTo>
                  <a:cubicBezTo>
                    <a:pt x="487" y="240"/>
                    <a:pt x="486" y="240"/>
                    <a:pt x="485" y="239"/>
                  </a:cubicBezTo>
                  <a:cubicBezTo>
                    <a:pt x="483" y="239"/>
                    <a:pt x="476" y="239"/>
                    <a:pt x="470" y="238"/>
                  </a:cubicBezTo>
                  <a:cubicBezTo>
                    <a:pt x="470" y="235"/>
                    <a:pt x="469" y="231"/>
                    <a:pt x="469" y="228"/>
                  </a:cubicBezTo>
                  <a:cubicBezTo>
                    <a:pt x="476" y="227"/>
                    <a:pt x="483" y="225"/>
                    <a:pt x="484" y="225"/>
                  </a:cubicBezTo>
                  <a:cubicBezTo>
                    <a:pt x="485" y="225"/>
                    <a:pt x="486" y="224"/>
                    <a:pt x="487" y="223"/>
                  </a:cubicBezTo>
                  <a:cubicBezTo>
                    <a:pt x="488" y="222"/>
                    <a:pt x="488" y="220"/>
                    <a:pt x="488" y="219"/>
                  </a:cubicBezTo>
                  <a:cubicBezTo>
                    <a:pt x="488" y="218"/>
                    <a:pt x="487" y="217"/>
                    <a:pt x="486" y="216"/>
                  </a:cubicBezTo>
                  <a:cubicBezTo>
                    <a:pt x="485" y="215"/>
                    <a:pt x="484" y="214"/>
                    <a:pt x="483" y="214"/>
                  </a:cubicBezTo>
                  <a:cubicBezTo>
                    <a:pt x="481" y="214"/>
                    <a:pt x="474" y="214"/>
                    <a:pt x="468" y="214"/>
                  </a:cubicBezTo>
                  <a:cubicBezTo>
                    <a:pt x="467" y="211"/>
                    <a:pt x="467" y="208"/>
                    <a:pt x="466" y="204"/>
                  </a:cubicBezTo>
                  <a:cubicBezTo>
                    <a:pt x="472" y="202"/>
                    <a:pt x="479" y="200"/>
                    <a:pt x="481" y="200"/>
                  </a:cubicBezTo>
                  <a:cubicBezTo>
                    <a:pt x="482" y="200"/>
                    <a:pt x="483" y="199"/>
                    <a:pt x="484" y="197"/>
                  </a:cubicBezTo>
                  <a:cubicBezTo>
                    <a:pt x="484" y="196"/>
                    <a:pt x="484" y="195"/>
                    <a:pt x="484" y="194"/>
                  </a:cubicBezTo>
                  <a:cubicBezTo>
                    <a:pt x="484" y="192"/>
                    <a:pt x="483" y="191"/>
                    <a:pt x="482" y="191"/>
                  </a:cubicBezTo>
                  <a:cubicBezTo>
                    <a:pt x="481" y="190"/>
                    <a:pt x="480" y="189"/>
                    <a:pt x="478" y="190"/>
                  </a:cubicBezTo>
                  <a:cubicBezTo>
                    <a:pt x="477" y="190"/>
                    <a:pt x="470" y="191"/>
                    <a:pt x="463" y="191"/>
                  </a:cubicBezTo>
                  <a:cubicBezTo>
                    <a:pt x="463" y="188"/>
                    <a:pt x="462" y="185"/>
                    <a:pt x="461" y="181"/>
                  </a:cubicBezTo>
                  <a:cubicBezTo>
                    <a:pt x="467" y="179"/>
                    <a:pt x="473" y="176"/>
                    <a:pt x="475" y="175"/>
                  </a:cubicBezTo>
                  <a:cubicBezTo>
                    <a:pt x="476" y="175"/>
                    <a:pt x="477" y="174"/>
                    <a:pt x="477" y="173"/>
                  </a:cubicBezTo>
                  <a:cubicBezTo>
                    <a:pt x="478" y="172"/>
                    <a:pt x="478" y="170"/>
                    <a:pt x="477" y="169"/>
                  </a:cubicBezTo>
                  <a:cubicBezTo>
                    <a:pt x="477" y="168"/>
                    <a:pt x="476" y="167"/>
                    <a:pt x="475" y="166"/>
                  </a:cubicBezTo>
                  <a:cubicBezTo>
                    <a:pt x="474" y="165"/>
                    <a:pt x="473" y="165"/>
                    <a:pt x="471" y="165"/>
                  </a:cubicBezTo>
                  <a:cubicBezTo>
                    <a:pt x="470" y="166"/>
                    <a:pt x="463" y="167"/>
                    <a:pt x="457" y="169"/>
                  </a:cubicBezTo>
                  <a:cubicBezTo>
                    <a:pt x="456" y="165"/>
                    <a:pt x="454" y="162"/>
                    <a:pt x="453" y="159"/>
                  </a:cubicBezTo>
                  <a:cubicBezTo>
                    <a:pt x="459" y="156"/>
                    <a:pt x="465" y="152"/>
                    <a:pt x="466" y="152"/>
                  </a:cubicBezTo>
                  <a:cubicBezTo>
                    <a:pt x="467" y="151"/>
                    <a:pt x="468" y="150"/>
                    <a:pt x="468" y="149"/>
                  </a:cubicBezTo>
                  <a:cubicBezTo>
                    <a:pt x="469" y="148"/>
                    <a:pt x="469" y="146"/>
                    <a:pt x="468" y="145"/>
                  </a:cubicBezTo>
                  <a:cubicBezTo>
                    <a:pt x="468" y="144"/>
                    <a:pt x="467" y="143"/>
                    <a:pt x="466" y="142"/>
                  </a:cubicBezTo>
                  <a:cubicBezTo>
                    <a:pt x="465" y="142"/>
                    <a:pt x="463" y="142"/>
                    <a:pt x="462" y="142"/>
                  </a:cubicBezTo>
                  <a:cubicBezTo>
                    <a:pt x="461" y="142"/>
                    <a:pt x="454" y="145"/>
                    <a:pt x="448" y="147"/>
                  </a:cubicBezTo>
                  <a:cubicBezTo>
                    <a:pt x="446" y="144"/>
                    <a:pt x="445" y="141"/>
                    <a:pt x="443" y="138"/>
                  </a:cubicBezTo>
                  <a:cubicBezTo>
                    <a:pt x="448" y="134"/>
                    <a:pt x="454" y="130"/>
                    <a:pt x="455" y="129"/>
                  </a:cubicBezTo>
                  <a:cubicBezTo>
                    <a:pt x="456" y="128"/>
                    <a:pt x="457" y="127"/>
                    <a:pt x="457" y="126"/>
                  </a:cubicBezTo>
                  <a:cubicBezTo>
                    <a:pt x="457" y="125"/>
                    <a:pt x="457" y="123"/>
                    <a:pt x="457" y="122"/>
                  </a:cubicBezTo>
                  <a:cubicBezTo>
                    <a:pt x="456" y="121"/>
                    <a:pt x="455" y="120"/>
                    <a:pt x="454" y="120"/>
                  </a:cubicBezTo>
                  <a:cubicBezTo>
                    <a:pt x="453" y="119"/>
                    <a:pt x="451" y="119"/>
                    <a:pt x="450" y="120"/>
                  </a:cubicBezTo>
                  <a:cubicBezTo>
                    <a:pt x="449" y="121"/>
                    <a:pt x="442" y="123"/>
                    <a:pt x="436" y="126"/>
                  </a:cubicBezTo>
                  <a:cubicBezTo>
                    <a:pt x="434" y="123"/>
                    <a:pt x="433" y="121"/>
                    <a:pt x="431" y="118"/>
                  </a:cubicBezTo>
                  <a:cubicBezTo>
                    <a:pt x="436" y="113"/>
                    <a:pt x="441" y="109"/>
                    <a:pt x="442" y="108"/>
                  </a:cubicBezTo>
                  <a:cubicBezTo>
                    <a:pt x="443" y="107"/>
                    <a:pt x="444" y="106"/>
                    <a:pt x="444" y="104"/>
                  </a:cubicBezTo>
                  <a:cubicBezTo>
                    <a:pt x="444" y="103"/>
                    <a:pt x="443" y="102"/>
                    <a:pt x="443" y="101"/>
                  </a:cubicBezTo>
                  <a:cubicBezTo>
                    <a:pt x="442" y="100"/>
                    <a:pt x="441" y="99"/>
                    <a:pt x="440" y="99"/>
                  </a:cubicBezTo>
                  <a:cubicBezTo>
                    <a:pt x="438" y="98"/>
                    <a:pt x="437" y="98"/>
                    <a:pt x="436" y="99"/>
                  </a:cubicBezTo>
                  <a:cubicBezTo>
                    <a:pt x="435" y="100"/>
                    <a:pt x="428" y="103"/>
                    <a:pt x="423" y="107"/>
                  </a:cubicBezTo>
                  <a:cubicBezTo>
                    <a:pt x="421" y="104"/>
                    <a:pt x="419" y="102"/>
                    <a:pt x="416" y="99"/>
                  </a:cubicBezTo>
                  <a:cubicBezTo>
                    <a:pt x="421" y="94"/>
                    <a:pt x="426" y="89"/>
                    <a:pt x="427" y="88"/>
                  </a:cubicBezTo>
                  <a:cubicBezTo>
                    <a:pt x="428" y="87"/>
                    <a:pt x="428" y="85"/>
                    <a:pt x="428" y="84"/>
                  </a:cubicBezTo>
                  <a:cubicBezTo>
                    <a:pt x="428" y="83"/>
                    <a:pt x="427" y="82"/>
                    <a:pt x="427" y="81"/>
                  </a:cubicBezTo>
                  <a:cubicBezTo>
                    <a:pt x="426" y="80"/>
                    <a:pt x="424" y="79"/>
                    <a:pt x="423" y="79"/>
                  </a:cubicBezTo>
                  <a:cubicBezTo>
                    <a:pt x="422" y="79"/>
                    <a:pt x="421" y="79"/>
                    <a:pt x="420" y="80"/>
                  </a:cubicBezTo>
                  <a:cubicBezTo>
                    <a:pt x="418" y="81"/>
                    <a:pt x="413" y="85"/>
                    <a:pt x="407" y="89"/>
                  </a:cubicBezTo>
                  <a:cubicBezTo>
                    <a:pt x="405" y="86"/>
                    <a:pt x="403" y="84"/>
                    <a:pt x="400" y="82"/>
                  </a:cubicBezTo>
                  <a:cubicBezTo>
                    <a:pt x="404" y="76"/>
                    <a:pt x="408" y="71"/>
                    <a:pt x="409" y="70"/>
                  </a:cubicBezTo>
                  <a:cubicBezTo>
                    <a:pt x="410" y="68"/>
                    <a:pt x="410" y="67"/>
                    <a:pt x="410" y="66"/>
                  </a:cubicBezTo>
                  <a:cubicBezTo>
                    <a:pt x="410" y="65"/>
                    <a:pt x="409" y="63"/>
                    <a:pt x="408" y="63"/>
                  </a:cubicBezTo>
                  <a:cubicBezTo>
                    <a:pt x="407" y="62"/>
                    <a:pt x="406" y="61"/>
                    <a:pt x="405" y="61"/>
                  </a:cubicBezTo>
                  <a:cubicBezTo>
                    <a:pt x="404" y="61"/>
                    <a:pt x="402" y="62"/>
                    <a:pt x="401" y="62"/>
                  </a:cubicBezTo>
                  <a:cubicBezTo>
                    <a:pt x="400" y="63"/>
                    <a:pt x="395" y="68"/>
                    <a:pt x="390" y="73"/>
                  </a:cubicBezTo>
                  <a:cubicBezTo>
                    <a:pt x="388" y="71"/>
                    <a:pt x="385" y="68"/>
                    <a:pt x="382" y="66"/>
                  </a:cubicBezTo>
                  <a:cubicBezTo>
                    <a:pt x="386" y="61"/>
                    <a:pt x="389" y="54"/>
                    <a:pt x="390" y="53"/>
                  </a:cubicBezTo>
                  <a:cubicBezTo>
                    <a:pt x="391" y="52"/>
                    <a:pt x="391" y="51"/>
                    <a:pt x="391" y="50"/>
                  </a:cubicBezTo>
                  <a:cubicBezTo>
                    <a:pt x="390" y="48"/>
                    <a:pt x="390" y="47"/>
                    <a:pt x="389" y="46"/>
                  </a:cubicBezTo>
                  <a:cubicBezTo>
                    <a:pt x="387" y="46"/>
                    <a:pt x="386" y="45"/>
                    <a:pt x="385" y="45"/>
                  </a:cubicBezTo>
                  <a:cubicBezTo>
                    <a:pt x="384" y="45"/>
                    <a:pt x="382" y="46"/>
                    <a:pt x="382" y="47"/>
                  </a:cubicBezTo>
                  <a:cubicBezTo>
                    <a:pt x="381" y="48"/>
                    <a:pt x="376" y="53"/>
                    <a:pt x="371" y="58"/>
                  </a:cubicBezTo>
                  <a:cubicBezTo>
                    <a:pt x="369" y="57"/>
                    <a:pt x="366" y="55"/>
                    <a:pt x="363" y="53"/>
                  </a:cubicBezTo>
                  <a:cubicBezTo>
                    <a:pt x="366" y="47"/>
                    <a:pt x="369" y="40"/>
                    <a:pt x="369" y="39"/>
                  </a:cubicBezTo>
                  <a:cubicBezTo>
                    <a:pt x="370" y="38"/>
                    <a:pt x="370" y="36"/>
                    <a:pt x="369" y="35"/>
                  </a:cubicBezTo>
                  <a:cubicBezTo>
                    <a:pt x="369" y="34"/>
                    <a:pt x="368" y="33"/>
                    <a:pt x="367" y="32"/>
                  </a:cubicBezTo>
                  <a:cubicBezTo>
                    <a:pt x="366" y="32"/>
                    <a:pt x="365" y="32"/>
                    <a:pt x="363" y="32"/>
                  </a:cubicBezTo>
                  <a:cubicBezTo>
                    <a:pt x="362" y="32"/>
                    <a:pt x="361" y="33"/>
                    <a:pt x="360" y="34"/>
                  </a:cubicBezTo>
                  <a:cubicBezTo>
                    <a:pt x="359" y="35"/>
                    <a:pt x="355" y="41"/>
                    <a:pt x="351" y="46"/>
                  </a:cubicBezTo>
                  <a:cubicBezTo>
                    <a:pt x="348" y="44"/>
                    <a:pt x="345" y="43"/>
                    <a:pt x="342" y="42"/>
                  </a:cubicBezTo>
                  <a:cubicBezTo>
                    <a:pt x="344" y="35"/>
                    <a:pt x="347" y="28"/>
                    <a:pt x="347" y="27"/>
                  </a:cubicBezTo>
                  <a:cubicBezTo>
                    <a:pt x="348" y="26"/>
                    <a:pt x="347" y="24"/>
                    <a:pt x="347" y="23"/>
                  </a:cubicBezTo>
                  <a:cubicBezTo>
                    <a:pt x="346" y="22"/>
                    <a:pt x="345" y="21"/>
                    <a:pt x="344" y="21"/>
                  </a:cubicBezTo>
                  <a:cubicBezTo>
                    <a:pt x="343" y="20"/>
                    <a:pt x="342" y="20"/>
                    <a:pt x="340" y="20"/>
                  </a:cubicBezTo>
                  <a:cubicBezTo>
                    <a:pt x="339" y="21"/>
                    <a:pt x="338" y="22"/>
                    <a:pt x="338" y="23"/>
                  </a:cubicBezTo>
                  <a:cubicBezTo>
                    <a:pt x="337" y="24"/>
                    <a:pt x="333" y="30"/>
                    <a:pt x="330" y="36"/>
                  </a:cubicBezTo>
                  <a:cubicBezTo>
                    <a:pt x="327" y="35"/>
                    <a:pt x="324" y="34"/>
                    <a:pt x="321" y="32"/>
                  </a:cubicBezTo>
                  <a:cubicBezTo>
                    <a:pt x="322" y="26"/>
                    <a:pt x="324" y="19"/>
                    <a:pt x="324" y="18"/>
                  </a:cubicBezTo>
                  <a:cubicBezTo>
                    <a:pt x="324" y="16"/>
                    <a:pt x="324" y="15"/>
                    <a:pt x="323" y="14"/>
                  </a:cubicBezTo>
                  <a:cubicBezTo>
                    <a:pt x="323" y="13"/>
                    <a:pt x="322" y="12"/>
                    <a:pt x="320" y="12"/>
                  </a:cubicBezTo>
                  <a:cubicBezTo>
                    <a:pt x="319" y="11"/>
                    <a:pt x="318" y="11"/>
                    <a:pt x="317" y="12"/>
                  </a:cubicBezTo>
                  <a:cubicBezTo>
                    <a:pt x="315" y="12"/>
                    <a:pt x="314" y="13"/>
                    <a:pt x="314" y="14"/>
                  </a:cubicBezTo>
                  <a:cubicBezTo>
                    <a:pt x="313" y="16"/>
                    <a:pt x="310" y="22"/>
                    <a:pt x="308" y="28"/>
                  </a:cubicBezTo>
                  <a:cubicBezTo>
                    <a:pt x="305" y="27"/>
                    <a:pt x="301" y="26"/>
                    <a:pt x="298" y="26"/>
                  </a:cubicBezTo>
                  <a:cubicBezTo>
                    <a:pt x="299" y="19"/>
                    <a:pt x="300" y="12"/>
                    <a:pt x="300" y="11"/>
                  </a:cubicBezTo>
                  <a:cubicBezTo>
                    <a:pt x="300" y="9"/>
                    <a:pt x="299" y="8"/>
                    <a:pt x="299" y="7"/>
                  </a:cubicBezTo>
                  <a:cubicBezTo>
                    <a:pt x="298" y="6"/>
                    <a:pt x="297" y="5"/>
                    <a:pt x="295" y="5"/>
                  </a:cubicBezTo>
                  <a:cubicBezTo>
                    <a:pt x="294" y="5"/>
                    <a:pt x="293" y="5"/>
                    <a:pt x="292" y="5"/>
                  </a:cubicBezTo>
                  <a:cubicBezTo>
                    <a:pt x="291" y="6"/>
                    <a:pt x="290" y="7"/>
                    <a:pt x="289" y="8"/>
                  </a:cubicBezTo>
                  <a:cubicBezTo>
                    <a:pt x="289" y="10"/>
                    <a:pt x="287" y="16"/>
                    <a:pt x="285" y="23"/>
                  </a:cubicBezTo>
                  <a:cubicBezTo>
                    <a:pt x="282" y="22"/>
                    <a:pt x="278" y="22"/>
                    <a:pt x="275" y="21"/>
                  </a:cubicBezTo>
                  <a:cubicBezTo>
                    <a:pt x="275" y="15"/>
                    <a:pt x="275" y="7"/>
                    <a:pt x="275" y="6"/>
                  </a:cubicBezTo>
                  <a:cubicBezTo>
                    <a:pt x="275" y="5"/>
                    <a:pt x="274" y="3"/>
                    <a:pt x="274" y="3"/>
                  </a:cubicBezTo>
                  <a:cubicBezTo>
                    <a:pt x="273" y="2"/>
                    <a:pt x="272" y="1"/>
                    <a:pt x="270" y="1"/>
                  </a:cubicBezTo>
                  <a:cubicBezTo>
                    <a:pt x="269" y="1"/>
                    <a:pt x="268" y="1"/>
                    <a:pt x="267" y="2"/>
                  </a:cubicBezTo>
                  <a:cubicBezTo>
                    <a:pt x="266" y="3"/>
                    <a:pt x="265" y="4"/>
                    <a:pt x="264" y="5"/>
                  </a:cubicBezTo>
                  <a:cubicBezTo>
                    <a:pt x="264" y="6"/>
                    <a:pt x="263" y="13"/>
                    <a:pt x="262" y="20"/>
                  </a:cubicBezTo>
                  <a:cubicBezTo>
                    <a:pt x="258" y="20"/>
                    <a:pt x="255" y="19"/>
                    <a:pt x="251" y="19"/>
                  </a:cubicBezTo>
                  <a:cubicBezTo>
                    <a:pt x="251" y="13"/>
                    <a:pt x="250" y="6"/>
                    <a:pt x="250" y="4"/>
                  </a:cubicBezTo>
                  <a:cubicBezTo>
                    <a:pt x="250" y="3"/>
                    <a:pt x="249" y="2"/>
                    <a:pt x="248" y="1"/>
                  </a:cubicBezTo>
                  <a:cubicBezTo>
                    <a:pt x="247" y="0"/>
                    <a:pt x="246" y="0"/>
                    <a:pt x="245" y="0"/>
                  </a:cubicBezTo>
                  <a:cubicBezTo>
                    <a:pt x="243" y="0"/>
                    <a:pt x="242" y="0"/>
                    <a:pt x="241" y="1"/>
                  </a:cubicBezTo>
                  <a:cubicBezTo>
                    <a:pt x="240" y="2"/>
                    <a:pt x="239" y="3"/>
                    <a:pt x="239" y="4"/>
                  </a:cubicBezTo>
                  <a:cubicBezTo>
                    <a:pt x="239" y="6"/>
                    <a:pt x="239" y="13"/>
                    <a:pt x="238" y="19"/>
                  </a:cubicBezTo>
                  <a:cubicBezTo>
                    <a:pt x="235" y="19"/>
                    <a:pt x="231" y="20"/>
                    <a:pt x="228" y="20"/>
                  </a:cubicBezTo>
                  <a:cubicBezTo>
                    <a:pt x="227" y="13"/>
                    <a:pt x="225" y="6"/>
                    <a:pt x="225" y="5"/>
                  </a:cubicBezTo>
                  <a:cubicBezTo>
                    <a:pt x="224" y="4"/>
                    <a:pt x="224" y="3"/>
                    <a:pt x="223" y="2"/>
                  </a:cubicBezTo>
                  <a:cubicBezTo>
                    <a:pt x="222" y="1"/>
                    <a:pt x="220" y="1"/>
                    <a:pt x="219" y="1"/>
                  </a:cubicBezTo>
                  <a:cubicBezTo>
                    <a:pt x="218" y="1"/>
                    <a:pt x="217" y="2"/>
                    <a:pt x="216" y="3"/>
                  </a:cubicBezTo>
                  <a:cubicBezTo>
                    <a:pt x="215" y="3"/>
                    <a:pt x="214" y="5"/>
                    <a:pt x="214" y="6"/>
                  </a:cubicBezTo>
                  <a:cubicBezTo>
                    <a:pt x="214" y="7"/>
                    <a:pt x="214" y="15"/>
                    <a:pt x="214" y="21"/>
                  </a:cubicBezTo>
                  <a:cubicBezTo>
                    <a:pt x="211" y="22"/>
                    <a:pt x="208" y="22"/>
                    <a:pt x="204" y="23"/>
                  </a:cubicBezTo>
                  <a:cubicBezTo>
                    <a:pt x="202" y="16"/>
                    <a:pt x="200" y="10"/>
                    <a:pt x="200" y="8"/>
                  </a:cubicBezTo>
                  <a:cubicBezTo>
                    <a:pt x="199" y="7"/>
                    <a:pt x="199" y="6"/>
                    <a:pt x="198" y="5"/>
                  </a:cubicBezTo>
                  <a:cubicBezTo>
                    <a:pt x="196" y="5"/>
                    <a:pt x="195" y="5"/>
                    <a:pt x="194" y="5"/>
                  </a:cubicBezTo>
                  <a:cubicBezTo>
                    <a:pt x="192" y="5"/>
                    <a:pt x="191" y="6"/>
                    <a:pt x="191" y="7"/>
                  </a:cubicBezTo>
                  <a:cubicBezTo>
                    <a:pt x="190" y="8"/>
                    <a:pt x="189" y="9"/>
                    <a:pt x="190" y="11"/>
                  </a:cubicBezTo>
                  <a:cubicBezTo>
                    <a:pt x="190" y="12"/>
                    <a:pt x="191" y="19"/>
                    <a:pt x="191" y="26"/>
                  </a:cubicBezTo>
                  <a:cubicBezTo>
                    <a:pt x="188" y="26"/>
                    <a:pt x="185" y="27"/>
                    <a:pt x="182" y="28"/>
                  </a:cubicBezTo>
                  <a:cubicBezTo>
                    <a:pt x="179" y="22"/>
                    <a:pt x="176" y="16"/>
                    <a:pt x="175" y="14"/>
                  </a:cubicBezTo>
                  <a:cubicBezTo>
                    <a:pt x="175" y="13"/>
                    <a:pt x="174" y="12"/>
                    <a:pt x="173" y="12"/>
                  </a:cubicBezTo>
                  <a:cubicBezTo>
                    <a:pt x="172" y="11"/>
                    <a:pt x="170" y="11"/>
                    <a:pt x="169" y="12"/>
                  </a:cubicBezTo>
                  <a:cubicBezTo>
                    <a:pt x="168" y="12"/>
                    <a:pt x="167" y="13"/>
                    <a:pt x="166" y="14"/>
                  </a:cubicBezTo>
                  <a:cubicBezTo>
                    <a:pt x="165" y="15"/>
                    <a:pt x="165" y="16"/>
                    <a:pt x="165" y="18"/>
                  </a:cubicBezTo>
                  <a:cubicBezTo>
                    <a:pt x="166" y="19"/>
                    <a:pt x="167" y="26"/>
                    <a:pt x="169" y="32"/>
                  </a:cubicBezTo>
                  <a:cubicBezTo>
                    <a:pt x="166" y="34"/>
                    <a:pt x="162" y="35"/>
                    <a:pt x="159" y="36"/>
                  </a:cubicBezTo>
                  <a:cubicBezTo>
                    <a:pt x="156" y="30"/>
                    <a:pt x="152" y="24"/>
                    <a:pt x="152" y="23"/>
                  </a:cubicBezTo>
                  <a:cubicBezTo>
                    <a:pt x="151" y="22"/>
                    <a:pt x="150" y="21"/>
                    <a:pt x="149" y="20"/>
                  </a:cubicBezTo>
                  <a:cubicBezTo>
                    <a:pt x="148" y="20"/>
                    <a:pt x="146" y="20"/>
                    <a:pt x="145" y="21"/>
                  </a:cubicBezTo>
                  <a:cubicBezTo>
                    <a:pt x="144" y="21"/>
                    <a:pt x="143" y="22"/>
                    <a:pt x="142" y="23"/>
                  </a:cubicBezTo>
                  <a:cubicBezTo>
                    <a:pt x="142" y="24"/>
                    <a:pt x="142" y="26"/>
                    <a:pt x="142" y="27"/>
                  </a:cubicBezTo>
                  <a:cubicBezTo>
                    <a:pt x="143" y="28"/>
                    <a:pt x="145" y="35"/>
                    <a:pt x="147" y="42"/>
                  </a:cubicBezTo>
                  <a:cubicBezTo>
                    <a:pt x="144" y="43"/>
                    <a:pt x="141" y="44"/>
                    <a:pt x="138" y="46"/>
                  </a:cubicBezTo>
                  <a:cubicBezTo>
                    <a:pt x="134" y="41"/>
                    <a:pt x="130" y="35"/>
                    <a:pt x="129" y="34"/>
                  </a:cubicBezTo>
                  <a:cubicBezTo>
                    <a:pt x="128" y="33"/>
                    <a:pt x="127" y="32"/>
                    <a:pt x="126" y="32"/>
                  </a:cubicBezTo>
                  <a:cubicBezTo>
                    <a:pt x="125" y="32"/>
                    <a:pt x="123" y="32"/>
                    <a:pt x="122" y="32"/>
                  </a:cubicBezTo>
                  <a:cubicBezTo>
                    <a:pt x="121" y="33"/>
                    <a:pt x="120" y="34"/>
                    <a:pt x="120" y="35"/>
                  </a:cubicBezTo>
                  <a:cubicBezTo>
                    <a:pt x="119" y="36"/>
                    <a:pt x="119" y="38"/>
                    <a:pt x="120" y="39"/>
                  </a:cubicBezTo>
                  <a:cubicBezTo>
                    <a:pt x="121" y="40"/>
                    <a:pt x="124" y="47"/>
                    <a:pt x="126" y="53"/>
                  </a:cubicBezTo>
                  <a:cubicBezTo>
                    <a:pt x="123" y="55"/>
                    <a:pt x="121" y="57"/>
                    <a:pt x="118" y="58"/>
                  </a:cubicBezTo>
                  <a:cubicBezTo>
                    <a:pt x="113" y="53"/>
                    <a:pt x="109" y="48"/>
                    <a:pt x="108" y="47"/>
                  </a:cubicBezTo>
                  <a:cubicBezTo>
                    <a:pt x="107" y="46"/>
                    <a:pt x="106" y="45"/>
                    <a:pt x="104" y="45"/>
                  </a:cubicBezTo>
                  <a:cubicBezTo>
                    <a:pt x="103" y="45"/>
                    <a:pt x="102" y="46"/>
                    <a:pt x="101" y="46"/>
                  </a:cubicBezTo>
                  <a:cubicBezTo>
                    <a:pt x="100" y="47"/>
                    <a:pt x="99" y="48"/>
                    <a:pt x="99" y="50"/>
                  </a:cubicBezTo>
                  <a:cubicBezTo>
                    <a:pt x="98" y="51"/>
                    <a:pt x="99" y="52"/>
                    <a:pt x="99" y="53"/>
                  </a:cubicBezTo>
                  <a:cubicBezTo>
                    <a:pt x="100" y="54"/>
                    <a:pt x="104" y="61"/>
                    <a:pt x="107" y="66"/>
                  </a:cubicBezTo>
                  <a:cubicBezTo>
                    <a:pt x="104" y="68"/>
                    <a:pt x="102" y="71"/>
                    <a:pt x="99" y="73"/>
                  </a:cubicBezTo>
                  <a:cubicBezTo>
                    <a:pt x="94" y="68"/>
                    <a:pt x="89" y="63"/>
                    <a:pt x="88" y="62"/>
                  </a:cubicBezTo>
                  <a:cubicBezTo>
                    <a:pt x="87" y="62"/>
                    <a:pt x="86" y="61"/>
                    <a:pt x="84" y="61"/>
                  </a:cubicBezTo>
                  <a:cubicBezTo>
                    <a:pt x="83" y="61"/>
                    <a:pt x="82" y="62"/>
                    <a:pt x="81" y="63"/>
                  </a:cubicBezTo>
                  <a:cubicBezTo>
                    <a:pt x="80" y="63"/>
                    <a:pt x="79" y="65"/>
                    <a:pt x="79" y="66"/>
                  </a:cubicBezTo>
                  <a:cubicBezTo>
                    <a:pt x="79" y="67"/>
                    <a:pt x="79" y="68"/>
                    <a:pt x="80" y="70"/>
                  </a:cubicBezTo>
                  <a:cubicBezTo>
                    <a:pt x="81" y="71"/>
                    <a:pt x="85" y="76"/>
                    <a:pt x="89" y="82"/>
                  </a:cubicBezTo>
                  <a:cubicBezTo>
                    <a:pt x="87" y="84"/>
                    <a:pt x="84" y="86"/>
                    <a:pt x="82" y="89"/>
                  </a:cubicBezTo>
                  <a:cubicBezTo>
                    <a:pt x="77" y="85"/>
                    <a:pt x="71" y="81"/>
                    <a:pt x="70" y="80"/>
                  </a:cubicBezTo>
                  <a:cubicBezTo>
                    <a:pt x="69" y="79"/>
                    <a:pt x="67" y="79"/>
                    <a:pt x="66" y="79"/>
                  </a:cubicBezTo>
                  <a:cubicBezTo>
                    <a:pt x="65" y="79"/>
                    <a:pt x="64" y="80"/>
                    <a:pt x="63" y="81"/>
                  </a:cubicBezTo>
                  <a:cubicBezTo>
                    <a:pt x="62" y="82"/>
                    <a:pt x="61" y="83"/>
                    <a:pt x="61" y="84"/>
                  </a:cubicBezTo>
                  <a:cubicBezTo>
                    <a:pt x="61" y="85"/>
                    <a:pt x="62" y="87"/>
                    <a:pt x="63" y="88"/>
                  </a:cubicBezTo>
                  <a:cubicBezTo>
                    <a:pt x="64" y="89"/>
                    <a:pt x="68" y="94"/>
                    <a:pt x="73" y="99"/>
                  </a:cubicBezTo>
                  <a:cubicBezTo>
                    <a:pt x="71" y="102"/>
                    <a:pt x="69" y="104"/>
                    <a:pt x="67" y="107"/>
                  </a:cubicBezTo>
                  <a:cubicBezTo>
                    <a:pt x="61" y="103"/>
                    <a:pt x="55" y="100"/>
                    <a:pt x="53" y="99"/>
                  </a:cubicBezTo>
                  <a:cubicBezTo>
                    <a:pt x="52" y="98"/>
                    <a:pt x="51" y="98"/>
                    <a:pt x="50" y="99"/>
                  </a:cubicBezTo>
                  <a:cubicBezTo>
                    <a:pt x="49" y="99"/>
                    <a:pt x="47" y="100"/>
                    <a:pt x="47" y="101"/>
                  </a:cubicBezTo>
                  <a:cubicBezTo>
                    <a:pt x="46" y="102"/>
                    <a:pt x="45" y="103"/>
                    <a:pt x="46" y="104"/>
                  </a:cubicBezTo>
                  <a:cubicBezTo>
                    <a:pt x="46" y="106"/>
                    <a:pt x="46" y="107"/>
                    <a:pt x="47" y="108"/>
                  </a:cubicBezTo>
                  <a:cubicBezTo>
                    <a:pt x="48" y="109"/>
                    <a:pt x="54" y="113"/>
                    <a:pt x="59" y="118"/>
                  </a:cubicBezTo>
                  <a:cubicBezTo>
                    <a:pt x="57" y="121"/>
                    <a:pt x="55" y="123"/>
                    <a:pt x="53" y="126"/>
                  </a:cubicBezTo>
                  <a:cubicBezTo>
                    <a:pt x="47" y="123"/>
                    <a:pt x="41" y="121"/>
                    <a:pt x="39" y="120"/>
                  </a:cubicBezTo>
                  <a:cubicBezTo>
                    <a:pt x="38" y="119"/>
                    <a:pt x="37" y="119"/>
                    <a:pt x="36" y="120"/>
                  </a:cubicBezTo>
                  <a:cubicBezTo>
                    <a:pt x="34" y="120"/>
                    <a:pt x="33" y="121"/>
                    <a:pt x="33" y="122"/>
                  </a:cubicBezTo>
                  <a:cubicBezTo>
                    <a:pt x="32" y="123"/>
                    <a:pt x="32" y="125"/>
                    <a:pt x="32" y="126"/>
                  </a:cubicBezTo>
                  <a:cubicBezTo>
                    <a:pt x="32" y="127"/>
                    <a:pt x="33" y="128"/>
                    <a:pt x="34" y="129"/>
                  </a:cubicBezTo>
                  <a:cubicBezTo>
                    <a:pt x="35" y="130"/>
                    <a:pt x="41" y="134"/>
                    <a:pt x="46" y="138"/>
                  </a:cubicBezTo>
                  <a:cubicBezTo>
                    <a:pt x="45" y="141"/>
                    <a:pt x="43" y="144"/>
                    <a:pt x="42" y="147"/>
                  </a:cubicBezTo>
                  <a:cubicBezTo>
                    <a:pt x="36" y="145"/>
                    <a:pt x="29" y="143"/>
                    <a:pt x="27" y="142"/>
                  </a:cubicBezTo>
                  <a:cubicBezTo>
                    <a:pt x="26" y="142"/>
                    <a:pt x="25" y="142"/>
                    <a:pt x="24" y="142"/>
                  </a:cubicBezTo>
                  <a:cubicBezTo>
                    <a:pt x="23" y="143"/>
                    <a:pt x="22" y="144"/>
                    <a:pt x="21" y="145"/>
                  </a:cubicBezTo>
                  <a:cubicBezTo>
                    <a:pt x="20" y="146"/>
                    <a:pt x="20" y="148"/>
                    <a:pt x="21" y="149"/>
                  </a:cubicBezTo>
                  <a:cubicBezTo>
                    <a:pt x="21" y="150"/>
                    <a:pt x="22" y="151"/>
                    <a:pt x="23" y="152"/>
                  </a:cubicBezTo>
                  <a:cubicBezTo>
                    <a:pt x="24" y="152"/>
                    <a:pt x="31" y="156"/>
                    <a:pt x="36" y="159"/>
                  </a:cubicBezTo>
                  <a:cubicBezTo>
                    <a:pt x="35" y="162"/>
                    <a:pt x="34" y="165"/>
                    <a:pt x="33" y="169"/>
                  </a:cubicBezTo>
                  <a:cubicBezTo>
                    <a:pt x="26" y="167"/>
                    <a:pt x="19" y="166"/>
                    <a:pt x="18" y="165"/>
                  </a:cubicBezTo>
                  <a:cubicBezTo>
                    <a:pt x="17" y="165"/>
                    <a:pt x="15" y="165"/>
                    <a:pt x="14" y="166"/>
                  </a:cubicBezTo>
                  <a:cubicBezTo>
                    <a:pt x="13" y="167"/>
                    <a:pt x="12" y="168"/>
                    <a:pt x="12" y="169"/>
                  </a:cubicBezTo>
                  <a:cubicBezTo>
                    <a:pt x="11" y="170"/>
                    <a:pt x="12" y="172"/>
                    <a:pt x="12" y="173"/>
                  </a:cubicBezTo>
                  <a:cubicBezTo>
                    <a:pt x="12" y="174"/>
                    <a:pt x="13" y="175"/>
                    <a:pt x="15" y="175"/>
                  </a:cubicBezTo>
                  <a:cubicBezTo>
                    <a:pt x="16" y="176"/>
                    <a:pt x="23" y="179"/>
                    <a:pt x="28" y="181"/>
                  </a:cubicBezTo>
                  <a:cubicBezTo>
                    <a:pt x="28" y="185"/>
                    <a:pt x="27" y="188"/>
                    <a:pt x="26" y="191"/>
                  </a:cubicBezTo>
                  <a:cubicBezTo>
                    <a:pt x="19" y="191"/>
                    <a:pt x="12" y="190"/>
                    <a:pt x="11" y="190"/>
                  </a:cubicBezTo>
                  <a:cubicBezTo>
                    <a:pt x="9" y="189"/>
                    <a:pt x="8" y="190"/>
                    <a:pt x="7" y="191"/>
                  </a:cubicBezTo>
                  <a:cubicBezTo>
                    <a:pt x="6" y="191"/>
                    <a:pt x="5" y="192"/>
                    <a:pt x="5" y="194"/>
                  </a:cubicBezTo>
                  <a:cubicBezTo>
                    <a:pt x="5" y="195"/>
                    <a:pt x="5" y="196"/>
                    <a:pt x="6" y="197"/>
                  </a:cubicBezTo>
                  <a:cubicBezTo>
                    <a:pt x="6" y="199"/>
                    <a:pt x="7" y="200"/>
                    <a:pt x="9" y="200"/>
                  </a:cubicBezTo>
                  <a:cubicBezTo>
                    <a:pt x="10" y="200"/>
                    <a:pt x="17" y="202"/>
                    <a:pt x="23" y="204"/>
                  </a:cubicBezTo>
                  <a:cubicBezTo>
                    <a:pt x="23" y="208"/>
                    <a:pt x="22" y="211"/>
                    <a:pt x="21" y="214"/>
                  </a:cubicBezTo>
                  <a:cubicBezTo>
                    <a:pt x="15" y="214"/>
                    <a:pt x="8" y="214"/>
                    <a:pt x="6" y="214"/>
                  </a:cubicBezTo>
                  <a:cubicBezTo>
                    <a:pt x="5" y="214"/>
                    <a:pt x="4" y="215"/>
                    <a:pt x="3" y="216"/>
                  </a:cubicBezTo>
                  <a:cubicBezTo>
                    <a:pt x="2" y="217"/>
                    <a:pt x="1" y="218"/>
                    <a:pt x="1" y="219"/>
                  </a:cubicBezTo>
                  <a:cubicBezTo>
                    <a:pt x="1" y="220"/>
                    <a:pt x="1" y="222"/>
                    <a:pt x="2" y="223"/>
                  </a:cubicBezTo>
                  <a:cubicBezTo>
                    <a:pt x="3" y="224"/>
                    <a:pt x="4" y="225"/>
                    <a:pt x="5" y="225"/>
                  </a:cubicBezTo>
                  <a:cubicBezTo>
                    <a:pt x="7" y="225"/>
                    <a:pt x="14" y="227"/>
                    <a:pt x="20" y="228"/>
                  </a:cubicBezTo>
                  <a:cubicBezTo>
                    <a:pt x="20" y="231"/>
                    <a:pt x="20" y="235"/>
                    <a:pt x="20" y="238"/>
                  </a:cubicBezTo>
                  <a:cubicBezTo>
                    <a:pt x="13" y="239"/>
                    <a:pt x="6" y="239"/>
                    <a:pt x="4" y="239"/>
                  </a:cubicBezTo>
                  <a:cubicBezTo>
                    <a:pt x="3" y="240"/>
                    <a:pt x="2" y="240"/>
                    <a:pt x="1" y="241"/>
                  </a:cubicBezTo>
                  <a:cubicBezTo>
                    <a:pt x="0" y="242"/>
                    <a:pt x="0" y="243"/>
                    <a:pt x="0" y="245"/>
                  </a:cubicBezTo>
                  <a:cubicBezTo>
                    <a:pt x="0" y="246"/>
                    <a:pt x="0" y="247"/>
                    <a:pt x="1" y="248"/>
                  </a:cubicBezTo>
                  <a:cubicBezTo>
                    <a:pt x="2" y="249"/>
                    <a:pt x="3" y="250"/>
                    <a:pt x="4" y="250"/>
                  </a:cubicBezTo>
                  <a:cubicBezTo>
                    <a:pt x="6" y="250"/>
                    <a:pt x="13" y="251"/>
                    <a:pt x="20" y="252"/>
                  </a:cubicBezTo>
                  <a:cubicBezTo>
                    <a:pt x="20" y="255"/>
                    <a:pt x="20" y="258"/>
                    <a:pt x="20" y="262"/>
                  </a:cubicBezTo>
                  <a:cubicBezTo>
                    <a:pt x="14" y="263"/>
                    <a:pt x="7" y="264"/>
                    <a:pt x="5" y="265"/>
                  </a:cubicBezTo>
                  <a:cubicBezTo>
                    <a:pt x="4" y="265"/>
                    <a:pt x="3" y="266"/>
                    <a:pt x="2" y="267"/>
                  </a:cubicBezTo>
                  <a:cubicBezTo>
                    <a:pt x="1" y="268"/>
                    <a:pt x="1" y="269"/>
                    <a:pt x="1" y="270"/>
                  </a:cubicBezTo>
                  <a:cubicBezTo>
                    <a:pt x="1" y="272"/>
                    <a:pt x="2" y="273"/>
                    <a:pt x="3" y="274"/>
                  </a:cubicBezTo>
                  <a:cubicBezTo>
                    <a:pt x="4" y="275"/>
                    <a:pt x="5" y="275"/>
                    <a:pt x="6" y="275"/>
                  </a:cubicBezTo>
                  <a:cubicBezTo>
                    <a:pt x="8" y="275"/>
                    <a:pt x="15" y="275"/>
                    <a:pt x="21" y="275"/>
                  </a:cubicBezTo>
                  <a:cubicBezTo>
                    <a:pt x="22" y="278"/>
                    <a:pt x="23" y="282"/>
                    <a:pt x="23" y="285"/>
                  </a:cubicBezTo>
                  <a:cubicBezTo>
                    <a:pt x="17" y="287"/>
                    <a:pt x="10" y="289"/>
                    <a:pt x="9" y="290"/>
                  </a:cubicBezTo>
                  <a:cubicBezTo>
                    <a:pt x="7" y="290"/>
                    <a:pt x="6" y="291"/>
                    <a:pt x="6" y="292"/>
                  </a:cubicBezTo>
                  <a:cubicBezTo>
                    <a:pt x="5" y="293"/>
                    <a:pt x="5" y="294"/>
                    <a:pt x="5" y="296"/>
                  </a:cubicBezTo>
                  <a:cubicBezTo>
                    <a:pt x="5" y="297"/>
                    <a:pt x="6" y="298"/>
                    <a:pt x="7" y="299"/>
                  </a:cubicBezTo>
                  <a:cubicBezTo>
                    <a:pt x="8" y="300"/>
                    <a:pt x="9" y="300"/>
                    <a:pt x="11" y="300"/>
                  </a:cubicBezTo>
                  <a:cubicBezTo>
                    <a:pt x="12" y="300"/>
                    <a:pt x="19" y="299"/>
                    <a:pt x="26" y="298"/>
                  </a:cubicBezTo>
                  <a:cubicBezTo>
                    <a:pt x="27" y="301"/>
                    <a:pt x="28" y="305"/>
                    <a:pt x="28" y="308"/>
                  </a:cubicBezTo>
                  <a:cubicBezTo>
                    <a:pt x="23" y="311"/>
                    <a:pt x="16" y="313"/>
                    <a:pt x="15" y="314"/>
                  </a:cubicBezTo>
                  <a:cubicBezTo>
                    <a:pt x="13" y="315"/>
                    <a:pt x="12" y="316"/>
                    <a:pt x="12" y="317"/>
                  </a:cubicBezTo>
                  <a:cubicBezTo>
                    <a:pt x="12" y="318"/>
                    <a:pt x="11" y="319"/>
                    <a:pt x="12" y="321"/>
                  </a:cubicBezTo>
                  <a:cubicBezTo>
                    <a:pt x="12" y="322"/>
                    <a:pt x="13" y="323"/>
                    <a:pt x="14" y="323"/>
                  </a:cubicBezTo>
                  <a:cubicBezTo>
                    <a:pt x="15" y="324"/>
                    <a:pt x="17" y="324"/>
                    <a:pt x="18" y="324"/>
                  </a:cubicBezTo>
                  <a:cubicBezTo>
                    <a:pt x="19" y="324"/>
                    <a:pt x="26" y="322"/>
                    <a:pt x="33" y="321"/>
                  </a:cubicBezTo>
                  <a:cubicBezTo>
                    <a:pt x="34" y="324"/>
                    <a:pt x="35" y="327"/>
                    <a:pt x="36" y="330"/>
                  </a:cubicBezTo>
                  <a:cubicBezTo>
                    <a:pt x="31" y="334"/>
                    <a:pt x="24" y="337"/>
                    <a:pt x="23" y="338"/>
                  </a:cubicBezTo>
                  <a:cubicBezTo>
                    <a:pt x="22" y="338"/>
                    <a:pt x="21" y="340"/>
                    <a:pt x="21" y="341"/>
                  </a:cubicBezTo>
                  <a:cubicBezTo>
                    <a:pt x="20" y="342"/>
                    <a:pt x="20" y="343"/>
                    <a:pt x="21" y="344"/>
                  </a:cubicBezTo>
                  <a:cubicBezTo>
                    <a:pt x="22" y="346"/>
                    <a:pt x="23" y="347"/>
                    <a:pt x="24" y="347"/>
                  </a:cubicBezTo>
                  <a:cubicBezTo>
                    <a:pt x="25" y="348"/>
                    <a:pt x="26" y="348"/>
                    <a:pt x="27" y="347"/>
                  </a:cubicBezTo>
                  <a:cubicBezTo>
                    <a:pt x="29" y="347"/>
                    <a:pt x="36" y="345"/>
                    <a:pt x="42" y="343"/>
                  </a:cubicBezTo>
                  <a:cubicBezTo>
                    <a:pt x="43" y="346"/>
                    <a:pt x="45" y="349"/>
                    <a:pt x="46" y="352"/>
                  </a:cubicBezTo>
                  <a:cubicBezTo>
                    <a:pt x="41" y="355"/>
                    <a:pt x="35" y="360"/>
                    <a:pt x="34" y="360"/>
                  </a:cubicBezTo>
                  <a:cubicBezTo>
                    <a:pt x="33" y="361"/>
                    <a:pt x="32" y="362"/>
                    <a:pt x="32" y="364"/>
                  </a:cubicBezTo>
                  <a:cubicBezTo>
                    <a:pt x="32" y="365"/>
                    <a:pt x="32" y="366"/>
                    <a:pt x="33" y="367"/>
                  </a:cubicBezTo>
                  <a:cubicBezTo>
                    <a:pt x="33" y="368"/>
                    <a:pt x="34" y="369"/>
                    <a:pt x="36" y="370"/>
                  </a:cubicBezTo>
                  <a:cubicBezTo>
                    <a:pt x="37" y="370"/>
                    <a:pt x="38" y="370"/>
                    <a:pt x="39" y="370"/>
                  </a:cubicBezTo>
                  <a:cubicBezTo>
                    <a:pt x="41" y="369"/>
                    <a:pt x="47" y="366"/>
                    <a:pt x="53" y="363"/>
                  </a:cubicBezTo>
                  <a:cubicBezTo>
                    <a:pt x="55" y="366"/>
                    <a:pt x="57" y="369"/>
                    <a:pt x="59" y="372"/>
                  </a:cubicBezTo>
                  <a:cubicBezTo>
                    <a:pt x="54" y="376"/>
                    <a:pt x="48" y="381"/>
                    <a:pt x="47" y="382"/>
                  </a:cubicBezTo>
                  <a:cubicBezTo>
                    <a:pt x="46" y="383"/>
                    <a:pt x="46" y="384"/>
                    <a:pt x="46" y="385"/>
                  </a:cubicBezTo>
                  <a:cubicBezTo>
                    <a:pt x="45" y="387"/>
                    <a:pt x="46" y="388"/>
                    <a:pt x="47" y="389"/>
                  </a:cubicBezTo>
                  <a:cubicBezTo>
                    <a:pt x="47" y="390"/>
                    <a:pt x="49" y="391"/>
                    <a:pt x="50" y="391"/>
                  </a:cubicBezTo>
                  <a:cubicBezTo>
                    <a:pt x="51" y="391"/>
                    <a:pt x="52" y="391"/>
                    <a:pt x="53" y="390"/>
                  </a:cubicBezTo>
                  <a:cubicBezTo>
                    <a:pt x="55" y="390"/>
                    <a:pt x="61" y="386"/>
                    <a:pt x="67" y="383"/>
                  </a:cubicBezTo>
                  <a:cubicBezTo>
                    <a:pt x="69" y="385"/>
                    <a:pt x="71" y="388"/>
                    <a:pt x="73" y="391"/>
                  </a:cubicBezTo>
                  <a:cubicBezTo>
                    <a:pt x="68" y="395"/>
                    <a:pt x="64" y="401"/>
                    <a:pt x="63" y="402"/>
                  </a:cubicBezTo>
                  <a:cubicBezTo>
                    <a:pt x="62" y="403"/>
                    <a:pt x="61" y="404"/>
                    <a:pt x="61" y="405"/>
                  </a:cubicBezTo>
                  <a:cubicBezTo>
                    <a:pt x="61" y="407"/>
                    <a:pt x="62" y="408"/>
                    <a:pt x="63" y="409"/>
                  </a:cubicBezTo>
                  <a:cubicBezTo>
                    <a:pt x="64" y="410"/>
                    <a:pt x="65" y="410"/>
                    <a:pt x="66" y="411"/>
                  </a:cubicBezTo>
                  <a:cubicBezTo>
                    <a:pt x="67" y="411"/>
                    <a:pt x="69" y="411"/>
                    <a:pt x="70" y="410"/>
                  </a:cubicBezTo>
                  <a:cubicBezTo>
                    <a:pt x="71" y="409"/>
                    <a:pt x="77" y="404"/>
                    <a:pt x="82" y="401"/>
                  </a:cubicBezTo>
                  <a:cubicBezTo>
                    <a:pt x="84" y="403"/>
                    <a:pt x="87" y="406"/>
                    <a:pt x="89" y="408"/>
                  </a:cubicBezTo>
                  <a:cubicBezTo>
                    <a:pt x="85" y="413"/>
                    <a:pt x="81" y="419"/>
                    <a:pt x="80" y="420"/>
                  </a:cubicBezTo>
                  <a:cubicBezTo>
                    <a:pt x="79" y="421"/>
                    <a:pt x="79" y="422"/>
                    <a:pt x="79" y="424"/>
                  </a:cubicBezTo>
                  <a:cubicBezTo>
                    <a:pt x="79" y="425"/>
                    <a:pt x="80" y="426"/>
                    <a:pt x="81" y="427"/>
                  </a:cubicBezTo>
                  <a:cubicBezTo>
                    <a:pt x="82" y="428"/>
                    <a:pt x="83" y="428"/>
                    <a:pt x="84" y="428"/>
                  </a:cubicBezTo>
                  <a:cubicBezTo>
                    <a:pt x="86" y="428"/>
                    <a:pt x="87" y="428"/>
                    <a:pt x="88" y="427"/>
                  </a:cubicBezTo>
                  <a:cubicBezTo>
                    <a:pt x="89" y="426"/>
                    <a:pt x="94" y="421"/>
                    <a:pt x="99" y="417"/>
                  </a:cubicBezTo>
                  <a:cubicBezTo>
                    <a:pt x="102" y="419"/>
                    <a:pt x="104" y="421"/>
                    <a:pt x="107" y="423"/>
                  </a:cubicBezTo>
                  <a:cubicBezTo>
                    <a:pt x="104" y="429"/>
                    <a:pt x="100" y="435"/>
                    <a:pt x="99" y="436"/>
                  </a:cubicBezTo>
                  <a:cubicBezTo>
                    <a:pt x="99" y="437"/>
                    <a:pt x="98" y="439"/>
                    <a:pt x="99" y="440"/>
                  </a:cubicBezTo>
                  <a:cubicBezTo>
                    <a:pt x="99" y="441"/>
                    <a:pt x="100" y="442"/>
                    <a:pt x="101" y="443"/>
                  </a:cubicBezTo>
                  <a:cubicBezTo>
                    <a:pt x="102" y="444"/>
                    <a:pt x="103" y="444"/>
                    <a:pt x="104" y="444"/>
                  </a:cubicBezTo>
                  <a:cubicBezTo>
                    <a:pt x="106" y="444"/>
                    <a:pt x="107" y="444"/>
                    <a:pt x="108" y="443"/>
                  </a:cubicBezTo>
                  <a:cubicBezTo>
                    <a:pt x="109" y="441"/>
                    <a:pt x="113" y="436"/>
                    <a:pt x="118" y="431"/>
                  </a:cubicBezTo>
                  <a:cubicBezTo>
                    <a:pt x="121" y="433"/>
                    <a:pt x="123" y="435"/>
                    <a:pt x="126" y="437"/>
                  </a:cubicBezTo>
                  <a:cubicBezTo>
                    <a:pt x="124" y="443"/>
                    <a:pt x="121" y="449"/>
                    <a:pt x="120" y="450"/>
                  </a:cubicBezTo>
                  <a:cubicBezTo>
                    <a:pt x="119" y="452"/>
                    <a:pt x="119" y="453"/>
                    <a:pt x="120" y="454"/>
                  </a:cubicBezTo>
                  <a:cubicBezTo>
                    <a:pt x="120" y="455"/>
                    <a:pt x="121" y="456"/>
                    <a:pt x="122" y="457"/>
                  </a:cubicBezTo>
                  <a:cubicBezTo>
                    <a:pt x="123" y="458"/>
                    <a:pt x="125" y="458"/>
                    <a:pt x="126" y="458"/>
                  </a:cubicBezTo>
                  <a:cubicBezTo>
                    <a:pt x="127" y="458"/>
                    <a:pt x="128" y="457"/>
                    <a:pt x="129" y="456"/>
                  </a:cubicBezTo>
                  <a:cubicBezTo>
                    <a:pt x="130" y="455"/>
                    <a:pt x="134" y="449"/>
                    <a:pt x="138" y="443"/>
                  </a:cubicBezTo>
                  <a:cubicBezTo>
                    <a:pt x="141" y="445"/>
                    <a:pt x="144" y="447"/>
                    <a:pt x="147" y="448"/>
                  </a:cubicBezTo>
                  <a:cubicBezTo>
                    <a:pt x="145" y="454"/>
                    <a:pt x="143" y="461"/>
                    <a:pt x="142" y="462"/>
                  </a:cubicBezTo>
                  <a:cubicBezTo>
                    <a:pt x="142" y="464"/>
                    <a:pt x="142" y="465"/>
                    <a:pt x="142" y="466"/>
                  </a:cubicBezTo>
                  <a:cubicBezTo>
                    <a:pt x="143" y="467"/>
                    <a:pt x="144" y="468"/>
                    <a:pt x="145" y="469"/>
                  </a:cubicBezTo>
                  <a:cubicBezTo>
                    <a:pt x="146" y="469"/>
                    <a:pt x="148" y="469"/>
                    <a:pt x="149" y="469"/>
                  </a:cubicBezTo>
                  <a:cubicBezTo>
                    <a:pt x="150" y="469"/>
                    <a:pt x="151" y="468"/>
                    <a:pt x="152" y="467"/>
                  </a:cubicBezTo>
                  <a:cubicBezTo>
                    <a:pt x="152" y="465"/>
                    <a:pt x="156" y="459"/>
                    <a:pt x="159" y="454"/>
                  </a:cubicBezTo>
                  <a:cubicBezTo>
                    <a:pt x="162" y="455"/>
                    <a:pt x="166" y="456"/>
                    <a:pt x="169" y="457"/>
                  </a:cubicBezTo>
                  <a:cubicBezTo>
                    <a:pt x="167" y="464"/>
                    <a:pt x="166" y="471"/>
                    <a:pt x="165" y="472"/>
                  </a:cubicBezTo>
                  <a:cubicBezTo>
                    <a:pt x="165" y="473"/>
                    <a:pt x="165" y="475"/>
                    <a:pt x="166" y="476"/>
                  </a:cubicBezTo>
                  <a:cubicBezTo>
                    <a:pt x="167" y="477"/>
                    <a:pt x="168" y="478"/>
                    <a:pt x="169" y="478"/>
                  </a:cubicBezTo>
                  <a:cubicBezTo>
                    <a:pt x="170" y="478"/>
                    <a:pt x="172" y="478"/>
                    <a:pt x="173" y="478"/>
                  </a:cubicBezTo>
                  <a:cubicBezTo>
                    <a:pt x="174" y="477"/>
                    <a:pt x="175" y="476"/>
                    <a:pt x="175" y="475"/>
                  </a:cubicBezTo>
                  <a:cubicBezTo>
                    <a:pt x="176" y="474"/>
                    <a:pt x="179" y="467"/>
                    <a:pt x="182" y="461"/>
                  </a:cubicBezTo>
                  <a:cubicBezTo>
                    <a:pt x="185" y="462"/>
                    <a:pt x="188" y="463"/>
                    <a:pt x="191" y="464"/>
                  </a:cubicBezTo>
                  <a:cubicBezTo>
                    <a:pt x="191" y="470"/>
                    <a:pt x="190" y="478"/>
                    <a:pt x="190" y="479"/>
                  </a:cubicBezTo>
                  <a:cubicBezTo>
                    <a:pt x="189" y="480"/>
                    <a:pt x="190" y="482"/>
                    <a:pt x="191" y="483"/>
                  </a:cubicBezTo>
                  <a:cubicBezTo>
                    <a:pt x="191" y="484"/>
                    <a:pt x="192" y="484"/>
                    <a:pt x="194" y="485"/>
                  </a:cubicBezTo>
                  <a:cubicBezTo>
                    <a:pt x="195" y="485"/>
                    <a:pt x="196" y="485"/>
                    <a:pt x="198" y="484"/>
                  </a:cubicBezTo>
                  <a:cubicBezTo>
                    <a:pt x="199" y="483"/>
                    <a:pt x="199" y="482"/>
                    <a:pt x="200" y="481"/>
                  </a:cubicBezTo>
                  <a:cubicBezTo>
                    <a:pt x="200" y="480"/>
                    <a:pt x="202" y="473"/>
                    <a:pt x="204" y="467"/>
                  </a:cubicBezTo>
                  <a:cubicBezTo>
                    <a:pt x="208" y="467"/>
                    <a:pt x="211" y="468"/>
                    <a:pt x="214" y="468"/>
                  </a:cubicBezTo>
                  <a:cubicBezTo>
                    <a:pt x="214" y="475"/>
                    <a:pt x="214" y="482"/>
                    <a:pt x="214" y="483"/>
                  </a:cubicBezTo>
                  <a:cubicBezTo>
                    <a:pt x="214" y="485"/>
                    <a:pt x="215" y="486"/>
                    <a:pt x="216" y="487"/>
                  </a:cubicBezTo>
                  <a:cubicBezTo>
                    <a:pt x="217" y="488"/>
                    <a:pt x="218" y="488"/>
                    <a:pt x="219" y="489"/>
                  </a:cubicBezTo>
                  <a:cubicBezTo>
                    <a:pt x="220" y="489"/>
                    <a:pt x="222" y="488"/>
                    <a:pt x="223" y="488"/>
                  </a:cubicBezTo>
                  <a:cubicBezTo>
                    <a:pt x="224" y="487"/>
                    <a:pt x="224" y="486"/>
                    <a:pt x="225" y="485"/>
                  </a:cubicBezTo>
                  <a:cubicBezTo>
                    <a:pt x="225" y="483"/>
                    <a:pt x="227" y="476"/>
                    <a:pt x="228" y="470"/>
                  </a:cubicBezTo>
                  <a:cubicBezTo>
                    <a:pt x="231" y="470"/>
                    <a:pt x="235" y="470"/>
                    <a:pt x="238" y="470"/>
                  </a:cubicBezTo>
                  <a:cubicBezTo>
                    <a:pt x="239" y="477"/>
                    <a:pt x="239" y="484"/>
                    <a:pt x="239" y="485"/>
                  </a:cubicBezTo>
                  <a:cubicBezTo>
                    <a:pt x="239" y="487"/>
                    <a:pt x="240" y="488"/>
                    <a:pt x="241" y="489"/>
                  </a:cubicBezTo>
                  <a:cubicBezTo>
                    <a:pt x="242" y="489"/>
                    <a:pt x="243" y="490"/>
                    <a:pt x="245" y="490"/>
                  </a:cubicBezTo>
                  <a:cubicBezTo>
                    <a:pt x="246" y="490"/>
                    <a:pt x="247" y="489"/>
                    <a:pt x="248" y="489"/>
                  </a:cubicBezTo>
                  <a:cubicBezTo>
                    <a:pt x="249" y="488"/>
                    <a:pt x="250" y="487"/>
                    <a:pt x="250" y="485"/>
                  </a:cubicBezTo>
                  <a:cubicBezTo>
                    <a:pt x="250" y="484"/>
                    <a:pt x="251" y="477"/>
                    <a:pt x="251" y="470"/>
                  </a:cubicBezTo>
                  <a:cubicBezTo>
                    <a:pt x="255" y="470"/>
                    <a:pt x="258" y="470"/>
                    <a:pt x="262" y="470"/>
                  </a:cubicBezTo>
                  <a:cubicBezTo>
                    <a:pt x="263" y="476"/>
                    <a:pt x="264" y="483"/>
                    <a:pt x="264" y="485"/>
                  </a:cubicBezTo>
                  <a:cubicBezTo>
                    <a:pt x="265" y="486"/>
                    <a:pt x="266" y="487"/>
                    <a:pt x="267" y="488"/>
                  </a:cubicBezTo>
                  <a:cubicBezTo>
                    <a:pt x="268" y="488"/>
                    <a:pt x="269" y="489"/>
                    <a:pt x="270" y="489"/>
                  </a:cubicBezTo>
                  <a:cubicBezTo>
                    <a:pt x="272" y="488"/>
                    <a:pt x="273" y="488"/>
                    <a:pt x="274" y="487"/>
                  </a:cubicBezTo>
                  <a:cubicBezTo>
                    <a:pt x="274" y="486"/>
                    <a:pt x="275" y="485"/>
                    <a:pt x="275" y="483"/>
                  </a:cubicBezTo>
                  <a:cubicBezTo>
                    <a:pt x="275" y="482"/>
                    <a:pt x="275" y="475"/>
                    <a:pt x="275" y="468"/>
                  </a:cubicBezTo>
                  <a:cubicBezTo>
                    <a:pt x="278" y="468"/>
                    <a:pt x="282" y="467"/>
                    <a:pt x="285" y="467"/>
                  </a:cubicBezTo>
                  <a:cubicBezTo>
                    <a:pt x="287" y="473"/>
                    <a:pt x="289" y="480"/>
                    <a:pt x="289" y="481"/>
                  </a:cubicBezTo>
                  <a:cubicBezTo>
                    <a:pt x="290" y="482"/>
                    <a:pt x="291" y="483"/>
                    <a:pt x="292" y="484"/>
                  </a:cubicBezTo>
                  <a:cubicBezTo>
                    <a:pt x="293" y="485"/>
                    <a:pt x="294" y="485"/>
                    <a:pt x="295" y="485"/>
                  </a:cubicBezTo>
                  <a:cubicBezTo>
                    <a:pt x="297" y="484"/>
                    <a:pt x="298" y="484"/>
                    <a:pt x="299" y="483"/>
                  </a:cubicBezTo>
                  <a:cubicBezTo>
                    <a:pt x="299" y="482"/>
                    <a:pt x="300" y="480"/>
                    <a:pt x="300" y="479"/>
                  </a:cubicBezTo>
                  <a:cubicBezTo>
                    <a:pt x="300" y="478"/>
                    <a:pt x="299" y="470"/>
                    <a:pt x="298" y="464"/>
                  </a:cubicBezTo>
                  <a:cubicBezTo>
                    <a:pt x="301" y="463"/>
                    <a:pt x="305" y="462"/>
                    <a:pt x="308" y="461"/>
                  </a:cubicBezTo>
                  <a:cubicBezTo>
                    <a:pt x="310" y="467"/>
                    <a:pt x="313" y="474"/>
                    <a:pt x="314" y="475"/>
                  </a:cubicBezTo>
                  <a:cubicBezTo>
                    <a:pt x="314" y="476"/>
                    <a:pt x="315" y="477"/>
                    <a:pt x="317" y="478"/>
                  </a:cubicBezTo>
                  <a:cubicBezTo>
                    <a:pt x="318" y="478"/>
                    <a:pt x="319" y="478"/>
                    <a:pt x="320" y="478"/>
                  </a:cubicBezTo>
                  <a:cubicBezTo>
                    <a:pt x="322" y="478"/>
                    <a:pt x="323" y="477"/>
                    <a:pt x="323" y="476"/>
                  </a:cubicBezTo>
                  <a:cubicBezTo>
                    <a:pt x="324" y="475"/>
                    <a:pt x="324" y="473"/>
                    <a:pt x="324" y="472"/>
                  </a:cubicBezTo>
                  <a:cubicBezTo>
                    <a:pt x="324" y="471"/>
                    <a:pt x="322" y="464"/>
                    <a:pt x="321" y="457"/>
                  </a:cubicBezTo>
                  <a:cubicBezTo>
                    <a:pt x="324" y="456"/>
                    <a:pt x="327" y="455"/>
                    <a:pt x="330" y="454"/>
                  </a:cubicBezTo>
                  <a:cubicBezTo>
                    <a:pt x="333" y="459"/>
                    <a:pt x="337" y="465"/>
                    <a:pt x="338" y="467"/>
                  </a:cubicBezTo>
                  <a:cubicBezTo>
                    <a:pt x="338" y="468"/>
                    <a:pt x="339" y="469"/>
                    <a:pt x="341" y="469"/>
                  </a:cubicBezTo>
                  <a:cubicBezTo>
                    <a:pt x="342" y="469"/>
                    <a:pt x="343" y="469"/>
                    <a:pt x="344" y="469"/>
                  </a:cubicBezTo>
                  <a:cubicBezTo>
                    <a:pt x="345" y="468"/>
                    <a:pt x="346" y="467"/>
                    <a:pt x="347" y="466"/>
                  </a:cubicBezTo>
                  <a:cubicBezTo>
                    <a:pt x="347" y="465"/>
                    <a:pt x="348" y="464"/>
                    <a:pt x="347" y="462"/>
                  </a:cubicBezTo>
                  <a:cubicBezTo>
                    <a:pt x="347" y="461"/>
                    <a:pt x="344" y="454"/>
                    <a:pt x="342" y="448"/>
                  </a:cubicBezTo>
                  <a:cubicBezTo>
                    <a:pt x="345" y="447"/>
                    <a:pt x="348" y="445"/>
                    <a:pt x="351" y="443"/>
                  </a:cubicBezTo>
                  <a:cubicBezTo>
                    <a:pt x="355" y="449"/>
                    <a:pt x="359" y="455"/>
                    <a:pt x="360" y="456"/>
                  </a:cubicBezTo>
                  <a:cubicBezTo>
                    <a:pt x="361" y="457"/>
                    <a:pt x="362" y="458"/>
                    <a:pt x="363" y="458"/>
                  </a:cubicBezTo>
                  <a:cubicBezTo>
                    <a:pt x="365" y="458"/>
                    <a:pt x="366" y="458"/>
                    <a:pt x="367" y="457"/>
                  </a:cubicBezTo>
                  <a:cubicBezTo>
                    <a:pt x="368" y="456"/>
                    <a:pt x="369" y="455"/>
                    <a:pt x="369" y="454"/>
                  </a:cubicBezTo>
                  <a:cubicBezTo>
                    <a:pt x="370" y="453"/>
                    <a:pt x="370" y="452"/>
                    <a:pt x="369" y="450"/>
                  </a:cubicBezTo>
                  <a:cubicBezTo>
                    <a:pt x="369" y="449"/>
                    <a:pt x="366" y="443"/>
                    <a:pt x="363" y="437"/>
                  </a:cubicBezTo>
                  <a:cubicBezTo>
                    <a:pt x="366" y="435"/>
                    <a:pt x="369" y="433"/>
                    <a:pt x="371" y="431"/>
                  </a:cubicBezTo>
                  <a:cubicBezTo>
                    <a:pt x="376" y="436"/>
                    <a:pt x="381" y="441"/>
                    <a:pt x="382" y="443"/>
                  </a:cubicBezTo>
                  <a:cubicBezTo>
                    <a:pt x="382" y="444"/>
                    <a:pt x="384" y="444"/>
                    <a:pt x="385" y="444"/>
                  </a:cubicBezTo>
                  <a:cubicBezTo>
                    <a:pt x="386" y="444"/>
                    <a:pt x="387" y="444"/>
                    <a:pt x="389" y="443"/>
                  </a:cubicBezTo>
                  <a:cubicBezTo>
                    <a:pt x="390" y="442"/>
                    <a:pt x="390" y="441"/>
                    <a:pt x="391" y="440"/>
                  </a:cubicBezTo>
                  <a:cubicBezTo>
                    <a:pt x="391" y="439"/>
                    <a:pt x="391" y="437"/>
                    <a:pt x="390" y="436"/>
                  </a:cubicBezTo>
                  <a:cubicBezTo>
                    <a:pt x="389" y="435"/>
                    <a:pt x="386" y="429"/>
                    <a:pt x="382" y="423"/>
                  </a:cubicBezTo>
                  <a:cubicBezTo>
                    <a:pt x="385" y="421"/>
                    <a:pt x="388" y="419"/>
                    <a:pt x="390" y="417"/>
                  </a:cubicBezTo>
                  <a:cubicBezTo>
                    <a:pt x="395" y="421"/>
                    <a:pt x="400" y="426"/>
                    <a:pt x="401" y="427"/>
                  </a:cubicBezTo>
                  <a:cubicBezTo>
                    <a:pt x="402" y="428"/>
                    <a:pt x="404" y="428"/>
                    <a:pt x="405" y="428"/>
                  </a:cubicBezTo>
                  <a:cubicBezTo>
                    <a:pt x="406" y="428"/>
                    <a:pt x="407" y="428"/>
                    <a:pt x="408" y="427"/>
                  </a:cubicBezTo>
                  <a:cubicBezTo>
                    <a:pt x="409" y="426"/>
                    <a:pt x="410" y="425"/>
                    <a:pt x="410" y="424"/>
                  </a:cubicBezTo>
                  <a:cubicBezTo>
                    <a:pt x="410" y="422"/>
                    <a:pt x="410" y="421"/>
                    <a:pt x="409" y="420"/>
                  </a:cubicBezTo>
                  <a:cubicBezTo>
                    <a:pt x="408" y="419"/>
                    <a:pt x="404" y="413"/>
                    <a:pt x="400" y="408"/>
                  </a:cubicBezTo>
                  <a:cubicBezTo>
                    <a:pt x="403" y="406"/>
                    <a:pt x="405" y="403"/>
                    <a:pt x="407" y="401"/>
                  </a:cubicBezTo>
                  <a:cubicBezTo>
                    <a:pt x="413" y="404"/>
                    <a:pt x="418" y="409"/>
                    <a:pt x="420" y="410"/>
                  </a:cubicBezTo>
                  <a:cubicBezTo>
                    <a:pt x="421" y="411"/>
                    <a:pt x="422" y="411"/>
                    <a:pt x="423" y="411"/>
                  </a:cubicBezTo>
                  <a:cubicBezTo>
                    <a:pt x="424" y="410"/>
                    <a:pt x="426" y="410"/>
                    <a:pt x="427" y="409"/>
                  </a:cubicBezTo>
                  <a:cubicBezTo>
                    <a:pt x="427" y="408"/>
                    <a:pt x="428" y="407"/>
                    <a:pt x="428" y="405"/>
                  </a:cubicBezTo>
                  <a:cubicBezTo>
                    <a:pt x="428" y="404"/>
                    <a:pt x="428" y="403"/>
                    <a:pt x="427" y="402"/>
                  </a:cubicBezTo>
                  <a:cubicBezTo>
                    <a:pt x="426" y="401"/>
                    <a:pt x="421" y="395"/>
                    <a:pt x="416" y="391"/>
                  </a:cubicBezTo>
                  <a:cubicBezTo>
                    <a:pt x="419" y="388"/>
                    <a:pt x="421" y="385"/>
                    <a:pt x="423" y="383"/>
                  </a:cubicBezTo>
                  <a:cubicBezTo>
                    <a:pt x="428" y="386"/>
                    <a:pt x="435" y="390"/>
                    <a:pt x="436" y="390"/>
                  </a:cubicBezTo>
                  <a:cubicBezTo>
                    <a:pt x="437" y="391"/>
                    <a:pt x="438" y="391"/>
                    <a:pt x="440" y="391"/>
                  </a:cubicBezTo>
                  <a:cubicBezTo>
                    <a:pt x="441" y="391"/>
                    <a:pt x="442" y="390"/>
                    <a:pt x="443" y="389"/>
                  </a:cubicBezTo>
                  <a:cubicBezTo>
                    <a:pt x="443" y="388"/>
                    <a:pt x="444" y="387"/>
                    <a:pt x="444" y="385"/>
                  </a:cubicBezTo>
                  <a:cubicBezTo>
                    <a:pt x="444" y="384"/>
                    <a:pt x="443" y="383"/>
                    <a:pt x="442" y="382"/>
                  </a:cubicBezTo>
                  <a:cubicBezTo>
                    <a:pt x="441" y="381"/>
                    <a:pt x="436" y="376"/>
                    <a:pt x="431" y="372"/>
                  </a:cubicBezTo>
                  <a:cubicBezTo>
                    <a:pt x="433" y="369"/>
                    <a:pt x="434" y="366"/>
                    <a:pt x="436" y="363"/>
                  </a:cubicBezTo>
                  <a:cubicBezTo>
                    <a:pt x="442" y="366"/>
                    <a:pt x="449" y="369"/>
                    <a:pt x="450" y="370"/>
                  </a:cubicBezTo>
                  <a:cubicBezTo>
                    <a:pt x="451" y="370"/>
                    <a:pt x="453" y="370"/>
                    <a:pt x="454" y="370"/>
                  </a:cubicBezTo>
                  <a:cubicBezTo>
                    <a:pt x="455" y="369"/>
                    <a:pt x="456" y="368"/>
                    <a:pt x="457" y="367"/>
                  </a:cubicBezTo>
                  <a:cubicBezTo>
                    <a:pt x="457" y="366"/>
                    <a:pt x="457" y="365"/>
                    <a:pt x="457" y="364"/>
                  </a:cubicBezTo>
                  <a:cubicBezTo>
                    <a:pt x="457" y="362"/>
                    <a:pt x="456" y="361"/>
                    <a:pt x="455" y="360"/>
                  </a:cubicBezTo>
                  <a:cubicBezTo>
                    <a:pt x="454" y="360"/>
                    <a:pt x="448" y="355"/>
                    <a:pt x="443" y="352"/>
                  </a:cubicBezTo>
                  <a:cubicBezTo>
                    <a:pt x="445" y="349"/>
                    <a:pt x="446" y="346"/>
                    <a:pt x="448" y="343"/>
                  </a:cubicBezTo>
                  <a:cubicBezTo>
                    <a:pt x="454" y="345"/>
                    <a:pt x="461" y="347"/>
                    <a:pt x="462" y="347"/>
                  </a:cubicBezTo>
                  <a:cubicBezTo>
                    <a:pt x="463" y="348"/>
                    <a:pt x="465" y="348"/>
                    <a:pt x="466" y="347"/>
                  </a:cubicBezTo>
                  <a:cubicBezTo>
                    <a:pt x="467" y="347"/>
                    <a:pt x="468" y="346"/>
                    <a:pt x="468" y="344"/>
                  </a:cubicBezTo>
                  <a:cubicBezTo>
                    <a:pt x="469" y="343"/>
                    <a:pt x="469" y="342"/>
                    <a:pt x="468" y="341"/>
                  </a:cubicBezTo>
                  <a:cubicBezTo>
                    <a:pt x="468" y="340"/>
                    <a:pt x="467" y="338"/>
                    <a:pt x="466" y="338"/>
                  </a:cubicBezTo>
                  <a:cubicBezTo>
                    <a:pt x="465" y="337"/>
                    <a:pt x="459" y="334"/>
                    <a:pt x="453" y="330"/>
                  </a:cubicBezTo>
                  <a:cubicBezTo>
                    <a:pt x="454" y="327"/>
                    <a:pt x="456" y="324"/>
                    <a:pt x="457" y="321"/>
                  </a:cubicBezTo>
                  <a:cubicBezTo>
                    <a:pt x="463" y="322"/>
                    <a:pt x="470" y="324"/>
                    <a:pt x="471" y="324"/>
                  </a:cubicBezTo>
                  <a:cubicBezTo>
                    <a:pt x="473" y="324"/>
                    <a:pt x="474" y="324"/>
                    <a:pt x="475" y="323"/>
                  </a:cubicBezTo>
                  <a:cubicBezTo>
                    <a:pt x="476" y="323"/>
                    <a:pt x="477" y="322"/>
                    <a:pt x="477" y="321"/>
                  </a:cubicBezTo>
                  <a:cubicBezTo>
                    <a:pt x="478" y="319"/>
                    <a:pt x="478" y="318"/>
                    <a:pt x="477" y="317"/>
                  </a:cubicBezTo>
                  <a:cubicBezTo>
                    <a:pt x="477" y="316"/>
                    <a:pt x="476" y="315"/>
                    <a:pt x="475" y="314"/>
                  </a:cubicBezTo>
                  <a:cubicBezTo>
                    <a:pt x="473" y="313"/>
                    <a:pt x="467" y="311"/>
                    <a:pt x="461" y="308"/>
                  </a:cubicBezTo>
                  <a:cubicBezTo>
                    <a:pt x="462" y="305"/>
                    <a:pt x="463" y="301"/>
                    <a:pt x="463" y="298"/>
                  </a:cubicBezTo>
                  <a:cubicBezTo>
                    <a:pt x="470" y="299"/>
                    <a:pt x="477" y="300"/>
                    <a:pt x="478" y="300"/>
                  </a:cubicBezTo>
                  <a:cubicBezTo>
                    <a:pt x="480" y="300"/>
                    <a:pt x="481" y="300"/>
                    <a:pt x="482" y="299"/>
                  </a:cubicBezTo>
                  <a:cubicBezTo>
                    <a:pt x="483" y="298"/>
                    <a:pt x="484" y="297"/>
                    <a:pt x="484" y="296"/>
                  </a:cubicBezTo>
                  <a:cubicBezTo>
                    <a:pt x="484" y="294"/>
                    <a:pt x="484" y="293"/>
                    <a:pt x="484" y="292"/>
                  </a:cubicBezTo>
                  <a:cubicBezTo>
                    <a:pt x="483" y="291"/>
                    <a:pt x="482" y="290"/>
                    <a:pt x="481" y="290"/>
                  </a:cubicBezTo>
                  <a:cubicBezTo>
                    <a:pt x="479" y="289"/>
                    <a:pt x="472" y="287"/>
                    <a:pt x="466" y="285"/>
                  </a:cubicBezTo>
                  <a:cubicBezTo>
                    <a:pt x="467" y="282"/>
                    <a:pt x="467" y="278"/>
                    <a:pt x="468" y="275"/>
                  </a:cubicBezTo>
                  <a:cubicBezTo>
                    <a:pt x="474" y="275"/>
                    <a:pt x="481" y="275"/>
                    <a:pt x="483" y="275"/>
                  </a:cubicBezTo>
                  <a:cubicBezTo>
                    <a:pt x="484" y="275"/>
                    <a:pt x="485" y="275"/>
                    <a:pt x="486" y="274"/>
                  </a:cubicBezTo>
                  <a:cubicBezTo>
                    <a:pt x="487" y="273"/>
                    <a:pt x="488" y="272"/>
                    <a:pt x="488" y="270"/>
                  </a:cubicBezTo>
                  <a:cubicBezTo>
                    <a:pt x="488" y="269"/>
                    <a:pt x="488" y="268"/>
                    <a:pt x="487" y="267"/>
                  </a:cubicBezTo>
                  <a:cubicBezTo>
                    <a:pt x="486" y="266"/>
                    <a:pt x="485" y="265"/>
                    <a:pt x="484" y="265"/>
                  </a:cubicBezTo>
                  <a:cubicBezTo>
                    <a:pt x="483" y="264"/>
                    <a:pt x="476" y="263"/>
                    <a:pt x="469" y="262"/>
                  </a:cubicBezTo>
                  <a:cubicBezTo>
                    <a:pt x="469" y="258"/>
                    <a:pt x="470" y="255"/>
                    <a:pt x="470" y="252"/>
                  </a:cubicBezTo>
                  <a:cubicBezTo>
                    <a:pt x="476" y="251"/>
                    <a:pt x="483" y="250"/>
                    <a:pt x="485" y="250"/>
                  </a:cubicBezTo>
                  <a:close/>
                  <a:moveTo>
                    <a:pt x="245" y="440"/>
                  </a:moveTo>
                  <a:cubicBezTo>
                    <a:pt x="137" y="440"/>
                    <a:pt x="50" y="353"/>
                    <a:pt x="50" y="245"/>
                  </a:cubicBezTo>
                  <a:cubicBezTo>
                    <a:pt x="50" y="137"/>
                    <a:pt x="137" y="49"/>
                    <a:pt x="245" y="49"/>
                  </a:cubicBezTo>
                  <a:cubicBezTo>
                    <a:pt x="352" y="49"/>
                    <a:pt x="440" y="137"/>
                    <a:pt x="440" y="245"/>
                  </a:cubicBezTo>
                  <a:cubicBezTo>
                    <a:pt x="440" y="353"/>
                    <a:pt x="352" y="440"/>
                    <a:pt x="245" y="440"/>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8" name="Freeform 557">
              <a:extLst>
                <a:ext uri="{FF2B5EF4-FFF2-40B4-BE49-F238E27FC236}">
                  <a16:creationId xmlns:a16="http://schemas.microsoft.com/office/drawing/2014/main" id="{1E88AAB1-DB8A-4D34-B300-13E21442B144}"/>
                </a:ext>
              </a:extLst>
            </p:cNvPr>
            <p:cNvSpPr>
              <a:spLocks noEditPoints="1"/>
            </p:cNvSpPr>
            <p:nvPr/>
          </p:nvSpPr>
          <p:spPr bwMode="auto">
            <a:xfrm>
              <a:off x="886250" y="3999392"/>
              <a:ext cx="609644" cy="609644"/>
            </a:xfrm>
            <a:custGeom>
              <a:avLst/>
              <a:gdLst>
                <a:gd name="T0" fmla="*/ 54 w 246"/>
                <a:gd name="T1" fmla="*/ 245 h 245"/>
                <a:gd name="T2" fmla="*/ 0 w 246"/>
                <a:gd name="T3" fmla="*/ 192 h 245"/>
                <a:gd name="T4" fmla="*/ 0 w 246"/>
                <a:gd name="T5" fmla="*/ 85 h 245"/>
                <a:gd name="T6" fmla="*/ 11 w 246"/>
                <a:gd name="T7" fmla="*/ 74 h 245"/>
                <a:gd name="T8" fmla="*/ 22 w 246"/>
                <a:gd name="T9" fmla="*/ 85 h 245"/>
                <a:gd name="T10" fmla="*/ 22 w 246"/>
                <a:gd name="T11" fmla="*/ 192 h 245"/>
                <a:gd name="T12" fmla="*/ 54 w 246"/>
                <a:gd name="T13" fmla="*/ 224 h 245"/>
                <a:gd name="T14" fmla="*/ 86 w 246"/>
                <a:gd name="T15" fmla="*/ 192 h 245"/>
                <a:gd name="T16" fmla="*/ 54 w 246"/>
                <a:gd name="T17" fmla="*/ 160 h 245"/>
                <a:gd name="T18" fmla="*/ 43 w 246"/>
                <a:gd name="T19" fmla="*/ 149 h 245"/>
                <a:gd name="T20" fmla="*/ 54 w 246"/>
                <a:gd name="T21" fmla="*/ 138 h 245"/>
                <a:gd name="T22" fmla="*/ 107 w 246"/>
                <a:gd name="T23" fmla="*/ 192 h 245"/>
                <a:gd name="T24" fmla="*/ 54 w 246"/>
                <a:gd name="T25" fmla="*/ 245 h 245"/>
                <a:gd name="T26" fmla="*/ 171 w 246"/>
                <a:gd name="T27" fmla="*/ 192 h 245"/>
                <a:gd name="T28" fmla="*/ 54 w 246"/>
                <a:gd name="T29" fmla="*/ 74 h 245"/>
                <a:gd name="T30" fmla="*/ 43 w 246"/>
                <a:gd name="T31" fmla="*/ 85 h 245"/>
                <a:gd name="T32" fmla="*/ 54 w 246"/>
                <a:gd name="T33" fmla="*/ 96 h 245"/>
                <a:gd name="T34" fmla="*/ 150 w 246"/>
                <a:gd name="T35" fmla="*/ 192 h 245"/>
                <a:gd name="T36" fmla="*/ 160 w 246"/>
                <a:gd name="T37" fmla="*/ 202 h 245"/>
                <a:gd name="T38" fmla="*/ 171 w 246"/>
                <a:gd name="T39" fmla="*/ 192 h 245"/>
                <a:gd name="T40" fmla="*/ 246 w 246"/>
                <a:gd name="T41" fmla="*/ 192 h 245"/>
                <a:gd name="T42" fmla="*/ 54 w 246"/>
                <a:gd name="T43" fmla="*/ 0 h 245"/>
                <a:gd name="T44" fmla="*/ 43 w 246"/>
                <a:gd name="T45" fmla="*/ 10 h 245"/>
                <a:gd name="T46" fmla="*/ 54 w 246"/>
                <a:gd name="T47" fmla="*/ 21 h 245"/>
                <a:gd name="T48" fmla="*/ 224 w 246"/>
                <a:gd name="T49" fmla="*/ 192 h 245"/>
                <a:gd name="T50" fmla="*/ 235 w 246"/>
                <a:gd name="T51" fmla="*/ 202 h 245"/>
                <a:gd name="T52" fmla="*/ 246 w 246"/>
                <a:gd name="T53" fmla="*/ 1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45">
                  <a:moveTo>
                    <a:pt x="54" y="245"/>
                  </a:moveTo>
                  <a:cubicBezTo>
                    <a:pt x="24" y="245"/>
                    <a:pt x="0" y="221"/>
                    <a:pt x="0" y="192"/>
                  </a:cubicBezTo>
                  <a:cubicBezTo>
                    <a:pt x="0" y="85"/>
                    <a:pt x="0" y="85"/>
                    <a:pt x="0" y="85"/>
                  </a:cubicBezTo>
                  <a:cubicBezTo>
                    <a:pt x="0" y="79"/>
                    <a:pt x="5" y="74"/>
                    <a:pt x="11" y="74"/>
                  </a:cubicBezTo>
                  <a:cubicBezTo>
                    <a:pt x="17" y="74"/>
                    <a:pt x="22" y="79"/>
                    <a:pt x="22" y="85"/>
                  </a:cubicBezTo>
                  <a:cubicBezTo>
                    <a:pt x="22" y="192"/>
                    <a:pt x="22" y="192"/>
                    <a:pt x="22" y="192"/>
                  </a:cubicBezTo>
                  <a:cubicBezTo>
                    <a:pt x="22" y="209"/>
                    <a:pt x="36" y="224"/>
                    <a:pt x="54" y="224"/>
                  </a:cubicBezTo>
                  <a:cubicBezTo>
                    <a:pt x="71" y="224"/>
                    <a:pt x="86" y="209"/>
                    <a:pt x="86" y="192"/>
                  </a:cubicBezTo>
                  <a:cubicBezTo>
                    <a:pt x="86" y="174"/>
                    <a:pt x="71" y="160"/>
                    <a:pt x="54" y="160"/>
                  </a:cubicBezTo>
                  <a:cubicBezTo>
                    <a:pt x="48" y="160"/>
                    <a:pt x="43" y="155"/>
                    <a:pt x="43" y="149"/>
                  </a:cubicBezTo>
                  <a:cubicBezTo>
                    <a:pt x="43" y="143"/>
                    <a:pt x="48" y="138"/>
                    <a:pt x="54" y="138"/>
                  </a:cubicBezTo>
                  <a:cubicBezTo>
                    <a:pt x="83" y="138"/>
                    <a:pt x="107" y="162"/>
                    <a:pt x="107" y="192"/>
                  </a:cubicBezTo>
                  <a:cubicBezTo>
                    <a:pt x="107" y="221"/>
                    <a:pt x="83" y="245"/>
                    <a:pt x="54" y="245"/>
                  </a:cubicBezTo>
                  <a:close/>
                  <a:moveTo>
                    <a:pt x="171" y="192"/>
                  </a:moveTo>
                  <a:cubicBezTo>
                    <a:pt x="171" y="127"/>
                    <a:pt x="118" y="74"/>
                    <a:pt x="54" y="74"/>
                  </a:cubicBezTo>
                  <a:cubicBezTo>
                    <a:pt x="48" y="74"/>
                    <a:pt x="43" y="79"/>
                    <a:pt x="43" y="85"/>
                  </a:cubicBezTo>
                  <a:cubicBezTo>
                    <a:pt x="43" y="91"/>
                    <a:pt x="48" y="96"/>
                    <a:pt x="54" y="96"/>
                  </a:cubicBezTo>
                  <a:cubicBezTo>
                    <a:pt x="107" y="96"/>
                    <a:pt x="150" y="139"/>
                    <a:pt x="150" y="192"/>
                  </a:cubicBezTo>
                  <a:cubicBezTo>
                    <a:pt x="150" y="198"/>
                    <a:pt x="154" y="202"/>
                    <a:pt x="160" y="202"/>
                  </a:cubicBezTo>
                  <a:cubicBezTo>
                    <a:pt x="166" y="202"/>
                    <a:pt x="171" y="198"/>
                    <a:pt x="171" y="192"/>
                  </a:cubicBezTo>
                  <a:close/>
                  <a:moveTo>
                    <a:pt x="246" y="192"/>
                  </a:moveTo>
                  <a:cubicBezTo>
                    <a:pt x="246" y="86"/>
                    <a:pt x="160" y="0"/>
                    <a:pt x="54" y="0"/>
                  </a:cubicBezTo>
                  <a:cubicBezTo>
                    <a:pt x="48" y="0"/>
                    <a:pt x="43" y="4"/>
                    <a:pt x="43" y="10"/>
                  </a:cubicBezTo>
                  <a:cubicBezTo>
                    <a:pt x="43" y="16"/>
                    <a:pt x="48" y="21"/>
                    <a:pt x="54" y="21"/>
                  </a:cubicBezTo>
                  <a:cubicBezTo>
                    <a:pt x="148" y="21"/>
                    <a:pt x="224" y="98"/>
                    <a:pt x="224" y="192"/>
                  </a:cubicBezTo>
                  <a:cubicBezTo>
                    <a:pt x="224" y="198"/>
                    <a:pt x="229" y="202"/>
                    <a:pt x="235" y="202"/>
                  </a:cubicBezTo>
                  <a:cubicBezTo>
                    <a:pt x="241" y="202"/>
                    <a:pt x="246" y="198"/>
                    <a:pt x="246" y="192"/>
                  </a:cubicBezTo>
                  <a:close/>
                </a:path>
              </a:pathLst>
            </a:custGeom>
            <a:solidFill>
              <a:srgbClr val="A7A8AA"/>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7" name="Group 36"/>
          <p:cNvGrpSpPr/>
          <p:nvPr/>
        </p:nvGrpSpPr>
        <p:grpSpPr>
          <a:xfrm>
            <a:off x="1465478" y="5404893"/>
            <a:ext cx="420520" cy="420520"/>
            <a:chOff x="1348931" y="5010659"/>
            <a:chExt cx="420520" cy="420520"/>
          </a:xfrm>
        </p:grpSpPr>
        <p:sp>
          <p:nvSpPr>
            <p:cNvPr id="22" name="Freeform 23">
              <a:extLst>
                <a:ext uri="{FF2B5EF4-FFF2-40B4-BE49-F238E27FC236}">
                  <a16:creationId xmlns:a16="http://schemas.microsoft.com/office/drawing/2014/main" id="{F0A4A1C1-E613-4760-9387-B3D5D75A99BC}"/>
                </a:ext>
              </a:extLst>
            </p:cNvPr>
            <p:cNvSpPr>
              <a:spLocks noEditPoints="1"/>
            </p:cNvSpPr>
            <p:nvPr/>
          </p:nvSpPr>
          <p:spPr bwMode="auto">
            <a:xfrm>
              <a:off x="1348931" y="5010659"/>
              <a:ext cx="420520" cy="420520"/>
            </a:xfrm>
            <a:custGeom>
              <a:avLst/>
              <a:gdLst>
                <a:gd name="T0" fmla="*/ 138 w 144"/>
                <a:gd name="T1" fmla="*/ 67 h 144"/>
                <a:gd name="T2" fmla="*/ 137 w 144"/>
                <a:gd name="T3" fmla="*/ 60 h 144"/>
                <a:gd name="T4" fmla="*/ 135 w 144"/>
                <a:gd name="T5" fmla="*/ 53 h 144"/>
                <a:gd name="T6" fmla="*/ 133 w 144"/>
                <a:gd name="T7" fmla="*/ 47 h 144"/>
                <a:gd name="T8" fmla="*/ 130 w 144"/>
                <a:gd name="T9" fmla="*/ 40 h 144"/>
                <a:gd name="T10" fmla="*/ 126 w 144"/>
                <a:gd name="T11" fmla="*/ 34 h 144"/>
                <a:gd name="T12" fmla="*/ 122 w 144"/>
                <a:gd name="T13" fmla="*/ 29 h 144"/>
                <a:gd name="T14" fmla="*/ 117 w 144"/>
                <a:gd name="T15" fmla="*/ 24 h 144"/>
                <a:gd name="T16" fmla="*/ 112 w 144"/>
                <a:gd name="T17" fmla="*/ 19 h 144"/>
                <a:gd name="T18" fmla="*/ 106 w 144"/>
                <a:gd name="T19" fmla="*/ 15 h 144"/>
                <a:gd name="T20" fmla="*/ 100 w 144"/>
                <a:gd name="T21" fmla="*/ 12 h 144"/>
                <a:gd name="T22" fmla="*/ 94 w 144"/>
                <a:gd name="T23" fmla="*/ 9 h 144"/>
                <a:gd name="T24" fmla="*/ 87 w 144"/>
                <a:gd name="T25" fmla="*/ 7 h 144"/>
                <a:gd name="T26" fmla="*/ 81 w 144"/>
                <a:gd name="T27" fmla="*/ 6 h 144"/>
                <a:gd name="T28" fmla="*/ 74 w 144"/>
                <a:gd name="T29" fmla="*/ 6 h 144"/>
                <a:gd name="T30" fmla="*/ 67 w 144"/>
                <a:gd name="T31" fmla="*/ 6 h 144"/>
                <a:gd name="T32" fmla="*/ 60 w 144"/>
                <a:gd name="T33" fmla="*/ 7 h 144"/>
                <a:gd name="T34" fmla="*/ 53 w 144"/>
                <a:gd name="T35" fmla="*/ 8 h 144"/>
                <a:gd name="T36" fmla="*/ 47 w 144"/>
                <a:gd name="T37" fmla="*/ 11 h 144"/>
                <a:gd name="T38" fmla="*/ 40 w 144"/>
                <a:gd name="T39" fmla="*/ 13 h 144"/>
                <a:gd name="T40" fmla="*/ 35 w 144"/>
                <a:gd name="T41" fmla="*/ 17 h 144"/>
                <a:gd name="T42" fmla="*/ 29 w 144"/>
                <a:gd name="T43" fmla="*/ 21 h 144"/>
                <a:gd name="T44" fmla="*/ 24 w 144"/>
                <a:gd name="T45" fmla="*/ 26 h 144"/>
                <a:gd name="T46" fmla="*/ 19 w 144"/>
                <a:gd name="T47" fmla="*/ 31 h 144"/>
                <a:gd name="T48" fmla="*/ 16 w 144"/>
                <a:gd name="T49" fmla="*/ 37 h 144"/>
                <a:gd name="T50" fmla="*/ 12 w 144"/>
                <a:gd name="T51" fmla="*/ 43 h 144"/>
                <a:gd name="T52" fmla="*/ 10 w 144"/>
                <a:gd name="T53" fmla="*/ 49 h 144"/>
                <a:gd name="T54" fmla="*/ 8 w 144"/>
                <a:gd name="T55" fmla="*/ 56 h 144"/>
                <a:gd name="T56" fmla="*/ 6 w 144"/>
                <a:gd name="T57" fmla="*/ 63 h 144"/>
                <a:gd name="T58" fmla="*/ 6 w 144"/>
                <a:gd name="T59" fmla="*/ 70 h 144"/>
                <a:gd name="T60" fmla="*/ 6 w 144"/>
                <a:gd name="T61" fmla="*/ 77 h 144"/>
                <a:gd name="T62" fmla="*/ 7 w 144"/>
                <a:gd name="T63" fmla="*/ 84 h 144"/>
                <a:gd name="T64" fmla="*/ 8 w 144"/>
                <a:gd name="T65" fmla="*/ 90 h 144"/>
                <a:gd name="T66" fmla="*/ 11 w 144"/>
                <a:gd name="T67" fmla="*/ 97 h 144"/>
                <a:gd name="T68" fmla="*/ 14 w 144"/>
                <a:gd name="T69" fmla="*/ 103 h 144"/>
                <a:gd name="T70" fmla="*/ 17 w 144"/>
                <a:gd name="T71" fmla="*/ 109 h 144"/>
                <a:gd name="T72" fmla="*/ 21 w 144"/>
                <a:gd name="T73" fmla="*/ 115 h 144"/>
                <a:gd name="T74" fmla="*/ 26 w 144"/>
                <a:gd name="T75" fmla="*/ 120 h 144"/>
                <a:gd name="T76" fmla="*/ 31 w 144"/>
                <a:gd name="T77" fmla="*/ 124 h 144"/>
                <a:gd name="T78" fmla="*/ 37 w 144"/>
                <a:gd name="T79" fmla="*/ 128 h 144"/>
                <a:gd name="T80" fmla="*/ 43 w 144"/>
                <a:gd name="T81" fmla="*/ 131 h 144"/>
                <a:gd name="T82" fmla="*/ 49 w 144"/>
                <a:gd name="T83" fmla="*/ 134 h 144"/>
                <a:gd name="T84" fmla="*/ 56 w 144"/>
                <a:gd name="T85" fmla="*/ 136 h 144"/>
                <a:gd name="T86" fmla="*/ 63 w 144"/>
                <a:gd name="T87" fmla="*/ 137 h 144"/>
                <a:gd name="T88" fmla="*/ 70 w 144"/>
                <a:gd name="T89" fmla="*/ 138 h 144"/>
                <a:gd name="T90" fmla="*/ 77 w 144"/>
                <a:gd name="T91" fmla="*/ 138 h 144"/>
                <a:gd name="T92" fmla="*/ 83 w 144"/>
                <a:gd name="T93" fmla="*/ 137 h 144"/>
                <a:gd name="T94" fmla="*/ 90 w 144"/>
                <a:gd name="T95" fmla="*/ 135 h 144"/>
                <a:gd name="T96" fmla="*/ 97 w 144"/>
                <a:gd name="T97" fmla="*/ 133 h 144"/>
                <a:gd name="T98" fmla="*/ 103 w 144"/>
                <a:gd name="T99" fmla="*/ 130 h 144"/>
                <a:gd name="T100" fmla="*/ 109 w 144"/>
                <a:gd name="T101" fmla="*/ 126 h 144"/>
                <a:gd name="T102" fmla="*/ 114 w 144"/>
                <a:gd name="T103" fmla="*/ 122 h 144"/>
                <a:gd name="T104" fmla="*/ 120 w 144"/>
                <a:gd name="T105" fmla="*/ 117 h 144"/>
                <a:gd name="T106" fmla="*/ 124 w 144"/>
                <a:gd name="T107" fmla="*/ 112 h 144"/>
                <a:gd name="T108" fmla="*/ 128 w 144"/>
                <a:gd name="T109" fmla="*/ 107 h 144"/>
                <a:gd name="T110" fmla="*/ 131 w 144"/>
                <a:gd name="T111" fmla="*/ 100 h 144"/>
                <a:gd name="T112" fmla="*/ 134 w 144"/>
                <a:gd name="T113" fmla="*/ 94 h 144"/>
                <a:gd name="T114" fmla="*/ 136 w 144"/>
                <a:gd name="T115" fmla="*/ 87 h 144"/>
                <a:gd name="T116" fmla="*/ 137 w 144"/>
                <a:gd name="T117" fmla="*/ 81 h 144"/>
                <a:gd name="T118" fmla="*/ 138 w 144"/>
                <a:gd name="T119" fmla="*/ 7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44">
                  <a:moveTo>
                    <a:pt x="142" y="73"/>
                  </a:moveTo>
                  <a:cubicBezTo>
                    <a:pt x="143" y="73"/>
                    <a:pt x="143" y="73"/>
                    <a:pt x="143" y="73"/>
                  </a:cubicBezTo>
                  <a:cubicBezTo>
                    <a:pt x="143" y="72"/>
                    <a:pt x="144" y="72"/>
                    <a:pt x="144" y="72"/>
                  </a:cubicBezTo>
                  <a:cubicBezTo>
                    <a:pt x="144" y="71"/>
                    <a:pt x="143" y="71"/>
                    <a:pt x="143" y="71"/>
                  </a:cubicBezTo>
                  <a:cubicBezTo>
                    <a:pt x="143" y="70"/>
                    <a:pt x="143" y="70"/>
                    <a:pt x="142" y="70"/>
                  </a:cubicBezTo>
                  <a:cubicBezTo>
                    <a:pt x="142" y="70"/>
                    <a:pt x="140" y="70"/>
                    <a:pt x="138" y="70"/>
                  </a:cubicBezTo>
                  <a:cubicBezTo>
                    <a:pt x="138" y="69"/>
                    <a:pt x="138" y="68"/>
                    <a:pt x="138" y="67"/>
                  </a:cubicBezTo>
                  <a:cubicBezTo>
                    <a:pt x="140" y="66"/>
                    <a:pt x="142" y="66"/>
                    <a:pt x="142" y="66"/>
                  </a:cubicBezTo>
                  <a:cubicBezTo>
                    <a:pt x="142" y="66"/>
                    <a:pt x="143" y="66"/>
                    <a:pt x="143" y="65"/>
                  </a:cubicBezTo>
                  <a:cubicBezTo>
                    <a:pt x="143" y="65"/>
                    <a:pt x="143" y="65"/>
                    <a:pt x="143" y="64"/>
                  </a:cubicBezTo>
                  <a:cubicBezTo>
                    <a:pt x="143" y="64"/>
                    <a:pt x="143" y="63"/>
                    <a:pt x="143" y="63"/>
                  </a:cubicBezTo>
                  <a:cubicBezTo>
                    <a:pt x="142" y="63"/>
                    <a:pt x="142" y="63"/>
                    <a:pt x="142" y="63"/>
                  </a:cubicBezTo>
                  <a:cubicBezTo>
                    <a:pt x="141" y="63"/>
                    <a:pt x="139" y="63"/>
                    <a:pt x="137" y="63"/>
                  </a:cubicBezTo>
                  <a:cubicBezTo>
                    <a:pt x="137" y="62"/>
                    <a:pt x="137" y="61"/>
                    <a:pt x="137" y="60"/>
                  </a:cubicBezTo>
                  <a:cubicBezTo>
                    <a:pt x="139" y="59"/>
                    <a:pt x="141" y="59"/>
                    <a:pt x="141" y="59"/>
                  </a:cubicBezTo>
                  <a:cubicBezTo>
                    <a:pt x="141" y="58"/>
                    <a:pt x="142" y="58"/>
                    <a:pt x="142" y="58"/>
                  </a:cubicBezTo>
                  <a:cubicBezTo>
                    <a:pt x="142" y="58"/>
                    <a:pt x="142" y="57"/>
                    <a:pt x="142" y="57"/>
                  </a:cubicBezTo>
                  <a:cubicBezTo>
                    <a:pt x="142" y="56"/>
                    <a:pt x="142" y="56"/>
                    <a:pt x="141" y="56"/>
                  </a:cubicBezTo>
                  <a:cubicBezTo>
                    <a:pt x="141" y="56"/>
                    <a:pt x="141" y="55"/>
                    <a:pt x="140" y="56"/>
                  </a:cubicBezTo>
                  <a:cubicBezTo>
                    <a:pt x="140" y="56"/>
                    <a:pt x="138" y="56"/>
                    <a:pt x="136" y="56"/>
                  </a:cubicBezTo>
                  <a:cubicBezTo>
                    <a:pt x="136" y="55"/>
                    <a:pt x="135" y="54"/>
                    <a:pt x="135" y="53"/>
                  </a:cubicBezTo>
                  <a:cubicBezTo>
                    <a:pt x="137" y="52"/>
                    <a:pt x="139" y="52"/>
                    <a:pt x="139" y="51"/>
                  </a:cubicBezTo>
                  <a:cubicBezTo>
                    <a:pt x="140" y="51"/>
                    <a:pt x="140" y="51"/>
                    <a:pt x="140" y="51"/>
                  </a:cubicBezTo>
                  <a:cubicBezTo>
                    <a:pt x="140" y="50"/>
                    <a:pt x="140" y="50"/>
                    <a:pt x="140" y="50"/>
                  </a:cubicBezTo>
                  <a:cubicBezTo>
                    <a:pt x="140" y="49"/>
                    <a:pt x="140" y="49"/>
                    <a:pt x="139" y="49"/>
                  </a:cubicBezTo>
                  <a:cubicBezTo>
                    <a:pt x="139" y="48"/>
                    <a:pt x="139" y="48"/>
                    <a:pt x="138" y="48"/>
                  </a:cubicBezTo>
                  <a:cubicBezTo>
                    <a:pt x="138" y="49"/>
                    <a:pt x="136" y="49"/>
                    <a:pt x="134" y="49"/>
                  </a:cubicBezTo>
                  <a:cubicBezTo>
                    <a:pt x="134" y="48"/>
                    <a:pt x="133" y="48"/>
                    <a:pt x="133" y="47"/>
                  </a:cubicBezTo>
                  <a:cubicBezTo>
                    <a:pt x="134" y="46"/>
                    <a:pt x="136" y="45"/>
                    <a:pt x="137" y="44"/>
                  </a:cubicBezTo>
                  <a:cubicBezTo>
                    <a:pt x="137" y="44"/>
                    <a:pt x="137" y="44"/>
                    <a:pt x="137" y="44"/>
                  </a:cubicBezTo>
                  <a:cubicBezTo>
                    <a:pt x="137" y="43"/>
                    <a:pt x="137" y="43"/>
                    <a:pt x="137" y="43"/>
                  </a:cubicBezTo>
                  <a:cubicBezTo>
                    <a:pt x="137" y="42"/>
                    <a:pt x="137" y="42"/>
                    <a:pt x="137" y="42"/>
                  </a:cubicBezTo>
                  <a:cubicBezTo>
                    <a:pt x="136" y="41"/>
                    <a:pt x="136" y="41"/>
                    <a:pt x="136" y="42"/>
                  </a:cubicBezTo>
                  <a:cubicBezTo>
                    <a:pt x="135" y="42"/>
                    <a:pt x="133" y="42"/>
                    <a:pt x="131" y="43"/>
                  </a:cubicBezTo>
                  <a:cubicBezTo>
                    <a:pt x="131" y="42"/>
                    <a:pt x="130" y="41"/>
                    <a:pt x="130" y="40"/>
                  </a:cubicBezTo>
                  <a:cubicBezTo>
                    <a:pt x="132" y="39"/>
                    <a:pt x="133" y="38"/>
                    <a:pt x="134" y="38"/>
                  </a:cubicBezTo>
                  <a:cubicBezTo>
                    <a:pt x="134" y="38"/>
                    <a:pt x="134" y="37"/>
                    <a:pt x="134" y="37"/>
                  </a:cubicBezTo>
                  <a:cubicBezTo>
                    <a:pt x="134" y="36"/>
                    <a:pt x="134" y="36"/>
                    <a:pt x="134" y="36"/>
                  </a:cubicBezTo>
                  <a:cubicBezTo>
                    <a:pt x="134" y="35"/>
                    <a:pt x="133" y="35"/>
                    <a:pt x="133" y="35"/>
                  </a:cubicBezTo>
                  <a:cubicBezTo>
                    <a:pt x="133" y="35"/>
                    <a:pt x="132" y="35"/>
                    <a:pt x="132" y="35"/>
                  </a:cubicBezTo>
                  <a:cubicBezTo>
                    <a:pt x="132" y="35"/>
                    <a:pt x="130" y="36"/>
                    <a:pt x="128" y="37"/>
                  </a:cubicBezTo>
                  <a:cubicBezTo>
                    <a:pt x="127" y="36"/>
                    <a:pt x="127" y="35"/>
                    <a:pt x="126" y="34"/>
                  </a:cubicBezTo>
                  <a:cubicBezTo>
                    <a:pt x="128" y="33"/>
                    <a:pt x="129" y="32"/>
                    <a:pt x="130" y="32"/>
                  </a:cubicBezTo>
                  <a:cubicBezTo>
                    <a:pt x="130" y="31"/>
                    <a:pt x="130" y="31"/>
                    <a:pt x="130" y="31"/>
                  </a:cubicBezTo>
                  <a:cubicBezTo>
                    <a:pt x="130" y="30"/>
                    <a:pt x="130" y="30"/>
                    <a:pt x="130" y="29"/>
                  </a:cubicBezTo>
                  <a:cubicBezTo>
                    <a:pt x="130" y="29"/>
                    <a:pt x="129" y="29"/>
                    <a:pt x="129" y="29"/>
                  </a:cubicBezTo>
                  <a:cubicBezTo>
                    <a:pt x="129" y="29"/>
                    <a:pt x="128" y="29"/>
                    <a:pt x="128" y="29"/>
                  </a:cubicBezTo>
                  <a:cubicBezTo>
                    <a:pt x="128" y="29"/>
                    <a:pt x="126" y="30"/>
                    <a:pt x="124" y="31"/>
                  </a:cubicBezTo>
                  <a:cubicBezTo>
                    <a:pt x="123" y="31"/>
                    <a:pt x="123" y="30"/>
                    <a:pt x="122" y="29"/>
                  </a:cubicBezTo>
                  <a:cubicBezTo>
                    <a:pt x="123" y="28"/>
                    <a:pt x="125" y="26"/>
                    <a:pt x="125" y="26"/>
                  </a:cubicBezTo>
                  <a:cubicBezTo>
                    <a:pt x="125" y="25"/>
                    <a:pt x="126" y="25"/>
                    <a:pt x="125" y="25"/>
                  </a:cubicBezTo>
                  <a:cubicBezTo>
                    <a:pt x="125" y="24"/>
                    <a:pt x="125" y="24"/>
                    <a:pt x="125" y="24"/>
                  </a:cubicBezTo>
                  <a:cubicBezTo>
                    <a:pt x="125" y="23"/>
                    <a:pt x="125" y="23"/>
                    <a:pt x="124" y="23"/>
                  </a:cubicBezTo>
                  <a:cubicBezTo>
                    <a:pt x="124" y="23"/>
                    <a:pt x="123" y="23"/>
                    <a:pt x="123" y="23"/>
                  </a:cubicBezTo>
                  <a:cubicBezTo>
                    <a:pt x="123" y="24"/>
                    <a:pt x="121" y="25"/>
                    <a:pt x="120" y="26"/>
                  </a:cubicBezTo>
                  <a:cubicBezTo>
                    <a:pt x="119" y="25"/>
                    <a:pt x="118" y="25"/>
                    <a:pt x="117" y="24"/>
                  </a:cubicBezTo>
                  <a:cubicBezTo>
                    <a:pt x="118" y="22"/>
                    <a:pt x="120" y="21"/>
                    <a:pt x="120" y="20"/>
                  </a:cubicBezTo>
                  <a:cubicBezTo>
                    <a:pt x="120" y="20"/>
                    <a:pt x="120" y="20"/>
                    <a:pt x="120" y="19"/>
                  </a:cubicBezTo>
                  <a:cubicBezTo>
                    <a:pt x="120" y="19"/>
                    <a:pt x="120" y="19"/>
                    <a:pt x="120" y="18"/>
                  </a:cubicBezTo>
                  <a:cubicBezTo>
                    <a:pt x="120" y="18"/>
                    <a:pt x="119" y="18"/>
                    <a:pt x="119" y="18"/>
                  </a:cubicBezTo>
                  <a:cubicBezTo>
                    <a:pt x="118" y="18"/>
                    <a:pt x="118" y="18"/>
                    <a:pt x="118" y="18"/>
                  </a:cubicBezTo>
                  <a:cubicBezTo>
                    <a:pt x="117" y="19"/>
                    <a:pt x="116" y="20"/>
                    <a:pt x="114" y="21"/>
                  </a:cubicBezTo>
                  <a:cubicBezTo>
                    <a:pt x="114" y="21"/>
                    <a:pt x="113" y="20"/>
                    <a:pt x="112" y="19"/>
                  </a:cubicBezTo>
                  <a:cubicBezTo>
                    <a:pt x="113" y="18"/>
                    <a:pt x="114" y="16"/>
                    <a:pt x="114" y="16"/>
                  </a:cubicBezTo>
                  <a:cubicBezTo>
                    <a:pt x="115" y="15"/>
                    <a:pt x="115" y="15"/>
                    <a:pt x="115" y="14"/>
                  </a:cubicBezTo>
                  <a:cubicBezTo>
                    <a:pt x="114" y="14"/>
                    <a:pt x="114" y="14"/>
                    <a:pt x="114" y="13"/>
                  </a:cubicBezTo>
                  <a:cubicBezTo>
                    <a:pt x="114" y="13"/>
                    <a:pt x="113" y="13"/>
                    <a:pt x="113" y="13"/>
                  </a:cubicBezTo>
                  <a:cubicBezTo>
                    <a:pt x="113" y="13"/>
                    <a:pt x="112" y="13"/>
                    <a:pt x="112" y="14"/>
                  </a:cubicBezTo>
                  <a:cubicBezTo>
                    <a:pt x="112" y="14"/>
                    <a:pt x="110" y="16"/>
                    <a:pt x="109" y="17"/>
                  </a:cubicBezTo>
                  <a:cubicBezTo>
                    <a:pt x="108" y="16"/>
                    <a:pt x="107" y="16"/>
                    <a:pt x="106" y="15"/>
                  </a:cubicBezTo>
                  <a:cubicBezTo>
                    <a:pt x="107" y="14"/>
                    <a:pt x="108" y="12"/>
                    <a:pt x="108" y="11"/>
                  </a:cubicBezTo>
                  <a:cubicBezTo>
                    <a:pt x="108" y="11"/>
                    <a:pt x="108" y="11"/>
                    <a:pt x="108" y="10"/>
                  </a:cubicBezTo>
                  <a:cubicBezTo>
                    <a:pt x="108" y="10"/>
                    <a:pt x="108" y="10"/>
                    <a:pt x="108" y="9"/>
                  </a:cubicBezTo>
                  <a:cubicBezTo>
                    <a:pt x="107" y="9"/>
                    <a:pt x="107" y="9"/>
                    <a:pt x="107" y="9"/>
                  </a:cubicBezTo>
                  <a:cubicBezTo>
                    <a:pt x="106" y="9"/>
                    <a:pt x="106" y="9"/>
                    <a:pt x="106" y="10"/>
                  </a:cubicBezTo>
                  <a:cubicBezTo>
                    <a:pt x="105" y="10"/>
                    <a:pt x="104" y="12"/>
                    <a:pt x="103" y="13"/>
                  </a:cubicBezTo>
                  <a:cubicBezTo>
                    <a:pt x="102" y="13"/>
                    <a:pt x="101" y="13"/>
                    <a:pt x="100" y="12"/>
                  </a:cubicBezTo>
                  <a:cubicBezTo>
                    <a:pt x="101" y="10"/>
                    <a:pt x="102" y="8"/>
                    <a:pt x="102" y="8"/>
                  </a:cubicBezTo>
                  <a:cubicBezTo>
                    <a:pt x="102" y="8"/>
                    <a:pt x="102" y="7"/>
                    <a:pt x="102" y="7"/>
                  </a:cubicBezTo>
                  <a:cubicBezTo>
                    <a:pt x="102" y="6"/>
                    <a:pt x="101" y="6"/>
                    <a:pt x="101" y="6"/>
                  </a:cubicBezTo>
                  <a:cubicBezTo>
                    <a:pt x="101" y="6"/>
                    <a:pt x="100" y="6"/>
                    <a:pt x="100" y="6"/>
                  </a:cubicBezTo>
                  <a:cubicBezTo>
                    <a:pt x="100" y="6"/>
                    <a:pt x="99" y="6"/>
                    <a:pt x="99" y="7"/>
                  </a:cubicBezTo>
                  <a:cubicBezTo>
                    <a:pt x="99" y="7"/>
                    <a:pt x="98" y="9"/>
                    <a:pt x="97" y="11"/>
                  </a:cubicBezTo>
                  <a:cubicBezTo>
                    <a:pt x="96" y="10"/>
                    <a:pt x="95" y="10"/>
                    <a:pt x="94" y="9"/>
                  </a:cubicBezTo>
                  <a:cubicBezTo>
                    <a:pt x="94" y="8"/>
                    <a:pt x="95" y="5"/>
                    <a:pt x="95" y="5"/>
                  </a:cubicBezTo>
                  <a:cubicBezTo>
                    <a:pt x="95" y="5"/>
                    <a:pt x="95" y="4"/>
                    <a:pt x="95" y="4"/>
                  </a:cubicBezTo>
                  <a:cubicBezTo>
                    <a:pt x="95" y="4"/>
                    <a:pt x="94" y="3"/>
                    <a:pt x="94" y="3"/>
                  </a:cubicBezTo>
                  <a:cubicBezTo>
                    <a:pt x="94" y="3"/>
                    <a:pt x="93" y="3"/>
                    <a:pt x="93" y="3"/>
                  </a:cubicBezTo>
                  <a:cubicBezTo>
                    <a:pt x="93" y="4"/>
                    <a:pt x="92" y="4"/>
                    <a:pt x="92" y="4"/>
                  </a:cubicBezTo>
                  <a:cubicBezTo>
                    <a:pt x="92" y="5"/>
                    <a:pt x="91" y="6"/>
                    <a:pt x="90" y="8"/>
                  </a:cubicBezTo>
                  <a:cubicBezTo>
                    <a:pt x="89" y="8"/>
                    <a:pt x="88" y="8"/>
                    <a:pt x="87" y="7"/>
                  </a:cubicBezTo>
                  <a:cubicBezTo>
                    <a:pt x="88" y="5"/>
                    <a:pt x="88" y="3"/>
                    <a:pt x="88" y="3"/>
                  </a:cubicBezTo>
                  <a:cubicBezTo>
                    <a:pt x="88" y="3"/>
                    <a:pt x="88" y="2"/>
                    <a:pt x="88" y="2"/>
                  </a:cubicBezTo>
                  <a:cubicBezTo>
                    <a:pt x="87" y="2"/>
                    <a:pt x="87" y="1"/>
                    <a:pt x="87" y="1"/>
                  </a:cubicBezTo>
                  <a:cubicBezTo>
                    <a:pt x="86" y="1"/>
                    <a:pt x="86" y="1"/>
                    <a:pt x="86" y="1"/>
                  </a:cubicBezTo>
                  <a:cubicBezTo>
                    <a:pt x="85" y="2"/>
                    <a:pt x="85" y="2"/>
                    <a:pt x="85" y="2"/>
                  </a:cubicBezTo>
                  <a:cubicBezTo>
                    <a:pt x="85" y="3"/>
                    <a:pt x="84" y="5"/>
                    <a:pt x="83" y="7"/>
                  </a:cubicBezTo>
                  <a:cubicBezTo>
                    <a:pt x="83" y="6"/>
                    <a:pt x="82" y="6"/>
                    <a:pt x="81" y="6"/>
                  </a:cubicBezTo>
                  <a:cubicBezTo>
                    <a:pt x="81" y="4"/>
                    <a:pt x="81" y="2"/>
                    <a:pt x="81" y="2"/>
                  </a:cubicBezTo>
                  <a:cubicBezTo>
                    <a:pt x="81" y="1"/>
                    <a:pt x="81" y="1"/>
                    <a:pt x="80" y="1"/>
                  </a:cubicBezTo>
                  <a:cubicBezTo>
                    <a:pt x="80" y="0"/>
                    <a:pt x="80" y="0"/>
                    <a:pt x="79" y="0"/>
                  </a:cubicBezTo>
                  <a:cubicBezTo>
                    <a:pt x="79" y="0"/>
                    <a:pt x="78" y="0"/>
                    <a:pt x="78" y="0"/>
                  </a:cubicBezTo>
                  <a:cubicBezTo>
                    <a:pt x="78" y="1"/>
                    <a:pt x="78" y="1"/>
                    <a:pt x="78" y="1"/>
                  </a:cubicBezTo>
                  <a:cubicBezTo>
                    <a:pt x="77" y="2"/>
                    <a:pt x="77" y="4"/>
                    <a:pt x="77" y="6"/>
                  </a:cubicBezTo>
                  <a:cubicBezTo>
                    <a:pt x="76" y="6"/>
                    <a:pt x="75" y="6"/>
                    <a:pt x="74" y="6"/>
                  </a:cubicBezTo>
                  <a:cubicBezTo>
                    <a:pt x="74" y="4"/>
                    <a:pt x="73" y="2"/>
                    <a:pt x="73" y="1"/>
                  </a:cubicBezTo>
                  <a:cubicBezTo>
                    <a:pt x="73" y="1"/>
                    <a:pt x="73" y="0"/>
                    <a:pt x="73" y="0"/>
                  </a:cubicBezTo>
                  <a:cubicBezTo>
                    <a:pt x="73" y="0"/>
                    <a:pt x="72" y="0"/>
                    <a:pt x="72" y="0"/>
                  </a:cubicBezTo>
                  <a:cubicBezTo>
                    <a:pt x="71" y="0"/>
                    <a:pt x="71" y="0"/>
                    <a:pt x="71" y="0"/>
                  </a:cubicBezTo>
                  <a:cubicBezTo>
                    <a:pt x="70" y="0"/>
                    <a:pt x="70" y="1"/>
                    <a:pt x="70" y="1"/>
                  </a:cubicBezTo>
                  <a:cubicBezTo>
                    <a:pt x="70" y="2"/>
                    <a:pt x="70" y="4"/>
                    <a:pt x="70" y="6"/>
                  </a:cubicBezTo>
                  <a:cubicBezTo>
                    <a:pt x="69" y="6"/>
                    <a:pt x="68" y="6"/>
                    <a:pt x="67" y="6"/>
                  </a:cubicBezTo>
                  <a:cubicBezTo>
                    <a:pt x="66" y="4"/>
                    <a:pt x="66" y="2"/>
                    <a:pt x="66" y="1"/>
                  </a:cubicBezTo>
                  <a:cubicBezTo>
                    <a:pt x="66" y="1"/>
                    <a:pt x="66" y="1"/>
                    <a:pt x="65" y="0"/>
                  </a:cubicBezTo>
                  <a:cubicBezTo>
                    <a:pt x="65" y="0"/>
                    <a:pt x="65" y="0"/>
                    <a:pt x="64" y="0"/>
                  </a:cubicBezTo>
                  <a:cubicBezTo>
                    <a:pt x="64" y="0"/>
                    <a:pt x="63" y="0"/>
                    <a:pt x="63" y="1"/>
                  </a:cubicBezTo>
                  <a:cubicBezTo>
                    <a:pt x="63" y="1"/>
                    <a:pt x="63" y="1"/>
                    <a:pt x="63" y="2"/>
                  </a:cubicBezTo>
                  <a:cubicBezTo>
                    <a:pt x="63" y="2"/>
                    <a:pt x="63" y="4"/>
                    <a:pt x="63" y="6"/>
                  </a:cubicBezTo>
                  <a:cubicBezTo>
                    <a:pt x="62" y="6"/>
                    <a:pt x="61" y="6"/>
                    <a:pt x="60" y="7"/>
                  </a:cubicBezTo>
                  <a:cubicBezTo>
                    <a:pt x="59" y="5"/>
                    <a:pt x="59" y="3"/>
                    <a:pt x="59" y="2"/>
                  </a:cubicBezTo>
                  <a:cubicBezTo>
                    <a:pt x="58" y="2"/>
                    <a:pt x="58" y="2"/>
                    <a:pt x="58" y="1"/>
                  </a:cubicBezTo>
                  <a:cubicBezTo>
                    <a:pt x="58" y="1"/>
                    <a:pt x="57" y="1"/>
                    <a:pt x="57" y="1"/>
                  </a:cubicBezTo>
                  <a:cubicBezTo>
                    <a:pt x="56" y="1"/>
                    <a:pt x="56" y="2"/>
                    <a:pt x="56" y="2"/>
                  </a:cubicBezTo>
                  <a:cubicBezTo>
                    <a:pt x="56" y="2"/>
                    <a:pt x="55" y="3"/>
                    <a:pt x="56" y="3"/>
                  </a:cubicBezTo>
                  <a:cubicBezTo>
                    <a:pt x="56" y="3"/>
                    <a:pt x="56" y="5"/>
                    <a:pt x="56" y="7"/>
                  </a:cubicBezTo>
                  <a:cubicBezTo>
                    <a:pt x="55" y="8"/>
                    <a:pt x="54" y="8"/>
                    <a:pt x="53" y="8"/>
                  </a:cubicBezTo>
                  <a:cubicBezTo>
                    <a:pt x="52" y="6"/>
                    <a:pt x="52" y="5"/>
                    <a:pt x="51" y="4"/>
                  </a:cubicBezTo>
                  <a:cubicBezTo>
                    <a:pt x="51" y="4"/>
                    <a:pt x="51" y="4"/>
                    <a:pt x="51" y="3"/>
                  </a:cubicBezTo>
                  <a:cubicBezTo>
                    <a:pt x="50" y="3"/>
                    <a:pt x="50" y="3"/>
                    <a:pt x="50" y="3"/>
                  </a:cubicBezTo>
                  <a:cubicBezTo>
                    <a:pt x="49" y="3"/>
                    <a:pt x="49" y="4"/>
                    <a:pt x="49" y="4"/>
                  </a:cubicBezTo>
                  <a:cubicBezTo>
                    <a:pt x="49" y="4"/>
                    <a:pt x="48" y="5"/>
                    <a:pt x="49" y="5"/>
                  </a:cubicBezTo>
                  <a:cubicBezTo>
                    <a:pt x="49" y="5"/>
                    <a:pt x="49" y="8"/>
                    <a:pt x="49" y="9"/>
                  </a:cubicBezTo>
                  <a:cubicBezTo>
                    <a:pt x="49" y="10"/>
                    <a:pt x="48" y="10"/>
                    <a:pt x="47" y="11"/>
                  </a:cubicBezTo>
                  <a:cubicBezTo>
                    <a:pt x="46" y="9"/>
                    <a:pt x="45" y="7"/>
                    <a:pt x="45" y="7"/>
                  </a:cubicBezTo>
                  <a:cubicBezTo>
                    <a:pt x="44" y="6"/>
                    <a:pt x="44" y="6"/>
                    <a:pt x="44" y="6"/>
                  </a:cubicBezTo>
                  <a:cubicBezTo>
                    <a:pt x="43" y="6"/>
                    <a:pt x="43" y="6"/>
                    <a:pt x="43" y="6"/>
                  </a:cubicBezTo>
                  <a:cubicBezTo>
                    <a:pt x="42" y="6"/>
                    <a:pt x="42" y="6"/>
                    <a:pt x="42" y="7"/>
                  </a:cubicBezTo>
                  <a:cubicBezTo>
                    <a:pt x="42" y="7"/>
                    <a:pt x="42" y="8"/>
                    <a:pt x="42" y="8"/>
                  </a:cubicBezTo>
                  <a:cubicBezTo>
                    <a:pt x="42" y="8"/>
                    <a:pt x="42" y="10"/>
                    <a:pt x="43" y="12"/>
                  </a:cubicBezTo>
                  <a:cubicBezTo>
                    <a:pt x="42" y="13"/>
                    <a:pt x="41" y="13"/>
                    <a:pt x="40" y="13"/>
                  </a:cubicBezTo>
                  <a:cubicBezTo>
                    <a:pt x="39" y="12"/>
                    <a:pt x="38" y="10"/>
                    <a:pt x="38" y="10"/>
                  </a:cubicBezTo>
                  <a:cubicBezTo>
                    <a:pt x="38" y="9"/>
                    <a:pt x="37" y="9"/>
                    <a:pt x="37" y="9"/>
                  </a:cubicBezTo>
                  <a:cubicBezTo>
                    <a:pt x="37" y="9"/>
                    <a:pt x="36" y="9"/>
                    <a:pt x="36" y="9"/>
                  </a:cubicBezTo>
                  <a:cubicBezTo>
                    <a:pt x="35" y="10"/>
                    <a:pt x="35" y="10"/>
                    <a:pt x="35" y="10"/>
                  </a:cubicBezTo>
                  <a:cubicBezTo>
                    <a:pt x="35" y="11"/>
                    <a:pt x="35" y="11"/>
                    <a:pt x="35" y="11"/>
                  </a:cubicBezTo>
                  <a:cubicBezTo>
                    <a:pt x="35" y="12"/>
                    <a:pt x="36" y="14"/>
                    <a:pt x="37" y="15"/>
                  </a:cubicBezTo>
                  <a:cubicBezTo>
                    <a:pt x="36" y="16"/>
                    <a:pt x="35" y="16"/>
                    <a:pt x="35" y="17"/>
                  </a:cubicBezTo>
                  <a:cubicBezTo>
                    <a:pt x="33" y="16"/>
                    <a:pt x="32" y="14"/>
                    <a:pt x="32" y="14"/>
                  </a:cubicBezTo>
                  <a:cubicBezTo>
                    <a:pt x="31" y="13"/>
                    <a:pt x="31" y="13"/>
                    <a:pt x="31" y="13"/>
                  </a:cubicBezTo>
                  <a:cubicBezTo>
                    <a:pt x="30" y="13"/>
                    <a:pt x="30" y="13"/>
                    <a:pt x="30" y="13"/>
                  </a:cubicBezTo>
                  <a:cubicBezTo>
                    <a:pt x="29" y="14"/>
                    <a:pt x="29" y="14"/>
                    <a:pt x="29" y="14"/>
                  </a:cubicBezTo>
                  <a:cubicBezTo>
                    <a:pt x="29" y="15"/>
                    <a:pt x="29" y="15"/>
                    <a:pt x="29" y="16"/>
                  </a:cubicBezTo>
                  <a:cubicBezTo>
                    <a:pt x="29" y="16"/>
                    <a:pt x="30" y="18"/>
                    <a:pt x="31" y="19"/>
                  </a:cubicBezTo>
                  <a:cubicBezTo>
                    <a:pt x="31" y="20"/>
                    <a:pt x="30" y="21"/>
                    <a:pt x="29" y="21"/>
                  </a:cubicBezTo>
                  <a:cubicBezTo>
                    <a:pt x="28" y="20"/>
                    <a:pt x="26" y="19"/>
                    <a:pt x="26" y="18"/>
                  </a:cubicBezTo>
                  <a:cubicBezTo>
                    <a:pt x="25" y="18"/>
                    <a:pt x="25" y="18"/>
                    <a:pt x="25" y="18"/>
                  </a:cubicBezTo>
                  <a:cubicBezTo>
                    <a:pt x="24" y="18"/>
                    <a:pt x="24" y="18"/>
                    <a:pt x="24" y="18"/>
                  </a:cubicBezTo>
                  <a:cubicBezTo>
                    <a:pt x="23" y="19"/>
                    <a:pt x="23" y="19"/>
                    <a:pt x="23" y="19"/>
                  </a:cubicBezTo>
                  <a:cubicBezTo>
                    <a:pt x="23" y="20"/>
                    <a:pt x="23" y="20"/>
                    <a:pt x="23" y="20"/>
                  </a:cubicBezTo>
                  <a:cubicBezTo>
                    <a:pt x="24" y="21"/>
                    <a:pt x="25" y="22"/>
                    <a:pt x="26" y="24"/>
                  </a:cubicBezTo>
                  <a:cubicBezTo>
                    <a:pt x="25" y="25"/>
                    <a:pt x="25" y="25"/>
                    <a:pt x="24" y="26"/>
                  </a:cubicBezTo>
                  <a:cubicBezTo>
                    <a:pt x="22" y="25"/>
                    <a:pt x="21" y="24"/>
                    <a:pt x="20" y="23"/>
                  </a:cubicBezTo>
                  <a:cubicBezTo>
                    <a:pt x="20" y="23"/>
                    <a:pt x="20" y="23"/>
                    <a:pt x="19" y="23"/>
                  </a:cubicBezTo>
                  <a:cubicBezTo>
                    <a:pt x="19" y="23"/>
                    <a:pt x="19" y="23"/>
                    <a:pt x="18" y="24"/>
                  </a:cubicBezTo>
                  <a:cubicBezTo>
                    <a:pt x="18" y="24"/>
                    <a:pt x="18" y="24"/>
                    <a:pt x="18" y="25"/>
                  </a:cubicBezTo>
                  <a:cubicBezTo>
                    <a:pt x="18" y="25"/>
                    <a:pt x="18" y="25"/>
                    <a:pt x="18" y="26"/>
                  </a:cubicBezTo>
                  <a:cubicBezTo>
                    <a:pt x="19" y="26"/>
                    <a:pt x="20" y="28"/>
                    <a:pt x="21" y="29"/>
                  </a:cubicBezTo>
                  <a:cubicBezTo>
                    <a:pt x="21" y="30"/>
                    <a:pt x="20" y="31"/>
                    <a:pt x="19" y="31"/>
                  </a:cubicBezTo>
                  <a:cubicBezTo>
                    <a:pt x="18" y="30"/>
                    <a:pt x="16" y="29"/>
                    <a:pt x="16" y="29"/>
                  </a:cubicBezTo>
                  <a:cubicBezTo>
                    <a:pt x="15" y="29"/>
                    <a:pt x="15" y="29"/>
                    <a:pt x="15" y="29"/>
                  </a:cubicBezTo>
                  <a:cubicBezTo>
                    <a:pt x="14" y="29"/>
                    <a:pt x="14" y="29"/>
                    <a:pt x="14" y="29"/>
                  </a:cubicBezTo>
                  <a:cubicBezTo>
                    <a:pt x="13" y="30"/>
                    <a:pt x="13" y="30"/>
                    <a:pt x="13" y="31"/>
                  </a:cubicBezTo>
                  <a:cubicBezTo>
                    <a:pt x="13" y="31"/>
                    <a:pt x="14" y="31"/>
                    <a:pt x="14" y="32"/>
                  </a:cubicBezTo>
                  <a:cubicBezTo>
                    <a:pt x="14" y="32"/>
                    <a:pt x="16" y="33"/>
                    <a:pt x="17" y="34"/>
                  </a:cubicBezTo>
                  <a:cubicBezTo>
                    <a:pt x="17" y="35"/>
                    <a:pt x="16" y="36"/>
                    <a:pt x="16" y="37"/>
                  </a:cubicBezTo>
                  <a:cubicBezTo>
                    <a:pt x="14" y="36"/>
                    <a:pt x="12" y="35"/>
                    <a:pt x="11" y="35"/>
                  </a:cubicBezTo>
                  <a:cubicBezTo>
                    <a:pt x="11" y="35"/>
                    <a:pt x="11" y="35"/>
                    <a:pt x="10" y="35"/>
                  </a:cubicBezTo>
                  <a:cubicBezTo>
                    <a:pt x="10" y="35"/>
                    <a:pt x="10" y="35"/>
                    <a:pt x="10" y="36"/>
                  </a:cubicBezTo>
                  <a:cubicBezTo>
                    <a:pt x="9" y="36"/>
                    <a:pt x="9" y="36"/>
                    <a:pt x="9" y="37"/>
                  </a:cubicBezTo>
                  <a:cubicBezTo>
                    <a:pt x="9" y="37"/>
                    <a:pt x="10" y="38"/>
                    <a:pt x="10" y="38"/>
                  </a:cubicBezTo>
                  <a:cubicBezTo>
                    <a:pt x="10" y="38"/>
                    <a:pt x="12" y="39"/>
                    <a:pt x="14" y="40"/>
                  </a:cubicBezTo>
                  <a:cubicBezTo>
                    <a:pt x="13" y="41"/>
                    <a:pt x="13" y="42"/>
                    <a:pt x="12" y="43"/>
                  </a:cubicBezTo>
                  <a:cubicBezTo>
                    <a:pt x="10" y="42"/>
                    <a:pt x="8" y="42"/>
                    <a:pt x="8" y="42"/>
                  </a:cubicBezTo>
                  <a:cubicBezTo>
                    <a:pt x="8" y="41"/>
                    <a:pt x="7" y="41"/>
                    <a:pt x="7" y="42"/>
                  </a:cubicBezTo>
                  <a:cubicBezTo>
                    <a:pt x="7" y="42"/>
                    <a:pt x="6" y="42"/>
                    <a:pt x="6" y="43"/>
                  </a:cubicBezTo>
                  <a:cubicBezTo>
                    <a:pt x="6" y="43"/>
                    <a:pt x="6" y="43"/>
                    <a:pt x="6" y="44"/>
                  </a:cubicBezTo>
                  <a:cubicBezTo>
                    <a:pt x="6" y="44"/>
                    <a:pt x="6" y="44"/>
                    <a:pt x="7" y="44"/>
                  </a:cubicBezTo>
                  <a:cubicBezTo>
                    <a:pt x="7" y="45"/>
                    <a:pt x="9" y="46"/>
                    <a:pt x="11" y="47"/>
                  </a:cubicBezTo>
                  <a:cubicBezTo>
                    <a:pt x="10" y="48"/>
                    <a:pt x="10" y="48"/>
                    <a:pt x="10" y="49"/>
                  </a:cubicBezTo>
                  <a:cubicBezTo>
                    <a:pt x="8" y="49"/>
                    <a:pt x="6" y="49"/>
                    <a:pt x="5" y="48"/>
                  </a:cubicBezTo>
                  <a:cubicBezTo>
                    <a:pt x="5" y="48"/>
                    <a:pt x="4" y="48"/>
                    <a:pt x="4" y="49"/>
                  </a:cubicBezTo>
                  <a:cubicBezTo>
                    <a:pt x="4" y="49"/>
                    <a:pt x="4" y="49"/>
                    <a:pt x="3" y="50"/>
                  </a:cubicBezTo>
                  <a:cubicBezTo>
                    <a:pt x="3" y="50"/>
                    <a:pt x="3" y="50"/>
                    <a:pt x="3" y="51"/>
                  </a:cubicBezTo>
                  <a:cubicBezTo>
                    <a:pt x="4" y="51"/>
                    <a:pt x="4" y="51"/>
                    <a:pt x="4" y="51"/>
                  </a:cubicBezTo>
                  <a:cubicBezTo>
                    <a:pt x="5" y="52"/>
                    <a:pt x="7" y="52"/>
                    <a:pt x="8" y="53"/>
                  </a:cubicBezTo>
                  <a:cubicBezTo>
                    <a:pt x="8" y="54"/>
                    <a:pt x="8" y="55"/>
                    <a:pt x="8" y="56"/>
                  </a:cubicBezTo>
                  <a:cubicBezTo>
                    <a:pt x="6" y="56"/>
                    <a:pt x="4" y="56"/>
                    <a:pt x="3" y="56"/>
                  </a:cubicBezTo>
                  <a:cubicBezTo>
                    <a:pt x="3" y="55"/>
                    <a:pt x="2" y="56"/>
                    <a:pt x="2" y="56"/>
                  </a:cubicBezTo>
                  <a:cubicBezTo>
                    <a:pt x="2" y="56"/>
                    <a:pt x="2" y="56"/>
                    <a:pt x="2" y="57"/>
                  </a:cubicBezTo>
                  <a:cubicBezTo>
                    <a:pt x="1" y="57"/>
                    <a:pt x="2" y="58"/>
                    <a:pt x="2" y="58"/>
                  </a:cubicBezTo>
                  <a:cubicBezTo>
                    <a:pt x="2" y="58"/>
                    <a:pt x="2" y="58"/>
                    <a:pt x="2" y="59"/>
                  </a:cubicBezTo>
                  <a:cubicBezTo>
                    <a:pt x="3" y="59"/>
                    <a:pt x="5" y="59"/>
                    <a:pt x="7" y="60"/>
                  </a:cubicBezTo>
                  <a:cubicBezTo>
                    <a:pt x="7" y="61"/>
                    <a:pt x="6" y="62"/>
                    <a:pt x="6" y="63"/>
                  </a:cubicBezTo>
                  <a:cubicBezTo>
                    <a:pt x="4" y="63"/>
                    <a:pt x="2" y="63"/>
                    <a:pt x="2" y="63"/>
                  </a:cubicBezTo>
                  <a:cubicBezTo>
                    <a:pt x="1" y="63"/>
                    <a:pt x="1" y="63"/>
                    <a:pt x="1" y="63"/>
                  </a:cubicBezTo>
                  <a:cubicBezTo>
                    <a:pt x="1" y="63"/>
                    <a:pt x="0" y="64"/>
                    <a:pt x="0" y="64"/>
                  </a:cubicBezTo>
                  <a:cubicBezTo>
                    <a:pt x="0" y="65"/>
                    <a:pt x="0" y="65"/>
                    <a:pt x="1" y="65"/>
                  </a:cubicBezTo>
                  <a:cubicBezTo>
                    <a:pt x="1" y="66"/>
                    <a:pt x="1" y="66"/>
                    <a:pt x="2" y="66"/>
                  </a:cubicBezTo>
                  <a:cubicBezTo>
                    <a:pt x="2" y="66"/>
                    <a:pt x="4" y="66"/>
                    <a:pt x="6" y="67"/>
                  </a:cubicBezTo>
                  <a:cubicBezTo>
                    <a:pt x="6" y="68"/>
                    <a:pt x="6" y="69"/>
                    <a:pt x="6" y="70"/>
                  </a:cubicBezTo>
                  <a:cubicBezTo>
                    <a:pt x="4" y="70"/>
                    <a:pt x="2" y="70"/>
                    <a:pt x="1" y="70"/>
                  </a:cubicBezTo>
                  <a:cubicBezTo>
                    <a:pt x="1" y="70"/>
                    <a:pt x="1" y="70"/>
                    <a:pt x="0" y="71"/>
                  </a:cubicBezTo>
                  <a:cubicBezTo>
                    <a:pt x="0" y="71"/>
                    <a:pt x="0" y="71"/>
                    <a:pt x="0" y="72"/>
                  </a:cubicBezTo>
                  <a:cubicBezTo>
                    <a:pt x="0" y="72"/>
                    <a:pt x="0" y="72"/>
                    <a:pt x="0" y="73"/>
                  </a:cubicBezTo>
                  <a:cubicBezTo>
                    <a:pt x="1" y="73"/>
                    <a:pt x="1" y="73"/>
                    <a:pt x="1" y="73"/>
                  </a:cubicBezTo>
                  <a:cubicBezTo>
                    <a:pt x="2" y="73"/>
                    <a:pt x="4" y="74"/>
                    <a:pt x="6" y="74"/>
                  </a:cubicBezTo>
                  <a:cubicBezTo>
                    <a:pt x="6" y="75"/>
                    <a:pt x="6" y="76"/>
                    <a:pt x="6" y="77"/>
                  </a:cubicBezTo>
                  <a:cubicBezTo>
                    <a:pt x="4" y="77"/>
                    <a:pt x="2" y="78"/>
                    <a:pt x="2" y="78"/>
                  </a:cubicBezTo>
                  <a:cubicBezTo>
                    <a:pt x="1" y="78"/>
                    <a:pt x="1" y="78"/>
                    <a:pt x="1" y="78"/>
                  </a:cubicBezTo>
                  <a:cubicBezTo>
                    <a:pt x="0" y="79"/>
                    <a:pt x="0" y="79"/>
                    <a:pt x="0" y="79"/>
                  </a:cubicBezTo>
                  <a:cubicBezTo>
                    <a:pt x="0" y="80"/>
                    <a:pt x="1" y="80"/>
                    <a:pt x="1" y="80"/>
                  </a:cubicBezTo>
                  <a:cubicBezTo>
                    <a:pt x="1" y="80"/>
                    <a:pt x="1" y="81"/>
                    <a:pt x="2" y="81"/>
                  </a:cubicBezTo>
                  <a:cubicBezTo>
                    <a:pt x="2" y="81"/>
                    <a:pt x="4" y="81"/>
                    <a:pt x="6" y="81"/>
                  </a:cubicBezTo>
                  <a:cubicBezTo>
                    <a:pt x="6" y="82"/>
                    <a:pt x="7" y="83"/>
                    <a:pt x="7" y="84"/>
                  </a:cubicBezTo>
                  <a:cubicBezTo>
                    <a:pt x="5" y="84"/>
                    <a:pt x="3" y="85"/>
                    <a:pt x="2" y="85"/>
                  </a:cubicBezTo>
                  <a:cubicBezTo>
                    <a:pt x="2" y="85"/>
                    <a:pt x="2" y="85"/>
                    <a:pt x="2" y="86"/>
                  </a:cubicBezTo>
                  <a:cubicBezTo>
                    <a:pt x="2" y="86"/>
                    <a:pt x="1" y="86"/>
                    <a:pt x="2" y="87"/>
                  </a:cubicBezTo>
                  <a:cubicBezTo>
                    <a:pt x="2" y="87"/>
                    <a:pt x="2" y="87"/>
                    <a:pt x="2" y="88"/>
                  </a:cubicBezTo>
                  <a:cubicBezTo>
                    <a:pt x="2" y="88"/>
                    <a:pt x="3" y="88"/>
                    <a:pt x="3" y="88"/>
                  </a:cubicBezTo>
                  <a:cubicBezTo>
                    <a:pt x="4" y="88"/>
                    <a:pt x="6" y="88"/>
                    <a:pt x="8" y="87"/>
                  </a:cubicBezTo>
                  <a:cubicBezTo>
                    <a:pt x="8" y="88"/>
                    <a:pt x="8" y="89"/>
                    <a:pt x="8" y="90"/>
                  </a:cubicBezTo>
                  <a:cubicBezTo>
                    <a:pt x="7" y="91"/>
                    <a:pt x="5" y="92"/>
                    <a:pt x="4" y="92"/>
                  </a:cubicBezTo>
                  <a:cubicBezTo>
                    <a:pt x="4" y="92"/>
                    <a:pt x="4" y="92"/>
                    <a:pt x="3" y="93"/>
                  </a:cubicBezTo>
                  <a:cubicBezTo>
                    <a:pt x="3" y="93"/>
                    <a:pt x="3" y="94"/>
                    <a:pt x="3" y="94"/>
                  </a:cubicBezTo>
                  <a:cubicBezTo>
                    <a:pt x="4" y="94"/>
                    <a:pt x="4" y="95"/>
                    <a:pt x="4" y="95"/>
                  </a:cubicBezTo>
                  <a:cubicBezTo>
                    <a:pt x="4" y="95"/>
                    <a:pt x="5" y="95"/>
                    <a:pt x="5" y="95"/>
                  </a:cubicBezTo>
                  <a:cubicBezTo>
                    <a:pt x="6" y="95"/>
                    <a:pt x="8" y="94"/>
                    <a:pt x="10" y="94"/>
                  </a:cubicBezTo>
                  <a:cubicBezTo>
                    <a:pt x="10" y="95"/>
                    <a:pt x="10" y="96"/>
                    <a:pt x="11" y="97"/>
                  </a:cubicBezTo>
                  <a:cubicBezTo>
                    <a:pt x="9" y="98"/>
                    <a:pt x="7" y="99"/>
                    <a:pt x="7" y="99"/>
                  </a:cubicBezTo>
                  <a:cubicBezTo>
                    <a:pt x="6" y="99"/>
                    <a:pt x="6" y="100"/>
                    <a:pt x="6" y="100"/>
                  </a:cubicBezTo>
                  <a:cubicBezTo>
                    <a:pt x="6" y="100"/>
                    <a:pt x="6" y="101"/>
                    <a:pt x="6" y="101"/>
                  </a:cubicBezTo>
                  <a:cubicBezTo>
                    <a:pt x="6" y="101"/>
                    <a:pt x="7" y="102"/>
                    <a:pt x="7" y="102"/>
                  </a:cubicBezTo>
                  <a:cubicBezTo>
                    <a:pt x="7" y="102"/>
                    <a:pt x="8" y="102"/>
                    <a:pt x="8" y="102"/>
                  </a:cubicBezTo>
                  <a:cubicBezTo>
                    <a:pt x="8" y="102"/>
                    <a:pt x="10" y="101"/>
                    <a:pt x="12" y="100"/>
                  </a:cubicBezTo>
                  <a:cubicBezTo>
                    <a:pt x="13" y="101"/>
                    <a:pt x="13" y="102"/>
                    <a:pt x="14" y="103"/>
                  </a:cubicBezTo>
                  <a:cubicBezTo>
                    <a:pt x="12" y="104"/>
                    <a:pt x="10" y="105"/>
                    <a:pt x="10" y="106"/>
                  </a:cubicBezTo>
                  <a:cubicBezTo>
                    <a:pt x="10" y="106"/>
                    <a:pt x="9" y="106"/>
                    <a:pt x="9" y="107"/>
                  </a:cubicBezTo>
                  <a:cubicBezTo>
                    <a:pt x="9" y="107"/>
                    <a:pt x="9" y="107"/>
                    <a:pt x="10" y="108"/>
                  </a:cubicBezTo>
                  <a:cubicBezTo>
                    <a:pt x="10" y="108"/>
                    <a:pt x="10" y="108"/>
                    <a:pt x="10" y="108"/>
                  </a:cubicBezTo>
                  <a:cubicBezTo>
                    <a:pt x="11" y="108"/>
                    <a:pt x="11" y="108"/>
                    <a:pt x="11" y="108"/>
                  </a:cubicBezTo>
                  <a:cubicBezTo>
                    <a:pt x="12" y="108"/>
                    <a:pt x="14" y="107"/>
                    <a:pt x="16" y="107"/>
                  </a:cubicBezTo>
                  <a:cubicBezTo>
                    <a:pt x="16" y="107"/>
                    <a:pt x="17" y="108"/>
                    <a:pt x="17" y="109"/>
                  </a:cubicBezTo>
                  <a:cubicBezTo>
                    <a:pt x="16" y="110"/>
                    <a:pt x="14" y="112"/>
                    <a:pt x="14" y="112"/>
                  </a:cubicBezTo>
                  <a:cubicBezTo>
                    <a:pt x="14" y="112"/>
                    <a:pt x="13" y="113"/>
                    <a:pt x="13" y="113"/>
                  </a:cubicBezTo>
                  <a:cubicBezTo>
                    <a:pt x="13" y="113"/>
                    <a:pt x="13" y="114"/>
                    <a:pt x="14" y="114"/>
                  </a:cubicBezTo>
                  <a:cubicBezTo>
                    <a:pt x="14" y="114"/>
                    <a:pt x="14" y="115"/>
                    <a:pt x="15" y="115"/>
                  </a:cubicBezTo>
                  <a:cubicBezTo>
                    <a:pt x="15" y="115"/>
                    <a:pt x="15" y="115"/>
                    <a:pt x="16" y="114"/>
                  </a:cubicBezTo>
                  <a:cubicBezTo>
                    <a:pt x="16" y="114"/>
                    <a:pt x="18" y="113"/>
                    <a:pt x="19" y="112"/>
                  </a:cubicBezTo>
                  <a:cubicBezTo>
                    <a:pt x="20" y="113"/>
                    <a:pt x="21" y="114"/>
                    <a:pt x="21" y="115"/>
                  </a:cubicBezTo>
                  <a:cubicBezTo>
                    <a:pt x="20" y="116"/>
                    <a:pt x="19" y="118"/>
                    <a:pt x="18" y="118"/>
                  </a:cubicBezTo>
                  <a:cubicBezTo>
                    <a:pt x="18" y="118"/>
                    <a:pt x="18" y="118"/>
                    <a:pt x="18" y="119"/>
                  </a:cubicBezTo>
                  <a:cubicBezTo>
                    <a:pt x="18" y="119"/>
                    <a:pt x="18" y="120"/>
                    <a:pt x="18" y="120"/>
                  </a:cubicBezTo>
                  <a:cubicBezTo>
                    <a:pt x="19" y="120"/>
                    <a:pt x="19" y="120"/>
                    <a:pt x="19" y="120"/>
                  </a:cubicBezTo>
                  <a:cubicBezTo>
                    <a:pt x="20" y="120"/>
                    <a:pt x="20" y="120"/>
                    <a:pt x="20" y="120"/>
                  </a:cubicBezTo>
                  <a:cubicBezTo>
                    <a:pt x="21" y="120"/>
                    <a:pt x="22" y="119"/>
                    <a:pt x="24" y="117"/>
                  </a:cubicBezTo>
                  <a:cubicBezTo>
                    <a:pt x="25" y="118"/>
                    <a:pt x="25" y="119"/>
                    <a:pt x="26" y="120"/>
                  </a:cubicBezTo>
                  <a:cubicBezTo>
                    <a:pt x="25" y="121"/>
                    <a:pt x="24" y="123"/>
                    <a:pt x="23" y="123"/>
                  </a:cubicBezTo>
                  <a:cubicBezTo>
                    <a:pt x="23" y="123"/>
                    <a:pt x="23" y="124"/>
                    <a:pt x="23" y="124"/>
                  </a:cubicBezTo>
                  <a:cubicBezTo>
                    <a:pt x="23" y="125"/>
                    <a:pt x="23" y="125"/>
                    <a:pt x="24" y="125"/>
                  </a:cubicBezTo>
                  <a:cubicBezTo>
                    <a:pt x="24" y="125"/>
                    <a:pt x="24" y="126"/>
                    <a:pt x="25" y="126"/>
                  </a:cubicBezTo>
                  <a:cubicBezTo>
                    <a:pt x="25" y="126"/>
                    <a:pt x="25" y="126"/>
                    <a:pt x="26" y="125"/>
                  </a:cubicBezTo>
                  <a:cubicBezTo>
                    <a:pt x="26" y="125"/>
                    <a:pt x="28" y="123"/>
                    <a:pt x="29" y="122"/>
                  </a:cubicBezTo>
                  <a:cubicBezTo>
                    <a:pt x="30" y="123"/>
                    <a:pt x="31" y="123"/>
                    <a:pt x="31" y="124"/>
                  </a:cubicBezTo>
                  <a:cubicBezTo>
                    <a:pt x="30" y="126"/>
                    <a:pt x="29" y="128"/>
                    <a:pt x="29" y="128"/>
                  </a:cubicBezTo>
                  <a:cubicBezTo>
                    <a:pt x="29" y="128"/>
                    <a:pt x="29" y="129"/>
                    <a:pt x="29" y="129"/>
                  </a:cubicBezTo>
                  <a:cubicBezTo>
                    <a:pt x="29" y="129"/>
                    <a:pt x="29" y="130"/>
                    <a:pt x="30" y="130"/>
                  </a:cubicBezTo>
                  <a:cubicBezTo>
                    <a:pt x="30" y="130"/>
                    <a:pt x="30" y="130"/>
                    <a:pt x="31" y="130"/>
                  </a:cubicBezTo>
                  <a:cubicBezTo>
                    <a:pt x="31" y="130"/>
                    <a:pt x="31" y="130"/>
                    <a:pt x="32" y="130"/>
                  </a:cubicBezTo>
                  <a:cubicBezTo>
                    <a:pt x="32" y="129"/>
                    <a:pt x="33" y="128"/>
                    <a:pt x="35" y="126"/>
                  </a:cubicBezTo>
                  <a:cubicBezTo>
                    <a:pt x="35" y="127"/>
                    <a:pt x="36" y="127"/>
                    <a:pt x="37" y="128"/>
                  </a:cubicBezTo>
                  <a:cubicBezTo>
                    <a:pt x="36" y="130"/>
                    <a:pt x="35" y="132"/>
                    <a:pt x="35" y="132"/>
                  </a:cubicBezTo>
                  <a:cubicBezTo>
                    <a:pt x="35" y="132"/>
                    <a:pt x="35" y="133"/>
                    <a:pt x="35" y="133"/>
                  </a:cubicBezTo>
                  <a:cubicBezTo>
                    <a:pt x="35" y="134"/>
                    <a:pt x="35" y="134"/>
                    <a:pt x="36" y="134"/>
                  </a:cubicBezTo>
                  <a:cubicBezTo>
                    <a:pt x="36" y="134"/>
                    <a:pt x="37" y="134"/>
                    <a:pt x="37" y="134"/>
                  </a:cubicBezTo>
                  <a:cubicBezTo>
                    <a:pt x="37" y="134"/>
                    <a:pt x="38" y="134"/>
                    <a:pt x="38" y="134"/>
                  </a:cubicBezTo>
                  <a:cubicBezTo>
                    <a:pt x="38" y="133"/>
                    <a:pt x="39" y="132"/>
                    <a:pt x="40" y="130"/>
                  </a:cubicBezTo>
                  <a:cubicBezTo>
                    <a:pt x="41" y="130"/>
                    <a:pt x="42" y="131"/>
                    <a:pt x="43" y="131"/>
                  </a:cubicBezTo>
                  <a:cubicBezTo>
                    <a:pt x="42" y="133"/>
                    <a:pt x="42" y="135"/>
                    <a:pt x="42" y="136"/>
                  </a:cubicBezTo>
                  <a:cubicBezTo>
                    <a:pt x="42" y="136"/>
                    <a:pt x="42" y="136"/>
                    <a:pt x="42" y="137"/>
                  </a:cubicBezTo>
                  <a:cubicBezTo>
                    <a:pt x="42" y="137"/>
                    <a:pt x="42" y="137"/>
                    <a:pt x="43" y="137"/>
                  </a:cubicBezTo>
                  <a:cubicBezTo>
                    <a:pt x="43" y="138"/>
                    <a:pt x="43" y="138"/>
                    <a:pt x="44" y="138"/>
                  </a:cubicBezTo>
                  <a:cubicBezTo>
                    <a:pt x="44" y="137"/>
                    <a:pt x="44" y="137"/>
                    <a:pt x="45" y="137"/>
                  </a:cubicBezTo>
                  <a:cubicBezTo>
                    <a:pt x="45" y="136"/>
                    <a:pt x="46" y="135"/>
                    <a:pt x="47" y="133"/>
                  </a:cubicBezTo>
                  <a:cubicBezTo>
                    <a:pt x="48" y="133"/>
                    <a:pt x="49" y="134"/>
                    <a:pt x="49" y="134"/>
                  </a:cubicBezTo>
                  <a:cubicBezTo>
                    <a:pt x="49" y="136"/>
                    <a:pt x="49" y="138"/>
                    <a:pt x="49" y="138"/>
                  </a:cubicBezTo>
                  <a:cubicBezTo>
                    <a:pt x="48" y="139"/>
                    <a:pt x="49" y="139"/>
                    <a:pt x="49" y="139"/>
                  </a:cubicBezTo>
                  <a:cubicBezTo>
                    <a:pt x="49" y="140"/>
                    <a:pt x="49" y="140"/>
                    <a:pt x="50" y="140"/>
                  </a:cubicBezTo>
                  <a:cubicBezTo>
                    <a:pt x="50" y="140"/>
                    <a:pt x="50" y="140"/>
                    <a:pt x="51" y="140"/>
                  </a:cubicBezTo>
                  <a:cubicBezTo>
                    <a:pt x="51" y="140"/>
                    <a:pt x="51" y="140"/>
                    <a:pt x="51" y="139"/>
                  </a:cubicBezTo>
                  <a:cubicBezTo>
                    <a:pt x="52" y="139"/>
                    <a:pt x="52" y="137"/>
                    <a:pt x="53" y="135"/>
                  </a:cubicBezTo>
                  <a:cubicBezTo>
                    <a:pt x="54" y="136"/>
                    <a:pt x="55" y="136"/>
                    <a:pt x="56" y="136"/>
                  </a:cubicBezTo>
                  <a:cubicBezTo>
                    <a:pt x="56" y="138"/>
                    <a:pt x="56" y="140"/>
                    <a:pt x="56" y="140"/>
                  </a:cubicBezTo>
                  <a:cubicBezTo>
                    <a:pt x="55" y="141"/>
                    <a:pt x="56" y="141"/>
                    <a:pt x="56" y="142"/>
                  </a:cubicBezTo>
                  <a:cubicBezTo>
                    <a:pt x="56" y="142"/>
                    <a:pt x="56" y="142"/>
                    <a:pt x="57" y="142"/>
                  </a:cubicBezTo>
                  <a:cubicBezTo>
                    <a:pt x="57" y="142"/>
                    <a:pt x="58" y="142"/>
                    <a:pt x="58" y="142"/>
                  </a:cubicBezTo>
                  <a:cubicBezTo>
                    <a:pt x="58" y="142"/>
                    <a:pt x="58" y="141"/>
                    <a:pt x="59" y="141"/>
                  </a:cubicBezTo>
                  <a:cubicBezTo>
                    <a:pt x="59" y="141"/>
                    <a:pt x="59" y="139"/>
                    <a:pt x="60" y="137"/>
                  </a:cubicBezTo>
                  <a:cubicBezTo>
                    <a:pt x="61" y="137"/>
                    <a:pt x="62" y="137"/>
                    <a:pt x="63" y="137"/>
                  </a:cubicBezTo>
                  <a:cubicBezTo>
                    <a:pt x="63" y="139"/>
                    <a:pt x="63" y="141"/>
                    <a:pt x="63" y="142"/>
                  </a:cubicBezTo>
                  <a:cubicBezTo>
                    <a:pt x="63" y="142"/>
                    <a:pt x="63" y="143"/>
                    <a:pt x="63" y="143"/>
                  </a:cubicBezTo>
                  <a:cubicBezTo>
                    <a:pt x="63" y="143"/>
                    <a:pt x="64" y="143"/>
                    <a:pt x="64" y="143"/>
                  </a:cubicBezTo>
                  <a:cubicBezTo>
                    <a:pt x="65" y="143"/>
                    <a:pt x="65" y="143"/>
                    <a:pt x="65" y="143"/>
                  </a:cubicBezTo>
                  <a:cubicBezTo>
                    <a:pt x="66" y="143"/>
                    <a:pt x="66" y="142"/>
                    <a:pt x="66" y="142"/>
                  </a:cubicBezTo>
                  <a:cubicBezTo>
                    <a:pt x="66" y="142"/>
                    <a:pt x="66" y="140"/>
                    <a:pt x="67" y="138"/>
                  </a:cubicBezTo>
                  <a:cubicBezTo>
                    <a:pt x="68" y="138"/>
                    <a:pt x="69" y="138"/>
                    <a:pt x="70" y="138"/>
                  </a:cubicBezTo>
                  <a:cubicBezTo>
                    <a:pt x="70" y="140"/>
                    <a:pt x="70" y="142"/>
                    <a:pt x="70" y="142"/>
                  </a:cubicBezTo>
                  <a:cubicBezTo>
                    <a:pt x="70" y="143"/>
                    <a:pt x="70" y="143"/>
                    <a:pt x="71" y="143"/>
                  </a:cubicBezTo>
                  <a:cubicBezTo>
                    <a:pt x="71" y="143"/>
                    <a:pt x="71" y="144"/>
                    <a:pt x="72" y="144"/>
                  </a:cubicBezTo>
                  <a:cubicBezTo>
                    <a:pt x="72" y="144"/>
                    <a:pt x="73" y="143"/>
                    <a:pt x="73" y="143"/>
                  </a:cubicBezTo>
                  <a:cubicBezTo>
                    <a:pt x="73" y="143"/>
                    <a:pt x="73" y="143"/>
                    <a:pt x="73" y="142"/>
                  </a:cubicBezTo>
                  <a:cubicBezTo>
                    <a:pt x="73" y="142"/>
                    <a:pt x="74" y="140"/>
                    <a:pt x="74" y="138"/>
                  </a:cubicBezTo>
                  <a:cubicBezTo>
                    <a:pt x="75" y="138"/>
                    <a:pt x="76" y="138"/>
                    <a:pt x="77" y="138"/>
                  </a:cubicBezTo>
                  <a:cubicBezTo>
                    <a:pt x="77" y="140"/>
                    <a:pt x="77" y="142"/>
                    <a:pt x="78" y="142"/>
                  </a:cubicBezTo>
                  <a:cubicBezTo>
                    <a:pt x="78" y="142"/>
                    <a:pt x="78" y="143"/>
                    <a:pt x="78" y="143"/>
                  </a:cubicBezTo>
                  <a:cubicBezTo>
                    <a:pt x="78" y="143"/>
                    <a:pt x="79" y="143"/>
                    <a:pt x="79" y="143"/>
                  </a:cubicBezTo>
                  <a:cubicBezTo>
                    <a:pt x="80" y="143"/>
                    <a:pt x="80" y="143"/>
                    <a:pt x="80" y="143"/>
                  </a:cubicBezTo>
                  <a:cubicBezTo>
                    <a:pt x="81" y="143"/>
                    <a:pt x="81" y="142"/>
                    <a:pt x="81" y="142"/>
                  </a:cubicBezTo>
                  <a:cubicBezTo>
                    <a:pt x="81" y="141"/>
                    <a:pt x="81" y="139"/>
                    <a:pt x="81" y="137"/>
                  </a:cubicBezTo>
                  <a:cubicBezTo>
                    <a:pt x="82" y="137"/>
                    <a:pt x="83" y="137"/>
                    <a:pt x="83" y="137"/>
                  </a:cubicBezTo>
                  <a:cubicBezTo>
                    <a:pt x="84" y="139"/>
                    <a:pt x="85" y="141"/>
                    <a:pt x="85" y="141"/>
                  </a:cubicBezTo>
                  <a:cubicBezTo>
                    <a:pt x="85" y="141"/>
                    <a:pt x="85" y="142"/>
                    <a:pt x="86" y="142"/>
                  </a:cubicBezTo>
                  <a:cubicBezTo>
                    <a:pt x="86" y="142"/>
                    <a:pt x="86" y="142"/>
                    <a:pt x="87" y="142"/>
                  </a:cubicBezTo>
                  <a:cubicBezTo>
                    <a:pt x="87" y="142"/>
                    <a:pt x="87" y="142"/>
                    <a:pt x="88" y="142"/>
                  </a:cubicBezTo>
                  <a:cubicBezTo>
                    <a:pt x="88" y="141"/>
                    <a:pt x="88" y="141"/>
                    <a:pt x="88" y="140"/>
                  </a:cubicBezTo>
                  <a:cubicBezTo>
                    <a:pt x="88" y="140"/>
                    <a:pt x="88" y="138"/>
                    <a:pt x="87" y="136"/>
                  </a:cubicBezTo>
                  <a:cubicBezTo>
                    <a:pt x="88" y="136"/>
                    <a:pt x="89" y="136"/>
                    <a:pt x="90" y="135"/>
                  </a:cubicBezTo>
                  <a:cubicBezTo>
                    <a:pt x="91" y="137"/>
                    <a:pt x="92" y="139"/>
                    <a:pt x="92" y="139"/>
                  </a:cubicBezTo>
                  <a:cubicBezTo>
                    <a:pt x="92" y="140"/>
                    <a:pt x="93" y="140"/>
                    <a:pt x="93" y="140"/>
                  </a:cubicBezTo>
                  <a:cubicBezTo>
                    <a:pt x="93" y="140"/>
                    <a:pt x="94" y="140"/>
                    <a:pt x="94" y="140"/>
                  </a:cubicBezTo>
                  <a:cubicBezTo>
                    <a:pt x="94" y="140"/>
                    <a:pt x="95" y="140"/>
                    <a:pt x="95" y="139"/>
                  </a:cubicBezTo>
                  <a:cubicBezTo>
                    <a:pt x="95" y="139"/>
                    <a:pt x="95" y="139"/>
                    <a:pt x="95" y="138"/>
                  </a:cubicBezTo>
                  <a:cubicBezTo>
                    <a:pt x="95" y="138"/>
                    <a:pt x="94" y="136"/>
                    <a:pt x="94" y="134"/>
                  </a:cubicBezTo>
                  <a:cubicBezTo>
                    <a:pt x="95" y="134"/>
                    <a:pt x="96" y="133"/>
                    <a:pt x="97" y="133"/>
                  </a:cubicBezTo>
                  <a:cubicBezTo>
                    <a:pt x="98" y="135"/>
                    <a:pt x="99" y="136"/>
                    <a:pt x="99" y="137"/>
                  </a:cubicBezTo>
                  <a:cubicBezTo>
                    <a:pt x="99" y="137"/>
                    <a:pt x="100" y="137"/>
                    <a:pt x="100" y="138"/>
                  </a:cubicBezTo>
                  <a:cubicBezTo>
                    <a:pt x="100" y="138"/>
                    <a:pt x="101" y="138"/>
                    <a:pt x="101" y="137"/>
                  </a:cubicBezTo>
                  <a:cubicBezTo>
                    <a:pt x="101" y="137"/>
                    <a:pt x="102" y="137"/>
                    <a:pt x="102" y="137"/>
                  </a:cubicBezTo>
                  <a:cubicBezTo>
                    <a:pt x="102" y="136"/>
                    <a:pt x="102" y="136"/>
                    <a:pt x="102" y="136"/>
                  </a:cubicBezTo>
                  <a:cubicBezTo>
                    <a:pt x="102" y="135"/>
                    <a:pt x="101" y="133"/>
                    <a:pt x="100" y="131"/>
                  </a:cubicBezTo>
                  <a:cubicBezTo>
                    <a:pt x="101" y="131"/>
                    <a:pt x="102" y="130"/>
                    <a:pt x="103" y="130"/>
                  </a:cubicBezTo>
                  <a:cubicBezTo>
                    <a:pt x="104" y="132"/>
                    <a:pt x="105" y="133"/>
                    <a:pt x="106" y="134"/>
                  </a:cubicBezTo>
                  <a:cubicBezTo>
                    <a:pt x="106" y="134"/>
                    <a:pt x="106" y="134"/>
                    <a:pt x="107" y="134"/>
                  </a:cubicBezTo>
                  <a:cubicBezTo>
                    <a:pt x="107" y="134"/>
                    <a:pt x="107" y="134"/>
                    <a:pt x="108" y="134"/>
                  </a:cubicBezTo>
                  <a:cubicBezTo>
                    <a:pt x="108" y="134"/>
                    <a:pt x="108" y="134"/>
                    <a:pt x="108" y="133"/>
                  </a:cubicBezTo>
                  <a:cubicBezTo>
                    <a:pt x="108" y="133"/>
                    <a:pt x="108" y="132"/>
                    <a:pt x="108" y="132"/>
                  </a:cubicBezTo>
                  <a:cubicBezTo>
                    <a:pt x="108" y="132"/>
                    <a:pt x="107" y="130"/>
                    <a:pt x="106" y="128"/>
                  </a:cubicBezTo>
                  <a:cubicBezTo>
                    <a:pt x="107" y="127"/>
                    <a:pt x="108" y="127"/>
                    <a:pt x="109" y="126"/>
                  </a:cubicBezTo>
                  <a:cubicBezTo>
                    <a:pt x="110" y="128"/>
                    <a:pt x="112" y="129"/>
                    <a:pt x="112" y="130"/>
                  </a:cubicBezTo>
                  <a:cubicBezTo>
                    <a:pt x="112" y="130"/>
                    <a:pt x="113" y="130"/>
                    <a:pt x="113" y="130"/>
                  </a:cubicBezTo>
                  <a:cubicBezTo>
                    <a:pt x="113" y="130"/>
                    <a:pt x="114" y="130"/>
                    <a:pt x="114" y="130"/>
                  </a:cubicBezTo>
                  <a:cubicBezTo>
                    <a:pt x="114" y="130"/>
                    <a:pt x="114" y="129"/>
                    <a:pt x="115" y="129"/>
                  </a:cubicBezTo>
                  <a:cubicBezTo>
                    <a:pt x="115" y="129"/>
                    <a:pt x="115" y="128"/>
                    <a:pt x="114" y="128"/>
                  </a:cubicBezTo>
                  <a:cubicBezTo>
                    <a:pt x="114" y="128"/>
                    <a:pt x="113" y="126"/>
                    <a:pt x="112" y="124"/>
                  </a:cubicBezTo>
                  <a:cubicBezTo>
                    <a:pt x="113" y="123"/>
                    <a:pt x="114" y="123"/>
                    <a:pt x="114" y="122"/>
                  </a:cubicBezTo>
                  <a:cubicBezTo>
                    <a:pt x="116" y="123"/>
                    <a:pt x="117" y="125"/>
                    <a:pt x="118" y="125"/>
                  </a:cubicBezTo>
                  <a:cubicBezTo>
                    <a:pt x="118" y="126"/>
                    <a:pt x="118" y="126"/>
                    <a:pt x="119" y="126"/>
                  </a:cubicBezTo>
                  <a:cubicBezTo>
                    <a:pt x="119" y="126"/>
                    <a:pt x="120" y="125"/>
                    <a:pt x="120" y="125"/>
                  </a:cubicBezTo>
                  <a:cubicBezTo>
                    <a:pt x="120" y="125"/>
                    <a:pt x="120" y="125"/>
                    <a:pt x="120" y="124"/>
                  </a:cubicBezTo>
                  <a:cubicBezTo>
                    <a:pt x="120" y="124"/>
                    <a:pt x="120" y="123"/>
                    <a:pt x="120" y="123"/>
                  </a:cubicBezTo>
                  <a:cubicBezTo>
                    <a:pt x="120" y="123"/>
                    <a:pt x="118" y="121"/>
                    <a:pt x="117" y="120"/>
                  </a:cubicBezTo>
                  <a:cubicBezTo>
                    <a:pt x="118" y="119"/>
                    <a:pt x="119" y="118"/>
                    <a:pt x="120" y="117"/>
                  </a:cubicBezTo>
                  <a:cubicBezTo>
                    <a:pt x="121" y="119"/>
                    <a:pt x="123" y="120"/>
                    <a:pt x="123" y="120"/>
                  </a:cubicBezTo>
                  <a:cubicBezTo>
                    <a:pt x="123" y="120"/>
                    <a:pt x="124" y="120"/>
                    <a:pt x="124" y="120"/>
                  </a:cubicBezTo>
                  <a:cubicBezTo>
                    <a:pt x="125" y="120"/>
                    <a:pt x="125" y="120"/>
                    <a:pt x="125" y="120"/>
                  </a:cubicBezTo>
                  <a:cubicBezTo>
                    <a:pt x="125" y="120"/>
                    <a:pt x="125" y="119"/>
                    <a:pt x="125" y="119"/>
                  </a:cubicBezTo>
                  <a:cubicBezTo>
                    <a:pt x="126" y="118"/>
                    <a:pt x="125" y="118"/>
                    <a:pt x="125" y="118"/>
                  </a:cubicBezTo>
                  <a:cubicBezTo>
                    <a:pt x="125" y="118"/>
                    <a:pt x="123" y="116"/>
                    <a:pt x="122" y="115"/>
                  </a:cubicBezTo>
                  <a:cubicBezTo>
                    <a:pt x="123" y="114"/>
                    <a:pt x="123" y="113"/>
                    <a:pt x="124" y="112"/>
                  </a:cubicBezTo>
                  <a:cubicBezTo>
                    <a:pt x="126" y="113"/>
                    <a:pt x="128" y="114"/>
                    <a:pt x="128" y="114"/>
                  </a:cubicBezTo>
                  <a:cubicBezTo>
                    <a:pt x="128" y="115"/>
                    <a:pt x="129" y="115"/>
                    <a:pt x="129" y="115"/>
                  </a:cubicBezTo>
                  <a:cubicBezTo>
                    <a:pt x="129" y="115"/>
                    <a:pt x="130" y="114"/>
                    <a:pt x="130" y="114"/>
                  </a:cubicBezTo>
                  <a:cubicBezTo>
                    <a:pt x="130" y="114"/>
                    <a:pt x="130" y="113"/>
                    <a:pt x="130" y="113"/>
                  </a:cubicBezTo>
                  <a:cubicBezTo>
                    <a:pt x="130" y="113"/>
                    <a:pt x="130" y="112"/>
                    <a:pt x="130" y="112"/>
                  </a:cubicBezTo>
                  <a:cubicBezTo>
                    <a:pt x="129" y="112"/>
                    <a:pt x="128" y="110"/>
                    <a:pt x="126" y="109"/>
                  </a:cubicBezTo>
                  <a:cubicBezTo>
                    <a:pt x="127" y="108"/>
                    <a:pt x="127" y="107"/>
                    <a:pt x="128" y="107"/>
                  </a:cubicBezTo>
                  <a:cubicBezTo>
                    <a:pt x="130" y="107"/>
                    <a:pt x="132" y="108"/>
                    <a:pt x="132" y="108"/>
                  </a:cubicBezTo>
                  <a:cubicBezTo>
                    <a:pt x="132" y="108"/>
                    <a:pt x="133" y="108"/>
                    <a:pt x="133" y="108"/>
                  </a:cubicBezTo>
                  <a:cubicBezTo>
                    <a:pt x="133" y="108"/>
                    <a:pt x="134" y="108"/>
                    <a:pt x="134" y="108"/>
                  </a:cubicBezTo>
                  <a:cubicBezTo>
                    <a:pt x="134" y="107"/>
                    <a:pt x="134" y="107"/>
                    <a:pt x="134" y="107"/>
                  </a:cubicBezTo>
                  <a:cubicBezTo>
                    <a:pt x="134" y="106"/>
                    <a:pt x="134" y="106"/>
                    <a:pt x="134" y="106"/>
                  </a:cubicBezTo>
                  <a:cubicBezTo>
                    <a:pt x="133" y="105"/>
                    <a:pt x="132" y="104"/>
                    <a:pt x="130" y="103"/>
                  </a:cubicBezTo>
                  <a:cubicBezTo>
                    <a:pt x="130" y="102"/>
                    <a:pt x="131" y="101"/>
                    <a:pt x="131" y="100"/>
                  </a:cubicBezTo>
                  <a:cubicBezTo>
                    <a:pt x="133" y="101"/>
                    <a:pt x="135" y="102"/>
                    <a:pt x="136" y="102"/>
                  </a:cubicBezTo>
                  <a:cubicBezTo>
                    <a:pt x="136" y="102"/>
                    <a:pt x="136" y="102"/>
                    <a:pt x="137" y="102"/>
                  </a:cubicBezTo>
                  <a:cubicBezTo>
                    <a:pt x="137" y="102"/>
                    <a:pt x="137" y="101"/>
                    <a:pt x="137" y="101"/>
                  </a:cubicBezTo>
                  <a:cubicBezTo>
                    <a:pt x="137" y="101"/>
                    <a:pt x="137" y="100"/>
                    <a:pt x="137" y="100"/>
                  </a:cubicBezTo>
                  <a:cubicBezTo>
                    <a:pt x="137" y="100"/>
                    <a:pt x="137" y="99"/>
                    <a:pt x="137" y="99"/>
                  </a:cubicBezTo>
                  <a:cubicBezTo>
                    <a:pt x="136" y="99"/>
                    <a:pt x="134" y="98"/>
                    <a:pt x="133" y="97"/>
                  </a:cubicBezTo>
                  <a:cubicBezTo>
                    <a:pt x="133" y="96"/>
                    <a:pt x="134" y="95"/>
                    <a:pt x="134" y="94"/>
                  </a:cubicBezTo>
                  <a:cubicBezTo>
                    <a:pt x="136" y="94"/>
                    <a:pt x="138" y="95"/>
                    <a:pt x="138" y="95"/>
                  </a:cubicBezTo>
                  <a:cubicBezTo>
                    <a:pt x="139" y="95"/>
                    <a:pt x="139" y="95"/>
                    <a:pt x="139" y="95"/>
                  </a:cubicBezTo>
                  <a:cubicBezTo>
                    <a:pt x="140" y="95"/>
                    <a:pt x="140" y="94"/>
                    <a:pt x="140" y="94"/>
                  </a:cubicBezTo>
                  <a:cubicBezTo>
                    <a:pt x="140" y="94"/>
                    <a:pt x="140" y="93"/>
                    <a:pt x="140" y="93"/>
                  </a:cubicBezTo>
                  <a:cubicBezTo>
                    <a:pt x="140" y="92"/>
                    <a:pt x="140" y="92"/>
                    <a:pt x="139" y="92"/>
                  </a:cubicBezTo>
                  <a:cubicBezTo>
                    <a:pt x="139" y="92"/>
                    <a:pt x="137" y="91"/>
                    <a:pt x="135" y="90"/>
                  </a:cubicBezTo>
                  <a:cubicBezTo>
                    <a:pt x="135" y="89"/>
                    <a:pt x="136" y="88"/>
                    <a:pt x="136" y="87"/>
                  </a:cubicBezTo>
                  <a:cubicBezTo>
                    <a:pt x="138" y="88"/>
                    <a:pt x="140" y="88"/>
                    <a:pt x="140" y="88"/>
                  </a:cubicBezTo>
                  <a:cubicBezTo>
                    <a:pt x="141" y="88"/>
                    <a:pt x="141" y="88"/>
                    <a:pt x="141" y="88"/>
                  </a:cubicBezTo>
                  <a:cubicBezTo>
                    <a:pt x="142" y="87"/>
                    <a:pt x="142" y="87"/>
                    <a:pt x="142" y="87"/>
                  </a:cubicBezTo>
                  <a:cubicBezTo>
                    <a:pt x="142" y="86"/>
                    <a:pt x="142" y="86"/>
                    <a:pt x="142" y="86"/>
                  </a:cubicBezTo>
                  <a:cubicBezTo>
                    <a:pt x="142" y="85"/>
                    <a:pt x="141" y="85"/>
                    <a:pt x="141" y="85"/>
                  </a:cubicBezTo>
                  <a:cubicBezTo>
                    <a:pt x="141" y="85"/>
                    <a:pt x="139" y="84"/>
                    <a:pt x="137" y="84"/>
                  </a:cubicBezTo>
                  <a:cubicBezTo>
                    <a:pt x="137" y="83"/>
                    <a:pt x="137" y="82"/>
                    <a:pt x="137" y="81"/>
                  </a:cubicBezTo>
                  <a:cubicBezTo>
                    <a:pt x="139" y="81"/>
                    <a:pt x="141" y="81"/>
                    <a:pt x="142" y="81"/>
                  </a:cubicBezTo>
                  <a:cubicBezTo>
                    <a:pt x="142" y="81"/>
                    <a:pt x="142" y="80"/>
                    <a:pt x="143" y="80"/>
                  </a:cubicBezTo>
                  <a:cubicBezTo>
                    <a:pt x="143" y="80"/>
                    <a:pt x="143" y="80"/>
                    <a:pt x="143" y="79"/>
                  </a:cubicBezTo>
                  <a:cubicBezTo>
                    <a:pt x="143" y="79"/>
                    <a:pt x="143" y="79"/>
                    <a:pt x="143" y="78"/>
                  </a:cubicBezTo>
                  <a:cubicBezTo>
                    <a:pt x="143" y="78"/>
                    <a:pt x="142" y="78"/>
                    <a:pt x="142" y="78"/>
                  </a:cubicBezTo>
                  <a:cubicBezTo>
                    <a:pt x="142" y="78"/>
                    <a:pt x="140" y="77"/>
                    <a:pt x="138" y="77"/>
                  </a:cubicBezTo>
                  <a:cubicBezTo>
                    <a:pt x="138" y="76"/>
                    <a:pt x="138" y="75"/>
                    <a:pt x="138" y="74"/>
                  </a:cubicBezTo>
                  <a:cubicBezTo>
                    <a:pt x="140" y="74"/>
                    <a:pt x="142" y="73"/>
                    <a:pt x="142" y="73"/>
                  </a:cubicBezTo>
                  <a:close/>
                  <a:moveTo>
                    <a:pt x="72" y="129"/>
                  </a:moveTo>
                  <a:cubicBezTo>
                    <a:pt x="40" y="129"/>
                    <a:pt x="15" y="103"/>
                    <a:pt x="15" y="72"/>
                  </a:cubicBezTo>
                  <a:cubicBezTo>
                    <a:pt x="15" y="40"/>
                    <a:pt x="40" y="14"/>
                    <a:pt x="72" y="14"/>
                  </a:cubicBezTo>
                  <a:cubicBezTo>
                    <a:pt x="103" y="14"/>
                    <a:pt x="129" y="40"/>
                    <a:pt x="129" y="72"/>
                  </a:cubicBezTo>
                  <a:cubicBezTo>
                    <a:pt x="129" y="103"/>
                    <a:pt x="103" y="129"/>
                    <a:pt x="72" y="12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39" name="Group 540">
              <a:extLst>
                <a:ext uri="{FF2B5EF4-FFF2-40B4-BE49-F238E27FC236}">
                  <a16:creationId xmlns:a16="http://schemas.microsoft.com/office/drawing/2014/main" id="{B79E3C15-AD34-43FB-9B74-C4BCCF47922A}"/>
                </a:ext>
              </a:extLst>
            </p:cNvPr>
            <p:cNvGrpSpPr>
              <a:grpSpLocks noChangeAspect="1"/>
            </p:cNvGrpSpPr>
            <p:nvPr/>
          </p:nvGrpSpPr>
          <p:grpSpPr bwMode="auto">
            <a:xfrm>
              <a:off x="1474401" y="5136128"/>
              <a:ext cx="169581" cy="169581"/>
              <a:chOff x="5047" y="2094"/>
              <a:chExt cx="184" cy="184"/>
            </a:xfrm>
            <a:solidFill>
              <a:srgbClr val="43B02A"/>
            </a:solidFill>
          </p:grpSpPr>
          <p:sp>
            <p:nvSpPr>
              <p:cNvPr id="140" name="Freeform 541">
                <a:extLst>
                  <a:ext uri="{FF2B5EF4-FFF2-40B4-BE49-F238E27FC236}">
                    <a16:creationId xmlns:a16="http://schemas.microsoft.com/office/drawing/2014/main" id="{BE31080B-BCEE-43DB-9B4A-839078E99403}"/>
                  </a:ext>
                </a:extLst>
              </p:cNvPr>
              <p:cNvSpPr>
                <a:spLocks/>
              </p:cNvSpPr>
              <p:nvPr/>
            </p:nvSpPr>
            <p:spPr bwMode="auto">
              <a:xfrm>
                <a:off x="5047" y="2094"/>
                <a:ext cx="184" cy="184"/>
              </a:xfrm>
              <a:custGeom>
                <a:avLst/>
                <a:gdLst>
                  <a:gd name="T0" fmla="*/ 267 w 277"/>
                  <a:gd name="T1" fmla="*/ 139 h 277"/>
                  <a:gd name="T2" fmla="*/ 256 w 277"/>
                  <a:gd name="T3" fmla="*/ 149 h 277"/>
                  <a:gd name="T4" fmla="*/ 256 w 277"/>
                  <a:gd name="T5" fmla="*/ 256 h 277"/>
                  <a:gd name="T6" fmla="*/ 21 w 277"/>
                  <a:gd name="T7" fmla="*/ 256 h 277"/>
                  <a:gd name="T8" fmla="*/ 21 w 277"/>
                  <a:gd name="T9" fmla="*/ 21 h 277"/>
                  <a:gd name="T10" fmla="*/ 128 w 277"/>
                  <a:gd name="T11" fmla="*/ 21 h 277"/>
                  <a:gd name="T12" fmla="*/ 139 w 277"/>
                  <a:gd name="T13" fmla="*/ 11 h 277"/>
                  <a:gd name="T14" fmla="*/ 128 w 277"/>
                  <a:gd name="T15" fmla="*/ 0 h 277"/>
                  <a:gd name="T16" fmla="*/ 11 w 277"/>
                  <a:gd name="T17" fmla="*/ 0 h 277"/>
                  <a:gd name="T18" fmla="*/ 0 w 277"/>
                  <a:gd name="T19" fmla="*/ 11 h 277"/>
                  <a:gd name="T20" fmla="*/ 0 w 277"/>
                  <a:gd name="T21" fmla="*/ 267 h 277"/>
                  <a:gd name="T22" fmla="*/ 11 w 277"/>
                  <a:gd name="T23" fmla="*/ 277 h 277"/>
                  <a:gd name="T24" fmla="*/ 267 w 277"/>
                  <a:gd name="T25" fmla="*/ 277 h 277"/>
                  <a:gd name="T26" fmla="*/ 277 w 277"/>
                  <a:gd name="T27" fmla="*/ 267 h 277"/>
                  <a:gd name="T28" fmla="*/ 277 w 277"/>
                  <a:gd name="T29" fmla="*/ 149 h 277"/>
                  <a:gd name="T30" fmla="*/ 267 w 277"/>
                  <a:gd name="T31" fmla="*/ 13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77">
                    <a:moveTo>
                      <a:pt x="267" y="139"/>
                    </a:moveTo>
                    <a:cubicBezTo>
                      <a:pt x="261" y="139"/>
                      <a:pt x="256" y="143"/>
                      <a:pt x="256" y="149"/>
                    </a:cubicBezTo>
                    <a:cubicBezTo>
                      <a:pt x="256" y="256"/>
                      <a:pt x="256" y="256"/>
                      <a:pt x="256" y="256"/>
                    </a:cubicBezTo>
                    <a:cubicBezTo>
                      <a:pt x="21" y="256"/>
                      <a:pt x="21" y="256"/>
                      <a:pt x="21" y="256"/>
                    </a:cubicBezTo>
                    <a:cubicBezTo>
                      <a:pt x="21" y="21"/>
                      <a:pt x="21" y="21"/>
                      <a:pt x="21" y="21"/>
                    </a:cubicBezTo>
                    <a:cubicBezTo>
                      <a:pt x="128" y="21"/>
                      <a:pt x="128" y="21"/>
                      <a:pt x="128" y="21"/>
                    </a:cubicBezTo>
                    <a:cubicBezTo>
                      <a:pt x="134" y="21"/>
                      <a:pt x="139" y="17"/>
                      <a:pt x="139" y="11"/>
                    </a:cubicBezTo>
                    <a:cubicBezTo>
                      <a:pt x="139" y="5"/>
                      <a:pt x="134" y="0"/>
                      <a:pt x="128" y="0"/>
                    </a:cubicBez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49"/>
                      <a:pt x="277" y="149"/>
                      <a:pt x="277" y="149"/>
                    </a:cubicBezTo>
                    <a:cubicBezTo>
                      <a:pt x="277" y="143"/>
                      <a:pt x="273" y="139"/>
                      <a:pt x="267" y="13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41" name="Freeform 542">
                <a:extLst>
                  <a:ext uri="{FF2B5EF4-FFF2-40B4-BE49-F238E27FC236}">
                    <a16:creationId xmlns:a16="http://schemas.microsoft.com/office/drawing/2014/main" id="{6C057BC3-E0F5-448B-94D4-7DBDBAB1EFAB}"/>
                  </a:ext>
                </a:extLst>
              </p:cNvPr>
              <p:cNvSpPr>
                <a:spLocks/>
              </p:cNvSpPr>
              <p:nvPr/>
            </p:nvSpPr>
            <p:spPr bwMode="auto">
              <a:xfrm>
                <a:off x="5131" y="2094"/>
                <a:ext cx="100" cy="99"/>
              </a:xfrm>
              <a:custGeom>
                <a:avLst/>
                <a:gdLst>
                  <a:gd name="T0" fmla="*/ 150 w 150"/>
                  <a:gd name="T1" fmla="*/ 7 h 149"/>
                  <a:gd name="T2" fmla="*/ 144 w 150"/>
                  <a:gd name="T3" fmla="*/ 1 h 149"/>
                  <a:gd name="T4" fmla="*/ 140 w 150"/>
                  <a:gd name="T5" fmla="*/ 0 h 149"/>
                  <a:gd name="T6" fmla="*/ 54 w 150"/>
                  <a:gd name="T7" fmla="*/ 0 h 149"/>
                  <a:gd name="T8" fmla="*/ 44 w 150"/>
                  <a:gd name="T9" fmla="*/ 11 h 149"/>
                  <a:gd name="T10" fmla="*/ 54 w 150"/>
                  <a:gd name="T11" fmla="*/ 21 h 149"/>
                  <a:gd name="T12" fmla="*/ 114 w 150"/>
                  <a:gd name="T13" fmla="*/ 21 h 149"/>
                  <a:gd name="T14" fmla="*/ 4 w 150"/>
                  <a:gd name="T15" fmla="*/ 131 h 149"/>
                  <a:gd name="T16" fmla="*/ 4 w 150"/>
                  <a:gd name="T17" fmla="*/ 146 h 149"/>
                  <a:gd name="T18" fmla="*/ 12 w 150"/>
                  <a:gd name="T19" fmla="*/ 149 h 149"/>
                  <a:gd name="T20" fmla="*/ 19 w 150"/>
                  <a:gd name="T21" fmla="*/ 146 h 149"/>
                  <a:gd name="T22" fmla="*/ 129 w 150"/>
                  <a:gd name="T23" fmla="*/ 36 h 149"/>
                  <a:gd name="T24" fmla="*/ 129 w 150"/>
                  <a:gd name="T25" fmla="*/ 96 h 149"/>
                  <a:gd name="T26" fmla="*/ 140 w 150"/>
                  <a:gd name="T27" fmla="*/ 107 h 149"/>
                  <a:gd name="T28" fmla="*/ 150 w 150"/>
                  <a:gd name="T29" fmla="*/ 96 h 149"/>
                  <a:gd name="T30" fmla="*/ 150 w 150"/>
                  <a:gd name="T31" fmla="*/ 11 h 149"/>
                  <a:gd name="T32" fmla="*/ 150 w 150"/>
                  <a:gd name="T33" fmla="*/ 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 h="149">
                    <a:moveTo>
                      <a:pt x="150" y="7"/>
                    </a:moveTo>
                    <a:cubicBezTo>
                      <a:pt x="148" y="4"/>
                      <a:pt x="146" y="2"/>
                      <a:pt x="144" y="1"/>
                    </a:cubicBezTo>
                    <a:cubicBezTo>
                      <a:pt x="142" y="0"/>
                      <a:pt x="141" y="0"/>
                      <a:pt x="140" y="0"/>
                    </a:cubicBezTo>
                    <a:cubicBezTo>
                      <a:pt x="54" y="0"/>
                      <a:pt x="54" y="0"/>
                      <a:pt x="54" y="0"/>
                    </a:cubicBezTo>
                    <a:cubicBezTo>
                      <a:pt x="48" y="0"/>
                      <a:pt x="44" y="5"/>
                      <a:pt x="44" y="11"/>
                    </a:cubicBezTo>
                    <a:cubicBezTo>
                      <a:pt x="44" y="17"/>
                      <a:pt x="48" y="21"/>
                      <a:pt x="54" y="21"/>
                    </a:cubicBezTo>
                    <a:cubicBezTo>
                      <a:pt x="114" y="21"/>
                      <a:pt x="114" y="21"/>
                      <a:pt x="114" y="21"/>
                    </a:cubicBezTo>
                    <a:cubicBezTo>
                      <a:pt x="4" y="131"/>
                      <a:pt x="4" y="131"/>
                      <a:pt x="4" y="131"/>
                    </a:cubicBezTo>
                    <a:cubicBezTo>
                      <a:pt x="0" y="135"/>
                      <a:pt x="0" y="142"/>
                      <a:pt x="4" y="146"/>
                    </a:cubicBezTo>
                    <a:cubicBezTo>
                      <a:pt x="6" y="148"/>
                      <a:pt x="9" y="149"/>
                      <a:pt x="12" y="149"/>
                    </a:cubicBezTo>
                    <a:cubicBezTo>
                      <a:pt x="14" y="149"/>
                      <a:pt x="17" y="148"/>
                      <a:pt x="19" y="146"/>
                    </a:cubicBezTo>
                    <a:cubicBezTo>
                      <a:pt x="129" y="36"/>
                      <a:pt x="129" y="36"/>
                      <a:pt x="129" y="36"/>
                    </a:cubicBezTo>
                    <a:cubicBezTo>
                      <a:pt x="129" y="96"/>
                      <a:pt x="129" y="96"/>
                      <a:pt x="129" y="96"/>
                    </a:cubicBezTo>
                    <a:cubicBezTo>
                      <a:pt x="129" y="102"/>
                      <a:pt x="134" y="107"/>
                      <a:pt x="140" y="107"/>
                    </a:cubicBezTo>
                    <a:cubicBezTo>
                      <a:pt x="146" y="107"/>
                      <a:pt x="150" y="102"/>
                      <a:pt x="150" y="96"/>
                    </a:cubicBezTo>
                    <a:cubicBezTo>
                      <a:pt x="150" y="11"/>
                      <a:pt x="150" y="11"/>
                      <a:pt x="150" y="11"/>
                    </a:cubicBezTo>
                    <a:cubicBezTo>
                      <a:pt x="150" y="9"/>
                      <a:pt x="150" y="8"/>
                      <a:pt x="150" y="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38" name="Group 37"/>
          <p:cNvGrpSpPr/>
          <p:nvPr/>
        </p:nvGrpSpPr>
        <p:grpSpPr>
          <a:xfrm>
            <a:off x="476451" y="5341847"/>
            <a:ext cx="872480" cy="875100"/>
            <a:chOff x="507891" y="5074850"/>
            <a:chExt cx="872480" cy="875100"/>
          </a:xfrm>
        </p:grpSpPr>
        <p:sp>
          <p:nvSpPr>
            <p:cNvPr id="8" name="Freeform 8">
              <a:extLst>
                <a:ext uri="{FF2B5EF4-FFF2-40B4-BE49-F238E27FC236}">
                  <a16:creationId xmlns:a16="http://schemas.microsoft.com/office/drawing/2014/main" id="{58620A53-B121-4A3D-98EB-571BC72E553D}"/>
                </a:ext>
              </a:extLst>
            </p:cNvPr>
            <p:cNvSpPr>
              <a:spLocks noEditPoints="1"/>
            </p:cNvSpPr>
            <p:nvPr/>
          </p:nvSpPr>
          <p:spPr bwMode="auto">
            <a:xfrm>
              <a:off x="507891" y="5074850"/>
              <a:ext cx="872480" cy="875100"/>
            </a:xfrm>
            <a:custGeom>
              <a:avLst/>
              <a:gdLst>
                <a:gd name="T0" fmla="*/ 287 w 299"/>
                <a:gd name="T1" fmla="*/ 118 h 300"/>
                <a:gd name="T2" fmla="*/ 242 w 299"/>
                <a:gd name="T3" fmla="*/ 95 h 300"/>
                <a:gd name="T4" fmla="*/ 270 w 299"/>
                <a:gd name="T5" fmla="*/ 64 h 300"/>
                <a:gd name="T6" fmla="*/ 261 w 299"/>
                <a:gd name="T7" fmla="*/ 52 h 300"/>
                <a:gd name="T8" fmla="*/ 225 w 299"/>
                <a:gd name="T9" fmla="*/ 72 h 300"/>
                <a:gd name="T10" fmla="*/ 212 w 299"/>
                <a:gd name="T11" fmla="*/ 23 h 300"/>
                <a:gd name="T12" fmla="*/ 205 w 299"/>
                <a:gd name="T13" fmla="*/ 10 h 300"/>
                <a:gd name="T14" fmla="*/ 191 w 299"/>
                <a:gd name="T15" fmla="*/ 15 h 300"/>
                <a:gd name="T16" fmla="*/ 148 w 299"/>
                <a:gd name="T17" fmla="*/ 39 h 300"/>
                <a:gd name="T18" fmla="*/ 136 w 299"/>
                <a:gd name="T19" fmla="*/ 2 h 300"/>
                <a:gd name="T20" fmla="*/ 120 w 299"/>
                <a:gd name="T21" fmla="*/ 4 h 300"/>
                <a:gd name="T22" fmla="*/ 119 w 299"/>
                <a:gd name="T23" fmla="*/ 43 h 300"/>
                <a:gd name="T24" fmla="*/ 71 w 299"/>
                <a:gd name="T25" fmla="*/ 32 h 300"/>
                <a:gd name="T26" fmla="*/ 56 w 299"/>
                <a:gd name="T27" fmla="*/ 31 h 300"/>
                <a:gd name="T28" fmla="*/ 53 w 299"/>
                <a:gd name="T29" fmla="*/ 46 h 300"/>
                <a:gd name="T30" fmla="*/ 55 w 299"/>
                <a:gd name="T31" fmla="*/ 96 h 300"/>
                <a:gd name="T32" fmla="*/ 15 w 299"/>
                <a:gd name="T33" fmla="*/ 88 h 300"/>
                <a:gd name="T34" fmla="*/ 9 w 299"/>
                <a:gd name="T35" fmla="*/ 102 h 300"/>
                <a:gd name="T36" fmla="*/ 44 w 299"/>
                <a:gd name="T37" fmla="*/ 124 h 300"/>
                <a:gd name="T38" fmla="*/ 8 w 299"/>
                <a:gd name="T39" fmla="*/ 159 h 300"/>
                <a:gd name="T40" fmla="*/ 0 w 299"/>
                <a:gd name="T41" fmla="*/ 171 h 300"/>
                <a:gd name="T42" fmla="*/ 12 w 299"/>
                <a:gd name="T43" fmla="*/ 181 h 300"/>
                <a:gd name="T44" fmla="*/ 56 w 299"/>
                <a:gd name="T45" fmla="*/ 205 h 300"/>
                <a:gd name="T46" fmla="*/ 28 w 299"/>
                <a:gd name="T47" fmla="*/ 236 h 300"/>
                <a:gd name="T48" fmla="*/ 38 w 299"/>
                <a:gd name="T49" fmla="*/ 248 h 300"/>
                <a:gd name="T50" fmla="*/ 73 w 299"/>
                <a:gd name="T51" fmla="*/ 228 h 300"/>
                <a:gd name="T52" fmla="*/ 86 w 299"/>
                <a:gd name="T53" fmla="*/ 276 h 300"/>
                <a:gd name="T54" fmla="*/ 93 w 299"/>
                <a:gd name="T55" fmla="*/ 290 h 300"/>
                <a:gd name="T56" fmla="*/ 108 w 299"/>
                <a:gd name="T57" fmla="*/ 285 h 300"/>
                <a:gd name="T58" fmla="*/ 151 w 299"/>
                <a:gd name="T59" fmla="*/ 261 h 300"/>
                <a:gd name="T60" fmla="*/ 163 w 299"/>
                <a:gd name="T61" fmla="*/ 298 h 300"/>
                <a:gd name="T62" fmla="*/ 178 w 299"/>
                <a:gd name="T63" fmla="*/ 296 h 300"/>
                <a:gd name="T64" fmla="*/ 179 w 299"/>
                <a:gd name="T65" fmla="*/ 257 h 300"/>
                <a:gd name="T66" fmla="*/ 227 w 299"/>
                <a:gd name="T67" fmla="*/ 268 h 300"/>
                <a:gd name="T68" fmla="*/ 242 w 299"/>
                <a:gd name="T69" fmla="*/ 269 h 300"/>
                <a:gd name="T70" fmla="*/ 245 w 299"/>
                <a:gd name="T71" fmla="*/ 254 h 300"/>
                <a:gd name="T72" fmla="*/ 244 w 299"/>
                <a:gd name="T73" fmla="*/ 204 h 300"/>
                <a:gd name="T74" fmla="*/ 284 w 299"/>
                <a:gd name="T75" fmla="*/ 212 h 300"/>
                <a:gd name="T76" fmla="*/ 289 w 299"/>
                <a:gd name="T77" fmla="*/ 198 h 300"/>
                <a:gd name="T78" fmla="*/ 254 w 299"/>
                <a:gd name="T79" fmla="*/ 176 h 300"/>
                <a:gd name="T80" fmla="*/ 290 w 299"/>
                <a:gd name="T81" fmla="*/ 141 h 300"/>
                <a:gd name="T82" fmla="*/ 298 w 299"/>
                <a:gd name="T83" fmla="*/ 129 h 300"/>
                <a:gd name="T84" fmla="*/ 161 w 299"/>
                <a:gd name="T85" fmla="*/ 231 h 300"/>
                <a:gd name="T86" fmla="*/ 138 w 299"/>
                <a:gd name="T87" fmla="*/ 69 h 300"/>
                <a:gd name="T88" fmla="*/ 161 w 299"/>
                <a:gd name="T89" fmla="*/ 23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9" h="300">
                  <a:moveTo>
                    <a:pt x="294" y="121"/>
                  </a:moveTo>
                  <a:cubicBezTo>
                    <a:pt x="292" y="120"/>
                    <a:pt x="290" y="118"/>
                    <a:pt x="287" y="118"/>
                  </a:cubicBezTo>
                  <a:cubicBezTo>
                    <a:pt x="283" y="119"/>
                    <a:pt x="267" y="119"/>
                    <a:pt x="252" y="120"/>
                  </a:cubicBezTo>
                  <a:cubicBezTo>
                    <a:pt x="250" y="111"/>
                    <a:pt x="247" y="103"/>
                    <a:pt x="242" y="95"/>
                  </a:cubicBezTo>
                  <a:cubicBezTo>
                    <a:pt x="253" y="85"/>
                    <a:pt x="265" y="74"/>
                    <a:pt x="267" y="72"/>
                  </a:cubicBezTo>
                  <a:cubicBezTo>
                    <a:pt x="269" y="70"/>
                    <a:pt x="270" y="67"/>
                    <a:pt x="270" y="64"/>
                  </a:cubicBezTo>
                  <a:cubicBezTo>
                    <a:pt x="270" y="62"/>
                    <a:pt x="269" y="59"/>
                    <a:pt x="268" y="57"/>
                  </a:cubicBezTo>
                  <a:cubicBezTo>
                    <a:pt x="266" y="54"/>
                    <a:pt x="263" y="53"/>
                    <a:pt x="261" y="52"/>
                  </a:cubicBezTo>
                  <a:cubicBezTo>
                    <a:pt x="258" y="52"/>
                    <a:pt x="255" y="52"/>
                    <a:pt x="253" y="54"/>
                  </a:cubicBezTo>
                  <a:cubicBezTo>
                    <a:pt x="250" y="56"/>
                    <a:pt x="237" y="64"/>
                    <a:pt x="225" y="72"/>
                  </a:cubicBezTo>
                  <a:cubicBezTo>
                    <a:pt x="218" y="65"/>
                    <a:pt x="211" y="59"/>
                    <a:pt x="203" y="54"/>
                  </a:cubicBezTo>
                  <a:cubicBezTo>
                    <a:pt x="207" y="41"/>
                    <a:pt x="211" y="26"/>
                    <a:pt x="212" y="23"/>
                  </a:cubicBezTo>
                  <a:cubicBezTo>
                    <a:pt x="213" y="21"/>
                    <a:pt x="212" y="18"/>
                    <a:pt x="211" y="15"/>
                  </a:cubicBezTo>
                  <a:cubicBezTo>
                    <a:pt x="210" y="13"/>
                    <a:pt x="208" y="11"/>
                    <a:pt x="205" y="10"/>
                  </a:cubicBezTo>
                  <a:cubicBezTo>
                    <a:pt x="202" y="9"/>
                    <a:pt x="200" y="9"/>
                    <a:pt x="197" y="10"/>
                  </a:cubicBezTo>
                  <a:cubicBezTo>
                    <a:pt x="194" y="10"/>
                    <a:pt x="192" y="12"/>
                    <a:pt x="191" y="15"/>
                  </a:cubicBezTo>
                  <a:cubicBezTo>
                    <a:pt x="189" y="18"/>
                    <a:pt x="183" y="30"/>
                    <a:pt x="176" y="43"/>
                  </a:cubicBezTo>
                  <a:cubicBezTo>
                    <a:pt x="167" y="40"/>
                    <a:pt x="158" y="39"/>
                    <a:pt x="148" y="39"/>
                  </a:cubicBezTo>
                  <a:cubicBezTo>
                    <a:pt x="145" y="25"/>
                    <a:pt x="141" y="12"/>
                    <a:pt x="141" y="9"/>
                  </a:cubicBezTo>
                  <a:cubicBezTo>
                    <a:pt x="140" y="6"/>
                    <a:pt x="138" y="4"/>
                    <a:pt x="136" y="2"/>
                  </a:cubicBezTo>
                  <a:cubicBezTo>
                    <a:pt x="133" y="1"/>
                    <a:pt x="131" y="0"/>
                    <a:pt x="128" y="1"/>
                  </a:cubicBezTo>
                  <a:cubicBezTo>
                    <a:pt x="125" y="1"/>
                    <a:pt x="122" y="2"/>
                    <a:pt x="120" y="4"/>
                  </a:cubicBezTo>
                  <a:cubicBezTo>
                    <a:pt x="119" y="6"/>
                    <a:pt x="118" y="9"/>
                    <a:pt x="118" y="12"/>
                  </a:cubicBezTo>
                  <a:cubicBezTo>
                    <a:pt x="118" y="15"/>
                    <a:pt x="118" y="29"/>
                    <a:pt x="119" y="43"/>
                  </a:cubicBezTo>
                  <a:cubicBezTo>
                    <a:pt x="110" y="46"/>
                    <a:pt x="101" y="50"/>
                    <a:pt x="93" y="55"/>
                  </a:cubicBezTo>
                  <a:cubicBezTo>
                    <a:pt x="83" y="45"/>
                    <a:pt x="73" y="34"/>
                    <a:pt x="71" y="32"/>
                  </a:cubicBezTo>
                  <a:cubicBezTo>
                    <a:pt x="69" y="30"/>
                    <a:pt x="67" y="29"/>
                    <a:pt x="64" y="29"/>
                  </a:cubicBezTo>
                  <a:cubicBezTo>
                    <a:pt x="61" y="29"/>
                    <a:pt x="58" y="29"/>
                    <a:pt x="56" y="31"/>
                  </a:cubicBezTo>
                  <a:cubicBezTo>
                    <a:pt x="54" y="33"/>
                    <a:pt x="52" y="36"/>
                    <a:pt x="52" y="38"/>
                  </a:cubicBezTo>
                  <a:cubicBezTo>
                    <a:pt x="51" y="41"/>
                    <a:pt x="51" y="44"/>
                    <a:pt x="53" y="46"/>
                  </a:cubicBezTo>
                  <a:cubicBezTo>
                    <a:pt x="55" y="49"/>
                    <a:pt x="63" y="62"/>
                    <a:pt x="70" y="73"/>
                  </a:cubicBezTo>
                  <a:cubicBezTo>
                    <a:pt x="64" y="80"/>
                    <a:pt x="59" y="88"/>
                    <a:pt x="55" y="96"/>
                  </a:cubicBezTo>
                  <a:cubicBezTo>
                    <a:pt x="41" y="92"/>
                    <a:pt x="26" y="88"/>
                    <a:pt x="23" y="87"/>
                  </a:cubicBezTo>
                  <a:cubicBezTo>
                    <a:pt x="20" y="86"/>
                    <a:pt x="17" y="86"/>
                    <a:pt x="15" y="88"/>
                  </a:cubicBezTo>
                  <a:cubicBezTo>
                    <a:pt x="12" y="89"/>
                    <a:pt x="10" y="91"/>
                    <a:pt x="9" y="94"/>
                  </a:cubicBezTo>
                  <a:cubicBezTo>
                    <a:pt x="8" y="97"/>
                    <a:pt x="8" y="100"/>
                    <a:pt x="9" y="102"/>
                  </a:cubicBezTo>
                  <a:cubicBezTo>
                    <a:pt x="10" y="105"/>
                    <a:pt x="12" y="107"/>
                    <a:pt x="14" y="108"/>
                  </a:cubicBezTo>
                  <a:cubicBezTo>
                    <a:pt x="17" y="110"/>
                    <a:pt x="31" y="117"/>
                    <a:pt x="44" y="124"/>
                  </a:cubicBezTo>
                  <a:cubicBezTo>
                    <a:pt x="42" y="132"/>
                    <a:pt x="41" y="141"/>
                    <a:pt x="42" y="151"/>
                  </a:cubicBezTo>
                  <a:cubicBezTo>
                    <a:pt x="27" y="154"/>
                    <a:pt x="11" y="158"/>
                    <a:pt x="8" y="159"/>
                  </a:cubicBezTo>
                  <a:cubicBezTo>
                    <a:pt x="5" y="159"/>
                    <a:pt x="3" y="161"/>
                    <a:pt x="2" y="163"/>
                  </a:cubicBezTo>
                  <a:cubicBezTo>
                    <a:pt x="0" y="166"/>
                    <a:pt x="0" y="169"/>
                    <a:pt x="0" y="171"/>
                  </a:cubicBezTo>
                  <a:cubicBezTo>
                    <a:pt x="0" y="174"/>
                    <a:pt x="2" y="177"/>
                    <a:pt x="4" y="179"/>
                  </a:cubicBezTo>
                  <a:cubicBezTo>
                    <a:pt x="6" y="181"/>
                    <a:pt x="9" y="182"/>
                    <a:pt x="12" y="181"/>
                  </a:cubicBezTo>
                  <a:cubicBezTo>
                    <a:pt x="15" y="181"/>
                    <a:pt x="31" y="181"/>
                    <a:pt x="46" y="180"/>
                  </a:cubicBezTo>
                  <a:cubicBezTo>
                    <a:pt x="48" y="189"/>
                    <a:pt x="52" y="197"/>
                    <a:pt x="56" y="205"/>
                  </a:cubicBezTo>
                  <a:cubicBezTo>
                    <a:pt x="45" y="215"/>
                    <a:pt x="34" y="226"/>
                    <a:pt x="31" y="228"/>
                  </a:cubicBezTo>
                  <a:cubicBezTo>
                    <a:pt x="29" y="230"/>
                    <a:pt x="28" y="233"/>
                    <a:pt x="28" y="236"/>
                  </a:cubicBezTo>
                  <a:cubicBezTo>
                    <a:pt x="28" y="238"/>
                    <a:pt x="29" y="241"/>
                    <a:pt x="31" y="243"/>
                  </a:cubicBezTo>
                  <a:cubicBezTo>
                    <a:pt x="32" y="246"/>
                    <a:pt x="35" y="247"/>
                    <a:pt x="38" y="248"/>
                  </a:cubicBezTo>
                  <a:cubicBezTo>
                    <a:pt x="40" y="248"/>
                    <a:pt x="43" y="248"/>
                    <a:pt x="46" y="246"/>
                  </a:cubicBezTo>
                  <a:cubicBezTo>
                    <a:pt x="48" y="244"/>
                    <a:pt x="61" y="236"/>
                    <a:pt x="73" y="228"/>
                  </a:cubicBezTo>
                  <a:cubicBezTo>
                    <a:pt x="80" y="235"/>
                    <a:pt x="87" y="241"/>
                    <a:pt x="95" y="246"/>
                  </a:cubicBezTo>
                  <a:cubicBezTo>
                    <a:pt x="91" y="259"/>
                    <a:pt x="87" y="274"/>
                    <a:pt x="86" y="276"/>
                  </a:cubicBezTo>
                  <a:cubicBezTo>
                    <a:pt x="85" y="279"/>
                    <a:pt x="86" y="282"/>
                    <a:pt x="87" y="285"/>
                  </a:cubicBezTo>
                  <a:cubicBezTo>
                    <a:pt x="88" y="287"/>
                    <a:pt x="90" y="289"/>
                    <a:pt x="93" y="290"/>
                  </a:cubicBezTo>
                  <a:cubicBezTo>
                    <a:pt x="96" y="291"/>
                    <a:pt x="99" y="291"/>
                    <a:pt x="101" y="290"/>
                  </a:cubicBezTo>
                  <a:cubicBezTo>
                    <a:pt x="104" y="290"/>
                    <a:pt x="106" y="288"/>
                    <a:pt x="108" y="285"/>
                  </a:cubicBezTo>
                  <a:cubicBezTo>
                    <a:pt x="109" y="282"/>
                    <a:pt x="116" y="270"/>
                    <a:pt x="122" y="257"/>
                  </a:cubicBezTo>
                  <a:cubicBezTo>
                    <a:pt x="131" y="260"/>
                    <a:pt x="141" y="261"/>
                    <a:pt x="151" y="261"/>
                  </a:cubicBezTo>
                  <a:cubicBezTo>
                    <a:pt x="154" y="275"/>
                    <a:pt x="157" y="288"/>
                    <a:pt x="158" y="291"/>
                  </a:cubicBezTo>
                  <a:cubicBezTo>
                    <a:pt x="158" y="294"/>
                    <a:pt x="160" y="296"/>
                    <a:pt x="163" y="298"/>
                  </a:cubicBezTo>
                  <a:cubicBezTo>
                    <a:pt x="165" y="299"/>
                    <a:pt x="168" y="300"/>
                    <a:pt x="171" y="299"/>
                  </a:cubicBezTo>
                  <a:cubicBezTo>
                    <a:pt x="174" y="299"/>
                    <a:pt x="176" y="298"/>
                    <a:pt x="178" y="296"/>
                  </a:cubicBezTo>
                  <a:cubicBezTo>
                    <a:pt x="180" y="294"/>
                    <a:pt x="181" y="291"/>
                    <a:pt x="181" y="288"/>
                  </a:cubicBezTo>
                  <a:cubicBezTo>
                    <a:pt x="180" y="285"/>
                    <a:pt x="180" y="271"/>
                    <a:pt x="179" y="257"/>
                  </a:cubicBezTo>
                  <a:cubicBezTo>
                    <a:pt x="189" y="254"/>
                    <a:pt x="197" y="251"/>
                    <a:pt x="206" y="245"/>
                  </a:cubicBezTo>
                  <a:cubicBezTo>
                    <a:pt x="215" y="255"/>
                    <a:pt x="225" y="266"/>
                    <a:pt x="227" y="268"/>
                  </a:cubicBezTo>
                  <a:cubicBezTo>
                    <a:pt x="229" y="270"/>
                    <a:pt x="232" y="271"/>
                    <a:pt x="234" y="271"/>
                  </a:cubicBezTo>
                  <a:cubicBezTo>
                    <a:pt x="237" y="271"/>
                    <a:pt x="240" y="271"/>
                    <a:pt x="242" y="269"/>
                  </a:cubicBezTo>
                  <a:cubicBezTo>
                    <a:pt x="245" y="267"/>
                    <a:pt x="246" y="264"/>
                    <a:pt x="247" y="262"/>
                  </a:cubicBezTo>
                  <a:cubicBezTo>
                    <a:pt x="247" y="259"/>
                    <a:pt x="247" y="256"/>
                    <a:pt x="245" y="254"/>
                  </a:cubicBezTo>
                  <a:cubicBezTo>
                    <a:pt x="243" y="251"/>
                    <a:pt x="235" y="238"/>
                    <a:pt x="228" y="227"/>
                  </a:cubicBezTo>
                  <a:cubicBezTo>
                    <a:pt x="234" y="220"/>
                    <a:pt x="239" y="212"/>
                    <a:pt x="244" y="204"/>
                  </a:cubicBezTo>
                  <a:cubicBezTo>
                    <a:pt x="258" y="208"/>
                    <a:pt x="272" y="212"/>
                    <a:pt x="275" y="213"/>
                  </a:cubicBezTo>
                  <a:cubicBezTo>
                    <a:pt x="278" y="214"/>
                    <a:pt x="281" y="213"/>
                    <a:pt x="284" y="212"/>
                  </a:cubicBezTo>
                  <a:cubicBezTo>
                    <a:pt x="286" y="211"/>
                    <a:pt x="288" y="209"/>
                    <a:pt x="289" y="206"/>
                  </a:cubicBezTo>
                  <a:cubicBezTo>
                    <a:pt x="290" y="203"/>
                    <a:pt x="290" y="201"/>
                    <a:pt x="289" y="198"/>
                  </a:cubicBezTo>
                  <a:cubicBezTo>
                    <a:pt x="288" y="195"/>
                    <a:pt x="287" y="193"/>
                    <a:pt x="284" y="192"/>
                  </a:cubicBezTo>
                  <a:cubicBezTo>
                    <a:pt x="281" y="190"/>
                    <a:pt x="267" y="183"/>
                    <a:pt x="254" y="176"/>
                  </a:cubicBezTo>
                  <a:cubicBezTo>
                    <a:pt x="256" y="168"/>
                    <a:pt x="257" y="159"/>
                    <a:pt x="257" y="149"/>
                  </a:cubicBezTo>
                  <a:cubicBezTo>
                    <a:pt x="271" y="146"/>
                    <a:pt x="287" y="142"/>
                    <a:pt x="290" y="141"/>
                  </a:cubicBezTo>
                  <a:cubicBezTo>
                    <a:pt x="293" y="141"/>
                    <a:pt x="295" y="139"/>
                    <a:pt x="297" y="137"/>
                  </a:cubicBezTo>
                  <a:cubicBezTo>
                    <a:pt x="298" y="134"/>
                    <a:pt x="299" y="131"/>
                    <a:pt x="298" y="129"/>
                  </a:cubicBezTo>
                  <a:cubicBezTo>
                    <a:pt x="298" y="126"/>
                    <a:pt x="297" y="123"/>
                    <a:pt x="294" y="121"/>
                  </a:cubicBezTo>
                  <a:close/>
                  <a:moveTo>
                    <a:pt x="161" y="231"/>
                  </a:moveTo>
                  <a:cubicBezTo>
                    <a:pt x="118" y="237"/>
                    <a:pt x="78" y="206"/>
                    <a:pt x="71" y="161"/>
                  </a:cubicBezTo>
                  <a:cubicBezTo>
                    <a:pt x="65" y="117"/>
                    <a:pt x="95" y="76"/>
                    <a:pt x="138" y="69"/>
                  </a:cubicBezTo>
                  <a:cubicBezTo>
                    <a:pt x="180" y="63"/>
                    <a:pt x="220" y="94"/>
                    <a:pt x="227" y="139"/>
                  </a:cubicBezTo>
                  <a:cubicBezTo>
                    <a:pt x="233" y="183"/>
                    <a:pt x="204" y="224"/>
                    <a:pt x="161" y="23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 name="Freeform 155">
              <a:extLst>
                <a:ext uri="{FF2B5EF4-FFF2-40B4-BE49-F238E27FC236}">
                  <a16:creationId xmlns:a16="http://schemas.microsoft.com/office/drawing/2014/main" id="{10DB564C-440E-45A5-B270-7C228D555B09}"/>
                </a:ext>
              </a:extLst>
            </p:cNvPr>
            <p:cNvSpPr>
              <a:spLocks noEditPoints="1"/>
            </p:cNvSpPr>
            <p:nvPr/>
          </p:nvSpPr>
          <p:spPr bwMode="auto">
            <a:xfrm>
              <a:off x="862121" y="5368925"/>
              <a:ext cx="202344" cy="293050"/>
            </a:xfrm>
            <a:custGeom>
              <a:avLst/>
              <a:gdLst>
                <a:gd name="T0" fmla="*/ 110 w 219"/>
                <a:gd name="T1" fmla="*/ 316 h 316"/>
                <a:gd name="T2" fmla="*/ 100 w 219"/>
                <a:gd name="T3" fmla="*/ 309 h 316"/>
                <a:gd name="T4" fmla="*/ 73 w 219"/>
                <a:gd name="T5" fmla="*/ 245 h 316"/>
                <a:gd name="T6" fmla="*/ 18 w 219"/>
                <a:gd name="T7" fmla="*/ 296 h 316"/>
                <a:gd name="T8" fmla="*/ 6 w 219"/>
                <a:gd name="T9" fmla="*/ 298 h 316"/>
                <a:gd name="T10" fmla="*/ 0 w 219"/>
                <a:gd name="T11" fmla="*/ 288 h 316"/>
                <a:gd name="T12" fmla="*/ 0 w 219"/>
                <a:gd name="T13" fmla="*/ 11 h 316"/>
                <a:gd name="T14" fmla="*/ 7 w 219"/>
                <a:gd name="T15" fmla="*/ 1 h 316"/>
                <a:gd name="T16" fmla="*/ 18 w 219"/>
                <a:gd name="T17" fmla="*/ 4 h 316"/>
                <a:gd name="T18" fmla="*/ 215 w 219"/>
                <a:gd name="T19" fmla="*/ 199 h 316"/>
                <a:gd name="T20" fmla="*/ 218 w 219"/>
                <a:gd name="T21" fmla="*/ 211 h 316"/>
                <a:gd name="T22" fmla="*/ 208 w 219"/>
                <a:gd name="T23" fmla="*/ 217 h 316"/>
                <a:gd name="T24" fmla="*/ 132 w 219"/>
                <a:gd name="T25" fmla="*/ 220 h 316"/>
                <a:gd name="T26" fmla="*/ 159 w 219"/>
                <a:gd name="T27" fmla="*/ 285 h 316"/>
                <a:gd name="T28" fmla="*/ 159 w 219"/>
                <a:gd name="T29" fmla="*/ 293 h 316"/>
                <a:gd name="T30" fmla="*/ 153 w 219"/>
                <a:gd name="T31" fmla="*/ 298 h 316"/>
                <a:gd name="T32" fmla="*/ 114 w 219"/>
                <a:gd name="T33" fmla="*/ 315 h 316"/>
                <a:gd name="T34" fmla="*/ 110 w 219"/>
                <a:gd name="T35" fmla="*/ 316 h 316"/>
                <a:gd name="T36" fmla="*/ 77 w 219"/>
                <a:gd name="T37" fmla="*/ 216 h 316"/>
                <a:gd name="T38" fmla="*/ 79 w 219"/>
                <a:gd name="T39" fmla="*/ 216 h 316"/>
                <a:gd name="T40" fmla="*/ 87 w 219"/>
                <a:gd name="T41" fmla="*/ 222 h 316"/>
                <a:gd name="T42" fmla="*/ 116 w 219"/>
                <a:gd name="T43" fmla="*/ 291 h 316"/>
                <a:gd name="T44" fmla="*/ 135 w 219"/>
                <a:gd name="T45" fmla="*/ 283 h 316"/>
                <a:gd name="T46" fmla="*/ 107 w 219"/>
                <a:gd name="T47" fmla="*/ 214 h 316"/>
                <a:gd name="T48" fmla="*/ 108 w 219"/>
                <a:gd name="T49" fmla="*/ 204 h 316"/>
                <a:gd name="T50" fmla="*/ 116 w 219"/>
                <a:gd name="T51" fmla="*/ 199 h 316"/>
                <a:gd name="T52" fmla="*/ 183 w 219"/>
                <a:gd name="T53" fmla="*/ 197 h 316"/>
                <a:gd name="T54" fmla="*/ 22 w 219"/>
                <a:gd name="T55" fmla="*/ 37 h 316"/>
                <a:gd name="T56" fmla="*/ 21 w 219"/>
                <a:gd name="T57" fmla="*/ 264 h 316"/>
                <a:gd name="T58" fmla="*/ 70 w 219"/>
                <a:gd name="T59" fmla="*/ 218 h 316"/>
                <a:gd name="T60" fmla="*/ 77 w 219"/>
                <a:gd name="T61" fmla="*/ 2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316">
                  <a:moveTo>
                    <a:pt x="110" y="316"/>
                  </a:moveTo>
                  <a:cubicBezTo>
                    <a:pt x="106" y="316"/>
                    <a:pt x="102" y="313"/>
                    <a:pt x="100" y="309"/>
                  </a:cubicBezTo>
                  <a:cubicBezTo>
                    <a:pt x="73" y="245"/>
                    <a:pt x="73" y="245"/>
                    <a:pt x="73" y="245"/>
                  </a:cubicBezTo>
                  <a:cubicBezTo>
                    <a:pt x="18" y="296"/>
                    <a:pt x="18" y="296"/>
                    <a:pt x="18" y="296"/>
                  </a:cubicBezTo>
                  <a:cubicBezTo>
                    <a:pt x="15" y="299"/>
                    <a:pt x="10" y="300"/>
                    <a:pt x="6" y="298"/>
                  </a:cubicBezTo>
                  <a:cubicBezTo>
                    <a:pt x="3" y="297"/>
                    <a:pt x="0" y="293"/>
                    <a:pt x="0" y="288"/>
                  </a:cubicBezTo>
                  <a:cubicBezTo>
                    <a:pt x="0" y="11"/>
                    <a:pt x="0" y="11"/>
                    <a:pt x="0" y="11"/>
                  </a:cubicBezTo>
                  <a:cubicBezTo>
                    <a:pt x="0" y="7"/>
                    <a:pt x="3" y="3"/>
                    <a:pt x="7" y="1"/>
                  </a:cubicBezTo>
                  <a:cubicBezTo>
                    <a:pt x="11" y="0"/>
                    <a:pt x="15" y="1"/>
                    <a:pt x="18" y="4"/>
                  </a:cubicBezTo>
                  <a:cubicBezTo>
                    <a:pt x="215" y="199"/>
                    <a:pt x="215" y="199"/>
                    <a:pt x="215" y="199"/>
                  </a:cubicBezTo>
                  <a:cubicBezTo>
                    <a:pt x="218" y="202"/>
                    <a:pt x="219" y="207"/>
                    <a:pt x="218" y="211"/>
                  </a:cubicBezTo>
                  <a:cubicBezTo>
                    <a:pt x="216" y="215"/>
                    <a:pt x="212" y="217"/>
                    <a:pt x="208" y="217"/>
                  </a:cubicBezTo>
                  <a:cubicBezTo>
                    <a:pt x="132" y="220"/>
                    <a:pt x="132" y="220"/>
                    <a:pt x="132" y="220"/>
                  </a:cubicBezTo>
                  <a:cubicBezTo>
                    <a:pt x="159" y="285"/>
                    <a:pt x="159" y="285"/>
                    <a:pt x="159" y="285"/>
                  </a:cubicBezTo>
                  <a:cubicBezTo>
                    <a:pt x="160" y="287"/>
                    <a:pt x="160" y="290"/>
                    <a:pt x="159" y="293"/>
                  </a:cubicBezTo>
                  <a:cubicBezTo>
                    <a:pt x="158" y="295"/>
                    <a:pt x="156" y="297"/>
                    <a:pt x="153" y="298"/>
                  </a:cubicBezTo>
                  <a:cubicBezTo>
                    <a:pt x="114" y="315"/>
                    <a:pt x="114" y="315"/>
                    <a:pt x="114" y="315"/>
                  </a:cubicBezTo>
                  <a:cubicBezTo>
                    <a:pt x="113" y="315"/>
                    <a:pt x="111" y="316"/>
                    <a:pt x="110" y="316"/>
                  </a:cubicBezTo>
                  <a:close/>
                  <a:moveTo>
                    <a:pt x="77" y="216"/>
                  </a:moveTo>
                  <a:cubicBezTo>
                    <a:pt x="78" y="216"/>
                    <a:pt x="79" y="216"/>
                    <a:pt x="79" y="216"/>
                  </a:cubicBezTo>
                  <a:cubicBezTo>
                    <a:pt x="83" y="217"/>
                    <a:pt x="86" y="219"/>
                    <a:pt x="87" y="222"/>
                  </a:cubicBezTo>
                  <a:cubicBezTo>
                    <a:pt x="116" y="291"/>
                    <a:pt x="116" y="291"/>
                    <a:pt x="116" y="291"/>
                  </a:cubicBezTo>
                  <a:cubicBezTo>
                    <a:pt x="135" y="283"/>
                    <a:pt x="135" y="283"/>
                    <a:pt x="135" y="283"/>
                  </a:cubicBezTo>
                  <a:cubicBezTo>
                    <a:pt x="107" y="214"/>
                    <a:pt x="107" y="214"/>
                    <a:pt x="107" y="214"/>
                  </a:cubicBezTo>
                  <a:cubicBezTo>
                    <a:pt x="105" y="211"/>
                    <a:pt x="106" y="207"/>
                    <a:pt x="108" y="204"/>
                  </a:cubicBezTo>
                  <a:cubicBezTo>
                    <a:pt x="110" y="201"/>
                    <a:pt x="113" y="199"/>
                    <a:pt x="116" y="199"/>
                  </a:cubicBezTo>
                  <a:cubicBezTo>
                    <a:pt x="183" y="197"/>
                    <a:pt x="183" y="197"/>
                    <a:pt x="183" y="197"/>
                  </a:cubicBezTo>
                  <a:cubicBezTo>
                    <a:pt x="22" y="37"/>
                    <a:pt x="22" y="37"/>
                    <a:pt x="22" y="37"/>
                  </a:cubicBezTo>
                  <a:cubicBezTo>
                    <a:pt x="21" y="264"/>
                    <a:pt x="21" y="264"/>
                    <a:pt x="21" y="264"/>
                  </a:cubicBezTo>
                  <a:cubicBezTo>
                    <a:pt x="70" y="218"/>
                    <a:pt x="70" y="218"/>
                    <a:pt x="70" y="218"/>
                  </a:cubicBezTo>
                  <a:cubicBezTo>
                    <a:pt x="72" y="217"/>
                    <a:pt x="75" y="216"/>
                    <a:pt x="77" y="216"/>
                  </a:cubicBezTo>
                  <a:close/>
                </a:path>
              </a:pathLst>
            </a:cu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50" name="Group 49"/>
          <p:cNvGrpSpPr/>
          <p:nvPr/>
        </p:nvGrpSpPr>
        <p:grpSpPr>
          <a:xfrm>
            <a:off x="10374308" y="1700793"/>
            <a:ext cx="482091" cy="480337"/>
            <a:chOff x="2216171" y="2903264"/>
            <a:chExt cx="482091" cy="480337"/>
          </a:xfrm>
        </p:grpSpPr>
        <p:sp>
          <p:nvSpPr>
            <p:cNvPr id="6" name="Freeform 6">
              <a:extLst>
                <a:ext uri="{FF2B5EF4-FFF2-40B4-BE49-F238E27FC236}">
                  <a16:creationId xmlns:a16="http://schemas.microsoft.com/office/drawing/2014/main" id="{59B5CCF6-BBA2-40D7-ADBE-565ADDA2E8D8}"/>
                </a:ext>
              </a:extLst>
            </p:cNvPr>
            <p:cNvSpPr>
              <a:spLocks noEditPoints="1"/>
            </p:cNvSpPr>
            <p:nvPr/>
          </p:nvSpPr>
          <p:spPr bwMode="auto">
            <a:xfrm>
              <a:off x="2216171" y="2903264"/>
              <a:ext cx="482091" cy="480337"/>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 name="Freeform 343">
              <a:extLst>
                <a:ext uri="{FF2B5EF4-FFF2-40B4-BE49-F238E27FC236}">
                  <a16:creationId xmlns:a16="http://schemas.microsoft.com/office/drawing/2014/main" id="{7A705074-17C2-4EDC-A43D-3022D357C3CD}"/>
                </a:ext>
              </a:extLst>
            </p:cNvPr>
            <p:cNvSpPr>
              <a:spLocks noEditPoints="1"/>
            </p:cNvSpPr>
            <p:nvPr/>
          </p:nvSpPr>
          <p:spPr bwMode="auto">
            <a:xfrm>
              <a:off x="2335102" y="3012035"/>
              <a:ext cx="244229" cy="262795"/>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solidFill>
              <a:schemeClr val="tx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2" name="Group 41"/>
          <p:cNvGrpSpPr/>
          <p:nvPr/>
        </p:nvGrpSpPr>
        <p:grpSpPr>
          <a:xfrm>
            <a:off x="11320665" y="2697129"/>
            <a:ext cx="400869" cy="396939"/>
            <a:chOff x="515752" y="2484921"/>
            <a:chExt cx="400869" cy="396939"/>
          </a:xfrm>
        </p:grpSpPr>
        <p:sp>
          <p:nvSpPr>
            <p:cNvPr id="13" name="Freeform 14">
              <a:extLst>
                <a:ext uri="{FF2B5EF4-FFF2-40B4-BE49-F238E27FC236}">
                  <a16:creationId xmlns:a16="http://schemas.microsoft.com/office/drawing/2014/main" id="{0388219E-2A40-4A1A-9E8E-E3A43187A849}"/>
                </a:ext>
              </a:extLst>
            </p:cNvPr>
            <p:cNvSpPr>
              <a:spLocks/>
            </p:cNvSpPr>
            <p:nvPr/>
          </p:nvSpPr>
          <p:spPr bwMode="auto">
            <a:xfrm>
              <a:off x="515752" y="2484921"/>
              <a:ext cx="400869" cy="396939"/>
            </a:xfrm>
            <a:custGeom>
              <a:avLst/>
              <a:gdLst>
                <a:gd name="T0" fmla="*/ 101 w 137"/>
                <a:gd name="T1" fmla="*/ 127 h 136"/>
                <a:gd name="T2" fmla="*/ 107 w 137"/>
                <a:gd name="T3" fmla="*/ 122 h 136"/>
                <a:gd name="T4" fmla="*/ 110 w 137"/>
                <a:gd name="T5" fmla="*/ 119 h 136"/>
                <a:gd name="T6" fmla="*/ 117 w 137"/>
                <a:gd name="T7" fmla="*/ 115 h 136"/>
                <a:gd name="T8" fmla="*/ 114 w 137"/>
                <a:gd name="T9" fmla="*/ 106 h 136"/>
                <a:gd name="T10" fmla="*/ 126 w 137"/>
                <a:gd name="T11" fmla="*/ 105 h 136"/>
                <a:gd name="T12" fmla="*/ 122 w 137"/>
                <a:gd name="T13" fmla="*/ 93 h 136"/>
                <a:gd name="T14" fmla="*/ 131 w 137"/>
                <a:gd name="T15" fmla="*/ 92 h 136"/>
                <a:gd name="T16" fmla="*/ 132 w 137"/>
                <a:gd name="T17" fmla="*/ 85 h 136"/>
                <a:gd name="T18" fmla="*/ 133 w 137"/>
                <a:gd name="T19" fmla="*/ 80 h 136"/>
                <a:gd name="T20" fmla="*/ 136 w 137"/>
                <a:gd name="T21" fmla="*/ 72 h 136"/>
                <a:gd name="T22" fmla="*/ 128 w 137"/>
                <a:gd name="T23" fmla="*/ 68 h 136"/>
                <a:gd name="T24" fmla="*/ 136 w 137"/>
                <a:gd name="T25" fmla="*/ 59 h 136"/>
                <a:gd name="T26" fmla="*/ 126 w 137"/>
                <a:gd name="T27" fmla="*/ 53 h 136"/>
                <a:gd name="T28" fmla="*/ 132 w 137"/>
                <a:gd name="T29" fmla="*/ 46 h 136"/>
                <a:gd name="T30" fmla="*/ 128 w 137"/>
                <a:gd name="T31" fmla="*/ 39 h 136"/>
                <a:gd name="T32" fmla="*/ 126 w 137"/>
                <a:gd name="T33" fmla="*/ 35 h 136"/>
                <a:gd name="T34" fmla="*/ 123 w 137"/>
                <a:gd name="T35" fmla="*/ 28 h 136"/>
                <a:gd name="T36" fmla="*/ 113 w 137"/>
                <a:gd name="T37" fmla="*/ 29 h 136"/>
                <a:gd name="T38" fmla="*/ 114 w 137"/>
                <a:gd name="T39" fmla="*/ 18 h 136"/>
                <a:gd name="T40" fmla="*/ 103 w 137"/>
                <a:gd name="T41" fmla="*/ 20 h 136"/>
                <a:gd name="T42" fmla="*/ 103 w 137"/>
                <a:gd name="T43" fmla="*/ 10 h 136"/>
                <a:gd name="T44" fmla="*/ 96 w 137"/>
                <a:gd name="T45" fmla="*/ 8 h 136"/>
                <a:gd name="T46" fmla="*/ 92 w 137"/>
                <a:gd name="T47" fmla="*/ 6 h 136"/>
                <a:gd name="T48" fmla="*/ 85 w 137"/>
                <a:gd name="T49" fmla="*/ 2 h 136"/>
                <a:gd name="T50" fmla="*/ 78 w 137"/>
                <a:gd name="T51" fmla="*/ 9 h 136"/>
                <a:gd name="T52" fmla="*/ 71 w 137"/>
                <a:gd name="T53" fmla="*/ 0 h 136"/>
                <a:gd name="T54" fmla="*/ 64 w 137"/>
                <a:gd name="T55" fmla="*/ 9 h 136"/>
                <a:gd name="T56" fmla="*/ 58 w 137"/>
                <a:gd name="T57" fmla="*/ 1 h 136"/>
                <a:gd name="T58" fmla="*/ 51 w 137"/>
                <a:gd name="T59" fmla="*/ 4 h 136"/>
                <a:gd name="T60" fmla="*/ 46 w 137"/>
                <a:gd name="T61" fmla="*/ 5 h 136"/>
                <a:gd name="T62" fmla="*/ 38 w 137"/>
                <a:gd name="T63" fmla="*/ 7 h 136"/>
                <a:gd name="T64" fmla="*/ 38 w 137"/>
                <a:gd name="T65" fmla="*/ 17 h 136"/>
                <a:gd name="T66" fmla="*/ 27 w 137"/>
                <a:gd name="T67" fmla="*/ 14 h 136"/>
                <a:gd name="T68" fmla="*/ 27 w 137"/>
                <a:gd name="T69" fmla="*/ 26 h 136"/>
                <a:gd name="T70" fmla="*/ 17 w 137"/>
                <a:gd name="T71" fmla="*/ 23 h 136"/>
                <a:gd name="T72" fmla="*/ 14 w 137"/>
                <a:gd name="T73" fmla="*/ 30 h 136"/>
                <a:gd name="T74" fmla="*/ 11 w 137"/>
                <a:gd name="T75" fmla="*/ 34 h 136"/>
                <a:gd name="T76" fmla="*/ 6 w 137"/>
                <a:gd name="T77" fmla="*/ 41 h 136"/>
                <a:gd name="T78" fmla="*/ 12 w 137"/>
                <a:gd name="T79" fmla="*/ 48 h 136"/>
                <a:gd name="T80" fmla="*/ 2 w 137"/>
                <a:gd name="T81" fmla="*/ 53 h 136"/>
                <a:gd name="T82" fmla="*/ 9 w 137"/>
                <a:gd name="T83" fmla="*/ 62 h 136"/>
                <a:gd name="T84" fmla="*/ 1 w 137"/>
                <a:gd name="T85" fmla="*/ 67 h 136"/>
                <a:gd name="T86" fmla="*/ 2 w 137"/>
                <a:gd name="T87" fmla="*/ 74 h 136"/>
                <a:gd name="T88" fmla="*/ 3 w 137"/>
                <a:gd name="T89" fmla="*/ 79 h 136"/>
                <a:gd name="T90" fmla="*/ 3 w 137"/>
                <a:gd name="T91" fmla="*/ 87 h 136"/>
                <a:gd name="T92" fmla="*/ 13 w 137"/>
                <a:gd name="T93" fmla="*/ 89 h 136"/>
                <a:gd name="T94" fmla="*/ 8 w 137"/>
                <a:gd name="T95" fmla="*/ 100 h 136"/>
                <a:gd name="T96" fmla="*/ 20 w 137"/>
                <a:gd name="T97" fmla="*/ 102 h 136"/>
                <a:gd name="T98" fmla="*/ 16 w 137"/>
                <a:gd name="T99" fmla="*/ 111 h 136"/>
                <a:gd name="T100" fmla="*/ 22 w 137"/>
                <a:gd name="T101" fmla="*/ 115 h 136"/>
                <a:gd name="T102" fmla="*/ 25 w 137"/>
                <a:gd name="T103" fmla="*/ 119 h 136"/>
                <a:gd name="T104" fmla="*/ 31 w 137"/>
                <a:gd name="T105" fmla="*/ 124 h 136"/>
                <a:gd name="T106" fmla="*/ 39 w 137"/>
                <a:gd name="T107" fmla="*/ 120 h 136"/>
                <a:gd name="T108" fmla="*/ 42 w 137"/>
                <a:gd name="T109" fmla="*/ 131 h 136"/>
                <a:gd name="T110" fmla="*/ 53 w 137"/>
                <a:gd name="T111" fmla="*/ 125 h 136"/>
                <a:gd name="T112" fmla="*/ 55 w 137"/>
                <a:gd name="T113" fmla="*/ 135 h 136"/>
                <a:gd name="T114" fmla="*/ 63 w 137"/>
                <a:gd name="T115" fmla="*/ 134 h 136"/>
                <a:gd name="T116" fmla="*/ 68 w 137"/>
                <a:gd name="T117" fmla="*/ 134 h 136"/>
                <a:gd name="T118" fmla="*/ 76 w 137"/>
                <a:gd name="T119" fmla="*/ 135 h 136"/>
                <a:gd name="T120" fmla="*/ 79 w 137"/>
                <a:gd name="T121" fmla="*/ 126 h 136"/>
                <a:gd name="T122" fmla="*/ 89 w 137"/>
                <a:gd name="T123" fmla="*/ 133 h 136"/>
                <a:gd name="T124" fmla="*/ 93 w 137"/>
                <a:gd name="T125" fmla="*/ 12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 h="136">
                  <a:moveTo>
                    <a:pt x="97" y="128"/>
                  </a:moveTo>
                  <a:cubicBezTo>
                    <a:pt x="97" y="128"/>
                    <a:pt x="98" y="129"/>
                    <a:pt x="98" y="129"/>
                  </a:cubicBezTo>
                  <a:cubicBezTo>
                    <a:pt x="99" y="129"/>
                    <a:pt x="99" y="129"/>
                    <a:pt x="100" y="129"/>
                  </a:cubicBezTo>
                  <a:cubicBezTo>
                    <a:pt x="100" y="128"/>
                    <a:pt x="101" y="128"/>
                    <a:pt x="101" y="127"/>
                  </a:cubicBezTo>
                  <a:cubicBezTo>
                    <a:pt x="101" y="127"/>
                    <a:pt x="101" y="126"/>
                    <a:pt x="101" y="126"/>
                  </a:cubicBezTo>
                  <a:cubicBezTo>
                    <a:pt x="101" y="125"/>
                    <a:pt x="100" y="122"/>
                    <a:pt x="98" y="119"/>
                  </a:cubicBezTo>
                  <a:cubicBezTo>
                    <a:pt x="100" y="119"/>
                    <a:pt x="101" y="118"/>
                    <a:pt x="102" y="117"/>
                  </a:cubicBezTo>
                  <a:cubicBezTo>
                    <a:pt x="104" y="119"/>
                    <a:pt x="106" y="121"/>
                    <a:pt x="107" y="122"/>
                  </a:cubicBezTo>
                  <a:cubicBezTo>
                    <a:pt x="107" y="122"/>
                    <a:pt x="108" y="123"/>
                    <a:pt x="108" y="123"/>
                  </a:cubicBezTo>
                  <a:cubicBezTo>
                    <a:pt x="109" y="123"/>
                    <a:pt x="109" y="123"/>
                    <a:pt x="110" y="122"/>
                  </a:cubicBezTo>
                  <a:cubicBezTo>
                    <a:pt x="110" y="122"/>
                    <a:pt x="111" y="121"/>
                    <a:pt x="111" y="121"/>
                  </a:cubicBezTo>
                  <a:cubicBezTo>
                    <a:pt x="111" y="120"/>
                    <a:pt x="111" y="120"/>
                    <a:pt x="110" y="119"/>
                  </a:cubicBezTo>
                  <a:cubicBezTo>
                    <a:pt x="110" y="119"/>
                    <a:pt x="108" y="116"/>
                    <a:pt x="107" y="113"/>
                  </a:cubicBezTo>
                  <a:cubicBezTo>
                    <a:pt x="108" y="112"/>
                    <a:pt x="109" y="111"/>
                    <a:pt x="110" y="110"/>
                  </a:cubicBezTo>
                  <a:cubicBezTo>
                    <a:pt x="112" y="112"/>
                    <a:pt x="115" y="114"/>
                    <a:pt x="116" y="115"/>
                  </a:cubicBezTo>
                  <a:cubicBezTo>
                    <a:pt x="116" y="115"/>
                    <a:pt x="117" y="115"/>
                    <a:pt x="117" y="115"/>
                  </a:cubicBezTo>
                  <a:cubicBezTo>
                    <a:pt x="118" y="115"/>
                    <a:pt x="118" y="115"/>
                    <a:pt x="119" y="114"/>
                  </a:cubicBezTo>
                  <a:cubicBezTo>
                    <a:pt x="119" y="114"/>
                    <a:pt x="119" y="113"/>
                    <a:pt x="119" y="113"/>
                  </a:cubicBezTo>
                  <a:cubicBezTo>
                    <a:pt x="119" y="112"/>
                    <a:pt x="119" y="111"/>
                    <a:pt x="119" y="111"/>
                  </a:cubicBezTo>
                  <a:cubicBezTo>
                    <a:pt x="118" y="111"/>
                    <a:pt x="116" y="108"/>
                    <a:pt x="114" y="106"/>
                  </a:cubicBezTo>
                  <a:cubicBezTo>
                    <a:pt x="115" y="105"/>
                    <a:pt x="116" y="104"/>
                    <a:pt x="117" y="102"/>
                  </a:cubicBezTo>
                  <a:cubicBezTo>
                    <a:pt x="119" y="104"/>
                    <a:pt x="122" y="105"/>
                    <a:pt x="123" y="106"/>
                  </a:cubicBezTo>
                  <a:cubicBezTo>
                    <a:pt x="123" y="106"/>
                    <a:pt x="124" y="106"/>
                    <a:pt x="125" y="106"/>
                  </a:cubicBezTo>
                  <a:cubicBezTo>
                    <a:pt x="125" y="105"/>
                    <a:pt x="126" y="105"/>
                    <a:pt x="126" y="105"/>
                  </a:cubicBezTo>
                  <a:cubicBezTo>
                    <a:pt x="126" y="104"/>
                    <a:pt x="126" y="104"/>
                    <a:pt x="126" y="103"/>
                  </a:cubicBezTo>
                  <a:cubicBezTo>
                    <a:pt x="126" y="102"/>
                    <a:pt x="126" y="102"/>
                    <a:pt x="125" y="102"/>
                  </a:cubicBezTo>
                  <a:cubicBezTo>
                    <a:pt x="125" y="101"/>
                    <a:pt x="122" y="99"/>
                    <a:pt x="120" y="97"/>
                  </a:cubicBezTo>
                  <a:cubicBezTo>
                    <a:pt x="121" y="96"/>
                    <a:pt x="121" y="95"/>
                    <a:pt x="122" y="93"/>
                  </a:cubicBezTo>
                  <a:cubicBezTo>
                    <a:pt x="125" y="94"/>
                    <a:pt x="128" y="95"/>
                    <a:pt x="129" y="96"/>
                  </a:cubicBezTo>
                  <a:cubicBezTo>
                    <a:pt x="129" y="96"/>
                    <a:pt x="130" y="96"/>
                    <a:pt x="130" y="95"/>
                  </a:cubicBezTo>
                  <a:cubicBezTo>
                    <a:pt x="131" y="95"/>
                    <a:pt x="131" y="95"/>
                    <a:pt x="131" y="94"/>
                  </a:cubicBezTo>
                  <a:cubicBezTo>
                    <a:pt x="132" y="94"/>
                    <a:pt x="132" y="93"/>
                    <a:pt x="131" y="92"/>
                  </a:cubicBezTo>
                  <a:cubicBezTo>
                    <a:pt x="131" y="92"/>
                    <a:pt x="131" y="91"/>
                    <a:pt x="130" y="91"/>
                  </a:cubicBezTo>
                  <a:cubicBezTo>
                    <a:pt x="130" y="91"/>
                    <a:pt x="127" y="89"/>
                    <a:pt x="124" y="88"/>
                  </a:cubicBezTo>
                  <a:cubicBezTo>
                    <a:pt x="125" y="86"/>
                    <a:pt x="125" y="85"/>
                    <a:pt x="126" y="84"/>
                  </a:cubicBezTo>
                  <a:cubicBezTo>
                    <a:pt x="129" y="84"/>
                    <a:pt x="132" y="85"/>
                    <a:pt x="132" y="85"/>
                  </a:cubicBezTo>
                  <a:cubicBezTo>
                    <a:pt x="133" y="85"/>
                    <a:pt x="134" y="84"/>
                    <a:pt x="134" y="84"/>
                  </a:cubicBezTo>
                  <a:cubicBezTo>
                    <a:pt x="135" y="84"/>
                    <a:pt x="135" y="83"/>
                    <a:pt x="135" y="83"/>
                  </a:cubicBezTo>
                  <a:cubicBezTo>
                    <a:pt x="135" y="82"/>
                    <a:pt x="135" y="82"/>
                    <a:pt x="135" y="81"/>
                  </a:cubicBezTo>
                  <a:cubicBezTo>
                    <a:pt x="135" y="81"/>
                    <a:pt x="134" y="80"/>
                    <a:pt x="133" y="80"/>
                  </a:cubicBezTo>
                  <a:cubicBezTo>
                    <a:pt x="133" y="80"/>
                    <a:pt x="130" y="79"/>
                    <a:pt x="127" y="78"/>
                  </a:cubicBezTo>
                  <a:cubicBezTo>
                    <a:pt x="127" y="76"/>
                    <a:pt x="127" y="75"/>
                    <a:pt x="127" y="74"/>
                  </a:cubicBezTo>
                  <a:cubicBezTo>
                    <a:pt x="130" y="73"/>
                    <a:pt x="134" y="73"/>
                    <a:pt x="134" y="73"/>
                  </a:cubicBezTo>
                  <a:cubicBezTo>
                    <a:pt x="135" y="73"/>
                    <a:pt x="136" y="73"/>
                    <a:pt x="136" y="72"/>
                  </a:cubicBezTo>
                  <a:cubicBezTo>
                    <a:pt x="136" y="72"/>
                    <a:pt x="136" y="72"/>
                    <a:pt x="137" y="71"/>
                  </a:cubicBezTo>
                  <a:cubicBezTo>
                    <a:pt x="137" y="70"/>
                    <a:pt x="136" y="70"/>
                    <a:pt x="136" y="69"/>
                  </a:cubicBezTo>
                  <a:cubicBezTo>
                    <a:pt x="136" y="69"/>
                    <a:pt x="135" y="69"/>
                    <a:pt x="135" y="68"/>
                  </a:cubicBezTo>
                  <a:cubicBezTo>
                    <a:pt x="134" y="68"/>
                    <a:pt x="131" y="68"/>
                    <a:pt x="128" y="68"/>
                  </a:cubicBezTo>
                  <a:cubicBezTo>
                    <a:pt x="128" y="66"/>
                    <a:pt x="128" y="65"/>
                    <a:pt x="128" y="63"/>
                  </a:cubicBezTo>
                  <a:cubicBezTo>
                    <a:pt x="130" y="62"/>
                    <a:pt x="134" y="62"/>
                    <a:pt x="134" y="62"/>
                  </a:cubicBezTo>
                  <a:cubicBezTo>
                    <a:pt x="135" y="61"/>
                    <a:pt x="135" y="61"/>
                    <a:pt x="136" y="61"/>
                  </a:cubicBezTo>
                  <a:cubicBezTo>
                    <a:pt x="136" y="60"/>
                    <a:pt x="136" y="60"/>
                    <a:pt x="136" y="59"/>
                  </a:cubicBezTo>
                  <a:cubicBezTo>
                    <a:pt x="136" y="58"/>
                    <a:pt x="136" y="58"/>
                    <a:pt x="135" y="58"/>
                  </a:cubicBezTo>
                  <a:cubicBezTo>
                    <a:pt x="135" y="57"/>
                    <a:pt x="134" y="57"/>
                    <a:pt x="134" y="57"/>
                  </a:cubicBezTo>
                  <a:cubicBezTo>
                    <a:pt x="133" y="57"/>
                    <a:pt x="130" y="57"/>
                    <a:pt x="127" y="57"/>
                  </a:cubicBezTo>
                  <a:cubicBezTo>
                    <a:pt x="127" y="56"/>
                    <a:pt x="126" y="54"/>
                    <a:pt x="126" y="53"/>
                  </a:cubicBezTo>
                  <a:cubicBezTo>
                    <a:pt x="129" y="52"/>
                    <a:pt x="132" y="50"/>
                    <a:pt x="132" y="50"/>
                  </a:cubicBezTo>
                  <a:cubicBezTo>
                    <a:pt x="133" y="50"/>
                    <a:pt x="133" y="50"/>
                    <a:pt x="133" y="49"/>
                  </a:cubicBezTo>
                  <a:cubicBezTo>
                    <a:pt x="134" y="49"/>
                    <a:pt x="134" y="48"/>
                    <a:pt x="133" y="47"/>
                  </a:cubicBezTo>
                  <a:cubicBezTo>
                    <a:pt x="133" y="47"/>
                    <a:pt x="133" y="46"/>
                    <a:pt x="132" y="46"/>
                  </a:cubicBezTo>
                  <a:cubicBezTo>
                    <a:pt x="132" y="46"/>
                    <a:pt x="131" y="46"/>
                    <a:pt x="131" y="46"/>
                  </a:cubicBezTo>
                  <a:cubicBezTo>
                    <a:pt x="130" y="46"/>
                    <a:pt x="127" y="47"/>
                    <a:pt x="124" y="47"/>
                  </a:cubicBezTo>
                  <a:cubicBezTo>
                    <a:pt x="123" y="46"/>
                    <a:pt x="123" y="45"/>
                    <a:pt x="122" y="43"/>
                  </a:cubicBezTo>
                  <a:cubicBezTo>
                    <a:pt x="125" y="42"/>
                    <a:pt x="128" y="40"/>
                    <a:pt x="128" y="39"/>
                  </a:cubicBezTo>
                  <a:cubicBezTo>
                    <a:pt x="129" y="39"/>
                    <a:pt x="129" y="39"/>
                    <a:pt x="129" y="38"/>
                  </a:cubicBezTo>
                  <a:cubicBezTo>
                    <a:pt x="129" y="37"/>
                    <a:pt x="129" y="37"/>
                    <a:pt x="129" y="36"/>
                  </a:cubicBezTo>
                  <a:cubicBezTo>
                    <a:pt x="129" y="36"/>
                    <a:pt x="128" y="36"/>
                    <a:pt x="128" y="35"/>
                  </a:cubicBezTo>
                  <a:cubicBezTo>
                    <a:pt x="127" y="35"/>
                    <a:pt x="127" y="35"/>
                    <a:pt x="126" y="35"/>
                  </a:cubicBezTo>
                  <a:cubicBezTo>
                    <a:pt x="125" y="36"/>
                    <a:pt x="122" y="37"/>
                    <a:pt x="120" y="38"/>
                  </a:cubicBezTo>
                  <a:cubicBezTo>
                    <a:pt x="119" y="37"/>
                    <a:pt x="118" y="35"/>
                    <a:pt x="117" y="34"/>
                  </a:cubicBezTo>
                  <a:cubicBezTo>
                    <a:pt x="119" y="32"/>
                    <a:pt x="122" y="30"/>
                    <a:pt x="122" y="29"/>
                  </a:cubicBezTo>
                  <a:cubicBezTo>
                    <a:pt x="123" y="29"/>
                    <a:pt x="123" y="29"/>
                    <a:pt x="123" y="28"/>
                  </a:cubicBezTo>
                  <a:cubicBezTo>
                    <a:pt x="123" y="27"/>
                    <a:pt x="123" y="27"/>
                    <a:pt x="123" y="26"/>
                  </a:cubicBezTo>
                  <a:cubicBezTo>
                    <a:pt x="122" y="26"/>
                    <a:pt x="122" y="26"/>
                    <a:pt x="121" y="25"/>
                  </a:cubicBezTo>
                  <a:cubicBezTo>
                    <a:pt x="121" y="25"/>
                    <a:pt x="120" y="25"/>
                    <a:pt x="119" y="26"/>
                  </a:cubicBezTo>
                  <a:cubicBezTo>
                    <a:pt x="119" y="26"/>
                    <a:pt x="116" y="28"/>
                    <a:pt x="113" y="29"/>
                  </a:cubicBezTo>
                  <a:cubicBezTo>
                    <a:pt x="113" y="28"/>
                    <a:pt x="112" y="27"/>
                    <a:pt x="111" y="26"/>
                  </a:cubicBezTo>
                  <a:cubicBezTo>
                    <a:pt x="112" y="24"/>
                    <a:pt x="114" y="21"/>
                    <a:pt x="115" y="21"/>
                  </a:cubicBezTo>
                  <a:cubicBezTo>
                    <a:pt x="115" y="20"/>
                    <a:pt x="115" y="20"/>
                    <a:pt x="115" y="19"/>
                  </a:cubicBezTo>
                  <a:cubicBezTo>
                    <a:pt x="115" y="18"/>
                    <a:pt x="115" y="18"/>
                    <a:pt x="114" y="18"/>
                  </a:cubicBezTo>
                  <a:cubicBezTo>
                    <a:pt x="114" y="17"/>
                    <a:pt x="113" y="17"/>
                    <a:pt x="113" y="17"/>
                  </a:cubicBezTo>
                  <a:cubicBezTo>
                    <a:pt x="112" y="17"/>
                    <a:pt x="112" y="17"/>
                    <a:pt x="111" y="17"/>
                  </a:cubicBezTo>
                  <a:cubicBezTo>
                    <a:pt x="111" y="18"/>
                    <a:pt x="108" y="20"/>
                    <a:pt x="106" y="22"/>
                  </a:cubicBezTo>
                  <a:cubicBezTo>
                    <a:pt x="105" y="21"/>
                    <a:pt x="104" y="20"/>
                    <a:pt x="103" y="20"/>
                  </a:cubicBezTo>
                  <a:cubicBezTo>
                    <a:pt x="104" y="17"/>
                    <a:pt x="106" y="14"/>
                    <a:pt x="106" y="13"/>
                  </a:cubicBezTo>
                  <a:cubicBezTo>
                    <a:pt x="106" y="13"/>
                    <a:pt x="106" y="12"/>
                    <a:pt x="106" y="12"/>
                  </a:cubicBezTo>
                  <a:cubicBezTo>
                    <a:pt x="106" y="11"/>
                    <a:pt x="105" y="11"/>
                    <a:pt x="105" y="10"/>
                  </a:cubicBezTo>
                  <a:cubicBezTo>
                    <a:pt x="104" y="10"/>
                    <a:pt x="104" y="10"/>
                    <a:pt x="103" y="10"/>
                  </a:cubicBezTo>
                  <a:cubicBezTo>
                    <a:pt x="103" y="10"/>
                    <a:pt x="102" y="10"/>
                    <a:pt x="102" y="11"/>
                  </a:cubicBezTo>
                  <a:cubicBezTo>
                    <a:pt x="101" y="11"/>
                    <a:pt x="99" y="14"/>
                    <a:pt x="98" y="16"/>
                  </a:cubicBezTo>
                  <a:cubicBezTo>
                    <a:pt x="96" y="16"/>
                    <a:pt x="95" y="15"/>
                    <a:pt x="94" y="14"/>
                  </a:cubicBezTo>
                  <a:cubicBezTo>
                    <a:pt x="95" y="11"/>
                    <a:pt x="96" y="8"/>
                    <a:pt x="96" y="8"/>
                  </a:cubicBezTo>
                  <a:cubicBezTo>
                    <a:pt x="96" y="7"/>
                    <a:pt x="96" y="6"/>
                    <a:pt x="96" y="6"/>
                  </a:cubicBezTo>
                  <a:cubicBezTo>
                    <a:pt x="95" y="5"/>
                    <a:pt x="95" y="5"/>
                    <a:pt x="94" y="5"/>
                  </a:cubicBezTo>
                  <a:cubicBezTo>
                    <a:pt x="94" y="5"/>
                    <a:pt x="93" y="5"/>
                    <a:pt x="93" y="5"/>
                  </a:cubicBezTo>
                  <a:cubicBezTo>
                    <a:pt x="92" y="5"/>
                    <a:pt x="92" y="5"/>
                    <a:pt x="92" y="6"/>
                  </a:cubicBezTo>
                  <a:cubicBezTo>
                    <a:pt x="91" y="6"/>
                    <a:pt x="90" y="9"/>
                    <a:pt x="88" y="12"/>
                  </a:cubicBezTo>
                  <a:cubicBezTo>
                    <a:pt x="87" y="12"/>
                    <a:pt x="85" y="11"/>
                    <a:pt x="84" y="11"/>
                  </a:cubicBezTo>
                  <a:cubicBezTo>
                    <a:pt x="84" y="8"/>
                    <a:pt x="85" y="4"/>
                    <a:pt x="85" y="4"/>
                  </a:cubicBezTo>
                  <a:cubicBezTo>
                    <a:pt x="85" y="3"/>
                    <a:pt x="85" y="3"/>
                    <a:pt x="85" y="2"/>
                  </a:cubicBezTo>
                  <a:cubicBezTo>
                    <a:pt x="84" y="2"/>
                    <a:pt x="84" y="1"/>
                    <a:pt x="83" y="1"/>
                  </a:cubicBezTo>
                  <a:cubicBezTo>
                    <a:pt x="82" y="1"/>
                    <a:pt x="82" y="1"/>
                    <a:pt x="81" y="1"/>
                  </a:cubicBezTo>
                  <a:cubicBezTo>
                    <a:pt x="81" y="2"/>
                    <a:pt x="81" y="2"/>
                    <a:pt x="80" y="3"/>
                  </a:cubicBezTo>
                  <a:cubicBezTo>
                    <a:pt x="80" y="3"/>
                    <a:pt x="79" y="7"/>
                    <a:pt x="78" y="9"/>
                  </a:cubicBezTo>
                  <a:cubicBezTo>
                    <a:pt x="77" y="9"/>
                    <a:pt x="75" y="9"/>
                    <a:pt x="74" y="9"/>
                  </a:cubicBezTo>
                  <a:cubicBezTo>
                    <a:pt x="74" y="6"/>
                    <a:pt x="74" y="2"/>
                    <a:pt x="74" y="2"/>
                  </a:cubicBezTo>
                  <a:cubicBezTo>
                    <a:pt x="74" y="1"/>
                    <a:pt x="73" y="1"/>
                    <a:pt x="73" y="0"/>
                  </a:cubicBezTo>
                  <a:cubicBezTo>
                    <a:pt x="72" y="0"/>
                    <a:pt x="72" y="0"/>
                    <a:pt x="71" y="0"/>
                  </a:cubicBezTo>
                  <a:cubicBezTo>
                    <a:pt x="71" y="0"/>
                    <a:pt x="70" y="0"/>
                    <a:pt x="70" y="0"/>
                  </a:cubicBezTo>
                  <a:cubicBezTo>
                    <a:pt x="69" y="1"/>
                    <a:pt x="69" y="1"/>
                    <a:pt x="69" y="2"/>
                  </a:cubicBezTo>
                  <a:cubicBezTo>
                    <a:pt x="69" y="2"/>
                    <a:pt x="68" y="6"/>
                    <a:pt x="68" y="9"/>
                  </a:cubicBezTo>
                  <a:cubicBezTo>
                    <a:pt x="66" y="9"/>
                    <a:pt x="65" y="9"/>
                    <a:pt x="64" y="9"/>
                  </a:cubicBezTo>
                  <a:cubicBezTo>
                    <a:pt x="63" y="6"/>
                    <a:pt x="62" y="3"/>
                    <a:pt x="62" y="2"/>
                  </a:cubicBezTo>
                  <a:cubicBezTo>
                    <a:pt x="62" y="1"/>
                    <a:pt x="62" y="1"/>
                    <a:pt x="61" y="1"/>
                  </a:cubicBezTo>
                  <a:cubicBezTo>
                    <a:pt x="61" y="0"/>
                    <a:pt x="60" y="0"/>
                    <a:pt x="59" y="0"/>
                  </a:cubicBezTo>
                  <a:cubicBezTo>
                    <a:pt x="59" y="0"/>
                    <a:pt x="58" y="1"/>
                    <a:pt x="58" y="1"/>
                  </a:cubicBezTo>
                  <a:cubicBezTo>
                    <a:pt x="58" y="1"/>
                    <a:pt x="57" y="2"/>
                    <a:pt x="57" y="3"/>
                  </a:cubicBezTo>
                  <a:cubicBezTo>
                    <a:pt x="57" y="3"/>
                    <a:pt x="57" y="7"/>
                    <a:pt x="58" y="10"/>
                  </a:cubicBezTo>
                  <a:cubicBezTo>
                    <a:pt x="56" y="10"/>
                    <a:pt x="55" y="10"/>
                    <a:pt x="53" y="10"/>
                  </a:cubicBezTo>
                  <a:cubicBezTo>
                    <a:pt x="52" y="8"/>
                    <a:pt x="51" y="5"/>
                    <a:pt x="51" y="4"/>
                  </a:cubicBezTo>
                  <a:cubicBezTo>
                    <a:pt x="50" y="4"/>
                    <a:pt x="50" y="3"/>
                    <a:pt x="49" y="3"/>
                  </a:cubicBezTo>
                  <a:cubicBezTo>
                    <a:pt x="49" y="3"/>
                    <a:pt x="48" y="3"/>
                    <a:pt x="48" y="3"/>
                  </a:cubicBezTo>
                  <a:cubicBezTo>
                    <a:pt x="47" y="3"/>
                    <a:pt x="47" y="3"/>
                    <a:pt x="46" y="4"/>
                  </a:cubicBezTo>
                  <a:cubicBezTo>
                    <a:pt x="46" y="4"/>
                    <a:pt x="46" y="5"/>
                    <a:pt x="46" y="5"/>
                  </a:cubicBezTo>
                  <a:cubicBezTo>
                    <a:pt x="46" y="6"/>
                    <a:pt x="47" y="9"/>
                    <a:pt x="48" y="12"/>
                  </a:cubicBezTo>
                  <a:cubicBezTo>
                    <a:pt x="46" y="13"/>
                    <a:pt x="45" y="13"/>
                    <a:pt x="44" y="14"/>
                  </a:cubicBezTo>
                  <a:cubicBezTo>
                    <a:pt x="42" y="11"/>
                    <a:pt x="40" y="9"/>
                    <a:pt x="40" y="8"/>
                  </a:cubicBezTo>
                  <a:cubicBezTo>
                    <a:pt x="40" y="8"/>
                    <a:pt x="39" y="7"/>
                    <a:pt x="38" y="7"/>
                  </a:cubicBezTo>
                  <a:cubicBezTo>
                    <a:pt x="38" y="7"/>
                    <a:pt x="37" y="7"/>
                    <a:pt x="37" y="7"/>
                  </a:cubicBezTo>
                  <a:cubicBezTo>
                    <a:pt x="36" y="8"/>
                    <a:pt x="36" y="8"/>
                    <a:pt x="36" y="9"/>
                  </a:cubicBezTo>
                  <a:cubicBezTo>
                    <a:pt x="36" y="9"/>
                    <a:pt x="36" y="10"/>
                    <a:pt x="36" y="10"/>
                  </a:cubicBezTo>
                  <a:cubicBezTo>
                    <a:pt x="36" y="11"/>
                    <a:pt x="37" y="14"/>
                    <a:pt x="38" y="17"/>
                  </a:cubicBezTo>
                  <a:cubicBezTo>
                    <a:pt x="37" y="17"/>
                    <a:pt x="36" y="18"/>
                    <a:pt x="35" y="19"/>
                  </a:cubicBezTo>
                  <a:cubicBezTo>
                    <a:pt x="33" y="17"/>
                    <a:pt x="30" y="14"/>
                    <a:pt x="30" y="14"/>
                  </a:cubicBezTo>
                  <a:cubicBezTo>
                    <a:pt x="30" y="14"/>
                    <a:pt x="29" y="13"/>
                    <a:pt x="28" y="13"/>
                  </a:cubicBezTo>
                  <a:cubicBezTo>
                    <a:pt x="28" y="13"/>
                    <a:pt x="27" y="13"/>
                    <a:pt x="27" y="14"/>
                  </a:cubicBezTo>
                  <a:cubicBezTo>
                    <a:pt x="26" y="14"/>
                    <a:pt x="26" y="15"/>
                    <a:pt x="26" y="15"/>
                  </a:cubicBezTo>
                  <a:cubicBezTo>
                    <a:pt x="26" y="16"/>
                    <a:pt x="26" y="16"/>
                    <a:pt x="26" y="17"/>
                  </a:cubicBezTo>
                  <a:cubicBezTo>
                    <a:pt x="27" y="17"/>
                    <a:pt x="28" y="20"/>
                    <a:pt x="30" y="23"/>
                  </a:cubicBezTo>
                  <a:cubicBezTo>
                    <a:pt x="29" y="24"/>
                    <a:pt x="28" y="25"/>
                    <a:pt x="27" y="26"/>
                  </a:cubicBezTo>
                  <a:cubicBezTo>
                    <a:pt x="24" y="24"/>
                    <a:pt x="22" y="22"/>
                    <a:pt x="21" y="21"/>
                  </a:cubicBezTo>
                  <a:cubicBezTo>
                    <a:pt x="21" y="21"/>
                    <a:pt x="20" y="21"/>
                    <a:pt x="20" y="21"/>
                  </a:cubicBezTo>
                  <a:cubicBezTo>
                    <a:pt x="19" y="21"/>
                    <a:pt x="18" y="21"/>
                    <a:pt x="18" y="22"/>
                  </a:cubicBezTo>
                  <a:cubicBezTo>
                    <a:pt x="18" y="22"/>
                    <a:pt x="17" y="23"/>
                    <a:pt x="17" y="23"/>
                  </a:cubicBezTo>
                  <a:cubicBezTo>
                    <a:pt x="17" y="24"/>
                    <a:pt x="18" y="25"/>
                    <a:pt x="18" y="25"/>
                  </a:cubicBezTo>
                  <a:cubicBezTo>
                    <a:pt x="18" y="25"/>
                    <a:pt x="21" y="28"/>
                    <a:pt x="23" y="30"/>
                  </a:cubicBezTo>
                  <a:cubicBezTo>
                    <a:pt x="22" y="31"/>
                    <a:pt x="21" y="32"/>
                    <a:pt x="20" y="34"/>
                  </a:cubicBezTo>
                  <a:cubicBezTo>
                    <a:pt x="17" y="32"/>
                    <a:pt x="14" y="31"/>
                    <a:pt x="14" y="30"/>
                  </a:cubicBezTo>
                  <a:cubicBezTo>
                    <a:pt x="13" y="30"/>
                    <a:pt x="13" y="30"/>
                    <a:pt x="12" y="30"/>
                  </a:cubicBezTo>
                  <a:cubicBezTo>
                    <a:pt x="12" y="30"/>
                    <a:pt x="11" y="31"/>
                    <a:pt x="11" y="31"/>
                  </a:cubicBezTo>
                  <a:cubicBezTo>
                    <a:pt x="10" y="32"/>
                    <a:pt x="10" y="32"/>
                    <a:pt x="10" y="33"/>
                  </a:cubicBezTo>
                  <a:cubicBezTo>
                    <a:pt x="11" y="33"/>
                    <a:pt x="11" y="34"/>
                    <a:pt x="11" y="34"/>
                  </a:cubicBezTo>
                  <a:cubicBezTo>
                    <a:pt x="12" y="35"/>
                    <a:pt x="14" y="37"/>
                    <a:pt x="17" y="39"/>
                  </a:cubicBezTo>
                  <a:cubicBezTo>
                    <a:pt x="16" y="40"/>
                    <a:pt x="15" y="41"/>
                    <a:pt x="15" y="42"/>
                  </a:cubicBezTo>
                  <a:cubicBezTo>
                    <a:pt x="12" y="42"/>
                    <a:pt x="9" y="41"/>
                    <a:pt x="8" y="40"/>
                  </a:cubicBezTo>
                  <a:cubicBezTo>
                    <a:pt x="8" y="40"/>
                    <a:pt x="7" y="40"/>
                    <a:pt x="6" y="41"/>
                  </a:cubicBezTo>
                  <a:cubicBezTo>
                    <a:pt x="6" y="41"/>
                    <a:pt x="6" y="41"/>
                    <a:pt x="5" y="42"/>
                  </a:cubicBezTo>
                  <a:cubicBezTo>
                    <a:pt x="5" y="42"/>
                    <a:pt x="5" y="43"/>
                    <a:pt x="5" y="44"/>
                  </a:cubicBezTo>
                  <a:cubicBezTo>
                    <a:pt x="5" y="44"/>
                    <a:pt x="6" y="45"/>
                    <a:pt x="6" y="45"/>
                  </a:cubicBezTo>
                  <a:cubicBezTo>
                    <a:pt x="7" y="45"/>
                    <a:pt x="10" y="47"/>
                    <a:pt x="12" y="48"/>
                  </a:cubicBezTo>
                  <a:cubicBezTo>
                    <a:pt x="12" y="49"/>
                    <a:pt x="12" y="51"/>
                    <a:pt x="11" y="52"/>
                  </a:cubicBezTo>
                  <a:cubicBezTo>
                    <a:pt x="8" y="52"/>
                    <a:pt x="5" y="51"/>
                    <a:pt x="4" y="51"/>
                  </a:cubicBezTo>
                  <a:cubicBezTo>
                    <a:pt x="4" y="51"/>
                    <a:pt x="3" y="52"/>
                    <a:pt x="3" y="52"/>
                  </a:cubicBezTo>
                  <a:cubicBezTo>
                    <a:pt x="2" y="52"/>
                    <a:pt x="2" y="53"/>
                    <a:pt x="2" y="53"/>
                  </a:cubicBezTo>
                  <a:cubicBezTo>
                    <a:pt x="2" y="54"/>
                    <a:pt x="2" y="54"/>
                    <a:pt x="2" y="55"/>
                  </a:cubicBezTo>
                  <a:cubicBezTo>
                    <a:pt x="2" y="55"/>
                    <a:pt x="3" y="56"/>
                    <a:pt x="3" y="56"/>
                  </a:cubicBezTo>
                  <a:cubicBezTo>
                    <a:pt x="4" y="56"/>
                    <a:pt x="7" y="57"/>
                    <a:pt x="10" y="58"/>
                  </a:cubicBezTo>
                  <a:cubicBezTo>
                    <a:pt x="10" y="60"/>
                    <a:pt x="9" y="61"/>
                    <a:pt x="9" y="62"/>
                  </a:cubicBezTo>
                  <a:cubicBezTo>
                    <a:pt x="6" y="63"/>
                    <a:pt x="3" y="63"/>
                    <a:pt x="2" y="63"/>
                  </a:cubicBezTo>
                  <a:cubicBezTo>
                    <a:pt x="2" y="63"/>
                    <a:pt x="1" y="63"/>
                    <a:pt x="1" y="64"/>
                  </a:cubicBezTo>
                  <a:cubicBezTo>
                    <a:pt x="1" y="64"/>
                    <a:pt x="0" y="64"/>
                    <a:pt x="0" y="65"/>
                  </a:cubicBezTo>
                  <a:cubicBezTo>
                    <a:pt x="0" y="66"/>
                    <a:pt x="0" y="66"/>
                    <a:pt x="1" y="67"/>
                  </a:cubicBezTo>
                  <a:cubicBezTo>
                    <a:pt x="1" y="67"/>
                    <a:pt x="2" y="67"/>
                    <a:pt x="2" y="68"/>
                  </a:cubicBezTo>
                  <a:cubicBezTo>
                    <a:pt x="3" y="68"/>
                    <a:pt x="6" y="68"/>
                    <a:pt x="9" y="68"/>
                  </a:cubicBezTo>
                  <a:cubicBezTo>
                    <a:pt x="9" y="70"/>
                    <a:pt x="9" y="71"/>
                    <a:pt x="9" y="73"/>
                  </a:cubicBezTo>
                  <a:cubicBezTo>
                    <a:pt x="6" y="73"/>
                    <a:pt x="3" y="74"/>
                    <a:pt x="2" y="74"/>
                  </a:cubicBezTo>
                  <a:cubicBezTo>
                    <a:pt x="2" y="74"/>
                    <a:pt x="1" y="75"/>
                    <a:pt x="1" y="75"/>
                  </a:cubicBezTo>
                  <a:cubicBezTo>
                    <a:pt x="1" y="76"/>
                    <a:pt x="1" y="76"/>
                    <a:pt x="1" y="77"/>
                  </a:cubicBezTo>
                  <a:cubicBezTo>
                    <a:pt x="1" y="77"/>
                    <a:pt x="1" y="78"/>
                    <a:pt x="2" y="78"/>
                  </a:cubicBezTo>
                  <a:cubicBezTo>
                    <a:pt x="2" y="79"/>
                    <a:pt x="2" y="79"/>
                    <a:pt x="3" y="79"/>
                  </a:cubicBezTo>
                  <a:cubicBezTo>
                    <a:pt x="4" y="79"/>
                    <a:pt x="7" y="79"/>
                    <a:pt x="10" y="79"/>
                  </a:cubicBezTo>
                  <a:cubicBezTo>
                    <a:pt x="10" y="80"/>
                    <a:pt x="11" y="82"/>
                    <a:pt x="11" y="83"/>
                  </a:cubicBezTo>
                  <a:cubicBezTo>
                    <a:pt x="8" y="84"/>
                    <a:pt x="5" y="85"/>
                    <a:pt x="5" y="86"/>
                  </a:cubicBezTo>
                  <a:cubicBezTo>
                    <a:pt x="4" y="86"/>
                    <a:pt x="4" y="86"/>
                    <a:pt x="3" y="87"/>
                  </a:cubicBezTo>
                  <a:cubicBezTo>
                    <a:pt x="3" y="87"/>
                    <a:pt x="3" y="88"/>
                    <a:pt x="3" y="89"/>
                  </a:cubicBezTo>
                  <a:cubicBezTo>
                    <a:pt x="4" y="89"/>
                    <a:pt x="4" y="90"/>
                    <a:pt x="4" y="90"/>
                  </a:cubicBezTo>
                  <a:cubicBezTo>
                    <a:pt x="5" y="90"/>
                    <a:pt x="5" y="90"/>
                    <a:pt x="6" y="90"/>
                  </a:cubicBezTo>
                  <a:cubicBezTo>
                    <a:pt x="7" y="90"/>
                    <a:pt x="10" y="89"/>
                    <a:pt x="13" y="89"/>
                  </a:cubicBezTo>
                  <a:cubicBezTo>
                    <a:pt x="13" y="90"/>
                    <a:pt x="14" y="91"/>
                    <a:pt x="14" y="93"/>
                  </a:cubicBezTo>
                  <a:cubicBezTo>
                    <a:pt x="12" y="94"/>
                    <a:pt x="9" y="96"/>
                    <a:pt x="9" y="97"/>
                  </a:cubicBezTo>
                  <a:cubicBezTo>
                    <a:pt x="8" y="97"/>
                    <a:pt x="8" y="97"/>
                    <a:pt x="8" y="98"/>
                  </a:cubicBezTo>
                  <a:cubicBezTo>
                    <a:pt x="8" y="98"/>
                    <a:pt x="8" y="99"/>
                    <a:pt x="8" y="100"/>
                  </a:cubicBezTo>
                  <a:cubicBezTo>
                    <a:pt x="8" y="100"/>
                    <a:pt x="9" y="100"/>
                    <a:pt x="9" y="101"/>
                  </a:cubicBezTo>
                  <a:cubicBezTo>
                    <a:pt x="10" y="101"/>
                    <a:pt x="10" y="101"/>
                    <a:pt x="11" y="101"/>
                  </a:cubicBezTo>
                  <a:cubicBezTo>
                    <a:pt x="11" y="100"/>
                    <a:pt x="14" y="99"/>
                    <a:pt x="17" y="98"/>
                  </a:cubicBezTo>
                  <a:cubicBezTo>
                    <a:pt x="18" y="99"/>
                    <a:pt x="19" y="101"/>
                    <a:pt x="20" y="102"/>
                  </a:cubicBezTo>
                  <a:cubicBezTo>
                    <a:pt x="17" y="104"/>
                    <a:pt x="15" y="106"/>
                    <a:pt x="14" y="107"/>
                  </a:cubicBezTo>
                  <a:cubicBezTo>
                    <a:pt x="14" y="107"/>
                    <a:pt x="14" y="107"/>
                    <a:pt x="14" y="108"/>
                  </a:cubicBezTo>
                  <a:cubicBezTo>
                    <a:pt x="14" y="109"/>
                    <a:pt x="14" y="109"/>
                    <a:pt x="14" y="110"/>
                  </a:cubicBezTo>
                  <a:cubicBezTo>
                    <a:pt x="15" y="110"/>
                    <a:pt x="15" y="110"/>
                    <a:pt x="16" y="111"/>
                  </a:cubicBezTo>
                  <a:cubicBezTo>
                    <a:pt x="16" y="111"/>
                    <a:pt x="17" y="111"/>
                    <a:pt x="17" y="110"/>
                  </a:cubicBezTo>
                  <a:cubicBezTo>
                    <a:pt x="18" y="110"/>
                    <a:pt x="21" y="108"/>
                    <a:pt x="23" y="107"/>
                  </a:cubicBezTo>
                  <a:cubicBezTo>
                    <a:pt x="24" y="108"/>
                    <a:pt x="25" y="109"/>
                    <a:pt x="26" y="110"/>
                  </a:cubicBezTo>
                  <a:cubicBezTo>
                    <a:pt x="24" y="112"/>
                    <a:pt x="22" y="115"/>
                    <a:pt x="22" y="115"/>
                  </a:cubicBezTo>
                  <a:cubicBezTo>
                    <a:pt x="22" y="116"/>
                    <a:pt x="21" y="116"/>
                    <a:pt x="22" y="117"/>
                  </a:cubicBezTo>
                  <a:cubicBezTo>
                    <a:pt x="22" y="117"/>
                    <a:pt x="22" y="118"/>
                    <a:pt x="22" y="118"/>
                  </a:cubicBezTo>
                  <a:cubicBezTo>
                    <a:pt x="23" y="119"/>
                    <a:pt x="23" y="119"/>
                    <a:pt x="24" y="119"/>
                  </a:cubicBezTo>
                  <a:cubicBezTo>
                    <a:pt x="24" y="119"/>
                    <a:pt x="25" y="119"/>
                    <a:pt x="25" y="119"/>
                  </a:cubicBezTo>
                  <a:cubicBezTo>
                    <a:pt x="26" y="118"/>
                    <a:pt x="28" y="116"/>
                    <a:pt x="31" y="114"/>
                  </a:cubicBezTo>
                  <a:cubicBezTo>
                    <a:pt x="32" y="115"/>
                    <a:pt x="33" y="116"/>
                    <a:pt x="34" y="116"/>
                  </a:cubicBezTo>
                  <a:cubicBezTo>
                    <a:pt x="33" y="119"/>
                    <a:pt x="31" y="122"/>
                    <a:pt x="31" y="123"/>
                  </a:cubicBezTo>
                  <a:cubicBezTo>
                    <a:pt x="31" y="123"/>
                    <a:pt x="31" y="124"/>
                    <a:pt x="31" y="124"/>
                  </a:cubicBezTo>
                  <a:cubicBezTo>
                    <a:pt x="31" y="125"/>
                    <a:pt x="31" y="125"/>
                    <a:pt x="32" y="126"/>
                  </a:cubicBezTo>
                  <a:cubicBezTo>
                    <a:pt x="32" y="126"/>
                    <a:pt x="33" y="126"/>
                    <a:pt x="33" y="126"/>
                  </a:cubicBezTo>
                  <a:cubicBezTo>
                    <a:pt x="34" y="126"/>
                    <a:pt x="34" y="126"/>
                    <a:pt x="35" y="125"/>
                  </a:cubicBezTo>
                  <a:cubicBezTo>
                    <a:pt x="35" y="125"/>
                    <a:pt x="37" y="122"/>
                    <a:pt x="39" y="120"/>
                  </a:cubicBezTo>
                  <a:cubicBezTo>
                    <a:pt x="40" y="120"/>
                    <a:pt x="42" y="121"/>
                    <a:pt x="43" y="122"/>
                  </a:cubicBezTo>
                  <a:cubicBezTo>
                    <a:pt x="42" y="125"/>
                    <a:pt x="41" y="128"/>
                    <a:pt x="41" y="128"/>
                  </a:cubicBezTo>
                  <a:cubicBezTo>
                    <a:pt x="41" y="129"/>
                    <a:pt x="41" y="129"/>
                    <a:pt x="41" y="130"/>
                  </a:cubicBezTo>
                  <a:cubicBezTo>
                    <a:pt x="41" y="131"/>
                    <a:pt x="42" y="131"/>
                    <a:pt x="42" y="131"/>
                  </a:cubicBezTo>
                  <a:cubicBezTo>
                    <a:pt x="43" y="131"/>
                    <a:pt x="43" y="131"/>
                    <a:pt x="44" y="131"/>
                  </a:cubicBezTo>
                  <a:cubicBezTo>
                    <a:pt x="45" y="131"/>
                    <a:pt x="45" y="131"/>
                    <a:pt x="45" y="130"/>
                  </a:cubicBezTo>
                  <a:cubicBezTo>
                    <a:pt x="46" y="130"/>
                    <a:pt x="47" y="127"/>
                    <a:pt x="49" y="124"/>
                  </a:cubicBezTo>
                  <a:cubicBezTo>
                    <a:pt x="50" y="124"/>
                    <a:pt x="51" y="125"/>
                    <a:pt x="53" y="125"/>
                  </a:cubicBezTo>
                  <a:cubicBezTo>
                    <a:pt x="52" y="128"/>
                    <a:pt x="52" y="132"/>
                    <a:pt x="52" y="132"/>
                  </a:cubicBezTo>
                  <a:cubicBezTo>
                    <a:pt x="52" y="133"/>
                    <a:pt x="52" y="133"/>
                    <a:pt x="52" y="134"/>
                  </a:cubicBezTo>
                  <a:cubicBezTo>
                    <a:pt x="53" y="134"/>
                    <a:pt x="53" y="135"/>
                    <a:pt x="54" y="135"/>
                  </a:cubicBezTo>
                  <a:cubicBezTo>
                    <a:pt x="54" y="135"/>
                    <a:pt x="55" y="135"/>
                    <a:pt x="55" y="135"/>
                  </a:cubicBezTo>
                  <a:cubicBezTo>
                    <a:pt x="56" y="134"/>
                    <a:pt x="56" y="134"/>
                    <a:pt x="56" y="133"/>
                  </a:cubicBezTo>
                  <a:cubicBezTo>
                    <a:pt x="57" y="133"/>
                    <a:pt x="58" y="129"/>
                    <a:pt x="58" y="127"/>
                  </a:cubicBezTo>
                  <a:cubicBezTo>
                    <a:pt x="60" y="127"/>
                    <a:pt x="61" y="127"/>
                    <a:pt x="63" y="127"/>
                  </a:cubicBezTo>
                  <a:cubicBezTo>
                    <a:pt x="63" y="130"/>
                    <a:pt x="63" y="133"/>
                    <a:pt x="63" y="134"/>
                  </a:cubicBezTo>
                  <a:cubicBezTo>
                    <a:pt x="63" y="135"/>
                    <a:pt x="64" y="135"/>
                    <a:pt x="64" y="136"/>
                  </a:cubicBezTo>
                  <a:cubicBezTo>
                    <a:pt x="64" y="136"/>
                    <a:pt x="65" y="136"/>
                    <a:pt x="65" y="136"/>
                  </a:cubicBezTo>
                  <a:cubicBezTo>
                    <a:pt x="66" y="136"/>
                    <a:pt x="67" y="136"/>
                    <a:pt x="67" y="136"/>
                  </a:cubicBezTo>
                  <a:cubicBezTo>
                    <a:pt x="67" y="135"/>
                    <a:pt x="68" y="135"/>
                    <a:pt x="68" y="134"/>
                  </a:cubicBezTo>
                  <a:cubicBezTo>
                    <a:pt x="68" y="134"/>
                    <a:pt x="68" y="130"/>
                    <a:pt x="69" y="127"/>
                  </a:cubicBezTo>
                  <a:cubicBezTo>
                    <a:pt x="70" y="127"/>
                    <a:pt x="72" y="127"/>
                    <a:pt x="73" y="127"/>
                  </a:cubicBezTo>
                  <a:cubicBezTo>
                    <a:pt x="74" y="130"/>
                    <a:pt x="74" y="133"/>
                    <a:pt x="75" y="134"/>
                  </a:cubicBezTo>
                  <a:cubicBezTo>
                    <a:pt x="75" y="135"/>
                    <a:pt x="75" y="135"/>
                    <a:pt x="76" y="135"/>
                  </a:cubicBezTo>
                  <a:cubicBezTo>
                    <a:pt x="76" y="136"/>
                    <a:pt x="77" y="136"/>
                    <a:pt x="77" y="136"/>
                  </a:cubicBezTo>
                  <a:cubicBezTo>
                    <a:pt x="78" y="136"/>
                    <a:pt x="78" y="135"/>
                    <a:pt x="79" y="135"/>
                  </a:cubicBezTo>
                  <a:cubicBezTo>
                    <a:pt x="79" y="135"/>
                    <a:pt x="79" y="134"/>
                    <a:pt x="79" y="133"/>
                  </a:cubicBezTo>
                  <a:cubicBezTo>
                    <a:pt x="79" y="133"/>
                    <a:pt x="79" y="129"/>
                    <a:pt x="79" y="126"/>
                  </a:cubicBezTo>
                  <a:cubicBezTo>
                    <a:pt x="81" y="126"/>
                    <a:pt x="82" y="126"/>
                    <a:pt x="83" y="125"/>
                  </a:cubicBezTo>
                  <a:cubicBezTo>
                    <a:pt x="84" y="128"/>
                    <a:pt x="86" y="131"/>
                    <a:pt x="86" y="132"/>
                  </a:cubicBezTo>
                  <a:cubicBezTo>
                    <a:pt x="86" y="132"/>
                    <a:pt x="87" y="133"/>
                    <a:pt x="87" y="133"/>
                  </a:cubicBezTo>
                  <a:cubicBezTo>
                    <a:pt x="88" y="133"/>
                    <a:pt x="88" y="133"/>
                    <a:pt x="89" y="133"/>
                  </a:cubicBezTo>
                  <a:cubicBezTo>
                    <a:pt x="89" y="133"/>
                    <a:pt x="90" y="133"/>
                    <a:pt x="90" y="132"/>
                  </a:cubicBezTo>
                  <a:cubicBezTo>
                    <a:pt x="90" y="132"/>
                    <a:pt x="91" y="131"/>
                    <a:pt x="90" y="131"/>
                  </a:cubicBezTo>
                  <a:cubicBezTo>
                    <a:pt x="90" y="130"/>
                    <a:pt x="90" y="127"/>
                    <a:pt x="89" y="124"/>
                  </a:cubicBezTo>
                  <a:cubicBezTo>
                    <a:pt x="90" y="123"/>
                    <a:pt x="92" y="123"/>
                    <a:pt x="93" y="122"/>
                  </a:cubicBezTo>
                  <a:cubicBezTo>
                    <a:pt x="95" y="125"/>
                    <a:pt x="96" y="127"/>
                    <a:pt x="97" y="12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 name="Freeform 419">
              <a:extLst>
                <a:ext uri="{FF2B5EF4-FFF2-40B4-BE49-F238E27FC236}">
                  <a16:creationId xmlns:a16="http://schemas.microsoft.com/office/drawing/2014/main" id="{0D60351D-9747-43E9-A652-13AEA275D0CE}"/>
                </a:ext>
              </a:extLst>
            </p:cNvPr>
            <p:cNvSpPr>
              <a:spLocks noEditPoints="1"/>
            </p:cNvSpPr>
            <p:nvPr/>
          </p:nvSpPr>
          <p:spPr bwMode="auto">
            <a:xfrm>
              <a:off x="645134" y="2567089"/>
              <a:ext cx="143776" cy="196309"/>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solidFill>
              <a:schemeClr val="tx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6" name="Group 35"/>
          <p:cNvGrpSpPr/>
          <p:nvPr/>
        </p:nvGrpSpPr>
        <p:grpSpPr>
          <a:xfrm>
            <a:off x="10885275" y="2457748"/>
            <a:ext cx="311787" cy="311787"/>
            <a:chOff x="1179937" y="2513742"/>
            <a:chExt cx="311787" cy="311787"/>
          </a:xfrm>
        </p:grpSpPr>
        <p:sp>
          <p:nvSpPr>
            <p:cNvPr id="15" name="Freeform 16">
              <a:extLst>
                <a:ext uri="{FF2B5EF4-FFF2-40B4-BE49-F238E27FC236}">
                  <a16:creationId xmlns:a16="http://schemas.microsoft.com/office/drawing/2014/main" id="{07493CDF-74FC-4A05-8AC0-529418FCA044}"/>
                </a:ext>
              </a:extLst>
            </p:cNvPr>
            <p:cNvSpPr>
              <a:spLocks noEditPoints="1"/>
            </p:cNvSpPr>
            <p:nvPr/>
          </p:nvSpPr>
          <p:spPr bwMode="auto">
            <a:xfrm>
              <a:off x="1179937" y="2513742"/>
              <a:ext cx="311787" cy="311787"/>
            </a:xfrm>
            <a:custGeom>
              <a:avLst/>
              <a:gdLst>
                <a:gd name="T0" fmla="*/ 105 w 107"/>
                <a:gd name="T1" fmla="*/ 52 h 107"/>
                <a:gd name="T2" fmla="*/ 106 w 107"/>
                <a:gd name="T3" fmla="*/ 44 h 107"/>
                <a:gd name="T4" fmla="*/ 103 w 107"/>
                <a:gd name="T5" fmla="*/ 37 h 107"/>
                <a:gd name="T6" fmla="*/ 96 w 107"/>
                <a:gd name="T7" fmla="*/ 35 h 107"/>
                <a:gd name="T8" fmla="*/ 99 w 107"/>
                <a:gd name="T9" fmla="*/ 26 h 107"/>
                <a:gd name="T10" fmla="*/ 95 w 107"/>
                <a:gd name="T11" fmla="*/ 20 h 107"/>
                <a:gd name="T12" fmla="*/ 85 w 107"/>
                <a:gd name="T13" fmla="*/ 19 h 107"/>
                <a:gd name="T14" fmla="*/ 86 w 107"/>
                <a:gd name="T15" fmla="*/ 12 h 107"/>
                <a:gd name="T16" fmla="*/ 80 w 107"/>
                <a:gd name="T17" fmla="*/ 7 h 107"/>
                <a:gd name="T18" fmla="*/ 73 w 107"/>
                <a:gd name="T19" fmla="*/ 5 h 107"/>
                <a:gd name="T20" fmla="*/ 67 w 107"/>
                <a:gd name="T21" fmla="*/ 9 h 107"/>
                <a:gd name="T22" fmla="*/ 62 w 107"/>
                <a:gd name="T23" fmla="*/ 1 h 107"/>
                <a:gd name="T24" fmla="*/ 55 w 107"/>
                <a:gd name="T25" fmla="*/ 0 h 107"/>
                <a:gd name="T26" fmla="*/ 48 w 107"/>
                <a:gd name="T27" fmla="*/ 7 h 107"/>
                <a:gd name="T28" fmla="*/ 43 w 107"/>
                <a:gd name="T29" fmla="*/ 3 h 107"/>
                <a:gd name="T30" fmla="*/ 35 w 107"/>
                <a:gd name="T31" fmla="*/ 3 h 107"/>
                <a:gd name="T32" fmla="*/ 29 w 107"/>
                <a:gd name="T33" fmla="*/ 7 h 107"/>
                <a:gd name="T34" fmla="*/ 28 w 107"/>
                <a:gd name="T35" fmla="*/ 14 h 107"/>
                <a:gd name="T36" fmla="*/ 19 w 107"/>
                <a:gd name="T37" fmla="*/ 14 h 107"/>
                <a:gd name="T38" fmla="*/ 14 w 107"/>
                <a:gd name="T39" fmla="*/ 18 h 107"/>
                <a:gd name="T40" fmla="*/ 15 w 107"/>
                <a:gd name="T41" fmla="*/ 28 h 107"/>
                <a:gd name="T42" fmla="*/ 8 w 107"/>
                <a:gd name="T43" fmla="*/ 29 h 107"/>
                <a:gd name="T44" fmla="*/ 3 w 107"/>
                <a:gd name="T45" fmla="*/ 35 h 107"/>
                <a:gd name="T46" fmla="*/ 3 w 107"/>
                <a:gd name="T47" fmla="*/ 43 h 107"/>
                <a:gd name="T48" fmla="*/ 7 w 107"/>
                <a:gd name="T49" fmla="*/ 48 h 107"/>
                <a:gd name="T50" fmla="*/ 1 w 107"/>
                <a:gd name="T51" fmla="*/ 55 h 107"/>
                <a:gd name="T52" fmla="*/ 1 w 107"/>
                <a:gd name="T53" fmla="*/ 61 h 107"/>
                <a:gd name="T54" fmla="*/ 9 w 107"/>
                <a:gd name="T55" fmla="*/ 67 h 107"/>
                <a:gd name="T56" fmla="*/ 5 w 107"/>
                <a:gd name="T57" fmla="*/ 73 h 107"/>
                <a:gd name="T58" fmla="*/ 7 w 107"/>
                <a:gd name="T59" fmla="*/ 80 h 107"/>
                <a:gd name="T60" fmla="*/ 13 w 107"/>
                <a:gd name="T61" fmla="*/ 85 h 107"/>
                <a:gd name="T62" fmla="*/ 20 w 107"/>
                <a:gd name="T63" fmla="*/ 85 h 107"/>
                <a:gd name="T64" fmla="*/ 20 w 107"/>
                <a:gd name="T65" fmla="*/ 95 h 107"/>
                <a:gd name="T66" fmla="*/ 26 w 107"/>
                <a:gd name="T67" fmla="*/ 99 h 107"/>
                <a:gd name="T68" fmla="*/ 36 w 107"/>
                <a:gd name="T69" fmla="*/ 96 h 107"/>
                <a:gd name="T70" fmla="*/ 38 w 107"/>
                <a:gd name="T71" fmla="*/ 103 h 107"/>
                <a:gd name="T72" fmla="*/ 44 w 107"/>
                <a:gd name="T73" fmla="*/ 106 h 107"/>
                <a:gd name="T74" fmla="*/ 52 w 107"/>
                <a:gd name="T75" fmla="*/ 105 h 107"/>
                <a:gd name="T76" fmla="*/ 56 w 107"/>
                <a:gd name="T77" fmla="*/ 100 h 107"/>
                <a:gd name="T78" fmla="*/ 64 w 107"/>
                <a:gd name="T79" fmla="*/ 106 h 107"/>
                <a:gd name="T80" fmla="*/ 71 w 107"/>
                <a:gd name="T81" fmla="*/ 104 h 107"/>
                <a:gd name="T82" fmla="*/ 75 w 107"/>
                <a:gd name="T83" fmla="*/ 95 h 107"/>
                <a:gd name="T84" fmla="*/ 81 w 107"/>
                <a:gd name="T85" fmla="*/ 97 h 107"/>
                <a:gd name="T86" fmla="*/ 88 w 107"/>
                <a:gd name="T87" fmla="*/ 94 h 107"/>
                <a:gd name="T88" fmla="*/ 92 w 107"/>
                <a:gd name="T89" fmla="*/ 88 h 107"/>
                <a:gd name="T90" fmla="*/ 91 w 107"/>
                <a:gd name="T91" fmla="*/ 82 h 107"/>
                <a:gd name="T92" fmla="*/ 100 w 107"/>
                <a:gd name="T93" fmla="*/ 79 h 107"/>
                <a:gd name="T94" fmla="*/ 103 w 107"/>
                <a:gd name="T95" fmla="*/ 73 h 107"/>
                <a:gd name="T96" fmla="*/ 99 w 107"/>
                <a:gd name="T97" fmla="*/ 64 h 107"/>
                <a:gd name="T98" fmla="*/ 105 w 107"/>
                <a:gd name="T99" fmla="*/ 61 h 107"/>
                <a:gd name="T100" fmla="*/ 53 w 107"/>
                <a:gd name="T101" fmla="*/ 96 h 107"/>
                <a:gd name="T102" fmla="*/ 39 w 107"/>
                <a:gd name="T103" fmla="*/ 93 h 107"/>
                <a:gd name="T104" fmla="*/ 27 w 107"/>
                <a:gd name="T105"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7" h="107">
                  <a:moveTo>
                    <a:pt x="105" y="55"/>
                  </a:moveTo>
                  <a:cubicBezTo>
                    <a:pt x="106" y="55"/>
                    <a:pt x="106" y="55"/>
                    <a:pt x="107" y="55"/>
                  </a:cubicBezTo>
                  <a:cubicBezTo>
                    <a:pt x="107" y="54"/>
                    <a:pt x="107" y="54"/>
                    <a:pt x="107" y="53"/>
                  </a:cubicBezTo>
                  <a:cubicBezTo>
                    <a:pt x="107" y="53"/>
                    <a:pt x="107" y="52"/>
                    <a:pt x="107" y="52"/>
                  </a:cubicBezTo>
                  <a:cubicBezTo>
                    <a:pt x="106" y="52"/>
                    <a:pt x="106" y="52"/>
                    <a:pt x="105" y="52"/>
                  </a:cubicBezTo>
                  <a:cubicBezTo>
                    <a:pt x="105" y="51"/>
                    <a:pt x="102" y="51"/>
                    <a:pt x="100" y="51"/>
                  </a:cubicBezTo>
                  <a:cubicBezTo>
                    <a:pt x="100" y="50"/>
                    <a:pt x="100" y="49"/>
                    <a:pt x="100" y="48"/>
                  </a:cubicBezTo>
                  <a:cubicBezTo>
                    <a:pt x="102" y="47"/>
                    <a:pt x="105" y="46"/>
                    <a:pt x="105" y="46"/>
                  </a:cubicBezTo>
                  <a:cubicBezTo>
                    <a:pt x="105" y="46"/>
                    <a:pt x="106" y="46"/>
                    <a:pt x="106" y="45"/>
                  </a:cubicBezTo>
                  <a:cubicBezTo>
                    <a:pt x="106" y="45"/>
                    <a:pt x="106" y="44"/>
                    <a:pt x="106" y="44"/>
                  </a:cubicBezTo>
                  <a:cubicBezTo>
                    <a:pt x="106" y="44"/>
                    <a:pt x="106" y="43"/>
                    <a:pt x="106" y="43"/>
                  </a:cubicBezTo>
                  <a:cubicBezTo>
                    <a:pt x="105" y="43"/>
                    <a:pt x="105" y="42"/>
                    <a:pt x="104" y="43"/>
                  </a:cubicBezTo>
                  <a:cubicBezTo>
                    <a:pt x="104" y="43"/>
                    <a:pt x="101" y="43"/>
                    <a:pt x="99" y="43"/>
                  </a:cubicBezTo>
                  <a:cubicBezTo>
                    <a:pt x="99" y="42"/>
                    <a:pt x="98" y="41"/>
                    <a:pt x="98" y="40"/>
                  </a:cubicBezTo>
                  <a:cubicBezTo>
                    <a:pt x="100" y="39"/>
                    <a:pt x="103" y="38"/>
                    <a:pt x="103" y="37"/>
                  </a:cubicBezTo>
                  <a:cubicBezTo>
                    <a:pt x="103" y="37"/>
                    <a:pt x="104" y="37"/>
                    <a:pt x="104" y="36"/>
                  </a:cubicBezTo>
                  <a:cubicBezTo>
                    <a:pt x="104" y="36"/>
                    <a:pt x="104" y="35"/>
                    <a:pt x="104" y="35"/>
                  </a:cubicBezTo>
                  <a:cubicBezTo>
                    <a:pt x="104" y="35"/>
                    <a:pt x="103" y="34"/>
                    <a:pt x="103" y="34"/>
                  </a:cubicBezTo>
                  <a:cubicBezTo>
                    <a:pt x="103" y="34"/>
                    <a:pt x="102" y="34"/>
                    <a:pt x="102" y="34"/>
                  </a:cubicBezTo>
                  <a:cubicBezTo>
                    <a:pt x="101" y="34"/>
                    <a:pt x="99" y="35"/>
                    <a:pt x="96" y="35"/>
                  </a:cubicBezTo>
                  <a:cubicBezTo>
                    <a:pt x="96" y="34"/>
                    <a:pt x="96" y="33"/>
                    <a:pt x="95" y="32"/>
                  </a:cubicBezTo>
                  <a:cubicBezTo>
                    <a:pt x="97" y="31"/>
                    <a:pt x="99" y="29"/>
                    <a:pt x="99" y="29"/>
                  </a:cubicBezTo>
                  <a:cubicBezTo>
                    <a:pt x="100" y="29"/>
                    <a:pt x="100" y="28"/>
                    <a:pt x="100" y="28"/>
                  </a:cubicBezTo>
                  <a:cubicBezTo>
                    <a:pt x="100" y="27"/>
                    <a:pt x="100" y="27"/>
                    <a:pt x="100" y="27"/>
                  </a:cubicBezTo>
                  <a:cubicBezTo>
                    <a:pt x="100" y="26"/>
                    <a:pt x="99" y="26"/>
                    <a:pt x="99" y="26"/>
                  </a:cubicBezTo>
                  <a:cubicBezTo>
                    <a:pt x="99" y="26"/>
                    <a:pt x="98" y="26"/>
                    <a:pt x="98" y="26"/>
                  </a:cubicBezTo>
                  <a:cubicBezTo>
                    <a:pt x="97" y="26"/>
                    <a:pt x="95" y="27"/>
                    <a:pt x="93" y="28"/>
                  </a:cubicBezTo>
                  <a:cubicBezTo>
                    <a:pt x="92" y="27"/>
                    <a:pt x="91" y="26"/>
                    <a:pt x="91" y="25"/>
                  </a:cubicBezTo>
                  <a:cubicBezTo>
                    <a:pt x="92" y="24"/>
                    <a:pt x="94" y="22"/>
                    <a:pt x="95" y="21"/>
                  </a:cubicBezTo>
                  <a:cubicBezTo>
                    <a:pt x="95" y="21"/>
                    <a:pt x="95" y="21"/>
                    <a:pt x="95" y="20"/>
                  </a:cubicBezTo>
                  <a:cubicBezTo>
                    <a:pt x="95" y="20"/>
                    <a:pt x="95" y="19"/>
                    <a:pt x="95" y="19"/>
                  </a:cubicBezTo>
                  <a:cubicBezTo>
                    <a:pt x="94" y="19"/>
                    <a:pt x="94" y="18"/>
                    <a:pt x="93" y="18"/>
                  </a:cubicBezTo>
                  <a:cubicBezTo>
                    <a:pt x="93" y="18"/>
                    <a:pt x="93" y="18"/>
                    <a:pt x="92" y="19"/>
                  </a:cubicBezTo>
                  <a:cubicBezTo>
                    <a:pt x="92" y="19"/>
                    <a:pt x="90" y="20"/>
                    <a:pt x="88" y="22"/>
                  </a:cubicBezTo>
                  <a:cubicBezTo>
                    <a:pt x="87" y="21"/>
                    <a:pt x="86" y="20"/>
                    <a:pt x="85" y="19"/>
                  </a:cubicBezTo>
                  <a:cubicBezTo>
                    <a:pt x="87" y="17"/>
                    <a:pt x="88" y="15"/>
                    <a:pt x="88" y="15"/>
                  </a:cubicBezTo>
                  <a:cubicBezTo>
                    <a:pt x="89" y="14"/>
                    <a:pt x="89" y="14"/>
                    <a:pt x="89" y="14"/>
                  </a:cubicBezTo>
                  <a:cubicBezTo>
                    <a:pt x="89" y="13"/>
                    <a:pt x="88" y="13"/>
                    <a:pt x="88" y="12"/>
                  </a:cubicBezTo>
                  <a:cubicBezTo>
                    <a:pt x="88" y="12"/>
                    <a:pt x="87" y="12"/>
                    <a:pt x="87" y="12"/>
                  </a:cubicBezTo>
                  <a:cubicBezTo>
                    <a:pt x="86" y="12"/>
                    <a:pt x="86" y="12"/>
                    <a:pt x="86" y="12"/>
                  </a:cubicBezTo>
                  <a:cubicBezTo>
                    <a:pt x="85" y="13"/>
                    <a:pt x="83" y="15"/>
                    <a:pt x="82" y="16"/>
                  </a:cubicBezTo>
                  <a:cubicBezTo>
                    <a:pt x="81" y="16"/>
                    <a:pt x="80" y="15"/>
                    <a:pt x="79" y="14"/>
                  </a:cubicBezTo>
                  <a:cubicBezTo>
                    <a:pt x="80" y="12"/>
                    <a:pt x="81" y="10"/>
                    <a:pt x="81" y="9"/>
                  </a:cubicBezTo>
                  <a:cubicBezTo>
                    <a:pt x="81" y="9"/>
                    <a:pt x="81" y="8"/>
                    <a:pt x="81" y="8"/>
                  </a:cubicBezTo>
                  <a:cubicBezTo>
                    <a:pt x="81" y="8"/>
                    <a:pt x="81" y="7"/>
                    <a:pt x="80" y="7"/>
                  </a:cubicBezTo>
                  <a:cubicBezTo>
                    <a:pt x="80" y="7"/>
                    <a:pt x="80" y="7"/>
                    <a:pt x="79" y="7"/>
                  </a:cubicBezTo>
                  <a:cubicBezTo>
                    <a:pt x="79" y="7"/>
                    <a:pt x="78" y="7"/>
                    <a:pt x="78" y="7"/>
                  </a:cubicBezTo>
                  <a:cubicBezTo>
                    <a:pt x="78" y="8"/>
                    <a:pt x="76" y="10"/>
                    <a:pt x="75" y="12"/>
                  </a:cubicBezTo>
                  <a:cubicBezTo>
                    <a:pt x="74" y="11"/>
                    <a:pt x="73" y="11"/>
                    <a:pt x="72" y="10"/>
                  </a:cubicBezTo>
                  <a:cubicBezTo>
                    <a:pt x="72" y="8"/>
                    <a:pt x="73" y="6"/>
                    <a:pt x="73" y="5"/>
                  </a:cubicBezTo>
                  <a:cubicBezTo>
                    <a:pt x="73" y="5"/>
                    <a:pt x="73" y="4"/>
                    <a:pt x="73" y="4"/>
                  </a:cubicBezTo>
                  <a:cubicBezTo>
                    <a:pt x="73" y="3"/>
                    <a:pt x="72" y="3"/>
                    <a:pt x="72" y="3"/>
                  </a:cubicBezTo>
                  <a:cubicBezTo>
                    <a:pt x="71" y="3"/>
                    <a:pt x="71" y="3"/>
                    <a:pt x="71" y="3"/>
                  </a:cubicBezTo>
                  <a:cubicBezTo>
                    <a:pt x="70" y="3"/>
                    <a:pt x="70" y="3"/>
                    <a:pt x="70" y="4"/>
                  </a:cubicBezTo>
                  <a:cubicBezTo>
                    <a:pt x="69" y="4"/>
                    <a:pt x="68" y="7"/>
                    <a:pt x="67" y="9"/>
                  </a:cubicBezTo>
                  <a:cubicBezTo>
                    <a:pt x="66" y="8"/>
                    <a:pt x="65" y="8"/>
                    <a:pt x="64" y="8"/>
                  </a:cubicBezTo>
                  <a:cubicBezTo>
                    <a:pt x="64" y="6"/>
                    <a:pt x="64" y="3"/>
                    <a:pt x="64" y="3"/>
                  </a:cubicBezTo>
                  <a:cubicBezTo>
                    <a:pt x="64" y="2"/>
                    <a:pt x="64" y="2"/>
                    <a:pt x="64" y="1"/>
                  </a:cubicBezTo>
                  <a:cubicBezTo>
                    <a:pt x="64" y="1"/>
                    <a:pt x="63" y="1"/>
                    <a:pt x="63" y="1"/>
                  </a:cubicBezTo>
                  <a:cubicBezTo>
                    <a:pt x="62" y="0"/>
                    <a:pt x="62" y="1"/>
                    <a:pt x="62" y="1"/>
                  </a:cubicBezTo>
                  <a:cubicBezTo>
                    <a:pt x="61" y="1"/>
                    <a:pt x="61" y="1"/>
                    <a:pt x="61" y="2"/>
                  </a:cubicBezTo>
                  <a:cubicBezTo>
                    <a:pt x="61" y="2"/>
                    <a:pt x="60" y="5"/>
                    <a:pt x="59" y="7"/>
                  </a:cubicBezTo>
                  <a:cubicBezTo>
                    <a:pt x="58" y="7"/>
                    <a:pt x="57" y="7"/>
                    <a:pt x="56" y="7"/>
                  </a:cubicBezTo>
                  <a:cubicBezTo>
                    <a:pt x="56" y="4"/>
                    <a:pt x="56" y="2"/>
                    <a:pt x="55" y="1"/>
                  </a:cubicBezTo>
                  <a:cubicBezTo>
                    <a:pt x="55" y="1"/>
                    <a:pt x="55" y="0"/>
                    <a:pt x="55" y="0"/>
                  </a:cubicBezTo>
                  <a:cubicBezTo>
                    <a:pt x="55" y="0"/>
                    <a:pt x="54" y="0"/>
                    <a:pt x="54" y="0"/>
                  </a:cubicBezTo>
                  <a:cubicBezTo>
                    <a:pt x="53" y="0"/>
                    <a:pt x="53" y="0"/>
                    <a:pt x="52" y="0"/>
                  </a:cubicBezTo>
                  <a:cubicBezTo>
                    <a:pt x="52" y="1"/>
                    <a:pt x="52" y="1"/>
                    <a:pt x="52" y="1"/>
                  </a:cubicBezTo>
                  <a:cubicBezTo>
                    <a:pt x="52" y="2"/>
                    <a:pt x="51" y="4"/>
                    <a:pt x="51" y="7"/>
                  </a:cubicBezTo>
                  <a:cubicBezTo>
                    <a:pt x="50" y="7"/>
                    <a:pt x="49" y="7"/>
                    <a:pt x="48" y="7"/>
                  </a:cubicBezTo>
                  <a:cubicBezTo>
                    <a:pt x="47" y="5"/>
                    <a:pt x="47" y="2"/>
                    <a:pt x="46" y="2"/>
                  </a:cubicBezTo>
                  <a:cubicBezTo>
                    <a:pt x="46" y="1"/>
                    <a:pt x="46" y="1"/>
                    <a:pt x="46" y="1"/>
                  </a:cubicBezTo>
                  <a:cubicBezTo>
                    <a:pt x="45" y="1"/>
                    <a:pt x="45" y="0"/>
                    <a:pt x="44" y="1"/>
                  </a:cubicBezTo>
                  <a:cubicBezTo>
                    <a:pt x="44" y="1"/>
                    <a:pt x="43" y="1"/>
                    <a:pt x="43" y="1"/>
                  </a:cubicBezTo>
                  <a:cubicBezTo>
                    <a:pt x="43" y="2"/>
                    <a:pt x="43" y="2"/>
                    <a:pt x="43" y="3"/>
                  </a:cubicBezTo>
                  <a:cubicBezTo>
                    <a:pt x="43" y="3"/>
                    <a:pt x="43" y="6"/>
                    <a:pt x="43" y="8"/>
                  </a:cubicBezTo>
                  <a:cubicBezTo>
                    <a:pt x="42" y="8"/>
                    <a:pt x="41" y="8"/>
                    <a:pt x="40" y="9"/>
                  </a:cubicBezTo>
                  <a:cubicBezTo>
                    <a:pt x="39" y="7"/>
                    <a:pt x="38" y="4"/>
                    <a:pt x="38" y="4"/>
                  </a:cubicBezTo>
                  <a:cubicBezTo>
                    <a:pt x="37" y="3"/>
                    <a:pt x="37" y="3"/>
                    <a:pt x="37" y="3"/>
                  </a:cubicBezTo>
                  <a:cubicBezTo>
                    <a:pt x="36" y="3"/>
                    <a:pt x="36" y="3"/>
                    <a:pt x="35" y="3"/>
                  </a:cubicBezTo>
                  <a:cubicBezTo>
                    <a:pt x="35" y="3"/>
                    <a:pt x="35" y="3"/>
                    <a:pt x="34" y="4"/>
                  </a:cubicBezTo>
                  <a:cubicBezTo>
                    <a:pt x="34" y="4"/>
                    <a:pt x="34" y="5"/>
                    <a:pt x="34" y="5"/>
                  </a:cubicBezTo>
                  <a:cubicBezTo>
                    <a:pt x="34" y="6"/>
                    <a:pt x="35" y="8"/>
                    <a:pt x="36" y="10"/>
                  </a:cubicBezTo>
                  <a:cubicBezTo>
                    <a:pt x="35" y="11"/>
                    <a:pt x="33" y="11"/>
                    <a:pt x="32" y="12"/>
                  </a:cubicBezTo>
                  <a:cubicBezTo>
                    <a:pt x="31" y="10"/>
                    <a:pt x="30" y="8"/>
                    <a:pt x="29" y="7"/>
                  </a:cubicBezTo>
                  <a:cubicBezTo>
                    <a:pt x="29" y="7"/>
                    <a:pt x="29" y="7"/>
                    <a:pt x="28" y="7"/>
                  </a:cubicBezTo>
                  <a:cubicBezTo>
                    <a:pt x="28" y="7"/>
                    <a:pt x="27" y="7"/>
                    <a:pt x="27" y="7"/>
                  </a:cubicBezTo>
                  <a:cubicBezTo>
                    <a:pt x="27" y="7"/>
                    <a:pt x="26" y="8"/>
                    <a:pt x="26" y="8"/>
                  </a:cubicBezTo>
                  <a:cubicBezTo>
                    <a:pt x="26" y="8"/>
                    <a:pt x="26" y="9"/>
                    <a:pt x="26" y="9"/>
                  </a:cubicBezTo>
                  <a:cubicBezTo>
                    <a:pt x="26" y="10"/>
                    <a:pt x="27" y="12"/>
                    <a:pt x="28" y="14"/>
                  </a:cubicBezTo>
                  <a:cubicBezTo>
                    <a:pt x="27" y="15"/>
                    <a:pt x="27" y="16"/>
                    <a:pt x="26" y="16"/>
                  </a:cubicBezTo>
                  <a:cubicBezTo>
                    <a:pt x="24" y="15"/>
                    <a:pt x="22" y="13"/>
                    <a:pt x="22" y="12"/>
                  </a:cubicBezTo>
                  <a:cubicBezTo>
                    <a:pt x="21" y="12"/>
                    <a:pt x="21" y="12"/>
                    <a:pt x="20" y="12"/>
                  </a:cubicBezTo>
                  <a:cubicBezTo>
                    <a:pt x="20" y="12"/>
                    <a:pt x="20" y="12"/>
                    <a:pt x="19" y="12"/>
                  </a:cubicBezTo>
                  <a:cubicBezTo>
                    <a:pt x="19" y="13"/>
                    <a:pt x="19" y="13"/>
                    <a:pt x="19" y="14"/>
                  </a:cubicBezTo>
                  <a:cubicBezTo>
                    <a:pt x="19" y="14"/>
                    <a:pt x="19" y="14"/>
                    <a:pt x="19" y="15"/>
                  </a:cubicBezTo>
                  <a:cubicBezTo>
                    <a:pt x="19" y="15"/>
                    <a:pt x="21" y="17"/>
                    <a:pt x="22" y="19"/>
                  </a:cubicBezTo>
                  <a:cubicBezTo>
                    <a:pt x="21" y="20"/>
                    <a:pt x="20" y="21"/>
                    <a:pt x="20" y="22"/>
                  </a:cubicBezTo>
                  <a:cubicBezTo>
                    <a:pt x="18" y="20"/>
                    <a:pt x="16" y="19"/>
                    <a:pt x="15" y="19"/>
                  </a:cubicBezTo>
                  <a:cubicBezTo>
                    <a:pt x="15" y="18"/>
                    <a:pt x="14" y="18"/>
                    <a:pt x="14" y="18"/>
                  </a:cubicBezTo>
                  <a:cubicBezTo>
                    <a:pt x="13" y="18"/>
                    <a:pt x="13" y="19"/>
                    <a:pt x="13" y="19"/>
                  </a:cubicBezTo>
                  <a:cubicBezTo>
                    <a:pt x="12" y="19"/>
                    <a:pt x="12" y="20"/>
                    <a:pt x="12" y="20"/>
                  </a:cubicBezTo>
                  <a:cubicBezTo>
                    <a:pt x="12" y="21"/>
                    <a:pt x="12" y="21"/>
                    <a:pt x="13" y="21"/>
                  </a:cubicBezTo>
                  <a:cubicBezTo>
                    <a:pt x="13" y="22"/>
                    <a:pt x="15" y="24"/>
                    <a:pt x="17" y="25"/>
                  </a:cubicBezTo>
                  <a:cubicBezTo>
                    <a:pt x="16" y="26"/>
                    <a:pt x="15" y="27"/>
                    <a:pt x="15" y="28"/>
                  </a:cubicBezTo>
                  <a:cubicBezTo>
                    <a:pt x="12" y="27"/>
                    <a:pt x="10" y="26"/>
                    <a:pt x="10" y="26"/>
                  </a:cubicBezTo>
                  <a:cubicBezTo>
                    <a:pt x="9" y="26"/>
                    <a:pt x="9" y="26"/>
                    <a:pt x="8" y="26"/>
                  </a:cubicBezTo>
                  <a:cubicBezTo>
                    <a:pt x="8" y="26"/>
                    <a:pt x="8" y="26"/>
                    <a:pt x="7" y="27"/>
                  </a:cubicBezTo>
                  <a:cubicBezTo>
                    <a:pt x="7" y="27"/>
                    <a:pt x="7" y="27"/>
                    <a:pt x="7" y="28"/>
                  </a:cubicBezTo>
                  <a:cubicBezTo>
                    <a:pt x="7" y="28"/>
                    <a:pt x="7" y="29"/>
                    <a:pt x="8" y="29"/>
                  </a:cubicBezTo>
                  <a:cubicBezTo>
                    <a:pt x="8" y="29"/>
                    <a:pt x="10" y="31"/>
                    <a:pt x="12" y="32"/>
                  </a:cubicBezTo>
                  <a:cubicBezTo>
                    <a:pt x="12" y="33"/>
                    <a:pt x="11" y="34"/>
                    <a:pt x="11" y="35"/>
                  </a:cubicBezTo>
                  <a:cubicBezTo>
                    <a:pt x="9" y="35"/>
                    <a:pt x="6" y="34"/>
                    <a:pt x="5" y="34"/>
                  </a:cubicBezTo>
                  <a:cubicBezTo>
                    <a:pt x="5" y="34"/>
                    <a:pt x="5" y="34"/>
                    <a:pt x="4" y="34"/>
                  </a:cubicBezTo>
                  <a:cubicBezTo>
                    <a:pt x="4" y="34"/>
                    <a:pt x="4" y="35"/>
                    <a:pt x="3" y="35"/>
                  </a:cubicBezTo>
                  <a:cubicBezTo>
                    <a:pt x="3" y="35"/>
                    <a:pt x="3" y="36"/>
                    <a:pt x="3" y="36"/>
                  </a:cubicBezTo>
                  <a:cubicBezTo>
                    <a:pt x="4" y="37"/>
                    <a:pt x="4" y="37"/>
                    <a:pt x="4" y="37"/>
                  </a:cubicBezTo>
                  <a:cubicBezTo>
                    <a:pt x="5" y="38"/>
                    <a:pt x="7" y="39"/>
                    <a:pt x="9" y="40"/>
                  </a:cubicBezTo>
                  <a:cubicBezTo>
                    <a:pt x="9" y="41"/>
                    <a:pt x="9" y="42"/>
                    <a:pt x="8" y="43"/>
                  </a:cubicBezTo>
                  <a:cubicBezTo>
                    <a:pt x="6" y="43"/>
                    <a:pt x="3" y="43"/>
                    <a:pt x="3" y="43"/>
                  </a:cubicBezTo>
                  <a:cubicBezTo>
                    <a:pt x="2" y="42"/>
                    <a:pt x="2" y="43"/>
                    <a:pt x="2" y="43"/>
                  </a:cubicBezTo>
                  <a:cubicBezTo>
                    <a:pt x="1" y="43"/>
                    <a:pt x="1" y="44"/>
                    <a:pt x="1" y="44"/>
                  </a:cubicBezTo>
                  <a:cubicBezTo>
                    <a:pt x="1" y="44"/>
                    <a:pt x="1" y="45"/>
                    <a:pt x="1" y="45"/>
                  </a:cubicBezTo>
                  <a:cubicBezTo>
                    <a:pt x="1" y="46"/>
                    <a:pt x="2" y="46"/>
                    <a:pt x="2" y="46"/>
                  </a:cubicBezTo>
                  <a:cubicBezTo>
                    <a:pt x="3" y="46"/>
                    <a:pt x="5" y="47"/>
                    <a:pt x="7" y="48"/>
                  </a:cubicBezTo>
                  <a:cubicBezTo>
                    <a:pt x="7" y="49"/>
                    <a:pt x="7" y="50"/>
                    <a:pt x="7" y="51"/>
                  </a:cubicBezTo>
                  <a:cubicBezTo>
                    <a:pt x="5" y="51"/>
                    <a:pt x="2" y="51"/>
                    <a:pt x="2" y="52"/>
                  </a:cubicBezTo>
                  <a:cubicBezTo>
                    <a:pt x="1" y="52"/>
                    <a:pt x="1" y="52"/>
                    <a:pt x="1" y="52"/>
                  </a:cubicBezTo>
                  <a:cubicBezTo>
                    <a:pt x="0" y="52"/>
                    <a:pt x="0" y="53"/>
                    <a:pt x="0" y="53"/>
                  </a:cubicBezTo>
                  <a:cubicBezTo>
                    <a:pt x="0" y="54"/>
                    <a:pt x="0" y="54"/>
                    <a:pt x="1" y="55"/>
                  </a:cubicBezTo>
                  <a:cubicBezTo>
                    <a:pt x="1" y="55"/>
                    <a:pt x="1" y="55"/>
                    <a:pt x="2" y="55"/>
                  </a:cubicBezTo>
                  <a:cubicBezTo>
                    <a:pt x="2" y="55"/>
                    <a:pt x="5" y="55"/>
                    <a:pt x="7" y="56"/>
                  </a:cubicBezTo>
                  <a:cubicBezTo>
                    <a:pt x="7" y="57"/>
                    <a:pt x="7" y="58"/>
                    <a:pt x="7" y="59"/>
                  </a:cubicBezTo>
                  <a:cubicBezTo>
                    <a:pt x="5" y="60"/>
                    <a:pt x="3" y="60"/>
                    <a:pt x="2" y="61"/>
                  </a:cubicBezTo>
                  <a:cubicBezTo>
                    <a:pt x="2" y="61"/>
                    <a:pt x="1" y="61"/>
                    <a:pt x="1" y="61"/>
                  </a:cubicBezTo>
                  <a:cubicBezTo>
                    <a:pt x="1" y="62"/>
                    <a:pt x="1" y="62"/>
                    <a:pt x="1" y="63"/>
                  </a:cubicBezTo>
                  <a:cubicBezTo>
                    <a:pt x="1" y="63"/>
                    <a:pt x="1" y="64"/>
                    <a:pt x="2" y="64"/>
                  </a:cubicBezTo>
                  <a:cubicBezTo>
                    <a:pt x="2" y="64"/>
                    <a:pt x="2" y="64"/>
                    <a:pt x="3" y="64"/>
                  </a:cubicBezTo>
                  <a:cubicBezTo>
                    <a:pt x="3" y="64"/>
                    <a:pt x="6" y="64"/>
                    <a:pt x="8" y="64"/>
                  </a:cubicBezTo>
                  <a:cubicBezTo>
                    <a:pt x="9" y="65"/>
                    <a:pt x="9" y="66"/>
                    <a:pt x="9" y="67"/>
                  </a:cubicBezTo>
                  <a:cubicBezTo>
                    <a:pt x="7" y="68"/>
                    <a:pt x="5" y="69"/>
                    <a:pt x="4" y="69"/>
                  </a:cubicBezTo>
                  <a:cubicBezTo>
                    <a:pt x="4" y="70"/>
                    <a:pt x="4" y="70"/>
                    <a:pt x="3" y="70"/>
                  </a:cubicBezTo>
                  <a:cubicBezTo>
                    <a:pt x="3" y="71"/>
                    <a:pt x="3" y="71"/>
                    <a:pt x="3" y="72"/>
                  </a:cubicBezTo>
                  <a:cubicBezTo>
                    <a:pt x="4" y="72"/>
                    <a:pt x="4" y="72"/>
                    <a:pt x="4" y="73"/>
                  </a:cubicBezTo>
                  <a:cubicBezTo>
                    <a:pt x="5" y="73"/>
                    <a:pt x="5" y="73"/>
                    <a:pt x="5" y="73"/>
                  </a:cubicBezTo>
                  <a:cubicBezTo>
                    <a:pt x="6" y="73"/>
                    <a:pt x="9" y="72"/>
                    <a:pt x="11" y="71"/>
                  </a:cubicBezTo>
                  <a:cubicBezTo>
                    <a:pt x="11" y="73"/>
                    <a:pt x="12" y="74"/>
                    <a:pt x="12" y="75"/>
                  </a:cubicBezTo>
                  <a:cubicBezTo>
                    <a:pt x="10" y="76"/>
                    <a:pt x="8" y="77"/>
                    <a:pt x="8" y="78"/>
                  </a:cubicBezTo>
                  <a:cubicBezTo>
                    <a:pt x="7" y="78"/>
                    <a:pt x="7" y="78"/>
                    <a:pt x="7" y="79"/>
                  </a:cubicBezTo>
                  <a:cubicBezTo>
                    <a:pt x="7" y="79"/>
                    <a:pt x="7" y="80"/>
                    <a:pt x="7" y="80"/>
                  </a:cubicBezTo>
                  <a:cubicBezTo>
                    <a:pt x="8" y="81"/>
                    <a:pt x="8" y="81"/>
                    <a:pt x="8" y="81"/>
                  </a:cubicBezTo>
                  <a:cubicBezTo>
                    <a:pt x="9" y="81"/>
                    <a:pt x="9" y="81"/>
                    <a:pt x="10" y="81"/>
                  </a:cubicBezTo>
                  <a:cubicBezTo>
                    <a:pt x="10" y="81"/>
                    <a:pt x="12" y="80"/>
                    <a:pt x="15" y="79"/>
                  </a:cubicBezTo>
                  <a:cubicBezTo>
                    <a:pt x="15" y="80"/>
                    <a:pt x="16" y="81"/>
                    <a:pt x="17" y="82"/>
                  </a:cubicBezTo>
                  <a:cubicBezTo>
                    <a:pt x="15" y="83"/>
                    <a:pt x="13" y="85"/>
                    <a:pt x="13" y="85"/>
                  </a:cubicBezTo>
                  <a:cubicBezTo>
                    <a:pt x="12" y="86"/>
                    <a:pt x="12" y="86"/>
                    <a:pt x="12" y="87"/>
                  </a:cubicBezTo>
                  <a:cubicBezTo>
                    <a:pt x="12" y="87"/>
                    <a:pt x="12" y="87"/>
                    <a:pt x="13" y="88"/>
                  </a:cubicBezTo>
                  <a:cubicBezTo>
                    <a:pt x="13" y="88"/>
                    <a:pt x="13" y="88"/>
                    <a:pt x="14" y="88"/>
                  </a:cubicBezTo>
                  <a:cubicBezTo>
                    <a:pt x="14" y="88"/>
                    <a:pt x="15" y="88"/>
                    <a:pt x="15" y="88"/>
                  </a:cubicBezTo>
                  <a:cubicBezTo>
                    <a:pt x="16" y="88"/>
                    <a:pt x="18" y="86"/>
                    <a:pt x="20" y="85"/>
                  </a:cubicBezTo>
                  <a:cubicBezTo>
                    <a:pt x="20" y="86"/>
                    <a:pt x="21" y="87"/>
                    <a:pt x="22" y="87"/>
                  </a:cubicBezTo>
                  <a:cubicBezTo>
                    <a:pt x="21" y="89"/>
                    <a:pt x="19" y="92"/>
                    <a:pt x="19" y="92"/>
                  </a:cubicBezTo>
                  <a:cubicBezTo>
                    <a:pt x="19" y="92"/>
                    <a:pt x="19" y="93"/>
                    <a:pt x="19" y="93"/>
                  </a:cubicBezTo>
                  <a:cubicBezTo>
                    <a:pt x="19" y="94"/>
                    <a:pt x="19" y="94"/>
                    <a:pt x="19" y="94"/>
                  </a:cubicBezTo>
                  <a:cubicBezTo>
                    <a:pt x="20" y="95"/>
                    <a:pt x="20" y="95"/>
                    <a:pt x="20" y="95"/>
                  </a:cubicBezTo>
                  <a:cubicBezTo>
                    <a:pt x="21" y="95"/>
                    <a:pt x="21" y="95"/>
                    <a:pt x="22" y="94"/>
                  </a:cubicBezTo>
                  <a:cubicBezTo>
                    <a:pt x="22" y="94"/>
                    <a:pt x="24" y="92"/>
                    <a:pt x="26" y="91"/>
                  </a:cubicBezTo>
                  <a:cubicBezTo>
                    <a:pt x="27" y="91"/>
                    <a:pt x="27" y="92"/>
                    <a:pt x="28" y="92"/>
                  </a:cubicBezTo>
                  <a:cubicBezTo>
                    <a:pt x="27" y="95"/>
                    <a:pt x="26" y="97"/>
                    <a:pt x="26" y="97"/>
                  </a:cubicBezTo>
                  <a:cubicBezTo>
                    <a:pt x="26" y="98"/>
                    <a:pt x="26" y="98"/>
                    <a:pt x="26" y="99"/>
                  </a:cubicBezTo>
                  <a:cubicBezTo>
                    <a:pt x="26" y="99"/>
                    <a:pt x="27" y="100"/>
                    <a:pt x="27" y="100"/>
                  </a:cubicBezTo>
                  <a:cubicBezTo>
                    <a:pt x="27" y="100"/>
                    <a:pt x="28" y="100"/>
                    <a:pt x="28" y="100"/>
                  </a:cubicBezTo>
                  <a:cubicBezTo>
                    <a:pt x="29" y="100"/>
                    <a:pt x="29" y="100"/>
                    <a:pt x="29" y="99"/>
                  </a:cubicBezTo>
                  <a:cubicBezTo>
                    <a:pt x="30" y="99"/>
                    <a:pt x="31" y="97"/>
                    <a:pt x="32" y="95"/>
                  </a:cubicBezTo>
                  <a:cubicBezTo>
                    <a:pt x="33" y="95"/>
                    <a:pt x="35" y="96"/>
                    <a:pt x="36" y="96"/>
                  </a:cubicBezTo>
                  <a:cubicBezTo>
                    <a:pt x="35" y="99"/>
                    <a:pt x="34" y="101"/>
                    <a:pt x="34" y="102"/>
                  </a:cubicBezTo>
                  <a:cubicBezTo>
                    <a:pt x="34" y="102"/>
                    <a:pt x="34" y="102"/>
                    <a:pt x="34" y="103"/>
                  </a:cubicBezTo>
                  <a:cubicBezTo>
                    <a:pt x="35" y="103"/>
                    <a:pt x="35" y="104"/>
                    <a:pt x="35" y="104"/>
                  </a:cubicBezTo>
                  <a:cubicBezTo>
                    <a:pt x="36" y="104"/>
                    <a:pt x="36" y="104"/>
                    <a:pt x="37" y="104"/>
                  </a:cubicBezTo>
                  <a:cubicBezTo>
                    <a:pt x="37" y="104"/>
                    <a:pt x="37" y="103"/>
                    <a:pt x="38" y="103"/>
                  </a:cubicBezTo>
                  <a:cubicBezTo>
                    <a:pt x="38" y="102"/>
                    <a:pt x="39" y="100"/>
                    <a:pt x="40" y="98"/>
                  </a:cubicBezTo>
                  <a:cubicBezTo>
                    <a:pt x="41" y="98"/>
                    <a:pt x="42" y="99"/>
                    <a:pt x="43" y="99"/>
                  </a:cubicBezTo>
                  <a:cubicBezTo>
                    <a:pt x="43" y="101"/>
                    <a:pt x="43" y="104"/>
                    <a:pt x="43" y="104"/>
                  </a:cubicBezTo>
                  <a:cubicBezTo>
                    <a:pt x="43" y="105"/>
                    <a:pt x="43" y="105"/>
                    <a:pt x="43" y="106"/>
                  </a:cubicBezTo>
                  <a:cubicBezTo>
                    <a:pt x="43" y="106"/>
                    <a:pt x="44" y="106"/>
                    <a:pt x="44" y="106"/>
                  </a:cubicBezTo>
                  <a:cubicBezTo>
                    <a:pt x="45" y="106"/>
                    <a:pt x="45" y="106"/>
                    <a:pt x="46" y="106"/>
                  </a:cubicBezTo>
                  <a:cubicBezTo>
                    <a:pt x="46" y="106"/>
                    <a:pt x="46" y="105"/>
                    <a:pt x="46" y="105"/>
                  </a:cubicBezTo>
                  <a:cubicBezTo>
                    <a:pt x="47" y="104"/>
                    <a:pt x="47" y="102"/>
                    <a:pt x="48" y="100"/>
                  </a:cubicBezTo>
                  <a:cubicBezTo>
                    <a:pt x="49" y="100"/>
                    <a:pt x="50" y="100"/>
                    <a:pt x="51" y="100"/>
                  </a:cubicBezTo>
                  <a:cubicBezTo>
                    <a:pt x="51" y="102"/>
                    <a:pt x="52" y="105"/>
                    <a:pt x="52" y="105"/>
                  </a:cubicBezTo>
                  <a:cubicBezTo>
                    <a:pt x="52" y="106"/>
                    <a:pt x="52" y="106"/>
                    <a:pt x="52" y="106"/>
                  </a:cubicBezTo>
                  <a:cubicBezTo>
                    <a:pt x="53" y="107"/>
                    <a:pt x="53" y="107"/>
                    <a:pt x="54" y="107"/>
                  </a:cubicBezTo>
                  <a:cubicBezTo>
                    <a:pt x="54" y="107"/>
                    <a:pt x="55" y="107"/>
                    <a:pt x="55" y="106"/>
                  </a:cubicBezTo>
                  <a:cubicBezTo>
                    <a:pt x="55" y="106"/>
                    <a:pt x="55" y="106"/>
                    <a:pt x="55" y="105"/>
                  </a:cubicBezTo>
                  <a:cubicBezTo>
                    <a:pt x="56" y="105"/>
                    <a:pt x="56" y="102"/>
                    <a:pt x="56" y="100"/>
                  </a:cubicBezTo>
                  <a:cubicBezTo>
                    <a:pt x="57" y="100"/>
                    <a:pt x="58" y="100"/>
                    <a:pt x="59" y="100"/>
                  </a:cubicBezTo>
                  <a:cubicBezTo>
                    <a:pt x="60" y="102"/>
                    <a:pt x="61" y="104"/>
                    <a:pt x="61" y="105"/>
                  </a:cubicBezTo>
                  <a:cubicBezTo>
                    <a:pt x="61" y="105"/>
                    <a:pt x="61" y="106"/>
                    <a:pt x="62" y="106"/>
                  </a:cubicBezTo>
                  <a:cubicBezTo>
                    <a:pt x="62" y="106"/>
                    <a:pt x="62" y="106"/>
                    <a:pt x="63" y="106"/>
                  </a:cubicBezTo>
                  <a:cubicBezTo>
                    <a:pt x="63" y="106"/>
                    <a:pt x="64" y="106"/>
                    <a:pt x="64" y="106"/>
                  </a:cubicBezTo>
                  <a:cubicBezTo>
                    <a:pt x="64" y="105"/>
                    <a:pt x="64" y="105"/>
                    <a:pt x="64" y="104"/>
                  </a:cubicBezTo>
                  <a:cubicBezTo>
                    <a:pt x="64" y="104"/>
                    <a:pt x="64" y="101"/>
                    <a:pt x="64" y="99"/>
                  </a:cubicBezTo>
                  <a:cubicBezTo>
                    <a:pt x="65" y="99"/>
                    <a:pt x="66" y="98"/>
                    <a:pt x="67" y="98"/>
                  </a:cubicBezTo>
                  <a:cubicBezTo>
                    <a:pt x="68" y="100"/>
                    <a:pt x="69" y="102"/>
                    <a:pt x="70" y="103"/>
                  </a:cubicBezTo>
                  <a:cubicBezTo>
                    <a:pt x="70" y="103"/>
                    <a:pt x="70" y="104"/>
                    <a:pt x="71" y="104"/>
                  </a:cubicBezTo>
                  <a:cubicBezTo>
                    <a:pt x="71" y="104"/>
                    <a:pt x="71" y="104"/>
                    <a:pt x="72" y="104"/>
                  </a:cubicBezTo>
                  <a:cubicBezTo>
                    <a:pt x="72" y="104"/>
                    <a:pt x="73" y="103"/>
                    <a:pt x="73" y="103"/>
                  </a:cubicBezTo>
                  <a:cubicBezTo>
                    <a:pt x="73" y="102"/>
                    <a:pt x="73" y="102"/>
                    <a:pt x="73" y="102"/>
                  </a:cubicBezTo>
                  <a:cubicBezTo>
                    <a:pt x="73" y="101"/>
                    <a:pt x="72" y="99"/>
                    <a:pt x="72" y="96"/>
                  </a:cubicBezTo>
                  <a:cubicBezTo>
                    <a:pt x="73" y="96"/>
                    <a:pt x="74" y="95"/>
                    <a:pt x="75" y="95"/>
                  </a:cubicBezTo>
                  <a:cubicBezTo>
                    <a:pt x="76" y="97"/>
                    <a:pt x="78" y="99"/>
                    <a:pt x="78" y="99"/>
                  </a:cubicBezTo>
                  <a:cubicBezTo>
                    <a:pt x="78" y="100"/>
                    <a:pt x="79" y="100"/>
                    <a:pt x="79" y="100"/>
                  </a:cubicBezTo>
                  <a:cubicBezTo>
                    <a:pt x="80" y="100"/>
                    <a:pt x="80" y="100"/>
                    <a:pt x="80" y="100"/>
                  </a:cubicBezTo>
                  <a:cubicBezTo>
                    <a:pt x="81" y="100"/>
                    <a:pt x="81" y="99"/>
                    <a:pt x="81" y="99"/>
                  </a:cubicBezTo>
                  <a:cubicBezTo>
                    <a:pt x="81" y="98"/>
                    <a:pt x="81" y="98"/>
                    <a:pt x="81" y="97"/>
                  </a:cubicBezTo>
                  <a:cubicBezTo>
                    <a:pt x="81" y="97"/>
                    <a:pt x="80" y="95"/>
                    <a:pt x="79" y="92"/>
                  </a:cubicBezTo>
                  <a:cubicBezTo>
                    <a:pt x="80" y="92"/>
                    <a:pt x="81" y="91"/>
                    <a:pt x="82" y="91"/>
                  </a:cubicBezTo>
                  <a:cubicBezTo>
                    <a:pt x="83" y="92"/>
                    <a:pt x="85" y="94"/>
                    <a:pt x="86" y="94"/>
                  </a:cubicBezTo>
                  <a:cubicBezTo>
                    <a:pt x="86" y="95"/>
                    <a:pt x="86" y="95"/>
                    <a:pt x="87" y="95"/>
                  </a:cubicBezTo>
                  <a:cubicBezTo>
                    <a:pt x="87" y="95"/>
                    <a:pt x="88" y="95"/>
                    <a:pt x="88" y="94"/>
                  </a:cubicBezTo>
                  <a:cubicBezTo>
                    <a:pt x="88" y="94"/>
                    <a:pt x="89" y="94"/>
                    <a:pt x="89" y="93"/>
                  </a:cubicBezTo>
                  <a:cubicBezTo>
                    <a:pt x="89" y="93"/>
                    <a:pt x="89" y="92"/>
                    <a:pt x="88" y="92"/>
                  </a:cubicBezTo>
                  <a:cubicBezTo>
                    <a:pt x="88" y="92"/>
                    <a:pt x="87" y="89"/>
                    <a:pt x="85" y="87"/>
                  </a:cubicBezTo>
                  <a:cubicBezTo>
                    <a:pt x="86" y="87"/>
                    <a:pt x="87" y="86"/>
                    <a:pt x="88" y="85"/>
                  </a:cubicBezTo>
                  <a:cubicBezTo>
                    <a:pt x="90" y="86"/>
                    <a:pt x="92" y="88"/>
                    <a:pt x="92" y="88"/>
                  </a:cubicBezTo>
                  <a:cubicBezTo>
                    <a:pt x="93" y="88"/>
                    <a:pt x="93" y="88"/>
                    <a:pt x="93" y="88"/>
                  </a:cubicBezTo>
                  <a:cubicBezTo>
                    <a:pt x="94" y="88"/>
                    <a:pt x="94" y="88"/>
                    <a:pt x="95" y="88"/>
                  </a:cubicBezTo>
                  <a:cubicBezTo>
                    <a:pt x="95" y="87"/>
                    <a:pt x="95" y="87"/>
                    <a:pt x="95" y="87"/>
                  </a:cubicBezTo>
                  <a:cubicBezTo>
                    <a:pt x="95" y="86"/>
                    <a:pt x="95" y="86"/>
                    <a:pt x="95" y="85"/>
                  </a:cubicBezTo>
                  <a:cubicBezTo>
                    <a:pt x="94" y="85"/>
                    <a:pt x="92" y="83"/>
                    <a:pt x="91" y="82"/>
                  </a:cubicBezTo>
                  <a:cubicBezTo>
                    <a:pt x="91" y="81"/>
                    <a:pt x="92" y="80"/>
                    <a:pt x="93" y="79"/>
                  </a:cubicBezTo>
                  <a:cubicBezTo>
                    <a:pt x="95" y="80"/>
                    <a:pt x="97" y="81"/>
                    <a:pt x="98" y="81"/>
                  </a:cubicBezTo>
                  <a:cubicBezTo>
                    <a:pt x="98" y="81"/>
                    <a:pt x="99" y="81"/>
                    <a:pt x="99" y="81"/>
                  </a:cubicBezTo>
                  <a:cubicBezTo>
                    <a:pt x="99" y="81"/>
                    <a:pt x="100" y="81"/>
                    <a:pt x="100" y="80"/>
                  </a:cubicBezTo>
                  <a:cubicBezTo>
                    <a:pt x="100" y="80"/>
                    <a:pt x="100" y="79"/>
                    <a:pt x="100" y="79"/>
                  </a:cubicBezTo>
                  <a:cubicBezTo>
                    <a:pt x="100" y="78"/>
                    <a:pt x="100" y="78"/>
                    <a:pt x="99" y="78"/>
                  </a:cubicBezTo>
                  <a:cubicBezTo>
                    <a:pt x="99" y="77"/>
                    <a:pt x="97" y="76"/>
                    <a:pt x="95" y="75"/>
                  </a:cubicBezTo>
                  <a:cubicBezTo>
                    <a:pt x="96" y="74"/>
                    <a:pt x="96" y="73"/>
                    <a:pt x="96" y="71"/>
                  </a:cubicBezTo>
                  <a:cubicBezTo>
                    <a:pt x="99" y="72"/>
                    <a:pt x="101" y="73"/>
                    <a:pt x="102" y="73"/>
                  </a:cubicBezTo>
                  <a:cubicBezTo>
                    <a:pt x="102" y="73"/>
                    <a:pt x="103" y="73"/>
                    <a:pt x="103" y="73"/>
                  </a:cubicBezTo>
                  <a:cubicBezTo>
                    <a:pt x="103" y="72"/>
                    <a:pt x="104" y="72"/>
                    <a:pt x="104" y="72"/>
                  </a:cubicBezTo>
                  <a:cubicBezTo>
                    <a:pt x="104" y="71"/>
                    <a:pt x="104" y="71"/>
                    <a:pt x="104" y="70"/>
                  </a:cubicBezTo>
                  <a:cubicBezTo>
                    <a:pt x="104" y="70"/>
                    <a:pt x="103" y="70"/>
                    <a:pt x="103" y="69"/>
                  </a:cubicBezTo>
                  <a:cubicBezTo>
                    <a:pt x="103" y="69"/>
                    <a:pt x="100" y="68"/>
                    <a:pt x="98" y="67"/>
                  </a:cubicBezTo>
                  <a:cubicBezTo>
                    <a:pt x="98" y="66"/>
                    <a:pt x="99" y="65"/>
                    <a:pt x="99" y="64"/>
                  </a:cubicBezTo>
                  <a:cubicBezTo>
                    <a:pt x="101" y="64"/>
                    <a:pt x="104" y="64"/>
                    <a:pt x="104" y="64"/>
                  </a:cubicBezTo>
                  <a:cubicBezTo>
                    <a:pt x="105" y="64"/>
                    <a:pt x="105" y="64"/>
                    <a:pt x="106" y="64"/>
                  </a:cubicBezTo>
                  <a:cubicBezTo>
                    <a:pt x="106" y="64"/>
                    <a:pt x="106" y="63"/>
                    <a:pt x="106" y="63"/>
                  </a:cubicBezTo>
                  <a:cubicBezTo>
                    <a:pt x="106" y="62"/>
                    <a:pt x="106" y="62"/>
                    <a:pt x="106" y="61"/>
                  </a:cubicBezTo>
                  <a:cubicBezTo>
                    <a:pt x="106" y="61"/>
                    <a:pt x="105" y="61"/>
                    <a:pt x="105" y="61"/>
                  </a:cubicBezTo>
                  <a:cubicBezTo>
                    <a:pt x="105" y="60"/>
                    <a:pt x="102" y="60"/>
                    <a:pt x="100" y="59"/>
                  </a:cubicBezTo>
                  <a:cubicBezTo>
                    <a:pt x="100" y="58"/>
                    <a:pt x="100" y="57"/>
                    <a:pt x="100" y="56"/>
                  </a:cubicBezTo>
                  <a:cubicBezTo>
                    <a:pt x="102" y="56"/>
                    <a:pt x="105" y="55"/>
                    <a:pt x="105" y="55"/>
                  </a:cubicBezTo>
                  <a:close/>
                  <a:moveTo>
                    <a:pt x="54" y="96"/>
                  </a:moveTo>
                  <a:cubicBezTo>
                    <a:pt x="53" y="96"/>
                    <a:pt x="53" y="96"/>
                    <a:pt x="53" y="96"/>
                  </a:cubicBezTo>
                  <a:cubicBezTo>
                    <a:pt x="54" y="96"/>
                    <a:pt x="54" y="96"/>
                    <a:pt x="54" y="96"/>
                  </a:cubicBezTo>
                  <a:cubicBezTo>
                    <a:pt x="54" y="96"/>
                    <a:pt x="54" y="96"/>
                    <a:pt x="54" y="96"/>
                  </a:cubicBezTo>
                  <a:close/>
                  <a:moveTo>
                    <a:pt x="40" y="93"/>
                  </a:moveTo>
                  <a:cubicBezTo>
                    <a:pt x="39" y="93"/>
                    <a:pt x="39" y="93"/>
                    <a:pt x="39" y="93"/>
                  </a:cubicBezTo>
                  <a:cubicBezTo>
                    <a:pt x="39" y="93"/>
                    <a:pt x="39" y="93"/>
                    <a:pt x="39" y="93"/>
                  </a:cubicBezTo>
                  <a:cubicBezTo>
                    <a:pt x="39" y="93"/>
                    <a:pt x="39" y="93"/>
                    <a:pt x="40" y="93"/>
                  </a:cubicBezTo>
                  <a:close/>
                  <a:moveTo>
                    <a:pt x="27" y="86"/>
                  </a:moveTo>
                  <a:cubicBezTo>
                    <a:pt x="27" y="86"/>
                    <a:pt x="26" y="86"/>
                    <a:pt x="26" y="85"/>
                  </a:cubicBezTo>
                  <a:cubicBezTo>
                    <a:pt x="26" y="86"/>
                    <a:pt x="26" y="86"/>
                    <a:pt x="26" y="86"/>
                  </a:cubicBezTo>
                  <a:cubicBezTo>
                    <a:pt x="27" y="86"/>
                    <a:pt x="27" y="86"/>
                    <a:pt x="27" y="86"/>
                  </a:cubicBezTo>
                  <a:close/>
                  <a:moveTo>
                    <a:pt x="17" y="75"/>
                  </a:moveTo>
                  <a:cubicBezTo>
                    <a:pt x="17" y="75"/>
                    <a:pt x="17" y="74"/>
                    <a:pt x="17" y="74"/>
                  </a:cubicBezTo>
                  <a:cubicBezTo>
                    <a:pt x="17" y="74"/>
                    <a:pt x="17" y="74"/>
                    <a:pt x="17" y="75"/>
                  </a:cubicBezTo>
                  <a:cubicBezTo>
                    <a:pt x="17" y="75"/>
                    <a:pt x="17" y="75"/>
                    <a:pt x="17" y="75"/>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52" name="Group 29">
              <a:extLst>
                <a:ext uri="{FF2B5EF4-FFF2-40B4-BE49-F238E27FC236}">
                  <a16:creationId xmlns:a16="http://schemas.microsoft.com/office/drawing/2014/main" id="{9899D153-3AA6-45E2-8A76-41BC6CC0A6A6}"/>
                </a:ext>
              </a:extLst>
            </p:cNvPr>
            <p:cNvGrpSpPr>
              <a:grpSpLocks noChangeAspect="1"/>
            </p:cNvGrpSpPr>
            <p:nvPr/>
          </p:nvGrpSpPr>
          <p:grpSpPr bwMode="auto">
            <a:xfrm>
              <a:off x="1238137" y="2571481"/>
              <a:ext cx="195387" cy="196309"/>
              <a:chOff x="2963" y="717"/>
              <a:chExt cx="212" cy="213"/>
            </a:xfrm>
            <a:solidFill>
              <a:schemeClr val="tx1"/>
            </a:solidFill>
          </p:grpSpPr>
          <p:sp>
            <p:nvSpPr>
              <p:cNvPr id="153" name="Freeform 30">
                <a:extLst>
                  <a:ext uri="{FF2B5EF4-FFF2-40B4-BE49-F238E27FC236}">
                    <a16:creationId xmlns:a16="http://schemas.microsoft.com/office/drawing/2014/main" id="{DB186A54-3421-42F1-A02F-143145EE3234}"/>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54" name="Freeform 31">
                <a:extLst>
                  <a:ext uri="{FF2B5EF4-FFF2-40B4-BE49-F238E27FC236}">
                    <a16:creationId xmlns:a16="http://schemas.microsoft.com/office/drawing/2014/main" id="{C505A303-F033-456A-A49E-BCEE886F283F}"/>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39" name="Group 38"/>
          <p:cNvGrpSpPr/>
          <p:nvPr/>
        </p:nvGrpSpPr>
        <p:grpSpPr>
          <a:xfrm>
            <a:off x="3537268" y="5159027"/>
            <a:ext cx="638312" cy="639327"/>
            <a:chOff x="624485" y="2822909"/>
            <a:chExt cx="824009" cy="825319"/>
          </a:xfrm>
        </p:grpSpPr>
        <p:sp>
          <p:nvSpPr>
            <p:cNvPr id="14" name="Freeform 15">
              <a:extLst>
                <a:ext uri="{FF2B5EF4-FFF2-40B4-BE49-F238E27FC236}">
                  <a16:creationId xmlns:a16="http://schemas.microsoft.com/office/drawing/2014/main" id="{352A9578-7BAE-4A16-BD69-4A9345038037}"/>
                </a:ext>
              </a:extLst>
            </p:cNvPr>
            <p:cNvSpPr>
              <a:spLocks noEditPoints="1"/>
            </p:cNvSpPr>
            <p:nvPr/>
          </p:nvSpPr>
          <p:spPr bwMode="auto">
            <a:xfrm>
              <a:off x="624485" y="2822909"/>
              <a:ext cx="824009" cy="825319"/>
            </a:xfrm>
            <a:custGeom>
              <a:avLst/>
              <a:gdLst>
                <a:gd name="T0" fmla="*/ 222 w 282"/>
                <a:gd name="T1" fmla="*/ 257 h 283"/>
                <a:gd name="T2" fmla="*/ 221 w 282"/>
                <a:gd name="T3" fmla="*/ 245 h 283"/>
                <a:gd name="T4" fmla="*/ 205 w 282"/>
                <a:gd name="T5" fmla="*/ 209 h 283"/>
                <a:gd name="T6" fmla="*/ 224 w 282"/>
                <a:gd name="T7" fmla="*/ 184 h 283"/>
                <a:gd name="T8" fmla="*/ 262 w 282"/>
                <a:gd name="T9" fmla="*/ 190 h 283"/>
                <a:gd name="T10" fmla="*/ 274 w 282"/>
                <a:gd name="T11" fmla="*/ 187 h 283"/>
                <a:gd name="T12" fmla="*/ 281 w 282"/>
                <a:gd name="T13" fmla="*/ 177 h 283"/>
                <a:gd name="T14" fmla="*/ 280 w 282"/>
                <a:gd name="T15" fmla="*/ 165 h 283"/>
                <a:gd name="T16" fmla="*/ 271 w 282"/>
                <a:gd name="T17" fmla="*/ 157 h 283"/>
                <a:gd name="T18" fmla="*/ 234 w 282"/>
                <a:gd name="T19" fmla="*/ 144 h 283"/>
                <a:gd name="T20" fmla="*/ 230 w 282"/>
                <a:gd name="T21" fmla="*/ 113 h 283"/>
                <a:gd name="T22" fmla="*/ 261 w 282"/>
                <a:gd name="T23" fmla="*/ 90 h 283"/>
                <a:gd name="T24" fmla="*/ 267 w 282"/>
                <a:gd name="T25" fmla="*/ 79 h 283"/>
                <a:gd name="T26" fmla="*/ 265 w 282"/>
                <a:gd name="T27" fmla="*/ 68 h 283"/>
                <a:gd name="T28" fmla="*/ 256 w 282"/>
                <a:gd name="T29" fmla="*/ 60 h 283"/>
                <a:gd name="T30" fmla="*/ 244 w 282"/>
                <a:gd name="T31" fmla="*/ 60 h 283"/>
                <a:gd name="T32" fmla="*/ 209 w 282"/>
                <a:gd name="T33" fmla="*/ 77 h 283"/>
                <a:gd name="T34" fmla="*/ 183 w 282"/>
                <a:gd name="T35" fmla="*/ 58 h 283"/>
                <a:gd name="T36" fmla="*/ 190 w 282"/>
                <a:gd name="T37" fmla="*/ 19 h 283"/>
                <a:gd name="T38" fmla="*/ 187 w 282"/>
                <a:gd name="T39" fmla="*/ 8 h 283"/>
                <a:gd name="T40" fmla="*/ 177 w 282"/>
                <a:gd name="T41" fmla="*/ 1 h 283"/>
                <a:gd name="T42" fmla="*/ 165 w 282"/>
                <a:gd name="T43" fmla="*/ 2 h 283"/>
                <a:gd name="T44" fmla="*/ 157 w 282"/>
                <a:gd name="T45" fmla="*/ 11 h 283"/>
                <a:gd name="T46" fmla="*/ 143 w 282"/>
                <a:gd name="T47" fmla="*/ 48 h 283"/>
                <a:gd name="T48" fmla="*/ 112 w 282"/>
                <a:gd name="T49" fmla="*/ 52 h 283"/>
                <a:gd name="T50" fmla="*/ 89 w 282"/>
                <a:gd name="T51" fmla="*/ 20 h 283"/>
                <a:gd name="T52" fmla="*/ 79 w 282"/>
                <a:gd name="T53" fmla="*/ 14 h 283"/>
                <a:gd name="T54" fmla="*/ 67 w 282"/>
                <a:gd name="T55" fmla="*/ 16 h 283"/>
                <a:gd name="T56" fmla="*/ 60 w 282"/>
                <a:gd name="T57" fmla="*/ 26 h 283"/>
                <a:gd name="T58" fmla="*/ 60 w 282"/>
                <a:gd name="T59" fmla="*/ 38 h 283"/>
                <a:gd name="T60" fmla="*/ 77 w 282"/>
                <a:gd name="T61" fmla="*/ 73 h 283"/>
                <a:gd name="T62" fmla="*/ 58 w 282"/>
                <a:gd name="T63" fmla="*/ 98 h 283"/>
                <a:gd name="T64" fmla="*/ 19 w 282"/>
                <a:gd name="T65" fmla="*/ 92 h 283"/>
                <a:gd name="T66" fmla="*/ 8 w 282"/>
                <a:gd name="T67" fmla="*/ 95 h 283"/>
                <a:gd name="T68" fmla="*/ 1 w 282"/>
                <a:gd name="T69" fmla="*/ 105 h 283"/>
                <a:gd name="T70" fmla="*/ 2 w 282"/>
                <a:gd name="T71" fmla="*/ 117 h 283"/>
                <a:gd name="T72" fmla="*/ 11 w 282"/>
                <a:gd name="T73" fmla="*/ 125 h 283"/>
                <a:gd name="T74" fmla="*/ 48 w 282"/>
                <a:gd name="T75" fmla="*/ 139 h 283"/>
                <a:gd name="T76" fmla="*/ 52 w 282"/>
                <a:gd name="T77" fmla="*/ 170 h 283"/>
                <a:gd name="T78" fmla="*/ 20 w 282"/>
                <a:gd name="T79" fmla="*/ 193 h 283"/>
                <a:gd name="T80" fmla="*/ 14 w 282"/>
                <a:gd name="T81" fmla="*/ 203 h 283"/>
                <a:gd name="T82" fmla="*/ 16 w 282"/>
                <a:gd name="T83" fmla="*/ 215 h 283"/>
                <a:gd name="T84" fmla="*/ 26 w 282"/>
                <a:gd name="T85" fmla="*/ 222 h 283"/>
                <a:gd name="T86" fmla="*/ 37 w 282"/>
                <a:gd name="T87" fmla="*/ 222 h 283"/>
                <a:gd name="T88" fmla="*/ 73 w 282"/>
                <a:gd name="T89" fmla="*/ 205 h 283"/>
                <a:gd name="T90" fmla="*/ 98 w 282"/>
                <a:gd name="T91" fmla="*/ 224 h 283"/>
                <a:gd name="T92" fmla="*/ 92 w 282"/>
                <a:gd name="T93" fmla="*/ 263 h 283"/>
                <a:gd name="T94" fmla="*/ 95 w 282"/>
                <a:gd name="T95" fmla="*/ 275 h 283"/>
                <a:gd name="T96" fmla="*/ 105 w 282"/>
                <a:gd name="T97" fmla="*/ 281 h 283"/>
                <a:gd name="T98" fmla="*/ 117 w 282"/>
                <a:gd name="T99" fmla="*/ 280 h 283"/>
                <a:gd name="T100" fmla="*/ 125 w 282"/>
                <a:gd name="T101" fmla="*/ 271 h 283"/>
                <a:gd name="T102" fmla="*/ 138 w 282"/>
                <a:gd name="T103" fmla="*/ 234 h 283"/>
                <a:gd name="T104" fmla="*/ 169 w 282"/>
                <a:gd name="T105" fmla="*/ 230 h 283"/>
                <a:gd name="T106" fmla="*/ 192 w 282"/>
                <a:gd name="T107" fmla="*/ 262 h 283"/>
                <a:gd name="T108" fmla="*/ 203 w 282"/>
                <a:gd name="T109" fmla="*/ 268 h 283"/>
                <a:gd name="T110" fmla="*/ 214 w 282"/>
                <a:gd name="T111" fmla="*/ 266 h 283"/>
                <a:gd name="T112" fmla="*/ 222 w 282"/>
                <a:gd name="T113" fmla="*/ 257 h 283"/>
                <a:gd name="T114" fmla="*/ 169 w 282"/>
                <a:gd name="T115" fmla="*/ 189 h 283"/>
                <a:gd name="T116" fmla="*/ 93 w 282"/>
                <a:gd name="T117" fmla="*/ 170 h 283"/>
                <a:gd name="T118" fmla="*/ 112 w 282"/>
                <a:gd name="T119" fmla="*/ 93 h 283"/>
                <a:gd name="T120" fmla="*/ 189 w 282"/>
                <a:gd name="T121" fmla="*/ 113 h 283"/>
                <a:gd name="T122" fmla="*/ 169 w 282"/>
                <a:gd name="T123" fmla="*/ 18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83">
                  <a:moveTo>
                    <a:pt x="222" y="257"/>
                  </a:moveTo>
                  <a:cubicBezTo>
                    <a:pt x="223" y="253"/>
                    <a:pt x="223" y="249"/>
                    <a:pt x="221" y="245"/>
                  </a:cubicBezTo>
                  <a:cubicBezTo>
                    <a:pt x="220" y="241"/>
                    <a:pt x="212" y="225"/>
                    <a:pt x="205" y="209"/>
                  </a:cubicBezTo>
                  <a:cubicBezTo>
                    <a:pt x="213" y="202"/>
                    <a:pt x="219" y="193"/>
                    <a:pt x="224" y="184"/>
                  </a:cubicBezTo>
                  <a:cubicBezTo>
                    <a:pt x="241" y="187"/>
                    <a:pt x="258" y="189"/>
                    <a:pt x="262" y="190"/>
                  </a:cubicBezTo>
                  <a:cubicBezTo>
                    <a:pt x="267" y="191"/>
                    <a:pt x="271" y="190"/>
                    <a:pt x="274" y="187"/>
                  </a:cubicBezTo>
                  <a:cubicBezTo>
                    <a:pt x="277" y="185"/>
                    <a:pt x="280" y="181"/>
                    <a:pt x="281" y="177"/>
                  </a:cubicBezTo>
                  <a:cubicBezTo>
                    <a:pt x="282" y="173"/>
                    <a:pt x="281" y="169"/>
                    <a:pt x="280" y="165"/>
                  </a:cubicBezTo>
                  <a:cubicBezTo>
                    <a:pt x="278" y="162"/>
                    <a:pt x="275" y="159"/>
                    <a:pt x="271" y="157"/>
                  </a:cubicBezTo>
                  <a:cubicBezTo>
                    <a:pt x="267" y="156"/>
                    <a:pt x="251" y="150"/>
                    <a:pt x="234" y="144"/>
                  </a:cubicBezTo>
                  <a:cubicBezTo>
                    <a:pt x="234" y="133"/>
                    <a:pt x="233" y="123"/>
                    <a:pt x="230" y="113"/>
                  </a:cubicBezTo>
                  <a:cubicBezTo>
                    <a:pt x="244" y="102"/>
                    <a:pt x="258" y="92"/>
                    <a:pt x="261" y="90"/>
                  </a:cubicBezTo>
                  <a:cubicBezTo>
                    <a:pt x="265" y="87"/>
                    <a:pt x="267" y="83"/>
                    <a:pt x="267" y="79"/>
                  </a:cubicBezTo>
                  <a:cubicBezTo>
                    <a:pt x="268" y="75"/>
                    <a:pt x="267" y="71"/>
                    <a:pt x="265" y="68"/>
                  </a:cubicBezTo>
                  <a:cubicBezTo>
                    <a:pt x="263" y="64"/>
                    <a:pt x="260" y="61"/>
                    <a:pt x="256" y="60"/>
                  </a:cubicBezTo>
                  <a:cubicBezTo>
                    <a:pt x="252" y="59"/>
                    <a:pt x="248" y="59"/>
                    <a:pt x="244" y="60"/>
                  </a:cubicBezTo>
                  <a:cubicBezTo>
                    <a:pt x="240" y="62"/>
                    <a:pt x="225" y="69"/>
                    <a:pt x="209" y="77"/>
                  </a:cubicBezTo>
                  <a:cubicBezTo>
                    <a:pt x="201" y="69"/>
                    <a:pt x="193" y="63"/>
                    <a:pt x="183" y="58"/>
                  </a:cubicBezTo>
                  <a:cubicBezTo>
                    <a:pt x="186" y="40"/>
                    <a:pt x="189" y="23"/>
                    <a:pt x="190" y="19"/>
                  </a:cubicBezTo>
                  <a:cubicBezTo>
                    <a:pt x="190" y="15"/>
                    <a:pt x="189" y="11"/>
                    <a:pt x="187" y="8"/>
                  </a:cubicBezTo>
                  <a:cubicBezTo>
                    <a:pt x="184" y="4"/>
                    <a:pt x="181" y="2"/>
                    <a:pt x="177" y="1"/>
                  </a:cubicBezTo>
                  <a:cubicBezTo>
                    <a:pt x="173" y="0"/>
                    <a:pt x="169" y="0"/>
                    <a:pt x="165" y="2"/>
                  </a:cubicBezTo>
                  <a:cubicBezTo>
                    <a:pt x="161" y="4"/>
                    <a:pt x="158" y="7"/>
                    <a:pt x="157" y="11"/>
                  </a:cubicBezTo>
                  <a:cubicBezTo>
                    <a:pt x="155" y="15"/>
                    <a:pt x="150" y="31"/>
                    <a:pt x="143" y="48"/>
                  </a:cubicBezTo>
                  <a:cubicBezTo>
                    <a:pt x="133" y="48"/>
                    <a:pt x="123" y="49"/>
                    <a:pt x="112" y="52"/>
                  </a:cubicBezTo>
                  <a:cubicBezTo>
                    <a:pt x="102" y="38"/>
                    <a:pt x="92" y="24"/>
                    <a:pt x="89" y="20"/>
                  </a:cubicBezTo>
                  <a:cubicBezTo>
                    <a:pt x="87" y="17"/>
                    <a:pt x="83" y="15"/>
                    <a:pt x="79" y="14"/>
                  </a:cubicBezTo>
                  <a:cubicBezTo>
                    <a:pt x="75" y="14"/>
                    <a:pt x="71" y="14"/>
                    <a:pt x="67" y="16"/>
                  </a:cubicBezTo>
                  <a:cubicBezTo>
                    <a:pt x="64" y="19"/>
                    <a:pt x="61" y="22"/>
                    <a:pt x="60" y="26"/>
                  </a:cubicBezTo>
                  <a:cubicBezTo>
                    <a:pt x="58" y="30"/>
                    <a:pt x="58" y="34"/>
                    <a:pt x="60" y="38"/>
                  </a:cubicBezTo>
                  <a:cubicBezTo>
                    <a:pt x="62" y="41"/>
                    <a:pt x="69" y="57"/>
                    <a:pt x="77" y="73"/>
                  </a:cubicBezTo>
                  <a:cubicBezTo>
                    <a:pt x="69" y="81"/>
                    <a:pt x="63" y="89"/>
                    <a:pt x="58" y="98"/>
                  </a:cubicBezTo>
                  <a:cubicBezTo>
                    <a:pt x="40" y="96"/>
                    <a:pt x="23" y="93"/>
                    <a:pt x="19" y="92"/>
                  </a:cubicBezTo>
                  <a:cubicBezTo>
                    <a:pt x="15" y="92"/>
                    <a:pt x="11" y="93"/>
                    <a:pt x="8" y="95"/>
                  </a:cubicBezTo>
                  <a:cubicBezTo>
                    <a:pt x="4" y="97"/>
                    <a:pt x="2" y="101"/>
                    <a:pt x="1" y="105"/>
                  </a:cubicBezTo>
                  <a:cubicBezTo>
                    <a:pt x="0" y="109"/>
                    <a:pt x="0" y="113"/>
                    <a:pt x="2" y="117"/>
                  </a:cubicBezTo>
                  <a:cubicBezTo>
                    <a:pt x="4" y="121"/>
                    <a:pt x="7" y="124"/>
                    <a:pt x="11" y="125"/>
                  </a:cubicBezTo>
                  <a:cubicBezTo>
                    <a:pt x="15" y="127"/>
                    <a:pt x="31" y="132"/>
                    <a:pt x="48" y="139"/>
                  </a:cubicBezTo>
                  <a:cubicBezTo>
                    <a:pt x="47" y="149"/>
                    <a:pt x="49" y="159"/>
                    <a:pt x="52" y="170"/>
                  </a:cubicBezTo>
                  <a:cubicBezTo>
                    <a:pt x="37" y="180"/>
                    <a:pt x="24" y="190"/>
                    <a:pt x="20" y="193"/>
                  </a:cubicBezTo>
                  <a:cubicBezTo>
                    <a:pt x="17" y="195"/>
                    <a:pt x="15" y="199"/>
                    <a:pt x="14" y="203"/>
                  </a:cubicBezTo>
                  <a:cubicBezTo>
                    <a:pt x="13" y="207"/>
                    <a:pt x="14" y="211"/>
                    <a:pt x="16" y="215"/>
                  </a:cubicBezTo>
                  <a:cubicBezTo>
                    <a:pt x="18" y="219"/>
                    <a:pt x="22" y="221"/>
                    <a:pt x="26" y="222"/>
                  </a:cubicBezTo>
                  <a:cubicBezTo>
                    <a:pt x="29" y="224"/>
                    <a:pt x="34" y="224"/>
                    <a:pt x="37" y="222"/>
                  </a:cubicBezTo>
                  <a:cubicBezTo>
                    <a:pt x="41" y="220"/>
                    <a:pt x="57" y="213"/>
                    <a:pt x="73" y="205"/>
                  </a:cubicBezTo>
                  <a:cubicBezTo>
                    <a:pt x="80" y="213"/>
                    <a:pt x="89" y="219"/>
                    <a:pt x="98" y="224"/>
                  </a:cubicBezTo>
                  <a:cubicBezTo>
                    <a:pt x="95" y="242"/>
                    <a:pt x="93" y="259"/>
                    <a:pt x="92" y="263"/>
                  </a:cubicBezTo>
                  <a:cubicBezTo>
                    <a:pt x="91" y="267"/>
                    <a:pt x="93" y="271"/>
                    <a:pt x="95" y="275"/>
                  </a:cubicBezTo>
                  <a:cubicBezTo>
                    <a:pt x="97" y="278"/>
                    <a:pt x="101" y="280"/>
                    <a:pt x="105" y="281"/>
                  </a:cubicBezTo>
                  <a:cubicBezTo>
                    <a:pt x="109" y="283"/>
                    <a:pt x="113" y="282"/>
                    <a:pt x="117" y="280"/>
                  </a:cubicBezTo>
                  <a:cubicBezTo>
                    <a:pt x="120" y="278"/>
                    <a:pt x="123" y="275"/>
                    <a:pt x="125" y="271"/>
                  </a:cubicBezTo>
                  <a:cubicBezTo>
                    <a:pt x="126" y="268"/>
                    <a:pt x="132" y="251"/>
                    <a:pt x="138" y="234"/>
                  </a:cubicBezTo>
                  <a:cubicBezTo>
                    <a:pt x="148" y="235"/>
                    <a:pt x="159" y="233"/>
                    <a:pt x="169" y="230"/>
                  </a:cubicBezTo>
                  <a:cubicBezTo>
                    <a:pt x="180" y="245"/>
                    <a:pt x="190" y="259"/>
                    <a:pt x="192" y="262"/>
                  </a:cubicBezTo>
                  <a:cubicBezTo>
                    <a:pt x="195" y="265"/>
                    <a:pt x="199" y="267"/>
                    <a:pt x="203" y="268"/>
                  </a:cubicBezTo>
                  <a:cubicBezTo>
                    <a:pt x="206" y="269"/>
                    <a:pt x="211" y="268"/>
                    <a:pt x="214" y="266"/>
                  </a:cubicBezTo>
                  <a:cubicBezTo>
                    <a:pt x="218" y="264"/>
                    <a:pt x="221" y="260"/>
                    <a:pt x="222" y="257"/>
                  </a:cubicBezTo>
                  <a:close/>
                  <a:moveTo>
                    <a:pt x="169" y="189"/>
                  </a:moveTo>
                  <a:cubicBezTo>
                    <a:pt x="143" y="205"/>
                    <a:pt x="108" y="196"/>
                    <a:pt x="93" y="170"/>
                  </a:cubicBezTo>
                  <a:cubicBezTo>
                    <a:pt x="77" y="143"/>
                    <a:pt x="86" y="109"/>
                    <a:pt x="112" y="93"/>
                  </a:cubicBezTo>
                  <a:cubicBezTo>
                    <a:pt x="139" y="78"/>
                    <a:pt x="173" y="86"/>
                    <a:pt x="189" y="113"/>
                  </a:cubicBezTo>
                  <a:cubicBezTo>
                    <a:pt x="204" y="139"/>
                    <a:pt x="195" y="174"/>
                    <a:pt x="169" y="18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8" name="Freeform 678">
              <a:extLst>
                <a:ext uri="{FF2B5EF4-FFF2-40B4-BE49-F238E27FC236}">
                  <a16:creationId xmlns:a16="http://schemas.microsoft.com/office/drawing/2014/main" id="{1B51BADC-6E19-4300-960B-D2C5D5F250D6}"/>
                </a:ext>
              </a:extLst>
            </p:cNvPr>
            <p:cNvSpPr>
              <a:spLocks noEditPoints="1"/>
            </p:cNvSpPr>
            <p:nvPr/>
          </p:nvSpPr>
          <p:spPr bwMode="auto">
            <a:xfrm>
              <a:off x="957948" y="3171029"/>
              <a:ext cx="157081" cy="163549"/>
            </a:xfrm>
            <a:custGeom>
              <a:avLst/>
              <a:gdLst>
                <a:gd name="T0" fmla="*/ 202 w 256"/>
                <a:gd name="T1" fmla="*/ 53 h 267"/>
                <a:gd name="T2" fmla="*/ 202 w 256"/>
                <a:gd name="T3" fmla="*/ 75 h 267"/>
                <a:gd name="T4" fmla="*/ 192 w 256"/>
                <a:gd name="T5" fmla="*/ 85 h 267"/>
                <a:gd name="T6" fmla="*/ 181 w 256"/>
                <a:gd name="T7" fmla="*/ 75 h 267"/>
                <a:gd name="T8" fmla="*/ 181 w 256"/>
                <a:gd name="T9" fmla="*/ 64 h 267"/>
                <a:gd name="T10" fmla="*/ 106 w 256"/>
                <a:gd name="T11" fmla="*/ 64 h 267"/>
                <a:gd name="T12" fmla="*/ 96 w 256"/>
                <a:gd name="T13" fmla="*/ 53 h 267"/>
                <a:gd name="T14" fmla="*/ 106 w 256"/>
                <a:gd name="T15" fmla="*/ 43 h 267"/>
                <a:gd name="T16" fmla="*/ 192 w 256"/>
                <a:gd name="T17" fmla="*/ 43 h 267"/>
                <a:gd name="T18" fmla="*/ 202 w 256"/>
                <a:gd name="T19" fmla="*/ 53 h 267"/>
                <a:gd name="T20" fmla="*/ 256 w 256"/>
                <a:gd name="T21" fmla="*/ 43 h 267"/>
                <a:gd name="T22" fmla="*/ 256 w 256"/>
                <a:gd name="T23" fmla="*/ 128 h 267"/>
                <a:gd name="T24" fmla="*/ 245 w 256"/>
                <a:gd name="T25" fmla="*/ 139 h 267"/>
                <a:gd name="T26" fmla="*/ 160 w 256"/>
                <a:gd name="T27" fmla="*/ 139 h 267"/>
                <a:gd name="T28" fmla="*/ 160 w 256"/>
                <a:gd name="T29" fmla="*/ 256 h 267"/>
                <a:gd name="T30" fmla="*/ 149 w 256"/>
                <a:gd name="T31" fmla="*/ 267 h 267"/>
                <a:gd name="T32" fmla="*/ 106 w 256"/>
                <a:gd name="T33" fmla="*/ 267 h 267"/>
                <a:gd name="T34" fmla="*/ 96 w 256"/>
                <a:gd name="T35" fmla="*/ 256 h 267"/>
                <a:gd name="T36" fmla="*/ 96 w 256"/>
                <a:gd name="T37" fmla="*/ 139 h 267"/>
                <a:gd name="T38" fmla="*/ 10 w 256"/>
                <a:gd name="T39" fmla="*/ 139 h 267"/>
                <a:gd name="T40" fmla="*/ 0 w 256"/>
                <a:gd name="T41" fmla="*/ 128 h 267"/>
                <a:gd name="T42" fmla="*/ 0 w 256"/>
                <a:gd name="T43" fmla="*/ 43 h 267"/>
                <a:gd name="T44" fmla="*/ 42 w 256"/>
                <a:gd name="T45" fmla="*/ 0 h 267"/>
                <a:gd name="T46" fmla="*/ 213 w 256"/>
                <a:gd name="T47" fmla="*/ 0 h 267"/>
                <a:gd name="T48" fmla="*/ 256 w 256"/>
                <a:gd name="T49" fmla="*/ 43 h 267"/>
                <a:gd name="T50" fmla="*/ 138 w 256"/>
                <a:gd name="T51" fmla="*/ 139 h 267"/>
                <a:gd name="T52" fmla="*/ 117 w 256"/>
                <a:gd name="T53" fmla="*/ 139 h 267"/>
                <a:gd name="T54" fmla="*/ 117 w 256"/>
                <a:gd name="T55" fmla="*/ 245 h 267"/>
                <a:gd name="T56" fmla="*/ 138 w 256"/>
                <a:gd name="T57" fmla="*/ 245 h 267"/>
                <a:gd name="T58" fmla="*/ 138 w 256"/>
                <a:gd name="T59" fmla="*/ 139 h 267"/>
                <a:gd name="T60" fmla="*/ 234 w 256"/>
                <a:gd name="T61" fmla="*/ 43 h 267"/>
                <a:gd name="T62" fmla="*/ 213 w 256"/>
                <a:gd name="T63" fmla="*/ 21 h 267"/>
                <a:gd name="T64" fmla="*/ 42 w 256"/>
                <a:gd name="T65" fmla="*/ 21 h 267"/>
                <a:gd name="T66" fmla="*/ 21 w 256"/>
                <a:gd name="T67" fmla="*/ 43 h 267"/>
                <a:gd name="T68" fmla="*/ 21 w 256"/>
                <a:gd name="T69" fmla="*/ 117 h 267"/>
                <a:gd name="T70" fmla="*/ 234 w 256"/>
                <a:gd name="T71" fmla="*/ 117 h 267"/>
                <a:gd name="T72" fmla="*/ 234 w 256"/>
                <a:gd name="T73" fmla="*/ 4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67">
                  <a:moveTo>
                    <a:pt x="202" y="53"/>
                  </a:moveTo>
                  <a:cubicBezTo>
                    <a:pt x="202" y="75"/>
                    <a:pt x="202" y="75"/>
                    <a:pt x="202" y="75"/>
                  </a:cubicBezTo>
                  <a:cubicBezTo>
                    <a:pt x="202" y="81"/>
                    <a:pt x="198" y="85"/>
                    <a:pt x="192" y="85"/>
                  </a:cubicBezTo>
                  <a:cubicBezTo>
                    <a:pt x="186" y="85"/>
                    <a:pt x="181" y="81"/>
                    <a:pt x="181" y="75"/>
                  </a:cubicBezTo>
                  <a:cubicBezTo>
                    <a:pt x="181" y="64"/>
                    <a:pt x="181" y="64"/>
                    <a:pt x="181" y="64"/>
                  </a:cubicBezTo>
                  <a:cubicBezTo>
                    <a:pt x="106" y="64"/>
                    <a:pt x="106" y="64"/>
                    <a:pt x="106" y="64"/>
                  </a:cubicBezTo>
                  <a:cubicBezTo>
                    <a:pt x="100" y="64"/>
                    <a:pt x="96" y="59"/>
                    <a:pt x="96" y="53"/>
                  </a:cubicBezTo>
                  <a:cubicBezTo>
                    <a:pt x="96" y="47"/>
                    <a:pt x="100" y="43"/>
                    <a:pt x="106" y="43"/>
                  </a:cubicBezTo>
                  <a:cubicBezTo>
                    <a:pt x="192" y="43"/>
                    <a:pt x="192" y="43"/>
                    <a:pt x="192" y="43"/>
                  </a:cubicBezTo>
                  <a:cubicBezTo>
                    <a:pt x="198" y="43"/>
                    <a:pt x="202" y="47"/>
                    <a:pt x="202" y="53"/>
                  </a:cubicBezTo>
                  <a:close/>
                  <a:moveTo>
                    <a:pt x="256" y="43"/>
                  </a:moveTo>
                  <a:cubicBezTo>
                    <a:pt x="256" y="128"/>
                    <a:pt x="256" y="128"/>
                    <a:pt x="256" y="128"/>
                  </a:cubicBezTo>
                  <a:cubicBezTo>
                    <a:pt x="256" y="134"/>
                    <a:pt x="251" y="139"/>
                    <a:pt x="245" y="139"/>
                  </a:cubicBezTo>
                  <a:cubicBezTo>
                    <a:pt x="160" y="139"/>
                    <a:pt x="160" y="139"/>
                    <a:pt x="160" y="139"/>
                  </a:cubicBezTo>
                  <a:cubicBezTo>
                    <a:pt x="160" y="256"/>
                    <a:pt x="160" y="256"/>
                    <a:pt x="160" y="256"/>
                  </a:cubicBezTo>
                  <a:cubicBezTo>
                    <a:pt x="160" y="262"/>
                    <a:pt x="155" y="267"/>
                    <a:pt x="149" y="267"/>
                  </a:cubicBezTo>
                  <a:cubicBezTo>
                    <a:pt x="106" y="267"/>
                    <a:pt x="106" y="267"/>
                    <a:pt x="106" y="267"/>
                  </a:cubicBezTo>
                  <a:cubicBezTo>
                    <a:pt x="100" y="267"/>
                    <a:pt x="96" y="262"/>
                    <a:pt x="96" y="256"/>
                  </a:cubicBezTo>
                  <a:cubicBezTo>
                    <a:pt x="96" y="139"/>
                    <a:pt x="96" y="139"/>
                    <a:pt x="96" y="139"/>
                  </a:cubicBezTo>
                  <a:cubicBezTo>
                    <a:pt x="10" y="139"/>
                    <a:pt x="10" y="139"/>
                    <a:pt x="10" y="139"/>
                  </a:cubicBezTo>
                  <a:cubicBezTo>
                    <a:pt x="4" y="139"/>
                    <a:pt x="0" y="134"/>
                    <a:pt x="0" y="128"/>
                  </a:cubicBezTo>
                  <a:cubicBezTo>
                    <a:pt x="0" y="43"/>
                    <a:pt x="0" y="43"/>
                    <a:pt x="0" y="43"/>
                  </a:cubicBezTo>
                  <a:cubicBezTo>
                    <a:pt x="0" y="19"/>
                    <a:pt x="19" y="0"/>
                    <a:pt x="42" y="0"/>
                  </a:cubicBezTo>
                  <a:cubicBezTo>
                    <a:pt x="213" y="0"/>
                    <a:pt x="213" y="0"/>
                    <a:pt x="213" y="0"/>
                  </a:cubicBezTo>
                  <a:cubicBezTo>
                    <a:pt x="237" y="0"/>
                    <a:pt x="256" y="19"/>
                    <a:pt x="256" y="43"/>
                  </a:cubicBezTo>
                  <a:close/>
                  <a:moveTo>
                    <a:pt x="138" y="139"/>
                  </a:moveTo>
                  <a:cubicBezTo>
                    <a:pt x="117" y="139"/>
                    <a:pt x="117" y="139"/>
                    <a:pt x="117" y="139"/>
                  </a:cubicBezTo>
                  <a:cubicBezTo>
                    <a:pt x="117" y="245"/>
                    <a:pt x="117" y="245"/>
                    <a:pt x="117" y="245"/>
                  </a:cubicBezTo>
                  <a:cubicBezTo>
                    <a:pt x="138" y="245"/>
                    <a:pt x="138" y="245"/>
                    <a:pt x="138" y="245"/>
                  </a:cubicBezTo>
                  <a:lnTo>
                    <a:pt x="138" y="139"/>
                  </a:lnTo>
                  <a:close/>
                  <a:moveTo>
                    <a:pt x="234" y="43"/>
                  </a:moveTo>
                  <a:cubicBezTo>
                    <a:pt x="234" y="31"/>
                    <a:pt x="225" y="21"/>
                    <a:pt x="213" y="21"/>
                  </a:cubicBezTo>
                  <a:cubicBezTo>
                    <a:pt x="42" y="21"/>
                    <a:pt x="42" y="21"/>
                    <a:pt x="42" y="21"/>
                  </a:cubicBezTo>
                  <a:cubicBezTo>
                    <a:pt x="31" y="21"/>
                    <a:pt x="21" y="31"/>
                    <a:pt x="21" y="43"/>
                  </a:cubicBezTo>
                  <a:cubicBezTo>
                    <a:pt x="21" y="117"/>
                    <a:pt x="21" y="117"/>
                    <a:pt x="21" y="117"/>
                  </a:cubicBezTo>
                  <a:cubicBezTo>
                    <a:pt x="234" y="117"/>
                    <a:pt x="234" y="117"/>
                    <a:pt x="234" y="117"/>
                  </a:cubicBezTo>
                  <a:lnTo>
                    <a:pt x="234" y="43"/>
                  </a:lnTo>
                  <a:close/>
                </a:path>
              </a:pathLst>
            </a:custGeom>
            <a:solidFill>
              <a:schemeClr val="accent2"/>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 name="Group 3"/>
          <p:cNvGrpSpPr/>
          <p:nvPr/>
        </p:nvGrpSpPr>
        <p:grpSpPr>
          <a:xfrm>
            <a:off x="10352038" y="2252749"/>
            <a:ext cx="263316" cy="262006"/>
            <a:chOff x="966402" y="2289726"/>
            <a:chExt cx="263316" cy="262006"/>
          </a:xfrm>
        </p:grpSpPr>
        <p:sp>
          <p:nvSpPr>
            <p:cNvPr id="18" name="Freeform 19">
              <a:extLst>
                <a:ext uri="{FF2B5EF4-FFF2-40B4-BE49-F238E27FC236}">
                  <a16:creationId xmlns:a16="http://schemas.microsoft.com/office/drawing/2014/main" id="{41695A49-F724-466A-B12C-35BC1A19A3D1}"/>
                </a:ext>
              </a:extLst>
            </p:cNvPr>
            <p:cNvSpPr>
              <a:spLocks noEditPoints="1"/>
            </p:cNvSpPr>
            <p:nvPr/>
          </p:nvSpPr>
          <p:spPr bwMode="auto">
            <a:xfrm>
              <a:off x="966402" y="2289726"/>
              <a:ext cx="263316" cy="262006"/>
            </a:xfrm>
            <a:custGeom>
              <a:avLst/>
              <a:gdLst>
                <a:gd name="T0" fmla="*/ 86 w 90"/>
                <a:gd name="T1" fmla="*/ 42 h 90"/>
                <a:gd name="T2" fmla="*/ 86 w 90"/>
                <a:gd name="T3" fmla="*/ 38 h 90"/>
                <a:gd name="T4" fmla="*/ 85 w 90"/>
                <a:gd name="T5" fmla="*/ 34 h 90"/>
                <a:gd name="T6" fmla="*/ 83 w 90"/>
                <a:gd name="T7" fmla="*/ 30 h 90"/>
                <a:gd name="T8" fmla="*/ 81 w 90"/>
                <a:gd name="T9" fmla="*/ 26 h 90"/>
                <a:gd name="T10" fmla="*/ 79 w 90"/>
                <a:gd name="T11" fmla="*/ 22 h 90"/>
                <a:gd name="T12" fmla="*/ 77 w 90"/>
                <a:gd name="T13" fmla="*/ 19 h 90"/>
                <a:gd name="T14" fmla="*/ 74 w 90"/>
                <a:gd name="T15" fmla="*/ 16 h 90"/>
                <a:gd name="T16" fmla="*/ 70 w 90"/>
                <a:gd name="T17" fmla="*/ 13 h 90"/>
                <a:gd name="T18" fmla="*/ 67 w 90"/>
                <a:gd name="T19" fmla="*/ 10 h 90"/>
                <a:gd name="T20" fmla="*/ 63 w 90"/>
                <a:gd name="T21" fmla="*/ 8 h 90"/>
                <a:gd name="T22" fmla="*/ 59 w 90"/>
                <a:gd name="T23" fmla="*/ 6 h 90"/>
                <a:gd name="T24" fmla="*/ 55 w 90"/>
                <a:gd name="T25" fmla="*/ 5 h 90"/>
                <a:gd name="T26" fmla="*/ 51 w 90"/>
                <a:gd name="T27" fmla="*/ 4 h 90"/>
                <a:gd name="T28" fmla="*/ 46 w 90"/>
                <a:gd name="T29" fmla="*/ 4 h 90"/>
                <a:gd name="T30" fmla="*/ 42 w 90"/>
                <a:gd name="T31" fmla="*/ 4 h 90"/>
                <a:gd name="T32" fmla="*/ 38 w 90"/>
                <a:gd name="T33" fmla="*/ 5 h 90"/>
                <a:gd name="T34" fmla="*/ 34 w 90"/>
                <a:gd name="T35" fmla="*/ 6 h 90"/>
                <a:gd name="T36" fmla="*/ 30 w 90"/>
                <a:gd name="T37" fmla="*/ 7 h 90"/>
                <a:gd name="T38" fmla="*/ 26 w 90"/>
                <a:gd name="T39" fmla="*/ 9 h 90"/>
                <a:gd name="T40" fmla="*/ 22 w 90"/>
                <a:gd name="T41" fmla="*/ 11 h 90"/>
                <a:gd name="T42" fmla="*/ 19 w 90"/>
                <a:gd name="T43" fmla="*/ 14 h 90"/>
                <a:gd name="T44" fmla="*/ 15 w 90"/>
                <a:gd name="T45" fmla="*/ 17 h 90"/>
                <a:gd name="T46" fmla="*/ 13 w 90"/>
                <a:gd name="T47" fmla="*/ 20 h 90"/>
                <a:gd name="T48" fmla="*/ 10 w 90"/>
                <a:gd name="T49" fmla="*/ 24 h 90"/>
                <a:gd name="T50" fmla="*/ 8 w 90"/>
                <a:gd name="T51" fmla="*/ 27 h 90"/>
                <a:gd name="T52" fmla="*/ 6 w 90"/>
                <a:gd name="T53" fmla="*/ 31 h 90"/>
                <a:gd name="T54" fmla="*/ 5 w 90"/>
                <a:gd name="T55" fmla="*/ 36 h 90"/>
                <a:gd name="T56" fmla="*/ 4 w 90"/>
                <a:gd name="T57" fmla="*/ 40 h 90"/>
                <a:gd name="T58" fmla="*/ 4 w 90"/>
                <a:gd name="T59" fmla="*/ 44 h 90"/>
                <a:gd name="T60" fmla="*/ 4 w 90"/>
                <a:gd name="T61" fmla="*/ 48 h 90"/>
                <a:gd name="T62" fmla="*/ 5 w 90"/>
                <a:gd name="T63" fmla="*/ 53 h 90"/>
                <a:gd name="T64" fmla="*/ 6 w 90"/>
                <a:gd name="T65" fmla="*/ 57 h 90"/>
                <a:gd name="T66" fmla="*/ 7 w 90"/>
                <a:gd name="T67" fmla="*/ 61 h 90"/>
                <a:gd name="T68" fmla="*/ 9 w 90"/>
                <a:gd name="T69" fmla="*/ 65 h 90"/>
                <a:gd name="T70" fmla="*/ 11 w 90"/>
                <a:gd name="T71" fmla="*/ 69 h 90"/>
                <a:gd name="T72" fmla="*/ 14 w 90"/>
                <a:gd name="T73" fmla="*/ 72 h 90"/>
                <a:gd name="T74" fmla="*/ 17 w 90"/>
                <a:gd name="T75" fmla="*/ 75 h 90"/>
                <a:gd name="T76" fmla="*/ 20 w 90"/>
                <a:gd name="T77" fmla="*/ 78 h 90"/>
                <a:gd name="T78" fmla="*/ 24 w 90"/>
                <a:gd name="T79" fmla="*/ 80 h 90"/>
                <a:gd name="T80" fmla="*/ 27 w 90"/>
                <a:gd name="T81" fmla="*/ 83 h 90"/>
                <a:gd name="T82" fmla="*/ 31 w 90"/>
                <a:gd name="T83" fmla="*/ 84 h 90"/>
                <a:gd name="T84" fmla="*/ 35 w 90"/>
                <a:gd name="T85" fmla="*/ 85 h 90"/>
                <a:gd name="T86" fmla="*/ 40 w 90"/>
                <a:gd name="T87" fmla="*/ 86 h 90"/>
                <a:gd name="T88" fmla="*/ 44 w 90"/>
                <a:gd name="T89" fmla="*/ 87 h 90"/>
                <a:gd name="T90" fmla="*/ 48 w 90"/>
                <a:gd name="T91" fmla="*/ 87 h 90"/>
                <a:gd name="T92" fmla="*/ 53 w 90"/>
                <a:gd name="T93" fmla="*/ 86 h 90"/>
                <a:gd name="T94" fmla="*/ 57 w 90"/>
                <a:gd name="T95" fmla="*/ 85 h 90"/>
                <a:gd name="T96" fmla="*/ 61 w 90"/>
                <a:gd name="T97" fmla="*/ 84 h 90"/>
                <a:gd name="T98" fmla="*/ 65 w 90"/>
                <a:gd name="T99" fmla="*/ 82 h 90"/>
                <a:gd name="T100" fmla="*/ 68 w 90"/>
                <a:gd name="T101" fmla="*/ 79 h 90"/>
                <a:gd name="T102" fmla="*/ 72 w 90"/>
                <a:gd name="T103" fmla="*/ 77 h 90"/>
                <a:gd name="T104" fmla="*/ 75 w 90"/>
                <a:gd name="T105" fmla="*/ 74 h 90"/>
                <a:gd name="T106" fmla="*/ 78 w 90"/>
                <a:gd name="T107" fmla="*/ 71 h 90"/>
                <a:gd name="T108" fmla="*/ 80 w 90"/>
                <a:gd name="T109" fmla="*/ 67 h 90"/>
                <a:gd name="T110" fmla="*/ 82 w 90"/>
                <a:gd name="T111" fmla="*/ 63 h 90"/>
                <a:gd name="T112" fmla="*/ 84 w 90"/>
                <a:gd name="T113" fmla="*/ 59 h 90"/>
                <a:gd name="T114" fmla="*/ 85 w 90"/>
                <a:gd name="T115" fmla="*/ 55 h 90"/>
                <a:gd name="T116" fmla="*/ 86 w 90"/>
                <a:gd name="T117" fmla="*/ 51 h 90"/>
                <a:gd name="T118" fmla="*/ 86 w 90"/>
                <a:gd name="T119" fmla="*/ 4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 h="90">
                  <a:moveTo>
                    <a:pt x="89" y="46"/>
                  </a:moveTo>
                  <a:cubicBezTo>
                    <a:pt x="89" y="46"/>
                    <a:pt x="90" y="46"/>
                    <a:pt x="90" y="46"/>
                  </a:cubicBezTo>
                  <a:cubicBezTo>
                    <a:pt x="90" y="46"/>
                    <a:pt x="90" y="46"/>
                    <a:pt x="90" y="45"/>
                  </a:cubicBezTo>
                  <a:cubicBezTo>
                    <a:pt x="90" y="45"/>
                    <a:pt x="90" y="45"/>
                    <a:pt x="90" y="45"/>
                  </a:cubicBezTo>
                  <a:cubicBezTo>
                    <a:pt x="90" y="45"/>
                    <a:pt x="89" y="44"/>
                    <a:pt x="89" y="44"/>
                  </a:cubicBezTo>
                  <a:cubicBezTo>
                    <a:pt x="89" y="44"/>
                    <a:pt x="88" y="44"/>
                    <a:pt x="86" y="44"/>
                  </a:cubicBezTo>
                  <a:cubicBezTo>
                    <a:pt x="86" y="44"/>
                    <a:pt x="86" y="43"/>
                    <a:pt x="86" y="42"/>
                  </a:cubicBezTo>
                  <a:cubicBezTo>
                    <a:pt x="87" y="42"/>
                    <a:pt x="89" y="42"/>
                    <a:pt x="89" y="42"/>
                  </a:cubicBezTo>
                  <a:cubicBezTo>
                    <a:pt x="89" y="42"/>
                    <a:pt x="89" y="41"/>
                    <a:pt x="90" y="41"/>
                  </a:cubicBezTo>
                  <a:cubicBezTo>
                    <a:pt x="90" y="41"/>
                    <a:pt x="90" y="41"/>
                    <a:pt x="90" y="41"/>
                  </a:cubicBezTo>
                  <a:cubicBezTo>
                    <a:pt x="90" y="40"/>
                    <a:pt x="90" y="40"/>
                    <a:pt x="89" y="40"/>
                  </a:cubicBezTo>
                  <a:cubicBezTo>
                    <a:pt x="89" y="40"/>
                    <a:pt x="89" y="40"/>
                    <a:pt x="89" y="40"/>
                  </a:cubicBezTo>
                  <a:cubicBezTo>
                    <a:pt x="89" y="40"/>
                    <a:pt x="87" y="40"/>
                    <a:pt x="86" y="40"/>
                  </a:cubicBezTo>
                  <a:cubicBezTo>
                    <a:pt x="86" y="39"/>
                    <a:pt x="86" y="39"/>
                    <a:pt x="86" y="38"/>
                  </a:cubicBezTo>
                  <a:cubicBezTo>
                    <a:pt x="87" y="38"/>
                    <a:pt x="88" y="37"/>
                    <a:pt x="88" y="37"/>
                  </a:cubicBezTo>
                  <a:cubicBezTo>
                    <a:pt x="89" y="37"/>
                    <a:pt x="89" y="37"/>
                    <a:pt x="89" y="37"/>
                  </a:cubicBezTo>
                  <a:cubicBezTo>
                    <a:pt x="89" y="36"/>
                    <a:pt x="89" y="36"/>
                    <a:pt x="89" y="36"/>
                  </a:cubicBezTo>
                  <a:cubicBezTo>
                    <a:pt x="89" y="36"/>
                    <a:pt x="89" y="36"/>
                    <a:pt x="89" y="35"/>
                  </a:cubicBezTo>
                  <a:cubicBezTo>
                    <a:pt x="88" y="35"/>
                    <a:pt x="88" y="35"/>
                    <a:pt x="88" y="35"/>
                  </a:cubicBezTo>
                  <a:cubicBezTo>
                    <a:pt x="88" y="35"/>
                    <a:pt x="86" y="35"/>
                    <a:pt x="85" y="36"/>
                  </a:cubicBezTo>
                  <a:cubicBezTo>
                    <a:pt x="85" y="35"/>
                    <a:pt x="85" y="34"/>
                    <a:pt x="85" y="34"/>
                  </a:cubicBezTo>
                  <a:cubicBezTo>
                    <a:pt x="86" y="33"/>
                    <a:pt x="87" y="33"/>
                    <a:pt x="87" y="33"/>
                  </a:cubicBezTo>
                  <a:cubicBezTo>
                    <a:pt x="87" y="33"/>
                    <a:pt x="88" y="32"/>
                    <a:pt x="88" y="32"/>
                  </a:cubicBezTo>
                  <a:cubicBezTo>
                    <a:pt x="88" y="32"/>
                    <a:pt x="88" y="32"/>
                    <a:pt x="88" y="32"/>
                  </a:cubicBezTo>
                  <a:cubicBezTo>
                    <a:pt x="88" y="31"/>
                    <a:pt x="87" y="31"/>
                    <a:pt x="87" y="31"/>
                  </a:cubicBezTo>
                  <a:cubicBezTo>
                    <a:pt x="87" y="31"/>
                    <a:pt x="87" y="31"/>
                    <a:pt x="87" y="31"/>
                  </a:cubicBezTo>
                  <a:cubicBezTo>
                    <a:pt x="86" y="31"/>
                    <a:pt x="85" y="31"/>
                    <a:pt x="84" y="31"/>
                  </a:cubicBezTo>
                  <a:cubicBezTo>
                    <a:pt x="84" y="31"/>
                    <a:pt x="83" y="30"/>
                    <a:pt x="83" y="30"/>
                  </a:cubicBezTo>
                  <a:cubicBezTo>
                    <a:pt x="84" y="29"/>
                    <a:pt x="85" y="28"/>
                    <a:pt x="86" y="28"/>
                  </a:cubicBezTo>
                  <a:cubicBezTo>
                    <a:pt x="86" y="28"/>
                    <a:pt x="86" y="28"/>
                    <a:pt x="86" y="28"/>
                  </a:cubicBezTo>
                  <a:cubicBezTo>
                    <a:pt x="86" y="28"/>
                    <a:pt x="86" y="27"/>
                    <a:pt x="86" y="27"/>
                  </a:cubicBezTo>
                  <a:cubicBezTo>
                    <a:pt x="86" y="27"/>
                    <a:pt x="86" y="27"/>
                    <a:pt x="86" y="27"/>
                  </a:cubicBezTo>
                  <a:cubicBezTo>
                    <a:pt x="85" y="26"/>
                    <a:pt x="85" y="26"/>
                    <a:pt x="85" y="26"/>
                  </a:cubicBezTo>
                  <a:cubicBezTo>
                    <a:pt x="85" y="27"/>
                    <a:pt x="83" y="27"/>
                    <a:pt x="82" y="27"/>
                  </a:cubicBezTo>
                  <a:cubicBezTo>
                    <a:pt x="82" y="27"/>
                    <a:pt x="82" y="26"/>
                    <a:pt x="81" y="26"/>
                  </a:cubicBezTo>
                  <a:cubicBezTo>
                    <a:pt x="82" y="25"/>
                    <a:pt x="83" y="24"/>
                    <a:pt x="84" y="24"/>
                  </a:cubicBezTo>
                  <a:cubicBezTo>
                    <a:pt x="84" y="24"/>
                    <a:pt x="84" y="24"/>
                    <a:pt x="84" y="24"/>
                  </a:cubicBezTo>
                  <a:cubicBezTo>
                    <a:pt x="84" y="23"/>
                    <a:pt x="84" y="23"/>
                    <a:pt x="84" y="23"/>
                  </a:cubicBezTo>
                  <a:cubicBezTo>
                    <a:pt x="84" y="23"/>
                    <a:pt x="84" y="22"/>
                    <a:pt x="83" y="22"/>
                  </a:cubicBezTo>
                  <a:cubicBezTo>
                    <a:pt x="83" y="22"/>
                    <a:pt x="83" y="22"/>
                    <a:pt x="83" y="22"/>
                  </a:cubicBezTo>
                  <a:cubicBezTo>
                    <a:pt x="82" y="23"/>
                    <a:pt x="81" y="23"/>
                    <a:pt x="80" y="24"/>
                  </a:cubicBezTo>
                  <a:cubicBezTo>
                    <a:pt x="80" y="23"/>
                    <a:pt x="80" y="23"/>
                    <a:pt x="79" y="22"/>
                  </a:cubicBezTo>
                  <a:cubicBezTo>
                    <a:pt x="80" y="21"/>
                    <a:pt x="81" y="20"/>
                    <a:pt x="81" y="20"/>
                  </a:cubicBezTo>
                  <a:cubicBezTo>
                    <a:pt x="81" y="20"/>
                    <a:pt x="82" y="20"/>
                    <a:pt x="82" y="20"/>
                  </a:cubicBezTo>
                  <a:cubicBezTo>
                    <a:pt x="82" y="19"/>
                    <a:pt x="82" y="19"/>
                    <a:pt x="81" y="19"/>
                  </a:cubicBezTo>
                  <a:cubicBezTo>
                    <a:pt x="81" y="19"/>
                    <a:pt x="81" y="19"/>
                    <a:pt x="81" y="19"/>
                  </a:cubicBezTo>
                  <a:cubicBezTo>
                    <a:pt x="81" y="18"/>
                    <a:pt x="80" y="19"/>
                    <a:pt x="80" y="19"/>
                  </a:cubicBezTo>
                  <a:cubicBezTo>
                    <a:pt x="80" y="19"/>
                    <a:pt x="79" y="20"/>
                    <a:pt x="78" y="20"/>
                  </a:cubicBezTo>
                  <a:cubicBezTo>
                    <a:pt x="77" y="20"/>
                    <a:pt x="77" y="19"/>
                    <a:pt x="77" y="19"/>
                  </a:cubicBezTo>
                  <a:cubicBezTo>
                    <a:pt x="77" y="18"/>
                    <a:pt x="78" y="17"/>
                    <a:pt x="78" y="17"/>
                  </a:cubicBezTo>
                  <a:cubicBezTo>
                    <a:pt x="79" y="16"/>
                    <a:pt x="79" y="16"/>
                    <a:pt x="79" y="16"/>
                  </a:cubicBezTo>
                  <a:cubicBezTo>
                    <a:pt x="79" y="16"/>
                    <a:pt x="79" y="16"/>
                    <a:pt x="78" y="15"/>
                  </a:cubicBezTo>
                  <a:cubicBezTo>
                    <a:pt x="78" y="15"/>
                    <a:pt x="78" y="15"/>
                    <a:pt x="78" y="15"/>
                  </a:cubicBezTo>
                  <a:cubicBezTo>
                    <a:pt x="78" y="15"/>
                    <a:pt x="77" y="15"/>
                    <a:pt x="77" y="15"/>
                  </a:cubicBezTo>
                  <a:cubicBezTo>
                    <a:pt x="77" y="15"/>
                    <a:pt x="76" y="16"/>
                    <a:pt x="75" y="17"/>
                  </a:cubicBezTo>
                  <a:cubicBezTo>
                    <a:pt x="75" y="16"/>
                    <a:pt x="74" y="16"/>
                    <a:pt x="74" y="16"/>
                  </a:cubicBezTo>
                  <a:cubicBezTo>
                    <a:pt x="74" y="14"/>
                    <a:pt x="75" y="13"/>
                    <a:pt x="75" y="13"/>
                  </a:cubicBezTo>
                  <a:cubicBezTo>
                    <a:pt x="75" y="13"/>
                    <a:pt x="75" y="13"/>
                    <a:pt x="75" y="13"/>
                  </a:cubicBezTo>
                  <a:cubicBezTo>
                    <a:pt x="75" y="12"/>
                    <a:pt x="75" y="12"/>
                    <a:pt x="75" y="12"/>
                  </a:cubicBezTo>
                  <a:cubicBezTo>
                    <a:pt x="75" y="12"/>
                    <a:pt x="75" y="12"/>
                    <a:pt x="74" y="12"/>
                  </a:cubicBezTo>
                  <a:cubicBezTo>
                    <a:pt x="74" y="12"/>
                    <a:pt x="74" y="12"/>
                    <a:pt x="74" y="12"/>
                  </a:cubicBezTo>
                  <a:cubicBezTo>
                    <a:pt x="74" y="12"/>
                    <a:pt x="73" y="13"/>
                    <a:pt x="72" y="14"/>
                  </a:cubicBezTo>
                  <a:cubicBezTo>
                    <a:pt x="71" y="13"/>
                    <a:pt x="71" y="13"/>
                    <a:pt x="70" y="13"/>
                  </a:cubicBezTo>
                  <a:cubicBezTo>
                    <a:pt x="71" y="12"/>
                    <a:pt x="72" y="10"/>
                    <a:pt x="72" y="10"/>
                  </a:cubicBezTo>
                  <a:cubicBezTo>
                    <a:pt x="72" y="10"/>
                    <a:pt x="72" y="10"/>
                    <a:pt x="72" y="10"/>
                  </a:cubicBezTo>
                  <a:cubicBezTo>
                    <a:pt x="72" y="9"/>
                    <a:pt x="72" y="9"/>
                    <a:pt x="71" y="9"/>
                  </a:cubicBezTo>
                  <a:cubicBezTo>
                    <a:pt x="71" y="9"/>
                    <a:pt x="71" y="9"/>
                    <a:pt x="71" y="9"/>
                  </a:cubicBezTo>
                  <a:cubicBezTo>
                    <a:pt x="71" y="9"/>
                    <a:pt x="70" y="9"/>
                    <a:pt x="70" y="9"/>
                  </a:cubicBezTo>
                  <a:cubicBezTo>
                    <a:pt x="70" y="9"/>
                    <a:pt x="69" y="10"/>
                    <a:pt x="68" y="11"/>
                  </a:cubicBezTo>
                  <a:cubicBezTo>
                    <a:pt x="68" y="11"/>
                    <a:pt x="67" y="11"/>
                    <a:pt x="67" y="10"/>
                  </a:cubicBezTo>
                  <a:cubicBezTo>
                    <a:pt x="67" y="9"/>
                    <a:pt x="68" y="8"/>
                    <a:pt x="68" y="8"/>
                  </a:cubicBezTo>
                  <a:cubicBezTo>
                    <a:pt x="68" y="8"/>
                    <a:pt x="68" y="7"/>
                    <a:pt x="68" y="7"/>
                  </a:cubicBezTo>
                  <a:cubicBezTo>
                    <a:pt x="68" y="7"/>
                    <a:pt x="68" y="7"/>
                    <a:pt x="68" y="6"/>
                  </a:cubicBezTo>
                  <a:cubicBezTo>
                    <a:pt x="67" y="6"/>
                    <a:pt x="67" y="6"/>
                    <a:pt x="67" y="6"/>
                  </a:cubicBezTo>
                  <a:cubicBezTo>
                    <a:pt x="67" y="6"/>
                    <a:pt x="66" y="6"/>
                    <a:pt x="66" y="7"/>
                  </a:cubicBezTo>
                  <a:cubicBezTo>
                    <a:pt x="66" y="7"/>
                    <a:pt x="65" y="8"/>
                    <a:pt x="65" y="9"/>
                  </a:cubicBezTo>
                  <a:cubicBezTo>
                    <a:pt x="64" y="9"/>
                    <a:pt x="64" y="8"/>
                    <a:pt x="63" y="8"/>
                  </a:cubicBezTo>
                  <a:cubicBezTo>
                    <a:pt x="63" y="7"/>
                    <a:pt x="64" y="6"/>
                    <a:pt x="64" y="6"/>
                  </a:cubicBezTo>
                  <a:cubicBezTo>
                    <a:pt x="64" y="5"/>
                    <a:pt x="64" y="5"/>
                    <a:pt x="64" y="5"/>
                  </a:cubicBezTo>
                  <a:cubicBezTo>
                    <a:pt x="64" y="5"/>
                    <a:pt x="64" y="4"/>
                    <a:pt x="63" y="4"/>
                  </a:cubicBezTo>
                  <a:cubicBezTo>
                    <a:pt x="63" y="4"/>
                    <a:pt x="63" y="4"/>
                    <a:pt x="63" y="4"/>
                  </a:cubicBezTo>
                  <a:cubicBezTo>
                    <a:pt x="62" y="4"/>
                    <a:pt x="62" y="5"/>
                    <a:pt x="62" y="5"/>
                  </a:cubicBezTo>
                  <a:cubicBezTo>
                    <a:pt x="62" y="5"/>
                    <a:pt x="61" y="6"/>
                    <a:pt x="61" y="7"/>
                  </a:cubicBezTo>
                  <a:cubicBezTo>
                    <a:pt x="60" y="7"/>
                    <a:pt x="60" y="7"/>
                    <a:pt x="59" y="6"/>
                  </a:cubicBezTo>
                  <a:cubicBezTo>
                    <a:pt x="59" y="5"/>
                    <a:pt x="60" y="4"/>
                    <a:pt x="60" y="4"/>
                  </a:cubicBezTo>
                  <a:cubicBezTo>
                    <a:pt x="60" y="4"/>
                    <a:pt x="60" y="3"/>
                    <a:pt x="60" y="3"/>
                  </a:cubicBezTo>
                  <a:cubicBezTo>
                    <a:pt x="59" y="3"/>
                    <a:pt x="59" y="3"/>
                    <a:pt x="59" y="3"/>
                  </a:cubicBezTo>
                  <a:cubicBezTo>
                    <a:pt x="59" y="3"/>
                    <a:pt x="59" y="3"/>
                    <a:pt x="58" y="3"/>
                  </a:cubicBezTo>
                  <a:cubicBezTo>
                    <a:pt x="58" y="3"/>
                    <a:pt x="58" y="3"/>
                    <a:pt x="58" y="3"/>
                  </a:cubicBezTo>
                  <a:cubicBezTo>
                    <a:pt x="58" y="3"/>
                    <a:pt x="57" y="5"/>
                    <a:pt x="57" y="6"/>
                  </a:cubicBezTo>
                  <a:cubicBezTo>
                    <a:pt x="56" y="6"/>
                    <a:pt x="56" y="5"/>
                    <a:pt x="55" y="5"/>
                  </a:cubicBezTo>
                  <a:cubicBezTo>
                    <a:pt x="55" y="4"/>
                    <a:pt x="55" y="3"/>
                    <a:pt x="55" y="2"/>
                  </a:cubicBezTo>
                  <a:cubicBezTo>
                    <a:pt x="55" y="2"/>
                    <a:pt x="55" y="2"/>
                    <a:pt x="55" y="2"/>
                  </a:cubicBezTo>
                  <a:cubicBezTo>
                    <a:pt x="55" y="2"/>
                    <a:pt x="55" y="1"/>
                    <a:pt x="54" y="1"/>
                  </a:cubicBezTo>
                  <a:cubicBezTo>
                    <a:pt x="54" y="1"/>
                    <a:pt x="54" y="1"/>
                    <a:pt x="54" y="2"/>
                  </a:cubicBezTo>
                  <a:cubicBezTo>
                    <a:pt x="54" y="2"/>
                    <a:pt x="53" y="2"/>
                    <a:pt x="53" y="2"/>
                  </a:cubicBezTo>
                  <a:cubicBezTo>
                    <a:pt x="53" y="2"/>
                    <a:pt x="53" y="4"/>
                    <a:pt x="53" y="5"/>
                  </a:cubicBezTo>
                  <a:cubicBezTo>
                    <a:pt x="52" y="5"/>
                    <a:pt x="51" y="5"/>
                    <a:pt x="51" y="4"/>
                  </a:cubicBezTo>
                  <a:cubicBezTo>
                    <a:pt x="51" y="3"/>
                    <a:pt x="51" y="2"/>
                    <a:pt x="51" y="2"/>
                  </a:cubicBezTo>
                  <a:cubicBezTo>
                    <a:pt x="51" y="1"/>
                    <a:pt x="51" y="1"/>
                    <a:pt x="50" y="1"/>
                  </a:cubicBezTo>
                  <a:cubicBezTo>
                    <a:pt x="50" y="1"/>
                    <a:pt x="50" y="1"/>
                    <a:pt x="50" y="1"/>
                  </a:cubicBezTo>
                  <a:cubicBezTo>
                    <a:pt x="50" y="1"/>
                    <a:pt x="49" y="1"/>
                    <a:pt x="49" y="1"/>
                  </a:cubicBezTo>
                  <a:cubicBezTo>
                    <a:pt x="49" y="1"/>
                    <a:pt x="49" y="1"/>
                    <a:pt x="49" y="1"/>
                  </a:cubicBezTo>
                  <a:cubicBezTo>
                    <a:pt x="49" y="2"/>
                    <a:pt x="49" y="3"/>
                    <a:pt x="48" y="4"/>
                  </a:cubicBezTo>
                  <a:cubicBezTo>
                    <a:pt x="48" y="4"/>
                    <a:pt x="47" y="4"/>
                    <a:pt x="46" y="4"/>
                  </a:cubicBezTo>
                  <a:cubicBezTo>
                    <a:pt x="46" y="3"/>
                    <a:pt x="46" y="2"/>
                    <a:pt x="46" y="1"/>
                  </a:cubicBezTo>
                  <a:cubicBezTo>
                    <a:pt x="46" y="1"/>
                    <a:pt x="46" y="1"/>
                    <a:pt x="46" y="1"/>
                  </a:cubicBezTo>
                  <a:cubicBezTo>
                    <a:pt x="46" y="1"/>
                    <a:pt x="45" y="0"/>
                    <a:pt x="45" y="0"/>
                  </a:cubicBezTo>
                  <a:cubicBezTo>
                    <a:pt x="45" y="0"/>
                    <a:pt x="45" y="1"/>
                    <a:pt x="45" y="1"/>
                  </a:cubicBezTo>
                  <a:cubicBezTo>
                    <a:pt x="44" y="1"/>
                    <a:pt x="44" y="1"/>
                    <a:pt x="44" y="1"/>
                  </a:cubicBezTo>
                  <a:cubicBezTo>
                    <a:pt x="44" y="2"/>
                    <a:pt x="44" y="3"/>
                    <a:pt x="44" y="4"/>
                  </a:cubicBezTo>
                  <a:cubicBezTo>
                    <a:pt x="43" y="4"/>
                    <a:pt x="43" y="4"/>
                    <a:pt x="42" y="4"/>
                  </a:cubicBezTo>
                  <a:cubicBezTo>
                    <a:pt x="42" y="3"/>
                    <a:pt x="42" y="2"/>
                    <a:pt x="42" y="1"/>
                  </a:cubicBezTo>
                  <a:cubicBezTo>
                    <a:pt x="42" y="1"/>
                    <a:pt x="41" y="1"/>
                    <a:pt x="41" y="1"/>
                  </a:cubicBezTo>
                  <a:cubicBezTo>
                    <a:pt x="41" y="1"/>
                    <a:pt x="41" y="1"/>
                    <a:pt x="41" y="1"/>
                  </a:cubicBezTo>
                  <a:cubicBezTo>
                    <a:pt x="40" y="1"/>
                    <a:pt x="40" y="1"/>
                    <a:pt x="40" y="1"/>
                  </a:cubicBezTo>
                  <a:cubicBezTo>
                    <a:pt x="40" y="1"/>
                    <a:pt x="40" y="1"/>
                    <a:pt x="40" y="2"/>
                  </a:cubicBezTo>
                  <a:cubicBezTo>
                    <a:pt x="40" y="2"/>
                    <a:pt x="40" y="3"/>
                    <a:pt x="40" y="4"/>
                  </a:cubicBezTo>
                  <a:cubicBezTo>
                    <a:pt x="39" y="5"/>
                    <a:pt x="38" y="5"/>
                    <a:pt x="38" y="5"/>
                  </a:cubicBezTo>
                  <a:cubicBezTo>
                    <a:pt x="37" y="4"/>
                    <a:pt x="37" y="2"/>
                    <a:pt x="37" y="2"/>
                  </a:cubicBezTo>
                  <a:cubicBezTo>
                    <a:pt x="37" y="2"/>
                    <a:pt x="37" y="2"/>
                    <a:pt x="37" y="2"/>
                  </a:cubicBezTo>
                  <a:cubicBezTo>
                    <a:pt x="36" y="1"/>
                    <a:pt x="36" y="1"/>
                    <a:pt x="36" y="1"/>
                  </a:cubicBezTo>
                  <a:cubicBezTo>
                    <a:pt x="36" y="1"/>
                    <a:pt x="35" y="2"/>
                    <a:pt x="35" y="2"/>
                  </a:cubicBezTo>
                  <a:cubicBezTo>
                    <a:pt x="35" y="2"/>
                    <a:pt x="35" y="2"/>
                    <a:pt x="35" y="2"/>
                  </a:cubicBezTo>
                  <a:cubicBezTo>
                    <a:pt x="35" y="3"/>
                    <a:pt x="35" y="4"/>
                    <a:pt x="35" y="5"/>
                  </a:cubicBezTo>
                  <a:cubicBezTo>
                    <a:pt x="35" y="5"/>
                    <a:pt x="34" y="6"/>
                    <a:pt x="34" y="6"/>
                  </a:cubicBezTo>
                  <a:cubicBezTo>
                    <a:pt x="33" y="5"/>
                    <a:pt x="33" y="3"/>
                    <a:pt x="33" y="3"/>
                  </a:cubicBezTo>
                  <a:cubicBezTo>
                    <a:pt x="32" y="3"/>
                    <a:pt x="32" y="3"/>
                    <a:pt x="32" y="3"/>
                  </a:cubicBezTo>
                  <a:cubicBezTo>
                    <a:pt x="32" y="3"/>
                    <a:pt x="32" y="3"/>
                    <a:pt x="31" y="3"/>
                  </a:cubicBezTo>
                  <a:cubicBezTo>
                    <a:pt x="31" y="3"/>
                    <a:pt x="31" y="3"/>
                    <a:pt x="31" y="3"/>
                  </a:cubicBezTo>
                  <a:cubicBezTo>
                    <a:pt x="31" y="3"/>
                    <a:pt x="31" y="4"/>
                    <a:pt x="31" y="4"/>
                  </a:cubicBezTo>
                  <a:cubicBezTo>
                    <a:pt x="31" y="4"/>
                    <a:pt x="31" y="5"/>
                    <a:pt x="31" y="6"/>
                  </a:cubicBezTo>
                  <a:cubicBezTo>
                    <a:pt x="31" y="7"/>
                    <a:pt x="30" y="7"/>
                    <a:pt x="30" y="7"/>
                  </a:cubicBezTo>
                  <a:cubicBezTo>
                    <a:pt x="29" y="6"/>
                    <a:pt x="28" y="5"/>
                    <a:pt x="28" y="5"/>
                  </a:cubicBezTo>
                  <a:cubicBezTo>
                    <a:pt x="28" y="5"/>
                    <a:pt x="28" y="4"/>
                    <a:pt x="28" y="4"/>
                  </a:cubicBezTo>
                  <a:cubicBezTo>
                    <a:pt x="27" y="4"/>
                    <a:pt x="27" y="4"/>
                    <a:pt x="27" y="4"/>
                  </a:cubicBezTo>
                  <a:cubicBezTo>
                    <a:pt x="27" y="4"/>
                    <a:pt x="27" y="5"/>
                    <a:pt x="26" y="5"/>
                  </a:cubicBezTo>
                  <a:cubicBezTo>
                    <a:pt x="26" y="5"/>
                    <a:pt x="26" y="5"/>
                    <a:pt x="26" y="6"/>
                  </a:cubicBezTo>
                  <a:cubicBezTo>
                    <a:pt x="27" y="6"/>
                    <a:pt x="27" y="7"/>
                    <a:pt x="27" y="8"/>
                  </a:cubicBezTo>
                  <a:cubicBezTo>
                    <a:pt x="27" y="8"/>
                    <a:pt x="26" y="9"/>
                    <a:pt x="26" y="9"/>
                  </a:cubicBezTo>
                  <a:cubicBezTo>
                    <a:pt x="25" y="8"/>
                    <a:pt x="24" y="7"/>
                    <a:pt x="24" y="7"/>
                  </a:cubicBezTo>
                  <a:cubicBezTo>
                    <a:pt x="24" y="6"/>
                    <a:pt x="24" y="6"/>
                    <a:pt x="23" y="6"/>
                  </a:cubicBezTo>
                  <a:cubicBezTo>
                    <a:pt x="23" y="6"/>
                    <a:pt x="23" y="6"/>
                    <a:pt x="23" y="6"/>
                  </a:cubicBezTo>
                  <a:cubicBezTo>
                    <a:pt x="23" y="7"/>
                    <a:pt x="22" y="7"/>
                    <a:pt x="22" y="7"/>
                  </a:cubicBezTo>
                  <a:cubicBezTo>
                    <a:pt x="22" y="7"/>
                    <a:pt x="22" y="8"/>
                    <a:pt x="22" y="8"/>
                  </a:cubicBezTo>
                  <a:cubicBezTo>
                    <a:pt x="22" y="8"/>
                    <a:pt x="23" y="9"/>
                    <a:pt x="24" y="10"/>
                  </a:cubicBezTo>
                  <a:cubicBezTo>
                    <a:pt x="23" y="11"/>
                    <a:pt x="22" y="11"/>
                    <a:pt x="22" y="11"/>
                  </a:cubicBezTo>
                  <a:cubicBezTo>
                    <a:pt x="21" y="10"/>
                    <a:pt x="20" y="9"/>
                    <a:pt x="20" y="9"/>
                  </a:cubicBezTo>
                  <a:cubicBezTo>
                    <a:pt x="20" y="9"/>
                    <a:pt x="20" y="9"/>
                    <a:pt x="20" y="9"/>
                  </a:cubicBezTo>
                  <a:cubicBezTo>
                    <a:pt x="19" y="9"/>
                    <a:pt x="19" y="9"/>
                    <a:pt x="19" y="9"/>
                  </a:cubicBezTo>
                  <a:cubicBezTo>
                    <a:pt x="19" y="9"/>
                    <a:pt x="19" y="9"/>
                    <a:pt x="18" y="10"/>
                  </a:cubicBezTo>
                  <a:cubicBezTo>
                    <a:pt x="18" y="10"/>
                    <a:pt x="18" y="10"/>
                    <a:pt x="19" y="10"/>
                  </a:cubicBezTo>
                  <a:cubicBezTo>
                    <a:pt x="19" y="10"/>
                    <a:pt x="19" y="12"/>
                    <a:pt x="20" y="13"/>
                  </a:cubicBezTo>
                  <a:cubicBezTo>
                    <a:pt x="19" y="13"/>
                    <a:pt x="19" y="13"/>
                    <a:pt x="19" y="14"/>
                  </a:cubicBezTo>
                  <a:cubicBezTo>
                    <a:pt x="18" y="13"/>
                    <a:pt x="17" y="12"/>
                    <a:pt x="17" y="12"/>
                  </a:cubicBezTo>
                  <a:cubicBezTo>
                    <a:pt x="16" y="12"/>
                    <a:pt x="16" y="12"/>
                    <a:pt x="16" y="12"/>
                  </a:cubicBezTo>
                  <a:cubicBezTo>
                    <a:pt x="16" y="12"/>
                    <a:pt x="15" y="12"/>
                    <a:pt x="15" y="12"/>
                  </a:cubicBezTo>
                  <a:cubicBezTo>
                    <a:pt x="15" y="12"/>
                    <a:pt x="15" y="12"/>
                    <a:pt x="15" y="13"/>
                  </a:cubicBezTo>
                  <a:cubicBezTo>
                    <a:pt x="15" y="13"/>
                    <a:pt x="15" y="13"/>
                    <a:pt x="15" y="13"/>
                  </a:cubicBezTo>
                  <a:cubicBezTo>
                    <a:pt x="15" y="13"/>
                    <a:pt x="16" y="14"/>
                    <a:pt x="17" y="16"/>
                  </a:cubicBezTo>
                  <a:cubicBezTo>
                    <a:pt x="16" y="16"/>
                    <a:pt x="16" y="16"/>
                    <a:pt x="15" y="17"/>
                  </a:cubicBezTo>
                  <a:cubicBezTo>
                    <a:pt x="14" y="16"/>
                    <a:pt x="13" y="15"/>
                    <a:pt x="13" y="15"/>
                  </a:cubicBezTo>
                  <a:cubicBezTo>
                    <a:pt x="13" y="15"/>
                    <a:pt x="13" y="15"/>
                    <a:pt x="13" y="15"/>
                  </a:cubicBezTo>
                  <a:cubicBezTo>
                    <a:pt x="12" y="15"/>
                    <a:pt x="12" y="15"/>
                    <a:pt x="12" y="15"/>
                  </a:cubicBezTo>
                  <a:cubicBezTo>
                    <a:pt x="12" y="16"/>
                    <a:pt x="12" y="16"/>
                    <a:pt x="12" y="16"/>
                  </a:cubicBezTo>
                  <a:cubicBezTo>
                    <a:pt x="12" y="16"/>
                    <a:pt x="12" y="16"/>
                    <a:pt x="12" y="17"/>
                  </a:cubicBezTo>
                  <a:cubicBezTo>
                    <a:pt x="12" y="17"/>
                    <a:pt x="13" y="18"/>
                    <a:pt x="14" y="19"/>
                  </a:cubicBezTo>
                  <a:cubicBezTo>
                    <a:pt x="13" y="19"/>
                    <a:pt x="13" y="20"/>
                    <a:pt x="13" y="20"/>
                  </a:cubicBezTo>
                  <a:cubicBezTo>
                    <a:pt x="12" y="20"/>
                    <a:pt x="10" y="19"/>
                    <a:pt x="10" y="19"/>
                  </a:cubicBezTo>
                  <a:cubicBezTo>
                    <a:pt x="10" y="19"/>
                    <a:pt x="10" y="18"/>
                    <a:pt x="10" y="19"/>
                  </a:cubicBezTo>
                  <a:cubicBezTo>
                    <a:pt x="9" y="19"/>
                    <a:pt x="9" y="19"/>
                    <a:pt x="9" y="19"/>
                  </a:cubicBezTo>
                  <a:cubicBezTo>
                    <a:pt x="9" y="19"/>
                    <a:pt x="9" y="19"/>
                    <a:pt x="9" y="20"/>
                  </a:cubicBezTo>
                  <a:cubicBezTo>
                    <a:pt x="9" y="20"/>
                    <a:pt x="9" y="20"/>
                    <a:pt x="9" y="20"/>
                  </a:cubicBezTo>
                  <a:cubicBezTo>
                    <a:pt x="9" y="20"/>
                    <a:pt x="10" y="21"/>
                    <a:pt x="11" y="22"/>
                  </a:cubicBezTo>
                  <a:cubicBezTo>
                    <a:pt x="11" y="23"/>
                    <a:pt x="10" y="23"/>
                    <a:pt x="10" y="24"/>
                  </a:cubicBezTo>
                  <a:cubicBezTo>
                    <a:pt x="9" y="23"/>
                    <a:pt x="8" y="23"/>
                    <a:pt x="8" y="22"/>
                  </a:cubicBezTo>
                  <a:cubicBezTo>
                    <a:pt x="7" y="22"/>
                    <a:pt x="7" y="22"/>
                    <a:pt x="7" y="22"/>
                  </a:cubicBezTo>
                  <a:cubicBezTo>
                    <a:pt x="7" y="22"/>
                    <a:pt x="7" y="23"/>
                    <a:pt x="6" y="23"/>
                  </a:cubicBezTo>
                  <a:cubicBezTo>
                    <a:pt x="6" y="23"/>
                    <a:pt x="6" y="23"/>
                    <a:pt x="6" y="24"/>
                  </a:cubicBezTo>
                  <a:cubicBezTo>
                    <a:pt x="6" y="24"/>
                    <a:pt x="6" y="24"/>
                    <a:pt x="7" y="24"/>
                  </a:cubicBezTo>
                  <a:cubicBezTo>
                    <a:pt x="7" y="24"/>
                    <a:pt x="8" y="25"/>
                    <a:pt x="9" y="26"/>
                  </a:cubicBezTo>
                  <a:cubicBezTo>
                    <a:pt x="9" y="26"/>
                    <a:pt x="8" y="27"/>
                    <a:pt x="8" y="27"/>
                  </a:cubicBezTo>
                  <a:cubicBezTo>
                    <a:pt x="7" y="27"/>
                    <a:pt x="6" y="27"/>
                    <a:pt x="5" y="26"/>
                  </a:cubicBezTo>
                  <a:cubicBezTo>
                    <a:pt x="5" y="26"/>
                    <a:pt x="5" y="26"/>
                    <a:pt x="5" y="27"/>
                  </a:cubicBezTo>
                  <a:cubicBezTo>
                    <a:pt x="5" y="27"/>
                    <a:pt x="4" y="27"/>
                    <a:pt x="4" y="27"/>
                  </a:cubicBezTo>
                  <a:cubicBezTo>
                    <a:pt x="4" y="27"/>
                    <a:pt x="4" y="28"/>
                    <a:pt x="4" y="28"/>
                  </a:cubicBezTo>
                  <a:cubicBezTo>
                    <a:pt x="4" y="28"/>
                    <a:pt x="5" y="28"/>
                    <a:pt x="5" y="28"/>
                  </a:cubicBezTo>
                  <a:cubicBezTo>
                    <a:pt x="5" y="28"/>
                    <a:pt x="6" y="29"/>
                    <a:pt x="7" y="30"/>
                  </a:cubicBezTo>
                  <a:cubicBezTo>
                    <a:pt x="7" y="30"/>
                    <a:pt x="7" y="31"/>
                    <a:pt x="6" y="31"/>
                  </a:cubicBezTo>
                  <a:cubicBezTo>
                    <a:pt x="5" y="31"/>
                    <a:pt x="4" y="31"/>
                    <a:pt x="4" y="31"/>
                  </a:cubicBezTo>
                  <a:cubicBezTo>
                    <a:pt x="3" y="31"/>
                    <a:pt x="3" y="31"/>
                    <a:pt x="3" y="31"/>
                  </a:cubicBezTo>
                  <a:cubicBezTo>
                    <a:pt x="3" y="31"/>
                    <a:pt x="3" y="31"/>
                    <a:pt x="3" y="32"/>
                  </a:cubicBezTo>
                  <a:cubicBezTo>
                    <a:pt x="3" y="32"/>
                    <a:pt x="3" y="32"/>
                    <a:pt x="3" y="32"/>
                  </a:cubicBezTo>
                  <a:cubicBezTo>
                    <a:pt x="3" y="32"/>
                    <a:pt x="3" y="33"/>
                    <a:pt x="3" y="33"/>
                  </a:cubicBezTo>
                  <a:cubicBezTo>
                    <a:pt x="3" y="33"/>
                    <a:pt x="5" y="33"/>
                    <a:pt x="6" y="34"/>
                  </a:cubicBezTo>
                  <a:cubicBezTo>
                    <a:pt x="6" y="34"/>
                    <a:pt x="5" y="35"/>
                    <a:pt x="5" y="36"/>
                  </a:cubicBezTo>
                  <a:cubicBezTo>
                    <a:pt x="4" y="35"/>
                    <a:pt x="3" y="35"/>
                    <a:pt x="2" y="35"/>
                  </a:cubicBezTo>
                  <a:cubicBezTo>
                    <a:pt x="2" y="35"/>
                    <a:pt x="2" y="35"/>
                    <a:pt x="2" y="35"/>
                  </a:cubicBezTo>
                  <a:cubicBezTo>
                    <a:pt x="2" y="36"/>
                    <a:pt x="1" y="36"/>
                    <a:pt x="1" y="36"/>
                  </a:cubicBezTo>
                  <a:cubicBezTo>
                    <a:pt x="1" y="36"/>
                    <a:pt x="1" y="36"/>
                    <a:pt x="2" y="37"/>
                  </a:cubicBezTo>
                  <a:cubicBezTo>
                    <a:pt x="2" y="37"/>
                    <a:pt x="2" y="37"/>
                    <a:pt x="2" y="37"/>
                  </a:cubicBezTo>
                  <a:cubicBezTo>
                    <a:pt x="2" y="37"/>
                    <a:pt x="3" y="38"/>
                    <a:pt x="5" y="38"/>
                  </a:cubicBezTo>
                  <a:cubicBezTo>
                    <a:pt x="5" y="39"/>
                    <a:pt x="5" y="39"/>
                    <a:pt x="4" y="40"/>
                  </a:cubicBezTo>
                  <a:cubicBezTo>
                    <a:pt x="3" y="40"/>
                    <a:pt x="2" y="40"/>
                    <a:pt x="2" y="40"/>
                  </a:cubicBezTo>
                  <a:cubicBezTo>
                    <a:pt x="1" y="40"/>
                    <a:pt x="1" y="40"/>
                    <a:pt x="1" y="40"/>
                  </a:cubicBezTo>
                  <a:cubicBezTo>
                    <a:pt x="1" y="40"/>
                    <a:pt x="1" y="40"/>
                    <a:pt x="1" y="41"/>
                  </a:cubicBezTo>
                  <a:cubicBezTo>
                    <a:pt x="1" y="41"/>
                    <a:pt x="1" y="41"/>
                    <a:pt x="1" y="41"/>
                  </a:cubicBezTo>
                  <a:cubicBezTo>
                    <a:pt x="1" y="41"/>
                    <a:pt x="1" y="42"/>
                    <a:pt x="1" y="42"/>
                  </a:cubicBezTo>
                  <a:cubicBezTo>
                    <a:pt x="2" y="42"/>
                    <a:pt x="3" y="42"/>
                    <a:pt x="4" y="42"/>
                  </a:cubicBezTo>
                  <a:cubicBezTo>
                    <a:pt x="4" y="43"/>
                    <a:pt x="4" y="44"/>
                    <a:pt x="4" y="44"/>
                  </a:cubicBezTo>
                  <a:cubicBezTo>
                    <a:pt x="3" y="44"/>
                    <a:pt x="2" y="44"/>
                    <a:pt x="1" y="44"/>
                  </a:cubicBezTo>
                  <a:cubicBezTo>
                    <a:pt x="1" y="44"/>
                    <a:pt x="1" y="45"/>
                    <a:pt x="1" y="45"/>
                  </a:cubicBezTo>
                  <a:cubicBezTo>
                    <a:pt x="1" y="45"/>
                    <a:pt x="0" y="45"/>
                    <a:pt x="0" y="45"/>
                  </a:cubicBezTo>
                  <a:cubicBezTo>
                    <a:pt x="0" y="46"/>
                    <a:pt x="1" y="46"/>
                    <a:pt x="1" y="46"/>
                  </a:cubicBezTo>
                  <a:cubicBezTo>
                    <a:pt x="1" y="46"/>
                    <a:pt x="1" y="46"/>
                    <a:pt x="1" y="46"/>
                  </a:cubicBezTo>
                  <a:cubicBezTo>
                    <a:pt x="2" y="46"/>
                    <a:pt x="3" y="46"/>
                    <a:pt x="4" y="47"/>
                  </a:cubicBezTo>
                  <a:cubicBezTo>
                    <a:pt x="4" y="47"/>
                    <a:pt x="4" y="48"/>
                    <a:pt x="4" y="48"/>
                  </a:cubicBezTo>
                  <a:cubicBezTo>
                    <a:pt x="3" y="49"/>
                    <a:pt x="2" y="49"/>
                    <a:pt x="1" y="49"/>
                  </a:cubicBezTo>
                  <a:cubicBezTo>
                    <a:pt x="1" y="49"/>
                    <a:pt x="1" y="49"/>
                    <a:pt x="1" y="49"/>
                  </a:cubicBezTo>
                  <a:cubicBezTo>
                    <a:pt x="1" y="50"/>
                    <a:pt x="1" y="50"/>
                    <a:pt x="1" y="50"/>
                  </a:cubicBezTo>
                  <a:cubicBezTo>
                    <a:pt x="1" y="50"/>
                    <a:pt x="1" y="50"/>
                    <a:pt x="1" y="51"/>
                  </a:cubicBezTo>
                  <a:cubicBezTo>
                    <a:pt x="1" y="51"/>
                    <a:pt x="1" y="51"/>
                    <a:pt x="2" y="51"/>
                  </a:cubicBezTo>
                  <a:cubicBezTo>
                    <a:pt x="2" y="51"/>
                    <a:pt x="3" y="51"/>
                    <a:pt x="4" y="51"/>
                  </a:cubicBezTo>
                  <a:cubicBezTo>
                    <a:pt x="5" y="52"/>
                    <a:pt x="5" y="52"/>
                    <a:pt x="5" y="53"/>
                  </a:cubicBezTo>
                  <a:cubicBezTo>
                    <a:pt x="3" y="53"/>
                    <a:pt x="2" y="53"/>
                    <a:pt x="2" y="54"/>
                  </a:cubicBezTo>
                  <a:cubicBezTo>
                    <a:pt x="2" y="54"/>
                    <a:pt x="2" y="54"/>
                    <a:pt x="2" y="54"/>
                  </a:cubicBezTo>
                  <a:cubicBezTo>
                    <a:pt x="1" y="54"/>
                    <a:pt x="1" y="54"/>
                    <a:pt x="1" y="55"/>
                  </a:cubicBezTo>
                  <a:cubicBezTo>
                    <a:pt x="1" y="55"/>
                    <a:pt x="2" y="55"/>
                    <a:pt x="2" y="55"/>
                  </a:cubicBezTo>
                  <a:cubicBezTo>
                    <a:pt x="2" y="55"/>
                    <a:pt x="2" y="55"/>
                    <a:pt x="2" y="55"/>
                  </a:cubicBezTo>
                  <a:cubicBezTo>
                    <a:pt x="3" y="55"/>
                    <a:pt x="4" y="55"/>
                    <a:pt x="5" y="55"/>
                  </a:cubicBezTo>
                  <a:cubicBezTo>
                    <a:pt x="5" y="56"/>
                    <a:pt x="6" y="56"/>
                    <a:pt x="6" y="57"/>
                  </a:cubicBezTo>
                  <a:cubicBezTo>
                    <a:pt x="5" y="57"/>
                    <a:pt x="3" y="58"/>
                    <a:pt x="3" y="58"/>
                  </a:cubicBezTo>
                  <a:cubicBezTo>
                    <a:pt x="3" y="58"/>
                    <a:pt x="3" y="58"/>
                    <a:pt x="3" y="59"/>
                  </a:cubicBezTo>
                  <a:cubicBezTo>
                    <a:pt x="3" y="59"/>
                    <a:pt x="3" y="59"/>
                    <a:pt x="3" y="59"/>
                  </a:cubicBezTo>
                  <a:cubicBezTo>
                    <a:pt x="3" y="59"/>
                    <a:pt x="3" y="60"/>
                    <a:pt x="3" y="60"/>
                  </a:cubicBezTo>
                  <a:cubicBezTo>
                    <a:pt x="3" y="60"/>
                    <a:pt x="3" y="60"/>
                    <a:pt x="4" y="60"/>
                  </a:cubicBezTo>
                  <a:cubicBezTo>
                    <a:pt x="4" y="60"/>
                    <a:pt x="5" y="60"/>
                    <a:pt x="6" y="59"/>
                  </a:cubicBezTo>
                  <a:cubicBezTo>
                    <a:pt x="7" y="60"/>
                    <a:pt x="7" y="60"/>
                    <a:pt x="7" y="61"/>
                  </a:cubicBezTo>
                  <a:cubicBezTo>
                    <a:pt x="6" y="62"/>
                    <a:pt x="5" y="62"/>
                    <a:pt x="5" y="62"/>
                  </a:cubicBezTo>
                  <a:cubicBezTo>
                    <a:pt x="5" y="63"/>
                    <a:pt x="4" y="63"/>
                    <a:pt x="4" y="63"/>
                  </a:cubicBezTo>
                  <a:cubicBezTo>
                    <a:pt x="4" y="63"/>
                    <a:pt x="4" y="63"/>
                    <a:pt x="4" y="64"/>
                  </a:cubicBezTo>
                  <a:cubicBezTo>
                    <a:pt x="4" y="64"/>
                    <a:pt x="5" y="64"/>
                    <a:pt x="5" y="64"/>
                  </a:cubicBezTo>
                  <a:cubicBezTo>
                    <a:pt x="5" y="64"/>
                    <a:pt x="5" y="64"/>
                    <a:pt x="5" y="64"/>
                  </a:cubicBezTo>
                  <a:cubicBezTo>
                    <a:pt x="6" y="64"/>
                    <a:pt x="7" y="64"/>
                    <a:pt x="8" y="63"/>
                  </a:cubicBezTo>
                  <a:cubicBezTo>
                    <a:pt x="8" y="64"/>
                    <a:pt x="9" y="64"/>
                    <a:pt x="9" y="65"/>
                  </a:cubicBezTo>
                  <a:cubicBezTo>
                    <a:pt x="8" y="66"/>
                    <a:pt x="7" y="66"/>
                    <a:pt x="7" y="67"/>
                  </a:cubicBezTo>
                  <a:cubicBezTo>
                    <a:pt x="6" y="67"/>
                    <a:pt x="6" y="67"/>
                    <a:pt x="6" y="67"/>
                  </a:cubicBezTo>
                  <a:cubicBezTo>
                    <a:pt x="6" y="67"/>
                    <a:pt x="6" y="68"/>
                    <a:pt x="6" y="68"/>
                  </a:cubicBezTo>
                  <a:cubicBezTo>
                    <a:pt x="7" y="68"/>
                    <a:pt x="7" y="68"/>
                    <a:pt x="7" y="68"/>
                  </a:cubicBezTo>
                  <a:cubicBezTo>
                    <a:pt x="7" y="68"/>
                    <a:pt x="7" y="68"/>
                    <a:pt x="8" y="68"/>
                  </a:cubicBezTo>
                  <a:cubicBezTo>
                    <a:pt x="8" y="68"/>
                    <a:pt x="9" y="68"/>
                    <a:pt x="10" y="67"/>
                  </a:cubicBezTo>
                  <a:cubicBezTo>
                    <a:pt x="10" y="68"/>
                    <a:pt x="11" y="68"/>
                    <a:pt x="11" y="69"/>
                  </a:cubicBezTo>
                  <a:cubicBezTo>
                    <a:pt x="10" y="69"/>
                    <a:pt x="9" y="70"/>
                    <a:pt x="9" y="70"/>
                  </a:cubicBezTo>
                  <a:cubicBezTo>
                    <a:pt x="9" y="71"/>
                    <a:pt x="9" y="71"/>
                    <a:pt x="9" y="71"/>
                  </a:cubicBezTo>
                  <a:cubicBezTo>
                    <a:pt x="9" y="71"/>
                    <a:pt x="9" y="72"/>
                    <a:pt x="9" y="72"/>
                  </a:cubicBezTo>
                  <a:cubicBezTo>
                    <a:pt x="9" y="72"/>
                    <a:pt x="9" y="72"/>
                    <a:pt x="10" y="72"/>
                  </a:cubicBezTo>
                  <a:cubicBezTo>
                    <a:pt x="10" y="72"/>
                    <a:pt x="10" y="72"/>
                    <a:pt x="10" y="72"/>
                  </a:cubicBezTo>
                  <a:cubicBezTo>
                    <a:pt x="10" y="72"/>
                    <a:pt x="12" y="71"/>
                    <a:pt x="13" y="71"/>
                  </a:cubicBezTo>
                  <a:cubicBezTo>
                    <a:pt x="13" y="71"/>
                    <a:pt x="13" y="72"/>
                    <a:pt x="14" y="72"/>
                  </a:cubicBezTo>
                  <a:cubicBezTo>
                    <a:pt x="13" y="73"/>
                    <a:pt x="12" y="74"/>
                    <a:pt x="12" y="74"/>
                  </a:cubicBezTo>
                  <a:cubicBezTo>
                    <a:pt x="12" y="74"/>
                    <a:pt x="12" y="75"/>
                    <a:pt x="12" y="75"/>
                  </a:cubicBezTo>
                  <a:cubicBezTo>
                    <a:pt x="12" y="75"/>
                    <a:pt x="12" y="75"/>
                    <a:pt x="12" y="75"/>
                  </a:cubicBezTo>
                  <a:cubicBezTo>
                    <a:pt x="12" y="76"/>
                    <a:pt x="12" y="76"/>
                    <a:pt x="13" y="76"/>
                  </a:cubicBezTo>
                  <a:cubicBezTo>
                    <a:pt x="13" y="76"/>
                    <a:pt x="13" y="76"/>
                    <a:pt x="13" y="76"/>
                  </a:cubicBezTo>
                  <a:cubicBezTo>
                    <a:pt x="13" y="75"/>
                    <a:pt x="14" y="75"/>
                    <a:pt x="15" y="74"/>
                  </a:cubicBezTo>
                  <a:cubicBezTo>
                    <a:pt x="16" y="74"/>
                    <a:pt x="16" y="75"/>
                    <a:pt x="17" y="75"/>
                  </a:cubicBezTo>
                  <a:cubicBezTo>
                    <a:pt x="16" y="76"/>
                    <a:pt x="15" y="77"/>
                    <a:pt x="15" y="77"/>
                  </a:cubicBezTo>
                  <a:cubicBezTo>
                    <a:pt x="15" y="78"/>
                    <a:pt x="15" y="78"/>
                    <a:pt x="15" y="78"/>
                  </a:cubicBezTo>
                  <a:cubicBezTo>
                    <a:pt x="15" y="78"/>
                    <a:pt x="15" y="79"/>
                    <a:pt x="15" y="79"/>
                  </a:cubicBezTo>
                  <a:cubicBezTo>
                    <a:pt x="15" y="79"/>
                    <a:pt x="16" y="79"/>
                    <a:pt x="16" y="79"/>
                  </a:cubicBezTo>
                  <a:cubicBezTo>
                    <a:pt x="16" y="79"/>
                    <a:pt x="16" y="79"/>
                    <a:pt x="17" y="79"/>
                  </a:cubicBezTo>
                  <a:cubicBezTo>
                    <a:pt x="17" y="79"/>
                    <a:pt x="18" y="78"/>
                    <a:pt x="19" y="77"/>
                  </a:cubicBezTo>
                  <a:cubicBezTo>
                    <a:pt x="19" y="77"/>
                    <a:pt x="19" y="78"/>
                    <a:pt x="20" y="78"/>
                  </a:cubicBezTo>
                  <a:cubicBezTo>
                    <a:pt x="19" y="79"/>
                    <a:pt x="19" y="80"/>
                    <a:pt x="19" y="80"/>
                  </a:cubicBezTo>
                  <a:cubicBezTo>
                    <a:pt x="18" y="81"/>
                    <a:pt x="18" y="81"/>
                    <a:pt x="18" y="81"/>
                  </a:cubicBezTo>
                  <a:cubicBezTo>
                    <a:pt x="19" y="81"/>
                    <a:pt x="19" y="81"/>
                    <a:pt x="19" y="82"/>
                  </a:cubicBezTo>
                  <a:cubicBezTo>
                    <a:pt x="19" y="82"/>
                    <a:pt x="19" y="82"/>
                    <a:pt x="20" y="82"/>
                  </a:cubicBezTo>
                  <a:cubicBezTo>
                    <a:pt x="20" y="82"/>
                    <a:pt x="20" y="82"/>
                    <a:pt x="20" y="81"/>
                  </a:cubicBezTo>
                  <a:cubicBezTo>
                    <a:pt x="20" y="81"/>
                    <a:pt x="21" y="80"/>
                    <a:pt x="22" y="79"/>
                  </a:cubicBezTo>
                  <a:cubicBezTo>
                    <a:pt x="22" y="80"/>
                    <a:pt x="23" y="80"/>
                    <a:pt x="24" y="80"/>
                  </a:cubicBezTo>
                  <a:cubicBezTo>
                    <a:pt x="23" y="81"/>
                    <a:pt x="22" y="83"/>
                    <a:pt x="22" y="83"/>
                  </a:cubicBezTo>
                  <a:cubicBezTo>
                    <a:pt x="22" y="83"/>
                    <a:pt x="22" y="83"/>
                    <a:pt x="22" y="84"/>
                  </a:cubicBezTo>
                  <a:cubicBezTo>
                    <a:pt x="22" y="84"/>
                    <a:pt x="23" y="84"/>
                    <a:pt x="23" y="84"/>
                  </a:cubicBezTo>
                  <a:cubicBezTo>
                    <a:pt x="23" y="84"/>
                    <a:pt x="23" y="84"/>
                    <a:pt x="23" y="84"/>
                  </a:cubicBezTo>
                  <a:cubicBezTo>
                    <a:pt x="24" y="84"/>
                    <a:pt x="24" y="84"/>
                    <a:pt x="24" y="84"/>
                  </a:cubicBezTo>
                  <a:cubicBezTo>
                    <a:pt x="24" y="84"/>
                    <a:pt x="25" y="83"/>
                    <a:pt x="26" y="82"/>
                  </a:cubicBezTo>
                  <a:cubicBezTo>
                    <a:pt x="26" y="82"/>
                    <a:pt x="27" y="82"/>
                    <a:pt x="27" y="83"/>
                  </a:cubicBezTo>
                  <a:cubicBezTo>
                    <a:pt x="27" y="84"/>
                    <a:pt x="27" y="85"/>
                    <a:pt x="26" y="85"/>
                  </a:cubicBezTo>
                  <a:cubicBezTo>
                    <a:pt x="26" y="85"/>
                    <a:pt x="26" y="86"/>
                    <a:pt x="26" y="86"/>
                  </a:cubicBezTo>
                  <a:cubicBezTo>
                    <a:pt x="27" y="86"/>
                    <a:pt x="27" y="86"/>
                    <a:pt x="27" y="86"/>
                  </a:cubicBezTo>
                  <a:cubicBezTo>
                    <a:pt x="27" y="86"/>
                    <a:pt x="27" y="86"/>
                    <a:pt x="28" y="86"/>
                  </a:cubicBezTo>
                  <a:cubicBezTo>
                    <a:pt x="28" y="86"/>
                    <a:pt x="28" y="86"/>
                    <a:pt x="28" y="86"/>
                  </a:cubicBezTo>
                  <a:cubicBezTo>
                    <a:pt x="28" y="86"/>
                    <a:pt x="29" y="85"/>
                    <a:pt x="30" y="84"/>
                  </a:cubicBezTo>
                  <a:cubicBezTo>
                    <a:pt x="30" y="84"/>
                    <a:pt x="31" y="84"/>
                    <a:pt x="31" y="84"/>
                  </a:cubicBezTo>
                  <a:cubicBezTo>
                    <a:pt x="31" y="85"/>
                    <a:pt x="31" y="87"/>
                    <a:pt x="31" y="87"/>
                  </a:cubicBezTo>
                  <a:cubicBezTo>
                    <a:pt x="31" y="87"/>
                    <a:pt x="31" y="87"/>
                    <a:pt x="31" y="88"/>
                  </a:cubicBezTo>
                  <a:cubicBezTo>
                    <a:pt x="31" y="88"/>
                    <a:pt x="31" y="88"/>
                    <a:pt x="31" y="88"/>
                  </a:cubicBezTo>
                  <a:cubicBezTo>
                    <a:pt x="32" y="88"/>
                    <a:pt x="32" y="88"/>
                    <a:pt x="32" y="88"/>
                  </a:cubicBezTo>
                  <a:cubicBezTo>
                    <a:pt x="32" y="88"/>
                    <a:pt x="32" y="88"/>
                    <a:pt x="33" y="88"/>
                  </a:cubicBezTo>
                  <a:cubicBezTo>
                    <a:pt x="33" y="87"/>
                    <a:pt x="33" y="86"/>
                    <a:pt x="34" y="85"/>
                  </a:cubicBezTo>
                  <a:cubicBezTo>
                    <a:pt x="34" y="85"/>
                    <a:pt x="35" y="85"/>
                    <a:pt x="35" y="85"/>
                  </a:cubicBezTo>
                  <a:cubicBezTo>
                    <a:pt x="35" y="87"/>
                    <a:pt x="35" y="88"/>
                    <a:pt x="35" y="88"/>
                  </a:cubicBezTo>
                  <a:cubicBezTo>
                    <a:pt x="35" y="88"/>
                    <a:pt x="35" y="89"/>
                    <a:pt x="35" y="89"/>
                  </a:cubicBezTo>
                  <a:cubicBezTo>
                    <a:pt x="35" y="89"/>
                    <a:pt x="36" y="89"/>
                    <a:pt x="36" y="89"/>
                  </a:cubicBezTo>
                  <a:cubicBezTo>
                    <a:pt x="36" y="89"/>
                    <a:pt x="36" y="89"/>
                    <a:pt x="37" y="89"/>
                  </a:cubicBezTo>
                  <a:cubicBezTo>
                    <a:pt x="37" y="89"/>
                    <a:pt x="37" y="89"/>
                    <a:pt x="37" y="89"/>
                  </a:cubicBezTo>
                  <a:cubicBezTo>
                    <a:pt x="37" y="88"/>
                    <a:pt x="37" y="87"/>
                    <a:pt x="38" y="86"/>
                  </a:cubicBezTo>
                  <a:cubicBezTo>
                    <a:pt x="38" y="86"/>
                    <a:pt x="39" y="86"/>
                    <a:pt x="40" y="86"/>
                  </a:cubicBezTo>
                  <a:cubicBezTo>
                    <a:pt x="40" y="87"/>
                    <a:pt x="40" y="89"/>
                    <a:pt x="40" y="89"/>
                  </a:cubicBezTo>
                  <a:cubicBezTo>
                    <a:pt x="40" y="89"/>
                    <a:pt x="40" y="89"/>
                    <a:pt x="40" y="90"/>
                  </a:cubicBezTo>
                  <a:cubicBezTo>
                    <a:pt x="40" y="90"/>
                    <a:pt x="40" y="90"/>
                    <a:pt x="41" y="90"/>
                  </a:cubicBezTo>
                  <a:cubicBezTo>
                    <a:pt x="41" y="90"/>
                    <a:pt x="41" y="90"/>
                    <a:pt x="41" y="90"/>
                  </a:cubicBezTo>
                  <a:cubicBezTo>
                    <a:pt x="41" y="90"/>
                    <a:pt x="42" y="89"/>
                    <a:pt x="42" y="89"/>
                  </a:cubicBezTo>
                  <a:cubicBezTo>
                    <a:pt x="42" y="89"/>
                    <a:pt x="42" y="88"/>
                    <a:pt x="42" y="87"/>
                  </a:cubicBezTo>
                  <a:cubicBezTo>
                    <a:pt x="43" y="87"/>
                    <a:pt x="43" y="87"/>
                    <a:pt x="44" y="87"/>
                  </a:cubicBezTo>
                  <a:cubicBezTo>
                    <a:pt x="44" y="88"/>
                    <a:pt x="44" y="89"/>
                    <a:pt x="44" y="89"/>
                  </a:cubicBezTo>
                  <a:cubicBezTo>
                    <a:pt x="44" y="90"/>
                    <a:pt x="44" y="90"/>
                    <a:pt x="45" y="90"/>
                  </a:cubicBezTo>
                  <a:cubicBezTo>
                    <a:pt x="45" y="90"/>
                    <a:pt x="45" y="90"/>
                    <a:pt x="45" y="90"/>
                  </a:cubicBezTo>
                  <a:cubicBezTo>
                    <a:pt x="45" y="90"/>
                    <a:pt x="46" y="90"/>
                    <a:pt x="46" y="90"/>
                  </a:cubicBezTo>
                  <a:cubicBezTo>
                    <a:pt x="46" y="90"/>
                    <a:pt x="46" y="90"/>
                    <a:pt x="46" y="89"/>
                  </a:cubicBezTo>
                  <a:cubicBezTo>
                    <a:pt x="46" y="89"/>
                    <a:pt x="46" y="88"/>
                    <a:pt x="46" y="87"/>
                  </a:cubicBezTo>
                  <a:cubicBezTo>
                    <a:pt x="47" y="87"/>
                    <a:pt x="48" y="87"/>
                    <a:pt x="48" y="87"/>
                  </a:cubicBezTo>
                  <a:cubicBezTo>
                    <a:pt x="49" y="88"/>
                    <a:pt x="49" y="89"/>
                    <a:pt x="49" y="89"/>
                  </a:cubicBezTo>
                  <a:cubicBezTo>
                    <a:pt x="49" y="89"/>
                    <a:pt x="49" y="90"/>
                    <a:pt x="49" y="90"/>
                  </a:cubicBezTo>
                  <a:cubicBezTo>
                    <a:pt x="49" y="90"/>
                    <a:pt x="50" y="90"/>
                    <a:pt x="50" y="90"/>
                  </a:cubicBezTo>
                  <a:cubicBezTo>
                    <a:pt x="50" y="90"/>
                    <a:pt x="50" y="90"/>
                    <a:pt x="50" y="90"/>
                  </a:cubicBezTo>
                  <a:cubicBezTo>
                    <a:pt x="51" y="89"/>
                    <a:pt x="51" y="89"/>
                    <a:pt x="51" y="89"/>
                  </a:cubicBezTo>
                  <a:cubicBezTo>
                    <a:pt x="51" y="89"/>
                    <a:pt x="51" y="87"/>
                    <a:pt x="51" y="86"/>
                  </a:cubicBezTo>
                  <a:cubicBezTo>
                    <a:pt x="51" y="86"/>
                    <a:pt x="52" y="86"/>
                    <a:pt x="53" y="86"/>
                  </a:cubicBezTo>
                  <a:cubicBezTo>
                    <a:pt x="53" y="87"/>
                    <a:pt x="53" y="88"/>
                    <a:pt x="53" y="89"/>
                  </a:cubicBezTo>
                  <a:cubicBezTo>
                    <a:pt x="53" y="89"/>
                    <a:pt x="54" y="89"/>
                    <a:pt x="54" y="89"/>
                  </a:cubicBezTo>
                  <a:cubicBezTo>
                    <a:pt x="54" y="89"/>
                    <a:pt x="54" y="89"/>
                    <a:pt x="54" y="89"/>
                  </a:cubicBezTo>
                  <a:cubicBezTo>
                    <a:pt x="55" y="89"/>
                    <a:pt x="55" y="89"/>
                    <a:pt x="55" y="89"/>
                  </a:cubicBezTo>
                  <a:cubicBezTo>
                    <a:pt x="55" y="89"/>
                    <a:pt x="55" y="88"/>
                    <a:pt x="55" y="88"/>
                  </a:cubicBezTo>
                  <a:cubicBezTo>
                    <a:pt x="55" y="88"/>
                    <a:pt x="55" y="87"/>
                    <a:pt x="55" y="85"/>
                  </a:cubicBezTo>
                  <a:cubicBezTo>
                    <a:pt x="56" y="85"/>
                    <a:pt x="56" y="85"/>
                    <a:pt x="57" y="85"/>
                  </a:cubicBezTo>
                  <a:cubicBezTo>
                    <a:pt x="57" y="86"/>
                    <a:pt x="58" y="87"/>
                    <a:pt x="58" y="88"/>
                  </a:cubicBezTo>
                  <a:cubicBezTo>
                    <a:pt x="58" y="88"/>
                    <a:pt x="58" y="88"/>
                    <a:pt x="58" y="88"/>
                  </a:cubicBezTo>
                  <a:cubicBezTo>
                    <a:pt x="59" y="88"/>
                    <a:pt x="59" y="88"/>
                    <a:pt x="59" y="88"/>
                  </a:cubicBezTo>
                  <a:cubicBezTo>
                    <a:pt x="59" y="88"/>
                    <a:pt x="59" y="88"/>
                    <a:pt x="60" y="88"/>
                  </a:cubicBezTo>
                  <a:cubicBezTo>
                    <a:pt x="60" y="87"/>
                    <a:pt x="60" y="87"/>
                    <a:pt x="60" y="87"/>
                  </a:cubicBezTo>
                  <a:cubicBezTo>
                    <a:pt x="60" y="87"/>
                    <a:pt x="59" y="85"/>
                    <a:pt x="59" y="84"/>
                  </a:cubicBezTo>
                  <a:cubicBezTo>
                    <a:pt x="60" y="84"/>
                    <a:pt x="60" y="84"/>
                    <a:pt x="61" y="84"/>
                  </a:cubicBezTo>
                  <a:cubicBezTo>
                    <a:pt x="61" y="85"/>
                    <a:pt x="62" y="86"/>
                    <a:pt x="62" y="86"/>
                  </a:cubicBezTo>
                  <a:cubicBezTo>
                    <a:pt x="62" y="86"/>
                    <a:pt x="62" y="86"/>
                    <a:pt x="63" y="86"/>
                  </a:cubicBezTo>
                  <a:cubicBezTo>
                    <a:pt x="63" y="86"/>
                    <a:pt x="63" y="86"/>
                    <a:pt x="63" y="86"/>
                  </a:cubicBezTo>
                  <a:cubicBezTo>
                    <a:pt x="64" y="86"/>
                    <a:pt x="64" y="86"/>
                    <a:pt x="64" y="86"/>
                  </a:cubicBezTo>
                  <a:cubicBezTo>
                    <a:pt x="64" y="86"/>
                    <a:pt x="64" y="85"/>
                    <a:pt x="64" y="85"/>
                  </a:cubicBezTo>
                  <a:cubicBezTo>
                    <a:pt x="64" y="85"/>
                    <a:pt x="63" y="84"/>
                    <a:pt x="63" y="83"/>
                  </a:cubicBezTo>
                  <a:cubicBezTo>
                    <a:pt x="64" y="82"/>
                    <a:pt x="64" y="82"/>
                    <a:pt x="65" y="82"/>
                  </a:cubicBezTo>
                  <a:cubicBezTo>
                    <a:pt x="65" y="83"/>
                    <a:pt x="66" y="84"/>
                    <a:pt x="66" y="84"/>
                  </a:cubicBezTo>
                  <a:cubicBezTo>
                    <a:pt x="66" y="84"/>
                    <a:pt x="67" y="84"/>
                    <a:pt x="67" y="84"/>
                  </a:cubicBezTo>
                  <a:cubicBezTo>
                    <a:pt x="67" y="84"/>
                    <a:pt x="67" y="84"/>
                    <a:pt x="68" y="84"/>
                  </a:cubicBezTo>
                  <a:cubicBezTo>
                    <a:pt x="68" y="84"/>
                    <a:pt x="68" y="84"/>
                    <a:pt x="68" y="84"/>
                  </a:cubicBezTo>
                  <a:cubicBezTo>
                    <a:pt x="68" y="83"/>
                    <a:pt x="68" y="83"/>
                    <a:pt x="68" y="83"/>
                  </a:cubicBezTo>
                  <a:cubicBezTo>
                    <a:pt x="68" y="83"/>
                    <a:pt x="67" y="81"/>
                    <a:pt x="67" y="80"/>
                  </a:cubicBezTo>
                  <a:cubicBezTo>
                    <a:pt x="67" y="80"/>
                    <a:pt x="68" y="80"/>
                    <a:pt x="68" y="79"/>
                  </a:cubicBezTo>
                  <a:cubicBezTo>
                    <a:pt x="69" y="80"/>
                    <a:pt x="70" y="81"/>
                    <a:pt x="70" y="81"/>
                  </a:cubicBezTo>
                  <a:cubicBezTo>
                    <a:pt x="70" y="82"/>
                    <a:pt x="71" y="82"/>
                    <a:pt x="71" y="82"/>
                  </a:cubicBezTo>
                  <a:cubicBezTo>
                    <a:pt x="71" y="82"/>
                    <a:pt x="71" y="82"/>
                    <a:pt x="71" y="82"/>
                  </a:cubicBezTo>
                  <a:cubicBezTo>
                    <a:pt x="72" y="81"/>
                    <a:pt x="72" y="81"/>
                    <a:pt x="72" y="81"/>
                  </a:cubicBezTo>
                  <a:cubicBezTo>
                    <a:pt x="72" y="81"/>
                    <a:pt x="72" y="81"/>
                    <a:pt x="72" y="80"/>
                  </a:cubicBezTo>
                  <a:cubicBezTo>
                    <a:pt x="72" y="80"/>
                    <a:pt x="71" y="79"/>
                    <a:pt x="70" y="78"/>
                  </a:cubicBezTo>
                  <a:cubicBezTo>
                    <a:pt x="71" y="78"/>
                    <a:pt x="71" y="77"/>
                    <a:pt x="72" y="77"/>
                  </a:cubicBezTo>
                  <a:cubicBezTo>
                    <a:pt x="73" y="78"/>
                    <a:pt x="74" y="79"/>
                    <a:pt x="74" y="79"/>
                  </a:cubicBezTo>
                  <a:cubicBezTo>
                    <a:pt x="74" y="79"/>
                    <a:pt x="74" y="79"/>
                    <a:pt x="74" y="79"/>
                  </a:cubicBezTo>
                  <a:cubicBezTo>
                    <a:pt x="75" y="79"/>
                    <a:pt x="75" y="79"/>
                    <a:pt x="75" y="79"/>
                  </a:cubicBezTo>
                  <a:cubicBezTo>
                    <a:pt x="75" y="79"/>
                    <a:pt x="75" y="78"/>
                    <a:pt x="75" y="78"/>
                  </a:cubicBezTo>
                  <a:cubicBezTo>
                    <a:pt x="75" y="78"/>
                    <a:pt x="75" y="78"/>
                    <a:pt x="75" y="77"/>
                  </a:cubicBezTo>
                  <a:cubicBezTo>
                    <a:pt x="75" y="77"/>
                    <a:pt x="74" y="76"/>
                    <a:pt x="74" y="75"/>
                  </a:cubicBezTo>
                  <a:cubicBezTo>
                    <a:pt x="74" y="75"/>
                    <a:pt x="75" y="74"/>
                    <a:pt x="75" y="74"/>
                  </a:cubicBezTo>
                  <a:cubicBezTo>
                    <a:pt x="76" y="75"/>
                    <a:pt x="77" y="75"/>
                    <a:pt x="77" y="76"/>
                  </a:cubicBezTo>
                  <a:cubicBezTo>
                    <a:pt x="77" y="76"/>
                    <a:pt x="78" y="76"/>
                    <a:pt x="78" y="76"/>
                  </a:cubicBezTo>
                  <a:cubicBezTo>
                    <a:pt x="78" y="76"/>
                    <a:pt x="78" y="76"/>
                    <a:pt x="78" y="75"/>
                  </a:cubicBezTo>
                  <a:cubicBezTo>
                    <a:pt x="79" y="75"/>
                    <a:pt x="79" y="75"/>
                    <a:pt x="79" y="75"/>
                  </a:cubicBezTo>
                  <a:cubicBezTo>
                    <a:pt x="79" y="75"/>
                    <a:pt x="79" y="74"/>
                    <a:pt x="78" y="74"/>
                  </a:cubicBezTo>
                  <a:cubicBezTo>
                    <a:pt x="78" y="74"/>
                    <a:pt x="77" y="73"/>
                    <a:pt x="77" y="72"/>
                  </a:cubicBezTo>
                  <a:cubicBezTo>
                    <a:pt x="77" y="72"/>
                    <a:pt x="77" y="71"/>
                    <a:pt x="78" y="71"/>
                  </a:cubicBezTo>
                  <a:cubicBezTo>
                    <a:pt x="79" y="71"/>
                    <a:pt x="80" y="72"/>
                    <a:pt x="80" y="72"/>
                  </a:cubicBezTo>
                  <a:cubicBezTo>
                    <a:pt x="80" y="72"/>
                    <a:pt x="81" y="72"/>
                    <a:pt x="81" y="72"/>
                  </a:cubicBezTo>
                  <a:cubicBezTo>
                    <a:pt x="81" y="72"/>
                    <a:pt x="81" y="72"/>
                    <a:pt x="81" y="72"/>
                  </a:cubicBezTo>
                  <a:cubicBezTo>
                    <a:pt x="82" y="72"/>
                    <a:pt x="82" y="71"/>
                    <a:pt x="82" y="71"/>
                  </a:cubicBezTo>
                  <a:cubicBezTo>
                    <a:pt x="82" y="71"/>
                    <a:pt x="81" y="71"/>
                    <a:pt x="81" y="70"/>
                  </a:cubicBezTo>
                  <a:cubicBezTo>
                    <a:pt x="81" y="70"/>
                    <a:pt x="80" y="69"/>
                    <a:pt x="79" y="69"/>
                  </a:cubicBezTo>
                  <a:cubicBezTo>
                    <a:pt x="80" y="68"/>
                    <a:pt x="80" y="68"/>
                    <a:pt x="80" y="67"/>
                  </a:cubicBezTo>
                  <a:cubicBezTo>
                    <a:pt x="81" y="68"/>
                    <a:pt x="82" y="68"/>
                    <a:pt x="83" y="68"/>
                  </a:cubicBezTo>
                  <a:cubicBezTo>
                    <a:pt x="83" y="68"/>
                    <a:pt x="83" y="68"/>
                    <a:pt x="83" y="68"/>
                  </a:cubicBezTo>
                  <a:cubicBezTo>
                    <a:pt x="84" y="68"/>
                    <a:pt x="84" y="68"/>
                    <a:pt x="84" y="68"/>
                  </a:cubicBezTo>
                  <a:cubicBezTo>
                    <a:pt x="84" y="68"/>
                    <a:pt x="84" y="67"/>
                    <a:pt x="84" y="67"/>
                  </a:cubicBezTo>
                  <a:cubicBezTo>
                    <a:pt x="84" y="67"/>
                    <a:pt x="84" y="67"/>
                    <a:pt x="84" y="67"/>
                  </a:cubicBezTo>
                  <a:cubicBezTo>
                    <a:pt x="83" y="66"/>
                    <a:pt x="82" y="66"/>
                    <a:pt x="81" y="65"/>
                  </a:cubicBezTo>
                  <a:cubicBezTo>
                    <a:pt x="82" y="64"/>
                    <a:pt x="82" y="64"/>
                    <a:pt x="82" y="63"/>
                  </a:cubicBezTo>
                  <a:cubicBezTo>
                    <a:pt x="83" y="64"/>
                    <a:pt x="85" y="64"/>
                    <a:pt x="85" y="64"/>
                  </a:cubicBezTo>
                  <a:cubicBezTo>
                    <a:pt x="85" y="64"/>
                    <a:pt x="85" y="64"/>
                    <a:pt x="86" y="64"/>
                  </a:cubicBezTo>
                  <a:cubicBezTo>
                    <a:pt x="86" y="64"/>
                    <a:pt x="86" y="64"/>
                    <a:pt x="86" y="64"/>
                  </a:cubicBezTo>
                  <a:cubicBezTo>
                    <a:pt x="86" y="63"/>
                    <a:pt x="86" y="63"/>
                    <a:pt x="86" y="63"/>
                  </a:cubicBezTo>
                  <a:cubicBezTo>
                    <a:pt x="86" y="63"/>
                    <a:pt x="86" y="63"/>
                    <a:pt x="86" y="62"/>
                  </a:cubicBezTo>
                  <a:cubicBezTo>
                    <a:pt x="85" y="62"/>
                    <a:pt x="84" y="62"/>
                    <a:pt x="83" y="61"/>
                  </a:cubicBezTo>
                  <a:cubicBezTo>
                    <a:pt x="83" y="60"/>
                    <a:pt x="84" y="60"/>
                    <a:pt x="84" y="59"/>
                  </a:cubicBezTo>
                  <a:cubicBezTo>
                    <a:pt x="85" y="60"/>
                    <a:pt x="86" y="60"/>
                    <a:pt x="87" y="60"/>
                  </a:cubicBezTo>
                  <a:cubicBezTo>
                    <a:pt x="87" y="60"/>
                    <a:pt x="87" y="60"/>
                    <a:pt x="87" y="60"/>
                  </a:cubicBezTo>
                  <a:cubicBezTo>
                    <a:pt x="87" y="60"/>
                    <a:pt x="88" y="59"/>
                    <a:pt x="88" y="59"/>
                  </a:cubicBezTo>
                  <a:cubicBezTo>
                    <a:pt x="88" y="59"/>
                    <a:pt x="88" y="59"/>
                    <a:pt x="88" y="59"/>
                  </a:cubicBezTo>
                  <a:cubicBezTo>
                    <a:pt x="88" y="58"/>
                    <a:pt x="87" y="58"/>
                    <a:pt x="87" y="58"/>
                  </a:cubicBezTo>
                  <a:cubicBezTo>
                    <a:pt x="87" y="58"/>
                    <a:pt x="86" y="57"/>
                    <a:pt x="85" y="57"/>
                  </a:cubicBezTo>
                  <a:cubicBezTo>
                    <a:pt x="85" y="56"/>
                    <a:pt x="85" y="56"/>
                    <a:pt x="85" y="55"/>
                  </a:cubicBezTo>
                  <a:cubicBezTo>
                    <a:pt x="86" y="55"/>
                    <a:pt x="88" y="55"/>
                    <a:pt x="88" y="55"/>
                  </a:cubicBezTo>
                  <a:cubicBezTo>
                    <a:pt x="88" y="55"/>
                    <a:pt x="88" y="55"/>
                    <a:pt x="89" y="55"/>
                  </a:cubicBezTo>
                  <a:cubicBezTo>
                    <a:pt x="89" y="55"/>
                    <a:pt x="89" y="55"/>
                    <a:pt x="89" y="55"/>
                  </a:cubicBezTo>
                  <a:cubicBezTo>
                    <a:pt x="89" y="54"/>
                    <a:pt x="89" y="54"/>
                    <a:pt x="89" y="54"/>
                  </a:cubicBezTo>
                  <a:cubicBezTo>
                    <a:pt x="89" y="54"/>
                    <a:pt x="89" y="54"/>
                    <a:pt x="88" y="54"/>
                  </a:cubicBezTo>
                  <a:cubicBezTo>
                    <a:pt x="88" y="53"/>
                    <a:pt x="87" y="53"/>
                    <a:pt x="86" y="53"/>
                  </a:cubicBezTo>
                  <a:cubicBezTo>
                    <a:pt x="86" y="52"/>
                    <a:pt x="86" y="52"/>
                    <a:pt x="86" y="51"/>
                  </a:cubicBezTo>
                  <a:cubicBezTo>
                    <a:pt x="87" y="51"/>
                    <a:pt x="89" y="51"/>
                    <a:pt x="89" y="51"/>
                  </a:cubicBezTo>
                  <a:cubicBezTo>
                    <a:pt x="89" y="51"/>
                    <a:pt x="89" y="51"/>
                    <a:pt x="89" y="51"/>
                  </a:cubicBezTo>
                  <a:cubicBezTo>
                    <a:pt x="90" y="50"/>
                    <a:pt x="90" y="50"/>
                    <a:pt x="90" y="50"/>
                  </a:cubicBezTo>
                  <a:cubicBezTo>
                    <a:pt x="90" y="50"/>
                    <a:pt x="90" y="50"/>
                    <a:pt x="90" y="49"/>
                  </a:cubicBezTo>
                  <a:cubicBezTo>
                    <a:pt x="89" y="49"/>
                    <a:pt x="89" y="49"/>
                    <a:pt x="89" y="49"/>
                  </a:cubicBezTo>
                  <a:cubicBezTo>
                    <a:pt x="89" y="49"/>
                    <a:pt x="87" y="49"/>
                    <a:pt x="86" y="48"/>
                  </a:cubicBezTo>
                  <a:cubicBezTo>
                    <a:pt x="86" y="48"/>
                    <a:pt x="86" y="47"/>
                    <a:pt x="86" y="47"/>
                  </a:cubicBezTo>
                  <a:cubicBezTo>
                    <a:pt x="88" y="46"/>
                    <a:pt x="89" y="46"/>
                    <a:pt x="89" y="46"/>
                  </a:cubicBezTo>
                  <a:close/>
                  <a:moveTo>
                    <a:pt x="45" y="81"/>
                  </a:moveTo>
                  <a:cubicBezTo>
                    <a:pt x="26" y="81"/>
                    <a:pt x="10" y="65"/>
                    <a:pt x="10" y="45"/>
                  </a:cubicBezTo>
                  <a:cubicBezTo>
                    <a:pt x="10" y="26"/>
                    <a:pt x="26" y="10"/>
                    <a:pt x="45" y="10"/>
                  </a:cubicBezTo>
                  <a:cubicBezTo>
                    <a:pt x="65" y="10"/>
                    <a:pt x="81" y="26"/>
                    <a:pt x="81" y="45"/>
                  </a:cubicBezTo>
                  <a:cubicBezTo>
                    <a:pt x="81" y="65"/>
                    <a:pt x="65" y="81"/>
                    <a:pt x="45" y="81"/>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59" name="Group 700">
              <a:extLst>
                <a:ext uri="{FF2B5EF4-FFF2-40B4-BE49-F238E27FC236}">
                  <a16:creationId xmlns:a16="http://schemas.microsoft.com/office/drawing/2014/main" id="{28BC917E-314D-403D-8542-13D96FF0EA2D}"/>
                </a:ext>
              </a:extLst>
            </p:cNvPr>
            <p:cNvGrpSpPr>
              <a:grpSpLocks noChangeAspect="1"/>
            </p:cNvGrpSpPr>
            <p:nvPr/>
          </p:nvGrpSpPr>
          <p:grpSpPr bwMode="auto">
            <a:xfrm>
              <a:off x="1006921" y="2332620"/>
              <a:ext cx="177354" cy="172314"/>
              <a:chOff x="7411" y="2715"/>
              <a:chExt cx="176" cy="171"/>
            </a:xfrm>
            <a:solidFill>
              <a:srgbClr val="43B02A"/>
            </a:solidFill>
          </p:grpSpPr>
          <p:sp>
            <p:nvSpPr>
              <p:cNvPr id="160" name="Freeform 701">
                <a:extLst>
                  <a:ext uri="{FF2B5EF4-FFF2-40B4-BE49-F238E27FC236}">
                    <a16:creationId xmlns:a16="http://schemas.microsoft.com/office/drawing/2014/main" id="{5C2D0593-859F-4729-A4DC-21B974F63EB9}"/>
                  </a:ext>
                </a:extLst>
              </p:cNvPr>
              <p:cNvSpPr>
                <a:spLocks noEditPoints="1"/>
              </p:cNvSpPr>
              <p:nvPr/>
            </p:nvSpPr>
            <p:spPr bwMode="auto">
              <a:xfrm>
                <a:off x="7411" y="2715"/>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61" name="Freeform 702">
                <a:extLst>
                  <a:ext uri="{FF2B5EF4-FFF2-40B4-BE49-F238E27FC236}">
                    <a16:creationId xmlns:a16="http://schemas.microsoft.com/office/drawing/2014/main" id="{F6841EC0-5F9B-4F0D-98DD-7E555DC062B8}"/>
                  </a:ext>
                </a:extLst>
              </p:cNvPr>
              <p:cNvSpPr>
                <a:spLocks/>
              </p:cNvSpPr>
              <p:nvPr/>
            </p:nvSpPr>
            <p:spPr bwMode="auto">
              <a:xfrm>
                <a:off x="7532" y="2778"/>
                <a:ext cx="20" cy="44"/>
              </a:xfrm>
              <a:custGeom>
                <a:avLst/>
                <a:gdLst>
                  <a:gd name="T0" fmla="*/ 5 w 31"/>
                  <a:gd name="T1" fmla="*/ 4 h 66"/>
                  <a:gd name="T2" fmla="*/ 4 w 31"/>
                  <a:gd name="T3" fmla="*/ 19 h 66"/>
                  <a:gd name="T4" fmla="*/ 10 w 31"/>
                  <a:gd name="T5" fmla="*/ 34 h 66"/>
                  <a:gd name="T6" fmla="*/ 4 w 31"/>
                  <a:gd name="T7" fmla="*/ 48 h 66"/>
                  <a:gd name="T8" fmla="*/ 5 w 31"/>
                  <a:gd name="T9" fmla="*/ 63 h 66"/>
                  <a:gd name="T10" fmla="*/ 12 w 31"/>
                  <a:gd name="T11" fmla="*/ 66 h 66"/>
                  <a:gd name="T12" fmla="*/ 20 w 31"/>
                  <a:gd name="T13" fmla="*/ 62 h 66"/>
                  <a:gd name="T14" fmla="*/ 31 w 31"/>
                  <a:gd name="T15" fmla="*/ 34 h 66"/>
                  <a:gd name="T16" fmla="*/ 20 w 31"/>
                  <a:gd name="T17" fmla="*/ 5 h 66"/>
                  <a:gd name="T18" fmla="*/ 5 w 31"/>
                  <a:gd name="T19"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6">
                    <a:moveTo>
                      <a:pt x="5" y="4"/>
                    </a:moveTo>
                    <a:cubicBezTo>
                      <a:pt x="1" y="8"/>
                      <a:pt x="0" y="15"/>
                      <a:pt x="4" y="19"/>
                    </a:cubicBezTo>
                    <a:cubicBezTo>
                      <a:pt x="8" y="23"/>
                      <a:pt x="10" y="28"/>
                      <a:pt x="10" y="34"/>
                    </a:cubicBezTo>
                    <a:cubicBezTo>
                      <a:pt x="10" y="39"/>
                      <a:pt x="8" y="44"/>
                      <a:pt x="4" y="48"/>
                    </a:cubicBezTo>
                    <a:cubicBezTo>
                      <a:pt x="0" y="52"/>
                      <a:pt x="1" y="59"/>
                      <a:pt x="5" y="63"/>
                    </a:cubicBezTo>
                    <a:cubicBezTo>
                      <a:pt x="7" y="65"/>
                      <a:pt x="10" y="66"/>
                      <a:pt x="12" y="66"/>
                    </a:cubicBezTo>
                    <a:cubicBezTo>
                      <a:pt x="15" y="66"/>
                      <a:pt x="18" y="64"/>
                      <a:pt x="20" y="62"/>
                    </a:cubicBezTo>
                    <a:cubicBezTo>
                      <a:pt x="27" y="54"/>
                      <a:pt x="31" y="44"/>
                      <a:pt x="31" y="34"/>
                    </a:cubicBezTo>
                    <a:cubicBezTo>
                      <a:pt x="31" y="23"/>
                      <a:pt x="27" y="13"/>
                      <a:pt x="20" y="5"/>
                    </a:cubicBezTo>
                    <a:cubicBezTo>
                      <a:pt x="16" y="1"/>
                      <a:pt x="9" y="0"/>
                      <a:pt x="5"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62" name="Freeform 703">
                <a:extLst>
                  <a:ext uri="{FF2B5EF4-FFF2-40B4-BE49-F238E27FC236}">
                    <a16:creationId xmlns:a16="http://schemas.microsoft.com/office/drawing/2014/main" id="{B1E5849E-4324-4F76-9548-0CE07AC17DE1}"/>
                  </a:ext>
                </a:extLst>
              </p:cNvPr>
              <p:cNvSpPr>
                <a:spLocks/>
              </p:cNvSpPr>
              <p:nvPr/>
            </p:nvSpPr>
            <p:spPr bwMode="auto">
              <a:xfrm>
                <a:off x="7554" y="2751"/>
                <a:ext cx="33" cy="99"/>
              </a:xfrm>
              <a:custGeom>
                <a:avLst/>
                <a:gdLst>
                  <a:gd name="T0" fmla="*/ 19 w 51"/>
                  <a:gd name="T1" fmla="*/ 4 h 150"/>
                  <a:gd name="T2" fmla="*/ 4 w 51"/>
                  <a:gd name="T3" fmla="*/ 5 h 150"/>
                  <a:gd name="T4" fmla="*/ 5 w 51"/>
                  <a:gd name="T5" fmla="*/ 20 h 150"/>
                  <a:gd name="T6" fmla="*/ 30 w 51"/>
                  <a:gd name="T7" fmla="*/ 76 h 150"/>
                  <a:gd name="T8" fmla="*/ 5 w 51"/>
                  <a:gd name="T9" fmla="*/ 132 h 150"/>
                  <a:gd name="T10" fmla="*/ 4 w 51"/>
                  <a:gd name="T11" fmla="*/ 147 h 150"/>
                  <a:gd name="T12" fmla="*/ 12 w 51"/>
                  <a:gd name="T13" fmla="*/ 150 h 150"/>
                  <a:gd name="T14" fmla="*/ 19 w 51"/>
                  <a:gd name="T15" fmla="*/ 148 h 150"/>
                  <a:gd name="T16" fmla="*/ 51 w 51"/>
                  <a:gd name="T17" fmla="*/ 76 h 150"/>
                  <a:gd name="T18" fmla="*/ 19 w 51"/>
                  <a:gd name="T19"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150">
                    <a:moveTo>
                      <a:pt x="19" y="4"/>
                    </a:moveTo>
                    <a:cubicBezTo>
                      <a:pt x="14" y="0"/>
                      <a:pt x="8" y="0"/>
                      <a:pt x="4" y="5"/>
                    </a:cubicBezTo>
                    <a:cubicBezTo>
                      <a:pt x="0" y="9"/>
                      <a:pt x="0" y="16"/>
                      <a:pt x="5" y="20"/>
                    </a:cubicBezTo>
                    <a:cubicBezTo>
                      <a:pt x="21" y="34"/>
                      <a:pt x="30" y="54"/>
                      <a:pt x="30" y="76"/>
                    </a:cubicBezTo>
                    <a:cubicBezTo>
                      <a:pt x="30" y="97"/>
                      <a:pt x="21" y="117"/>
                      <a:pt x="5" y="132"/>
                    </a:cubicBezTo>
                    <a:cubicBezTo>
                      <a:pt x="0" y="136"/>
                      <a:pt x="0" y="142"/>
                      <a:pt x="4" y="147"/>
                    </a:cubicBezTo>
                    <a:cubicBezTo>
                      <a:pt x="6" y="149"/>
                      <a:pt x="9" y="150"/>
                      <a:pt x="12" y="150"/>
                    </a:cubicBezTo>
                    <a:cubicBezTo>
                      <a:pt x="14" y="150"/>
                      <a:pt x="17" y="149"/>
                      <a:pt x="19" y="148"/>
                    </a:cubicBezTo>
                    <a:cubicBezTo>
                      <a:pt x="39" y="129"/>
                      <a:pt x="51" y="103"/>
                      <a:pt x="51" y="76"/>
                    </a:cubicBezTo>
                    <a:cubicBezTo>
                      <a:pt x="51" y="48"/>
                      <a:pt x="39" y="22"/>
                      <a:pt x="19"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41" name="Group 40"/>
          <p:cNvGrpSpPr/>
          <p:nvPr/>
        </p:nvGrpSpPr>
        <p:grpSpPr>
          <a:xfrm>
            <a:off x="9895352" y="1690117"/>
            <a:ext cx="358948" cy="361568"/>
            <a:chOff x="1132776" y="1700213"/>
            <a:chExt cx="358948" cy="361568"/>
          </a:xfrm>
        </p:grpSpPr>
        <p:sp>
          <p:nvSpPr>
            <p:cNvPr id="17" name="Freeform 18">
              <a:extLst>
                <a:ext uri="{FF2B5EF4-FFF2-40B4-BE49-F238E27FC236}">
                  <a16:creationId xmlns:a16="http://schemas.microsoft.com/office/drawing/2014/main" id="{710AA6D1-E47D-4A9F-B831-9804AF72B60E}"/>
                </a:ext>
              </a:extLst>
            </p:cNvPr>
            <p:cNvSpPr>
              <a:spLocks noEditPoints="1"/>
            </p:cNvSpPr>
            <p:nvPr/>
          </p:nvSpPr>
          <p:spPr bwMode="auto">
            <a:xfrm>
              <a:off x="1132776" y="1700213"/>
              <a:ext cx="358948" cy="361568"/>
            </a:xfrm>
            <a:custGeom>
              <a:avLst/>
              <a:gdLst>
                <a:gd name="T0" fmla="*/ 121 w 123"/>
                <a:gd name="T1" fmla="*/ 60 h 124"/>
                <a:gd name="T2" fmla="*/ 122 w 123"/>
                <a:gd name="T3" fmla="*/ 51 h 124"/>
                <a:gd name="T4" fmla="*/ 118 w 123"/>
                <a:gd name="T5" fmla="*/ 44 h 124"/>
                <a:gd name="T6" fmla="*/ 111 w 123"/>
                <a:gd name="T7" fmla="*/ 41 h 124"/>
                <a:gd name="T8" fmla="*/ 114 w 123"/>
                <a:gd name="T9" fmla="*/ 30 h 124"/>
                <a:gd name="T10" fmla="*/ 109 w 123"/>
                <a:gd name="T11" fmla="*/ 24 h 124"/>
                <a:gd name="T12" fmla="*/ 98 w 123"/>
                <a:gd name="T13" fmla="*/ 23 h 124"/>
                <a:gd name="T14" fmla="*/ 98 w 123"/>
                <a:gd name="T15" fmla="*/ 15 h 124"/>
                <a:gd name="T16" fmla="*/ 92 w 123"/>
                <a:gd name="T17" fmla="*/ 9 h 124"/>
                <a:gd name="T18" fmla="*/ 84 w 123"/>
                <a:gd name="T19" fmla="*/ 6 h 124"/>
                <a:gd name="T20" fmla="*/ 77 w 123"/>
                <a:gd name="T21" fmla="*/ 11 h 124"/>
                <a:gd name="T22" fmla="*/ 71 w 123"/>
                <a:gd name="T23" fmla="*/ 1 h 124"/>
                <a:gd name="T24" fmla="*/ 63 w 123"/>
                <a:gd name="T25" fmla="*/ 1 h 124"/>
                <a:gd name="T26" fmla="*/ 55 w 123"/>
                <a:gd name="T27" fmla="*/ 9 h 124"/>
                <a:gd name="T28" fmla="*/ 49 w 123"/>
                <a:gd name="T29" fmla="*/ 3 h 124"/>
                <a:gd name="T30" fmla="*/ 40 w 123"/>
                <a:gd name="T31" fmla="*/ 4 h 124"/>
                <a:gd name="T32" fmla="*/ 33 w 123"/>
                <a:gd name="T33" fmla="*/ 9 h 124"/>
                <a:gd name="T34" fmla="*/ 32 w 123"/>
                <a:gd name="T35" fmla="*/ 17 h 124"/>
                <a:gd name="T36" fmla="*/ 21 w 123"/>
                <a:gd name="T37" fmla="*/ 16 h 124"/>
                <a:gd name="T38" fmla="*/ 15 w 123"/>
                <a:gd name="T39" fmla="*/ 22 h 124"/>
                <a:gd name="T40" fmla="*/ 16 w 123"/>
                <a:gd name="T41" fmla="*/ 33 h 124"/>
                <a:gd name="T42" fmla="*/ 9 w 123"/>
                <a:gd name="T43" fmla="*/ 34 h 124"/>
                <a:gd name="T44" fmla="*/ 3 w 123"/>
                <a:gd name="T45" fmla="*/ 41 h 124"/>
                <a:gd name="T46" fmla="*/ 3 w 123"/>
                <a:gd name="T47" fmla="*/ 49 h 124"/>
                <a:gd name="T48" fmla="*/ 8 w 123"/>
                <a:gd name="T49" fmla="*/ 55 h 124"/>
                <a:gd name="T50" fmla="*/ 0 w 123"/>
                <a:gd name="T51" fmla="*/ 63 h 124"/>
                <a:gd name="T52" fmla="*/ 1 w 123"/>
                <a:gd name="T53" fmla="*/ 71 h 124"/>
                <a:gd name="T54" fmla="*/ 10 w 123"/>
                <a:gd name="T55" fmla="*/ 78 h 124"/>
                <a:gd name="T56" fmla="*/ 6 w 123"/>
                <a:gd name="T57" fmla="*/ 85 h 124"/>
                <a:gd name="T58" fmla="*/ 8 w 123"/>
                <a:gd name="T59" fmla="*/ 93 h 124"/>
                <a:gd name="T60" fmla="*/ 14 w 123"/>
                <a:gd name="T61" fmla="*/ 99 h 124"/>
                <a:gd name="T62" fmla="*/ 22 w 123"/>
                <a:gd name="T63" fmla="*/ 99 h 124"/>
                <a:gd name="T64" fmla="*/ 23 w 123"/>
                <a:gd name="T65" fmla="*/ 110 h 124"/>
                <a:gd name="T66" fmla="*/ 30 w 123"/>
                <a:gd name="T67" fmla="*/ 114 h 124"/>
                <a:gd name="T68" fmla="*/ 41 w 123"/>
                <a:gd name="T69" fmla="*/ 112 h 124"/>
                <a:gd name="T70" fmla="*/ 43 w 123"/>
                <a:gd name="T71" fmla="*/ 119 h 124"/>
                <a:gd name="T72" fmla="*/ 51 w 123"/>
                <a:gd name="T73" fmla="*/ 123 h 124"/>
                <a:gd name="T74" fmla="*/ 59 w 123"/>
                <a:gd name="T75" fmla="*/ 122 h 124"/>
                <a:gd name="T76" fmla="*/ 64 w 123"/>
                <a:gd name="T77" fmla="*/ 116 h 124"/>
                <a:gd name="T78" fmla="*/ 73 w 123"/>
                <a:gd name="T79" fmla="*/ 122 h 124"/>
                <a:gd name="T80" fmla="*/ 81 w 123"/>
                <a:gd name="T81" fmla="*/ 120 h 124"/>
                <a:gd name="T82" fmla="*/ 86 w 123"/>
                <a:gd name="T83" fmla="*/ 110 h 124"/>
                <a:gd name="T84" fmla="*/ 93 w 123"/>
                <a:gd name="T85" fmla="*/ 113 h 124"/>
                <a:gd name="T86" fmla="*/ 101 w 123"/>
                <a:gd name="T87" fmla="*/ 109 h 124"/>
                <a:gd name="T88" fmla="*/ 106 w 123"/>
                <a:gd name="T89" fmla="*/ 102 h 124"/>
                <a:gd name="T90" fmla="*/ 104 w 123"/>
                <a:gd name="T91" fmla="*/ 94 h 124"/>
                <a:gd name="T92" fmla="*/ 115 w 123"/>
                <a:gd name="T93" fmla="*/ 91 h 124"/>
                <a:gd name="T94" fmla="*/ 118 w 123"/>
                <a:gd name="T95" fmla="*/ 84 h 124"/>
                <a:gd name="T96" fmla="*/ 114 w 123"/>
                <a:gd name="T97" fmla="*/ 74 h 124"/>
                <a:gd name="T98" fmla="*/ 121 w 123"/>
                <a:gd name="T99" fmla="*/ 70 h 124"/>
                <a:gd name="T100" fmla="*/ 61 w 123"/>
                <a:gd name="T101" fmla="*/ 111 h 124"/>
                <a:gd name="T102" fmla="*/ 45 w 123"/>
                <a:gd name="T103" fmla="*/ 108 h 124"/>
                <a:gd name="T104" fmla="*/ 31 w 123"/>
                <a:gd name="T105" fmla="*/ 10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4">
                  <a:moveTo>
                    <a:pt x="121" y="64"/>
                  </a:moveTo>
                  <a:cubicBezTo>
                    <a:pt x="122" y="64"/>
                    <a:pt x="122" y="64"/>
                    <a:pt x="123" y="63"/>
                  </a:cubicBezTo>
                  <a:cubicBezTo>
                    <a:pt x="123" y="63"/>
                    <a:pt x="123" y="63"/>
                    <a:pt x="123" y="62"/>
                  </a:cubicBezTo>
                  <a:cubicBezTo>
                    <a:pt x="123" y="61"/>
                    <a:pt x="123" y="61"/>
                    <a:pt x="123" y="61"/>
                  </a:cubicBezTo>
                  <a:cubicBezTo>
                    <a:pt x="122" y="60"/>
                    <a:pt x="122" y="60"/>
                    <a:pt x="121" y="60"/>
                  </a:cubicBezTo>
                  <a:cubicBezTo>
                    <a:pt x="121" y="60"/>
                    <a:pt x="118" y="60"/>
                    <a:pt x="115" y="59"/>
                  </a:cubicBezTo>
                  <a:cubicBezTo>
                    <a:pt x="115" y="58"/>
                    <a:pt x="115" y="57"/>
                    <a:pt x="115" y="55"/>
                  </a:cubicBezTo>
                  <a:cubicBezTo>
                    <a:pt x="117" y="55"/>
                    <a:pt x="120" y="54"/>
                    <a:pt x="121" y="54"/>
                  </a:cubicBezTo>
                  <a:cubicBezTo>
                    <a:pt x="121" y="54"/>
                    <a:pt x="122" y="53"/>
                    <a:pt x="122" y="53"/>
                  </a:cubicBezTo>
                  <a:cubicBezTo>
                    <a:pt x="122" y="52"/>
                    <a:pt x="122" y="52"/>
                    <a:pt x="122" y="51"/>
                  </a:cubicBezTo>
                  <a:cubicBezTo>
                    <a:pt x="122" y="51"/>
                    <a:pt x="122" y="50"/>
                    <a:pt x="121" y="50"/>
                  </a:cubicBezTo>
                  <a:cubicBezTo>
                    <a:pt x="121" y="50"/>
                    <a:pt x="120" y="49"/>
                    <a:pt x="120" y="49"/>
                  </a:cubicBezTo>
                  <a:cubicBezTo>
                    <a:pt x="119" y="50"/>
                    <a:pt x="116" y="50"/>
                    <a:pt x="114" y="50"/>
                  </a:cubicBezTo>
                  <a:cubicBezTo>
                    <a:pt x="113" y="49"/>
                    <a:pt x="113" y="47"/>
                    <a:pt x="113" y="46"/>
                  </a:cubicBezTo>
                  <a:cubicBezTo>
                    <a:pt x="115" y="45"/>
                    <a:pt x="118" y="44"/>
                    <a:pt x="118" y="44"/>
                  </a:cubicBezTo>
                  <a:cubicBezTo>
                    <a:pt x="119" y="43"/>
                    <a:pt x="119" y="43"/>
                    <a:pt x="119" y="42"/>
                  </a:cubicBezTo>
                  <a:cubicBezTo>
                    <a:pt x="120" y="42"/>
                    <a:pt x="120" y="41"/>
                    <a:pt x="119" y="41"/>
                  </a:cubicBezTo>
                  <a:cubicBezTo>
                    <a:pt x="119" y="40"/>
                    <a:pt x="119" y="40"/>
                    <a:pt x="118" y="40"/>
                  </a:cubicBezTo>
                  <a:cubicBezTo>
                    <a:pt x="118" y="40"/>
                    <a:pt x="117" y="39"/>
                    <a:pt x="117" y="40"/>
                  </a:cubicBezTo>
                  <a:cubicBezTo>
                    <a:pt x="116" y="40"/>
                    <a:pt x="113" y="40"/>
                    <a:pt x="111" y="41"/>
                  </a:cubicBezTo>
                  <a:cubicBezTo>
                    <a:pt x="110" y="40"/>
                    <a:pt x="110" y="39"/>
                    <a:pt x="109" y="38"/>
                  </a:cubicBezTo>
                  <a:cubicBezTo>
                    <a:pt x="111" y="36"/>
                    <a:pt x="114" y="34"/>
                    <a:pt x="114" y="34"/>
                  </a:cubicBezTo>
                  <a:cubicBezTo>
                    <a:pt x="115" y="34"/>
                    <a:pt x="115" y="33"/>
                    <a:pt x="115" y="33"/>
                  </a:cubicBezTo>
                  <a:cubicBezTo>
                    <a:pt x="115" y="32"/>
                    <a:pt x="115" y="32"/>
                    <a:pt x="115" y="31"/>
                  </a:cubicBezTo>
                  <a:cubicBezTo>
                    <a:pt x="115" y="31"/>
                    <a:pt x="114" y="30"/>
                    <a:pt x="114" y="30"/>
                  </a:cubicBezTo>
                  <a:cubicBezTo>
                    <a:pt x="113" y="30"/>
                    <a:pt x="113" y="30"/>
                    <a:pt x="112" y="30"/>
                  </a:cubicBezTo>
                  <a:cubicBezTo>
                    <a:pt x="112" y="31"/>
                    <a:pt x="109" y="32"/>
                    <a:pt x="106" y="33"/>
                  </a:cubicBezTo>
                  <a:cubicBezTo>
                    <a:pt x="106" y="32"/>
                    <a:pt x="105" y="31"/>
                    <a:pt x="104" y="30"/>
                  </a:cubicBezTo>
                  <a:cubicBezTo>
                    <a:pt x="106" y="28"/>
                    <a:pt x="108" y="26"/>
                    <a:pt x="109" y="25"/>
                  </a:cubicBezTo>
                  <a:cubicBezTo>
                    <a:pt x="109" y="25"/>
                    <a:pt x="109" y="24"/>
                    <a:pt x="109" y="24"/>
                  </a:cubicBezTo>
                  <a:cubicBezTo>
                    <a:pt x="109" y="23"/>
                    <a:pt x="109" y="23"/>
                    <a:pt x="109" y="22"/>
                  </a:cubicBezTo>
                  <a:cubicBezTo>
                    <a:pt x="108" y="22"/>
                    <a:pt x="108" y="22"/>
                    <a:pt x="107" y="22"/>
                  </a:cubicBezTo>
                  <a:cubicBezTo>
                    <a:pt x="107" y="21"/>
                    <a:pt x="106" y="22"/>
                    <a:pt x="106" y="22"/>
                  </a:cubicBezTo>
                  <a:cubicBezTo>
                    <a:pt x="105" y="22"/>
                    <a:pt x="103" y="24"/>
                    <a:pt x="101" y="25"/>
                  </a:cubicBezTo>
                  <a:cubicBezTo>
                    <a:pt x="100" y="24"/>
                    <a:pt x="99" y="24"/>
                    <a:pt x="98" y="23"/>
                  </a:cubicBezTo>
                  <a:cubicBezTo>
                    <a:pt x="99" y="20"/>
                    <a:pt x="101" y="18"/>
                    <a:pt x="101" y="17"/>
                  </a:cubicBezTo>
                  <a:cubicBezTo>
                    <a:pt x="102" y="17"/>
                    <a:pt x="102" y="16"/>
                    <a:pt x="102" y="16"/>
                  </a:cubicBezTo>
                  <a:cubicBezTo>
                    <a:pt x="102" y="16"/>
                    <a:pt x="101" y="15"/>
                    <a:pt x="101" y="15"/>
                  </a:cubicBezTo>
                  <a:cubicBezTo>
                    <a:pt x="101" y="14"/>
                    <a:pt x="100" y="14"/>
                    <a:pt x="100" y="14"/>
                  </a:cubicBezTo>
                  <a:cubicBezTo>
                    <a:pt x="99" y="14"/>
                    <a:pt x="99" y="14"/>
                    <a:pt x="98" y="15"/>
                  </a:cubicBezTo>
                  <a:cubicBezTo>
                    <a:pt x="98" y="15"/>
                    <a:pt x="96" y="17"/>
                    <a:pt x="94" y="19"/>
                  </a:cubicBezTo>
                  <a:cubicBezTo>
                    <a:pt x="93" y="18"/>
                    <a:pt x="92" y="18"/>
                    <a:pt x="91" y="17"/>
                  </a:cubicBezTo>
                  <a:cubicBezTo>
                    <a:pt x="92" y="14"/>
                    <a:pt x="93" y="12"/>
                    <a:pt x="93" y="11"/>
                  </a:cubicBezTo>
                  <a:cubicBezTo>
                    <a:pt x="93" y="11"/>
                    <a:pt x="93" y="10"/>
                    <a:pt x="93" y="10"/>
                  </a:cubicBezTo>
                  <a:cubicBezTo>
                    <a:pt x="93" y="9"/>
                    <a:pt x="93" y="9"/>
                    <a:pt x="92" y="9"/>
                  </a:cubicBezTo>
                  <a:cubicBezTo>
                    <a:pt x="92" y="8"/>
                    <a:pt x="91" y="8"/>
                    <a:pt x="91" y="8"/>
                  </a:cubicBezTo>
                  <a:cubicBezTo>
                    <a:pt x="90" y="8"/>
                    <a:pt x="90" y="9"/>
                    <a:pt x="89" y="9"/>
                  </a:cubicBezTo>
                  <a:cubicBezTo>
                    <a:pt x="89" y="10"/>
                    <a:pt x="87" y="12"/>
                    <a:pt x="86" y="14"/>
                  </a:cubicBezTo>
                  <a:cubicBezTo>
                    <a:pt x="85" y="14"/>
                    <a:pt x="84" y="13"/>
                    <a:pt x="82" y="13"/>
                  </a:cubicBezTo>
                  <a:cubicBezTo>
                    <a:pt x="83" y="10"/>
                    <a:pt x="84" y="7"/>
                    <a:pt x="84" y="6"/>
                  </a:cubicBezTo>
                  <a:cubicBezTo>
                    <a:pt x="84" y="6"/>
                    <a:pt x="84" y="5"/>
                    <a:pt x="84" y="5"/>
                  </a:cubicBezTo>
                  <a:cubicBezTo>
                    <a:pt x="83" y="4"/>
                    <a:pt x="83" y="4"/>
                    <a:pt x="83" y="4"/>
                  </a:cubicBezTo>
                  <a:cubicBezTo>
                    <a:pt x="82" y="4"/>
                    <a:pt x="81" y="4"/>
                    <a:pt x="81" y="4"/>
                  </a:cubicBezTo>
                  <a:cubicBezTo>
                    <a:pt x="81" y="4"/>
                    <a:pt x="80" y="4"/>
                    <a:pt x="80" y="5"/>
                  </a:cubicBezTo>
                  <a:cubicBezTo>
                    <a:pt x="80" y="5"/>
                    <a:pt x="78" y="8"/>
                    <a:pt x="77" y="11"/>
                  </a:cubicBezTo>
                  <a:cubicBezTo>
                    <a:pt x="76" y="10"/>
                    <a:pt x="75" y="10"/>
                    <a:pt x="73" y="10"/>
                  </a:cubicBezTo>
                  <a:cubicBezTo>
                    <a:pt x="74" y="7"/>
                    <a:pt x="74" y="4"/>
                    <a:pt x="74" y="3"/>
                  </a:cubicBezTo>
                  <a:cubicBezTo>
                    <a:pt x="74" y="3"/>
                    <a:pt x="74" y="2"/>
                    <a:pt x="73" y="2"/>
                  </a:cubicBezTo>
                  <a:cubicBezTo>
                    <a:pt x="73" y="2"/>
                    <a:pt x="73" y="1"/>
                    <a:pt x="72" y="1"/>
                  </a:cubicBezTo>
                  <a:cubicBezTo>
                    <a:pt x="72" y="1"/>
                    <a:pt x="71" y="1"/>
                    <a:pt x="71" y="1"/>
                  </a:cubicBezTo>
                  <a:cubicBezTo>
                    <a:pt x="70" y="2"/>
                    <a:pt x="70" y="2"/>
                    <a:pt x="70" y="3"/>
                  </a:cubicBezTo>
                  <a:cubicBezTo>
                    <a:pt x="70" y="3"/>
                    <a:pt x="69" y="6"/>
                    <a:pt x="68" y="9"/>
                  </a:cubicBezTo>
                  <a:cubicBezTo>
                    <a:pt x="67" y="9"/>
                    <a:pt x="65" y="8"/>
                    <a:pt x="64" y="8"/>
                  </a:cubicBezTo>
                  <a:cubicBezTo>
                    <a:pt x="64" y="6"/>
                    <a:pt x="64" y="3"/>
                    <a:pt x="64" y="2"/>
                  </a:cubicBezTo>
                  <a:cubicBezTo>
                    <a:pt x="64" y="2"/>
                    <a:pt x="63" y="1"/>
                    <a:pt x="63" y="1"/>
                  </a:cubicBezTo>
                  <a:cubicBezTo>
                    <a:pt x="62" y="0"/>
                    <a:pt x="62" y="0"/>
                    <a:pt x="61" y="0"/>
                  </a:cubicBezTo>
                  <a:cubicBezTo>
                    <a:pt x="61" y="0"/>
                    <a:pt x="60" y="0"/>
                    <a:pt x="60" y="1"/>
                  </a:cubicBezTo>
                  <a:cubicBezTo>
                    <a:pt x="60" y="1"/>
                    <a:pt x="59" y="2"/>
                    <a:pt x="59" y="2"/>
                  </a:cubicBezTo>
                  <a:cubicBezTo>
                    <a:pt x="59" y="3"/>
                    <a:pt x="59" y="6"/>
                    <a:pt x="59" y="8"/>
                  </a:cubicBezTo>
                  <a:cubicBezTo>
                    <a:pt x="57" y="8"/>
                    <a:pt x="56" y="9"/>
                    <a:pt x="55" y="9"/>
                  </a:cubicBezTo>
                  <a:cubicBezTo>
                    <a:pt x="54" y="6"/>
                    <a:pt x="53" y="3"/>
                    <a:pt x="53" y="3"/>
                  </a:cubicBezTo>
                  <a:cubicBezTo>
                    <a:pt x="53" y="2"/>
                    <a:pt x="53" y="2"/>
                    <a:pt x="52" y="1"/>
                  </a:cubicBezTo>
                  <a:cubicBezTo>
                    <a:pt x="52" y="1"/>
                    <a:pt x="51" y="1"/>
                    <a:pt x="51" y="1"/>
                  </a:cubicBezTo>
                  <a:cubicBezTo>
                    <a:pt x="50" y="1"/>
                    <a:pt x="50" y="2"/>
                    <a:pt x="49" y="2"/>
                  </a:cubicBezTo>
                  <a:cubicBezTo>
                    <a:pt x="49" y="2"/>
                    <a:pt x="49" y="3"/>
                    <a:pt x="49" y="3"/>
                  </a:cubicBezTo>
                  <a:cubicBezTo>
                    <a:pt x="49" y="4"/>
                    <a:pt x="49" y="7"/>
                    <a:pt x="49" y="10"/>
                  </a:cubicBezTo>
                  <a:cubicBezTo>
                    <a:pt x="48" y="10"/>
                    <a:pt x="47" y="10"/>
                    <a:pt x="46" y="11"/>
                  </a:cubicBezTo>
                  <a:cubicBezTo>
                    <a:pt x="44" y="8"/>
                    <a:pt x="43" y="5"/>
                    <a:pt x="43" y="5"/>
                  </a:cubicBezTo>
                  <a:cubicBezTo>
                    <a:pt x="43" y="4"/>
                    <a:pt x="42" y="4"/>
                    <a:pt x="42" y="4"/>
                  </a:cubicBezTo>
                  <a:cubicBezTo>
                    <a:pt x="41" y="4"/>
                    <a:pt x="41" y="4"/>
                    <a:pt x="40" y="4"/>
                  </a:cubicBezTo>
                  <a:cubicBezTo>
                    <a:pt x="40" y="4"/>
                    <a:pt x="39" y="4"/>
                    <a:pt x="39" y="5"/>
                  </a:cubicBezTo>
                  <a:cubicBezTo>
                    <a:pt x="39" y="5"/>
                    <a:pt x="39" y="6"/>
                    <a:pt x="39" y="6"/>
                  </a:cubicBezTo>
                  <a:cubicBezTo>
                    <a:pt x="39" y="7"/>
                    <a:pt x="40" y="10"/>
                    <a:pt x="41" y="13"/>
                  </a:cubicBezTo>
                  <a:cubicBezTo>
                    <a:pt x="39" y="13"/>
                    <a:pt x="38" y="14"/>
                    <a:pt x="37" y="14"/>
                  </a:cubicBezTo>
                  <a:cubicBezTo>
                    <a:pt x="35" y="12"/>
                    <a:pt x="34" y="10"/>
                    <a:pt x="33" y="9"/>
                  </a:cubicBezTo>
                  <a:cubicBezTo>
                    <a:pt x="33" y="9"/>
                    <a:pt x="33" y="8"/>
                    <a:pt x="32" y="8"/>
                  </a:cubicBezTo>
                  <a:cubicBezTo>
                    <a:pt x="32" y="8"/>
                    <a:pt x="31" y="8"/>
                    <a:pt x="31" y="9"/>
                  </a:cubicBezTo>
                  <a:cubicBezTo>
                    <a:pt x="30" y="9"/>
                    <a:pt x="30" y="9"/>
                    <a:pt x="30" y="10"/>
                  </a:cubicBezTo>
                  <a:cubicBezTo>
                    <a:pt x="29" y="10"/>
                    <a:pt x="29" y="11"/>
                    <a:pt x="30" y="11"/>
                  </a:cubicBezTo>
                  <a:cubicBezTo>
                    <a:pt x="30" y="12"/>
                    <a:pt x="31" y="14"/>
                    <a:pt x="32" y="17"/>
                  </a:cubicBezTo>
                  <a:cubicBezTo>
                    <a:pt x="31" y="18"/>
                    <a:pt x="30" y="18"/>
                    <a:pt x="29" y="19"/>
                  </a:cubicBezTo>
                  <a:cubicBezTo>
                    <a:pt x="27" y="17"/>
                    <a:pt x="25" y="15"/>
                    <a:pt x="25" y="15"/>
                  </a:cubicBezTo>
                  <a:cubicBezTo>
                    <a:pt x="24" y="14"/>
                    <a:pt x="24" y="14"/>
                    <a:pt x="23" y="14"/>
                  </a:cubicBezTo>
                  <a:cubicBezTo>
                    <a:pt x="23" y="14"/>
                    <a:pt x="22" y="14"/>
                    <a:pt x="22" y="15"/>
                  </a:cubicBezTo>
                  <a:cubicBezTo>
                    <a:pt x="21" y="15"/>
                    <a:pt x="21" y="16"/>
                    <a:pt x="21" y="16"/>
                  </a:cubicBezTo>
                  <a:cubicBezTo>
                    <a:pt x="21" y="16"/>
                    <a:pt x="21" y="17"/>
                    <a:pt x="21" y="17"/>
                  </a:cubicBezTo>
                  <a:cubicBezTo>
                    <a:pt x="22" y="18"/>
                    <a:pt x="23" y="20"/>
                    <a:pt x="25" y="23"/>
                  </a:cubicBezTo>
                  <a:cubicBezTo>
                    <a:pt x="24" y="24"/>
                    <a:pt x="23" y="24"/>
                    <a:pt x="22" y="25"/>
                  </a:cubicBezTo>
                  <a:cubicBezTo>
                    <a:pt x="20" y="24"/>
                    <a:pt x="17" y="22"/>
                    <a:pt x="17" y="22"/>
                  </a:cubicBezTo>
                  <a:cubicBezTo>
                    <a:pt x="16" y="22"/>
                    <a:pt x="16" y="21"/>
                    <a:pt x="15" y="22"/>
                  </a:cubicBezTo>
                  <a:cubicBezTo>
                    <a:pt x="15" y="22"/>
                    <a:pt x="14" y="22"/>
                    <a:pt x="14" y="22"/>
                  </a:cubicBezTo>
                  <a:cubicBezTo>
                    <a:pt x="14" y="23"/>
                    <a:pt x="14" y="23"/>
                    <a:pt x="14" y="24"/>
                  </a:cubicBezTo>
                  <a:cubicBezTo>
                    <a:pt x="14" y="24"/>
                    <a:pt x="14" y="25"/>
                    <a:pt x="14" y="25"/>
                  </a:cubicBezTo>
                  <a:cubicBezTo>
                    <a:pt x="15" y="26"/>
                    <a:pt x="17" y="28"/>
                    <a:pt x="19" y="30"/>
                  </a:cubicBezTo>
                  <a:cubicBezTo>
                    <a:pt x="18" y="31"/>
                    <a:pt x="17" y="32"/>
                    <a:pt x="16" y="33"/>
                  </a:cubicBezTo>
                  <a:cubicBezTo>
                    <a:pt x="14" y="32"/>
                    <a:pt x="11" y="31"/>
                    <a:pt x="11" y="30"/>
                  </a:cubicBezTo>
                  <a:cubicBezTo>
                    <a:pt x="10" y="30"/>
                    <a:pt x="10" y="30"/>
                    <a:pt x="9" y="30"/>
                  </a:cubicBezTo>
                  <a:cubicBezTo>
                    <a:pt x="9" y="30"/>
                    <a:pt x="8" y="31"/>
                    <a:pt x="8" y="31"/>
                  </a:cubicBezTo>
                  <a:cubicBezTo>
                    <a:pt x="8" y="32"/>
                    <a:pt x="8" y="32"/>
                    <a:pt x="8" y="33"/>
                  </a:cubicBezTo>
                  <a:cubicBezTo>
                    <a:pt x="8" y="33"/>
                    <a:pt x="8" y="34"/>
                    <a:pt x="9" y="34"/>
                  </a:cubicBezTo>
                  <a:cubicBezTo>
                    <a:pt x="9" y="34"/>
                    <a:pt x="11" y="36"/>
                    <a:pt x="14" y="38"/>
                  </a:cubicBezTo>
                  <a:cubicBezTo>
                    <a:pt x="13" y="39"/>
                    <a:pt x="12" y="40"/>
                    <a:pt x="12" y="41"/>
                  </a:cubicBezTo>
                  <a:cubicBezTo>
                    <a:pt x="9" y="40"/>
                    <a:pt x="6" y="40"/>
                    <a:pt x="6" y="40"/>
                  </a:cubicBezTo>
                  <a:cubicBezTo>
                    <a:pt x="5" y="39"/>
                    <a:pt x="5" y="40"/>
                    <a:pt x="4" y="40"/>
                  </a:cubicBezTo>
                  <a:cubicBezTo>
                    <a:pt x="4" y="40"/>
                    <a:pt x="4" y="40"/>
                    <a:pt x="3" y="41"/>
                  </a:cubicBezTo>
                  <a:cubicBezTo>
                    <a:pt x="3" y="41"/>
                    <a:pt x="3" y="42"/>
                    <a:pt x="3" y="42"/>
                  </a:cubicBezTo>
                  <a:cubicBezTo>
                    <a:pt x="4" y="43"/>
                    <a:pt x="4" y="43"/>
                    <a:pt x="4" y="44"/>
                  </a:cubicBezTo>
                  <a:cubicBezTo>
                    <a:pt x="5" y="44"/>
                    <a:pt x="8" y="45"/>
                    <a:pt x="10" y="46"/>
                  </a:cubicBezTo>
                  <a:cubicBezTo>
                    <a:pt x="10" y="47"/>
                    <a:pt x="9" y="49"/>
                    <a:pt x="9" y="50"/>
                  </a:cubicBezTo>
                  <a:cubicBezTo>
                    <a:pt x="6" y="50"/>
                    <a:pt x="3" y="50"/>
                    <a:pt x="3" y="49"/>
                  </a:cubicBezTo>
                  <a:cubicBezTo>
                    <a:pt x="2" y="49"/>
                    <a:pt x="2" y="50"/>
                    <a:pt x="1" y="50"/>
                  </a:cubicBezTo>
                  <a:cubicBezTo>
                    <a:pt x="1" y="50"/>
                    <a:pt x="1" y="51"/>
                    <a:pt x="1" y="51"/>
                  </a:cubicBezTo>
                  <a:cubicBezTo>
                    <a:pt x="1" y="52"/>
                    <a:pt x="1" y="52"/>
                    <a:pt x="1" y="53"/>
                  </a:cubicBezTo>
                  <a:cubicBezTo>
                    <a:pt x="1" y="53"/>
                    <a:pt x="2" y="54"/>
                    <a:pt x="2" y="54"/>
                  </a:cubicBezTo>
                  <a:cubicBezTo>
                    <a:pt x="3" y="54"/>
                    <a:pt x="6" y="55"/>
                    <a:pt x="8" y="55"/>
                  </a:cubicBezTo>
                  <a:cubicBezTo>
                    <a:pt x="8" y="57"/>
                    <a:pt x="8" y="58"/>
                    <a:pt x="8" y="59"/>
                  </a:cubicBezTo>
                  <a:cubicBezTo>
                    <a:pt x="5" y="60"/>
                    <a:pt x="2" y="60"/>
                    <a:pt x="2" y="60"/>
                  </a:cubicBezTo>
                  <a:cubicBezTo>
                    <a:pt x="1" y="60"/>
                    <a:pt x="1" y="60"/>
                    <a:pt x="0" y="61"/>
                  </a:cubicBezTo>
                  <a:cubicBezTo>
                    <a:pt x="0" y="61"/>
                    <a:pt x="0" y="61"/>
                    <a:pt x="0" y="62"/>
                  </a:cubicBezTo>
                  <a:cubicBezTo>
                    <a:pt x="0" y="63"/>
                    <a:pt x="0" y="63"/>
                    <a:pt x="0" y="63"/>
                  </a:cubicBezTo>
                  <a:cubicBezTo>
                    <a:pt x="1" y="64"/>
                    <a:pt x="1" y="64"/>
                    <a:pt x="2" y="64"/>
                  </a:cubicBezTo>
                  <a:cubicBezTo>
                    <a:pt x="2" y="64"/>
                    <a:pt x="5" y="64"/>
                    <a:pt x="8" y="65"/>
                  </a:cubicBezTo>
                  <a:cubicBezTo>
                    <a:pt x="8" y="66"/>
                    <a:pt x="8" y="67"/>
                    <a:pt x="8" y="69"/>
                  </a:cubicBezTo>
                  <a:cubicBezTo>
                    <a:pt x="6" y="69"/>
                    <a:pt x="3" y="70"/>
                    <a:pt x="2" y="70"/>
                  </a:cubicBezTo>
                  <a:cubicBezTo>
                    <a:pt x="2" y="71"/>
                    <a:pt x="1" y="71"/>
                    <a:pt x="1" y="71"/>
                  </a:cubicBezTo>
                  <a:cubicBezTo>
                    <a:pt x="1" y="72"/>
                    <a:pt x="1" y="72"/>
                    <a:pt x="1" y="73"/>
                  </a:cubicBezTo>
                  <a:cubicBezTo>
                    <a:pt x="1" y="73"/>
                    <a:pt x="1" y="74"/>
                    <a:pt x="1" y="74"/>
                  </a:cubicBezTo>
                  <a:cubicBezTo>
                    <a:pt x="2" y="74"/>
                    <a:pt x="2" y="75"/>
                    <a:pt x="3" y="75"/>
                  </a:cubicBezTo>
                  <a:cubicBezTo>
                    <a:pt x="3" y="75"/>
                    <a:pt x="6" y="74"/>
                    <a:pt x="9" y="74"/>
                  </a:cubicBezTo>
                  <a:cubicBezTo>
                    <a:pt x="9" y="75"/>
                    <a:pt x="10" y="77"/>
                    <a:pt x="10" y="78"/>
                  </a:cubicBezTo>
                  <a:cubicBezTo>
                    <a:pt x="8" y="79"/>
                    <a:pt x="5" y="80"/>
                    <a:pt x="4" y="81"/>
                  </a:cubicBezTo>
                  <a:cubicBezTo>
                    <a:pt x="4" y="81"/>
                    <a:pt x="4" y="81"/>
                    <a:pt x="3" y="82"/>
                  </a:cubicBezTo>
                  <a:cubicBezTo>
                    <a:pt x="3" y="82"/>
                    <a:pt x="3" y="83"/>
                    <a:pt x="3" y="83"/>
                  </a:cubicBezTo>
                  <a:cubicBezTo>
                    <a:pt x="4" y="84"/>
                    <a:pt x="4" y="84"/>
                    <a:pt x="4" y="84"/>
                  </a:cubicBezTo>
                  <a:cubicBezTo>
                    <a:pt x="5" y="85"/>
                    <a:pt x="5" y="85"/>
                    <a:pt x="6" y="85"/>
                  </a:cubicBezTo>
                  <a:cubicBezTo>
                    <a:pt x="6" y="84"/>
                    <a:pt x="9" y="84"/>
                    <a:pt x="12" y="83"/>
                  </a:cubicBezTo>
                  <a:cubicBezTo>
                    <a:pt x="12" y="84"/>
                    <a:pt x="13" y="85"/>
                    <a:pt x="14" y="87"/>
                  </a:cubicBezTo>
                  <a:cubicBezTo>
                    <a:pt x="11" y="88"/>
                    <a:pt x="9" y="90"/>
                    <a:pt x="9" y="90"/>
                  </a:cubicBezTo>
                  <a:cubicBezTo>
                    <a:pt x="8" y="90"/>
                    <a:pt x="8" y="91"/>
                    <a:pt x="8" y="91"/>
                  </a:cubicBezTo>
                  <a:cubicBezTo>
                    <a:pt x="8" y="92"/>
                    <a:pt x="8" y="92"/>
                    <a:pt x="8" y="93"/>
                  </a:cubicBezTo>
                  <a:cubicBezTo>
                    <a:pt x="8" y="93"/>
                    <a:pt x="9" y="94"/>
                    <a:pt x="9" y="94"/>
                  </a:cubicBezTo>
                  <a:cubicBezTo>
                    <a:pt x="10" y="94"/>
                    <a:pt x="10" y="94"/>
                    <a:pt x="11" y="94"/>
                  </a:cubicBezTo>
                  <a:cubicBezTo>
                    <a:pt x="11" y="94"/>
                    <a:pt x="14" y="92"/>
                    <a:pt x="16" y="91"/>
                  </a:cubicBezTo>
                  <a:cubicBezTo>
                    <a:pt x="17" y="92"/>
                    <a:pt x="18" y="93"/>
                    <a:pt x="19" y="94"/>
                  </a:cubicBezTo>
                  <a:cubicBezTo>
                    <a:pt x="17" y="96"/>
                    <a:pt x="15" y="99"/>
                    <a:pt x="14" y="99"/>
                  </a:cubicBezTo>
                  <a:cubicBezTo>
                    <a:pt x="14" y="99"/>
                    <a:pt x="14" y="100"/>
                    <a:pt x="14" y="100"/>
                  </a:cubicBezTo>
                  <a:cubicBezTo>
                    <a:pt x="14" y="101"/>
                    <a:pt x="14" y="101"/>
                    <a:pt x="14" y="102"/>
                  </a:cubicBezTo>
                  <a:cubicBezTo>
                    <a:pt x="14" y="102"/>
                    <a:pt x="15" y="102"/>
                    <a:pt x="15" y="103"/>
                  </a:cubicBezTo>
                  <a:cubicBezTo>
                    <a:pt x="16" y="103"/>
                    <a:pt x="16" y="103"/>
                    <a:pt x="17" y="102"/>
                  </a:cubicBezTo>
                  <a:cubicBezTo>
                    <a:pt x="17" y="102"/>
                    <a:pt x="20" y="100"/>
                    <a:pt x="22" y="99"/>
                  </a:cubicBezTo>
                  <a:cubicBezTo>
                    <a:pt x="23" y="100"/>
                    <a:pt x="24" y="100"/>
                    <a:pt x="25" y="101"/>
                  </a:cubicBezTo>
                  <a:cubicBezTo>
                    <a:pt x="23" y="104"/>
                    <a:pt x="22" y="106"/>
                    <a:pt x="21" y="107"/>
                  </a:cubicBezTo>
                  <a:cubicBezTo>
                    <a:pt x="21" y="107"/>
                    <a:pt x="21" y="108"/>
                    <a:pt x="21" y="108"/>
                  </a:cubicBezTo>
                  <a:cubicBezTo>
                    <a:pt x="21" y="109"/>
                    <a:pt x="21" y="109"/>
                    <a:pt x="22" y="109"/>
                  </a:cubicBezTo>
                  <a:cubicBezTo>
                    <a:pt x="22" y="110"/>
                    <a:pt x="23" y="110"/>
                    <a:pt x="23" y="110"/>
                  </a:cubicBezTo>
                  <a:cubicBezTo>
                    <a:pt x="24" y="110"/>
                    <a:pt x="24" y="110"/>
                    <a:pt x="25" y="109"/>
                  </a:cubicBezTo>
                  <a:cubicBezTo>
                    <a:pt x="25" y="109"/>
                    <a:pt x="27" y="107"/>
                    <a:pt x="29" y="105"/>
                  </a:cubicBezTo>
                  <a:cubicBezTo>
                    <a:pt x="30" y="106"/>
                    <a:pt x="31" y="106"/>
                    <a:pt x="32" y="107"/>
                  </a:cubicBezTo>
                  <a:cubicBezTo>
                    <a:pt x="31" y="110"/>
                    <a:pt x="30" y="112"/>
                    <a:pt x="30" y="113"/>
                  </a:cubicBezTo>
                  <a:cubicBezTo>
                    <a:pt x="29" y="113"/>
                    <a:pt x="29" y="114"/>
                    <a:pt x="30" y="114"/>
                  </a:cubicBezTo>
                  <a:cubicBezTo>
                    <a:pt x="30" y="115"/>
                    <a:pt x="30" y="115"/>
                    <a:pt x="31" y="116"/>
                  </a:cubicBezTo>
                  <a:cubicBezTo>
                    <a:pt x="31" y="116"/>
                    <a:pt x="32" y="116"/>
                    <a:pt x="32" y="116"/>
                  </a:cubicBezTo>
                  <a:cubicBezTo>
                    <a:pt x="33" y="116"/>
                    <a:pt x="33" y="115"/>
                    <a:pt x="33" y="115"/>
                  </a:cubicBezTo>
                  <a:cubicBezTo>
                    <a:pt x="34" y="115"/>
                    <a:pt x="35" y="112"/>
                    <a:pt x="37" y="110"/>
                  </a:cubicBezTo>
                  <a:cubicBezTo>
                    <a:pt x="38" y="111"/>
                    <a:pt x="39" y="111"/>
                    <a:pt x="41" y="112"/>
                  </a:cubicBezTo>
                  <a:cubicBezTo>
                    <a:pt x="40" y="114"/>
                    <a:pt x="39" y="117"/>
                    <a:pt x="39" y="118"/>
                  </a:cubicBezTo>
                  <a:cubicBezTo>
                    <a:pt x="39" y="118"/>
                    <a:pt x="39" y="119"/>
                    <a:pt x="39" y="119"/>
                  </a:cubicBezTo>
                  <a:cubicBezTo>
                    <a:pt x="39" y="120"/>
                    <a:pt x="40" y="120"/>
                    <a:pt x="40" y="120"/>
                  </a:cubicBezTo>
                  <a:cubicBezTo>
                    <a:pt x="41" y="120"/>
                    <a:pt x="41" y="120"/>
                    <a:pt x="42" y="120"/>
                  </a:cubicBezTo>
                  <a:cubicBezTo>
                    <a:pt x="42" y="120"/>
                    <a:pt x="43" y="120"/>
                    <a:pt x="43" y="119"/>
                  </a:cubicBezTo>
                  <a:cubicBezTo>
                    <a:pt x="43" y="119"/>
                    <a:pt x="44" y="116"/>
                    <a:pt x="46" y="113"/>
                  </a:cubicBezTo>
                  <a:cubicBezTo>
                    <a:pt x="47" y="114"/>
                    <a:pt x="48" y="114"/>
                    <a:pt x="49" y="114"/>
                  </a:cubicBezTo>
                  <a:cubicBezTo>
                    <a:pt x="49" y="117"/>
                    <a:pt x="49" y="120"/>
                    <a:pt x="49" y="121"/>
                  </a:cubicBezTo>
                  <a:cubicBezTo>
                    <a:pt x="49" y="121"/>
                    <a:pt x="49" y="122"/>
                    <a:pt x="49" y="122"/>
                  </a:cubicBezTo>
                  <a:cubicBezTo>
                    <a:pt x="50" y="123"/>
                    <a:pt x="50" y="123"/>
                    <a:pt x="51" y="123"/>
                  </a:cubicBezTo>
                  <a:cubicBezTo>
                    <a:pt x="51" y="123"/>
                    <a:pt x="52" y="123"/>
                    <a:pt x="52" y="123"/>
                  </a:cubicBezTo>
                  <a:cubicBezTo>
                    <a:pt x="53" y="122"/>
                    <a:pt x="53" y="122"/>
                    <a:pt x="53" y="121"/>
                  </a:cubicBezTo>
                  <a:cubicBezTo>
                    <a:pt x="53" y="121"/>
                    <a:pt x="54" y="118"/>
                    <a:pt x="55" y="115"/>
                  </a:cubicBezTo>
                  <a:cubicBezTo>
                    <a:pt x="56" y="116"/>
                    <a:pt x="57" y="116"/>
                    <a:pt x="59" y="116"/>
                  </a:cubicBezTo>
                  <a:cubicBezTo>
                    <a:pt x="59" y="118"/>
                    <a:pt x="59" y="121"/>
                    <a:pt x="59" y="122"/>
                  </a:cubicBezTo>
                  <a:cubicBezTo>
                    <a:pt x="59" y="123"/>
                    <a:pt x="60" y="123"/>
                    <a:pt x="60" y="123"/>
                  </a:cubicBezTo>
                  <a:cubicBezTo>
                    <a:pt x="60" y="124"/>
                    <a:pt x="61" y="124"/>
                    <a:pt x="61" y="124"/>
                  </a:cubicBezTo>
                  <a:cubicBezTo>
                    <a:pt x="62" y="124"/>
                    <a:pt x="62" y="124"/>
                    <a:pt x="63" y="123"/>
                  </a:cubicBezTo>
                  <a:cubicBezTo>
                    <a:pt x="63" y="123"/>
                    <a:pt x="64" y="123"/>
                    <a:pt x="64" y="122"/>
                  </a:cubicBezTo>
                  <a:cubicBezTo>
                    <a:pt x="64" y="121"/>
                    <a:pt x="64" y="118"/>
                    <a:pt x="64" y="116"/>
                  </a:cubicBezTo>
                  <a:cubicBezTo>
                    <a:pt x="65" y="116"/>
                    <a:pt x="67" y="116"/>
                    <a:pt x="68" y="115"/>
                  </a:cubicBezTo>
                  <a:cubicBezTo>
                    <a:pt x="69" y="118"/>
                    <a:pt x="70" y="121"/>
                    <a:pt x="70" y="121"/>
                  </a:cubicBezTo>
                  <a:cubicBezTo>
                    <a:pt x="70" y="122"/>
                    <a:pt x="70" y="122"/>
                    <a:pt x="71" y="123"/>
                  </a:cubicBezTo>
                  <a:cubicBezTo>
                    <a:pt x="71" y="123"/>
                    <a:pt x="72" y="123"/>
                    <a:pt x="72" y="123"/>
                  </a:cubicBezTo>
                  <a:cubicBezTo>
                    <a:pt x="73" y="123"/>
                    <a:pt x="73" y="123"/>
                    <a:pt x="73" y="122"/>
                  </a:cubicBezTo>
                  <a:cubicBezTo>
                    <a:pt x="74" y="122"/>
                    <a:pt x="74" y="121"/>
                    <a:pt x="74" y="121"/>
                  </a:cubicBezTo>
                  <a:cubicBezTo>
                    <a:pt x="74" y="120"/>
                    <a:pt x="74" y="117"/>
                    <a:pt x="73" y="114"/>
                  </a:cubicBezTo>
                  <a:cubicBezTo>
                    <a:pt x="75" y="114"/>
                    <a:pt x="76" y="114"/>
                    <a:pt x="77" y="113"/>
                  </a:cubicBezTo>
                  <a:cubicBezTo>
                    <a:pt x="78" y="116"/>
                    <a:pt x="80" y="119"/>
                    <a:pt x="80" y="119"/>
                  </a:cubicBezTo>
                  <a:cubicBezTo>
                    <a:pt x="80" y="120"/>
                    <a:pt x="81" y="120"/>
                    <a:pt x="81" y="120"/>
                  </a:cubicBezTo>
                  <a:cubicBezTo>
                    <a:pt x="81" y="120"/>
                    <a:pt x="82" y="120"/>
                    <a:pt x="83" y="120"/>
                  </a:cubicBezTo>
                  <a:cubicBezTo>
                    <a:pt x="83" y="120"/>
                    <a:pt x="83" y="120"/>
                    <a:pt x="84" y="119"/>
                  </a:cubicBezTo>
                  <a:cubicBezTo>
                    <a:pt x="84" y="119"/>
                    <a:pt x="84" y="118"/>
                    <a:pt x="84" y="118"/>
                  </a:cubicBezTo>
                  <a:cubicBezTo>
                    <a:pt x="84" y="117"/>
                    <a:pt x="83" y="114"/>
                    <a:pt x="82" y="112"/>
                  </a:cubicBezTo>
                  <a:cubicBezTo>
                    <a:pt x="84" y="111"/>
                    <a:pt x="85" y="111"/>
                    <a:pt x="86" y="110"/>
                  </a:cubicBezTo>
                  <a:cubicBezTo>
                    <a:pt x="87" y="112"/>
                    <a:pt x="89" y="115"/>
                    <a:pt x="89" y="115"/>
                  </a:cubicBezTo>
                  <a:cubicBezTo>
                    <a:pt x="90" y="115"/>
                    <a:pt x="90" y="116"/>
                    <a:pt x="91" y="116"/>
                  </a:cubicBezTo>
                  <a:cubicBezTo>
                    <a:pt x="91" y="116"/>
                    <a:pt x="92" y="116"/>
                    <a:pt x="92" y="116"/>
                  </a:cubicBezTo>
                  <a:cubicBezTo>
                    <a:pt x="93" y="115"/>
                    <a:pt x="93" y="115"/>
                    <a:pt x="93" y="114"/>
                  </a:cubicBezTo>
                  <a:cubicBezTo>
                    <a:pt x="93" y="114"/>
                    <a:pt x="93" y="113"/>
                    <a:pt x="93" y="113"/>
                  </a:cubicBezTo>
                  <a:cubicBezTo>
                    <a:pt x="93" y="112"/>
                    <a:pt x="92" y="110"/>
                    <a:pt x="91" y="107"/>
                  </a:cubicBezTo>
                  <a:cubicBezTo>
                    <a:pt x="92" y="106"/>
                    <a:pt x="93" y="106"/>
                    <a:pt x="94" y="105"/>
                  </a:cubicBezTo>
                  <a:cubicBezTo>
                    <a:pt x="96" y="107"/>
                    <a:pt x="98" y="109"/>
                    <a:pt x="98" y="109"/>
                  </a:cubicBezTo>
                  <a:cubicBezTo>
                    <a:pt x="99" y="110"/>
                    <a:pt x="99" y="110"/>
                    <a:pt x="100" y="110"/>
                  </a:cubicBezTo>
                  <a:cubicBezTo>
                    <a:pt x="100" y="110"/>
                    <a:pt x="101" y="110"/>
                    <a:pt x="101" y="109"/>
                  </a:cubicBezTo>
                  <a:cubicBezTo>
                    <a:pt x="101" y="109"/>
                    <a:pt x="102" y="109"/>
                    <a:pt x="102" y="108"/>
                  </a:cubicBezTo>
                  <a:cubicBezTo>
                    <a:pt x="102" y="108"/>
                    <a:pt x="102" y="107"/>
                    <a:pt x="101" y="107"/>
                  </a:cubicBezTo>
                  <a:cubicBezTo>
                    <a:pt x="101" y="106"/>
                    <a:pt x="99" y="104"/>
                    <a:pt x="98" y="101"/>
                  </a:cubicBezTo>
                  <a:cubicBezTo>
                    <a:pt x="99" y="100"/>
                    <a:pt x="100" y="100"/>
                    <a:pt x="101" y="99"/>
                  </a:cubicBezTo>
                  <a:cubicBezTo>
                    <a:pt x="103" y="100"/>
                    <a:pt x="105" y="102"/>
                    <a:pt x="106" y="102"/>
                  </a:cubicBezTo>
                  <a:cubicBezTo>
                    <a:pt x="106" y="103"/>
                    <a:pt x="107" y="103"/>
                    <a:pt x="107" y="103"/>
                  </a:cubicBezTo>
                  <a:cubicBezTo>
                    <a:pt x="108" y="102"/>
                    <a:pt x="108" y="102"/>
                    <a:pt x="109" y="102"/>
                  </a:cubicBezTo>
                  <a:cubicBezTo>
                    <a:pt x="109" y="101"/>
                    <a:pt x="109" y="101"/>
                    <a:pt x="109" y="100"/>
                  </a:cubicBezTo>
                  <a:cubicBezTo>
                    <a:pt x="109" y="100"/>
                    <a:pt x="109" y="99"/>
                    <a:pt x="109" y="99"/>
                  </a:cubicBezTo>
                  <a:cubicBezTo>
                    <a:pt x="108" y="99"/>
                    <a:pt x="106" y="96"/>
                    <a:pt x="104" y="94"/>
                  </a:cubicBezTo>
                  <a:cubicBezTo>
                    <a:pt x="105" y="93"/>
                    <a:pt x="106" y="92"/>
                    <a:pt x="106" y="91"/>
                  </a:cubicBezTo>
                  <a:cubicBezTo>
                    <a:pt x="109" y="92"/>
                    <a:pt x="112" y="94"/>
                    <a:pt x="112" y="94"/>
                  </a:cubicBezTo>
                  <a:cubicBezTo>
                    <a:pt x="113" y="94"/>
                    <a:pt x="113" y="94"/>
                    <a:pt x="114" y="94"/>
                  </a:cubicBezTo>
                  <a:cubicBezTo>
                    <a:pt x="114" y="94"/>
                    <a:pt x="115" y="93"/>
                    <a:pt x="115" y="93"/>
                  </a:cubicBezTo>
                  <a:cubicBezTo>
                    <a:pt x="115" y="92"/>
                    <a:pt x="115" y="92"/>
                    <a:pt x="115" y="91"/>
                  </a:cubicBezTo>
                  <a:cubicBezTo>
                    <a:pt x="115" y="91"/>
                    <a:pt x="115" y="91"/>
                    <a:pt x="114" y="90"/>
                  </a:cubicBezTo>
                  <a:cubicBezTo>
                    <a:pt x="114" y="90"/>
                    <a:pt x="111" y="88"/>
                    <a:pt x="109" y="87"/>
                  </a:cubicBezTo>
                  <a:cubicBezTo>
                    <a:pt x="110" y="85"/>
                    <a:pt x="110" y="84"/>
                    <a:pt x="111" y="83"/>
                  </a:cubicBezTo>
                  <a:cubicBezTo>
                    <a:pt x="113" y="84"/>
                    <a:pt x="116" y="84"/>
                    <a:pt x="117" y="85"/>
                  </a:cubicBezTo>
                  <a:cubicBezTo>
                    <a:pt x="117" y="85"/>
                    <a:pt x="118" y="85"/>
                    <a:pt x="118" y="84"/>
                  </a:cubicBezTo>
                  <a:cubicBezTo>
                    <a:pt x="119" y="84"/>
                    <a:pt x="119" y="84"/>
                    <a:pt x="119" y="83"/>
                  </a:cubicBezTo>
                  <a:cubicBezTo>
                    <a:pt x="120" y="83"/>
                    <a:pt x="120" y="82"/>
                    <a:pt x="119" y="82"/>
                  </a:cubicBezTo>
                  <a:cubicBezTo>
                    <a:pt x="119" y="81"/>
                    <a:pt x="119" y="81"/>
                    <a:pt x="118" y="81"/>
                  </a:cubicBezTo>
                  <a:cubicBezTo>
                    <a:pt x="118" y="80"/>
                    <a:pt x="115" y="79"/>
                    <a:pt x="113" y="78"/>
                  </a:cubicBezTo>
                  <a:cubicBezTo>
                    <a:pt x="113" y="77"/>
                    <a:pt x="113" y="75"/>
                    <a:pt x="114" y="74"/>
                  </a:cubicBezTo>
                  <a:cubicBezTo>
                    <a:pt x="116" y="74"/>
                    <a:pt x="119" y="75"/>
                    <a:pt x="120" y="75"/>
                  </a:cubicBezTo>
                  <a:cubicBezTo>
                    <a:pt x="120" y="75"/>
                    <a:pt x="121" y="74"/>
                    <a:pt x="121" y="74"/>
                  </a:cubicBezTo>
                  <a:cubicBezTo>
                    <a:pt x="122" y="74"/>
                    <a:pt x="122" y="73"/>
                    <a:pt x="122" y="73"/>
                  </a:cubicBezTo>
                  <a:cubicBezTo>
                    <a:pt x="122" y="72"/>
                    <a:pt x="122" y="72"/>
                    <a:pt x="122" y="71"/>
                  </a:cubicBezTo>
                  <a:cubicBezTo>
                    <a:pt x="122" y="71"/>
                    <a:pt x="121" y="71"/>
                    <a:pt x="121" y="70"/>
                  </a:cubicBezTo>
                  <a:cubicBezTo>
                    <a:pt x="120" y="70"/>
                    <a:pt x="117" y="69"/>
                    <a:pt x="115" y="69"/>
                  </a:cubicBezTo>
                  <a:cubicBezTo>
                    <a:pt x="115" y="67"/>
                    <a:pt x="115" y="66"/>
                    <a:pt x="115" y="65"/>
                  </a:cubicBezTo>
                  <a:cubicBezTo>
                    <a:pt x="118" y="64"/>
                    <a:pt x="121" y="64"/>
                    <a:pt x="121" y="64"/>
                  </a:cubicBezTo>
                  <a:close/>
                  <a:moveTo>
                    <a:pt x="61" y="111"/>
                  </a:moveTo>
                  <a:cubicBezTo>
                    <a:pt x="61" y="111"/>
                    <a:pt x="61" y="111"/>
                    <a:pt x="61" y="111"/>
                  </a:cubicBezTo>
                  <a:cubicBezTo>
                    <a:pt x="61" y="111"/>
                    <a:pt x="61" y="111"/>
                    <a:pt x="61" y="111"/>
                  </a:cubicBezTo>
                  <a:cubicBezTo>
                    <a:pt x="61" y="111"/>
                    <a:pt x="61" y="111"/>
                    <a:pt x="61" y="111"/>
                  </a:cubicBezTo>
                  <a:close/>
                  <a:moveTo>
                    <a:pt x="45" y="108"/>
                  </a:moveTo>
                  <a:cubicBezTo>
                    <a:pt x="45" y="108"/>
                    <a:pt x="45" y="108"/>
                    <a:pt x="44" y="108"/>
                  </a:cubicBezTo>
                  <a:cubicBezTo>
                    <a:pt x="44" y="108"/>
                    <a:pt x="44" y="108"/>
                    <a:pt x="45" y="108"/>
                  </a:cubicBezTo>
                  <a:cubicBezTo>
                    <a:pt x="45" y="108"/>
                    <a:pt x="45" y="108"/>
                    <a:pt x="45" y="108"/>
                  </a:cubicBezTo>
                  <a:close/>
                  <a:moveTo>
                    <a:pt x="31" y="100"/>
                  </a:moveTo>
                  <a:cubicBezTo>
                    <a:pt x="30" y="100"/>
                    <a:pt x="30" y="99"/>
                    <a:pt x="29" y="99"/>
                  </a:cubicBezTo>
                  <a:cubicBezTo>
                    <a:pt x="30" y="99"/>
                    <a:pt x="30" y="99"/>
                    <a:pt x="30" y="100"/>
                  </a:cubicBezTo>
                  <a:cubicBezTo>
                    <a:pt x="30" y="100"/>
                    <a:pt x="30" y="100"/>
                    <a:pt x="31" y="100"/>
                  </a:cubicBezTo>
                  <a:close/>
                  <a:moveTo>
                    <a:pt x="20" y="87"/>
                  </a:moveTo>
                  <a:cubicBezTo>
                    <a:pt x="19" y="87"/>
                    <a:pt x="19" y="86"/>
                    <a:pt x="19" y="86"/>
                  </a:cubicBezTo>
                  <a:cubicBezTo>
                    <a:pt x="19" y="86"/>
                    <a:pt x="19" y="86"/>
                    <a:pt x="19" y="87"/>
                  </a:cubicBezTo>
                  <a:cubicBezTo>
                    <a:pt x="19" y="87"/>
                    <a:pt x="19" y="87"/>
                    <a:pt x="20" y="8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5" name="Freeform 473">
              <a:extLst>
                <a:ext uri="{FF2B5EF4-FFF2-40B4-BE49-F238E27FC236}">
                  <a16:creationId xmlns:a16="http://schemas.microsoft.com/office/drawing/2014/main" id="{FA5668D2-4FCF-4AD9-8E12-0099D5F2EDA5}"/>
                </a:ext>
              </a:extLst>
            </p:cNvPr>
            <p:cNvSpPr>
              <a:spLocks noEditPoints="1"/>
            </p:cNvSpPr>
            <p:nvPr/>
          </p:nvSpPr>
          <p:spPr bwMode="auto">
            <a:xfrm>
              <a:off x="1256405" y="1787670"/>
              <a:ext cx="157928" cy="170933"/>
            </a:xfrm>
            <a:custGeom>
              <a:avLst/>
              <a:gdLst>
                <a:gd name="T0" fmla="*/ 11 w 256"/>
                <a:gd name="T1" fmla="*/ 277 h 277"/>
                <a:gd name="T2" fmla="*/ 5 w 256"/>
                <a:gd name="T3" fmla="*/ 276 h 277"/>
                <a:gd name="T4" fmla="*/ 0 w 256"/>
                <a:gd name="T5" fmla="*/ 267 h 277"/>
                <a:gd name="T6" fmla="*/ 0 w 256"/>
                <a:gd name="T7" fmla="*/ 11 h 277"/>
                <a:gd name="T8" fmla="*/ 5 w 256"/>
                <a:gd name="T9" fmla="*/ 1 h 277"/>
                <a:gd name="T10" fmla="*/ 16 w 256"/>
                <a:gd name="T11" fmla="*/ 1 h 277"/>
                <a:gd name="T12" fmla="*/ 250 w 256"/>
                <a:gd name="T13" fmla="*/ 129 h 277"/>
                <a:gd name="T14" fmla="*/ 256 w 256"/>
                <a:gd name="T15" fmla="*/ 139 h 277"/>
                <a:gd name="T16" fmla="*/ 250 w 256"/>
                <a:gd name="T17" fmla="*/ 148 h 277"/>
                <a:gd name="T18" fmla="*/ 16 w 256"/>
                <a:gd name="T19" fmla="*/ 276 h 277"/>
                <a:gd name="T20" fmla="*/ 11 w 256"/>
                <a:gd name="T21" fmla="*/ 277 h 277"/>
                <a:gd name="T22" fmla="*/ 21 w 256"/>
                <a:gd name="T23" fmla="*/ 29 h 277"/>
                <a:gd name="T24" fmla="*/ 21 w 256"/>
                <a:gd name="T25" fmla="*/ 249 h 277"/>
                <a:gd name="T26" fmla="*/ 223 w 256"/>
                <a:gd name="T27" fmla="*/ 139 h 277"/>
                <a:gd name="T28" fmla="*/ 21 w 256"/>
                <a:gd name="T29" fmla="*/ 2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77">
                  <a:moveTo>
                    <a:pt x="11" y="277"/>
                  </a:moveTo>
                  <a:cubicBezTo>
                    <a:pt x="9" y="277"/>
                    <a:pt x="7" y="277"/>
                    <a:pt x="5" y="276"/>
                  </a:cubicBezTo>
                  <a:cubicBezTo>
                    <a:pt x="2" y="274"/>
                    <a:pt x="0" y="270"/>
                    <a:pt x="0" y="267"/>
                  </a:cubicBezTo>
                  <a:cubicBezTo>
                    <a:pt x="0" y="11"/>
                    <a:pt x="0" y="11"/>
                    <a:pt x="0" y="11"/>
                  </a:cubicBezTo>
                  <a:cubicBezTo>
                    <a:pt x="0" y="7"/>
                    <a:pt x="2" y="3"/>
                    <a:pt x="5" y="1"/>
                  </a:cubicBezTo>
                  <a:cubicBezTo>
                    <a:pt x="8" y="0"/>
                    <a:pt x="12" y="0"/>
                    <a:pt x="16" y="1"/>
                  </a:cubicBezTo>
                  <a:cubicBezTo>
                    <a:pt x="250" y="129"/>
                    <a:pt x="250" y="129"/>
                    <a:pt x="250" y="129"/>
                  </a:cubicBezTo>
                  <a:cubicBezTo>
                    <a:pt x="254" y="131"/>
                    <a:pt x="256" y="135"/>
                    <a:pt x="256" y="139"/>
                  </a:cubicBezTo>
                  <a:cubicBezTo>
                    <a:pt x="256" y="143"/>
                    <a:pt x="254" y="146"/>
                    <a:pt x="250" y="148"/>
                  </a:cubicBezTo>
                  <a:cubicBezTo>
                    <a:pt x="16" y="276"/>
                    <a:pt x="16" y="276"/>
                    <a:pt x="16" y="276"/>
                  </a:cubicBezTo>
                  <a:cubicBezTo>
                    <a:pt x="14" y="277"/>
                    <a:pt x="12" y="277"/>
                    <a:pt x="11" y="277"/>
                  </a:cubicBezTo>
                  <a:close/>
                  <a:moveTo>
                    <a:pt x="21" y="29"/>
                  </a:moveTo>
                  <a:cubicBezTo>
                    <a:pt x="21" y="249"/>
                    <a:pt x="21" y="249"/>
                    <a:pt x="21" y="249"/>
                  </a:cubicBezTo>
                  <a:cubicBezTo>
                    <a:pt x="223" y="139"/>
                    <a:pt x="223" y="139"/>
                    <a:pt x="223" y="139"/>
                  </a:cubicBezTo>
                  <a:lnTo>
                    <a:pt x="21" y="29"/>
                  </a:lnTo>
                  <a:close/>
                </a:path>
              </a:pathLst>
            </a:custGeom>
            <a:solidFill>
              <a:schemeClr val="tx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custDataLst>
      <p:tags r:id="rId1"/>
    </p:custDataLst>
    <p:extLst>
      <p:ext uri="{BB962C8B-B14F-4D97-AF65-F5344CB8AC3E}">
        <p14:creationId xmlns:p14="http://schemas.microsoft.com/office/powerpoint/2010/main" val="3561166104"/>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0" name="Group 199"/>
          <p:cNvGrpSpPr/>
          <p:nvPr/>
        </p:nvGrpSpPr>
        <p:grpSpPr>
          <a:xfrm>
            <a:off x="8645305" y="1780937"/>
            <a:ext cx="3292651" cy="3164430"/>
            <a:chOff x="707933" y="349070"/>
            <a:chExt cx="3292651" cy="3164430"/>
          </a:xfrm>
        </p:grpSpPr>
        <p:sp>
          <p:nvSpPr>
            <p:cNvPr id="201" name="TextBox 200">
              <a:extLst>
                <a:ext uri="{FF2B5EF4-FFF2-40B4-BE49-F238E27FC236}">
                  <a16:creationId xmlns:a16="http://schemas.microsoft.com/office/drawing/2014/main" id="{708E2DF9-1913-6D49-8618-D3D92657C536}"/>
                </a:ext>
              </a:extLst>
            </p:cNvPr>
            <p:cNvSpPr txBox="1"/>
            <p:nvPr/>
          </p:nvSpPr>
          <p:spPr>
            <a:xfrm rot="18900000">
              <a:off x="707933" y="575048"/>
              <a:ext cx="2180585" cy="1728099"/>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02" name="TextBox 201">
              <a:extLst>
                <a:ext uri="{FF2B5EF4-FFF2-40B4-BE49-F238E27FC236}">
                  <a16:creationId xmlns:a16="http://schemas.microsoft.com/office/drawing/2014/main" id="{9B934D43-E30B-AB47-958C-3413ED9BC694}"/>
                </a:ext>
              </a:extLst>
            </p:cNvPr>
            <p:cNvSpPr txBox="1"/>
            <p:nvPr/>
          </p:nvSpPr>
          <p:spPr>
            <a:xfrm rot="2700000">
              <a:off x="707934" y="1559158"/>
              <a:ext cx="2180585" cy="1728100"/>
            </a:xfrm>
            <a:prstGeom prst="rect">
              <a:avLst/>
            </a:prstGeom>
            <a:noFill/>
            <a:ln>
              <a:noFill/>
            </a:ln>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03" name="TextBox 202">
              <a:extLst>
                <a:ext uri="{FF2B5EF4-FFF2-40B4-BE49-F238E27FC236}">
                  <a16:creationId xmlns:a16="http://schemas.microsoft.com/office/drawing/2014/main" id="{D58FA637-9867-1F46-90FB-18876E415FD5}"/>
                </a:ext>
              </a:extLst>
            </p:cNvPr>
            <p:cNvSpPr txBox="1"/>
            <p:nvPr/>
          </p:nvSpPr>
          <p:spPr>
            <a:xfrm rot="2705732">
              <a:off x="1820267" y="575313"/>
              <a:ext cx="2180585" cy="1728100"/>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04" name="TextBox 203">
              <a:extLst>
                <a:ext uri="{FF2B5EF4-FFF2-40B4-BE49-F238E27FC236}">
                  <a16:creationId xmlns:a16="http://schemas.microsoft.com/office/drawing/2014/main" id="{34EEE9ED-982D-E240-BF6D-1BE5B422A135}"/>
                </a:ext>
              </a:extLst>
            </p:cNvPr>
            <p:cNvSpPr txBox="1"/>
            <p:nvPr/>
          </p:nvSpPr>
          <p:spPr>
            <a:xfrm rot="18900000">
              <a:off x="1819999" y="1559159"/>
              <a:ext cx="2180585" cy="1728099"/>
            </a:xfrm>
            <a:prstGeom prst="rect">
              <a:avLst/>
            </a:prstGeom>
            <a:noFill/>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grpSp>
      <p:grpSp>
        <p:nvGrpSpPr>
          <p:cNvPr id="30" name="Group 29"/>
          <p:cNvGrpSpPr/>
          <p:nvPr/>
        </p:nvGrpSpPr>
        <p:grpSpPr>
          <a:xfrm>
            <a:off x="5064349" y="1901071"/>
            <a:ext cx="2912214" cy="2912214"/>
            <a:chOff x="-2596068" y="481846"/>
            <a:chExt cx="2912214" cy="2912214"/>
          </a:xfrm>
        </p:grpSpPr>
        <p:grpSp>
          <p:nvGrpSpPr>
            <p:cNvPr id="29" name="Group 28"/>
            <p:cNvGrpSpPr/>
            <p:nvPr/>
          </p:nvGrpSpPr>
          <p:grpSpPr>
            <a:xfrm>
              <a:off x="-2596068" y="481846"/>
              <a:ext cx="2912214" cy="2912214"/>
              <a:chOff x="-2596068" y="481846"/>
              <a:chExt cx="2912214" cy="2912214"/>
            </a:xfrm>
          </p:grpSpPr>
          <p:sp>
            <p:nvSpPr>
              <p:cNvPr id="17" name="Freeform 12"/>
              <p:cNvSpPr>
                <a:spLocks/>
              </p:cNvSpPr>
              <p:nvPr/>
            </p:nvSpPr>
            <p:spPr bwMode="auto">
              <a:xfrm>
                <a:off x="-1140580" y="1938572"/>
                <a:ext cx="1269839" cy="1268602"/>
              </a:xfrm>
              <a:custGeom>
                <a:avLst/>
                <a:gdLst>
                  <a:gd name="T0" fmla="*/ 1 w 1008"/>
                  <a:gd name="T1" fmla="*/ 859 h 1007"/>
                  <a:gd name="T2" fmla="*/ 0 w 1008"/>
                  <a:gd name="T3" fmla="*/ 859 h 1007"/>
                  <a:gd name="T4" fmla="*/ 0 w 1008"/>
                  <a:gd name="T5" fmla="*/ 1007 h 1007"/>
                  <a:gd name="T6" fmla="*/ 1 w 1008"/>
                  <a:gd name="T7" fmla="*/ 1007 h 1007"/>
                  <a:gd name="T8" fmla="*/ 1008 w 1008"/>
                  <a:gd name="T9" fmla="*/ 0 h 1007"/>
                  <a:gd name="T10" fmla="*/ 860 w 1008"/>
                  <a:gd name="T11" fmla="*/ 0 h 1007"/>
                  <a:gd name="T12" fmla="*/ 1 w 1008"/>
                  <a:gd name="T13" fmla="*/ 859 h 1007"/>
                </a:gdLst>
                <a:ahLst/>
                <a:cxnLst>
                  <a:cxn ang="0">
                    <a:pos x="T0" y="T1"/>
                  </a:cxn>
                  <a:cxn ang="0">
                    <a:pos x="T2" y="T3"/>
                  </a:cxn>
                  <a:cxn ang="0">
                    <a:pos x="T4" y="T5"/>
                  </a:cxn>
                  <a:cxn ang="0">
                    <a:pos x="T6" y="T7"/>
                  </a:cxn>
                  <a:cxn ang="0">
                    <a:pos x="T8" y="T9"/>
                  </a:cxn>
                  <a:cxn ang="0">
                    <a:pos x="T10" y="T11"/>
                  </a:cxn>
                  <a:cxn ang="0">
                    <a:pos x="T12" y="T13"/>
                  </a:cxn>
                </a:cxnLst>
                <a:rect l="0" t="0" r="r" b="b"/>
                <a:pathLst>
                  <a:path w="1008" h="1007">
                    <a:moveTo>
                      <a:pt x="1" y="859"/>
                    </a:moveTo>
                    <a:cubicBezTo>
                      <a:pt x="0" y="859"/>
                      <a:pt x="0" y="859"/>
                      <a:pt x="0" y="859"/>
                    </a:cubicBezTo>
                    <a:cubicBezTo>
                      <a:pt x="0" y="1007"/>
                      <a:pt x="0" y="1007"/>
                      <a:pt x="0" y="1007"/>
                    </a:cubicBezTo>
                    <a:cubicBezTo>
                      <a:pt x="0" y="1007"/>
                      <a:pt x="0" y="1007"/>
                      <a:pt x="1" y="1007"/>
                    </a:cubicBezTo>
                    <a:cubicBezTo>
                      <a:pt x="557" y="1007"/>
                      <a:pt x="1008" y="556"/>
                      <a:pt x="1008" y="0"/>
                    </a:cubicBezTo>
                    <a:cubicBezTo>
                      <a:pt x="860" y="0"/>
                      <a:pt x="860" y="0"/>
                      <a:pt x="860" y="0"/>
                    </a:cubicBezTo>
                    <a:cubicBezTo>
                      <a:pt x="860" y="474"/>
                      <a:pt x="475" y="859"/>
                      <a:pt x="1" y="859"/>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8" name="Freeform 13"/>
              <p:cNvSpPr>
                <a:spLocks/>
              </p:cNvSpPr>
              <p:nvPr/>
            </p:nvSpPr>
            <p:spPr bwMode="auto">
              <a:xfrm>
                <a:off x="-1140580" y="1938572"/>
                <a:ext cx="1456726" cy="1455488"/>
              </a:xfrm>
              <a:custGeom>
                <a:avLst/>
                <a:gdLst>
                  <a:gd name="T0" fmla="*/ 1 w 1156"/>
                  <a:gd name="T1" fmla="*/ 1007 h 1155"/>
                  <a:gd name="T2" fmla="*/ 0 w 1156"/>
                  <a:gd name="T3" fmla="*/ 1007 h 1155"/>
                  <a:gd name="T4" fmla="*/ 0 w 1156"/>
                  <a:gd name="T5" fmla="*/ 1155 h 1155"/>
                  <a:gd name="T6" fmla="*/ 1 w 1156"/>
                  <a:gd name="T7" fmla="*/ 1155 h 1155"/>
                  <a:gd name="T8" fmla="*/ 1156 w 1156"/>
                  <a:gd name="T9" fmla="*/ 0 h 1155"/>
                  <a:gd name="T10" fmla="*/ 1008 w 1156"/>
                  <a:gd name="T11" fmla="*/ 0 h 1155"/>
                  <a:gd name="T12" fmla="*/ 1 w 1156"/>
                  <a:gd name="T13" fmla="*/ 1007 h 1155"/>
                </a:gdLst>
                <a:ahLst/>
                <a:cxnLst>
                  <a:cxn ang="0">
                    <a:pos x="T0" y="T1"/>
                  </a:cxn>
                  <a:cxn ang="0">
                    <a:pos x="T2" y="T3"/>
                  </a:cxn>
                  <a:cxn ang="0">
                    <a:pos x="T4" y="T5"/>
                  </a:cxn>
                  <a:cxn ang="0">
                    <a:pos x="T6" y="T7"/>
                  </a:cxn>
                  <a:cxn ang="0">
                    <a:pos x="T8" y="T9"/>
                  </a:cxn>
                  <a:cxn ang="0">
                    <a:pos x="T10" y="T11"/>
                  </a:cxn>
                  <a:cxn ang="0">
                    <a:pos x="T12" y="T13"/>
                  </a:cxn>
                </a:cxnLst>
                <a:rect l="0" t="0" r="r" b="b"/>
                <a:pathLst>
                  <a:path w="1156" h="1155">
                    <a:moveTo>
                      <a:pt x="1" y="1007"/>
                    </a:moveTo>
                    <a:cubicBezTo>
                      <a:pt x="0" y="1007"/>
                      <a:pt x="0" y="1007"/>
                      <a:pt x="0" y="1007"/>
                    </a:cubicBezTo>
                    <a:cubicBezTo>
                      <a:pt x="0" y="1155"/>
                      <a:pt x="0" y="1155"/>
                      <a:pt x="0" y="1155"/>
                    </a:cubicBezTo>
                    <a:cubicBezTo>
                      <a:pt x="0" y="1155"/>
                      <a:pt x="0" y="1155"/>
                      <a:pt x="1" y="1155"/>
                    </a:cubicBezTo>
                    <a:cubicBezTo>
                      <a:pt x="639" y="1155"/>
                      <a:pt x="1156" y="638"/>
                      <a:pt x="1156" y="0"/>
                    </a:cubicBezTo>
                    <a:cubicBezTo>
                      <a:pt x="1008" y="0"/>
                      <a:pt x="1008" y="0"/>
                      <a:pt x="1008" y="0"/>
                    </a:cubicBezTo>
                    <a:cubicBezTo>
                      <a:pt x="1008" y="556"/>
                      <a:pt x="557" y="1007"/>
                      <a:pt x="1" y="1007"/>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 name="Freeform 14"/>
              <p:cNvSpPr>
                <a:spLocks/>
              </p:cNvSpPr>
              <p:nvPr/>
            </p:nvSpPr>
            <p:spPr bwMode="auto">
              <a:xfrm>
                <a:off x="-1140580" y="1938572"/>
                <a:ext cx="1084190" cy="1082953"/>
              </a:xfrm>
              <a:custGeom>
                <a:avLst/>
                <a:gdLst>
                  <a:gd name="T0" fmla="*/ 1 w 860"/>
                  <a:gd name="T1" fmla="*/ 711 h 859"/>
                  <a:gd name="T2" fmla="*/ 0 w 860"/>
                  <a:gd name="T3" fmla="*/ 711 h 859"/>
                  <a:gd name="T4" fmla="*/ 0 w 860"/>
                  <a:gd name="T5" fmla="*/ 859 h 859"/>
                  <a:gd name="T6" fmla="*/ 1 w 860"/>
                  <a:gd name="T7" fmla="*/ 859 h 859"/>
                  <a:gd name="T8" fmla="*/ 860 w 860"/>
                  <a:gd name="T9" fmla="*/ 0 h 859"/>
                  <a:gd name="T10" fmla="*/ 712 w 860"/>
                  <a:gd name="T11" fmla="*/ 0 h 859"/>
                  <a:gd name="T12" fmla="*/ 1 w 860"/>
                  <a:gd name="T13" fmla="*/ 711 h 859"/>
                </a:gdLst>
                <a:ahLst/>
                <a:cxnLst>
                  <a:cxn ang="0">
                    <a:pos x="T0" y="T1"/>
                  </a:cxn>
                  <a:cxn ang="0">
                    <a:pos x="T2" y="T3"/>
                  </a:cxn>
                  <a:cxn ang="0">
                    <a:pos x="T4" y="T5"/>
                  </a:cxn>
                  <a:cxn ang="0">
                    <a:pos x="T6" y="T7"/>
                  </a:cxn>
                  <a:cxn ang="0">
                    <a:pos x="T8" y="T9"/>
                  </a:cxn>
                  <a:cxn ang="0">
                    <a:pos x="T10" y="T11"/>
                  </a:cxn>
                  <a:cxn ang="0">
                    <a:pos x="T12" y="T13"/>
                  </a:cxn>
                </a:cxnLst>
                <a:rect l="0" t="0" r="r" b="b"/>
                <a:pathLst>
                  <a:path w="860" h="859">
                    <a:moveTo>
                      <a:pt x="1" y="711"/>
                    </a:moveTo>
                    <a:cubicBezTo>
                      <a:pt x="0" y="711"/>
                      <a:pt x="0" y="711"/>
                      <a:pt x="0" y="711"/>
                    </a:cubicBezTo>
                    <a:cubicBezTo>
                      <a:pt x="0" y="859"/>
                      <a:pt x="0" y="859"/>
                      <a:pt x="0" y="859"/>
                    </a:cubicBezTo>
                    <a:cubicBezTo>
                      <a:pt x="0" y="859"/>
                      <a:pt x="0" y="859"/>
                      <a:pt x="1" y="859"/>
                    </a:cubicBezTo>
                    <a:cubicBezTo>
                      <a:pt x="475" y="859"/>
                      <a:pt x="860" y="474"/>
                      <a:pt x="860" y="0"/>
                    </a:cubicBezTo>
                    <a:cubicBezTo>
                      <a:pt x="712" y="0"/>
                      <a:pt x="712" y="0"/>
                      <a:pt x="712" y="0"/>
                    </a:cubicBezTo>
                    <a:cubicBezTo>
                      <a:pt x="712" y="393"/>
                      <a:pt x="393" y="711"/>
                      <a:pt x="1" y="711"/>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0" name="Freeform 15"/>
              <p:cNvSpPr>
                <a:spLocks/>
              </p:cNvSpPr>
              <p:nvPr/>
            </p:nvSpPr>
            <p:spPr bwMode="auto">
              <a:xfrm>
                <a:off x="-1140580" y="668733"/>
                <a:ext cx="1269839" cy="1269839"/>
              </a:xfrm>
              <a:custGeom>
                <a:avLst/>
                <a:gdLst>
                  <a:gd name="T0" fmla="*/ 1 w 1008"/>
                  <a:gd name="T1" fmla="*/ 148 h 1008"/>
                  <a:gd name="T2" fmla="*/ 860 w 1008"/>
                  <a:gd name="T3" fmla="*/ 1007 h 1008"/>
                  <a:gd name="T4" fmla="*/ 860 w 1008"/>
                  <a:gd name="T5" fmla="*/ 1008 h 1008"/>
                  <a:gd name="T6" fmla="*/ 1008 w 1008"/>
                  <a:gd name="T7" fmla="*/ 1008 h 1008"/>
                  <a:gd name="T8" fmla="*/ 1008 w 1008"/>
                  <a:gd name="T9" fmla="*/ 1007 h 1008"/>
                  <a:gd name="T10" fmla="*/ 1 w 1008"/>
                  <a:gd name="T11" fmla="*/ 0 h 1008"/>
                  <a:gd name="T12" fmla="*/ 0 w 1008"/>
                  <a:gd name="T13" fmla="*/ 0 h 1008"/>
                  <a:gd name="T14" fmla="*/ 0 w 1008"/>
                  <a:gd name="T15" fmla="*/ 148 h 1008"/>
                  <a:gd name="T16" fmla="*/ 1 w 1008"/>
                  <a:gd name="T17" fmla="*/ 14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8" h="1008">
                    <a:moveTo>
                      <a:pt x="1" y="148"/>
                    </a:moveTo>
                    <a:cubicBezTo>
                      <a:pt x="475" y="148"/>
                      <a:pt x="860" y="533"/>
                      <a:pt x="860" y="1007"/>
                    </a:cubicBezTo>
                    <a:cubicBezTo>
                      <a:pt x="860" y="1008"/>
                      <a:pt x="860" y="1008"/>
                      <a:pt x="860" y="1008"/>
                    </a:cubicBezTo>
                    <a:cubicBezTo>
                      <a:pt x="1008" y="1008"/>
                      <a:pt x="1008" y="1008"/>
                      <a:pt x="1008" y="1008"/>
                    </a:cubicBezTo>
                    <a:cubicBezTo>
                      <a:pt x="1008" y="1008"/>
                      <a:pt x="1008" y="1008"/>
                      <a:pt x="1008" y="1007"/>
                    </a:cubicBezTo>
                    <a:cubicBezTo>
                      <a:pt x="1008" y="451"/>
                      <a:pt x="557" y="0"/>
                      <a:pt x="1" y="0"/>
                    </a:cubicBezTo>
                    <a:cubicBezTo>
                      <a:pt x="0" y="0"/>
                      <a:pt x="0" y="0"/>
                      <a:pt x="0" y="0"/>
                    </a:cubicBezTo>
                    <a:cubicBezTo>
                      <a:pt x="0" y="148"/>
                      <a:pt x="0" y="148"/>
                      <a:pt x="0" y="148"/>
                    </a:cubicBezTo>
                    <a:cubicBezTo>
                      <a:pt x="0" y="148"/>
                      <a:pt x="0" y="148"/>
                      <a:pt x="1" y="148"/>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1" name="Freeform 16"/>
              <p:cNvSpPr>
                <a:spLocks/>
              </p:cNvSpPr>
              <p:nvPr/>
            </p:nvSpPr>
            <p:spPr bwMode="auto">
              <a:xfrm>
                <a:off x="-1140580" y="481846"/>
                <a:ext cx="1456726" cy="1456726"/>
              </a:xfrm>
              <a:custGeom>
                <a:avLst/>
                <a:gdLst>
                  <a:gd name="T0" fmla="*/ 1 w 1156"/>
                  <a:gd name="T1" fmla="*/ 0 h 1156"/>
                  <a:gd name="T2" fmla="*/ 0 w 1156"/>
                  <a:gd name="T3" fmla="*/ 0 h 1156"/>
                  <a:gd name="T4" fmla="*/ 0 w 1156"/>
                  <a:gd name="T5" fmla="*/ 148 h 1156"/>
                  <a:gd name="T6" fmla="*/ 1 w 1156"/>
                  <a:gd name="T7" fmla="*/ 148 h 1156"/>
                  <a:gd name="T8" fmla="*/ 1008 w 1156"/>
                  <a:gd name="T9" fmla="*/ 1155 h 1156"/>
                  <a:gd name="T10" fmla="*/ 1008 w 1156"/>
                  <a:gd name="T11" fmla="*/ 1156 h 1156"/>
                  <a:gd name="T12" fmla="*/ 1156 w 1156"/>
                  <a:gd name="T13" fmla="*/ 1156 h 1156"/>
                  <a:gd name="T14" fmla="*/ 1156 w 1156"/>
                  <a:gd name="T15" fmla="*/ 1155 h 1156"/>
                  <a:gd name="T16" fmla="*/ 1 w 1156"/>
                  <a:gd name="T17" fmla="*/ 0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1156">
                    <a:moveTo>
                      <a:pt x="1" y="0"/>
                    </a:moveTo>
                    <a:cubicBezTo>
                      <a:pt x="0" y="0"/>
                      <a:pt x="0" y="0"/>
                      <a:pt x="0" y="0"/>
                    </a:cubicBezTo>
                    <a:cubicBezTo>
                      <a:pt x="0" y="148"/>
                      <a:pt x="0" y="148"/>
                      <a:pt x="0" y="148"/>
                    </a:cubicBezTo>
                    <a:cubicBezTo>
                      <a:pt x="0" y="148"/>
                      <a:pt x="0" y="148"/>
                      <a:pt x="1" y="148"/>
                    </a:cubicBezTo>
                    <a:cubicBezTo>
                      <a:pt x="557" y="148"/>
                      <a:pt x="1008" y="599"/>
                      <a:pt x="1008" y="1155"/>
                    </a:cubicBezTo>
                    <a:cubicBezTo>
                      <a:pt x="1008" y="1156"/>
                      <a:pt x="1008" y="1156"/>
                      <a:pt x="1008" y="1156"/>
                    </a:cubicBezTo>
                    <a:cubicBezTo>
                      <a:pt x="1156" y="1156"/>
                      <a:pt x="1156" y="1156"/>
                      <a:pt x="1156" y="1156"/>
                    </a:cubicBezTo>
                    <a:cubicBezTo>
                      <a:pt x="1156" y="1156"/>
                      <a:pt x="1156" y="1156"/>
                      <a:pt x="1156" y="1155"/>
                    </a:cubicBezTo>
                    <a:cubicBezTo>
                      <a:pt x="1156" y="517"/>
                      <a:pt x="639" y="0"/>
                      <a:pt x="1"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2" name="Freeform 17"/>
              <p:cNvSpPr>
                <a:spLocks/>
              </p:cNvSpPr>
              <p:nvPr/>
            </p:nvSpPr>
            <p:spPr bwMode="auto">
              <a:xfrm>
                <a:off x="-1140580" y="854382"/>
                <a:ext cx="1084190" cy="1084190"/>
              </a:xfrm>
              <a:custGeom>
                <a:avLst/>
                <a:gdLst>
                  <a:gd name="T0" fmla="*/ 1 w 860"/>
                  <a:gd name="T1" fmla="*/ 0 h 860"/>
                  <a:gd name="T2" fmla="*/ 0 w 860"/>
                  <a:gd name="T3" fmla="*/ 0 h 860"/>
                  <a:gd name="T4" fmla="*/ 0 w 860"/>
                  <a:gd name="T5" fmla="*/ 148 h 860"/>
                  <a:gd name="T6" fmla="*/ 1 w 860"/>
                  <a:gd name="T7" fmla="*/ 148 h 860"/>
                  <a:gd name="T8" fmla="*/ 712 w 860"/>
                  <a:gd name="T9" fmla="*/ 859 h 860"/>
                  <a:gd name="T10" fmla="*/ 712 w 860"/>
                  <a:gd name="T11" fmla="*/ 860 h 860"/>
                  <a:gd name="T12" fmla="*/ 860 w 860"/>
                  <a:gd name="T13" fmla="*/ 860 h 860"/>
                  <a:gd name="T14" fmla="*/ 860 w 860"/>
                  <a:gd name="T15" fmla="*/ 859 h 860"/>
                  <a:gd name="T16" fmla="*/ 1 w 860"/>
                  <a:gd name="T17"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0" h="860">
                    <a:moveTo>
                      <a:pt x="1" y="0"/>
                    </a:moveTo>
                    <a:cubicBezTo>
                      <a:pt x="0" y="0"/>
                      <a:pt x="0" y="0"/>
                      <a:pt x="0" y="0"/>
                    </a:cubicBezTo>
                    <a:cubicBezTo>
                      <a:pt x="0" y="148"/>
                      <a:pt x="0" y="148"/>
                      <a:pt x="0" y="148"/>
                    </a:cubicBezTo>
                    <a:cubicBezTo>
                      <a:pt x="0" y="148"/>
                      <a:pt x="0" y="148"/>
                      <a:pt x="1" y="148"/>
                    </a:cubicBezTo>
                    <a:cubicBezTo>
                      <a:pt x="394" y="148"/>
                      <a:pt x="712" y="467"/>
                      <a:pt x="712" y="859"/>
                    </a:cubicBezTo>
                    <a:cubicBezTo>
                      <a:pt x="712" y="860"/>
                      <a:pt x="712" y="860"/>
                      <a:pt x="712" y="860"/>
                    </a:cubicBezTo>
                    <a:cubicBezTo>
                      <a:pt x="860" y="860"/>
                      <a:pt x="860" y="860"/>
                      <a:pt x="860" y="860"/>
                    </a:cubicBezTo>
                    <a:cubicBezTo>
                      <a:pt x="860" y="860"/>
                      <a:pt x="860" y="860"/>
                      <a:pt x="860" y="859"/>
                    </a:cubicBezTo>
                    <a:cubicBezTo>
                      <a:pt x="860" y="385"/>
                      <a:pt x="475" y="0"/>
                      <a:pt x="1"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3" name="Freeform 18"/>
              <p:cNvSpPr>
                <a:spLocks/>
              </p:cNvSpPr>
              <p:nvPr/>
            </p:nvSpPr>
            <p:spPr bwMode="auto">
              <a:xfrm>
                <a:off x="-2409181" y="1938572"/>
                <a:ext cx="1268602" cy="1268602"/>
              </a:xfrm>
              <a:custGeom>
                <a:avLst/>
                <a:gdLst>
                  <a:gd name="T0" fmla="*/ 1007 w 1007"/>
                  <a:gd name="T1" fmla="*/ 1007 h 1007"/>
                  <a:gd name="T2" fmla="*/ 1007 w 1007"/>
                  <a:gd name="T3" fmla="*/ 859 h 1007"/>
                  <a:gd name="T4" fmla="*/ 148 w 1007"/>
                  <a:gd name="T5" fmla="*/ 0 h 1007"/>
                  <a:gd name="T6" fmla="*/ 0 w 1007"/>
                  <a:gd name="T7" fmla="*/ 0 h 1007"/>
                  <a:gd name="T8" fmla="*/ 1007 w 1007"/>
                  <a:gd name="T9" fmla="*/ 1007 h 1007"/>
                </a:gdLst>
                <a:ahLst/>
                <a:cxnLst>
                  <a:cxn ang="0">
                    <a:pos x="T0" y="T1"/>
                  </a:cxn>
                  <a:cxn ang="0">
                    <a:pos x="T2" y="T3"/>
                  </a:cxn>
                  <a:cxn ang="0">
                    <a:pos x="T4" y="T5"/>
                  </a:cxn>
                  <a:cxn ang="0">
                    <a:pos x="T6" y="T7"/>
                  </a:cxn>
                  <a:cxn ang="0">
                    <a:pos x="T8" y="T9"/>
                  </a:cxn>
                </a:cxnLst>
                <a:rect l="0" t="0" r="r" b="b"/>
                <a:pathLst>
                  <a:path w="1007" h="1007">
                    <a:moveTo>
                      <a:pt x="1007" y="1007"/>
                    </a:moveTo>
                    <a:cubicBezTo>
                      <a:pt x="1007" y="859"/>
                      <a:pt x="1007" y="859"/>
                      <a:pt x="1007" y="859"/>
                    </a:cubicBezTo>
                    <a:cubicBezTo>
                      <a:pt x="533" y="859"/>
                      <a:pt x="148" y="474"/>
                      <a:pt x="148" y="0"/>
                    </a:cubicBezTo>
                    <a:cubicBezTo>
                      <a:pt x="0" y="0"/>
                      <a:pt x="0" y="0"/>
                      <a:pt x="0" y="0"/>
                    </a:cubicBezTo>
                    <a:cubicBezTo>
                      <a:pt x="0" y="556"/>
                      <a:pt x="451" y="1007"/>
                      <a:pt x="1007" y="1007"/>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4" name="Freeform 19"/>
              <p:cNvSpPr>
                <a:spLocks/>
              </p:cNvSpPr>
              <p:nvPr/>
            </p:nvSpPr>
            <p:spPr bwMode="auto">
              <a:xfrm>
                <a:off x="-2596068" y="1938572"/>
                <a:ext cx="1455488" cy="1455488"/>
              </a:xfrm>
              <a:custGeom>
                <a:avLst/>
                <a:gdLst>
                  <a:gd name="T0" fmla="*/ 148 w 1155"/>
                  <a:gd name="T1" fmla="*/ 0 h 1155"/>
                  <a:gd name="T2" fmla="*/ 0 w 1155"/>
                  <a:gd name="T3" fmla="*/ 0 h 1155"/>
                  <a:gd name="T4" fmla="*/ 1155 w 1155"/>
                  <a:gd name="T5" fmla="*/ 1155 h 1155"/>
                  <a:gd name="T6" fmla="*/ 1155 w 1155"/>
                  <a:gd name="T7" fmla="*/ 1007 h 1155"/>
                  <a:gd name="T8" fmla="*/ 148 w 1155"/>
                  <a:gd name="T9" fmla="*/ 0 h 1155"/>
                </a:gdLst>
                <a:ahLst/>
                <a:cxnLst>
                  <a:cxn ang="0">
                    <a:pos x="T0" y="T1"/>
                  </a:cxn>
                  <a:cxn ang="0">
                    <a:pos x="T2" y="T3"/>
                  </a:cxn>
                  <a:cxn ang="0">
                    <a:pos x="T4" y="T5"/>
                  </a:cxn>
                  <a:cxn ang="0">
                    <a:pos x="T6" y="T7"/>
                  </a:cxn>
                  <a:cxn ang="0">
                    <a:pos x="T8" y="T9"/>
                  </a:cxn>
                </a:cxnLst>
                <a:rect l="0" t="0" r="r" b="b"/>
                <a:pathLst>
                  <a:path w="1155" h="1155">
                    <a:moveTo>
                      <a:pt x="148" y="0"/>
                    </a:moveTo>
                    <a:cubicBezTo>
                      <a:pt x="0" y="0"/>
                      <a:pt x="0" y="0"/>
                      <a:pt x="0" y="0"/>
                    </a:cubicBezTo>
                    <a:cubicBezTo>
                      <a:pt x="0" y="638"/>
                      <a:pt x="517" y="1155"/>
                      <a:pt x="1155" y="1155"/>
                    </a:cubicBezTo>
                    <a:cubicBezTo>
                      <a:pt x="1155" y="1007"/>
                      <a:pt x="1155" y="1007"/>
                      <a:pt x="1155" y="1007"/>
                    </a:cubicBezTo>
                    <a:cubicBezTo>
                      <a:pt x="599" y="1007"/>
                      <a:pt x="148" y="556"/>
                      <a:pt x="148"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5" name="Freeform 20"/>
              <p:cNvSpPr>
                <a:spLocks/>
              </p:cNvSpPr>
              <p:nvPr/>
            </p:nvSpPr>
            <p:spPr bwMode="auto">
              <a:xfrm>
                <a:off x="-2223532" y="1938572"/>
                <a:ext cx="1082953" cy="1082953"/>
              </a:xfrm>
              <a:custGeom>
                <a:avLst/>
                <a:gdLst>
                  <a:gd name="T0" fmla="*/ 148 w 859"/>
                  <a:gd name="T1" fmla="*/ 0 h 859"/>
                  <a:gd name="T2" fmla="*/ 0 w 859"/>
                  <a:gd name="T3" fmla="*/ 0 h 859"/>
                  <a:gd name="T4" fmla="*/ 859 w 859"/>
                  <a:gd name="T5" fmla="*/ 859 h 859"/>
                  <a:gd name="T6" fmla="*/ 859 w 859"/>
                  <a:gd name="T7" fmla="*/ 711 h 859"/>
                  <a:gd name="T8" fmla="*/ 148 w 859"/>
                  <a:gd name="T9" fmla="*/ 0 h 859"/>
                </a:gdLst>
                <a:ahLst/>
                <a:cxnLst>
                  <a:cxn ang="0">
                    <a:pos x="T0" y="T1"/>
                  </a:cxn>
                  <a:cxn ang="0">
                    <a:pos x="T2" y="T3"/>
                  </a:cxn>
                  <a:cxn ang="0">
                    <a:pos x="T4" y="T5"/>
                  </a:cxn>
                  <a:cxn ang="0">
                    <a:pos x="T6" y="T7"/>
                  </a:cxn>
                  <a:cxn ang="0">
                    <a:pos x="T8" y="T9"/>
                  </a:cxn>
                </a:cxnLst>
                <a:rect l="0" t="0" r="r" b="b"/>
                <a:pathLst>
                  <a:path w="859" h="859">
                    <a:moveTo>
                      <a:pt x="148" y="0"/>
                    </a:moveTo>
                    <a:cubicBezTo>
                      <a:pt x="0" y="0"/>
                      <a:pt x="0" y="0"/>
                      <a:pt x="0" y="0"/>
                    </a:cubicBezTo>
                    <a:cubicBezTo>
                      <a:pt x="1" y="474"/>
                      <a:pt x="385" y="859"/>
                      <a:pt x="859" y="859"/>
                    </a:cubicBezTo>
                    <a:cubicBezTo>
                      <a:pt x="859" y="711"/>
                      <a:pt x="859" y="711"/>
                      <a:pt x="859" y="711"/>
                    </a:cubicBezTo>
                    <a:cubicBezTo>
                      <a:pt x="467" y="711"/>
                      <a:pt x="149" y="392"/>
                      <a:pt x="148"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grpSp>
        <p:sp>
          <p:nvSpPr>
            <p:cNvPr id="26" name="Freeform 21"/>
            <p:cNvSpPr>
              <a:spLocks/>
            </p:cNvSpPr>
            <p:nvPr/>
          </p:nvSpPr>
          <p:spPr bwMode="auto">
            <a:xfrm>
              <a:off x="-2409181" y="668733"/>
              <a:ext cx="1268602" cy="1269839"/>
            </a:xfrm>
            <a:custGeom>
              <a:avLst/>
              <a:gdLst>
                <a:gd name="T0" fmla="*/ 148 w 1007"/>
                <a:gd name="T1" fmla="*/ 1007 h 1008"/>
                <a:gd name="T2" fmla="*/ 1007 w 1007"/>
                <a:gd name="T3" fmla="*/ 148 h 1008"/>
                <a:gd name="T4" fmla="*/ 1007 w 1007"/>
                <a:gd name="T5" fmla="*/ 0 h 1008"/>
                <a:gd name="T6" fmla="*/ 0 w 1007"/>
                <a:gd name="T7" fmla="*/ 1007 h 1008"/>
                <a:gd name="T8" fmla="*/ 0 w 1007"/>
                <a:gd name="T9" fmla="*/ 1008 h 1008"/>
                <a:gd name="T10" fmla="*/ 148 w 1007"/>
                <a:gd name="T11" fmla="*/ 1008 h 1008"/>
                <a:gd name="T12" fmla="*/ 148 w 1007"/>
                <a:gd name="T13" fmla="*/ 1007 h 1008"/>
              </a:gdLst>
              <a:ahLst/>
              <a:cxnLst>
                <a:cxn ang="0">
                  <a:pos x="T0" y="T1"/>
                </a:cxn>
                <a:cxn ang="0">
                  <a:pos x="T2" y="T3"/>
                </a:cxn>
                <a:cxn ang="0">
                  <a:pos x="T4" y="T5"/>
                </a:cxn>
                <a:cxn ang="0">
                  <a:pos x="T6" y="T7"/>
                </a:cxn>
                <a:cxn ang="0">
                  <a:pos x="T8" y="T9"/>
                </a:cxn>
                <a:cxn ang="0">
                  <a:pos x="T10" y="T11"/>
                </a:cxn>
                <a:cxn ang="0">
                  <a:pos x="T12" y="T13"/>
                </a:cxn>
              </a:cxnLst>
              <a:rect l="0" t="0" r="r" b="b"/>
              <a:pathLst>
                <a:path w="1007" h="1008">
                  <a:moveTo>
                    <a:pt x="148" y="1007"/>
                  </a:moveTo>
                  <a:cubicBezTo>
                    <a:pt x="148" y="533"/>
                    <a:pt x="533" y="148"/>
                    <a:pt x="1007" y="148"/>
                  </a:cubicBezTo>
                  <a:cubicBezTo>
                    <a:pt x="1007" y="0"/>
                    <a:pt x="1007" y="0"/>
                    <a:pt x="1007" y="0"/>
                  </a:cubicBezTo>
                  <a:cubicBezTo>
                    <a:pt x="451" y="0"/>
                    <a:pt x="0" y="451"/>
                    <a:pt x="0" y="1007"/>
                  </a:cubicBezTo>
                  <a:cubicBezTo>
                    <a:pt x="0" y="1008"/>
                    <a:pt x="0" y="1008"/>
                    <a:pt x="0" y="1008"/>
                  </a:cubicBezTo>
                  <a:cubicBezTo>
                    <a:pt x="148" y="1008"/>
                    <a:pt x="148" y="1008"/>
                    <a:pt x="148" y="1008"/>
                  </a:cubicBezTo>
                  <a:cubicBezTo>
                    <a:pt x="148" y="1008"/>
                    <a:pt x="148" y="1008"/>
                    <a:pt x="148" y="1007"/>
                  </a:cubicBezTo>
                  <a:close/>
                </a:path>
              </a:pathLst>
            </a:custGeom>
            <a:solidFill>
              <a:srgbClr val="009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27" name="Freeform 22"/>
            <p:cNvSpPr>
              <a:spLocks/>
            </p:cNvSpPr>
            <p:nvPr/>
          </p:nvSpPr>
          <p:spPr bwMode="auto">
            <a:xfrm>
              <a:off x="-2596068" y="481846"/>
              <a:ext cx="1455488" cy="1456726"/>
            </a:xfrm>
            <a:custGeom>
              <a:avLst/>
              <a:gdLst>
                <a:gd name="T0" fmla="*/ 0 w 1155"/>
                <a:gd name="T1" fmla="*/ 1155 h 1156"/>
                <a:gd name="T2" fmla="*/ 0 w 1155"/>
                <a:gd name="T3" fmla="*/ 1156 h 1156"/>
                <a:gd name="T4" fmla="*/ 148 w 1155"/>
                <a:gd name="T5" fmla="*/ 1156 h 1156"/>
                <a:gd name="T6" fmla="*/ 148 w 1155"/>
                <a:gd name="T7" fmla="*/ 1155 h 1156"/>
                <a:gd name="T8" fmla="*/ 1155 w 1155"/>
                <a:gd name="T9" fmla="*/ 148 h 1156"/>
                <a:gd name="T10" fmla="*/ 1155 w 1155"/>
                <a:gd name="T11" fmla="*/ 0 h 1156"/>
                <a:gd name="T12" fmla="*/ 0 w 1155"/>
                <a:gd name="T13" fmla="*/ 1155 h 1156"/>
              </a:gdLst>
              <a:ahLst/>
              <a:cxnLst>
                <a:cxn ang="0">
                  <a:pos x="T0" y="T1"/>
                </a:cxn>
                <a:cxn ang="0">
                  <a:pos x="T2" y="T3"/>
                </a:cxn>
                <a:cxn ang="0">
                  <a:pos x="T4" y="T5"/>
                </a:cxn>
                <a:cxn ang="0">
                  <a:pos x="T6" y="T7"/>
                </a:cxn>
                <a:cxn ang="0">
                  <a:pos x="T8" y="T9"/>
                </a:cxn>
                <a:cxn ang="0">
                  <a:pos x="T10" y="T11"/>
                </a:cxn>
                <a:cxn ang="0">
                  <a:pos x="T12" y="T13"/>
                </a:cxn>
              </a:cxnLst>
              <a:rect l="0" t="0" r="r" b="b"/>
              <a:pathLst>
                <a:path w="1155" h="1156">
                  <a:moveTo>
                    <a:pt x="0" y="1155"/>
                  </a:moveTo>
                  <a:cubicBezTo>
                    <a:pt x="0" y="1156"/>
                    <a:pt x="0" y="1156"/>
                    <a:pt x="0" y="1156"/>
                  </a:cubicBezTo>
                  <a:cubicBezTo>
                    <a:pt x="148" y="1156"/>
                    <a:pt x="148" y="1156"/>
                    <a:pt x="148" y="1156"/>
                  </a:cubicBezTo>
                  <a:cubicBezTo>
                    <a:pt x="148" y="1156"/>
                    <a:pt x="148" y="1156"/>
                    <a:pt x="148" y="1155"/>
                  </a:cubicBezTo>
                  <a:cubicBezTo>
                    <a:pt x="148" y="599"/>
                    <a:pt x="599" y="148"/>
                    <a:pt x="1155" y="148"/>
                  </a:cubicBezTo>
                  <a:cubicBezTo>
                    <a:pt x="1155" y="0"/>
                    <a:pt x="1155" y="0"/>
                    <a:pt x="1155" y="0"/>
                  </a:cubicBezTo>
                  <a:cubicBezTo>
                    <a:pt x="517" y="0"/>
                    <a:pt x="0" y="518"/>
                    <a:pt x="0" y="115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28" name="Freeform 23"/>
            <p:cNvSpPr>
              <a:spLocks/>
            </p:cNvSpPr>
            <p:nvPr/>
          </p:nvSpPr>
          <p:spPr bwMode="auto">
            <a:xfrm>
              <a:off x="-2223532" y="854382"/>
              <a:ext cx="1082953" cy="1084190"/>
            </a:xfrm>
            <a:custGeom>
              <a:avLst/>
              <a:gdLst>
                <a:gd name="T0" fmla="*/ 148 w 859"/>
                <a:gd name="T1" fmla="*/ 859 h 860"/>
                <a:gd name="T2" fmla="*/ 859 w 859"/>
                <a:gd name="T3" fmla="*/ 148 h 860"/>
                <a:gd name="T4" fmla="*/ 859 w 859"/>
                <a:gd name="T5" fmla="*/ 0 h 860"/>
                <a:gd name="T6" fmla="*/ 0 w 859"/>
                <a:gd name="T7" fmla="*/ 859 h 860"/>
                <a:gd name="T8" fmla="*/ 0 w 859"/>
                <a:gd name="T9" fmla="*/ 860 h 860"/>
                <a:gd name="T10" fmla="*/ 148 w 859"/>
                <a:gd name="T11" fmla="*/ 860 h 860"/>
                <a:gd name="T12" fmla="*/ 148 w 859"/>
                <a:gd name="T13" fmla="*/ 859 h 860"/>
              </a:gdLst>
              <a:ahLst/>
              <a:cxnLst>
                <a:cxn ang="0">
                  <a:pos x="T0" y="T1"/>
                </a:cxn>
                <a:cxn ang="0">
                  <a:pos x="T2" y="T3"/>
                </a:cxn>
                <a:cxn ang="0">
                  <a:pos x="T4" y="T5"/>
                </a:cxn>
                <a:cxn ang="0">
                  <a:pos x="T6" y="T7"/>
                </a:cxn>
                <a:cxn ang="0">
                  <a:pos x="T8" y="T9"/>
                </a:cxn>
                <a:cxn ang="0">
                  <a:pos x="T10" y="T11"/>
                </a:cxn>
                <a:cxn ang="0">
                  <a:pos x="T12" y="T13"/>
                </a:cxn>
              </a:cxnLst>
              <a:rect l="0" t="0" r="r" b="b"/>
              <a:pathLst>
                <a:path w="859" h="860">
                  <a:moveTo>
                    <a:pt x="148" y="859"/>
                  </a:moveTo>
                  <a:cubicBezTo>
                    <a:pt x="148" y="467"/>
                    <a:pt x="466" y="148"/>
                    <a:pt x="859" y="148"/>
                  </a:cubicBezTo>
                  <a:cubicBezTo>
                    <a:pt x="859" y="0"/>
                    <a:pt x="859" y="0"/>
                    <a:pt x="859" y="0"/>
                  </a:cubicBezTo>
                  <a:cubicBezTo>
                    <a:pt x="385" y="0"/>
                    <a:pt x="0" y="385"/>
                    <a:pt x="0" y="859"/>
                  </a:cubicBezTo>
                  <a:cubicBezTo>
                    <a:pt x="0" y="860"/>
                    <a:pt x="0" y="860"/>
                    <a:pt x="0" y="860"/>
                  </a:cubicBezTo>
                  <a:cubicBezTo>
                    <a:pt x="148" y="860"/>
                    <a:pt x="148" y="860"/>
                    <a:pt x="148" y="860"/>
                  </a:cubicBezTo>
                  <a:cubicBezTo>
                    <a:pt x="148" y="860"/>
                    <a:pt x="148" y="860"/>
                    <a:pt x="148" y="859"/>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grpSp>
      <p:grpSp>
        <p:nvGrpSpPr>
          <p:cNvPr id="12" name="Group 11"/>
          <p:cNvGrpSpPr/>
          <p:nvPr/>
        </p:nvGrpSpPr>
        <p:grpSpPr>
          <a:xfrm>
            <a:off x="4874131" y="1780937"/>
            <a:ext cx="3292651" cy="3164430"/>
            <a:chOff x="707933" y="349070"/>
            <a:chExt cx="3292651" cy="3164430"/>
          </a:xfrm>
        </p:grpSpPr>
        <p:sp>
          <p:nvSpPr>
            <p:cNvPr id="129" name="TextBox 128">
              <a:extLst>
                <a:ext uri="{FF2B5EF4-FFF2-40B4-BE49-F238E27FC236}">
                  <a16:creationId xmlns:a16="http://schemas.microsoft.com/office/drawing/2014/main" id="{708E2DF9-1913-6D49-8618-D3D92657C536}"/>
                </a:ext>
              </a:extLst>
            </p:cNvPr>
            <p:cNvSpPr txBox="1"/>
            <p:nvPr/>
          </p:nvSpPr>
          <p:spPr>
            <a:xfrm rot="18900000">
              <a:off x="707933" y="575048"/>
              <a:ext cx="2180585" cy="1728099"/>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131" name="TextBox 130">
              <a:extLst>
                <a:ext uri="{FF2B5EF4-FFF2-40B4-BE49-F238E27FC236}">
                  <a16:creationId xmlns:a16="http://schemas.microsoft.com/office/drawing/2014/main" id="{9B934D43-E30B-AB47-958C-3413ED9BC694}"/>
                </a:ext>
              </a:extLst>
            </p:cNvPr>
            <p:cNvSpPr txBox="1"/>
            <p:nvPr/>
          </p:nvSpPr>
          <p:spPr>
            <a:xfrm rot="2700000">
              <a:off x="707934" y="1559158"/>
              <a:ext cx="2180585" cy="1728100"/>
            </a:xfrm>
            <a:prstGeom prst="rect">
              <a:avLst/>
            </a:prstGeom>
            <a:noFill/>
            <a:ln>
              <a:noFill/>
            </a:ln>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128" name="TextBox 127">
              <a:extLst>
                <a:ext uri="{FF2B5EF4-FFF2-40B4-BE49-F238E27FC236}">
                  <a16:creationId xmlns:a16="http://schemas.microsoft.com/office/drawing/2014/main" id="{D58FA637-9867-1F46-90FB-18876E415FD5}"/>
                </a:ext>
              </a:extLst>
            </p:cNvPr>
            <p:cNvSpPr txBox="1"/>
            <p:nvPr/>
          </p:nvSpPr>
          <p:spPr>
            <a:xfrm rot="2705732">
              <a:off x="1820267" y="575313"/>
              <a:ext cx="2180585" cy="1728100"/>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132" name="TextBox 131">
              <a:extLst>
                <a:ext uri="{FF2B5EF4-FFF2-40B4-BE49-F238E27FC236}">
                  <a16:creationId xmlns:a16="http://schemas.microsoft.com/office/drawing/2014/main" id="{34EEE9ED-982D-E240-BF6D-1BE5B422A135}"/>
                </a:ext>
              </a:extLst>
            </p:cNvPr>
            <p:cNvSpPr txBox="1"/>
            <p:nvPr/>
          </p:nvSpPr>
          <p:spPr>
            <a:xfrm rot="18900000">
              <a:off x="1819999" y="1559159"/>
              <a:ext cx="2180585" cy="1728099"/>
            </a:xfrm>
            <a:prstGeom prst="rect">
              <a:avLst/>
            </a:prstGeom>
            <a:noFill/>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grpSp>
      <p:grpSp>
        <p:nvGrpSpPr>
          <p:cNvPr id="5" name="Group 4"/>
          <p:cNvGrpSpPr>
            <a:grpSpLocks noChangeAspect="1"/>
          </p:cNvGrpSpPr>
          <p:nvPr/>
        </p:nvGrpSpPr>
        <p:grpSpPr bwMode="auto">
          <a:xfrm>
            <a:off x="5448622" y="2278676"/>
            <a:ext cx="2143668" cy="2143668"/>
            <a:chOff x="3068" y="1388"/>
            <a:chExt cx="1544" cy="1544"/>
          </a:xfrm>
        </p:grpSpPr>
        <p:sp>
          <p:nvSpPr>
            <p:cNvPr id="7" name="Freeform 5"/>
            <p:cNvSpPr>
              <a:spLocks/>
            </p:cNvSpPr>
            <p:nvPr/>
          </p:nvSpPr>
          <p:spPr bwMode="auto">
            <a:xfrm>
              <a:off x="3835" y="2160"/>
              <a:ext cx="777" cy="772"/>
            </a:xfrm>
            <a:custGeom>
              <a:avLst/>
              <a:gdLst>
                <a:gd name="T0" fmla="*/ 0 w 777"/>
                <a:gd name="T1" fmla="*/ 222 h 772"/>
                <a:gd name="T2" fmla="*/ 5 w 777"/>
                <a:gd name="T3" fmla="*/ 219 h 772"/>
                <a:gd name="T4" fmla="*/ 777 w 777"/>
                <a:gd name="T5" fmla="*/ 772 h 772"/>
                <a:gd name="T6" fmla="*/ 224 w 777"/>
                <a:gd name="T7" fmla="*/ 0 h 772"/>
                <a:gd name="T8" fmla="*/ 0 w 777"/>
                <a:gd name="T9" fmla="*/ 0 h 772"/>
                <a:gd name="T10" fmla="*/ 0 w 777"/>
                <a:gd name="T11" fmla="*/ 222 h 772"/>
              </a:gdLst>
              <a:ahLst/>
              <a:cxnLst>
                <a:cxn ang="0">
                  <a:pos x="T0" y="T1"/>
                </a:cxn>
                <a:cxn ang="0">
                  <a:pos x="T2" y="T3"/>
                </a:cxn>
                <a:cxn ang="0">
                  <a:pos x="T4" y="T5"/>
                </a:cxn>
                <a:cxn ang="0">
                  <a:pos x="T6" y="T7"/>
                </a:cxn>
                <a:cxn ang="0">
                  <a:pos x="T8" y="T9"/>
                </a:cxn>
                <a:cxn ang="0">
                  <a:pos x="T10" y="T11"/>
                </a:cxn>
              </a:cxnLst>
              <a:rect l="0" t="0" r="r" b="b"/>
              <a:pathLst>
                <a:path w="777" h="772">
                  <a:moveTo>
                    <a:pt x="0" y="222"/>
                  </a:moveTo>
                  <a:lnTo>
                    <a:pt x="5" y="219"/>
                  </a:lnTo>
                  <a:lnTo>
                    <a:pt x="777" y="772"/>
                  </a:lnTo>
                  <a:lnTo>
                    <a:pt x="224" y="0"/>
                  </a:lnTo>
                  <a:lnTo>
                    <a:pt x="0" y="0"/>
                  </a:lnTo>
                  <a:lnTo>
                    <a:pt x="0" y="222"/>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8" name="Freeform 6"/>
            <p:cNvSpPr>
              <a:spLocks/>
            </p:cNvSpPr>
            <p:nvPr/>
          </p:nvSpPr>
          <p:spPr bwMode="auto">
            <a:xfrm>
              <a:off x="3835" y="1388"/>
              <a:ext cx="777" cy="772"/>
            </a:xfrm>
            <a:custGeom>
              <a:avLst/>
              <a:gdLst>
                <a:gd name="T0" fmla="*/ 5 w 777"/>
                <a:gd name="T1" fmla="*/ 553 h 772"/>
                <a:gd name="T2" fmla="*/ 0 w 777"/>
                <a:gd name="T3" fmla="*/ 550 h 772"/>
                <a:gd name="T4" fmla="*/ 0 w 777"/>
                <a:gd name="T5" fmla="*/ 772 h 772"/>
                <a:gd name="T6" fmla="*/ 224 w 777"/>
                <a:gd name="T7" fmla="*/ 772 h 772"/>
                <a:gd name="T8" fmla="*/ 777 w 777"/>
                <a:gd name="T9" fmla="*/ 0 h 772"/>
                <a:gd name="T10" fmla="*/ 5 w 777"/>
                <a:gd name="T11" fmla="*/ 553 h 772"/>
              </a:gdLst>
              <a:ahLst/>
              <a:cxnLst>
                <a:cxn ang="0">
                  <a:pos x="T0" y="T1"/>
                </a:cxn>
                <a:cxn ang="0">
                  <a:pos x="T2" y="T3"/>
                </a:cxn>
                <a:cxn ang="0">
                  <a:pos x="T4" y="T5"/>
                </a:cxn>
                <a:cxn ang="0">
                  <a:pos x="T6" y="T7"/>
                </a:cxn>
                <a:cxn ang="0">
                  <a:pos x="T8" y="T9"/>
                </a:cxn>
                <a:cxn ang="0">
                  <a:pos x="T10" y="T11"/>
                </a:cxn>
              </a:cxnLst>
              <a:rect l="0" t="0" r="r" b="b"/>
              <a:pathLst>
                <a:path w="777" h="772">
                  <a:moveTo>
                    <a:pt x="5" y="553"/>
                  </a:moveTo>
                  <a:lnTo>
                    <a:pt x="0" y="550"/>
                  </a:lnTo>
                  <a:lnTo>
                    <a:pt x="0" y="772"/>
                  </a:lnTo>
                  <a:lnTo>
                    <a:pt x="224" y="772"/>
                  </a:lnTo>
                  <a:lnTo>
                    <a:pt x="777" y="0"/>
                  </a:lnTo>
                  <a:lnTo>
                    <a:pt x="5" y="553"/>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9" name="Freeform 7"/>
            <p:cNvSpPr>
              <a:spLocks/>
            </p:cNvSpPr>
            <p:nvPr/>
          </p:nvSpPr>
          <p:spPr bwMode="auto">
            <a:xfrm>
              <a:off x="3068" y="2160"/>
              <a:ext cx="767" cy="772"/>
            </a:xfrm>
            <a:custGeom>
              <a:avLst/>
              <a:gdLst>
                <a:gd name="T0" fmla="*/ 553 w 767"/>
                <a:gd name="T1" fmla="*/ 0 h 772"/>
                <a:gd name="T2" fmla="*/ 0 w 767"/>
                <a:gd name="T3" fmla="*/ 772 h 772"/>
                <a:gd name="T4" fmla="*/ 767 w 767"/>
                <a:gd name="T5" fmla="*/ 222 h 772"/>
                <a:gd name="T6" fmla="*/ 767 w 767"/>
                <a:gd name="T7" fmla="*/ 0 h 772"/>
                <a:gd name="T8" fmla="*/ 553 w 767"/>
                <a:gd name="T9" fmla="*/ 0 h 772"/>
              </a:gdLst>
              <a:ahLst/>
              <a:cxnLst>
                <a:cxn ang="0">
                  <a:pos x="T0" y="T1"/>
                </a:cxn>
                <a:cxn ang="0">
                  <a:pos x="T2" y="T3"/>
                </a:cxn>
                <a:cxn ang="0">
                  <a:pos x="T4" y="T5"/>
                </a:cxn>
                <a:cxn ang="0">
                  <a:pos x="T6" y="T7"/>
                </a:cxn>
                <a:cxn ang="0">
                  <a:pos x="T8" y="T9"/>
                </a:cxn>
              </a:cxnLst>
              <a:rect l="0" t="0" r="r" b="b"/>
              <a:pathLst>
                <a:path w="767" h="772">
                  <a:moveTo>
                    <a:pt x="553" y="0"/>
                  </a:moveTo>
                  <a:lnTo>
                    <a:pt x="0" y="772"/>
                  </a:lnTo>
                  <a:lnTo>
                    <a:pt x="767" y="222"/>
                  </a:lnTo>
                  <a:lnTo>
                    <a:pt x="767" y="0"/>
                  </a:lnTo>
                  <a:lnTo>
                    <a:pt x="553" y="0"/>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0" name="Freeform 8"/>
            <p:cNvSpPr>
              <a:spLocks/>
            </p:cNvSpPr>
            <p:nvPr/>
          </p:nvSpPr>
          <p:spPr bwMode="auto">
            <a:xfrm>
              <a:off x="3068" y="1388"/>
              <a:ext cx="767" cy="772"/>
            </a:xfrm>
            <a:custGeom>
              <a:avLst/>
              <a:gdLst>
                <a:gd name="T0" fmla="*/ 553 w 767"/>
                <a:gd name="T1" fmla="*/ 772 h 772"/>
                <a:gd name="T2" fmla="*/ 767 w 767"/>
                <a:gd name="T3" fmla="*/ 772 h 772"/>
                <a:gd name="T4" fmla="*/ 767 w 767"/>
                <a:gd name="T5" fmla="*/ 550 h 772"/>
                <a:gd name="T6" fmla="*/ 0 w 767"/>
                <a:gd name="T7" fmla="*/ 0 h 772"/>
                <a:gd name="T8" fmla="*/ 553 w 767"/>
                <a:gd name="T9" fmla="*/ 772 h 772"/>
              </a:gdLst>
              <a:ahLst/>
              <a:cxnLst>
                <a:cxn ang="0">
                  <a:pos x="T0" y="T1"/>
                </a:cxn>
                <a:cxn ang="0">
                  <a:pos x="T2" y="T3"/>
                </a:cxn>
                <a:cxn ang="0">
                  <a:pos x="T4" y="T5"/>
                </a:cxn>
                <a:cxn ang="0">
                  <a:pos x="T6" y="T7"/>
                </a:cxn>
                <a:cxn ang="0">
                  <a:pos x="T8" y="T9"/>
                </a:cxn>
              </a:cxnLst>
              <a:rect l="0" t="0" r="r" b="b"/>
              <a:pathLst>
                <a:path w="767" h="772">
                  <a:moveTo>
                    <a:pt x="553" y="772"/>
                  </a:moveTo>
                  <a:lnTo>
                    <a:pt x="767" y="772"/>
                  </a:lnTo>
                  <a:lnTo>
                    <a:pt x="767" y="550"/>
                  </a:lnTo>
                  <a:lnTo>
                    <a:pt x="0" y="0"/>
                  </a:lnTo>
                  <a:lnTo>
                    <a:pt x="553" y="772"/>
                  </a:lnTo>
                  <a:close/>
                </a:path>
              </a:pathLst>
            </a:custGeom>
            <a:solidFill>
              <a:srgbClr val="86BC25"/>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grpSp>
      <p:grpSp>
        <p:nvGrpSpPr>
          <p:cNvPr id="13" name="Group 12"/>
          <p:cNvGrpSpPr/>
          <p:nvPr/>
        </p:nvGrpSpPr>
        <p:grpSpPr>
          <a:xfrm>
            <a:off x="5659739" y="2790956"/>
            <a:ext cx="1721434" cy="1409116"/>
            <a:chOff x="1513203" y="1371731"/>
            <a:chExt cx="1721434" cy="1409116"/>
          </a:xfrm>
        </p:grpSpPr>
        <p:sp>
          <p:nvSpPr>
            <p:cNvPr id="138" name="TextBox 137">
              <a:extLst>
                <a:ext uri="{FF2B5EF4-FFF2-40B4-BE49-F238E27FC236}">
                  <a16:creationId xmlns:a16="http://schemas.microsoft.com/office/drawing/2014/main" id="{CD88DBE1-2776-5847-8E93-EBFA81FB2635}"/>
                </a:ext>
              </a:extLst>
            </p:cNvPr>
            <p:cNvSpPr txBox="1"/>
            <p:nvPr/>
          </p:nvSpPr>
          <p:spPr>
            <a:xfrm rot="18827092">
              <a:off x="1521447" y="2308282"/>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sp>
          <p:nvSpPr>
            <p:cNvPr id="139" name="TextBox 138">
              <a:extLst>
                <a:ext uri="{FF2B5EF4-FFF2-40B4-BE49-F238E27FC236}">
                  <a16:creationId xmlns:a16="http://schemas.microsoft.com/office/drawing/2014/main" id="{8EC14735-4297-324E-BBEE-5A9BDAFF3FC5}"/>
                </a:ext>
              </a:extLst>
            </p:cNvPr>
            <p:cNvSpPr txBox="1"/>
            <p:nvPr/>
          </p:nvSpPr>
          <p:spPr>
            <a:xfrm rot="2561759">
              <a:off x="2458784" y="2321647"/>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sp>
          <p:nvSpPr>
            <p:cNvPr id="136" name="TextBox 135">
              <a:extLst>
                <a:ext uri="{FF2B5EF4-FFF2-40B4-BE49-F238E27FC236}">
                  <a16:creationId xmlns:a16="http://schemas.microsoft.com/office/drawing/2014/main" id="{F95C4E26-DF15-CA47-B22E-5433710A44F1}"/>
                </a:ext>
              </a:extLst>
            </p:cNvPr>
            <p:cNvSpPr txBox="1"/>
            <p:nvPr/>
          </p:nvSpPr>
          <p:spPr>
            <a:xfrm rot="18970677">
              <a:off x="2454771" y="1371731"/>
              <a:ext cx="775854" cy="169277"/>
            </a:xfrm>
            <a:prstGeom prst="rect">
              <a:avLst/>
            </a:prstGeom>
            <a:noFill/>
          </p:spPr>
          <p:txBody>
            <a:bodyPr wrap="none" lIns="0" tIns="0" rIns="0" bIns="0" rtlCol="0">
              <a:spAutoFit/>
            </a:bodyPr>
            <a:lstStyle/>
            <a:p>
              <a:pPr algn="ctr"/>
              <a:r>
                <a:rPr lang="en-US" sz="1100" dirty="0">
                  <a:latin typeface="+mj-lt"/>
                </a:rPr>
                <a:t>Lorem ipsum </a:t>
              </a:r>
              <a:endParaRPr lang="en-GB" sz="1100" dirty="0">
                <a:latin typeface="+mj-lt"/>
              </a:endParaRPr>
            </a:p>
          </p:txBody>
        </p:sp>
        <p:sp>
          <p:nvSpPr>
            <p:cNvPr id="137" name="TextBox 136">
              <a:extLst>
                <a:ext uri="{FF2B5EF4-FFF2-40B4-BE49-F238E27FC236}">
                  <a16:creationId xmlns:a16="http://schemas.microsoft.com/office/drawing/2014/main" id="{1A227FF2-FC4E-E74F-98F9-64B71B06D389}"/>
                </a:ext>
              </a:extLst>
            </p:cNvPr>
            <p:cNvSpPr txBox="1"/>
            <p:nvPr/>
          </p:nvSpPr>
          <p:spPr>
            <a:xfrm rot="2641171">
              <a:off x="1513203" y="1372491"/>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grpSp>
      <p:grpSp>
        <p:nvGrpSpPr>
          <p:cNvPr id="186" name="Group 185"/>
          <p:cNvGrpSpPr/>
          <p:nvPr/>
        </p:nvGrpSpPr>
        <p:grpSpPr>
          <a:xfrm rot="5400000">
            <a:off x="8835523" y="1901071"/>
            <a:ext cx="2912214" cy="2912214"/>
            <a:chOff x="-2596068" y="481846"/>
            <a:chExt cx="2912214" cy="2912214"/>
          </a:xfrm>
        </p:grpSpPr>
        <p:grpSp>
          <p:nvGrpSpPr>
            <p:cNvPr id="187" name="Group 186"/>
            <p:cNvGrpSpPr/>
            <p:nvPr/>
          </p:nvGrpSpPr>
          <p:grpSpPr>
            <a:xfrm>
              <a:off x="-2596068" y="481846"/>
              <a:ext cx="2912214" cy="2912214"/>
              <a:chOff x="-2596068" y="481846"/>
              <a:chExt cx="2912214" cy="2912214"/>
            </a:xfrm>
          </p:grpSpPr>
          <p:sp>
            <p:nvSpPr>
              <p:cNvPr id="191" name="Freeform 12"/>
              <p:cNvSpPr>
                <a:spLocks/>
              </p:cNvSpPr>
              <p:nvPr/>
            </p:nvSpPr>
            <p:spPr bwMode="auto">
              <a:xfrm>
                <a:off x="-1140580" y="1938572"/>
                <a:ext cx="1269839" cy="1268602"/>
              </a:xfrm>
              <a:custGeom>
                <a:avLst/>
                <a:gdLst>
                  <a:gd name="T0" fmla="*/ 1 w 1008"/>
                  <a:gd name="T1" fmla="*/ 859 h 1007"/>
                  <a:gd name="T2" fmla="*/ 0 w 1008"/>
                  <a:gd name="T3" fmla="*/ 859 h 1007"/>
                  <a:gd name="T4" fmla="*/ 0 w 1008"/>
                  <a:gd name="T5" fmla="*/ 1007 h 1007"/>
                  <a:gd name="T6" fmla="*/ 1 w 1008"/>
                  <a:gd name="T7" fmla="*/ 1007 h 1007"/>
                  <a:gd name="T8" fmla="*/ 1008 w 1008"/>
                  <a:gd name="T9" fmla="*/ 0 h 1007"/>
                  <a:gd name="T10" fmla="*/ 860 w 1008"/>
                  <a:gd name="T11" fmla="*/ 0 h 1007"/>
                  <a:gd name="T12" fmla="*/ 1 w 1008"/>
                  <a:gd name="T13" fmla="*/ 859 h 1007"/>
                </a:gdLst>
                <a:ahLst/>
                <a:cxnLst>
                  <a:cxn ang="0">
                    <a:pos x="T0" y="T1"/>
                  </a:cxn>
                  <a:cxn ang="0">
                    <a:pos x="T2" y="T3"/>
                  </a:cxn>
                  <a:cxn ang="0">
                    <a:pos x="T4" y="T5"/>
                  </a:cxn>
                  <a:cxn ang="0">
                    <a:pos x="T6" y="T7"/>
                  </a:cxn>
                  <a:cxn ang="0">
                    <a:pos x="T8" y="T9"/>
                  </a:cxn>
                  <a:cxn ang="0">
                    <a:pos x="T10" y="T11"/>
                  </a:cxn>
                  <a:cxn ang="0">
                    <a:pos x="T12" y="T13"/>
                  </a:cxn>
                </a:cxnLst>
                <a:rect l="0" t="0" r="r" b="b"/>
                <a:pathLst>
                  <a:path w="1008" h="1007">
                    <a:moveTo>
                      <a:pt x="1" y="859"/>
                    </a:moveTo>
                    <a:cubicBezTo>
                      <a:pt x="0" y="859"/>
                      <a:pt x="0" y="859"/>
                      <a:pt x="0" y="859"/>
                    </a:cubicBezTo>
                    <a:cubicBezTo>
                      <a:pt x="0" y="1007"/>
                      <a:pt x="0" y="1007"/>
                      <a:pt x="0" y="1007"/>
                    </a:cubicBezTo>
                    <a:cubicBezTo>
                      <a:pt x="0" y="1007"/>
                      <a:pt x="0" y="1007"/>
                      <a:pt x="1" y="1007"/>
                    </a:cubicBezTo>
                    <a:cubicBezTo>
                      <a:pt x="557" y="1007"/>
                      <a:pt x="1008" y="556"/>
                      <a:pt x="1008" y="0"/>
                    </a:cubicBezTo>
                    <a:cubicBezTo>
                      <a:pt x="860" y="0"/>
                      <a:pt x="860" y="0"/>
                      <a:pt x="860" y="0"/>
                    </a:cubicBezTo>
                    <a:cubicBezTo>
                      <a:pt x="860" y="474"/>
                      <a:pt x="475" y="859"/>
                      <a:pt x="1" y="859"/>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2" name="Freeform 13"/>
              <p:cNvSpPr>
                <a:spLocks/>
              </p:cNvSpPr>
              <p:nvPr/>
            </p:nvSpPr>
            <p:spPr bwMode="auto">
              <a:xfrm>
                <a:off x="-1140580" y="1938572"/>
                <a:ext cx="1456726" cy="1455488"/>
              </a:xfrm>
              <a:custGeom>
                <a:avLst/>
                <a:gdLst>
                  <a:gd name="T0" fmla="*/ 1 w 1156"/>
                  <a:gd name="T1" fmla="*/ 1007 h 1155"/>
                  <a:gd name="T2" fmla="*/ 0 w 1156"/>
                  <a:gd name="T3" fmla="*/ 1007 h 1155"/>
                  <a:gd name="T4" fmla="*/ 0 w 1156"/>
                  <a:gd name="T5" fmla="*/ 1155 h 1155"/>
                  <a:gd name="T6" fmla="*/ 1 w 1156"/>
                  <a:gd name="T7" fmla="*/ 1155 h 1155"/>
                  <a:gd name="T8" fmla="*/ 1156 w 1156"/>
                  <a:gd name="T9" fmla="*/ 0 h 1155"/>
                  <a:gd name="T10" fmla="*/ 1008 w 1156"/>
                  <a:gd name="T11" fmla="*/ 0 h 1155"/>
                  <a:gd name="T12" fmla="*/ 1 w 1156"/>
                  <a:gd name="T13" fmla="*/ 1007 h 1155"/>
                </a:gdLst>
                <a:ahLst/>
                <a:cxnLst>
                  <a:cxn ang="0">
                    <a:pos x="T0" y="T1"/>
                  </a:cxn>
                  <a:cxn ang="0">
                    <a:pos x="T2" y="T3"/>
                  </a:cxn>
                  <a:cxn ang="0">
                    <a:pos x="T4" y="T5"/>
                  </a:cxn>
                  <a:cxn ang="0">
                    <a:pos x="T6" y="T7"/>
                  </a:cxn>
                  <a:cxn ang="0">
                    <a:pos x="T8" y="T9"/>
                  </a:cxn>
                  <a:cxn ang="0">
                    <a:pos x="T10" y="T11"/>
                  </a:cxn>
                  <a:cxn ang="0">
                    <a:pos x="T12" y="T13"/>
                  </a:cxn>
                </a:cxnLst>
                <a:rect l="0" t="0" r="r" b="b"/>
                <a:pathLst>
                  <a:path w="1156" h="1155">
                    <a:moveTo>
                      <a:pt x="1" y="1007"/>
                    </a:moveTo>
                    <a:cubicBezTo>
                      <a:pt x="0" y="1007"/>
                      <a:pt x="0" y="1007"/>
                      <a:pt x="0" y="1007"/>
                    </a:cubicBezTo>
                    <a:cubicBezTo>
                      <a:pt x="0" y="1155"/>
                      <a:pt x="0" y="1155"/>
                      <a:pt x="0" y="1155"/>
                    </a:cubicBezTo>
                    <a:cubicBezTo>
                      <a:pt x="0" y="1155"/>
                      <a:pt x="0" y="1155"/>
                      <a:pt x="1" y="1155"/>
                    </a:cubicBezTo>
                    <a:cubicBezTo>
                      <a:pt x="639" y="1155"/>
                      <a:pt x="1156" y="638"/>
                      <a:pt x="1156" y="0"/>
                    </a:cubicBezTo>
                    <a:cubicBezTo>
                      <a:pt x="1008" y="0"/>
                      <a:pt x="1008" y="0"/>
                      <a:pt x="1008" y="0"/>
                    </a:cubicBezTo>
                    <a:cubicBezTo>
                      <a:pt x="1008" y="556"/>
                      <a:pt x="557" y="1007"/>
                      <a:pt x="1" y="1007"/>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3" name="Freeform 14"/>
              <p:cNvSpPr>
                <a:spLocks/>
              </p:cNvSpPr>
              <p:nvPr/>
            </p:nvSpPr>
            <p:spPr bwMode="auto">
              <a:xfrm>
                <a:off x="-1140580" y="1938572"/>
                <a:ext cx="1084190" cy="1082953"/>
              </a:xfrm>
              <a:custGeom>
                <a:avLst/>
                <a:gdLst>
                  <a:gd name="T0" fmla="*/ 1 w 860"/>
                  <a:gd name="T1" fmla="*/ 711 h 859"/>
                  <a:gd name="T2" fmla="*/ 0 w 860"/>
                  <a:gd name="T3" fmla="*/ 711 h 859"/>
                  <a:gd name="T4" fmla="*/ 0 w 860"/>
                  <a:gd name="T5" fmla="*/ 859 h 859"/>
                  <a:gd name="T6" fmla="*/ 1 w 860"/>
                  <a:gd name="T7" fmla="*/ 859 h 859"/>
                  <a:gd name="T8" fmla="*/ 860 w 860"/>
                  <a:gd name="T9" fmla="*/ 0 h 859"/>
                  <a:gd name="T10" fmla="*/ 712 w 860"/>
                  <a:gd name="T11" fmla="*/ 0 h 859"/>
                  <a:gd name="T12" fmla="*/ 1 w 860"/>
                  <a:gd name="T13" fmla="*/ 711 h 859"/>
                </a:gdLst>
                <a:ahLst/>
                <a:cxnLst>
                  <a:cxn ang="0">
                    <a:pos x="T0" y="T1"/>
                  </a:cxn>
                  <a:cxn ang="0">
                    <a:pos x="T2" y="T3"/>
                  </a:cxn>
                  <a:cxn ang="0">
                    <a:pos x="T4" y="T5"/>
                  </a:cxn>
                  <a:cxn ang="0">
                    <a:pos x="T6" y="T7"/>
                  </a:cxn>
                  <a:cxn ang="0">
                    <a:pos x="T8" y="T9"/>
                  </a:cxn>
                  <a:cxn ang="0">
                    <a:pos x="T10" y="T11"/>
                  </a:cxn>
                  <a:cxn ang="0">
                    <a:pos x="T12" y="T13"/>
                  </a:cxn>
                </a:cxnLst>
                <a:rect l="0" t="0" r="r" b="b"/>
                <a:pathLst>
                  <a:path w="860" h="859">
                    <a:moveTo>
                      <a:pt x="1" y="711"/>
                    </a:moveTo>
                    <a:cubicBezTo>
                      <a:pt x="0" y="711"/>
                      <a:pt x="0" y="711"/>
                      <a:pt x="0" y="711"/>
                    </a:cubicBezTo>
                    <a:cubicBezTo>
                      <a:pt x="0" y="859"/>
                      <a:pt x="0" y="859"/>
                      <a:pt x="0" y="859"/>
                    </a:cubicBezTo>
                    <a:cubicBezTo>
                      <a:pt x="0" y="859"/>
                      <a:pt x="0" y="859"/>
                      <a:pt x="1" y="859"/>
                    </a:cubicBezTo>
                    <a:cubicBezTo>
                      <a:pt x="475" y="859"/>
                      <a:pt x="860" y="474"/>
                      <a:pt x="860" y="0"/>
                    </a:cubicBezTo>
                    <a:cubicBezTo>
                      <a:pt x="712" y="0"/>
                      <a:pt x="712" y="0"/>
                      <a:pt x="712" y="0"/>
                    </a:cubicBezTo>
                    <a:cubicBezTo>
                      <a:pt x="712" y="393"/>
                      <a:pt x="393" y="711"/>
                      <a:pt x="1" y="711"/>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4" name="Freeform 15"/>
              <p:cNvSpPr>
                <a:spLocks/>
              </p:cNvSpPr>
              <p:nvPr/>
            </p:nvSpPr>
            <p:spPr bwMode="auto">
              <a:xfrm>
                <a:off x="-1140580" y="668733"/>
                <a:ext cx="1269839" cy="1269839"/>
              </a:xfrm>
              <a:custGeom>
                <a:avLst/>
                <a:gdLst>
                  <a:gd name="T0" fmla="*/ 1 w 1008"/>
                  <a:gd name="T1" fmla="*/ 148 h 1008"/>
                  <a:gd name="T2" fmla="*/ 860 w 1008"/>
                  <a:gd name="T3" fmla="*/ 1007 h 1008"/>
                  <a:gd name="T4" fmla="*/ 860 w 1008"/>
                  <a:gd name="T5" fmla="*/ 1008 h 1008"/>
                  <a:gd name="T6" fmla="*/ 1008 w 1008"/>
                  <a:gd name="T7" fmla="*/ 1008 h 1008"/>
                  <a:gd name="T8" fmla="*/ 1008 w 1008"/>
                  <a:gd name="T9" fmla="*/ 1007 h 1008"/>
                  <a:gd name="T10" fmla="*/ 1 w 1008"/>
                  <a:gd name="T11" fmla="*/ 0 h 1008"/>
                  <a:gd name="T12" fmla="*/ 0 w 1008"/>
                  <a:gd name="T13" fmla="*/ 0 h 1008"/>
                  <a:gd name="T14" fmla="*/ 0 w 1008"/>
                  <a:gd name="T15" fmla="*/ 148 h 1008"/>
                  <a:gd name="T16" fmla="*/ 1 w 1008"/>
                  <a:gd name="T17" fmla="*/ 14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8" h="1008">
                    <a:moveTo>
                      <a:pt x="1" y="148"/>
                    </a:moveTo>
                    <a:cubicBezTo>
                      <a:pt x="475" y="148"/>
                      <a:pt x="860" y="533"/>
                      <a:pt x="860" y="1007"/>
                    </a:cubicBezTo>
                    <a:cubicBezTo>
                      <a:pt x="860" y="1008"/>
                      <a:pt x="860" y="1008"/>
                      <a:pt x="860" y="1008"/>
                    </a:cubicBezTo>
                    <a:cubicBezTo>
                      <a:pt x="1008" y="1008"/>
                      <a:pt x="1008" y="1008"/>
                      <a:pt x="1008" y="1008"/>
                    </a:cubicBezTo>
                    <a:cubicBezTo>
                      <a:pt x="1008" y="1008"/>
                      <a:pt x="1008" y="1008"/>
                      <a:pt x="1008" y="1007"/>
                    </a:cubicBezTo>
                    <a:cubicBezTo>
                      <a:pt x="1008" y="451"/>
                      <a:pt x="557" y="0"/>
                      <a:pt x="1" y="0"/>
                    </a:cubicBezTo>
                    <a:cubicBezTo>
                      <a:pt x="0" y="0"/>
                      <a:pt x="0" y="0"/>
                      <a:pt x="0" y="0"/>
                    </a:cubicBezTo>
                    <a:cubicBezTo>
                      <a:pt x="0" y="148"/>
                      <a:pt x="0" y="148"/>
                      <a:pt x="0" y="148"/>
                    </a:cubicBezTo>
                    <a:cubicBezTo>
                      <a:pt x="0" y="148"/>
                      <a:pt x="0" y="148"/>
                      <a:pt x="1" y="148"/>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5" name="Freeform 16"/>
              <p:cNvSpPr>
                <a:spLocks/>
              </p:cNvSpPr>
              <p:nvPr/>
            </p:nvSpPr>
            <p:spPr bwMode="auto">
              <a:xfrm>
                <a:off x="-1140580" y="481846"/>
                <a:ext cx="1456726" cy="1456726"/>
              </a:xfrm>
              <a:custGeom>
                <a:avLst/>
                <a:gdLst>
                  <a:gd name="T0" fmla="*/ 1 w 1156"/>
                  <a:gd name="T1" fmla="*/ 0 h 1156"/>
                  <a:gd name="T2" fmla="*/ 0 w 1156"/>
                  <a:gd name="T3" fmla="*/ 0 h 1156"/>
                  <a:gd name="T4" fmla="*/ 0 w 1156"/>
                  <a:gd name="T5" fmla="*/ 148 h 1156"/>
                  <a:gd name="T6" fmla="*/ 1 w 1156"/>
                  <a:gd name="T7" fmla="*/ 148 h 1156"/>
                  <a:gd name="T8" fmla="*/ 1008 w 1156"/>
                  <a:gd name="T9" fmla="*/ 1155 h 1156"/>
                  <a:gd name="T10" fmla="*/ 1008 w 1156"/>
                  <a:gd name="T11" fmla="*/ 1156 h 1156"/>
                  <a:gd name="T12" fmla="*/ 1156 w 1156"/>
                  <a:gd name="T13" fmla="*/ 1156 h 1156"/>
                  <a:gd name="T14" fmla="*/ 1156 w 1156"/>
                  <a:gd name="T15" fmla="*/ 1155 h 1156"/>
                  <a:gd name="T16" fmla="*/ 1 w 1156"/>
                  <a:gd name="T17" fmla="*/ 0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1156">
                    <a:moveTo>
                      <a:pt x="1" y="0"/>
                    </a:moveTo>
                    <a:cubicBezTo>
                      <a:pt x="0" y="0"/>
                      <a:pt x="0" y="0"/>
                      <a:pt x="0" y="0"/>
                    </a:cubicBezTo>
                    <a:cubicBezTo>
                      <a:pt x="0" y="148"/>
                      <a:pt x="0" y="148"/>
                      <a:pt x="0" y="148"/>
                    </a:cubicBezTo>
                    <a:cubicBezTo>
                      <a:pt x="0" y="148"/>
                      <a:pt x="0" y="148"/>
                      <a:pt x="1" y="148"/>
                    </a:cubicBezTo>
                    <a:cubicBezTo>
                      <a:pt x="557" y="148"/>
                      <a:pt x="1008" y="599"/>
                      <a:pt x="1008" y="1155"/>
                    </a:cubicBezTo>
                    <a:cubicBezTo>
                      <a:pt x="1008" y="1156"/>
                      <a:pt x="1008" y="1156"/>
                      <a:pt x="1008" y="1156"/>
                    </a:cubicBezTo>
                    <a:cubicBezTo>
                      <a:pt x="1156" y="1156"/>
                      <a:pt x="1156" y="1156"/>
                      <a:pt x="1156" y="1156"/>
                    </a:cubicBezTo>
                    <a:cubicBezTo>
                      <a:pt x="1156" y="1156"/>
                      <a:pt x="1156" y="1156"/>
                      <a:pt x="1156" y="1155"/>
                    </a:cubicBezTo>
                    <a:cubicBezTo>
                      <a:pt x="1156" y="517"/>
                      <a:pt x="639" y="0"/>
                      <a:pt x="1"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6" name="Freeform 17"/>
              <p:cNvSpPr>
                <a:spLocks/>
              </p:cNvSpPr>
              <p:nvPr/>
            </p:nvSpPr>
            <p:spPr bwMode="auto">
              <a:xfrm>
                <a:off x="-1140580" y="854382"/>
                <a:ext cx="1084190" cy="1084190"/>
              </a:xfrm>
              <a:custGeom>
                <a:avLst/>
                <a:gdLst>
                  <a:gd name="T0" fmla="*/ 1 w 860"/>
                  <a:gd name="T1" fmla="*/ 0 h 860"/>
                  <a:gd name="T2" fmla="*/ 0 w 860"/>
                  <a:gd name="T3" fmla="*/ 0 h 860"/>
                  <a:gd name="T4" fmla="*/ 0 w 860"/>
                  <a:gd name="T5" fmla="*/ 148 h 860"/>
                  <a:gd name="T6" fmla="*/ 1 w 860"/>
                  <a:gd name="T7" fmla="*/ 148 h 860"/>
                  <a:gd name="T8" fmla="*/ 712 w 860"/>
                  <a:gd name="T9" fmla="*/ 859 h 860"/>
                  <a:gd name="T10" fmla="*/ 712 w 860"/>
                  <a:gd name="T11" fmla="*/ 860 h 860"/>
                  <a:gd name="T12" fmla="*/ 860 w 860"/>
                  <a:gd name="T13" fmla="*/ 860 h 860"/>
                  <a:gd name="T14" fmla="*/ 860 w 860"/>
                  <a:gd name="T15" fmla="*/ 859 h 860"/>
                  <a:gd name="T16" fmla="*/ 1 w 860"/>
                  <a:gd name="T17"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0" h="860">
                    <a:moveTo>
                      <a:pt x="1" y="0"/>
                    </a:moveTo>
                    <a:cubicBezTo>
                      <a:pt x="0" y="0"/>
                      <a:pt x="0" y="0"/>
                      <a:pt x="0" y="0"/>
                    </a:cubicBezTo>
                    <a:cubicBezTo>
                      <a:pt x="0" y="148"/>
                      <a:pt x="0" y="148"/>
                      <a:pt x="0" y="148"/>
                    </a:cubicBezTo>
                    <a:cubicBezTo>
                      <a:pt x="0" y="148"/>
                      <a:pt x="0" y="148"/>
                      <a:pt x="1" y="148"/>
                    </a:cubicBezTo>
                    <a:cubicBezTo>
                      <a:pt x="394" y="148"/>
                      <a:pt x="712" y="467"/>
                      <a:pt x="712" y="859"/>
                    </a:cubicBezTo>
                    <a:cubicBezTo>
                      <a:pt x="712" y="860"/>
                      <a:pt x="712" y="860"/>
                      <a:pt x="712" y="860"/>
                    </a:cubicBezTo>
                    <a:cubicBezTo>
                      <a:pt x="860" y="860"/>
                      <a:pt x="860" y="860"/>
                      <a:pt x="860" y="860"/>
                    </a:cubicBezTo>
                    <a:cubicBezTo>
                      <a:pt x="860" y="860"/>
                      <a:pt x="860" y="860"/>
                      <a:pt x="860" y="859"/>
                    </a:cubicBezTo>
                    <a:cubicBezTo>
                      <a:pt x="860" y="385"/>
                      <a:pt x="475" y="0"/>
                      <a:pt x="1"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7" name="Freeform 18"/>
              <p:cNvSpPr>
                <a:spLocks/>
              </p:cNvSpPr>
              <p:nvPr/>
            </p:nvSpPr>
            <p:spPr bwMode="auto">
              <a:xfrm>
                <a:off x="-2409181" y="1938572"/>
                <a:ext cx="1268602" cy="1268602"/>
              </a:xfrm>
              <a:custGeom>
                <a:avLst/>
                <a:gdLst>
                  <a:gd name="T0" fmla="*/ 1007 w 1007"/>
                  <a:gd name="T1" fmla="*/ 1007 h 1007"/>
                  <a:gd name="T2" fmla="*/ 1007 w 1007"/>
                  <a:gd name="T3" fmla="*/ 859 h 1007"/>
                  <a:gd name="T4" fmla="*/ 148 w 1007"/>
                  <a:gd name="T5" fmla="*/ 0 h 1007"/>
                  <a:gd name="T6" fmla="*/ 0 w 1007"/>
                  <a:gd name="T7" fmla="*/ 0 h 1007"/>
                  <a:gd name="T8" fmla="*/ 1007 w 1007"/>
                  <a:gd name="T9" fmla="*/ 1007 h 1007"/>
                </a:gdLst>
                <a:ahLst/>
                <a:cxnLst>
                  <a:cxn ang="0">
                    <a:pos x="T0" y="T1"/>
                  </a:cxn>
                  <a:cxn ang="0">
                    <a:pos x="T2" y="T3"/>
                  </a:cxn>
                  <a:cxn ang="0">
                    <a:pos x="T4" y="T5"/>
                  </a:cxn>
                  <a:cxn ang="0">
                    <a:pos x="T6" y="T7"/>
                  </a:cxn>
                  <a:cxn ang="0">
                    <a:pos x="T8" y="T9"/>
                  </a:cxn>
                </a:cxnLst>
                <a:rect l="0" t="0" r="r" b="b"/>
                <a:pathLst>
                  <a:path w="1007" h="1007">
                    <a:moveTo>
                      <a:pt x="1007" y="1007"/>
                    </a:moveTo>
                    <a:cubicBezTo>
                      <a:pt x="1007" y="859"/>
                      <a:pt x="1007" y="859"/>
                      <a:pt x="1007" y="859"/>
                    </a:cubicBezTo>
                    <a:cubicBezTo>
                      <a:pt x="533" y="859"/>
                      <a:pt x="148" y="474"/>
                      <a:pt x="148" y="0"/>
                    </a:cubicBezTo>
                    <a:cubicBezTo>
                      <a:pt x="0" y="0"/>
                      <a:pt x="0" y="0"/>
                      <a:pt x="0" y="0"/>
                    </a:cubicBezTo>
                    <a:cubicBezTo>
                      <a:pt x="0" y="556"/>
                      <a:pt x="451" y="1007"/>
                      <a:pt x="1007" y="1007"/>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8" name="Freeform 19"/>
              <p:cNvSpPr>
                <a:spLocks/>
              </p:cNvSpPr>
              <p:nvPr/>
            </p:nvSpPr>
            <p:spPr bwMode="auto">
              <a:xfrm>
                <a:off x="-2596068" y="1938572"/>
                <a:ext cx="1455488" cy="1455488"/>
              </a:xfrm>
              <a:custGeom>
                <a:avLst/>
                <a:gdLst>
                  <a:gd name="T0" fmla="*/ 148 w 1155"/>
                  <a:gd name="T1" fmla="*/ 0 h 1155"/>
                  <a:gd name="T2" fmla="*/ 0 w 1155"/>
                  <a:gd name="T3" fmla="*/ 0 h 1155"/>
                  <a:gd name="T4" fmla="*/ 1155 w 1155"/>
                  <a:gd name="T5" fmla="*/ 1155 h 1155"/>
                  <a:gd name="T6" fmla="*/ 1155 w 1155"/>
                  <a:gd name="T7" fmla="*/ 1007 h 1155"/>
                  <a:gd name="T8" fmla="*/ 148 w 1155"/>
                  <a:gd name="T9" fmla="*/ 0 h 1155"/>
                </a:gdLst>
                <a:ahLst/>
                <a:cxnLst>
                  <a:cxn ang="0">
                    <a:pos x="T0" y="T1"/>
                  </a:cxn>
                  <a:cxn ang="0">
                    <a:pos x="T2" y="T3"/>
                  </a:cxn>
                  <a:cxn ang="0">
                    <a:pos x="T4" y="T5"/>
                  </a:cxn>
                  <a:cxn ang="0">
                    <a:pos x="T6" y="T7"/>
                  </a:cxn>
                  <a:cxn ang="0">
                    <a:pos x="T8" y="T9"/>
                  </a:cxn>
                </a:cxnLst>
                <a:rect l="0" t="0" r="r" b="b"/>
                <a:pathLst>
                  <a:path w="1155" h="1155">
                    <a:moveTo>
                      <a:pt x="148" y="0"/>
                    </a:moveTo>
                    <a:cubicBezTo>
                      <a:pt x="0" y="0"/>
                      <a:pt x="0" y="0"/>
                      <a:pt x="0" y="0"/>
                    </a:cubicBezTo>
                    <a:cubicBezTo>
                      <a:pt x="0" y="638"/>
                      <a:pt x="517" y="1155"/>
                      <a:pt x="1155" y="1155"/>
                    </a:cubicBezTo>
                    <a:cubicBezTo>
                      <a:pt x="1155" y="1007"/>
                      <a:pt x="1155" y="1007"/>
                      <a:pt x="1155" y="1007"/>
                    </a:cubicBezTo>
                    <a:cubicBezTo>
                      <a:pt x="599" y="1007"/>
                      <a:pt x="148" y="556"/>
                      <a:pt x="148"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9" name="Freeform 20"/>
              <p:cNvSpPr>
                <a:spLocks/>
              </p:cNvSpPr>
              <p:nvPr/>
            </p:nvSpPr>
            <p:spPr bwMode="auto">
              <a:xfrm>
                <a:off x="-2223532" y="1938572"/>
                <a:ext cx="1082953" cy="1082953"/>
              </a:xfrm>
              <a:custGeom>
                <a:avLst/>
                <a:gdLst>
                  <a:gd name="T0" fmla="*/ 148 w 859"/>
                  <a:gd name="T1" fmla="*/ 0 h 859"/>
                  <a:gd name="T2" fmla="*/ 0 w 859"/>
                  <a:gd name="T3" fmla="*/ 0 h 859"/>
                  <a:gd name="T4" fmla="*/ 859 w 859"/>
                  <a:gd name="T5" fmla="*/ 859 h 859"/>
                  <a:gd name="T6" fmla="*/ 859 w 859"/>
                  <a:gd name="T7" fmla="*/ 711 h 859"/>
                  <a:gd name="T8" fmla="*/ 148 w 859"/>
                  <a:gd name="T9" fmla="*/ 0 h 859"/>
                </a:gdLst>
                <a:ahLst/>
                <a:cxnLst>
                  <a:cxn ang="0">
                    <a:pos x="T0" y="T1"/>
                  </a:cxn>
                  <a:cxn ang="0">
                    <a:pos x="T2" y="T3"/>
                  </a:cxn>
                  <a:cxn ang="0">
                    <a:pos x="T4" y="T5"/>
                  </a:cxn>
                  <a:cxn ang="0">
                    <a:pos x="T6" y="T7"/>
                  </a:cxn>
                  <a:cxn ang="0">
                    <a:pos x="T8" y="T9"/>
                  </a:cxn>
                </a:cxnLst>
                <a:rect l="0" t="0" r="r" b="b"/>
                <a:pathLst>
                  <a:path w="859" h="859">
                    <a:moveTo>
                      <a:pt x="148" y="0"/>
                    </a:moveTo>
                    <a:cubicBezTo>
                      <a:pt x="0" y="0"/>
                      <a:pt x="0" y="0"/>
                      <a:pt x="0" y="0"/>
                    </a:cubicBezTo>
                    <a:cubicBezTo>
                      <a:pt x="1" y="474"/>
                      <a:pt x="385" y="859"/>
                      <a:pt x="859" y="859"/>
                    </a:cubicBezTo>
                    <a:cubicBezTo>
                      <a:pt x="859" y="711"/>
                      <a:pt x="859" y="711"/>
                      <a:pt x="859" y="711"/>
                    </a:cubicBezTo>
                    <a:cubicBezTo>
                      <a:pt x="467" y="711"/>
                      <a:pt x="149" y="392"/>
                      <a:pt x="148"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grpSp>
        <p:sp>
          <p:nvSpPr>
            <p:cNvPr id="188" name="Freeform 21"/>
            <p:cNvSpPr>
              <a:spLocks/>
            </p:cNvSpPr>
            <p:nvPr/>
          </p:nvSpPr>
          <p:spPr bwMode="auto">
            <a:xfrm>
              <a:off x="-2409181" y="668733"/>
              <a:ext cx="1268602" cy="1269839"/>
            </a:xfrm>
            <a:custGeom>
              <a:avLst/>
              <a:gdLst>
                <a:gd name="T0" fmla="*/ 148 w 1007"/>
                <a:gd name="T1" fmla="*/ 1007 h 1008"/>
                <a:gd name="T2" fmla="*/ 1007 w 1007"/>
                <a:gd name="T3" fmla="*/ 148 h 1008"/>
                <a:gd name="T4" fmla="*/ 1007 w 1007"/>
                <a:gd name="T5" fmla="*/ 0 h 1008"/>
                <a:gd name="T6" fmla="*/ 0 w 1007"/>
                <a:gd name="T7" fmla="*/ 1007 h 1008"/>
                <a:gd name="T8" fmla="*/ 0 w 1007"/>
                <a:gd name="T9" fmla="*/ 1008 h 1008"/>
                <a:gd name="T10" fmla="*/ 148 w 1007"/>
                <a:gd name="T11" fmla="*/ 1008 h 1008"/>
                <a:gd name="T12" fmla="*/ 148 w 1007"/>
                <a:gd name="T13" fmla="*/ 1007 h 1008"/>
              </a:gdLst>
              <a:ahLst/>
              <a:cxnLst>
                <a:cxn ang="0">
                  <a:pos x="T0" y="T1"/>
                </a:cxn>
                <a:cxn ang="0">
                  <a:pos x="T2" y="T3"/>
                </a:cxn>
                <a:cxn ang="0">
                  <a:pos x="T4" y="T5"/>
                </a:cxn>
                <a:cxn ang="0">
                  <a:pos x="T6" y="T7"/>
                </a:cxn>
                <a:cxn ang="0">
                  <a:pos x="T8" y="T9"/>
                </a:cxn>
                <a:cxn ang="0">
                  <a:pos x="T10" y="T11"/>
                </a:cxn>
                <a:cxn ang="0">
                  <a:pos x="T12" y="T13"/>
                </a:cxn>
              </a:cxnLst>
              <a:rect l="0" t="0" r="r" b="b"/>
              <a:pathLst>
                <a:path w="1007" h="1008">
                  <a:moveTo>
                    <a:pt x="148" y="1007"/>
                  </a:moveTo>
                  <a:cubicBezTo>
                    <a:pt x="148" y="533"/>
                    <a:pt x="533" y="148"/>
                    <a:pt x="1007" y="148"/>
                  </a:cubicBezTo>
                  <a:cubicBezTo>
                    <a:pt x="1007" y="0"/>
                    <a:pt x="1007" y="0"/>
                    <a:pt x="1007" y="0"/>
                  </a:cubicBezTo>
                  <a:cubicBezTo>
                    <a:pt x="451" y="0"/>
                    <a:pt x="0" y="451"/>
                    <a:pt x="0" y="1007"/>
                  </a:cubicBezTo>
                  <a:cubicBezTo>
                    <a:pt x="0" y="1008"/>
                    <a:pt x="0" y="1008"/>
                    <a:pt x="0" y="1008"/>
                  </a:cubicBezTo>
                  <a:cubicBezTo>
                    <a:pt x="148" y="1008"/>
                    <a:pt x="148" y="1008"/>
                    <a:pt x="148" y="1008"/>
                  </a:cubicBezTo>
                  <a:cubicBezTo>
                    <a:pt x="148" y="1008"/>
                    <a:pt x="148" y="1008"/>
                    <a:pt x="148" y="1007"/>
                  </a:cubicBezTo>
                  <a:close/>
                </a:path>
              </a:pathLst>
            </a:custGeom>
            <a:solidFill>
              <a:srgbClr val="009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189" name="Freeform 22"/>
            <p:cNvSpPr>
              <a:spLocks/>
            </p:cNvSpPr>
            <p:nvPr/>
          </p:nvSpPr>
          <p:spPr bwMode="auto">
            <a:xfrm>
              <a:off x="-2596068" y="481846"/>
              <a:ext cx="1455488" cy="1456726"/>
            </a:xfrm>
            <a:custGeom>
              <a:avLst/>
              <a:gdLst>
                <a:gd name="T0" fmla="*/ 0 w 1155"/>
                <a:gd name="T1" fmla="*/ 1155 h 1156"/>
                <a:gd name="T2" fmla="*/ 0 w 1155"/>
                <a:gd name="T3" fmla="*/ 1156 h 1156"/>
                <a:gd name="T4" fmla="*/ 148 w 1155"/>
                <a:gd name="T5" fmla="*/ 1156 h 1156"/>
                <a:gd name="T6" fmla="*/ 148 w 1155"/>
                <a:gd name="T7" fmla="*/ 1155 h 1156"/>
                <a:gd name="T8" fmla="*/ 1155 w 1155"/>
                <a:gd name="T9" fmla="*/ 148 h 1156"/>
                <a:gd name="T10" fmla="*/ 1155 w 1155"/>
                <a:gd name="T11" fmla="*/ 0 h 1156"/>
                <a:gd name="T12" fmla="*/ 0 w 1155"/>
                <a:gd name="T13" fmla="*/ 1155 h 1156"/>
              </a:gdLst>
              <a:ahLst/>
              <a:cxnLst>
                <a:cxn ang="0">
                  <a:pos x="T0" y="T1"/>
                </a:cxn>
                <a:cxn ang="0">
                  <a:pos x="T2" y="T3"/>
                </a:cxn>
                <a:cxn ang="0">
                  <a:pos x="T4" y="T5"/>
                </a:cxn>
                <a:cxn ang="0">
                  <a:pos x="T6" y="T7"/>
                </a:cxn>
                <a:cxn ang="0">
                  <a:pos x="T8" y="T9"/>
                </a:cxn>
                <a:cxn ang="0">
                  <a:pos x="T10" y="T11"/>
                </a:cxn>
                <a:cxn ang="0">
                  <a:pos x="T12" y="T13"/>
                </a:cxn>
              </a:cxnLst>
              <a:rect l="0" t="0" r="r" b="b"/>
              <a:pathLst>
                <a:path w="1155" h="1156">
                  <a:moveTo>
                    <a:pt x="0" y="1155"/>
                  </a:moveTo>
                  <a:cubicBezTo>
                    <a:pt x="0" y="1156"/>
                    <a:pt x="0" y="1156"/>
                    <a:pt x="0" y="1156"/>
                  </a:cubicBezTo>
                  <a:cubicBezTo>
                    <a:pt x="148" y="1156"/>
                    <a:pt x="148" y="1156"/>
                    <a:pt x="148" y="1156"/>
                  </a:cubicBezTo>
                  <a:cubicBezTo>
                    <a:pt x="148" y="1156"/>
                    <a:pt x="148" y="1156"/>
                    <a:pt x="148" y="1155"/>
                  </a:cubicBezTo>
                  <a:cubicBezTo>
                    <a:pt x="148" y="599"/>
                    <a:pt x="599" y="148"/>
                    <a:pt x="1155" y="148"/>
                  </a:cubicBezTo>
                  <a:cubicBezTo>
                    <a:pt x="1155" y="0"/>
                    <a:pt x="1155" y="0"/>
                    <a:pt x="1155" y="0"/>
                  </a:cubicBezTo>
                  <a:cubicBezTo>
                    <a:pt x="517" y="0"/>
                    <a:pt x="0" y="518"/>
                    <a:pt x="0" y="115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190" name="Freeform 23"/>
            <p:cNvSpPr>
              <a:spLocks/>
            </p:cNvSpPr>
            <p:nvPr/>
          </p:nvSpPr>
          <p:spPr bwMode="auto">
            <a:xfrm>
              <a:off x="-2223532" y="854382"/>
              <a:ext cx="1082953" cy="1084190"/>
            </a:xfrm>
            <a:custGeom>
              <a:avLst/>
              <a:gdLst>
                <a:gd name="T0" fmla="*/ 148 w 859"/>
                <a:gd name="T1" fmla="*/ 859 h 860"/>
                <a:gd name="T2" fmla="*/ 859 w 859"/>
                <a:gd name="T3" fmla="*/ 148 h 860"/>
                <a:gd name="T4" fmla="*/ 859 w 859"/>
                <a:gd name="T5" fmla="*/ 0 h 860"/>
                <a:gd name="T6" fmla="*/ 0 w 859"/>
                <a:gd name="T7" fmla="*/ 859 h 860"/>
                <a:gd name="T8" fmla="*/ 0 w 859"/>
                <a:gd name="T9" fmla="*/ 860 h 860"/>
                <a:gd name="T10" fmla="*/ 148 w 859"/>
                <a:gd name="T11" fmla="*/ 860 h 860"/>
                <a:gd name="T12" fmla="*/ 148 w 859"/>
                <a:gd name="T13" fmla="*/ 859 h 860"/>
              </a:gdLst>
              <a:ahLst/>
              <a:cxnLst>
                <a:cxn ang="0">
                  <a:pos x="T0" y="T1"/>
                </a:cxn>
                <a:cxn ang="0">
                  <a:pos x="T2" y="T3"/>
                </a:cxn>
                <a:cxn ang="0">
                  <a:pos x="T4" y="T5"/>
                </a:cxn>
                <a:cxn ang="0">
                  <a:pos x="T6" y="T7"/>
                </a:cxn>
                <a:cxn ang="0">
                  <a:pos x="T8" y="T9"/>
                </a:cxn>
                <a:cxn ang="0">
                  <a:pos x="T10" y="T11"/>
                </a:cxn>
                <a:cxn ang="0">
                  <a:pos x="T12" y="T13"/>
                </a:cxn>
              </a:cxnLst>
              <a:rect l="0" t="0" r="r" b="b"/>
              <a:pathLst>
                <a:path w="859" h="860">
                  <a:moveTo>
                    <a:pt x="148" y="859"/>
                  </a:moveTo>
                  <a:cubicBezTo>
                    <a:pt x="148" y="467"/>
                    <a:pt x="466" y="148"/>
                    <a:pt x="859" y="148"/>
                  </a:cubicBezTo>
                  <a:cubicBezTo>
                    <a:pt x="859" y="0"/>
                    <a:pt x="859" y="0"/>
                    <a:pt x="859" y="0"/>
                  </a:cubicBezTo>
                  <a:cubicBezTo>
                    <a:pt x="385" y="0"/>
                    <a:pt x="0" y="385"/>
                    <a:pt x="0" y="859"/>
                  </a:cubicBezTo>
                  <a:cubicBezTo>
                    <a:pt x="0" y="860"/>
                    <a:pt x="0" y="860"/>
                    <a:pt x="0" y="860"/>
                  </a:cubicBezTo>
                  <a:cubicBezTo>
                    <a:pt x="148" y="860"/>
                    <a:pt x="148" y="860"/>
                    <a:pt x="148" y="860"/>
                  </a:cubicBezTo>
                  <a:cubicBezTo>
                    <a:pt x="148" y="860"/>
                    <a:pt x="148" y="860"/>
                    <a:pt x="148" y="859"/>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grpSp>
      <p:grpSp>
        <p:nvGrpSpPr>
          <p:cNvPr id="205" name="Group 204"/>
          <p:cNvGrpSpPr>
            <a:grpSpLocks noChangeAspect="1"/>
          </p:cNvGrpSpPr>
          <p:nvPr/>
        </p:nvGrpSpPr>
        <p:grpSpPr bwMode="auto">
          <a:xfrm rot="5400000">
            <a:off x="9219796" y="2278676"/>
            <a:ext cx="2143668" cy="2143668"/>
            <a:chOff x="3068" y="1388"/>
            <a:chExt cx="1544" cy="1544"/>
          </a:xfrm>
        </p:grpSpPr>
        <p:sp>
          <p:nvSpPr>
            <p:cNvPr id="206" name="Freeform 5"/>
            <p:cNvSpPr>
              <a:spLocks/>
            </p:cNvSpPr>
            <p:nvPr/>
          </p:nvSpPr>
          <p:spPr bwMode="auto">
            <a:xfrm>
              <a:off x="3835" y="2160"/>
              <a:ext cx="777" cy="772"/>
            </a:xfrm>
            <a:custGeom>
              <a:avLst/>
              <a:gdLst>
                <a:gd name="T0" fmla="*/ 0 w 777"/>
                <a:gd name="T1" fmla="*/ 222 h 772"/>
                <a:gd name="T2" fmla="*/ 5 w 777"/>
                <a:gd name="T3" fmla="*/ 219 h 772"/>
                <a:gd name="T4" fmla="*/ 777 w 777"/>
                <a:gd name="T5" fmla="*/ 772 h 772"/>
                <a:gd name="T6" fmla="*/ 224 w 777"/>
                <a:gd name="T7" fmla="*/ 0 h 772"/>
                <a:gd name="T8" fmla="*/ 0 w 777"/>
                <a:gd name="T9" fmla="*/ 0 h 772"/>
                <a:gd name="T10" fmla="*/ 0 w 777"/>
                <a:gd name="T11" fmla="*/ 222 h 772"/>
              </a:gdLst>
              <a:ahLst/>
              <a:cxnLst>
                <a:cxn ang="0">
                  <a:pos x="T0" y="T1"/>
                </a:cxn>
                <a:cxn ang="0">
                  <a:pos x="T2" y="T3"/>
                </a:cxn>
                <a:cxn ang="0">
                  <a:pos x="T4" y="T5"/>
                </a:cxn>
                <a:cxn ang="0">
                  <a:pos x="T6" y="T7"/>
                </a:cxn>
                <a:cxn ang="0">
                  <a:pos x="T8" y="T9"/>
                </a:cxn>
                <a:cxn ang="0">
                  <a:pos x="T10" y="T11"/>
                </a:cxn>
              </a:cxnLst>
              <a:rect l="0" t="0" r="r" b="b"/>
              <a:pathLst>
                <a:path w="777" h="772">
                  <a:moveTo>
                    <a:pt x="0" y="222"/>
                  </a:moveTo>
                  <a:lnTo>
                    <a:pt x="5" y="219"/>
                  </a:lnTo>
                  <a:lnTo>
                    <a:pt x="777" y="772"/>
                  </a:lnTo>
                  <a:lnTo>
                    <a:pt x="224" y="0"/>
                  </a:lnTo>
                  <a:lnTo>
                    <a:pt x="0" y="0"/>
                  </a:lnTo>
                  <a:lnTo>
                    <a:pt x="0" y="222"/>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07" name="Freeform 6"/>
            <p:cNvSpPr>
              <a:spLocks/>
            </p:cNvSpPr>
            <p:nvPr/>
          </p:nvSpPr>
          <p:spPr bwMode="auto">
            <a:xfrm>
              <a:off x="3835" y="1388"/>
              <a:ext cx="777" cy="772"/>
            </a:xfrm>
            <a:custGeom>
              <a:avLst/>
              <a:gdLst>
                <a:gd name="T0" fmla="*/ 5 w 777"/>
                <a:gd name="T1" fmla="*/ 553 h 772"/>
                <a:gd name="T2" fmla="*/ 0 w 777"/>
                <a:gd name="T3" fmla="*/ 550 h 772"/>
                <a:gd name="T4" fmla="*/ 0 w 777"/>
                <a:gd name="T5" fmla="*/ 772 h 772"/>
                <a:gd name="T6" fmla="*/ 224 w 777"/>
                <a:gd name="T7" fmla="*/ 772 h 772"/>
                <a:gd name="T8" fmla="*/ 777 w 777"/>
                <a:gd name="T9" fmla="*/ 0 h 772"/>
                <a:gd name="T10" fmla="*/ 5 w 777"/>
                <a:gd name="T11" fmla="*/ 553 h 772"/>
              </a:gdLst>
              <a:ahLst/>
              <a:cxnLst>
                <a:cxn ang="0">
                  <a:pos x="T0" y="T1"/>
                </a:cxn>
                <a:cxn ang="0">
                  <a:pos x="T2" y="T3"/>
                </a:cxn>
                <a:cxn ang="0">
                  <a:pos x="T4" y="T5"/>
                </a:cxn>
                <a:cxn ang="0">
                  <a:pos x="T6" y="T7"/>
                </a:cxn>
                <a:cxn ang="0">
                  <a:pos x="T8" y="T9"/>
                </a:cxn>
                <a:cxn ang="0">
                  <a:pos x="T10" y="T11"/>
                </a:cxn>
              </a:cxnLst>
              <a:rect l="0" t="0" r="r" b="b"/>
              <a:pathLst>
                <a:path w="777" h="772">
                  <a:moveTo>
                    <a:pt x="5" y="553"/>
                  </a:moveTo>
                  <a:lnTo>
                    <a:pt x="0" y="550"/>
                  </a:lnTo>
                  <a:lnTo>
                    <a:pt x="0" y="772"/>
                  </a:lnTo>
                  <a:lnTo>
                    <a:pt x="224" y="772"/>
                  </a:lnTo>
                  <a:lnTo>
                    <a:pt x="777" y="0"/>
                  </a:lnTo>
                  <a:lnTo>
                    <a:pt x="5" y="553"/>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08" name="Freeform 7"/>
            <p:cNvSpPr>
              <a:spLocks/>
            </p:cNvSpPr>
            <p:nvPr/>
          </p:nvSpPr>
          <p:spPr bwMode="auto">
            <a:xfrm>
              <a:off x="3068" y="2160"/>
              <a:ext cx="767" cy="772"/>
            </a:xfrm>
            <a:custGeom>
              <a:avLst/>
              <a:gdLst>
                <a:gd name="T0" fmla="*/ 553 w 767"/>
                <a:gd name="T1" fmla="*/ 0 h 772"/>
                <a:gd name="T2" fmla="*/ 0 w 767"/>
                <a:gd name="T3" fmla="*/ 772 h 772"/>
                <a:gd name="T4" fmla="*/ 767 w 767"/>
                <a:gd name="T5" fmla="*/ 222 h 772"/>
                <a:gd name="T6" fmla="*/ 767 w 767"/>
                <a:gd name="T7" fmla="*/ 0 h 772"/>
                <a:gd name="T8" fmla="*/ 553 w 767"/>
                <a:gd name="T9" fmla="*/ 0 h 772"/>
              </a:gdLst>
              <a:ahLst/>
              <a:cxnLst>
                <a:cxn ang="0">
                  <a:pos x="T0" y="T1"/>
                </a:cxn>
                <a:cxn ang="0">
                  <a:pos x="T2" y="T3"/>
                </a:cxn>
                <a:cxn ang="0">
                  <a:pos x="T4" y="T5"/>
                </a:cxn>
                <a:cxn ang="0">
                  <a:pos x="T6" y="T7"/>
                </a:cxn>
                <a:cxn ang="0">
                  <a:pos x="T8" y="T9"/>
                </a:cxn>
              </a:cxnLst>
              <a:rect l="0" t="0" r="r" b="b"/>
              <a:pathLst>
                <a:path w="767" h="772">
                  <a:moveTo>
                    <a:pt x="553" y="0"/>
                  </a:moveTo>
                  <a:lnTo>
                    <a:pt x="0" y="772"/>
                  </a:lnTo>
                  <a:lnTo>
                    <a:pt x="767" y="222"/>
                  </a:lnTo>
                  <a:lnTo>
                    <a:pt x="767" y="0"/>
                  </a:lnTo>
                  <a:lnTo>
                    <a:pt x="553" y="0"/>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09" name="Freeform 8"/>
            <p:cNvSpPr>
              <a:spLocks/>
            </p:cNvSpPr>
            <p:nvPr/>
          </p:nvSpPr>
          <p:spPr bwMode="auto">
            <a:xfrm>
              <a:off x="3068" y="1388"/>
              <a:ext cx="767" cy="772"/>
            </a:xfrm>
            <a:custGeom>
              <a:avLst/>
              <a:gdLst>
                <a:gd name="T0" fmla="*/ 553 w 767"/>
                <a:gd name="T1" fmla="*/ 772 h 772"/>
                <a:gd name="T2" fmla="*/ 767 w 767"/>
                <a:gd name="T3" fmla="*/ 772 h 772"/>
                <a:gd name="T4" fmla="*/ 767 w 767"/>
                <a:gd name="T5" fmla="*/ 550 h 772"/>
                <a:gd name="T6" fmla="*/ 0 w 767"/>
                <a:gd name="T7" fmla="*/ 0 h 772"/>
                <a:gd name="T8" fmla="*/ 553 w 767"/>
                <a:gd name="T9" fmla="*/ 772 h 772"/>
              </a:gdLst>
              <a:ahLst/>
              <a:cxnLst>
                <a:cxn ang="0">
                  <a:pos x="T0" y="T1"/>
                </a:cxn>
                <a:cxn ang="0">
                  <a:pos x="T2" y="T3"/>
                </a:cxn>
                <a:cxn ang="0">
                  <a:pos x="T4" y="T5"/>
                </a:cxn>
                <a:cxn ang="0">
                  <a:pos x="T6" y="T7"/>
                </a:cxn>
                <a:cxn ang="0">
                  <a:pos x="T8" y="T9"/>
                </a:cxn>
              </a:cxnLst>
              <a:rect l="0" t="0" r="r" b="b"/>
              <a:pathLst>
                <a:path w="767" h="772">
                  <a:moveTo>
                    <a:pt x="553" y="772"/>
                  </a:moveTo>
                  <a:lnTo>
                    <a:pt x="767" y="772"/>
                  </a:lnTo>
                  <a:lnTo>
                    <a:pt x="767" y="550"/>
                  </a:lnTo>
                  <a:lnTo>
                    <a:pt x="0" y="0"/>
                  </a:lnTo>
                  <a:lnTo>
                    <a:pt x="553" y="772"/>
                  </a:lnTo>
                  <a:close/>
                </a:path>
              </a:pathLst>
            </a:custGeom>
            <a:solidFill>
              <a:srgbClr val="86BC25"/>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grpSp>
      <p:grpSp>
        <p:nvGrpSpPr>
          <p:cNvPr id="210" name="Group 209"/>
          <p:cNvGrpSpPr/>
          <p:nvPr/>
        </p:nvGrpSpPr>
        <p:grpSpPr>
          <a:xfrm>
            <a:off x="9430913" y="2790956"/>
            <a:ext cx="1721434" cy="1409116"/>
            <a:chOff x="1513203" y="1371731"/>
            <a:chExt cx="1721434" cy="1409116"/>
          </a:xfrm>
        </p:grpSpPr>
        <p:sp>
          <p:nvSpPr>
            <p:cNvPr id="211" name="TextBox 210">
              <a:extLst>
                <a:ext uri="{FF2B5EF4-FFF2-40B4-BE49-F238E27FC236}">
                  <a16:creationId xmlns:a16="http://schemas.microsoft.com/office/drawing/2014/main" id="{CD88DBE1-2776-5847-8E93-EBFA81FB2635}"/>
                </a:ext>
              </a:extLst>
            </p:cNvPr>
            <p:cNvSpPr txBox="1"/>
            <p:nvPr/>
          </p:nvSpPr>
          <p:spPr>
            <a:xfrm rot="18827092">
              <a:off x="1521447" y="2308282"/>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sp>
          <p:nvSpPr>
            <p:cNvPr id="212" name="TextBox 211">
              <a:extLst>
                <a:ext uri="{FF2B5EF4-FFF2-40B4-BE49-F238E27FC236}">
                  <a16:creationId xmlns:a16="http://schemas.microsoft.com/office/drawing/2014/main" id="{8EC14735-4297-324E-BBEE-5A9BDAFF3FC5}"/>
                </a:ext>
              </a:extLst>
            </p:cNvPr>
            <p:cNvSpPr txBox="1"/>
            <p:nvPr/>
          </p:nvSpPr>
          <p:spPr>
            <a:xfrm rot="2561759">
              <a:off x="2458784" y="2321647"/>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sp>
          <p:nvSpPr>
            <p:cNvPr id="213" name="TextBox 212">
              <a:extLst>
                <a:ext uri="{FF2B5EF4-FFF2-40B4-BE49-F238E27FC236}">
                  <a16:creationId xmlns:a16="http://schemas.microsoft.com/office/drawing/2014/main" id="{F95C4E26-DF15-CA47-B22E-5433710A44F1}"/>
                </a:ext>
              </a:extLst>
            </p:cNvPr>
            <p:cNvSpPr txBox="1"/>
            <p:nvPr/>
          </p:nvSpPr>
          <p:spPr>
            <a:xfrm rot="18970677">
              <a:off x="2454771" y="1371731"/>
              <a:ext cx="775854" cy="169277"/>
            </a:xfrm>
            <a:prstGeom prst="rect">
              <a:avLst/>
            </a:prstGeom>
            <a:noFill/>
          </p:spPr>
          <p:txBody>
            <a:bodyPr wrap="none" lIns="0" tIns="0" rIns="0" bIns="0" rtlCol="0">
              <a:spAutoFit/>
            </a:bodyPr>
            <a:lstStyle/>
            <a:p>
              <a:pPr algn="ctr"/>
              <a:r>
                <a:rPr lang="en-US" sz="1100" dirty="0">
                  <a:latin typeface="+mj-lt"/>
                </a:rPr>
                <a:t>Lorem ipsum </a:t>
              </a:r>
              <a:endParaRPr lang="en-GB" sz="1100" dirty="0">
                <a:latin typeface="+mj-lt"/>
              </a:endParaRPr>
            </a:p>
          </p:txBody>
        </p:sp>
        <p:sp>
          <p:nvSpPr>
            <p:cNvPr id="214" name="TextBox 213">
              <a:extLst>
                <a:ext uri="{FF2B5EF4-FFF2-40B4-BE49-F238E27FC236}">
                  <a16:creationId xmlns:a16="http://schemas.microsoft.com/office/drawing/2014/main" id="{1A227FF2-FC4E-E74F-98F9-64B71B06D389}"/>
                </a:ext>
              </a:extLst>
            </p:cNvPr>
            <p:cNvSpPr txBox="1"/>
            <p:nvPr/>
          </p:nvSpPr>
          <p:spPr>
            <a:xfrm rot="2641171">
              <a:off x="1513203" y="1372491"/>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grpSp>
      <p:grpSp>
        <p:nvGrpSpPr>
          <p:cNvPr id="216" name="Group 215">
            <a:extLst>
              <a:ext uri="{FF2B5EF4-FFF2-40B4-BE49-F238E27FC236}">
                <a16:creationId xmlns:a16="http://schemas.microsoft.com/office/drawing/2014/main" id="{EABDE5FA-B2B1-AF46-9C93-AD2DD1BBCD5D}"/>
              </a:ext>
            </a:extLst>
          </p:cNvPr>
          <p:cNvGrpSpPr/>
          <p:nvPr/>
        </p:nvGrpSpPr>
        <p:grpSpPr>
          <a:xfrm>
            <a:off x="509090" y="1709699"/>
            <a:ext cx="3355848" cy="3355848"/>
            <a:chOff x="1731204" y="0"/>
            <a:chExt cx="3355848" cy="3355848"/>
          </a:xfrm>
        </p:grpSpPr>
        <p:sp>
          <p:nvSpPr>
            <p:cNvPr id="228" name="Freeform 227">
              <a:extLst>
                <a:ext uri="{FF2B5EF4-FFF2-40B4-BE49-F238E27FC236}">
                  <a16:creationId xmlns:a16="http://schemas.microsoft.com/office/drawing/2014/main" id="{D221D42E-A729-D144-B416-944FF86255BB}"/>
                </a:ext>
              </a:extLst>
            </p:cNvPr>
            <p:cNvSpPr>
              <a:spLocks noChangeArrowheads="1"/>
            </p:cNvSpPr>
            <p:nvPr/>
          </p:nvSpPr>
          <p:spPr bwMode="gray">
            <a:xfrm>
              <a:off x="1946088" y="214884"/>
              <a:ext cx="2926080" cy="2926080"/>
            </a:xfrm>
            <a:custGeom>
              <a:avLst/>
              <a:gdLst>
                <a:gd name="connsiteX0" fmla="*/ 1463040 w 2926080"/>
                <a:gd name="connsiteY0" fmla="*/ 214884 h 2926080"/>
                <a:gd name="connsiteX1" fmla="*/ 214884 w 2926080"/>
                <a:gd name="connsiteY1" fmla="*/ 1463040 h 2926080"/>
                <a:gd name="connsiteX2" fmla="*/ 1463040 w 2926080"/>
                <a:gd name="connsiteY2" fmla="*/ 2711196 h 2926080"/>
                <a:gd name="connsiteX3" fmla="*/ 2711196 w 2926080"/>
                <a:gd name="connsiteY3" fmla="*/ 1463040 h 2926080"/>
                <a:gd name="connsiteX4" fmla="*/ 1463040 w 2926080"/>
                <a:gd name="connsiteY4" fmla="*/ 214884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214884"/>
                  </a:moveTo>
                  <a:cubicBezTo>
                    <a:pt x="773702" y="214884"/>
                    <a:pt x="214884" y="773702"/>
                    <a:pt x="214884" y="1463040"/>
                  </a:cubicBezTo>
                  <a:cubicBezTo>
                    <a:pt x="214884" y="2152378"/>
                    <a:pt x="773702" y="2711196"/>
                    <a:pt x="1463040" y="2711196"/>
                  </a:cubicBezTo>
                  <a:cubicBezTo>
                    <a:pt x="2152378" y="2711196"/>
                    <a:pt x="2711196" y="2152378"/>
                    <a:pt x="2711196" y="1463040"/>
                  </a:cubicBezTo>
                  <a:cubicBezTo>
                    <a:pt x="2711196" y="773702"/>
                    <a:pt x="2152378" y="214884"/>
                    <a:pt x="1463040" y="214884"/>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009A44"/>
            </a:solidFill>
            <a:ln w="12700">
              <a:solidFill>
                <a:schemeClr val="bg1"/>
              </a:solidFill>
            </a:ln>
          </p:spPr>
          <p:txBody>
            <a:bodyPr vert="horz" wrap="square" lIns="91440" tIns="45720" rIns="91440" bIns="45720" numCol="1" anchor="t" anchorCtr="0" compatLnSpc="1">
              <a:prstTxWarp prst="textNoShape">
                <a:avLst/>
              </a:prstTxWarp>
            </a:bodyPr>
            <a:lstStyle/>
            <a:p>
              <a:endParaRPr lang="en-US" sz="1100" dirty="0"/>
            </a:p>
          </p:txBody>
        </p:sp>
        <p:sp>
          <p:nvSpPr>
            <p:cNvPr id="229" name="Freeform 228">
              <a:extLst>
                <a:ext uri="{FF2B5EF4-FFF2-40B4-BE49-F238E27FC236}">
                  <a16:creationId xmlns:a16="http://schemas.microsoft.com/office/drawing/2014/main" id="{5DAF287E-1D55-4C41-8974-DF4973E0B780}"/>
                </a:ext>
              </a:extLst>
            </p:cNvPr>
            <p:cNvSpPr>
              <a:spLocks noChangeArrowheads="1"/>
            </p:cNvSpPr>
            <p:nvPr/>
          </p:nvSpPr>
          <p:spPr bwMode="gray">
            <a:xfrm>
              <a:off x="2160972" y="429768"/>
              <a:ext cx="2496312" cy="2496312"/>
            </a:xfrm>
            <a:custGeom>
              <a:avLst/>
              <a:gdLst>
                <a:gd name="connsiteX0" fmla="*/ 1248156 w 2496312"/>
                <a:gd name="connsiteY0" fmla="*/ 214884 h 2496312"/>
                <a:gd name="connsiteX1" fmla="*/ 214884 w 2496312"/>
                <a:gd name="connsiteY1" fmla="*/ 1248156 h 2496312"/>
                <a:gd name="connsiteX2" fmla="*/ 1248156 w 2496312"/>
                <a:gd name="connsiteY2" fmla="*/ 2281428 h 2496312"/>
                <a:gd name="connsiteX3" fmla="*/ 2281428 w 2496312"/>
                <a:gd name="connsiteY3" fmla="*/ 1248156 h 2496312"/>
                <a:gd name="connsiteX4" fmla="*/ 1248156 w 2496312"/>
                <a:gd name="connsiteY4" fmla="*/ 214884 h 2496312"/>
                <a:gd name="connsiteX5" fmla="*/ 1248156 w 2496312"/>
                <a:gd name="connsiteY5" fmla="*/ 0 h 2496312"/>
                <a:gd name="connsiteX6" fmla="*/ 2496312 w 2496312"/>
                <a:gd name="connsiteY6" fmla="*/ 1248156 h 2496312"/>
                <a:gd name="connsiteX7" fmla="*/ 1248156 w 2496312"/>
                <a:gd name="connsiteY7" fmla="*/ 2496312 h 2496312"/>
                <a:gd name="connsiteX8" fmla="*/ 0 w 2496312"/>
                <a:gd name="connsiteY8" fmla="*/ 1248156 h 2496312"/>
                <a:gd name="connsiteX9" fmla="*/ 1248156 w 2496312"/>
                <a:gd name="connsiteY9" fmla="*/ 0 h 2496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6312" h="2496312">
                  <a:moveTo>
                    <a:pt x="1248156" y="214884"/>
                  </a:moveTo>
                  <a:cubicBezTo>
                    <a:pt x="677496" y="214884"/>
                    <a:pt x="214884" y="677496"/>
                    <a:pt x="214884" y="1248156"/>
                  </a:cubicBezTo>
                  <a:cubicBezTo>
                    <a:pt x="214884" y="1818816"/>
                    <a:pt x="677496" y="2281428"/>
                    <a:pt x="1248156" y="2281428"/>
                  </a:cubicBezTo>
                  <a:cubicBezTo>
                    <a:pt x="1818816" y="2281428"/>
                    <a:pt x="2281428" y="1818816"/>
                    <a:pt x="2281428" y="1248156"/>
                  </a:cubicBezTo>
                  <a:cubicBezTo>
                    <a:pt x="2281428" y="677496"/>
                    <a:pt x="1818816" y="214884"/>
                    <a:pt x="1248156" y="214884"/>
                  </a:cubicBezTo>
                  <a:close/>
                  <a:moveTo>
                    <a:pt x="1248156" y="0"/>
                  </a:moveTo>
                  <a:cubicBezTo>
                    <a:pt x="1937494" y="0"/>
                    <a:pt x="2496312" y="558818"/>
                    <a:pt x="2496312" y="1248156"/>
                  </a:cubicBezTo>
                  <a:cubicBezTo>
                    <a:pt x="2496312" y="1937494"/>
                    <a:pt x="1937494" y="2496312"/>
                    <a:pt x="1248156" y="2496312"/>
                  </a:cubicBezTo>
                  <a:cubicBezTo>
                    <a:pt x="558818" y="2496312"/>
                    <a:pt x="0" y="1937494"/>
                    <a:pt x="0" y="1248156"/>
                  </a:cubicBezTo>
                  <a:cubicBezTo>
                    <a:pt x="0" y="558818"/>
                    <a:pt x="558818" y="0"/>
                    <a:pt x="1248156" y="0"/>
                  </a:cubicBezTo>
                  <a:close/>
                </a:path>
              </a:pathLst>
            </a:custGeom>
            <a:solidFill>
              <a:srgbClr val="43B02A"/>
            </a:solidFill>
            <a:ln w="12700">
              <a:solidFill>
                <a:schemeClr val="bg1"/>
              </a:solidFill>
            </a:ln>
          </p:spPr>
          <p:txBody>
            <a:bodyPr vert="horz" wrap="square" lIns="91440" tIns="45720" rIns="91440" bIns="45720" numCol="1" anchor="t" anchorCtr="0" compatLnSpc="1">
              <a:prstTxWarp prst="textNoShape">
                <a:avLst/>
              </a:prstTxWarp>
            </a:bodyPr>
            <a:lstStyle/>
            <a:p>
              <a:endParaRPr lang="en-US" sz="1100" dirty="0"/>
            </a:p>
          </p:txBody>
        </p:sp>
        <p:sp>
          <p:nvSpPr>
            <p:cNvPr id="230" name="Freeform 229">
              <a:extLst>
                <a:ext uri="{FF2B5EF4-FFF2-40B4-BE49-F238E27FC236}">
                  <a16:creationId xmlns:a16="http://schemas.microsoft.com/office/drawing/2014/main" id="{9F141034-B611-D844-8FBC-A4E377608B1B}"/>
                </a:ext>
              </a:extLst>
            </p:cNvPr>
            <p:cNvSpPr>
              <a:spLocks noChangeArrowheads="1"/>
            </p:cNvSpPr>
            <p:nvPr/>
          </p:nvSpPr>
          <p:spPr bwMode="gray">
            <a:xfrm>
              <a:off x="1731204" y="0"/>
              <a:ext cx="3355848" cy="3355848"/>
            </a:xfrm>
            <a:custGeom>
              <a:avLst/>
              <a:gdLst>
                <a:gd name="connsiteX0" fmla="*/ 1677924 w 3355848"/>
                <a:gd name="connsiteY0" fmla="*/ 214884 h 3355848"/>
                <a:gd name="connsiteX1" fmla="*/ 214884 w 3355848"/>
                <a:gd name="connsiteY1" fmla="*/ 1677924 h 3355848"/>
                <a:gd name="connsiteX2" fmla="*/ 1677924 w 3355848"/>
                <a:gd name="connsiteY2" fmla="*/ 3140964 h 3355848"/>
                <a:gd name="connsiteX3" fmla="*/ 3140964 w 3355848"/>
                <a:gd name="connsiteY3" fmla="*/ 1677924 h 3355848"/>
                <a:gd name="connsiteX4" fmla="*/ 1677924 w 3355848"/>
                <a:gd name="connsiteY4" fmla="*/ 214884 h 3355848"/>
                <a:gd name="connsiteX5" fmla="*/ 1677924 w 3355848"/>
                <a:gd name="connsiteY5" fmla="*/ 0 h 3355848"/>
                <a:gd name="connsiteX6" fmla="*/ 3355848 w 3355848"/>
                <a:gd name="connsiteY6" fmla="*/ 1677924 h 3355848"/>
                <a:gd name="connsiteX7" fmla="*/ 1677924 w 3355848"/>
                <a:gd name="connsiteY7" fmla="*/ 3355848 h 3355848"/>
                <a:gd name="connsiteX8" fmla="*/ 0 w 3355848"/>
                <a:gd name="connsiteY8" fmla="*/ 1677924 h 3355848"/>
                <a:gd name="connsiteX9" fmla="*/ 1677924 w 3355848"/>
                <a:gd name="connsiteY9" fmla="*/ 0 h 335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55848" h="3355848">
                  <a:moveTo>
                    <a:pt x="1677924" y="214884"/>
                  </a:moveTo>
                  <a:cubicBezTo>
                    <a:pt x="869909" y="214884"/>
                    <a:pt x="214884" y="869909"/>
                    <a:pt x="214884" y="1677924"/>
                  </a:cubicBezTo>
                  <a:cubicBezTo>
                    <a:pt x="214884" y="2485939"/>
                    <a:pt x="869909" y="3140964"/>
                    <a:pt x="1677924" y="3140964"/>
                  </a:cubicBezTo>
                  <a:cubicBezTo>
                    <a:pt x="2485939" y="3140964"/>
                    <a:pt x="3140964" y="2485939"/>
                    <a:pt x="3140964" y="1677924"/>
                  </a:cubicBezTo>
                  <a:cubicBezTo>
                    <a:pt x="3140964" y="869909"/>
                    <a:pt x="2485939" y="214884"/>
                    <a:pt x="1677924" y="214884"/>
                  </a:cubicBezTo>
                  <a:close/>
                  <a:moveTo>
                    <a:pt x="1677924" y="0"/>
                  </a:moveTo>
                  <a:cubicBezTo>
                    <a:pt x="2604616" y="0"/>
                    <a:pt x="3355848" y="751232"/>
                    <a:pt x="3355848" y="1677924"/>
                  </a:cubicBezTo>
                  <a:cubicBezTo>
                    <a:pt x="3355848" y="2604616"/>
                    <a:pt x="2604616" y="3355848"/>
                    <a:pt x="1677924" y="3355848"/>
                  </a:cubicBezTo>
                  <a:cubicBezTo>
                    <a:pt x="751232" y="3355848"/>
                    <a:pt x="0" y="2604616"/>
                    <a:pt x="0" y="1677924"/>
                  </a:cubicBezTo>
                  <a:cubicBezTo>
                    <a:pt x="0" y="751232"/>
                    <a:pt x="751232" y="0"/>
                    <a:pt x="1677924" y="0"/>
                  </a:cubicBezTo>
                  <a:close/>
                </a:path>
              </a:pathLst>
            </a:custGeom>
            <a:solidFill>
              <a:srgbClr val="000000"/>
            </a:solidFill>
            <a:ln w="12700">
              <a:solidFill>
                <a:schemeClr val="bg1"/>
              </a:solidFill>
            </a:ln>
          </p:spPr>
          <p:txBody>
            <a:bodyPr vert="horz" wrap="square" lIns="91440" tIns="45720" rIns="91440" bIns="45720" numCol="1" anchor="t" anchorCtr="0" compatLnSpc="1">
              <a:prstTxWarp prst="textNoShape">
                <a:avLst/>
              </a:prstTxWarp>
            </a:bodyPr>
            <a:lstStyle/>
            <a:p>
              <a:endParaRPr lang="en-US" sz="1100" dirty="0"/>
            </a:p>
          </p:txBody>
        </p:sp>
      </p:grpSp>
      <p:sp>
        <p:nvSpPr>
          <p:cNvPr id="217" name="Freeform 5"/>
          <p:cNvSpPr>
            <a:spLocks/>
          </p:cNvSpPr>
          <p:nvPr/>
        </p:nvSpPr>
        <p:spPr bwMode="auto">
          <a:xfrm>
            <a:off x="968456" y="2168506"/>
            <a:ext cx="2449513" cy="2449512"/>
          </a:xfrm>
          <a:custGeom>
            <a:avLst/>
            <a:gdLst>
              <a:gd name="T0" fmla="*/ 1543 w 1543"/>
              <a:gd name="T1" fmla="*/ 0 h 1543"/>
              <a:gd name="T2" fmla="*/ 771 w 1543"/>
              <a:gd name="T3" fmla="*/ 552 h 1543"/>
              <a:gd name="T4" fmla="*/ 0 w 1543"/>
              <a:gd name="T5" fmla="*/ 0 h 1543"/>
              <a:gd name="T6" fmla="*/ 552 w 1543"/>
              <a:gd name="T7" fmla="*/ 772 h 1543"/>
              <a:gd name="T8" fmla="*/ 0 w 1543"/>
              <a:gd name="T9" fmla="*/ 1543 h 1543"/>
              <a:gd name="T10" fmla="*/ 771 w 1543"/>
              <a:gd name="T11" fmla="*/ 991 h 1543"/>
              <a:gd name="T12" fmla="*/ 1543 w 1543"/>
              <a:gd name="T13" fmla="*/ 1543 h 1543"/>
              <a:gd name="T14" fmla="*/ 990 w 1543"/>
              <a:gd name="T15" fmla="*/ 772 h 1543"/>
              <a:gd name="T16" fmla="*/ 1543 w 1543"/>
              <a:gd name="T17" fmla="*/ 0 h 1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3" h="1543">
                <a:moveTo>
                  <a:pt x="1543" y="0"/>
                </a:moveTo>
                <a:lnTo>
                  <a:pt x="771" y="552"/>
                </a:lnTo>
                <a:lnTo>
                  <a:pt x="0" y="0"/>
                </a:lnTo>
                <a:lnTo>
                  <a:pt x="552" y="772"/>
                </a:lnTo>
                <a:lnTo>
                  <a:pt x="0" y="1543"/>
                </a:lnTo>
                <a:lnTo>
                  <a:pt x="771" y="991"/>
                </a:lnTo>
                <a:lnTo>
                  <a:pt x="1543" y="1543"/>
                </a:lnTo>
                <a:lnTo>
                  <a:pt x="990" y="772"/>
                </a:lnTo>
                <a:lnTo>
                  <a:pt x="1543" y="0"/>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218" name="TextBox 217">
            <a:extLst>
              <a:ext uri="{FF2B5EF4-FFF2-40B4-BE49-F238E27FC236}">
                <a16:creationId xmlns:a16="http://schemas.microsoft.com/office/drawing/2014/main" id="{D257BBDB-9512-864A-8B89-EFEFB1DFD2F7}"/>
              </a:ext>
            </a:extLst>
          </p:cNvPr>
          <p:cNvSpPr txBox="1"/>
          <p:nvPr/>
        </p:nvSpPr>
        <p:spPr>
          <a:xfrm rot="2762168">
            <a:off x="1631695" y="1838862"/>
            <a:ext cx="2436835" cy="1931176"/>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19" name="TextBox 218">
            <a:extLst>
              <a:ext uri="{FF2B5EF4-FFF2-40B4-BE49-F238E27FC236}">
                <a16:creationId xmlns:a16="http://schemas.microsoft.com/office/drawing/2014/main" id="{30778F4C-A378-904A-83AC-9B6A833F6B68}"/>
              </a:ext>
            </a:extLst>
          </p:cNvPr>
          <p:cNvSpPr txBox="1"/>
          <p:nvPr/>
        </p:nvSpPr>
        <p:spPr>
          <a:xfrm rot="18900000">
            <a:off x="338792" y="1835882"/>
            <a:ext cx="2436835" cy="1931176"/>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20" name="TextBox 219">
            <a:extLst>
              <a:ext uri="{FF2B5EF4-FFF2-40B4-BE49-F238E27FC236}">
                <a16:creationId xmlns:a16="http://schemas.microsoft.com/office/drawing/2014/main" id="{571C17FE-4200-8447-A17A-D9F5DE377227}"/>
              </a:ext>
            </a:extLst>
          </p:cNvPr>
          <p:cNvSpPr txBox="1"/>
          <p:nvPr/>
        </p:nvSpPr>
        <p:spPr>
          <a:xfrm rot="18900000">
            <a:off x="1580635" y="3052998"/>
            <a:ext cx="2436835" cy="1931176"/>
          </a:xfrm>
          <a:prstGeom prst="rect">
            <a:avLst/>
          </a:prstGeom>
          <a:noFill/>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21" name="TextBox 220">
            <a:extLst>
              <a:ext uri="{FF2B5EF4-FFF2-40B4-BE49-F238E27FC236}">
                <a16:creationId xmlns:a16="http://schemas.microsoft.com/office/drawing/2014/main" id="{82510B06-F96A-4E4F-829E-7D63163FE0B3}"/>
              </a:ext>
            </a:extLst>
          </p:cNvPr>
          <p:cNvSpPr txBox="1"/>
          <p:nvPr/>
        </p:nvSpPr>
        <p:spPr>
          <a:xfrm rot="2700000">
            <a:off x="397889" y="3052999"/>
            <a:ext cx="2436835" cy="1931176"/>
          </a:xfrm>
          <a:prstGeom prst="rect">
            <a:avLst/>
          </a:prstGeom>
          <a:noFill/>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22" name="TextBox 221">
            <a:extLst>
              <a:ext uri="{FF2B5EF4-FFF2-40B4-BE49-F238E27FC236}">
                <a16:creationId xmlns:a16="http://schemas.microsoft.com/office/drawing/2014/main" id="{52478BBD-49DC-8B4E-8FDB-56A958F53C6E}"/>
              </a:ext>
            </a:extLst>
          </p:cNvPr>
          <p:cNvSpPr txBox="1"/>
          <p:nvPr/>
        </p:nvSpPr>
        <p:spPr>
          <a:xfrm rot="18970677">
            <a:off x="2358575" y="2740299"/>
            <a:ext cx="775853" cy="169277"/>
          </a:xfrm>
          <a:prstGeom prst="rect">
            <a:avLst/>
          </a:prstGeom>
          <a:noFill/>
        </p:spPr>
        <p:txBody>
          <a:bodyPr wrap="none" lIns="0" tIns="0" rIns="0" bIns="0" rtlCol="0">
            <a:spAutoFit/>
          </a:bodyPr>
          <a:lstStyle/>
          <a:p>
            <a:pPr algn="ctr"/>
            <a:r>
              <a:rPr lang="en-US" sz="1100" dirty="0">
                <a:solidFill>
                  <a:srgbClr val="FFFFFF"/>
                </a:solidFill>
                <a:latin typeface="+mj-lt"/>
              </a:rPr>
              <a:t>Lorem ipsum </a:t>
            </a:r>
            <a:endParaRPr lang="en-GB" sz="1100" dirty="0">
              <a:solidFill>
                <a:srgbClr val="FFFFFF"/>
              </a:solidFill>
              <a:latin typeface="+mj-lt"/>
            </a:endParaRPr>
          </a:p>
        </p:txBody>
      </p:sp>
      <p:sp>
        <p:nvSpPr>
          <p:cNvPr id="223" name="TextBox 222">
            <a:extLst>
              <a:ext uri="{FF2B5EF4-FFF2-40B4-BE49-F238E27FC236}">
                <a16:creationId xmlns:a16="http://schemas.microsoft.com/office/drawing/2014/main" id="{EAC24581-DF97-8147-A065-708D907FB569}"/>
              </a:ext>
            </a:extLst>
          </p:cNvPr>
          <p:cNvSpPr txBox="1"/>
          <p:nvPr/>
        </p:nvSpPr>
        <p:spPr>
          <a:xfrm rot="2641171">
            <a:off x="1250986" y="2739539"/>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solidFill>
                  <a:srgbClr val="FFFFFF"/>
                </a:solidFill>
              </a:rPr>
              <a:t>Lorem ipsum </a:t>
            </a:r>
            <a:endParaRPr lang="en-GB" dirty="0">
              <a:solidFill>
                <a:srgbClr val="FFFFFF"/>
              </a:solidFill>
            </a:endParaRPr>
          </a:p>
        </p:txBody>
      </p:sp>
      <p:sp>
        <p:nvSpPr>
          <p:cNvPr id="224" name="TextBox 223">
            <a:extLst>
              <a:ext uri="{FF2B5EF4-FFF2-40B4-BE49-F238E27FC236}">
                <a16:creationId xmlns:a16="http://schemas.microsoft.com/office/drawing/2014/main" id="{2E811E49-D59A-574C-83A1-ECFB55D45B17}"/>
              </a:ext>
            </a:extLst>
          </p:cNvPr>
          <p:cNvSpPr txBox="1"/>
          <p:nvPr/>
        </p:nvSpPr>
        <p:spPr>
          <a:xfrm rot="18827092">
            <a:off x="1250986" y="3858911"/>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solidFill>
                  <a:srgbClr val="FFFFFF"/>
                </a:solidFill>
              </a:rPr>
              <a:t>Lorem ipsum </a:t>
            </a:r>
            <a:endParaRPr lang="en-GB" dirty="0">
              <a:solidFill>
                <a:srgbClr val="FFFFFF"/>
              </a:solidFill>
            </a:endParaRPr>
          </a:p>
        </p:txBody>
      </p:sp>
      <p:sp>
        <p:nvSpPr>
          <p:cNvPr id="225" name="TextBox 224">
            <a:extLst>
              <a:ext uri="{FF2B5EF4-FFF2-40B4-BE49-F238E27FC236}">
                <a16:creationId xmlns:a16="http://schemas.microsoft.com/office/drawing/2014/main" id="{59B5C046-E816-464E-B0BB-E87A25CDCF9D}"/>
              </a:ext>
            </a:extLst>
          </p:cNvPr>
          <p:cNvSpPr txBox="1"/>
          <p:nvPr/>
        </p:nvSpPr>
        <p:spPr>
          <a:xfrm rot="2561759">
            <a:off x="2358575" y="3872276"/>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solidFill>
                  <a:srgbClr val="FFFFFF"/>
                </a:solidFill>
              </a:rPr>
              <a:t>Lorem ipsum </a:t>
            </a:r>
            <a:endParaRPr lang="en-GB" dirty="0">
              <a:solidFill>
                <a:srgbClr val="FFFFFF"/>
              </a:solidFill>
            </a:endParaRPr>
          </a:p>
        </p:txBody>
      </p:sp>
      <p:sp>
        <p:nvSpPr>
          <p:cNvPr id="226" name="TextBox 225">
            <a:extLst>
              <a:ext uri="{FF2B5EF4-FFF2-40B4-BE49-F238E27FC236}">
                <a16:creationId xmlns:a16="http://schemas.microsoft.com/office/drawing/2014/main" id="{3C5C7B14-F792-8F48-835C-D0994D6ADE0E}"/>
              </a:ext>
            </a:extLst>
          </p:cNvPr>
          <p:cNvSpPr txBox="1"/>
          <p:nvPr/>
        </p:nvSpPr>
        <p:spPr>
          <a:xfrm>
            <a:off x="2003389" y="3279902"/>
            <a:ext cx="370294" cy="169277"/>
          </a:xfrm>
          <a:prstGeom prst="rect">
            <a:avLst/>
          </a:prstGeom>
          <a:noFill/>
        </p:spPr>
        <p:txBody>
          <a:bodyPr wrap="none" lIns="0" tIns="0" rIns="0" bIns="0" rtlCol="0">
            <a:spAutoFit/>
          </a:bodyPr>
          <a:lstStyle/>
          <a:p>
            <a:pPr algn="ctr"/>
            <a:r>
              <a:rPr lang="en-US" sz="1100" b="1" dirty="0">
                <a:solidFill>
                  <a:srgbClr val="FFFFFF"/>
                </a:solidFill>
                <a:latin typeface="+mj-lt"/>
              </a:rPr>
              <a:t>Lorem</a:t>
            </a:r>
            <a:endParaRPr lang="en-GB" sz="1100" b="1" dirty="0">
              <a:solidFill>
                <a:srgbClr val="FFFFFF"/>
              </a:solidFill>
              <a:latin typeface="+mj-lt"/>
            </a:endParaRPr>
          </a:p>
        </p:txBody>
      </p:sp>
      <p:sp>
        <p:nvSpPr>
          <p:cNvPr id="227" name="TextBox 226">
            <a:extLst>
              <a:ext uri="{FF2B5EF4-FFF2-40B4-BE49-F238E27FC236}">
                <a16:creationId xmlns:a16="http://schemas.microsoft.com/office/drawing/2014/main" id="{865D918C-35DB-DC4D-8CF3-C690935213D6}"/>
              </a:ext>
            </a:extLst>
          </p:cNvPr>
          <p:cNvSpPr txBox="1"/>
          <p:nvPr/>
        </p:nvSpPr>
        <p:spPr>
          <a:xfrm>
            <a:off x="1364887" y="1827404"/>
            <a:ext cx="1644254" cy="725215"/>
          </a:xfrm>
          <a:prstGeom prst="rect">
            <a:avLst/>
          </a:prstGeom>
          <a:noFill/>
        </p:spPr>
        <p:txBody>
          <a:bodyPr spcFirstLastPara="1" wrap="none" lIns="0" tIns="0" rIns="0" bIns="0" numCol="1" rtlCol="0">
            <a:prstTxWarp prst="textArchUp">
              <a:avLst>
                <a:gd name="adj" fmla="val 11261784"/>
              </a:avLst>
            </a:prstTxWarp>
            <a:spAutoFit/>
          </a:bodyPr>
          <a:lstStyle/>
          <a:p>
            <a:pPr algn="ctr"/>
            <a:r>
              <a:rPr lang="en-US" sz="1100" dirty="0">
                <a:solidFill>
                  <a:schemeClr val="bg1"/>
                </a:solidFill>
                <a:latin typeface="+mj-lt"/>
              </a:rPr>
              <a:t>Lorem ipsum </a:t>
            </a:r>
            <a:endParaRPr lang="en-GB" sz="1100" dirty="0">
              <a:solidFill>
                <a:schemeClr val="bg1"/>
              </a:solidFill>
              <a:latin typeface="+mj-lt"/>
            </a:endParaRPr>
          </a:p>
        </p:txBody>
      </p:sp>
    </p:spTree>
    <p:custDataLst>
      <p:tags r:id="rId1"/>
    </p:custDataLst>
    <p:extLst>
      <p:ext uri="{BB962C8B-B14F-4D97-AF65-F5344CB8AC3E}">
        <p14:creationId xmlns:p14="http://schemas.microsoft.com/office/powerpoint/2010/main" val="246529570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4016375" y="1714500"/>
            <a:ext cx="4159251" cy="4156075"/>
            <a:chOff x="964331" y="1582738"/>
            <a:chExt cx="4159251" cy="4156075"/>
          </a:xfrm>
        </p:grpSpPr>
        <p:sp>
          <p:nvSpPr>
            <p:cNvPr id="5" name="Freeform 5"/>
            <p:cNvSpPr>
              <a:spLocks/>
            </p:cNvSpPr>
            <p:nvPr/>
          </p:nvSpPr>
          <p:spPr bwMode="auto">
            <a:xfrm>
              <a:off x="3032844" y="1582738"/>
              <a:ext cx="2090738" cy="2078038"/>
            </a:xfrm>
            <a:custGeom>
              <a:avLst/>
              <a:gdLst>
                <a:gd name="T0" fmla="*/ 3 w 661"/>
                <a:gd name="T1" fmla="*/ 189 h 657"/>
                <a:gd name="T2" fmla="*/ 3 w 661"/>
                <a:gd name="T3" fmla="*/ 189 h 657"/>
                <a:gd name="T4" fmla="*/ 472 w 661"/>
                <a:gd name="T5" fmla="*/ 657 h 657"/>
                <a:gd name="T6" fmla="*/ 661 w 661"/>
                <a:gd name="T7" fmla="*/ 657 h 657"/>
                <a:gd name="T8" fmla="*/ 3 w 661"/>
                <a:gd name="T9" fmla="*/ 0 h 657"/>
                <a:gd name="T10" fmla="*/ 0 w 661"/>
                <a:gd name="T11" fmla="*/ 0 h 657"/>
                <a:gd name="T12" fmla="*/ 0 w 661"/>
                <a:gd name="T13" fmla="*/ 189 h 657"/>
                <a:gd name="T14" fmla="*/ 3 w 661"/>
                <a:gd name="T15" fmla="*/ 189 h 657"/>
                <a:gd name="T16" fmla="*/ 3 w 661"/>
                <a:gd name="T17" fmla="*/ 189 h 657"/>
                <a:gd name="T18" fmla="*/ 3 w 661"/>
                <a:gd name="T19" fmla="*/ 18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1" h="657">
                  <a:moveTo>
                    <a:pt x="3" y="189"/>
                  </a:moveTo>
                  <a:cubicBezTo>
                    <a:pt x="3" y="189"/>
                    <a:pt x="3" y="189"/>
                    <a:pt x="3" y="189"/>
                  </a:cubicBezTo>
                  <a:cubicBezTo>
                    <a:pt x="262" y="189"/>
                    <a:pt x="472" y="398"/>
                    <a:pt x="472" y="657"/>
                  </a:cubicBezTo>
                  <a:cubicBezTo>
                    <a:pt x="661" y="657"/>
                    <a:pt x="661" y="657"/>
                    <a:pt x="661" y="657"/>
                  </a:cubicBezTo>
                  <a:cubicBezTo>
                    <a:pt x="660" y="294"/>
                    <a:pt x="366" y="0"/>
                    <a:pt x="3" y="0"/>
                  </a:cubicBezTo>
                  <a:cubicBezTo>
                    <a:pt x="2" y="0"/>
                    <a:pt x="1" y="0"/>
                    <a:pt x="0" y="0"/>
                  </a:cubicBezTo>
                  <a:cubicBezTo>
                    <a:pt x="0" y="189"/>
                    <a:pt x="0" y="189"/>
                    <a:pt x="0" y="189"/>
                  </a:cubicBezTo>
                  <a:cubicBezTo>
                    <a:pt x="1" y="189"/>
                    <a:pt x="2" y="189"/>
                    <a:pt x="3" y="189"/>
                  </a:cubicBezTo>
                  <a:cubicBezTo>
                    <a:pt x="3" y="189"/>
                    <a:pt x="3" y="189"/>
                    <a:pt x="3" y="189"/>
                  </a:cubicBezTo>
                  <a:cubicBezTo>
                    <a:pt x="3" y="189"/>
                    <a:pt x="3" y="189"/>
                    <a:pt x="3" y="189"/>
                  </a:cubicBezTo>
                  <a:close/>
                </a:path>
              </a:pathLst>
            </a:custGeom>
            <a:solidFill>
              <a:srgbClr val="26890D"/>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6" name="Freeform 6"/>
            <p:cNvSpPr>
              <a:spLocks/>
            </p:cNvSpPr>
            <p:nvPr/>
          </p:nvSpPr>
          <p:spPr bwMode="auto">
            <a:xfrm>
              <a:off x="3032844" y="4713288"/>
              <a:ext cx="1479550" cy="1025525"/>
            </a:xfrm>
            <a:custGeom>
              <a:avLst/>
              <a:gdLst>
                <a:gd name="T0" fmla="*/ 3 w 468"/>
                <a:gd name="T1" fmla="*/ 136 h 324"/>
                <a:gd name="T2" fmla="*/ 0 w 468"/>
                <a:gd name="T3" fmla="*/ 136 h 324"/>
                <a:gd name="T4" fmla="*/ 0 w 468"/>
                <a:gd name="T5" fmla="*/ 324 h 324"/>
                <a:gd name="T6" fmla="*/ 3 w 468"/>
                <a:gd name="T7" fmla="*/ 324 h 324"/>
                <a:gd name="T8" fmla="*/ 468 w 468"/>
                <a:gd name="T9" fmla="*/ 133 h 324"/>
                <a:gd name="T10" fmla="*/ 334 w 468"/>
                <a:gd name="T11" fmla="*/ 0 h 324"/>
                <a:gd name="T12" fmla="*/ 3 w 468"/>
                <a:gd name="T13" fmla="*/ 136 h 324"/>
              </a:gdLst>
              <a:ahLst/>
              <a:cxnLst>
                <a:cxn ang="0">
                  <a:pos x="T0" y="T1"/>
                </a:cxn>
                <a:cxn ang="0">
                  <a:pos x="T2" y="T3"/>
                </a:cxn>
                <a:cxn ang="0">
                  <a:pos x="T4" y="T5"/>
                </a:cxn>
                <a:cxn ang="0">
                  <a:pos x="T6" y="T7"/>
                </a:cxn>
                <a:cxn ang="0">
                  <a:pos x="T8" y="T9"/>
                </a:cxn>
                <a:cxn ang="0">
                  <a:pos x="T10" y="T11"/>
                </a:cxn>
                <a:cxn ang="0">
                  <a:pos x="T12" y="T13"/>
                </a:cxn>
              </a:cxnLst>
              <a:rect l="0" t="0" r="r" b="b"/>
              <a:pathLst>
                <a:path w="468" h="324">
                  <a:moveTo>
                    <a:pt x="3" y="136"/>
                  </a:moveTo>
                  <a:cubicBezTo>
                    <a:pt x="2" y="136"/>
                    <a:pt x="1" y="136"/>
                    <a:pt x="0" y="136"/>
                  </a:cubicBezTo>
                  <a:cubicBezTo>
                    <a:pt x="0" y="324"/>
                    <a:pt x="0" y="324"/>
                    <a:pt x="0" y="324"/>
                  </a:cubicBezTo>
                  <a:cubicBezTo>
                    <a:pt x="1" y="324"/>
                    <a:pt x="2" y="324"/>
                    <a:pt x="3" y="324"/>
                  </a:cubicBezTo>
                  <a:cubicBezTo>
                    <a:pt x="184" y="324"/>
                    <a:pt x="349" y="251"/>
                    <a:pt x="468" y="133"/>
                  </a:cubicBezTo>
                  <a:cubicBezTo>
                    <a:pt x="334" y="0"/>
                    <a:pt x="334" y="0"/>
                    <a:pt x="334" y="0"/>
                  </a:cubicBezTo>
                  <a:cubicBezTo>
                    <a:pt x="249" y="84"/>
                    <a:pt x="132" y="136"/>
                    <a:pt x="3" y="136"/>
                  </a:cubicBezTo>
                  <a:close/>
                </a:path>
              </a:pathLst>
            </a:custGeom>
            <a:solidFill>
              <a:srgbClr val="43B02A"/>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7" name="Freeform 7"/>
            <p:cNvSpPr>
              <a:spLocks/>
            </p:cNvSpPr>
            <p:nvPr/>
          </p:nvSpPr>
          <p:spPr bwMode="auto">
            <a:xfrm>
              <a:off x="4088531" y="3660776"/>
              <a:ext cx="1035050" cy="1473200"/>
            </a:xfrm>
            <a:custGeom>
              <a:avLst/>
              <a:gdLst>
                <a:gd name="T0" fmla="*/ 327 w 327"/>
                <a:gd name="T1" fmla="*/ 2 h 466"/>
                <a:gd name="T2" fmla="*/ 327 w 327"/>
                <a:gd name="T3" fmla="*/ 0 h 466"/>
                <a:gd name="T4" fmla="*/ 138 w 327"/>
                <a:gd name="T5" fmla="*/ 0 h 466"/>
                <a:gd name="T6" fmla="*/ 138 w 327"/>
                <a:gd name="T7" fmla="*/ 2 h 466"/>
                <a:gd name="T8" fmla="*/ 0 w 327"/>
                <a:gd name="T9" fmla="*/ 333 h 466"/>
                <a:gd name="T10" fmla="*/ 134 w 327"/>
                <a:gd name="T11" fmla="*/ 466 h 466"/>
                <a:gd name="T12" fmla="*/ 327 w 327"/>
                <a:gd name="T13" fmla="*/ 2 h 466"/>
              </a:gdLst>
              <a:ahLst/>
              <a:cxnLst>
                <a:cxn ang="0">
                  <a:pos x="T0" y="T1"/>
                </a:cxn>
                <a:cxn ang="0">
                  <a:pos x="T2" y="T3"/>
                </a:cxn>
                <a:cxn ang="0">
                  <a:pos x="T4" y="T5"/>
                </a:cxn>
                <a:cxn ang="0">
                  <a:pos x="T6" y="T7"/>
                </a:cxn>
                <a:cxn ang="0">
                  <a:pos x="T8" y="T9"/>
                </a:cxn>
                <a:cxn ang="0">
                  <a:pos x="T10" y="T11"/>
                </a:cxn>
                <a:cxn ang="0">
                  <a:pos x="T12" y="T13"/>
                </a:cxn>
              </a:cxnLst>
              <a:rect l="0" t="0" r="r" b="b"/>
              <a:pathLst>
                <a:path w="327" h="466">
                  <a:moveTo>
                    <a:pt x="327" y="2"/>
                  </a:moveTo>
                  <a:cubicBezTo>
                    <a:pt x="327" y="1"/>
                    <a:pt x="327" y="1"/>
                    <a:pt x="327" y="0"/>
                  </a:cubicBezTo>
                  <a:cubicBezTo>
                    <a:pt x="138" y="0"/>
                    <a:pt x="138" y="0"/>
                    <a:pt x="138" y="0"/>
                  </a:cubicBezTo>
                  <a:cubicBezTo>
                    <a:pt x="138" y="1"/>
                    <a:pt x="138" y="1"/>
                    <a:pt x="138" y="2"/>
                  </a:cubicBezTo>
                  <a:cubicBezTo>
                    <a:pt x="138" y="131"/>
                    <a:pt x="85" y="248"/>
                    <a:pt x="0" y="333"/>
                  </a:cubicBezTo>
                  <a:cubicBezTo>
                    <a:pt x="134" y="466"/>
                    <a:pt x="134" y="466"/>
                    <a:pt x="134" y="466"/>
                  </a:cubicBezTo>
                  <a:cubicBezTo>
                    <a:pt x="253" y="347"/>
                    <a:pt x="327" y="183"/>
                    <a:pt x="327" y="2"/>
                  </a:cubicBezTo>
                  <a:close/>
                </a:path>
              </a:pathLst>
            </a:custGeom>
            <a:solidFill>
              <a:srgbClr val="43B02A"/>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8" name="Freeform 8"/>
            <p:cNvSpPr>
              <a:spLocks/>
            </p:cNvSpPr>
            <p:nvPr/>
          </p:nvSpPr>
          <p:spPr bwMode="auto">
            <a:xfrm>
              <a:off x="964331" y="3660776"/>
              <a:ext cx="790575" cy="1038225"/>
            </a:xfrm>
            <a:custGeom>
              <a:avLst/>
              <a:gdLst>
                <a:gd name="T0" fmla="*/ 188 w 250"/>
                <a:gd name="T1" fmla="*/ 2 h 328"/>
                <a:gd name="T2" fmla="*/ 188 w 250"/>
                <a:gd name="T3" fmla="*/ 0 h 328"/>
                <a:gd name="T4" fmla="*/ 0 w 250"/>
                <a:gd name="T5" fmla="*/ 0 h 328"/>
                <a:gd name="T6" fmla="*/ 0 w 250"/>
                <a:gd name="T7" fmla="*/ 2 h 328"/>
                <a:gd name="T8" fmla="*/ 88 w 250"/>
                <a:gd name="T9" fmla="*/ 328 h 328"/>
                <a:gd name="T10" fmla="*/ 250 w 250"/>
                <a:gd name="T11" fmla="*/ 234 h 328"/>
                <a:gd name="T12" fmla="*/ 188 w 250"/>
                <a:gd name="T13" fmla="*/ 2 h 328"/>
              </a:gdLst>
              <a:ahLst/>
              <a:cxnLst>
                <a:cxn ang="0">
                  <a:pos x="T0" y="T1"/>
                </a:cxn>
                <a:cxn ang="0">
                  <a:pos x="T2" y="T3"/>
                </a:cxn>
                <a:cxn ang="0">
                  <a:pos x="T4" y="T5"/>
                </a:cxn>
                <a:cxn ang="0">
                  <a:pos x="T6" y="T7"/>
                </a:cxn>
                <a:cxn ang="0">
                  <a:pos x="T8" y="T9"/>
                </a:cxn>
                <a:cxn ang="0">
                  <a:pos x="T10" y="T11"/>
                </a:cxn>
                <a:cxn ang="0">
                  <a:pos x="T12" y="T13"/>
                </a:cxn>
              </a:cxnLst>
              <a:rect l="0" t="0" r="r" b="b"/>
              <a:pathLst>
                <a:path w="250" h="328">
                  <a:moveTo>
                    <a:pt x="188" y="2"/>
                  </a:moveTo>
                  <a:cubicBezTo>
                    <a:pt x="188" y="1"/>
                    <a:pt x="188" y="1"/>
                    <a:pt x="188" y="0"/>
                  </a:cubicBezTo>
                  <a:cubicBezTo>
                    <a:pt x="0" y="0"/>
                    <a:pt x="0" y="0"/>
                    <a:pt x="0" y="0"/>
                  </a:cubicBezTo>
                  <a:cubicBezTo>
                    <a:pt x="0" y="1"/>
                    <a:pt x="0" y="1"/>
                    <a:pt x="0" y="2"/>
                  </a:cubicBezTo>
                  <a:cubicBezTo>
                    <a:pt x="0" y="120"/>
                    <a:pt x="32" y="232"/>
                    <a:pt x="88" y="328"/>
                  </a:cubicBezTo>
                  <a:cubicBezTo>
                    <a:pt x="250" y="234"/>
                    <a:pt x="250" y="234"/>
                    <a:pt x="250" y="234"/>
                  </a:cubicBezTo>
                  <a:cubicBezTo>
                    <a:pt x="211" y="166"/>
                    <a:pt x="188" y="86"/>
                    <a:pt x="188" y="2"/>
                  </a:cubicBezTo>
                  <a:close/>
                </a:path>
              </a:pathLst>
            </a:custGeom>
            <a:solidFill>
              <a:srgbClr val="86BC25"/>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9" name="Freeform 9"/>
            <p:cNvSpPr>
              <a:spLocks/>
            </p:cNvSpPr>
            <p:nvPr/>
          </p:nvSpPr>
          <p:spPr bwMode="auto">
            <a:xfrm>
              <a:off x="1999381" y="4945063"/>
              <a:ext cx="1033463" cy="793750"/>
            </a:xfrm>
            <a:custGeom>
              <a:avLst/>
              <a:gdLst>
                <a:gd name="T0" fmla="*/ 0 w 327"/>
                <a:gd name="T1" fmla="*/ 163 h 251"/>
                <a:gd name="T2" fmla="*/ 327 w 327"/>
                <a:gd name="T3" fmla="*/ 251 h 251"/>
                <a:gd name="T4" fmla="*/ 327 w 327"/>
                <a:gd name="T5" fmla="*/ 63 h 251"/>
                <a:gd name="T6" fmla="*/ 94 w 327"/>
                <a:gd name="T7" fmla="*/ 0 h 251"/>
                <a:gd name="T8" fmla="*/ 0 w 327"/>
                <a:gd name="T9" fmla="*/ 163 h 251"/>
              </a:gdLst>
              <a:ahLst/>
              <a:cxnLst>
                <a:cxn ang="0">
                  <a:pos x="T0" y="T1"/>
                </a:cxn>
                <a:cxn ang="0">
                  <a:pos x="T2" y="T3"/>
                </a:cxn>
                <a:cxn ang="0">
                  <a:pos x="T4" y="T5"/>
                </a:cxn>
                <a:cxn ang="0">
                  <a:pos x="T6" y="T7"/>
                </a:cxn>
                <a:cxn ang="0">
                  <a:pos x="T8" y="T9"/>
                </a:cxn>
              </a:cxnLst>
              <a:rect l="0" t="0" r="r" b="b"/>
              <a:pathLst>
                <a:path w="327" h="251">
                  <a:moveTo>
                    <a:pt x="0" y="163"/>
                  </a:moveTo>
                  <a:cubicBezTo>
                    <a:pt x="96" y="219"/>
                    <a:pt x="208" y="251"/>
                    <a:pt x="327" y="251"/>
                  </a:cubicBezTo>
                  <a:cubicBezTo>
                    <a:pt x="327" y="63"/>
                    <a:pt x="327" y="63"/>
                    <a:pt x="327" y="63"/>
                  </a:cubicBezTo>
                  <a:cubicBezTo>
                    <a:pt x="242" y="63"/>
                    <a:pt x="163" y="40"/>
                    <a:pt x="94" y="0"/>
                  </a:cubicBezTo>
                  <a:lnTo>
                    <a:pt x="0" y="163"/>
                  </a:lnTo>
                  <a:close/>
                </a:path>
              </a:pathLst>
            </a:custGeom>
            <a:solidFill>
              <a:srgbClr val="86BC25"/>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10" name="Freeform 10"/>
            <p:cNvSpPr>
              <a:spLocks/>
            </p:cNvSpPr>
            <p:nvPr/>
          </p:nvSpPr>
          <p:spPr bwMode="auto">
            <a:xfrm>
              <a:off x="1242144" y="4400551"/>
              <a:ext cx="1054100" cy="1060450"/>
            </a:xfrm>
            <a:custGeom>
              <a:avLst/>
              <a:gdLst>
                <a:gd name="T0" fmla="*/ 162 w 333"/>
                <a:gd name="T1" fmla="*/ 0 h 335"/>
                <a:gd name="T2" fmla="*/ 0 w 333"/>
                <a:gd name="T3" fmla="*/ 94 h 335"/>
                <a:gd name="T4" fmla="*/ 239 w 333"/>
                <a:gd name="T5" fmla="*/ 335 h 335"/>
                <a:gd name="T6" fmla="*/ 333 w 333"/>
                <a:gd name="T7" fmla="*/ 172 h 335"/>
                <a:gd name="T8" fmla="*/ 162 w 333"/>
                <a:gd name="T9" fmla="*/ 0 h 335"/>
              </a:gdLst>
              <a:ahLst/>
              <a:cxnLst>
                <a:cxn ang="0">
                  <a:pos x="T0" y="T1"/>
                </a:cxn>
                <a:cxn ang="0">
                  <a:pos x="T2" y="T3"/>
                </a:cxn>
                <a:cxn ang="0">
                  <a:pos x="T4" y="T5"/>
                </a:cxn>
                <a:cxn ang="0">
                  <a:pos x="T6" y="T7"/>
                </a:cxn>
                <a:cxn ang="0">
                  <a:pos x="T8" y="T9"/>
                </a:cxn>
              </a:cxnLst>
              <a:rect l="0" t="0" r="r" b="b"/>
              <a:pathLst>
                <a:path w="333" h="335">
                  <a:moveTo>
                    <a:pt x="162" y="0"/>
                  </a:moveTo>
                  <a:cubicBezTo>
                    <a:pt x="0" y="94"/>
                    <a:pt x="0" y="94"/>
                    <a:pt x="0" y="94"/>
                  </a:cubicBezTo>
                  <a:cubicBezTo>
                    <a:pt x="57" y="194"/>
                    <a:pt x="140" y="277"/>
                    <a:pt x="239" y="335"/>
                  </a:cubicBezTo>
                  <a:cubicBezTo>
                    <a:pt x="333" y="172"/>
                    <a:pt x="333" y="172"/>
                    <a:pt x="333" y="172"/>
                  </a:cubicBezTo>
                  <a:cubicBezTo>
                    <a:pt x="262" y="131"/>
                    <a:pt x="203" y="71"/>
                    <a:pt x="162" y="0"/>
                  </a:cubicBezTo>
                  <a:close/>
                </a:path>
              </a:pathLst>
            </a:custGeom>
            <a:solidFill>
              <a:srgbClr val="86BC25"/>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11" name="Freeform 11"/>
            <p:cNvSpPr>
              <a:spLocks/>
            </p:cNvSpPr>
            <p:nvPr/>
          </p:nvSpPr>
          <p:spPr bwMode="auto">
            <a:xfrm>
              <a:off x="2242269" y="1582738"/>
              <a:ext cx="790575" cy="711200"/>
            </a:xfrm>
            <a:custGeom>
              <a:avLst/>
              <a:gdLst>
                <a:gd name="T0" fmla="*/ 250 w 250"/>
                <a:gd name="T1" fmla="*/ 189 h 225"/>
                <a:gd name="T2" fmla="*/ 250 w 250"/>
                <a:gd name="T3" fmla="*/ 0 h 225"/>
                <a:gd name="T4" fmla="*/ 0 w 250"/>
                <a:gd name="T5" fmla="*/ 51 h 225"/>
                <a:gd name="T6" fmla="*/ 72 w 250"/>
                <a:gd name="T7" fmla="*/ 225 h 225"/>
                <a:gd name="T8" fmla="*/ 250 w 250"/>
                <a:gd name="T9" fmla="*/ 189 h 225"/>
              </a:gdLst>
              <a:ahLst/>
              <a:cxnLst>
                <a:cxn ang="0">
                  <a:pos x="T0" y="T1"/>
                </a:cxn>
                <a:cxn ang="0">
                  <a:pos x="T2" y="T3"/>
                </a:cxn>
                <a:cxn ang="0">
                  <a:pos x="T4" y="T5"/>
                </a:cxn>
                <a:cxn ang="0">
                  <a:pos x="T6" y="T7"/>
                </a:cxn>
                <a:cxn ang="0">
                  <a:pos x="T8" y="T9"/>
                </a:cxn>
              </a:cxnLst>
              <a:rect l="0" t="0" r="r" b="b"/>
              <a:pathLst>
                <a:path w="250" h="225">
                  <a:moveTo>
                    <a:pt x="250" y="189"/>
                  </a:moveTo>
                  <a:cubicBezTo>
                    <a:pt x="250" y="0"/>
                    <a:pt x="250" y="0"/>
                    <a:pt x="250" y="0"/>
                  </a:cubicBezTo>
                  <a:cubicBezTo>
                    <a:pt x="161" y="0"/>
                    <a:pt x="77" y="18"/>
                    <a:pt x="0" y="51"/>
                  </a:cubicBezTo>
                  <a:cubicBezTo>
                    <a:pt x="72" y="225"/>
                    <a:pt x="72" y="225"/>
                    <a:pt x="72" y="225"/>
                  </a:cubicBezTo>
                  <a:cubicBezTo>
                    <a:pt x="127" y="202"/>
                    <a:pt x="187" y="189"/>
                    <a:pt x="250" y="189"/>
                  </a:cubicBezTo>
                  <a:close/>
                </a:path>
              </a:pathLst>
            </a:custGeom>
            <a:solidFill>
              <a:srgbClr val="75787B"/>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12" name="Freeform 12"/>
            <p:cNvSpPr>
              <a:spLocks/>
            </p:cNvSpPr>
            <p:nvPr/>
          </p:nvSpPr>
          <p:spPr bwMode="auto">
            <a:xfrm>
              <a:off x="1123081" y="2197101"/>
              <a:ext cx="866775" cy="900113"/>
            </a:xfrm>
            <a:custGeom>
              <a:avLst/>
              <a:gdLst>
                <a:gd name="T0" fmla="*/ 274 w 274"/>
                <a:gd name="T1" fmla="*/ 133 h 285"/>
                <a:gd name="T2" fmla="*/ 141 w 274"/>
                <a:gd name="T3" fmla="*/ 0 h 285"/>
                <a:gd name="T4" fmla="*/ 0 w 274"/>
                <a:gd name="T5" fmla="*/ 213 h 285"/>
                <a:gd name="T6" fmla="*/ 174 w 274"/>
                <a:gd name="T7" fmla="*/ 285 h 285"/>
                <a:gd name="T8" fmla="*/ 274 w 274"/>
                <a:gd name="T9" fmla="*/ 133 h 285"/>
              </a:gdLst>
              <a:ahLst/>
              <a:cxnLst>
                <a:cxn ang="0">
                  <a:pos x="T0" y="T1"/>
                </a:cxn>
                <a:cxn ang="0">
                  <a:pos x="T2" y="T3"/>
                </a:cxn>
                <a:cxn ang="0">
                  <a:pos x="T4" y="T5"/>
                </a:cxn>
                <a:cxn ang="0">
                  <a:pos x="T6" y="T7"/>
                </a:cxn>
                <a:cxn ang="0">
                  <a:pos x="T8" y="T9"/>
                </a:cxn>
              </a:cxnLst>
              <a:rect l="0" t="0" r="r" b="b"/>
              <a:pathLst>
                <a:path w="274" h="285">
                  <a:moveTo>
                    <a:pt x="274" y="133"/>
                  </a:moveTo>
                  <a:cubicBezTo>
                    <a:pt x="141" y="0"/>
                    <a:pt x="141" y="0"/>
                    <a:pt x="141" y="0"/>
                  </a:cubicBezTo>
                  <a:cubicBezTo>
                    <a:pt x="81" y="61"/>
                    <a:pt x="33" y="133"/>
                    <a:pt x="0" y="213"/>
                  </a:cubicBezTo>
                  <a:cubicBezTo>
                    <a:pt x="174" y="285"/>
                    <a:pt x="174" y="285"/>
                    <a:pt x="174" y="285"/>
                  </a:cubicBezTo>
                  <a:cubicBezTo>
                    <a:pt x="197" y="228"/>
                    <a:pt x="232" y="177"/>
                    <a:pt x="274" y="133"/>
                  </a:cubicBezTo>
                  <a:close/>
                </a:path>
              </a:pathLst>
            </a:custGeom>
            <a:solidFill>
              <a:srgbClr val="53565A"/>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13" name="Freeform 13"/>
            <p:cNvSpPr>
              <a:spLocks/>
            </p:cNvSpPr>
            <p:nvPr/>
          </p:nvSpPr>
          <p:spPr bwMode="auto">
            <a:xfrm>
              <a:off x="964331" y="2870201"/>
              <a:ext cx="708025" cy="790575"/>
            </a:xfrm>
            <a:custGeom>
              <a:avLst/>
              <a:gdLst>
                <a:gd name="T0" fmla="*/ 188 w 224"/>
                <a:gd name="T1" fmla="*/ 250 h 250"/>
                <a:gd name="T2" fmla="*/ 224 w 224"/>
                <a:gd name="T3" fmla="*/ 72 h 250"/>
                <a:gd name="T4" fmla="*/ 50 w 224"/>
                <a:gd name="T5" fmla="*/ 0 h 250"/>
                <a:gd name="T6" fmla="*/ 0 w 224"/>
                <a:gd name="T7" fmla="*/ 250 h 250"/>
                <a:gd name="T8" fmla="*/ 188 w 224"/>
                <a:gd name="T9" fmla="*/ 250 h 250"/>
              </a:gdLst>
              <a:ahLst/>
              <a:cxnLst>
                <a:cxn ang="0">
                  <a:pos x="T0" y="T1"/>
                </a:cxn>
                <a:cxn ang="0">
                  <a:pos x="T2" y="T3"/>
                </a:cxn>
                <a:cxn ang="0">
                  <a:pos x="T4" y="T5"/>
                </a:cxn>
                <a:cxn ang="0">
                  <a:pos x="T6" y="T7"/>
                </a:cxn>
                <a:cxn ang="0">
                  <a:pos x="T8" y="T9"/>
                </a:cxn>
              </a:cxnLst>
              <a:rect l="0" t="0" r="r" b="b"/>
              <a:pathLst>
                <a:path w="224" h="250">
                  <a:moveTo>
                    <a:pt x="188" y="250"/>
                  </a:moveTo>
                  <a:cubicBezTo>
                    <a:pt x="188" y="187"/>
                    <a:pt x="201" y="127"/>
                    <a:pt x="224" y="72"/>
                  </a:cubicBezTo>
                  <a:cubicBezTo>
                    <a:pt x="50" y="0"/>
                    <a:pt x="50" y="0"/>
                    <a:pt x="50" y="0"/>
                  </a:cubicBezTo>
                  <a:cubicBezTo>
                    <a:pt x="18" y="77"/>
                    <a:pt x="1" y="162"/>
                    <a:pt x="0" y="250"/>
                  </a:cubicBezTo>
                  <a:cubicBezTo>
                    <a:pt x="188" y="250"/>
                    <a:pt x="188" y="250"/>
                    <a:pt x="188" y="250"/>
                  </a:cubicBezTo>
                  <a:close/>
                </a:path>
              </a:pathLst>
            </a:custGeom>
            <a:solidFill>
              <a:srgbClr val="000000"/>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14" name="Freeform 14"/>
            <p:cNvSpPr>
              <a:spLocks/>
            </p:cNvSpPr>
            <p:nvPr/>
          </p:nvSpPr>
          <p:spPr bwMode="auto">
            <a:xfrm>
              <a:off x="1569169" y="1744663"/>
              <a:ext cx="900113" cy="873125"/>
            </a:xfrm>
            <a:custGeom>
              <a:avLst/>
              <a:gdLst>
                <a:gd name="T0" fmla="*/ 285 w 285"/>
                <a:gd name="T1" fmla="*/ 174 h 276"/>
                <a:gd name="T2" fmla="*/ 213 w 285"/>
                <a:gd name="T3" fmla="*/ 0 h 276"/>
                <a:gd name="T4" fmla="*/ 0 w 285"/>
                <a:gd name="T5" fmla="*/ 143 h 276"/>
                <a:gd name="T6" fmla="*/ 133 w 285"/>
                <a:gd name="T7" fmla="*/ 276 h 276"/>
                <a:gd name="T8" fmla="*/ 285 w 285"/>
                <a:gd name="T9" fmla="*/ 174 h 276"/>
              </a:gdLst>
              <a:ahLst/>
              <a:cxnLst>
                <a:cxn ang="0">
                  <a:pos x="T0" y="T1"/>
                </a:cxn>
                <a:cxn ang="0">
                  <a:pos x="T2" y="T3"/>
                </a:cxn>
                <a:cxn ang="0">
                  <a:pos x="T4" y="T5"/>
                </a:cxn>
                <a:cxn ang="0">
                  <a:pos x="T6" y="T7"/>
                </a:cxn>
                <a:cxn ang="0">
                  <a:pos x="T8" y="T9"/>
                </a:cxn>
              </a:cxnLst>
              <a:rect l="0" t="0" r="r" b="b"/>
              <a:pathLst>
                <a:path w="285" h="276">
                  <a:moveTo>
                    <a:pt x="285" y="174"/>
                  </a:moveTo>
                  <a:cubicBezTo>
                    <a:pt x="213" y="0"/>
                    <a:pt x="213" y="0"/>
                    <a:pt x="213" y="0"/>
                  </a:cubicBezTo>
                  <a:cubicBezTo>
                    <a:pt x="132" y="33"/>
                    <a:pt x="60" y="82"/>
                    <a:pt x="0" y="143"/>
                  </a:cubicBezTo>
                  <a:cubicBezTo>
                    <a:pt x="133" y="276"/>
                    <a:pt x="133" y="276"/>
                    <a:pt x="133" y="276"/>
                  </a:cubicBezTo>
                  <a:cubicBezTo>
                    <a:pt x="176" y="233"/>
                    <a:pt x="228" y="198"/>
                    <a:pt x="285" y="174"/>
                  </a:cubicBezTo>
                  <a:close/>
                </a:path>
              </a:pathLst>
            </a:custGeom>
            <a:solidFill>
              <a:srgbClr val="63666A"/>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grpSp>
      <p:sp>
        <p:nvSpPr>
          <p:cNvPr id="45" name="TextBox 44">
            <a:extLst>
              <a:ext uri="{FF2B5EF4-FFF2-40B4-BE49-F238E27FC236}">
                <a16:creationId xmlns:a16="http://schemas.microsoft.com/office/drawing/2014/main" id="{3F5813B5-B583-984A-B127-876285434827}"/>
              </a:ext>
            </a:extLst>
          </p:cNvPr>
          <p:cNvSpPr txBox="1"/>
          <p:nvPr/>
        </p:nvSpPr>
        <p:spPr>
          <a:xfrm rot="2700000">
            <a:off x="6802351" y="2448463"/>
            <a:ext cx="1089877"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 ipsum</a:t>
            </a:r>
          </a:p>
        </p:txBody>
      </p:sp>
      <p:sp>
        <p:nvSpPr>
          <p:cNvPr id="50" name="TextBox 49">
            <a:extLst>
              <a:ext uri="{FF2B5EF4-FFF2-40B4-BE49-F238E27FC236}">
                <a16:creationId xmlns:a16="http://schemas.microsoft.com/office/drawing/2014/main" id="{CF450637-7157-434B-AB34-177E77A3FE02}"/>
              </a:ext>
            </a:extLst>
          </p:cNvPr>
          <p:cNvSpPr txBox="1"/>
          <p:nvPr/>
        </p:nvSpPr>
        <p:spPr>
          <a:xfrm rot="918543" flipH="1">
            <a:off x="5180493" y="5423320"/>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51" name="TextBox 50">
            <a:extLst>
              <a:ext uri="{FF2B5EF4-FFF2-40B4-BE49-F238E27FC236}">
                <a16:creationId xmlns:a16="http://schemas.microsoft.com/office/drawing/2014/main" id="{140365BF-1098-1B49-810C-D39D0DE515C2}"/>
              </a:ext>
            </a:extLst>
          </p:cNvPr>
          <p:cNvSpPr txBox="1"/>
          <p:nvPr/>
        </p:nvSpPr>
        <p:spPr>
          <a:xfrm rot="20220000" flipH="1">
            <a:off x="6334076" y="5305840"/>
            <a:ext cx="948830"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 ipsum</a:t>
            </a:r>
          </a:p>
        </p:txBody>
      </p:sp>
      <p:grpSp>
        <p:nvGrpSpPr>
          <p:cNvPr id="19" name="Group 18"/>
          <p:cNvGrpSpPr/>
          <p:nvPr/>
        </p:nvGrpSpPr>
        <p:grpSpPr>
          <a:xfrm>
            <a:off x="4610412" y="2314823"/>
            <a:ext cx="2961653" cy="2960191"/>
            <a:chOff x="4268891" y="-159372"/>
            <a:chExt cx="2961653" cy="2960191"/>
          </a:xfrm>
        </p:grpSpPr>
        <p:grpSp>
          <p:nvGrpSpPr>
            <p:cNvPr id="18" name="Group 17"/>
            <p:cNvGrpSpPr/>
            <p:nvPr/>
          </p:nvGrpSpPr>
          <p:grpSpPr>
            <a:xfrm>
              <a:off x="4268891" y="-159372"/>
              <a:ext cx="2961653" cy="2960191"/>
              <a:chOff x="4268891" y="-159372"/>
              <a:chExt cx="2961653" cy="2960191"/>
            </a:xfrm>
          </p:grpSpPr>
          <p:sp>
            <p:nvSpPr>
              <p:cNvPr id="29" name="Freeform 28">
                <a:extLst>
                  <a:ext uri="{FF2B5EF4-FFF2-40B4-BE49-F238E27FC236}">
                    <a16:creationId xmlns:a16="http://schemas.microsoft.com/office/drawing/2014/main" id="{356CA24A-60BA-4A4A-AE7B-227EC722917E}"/>
                  </a:ext>
                </a:extLst>
              </p:cNvPr>
              <p:cNvSpPr>
                <a:spLocks/>
              </p:cNvSpPr>
              <p:nvPr/>
            </p:nvSpPr>
            <p:spPr bwMode="auto">
              <a:xfrm>
                <a:off x="5755140" y="-159372"/>
                <a:ext cx="1475404" cy="1475403"/>
              </a:xfrm>
              <a:custGeom>
                <a:avLst/>
                <a:gdLst>
                  <a:gd name="T0" fmla="*/ 0 w 1952"/>
                  <a:gd name="T1" fmla="*/ 0 h 1952"/>
                  <a:gd name="T2" fmla="*/ 0 w 1952"/>
                  <a:gd name="T3" fmla="*/ 0 h 1952"/>
                  <a:gd name="T4" fmla="*/ 2 w 1952"/>
                  <a:gd name="T5" fmla="*/ 1950 h 1952"/>
                  <a:gd name="T6" fmla="*/ 1952 w 1952"/>
                  <a:gd name="T7" fmla="*/ 1952 h 1952"/>
                  <a:gd name="T8" fmla="*/ 0 w 1952"/>
                  <a:gd name="T9" fmla="*/ 0 h 1952"/>
                </a:gdLst>
                <a:ahLst/>
                <a:cxnLst>
                  <a:cxn ang="0">
                    <a:pos x="T0" y="T1"/>
                  </a:cxn>
                  <a:cxn ang="0">
                    <a:pos x="T2" y="T3"/>
                  </a:cxn>
                  <a:cxn ang="0">
                    <a:pos x="T4" y="T5"/>
                  </a:cxn>
                  <a:cxn ang="0">
                    <a:pos x="T6" y="T7"/>
                  </a:cxn>
                  <a:cxn ang="0">
                    <a:pos x="T8" y="T9"/>
                  </a:cxn>
                </a:cxnLst>
                <a:rect l="0" t="0" r="r" b="b"/>
                <a:pathLst>
                  <a:path w="1952" h="1952">
                    <a:moveTo>
                      <a:pt x="0" y="0"/>
                    </a:moveTo>
                    <a:lnTo>
                      <a:pt x="0" y="0"/>
                    </a:lnTo>
                    <a:lnTo>
                      <a:pt x="2" y="1950"/>
                    </a:lnTo>
                    <a:lnTo>
                      <a:pt x="1952" y="1952"/>
                    </a:lnTo>
                    <a:lnTo>
                      <a:pt x="0" y="0"/>
                    </a:lnTo>
                    <a:close/>
                  </a:path>
                </a:pathLst>
              </a:custGeom>
              <a:solidFill>
                <a:schemeClr val="accent3"/>
              </a:solidFill>
              <a:ln w="0">
                <a:noFill/>
                <a:prstDash val="solid"/>
                <a:round/>
                <a:headEnd/>
                <a:tailEnd/>
              </a:ln>
            </p:spPr>
            <p:txBody>
              <a:bodyPr rot="0" vert="horz" wrap="square" lIns="91440" tIns="45720" rIns="91440" bIns="45720" anchor="t" anchorCtr="0" upright="1">
                <a:noAutofit/>
              </a:bodyPr>
              <a:lstStyle/>
              <a:p>
                <a:endParaRPr lang="en-US" sz="1100">
                  <a:solidFill>
                    <a:prstClr val="white"/>
                  </a:solidFill>
                </a:endParaRPr>
              </a:p>
            </p:txBody>
          </p:sp>
          <p:sp>
            <p:nvSpPr>
              <p:cNvPr id="30" name="Freeform 29">
                <a:extLst>
                  <a:ext uri="{FF2B5EF4-FFF2-40B4-BE49-F238E27FC236}">
                    <a16:creationId xmlns:a16="http://schemas.microsoft.com/office/drawing/2014/main" id="{F75F6D43-6EF2-E044-9276-4DA616E4C487}"/>
                  </a:ext>
                </a:extLst>
              </p:cNvPr>
              <p:cNvSpPr>
                <a:spLocks/>
              </p:cNvSpPr>
              <p:nvPr/>
            </p:nvSpPr>
            <p:spPr bwMode="auto">
              <a:xfrm>
                <a:off x="4268891" y="-159372"/>
                <a:ext cx="1476725" cy="1475403"/>
              </a:xfrm>
              <a:custGeom>
                <a:avLst/>
                <a:gdLst>
                  <a:gd name="T0" fmla="*/ 1953 w 1953"/>
                  <a:gd name="T1" fmla="*/ 0 h 1952"/>
                  <a:gd name="T2" fmla="*/ 1953 w 1953"/>
                  <a:gd name="T3" fmla="*/ 0 h 1952"/>
                  <a:gd name="T4" fmla="*/ 1951 w 1953"/>
                  <a:gd name="T5" fmla="*/ 1950 h 1952"/>
                  <a:gd name="T6" fmla="*/ 0 w 1953"/>
                  <a:gd name="T7" fmla="*/ 1952 h 1952"/>
                  <a:gd name="T8" fmla="*/ 1953 w 1953"/>
                  <a:gd name="T9" fmla="*/ 0 h 1952"/>
                </a:gdLst>
                <a:ahLst/>
                <a:cxnLst>
                  <a:cxn ang="0">
                    <a:pos x="T0" y="T1"/>
                  </a:cxn>
                  <a:cxn ang="0">
                    <a:pos x="T2" y="T3"/>
                  </a:cxn>
                  <a:cxn ang="0">
                    <a:pos x="T4" y="T5"/>
                  </a:cxn>
                  <a:cxn ang="0">
                    <a:pos x="T6" y="T7"/>
                  </a:cxn>
                  <a:cxn ang="0">
                    <a:pos x="T8" y="T9"/>
                  </a:cxn>
                </a:cxnLst>
                <a:rect l="0" t="0" r="r" b="b"/>
                <a:pathLst>
                  <a:path w="1953" h="1952">
                    <a:moveTo>
                      <a:pt x="1953" y="0"/>
                    </a:moveTo>
                    <a:lnTo>
                      <a:pt x="1953" y="0"/>
                    </a:lnTo>
                    <a:lnTo>
                      <a:pt x="1951" y="1950"/>
                    </a:lnTo>
                    <a:lnTo>
                      <a:pt x="0" y="1952"/>
                    </a:lnTo>
                    <a:lnTo>
                      <a:pt x="1953" y="0"/>
                    </a:lnTo>
                    <a:close/>
                  </a:path>
                </a:pathLst>
              </a:custGeom>
              <a:solidFill>
                <a:srgbClr val="000000"/>
              </a:solidFill>
              <a:ln w="0">
                <a:noFill/>
                <a:prstDash val="solid"/>
                <a:round/>
                <a:headEnd/>
                <a:tailEnd/>
              </a:ln>
            </p:spPr>
            <p:txBody>
              <a:bodyPr rot="0" vert="horz" wrap="square" lIns="91440" tIns="45720" rIns="91440" bIns="45720" anchor="t" anchorCtr="0" upright="1">
                <a:noAutofit/>
              </a:bodyPr>
              <a:lstStyle/>
              <a:p>
                <a:endParaRPr lang="en-US" sz="1100">
                  <a:solidFill>
                    <a:prstClr val="white"/>
                  </a:solidFill>
                </a:endParaRPr>
              </a:p>
            </p:txBody>
          </p:sp>
          <p:sp>
            <p:nvSpPr>
              <p:cNvPr id="31" name="Freeform 30">
                <a:extLst>
                  <a:ext uri="{FF2B5EF4-FFF2-40B4-BE49-F238E27FC236}">
                    <a16:creationId xmlns:a16="http://schemas.microsoft.com/office/drawing/2014/main" id="{450D904F-E83A-2042-8800-A5F7897ABC8A}"/>
                  </a:ext>
                </a:extLst>
              </p:cNvPr>
              <p:cNvSpPr>
                <a:spLocks/>
              </p:cNvSpPr>
              <p:nvPr/>
            </p:nvSpPr>
            <p:spPr bwMode="auto">
              <a:xfrm>
                <a:off x="5755140" y="1325416"/>
                <a:ext cx="1475404" cy="1475403"/>
              </a:xfrm>
              <a:custGeom>
                <a:avLst/>
                <a:gdLst>
                  <a:gd name="T0" fmla="*/ 0 w 1952"/>
                  <a:gd name="T1" fmla="*/ 1952 h 1952"/>
                  <a:gd name="T2" fmla="*/ 0 w 1952"/>
                  <a:gd name="T3" fmla="*/ 1952 h 1952"/>
                  <a:gd name="T4" fmla="*/ 2 w 1952"/>
                  <a:gd name="T5" fmla="*/ 2 h 1952"/>
                  <a:gd name="T6" fmla="*/ 1952 w 1952"/>
                  <a:gd name="T7" fmla="*/ 0 h 1952"/>
                  <a:gd name="T8" fmla="*/ 0 w 1952"/>
                  <a:gd name="T9" fmla="*/ 1952 h 1952"/>
                </a:gdLst>
                <a:ahLst/>
                <a:cxnLst>
                  <a:cxn ang="0">
                    <a:pos x="T0" y="T1"/>
                  </a:cxn>
                  <a:cxn ang="0">
                    <a:pos x="T2" y="T3"/>
                  </a:cxn>
                  <a:cxn ang="0">
                    <a:pos x="T4" y="T5"/>
                  </a:cxn>
                  <a:cxn ang="0">
                    <a:pos x="T6" y="T7"/>
                  </a:cxn>
                  <a:cxn ang="0">
                    <a:pos x="T8" y="T9"/>
                  </a:cxn>
                </a:cxnLst>
                <a:rect l="0" t="0" r="r" b="b"/>
                <a:pathLst>
                  <a:path w="1952" h="1952">
                    <a:moveTo>
                      <a:pt x="0" y="1952"/>
                    </a:moveTo>
                    <a:lnTo>
                      <a:pt x="0" y="1952"/>
                    </a:lnTo>
                    <a:lnTo>
                      <a:pt x="2" y="2"/>
                    </a:lnTo>
                    <a:lnTo>
                      <a:pt x="1952" y="0"/>
                    </a:lnTo>
                    <a:lnTo>
                      <a:pt x="0" y="1952"/>
                    </a:lnTo>
                    <a:close/>
                  </a:path>
                </a:pathLst>
              </a:custGeom>
              <a:solidFill>
                <a:schemeClr val="accent2"/>
              </a:solidFill>
              <a:ln w="0">
                <a:noFill/>
                <a:prstDash val="solid"/>
                <a:round/>
                <a:headEnd/>
                <a:tailEnd/>
              </a:ln>
            </p:spPr>
            <p:txBody>
              <a:bodyPr rot="0" vert="horz" wrap="square" lIns="91440" tIns="45720" rIns="91440" bIns="45720" anchor="t" anchorCtr="0" upright="1">
                <a:noAutofit/>
              </a:bodyPr>
              <a:lstStyle/>
              <a:p>
                <a:endParaRPr lang="en-US" sz="1100">
                  <a:solidFill>
                    <a:prstClr val="white"/>
                  </a:solidFill>
                </a:endParaRPr>
              </a:p>
            </p:txBody>
          </p:sp>
          <p:sp>
            <p:nvSpPr>
              <p:cNvPr id="32" name="Freeform 31">
                <a:extLst>
                  <a:ext uri="{FF2B5EF4-FFF2-40B4-BE49-F238E27FC236}">
                    <a16:creationId xmlns:a16="http://schemas.microsoft.com/office/drawing/2014/main" id="{6CBA242C-DB1C-9842-A347-89B5D732E3EF}"/>
                  </a:ext>
                </a:extLst>
              </p:cNvPr>
              <p:cNvSpPr>
                <a:spLocks/>
              </p:cNvSpPr>
              <p:nvPr/>
            </p:nvSpPr>
            <p:spPr bwMode="auto">
              <a:xfrm>
                <a:off x="4268891" y="1325416"/>
                <a:ext cx="1476725" cy="1475403"/>
              </a:xfrm>
              <a:custGeom>
                <a:avLst/>
                <a:gdLst>
                  <a:gd name="T0" fmla="*/ 1953 w 1953"/>
                  <a:gd name="T1" fmla="*/ 1952 h 1952"/>
                  <a:gd name="T2" fmla="*/ 1953 w 1953"/>
                  <a:gd name="T3" fmla="*/ 1952 h 1952"/>
                  <a:gd name="T4" fmla="*/ 1951 w 1953"/>
                  <a:gd name="T5" fmla="*/ 2 h 1952"/>
                  <a:gd name="T6" fmla="*/ 0 w 1953"/>
                  <a:gd name="T7" fmla="*/ 0 h 1952"/>
                  <a:gd name="T8" fmla="*/ 1953 w 1953"/>
                  <a:gd name="T9" fmla="*/ 1952 h 1952"/>
                </a:gdLst>
                <a:ahLst/>
                <a:cxnLst>
                  <a:cxn ang="0">
                    <a:pos x="T0" y="T1"/>
                  </a:cxn>
                  <a:cxn ang="0">
                    <a:pos x="T2" y="T3"/>
                  </a:cxn>
                  <a:cxn ang="0">
                    <a:pos x="T4" y="T5"/>
                  </a:cxn>
                  <a:cxn ang="0">
                    <a:pos x="T6" y="T7"/>
                  </a:cxn>
                  <a:cxn ang="0">
                    <a:pos x="T8" y="T9"/>
                  </a:cxn>
                </a:cxnLst>
                <a:rect l="0" t="0" r="r" b="b"/>
                <a:pathLst>
                  <a:path w="1953" h="1952">
                    <a:moveTo>
                      <a:pt x="1953" y="1952"/>
                    </a:moveTo>
                    <a:lnTo>
                      <a:pt x="1953" y="1952"/>
                    </a:lnTo>
                    <a:lnTo>
                      <a:pt x="1951" y="2"/>
                    </a:lnTo>
                    <a:lnTo>
                      <a:pt x="0" y="0"/>
                    </a:lnTo>
                    <a:lnTo>
                      <a:pt x="1953" y="1952"/>
                    </a:lnTo>
                    <a:close/>
                  </a:path>
                </a:pathLst>
              </a:custGeom>
              <a:solidFill>
                <a:srgbClr val="86BC25"/>
              </a:solidFill>
              <a:ln w="0">
                <a:noFill/>
                <a:prstDash val="solid"/>
                <a:round/>
                <a:headEnd/>
                <a:tailEnd/>
              </a:ln>
            </p:spPr>
            <p:txBody>
              <a:bodyPr rot="0" vert="horz" wrap="square" lIns="91440" tIns="45720" rIns="91440" bIns="45720" anchor="t" anchorCtr="0" upright="1">
                <a:noAutofit/>
              </a:bodyPr>
              <a:lstStyle/>
              <a:p>
                <a:endParaRPr lang="en-US" sz="1100">
                  <a:solidFill>
                    <a:prstClr val="white"/>
                  </a:solidFill>
                </a:endParaRPr>
              </a:p>
            </p:txBody>
          </p:sp>
        </p:grpSp>
        <p:sp>
          <p:nvSpPr>
            <p:cNvPr id="33" name="Freeform 32">
              <a:extLst>
                <a:ext uri="{FF2B5EF4-FFF2-40B4-BE49-F238E27FC236}">
                  <a16:creationId xmlns:a16="http://schemas.microsoft.com/office/drawing/2014/main" id="{CD9E93B4-181E-114A-BDED-8429DD332950}"/>
                </a:ext>
              </a:extLst>
            </p:cNvPr>
            <p:cNvSpPr>
              <a:spLocks/>
            </p:cNvSpPr>
            <p:nvPr/>
          </p:nvSpPr>
          <p:spPr bwMode="auto">
            <a:xfrm>
              <a:off x="5270713" y="834576"/>
              <a:ext cx="967532" cy="967532"/>
            </a:xfrm>
            <a:custGeom>
              <a:avLst/>
              <a:gdLst>
                <a:gd name="T0" fmla="*/ 0 w 1280"/>
                <a:gd name="T1" fmla="*/ 640 h 1280"/>
                <a:gd name="T2" fmla="*/ 0 w 1280"/>
                <a:gd name="T3" fmla="*/ 640 h 1280"/>
                <a:gd name="T4" fmla="*/ 640 w 1280"/>
                <a:gd name="T5" fmla="*/ 0 h 1280"/>
                <a:gd name="T6" fmla="*/ 1280 w 1280"/>
                <a:gd name="T7" fmla="*/ 640 h 1280"/>
                <a:gd name="T8" fmla="*/ 640 w 1280"/>
                <a:gd name="T9" fmla="*/ 1280 h 1280"/>
                <a:gd name="T10" fmla="*/ 0 w 1280"/>
                <a:gd name="T11" fmla="*/ 640 h 1280"/>
                <a:gd name="T12" fmla="*/ 0 w 1280"/>
                <a:gd name="T13" fmla="*/ 640 h 1280"/>
              </a:gdLst>
              <a:ahLst/>
              <a:cxnLst>
                <a:cxn ang="0">
                  <a:pos x="T0" y="T1"/>
                </a:cxn>
                <a:cxn ang="0">
                  <a:pos x="T2" y="T3"/>
                </a:cxn>
                <a:cxn ang="0">
                  <a:pos x="T4" y="T5"/>
                </a:cxn>
                <a:cxn ang="0">
                  <a:pos x="T6" y="T7"/>
                </a:cxn>
                <a:cxn ang="0">
                  <a:pos x="T8" y="T9"/>
                </a:cxn>
                <a:cxn ang="0">
                  <a:pos x="T10" y="T11"/>
                </a:cxn>
                <a:cxn ang="0">
                  <a:pos x="T12" y="T13"/>
                </a:cxn>
              </a:cxnLst>
              <a:rect l="0" t="0" r="r" b="b"/>
              <a:pathLst>
                <a:path w="1280" h="1280">
                  <a:moveTo>
                    <a:pt x="0" y="640"/>
                  </a:moveTo>
                  <a:lnTo>
                    <a:pt x="0" y="640"/>
                  </a:lnTo>
                  <a:cubicBezTo>
                    <a:pt x="0" y="286"/>
                    <a:pt x="286" y="0"/>
                    <a:pt x="640" y="0"/>
                  </a:cubicBezTo>
                  <a:cubicBezTo>
                    <a:pt x="993" y="0"/>
                    <a:pt x="1280" y="286"/>
                    <a:pt x="1280" y="640"/>
                  </a:cubicBezTo>
                  <a:cubicBezTo>
                    <a:pt x="1280" y="993"/>
                    <a:pt x="993" y="1280"/>
                    <a:pt x="640" y="1280"/>
                  </a:cubicBezTo>
                  <a:cubicBezTo>
                    <a:pt x="286" y="1280"/>
                    <a:pt x="0" y="993"/>
                    <a:pt x="0" y="640"/>
                  </a:cubicBezTo>
                  <a:lnTo>
                    <a:pt x="0" y="640"/>
                  </a:lnTo>
                  <a:close/>
                </a:path>
              </a:pathLst>
            </a:custGeom>
            <a:solidFill>
              <a:srgbClr val="FFFFFF"/>
            </a:solidFill>
            <a:ln w="0">
              <a:noFill/>
              <a:prstDash val="solid"/>
              <a:round/>
              <a:headEnd/>
              <a:tailEnd/>
            </a:ln>
          </p:spPr>
          <p:txBody>
            <a:bodyPr rot="0" vert="horz" wrap="square" lIns="91440" tIns="45720" rIns="91440" bIns="45720" anchor="t" anchorCtr="0" upright="1">
              <a:noAutofit/>
            </a:bodyPr>
            <a:lstStyle/>
            <a:p>
              <a:endParaRPr lang="en-US" sz="1100">
                <a:solidFill>
                  <a:prstClr val="white"/>
                </a:solidFill>
              </a:endParaRPr>
            </a:p>
          </p:txBody>
        </p:sp>
        <p:grpSp>
          <p:nvGrpSpPr>
            <p:cNvPr id="17" name="Group 16"/>
            <p:cNvGrpSpPr/>
            <p:nvPr/>
          </p:nvGrpSpPr>
          <p:grpSpPr>
            <a:xfrm>
              <a:off x="5135493" y="245342"/>
              <a:ext cx="1237972" cy="2146001"/>
              <a:chOff x="5150047" y="270712"/>
              <a:chExt cx="1237972" cy="2146001"/>
            </a:xfrm>
          </p:grpSpPr>
          <p:sp>
            <p:nvSpPr>
              <p:cNvPr id="35" name="TextBox 34">
                <a:extLst>
                  <a:ext uri="{FF2B5EF4-FFF2-40B4-BE49-F238E27FC236}">
                    <a16:creationId xmlns:a16="http://schemas.microsoft.com/office/drawing/2014/main" id="{A5669486-9519-9A43-9B5D-373EF55AE2BF}"/>
                  </a:ext>
                </a:extLst>
              </p:cNvPr>
              <p:cNvSpPr txBox="1"/>
              <p:nvPr/>
            </p:nvSpPr>
            <p:spPr>
              <a:xfrm rot="18874458">
                <a:off x="4689747" y="731012"/>
                <a:ext cx="1089877" cy="169277"/>
              </a:xfrm>
              <a:prstGeom prst="rect">
                <a:avLst/>
              </a:prstGeom>
              <a:noFill/>
            </p:spPr>
            <p:txBody>
              <a:bodyPr vert="horz" wrap="square" lIns="0" tIns="0" rIns="0" bIns="0" rtlCol="0">
                <a:spAutoFit/>
              </a:bodyPr>
              <a:lstStyle/>
              <a:p>
                <a:pPr algn="ctr">
                  <a:buSzPct val="100000"/>
                </a:pPr>
                <a:r>
                  <a:rPr lang="en-US" sz="1100" b="1" dirty="0">
                    <a:solidFill>
                      <a:prstClr val="white"/>
                    </a:solidFill>
                  </a:rPr>
                  <a:t>Lorem ipsum</a:t>
                </a:r>
              </a:p>
            </p:txBody>
          </p:sp>
          <p:sp>
            <p:nvSpPr>
              <p:cNvPr id="36" name="TextBox 35">
                <a:extLst>
                  <a:ext uri="{FF2B5EF4-FFF2-40B4-BE49-F238E27FC236}">
                    <a16:creationId xmlns:a16="http://schemas.microsoft.com/office/drawing/2014/main" id="{C3085316-DE46-F849-B37E-3D2648682271}"/>
                  </a:ext>
                </a:extLst>
              </p:cNvPr>
              <p:cNvSpPr txBox="1"/>
              <p:nvPr/>
            </p:nvSpPr>
            <p:spPr>
              <a:xfrm rot="2725542" flipH="1">
                <a:off x="5758442" y="731012"/>
                <a:ext cx="1089877" cy="169277"/>
              </a:xfrm>
              <a:prstGeom prst="rect">
                <a:avLst/>
              </a:prstGeom>
              <a:noFill/>
            </p:spPr>
            <p:txBody>
              <a:bodyPr vert="horz" wrap="square" lIns="0" tIns="0" rIns="0" bIns="0" rtlCol="0">
                <a:spAutoFit/>
              </a:bodyPr>
              <a:lstStyle/>
              <a:p>
                <a:pPr algn="ctr">
                  <a:buSzPct val="100000"/>
                </a:pPr>
                <a:r>
                  <a:rPr lang="en-US" sz="1100" b="1" dirty="0">
                    <a:solidFill>
                      <a:prstClr val="white"/>
                    </a:solidFill>
                  </a:rPr>
                  <a:t>Lorem ipsum</a:t>
                </a:r>
              </a:p>
            </p:txBody>
          </p:sp>
          <p:sp>
            <p:nvSpPr>
              <p:cNvPr id="37" name="TextBox 36">
                <a:extLst>
                  <a:ext uri="{FF2B5EF4-FFF2-40B4-BE49-F238E27FC236}">
                    <a16:creationId xmlns:a16="http://schemas.microsoft.com/office/drawing/2014/main" id="{B42702DE-84A8-7046-8332-220872C771B2}"/>
                  </a:ext>
                </a:extLst>
              </p:cNvPr>
              <p:cNvSpPr txBox="1"/>
              <p:nvPr/>
            </p:nvSpPr>
            <p:spPr>
              <a:xfrm rot="2725542" flipH="1">
                <a:off x="4689747" y="1787136"/>
                <a:ext cx="1089877" cy="169277"/>
              </a:xfrm>
              <a:prstGeom prst="rect">
                <a:avLst/>
              </a:prstGeom>
              <a:noFill/>
            </p:spPr>
            <p:txBody>
              <a:bodyPr vert="horz" wrap="square" lIns="0" tIns="0" rIns="0" bIns="0" rtlCol="0">
                <a:spAutoFit/>
              </a:bodyPr>
              <a:lstStyle/>
              <a:p>
                <a:pPr algn="ctr">
                  <a:buSzPct val="100000"/>
                </a:pPr>
                <a:r>
                  <a:rPr lang="en-US" sz="1100" b="1" dirty="0">
                    <a:solidFill>
                      <a:prstClr val="white"/>
                    </a:solidFill>
                  </a:rPr>
                  <a:t>Lorem ipsum</a:t>
                </a:r>
              </a:p>
            </p:txBody>
          </p:sp>
          <p:sp>
            <p:nvSpPr>
              <p:cNvPr id="38" name="TextBox 37">
                <a:extLst>
                  <a:ext uri="{FF2B5EF4-FFF2-40B4-BE49-F238E27FC236}">
                    <a16:creationId xmlns:a16="http://schemas.microsoft.com/office/drawing/2014/main" id="{0B1A5C8D-CC83-B941-93A3-F9223B76E2F5}"/>
                  </a:ext>
                </a:extLst>
              </p:cNvPr>
              <p:cNvSpPr txBox="1"/>
              <p:nvPr/>
            </p:nvSpPr>
            <p:spPr>
              <a:xfrm rot="18874458">
                <a:off x="5758442" y="1787136"/>
                <a:ext cx="1089877" cy="169277"/>
              </a:xfrm>
              <a:prstGeom prst="rect">
                <a:avLst/>
              </a:prstGeom>
              <a:noFill/>
            </p:spPr>
            <p:txBody>
              <a:bodyPr vert="horz" wrap="square" lIns="0" tIns="0" rIns="0" bIns="0" rtlCol="0">
                <a:spAutoFit/>
              </a:bodyPr>
              <a:lstStyle/>
              <a:p>
                <a:pPr algn="ctr">
                  <a:buSzPct val="100000"/>
                </a:pPr>
                <a:r>
                  <a:rPr lang="en-US" sz="1100" b="1" dirty="0">
                    <a:solidFill>
                      <a:prstClr val="white"/>
                    </a:solidFill>
                  </a:rPr>
                  <a:t>Lorem ipsum</a:t>
                </a:r>
              </a:p>
            </p:txBody>
          </p:sp>
        </p:grpSp>
      </p:grpSp>
      <p:grpSp>
        <p:nvGrpSpPr>
          <p:cNvPr id="20" name="Group 19"/>
          <p:cNvGrpSpPr/>
          <p:nvPr/>
        </p:nvGrpSpPr>
        <p:grpSpPr>
          <a:xfrm>
            <a:off x="5088744" y="2392432"/>
            <a:ext cx="1934436" cy="2823086"/>
            <a:chOff x="8078223" y="2260670"/>
            <a:chExt cx="1934436" cy="2823086"/>
          </a:xfrm>
        </p:grpSpPr>
        <p:sp>
          <p:nvSpPr>
            <p:cNvPr id="39" name="TextBox 38">
              <a:extLst>
                <a:ext uri="{FF2B5EF4-FFF2-40B4-BE49-F238E27FC236}">
                  <a16:creationId xmlns:a16="http://schemas.microsoft.com/office/drawing/2014/main" id="{649BF37E-9051-9741-9552-6B79EEF3D9F0}"/>
                </a:ext>
              </a:extLst>
            </p:cNvPr>
            <p:cNvSpPr txBox="1"/>
            <p:nvPr/>
          </p:nvSpPr>
          <p:spPr>
            <a:xfrm rot="18874458">
              <a:off x="7617923" y="2720970"/>
              <a:ext cx="1089877" cy="169277"/>
            </a:xfrm>
            <a:prstGeom prst="rect">
              <a:avLst/>
            </a:prstGeom>
            <a:noFill/>
          </p:spPr>
          <p:txBody>
            <a:bodyPr vert="horz" wrap="square" lIns="0" tIns="0" rIns="0" bIns="0" rtlCol="0">
              <a:spAutoFit/>
            </a:bodyPr>
            <a:lstStyle/>
            <a:p>
              <a:pPr algn="ctr">
                <a:buSzPct val="100000"/>
              </a:pPr>
              <a:r>
                <a:rPr lang="en-US" sz="1100" b="1" dirty="0">
                  <a:solidFill>
                    <a:prstClr val="black"/>
                  </a:solidFill>
                </a:rPr>
                <a:t>Lorem ipsum</a:t>
              </a:r>
            </a:p>
          </p:txBody>
        </p:sp>
        <p:sp>
          <p:nvSpPr>
            <p:cNvPr id="40" name="TextBox 39">
              <a:extLst>
                <a:ext uri="{FF2B5EF4-FFF2-40B4-BE49-F238E27FC236}">
                  <a16:creationId xmlns:a16="http://schemas.microsoft.com/office/drawing/2014/main" id="{A73215B6-00BD-314A-90AE-2336BE31D229}"/>
                </a:ext>
              </a:extLst>
            </p:cNvPr>
            <p:cNvSpPr txBox="1"/>
            <p:nvPr/>
          </p:nvSpPr>
          <p:spPr>
            <a:xfrm rot="2725542" flipH="1">
              <a:off x="9383082" y="2720970"/>
              <a:ext cx="1089877" cy="169277"/>
            </a:xfrm>
            <a:prstGeom prst="rect">
              <a:avLst/>
            </a:prstGeom>
            <a:noFill/>
          </p:spPr>
          <p:txBody>
            <a:bodyPr vert="horz" wrap="square" lIns="0" tIns="0" rIns="0" bIns="0" rtlCol="0">
              <a:spAutoFit/>
            </a:bodyPr>
            <a:lstStyle/>
            <a:p>
              <a:pPr algn="ctr">
                <a:buSzPct val="100000"/>
              </a:pPr>
              <a:r>
                <a:rPr lang="en-US" sz="1100" b="1" dirty="0">
                  <a:solidFill>
                    <a:prstClr val="black"/>
                  </a:solidFill>
                </a:rPr>
                <a:t>Lorem ipsum</a:t>
              </a:r>
            </a:p>
          </p:txBody>
        </p:sp>
        <p:sp>
          <p:nvSpPr>
            <p:cNvPr id="41" name="TextBox 40">
              <a:extLst>
                <a:ext uri="{FF2B5EF4-FFF2-40B4-BE49-F238E27FC236}">
                  <a16:creationId xmlns:a16="http://schemas.microsoft.com/office/drawing/2014/main" id="{65313CC6-5E88-0043-A12A-BB07BB6046CF}"/>
                </a:ext>
              </a:extLst>
            </p:cNvPr>
            <p:cNvSpPr txBox="1"/>
            <p:nvPr/>
          </p:nvSpPr>
          <p:spPr>
            <a:xfrm rot="18874458">
              <a:off x="9383082" y="4454179"/>
              <a:ext cx="1089877" cy="169277"/>
            </a:xfrm>
            <a:prstGeom prst="rect">
              <a:avLst/>
            </a:prstGeom>
            <a:noFill/>
          </p:spPr>
          <p:txBody>
            <a:bodyPr vert="horz" wrap="square" lIns="0" tIns="0" rIns="0" bIns="0" rtlCol="0">
              <a:spAutoFit/>
            </a:bodyPr>
            <a:lstStyle/>
            <a:p>
              <a:pPr algn="ctr">
                <a:buSzPct val="100000"/>
              </a:pPr>
              <a:r>
                <a:rPr lang="en-US" sz="1100" b="1" dirty="0">
                  <a:solidFill>
                    <a:prstClr val="black"/>
                  </a:solidFill>
                </a:rPr>
                <a:t>Lorem ipsum</a:t>
              </a:r>
            </a:p>
          </p:txBody>
        </p:sp>
        <p:sp>
          <p:nvSpPr>
            <p:cNvPr id="42" name="TextBox 41">
              <a:extLst>
                <a:ext uri="{FF2B5EF4-FFF2-40B4-BE49-F238E27FC236}">
                  <a16:creationId xmlns:a16="http://schemas.microsoft.com/office/drawing/2014/main" id="{AECD0DA8-8B79-4E48-BDD0-71B9F022FFB2}"/>
                </a:ext>
              </a:extLst>
            </p:cNvPr>
            <p:cNvSpPr txBox="1"/>
            <p:nvPr/>
          </p:nvSpPr>
          <p:spPr>
            <a:xfrm rot="2725542" flipH="1">
              <a:off x="7617923" y="4454179"/>
              <a:ext cx="1089877" cy="169277"/>
            </a:xfrm>
            <a:prstGeom prst="rect">
              <a:avLst/>
            </a:prstGeom>
            <a:noFill/>
          </p:spPr>
          <p:txBody>
            <a:bodyPr vert="horz" wrap="square" lIns="0" tIns="0" rIns="0" bIns="0" rtlCol="0">
              <a:spAutoFit/>
            </a:bodyPr>
            <a:lstStyle/>
            <a:p>
              <a:pPr algn="ctr">
                <a:buSzPct val="100000"/>
              </a:pPr>
              <a:r>
                <a:rPr lang="en-US" sz="1100" b="1" dirty="0">
                  <a:solidFill>
                    <a:prstClr val="black"/>
                  </a:solidFill>
                </a:rPr>
                <a:t>Lorem ipsum</a:t>
              </a:r>
            </a:p>
          </p:txBody>
        </p:sp>
      </p:grpSp>
      <p:sp>
        <p:nvSpPr>
          <p:cNvPr id="56" name="TextBox 55">
            <a:extLst>
              <a:ext uri="{FF2B5EF4-FFF2-40B4-BE49-F238E27FC236}">
                <a16:creationId xmlns:a16="http://schemas.microsoft.com/office/drawing/2014/main" id="{140365BF-1098-1B49-810C-D39D0DE515C2}"/>
              </a:ext>
            </a:extLst>
          </p:cNvPr>
          <p:cNvSpPr txBox="1"/>
          <p:nvPr/>
        </p:nvSpPr>
        <p:spPr>
          <a:xfrm rot="17520000" flipH="1">
            <a:off x="7262460" y="4376217"/>
            <a:ext cx="948830"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 ipsum</a:t>
            </a:r>
          </a:p>
        </p:txBody>
      </p:sp>
      <p:sp>
        <p:nvSpPr>
          <p:cNvPr id="57" name="TextBox 56">
            <a:extLst>
              <a:ext uri="{FF2B5EF4-FFF2-40B4-BE49-F238E27FC236}">
                <a16:creationId xmlns:a16="http://schemas.microsoft.com/office/drawing/2014/main" id="{CF450637-7157-434B-AB34-177E77A3FE02}"/>
              </a:ext>
            </a:extLst>
          </p:cNvPr>
          <p:cNvSpPr txBox="1"/>
          <p:nvPr/>
        </p:nvSpPr>
        <p:spPr>
          <a:xfrm rot="2700000" flipH="1">
            <a:off x="4413261" y="4933009"/>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58" name="TextBox 57">
            <a:extLst>
              <a:ext uri="{FF2B5EF4-FFF2-40B4-BE49-F238E27FC236}">
                <a16:creationId xmlns:a16="http://schemas.microsoft.com/office/drawing/2014/main" id="{CF450637-7157-434B-AB34-177E77A3FE02}"/>
              </a:ext>
            </a:extLst>
          </p:cNvPr>
          <p:cNvSpPr txBox="1"/>
          <p:nvPr/>
        </p:nvSpPr>
        <p:spPr>
          <a:xfrm rot="4500000" flipH="1">
            <a:off x="3978669" y="4149279"/>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59" name="TextBox 58">
            <a:extLst>
              <a:ext uri="{FF2B5EF4-FFF2-40B4-BE49-F238E27FC236}">
                <a16:creationId xmlns:a16="http://schemas.microsoft.com/office/drawing/2014/main" id="{CF450637-7157-434B-AB34-177E77A3FE02}"/>
              </a:ext>
            </a:extLst>
          </p:cNvPr>
          <p:cNvSpPr txBox="1"/>
          <p:nvPr/>
        </p:nvSpPr>
        <p:spPr>
          <a:xfrm rot="20940000" flipH="1">
            <a:off x="5302575" y="1945811"/>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60" name="TextBox 59">
            <a:extLst>
              <a:ext uri="{FF2B5EF4-FFF2-40B4-BE49-F238E27FC236}">
                <a16:creationId xmlns:a16="http://schemas.microsoft.com/office/drawing/2014/main" id="{CF450637-7157-434B-AB34-177E77A3FE02}"/>
              </a:ext>
            </a:extLst>
          </p:cNvPr>
          <p:cNvSpPr txBox="1"/>
          <p:nvPr/>
        </p:nvSpPr>
        <p:spPr>
          <a:xfrm rot="19589183" flipH="1">
            <a:off x="4644302" y="2216655"/>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61" name="TextBox 60">
            <a:extLst>
              <a:ext uri="{FF2B5EF4-FFF2-40B4-BE49-F238E27FC236}">
                <a16:creationId xmlns:a16="http://schemas.microsoft.com/office/drawing/2014/main" id="{CF450637-7157-434B-AB34-177E77A3FE02}"/>
              </a:ext>
            </a:extLst>
          </p:cNvPr>
          <p:cNvSpPr txBox="1"/>
          <p:nvPr/>
        </p:nvSpPr>
        <p:spPr>
          <a:xfrm rot="18169988" flipH="1">
            <a:off x="4173513" y="2712045"/>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62" name="TextBox 61">
            <a:extLst>
              <a:ext uri="{FF2B5EF4-FFF2-40B4-BE49-F238E27FC236}">
                <a16:creationId xmlns:a16="http://schemas.microsoft.com/office/drawing/2014/main" id="{CF450637-7157-434B-AB34-177E77A3FE02}"/>
              </a:ext>
            </a:extLst>
          </p:cNvPr>
          <p:cNvSpPr txBox="1"/>
          <p:nvPr/>
        </p:nvSpPr>
        <p:spPr>
          <a:xfrm rot="16864409" flipH="1">
            <a:off x="3895073" y="3369966"/>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Tree>
    <p:custDataLst>
      <p:tags r:id="rId1"/>
    </p:custDataLst>
    <p:extLst>
      <p:ext uri="{BB962C8B-B14F-4D97-AF65-F5344CB8AC3E}">
        <p14:creationId xmlns:p14="http://schemas.microsoft.com/office/powerpoint/2010/main" val="274466471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48F2B10C-20CC-284F-85CD-5AC7949F9FC1}"/>
              </a:ext>
            </a:extLst>
          </p:cNvPr>
          <p:cNvGrpSpPr/>
          <p:nvPr/>
        </p:nvGrpSpPr>
        <p:grpSpPr>
          <a:xfrm>
            <a:off x="4418823" y="2231191"/>
            <a:ext cx="3354354" cy="3352800"/>
            <a:chOff x="3859764" y="1193800"/>
            <a:chExt cx="4472472" cy="4470400"/>
          </a:xfrm>
        </p:grpSpPr>
        <p:grpSp>
          <p:nvGrpSpPr>
            <p:cNvPr id="27" name="Group 26">
              <a:extLst>
                <a:ext uri="{FF2B5EF4-FFF2-40B4-BE49-F238E27FC236}">
                  <a16:creationId xmlns:a16="http://schemas.microsoft.com/office/drawing/2014/main" id="{0AE5A4F6-24A5-FF44-9369-E866C77BFF88}"/>
                </a:ext>
              </a:extLst>
            </p:cNvPr>
            <p:cNvGrpSpPr/>
            <p:nvPr/>
          </p:nvGrpSpPr>
          <p:grpSpPr>
            <a:xfrm>
              <a:off x="3859764" y="1193800"/>
              <a:ext cx="4472472" cy="4470400"/>
              <a:chOff x="2665413" y="0"/>
              <a:chExt cx="6861175" cy="6858000"/>
            </a:xfrm>
          </p:grpSpPr>
          <p:sp>
            <p:nvSpPr>
              <p:cNvPr id="57" name="Freeform 153">
                <a:extLst>
                  <a:ext uri="{FF2B5EF4-FFF2-40B4-BE49-F238E27FC236}">
                    <a16:creationId xmlns:a16="http://schemas.microsoft.com/office/drawing/2014/main" id="{4D60C42A-EF6D-5746-BA98-65DCEAECCE0C}"/>
                  </a:ext>
                </a:extLst>
              </p:cNvPr>
              <p:cNvSpPr>
                <a:spLocks/>
              </p:cNvSpPr>
              <p:nvPr/>
            </p:nvSpPr>
            <p:spPr bwMode="auto">
              <a:xfrm>
                <a:off x="4548188" y="0"/>
                <a:ext cx="4516438" cy="2681288"/>
              </a:xfrm>
              <a:custGeom>
                <a:avLst/>
                <a:gdLst>
                  <a:gd name="T0" fmla="*/ 341 w 1036"/>
                  <a:gd name="T1" fmla="*/ 392 h 615"/>
                  <a:gd name="T2" fmla="*/ 341 w 1036"/>
                  <a:gd name="T3" fmla="*/ 392 h 615"/>
                  <a:gd name="T4" fmla="*/ 1036 w 1036"/>
                  <a:gd name="T5" fmla="*/ 392 h 615"/>
                  <a:gd name="T6" fmla="*/ 355 w 1036"/>
                  <a:gd name="T7" fmla="*/ 0 h 615"/>
                  <a:gd name="T8" fmla="*/ 0 w 1036"/>
                  <a:gd name="T9" fmla="*/ 84 h 615"/>
                  <a:gd name="T10" fmla="*/ 0 w 1036"/>
                  <a:gd name="T11" fmla="*/ 615 h 615"/>
                  <a:gd name="T12" fmla="*/ 341 w 1036"/>
                  <a:gd name="T13" fmla="*/ 392 h 615"/>
                </a:gdLst>
                <a:ahLst/>
                <a:cxnLst>
                  <a:cxn ang="0">
                    <a:pos x="T0" y="T1"/>
                  </a:cxn>
                  <a:cxn ang="0">
                    <a:pos x="T2" y="T3"/>
                  </a:cxn>
                  <a:cxn ang="0">
                    <a:pos x="T4" y="T5"/>
                  </a:cxn>
                  <a:cxn ang="0">
                    <a:pos x="T6" y="T7"/>
                  </a:cxn>
                  <a:cxn ang="0">
                    <a:pos x="T8" y="T9"/>
                  </a:cxn>
                  <a:cxn ang="0">
                    <a:pos x="T10" y="T11"/>
                  </a:cxn>
                  <a:cxn ang="0">
                    <a:pos x="T12" y="T13"/>
                  </a:cxn>
                </a:cxnLst>
                <a:rect l="0" t="0" r="r" b="b"/>
                <a:pathLst>
                  <a:path w="1036" h="615">
                    <a:moveTo>
                      <a:pt x="341" y="392"/>
                    </a:moveTo>
                    <a:cubicBezTo>
                      <a:pt x="341" y="392"/>
                      <a:pt x="341" y="392"/>
                      <a:pt x="341" y="392"/>
                    </a:cubicBezTo>
                    <a:cubicBezTo>
                      <a:pt x="1036" y="392"/>
                      <a:pt x="1036" y="392"/>
                      <a:pt x="1036" y="392"/>
                    </a:cubicBezTo>
                    <a:cubicBezTo>
                      <a:pt x="900" y="157"/>
                      <a:pt x="646" y="0"/>
                      <a:pt x="355" y="0"/>
                    </a:cubicBezTo>
                    <a:cubicBezTo>
                      <a:pt x="227" y="0"/>
                      <a:pt x="107" y="30"/>
                      <a:pt x="0" y="84"/>
                    </a:cubicBezTo>
                    <a:cubicBezTo>
                      <a:pt x="0" y="615"/>
                      <a:pt x="0" y="615"/>
                      <a:pt x="0" y="615"/>
                    </a:cubicBezTo>
                    <a:cubicBezTo>
                      <a:pt x="62" y="487"/>
                      <a:pt x="191" y="398"/>
                      <a:pt x="341" y="392"/>
                    </a:cubicBezTo>
                    <a:close/>
                  </a:path>
                </a:pathLst>
              </a:custGeom>
              <a:solidFill>
                <a:srgbClr val="43B02A"/>
              </a:solidFill>
              <a:ln>
                <a:noFill/>
              </a:ln>
            </p:spPr>
            <p:txBody>
              <a:bodyPr vert="horz" wrap="square" lIns="68580" tIns="34290" rIns="68580" bIns="34290" numCol="1" anchor="t" anchorCtr="0" compatLnSpc="1">
                <a:prstTxWarp prst="textNoShape">
                  <a:avLst/>
                </a:prstTxWarp>
              </a:bodyPr>
              <a:lstStyle/>
              <a:p>
                <a:endParaRPr lang="en-GB" sz="1300" dirty="0">
                  <a:solidFill>
                    <a:srgbClr val="000000"/>
                  </a:solidFill>
                </a:endParaRPr>
              </a:p>
            </p:txBody>
          </p:sp>
          <p:sp>
            <p:nvSpPr>
              <p:cNvPr id="58" name="Freeform 154">
                <a:extLst>
                  <a:ext uri="{FF2B5EF4-FFF2-40B4-BE49-F238E27FC236}">
                    <a16:creationId xmlns:a16="http://schemas.microsoft.com/office/drawing/2014/main" id="{28F2E754-8F5B-C447-87EF-F0E27D237D4E}"/>
                  </a:ext>
                </a:extLst>
              </p:cNvPr>
              <p:cNvSpPr>
                <a:spLocks/>
              </p:cNvSpPr>
              <p:nvPr/>
            </p:nvSpPr>
            <p:spPr bwMode="auto">
              <a:xfrm>
                <a:off x="2665413" y="457200"/>
                <a:ext cx="2689225" cy="4525963"/>
              </a:xfrm>
              <a:custGeom>
                <a:avLst/>
                <a:gdLst>
                  <a:gd name="T0" fmla="*/ 393 w 617"/>
                  <a:gd name="T1" fmla="*/ 682 h 1038"/>
                  <a:gd name="T2" fmla="*/ 393 w 617"/>
                  <a:gd name="T3" fmla="*/ 0 h 1038"/>
                  <a:gd name="T4" fmla="*/ 0 w 617"/>
                  <a:gd name="T5" fmla="*/ 682 h 1038"/>
                  <a:gd name="T6" fmla="*/ 86 w 617"/>
                  <a:gd name="T7" fmla="*/ 1038 h 1038"/>
                  <a:gd name="T8" fmla="*/ 617 w 617"/>
                  <a:gd name="T9" fmla="*/ 1038 h 1038"/>
                  <a:gd name="T10" fmla="*/ 393 w 617"/>
                  <a:gd name="T11" fmla="*/ 682 h 1038"/>
                </a:gdLst>
                <a:ahLst/>
                <a:cxnLst>
                  <a:cxn ang="0">
                    <a:pos x="T0" y="T1"/>
                  </a:cxn>
                  <a:cxn ang="0">
                    <a:pos x="T2" y="T3"/>
                  </a:cxn>
                  <a:cxn ang="0">
                    <a:pos x="T4" y="T5"/>
                  </a:cxn>
                  <a:cxn ang="0">
                    <a:pos x="T6" y="T7"/>
                  </a:cxn>
                  <a:cxn ang="0">
                    <a:pos x="T8" y="T9"/>
                  </a:cxn>
                  <a:cxn ang="0">
                    <a:pos x="T10" y="T11"/>
                  </a:cxn>
                </a:cxnLst>
                <a:rect l="0" t="0" r="r" b="b"/>
                <a:pathLst>
                  <a:path w="617" h="1038">
                    <a:moveTo>
                      <a:pt x="393" y="682"/>
                    </a:moveTo>
                    <a:cubicBezTo>
                      <a:pt x="393" y="0"/>
                      <a:pt x="393" y="0"/>
                      <a:pt x="393" y="0"/>
                    </a:cubicBezTo>
                    <a:cubicBezTo>
                      <a:pt x="158" y="137"/>
                      <a:pt x="0" y="391"/>
                      <a:pt x="0" y="682"/>
                    </a:cubicBezTo>
                    <a:cubicBezTo>
                      <a:pt x="0" y="810"/>
                      <a:pt x="31" y="931"/>
                      <a:pt x="86" y="1038"/>
                    </a:cubicBezTo>
                    <a:cubicBezTo>
                      <a:pt x="617" y="1038"/>
                      <a:pt x="617" y="1038"/>
                      <a:pt x="617" y="1038"/>
                    </a:cubicBezTo>
                    <a:cubicBezTo>
                      <a:pt x="484" y="974"/>
                      <a:pt x="393" y="839"/>
                      <a:pt x="393" y="682"/>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GB" sz="1300" dirty="0">
                  <a:solidFill>
                    <a:srgbClr val="000000"/>
                  </a:solidFill>
                </a:endParaRPr>
              </a:p>
            </p:txBody>
          </p:sp>
          <p:sp>
            <p:nvSpPr>
              <p:cNvPr id="59" name="Freeform 155">
                <a:extLst>
                  <a:ext uri="{FF2B5EF4-FFF2-40B4-BE49-F238E27FC236}">
                    <a16:creationId xmlns:a16="http://schemas.microsoft.com/office/drawing/2014/main" id="{684810B4-DF3B-D04E-A8D3-219774689820}"/>
                  </a:ext>
                </a:extLst>
              </p:cNvPr>
              <p:cNvSpPr>
                <a:spLocks/>
              </p:cNvSpPr>
              <p:nvPr/>
            </p:nvSpPr>
            <p:spPr bwMode="auto">
              <a:xfrm>
                <a:off x="6850063" y="1879600"/>
                <a:ext cx="2676525" cy="4511675"/>
              </a:xfrm>
              <a:custGeom>
                <a:avLst/>
                <a:gdLst>
                  <a:gd name="T0" fmla="*/ 223 w 614"/>
                  <a:gd name="T1" fmla="*/ 336 h 1035"/>
                  <a:gd name="T2" fmla="*/ 224 w 614"/>
                  <a:gd name="T3" fmla="*/ 336 h 1035"/>
                  <a:gd name="T4" fmla="*/ 224 w 614"/>
                  <a:gd name="T5" fmla="*/ 1035 h 1035"/>
                  <a:gd name="T6" fmla="*/ 614 w 614"/>
                  <a:gd name="T7" fmla="*/ 356 h 1035"/>
                  <a:gd name="T8" fmla="*/ 529 w 614"/>
                  <a:gd name="T9" fmla="*/ 0 h 1035"/>
                  <a:gd name="T10" fmla="*/ 0 w 614"/>
                  <a:gd name="T11" fmla="*/ 0 h 1035"/>
                  <a:gd name="T12" fmla="*/ 223 w 614"/>
                  <a:gd name="T13" fmla="*/ 336 h 1035"/>
                </a:gdLst>
                <a:ahLst/>
                <a:cxnLst>
                  <a:cxn ang="0">
                    <a:pos x="T0" y="T1"/>
                  </a:cxn>
                  <a:cxn ang="0">
                    <a:pos x="T2" y="T3"/>
                  </a:cxn>
                  <a:cxn ang="0">
                    <a:pos x="T4" y="T5"/>
                  </a:cxn>
                  <a:cxn ang="0">
                    <a:pos x="T6" y="T7"/>
                  </a:cxn>
                  <a:cxn ang="0">
                    <a:pos x="T8" y="T9"/>
                  </a:cxn>
                  <a:cxn ang="0">
                    <a:pos x="T10" y="T11"/>
                  </a:cxn>
                  <a:cxn ang="0">
                    <a:pos x="T12" y="T13"/>
                  </a:cxn>
                </a:cxnLst>
                <a:rect l="0" t="0" r="r" b="b"/>
                <a:pathLst>
                  <a:path w="614" h="1035">
                    <a:moveTo>
                      <a:pt x="223" y="336"/>
                    </a:moveTo>
                    <a:cubicBezTo>
                      <a:pt x="224" y="336"/>
                      <a:pt x="224" y="336"/>
                      <a:pt x="224" y="336"/>
                    </a:cubicBezTo>
                    <a:cubicBezTo>
                      <a:pt x="224" y="1035"/>
                      <a:pt x="224" y="1035"/>
                      <a:pt x="224" y="1035"/>
                    </a:cubicBezTo>
                    <a:cubicBezTo>
                      <a:pt x="457" y="899"/>
                      <a:pt x="614" y="646"/>
                      <a:pt x="614" y="356"/>
                    </a:cubicBezTo>
                    <a:cubicBezTo>
                      <a:pt x="614" y="228"/>
                      <a:pt x="583" y="107"/>
                      <a:pt x="529" y="0"/>
                    </a:cubicBezTo>
                    <a:cubicBezTo>
                      <a:pt x="0" y="0"/>
                      <a:pt x="0" y="0"/>
                      <a:pt x="0" y="0"/>
                    </a:cubicBezTo>
                    <a:cubicBezTo>
                      <a:pt x="127" y="61"/>
                      <a:pt x="216" y="188"/>
                      <a:pt x="223" y="336"/>
                    </a:cubicBezTo>
                    <a:close/>
                  </a:path>
                </a:pathLst>
              </a:custGeom>
              <a:solidFill>
                <a:srgbClr val="53565A"/>
              </a:solidFill>
              <a:ln>
                <a:noFill/>
              </a:ln>
            </p:spPr>
            <p:txBody>
              <a:bodyPr vert="horz" wrap="square" lIns="68580" tIns="34290" rIns="68580" bIns="34290" numCol="1" anchor="t" anchorCtr="0" compatLnSpc="1">
                <a:prstTxWarp prst="textNoShape">
                  <a:avLst/>
                </a:prstTxWarp>
              </a:bodyPr>
              <a:lstStyle/>
              <a:p>
                <a:endParaRPr lang="en-GB" sz="1300" dirty="0">
                  <a:solidFill>
                    <a:srgbClr val="000000"/>
                  </a:solidFill>
                </a:endParaRPr>
              </a:p>
            </p:txBody>
          </p:sp>
          <p:sp>
            <p:nvSpPr>
              <p:cNvPr id="60" name="Freeform 156">
                <a:extLst>
                  <a:ext uri="{FF2B5EF4-FFF2-40B4-BE49-F238E27FC236}">
                    <a16:creationId xmlns:a16="http://schemas.microsoft.com/office/drawing/2014/main" id="{4F2E857B-2430-2E4C-81DA-5720EC83A05B}"/>
                  </a:ext>
                </a:extLst>
              </p:cNvPr>
              <p:cNvSpPr>
                <a:spLocks/>
              </p:cNvSpPr>
              <p:nvPr/>
            </p:nvSpPr>
            <p:spPr bwMode="auto">
              <a:xfrm>
                <a:off x="3132138" y="4181475"/>
                <a:ext cx="4524375" cy="2676525"/>
              </a:xfrm>
              <a:custGeom>
                <a:avLst/>
                <a:gdLst>
                  <a:gd name="T0" fmla="*/ 686 w 1038"/>
                  <a:gd name="T1" fmla="*/ 223 h 614"/>
                  <a:gd name="T2" fmla="*/ 686 w 1038"/>
                  <a:gd name="T3" fmla="*/ 223 h 614"/>
                  <a:gd name="T4" fmla="*/ 0 w 1038"/>
                  <a:gd name="T5" fmla="*/ 223 h 614"/>
                  <a:gd name="T6" fmla="*/ 680 w 1038"/>
                  <a:gd name="T7" fmla="*/ 614 h 614"/>
                  <a:gd name="T8" fmla="*/ 1038 w 1038"/>
                  <a:gd name="T9" fmla="*/ 529 h 614"/>
                  <a:gd name="T10" fmla="*/ 1038 w 1038"/>
                  <a:gd name="T11" fmla="*/ 0 h 614"/>
                  <a:gd name="T12" fmla="*/ 686 w 1038"/>
                  <a:gd name="T13" fmla="*/ 223 h 614"/>
                </a:gdLst>
                <a:ahLst/>
                <a:cxnLst>
                  <a:cxn ang="0">
                    <a:pos x="T0" y="T1"/>
                  </a:cxn>
                  <a:cxn ang="0">
                    <a:pos x="T2" y="T3"/>
                  </a:cxn>
                  <a:cxn ang="0">
                    <a:pos x="T4" y="T5"/>
                  </a:cxn>
                  <a:cxn ang="0">
                    <a:pos x="T6" y="T7"/>
                  </a:cxn>
                  <a:cxn ang="0">
                    <a:pos x="T8" y="T9"/>
                  </a:cxn>
                  <a:cxn ang="0">
                    <a:pos x="T10" y="T11"/>
                  </a:cxn>
                  <a:cxn ang="0">
                    <a:pos x="T12" y="T13"/>
                  </a:cxn>
                </a:cxnLst>
                <a:rect l="0" t="0" r="r" b="b"/>
                <a:pathLst>
                  <a:path w="1038" h="614">
                    <a:moveTo>
                      <a:pt x="686" y="223"/>
                    </a:moveTo>
                    <a:cubicBezTo>
                      <a:pt x="686" y="223"/>
                      <a:pt x="686" y="223"/>
                      <a:pt x="686" y="223"/>
                    </a:cubicBezTo>
                    <a:cubicBezTo>
                      <a:pt x="0" y="223"/>
                      <a:pt x="0" y="223"/>
                      <a:pt x="0" y="223"/>
                    </a:cubicBezTo>
                    <a:cubicBezTo>
                      <a:pt x="136" y="457"/>
                      <a:pt x="390" y="614"/>
                      <a:pt x="680" y="614"/>
                    </a:cubicBezTo>
                    <a:cubicBezTo>
                      <a:pt x="809" y="614"/>
                      <a:pt x="930" y="584"/>
                      <a:pt x="1038" y="529"/>
                    </a:cubicBezTo>
                    <a:cubicBezTo>
                      <a:pt x="1038" y="0"/>
                      <a:pt x="1038" y="0"/>
                      <a:pt x="1038" y="0"/>
                    </a:cubicBezTo>
                    <a:cubicBezTo>
                      <a:pt x="974" y="131"/>
                      <a:pt x="841" y="222"/>
                      <a:pt x="686" y="223"/>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300" dirty="0">
                  <a:solidFill>
                    <a:srgbClr val="000000"/>
                  </a:solidFill>
                </a:endParaRPr>
              </a:p>
            </p:txBody>
          </p:sp>
        </p:grpSp>
        <p:sp>
          <p:nvSpPr>
            <p:cNvPr id="28" name="TextBox 27">
              <a:extLst>
                <a:ext uri="{FF2B5EF4-FFF2-40B4-BE49-F238E27FC236}">
                  <a16:creationId xmlns:a16="http://schemas.microsoft.com/office/drawing/2014/main" id="{FBFA8D79-4424-804C-83B7-43767C11B1F6}"/>
                </a:ext>
              </a:extLst>
            </p:cNvPr>
            <p:cNvSpPr txBox="1"/>
            <p:nvPr/>
          </p:nvSpPr>
          <p:spPr>
            <a:xfrm>
              <a:off x="5854389" y="1621745"/>
              <a:ext cx="1197595" cy="266740"/>
            </a:xfrm>
            <a:prstGeom prst="rect">
              <a:avLst/>
            </a:prstGeom>
            <a:noFill/>
          </p:spPr>
          <p:txBody>
            <a:bodyPr wrap="none" lIns="0" tIns="0" rIns="0" bIns="0" rtlCol="0">
              <a:spAutoFit/>
            </a:bodyPr>
            <a:lstStyle/>
            <a:p>
              <a:pPr algn="ctr" fontAlgn="base"/>
              <a:r>
                <a:rPr lang="en-US" sz="1300" b="1" dirty="0">
                  <a:solidFill>
                    <a:srgbClr val="000000"/>
                  </a:solidFill>
                  <a:cs typeface="Arial" pitchFamily="34" charset="0"/>
                </a:rPr>
                <a:t>Lorem ipsum</a:t>
              </a:r>
            </a:p>
          </p:txBody>
        </p:sp>
        <p:sp>
          <p:nvSpPr>
            <p:cNvPr id="53" name="TextBox 52">
              <a:extLst>
                <a:ext uri="{FF2B5EF4-FFF2-40B4-BE49-F238E27FC236}">
                  <a16:creationId xmlns:a16="http://schemas.microsoft.com/office/drawing/2014/main" id="{C4AD9126-A78E-2143-869F-9FBFE0B04D0B}"/>
                </a:ext>
              </a:extLst>
            </p:cNvPr>
            <p:cNvSpPr txBox="1"/>
            <p:nvPr/>
          </p:nvSpPr>
          <p:spPr>
            <a:xfrm>
              <a:off x="4135181" y="2967335"/>
              <a:ext cx="634448" cy="533480"/>
            </a:xfrm>
            <a:prstGeom prst="rect">
              <a:avLst/>
            </a:prstGeom>
            <a:noFill/>
          </p:spPr>
          <p:txBody>
            <a:bodyPr wrap="none" lIns="0" tIns="0" rIns="0" bIns="0" rtlCol="0">
              <a:spAutoFit/>
            </a:bodyPr>
            <a:lstStyle/>
            <a:p>
              <a:pPr algn="ctr" fontAlgn="base"/>
              <a:r>
                <a:rPr lang="en-US" sz="1300" b="1" dirty="0">
                  <a:solidFill>
                    <a:srgbClr val="FFFFFF"/>
                  </a:solidFill>
                  <a:cs typeface="Arial" pitchFamily="34" charset="0"/>
                </a:rPr>
                <a:t>Lorem </a:t>
              </a:r>
            </a:p>
            <a:p>
              <a:pPr algn="ctr" fontAlgn="base"/>
              <a:r>
                <a:rPr lang="en-US" sz="1300" b="1" dirty="0">
                  <a:solidFill>
                    <a:srgbClr val="FFFFFF"/>
                  </a:solidFill>
                  <a:cs typeface="Arial" pitchFamily="34" charset="0"/>
                </a:rPr>
                <a:t>ipsum</a:t>
              </a:r>
            </a:p>
          </p:txBody>
        </p:sp>
        <p:sp>
          <p:nvSpPr>
            <p:cNvPr id="54" name="TextBox 53">
              <a:extLst>
                <a:ext uri="{FF2B5EF4-FFF2-40B4-BE49-F238E27FC236}">
                  <a16:creationId xmlns:a16="http://schemas.microsoft.com/office/drawing/2014/main" id="{59EF8980-9932-E643-A4E4-F8F5D3A51B24}"/>
                </a:ext>
              </a:extLst>
            </p:cNvPr>
            <p:cNvSpPr txBox="1"/>
            <p:nvPr/>
          </p:nvSpPr>
          <p:spPr>
            <a:xfrm>
              <a:off x="5495409" y="3321279"/>
              <a:ext cx="1201184" cy="266740"/>
            </a:xfrm>
            <a:prstGeom prst="rect">
              <a:avLst/>
            </a:prstGeom>
            <a:noFill/>
          </p:spPr>
          <p:txBody>
            <a:bodyPr wrap="none" lIns="0" tIns="0" rIns="0" bIns="0" rtlCol="0">
              <a:spAutoFit/>
            </a:bodyPr>
            <a:lstStyle/>
            <a:p>
              <a:pPr algn="ctr" defTabSz="816337" fontAlgn="base">
                <a:buClr>
                  <a:srgbClr val="F0AB00"/>
                </a:buClr>
                <a:buSzPct val="80000"/>
              </a:pPr>
              <a:r>
                <a:rPr lang="en-US" sz="1300" b="1" kern="0" dirty="0">
                  <a:solidFill>
                    <a:srgbClr val="000000"/>
                  </a:solidFill>
                  <a:ea typeface="Arial Unicode MS" pitchFamily="34" charset="-128"/>
                  <a:cs typeface="BentonSans Bold"/>
                </a:rPr>
                <a:t>Lorem ipsum</a:t>
              </a:r>
            </a:p>
          </p:txBody>
        </p:sp>
        <p:sp>
          <p:nvSpPr>
            <p:cNvPr id="55" name="TextBox 54">
              <a:extLst>
                <a:ext uri="{FF2B5EF4-FFF2-40B4-BE49-F238E27FC236}">
                  <a16:creationId xmlns:a16="http://schemas.microsoft.com/office/drawing/2014/main" id="{D2272B87-7E25-4D47-9657-41CF7940F81D}"/>
                </a:ext>
              </a:extLst>
            </p:cNvPr>
            <p:cNvSpPr txBox="1"/>
            <p:nvPr/>
          </p:nvSpPr>
          <p:spPr>
            <a:xfrm>
              <a:off x="5315407" y="4868476"/>
              <a:ext cx="1197595" cy="266740"/>
            </a:xfrm>
            <a:prstGeom prst="rect">
              <a:avLst/>
            </a:prstGeom>
            <a:noFill/>
          </p:spPr>
          <p:txBody>
            <a:bodyPr wrap="none" lIns="0" tIns="0" rIns="0" bIns="0" rtlCol="0">
              <a:spAutoFit/>
            </a:bodyPr>
            <a:lstStyle/>
            <a:p>
              <a:pPr algn="ctr" fontAlgn="base"/>
              <a:r>
                <a:rPr lang="en-US" sz="1300" b="1" dirty="0">
                  <a:solidFill>
                    <a:srgbClr val="000000"/>
                  </a:solidFill>
                  <a:cs typeface="Arial" pitchFamily="34" charset="0"/>
                </a:rPr>
                <a:t>Lorem ipsum</a:t>
              </a:r>
            </a:p>
          </p:txBody>
        </p:sp>
        <p:sp>
          <p:nvSpPr>
            <p:cNvPr id="56" name="TextBox 55">
              <a:extLst>
                <a:ext uri="{FF2B5EF4-FFF2-40B4-BE49-F238E27FC236}">
                  <a16:creationId xmlns:a16="http://schemas.microsoft.com/office/drawing/2014/main" id="{DE480438-3576-CD48-AD85-7E465583DB4B}"/>
                </a:ext>
              </a:extLst>
            </p:cNvPr>
            <p:cNvSpPr txBox="1"/>
            <p:nvPr/>
          </p:nvSpPr>
          <p:spPr>
            <a:xfrm>
              <a:off x="7465729" y="3059668"/>
              <a:ext cx="634448" cy="533480"/>
            </a:xfrm>
            <a:prstGeom prst="rect">
              <a:avLst/>
            </a:prstGeom>
            <a:noFill/>
          </p:spPr>
          <p:txBody>
            <a:bodyPr wrap="none" lIns="0" tIns="0" rIns="0" bIns="0" rtlCol="0">
              <a:spAutoFit/>
            </a:bodyPr>
            <a:lstStyle/>
            <a:p>
              <a:pPr algn="ctr" fontAlgn="base"/>
              <a:r>
                <a:rPr lang="en-US" sz="1300" b="1" dirty="0">
                  <a:solidFill>
                    <a:srgbClr val="FFFFFF"/>
                  </a:solidFill>
                  <a:cs typeface="Arial" pitchFamily="34" charset="0"/>
                </a:rPr>
                <a:t>Lorem </a:t>
              </a:r>
            </a:p>
            <a:p>
              <a:pPr algn="ctr" fontAlgn="base"/>
              <a:r>
                <a:rPr lang="en-US" sz="1300" b="1" dirty="0">
                  <a:solidFill>
                    <a:srgbClr val="FFFFFF"/>
                  </a:solidFill>
                  <a:cs typeface="Arial" pitchFamily="34" charset="0"/>
                </a:rPr>
                <a:t>ipsum</a:t>
              </a:r>
            </a:p>
          </p:txBody>
        </p:sp>
      </p:grpSp>
      <p:sp>
        <p:nvSpPr>
          <p:cNvPr id="61" name="Donut 60">
            <a:extLst>
              <a:ext uri="{FF2B5EF4-FFF2-40B4-BE49-F238E27FC236}">
                <a16:creationId xmlns:a16="http://schemas.microsoft.com/office/drawing/2014/main" id="{AD2DEFCC-1122-DF47-827B-7A7EEB8574A2}"/>
              </a:ext>
            </a:extLst>
          </p:cNvPr>
          <p:cNvSpPr/>
          <p:nvPr/>
        </p:nvSpPr>
        <p:spPr bwMode="gray">
          <a:xfrm>
            <a:off x="4085034" y="1896625"/>
            <a:ext cx="4021932" cy="4021932"/>
          </a:xfrm>
          <a:prstGeom prst="donut">
            <a:avLst>
              <a:gd name="adj" fmla="val 655"/>
            </a:avLst>
          </a:prstGeom>
          <a:solidFill>
            <a:srgbClr val="000000"/>
          </a:solidFill>
          <a:ln w="19050" algn="ctr">
            <a:no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2" name="Oval 61">
            <a:extLst>
              <a:ext uri="{FF2B5EF4-FFF2-40B4-BE49-F238E27FC236}">
                <a16:creationId xmlns:a16="http://schemas.microsoft.com/office/drawing/2014/main" id="{240B130B-8431-BA4C-B00C-E7BB8F6DE343}"/>
              </a:ext>
            </a:extLst>
          </p:cNvPr>
          <p:cNvSpPr/>
          <p:nvPr/>
        </p:nvSpPr>
        <p:spPr bwMode="gray">
          <a:xfrm>
            <a:off x="5978127" y="1799138"/>
            <a:ext cx="235746" cy="235746"/>
          </a:xfrm>
          <a:prstGeom prst="ellipse">
            <a:avLst/>
          </a:prstGeom>
          <a:solidFill>
            <a:srgbClr val="FFFFFF"/>
          </a:solidFill>
          <a:ln w="76200" algn="ctr">
            <a:solidFill>
              <a:srgbClr val="43B02A"/>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3" name="Oval 62">
            <a:extLst>
              <a:ext uri="{FF2B5EF4-FFF2-40B4-BE49-F238E27FC236}">
                <a16:creationId xmlns:a16="http://schemas.microsoft.com/office/drawing/2014/main" id="{10EC09BE-3011-6B44-B755-A6BD1F0E66CE}"/>
              </a:ext>
            </a:extLst>
          </p:cNvPr>
          <p:cNvSpPr/>
          <p:nvPr/>
        </p:nvSpPr>
        <p:spPr bwMode="gray">
          <a:xfrm>
            <a:off x="5978127" y="5750533"/>
            <a:ext cx="235746" cy="235746"/>
          </a:xfrm>
          <a:prstGeom prst="ellipse">
            <a:avLst/>
          </a:prstGeom>
          <a:solidFill>
            <a:srgbClr val="FFFFFF"/>
          </a:solidFill>
          <a:ln w="76200" algn="ctr">
            <a:solidFill>
              <a:srgbClr val="43B02A"/>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4" name="Oval 63">
            <a:extLst>
              <a:ext uri="{FF2B5EF4-FFF2-40B4-BE49-F238E27FC236}">
                <a16:creationId xmlns:a16="http://schemas.microsoft.com/office/drawing/2014/main" id="{F72705B9-BA59-8B44-87C0-C46E428A8FA3}"/>
              </a:ext>
            </a:extLst>
          </p:cNvPr>
          <p:cNvSpPr/>
          <p:nvPr/>
        </p:nvSpPr>
        <p:spPr bwMode="gray">
          <a:xfrm>
            <a:off x="4075102" y="3243150"/>
            <a:ext cx="235746" cy="235746"/>
          </a:xfrm>
          <a:prstGeom prst="ellipse">
            <a:avLst/>
          </a:prstGeom>
          <a:solidFill>
            <a:srgbClr val="FFFFFF"/>
          </a:solidFill>
          <a:ln w="76200" algn="ctr">
            <a:solidFill>
              <a:srgbClr val="000000"/>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5" name="Oval 64">
            <a:extLst>
              <a:ext uri="{FF2B5EF4-FFF2-40B4-BE49-F238E27FC236}">
                <a16:creationId xmlns:a16="http://schemas.microsoft.com/office/drawing/2014/main" id="{A1A36DDD-A125-484D-B153-D867B84808E8}"/>
              </a:ext>
            </a:extLst>
          </p:cNvPr>
          <p:cNvSpPr/>
          <p:nvPr/>
        </p:nvSpPr>
        <p:spPr bwMode="gray">
          <a:xfrm>
            <a:off x="4732735" y="2251011"/>
            <a:ext cx="235746" cy="235746"/>
          </a:xfrm>
          <a:prstGeom prst="ellipse">
            <a:avLst/>
          </a:prstGeom>
          <a:solidFill>
            <a:srgbClr val="FFFFFF"/>
          </a:solidFill>
          <a:ln w="76200" algn="ctr">
            <a:solidFill>
              <a:schemeClr val="accent3"/>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6" name="Oval 65">
            <a:extLst>
              <a:ext uri="{FF2B5EF4-FFF2-40B4-BE49-F238E27FC236}">
                <a16:creationId xmlns:a16="http://schemas.microsoft.com/office/drawing/2014/main" id="{6A272B25-2E06-F547-8C81-297ACFD9027E}"/>
              </a:ext>
            </a:extLst>
          </p:cNvPr>
          <p:cNvSpPr/>
          <p:nvPr/>
        </p:nvSpPr>
        <p:spPr bwMode="gray">
          <a:xfrm>
            <a:off x="7149932" y="5368102"/>
            <a:ext cx="235746" cy="235746"/>
          </a:xfrm>
          <a:prstGeom prst="ellipse">
            <a:avLst/>
          </a:prstGeom>
          <a:solidFill>
            <a:srgbClr val="FFFFFF"/>
          </a:solidFill>
          <a:ln w="76200" algn="ctr">
            <a:solidFill>
              <a:srgbClr val="009A44"/>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7" name="Oval 66">
            <a:extLst>
              <a:ext uri="{FF2B5EF4-FFF2-40B4-BE49-F238E27FC236}">
                <a16:creationId xmlns:a16="http://schemas.microsoft.com/office/drawing/2014/main" id="{78E0C513-134E-F140-B110-BA0AEF2CABD8}"/>
              </a:ext>
            </a:extLst>
          </p:cNvPr>
          <p:cNvSpPr/>
          <p:nvPr/>
        </p:nvSpPr>
        <p:spPr bwMode="gray">
          <a:xfrm>
            <a:off x="7871220" y="4431658"/>
            <a:ext cx="235746" cy="235746"/>
          </a:xfrm>
          <a:prstGeom prst="ellipse">
            <a:avLst/>
          </a:prstGeom>
          <a:solidFill>
            <a:srgbClr val="FFFFFF"/>
          </a:solidFill>
          <a:ln w="76200" algn="ctr">
            <a:solidFill>
              <a:srgbClr val="000000"/>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8" name="TextBox 67">
            <a:extLst>
              <a:ext uri="{FF2B5EF4-FFF2-40B4-BE49-F238E27FC236}">
                <a16:creationId xmlns:a16="http://schemas.microsoft.com/office/drawing/2014/main" id="{A33420AE-077A-7444-8F7C-9F03FE7E865D}"/>
              </a:ext>
            </a:extLst>
          </p:cNvPr>
          <p:cNvSpPr txBox="1"/>
          <p:nvPr/>
        </p:nvSpPr>
        <p:spPr>
          <a:xfrm>
            <a:off x="3660137" y="2258313"/>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pPr algn="r"/>
            <a:r>
              <a:rPr lang="en-US" sz="1300" dirty="0">
                <a:solidFill>
                  <a:srgbClr val="000000"/>
                </a:solidFill>
              </a:rPr>
              <a:t>Lorem ipsum</a:t>
            </a:r>
          </a:p>
        </p:txBody>
      </p:sp>
      <p:sp>
        <p:nvSpPr>
          <p:cNvPr id="69" name="TextBox 68">
            <a:extLst>
              <a:ext uri="{FF2B5EF4-FFF2-40B4-BE49-F238E27FC236}">
                <a16:creationId xmlns:a16="http://schemas.microsoft.com/office/drawing/2014/main" id="{2771A652-8F29-684F-9FD7-4C51C93DC907}"/>
              </a:ext>
            </a:extLst>
          </p:cNvPr>
          <p:cNvSpPr txBox="1"/>
          <p:nvPr/>
        </p:nvSpPr>
        <p:spPr>
          <a:xfrm>
            <a:off x="8161522" y="4464892"/>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r>
              <a:rPr lang="en-US" sz="1300" dirty="0">
                <a:solidFill>
                  <a:srgbClr val="000000"/>
                </a:solidFill>
              </a:rPr>
              <a:t>Lorem ipsum</a:t>
            </a:r>
          </a:p>
        </p:txBody>
      </p:sp>
      <p:sp>
        <p:nvSpPr>
          <p:cNvPr id="70" name="TextBox 69">
            <a:extLst>
              <a:ext uri="{FF2B5EF4-FFF2-40B4-BE49-F238E27FC236}">
                <a16:creationId xmlns:a16="http://schemas.microsoft.com/office/drawing/2014/main" id="{FA5A2C0A-15E4-074E-9B73-5FF59FF6C0F9}"/>
              </a:ext>
            </a:extLst>
          </p:cNvPr>
          <p:cNvSpPr txBox="1"/>
          <p:nvPr/>
        </p:nvSpPr>
        <p:spPr>
          <a:xfrm>
            <a:off x="7463700" y="5434571"/>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r>
              <a:rPr lang="en-US" sz="1300" dirty="0">
                <a:solidFill>
                  <a:srgbClr val="000000"/>
                </a:solidFill>
              </a:rPr>
              <a:t>Lorem ipsum</a:t>
            </a:r>
          </a:p>
        </p:txBody>
      </p:sp>
      <p:sp>
        <p:nvSpPr>
          <p:cNvPr id="71" name="TextBox 70">
            <a:extLst>
              <a:ext uri="{FF2B5EF4-FFF2-40B4-BE49-F238E27FC236}">
                <a16:creationId xmlns:a16="http://schemas.microsoft.com/office/drawing/2014/main" id="{818BA458-339A-FD4C-8759-728C2C9617A1}"/>
              </a:ext>
            </a:extLst>
          </p:cNvPr>
          <p:cNvSpPr txBox="1"/>
          <p:nvPr/>
        </p:nvSpPr>
        <p:spPr>
          <a:xfrm>
            <a:off x="3012436" y="3243150"/>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pPr algn="r"/>
            <a:r>
              <a:rPr lang="en-US" sz="1300" dirty="0">
                <a:solidFill>
                  <a:srgbClr val="000000"/>
                </a:solidFill>
              </a:rPr>
              <a:t>Lorem ipsum</a:t>
            </a:r>
          </a:p>
        </p:txBody>
      </p:sp>
      <p:sp>
        <p:nvSpPr>
          <p:cNvPr id="25" name="TextBox 24">
            <a:extLst>
              <a:ext uri="{FF2B5EF4-FFF2-40B4-BE49-F238E27FC236}">
                <a16:creationId xmlns:a16="http://schemas.microsoft.com/office/drawing/2014/main" id="{FA5A2C0A-15E4-074E-9B73-5FF59FF6C0F9}"/>
              </a:ext>
            </a:extLst>
          </p:cNvPr>
          <p:cNvSpPr txBox="1"/>
          <p:nvPr/>
        </p:nvSpPr>
        <p:spPr>
          <a:xfrm>
            <a:off x="6269033" y="5931405"/>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r>
              <a:rPr lang="en-US" sz="1300" dirty="0">
                <a:solidFill>
                  <a:srgbClr val="000000"/>
                </a:solidFill>
              </a:rPr>
              <a:t>Lorem ipsum</a:t>
            </a:r>
          </a:p>
        </p:txBody>
      </p:sp>
      <p:sp>
        <p:nvSpPr>
          <p:cNvPr id="29" name="TextBox 28">
            <a:extLst>
              <a:ext uri="{FF2B5EF4-FFF2-40B4-BE49-F238E27FC236}">
                <a16:creationId xmlns:a16="http://schemas.microsoft.com/office/drawing/2014/main" id="{A33420AE-077A-7444-8F7C-9F03FE7E865D}"/>
              </a:ext>
            </a:extLst>
          </p:cNvPr>
          <p:cNvSpPr txBox="1"/>
          <p:nvPr/>
        </p:nvSpPr>
        <p:spPr>
          <a:xfrm>
            <a:off x="4935125" y="1714500"/>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pPr algn="r"/>
            <a:r>
              <a:rPr lang="en-US" sz="1300" dirty="0">
                <a:solidFill>
                  <a:srgbClr val="000000"/>
                </a:solidFill>
              </a:rPr>
              <a:t>Lorem ipsum</a:t>
            </a:r>
          </a:p>
        </p:txBody>
      </p:sp>
    </p:spTree>
    <p:custDataLst>
      <p:tags r:id="rId1"/>
    </p:custDataLst>
    <p:extLst>
      <p:ext uri="{BB962C8B-B14F-4D97-AF65-F5344CB8AC3E}">
        <p14:creationId xmlns:p14="http://schemas.microsoft.com/office/powerpoint/2010/main" val="366472807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a:extLst>
              <a:ext uri="{FF2B5EF4-FFF2-40B4-BE49-F238E27FC236}">
                <a16:creationId xmlns:a16="http://schemas.microsoft.com/office/drawing/2014/main" id="{86B4444F-E8C2-A84F-B373-25D22504E747}"/>
              </a:ext>
            </a:extLst>
          </p:cNvPr>
          <p:cNvSpPr txBox="1"/>
          <p:nvPr/>
        </p:nvSpPr>
        <p:spPr>
          <a:xfrm>
            <a:off x="541985" y="1657350"/>
            <a:ext cx="4172400" cy="200055"/>
          </a:xfrm>
          <a:prstGeom prst="rect">
            <a:avLst/>
          </a:prstGeom>
          <a:noFill/>
        </p:spPr>
        <p:txBody>
          <a:bodyPr wrap="square" lIns="0" tIns="0" rIns="0" bIns="0" rtlCol="0">
            <a:spAutoFit/>
          </a:bodyPr>
          <a:lstStyle/>
          <a:p>
            <a:pPr defTabSz="913686">
              <a:buSzPct val="100000"/>
            </a:pPr>
            <a:r>
              <a:rPr lang="en-US" sz="1300" b="1" dirty="0">
                <a:solidFill>
                  <a:srgbClr val="86BC25"/>
                </a:solidFill>
              </a:rPr>
              <a:t>Lorem ipsum </a:t>
            </a:r>
          </a:p>
        </p:txBody>
      </p:sp>
      <p:sp>
        <p:nvSpPr>
          <p:cNvPr id="38" name="TextBox 37">
            <a:extLst>
              <a:ext uri="{FF2B5EF4-FFF2-40B4-BE49-F238E27FC236}">
                <a16:creationId xmlns:a16="http://schemas.microsoft.com/office/drawing/2014/main" id="{6CF6B692-61A4-A24A-B2E7-659DB663C123}"/>
              </a:ext>
            </a:extLst>
          </p:cNvPr>
          <p:cNvSpPr txBox="1"/>
          <p:nvPr/>
        </p:nvSpPr>
        <p:spPr>
          <a:xfrm>
            <a:off x="7467238" y="1657350"/>
            <a:ext cx="4172400" cy="200055"/>
          </a:xfrm>
          <a:prstGeom prst="rect">
            <a:avLst/>
          </a:prstGeom>
          <a:noFill/>
        </p:spPr>
        <p:txBody>
          <a:bodyPr wrap="square" lIns="0" tIns="0" rIns="0" bIns="0" rtlCol="0">
            <a:spAutoFit/>
          </a:bodyPr>
          <a:lstStyle/>
          <a:p>
            <a:pPr defTabSz="913686">
              <a:buSzPct val="100000"/>
            </a:pPr>
            <a:r>
              <a:rPr lang="en-US" sz="1300" b="1" dirty="0">
                <a:solidFill>
                  <a:srgbClr val="43B02A"/>
                </a:solidFill>
              </a:rPr>
              <a:t>Lorem ipsum</a:t>
            </a:r>
          </a:p>
        </p:txBody>
      </p:sp>
      <p:sp>
        <p:nvSpPr>
          <p:cNvPr id="39" name="TextBox 38">
            <a:extLst>
              <a:ext uri="{FF2B5EF4-FFF2-40B4-BE49-F238E27FC236}">
                <a16:creationId xmlns:a16="http://schemas.microsoft.com/office/drawing/2014/main" id="{08E9B11E-1D77-DC44-8751-8E4633FCD335}"/>
              </a:ext>
            </a:extLst>
          </p:cNvPr>
          <p:cNvSpPr txBox="1"/>
          <p:nvPr/>
        </p:nvSpPr>
        <p:spPr>
          <a:xfrm>
            <a:off x="531255" y="4036499"/>
            <a:ext cx="4172400" cy="200055"/>
          </a:xfrm>
          <a:prstGeom prst="rect">
            <a:avLst/>
          </a:prstGeom>
          <a:noFill/>
        </p:spPr>
        <p:txBody>
          <a:bodyPr wrap="square" lIns="0" tIns="0" rIns="0" bIns="0" rtlCol="0">
            <a:spAutoFit/>
          </a:bodyPr>
          <a:lstStyle/>
          <a:p>
            <a:pPr defTabSz="913686">
              <a:buSzPct val="100000"/>
            </a:pPr>
            <a:r>
              <a:rPr lang="en-US" sz="1300" b="1" dirty="0">
                <a:solidFill>
                  <a:srgbClr val="009A44"/>
                </a:solidFill>
              </a:rPr>
              <a:t>Lorem ipsum</a:t>
            </a:r>
          </a:p>
        </p:txBody>
      </p:sp>
      <p:sp>
        <p:nvSpPr>
          <p:cNvPr id="40" name="Rectangle 39">
            <a:extLst>
              <a:ext uri="{FF2B5EF4-FFF2-40B4-BE49-F238E27FC236}">
                <a16:creationId xmlns:a16="http://schemas.microsoft.com/office/drawing/2014/main" id="{85985CA0-6971-3341-9B9B-A2D09C6C073E}"/>
              </a:ext>
            </a:extLst>
          </p:cNvPr>
          <p:cNvSpPr/>
          <p:nvPr/>
        </p:nvSpPr>
        <p:spPr>
          <a:xfrm>
            <a:off x="541985" y="1886261"/>
            <a:ext cx="4172400" cy="180049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srgbClr val="313131"/>
              </a:solidFill>
            </a:endParaRP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41" name="Rectangle 40">
            <a:extLst>
              <a:ext uri="{FF2B5EF4-FFF2-40B4-BE49-F238E27FC236}">
                <a16:creationId xmlns:a16="http://schemas.microsoft.com/office/drawing/2014/main" id="{100ED4A4-F94B-4E4A-A841-85AB2C9F87B3}"/>
              </a:ext>
            </a:extLst>
          </p:cNvPr>
          <p:cNvSpPr/>
          <p:nvPr/>
        </p:nvSpPr>
        <p:spPr>
          <a:xfrm>
            <a:off x="531255" y="4265413"/>
            <a:ext cx="4172400" cy="180049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srgbClr val="313131"/>
              </a:solidFill>
            </a:endParaRP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42" name="Rectangle 41">
            <a:extLst>
              <a:ext uri="{FF2B5EF4-FFF2-40B4-BE49-F238E27FC236}">
                <a16:creationId xmlns:a16="http://schemas.microsoft.com/office/drawing/2014/main" id="{02D5EC9D-F5A5-2B43-A37F-F77052226C39}"/>
              </a:ext>
            </a:extLst>
          </p:cNvPr>
          <p:cNvSpPr/>
          <p:nvPr/>
        </p:nvSpPr>
        <p:spPr>
          <a:xfrm>
            <a:off x="7467246" y="1886266"/>
            <a:ext cx="4172400" cy="180049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srgbClr val="313131"/>
              </a:solidFill>
            </a:endParaRP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43" name="TextBox 42">
            <a:extLst>
              <a:ext uri="{FF2B5EF4-FFF2-40B4-BE49-F238E27FC236}">
                <a16:creationId xmlns:a16="http://schemas.microsoft.com/office/drawing/2014/main" id="{8278A766-E080-2649-A301-83FBFCC94471}"/>
              </a:ext>
            </a:extLst>
          </p:cNvPr>
          <p:cNvSpPr txBox="1"/>
          <p:nvPr/>
        </p:nvSpPr>
        <p:spPr>
          <a:xfrm>
            <a:off x="7467238" y="4036499"/>
            <a:ext cx="4172400" cy="200055"/>
          </a:xfrm>
          <a:prstGeom prst="rect">
            <a:avLst/>
          </a:prstGeom>
          <a:noFill/>
        </p:spPr>
        <p:txBody>
          <a:bodyPr wrap="square" lIns="0" tIns="0" rIns="0" bIns="0" rtlCol="0">
            <a:spAutoFit/>
          </a:bodyPr>
          <a:lstStyle/>
          <a:p>
            <a:pPr defTabSz="913686">
              <a:buSzPct val="100000"/>
            </a:pPr>
            <a:r>
              <a:rPr lang="en-US" sz="1300" b="1" dirty="0">
                <a:solidFill>
                  <a:schemeClr val="accent3"/>
                </a:solidFill>
              </a:rPr>
              <a:t>Lorem ipsum</a:t>
            </a:r>
          </a:p>
        </p:txBody>
      </p:sp>
      <p:sp>
        <p:nvSpPr>
          <p:cNvPr id="44" name="Rectangle 43">
            <a:extLst>
              <a:ext uri="{FF2B5EF4-FFF2-40B4-BE49-F238E27FC236}">
                <a16:creationId xmlns:a16="http://schemas.microsoft.com/office/drawing/2014/main" id="{C7388C4A-0C9F-EB43-9AB0-5E580525995A}"/>
              </a:ext>
            </a:extLst>
          </p:cNvPr>
          <p:cNvSpPr/>
          <p:nvPr/>
        </p:nvSpPr>
        <p:spPr>
          <a:xfrm>
            <a:off x="7467240" y="4265414"/>
            <a:ext cx="4172400" cy="180049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srgbClr val="313131"/>
              </a:solidFill>
            </a:endParaRP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nvGrpSpPr>
          <p:cNvPr id="46" name="Group 45">
            <a:extLst>
              <a:ext uri="{FF2B5EF4-FFF2-40B4-BE49-F238E27FC236}">
                <a16:creationId xmlns:a16="http://schemas.microsoft.com/office/drawing/2014/main" id="{ED0B89C5-55C6-DE4A-8470-E4C4EFFBA0A3}"/>
              </a:ext>
            </a:extLst>
          </p:cNvPr>
          <p:cNvGrpSpPr/>
          <p:nvPr/>
        </p:nvGrpSpPr>
        <p:grpSpPr>
          <a:xfrm>
            <a:off x="5110732" y="2455973"/>
            <a:ext cx="1978889" cy="1978889"/>
            <a:chOff x="3962400" y="3068188"/>
            <a:chExt cx="1642446" cy="1642446"/>
          </a:xfrm>
        </p:grpSpPr>
        <p:sp>
          <p:nvSpPr>
            <p:cNvPr id="87" name="Oval 86">
              <a:extLst>
                <a:ext uri="{FF2B5EF4-FFF2-40B4-BE49-F238E27FC236}">
                  <a16:creationId xmlns:a16="http://schemas.microsoft.com/office/drawing/2014/main" id="{9435CA01-BFD9-4A45-A319-3D5CAC252B21}"/>
                </a:ext>
              </a:extLst>
            </p:cNvPr>
            <p:cNvSpPr/>
            <p:nvPr/>
          </p:nvSpPr>
          <p:spPr bwMode="gray">
            <a:xfrm>
              <a:off x="3962400" y="3068188"/>
              <a:ext cx="1642446" cy="1642446"/>
            </a:xfrm>
            <a:prstGeom prst="ellipse">
              <a:avLst/>
            </a:prstGeom>
            <a:solidFill>
              <a:schemeClr val="bg2"/>
            </a:solidFill>
            <a:ln w="19050" algn="ctr">
              <a:solidFill>
                <a:schemeClr val="bg1"/>
              </a:solidFill>
              <a:miter lim="800000"/>
              <a:headEnd/>
              <a:tailEnd/>
            </a:ln>
          </p:spPr>
          <p:txBody>
            <a:bodyPr wrap="square" lIns="0" tIns="0" rIns="0" bIns="0" rtlCol="0" anchor="ctr"/>
            <a:lstStyle/>
            <a:p>
              <a:pPr algn="ctr" defTabSz="913686"/>
              <a:endParaRPr lang="en-US" sz="1300" b="1" dirty="0">
                <a:solidFill>
                  <a:prstClr val="white"/>
                </a:solidFill>
              </a:endParaRPr>
            </a:p>
          </p:txBody>
        </p:sp>
        <p:sp>
          <p:nvSpPr>
            <p:cNvPr id="88" name="Oval 87">
              <a:extLst>
                <a:ext uri="{FF2B5EF4-FFF2-40B4-BE49-F238E27FC236}">
                  <a16:creationId xmlns:a16="http://schemas.microsoft.com/office/drawing/2014/main" id="{EB5A323B-36DC-9E46-AAC5-E2159286FD47}"/>
                </a:ext>
              </a:extLst>
            </p:cNvPr>
            <p:cNvSpPr/>
            <p:nvPr/>
          </p:nvSpPr>
          <p:spPr bwMode="gray">
            <a:xfrm>
              <a:off x="4097823" y="3203611"/>
              <a:ext cx="1371600" cy="1371600"/>
            </a:xfrm>
            <a:prstGeom prst="ellipse">
              <a:avLst/>
            </a:prstGeom>
            <a:solidFill>
              <a:srgbClr val="000000"/>
            </a:solidFill>
            <a:ln w="19050" algn="ctr">
              <a:solidFill>
                <a:schemeClr val="bg1"/>
              </a:solidFill>
              <a:miter lim="800000"/>
              <a:headEnd/>
              <a:tailEnd/>
            </a:ln>
          </p:spPr>
          <p:txBody>
            <a:bodyPr wrap="square" lIns="0" tIns="0" rIns="0" bIns="0" rtlCol="0" anchor="ctr"/>
            <a:lstStyle/>
            <a:p>
              <a:pPr algn="ctr" defTabSz="913686"/>
              <a:r>
                <a:rPr lang="en-US" sz="1300" b="1" dirty="0">
                  <a:solidFill>
                    <a:prstClr val="white"/>
                  </a:solidFill>
                </a:rPr>
                <a:t>Lorem ipsum</a:t>
              </a:r>
            </a:p>
          </p:txBody>
        </p:sp>
      </p:grpSp>
      <p:sp>
        <p:nvSpPr>
          <p:cNvPr id="85" name="Teardrop 84">
            <a:extLst>
              <a:ext uri="{FF2B5EF4-FFF2-40B4-BE49-F238E27FC236}">
                <a16:creationId xmlns:a16="http://schemas.microsoft.com/office/drawing/2014/main" id="{3A5A02B9-D14E-EA42-911C-50F836D43922}"/>
              </a:ext>
            </a:extLst>
          </p:cNvPr>
          <p:cNvSpPr/>
          <p:nvPr/>
        </p:nvSpPr>
        <p:spPr>
          <a:xfrm rot="16200000">
            <a:off x="4860635" y="2303558"/>
            <a:ext cx="646018" cy="646019"/>
          </a:xfrm>
          <a:prstGeom prst="teardrop">
            <a:avLst/>
          </a:prstGeom>
          <a:solidFill>
            <a:srgbClr val="000000"/>
          </a:solidFill>
          <a:ln w="9525" cap="flat" cmpd="sng" algn="ctr">
            <a:solidFill>
              <a:srgbClr val="FFFFFF"/>
            </a:solidFill>
            <a:prstDash val="solid"/>
          </a:ln>
          <a:effectLst/>
        </p:spPr>
        <p:txBody>
          <a:bodyPr rtlCol="0" anchor="ctr"/>
          <a:lstStyle/>
          <a:p>
            <a:pPr algn="ctr" defTabSz="913686">
              <a:defRPr/>
            </a:pPr>
            <a:endParaRPr lang="en-US" sz="1300" kern="0" err="1">
              <a:solidFill>
                <a:srgbClr val="FFFFFF"/>
              </a:solidFill>
            </a:endParaRPr>
          </a:p>
        </p:txBody>
      </p:sp>
      <p:sp>
        <p:nvSpPr>
          <p:cNvPr id="81" name="Teardrop 80">
            <a:extLst>
              <a:ext uri="{FF2B5EF4-FFF2-40B4-BE49-F238E27FC236}">
                <a16:creationId xmlns:a16="http://schemas.microsoft.com/office/drawing/2014/main" id="{1B781551-1CB2-1C4B-A710-10304A3F0CBA}"/>
              </a:ext>
            </a:extLst>
          </p:cNvPr>
          <p:cNvSpPr/>
          <p:nvPr/>
        </p:nvSpPr>
        <p:spPr>
          <a:xfrm>
            <a:off x="6685349" y="2303557"/>
            <a:ext cx="646019" cy="646018"/>
          </a:xfrm>
          <a:prstGeom prst="teardrop">
            <a:avLst/>
          </a:prstGeom>
          <a:solidFill>
            <a:srgbClr val="000000"/>
          </a:solidFill>
          <a:ln w="9525" cap="flat" cmpd="sng" algn="ctr">
            <a:solidFill>
              <a:srgbClr val="FFFFFF"/>
            </a:solidFill>
            <a:prstDash val="solid"/>
          </a:ln>
          <a:effectLst/>
        </p:spPr>
        <p:txBody>
          <a:bodyPr rtlCol="0" anchor="ctr"/>
          <a:lstStyle/>
          <a:p>
            <a:pPr algn="ctr" defTabSz="913686">
              <a:defRPr/>
            </a:pPr>
            <a:endParaRPr lang="en-US" sz="1300" kern="0" err="1">
              <a:solidFill>
                <a:srgbClr val="FFFFFF"/>
              </a:solidFill>
            </a:endParaRPr>
          </a:p>
        </p:txBody>
      </p:sp>
      <p:sp>
        <p:nvSpPr>
          <p:cNvPr id="77" name="Teardrop 76">
            <a:extLst>
              <a:ext uri="{FF2B5EF4-FFF2-40B4-BE49-F238E27FC236}">
                <a16:creationId xmlns:a16="http://schemas.microsoft.com/office/drawing/2014/main" id="{F0D256D2-326C-E44C-AAB2-9D65D710B966}"/>
              </a:ext>
            </a:extLst>
          </p:cNvPr>
          <p:cNvSpPr/>
          <p:nvPr/>
        </p:nvSpPr>
        <p:spPr>
          <a:xfrm rot="5400000">
            <a:off x="6685349" y="3977818"/>
            <a:ext cx="646018" cy="646019"/>
          </a:xfrm>
          <a:prstGeom prst="teardrop">
            <a:avLst/>
          </a:prstGeom>
          <a:solidFill>
            <a:srgbClr val="000000"/>
          </a:solidFill>
          <a:ln w="9525" cap="flat" cmpd="sng" algn="ctr">
            <a:solidFill>
              <a:srgbClr val="FFFFFF"/>
            </a:solidFill>
            <a:prstDash val="solid"/>
          </a:ln>
          <a:effectLst/>
        </p:spPr>
        <p:txBody>
          <a:bodyPr rtlCol="0" anchor="ctr"/>
          <a:lstStyle/>
          <a:p>
            <a:pPr algn="ctr" defTabSz="913686">
              <a:defRPr/>
            </a:pPr>
            <a:endParaRPr lang="en-US" sz="1300" kern="0" err="1">
              <a:solidFill>
                <a:srgbClr val="FFFFFF"/>
              </a:solidFill>
            </a:endParaRPr>
          </a:p>
        </p:txBody>
      </p:sp>
      <p:sp>
        <p:nvSpPr>
          <p:cNvPr id="53" name="Teardrop 52">
            <a:extLst>
              <a:ext uri="{FF2B5EF4-FFF2-40B4-BE49-F238E27FC236}">
                <a16:creationId xmlns:a16="http://schemas.microsoft.com/office/drawing/2014/main" id="{3C4B6FEF-6EBD-1244-B2E6-CAB5F29CAD5C}"/>
              </a:ext>
            </a:extLst>
          </p:cNvPr>
          <p:cNvSpPr/>
          <p:nvPr/>
        </p:nvSpPr>
        <p:spPr>
          <a:xfrm rot="10800000">
            <a:off x="4860635" y="3977814"/>
            <a:ext cx="646019" cy="646018"/>
          </a:xfrm>
          <a:prstGeom prst="teardrop">
            <a:avLst/>
          </a:prstGeom>
          <a:solidFill>
            <a:srgbClr val="000000"/>
          </a:solidFill>
          <a:ln w="9525" cap="flat" cmpd="sng" algn="ctr">
            <a:solidFill>
              <a:srgbClr val="FFFFFF"/>
            </a:solidFill>
            <a:prstDash val="solid"/>
          </a:ln>
          <a:effectLst/>
        </p:spPr>
        <p:txBody>
          <a:bodyPr rtlCol="0" anchor="ctr"/>
          <a:lstStyle/>
          <a:p>
            <a:pPr algn="ctr" defTabSz="913686">
              <a:defRPr/>
            </a:pPr>
            <a:endParaRPr lang="en-US" sz="1300" kern="0" err="1">
              <a:solidFill>
                <a:srgbClr val="FFFFFF"/>
              </a:solidFill>
            </a:endParaRPr>
          </a:p>
        </p:txBody>
      </p:sp>
      <p:grpSp>
        <p:nvGrpSpPr>
          <p:cNvPr id="3" name="Group 2"/>
          <p:cNvGrpSpPr/>
          <p:nvPr/>
        </p:nvGrpSpPr>
        <p:grpSpPr>
          <a:xfrm>
            <a:off x="4898160" y="2338417"/>
            <a:ext cx="576333" cy="578029"/>
            <a:chOff x="5086336" y="586482"/>
            <a:chExt cx="647114" cy="649019"/>
          </a:xfrm>
        </p:grpSpPr>
        <p:sp>
          <p:nvSpPr>
            <p:cNvPr id="2" name="Oval 1"/>
            <p:cNvSpPr/>
            <p:nvPr/>
          </p:nvSpPr>
          <p:spPr bwMode="gray">
            <a:xfrm>
              <a:off x="5125982"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34" name="Freeform 600">
              <a:extLst>
                <a:ext uri="{FF2B5EF4-FFF2-40B4-BE49-F238E27FC236}">
                  <a16:creationId xmlns:a16="http://schemas.microsoft.com/office/drawing/2014/main" id="{51170754-CF2D-4297-9B8C-751D2B2B598E}"/>
                </a:ext>
              </a:extLst>
            </p:cNvPr>
            <p:cNvSpPr>
              <a:spLocks noChangeAspect="1" noEditPoints="1"/>
            </p:cNvSpPr>
            <p:nvPr/>
          </p:nvSpPr>
          <p:spPr bwMode="auto">
            <a:xfrm>
              <a:off x="5086336" y="586482"/>
              <a:ext cx="647114" cy="649019"/>
            </a:xfrm>
            <a:custGeom>
              <a:avLst/>
              <a:gdLst>
                <a:gd name="T0" fmla="*/ 394 w 512"/>
                <a:gd name="T1" fmla="*/ 250 h 512"/>
                <a:gd name="T2" fmla="*/ 346 w 512"/>
                <a:gd name="T3" fmla="*/ 298 h 512"/>
                <a:gd name="T4" fmla="*/ 298 w 512"/>
                <a:gd name="T5" fmla="*/ 250 h 512"/>
                <a:gd name="T6" fmla="*/ 346 w 512"/>
                <a:gd name="T7" fmla="*/ 202 h 512"/>
                <a:gd name="T8" fmla="*/ 394 w 512"/>
                <a:gd name="T9" fmla="*/ 250 h 512"/>
                <a:gd name="T10" fmla="*/ 165 w 512"/>
                <a:gd name="T11" fmla="*/ 202 h 512"/>
                <a:gd name="T12" fmla="*/ 117 w 512"/>
                <a:gd name="T13" fmla="*/ 250 h 512"/>
                <a:gd name="T14" fmla="*/ 165 w 512"/>
                <a:gd name="T15" fmla="*/ 298 h 512"/>
                <a:gd name="T16" fmla="*/ 213 w 512"/>
                <a:gd name="T17" fmla="*/ 250 h 512"/>
                <a:gd name="T18" fmla="*/ 165 w 512"/>
                <a:gd name="T19" fmla="*/ 202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250 h 512"/>
                <a:gd name="T32" fmla="*/ 346 w 512"/>
                <a:gd name="T33" fmla="*/ 181 h 512"/>
                <a:gd name="T34" fmla="*/ 277 w 512"/>
                <a:gd name="T35" fmla="*/ 250 h 512"/>
                <a:gd name="T36" fmla="*/ 296 w 512"/>
                <a:gd name="T37" fmla="*/ 298 h 512"/>
                <a:gd name="T38" fmla="*/ 215 w 512"/>
                <a:gd name="T39" fmla="*/ 298 h 512"/>
                <a:gd name="T40" fmla="*/ 234 w 512"/>
                <a:gd name="T41" fmla="*/ 250 h 512"/>
                <a:gd name="T42" fmla="*/ 165 w 512"/>
                <a:gd name="T43" fmla="*/ 181 h 512"/>
                <a:gd name="T44" fmla="*/ 96 w 512"/>
                <a:gd name="T45" fmla="*/ 250 h 512"/>
                <a:gd name="T46" fmla="*/ 158 w 512"/>
                <a:gd name="T47" fmla="*/ 319 h 512"/>
                <a:gd name="T48" fmla="*/ 160 w 512"/>
                <a:gd name="T49" fmla="*/ 320 h 512"/>
                <a:gd name="T50" fmla="*/ 352 w 512"/>
                <a:gd name="T51" fmla="*/ 320 h 512"/>
                <a:gd name="T52" fmla="*/ 354 w 512"/>
                <a:gd name="T53" fmla="*/ 319 h 512"/>
                <a:gd name="T54" fmla="*/ 416 w 512"/>
                <a:gd name="T55" fmla="*/ 2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394" y="250"/>
                  </a:moveTo>
                  <a:cubicBezTo>
                    <a:pt x="394" y="277"/>
                    <a:pt x="373" y="298"/>
                    <a:pt x="346" y="298"/>
                  </a:cubicBezTo>
                  <a:cubicBezTo>
                    <a:pt x="320" y="298"/>
                    <a:pt x="298" y="277"/>
                    <a:pt x="298" y="250"/>
                  </a:cubicBezTo>
                  <a:cubicBezTo>
                    <a:pt x="298" y="224"/>
                    <a:pt x="320" y="202"/>
                    <a:pt x="346" y="202"/>
                  </a:cubicBezTo>
                  <a:cubicBezTo>
                    <a:pt x="373" y="202"/>
                    <a:pt x="394" y="224"/>
                    <a:pt x="394" y="250"/>
                  </a:cubicBezTo>
                  <a:close/>
                  <a:moveTo>
                    <a:pt x="165" y="202"/>
                  </a:moveTo>
                  <a:cubicBezTo>
                    <a:pt x="139" y="202"/>
                    <a:pt x="117" y="224"/>
                    <a:pt x="117" y="250"/>
                  </a:cubicBezTo>
                  <a:cubicBezTo>
                    <a:pt x="117" y="277"/>
                    <a:pt x="139" y="298"/>
                    <a:pt x="165" y="298"/>
                  </a:cubicBezTo>
                  <a:cubicBezTo>
                    <a:pt x="191" y="298"/>
                    <a:pt x="213" y="277"/>
                    <a:pt x="213" y="250"/>
                  </a:cubicBezTo>
                  <a:cubicBezTo>
                    <a:pt x="213" y="224"/>
                    <a:pt x="191" y="202"/>
                    <a:pt x="165" y="20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0"/>
                  </a:moveTo>
                  <a:cubicBezTo>
                    <a:pt x="416" y="212"/>
                    <a:pt x="385" y="181"/>
                    <a:pt x="346" y="181"/>
                  </a:cubicBezTo>
                  <a:cubicBezTo>
                    <a:pt x="308" y="181"/>
                    <a:pt x="277" y="212"/>
                    <a:pt x="277" y="250"/>
                  </a:cubicBezTo>
                  <a:cubicBezTo>
                    <a:pt x="277" y="269"/>
                    <a:pt x="284" y="286"/>
                    <a:pt x="296" y="298"/>
                  </a:cubicBezTo>
                  <a:cubicBezTo>
                    <a:pt x="215" y="298"/>
                    <a:pt x="215" y="298"/>
                    <a:pt x="215" y="298"/>
                  </a:cubicBezTo>
                  <a:cubicBezTo>
                    <a:pt x="227" y="286"/>
                    <a:pt x="234" y="269"/>
                    <a:pt x="234" y="250"/>
                  </a:cubicBezTo>
                  <a:cubicBezTo>
                    <a:pt x="234" y="212"/>
                    <a:pt x="203" y="181"/>
                    <a:pt x="165" y="181"/>
                  </a:cubicBezTo>
                  <a:cubicBezTo>
                    <a:pt x="127" y="181"/>
                    <a:pt x="96" y="212"/>
                    <a:pt x="96" y="250"/>
                  </a:cubicBezTo>
                  <a:cubicBezTo>
                    <a:pt x="96" y="286"/>
                    <a:pt x="123" y="316"/>
                    <a:pt x="158" y="319"/>
                  </a:cubicBezTo>
                  <a:cubicBezTo>
                    <a:pt x="158" y="319"/>
                    <a:pt x="159" y="320"/>
                    <a:pt x="160" y="320"/>
                  </a:cubicBezTo>
                  <a:cubicBezTo>
                    <a:pt x="352" y="320"/>
                    <a:pt x="352" y="320"/>
                    <a:pt x="352" y="320"/>
                  </a:cubicBezTo>
                  <a:cubicBezTo>
                    <a:pt x="352" y="320"/>
                    <a:pt x="353" y="319"/>
                    <a:pt x="354" y="319"/>
                  </a:cubicBezTo>
                  <a:cubicBezTo>
                    <a:pt x="388" y="316"/>
                    <a:pt x="416" y="286"/>
                    <a:pt x="416" y="250"/>
                  </a:cubicBezTo>
                  <a:close/>
                </a:path>
              </a:pathLst>
            </a:custGeom>
            <a:solidFill>
              <a:schemeClr val="accent1"/>
            </a:solidFill>
            <a:ln>
              <a:noFill/>
            </a:ln>
          </p:spPr>
          <p:txBody>
            <a:bodyPr vert="horz" wrap="square" lIns="72477" tIns="36238" rIns="72477" bIns="36238" numCol="1" anchor="t" anchorCtr="0" compatLnSpc="1">
              <a:prstTxWarp prst="textNoShape">
                <a:avLst/>
              </a:prstTxWarp>
            </a:bodyPr>
            <a:lstStyle/>
            <a:p>
              <a:endParaRPr lang="en-GB" sz="1300" dirty="0"/>
            </a:p>
          </p:txBody>
        </p:sp>
      </p:grpSp>
      <p:grpSp>
        <p:nvGrpSpPr>
          <p:cNvPr id="5" name="Group 4"/>
          <p:cNvGrpSpPr/>
          <p:nvPr/>
        </p:nvGrpSpPr>
        <p:grpSpPr>
          <a:xfrm>
            <a:off x="4897587" y="4008977"/>
            <a:ext cx="577356" cy="577356"/>
            <a:chOff x="8067607" y="586871"/>
            <a:chExt cx="648263" cy="648263"/>
          </a:xfrm>
        </p:grpSpPr>
        <p:sp>
          <p:nvSpPr>
            <p:cNvPr id="61" name="Oval 60"/>
            <p:cNvSpPr/>
            <p:nvPr/>
          </p:nvSpPr>
          <p:spPr bwMode="gray">
            <a:xfrm>
              <a:off x="8107826"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35" name="Freeform 32">
              <a:extLst>
                <a:ext uri="{FF2B5EF4-FFF2-40B4-BE49-F238E27FC236}">
                  <a16:creationId xmlns:a16="http://schemas.microsoft.com/office/drawing/2014/main" id="{6D0081C0-8167-4456-8C8F-115501485DDF}"/>
                </a:ext>
              </a:extLst>
            </p:cNvPr>
            <p:cNvSpPr>
              <a:spLocks noChangeAspect="1" noEditPoints="1"/>
            </p:cNvSpPr>
            <p:nvPr/>
          </p:nvSpPr>
          <p:spPr bwMode="auto">
            <a:xfrm>
              <a:off x="8067607" y="586871"/>
              <a:ext cx="648263" cy="648263"/>
            </a:xfrm>
            <a:custGeom>
              <a:avLst/>
              <a:gdLst>
                <a:gd name="T0" fmla="*/ 234 w 512"/>
                <a:gd name="T1" fmla="*/ 168 h 512"/>
                <a:gd name="T2" fmla="*/ 374 w 512"/>
                <a:gd name="T3" fmla="*/ 256 h 512"/>
                <a:gd name="T4" fmla="*/ 234 w 512"/>
                <a:gd name="T5" fmla="*/ 343 h 512"/>
                <a:gd name="T6" fmla="*/ 234 w 512"/>
                <a:gd name="T7" fmla="*/ 289 h 512"/>
                <a:gd name="T8" fmla="*/ 229 w 512"/>
                <a:gd name="T9" fmla="*/ 280 h 512"/>
                <a:gd name="T10" fmla="*/ 224 w 512"/>
                <a:gd name="T11" fmla="*/ 278 h 512"/>
                <a:gd name="T12" fmla="*/ 218 w 512"/>
                <a:gd name="T13" fmla="*/ 280 h 512"/>
                <a:gd name="T14" fmla="*/ 117 w 512"/>
                <a:gd name="T15" fmla="*/ 343 h 512"/>
                <a:gd name="T16" fmla="*/ 117 w 512"/>
                <a:gd name="T17" fmla="*/ 168 h 512"/>
                <a:gd name="T18" fmla="*/ 218 w 512"/>
                <a:gd name="T19" fmla="*/ 231 h 512"/>
                <a:gd name="T20" fmla="*/ 229 w 512"/>
                <a:gd name="T21" fmla="*/ 232 h 512"/>
                <a:gd name="T22" fmla="*/ 234 w 512"/>
                <a:gd name="T23" fmla="*/ 222 h 512"/>
                <a:gd name="T24" fmla="*/ 234 w 512"/>
                <a:gd name="T25" fmla="*/ 16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49 h 512"/>
                <a:gd name="T38" fmla="*/ 405 w 512"/>
                <a:gd name="T39" fmla="*/ 138 h 512"/>
                <a:gd name="T40" fmla="*/ 394 w 512"/>
                <a:gd name="T41" fmla="*/ 149 h 512"/>
                <a:gd name="T42" fmla="*/ 394 w 512"/>
                <a:gd name="T43" fmla="*/ 243 h 512"/>
                <a:gd name="T44" fmla="*/ 229 w 512"/>
                <a:gd name="T45" fmla="*/ 140 h 512"/>
                <a:gd name="T46" fmla="*/ 218 w 512"/>
                <a:gd name="T47" fmla="*/ 140 h 512"/>
                <a:gd name="T48" fmla="*/ 213 w 512"/>
                <a:gd name="T49" fmla="*/ 149 h 512"/>
                <a:gd name="T50" fmla="*/ 213 w 512"/>
                <a:gd name="T51" fmla="*/ 203 h 512"/>
                <a:gd name="T52" fmla="*/ 112 w 512"/>
                <a:gd name="T53" fmla="*/ 140 h 512"/>
                <a:gd name="T54" fmla="*/ 101 w 512"/>
                <a:gd name="T55" fmla="*/ 140 h 512"/>
                <a:gd name="T56" fmla="*/ 96 w 512"/>
                <a:gd name="T57" fmla="*/ 149 h 512"/>
                <a:gd name="T58" fmla="*/ 96 w 512"/>
                <a:gd name="T59" fmla="*/ 362 h 512"/>
                <a:gd name="T60" fmla="*/ 101 w 512"/>
                <a:gd name="T61" fmla="*/ 372 h 512"/>
                <a:gd name="T62" fmla="*/ 112 w 512"/>
                <a:gd name="T63" fmla="*/ 371 h 512"/>
                <a:gd name="T64" fmla="*/ 213 w 512"/>
                <a:gd name="T65" fmla="*/ 308 h 512"/>
                <a:gd name="T66" fmla="*/ 213 w 512"/>
                <a:gd name="T67" fmla="*/ 362 h 512"/>
                <a:gd name="T68" fmla="*/ 218 w 512"/>
                <a:gd name="T69" fmla="*/ 372 h 512"/>
                <a:gd name="T70" fmla="*/ 224 w 512"/>
                <a:gd name="T71" fmla="*/ 373 h 512"/>
                <a:gd name="T72" fmla="*/ 229 w 512"/>
                <a:gd name="T73" fmla="*/ 371 h 512"/>
                <a:gd name="T74" fmla="*/ 394 w 512"/>
                <a:gd name="T75" fmla="*/ 268 h 512"/>
                <a:gd name="T76" fmla="*/ 394 w 512"/>
                <a:gd name="T77" fmla="*/ 362 h 512"/>
                <a:gd name="T78" fmla="*/ 405 w 512"/>
                <a:gd name="T79" fmla="*/ 373 h 512"/>
                <a:gd name="T80" fmla="*/ 416 w 512"/>
                <a:gd name="T81" fmla="*/ 362 h 512"/>
                <a:gd name="T82" fmla="*/ 416 w 512"/>
                <a:gd name="T83"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34" y="168"/>
                  </a:moveTo>
                  <a:cubicBezTo>
                    <a:pt x="374" y="256"/>
                    <a:pt x="374" y="256"/>
                    <a:pt x="374" y="256"/>
                  </a:cubicBezTo>
                  <a:cubicBezTo>
                    <a:pt x="234" y="343"/>
                    <a:pt x="234" y="343"/>
                    <a:pt x="234" y="343"/>
                  </a:cubicBezTo>
                  <a:cubicBezTo>
                    <a:pt x="234" y="289"/>
                    <a:pt x="234" y="289"/>
                    <a:pt x="234" y="289"/>
                  </a:cubicBezTo>
                  <a:cubicBezTo>
                    <a:pt x="234" y="285"/>
                    <a:pt x="232" y="282"/>
                    <a:pt x="229" y="280"/>
                  </a:cubicBezTo>
                  <a:cubicBezTo>
                    <a:pt x="227" y="279"/>
                    <a:pt x="225" y="278"/>
                    <a:pt x="224" y="278"/>
                  </a:cubicBezTo>
                  <a:cubicBezTo>
                    <a:pt x="222" y="278"/>
                    <a:pt x="220" y="279"/>
                    <a:pt x="218" y="280"/>
                  </a:cubicBezTo>
                  <a:cubicBezTo>
                    <a:pt x="117" y="343"/>
                    <a:pt x="117" y="343"/>
                    <a:pt x="117" y="343"/>
                  </a:cubicBezTo>
                  <a:cubicBezTo>
                    <a:pt x="117" y="168"/>
                    <a:pt x="117" y="168"/>
                    <a:pt x="117" y="168"/>
                  </a:cubicBezTo>
                  <a:cubicBezTo>
                    <a:pt x="218" y="231"/>
                    <a:pt x="218" y="231"/>
                    <a:pt x="218" y="231"/>
                  </a:cubicBezTo>
                  <a:cubicBezTo>
                    <a:pt x="221" y="233"/>
                    <a:pt x="225" y="234"/>
                    <a:pt x="229" y="232"/>
                  </a:cubicBezTo>
                  <a:cubicBezTo>
                    <a:pt x="232" y="230"/>
                    <a:pt x="234" y="226"/>
                    <a:pt x="234" y="222"/>
                  </a:cubicBezTo>
                  <a:lnTo>
                    <a:pt x="234" y="16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99" y="138"/>
                    <a:pt x="394" y="143"/>
                    <a:pt x="394" y="149"/>
                  </a:cubicBezTo>
                  <a:cubicBezTo>
                    <a:pt x="394" y="243"/>
                    <a:pt x="394" y="243"/>
                    <a:pt x="394" y="243"/>
                  </a:cubicBezTo>
                  <a:cubicBezTo>
                    <a:pt x="229" y="140"/>
                    <a:pt x="229" y="140"/>
                    <a:pt x="229" y="140"/>
                  </a:cubicBezTo>
                  <a:cubicBezTo>
                    <a:pt x="226" y="138"/>
                    <a:pt x="222" y="138"/>
                    <a:pt x="218" y="140"/>
                  </a:cubicBezTo>
                  <a:cubicBezTo>
                    <a:pt x="215" y="142"/>
                    <a:pt x="213" y="145"/>
                    <a:pt x="213" y="149"/>
                  </a:cubicBezTo>
                  <a:cubicBezTo>
                    <a:pt x="213" y="203"/>
                    <a:pt x="213" y="203"/>
                    <a:pt x="213" y="203"/>
                  </a:cubicBezTo>
                  <a:cubicBezTo>
                    <a:pt x="112" y="140"/>
                    <a:pt x="112" y="140"/>
                    <a:pt x="112" y="140"/>
                  </a:cubicBezTo>
                  <a:cubicBezTo>
                    <a:pt x="109" y="138"/>
                    <a:pt x="105" y="138"/>
                    <a:pt x="101" y="140"/>
                  </a:cubicBezTo>
                  <a:cubicBezTo>
                    <a:pt x="98" y="142"/>
                    <a:pt x="96" y="145"/>
                    <a:pt x="96" y="149"/>
                  </a:cubicBezTo>
                  <a:cubicBezTo>
                    <a:pt x="96" y="362"/>
                    <a:pt x="96" y="362"/>
                    <a:pt x="96" y="362"/>
                  </a:cubicBezTo>
                  <a:cubicBezTo>
                    <a:pt x="96" y="366"/>
                    <a:pt x="98" y="370"/>
                    <a:pt x="101" y="372"/>
                  </a:cubicBezTo>
                  <a:cubicBezTo>
                    <a:pt x="105" y="374"/>
                    <a:pt x="109" y="373"/>
                    <a:pt x="112" y="371"/>
                  </a:cubicBezTo>
                  <a:cubicBezTo>
                    <a:pt x="213" y="308"/>
                    <a:pt x="213" y="308"/>
                    <a:pt x="213" y="308"/>
                  </a:cubicBezTo>
                  <a:cubicBezTo>
                    <a:pt x="213" y="362"/>
                    <a:pt x="213" y="362"/>
                    <a:pt x="213" y="362"/>
                  </a:cubicBezTo>
                  <a:cubicBezTo>
                    <a:pt x="213" y="366"/>
                    <a:pt x="215" y="370"/>
                    <a:pt x="218" y="372"/>
                  </a:cubicBezTo>
                  <a:cubicBezTo>
                    <a:pt x="220" y="373"/>
                    <a:pt x="222" y="373"/>
                    <a:pt x="224" y="373"/>
                  </a:cubicBezTo>
                  <a:cubicBezTo>
                    <a:pt x="226" y="373"/>
                    <a:pt x="228" y="372"/>
                    <a:pt x="229" y="371"/>
                  </a:cubicBezTo>
                  <a:cubicBezTo>
                    <a:pt x="394" y="268"/>
                    <a:pt x="394" y="268"/>
                    <a:pt x="394" y="268"/>
                  </a:cubicBezTo>
                  <a:cubicBezTo>
                    <a:pt x="394" y="362"/>
                    <a:pt x="394" y="362"/>
                    <a:pt x="394" y="362"/>
                  </a:cubicBezTo>
                  <a:cubicBezTo>
                    <a:pt x="394" y="368"/>
                    <a:pt x="399" y="373"/>
                    <a:pt x="405" y="373"/>
                  </a:cubicBezTo>
                  <a:cubicBezTo>
                    <a:pt x="411" y="373"/>
                    <a:pt x="416" y="368"/>
                    <a:pt x="416" y="362"/>
                  </a:cubicBezTo>
                  <a:lnTo>
                    <a:pt x="416" y="149"/>
                  </a:lnTo>
                  <a:close/>
                </a:path>
              </a:pathLst>
            </a:custGeom>
            <a:solidFill>
              <a:srgbClr val="009A44"/>
            </a:solidFill>
            <a:ln>
              <a:noFill/>
            </a:ln>
          </p:spPr>
          <p:txBody>
            <a:bodyPr vert="horz" wrap="square" lIns="72477" tIns="36238" rIns="72477" bIns="36238" numCol="1" anchor="t" anchorCtr="0" compatLnSpc="1">
              <a:prstTxWarp prst="textNoShape">
                <a:avLst/>
              </a:prstTxWarp>
            </a:bodyPr>
            <a:lstStyle/>
            <a:p>
              <a:endParaRPr lang="en-GB" sz="1300" dirty="0"/>
            </a:p>
          </p:txBody>
        </p:sp>
      </p:grpSp>
      <p:grpSp>
        <p:nvGrpSpPr>
          <p:cNvPr id="4" name="Group 3"/>
          <p:cNvGrpSpPr/>
          <p:nvPr/>
        </p:nvGrpSpPr>
        <p:grpSpPr>
          <a:xfrm>
            <a:off x="6719361" y="2338712"/>
            <a:ext cx="577356" cy="577356"/>
            <a:chOff x="6574660" y="586871"/>
            <a:chExt cx="648263" cy="648263"/>
          </a:xfrm>
        </p:grpSpPr>
        <p:sp>
          <p:nvSpPr>
            <p:cNvPr id="60" name="Oval 59"/>
            <p:cNvSpPr/>
            <p:nvPr/>
          </p:nvSpPr>
          <p:spPr bwMode="gray">
            <a:xfrm>
              <a:off x="6616617"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36" name="Group 48">
              <a:extLst>
                <a:ext uri="{FF2B5EF4-FFF2-40B4-BE49-F238E27FC236}">
                  <a16:creationId xmlns:a16="http://schemas.microsoft.com/office/drawing/2014/main" id="{365DBDC6-C247-4BB8-9437-AC3B9F8ABC3E}"/>
                </a:ext>
              </a:extLst>
            </p:cNvPr>
            <p:cNvGrpSpPr>
              <a:grpSpLocks noChangeAspect="1"/>
            </p:cNvGrpSpPr>
            <p:nvPr/>
          </p:nvGrpSpPr>
          <p:grpSpPr bwMode="auto">
            <a:xfrm>
              <a:off x="6574660" y="586871"/>
              <a:ext cx="648263" cy="648263"/>
              <a:chOff x="4094" y="6"/>
              <a:chExt cx="340" cy="340"/>
            </a:xfrm>
            <a:solidFill>
              <a:srgbClr val="43B02A"/>
            </a:solidFill>
          </p:grpSpPr>
          <p:sp>
            <p:nvSpPr>
              <p:cNvPr id="57" name="Freeform 49">
                <a:extLst>
                  <a:ext uri="{FF2B5EF4-FFF2-40B4-BE49-F238E27FC236}">
                    <a16:creationId xmlns:a16="http://schemas.microsoft.com/office/drawing/2014/main" id="{6A87FF88-7FBF-4F30-85EE-3D06556439D2}"/>
                  </a:ext>
                </a:extLst>
              </p:cNvPr>
              <p:cNvSpPr>
                <a:spLocks noEditPoints="1"/>
              </p:cNvSpPr>
              <p:nvPr/>
            </p:nvSpPr>
            <p:spPr bwMode="auto">
              <a:xfrm>
                <a:off x="4094" y="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10 w 512"/>
                  <a:gd name="T13" fmla="*/ 372 h 512"/>
                  <a:gd name="T14" fmla="*/ 405 w 512"/>
                  <a:gd name="T15" fmla="*/ 373 h 512"/>
                  <a:gd name="T16" fmla="*/ 399 w 512"/>
                  <a:gd name="T17" fmla="*/ 371 h 512"/>
                  <a:gd name="T18" fmla="*/ 298 w 512"/>
                  <a:gd name="T19" fmla="*/ 308 h 512"/>
                  <a:gd name="T20" fmla="*/ 298 w 512"/>
                  <a:gd name="T21" fmla="*/ 362 h 512"/>
                  <a:gd name="T22" fmla="*/ 293 w 512"/>
                  <a:gd name="T23" fmla="*/ 372 h 512"/>
                  <a:gd name="T24" fmla="*/ 282 w 512"/>
                  <a:gd name="T25" fmla="*/ 371 h 512"/>
                  <a:gd name="T26" fmla="*/ 117 w 512"/>
                  <a:gd name="T27" fmla="*/ 268 h 512"/>
                  <a:gd name="T28" fmla="*/ 117 w 512"/>
                  <a:gd name="T29" fmla="*/ 362 h 512"/>
                  <a:gd name="T30" fmla="*/ 106 w 512"/>
                  <a:gd name="T31" fmla="*/ 373 h 512"/>
                  <a:gd name="T32" fmla="*/ 96 w 512"/>
                  <a:gd name="T33" fmla="*/ 362 h 512"/>
                  <a:gd name="T34" fmla="*/ 96 w 512"/>
                  <a:gd name="T35" fmla="*/ 149 h 512"/>
                  <a:gd name="T36" fmla="*/ 106 w 512"/>
                  <a:gd name="T37" fmla="*/ 138 h 512"/>
                  <a:gd name="T38" fmla="*/ 117 w 512"/>
                  <a:gd name="T39" fmla="*/ 149 h 512"/>
                  <a:gd name="T40" fmla="*/ 117 w 512"/>
                  <a:gd name="T41" fmla="*/ 243 h 512"/>
                  <a:gd name="T42" fmla="*/ 282 w 512"/>
                  <a:gd name="T43" fmla="*/ 140 h 512"/>
                  <a:gd name="T44" fmla="*/ 293 w 512"/>
                  <a:gd name="T45" fmla="*/ 140 h 512"/>
                  <a:gd name="T46" fmla="*/ 298 w 512"/>
                  <a:gd name="T47" fmla="*/ 149 h 512"/>
                  <a:gd name="T48" fmla="*/ 298 w 512"/>
                  <a:gd name="T49" fmla="*/ 203 h 512"/>
                  <a:gd name="T50" fmla="*/ 399 w 512"/>
                  <a:gd name="T51" fmla="*/ 140 h 512"/>
                  <a:gd name="T52" fmla="*/ 410 w 512"/>
                  <a:gd name="T53" fmla="*/ 140 h 512"/>
                  <a:gd name="T54" fmla="*/ 416 w 512"/>
                  <a:gd name="T55" fmla="*/ 149 h 512"/>
                  <a:gd name="T56" fmla="*/ 416 w 512"/>
                  <a:gd name="T5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6"/>
                      <a:pt x="414" y="370"/>
                      <a:pt x="410" y="372"/>
                    </a:cubicBezTo>
                    <a:cubicBezTo>
                      <a:pt x="409" y="373"/>
                      <a:pt x="407" y="373"/>
                      <a:pt x="405" y="373"/>
                    </a:cubicBezTo>
                    <a:cubicBezTo>
                      <a:pt x="403" y="373"/>
                      <a:pt x="401" y="372"/>
                      <a:pt x="399" y="371"/>
                    </a:cubicBezTo>
                    <a:cubicBezTo>
                      <a:pt x="298" y="308"/>
                      <a:pt x="298" y="308"/>
                      <a:pt x="298" y="308"/>
                    </a:cubicBezTo>
                    <a:cubicBezTo>
                      <a:pt x="298" y="362"/>
                      <a:pt x="298" y="362"/>
                      <a:pt x="298" y="362"/>
                    </a:cubicBezTo>
                    <a:cubicBezTo>
                      <a:pt x="298" y="366"/>
                      <a:pt x="296" y="370"/>
                      <a:pt x="293" y="372"/>
                    </a:cubicBezTo>
                    <a:cubicBezTo>
                      <a:pt x="289" y="374"/>
                      <a:pt x="285" y="373"/>
                      <a:pt x="282" y="371"/>
                    </a:cubicBezTo>
                    <a:cubicBezTo>
                      <a:pt x="117" y="268"/>
                      <a:pt x="117" y="268"/>
                      <a:pt x="117" y="268"/>
                    </a:cubicBezTo>
                    <a:cubicBezTo>
                      <a:pt x="117" y="362"/>
                      <a:pt x="117" y="362"/>
                      <a:pt x="117" y="362"/>
                    </a:cubicBezTo>
                    <a:cubicBezTo>
                      <a:pt x="117" y="368"/>
                      <a:pt x="112"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243"/>
                      <a:pt x="117" y="243"/>
                      <a:pt x="117" y="243"/>
                    </a:cubicBezTo>
                    <a:cubicBezTo>
                      <a:pt x="282" y="140"/>
                      <a:pt x="282" y="140"/>
                      <a:pt x="282" y="140"/>
                    </a:cubicBezTo>
                    <a:cubicBezTo>
                      <a:pt x="285" y="138"/>
                      <a:pt x="289" y="138"/>
                      <a:pt x="293" y="140"/>
                    </a:cubicBezTo>
                    <a:cubicBezTo>
                      <a:pt x="296" y="142"/>
                      <a:pt x="298" y="145"/>
                      <a:pt x="298" y="149"/>
                    </a:cubicBezTo>
                    <a:cubicBezTo>
                      <a:pt x="298" y="203"/>
                      <a:pt x="298" y="203"/>
                      <a:pt x="298" y="203"/>
                    </a:cubicBezTo>
                    <a:cubicBezTo>
                      <a:pt x="399" y="140"/>
                      <a:pt x="399" y="140"/>
                      <a:pt x="399" y="140"/>
                    </a:cubicBezTo>
                    <a:cubicBezTo>
                      <a:pt x="403" y="138"/>
                      <a:pt x="407" y="138"/>
                      <a:pt x="410" y="140"/>
                    </a:cubicBezTo>
                    <a:cubicBezTo>
                      <a:pt x="414" y="142"/>
                      <a:pt x="416" y="145"/>
                      <a:pt x="416" y="149"/>
                    </a:cubicBezTo>
                    <a:lnTo>
                      <a:pt x="416" y="36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sp>
            <p:nvSpPr>
              <p:cNvPr id="58" name="Freeform 50">
                <a:extLst>
                  <a:ext uri="{FF2B5EF4-FFF2-40B4-BE49-F238E27FC236}">
                    <a16:creationId xmlns:a16="http://schemas.microsoft.com/office/drawing/2014/main" id="{D9B8432A-5200-4AE2-95EE-11716DBDF669}"/>
                  </a:ext>
                </a:extLst>
              </p:cNvPr>
              <p:cNvSpPr>
                <a:spLocks/>
              </p:cNvSpPr>
              <p:nvPr/>
            </p:nvSpPr>
            <p:spPr bwMode="auto">
              <a:xfrm>
                <a:off x="4185" y="118"/>
                <a:ext cx="171" cy="116"/>
              </a:xfrm>
              <a:custGeom>
                <a:avLst/>
                <a:gdLst>
                  <a:gd name="T0" fmla="*/ 145 w 257"/>
                  <a:gd name="T1" fmla="*/ 64 h 175"/>
                  <a:gd name="T2" fmla="*/ 140 w 257"/>
                  <a:gd name="T3" fmla="*/ 54 h 175"/>
                  <a:gd name="T4" fmla="*/ 140 w 257"/>
                  <a:gd name="T5" fmla="*/ 0 h 175"/>
                  <a:gd name="T6" fmla="*/ 0 w 257"/>
                  <a:gd name="T7" fmla="*/ 88 h 175"/>
                  <a:gd name="T8" fmla="*/ 140 w 257"/>
                  <a:gd name="T9" fmla="*/ 175 h 175"/>
                  <a:gd name="T10" fmla="*/ 140 w 257"/>
                  <a:gd name="T11" fmla="*/ 121 h 175"/>
                  <a:gd name="T12" fmla="*/ 145 w 257"/>
                  <a:gd name="T13" fmla="*/ 112 h 175"/>
                  <a:gd name="T14" fmla="*/ 151 w 257"/>
                  <a:gd name="T15" fmla="*/ 110 h 175"/>
                  <a:gd name="T16" fmla="*/ 156 w 257"/>
                  <a:gd name="T17" fmla="*/ 112 h 175"/>
                  <a:gd name="T18" fmla="*/ 257 w 257"/>
                  <a:gd name="T19" fmla="*/ 175 h 175"/>
                  <a:gd name="T20" fmla="*/ 257 w 257"/>
                  <a:gd name="T21" fmla="*/ 0 h 175"/>
                  <a:gd name="T22" fmla="*/ 156 w 257"/>
                  <a:gd name="T23" fmla="*/ 63 h 175"/>
                  <a:gd name="T24" fmla="*/ 145 w 257"/>
                  <a:gd name="T25" fmla="*/ 6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175">
                    <a:moveTo>
                      <a:pt x="145" y="64"/>
                    </a:moveTo>
                    <a:cubicBezTo>
                      <a:pt x="142" y="62"/>
                      <a:pt x="140" y="58"/>
                      <a:pt x="140" y="54"/>
                    </a:cubicBezTo>
                    <a:cubicBezTo>
                      <a:pt x="140" y="0"/>
                      <a:pt x="140" y="0"/>
                      <a:pt x="140" y="0"/>
                    </a:cubicBezTo>
                    <a:cubicBezTo>
                      <a:pt x="0" y="88"/>
                      <a:pt x="0" y="88"/>
                      <a:pt x="0" y="88"/>
                    </a:cubicBezTo>
                    <a:cubicBezTo>
                      <a:pt x="140" y="175"/>
                      <a:pt x="140" y="175"/>
                      <a:pt x="140" y="175"/>
                    </a:cubicBezTo>
                    <a:cubicBezTo>
                      <a:pt x="140" y="121"/>
                      <a:pt x="140" y="121"/>
                      <a:pt x="140" y="121"/>
                    </a:cubicBezTo>
                    <a:cubicBezTo>
                      <a:pt x="140" y="117"/>
                      <a:pt x="142" y="114"/>
                      <a:pt x="145" y="112"/>
                    </a:cubicBezTo>
                    <a:cubicBezTo>
                      <a:pt x="147" y="111"/>
                      <a:pt x="149" y="110"/>
                      <a:pt x="151" y="110"/>
                    </a:cubicBezTo>
                    <a:cubicBezTo>
                      <a:pt x="153" y="110"/>
                      <a:pt x="155" y="111"/>
                      <a:pt x="156" y="112"/>
                    </a:cubicBezTo>
                    <a:cubicBezTo>
                      <a:pt x="257" y="175"/>
                      <a:pt x="257" y="175"/>
                      <a:pt x="257" y="175"/>
                    </a:cubicBezTo>
                    <a:cubicBezTo>
                      <a:pt x="257" y="0"/>
                      <a:pt x="257" y="0"/>
                      <a:pt x="257" y="0"/>
                    </a:cubicBezTo>
                    <a:cubicBezTo>
                      <a:pt x="156" y="63"/>
                      <a:pt x="156" y="63"/>
                      <a:pt x="156" y="63"/>
                    </a:cubicBezTo>
                    <a:cubicBezTo>
                      <a:pt x="153" y="65"/>
                      <a:pt x="149" y="66"/>
                      <a:pt x="145" y="6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grpSp>
      </p:grpSp>
      <p:grpSp>
        <p:nvGrpSpPr>
          <p:cNvPr id="6" name="Group 5"/>
          <p:cNvGrpSpPr/>
          <p:nvPr/>
        </p:nvGrpSpPr>
        <p:grpSpPr>
          <a:xfrm>
            <a:off x="6719934" y="4012855"/>
            <a:ext cx="576333" cy="576333"/>
            <a:chOff x="9587499" y="587459"/>
            <a:chExt cx="647114" cy="647114"/>
          </a:xfrm>
        </p:grpSpPr>
        <p:sp>
          <p:nvSpPr>
            <p:cNvPr id="62" name="Oval 61"/>
            <p:cNvSpPr/>
            <p:nvPr/>
          </p:nvSpPr>
          <p:spPr bwMode="gray">
            <a:xfrm>
              <a:off x="9627144"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59" name="Freeform 222">
              <a:extLst>
                <a:ext uri="{FF2B5EF4-FFF2-40B4-BE49-F238E27FC236}">
                  <a16:creationId xmlns:a16="http://schemas.microsoft.com/office/drawing/2014/main" id="{939114A8-A06F-4B69-A1E7-8E9FAE3802E8}"/>
                </a:ext>
              </a:extLst>
            </p:cNvPr>
            <p:cNvSpPr>
              <a:spLocks noChangeAspect="1" noEditPoints="1"/>
            </p:cNvSpPr>
            <p:nvPr/>
          </p:nvSpPr>
          <p:spPr bwMode="auto">
            <a:xfrm>
              <a:off x="9587499" y="587459"/>
              <a:ext cx="647114" cy="64711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384 h 512"/>
                <a:gd name="T12" fmla="*/ 192 w 512"/>
                <a:gd name="T13" fmla="*/ 394 h 512"/>
                <a:gd name="T14" fmla="*/ 181 w 512"/>
                <a:gd name="T15" fmla="*/ 384 h 512"/>
                <a:gd name="T16" fmla="*/ 181 w 512"/>
                <a:gd name="T17" fmla="*/ 128 h 512"/>
                <a:gd name="T18" fmla="*/ 192 w 512"/>
                <a:gd name="T19" fmla="*/ 117 h 512"/>
                <a:gd name="T20" fmla="*/ 202 w 512"/>
                <a:gd name="T21" fmla="*/ 128 h 512"/>
                <a:gd name="T22" fmla="*/ 202 w 512"/>
                <a:gd name="T23" fmla="*/ 384 h 512"/>
                <a:gd name="T24" fmla="*/ 330 w 512"/>
                <a:gd name="T25" fmla="*/ 384 h 512"/>
                <a:gd name="T26" fmla="*/ 320 w 512"/>
                <a:gd name="T27" fmla="*/ 394 h 512"/>
                <a:gd name="T28" fmla="*/ 309 w 512"/>
                <a:gd name="T29" fmla="*/ 384 h 512"/>
                <a:gd name="T30" fmla="*/ 309 w 512"/>
                <a:gd name="T31" fmla="*/ 128 h 512"/>
                <a:gd name="T32" fmla="*/ 320 w 512"/>
                <a:gd name="T33" fmla="*/ 117 h 512"/>
                <a:gd name="T34" fmla="*/ 330 w 512"/>
                <a:gd name="T35" fmla="*/ 128 h 512"/>
                <a:gd name="T36" fmla="*/ 330 w 512"/>
                <a:gd name="T37"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384"/>
                  </a:moveTo>
                  <a:cubicBezTo>
                    <a:pt x="202" y="390"/>
                    <a:pt x="198" y="394"/>
                    <a:pt x="192" y="394"/>
                  </a:cubicBezTo>
                  <a:cubicBezTo>
                    <a:pt x="186" y="394"/>
                    <a:pt x="181" y="390"/>
                    <a:pt x="181" y="384"/>
                  </a:cubicBezTo>
                  <a:cubicBezTo>
                    <a:pt x="181" y="128"/>
                    <a:pt x="181" y="128"/>
                    <a:pt x="181" y="128"/>
                  </a:cubicBezTo>
                  <a:cubicBezTo>
                    <a:pt x="181" y="122"/>
                    <a:pt x="186" y="117"/>
                    <a:pt x="192" y="117"/>
                  </a:cubicBezTo>
                  <a:cubicBezTo>
                    <a:pt x="198" y="117"/>
                    <a:pt x="202" y="122"/>
                    <a:pt x="202" y="128"/>
                  </a:cubicBezTo>
                  <a:lnTo>
                    <a:pt x="202" y="384"/>
                  </a:lnTo>
                  <a:close/>
                  <a:moveTo>
                    <a:pt x="330" y="384"/>
                  </a:moveTo>
                  <a:cubicBezTo>
                    <a:pt x="330" y="390"/>
                    <a:pt x="326" y="394"/>
                    <a:pt x="320" y="394"/>
                  </a:cubicBezTo>
                  <a:cubicBezTo>
                    <a:pt x="314" y="394"/>
                    <a:pt x="309" y="390"/>
                    <a:pt x="309" y="384"/>
                  </a:cubicBezTo>
                  <a:cubicBezTo>
                    <a:pt x="309" y="128"/>
                    <a:pt x="309" y="128"/>
                    <a:pt x="309" y="128"/>
                  </a:cubicBezTo>
                  <a:cubicBezTo>
                    <a:pt x="309" y="122"/>
                    <a:pt x="314" y="117"/>
                    <a:pt x="320" y="117"/>
                  </a:cubicBezTo>
                  <a:cubicBezTo>
                    <a:pt x="326" y="117"/>
                    <a:pt x="330" y="122"/>
                    <a:pt x="330" y="128"/>
                  </a:cubicBezTo>
                  <a:lnTo>
                    <a:pt x="330" y="384"/>
                  </a:ln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300" dirty="0"/>
            </a:p>
          </p:txBody>
        </p:sp>
      </p:grpSp>
    </p:spTree>
    <p:custDataLst>
      <p:tags r:id="rId1"/>
    </p:custDataLst>
    <p:extLst>
      <p:ext uri="{BB962C8B-B14F-4D97-AF65-F5344CB8AC3E}">
        <p14:creationId xmlns:p14="http://schemas.microsoft.com/office/powerpoint/2010/main" val="401698325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9">
            <a:extLst>
              <a:ext uri="{FF2B5EF4-FFF2-40B4-BE49-F238E27FC236}">
                <a16:creationId xmlns:a16="http://schemas.microsoft.com/office/drawing/2014/main" id="{95FF8EFC-FFE5-FE48-9F68-2C5FFDAA5BBE}"/>
              </a:ext>
            </a:extLst>
          </p:cNvPr>
          <p:cNvSpPr txBox="1"/>
          <p:nvPr/>
        </p:nvSpPr>
        <p:spPr>
          <a:xfrm>
            <a:off x="514350" y="3871209"/>
            <a:ext cx="3868615" cy="1000274"/>
          </a:xfrm>
          <a:prstGeom prst="rect">
            <a:avLst/>
          </a:prstGeom>
          <a:noFill/>
          <a:effectLst/>
        </p:spPr>
        <p:txBody>
          <a:bodyPr wrap="square" lIns="0" tIns="0" rIns="0" bIns="0" rtlCol="0" anchor="b">
            <a:spAutoFit/>
          </a:bodyPr>
          <a:lstStyle>
            <a:defPPr>
              <a:defRPr lang="en-US"/>
            </a:defPPr>
            <a:lvl1pPr marL="114300" indent="-114300" algn="l">
              <a:buFont typeface="Arial" pitchFamily="34" charset="0"/>
              <a:buChar char="•"/>
              <a:defRPr sz="800" b="0">
                <a:solidFill>
                  <a:srgbClr val="000000"/>
                </a:solidFill>
              </a:defRPr>
            </a:lvl1pPr>
          </a:lstStyle>
          <a:p>
            <a:pPr marL="0" indent="0" fontAlgn="base">
              <a:buNone/>
            </a:pPr>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52" name="TextBox 51">
            <a:extLst>
              <a:ext uri="{FF2B5EF4-FFF2-40B4-BE49-F238E27FC236}">
                <a16:creationId xmlns:a16="http://schemas.microsoft.com/office/drawing/2014/main" id="{61001B9B-2AD6-D240-A9B6-5E9A83941762}"/>
              </a:ext>
            </a:extLst>
          </p:cNvPr>
          <p:cNvSpPr txBox="1"/>
          <p:nvPr/>
        </p:nvSpPr>
        <p:spPr>
          <a:xfrm>
            <a:off x="7748311" y="3871209"/>
            <a:ext cx="3953152" cy="1000274"/>
          </a:xfrm>
          <a:prstGeom prst="rect">
            <a:avLst/>
          </a:prstGeom>
          <a:noFill/>
          <a:effectLst/>
        </p:spPr>
        <p:txBody>
          <a:bodyPr wrap="square" lIns="0" tIns="0" rIns="0" bIns="0" rtlCol="0" anchor="b">
            <a:spAutoFit/>
          </a:bodyPr>
          <a:lstStyle>
            <a:defPPr>
              <a:defRPr lang="en-US"/>
            </a:defPPr>
            <a:lvl1pPr marL="114300" indent="-114300" algn="l">
              <a:buFont typeface="Arial" pitchFamily="34" charset="0"/>
              <a:buChar char="•"/>
              <a:defRPr sz="800" b="0">
                <a:solidFill>
                  <a:srgbClr val="000000"/>
                </a:solidFill>
              </a:defRPr>
            </a:lvl1pPr>
          </a:lstStyle>
          <a:p>
            <a:pPr marL="0" indent="0" fontAlgn="base">
              <a:buNone/>
            </a:pPr>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29" name="TextBox 28">
            <a:extLst>
              <a:ext uri="{FF2B5EF4-FFF2-40B4-BE49-F238E27FC236}">
                <a16:creationId xmlns:a16="http://schemas.microsoft.com/office/drawing/2014/main" id="{B1C49BB2-0751-BE4D-AF4E-BA759931003F}"/>
              </a:ext>
            </a:extLst>
          </p:cNvPr>
          <p:cNvSpPr txBox="1"/>
          <p:nvPr/>
        </p:nvSpPr>
        <p:spPr>
          <a:xfrm>
            <a:off x="514350" y="1714500"/>
            <a:ext cx="3868614" cy="1000274"/>
          </a:xfrm>
          <a:prstGeom prst="rect">
            <a:avLst/>
          </a:prstGeom>
          <a:noFill/>
          <a:effectLst/>
        </p:spPr>
        <p:txBody>
          <a:bodyPr wrap="square" lIns="0" tIns="0" rIns="0" bIns="0" rtlCol="0">
            <a:spAutoFit/>
          </a:bodyPr>
          <a:lstStyle>
            <a:defPPr>
              <a:defRPr lang="en-US"/>
            </a:defPPr>
            <a:lvl1pPr marL="114300" indent="-114300" algn="l">
              <a:buFont typeface="Arial" pitchFamily="34" charset="0"/>
              <a:buChar char="•"/>
              <a:defRPr sz="800" b="0">
                <a:solidFill>
                  <a:srgbClr val="000000"/>
                </a:solidFill>
              </a:defRPr>
            </a:lvl1pPr>
          </a:lstStyle>
          <a:p>
            <a:pPr marL="0" indent="0" fontAlgn="base">
              <a:buNone/>
            </a:pPr>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nvGrpSpPr>
          <p:cNvPr id="30" name="Group 29">
            <a:extLst>
              <a:ext uri="{FF2B5EF4-FFF2-40B4-BE49-F238E27FC236}">
                <a16:creationId xmlns:a16="http://schemas.microsoft.com/office/drawing/2014/main" id="{F8434BFF-BD6A-2C40-B04D-6B7457152191}"/>
              </a:ext>
            </a:extLst>
          </p:cNvPr>
          <p:cNvGrpSpPr/>
          <p:nvPr/>
        </p:nvGrpSpPr>
        <p:grpSpPr>
          <a:xfrm>
            <a:off x="4722749" y="1714500"/>
            <a:ext cx="2685779" cy="3156983"/>
            <a:chOff x="3272538" y="2096032"/>
            <a:chExt cx="3581038" cy="4209311"/>
          </a:xfrm>
        </p:grpSpPr>
        <p:sp>
          <p:nvSpPr>
            <p:cNvPr id="31" name="Freeform 30">
              <a:extLst>
                <a:ext uri="{FF2B5EF4-FFF2-40B4-BE49-F238E27FC236}">
                  <a16:creationId xmlns:a16="http://schemas.microsoft.com/office/drawing/2014/main" id="{151550BF-67F3-044A-AC3C-B778A7885E0A}"/>
                </a:ext>
              </a:extLst>
            </p:cNvPr>
            <p:cNvSpPr/>
            <p:nvPr/>
          </p:nvSpPr>
          <p:spPr>
            <a:xfrm>
              <a:off x="3567950" y="2615900"/>
              <a:ext cx="3094086" cy="3094088"/>
            </a:xfrm>
            <a:custGeom>
              <a:avLst/>
              <a:gdLst>
                <a:gd name="connsiteX0" fmla="*/ 1871167 w 3742334"/>
                <a:gd name="connsiteY0" fmla="*/ 0 h 3742334"/>
                <a:gd name="connsiteX1" fmla="*/ 3742334 w 3742334"/>
                <a:gd name="connsiteY1" fmla="*/ 1871167 h 3742334"/>
                <a:gd name="connsiteX2" fmla="*/ 1871167 w 3742334"/>
                <a:gd name="connsiteY2" fmla="*/ 1871167 h 3742334"/>
                <a:gd name="connsiteX3" fmla="*/ 1871167 w 3742334"/>
                <a:gd name="connsiteY3" fmla="*/ 0 h 3742334"/>
              </a:gdLst>
              <a:ahLst/>
              <a:cxnLst>
                <a:cxn ang="0">
                  <a:pos x="connsiteX0" y="connsiteY0"/>
                </a:cxn>
                <a:cxn ang="0">
                  <a:pos x="connsiteX1" y="connsiteY1"/>
                </a:cxn>
                <a:cxn ang="0">
                  <a:pos x="connsiteX2" y="connsiteY2"/>
                </a:cxn>
                <a:cxn ang="0">
                  <a:pos x="connsiteX3" y="connsiteY3"/>
                </a:cxn>
              </a:cxnLst>
              <a:rect l="l" t="t" r="r" b="b"/>
              <a:pathLst>
                <a:path w="3742334" h="3742334">
                  <a:moveTo>
                    <a:pt x="1871167" y="0"/>
                  </a:moveTo>
                  <a:cubicBezTo>
                    <a:pt x="2904584" y="0"/>
                    <a:pt x="3742334" y="837750"/>
                    <a:pt x="3742334" y="1871167"/>
                  </a:cubicBezTo>
                  <a:lnTo>
                    <a:pt x="1871167" y="1871167"/>
                  </a:lnTo>
                  <a:lnTo>
                    <a:pt x="1871167" y="0"/>
                  </a:lnTo>
                  <a:close/>
                </a:path>
              </a:pathLst>
            </a:custGeom>
            <a:solidFill>
              <a:srgbClr val="86BC25"/>
            </a:solid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498490" tIns="590305" rIns="289582" bIns="1465076" numCol="1" spcCol="1270" anchor="ctr" anchorCtr="0">
              <a:noAutofit/>
            </a:bodyPr>
            <a:lstStyle/>
            <a:p>
              <a:pPr algn="ctr" defTabSz="299801" fontAlgn="base"/>
              <a:endParaRPr lang="en-US" sz="1300" b="1" dirty="0">
                <a:solidFill>
                  <a:srgbClr val="FFFFFF"/>
                </a:solidFill>
              </a:endParaRPr>
            </a:p>
          </p:txBody>
        </p:sp>
        <p:sp>
          <p:nvSpPr>
            <p:cNvPr id="32" name="Freeform 31">
              <a:extLst>
                <a:ext uri="{FF2B5EF4-FFF2-40B4-BE49-F238E27FC236}">
                  <a16:creationId xmlns:a16="http://schemas.microsoft.com/office/drawing/2014/main" id="{66F643D6-D54C-D643-AB08-3FA6C91CE337}"/>
                </a:ext>
              </a:extLst>
            </p:cNvPr>
            <p:cNvSpPr/>
            <p:nvPr/>
          </p:nvSpPr>
          <p:spPr>
            <a:xfrm>
              <a:off x="3567950" y="2719770"/>
              <a:ext cx="3094086" cy="3094088"/>
            </a:xfrm>
            <a:custGeom>
              <a:avLst/>
              <a:gdLst>
                <a:gd name="connsiteX0" fmla="*/ 3742334 w 3742334"/>
                <a:gd name="connsiteY0" fmla="*/ 1871167 h 3742334"/>
                <a:gd name="connsiteX1" fmla="*/ 1871167 w 3742334"/>
                <a:gd name="connsiteY1" fmla="*/ 3742334 h 3742334"/>
                <a:gd name="connsiteX2" fmla="*/ 1871167 w 3742334"/>
                <a:gd name="connsiteY2" fmla="*/ 1871167 h 3742334"/>
                <a:gd name="connsiteX3" fmla="*/ 3742334 w 3742334"/>
                <a:gd name="connsiteY3" fmla="*/ 1871167 h 3742334"/>
              </a:gdLst>
              <a:ahLst/>
              <a:cxnLst>
                <a:cxn ang="0">
                  <a:pos x="connsiteX0" y="connsiteY0"/>
                </a:cxn>
                <a:cxn ang="0">
                  <a:pos x="connsiteX1" y="connsiteY1"/>
                </a:cxn>
                <a:cxn ang="0">
                  <a:pos x="connsiteX2" y="connsiteY2"/>
                </a:cxn>
                <a:cxn ang="0">
                  <a:pos x="connsiteX3" y="connsiteY3"/>
                </a:cxn>
              </a:cxnLst>
              <a:rect l="l" t="t" r="r" b="b"/>
              <a:pathLst>
                <a:path w="3742334" h="3742334">
                  <a:moveTo>
                    <a:pt x="3742334" y="1871167"/>
                  </a:moveTo>
                  <a:cubicBezTo>
                    <a:pt x="3742334" y="2904584"/>
                    <a:pt x="2904584" y="3742334"/>
                    <a:pt x="1871167" y="3742334"/>
                  </a:cubicBezTo>
                  <a:lnTo>
                    <a:pt x="1871167" y="1871167"/>
                  </a:lnTo>
                  <a:lnTo>
                    <a:pt x="3742334" y="1871167"/>
                  </a:lnTo>
                  <a:close/>
                </a:path>
              </a:pathLst>
            </a:custGeom>
            <a:solidFill>
              <a:schemeClr val="accent2"/>
            </a:solid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498490" tIns="1465076" rIns="289582" bIns="590306" numCol="1" spcCol="1270" anchor="ctr" anchorCtr="0">
              <a:noAutofit/>
            </a:bodyPr>
            <a:lstStyle/>
            <a:p>
              <a:pPr algn="ctr" defTabSz="299801" fontAlgn="base"/>
              <a:endParaRPr lang="en-US" sz="1300" b="1" dirty="0">
                <a:solidFill>
                  <a:srgbClr val="FFFFFF"/>
                </a:solidFill>
              </a:endParaRPr>
            </a:p>
          </p:txBody>
        </p:sp>
        <p:sp>
          <p:nvSpPr>
            <p:cNvPr id="33" name="Freeform 32">
              <a:extLst>
                <a:ext uri="{FF2B5EF4-FFF2-40B4-BE49-F238E27FC236}">
                  <a16:creationId xmlns:a16="http://schemas.microsoft.com/office/drawing/2014/main" id="{6A731395-C5AD-0E40-90C6-E3748C166AF6}"/>
                </a:ext>
              </a:extLst>
            </p:cNvPr>
            <p:cNvSpPr/>
            <p:nvPr/>
          </p:nvSpPr>
          <p:spPr>
            <a:xfrm>
              <a:off x="3464079" y="2719770"/>
              <a:ext cx="3094086" cy="3094088"/>
            </a:xfrm>
            <a:custGeom>
              <a:avLst/>
              <a:gdLst>
                <a:gd name="connsiteX0" fmla="*/ 1871167 w 3742334"/>
                <a:gd name="connsiteY0" fmla="*/ 3742334 h 3742334"/>
                <a:gd name="connsiteX1" fmla="*/ 0 w 3742334"/>
                <a:gd name="connsiteY1" fmla="*/ 1871167 h 3742334"/>
                <a:gd name="connsiteX2" fmla="*/ 1871167 w 3742334"/>
                <a:gd name="connsiteY2" fmla="*/ 1871167 h 3742334"/>
                <a:gd name="connsiteX3" fmla="*/ 1871167 w 3742334"/>
                <a:gd name="connsiteY3" fmla="*/ 3742334 h 3742334"/>
              </a:gdLst>
              <a:ahLst/>
              <a:cxnLst>
                <a:cxn ang="0">
                  <a:pos x="connsiteX0" y="connsiteY0"/>
                </a:cxn>
                <a:cxn ang="0">
                  <a:pos x="connsiteX1" y="connsiteY1"/>
                </a:cxn>
                <a:cxn ang="0">
                  <a:pos x="connsiteX2" y="connsiteY2"/>
                </a:cxn>
                <a:cxn ang="0">
                  <a:pos x="connsiteX3" y="connsiteY3"/>
                </a:cxn>
              </a:cxnLst>
              <a:rect l="l" t="t" r="r" b="b"/>
              <a:pathLst>
                <a:path w="3742334" h="3742334">
                  <a:moveTo>
                    <a:pt x="1871167" y="3742334"/>
                  </a:moveTo>
                  <a:cubicBezTo>
                    <a:pt x="837750" y="3742334"/>
                    <a:pt x="0" y="2904584"/>
                    <a:pt x="0" y="1871167"/>
                  </a:cubicBezTo>
                  <a:lnTo>
                    <a:pt x="1871167" y="1871167"/>
                  </a:lnTo>
                  <a:lnTo>
                    <a:pt x="1871167" y="3742334"/>
                  </a:lnTo>
                  <a:close/>
                </a:path>
              </a:pathLst>
            </a:custGeom>
            <a:solidFill>
              <a:srgbClr val="86BC25"/>
            </a:solid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89581" tIns="1465076" rIns="1498490" bIns="590306" numCol="1" spcCol="1270" anchor="ctr" anchorCtr="0">
              <a:noAutofit/>
            </a:bodyPr>
            <a:lstStyle/>
            <a:p>
              <a:pPr algn="ctr" defTabSz="299801" fontAlgn="base"/>
              <a:endParaRPr lang="en-US" sz="1300" b="1" dirty="0">
                <a:solidFill>
                  <a:srgbClr val="FFFFFF"/>
                </a:solidFill>
              </a:endParaRPr>
            </a:p>
          </p:txBody>
        </p:sp>
        <p:sp>
          <p:nvSpPr>
            <p:cNvPr id="34" name="Freeform 33">
              <a:extLst>
                <a:ext uri="{FF2B5EF4-FFF2-40B4-BE49-F238E27FC236}">
                  <a16:creationId xmlns:a16="http://schemas.microsoft.com/office/drawing/2014/main" id="{19C173BB-6F6C-064D-A249-29F852FC1802}"/>
                </a:ext>
              </a:extLst>
            </p:cNvPr>
            <p:cNvSpPr/>
            <p:nvPr/>
          </p:nvSpPr>
          <p:spPr>
            <a:xfrm>
              <a:off x="3464079" y="2615900"/>
              <a:ext cx="3094086" cy="3094088"/>
            </a:xfrm>
            <a:custGeom>
              <a:avLst/>
              <a:gdLst>
                <a:gd name="connsiteX0" fmla="*/ 0 w 3742334"/>
                <a:gd name="connsiteY0" fmla="*/ 1871167 h 3742334"/>
                <a:gd name="connsiteX1" fmla="*/ 1871167 w 3742334"/>
                <a:gd name="connsiteY1" fmla="*/ 0 h 3742334"/>
                <a:gd name="connsiteX2" fmla="*/ 1871167 w 3742334"/>
                <a:gd name="connsiteY2" fmla="*/ 1871167 h 3742334"/>
                <a:gd name="connsiteX3" fmla="*/ 0 w 3742334"/>
                <a:gd name="connsiteY3" fmla="*/ 1871167 h 3742334"/>
              </a:gdLst>
              <a:ahLst/>
              <a:cxnLst>
                <a:cxn ang="0">
                  <a:pos x="connsiteX0" y="connsiteY0"/>
                </a:cxn>
                <a:cxn ang="0">
                  <a:pos x="connsiteX1" y="connsiteY1"/>
                </a:cxn>
                <a:cxn ang="0">
                  <a:pos x="connsiteX2" y="connsiteY2"/>
                </a:cxn>
                <a:cxn ang="0">
                  <a:pos x="connsiteX3" y="connsiteY3"/>
                </a:cxn>
              </a:cxnLst>
              <a:rect l="l" t="t" r="r" b="b"/>
              <a:pathLst>
                <a:path w="3742334" h="3742334">
                  <a:moveTo>
                    <a:pt x="0" y="1871167"/>
                  </a:moveTo>
                  <a:cubicBezTo>
                    <a:pt x="0" y="837750"/>
                    <a:pt x="837750" y="0"/>
                    <a:pt x="1871167" y="0"/>
                  </a:cubicBezTo>
                  <a:lnTo>
                    <a:pt x="1871167" y="1871167"/>
                  </a:lnTo>
                  <a:lnTo>
                    <a:pt x="0" y="1871167"/>
                  </a:lnTo>
                  <a:close/>
                </a:path>
              </a:pathLst>
            </a:custGeom>
            <a:solidFill>
              <a:srgbClr val="43B02A"/>
            </a:solid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89581" tIns="590305" rIns="1498490" bIns="1465076" numCol="1" spcCol="1270" anchor="ctr" anchorCtr="0">
              <a:noAutofit/>
            </a:bodyPr>
            <a:lstStyle/>
            <a:p>
              <a:pPr algn="ctr" defTabSz="299801" fontAlgn="base"/>
              <a:endParaRPr lang="en-US" sz="1300" b="1" dirty="0">
                <a:solidFill>
                  <a:srgbClr val="FFFFFF"/>
                </a:solidFill>
              </a:endParaRPr>
            </a:p>
          </p:txBody>
        </p:sp>
        <p:sp>
          <p:nvSpPr>
            <p:cNvPr id="35" name="Circular Arrow 34">
              <a:extLst>
                <a:ext uri="{FF2B5EF4-FFF2-40B4-BE49-F238E27FC236}">
                  <a16:creationId xmlns:a16="http://schemas.microsoft.com/office/drawing/2014/main" id="{E58B0526-8343-A34B-81F0-ADC0EA83B8ED}"/>
                </a:ext>
              </a:extLst>
            </p:cNvPr>
            <p:cNvSpPr/>
            <p:nvPr/>
          </p:nvSpPr>
          <p:spPr>
            <a:xfrm>
              <a:off x="3376412" y="2424358"/>
              <a:ext cx="3477164" cy="3477167"/>
            </a:xfrm>
            <a:prstGeom prst="circularArrow">
              <a:avLst>
                <a:gd name="adj1" fmla="val 5085"/>
                <a:gd name="adj2" fmla="val 327528"/>
                <a:gd name="adj3" fmla="val 21272472"/>
                <a:gd name="adj4" fmla="val 16200000"/>
                <a:gd name="adj5" fmla="val 5932"/>
              </a:avLst>
            </a:prstGeom>
            <a:solidFill>
              <a:srgbClr val="000000"/>
            </a:solidFill>
            <a:ln w="6350">
              <a:noFill/>
            </a:ln>
            <a:effectLst/>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6" name="Circular Arrow 35">
              <a:extLst>
                <a:ext uri="{FF2B5EF4-FFF2-40B4-BE49-F238E27FC236}">
                  <a16:creationId xmlns:a16="http://schemas.microsoft.com/office/drawing/2014/main" id="{42F4594E-2323-A44D-9FB5-3C150DCEF9AA}"/>
                </a:ext>
              </a:extLst>
            </p:cNvPr>
            <p:cNvSpPr/>
            <p:nvPr/>
          </p:nvSpPr>
          <p:spPr>
            <a:xfrm>
              <a:off x="3376412" y="2528234"/>
              <a:ext cx="3477164" cy="3477167"/>
            </a:xfrm>
            <a:prstGeom prst="circularArrow">
              <a:avLst>
                <a:gd name="adj1" fmla="val 5085"/>
                <a:gd name="adj2" fmla="val 327528"/>
                <a:gd name="adj3" fmla="val 5072472"/>
                <a:gd name="adj4" fmla="val 0"/>
                <a:gd name="adj5" fmla="val 5932"/>
              </a:avLst>
            </a:prstGeom>
            <a:solidFill>
              <a:srgbClr val="000000"/>
            </a:solidFill>
            <a:ln w="6350">
              <a:noFill/>
            </a:ln>
            <a:effectLst/>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7" name="Circular Arrow 36">
              <a:extLst>
                <a:ext uri="{FF2B5EF4-FFF2-40B4-BE49-F238E27FC236}">
                  <a16:creationId xmlns:a16="http://schemas.microsoft.com/office/drawing/2014/main" id="{EEDCC2AE-E489-BC44-907F-9438ED000799}"/>
                </a:ext>
              </a:extLst>
            </p:cNvPr>
            <p:cNvSpPr/>
            <p:nvPr/>
          </p:nvSpPr>
          <p:spPr>
            <a:xfrm>
              <a:off x="3272538" y="2528234"/>
              <a:ext cx="3477164" cy="3477167"/>
            </a:xfrm>
            <a:prstGeom prst="circularArrow">
              <a:avLst>
                <a:gd name="adj1" fmla="val 5085"/>
                <a:gd name="adj2" fmla="val 327528"/>
                <a:gd name="adj3" fmla="val 10472472"/>
                <a:gd name="adj4" fmla="val 5400000"/>
                <a:gd name="adj5" fmla="val 5932"/>
              </a:avLst>
            </a:prstGeom>
            <a:solidFill>
              <a:srgbClr val="000000"/>
            </a:solidFill>
            <a:ln w="6350">
              <a:noFill/>
            </a:ln>
            <a:effectLst/>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8" name="Circular Arrow 37">
              <a:extLst>
                <a:ext uri="{FF2B5EF4-FFF2-40B4-BE49-F238E27FC236}">
                  <a16:creationId xmlns:a16="http://schemas.microsoft.com/office/drawing/2014/main" id="{DCE20264-E03E-684B-9486-8EC333D91C9A}"/>
                </a:ext>
              </a:extLst>
            </p:cNvPr>
            <p:cNvSpPr/>
            <p:nvPr/>
          </p:nvSpPr>
          <p:spPr>
            <a:xfrm>
              <a:off x="3272538" y="2424358"/>
              <a:ext cx="3477164" cy="3477167"/>
            </a:xfrm>
            <a:prstGeom prst="circularArrow">
              <a:avLst>
                <a:gd name="adj1" fmla="val 5085"/>
                <a:gd name="adj2" fmla="val 327528"/>
                <a:gd name="adj3" fmla="val 15872472"/>
                <a:gd name="adj4" fmla="val 10800000"/>
                <a:gd name="adj5" fmla="val 5932"/>
              </a:avLst>
            </a:prstGeom>
            <a:solidFill>
              <a:srgbClr val="000000"/>
            </a:solidFill>
            <a:ln w="6350">
              <a:noFill/>
            </a:ln>
            <a:effectLst/>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9" name="Oval 38">
              <a:extLst>
                <a:ext uri="{FF2B5EF4-FFF2-40B4-BE49-F238E27FC236}">
                  <a16:creationId xmlns:a16="http://schemas.microsoft.com/office/drawing/2014/main" id="{603E3489-D9B5-C240-A4FA-B5192D13D6A9}"/>
                </a:ext>
              </a:extLst>
            </p:cNvPr>
            <p:cNvSpPr/>
            <p:nvPr/>
          </p:nvSpPr>
          <p:spPr>
            <a:xfrm>
              <a:off x="4304912" y="3456732"/>
              <a:ext cx="1549816" cy="1549818"/>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US" sz="1300" b="1" dirty="0">
                <a:solidFill>
                  <a:srgbClr val="000000"/>
                </a:solidFill>
              </a:endParaRPr>
            </a:p>
          </p:txBody>
        </p:sp>
        <p:sp>
          <p:nvSpPr>
            <p:cNvPr id="40" name="TextBox 39">
              <a:extLst>
                <a:ext uri="{FF2B5EF4-FFF2-40B4-BE49-F238E27FC236}">
                  <a16:creationId xmlns:a16="http://schemas.microsoft.com/office/drawing/2014/main" id="{7F6E8E20-1F95-7A47-A96C-6EE760A8FAAB}"/>
                </a:ext>
              </a:extLst>
            </p:cNvPr>
            <p:cNvSpPr txBox="1"/>
            <p:nvPr/>
          </p:nvSpPr>
          <p:spPr>
            <a:xfrm rot="19033354">
              <a:off x="3903115" y="3341776"/>
              <a:ext cx="1335330" cy="689707"/>
            </a:xfrm>
            <a:prstGeom prst="rect">
              <a:avLst/>
            </a:prstGeom>
            <a:noFill/>
          </p:spPr>
          <p:txBody>
            <a:bodyPr spcFirstLastPara="1" wrap="none" lIns="0" tIns="0" rIns="0" bIns="0" numCol="1" rtlCol="0">
              <a:prstTxWarp prst="textArchUp">
                <a:avLst/>
              </a:prstTxWarp>
              <a:spAutoFit/>
            </a:bodyPr>
            <a:lstStyle/>
            <a:p>
              <a:pPr algn="ctr" fontAlgn="base"/>
              <a:r>
                <a:rPr lang="en-US" sz="1300" b="1" dirty="0">
                  <a:solidFill>
                    <a:srgbClr val="FFFFFF"/>
                  </a:solidFill>
                  <a:cs typeface="Arial" pitchFamily="34" charset="0"/>
                </a:rPr>
                <a:t>Lorem ipsum</a:t>
              </a:r>
            </a:p>
          </p:txBody>
        </p:sp>
        <p:sp>
          <p:nvSpPr>
            <p:cNvPr id="41" name="TextBox 40">
              <a:extLst>
                <a:ext uri="{FF2B5EF4-FFF2-40B4-BE49-F238E27FC236}">
                  <a16:creationId xmlns:a16="http://schemas.microsoft.com/office/drawing/2014/main" id="{43BCCBE9-875D-D046-A917-22E03C405D04}"/>
                </a:ext>
              </a:extLst>
            </p:cNvPr>
            <p:cNvSpPr txBox="1"/>
            <p:nvPr/>
          </p:nvSpPr>
          <p:spPr>
            <a:xfrm rot="2700000">
              <a:off x="4972109" y="3354175"/>
              <a:ext cx="1286177" cy="689707"/>
            </a:xfrm>
            <a:prstGeom prst="rect">
              <a:avLst/>
            </a:prstGeom>
            <a:noFill/>
            <a:ln>
              <a:noFill/>
            </a:ln>
          </p:spPr>
          <p:txBody>
            <a:bodyPr spcFirstLastPara="1" wrap="none" lIns="0" tIns="0" rIns="0" bIns="0" numCol="1" rtlCol="0">
              <a:prstTxWarp prst="textArchUp">
                <a:avLst/>
              </a:prstTxWarp>
              <a:spAutoFit/>
            </a:bodyPr>
            <a:lstStyle/>
            <a:p>
              <a:pPr algn="ctr" fontAlgn="base"/>
              <a:r>
                <a:rPr lang="en-US" sz="1300" b="1" dirty="0">
                  <a:solidFill>
                    <a:srgbClr val="FFFFFF"/>
                  </a:solidFill>
                  <a:cs typeface="Arial" pitchFamily="34" charset="0"/>
                </a:rPr>
                <a:t>Lorem ipsum</a:t>
              </a:r>
            </a:p>
          </p:txBody>
        </p:sp>
        <p:sp>
          <p:nvSpPr>
            <p:cNvPr id="42" name="TextBox 41">
              <a:extLst>
                <a:ext uri="{FF2B5EF4-FFF2-40B4-BE49-F238E27FC236}">
                  <a16:creationId xmlns:a16="http://schemas.microsoft.com/office/drawing/2014/main" id="{55AC98C6-C789-3A4E-9BB5-7F7A8F8749BB}"/>
                </a:ext>
              </a:extLst>
            </p:cNvPr>
            <p:cNvSpPr txBox="1"/>
            <p:nvPr/>
          </p:nvSpPr>
          <p:spPr>
            <a:xfrm rot="18485037">
              <a:off x="4912409" y="4384158"/>
              <a:ext cx="1286177" cy="689708"/>
            </a:xfrm>
            <a:prstGeom prst="rect">
              <a:avLst/>
            </a:prstGeom>
            <a:noFill/>
          </p:spPr>
          <p:txBody>
            <a:bodyPr spcFirstLastPara="1" wrap="none" lIns="0" tIns="0" rIns="0" bIns="0" numCol="1" rtlCol="0">
              <a:prstTxWarp prst="textArchDown">
                <a:avLst/>
              </a:prstTxWarp>
              <a:spAutoFit/>
            </a:bodyPr>
            <a:lstStyle/>
            <a:p>
              <a:pPr algn="ctr" fontAlgn="base"/>
              <a:r>
                <a:rPr lang="en-US" sz="1300" b="1" dirty="0">
                  <a:solidFill>
                    <a:srgbClr val="FFFFFF"/>
                  </a:solidFill>
                  <a:cs typeface="Arial" pitchFamily="34" charset="0"/>
                </a:rPr>
                <a:t>Lorem ipsum</a:t>
              </a:r>
            </a:p>
          </p:txBody>
        </p:sp>
        <p:sp>
          <p:nvSpPr>
            <p:cNvPr id="43" name="TextBox 42">
              <a:extLst>
                <a:ext uri="{FF2B5EF4-FFF2-40B4-BE49-F238E27FC236}">
                  <a16:creationId xmlns:a16="http://schemas.microsoft.com/office/drawing/2014/main" id="{94EC237A-49BC-5C4D-A828-658E52A6FB37}"/>
                </a:ext>
              </a:extLst>
            </p:cNvPr>
            <p:cNvSpPr txBox="1"/>
            <p:nvPr/>
          </p:nvSpPr>
          <p:spPr>
            <a:xfrm rot="2890459">
              <a:off x="3889248" y="4411923"/>
              <a:ext cx="1286177" cy="689707"/>
            </a:xfrm>
            <a:prstGeom prst="rect">
              <a:avLst/>
            </a:prstGeom>
            <a:noFill/>
          </p:spPr>
          <p:txBody>
            <a:bodyPr spcFirstLastPara="1" wrap="none" lIns="0" tIns="0" rIns="0" bIns="0" numCol="1" rtlCol="0">
              <a:prstTxWarp prst="textArchDown">
                <a:avLst/>
              </a:prstTxWarp>
              <a:spAutoFit/>
            </a:bodyPr>
            <a:lstStyle/>
            <a:p>
              <a:pPr algn="ctr" fontAlgn="base"/>
              <a:r>
                <a:rPr lang="en-US" sz="1300" b="1" dirty="0">
                  <a:solidFill>
                    <a:srgbClr val="FFFFFF"/>
                  </a:solidFill>
                  <a:cs typeface="Arial" pitchFamily="34" charset="0"/>
                </a:rPr>
                <a:t>Lorem ipsum</a:t>
              </a:r>
            </a:p>
          </p:txBody>
        </p:sp>
        <p:sp>
          <p:nvSpPr>
            <p:cNvPr id="44" name="Bent-Up Arrow 43">
              <a:extLst>
                <a:ext uri="{FF2B5EF4-FFF2-40B4-BE49-F238E27FC236}">
                  <a16:creationId xmlns:a16="http://schemas.microsoft.com/office/drawing/2014/main" id="{0B02CE73-802C-A34C-80A1-16CFD252024B}"/>
                </a:ext>
              </a:extLst>
            </p:cNvPr>
            <p:cNvSpPr/>
            <p:nvPr/>
          </p:nvSpPr>
          <p:spPr>
            <a:xfrm rot="16200000">
              <a:off x="3331971" y="2152915"/>
              <a:ext cx="567913" cy="454147"/>
            </a:xfrm>
            <a:prstGeom prst="bentUpArrow">
              <a:avLst>
                <a:gd name="adj1" fmla="val 35558"/>
                <a:gd name="adj2" fmla="val 26056"/>
                <a:gd name="adj3" fmla="val 25000"/>
              </a:avLst>
            </a:prstGeom>
            <a:solidFill>
              <a:srgbClr val="43B02A"/>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US" sz="1300" dirty="0">
                <a:solidFill>
                  <a:srgbClr val="FFFFFF"/>
                </a:solidFill>
              </a:endParaRPr>
            </a:p>
          </p:txBody>
        </p:sp>
        <p:sp>
          <p:nvSpPr>
            <p:cNvPr id="45" name="Bent-Up Arrow 44">
              <a:extLst>
                <a:ext uri="{FF2B5EF4-FFF2-40B4-BE49-F238E27FC236}">
                  <a16:creationId xmlns:a16="http://schemas.microsoft.com/office/drawing/2014/main" id="{4EEFF04F-7CB8-4342-9048-8DD9C7B8A916}"/>
                </a:ext>
              </a:extLst>
            </p:cNvPr>
            <p:cNvSpPr/>
            <p:nvPr/>
          </p:nvSpPr>
          <p:spPr>
            <a:xfrm rot="5400000" flipH="1">
              <a:off x="6207052" y="2152915"/>
              <a:ext cx="567913" cy="454147"/>
            </a:xfrm>
            <a:prstGeom prst="bentUpArrow">
              <a:avLst>
                <a:gd name="adj1" fmla="val 35558"/>
                <a:gd name="adj2" fmla="val 26056"/>
                <a:gd name="adj3" fmla="val 25000"/>
              </a:avLst>
            </a:prstGeom>
            <a:solidFill>
              <a:srgbClr val="86BC2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US" sz="1300" dirty="0">
                <a:solidFill>
                  <a:srgbClr val="FFFFFF"/>
                </a:solidFill>
              </a:endParaRPr>
            </a:p>
          </p:txBody>
        </p:sp>
        <p:sp>
          <p:nvSpPr>
            <p:cNvPr id="46" name="Bent-Up Arrow 45">
              <a:extLst>
                <a:ext uri="{FF2B5EF4-FFF2-40B4-BE49-F238E27FC236}">
                  <a16:creationId xmlns:a16="http://schemas.microsoft.com/office/drawing/2014/main" id="{D43A4F7E-CCA2-3D49-8F8B-68F8BFBF429B}"/>
                </a:ext>
              </a:extLst>
            </p:cNvPr>
            <p:cNvSpPr/>
            <p:nvPr/>
          </p:nvSpPr>
          <p:spPr>
            <a:xfrm rot="5400000" flipV="1">
              <a:off x="3331971" y="5794313"/>
              <a:ext cx="567913" cy="454147"/>
            </a:xfrm>
            <a:prstGeom prst="bentUpArrow">
              <a:avLst>
                <a:gd name="adj1" fmla="val 35558"/>
                <a:gd name="adj2" fmla="val 26056"/>
                <a:gd name="adj3" fmla="val 25000"/>
              </a:avLst>
            </a:prstGeom>
            <a:solidFill>
              <a:srgbClr val="86BC2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US" sz="1300" dirty="0">
                <a:solidFill>
                  <a:srgbClr val="FFFFFF"/>
                </a:solidFill>
              </a:endParaRPr>
            </a:p>
          </p:txBody>
        </p:sp>
        <p:sp>
          <p:nvSpPr>
            <p:cNvPr id="47" name="Bent-Up Arrow 46">
              <a:extLst>
                <a:ext uri="{FF2B5EF4-FFF2-40B4-BE49-F238E27FC236}">
                  <a16:creationId xmlns:a16="http://schemas.microsoft.com/office/drawing/2014/main" id="{66569A73-EB2A-5A4F-BD2E-EE1142D84A6E}"/>
                </a:ext>
              </a:extLst>
            </p:cNvPr>
            <p:cNvSpPr/>
            <p:nvPr/>
          </p:nvSpPr>
          <p:spPr>
            <a:xfrm rot="16200000" flipH="1" flipV="1">
              <a:off x="6207052" y="5794313"/>
              <a:ext cx="567913" cy="454147"/>
            </a:xfrm>
            <a:prstGeom prst="bentUpArrow">
              <a:avLst>
                <a:gd name="adj1" fmla="val 35558"/>
                <a:gd name="adj2" fmla="val 26056"/>
                <a:gd name="adj3" fmla="val 25000"/>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US" sz="1300" dirty="0">
                <a:solidFill>
                  <a:srgbClr val="FFFFFF"/>
                </a:solidFill>
              </a:endParaRPr>
            </a:p>
          </p:txBody>
        </p:sp>
        <p:sp>
          <p:nvSpPr>
            <p:cNvPr id="48" name="Donut 47">
              <a:extLst>
                <a:ext uri="{FF2B5EF4-FFF2-40B4-BE49-F238E27FC236}">
                  <a16:creationId xmlns:a16="http://schemas.microsoft.com/office/drawing/2014/main" id="{22283349-E22E-5F40-B76F-009986B15059}"/>
                </a:ext>
              </a:extLst>
            </p:cNvPr>
            <p:cNvSpPr/>
            <p:nvPr/>
          </p:nvSpPr>
          <p:spPr bwMode="gray">
            <a:xfrm>
              <a:off x="4303032" y="3463221"/>
              <a:ext cx="1553573" cy="1557049"/>
            </a:xfrm>
            <a:prstGeom prst="donut">
              <a:avLst>
                <a:gd name="adj" fmla="val 15629"/>
              </a:avLst>
            </a:prstGeom>
            <a:solidFill>
              <a:schemeClr val="accent3"/>
            </a:solidFill>
            <a:ln w="6350" algn="ctr">
              <a:solidFill>
                <a:schemeClr val="bg1"/>
              </a:solidFill>
              <a:miter lim="800000"/>
              <a:headEnd/>
              <a:tailEnd/>
            </a:ln>
            <a:effectLst/>
          </p:spPr>
          <p:txBody>
            <a:bodyPr wrap="square" lIns="34290" rIns="34290" rtlCol="0" anchor="ctr">
              <a:noAutofit/>
            </a:bodyPr>
            <a:lstStyle/>
            <a:p>
              <a:pPr fontAlgn="base"/>
              <a:endParaRPr lang="en-US" sz="1300" dirty="0">
                <a:solidFill>
                  <a:srgbClr val="000000"/>
                </a:solidFill>
                <a:cs typeface="Times New Roman" pitchFamily="18" charset="0"/>
              </a:endParaRPr>
            </a:p>
          </p:txBody>
        </p:sp>
        <p:sp>
          <p:nvSpPr>
            <p:cNvPr id="49" name="Rectangle 48">
              <a:extLst>
                <a:ext uri="{FF2B5EF4-FFF2-40B4-BE49-F238E27FC236}">
                  <a16:creationId xmlns:a16="http://schemas.microsoft.com/office/drawing/2014/main" id="{76B06588-A876-B84E-A76C-1D6ECAF0A3CA}"/>
                </a:ext>
              </a:extLst>
            </p:cNvPr>
            <p:cNvSpPr/>
            <p:nvPr/>
          </p:nvSpPr>
          <p:spPr>
            <a:xfrm>
              <a:off x="4662914" y="3956579"/>
              <a:ext cx="833811" cy="533480"/>
            </a:xfrm>
            <a:prstGeom prst="rect">
              <a:avLst/>
            </a:prstGeom>
          </p:spPr>
          <p:txBody>
            <a:bodyPr wrap="square" lIns="0" tIns="0" rIns="0" bIns="0" anchor="ctr">
              <a:spAutoFit/>
            </a:bodyPr>
            <a:lstStyle/>
            <a:p>
              <a:pPr algn="ctr" fontAlgn="base"/>
              <a:r>
                <a:rPr lang="en-US" sz="1300" b="1" dirty="0">
                  <a:solidFill>
                    <a:srgbClr val="000000"/>
                  </a:solidFill>
                  <a:cs typeface="Arial" pitchFamily="34" charset="0"/>
                </a:rPr>
                <a:t>Lorem ipsum</a:t>
              </a:r>
            </a:p>
          </p:txBody>
        </p:sp>
      </p:grpSp>
      <p:sp>
        <p:nvSpPr>
          <p:cNvPr id="51" name="TextBox 50">
            <a:extLst>
              <a:ext uri="{FF2B5EF4-FFF2-40B4-BE49-F238E27FC236}">
                <a16:creationId xmlns:a16="http://schemas.microsoft.com/office/drawing/2014/main" id="{C08F880B-657D-8E44-A952-9003721777AA}"/>
              </a:ext>
            </a:extLst>
          </p:cNvPr>
          <p:cNvSpPr txBox="1"/>
          <p:nvPr/>
        </p:nvSpPr>
        <p:spPr>
          <a:xfrm>
            <a:off x="7748310" y="1714500"/>
            <a:ext cx="3720717" cy="1000274"/>
          </a:xfrm>
          <a:prstGeom prst="rect">
            <a:avLst/>
          </a:prstGeom>
          <a:noFill/>
          <a:effectLst/>
        </p:spPr>
        <p:txBody>
          <a:bodyPr wrap="square" lIns="0" tIns="0" rIns="0" bIns="0" rtlCol="0">
            <a:spAutoFit/>
          </a:bodyPr>
          <a:lstStyle>
            <a:defPPr>
              <a:defRPr lang="en-US"/>
            </a:defPPr>
            <a:lvl1pPr marL="114300" indent="-114300" algn="l">
              <a:buFont typeface="Arial" pitchFamily="34" charset="0"/>
              <a:buChar char="•"/>
              <a:defRPr sz="800" b="0">
                <a:solidFill>
                  <a:srgbClr val="000000"/>
                </a:solidFill>
              </a:defRPr>
            </a:lvl1pPr>
          </a:lstStyle>
          <a:p>
            <a:pPr marL="0" indent="0" fontAlgn="base">
              <a:buNone/>
            </a:pPr>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Tree>
    <p:custDataLst>
      <p:tags r:id="rId1"/>
    </p:custDataLst>
    <p:extLst>
      <p:ext uri="{BB962C8B-B14F-4D97-AF65-F5344CB8AC3E}">
        <p14:creationId xmlns:p14="http://schemas.microsoft.com/office/powerpoint/2010/main" val="179184313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400815" y="1734466"/>
            <a:ext cx="3390370" cy="3388040"/>
            <a:chOff x="4858254" y="1734466"/>
            <a:chExt cx="2475495" cy="2473794"/>
          </a:xfrm>
        </p:grpSpPr>
        <p:sp>
          <p:nvSpPr>
            <p:cNvPr id="191" name="Freeform 5">
              <a:extLst>
                <a:ext uri="{FF2B5EF4-FFF2-40B4-BE49-F238E27FC236}">
                  <a16:creationId xmlns:a16="http://schemas.microsoft.com/office/drawing/2014/main" id="{F0B8AE8E-FF64-DB44-8953-AF29C74560D1}"/>
                </a:ext>
              </a:extLst>
            </p:cNvPr>
            <p:cNvSpPr>
              <a:spLocks/>
            </p:cNvSpPr>
            <p:nvPr/>
          </p:nvSpPr>
          <p:spPr bwMode="auto">
            <a:xfrm>
              <a:off x="5265766" y="1836859"/>
              <a:ext cx="1010130" cy="1121068"/>
            </a:xfrm>
            <a:custGeom>
              <a:avLst/>
              <a:gdLst>
                <a:gd name="T0" fmla="*/ 361 w 519"/>
                <a:gd name="T1" fmla="*/ 0 h 576"/>
                <a:gd name="T2" fmla="*/ 519 w 519"/>
                <a:gd name="T3" fmla="*/ 0 h 576"/>
                <a:gd name="T4" fmla="*/ 519 w 519"/>
                <a:gd name="T5" fmla="*/ 0 h 576"/>
                <a:gd name="T6" fmla="*/ 519 w 519"/>
                <a:gd name="T7" fmla="*/ 16 h 576"/>
                <a:gd name="T8" fmla="*/ 517 w 519"/>
                <a:gd name="T9" fmla="*/ 62 h 576"/>
                <a:gd name="T10" fmla="*/ 513 w 519"/>
                <a:gd name="T11" fmla="*/ 94 h 576"/>
                <a:gd name="T12" fmla="*/ 507 w 519"/>
                <a:gd name="T13" fmla="*/ 130 h 576"/>
                <a:gd name="T14" fmla="*/ 499 w 519"/>
                <a:gd name="T15" fmla="*/ 170 h 576"/>
                <a:gd name="T16" fmla="*/ 487 w 519"/>
                <a:gd name="T17" fmla="*/ 214 h 576"/>
                <a:gd name="T18" fmla="*/ 471 w 519"/>
                <a:gd name="T19" fmla="*/ 260 h 576"/>
                <a:gd name="T20" fmla="*/ 449 w 519"/>
                <a:gd name="T21" fmla="*/ 306 h 576"/>
                <a:gd name="T22" fmla="*/ 425 w 519"/>
                <a:gd name="T23" fmla="*/ 354 h 576"/>
                <a:gd name="T24" fmla="*/ 409 w 519"/>
                <a:gd name="T25" fmla="*/ 378 h 576"/>
                <a:gd name="T26" fmla="*/ 393 w 519"/>
                <a:gd name="T27" fmla="*/ 402 h 576"/>
                <a:gd name="T28" fmla="*/ 375 w 519"/>
                <a:gd name="T29" fmla="*/ 426 h 576"/>
                <a:gd name="T30" fmla="*/ 355 w 519"/>
                <a:gd name="T31" fmla="*/ 448 h 576"/>
                <a:gd name="T32" fmla="*/ 335 w 519"/>
                <a:gd name="T33" fmla="*/ 472 h 576"/>
                <a:gd name="T34" fmla="*/ 311 w 519"/>
                <a:gd name="T35" fmla="*/ 494 h 576"/>
                <a:gd name="T36" fmla="*/ 287 w 519"/>
                <a:gd name="T37" fmla="*/ 516 h 576"/>
                <a:gd name="T38" fmla="*/ 261 w 519"/>
                <a:gd name="T39" fmla="*/ 536 h 576"/>
                <a:gd name="T40" fmla="*/ 233 w 519"/>
                <a:gd name="T41" fmla="*/ 556 h 576"/>
                <a:gd name="T42" fmla="*/ 201 w 519"/>
                <a:gd name="T43" fmla="*/ 576 h 576"/>
                <a:gd name="T44" fmla="*/ 0 w 519"/>
                <a:gd name="T45" fmla="*/ 492 h 576"/>
                <a:gd name="T46" fmla="*/ 0 w 519"/>
                <a:gd name="T47" fmla="*/ 492 h 576"/>
                <a:gd name="T48" fmla="*/ 16 w 519"/>
                <a:gd name="T49" fmla="*/ 488 h 576"/>
                <a:gd name="T50" fmla="*/ 56 w 519"/>
                <a:gd name="T51" fmla="*/ 472 h 576"/>
                <a:gd name="T52" fmla="*/ 82 w 519"/>
                <a:gd name="T53" fmla="*/ 458 h 576"/>
                <a:gd name="T54" fmla="*/ 112 w 519"/>
                <a:gd name="T55" fmla="*/ 442 h 576"/>
                <a:gd name="T56" fmla="*/ 143 w 519"/>
                <a:gd name="T57" fmla="*/ 420 h 576"/>
                <a:gd name="T58" fmla="*/ 177 w 519"/>
                <a:gd name="T59" fmla="*/ 396 h 576"/>
                <a:gd name="T60" fmla="*/ 209 w 519"/>
                <a:gd name="T61" fmla="*/ 364 h 576"/>
                <a:gd name="T62" fmla="*/ 241 w 519"/>
                <a:gd name="T63" fmla="*/ 330 h 576"/>
                <a:gd name="T64" fmla="*/ 257 w 519"/>
                <a:gd name="T65" fmla="*/ 310 h 576"/>
                <a:gd name="T66" fmla="*/ 273 w 519"/>
                <a:gd name="T67" fmla="*/ 290 h 576"/>
                <a:gd name="T68" fmla="*/ 287 w 519"/>
                <a:gd name="T69" fmla="*/ 268 h 576"/>
                <a:gd name="T70" fmla="*/ 299 w 519"/>
                <a:gd name="T71" fmla="*/ 244 h 576"/>
                <a:gd name="T72" fmla="*/ 313 w 519"/>
                <a:gd name="T73" fmla="*/ 218 h 576"/>
                <a:gd name="T74" fmla="*/ 323 w 519"/>
                <a:gd name="T75" fmla="*/ 192 h 576"/>
                <a:gd name="T76" fmla="*/ 333 w 519"/>
                <a:gd name="T77" fmla="*/ 164 h 576"/>
                <a:gd name="T78" fmla="*/ 343 w 519"/>
                <a:gd name="T79" fmla="*/ 134 h 576"/>
                <a:gd name="T80" fmla="*/ 349 w 519"/>
                <a:gd name="T81" fmla="*/ 104 h 576"/>
                <a:gd name="T82" fmla="*/ 355 w 519"/>
                <a:gd name="T83" fmla="*/ 70 h 576"/>
                <a:gd name="T84" fmla="*/ 359 w 519"/>
                <a:gd name="T85" fmla="*/ 36 h 576"/>
                <a:gd name="T86" fmla="*/ 361 w 519"/>
                <a:gd name="T87" fmla="*/ 0 h 576"/>
                <a:gd name="T88" fmla="*/ 361 w 519"/>
                <a:gd name="T89"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9" h="576">
                  <a:moveTo>
                    <a:pt x="361" y="0"/>
                  </a:moveTo>
                  <a:lnTo>
                    <a:pt x="519" y="0"/>
                  </a:lnTo>
                  <a:lnTo>
                    <a:pt x="519" y="0"/>
                  </a:lnTo>
                  <a:lnTo>
                    <a:pt x="519" y="16"/>
                  </a:lnTo>
                  <a:lnTo>
                    <a:pt x="517" y="62"/>
                  </a:lnTo>
                  <a:lnTo>
                    <a:pt x="513" y="94"/>
                  </a:lnTo>
                  <a:lnTo>
                    <a:pt x="507" y="130"/>
                  </a:lnTo>
                  <a:lnTo>
                    <a:pt x="499" y="170"/>
                  </a:lnTo>
                  <a:lnTo>
                    <a:pt x="487" y="214"/>
                  </a:lnTo>
                  <a:lnTo>
                    <a:pt x="471" y="260"/>
                  </a:lnTo>
                  <a:lnTo>
                    <a:pt x="449" y="306"/>
                  </a:lnTo>
                  <a:lnTo>
                    <a:pt x="425" y="354"/>
                  </a:lnTo>
                  <a:lnTo>
                    <a:pt x="409" y="378"/>
                  </a:lnTo>
                  <a:lnTo>
                    <a:pt x="393" y="402"/>
                  </a:lnTo>
                  <a:lnTo>
                    <a:pt x="375" y="426"/>
                  </a:lnTo>
                  <a:lnTo>
                    <a:pt x="355" y="448"/>
                  </a:lnTo>
                  <a:lnTo>
                    <a:pt x="335" y="472"/>
                  </a:lnTo>
                  <a:lnTo>
                    <a:pt x="311" y="494"/>
                  </a:lnTo>
                  <a:lnTo>
                    <a:pt x="287" y="516"/>
                  </a:lnTo>
                  <a:lnTo>
                    <a:pt x="261" y="536"/>
                  </a:lnTo>
                  <a:lnTo>
                    <a:pt x="233" y="556"/>
                  </a:lnTo>
                  <a:lnTo>
                    <a:pt x="201" y="576"/>
                  </a:lnTo>
                  <a:lnTo>
                    <a:pt x="0" y="492"/>
                  </a:lnTo>
                  <a:lnTo>
                    <a:pt x="0" y="492"/>
                  </a:lnTo>
                  <a:lnTo>
                    <a:pt x="16" y="488"/>
                  </a:lnTo>
                  <a:lnTo>
                    <a:pt x="56" y="472"/>
                  </a:lnTo>
                  <a:lnTo>
                    <a:pt x="82" y="458"/>
                  </a:lnTo>
                  <a:lnTo>
                    <a:pt x="112" y="442"/>
                  </a:lnTo>
                  <a:lnTo>
                    <a:pt x="143" y="420"/>
                  </a:lnTo>
                  <a:lnTo>
                    <a:pt x="177" y="396"/>
                  </a:lnTo>
                  <a:lnTo>
                    <a:pt x="209" y="364"/>
                  </a:lnTo>
                  <a:lnTo>
                    <a:pt x="241" y="330"/>
                  </a:lnTo>
                  <a:lnTo>
                    <a:pt x="257" y="310"/>
                  </a:lnTo>
                  <a:lnTo>
                    <a:pt x="273" y="290"/>
                  </a:lnTo>
                  <a:lnTo>
                    <a:pt x="287" y="268"/>
                  </a:lnTo>
                  <a:lnTo>
                    <a:pt x="299" y="244"/>
                  </a:lnTo>
                  <a:lnTo>
                    <a:pt x="313" y="218"/>
                  </a:lnTo>
                  <a:lnTo>
                    <a:pt x="323" y="192"/>
                  </a:lnTo>
                  <a:lnTo>
                    <a:pt x="333" y="164"/>
                  </a:lnTo>
                  <a:lnTo>
                    <a:pt x="343" y="134"/>
                  </a:lnTo>
                  <a:lnTo>
                    <a:pt x="349" y="104"/>
                  </a:lnTo>
                  <a:lnTo>
                    <a:pt x="355" y="70"/>
                  </a:lnTo>
                  <a:lnTo>
                    <a:pt x="359" y="36"/>
                  </a:lnTo>
                  <a:lnTo>
                    <a:pt x="361" y="0"/>
                  </a:lnTo>
                  <a:lnTo>
                    <a:pt x="361" y="0"/>
                  </a:lnTo>
                  <a:close/>
                </a:path>
              </a:pathLst>
            </a:custGeom>
            <a:solidFill>
              <a:srgbClr val="000000"/>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
              <a:extLst>
                <a:ext uri="{FF2B5EF4-FFF2-40B4-BE49-F238E27FC236}">
                  <a16:creationId xmlns:a16="http://schemas.microsoft.com/office/drawing/2014/main" id="{2C922806-2480-C34F-9767-5FB3C4D8BE44}"/>
                </a:ext>
              </a:extLst>
            </p:cNvPr>
            <p:cNvSpPr>
              <a:spLocks/>
            </p:cNvSpPr>
            <p:nvPr/>
          </p:nvSpPr>
          <p:spPr bwMode="auto">
            <a:xfrm>
              <a:off x="6166903" y="2124911"/>
              <a:ext cx="1103552" cy="1019860"/>
            </a:xfrm>
            <a:custGeom>
              <a:avLst/>
              <a:gdLst>
                <a:gd name="T0" fmla="*/ 80 w 567"/>
                <a:gd name="T1" fmla="*/ 0 h 524"/>
                <a:gd name="T2" fmla="*/ 0 w 567"/>
                <a:gd name="T3" fmla="*/ 198 h 524"/>
                <a:gd name="T4" fmla="*/ 0 w 567"/>
                <a:gd name="T5" fmla="*/ 198 h 524"/>
                <a:gd name="T6" fmla="*/ 8 w 567"/>
                <a:gd name="T7" fmla="*/ 212 h 524"/>
                <a:gd name="T8" fmla="*/ 34 w 567"/>
                <a:gd name="T9" fmla="*/ 248 h 524"/>
                <a:gd name="T10" fmla="*/ 54 w 567"/>
                <a:gd name="T11" fmla="*/ 272 h 524"/>
                <a:gd name="T12" fmla="*/ 78 w 567"/>
                <a:gd name="T13" fmla="*/ 298 h 524"/>
                <a:gd name="T14" fmla="*/ 106 w 567"/>
                <a:gd name="T15" fmla="*/ 328 h 524"/>
                <a:gd name="T16" fmla="*/ 138 w 567"/>
                <a:gd name="T17" fmla="*/ 358 h 524"/>
                <a:gd name="T18" fmla="*/ 176 w 567"/>
                <a:gd name="T19" fmla="*/ 388 h 524"/>
                <a:gd name="T20" fmla="*/ 218 w 567"/>
                <a:gd name="T21" fmla="*/ 416 h 524"/>
                <a:gd name="T22" fmla="*/ 264 w 567"/>
                <a:gd name="T23" fmla="*/ 444 h 524"/>
                <a:gd name="T24" fmla="*/ 289 w 567"/>
                <a:gd name="T25" fmla="*/ 458 h 524"/>
                <a:gd name="T26" fmla="*/ 317 w 567"/>
                <a:gd name="T27" fmla="*/ 470 h 524"/>
                <a:gd name="T28" fmla="*/ 343 w 567"/>
                <a:gd name="T29" fmla="*/ 480 h 524"/>
                <a:gd name="T30" fmla="*/ 371 w 567"/>
                <a:gd name="T31" fmla="*/ 490 h 524"/>
                <a:gd name="T32" fmla="*/ 401 w 567"/>
                <a:gd name="T33" fmla="*/ 500 h 524"/>
                <a:gd name="T34" fmla="*/ 431 w 567"/>
                <a:gd name="T35" fmla="*/ 508 h 524"/>
                <a:gd name="T36" fmla="*/ 463 w 567"/>
                <a:gd name="T37" fmla="*/ 514 h 524"/>
                <a:gd name="T38" fmla="*/ 497 w 567"/>
                <a:gd name="T39" fmla="*/ 518 h 524"/>
                <a:gd name="T40" fmla="*/ 531 w 567"/>
                <a:gd name="T41" fmla="*/ 522 h 524"/>
                <a:gd name="T42" fmla="*/ 567 w 567"/>
                <a:gd name="T43" fmla="*/ 524 h 524"/>
                <a:gd name="T44" fmla="*/ 567 w 567"/>
                <a:gd name="T45" fmla="*/ 366 h 524"/>
                <a:gd name="T46" fmla="*/ 567 w 567"/>
                <a:gd name="T47" fmla="*/ 366 h 524"/>
                <a:gd name="T48" fmla="*/ 553 w 567"/>
                <a:gd name="T49" fmla="*/ 366 h 524"/>
                <a:gd name="T50" fmla="*/ 535 w 567"/>
                <a:gd name="T51" fmla="*/ 366 h 524"/>
                <a:gd name="T52" fmla="*/ 513 w 567"/>
                <a:gd name="T53" fmla="*/ 364 h 524"/>
                <a:gd name="T54" fmla="*/ 485 w 567"/>
                <a:gd name="T55" fmla="*/ 362 h 524"/>
                <a:gd name="T56" fmla="*/ 455 w 567"/>
                <a:gd name="T57" fmla="*/ 356 h 524"/>
                <a:gd name="T58" fmla="*/ 421 w 567"/>
                <a:gd name="T59" fmla="*/ 346 h 524"/>
                <a:gd name="T60" fmla="*/ 383 w 567"/>
                <a:gd name="T61" fmla="*/ 332 h 524"/>
                <a:gd name="T62" fmla="*/ 345 w 567"/>
                <a:gd name="T63" fmla="*/ 314 h 524"/>
                <a:gd name="T64" fmla="*/ 305 w 567"/>
                <a:gd name="T65" fmla="*/ 290 h 524"/>
                <a:gd name="T66" fmla="*/ 285 w 567"/>
                <a:gd name="T67" fmla="*/ 276 h 524"/>
                <a:gd name="T68" fmla="*/ 264 w 567"/>
                <a:gd name="T69" fmla="*/ 262 h 524"/>
                <a:gd name="T70" fmla="*/ 244 w 567"/>
                <a:gd name="T71" fmla="*/ 244 h 524"/>
                <a:gd name="T72" fmla="*/ 224 w 567"/>
                <a:gd name="T73" fmla="*/ 226 h 524"/>
                <a:gd name="T74" fmla="*/ 204 w 567"/>
                <a:gd name="T75" fmla="*/ 204 h 524"/>
                <a:gd name="T76" fmla="*/ 184 w 567"/>
                <a:gd name="T77" fmla="*/ 182 h 524"/>
                <a:gd name="T78" fmla="*/ 166 w 567"/>
                <a:gd name="T79" fmla="*/ 158 h 524"/>
                <a:gd name="T80" fmla="*/ 146 w 567"/>
                <a:gd name="T81" fmla="*/ 130 h 524"/>
                <a:gd name="T82" fmla="*/ 128 w 567"/>
                <a:gd name="T83" fmla="*/ 102 h 524"/>
                <a:gd name="T84" fmla="*/ 112 w 567"/>
                <a:gd name="T85" fmla="*/ 70 h 524"/>
                <a:gd name="T86" fmla="*/ 96 w 567"/>
                <a:gd name="T87" fmla="*/ 36 h 524"/>
                <a:gd name="T88" fmla="*/ 80 w 567"/>
                <a:gd name="T89" fmla="*/ 0 h 524"/>
                <a:gd name="T90" fmla="*/ 80 w 567"/>
                <a:gd name="T91"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7" h="524">
                  <a:moveTo>
                    <a:pt x="80" y="0"/>
                  </a:moveTo>
                  <a:lnTo>
                    <a:pt x="0" y="198"/>
                  </a:lnTo>
                  <a:lnTo>
                    <a:pt x="0" y="198"/>
                  </a:lnTo>
                  <a:lnTo>
                    <a:pt x="8" y="212"/>
                  </a:lnTo>
                  <a:lnTo>
                    <a:pt x="34" y="248"/>
                  </a:lnTo>
                  <a:lnTo>
                    <a:pt x="54" y="272"/>
                  </a:lnTo>
                  <a:lnTo>
                    <a:pt x="78" y="298"/>
                  </a:lnTo>
                  <a:lnTo>
                    <a:pt x="106" y="328"/>
                  </a:lnTo>
                  <a:lnTo>
                    <a:pt x="138" y="358"/>
                  </a:lnTo>
                  <a:lnTo>
                    <a:pt x="176" y="388"/>
                  </a:lnTo>
                  <a:lnTo>
                    <a:pt x="218" y="416"/>
                  </a:lnTo>
                  <a:lnTo>
                    <a:pt x="264" y="444"/>
                  </a:lnTo>
                  <a:lnTo>
                    <a:pt x="289" y="458"/>
                  </a:lnTo>
                  <a:lnTo>
                    <a:pt x="317" y="470"/>
                  </a:lnTo>
                  <a:lnTo>
                    <a:pt x="343" y="480"/>
                  </a:lnTo>
                  <a:lnTo>
                    <a:pt x="371" y="490"/>
                  </a:lnTo>
                  <a:lnTo>
                    <a:pt x="401" y="500"/>
                  </a:lnTo>
                  <a:lnTo>
                    <a:pt x="431" y="508"/>
                  </a:lnTo>
                  <a:lnTo>
                    <a:pt x="463" y="514"/>
                  </a:lnTo>
                  <a:lnTo>
                    <a:pt x="497" y="518"/>
                  </a:lnTo>
                  <a:lnTo>
                    <a:pt x="531" y="522"/>
                  </a:lnTo>
                  <a:lnTo>
                    <a:pt x="567" y="524"/>
                  </a:lnTo>
                  <a:lnTo>
                    <a:pt x="567" y="366"/>
                  </a:lnTo>
                  <a:lnTo>
                    <a:pt x="567" y="366"/>
                  </a:lnTo>
                  <a:lnTo>
                    <a:pt x="553" y="366"/>
                  </a:lnTo>
                  <a:lnTo>
                    <a:pt x="535" y="366"/>
                  </a:lnTo>
                  <a:lnTo>
                    <a:pt x="513" y="364"/>
                  </a:lnTo>
                  <a:lnTo>
                    <a:pt x="485" y="362"/>
                  </a:lnTo>
                  <a:lnTo>
                    <a:pt x="455" y="356"/>
                  </a:lnTo>
                  <a:lnTo>
                    <a:pt x="421" y="346"/>
                  </a:lnTo>
                  <a:lnTo>
                    <a:pt x="383" y="332"/>
                  </a:lnTo>
                  <a:lnTo>
                    <a:pt x="345" y="314"/>
                  </a:lnTo>
                  <a:lnTo>
                    <a:pt x="305" y="290"/>
                  </a:lnTo>
                  <a:lnTo>
                    <a:pt x="285" y="276"/>
                  </a:lnTo>
                  <a:lnTo>
                    <a:pt x="264" y="262"/>
                  </a:lnTo>
                  <a:lnTo>
                    <a:pt x="244" y="244"/>
                  </a:lnTo>
                  <a:lnTo>
                    <a:pt x="224" y="226"/>
                  </a:lnTo>
                  <a:lnTo>
                    <a:pt x="204" y="204"/>
                  </a:lnTo>
                  <a:lnTo>
                    <a:pt x="184" y="182"/>
                  </a:lnTo>
                  <a:lnTo>
                    <a:pt x="166" y="158"/>
                  </a:lnTo>
                  <a:lnTo>
                    <a:pt x="146" y="130"/>
                  </a:lnTo>
                  <a:lnTo>
                    <a:pt x="128" y="102"/>
                  </a:lnTo>
                  <a:lnTo>
                    <a:pt x="112" y="70"/>
                  </a:lnTo>
                  <a:lnTo>
                    <a:pt x="96" y="36"/>
                  </a:lnTo>
                  <a:lnTo>
                    <a:pt x="80" y="0"/>
                  </a:lnTo>
                  <a:lnTo>
                    <a:pt x="80" y="0"/>
                  </a:lnTo>
                  <a:close/>
                </a:path>
              </a:pathLst>
            </a:custGeom>
            <a:solidFill>
              <a:srgbClr val="86BC25"/>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7">
              <a:extLst>
                <a:ext uri="{FF2B5EF4-FFF2-40B4-BE49-F238E27FC236}">
                  <a16:creationId xmlns:a16="http://schemas.microsoft.com/office/drawing/2014/main" id="{6C8D1E2E-EAAD-B740-A351-8B97303B0B23}"/>
                </a:ext>
              </a:extLst>
            </p:cNvPr>
            <p:cNvSpPr>
              <a:spLocks/>
            </p:cNvSpPr>
            <p:nvPr/>
          </p:nvSpPr>
          <p:spPr bwMode="auto">
            <a:xfrm>
              <a:off x="5983951" y="3031886"/>
              <a:ext cx="982881" cy="1101605"/>
            </a:xfrm>
            <a:custGeom>
              <a:avLst/>
              <a:gdLst>
                <a:gd name="T0" fmla="*/ 505 w 505"/>
                <a:gd name="T1" fmla="*/ 74 h 566"/>
                <a:gd name="T2" fmla="*/ 320 w 505"/>
                <a:gd name="T3" fmla="*/ 0 h 566"/>
                <a:gd name="T4" fmla="*/ 320 w 505"/>
                <a:gd name="T5" fmla="*/ 0 h 566"/>
                <a:gd name="T6" fmla="*/ 308 w 505"/>
                <a:gd name="T7" fmla="*/ 8 h 566"/>
                <a:gd name="T8" fmla="*/ 272 w 505"/>
                <a:gd name="T9" fmla="*/ 30 h 566"/>
                <a:gd name="T10" fmla="*/ 248 w 505"/>
                <a:gd name="T11" fmla="*/ 46 h 566"/>
                <a:gd name="T12" fmla="*/ 222 w 505"/>
                <a:gd name="T13" fmla="*/ 68 h 566"/>
                <a:gd name="T14" fmla="*/ 194 w 505"/>
                <a:gd name="T15" fmla="*/ 94 h 566"/>
                <a:gd name="T16" fmla="*/ 164 w 505"/>
                <a:gd name="T17" fmla="*/ 126 h 566"/>
                <a:gd name="T18" fmla="*/ 136 w 505"/>
                <a:gd name="T19" fmla="*/ 162 h 566"/>
                <a:gd name="T20" fmla="*/ 106 w 505"/>
                <a:gd name="T21" fmla="*/ 202 h 566"/>
                <a:gd name="T22" fmla="*/ 80 w 505"/>
                <a:gd name="T23" fmla="*/ 248 h 566"/>
                <a:gd name="T24" fmla="*/ 68 w 505"/>
                <a:gd name="T25" fmla="*/ 274 h 566"/>
                <a:gd name="T26" fmla="*/ 56 w 505"/>
                <a:gd name="T27" fmla="*/ 300 h 566"/>
                <a:gd name="T28" fmla="*/ 44 w 505"/>
                <a:gd name="T29" fmla="*/ 328 h 566"/>
                <a:gd name="T30" fmla="*/ 34 w 505"/>
                <a:gd name="T31" fmla="*/ 358 h 566"/>
                <a:gd name="T32" fmla="*/ 26 w 505"/>
                <a:gd name="T33" fmla="*/ 388 h 566"/>
                <a:gd name="T34" fmla="*/ 18 w 505"/>
                <a:gd name="T35" fmla="*/ 422 h 566"/>
                <a:gd name="T36" fmla="*/ 12 w 505"/>
                <a:gd name="T37" fmla="*/ 456 h 566"/>
                <a:gd name="T38" fmla="*/ 6 w 505"/>
                <a:gd name="T39" fmla="*/ 490 h 566"/>
                <a:gd name="T40" fmla="*/ 2 w 505"/>
                <a:gd name="T41" fmla="*/ 528 h 566"/>
                <a:gd name="T42" fmla="*/ 0 w 505"/>
                <a:gd name="T43" fmla="*/ 566 h 566"/>
                <a:gd name="T44" fmla="*/ 150 w 505"/>
                <a:gd name="T45" fmla="*/ 566 h 566"/>
                <a:gd name="T46" fmla="*/ 150 w 505"/>
                <a:gd name="T47" fmla="*/ 566 h 566"/>
                <a:gd name="T48" fmla="*/ 152 w 505"/>
                <a:gd name="T49" fmla="*/ 550 h 566"/>
                <a:gd name="T50" fmla="*/ 158 w 505"/>
                <a:gd name="T51" fmla="*/ 508 h 566"/>
                <a:gd name="T52" fmla="*/ 164 w 505"/>
                <a:gd name="T53" fmla="*/ 478 h 566"/>
                <a:gd name="T54" fmla="*/ 174 w 505"/>
                <a:gd name="T55" fmla="*/ 444 h 566"/>
                <a:gd name="T56" fmla="*/ 186 w 505"/>
                <a:gd name="T57" fmla="*/ 406 h 566"/>
                <a:gd name="T58" fmla="*/ 202 w 505"/>
                <a:gd name="T59" fmla="*/ 368 h 566"/>
                <a:gd name="T60" fmla="*/ 220 w 505"/>
                <a:gd name="T61" fmla="*/ 326 h 566"/>
                <a:gd name="T62" fmla="*/ 244 w 505"/>
                <a:gd name="T63" fmla="*/ 284 h 566"/>
                <a:gd name="T64" fmla="*/ 274 w 505"/>
                <a:gd name="T65" fmla="*/ 244 h 566"/>
                <a:gd name="T66" fmla="*/ 290 w 505"/>
                <a:gd name="T67" fmla="*/ 224 h 566"/>
                <a:gd name="T68" fmla="*/ 308 w 505"/>
                <a:gd name="T69" fmla="*/ 204 h 566"/>
                <a:gd name="T70" fmla="*/ 326 w 505"/>
                <a:gd name="T71" fmla="*/ 184 h 566"/>
                <a:gd name="T72" fmla="*/ 348 w 505"/>
                <a:gd name="T73" fmla="*/ 166 h 566"/>
                <a:gd name="T74" fmla="*/ 371 w 505"/>
                <a:gd name="T75" fmla="*/ 148 h 566"/>
                <a:gd name="T76" fmla="*/ 393 w 505"/>
                <a:gd name="T77" fmla="*/ 130 h 566"/>
                <a:gd name="T78" fmla="*/ 419 w 505"/>
                <a:gd name="T79" fmla="*/ 114 h 566"/>
                <a:gd name="T80" fmla="*/ 447 w 505"/>
                <a:gd name="T81" fmla="*/ 100 h 566"/>
                <a:gd name="T82" fmla="*/ 475 w 505"/>
                <a:gd name="T83" fmla="*/ 86 h 566"/>
                <a:gd name="T84" fmla="*/ 505 w 505"/>
                <a:gd name="T85" fmla="*/ 74 h 566"/>
                <a:gd name="T86" fmla="*/ 505 w 505"/>
                <a:gd name="T87" fmla="*/ 74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5" h="566">
                  <a:moveTo>
                    <a:pt x="505" y="74"/>
                  </a:moveTo>
                  <a:lnTo>
                    <a:pt x="320" y="0"/>
                  </a:lnTo>
                  <a:lnTo>
                    <a:pt x="320" y="0"/>
                  </a:lnTo>
                  <a:lnTo>
                    <a:pt x="308" y="8"/>
                  </a:lnTo>
                  <a:lnTo>
                    <a:pt x="272" y="30"/>
                  </a:lnTo>
                  <a:lnTo>
                    <a:pt x="248" y="46"/>
                  </a:lnTo>
                  <a:lnTo>
                    <a:pt x="222" y="68"/>
                  </a:lnTo>
                  <a:lnTo>
                    <a:pt x="194" y="94"/>
                  </a:lnTo>
                  <a:lnTo>
                    <a:pt x="164" y="126"/>
                  </a:lnTo>
                  <a:lnTo>
                    <a:pt x="136" y="162"/>
                  </a:lnTo>
                  <a:lnTo>
                    <a:pt x="106" y="202"/>
                  </a:lnTo>
                  <a:lnTo>
                    <a:pt x="80" y="248"/>
                  </a:lnTo>
                  <a:lnTo>
                    <a:pt x="68" y="274"/>
                  </a:lnTo>
                  <a:lnTo>
                    <a:pt x="56" y="300"/>
                  </a:lnTo>
                  <a:lnTo>
                    <a:pt x="44" y="328"/>
                  </a:lnTo>
                  <a:lnTo>
                    <a:pt x="34" y="358"/>
                  </a:lnTo>
                  <a:lnTo>
                    <a:pt x="26" y="388"/>
                  </a:lnTo>
                  <a:lnTo>
                    <a:pt x="18" y="422"/>
                  </a:lnTo>
                  <a:lnTo>
                    <a:pt x="12" y="456"/>
                  </a:lnTo>
                  <a:lnTo>
                    <a:pt x="6" y="490"/>
                  </a:lnTo>
                  <a:lnTo>
                    <a:pt x="2" y="528"/>
                  </a:lnTo>
                  <a:lnTo>
                    <a:pt x="0" y="566"/>
                  </a:lnTo>
                  <a:lnTo>
                    <a:pt x="150" y="566"/>
                  </a:lnTo>
                  <a:lnTo>
                    <a:pt x="150" y="566"/>
                  </a:lnTo>
                  <a:lnTo>
                    <a:pt x="152" y="550"/>
                  </a:lnTo>
                  <a:lnTo>
                    <a:pt x="158" y="508"/>
                  </a:lnTo>
                  <a:lnTo>
                    <a:pt x="164" y="478"/>
                  </a:lnTo>
                  <a:lnTo>
                    <a:pt x="174" y="444"/>
                  </a:lnTo>
                  <a:lnTo>
                    <a:pt x="186" y="406"/>
                  </a:lnTo>
                  <a:lnTo>
                    <a:pt x="202" y="368"/>
                  </a:lnTo>
                  <a:lnTo>
                    <a:pt x="220" y="326"/>
                  </a:lnTo>
                  <a:lnTo>
                    <a:pt x="244" y="284"/>
                  </a:lnTo>
                  <a:lnTo>
                    <a:pt x="274" y="244"/>
                  </a:lnTo>
                  <a:lnTo>
                    <a:pt x="290" y="224"/>
                  </a:lnTo>
                  <a:lnTo>
                    <a:pt x="308" y="204"/>
                  </a:lnTo>
                  <a:lnTo>
                    <a:pt x="326" y="184"/>
                  </a:lnTo>
                  <a:lnTo>
                    <a:pt x="348" y="166"/>
                  </a:lnTo>
                  <a:lnTo>
                    <a:pt x="371" y="148"/>
                  </a:lnTo>
                  <a:lnTo>
                    <a:pt x="393" y="130"/>
                  </a:lnTo>
                  <a:lnTo>
                    <a:pt x="419" y="114"/>
                  </a:lnTo>
                  <a:lnTo>
                    <a:pt x="447" y="100"/>
                  </a:lnTo>
                  <a:lnTo>
                    <a:pt x="475" y="86"/>
                  </a:lnTo>
                  <a:lnTo>
                    <a:pt x="505" y="74"/>
                  </a:lnTo>
                  <a:lnTo>
                    <a:pt x="505" y="74"/>
                  </a:lnTo>
                  <a:close/>
                </a:path>
              </a:pathLst>
            </a:custGeom>
            <a:solidFill>
              <a:srgbClr val="43B02A"/>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8">
              <a:extLst>
                <a:ext uri="{FF2B5EF4-FFF2-40B4-BE49-F238E27FC236}">
                  <a16:creationId xmlns:a16="http://schemas.microsoft.com/office/drawing/2014/main" id="{9B455415-1051-AD40-B590-85BAD03F184E}"/>
                </a:ext>
              </a:extLst>
            </p:cNvPr>
            <p:cNvSpPr>
              <a:spLocks/>
            </p:cNvSpPr>
            <p:nvPr/>
          </p:nvSpPr>
          <p:spPr bwMode="auto">
            <a:xfrm>
              <a:off x="4969929" y="2825579"/>
              <a:ext cx="1130800" cy="1008183"/>
            </a:xfrm>
            <a:custGeom>
              <a:avLst/>
              <a:gdLst>
                <a:gd name="T0" fmla="*/ 497 w 581"/>
                <a:gd name="T1" fmla="*/ 518 h 518"/>
                <a:gd name="T2" fmla="*/ 581 w 581"/>
                <a:gd name="T3" fmla="*/ 324 h 518"/>
                <a:gd name="T4" fmla="*/ 581 w 581"/>
                <a:gd name="T5" fmla="*/ 324 h 518"/>
                <a:gd name="T6" fmla="*/ 573 w 581"/>
                <a:gd name="T7" fmla="*/ 310 h 518"/>
                <a:gd name="T8" fmla="*/ 551 w 581"/>
                <a:gd name="T9" fmla="*/ 278 h 518"/>
                <a:gd name="T10" fmla="*/ 535 w 581"/>
                <a:gd name="T11" fmla="*/ 254 h 518"/>
                <a:gd name="T12" fmla="*/ 513 w 581"/>
                <a:gd name="T13" fmla="*/ 230 h 518"/>
                <a:gd name="T14" fmla="*/ 487 w 581"/>
                <a:gd name="T15" fmla="*/ 202 h 518"/>
                <a:gd name="T16" fmla="*/ 455 w 581"/>
                <a:gd name="T17" fmla="*/ 174 h 518"/>
                <a:gd name="T18" fmla="*/ 419 w 581"/>
                <a:gd name="T19" fmla="*/ 146 h 518"/>
                <a:gd name="T20" fmla="*/ 377 w 581"/>
                <a:gd name="T21" fmla="*/ 116 h 518"/>
                <a:gd name="T22" fmla="*/ 329 w 581"/>
                <a:gd name="T23" fmla="*/ 90 h 518"/>
                <a:gd name="T24" fmla="*/ 303 w 581"/>
                <a:gd name="T25" fmla="*/ 76 h 518"/>
                <a:gd name="T26" fmla="*/ 276 w 581"/>
                <a:gd name="T27" fmla="*/ 64 h 518"/>
                <a:gd name="T28" fmla="*/ 246 w 581"/>
                <a:gd name="T29" fmla="*/ 54 h 518"/>
                <a:gd name="T30" fmla="*/ 216 w 581"/>
                <a:gd name="T31" fmla="*/ 42 h 518"/>
                <a:gd name="T32" fmla="*/ 184 w 581"/>
                <a:gd name="T33" fmla="*/ 32 h 518"/>
                <a:gd name="T34" fmla="*/ 152 w 581"/>
                <a:gd name="T35" fmla="*/ 24 h 518"/>
                <a:gd name="T36" fmla="*/ 116 w 581"/>
                <a:gd name="T37" fmla="*/ 16 h 518"/>
                <a:gd name="T38" fmla="*/ 80 w 581"/>
                <a:gd name="T39" fmla="*/ 10 h 518"/>
                <a:gd name="T40" fmla="*/ 40 w 581"/>
                <a:gd name="T41" fmla="*/ 4 h 518"/>
                <a:gd name="T42" fmla="*/ 0 w 581"/>
                <a:gd name="T43" fmla="*/ 0 h 518"/>
                <a:gd name="T44" fmla="*/ 0 w 581"/>
                <a:gd name="T45" fmla="*/ 164 h 518"/>
                <a:gd name="T46" fmla="*/ 0 w 581"/>
                <a:gd name="T47" fmla="*/ 164 h 518"/>
                <a:gd name="T48" fmla="*/ 16 w 581"/>
                <a:gd name="T49" fmla="*/ 162 h 518"/>
                <a:gd name="T50" fmla="*/ 34 w 581"/>
                <a:gd name="T51" fmla="*/ 162 h 518"/>
                <a:gd name="T52" fmla="*/ 58 w 581"/>
                <a:gd name="T53" fmla="*/ 164 h 518"/>
                <a:gd name="T54" fmla="*/ 86 w 581"/>
                <a:gd name="T55" fmla="*/ 168 h 518"/>
                <a:gd name="T56" fmla="*/ 120 w 581"/>
                <a:gd name="T57" fmla="*/ 174 h 518"/>
                <a:gd name="T58" fmla="*/ 156 w 581"/>
                <a:gd name="T59" fmla="*/ 182 h 518"/>
                <a:gd name="T60" fmla="*/ 194 w 581"/>
                <a:gd name="T61" fmla="*/ 196 h 518"/>
                <a:gd name="T62" fmla="*/ 236 w 581"/>
                <a:gd name="T63" fmla="*/ 214 h 518"/>
                <a:gd name="T64" fmla="*/ 276 w 581"/>
                <a:gd name="T65" fmla="*/ 236 h 518"/>
                <a:gd name="T66" fmla="*/ 299 w 581"/>
                <a:gd name="T67" fmla="*/ 250 h 518"/>
                <a:gd name="T68" fmla="*/ 319 w 581"/>
                <a:gd name="T69" fmla="*/ 264 h 518"/>
                <a:gd name="T70" fmla="*/ 339 w 581"/>
                <a:gd name="T71" fmla="*/ 282 h 518"/>
                <a:gd name="T72" fmla="*/ 359 w 581"/>
                <a:gd name="T73" fmla="*/ 300 h 518"/>
                <a:gd name="T74" fmla="*/ 379 w 581"/>
                <a:gd name="T75" fmla="*/ 320 h 518"/>
                <a:gd name="T76" fmla="*/ 399 w 581"/>
                <a:gd name="T77" fmla="*/ 342 h 518"/>
                <a:gd name="T78" fmla="*/ 417 w 581"/>
                <a:gd name="T79" fmla="*/ 366 h 518"/>
                <a:gd name="T80" fmla="*/ 435 w 581"/>
                <a:gd name="T81" fmla="*/ 392 h 518"/>
                <a:gd name="T82" fmla="*/ 453 w 581"/>
                <a:gd name="T83" fmla="*/ 420 h 518"/>
                <a:gd name="T84" fmla="*/ 469 w 581"/>
                <a:gd name="T85" fmla="*/ 450 h 518"/>
                <a:gd name="T86" fmla="*/ 483 w 581"/>
                <a:gd name="T87" fmla="*/ 482 h 518"/>
                <a:gd name="T88" fmla="*/ 497 w 581"/>
                <a:gd name="T89" fmla="*/ 518 h 518"/>
                <a:gd name="T90" fmla="*/ 497 w 581"/>
                <a:gd name="T9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1" h="518">
                  <a:moveTo>
                    <a:pt x="497" y="518"/>
                  </a:moveTo>
                  <a:lnTo>
                    <a:pt x="581" y="324"/>
                  </a:lnTo>
                  <a:lnTo>
                    <a:pt x="581" y="324"/>
                  </a:lnTo>
                  <a:lnTo>
                    <a:pt x="573" y="310"/>
                  </a:lnTo>
                  <a:lnTo>
                    <a:pt x="551" y="278"/>
                  </a:lnTo>
                  <a:lnTo>
                    <a:pt x="535" y="254"/>
                  </a:lnTo>
                  <a:lnTo>
                    <a:pt x="513" y="230"/>
                  </a:lnTo>
                  <a:lnTo>
                    <a:pt x="487" y="202"/>
                  </a:lnTo>
                  <a:lnTo>
                    <a:pt x="455" y="174"/>
                  </a:lnTo>
                  <a:lnTo>
                    <a:pt x="419" y="146"/>
                  </a:lnTo>
                  <a:lnTo>
                    <a:pt x="377" y="116"/>
                  </a:lnTo>
                  <a:lnTo>
                    <a:pt x="329" y="90"/>
                  </a:lnTo>
                  <a:lnTo>
                    <a:pt x="303" y="76"/>
                  </a:lnTo>
                  <a:lnTo>
                    <a:pt x="276" y="64"/>
                  </a:lnTo>
                  <a:lnTo>
                    <a:pt x="246" y="54"/>
                  </a:lnTo>
                  <a:lnTo>
                    <a:pt x="216" y="42"/>
                  </a:lnTo>
                  <a:lnTo>
                    <a:pt x="184" y="32"/>
                  </a:lnTo>
                  <a:lnTo>
                    <a:pt x="152" y="24"/>
                  </a:lnTo>
                  <a:lnTo>
                    <a:pt x="116" y="16"/>
                  </a:lnTo>
                  <a:lnTo>
                    <a:pt x="80" y="10"/>
                  </a:lnTo>
                  <a:lnTo>
                    <a:pt x="40" y="4"/>
                  </a:lnTo>
                  <a:lnTo>
                    <a:pt x="0" y="0"/>
                  </a:lnTo>
                  <a:lnTo>
                    <a:pt x="0" y="164"/>
                  </a:lnTo>
                  <a:lnTo>
                    <a:pt x="0" y="164"/>
                  </a:lnTo>
                  <a:lnTo>
                    <a:pt x="16" y="162"/>
                  </a:lnTo>
                  <a:lnTo>
                    <a:pt x="34" y="162"/>
                  </a:lnTo>
                  <a:lnTo>
                    <a:pt x="58" y="164"/>
                  </a:lnTo>
                  <a:lnTo>
                    <a:pt x="86" y="168"/>
                  </a:lnTo>
                  <a:lnTo>
                    <a:pt x="120" y="174"/>
                  </a:lnTo>
                  <a:lnTo>
                    <a:pt x="156" y="182"/>
                  </a:lnTo>
                  <a:lnTo>
                    <a:pt x="194" y="196"/>
                  </a:lnTo>
                  <a:lnTo>
                    <a:pt x="236" y="214"/>
                  </a:lnTo>
                  <a:lnTo>
                    <a:pt x="276" y="236"/>
                  </a:lnTo>
                  <a:lnTo>
                    <a:pt x="299" y="250"/>
                  </a:lnTo>
                  <a:lnTo>
                    <a:pt x="319" y="264"/>
                  </a:lnTo>
                  <a:lnTo>
                    <a:pt x="339" y="282"/>
                  </a:lnTo>
                  <a:lnTo>
                    <a:pt x="359" y="300"/>
                  </a:lnTo>
                  <a:lnTo>
                    <a:pt x="379" y="320"/>
                  </a:lnTo>
                  <a:lnTo>
                    <a:pt x="399" y="342"/>
                  </a:lnTo>
                  <a:lnTo>
                    <a:pt x="417" y="366"/>
                  </a:lnTo>
                  <a:lnTo>
                    <a:pt x="435" y="392"/>
                  </a:lnTo>
                  <a:lnTo>
                    <a:pt x="453" y="420"/>
                  </a:lnTo>
                  <a:lnTo>
                    <a:pt x="469" y="450"/>
                  </a:lnTo>
                  <a:lnTo>
                    <a:pt x="483" y="482"/>
                  </a:lnTo>
                  <a:lnTo>
                    <a:pt x="497" y="518"/>
                  </a:lnTo>
                  <a:lnTo>
                    <a:pt x="497" y="518"/>
                  </a:lnTo>
                  <a:close/>
                </a:path>
              </a:pathLst>
            </a:custGeom>
            <a:solidFill>
              <a:srgbClr val="009A44"/>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Oval 162">
              <a:extLst>
                <a:ext uri="{FF2B5EF4-FFF2-40B4-BE49-F238E27FC236}">
                  <a16:creationId xmlns:a16="http://schemas.microsoft.com/office/drawing/2014/main" id="{4F7ABEBA-6692-0F4D-808F-C37374399396}"/>
                </a:ext>
              </a:extLst>
            </p:cNvPr>
            <p:cNvSpPr/>
            <p:nvPr/>
          </p:nvSpPr>
          <p:spPr bwMode="gray">
            <a:xfrm>
              <a:off x="5007110" y="1883322"/>
              <a:ext cx="616689" cy="616689"/>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4" name="Arc 163">
              <a:extLst>
                <a:ext uri="{FF2B5EF4-FFF2-40B4-BE49-F238E27FC236}">
                  <a16:creationId xmlns:a16="http://schemas.microsoft.com/office/drawing/2014/main" id="{98503FE6-F5A6-3846-97DD-18E3FD06423D}"/>
                </a:ext>
              </a:extLst>
            </p:cNvPr>
            <p:cNvSpPr/>
            <p:nvPr/>
          </p:nvSpPr>
          <p:spPr>
            <a:xfrm rot="15300000">
              <a:off x="4858254" y="1734466"/>
              <a:ext cx="914400" cy="914400"/>
            </a:xfrm>
            <a:prstGeom prst="arc">
              <a:avLst>
                <a:gd name="adj1" fmla="val 14322671"/>
                <a:gd name="adj2" fmla="val 2178714"/>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5" name="Oval 164">
              <a:extLst>
                <a:ext uri="{FF2B5EF4-FFF2-40B4-BE49-F238E27FC236}">
                  <a16:creationId xmlns:a16="http://schemas.microsoft.com/office/drawing/2014/main" id="{1BDA5605-6F53-F04B-8B54-1716EDC27A52}"/>
                </a:ext>
              </a:extLst>
            </p:cNvPr>
            <p:cNvSpPr/>
            <p:nvPr/>
          </p:nvSpPr>
          <p:spPr bwMode="gray">
            <a:xfrm rot="5400000">
              <a:off x="6568204" y="1933956"/>
              <a:ext cx="616689" cy="616689"/>
            </a:xfrm>
            <a:prstGeom prst="ellipse">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6" name="Arc 165">
              <a:extLst>
                <a:ext uri="{FF2B5EF4-FFF2-40B4-BE49-F238E27FC236}">
                  <a16:creationId xmlns:a16="http://schemas.microsoft.com/office/drawing/2014/main" id="{4E515815-69BD-2445-9E51-98FB8B5EECB4}"/>
                </a:ext>
              </a:extLst>
            </p:cNvPr>
            <p:cNvSpPr/>
            <p:nvPr/>
          </p:nvSpPr>
          <p:spPr>
            <a:xfrm rot="20700000">
              <a:off x="6419349" y="1785100"/>
              <a:ext cx="914400" cy="914400"/>
            </a:xfrm>
            <a:prstGeom prst="arc">
              <a:avLst>
                <a:gd name="adj1" fmla="val 14322671"/>
                <a:gd name="adj2" fmla="val 2178714"/>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7" name="Oval 166">
              <a:extLst>
                <a:ext uri="{FF2B5EF4-FFF2-40B4-BE49-F238E27FC236}">
                  <a16:creationId xmlns:a16="http://schemas.microsoft.com/office/drawing/2014/main" id="{BDCFAED5-D9AF-D44C-8F3A-60A9FF6DA430}"/>
                </a:ext>
              </a:extLst>
            </p:cNvPr>
            <p:cNvSpPr/>
            <p:nvPr/>
          </p:nvSpPr>
          <p:spPr bwMode="gray">
            <a:xfrm rot="16200000">
              <a:off x="5007110" y="3392081"/>
              <a:ext cx="616689" cy="616689"/>
            </a:xfrm>
            <a:prstGeom prst="ellipse">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8" name="Arc 167">
              <a:extLst>
                <a:ext uri="{FF2B5EF4-FFF2-40B4-BE49-F238E27FC236}">
                  <a16:creationId xmlns:a16="http://schemas.microsoft.com/office/drawing/2014/main" id="{45AA2C38-5857-A44B-AA1B-D303854C88EC}"/>
                </a:ext>
              </a:extLst>
            </p:cNvPr>
            <p:cNvSpPr/>
            <p:nvPr/>
          </p:nvSpPr>
          <p:spPr>
            <a:xfrm rot="9900000">
              <a:off x="4858254" y="3243226"/>
              <a:ext cx="914400" cy="914400"/>
            </a:xfrm>
            <a:prstGeom prst="arc">
              <a:avLst>
                <a:gd name="adj1" fmla="val 14322671"/>
                <a:gd name="adj2" fmla="val 2178714"/>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9" name="Oval 168">
              <a:extLst>
                <a:ext uri="{FF2B5EF4-FFF2-40B4-BE49-F238E27FC236}">
                  <a16:creationId xmlns:a16="http://schemas.microsoft.com/office/drawing/2014/main" id="{C403A345-CF16-6E41-8CBE-4A713E7C7108}"/>
                </a:ext>
              </a:extLst>
            </p:cNvPr>
            <p:cNvSpPr/>
            <p:nvPr/>
          </p:nvSpPr>
          <p:spPr bwMode="gray">
            <a:xfrm rot="10800000">
              <a:off x="6568204" y="3442715"/>
              <a:ext cx="616689" cy="616689"/>
            </a:xfrm>
            <a:prstGeom prst="ellipse">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70" name="Arc 169">
              <a:extLst>
                <a:ext uri="{FF2B5EF4-FFF2-40B4-BE49-F238E27FC236}">
                  <a16:creationId xmlns:a16="http://schemas.microsoft.com/office/drawing/2014/main" id="{2B4CC93B-49FA-8A4C-9C44-5455D98E4268}"/>
                </a:ext>
              </a:extLst>
            </p:cNvPr>
            <p:cNvSpPr/>
            <p:nvPr/>
          </p:nvSpPr>
          <p:spPr>
            <a:xfrm rot="4500000">
              <a:off x="6419349" y="3293860"/>
              <a:ext cx="914400" cy="914400"/>
            </a:xfrm>
            <a:prstGeom prst="arc">
              <a:avLst>
                <a:gd name="adj1" fmla="val 14322671"/>
                <a:gd name="adj2" fmla="val 2178714"/>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71" name="Group 614">
              <a:extLst>
                <a:ext uri="{FF2B5EF4-FFF2-40B4-BE49-F238E27FC236}">
                  <a16:creationId xmlns:a16="http://schemas.microsoft.com/office/drawing/2014/main" id="{CB3A9DD7-27EF-8E41-9C97-BC1EF38FF8DD}"/>
                </a:ext>
              </a:extLst>
            </p:cNvPr>
            <p:cNvGrpSpPr>
              <a:grpSpLocks noChangeAspect="1"/>
            </p:cNvGrpSpPr>
            <p:nvPr/>
          </p:nvGrpSpPr>
          <p:grpSpPr bwMode="auto">
            <a:xfrm>
              <a:off x="5086854" y="1963066"/>
              <a:ext cx="457200" cy="457200"/>
              <a:chOff x="3780" y="2658"/>
              <a:chExt cx="340" cy="340"/>
            </a:xfrm>
            <a:solidFill>
              <a:schemeClr val="bg1"/>
            </a:solidFill>
          </p:grpSpPr>
          <p:sp>
            <p:nvSpPr>
              <p:cNvPr id="182" name="Freeform 615">
                <a:extLst>
                  <a:ext uri="{FF2B5EF4-FFF2-40B4-BE49-F238E27FC236}">
                    <a16:creationId xmlns:a16="http://schemas.microsoft.com/office/drawing/2014/main" id="{68809C10-BF7B-7745-B512-F4C788E7C474}"/>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616">
                <a:extLst>
                  <a:ext uri="{FF2B5EF4-FFF2-40B4-BE49-F238E27FC236}">
                    <a16:creationId xmlns:a16="http://schemas.microsoft.com/office/drawing/2014/main" id="{65ADAEA0-D594-864D-BC09-7457CDBC9ED9}"/>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4" name="Freeform 617">
                <a:extLst>
                  <a:ext uri="{FF2B5EF4-FFF2-40B4-BE49-F238E27FC236}">
                    <a16:creationId xmlns:a16="http://schemas.microsoft.com/office/drawing/2014/main" id="{1A15D66D-97CD-B549-988A-19B76E80CE99}"/>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5" name="Freeform 618">
                <a:extLst>
                  <a:ext uri="{FF2B5EF4-FFF2-40B4-BE49-F238E27FC236}">
                    <a16:creationId xmlns:a16="http://schemas.microsoft.com/office/drawing/2014/main" id="{8A533AFF-F2C3-B545-9906-C979E4F251C4}"/>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6" name="Freeform 619">
                <a:extLst>
                  <a:ext uri="{FF2B5EF4-FFF2-40B4-BE49-F238E27FC236}">
                    <a16:creationId xmlns:a16="http://schemas.microsoft.com/office/drawing/2014/main" id="{1934D792-3077-4346-BE9F-EA3B13111508}"/>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620">
                <a:extLst>
                  <a:ext uri="{FF2B5EF4-FFF2-40B4-BE49-F238E27FC236}">
                    <a16:creationId xmlns:a16="http://schemas.microsoft.com/office/drawing/2014/main" id="{32F6705B-C955-AE49-AF5C-F2D092DC9CEC}"/>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621">
                <a:extLst>
                  <a:ext uri="{FF2B5EF4-FFF2-40B4-BE49-F238E27FC236}">
                    <a16:creationId xmlns:a16="http://schemas.microsoft.com/office/drawing/2014/main" id="{467481EF-63BC-914F-BE8A-6C643AB8687F}"/>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622">
                <a:extLst>
                  <a:ext uri="{FF2B5EF4-FFF2-40B4-BE49-F238E27FC236}">
                    <a16:creationId xmlns:a16="http://schemas.microsoft.com/office/drawing/2014/main" id="{54C3DA74-CA7F-6D48-B678-F063154FD395}"/>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623">
                <a:extLst>
                  <a:ext uri="{FF2B5EF4-FFF2-40B4-BE49-F238E27FC236}">
                    <a16:creationId xmlns:a16="http://schemas.microsoft.com/office/drawing/2014/main" id="{D26BDCD1-1308-E044-8BDB-85771D54B64D}"/>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2" name="Group 20">
              <a:extLst>
                <a:ext uri="{FF2B5EF4-FFF2-40B4-BE49-F238E27FC236}">
                  <a16:creationId xmlns:a16="http://schemas.microsoft.com/office/drawing/2014/main" id="{E059EF49-3B97-B04C-BA96-86023497D08F}"/>
                </a:ext>
              </a:extLst>
            </p:cNvPr>
            <p:cNvGrpSpPr>
              <a:grpSpLocks noChangeAspect="1"/>
            </p:cNvGrpSpPr>
            <p:nvPr/>
          </p:nvGrpSpPr>
          <p:grpSpPr bwMode="auto">
            <a:xfrm>
              <a:off x="6648926" y="2013700"/>
              <a:ext cx="455245" cy="457200"/>
              <a:chOff x="3885" y="823"/>
              <a:chExt cx="233" cy="234"/>
            </a:xfrm>
            <a:solidFill>
              <a:schemeClr val="bg1"/>
            </a:solidFill>
          </p:grpSpPr>
          <p:sp>
            <p:nvSpPr>
              <p:cNvPr id="180" name="Freeform 21">
                <a:extLst>
                  <a:ext uri="{FF2B5EF4-FFF2-40B4-BE49-F238E27FC236}">
                    <a16:creationId xmlns:a16="http://schemas.microsoft.com/office/drawing/2014/main" id="{3B556B0D-793C-4146-9DF9-D4DF5B19675E}"/>
                  </a:ext>
                </a:extLst>
              </p:cNvPr>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22">
                <a:extLst>
                  <a:ext uri="{FF2B5EF4-FFF2-40B4-BE49-F238E27FC236}">
                    <a16:creationId xmlns:a16="http://schemas.microsoft.com/office/drawing/2014/main" id="{4E7BA7E5-CBAC-B44C-9818-4B780A805D43}"/>
                  </a:ext>
                </a:extLst>
              </p:cNvPr>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3" name="Group 118">
              <a:extLst>
                <a:ext uri="{FF2B5EF4-FFF2-40B4-BE49-F238E27FC236}">
                  <a16:creationId xmlns:a16="http://schemas.microsoft.com/office/drawing/2014/main" id="{8A9E2EA5-AE6E-E846-8584-4E7C5E02A2F4}"/>
                </a:ext>
              </a:extLst>
            </p:cNvPr>
            <p:cNvGrpSpPr>
              <a:grpSpLocks noChangeAspect="1"/>
            </p:cNvGrpSpPr>
            <p:nvPr/>
          </p:nvGrpSpPr>
          <p:grpSpPr bwMode="auto">
            <a:xfrm>
              <a:off x="6647948" y="3522460"/>
              <a:ext cx="457200" cy="457200"/>
              <a:chOff x="1926" y="383"/>
              <a:chExt cx="341" cy="341"/>
            </a:xfrm>
            <a:solidFill>
              <a:schemeClr val="bg1"/>
            </a:solidFill>
          </p:grpSpPr>
          <p:sp>
            <p:nvSpPr>
              <p:cNvPr id="178" name="Freeform 119">
                <a:extLst>
                  <a:ext uri="{FF2B5EF4-FFF2-40B4-BE49-F238E27FC236}">
                    <a16:creationId xmlns:a16="http://schemas.microsoft.com/office/drawing/2014/main" id="{4370BC13-CA2C-A34D-BA0A-36DBC2BA58EC}"/>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120">
                <a:extLst>
                  <a:ext uri="{FF2B5EF4-FFF2-40B4-BE49-F238E27FC236}">
                    <a16:creationId xmlns:a16="http://schemas.microsoft.com/office/drawing/2014/main" id="{1D61A940-3352-A84D-B44B-BDCC37F96D4F}"/>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4" name="Group 749">
              <a:extLst>
                <a:ext uri="{FF2B5EF4-FFF2-40B4-BE49-F238E27FC236}">
                  <a16:creationId xmlns:a16="http://schemas.microsoft.com/office/drawing/2014/main" id="{ADE76E9C-34CE-9448-A806-6527783EFB27}"/>
                </a:ext>
              </a:extLst>
            </p:cNvPr>
            <p:cNvGrpSpPr>
              <a:grpSpLocks noChangeAspect="1"/>
            </p:cNvGrpSpPr>
            <p:nvPr/>
          </p:nvGrpSpPr>
          <p:grpSpPr bwMode="auto">
            <a:xfrm>
              <a:off x="5086854" y="3471825"/>
              <a:ext cx="457200" cy="457200"/>
              <a:chOff x="3520" y="2686"/>
              <a:chExt cx="340" cy="340"/>
            </a:xfrm>
            <a:solidFill>
              <a:schemeClr val="bg1"/>
            </a:solidFill>
          </p:grpSpPr>
          <p:sp>
            <p:nvSpPr>
              <p:cNvPr id="175" name="Freeform 750">
                <a:extLst>
                  <a:ext uri="{FF2B5EF4-FFF2-40B4-BE49-F238E27FC236}">
                    <a16:creationId xmlns:a16="http://schemas.microsoft.com/office/drawing/2014/main" id="{A29AD639-B3EA-6847-8652-7244B5FD37C7}"/>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6" name="Freeform 751">
                <a:extLst>
                  <a:ext uri="{FF2B5EF4-FFF2-40B4-BE49-F238E27FC236}">
                    <a16:creationId xmlns:a16="http://schemas.microsoft.com/office/drawing/2014/main" id="{7F0BDEB8-FA62-6049-981B-1EF93F5A1FD7}"/>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7" name="Freeform 752">
                <a:extLst>
                  <a:ext uri="{FF2B5EF4-FFF2-40B4-BE49-F238E27FC236}">
                    <a16:creationId xmlns:a16="http://schemas.microsoft.com/office/drawing/2014/main" id="{44A3BAE9-6D4D-6B43-B0E2-7BB9872D51D0}"/>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 name="Group 1"/>
          <p:cNvGrpSpPr/>
          <p:nvPr/>
        </p:nvGrpSpPr>
        <p:grpSpPr>
          <a:xfrm>
            <a:off x="8103724" y="4125648"/>
            <a:ext cx="3535916" cy="1029134"/>
            <a:chOff x="7467238" y="4541135"/>
            <a:chExt cx="4172402" cy="1029134"/>
          </a:xfrm>
        </p:grpSpPr>
        <p:sp>
          <p:nvSpPr>
            <p:cNvPr id="40" name="TextBox 39">
              <a:extLst>
                <a:ext uri="{FF2B5EF4-FFF2-40B4-BE49-F238E27FC236}">
                  <a16:creationId xmlns:a16="http://schemas.microsoft.com/office/drawing/2014/main" id="{8278A766-E080-2649-A301-83FBFCC94471}"/>
                </a:ext>
              </a:extLst>
            </p:cNvPr>
            <p:cNvSpPr txBox="1"/>
            <p:nvPr/>
          </p:nvSpPr>
          <p:spPr>
            <a:xfrm>
              <a:off x="7467238" y="4541135"/>
              <a:ext cx="4172400" cy="200055"/>
            </a:xfrm>
            <a:prstGeom prst="rect">
              <a:avLst/>
            </a:prstGeom>
            <a:noFill/>
          </p:spPr>
          <p:txBody>
            <a:bodyPr wrap="square" lIns="0" tIns="0" rIns="0" bIns="0" rtlCol="0">
              <a:spAutoFit/>
            </a:bodyPr>
            <a:lstStyle/>
            <a:p>
              <a:pPr defTabSz="913686">
                <a:buSzPct val="100000"/>
              </a:pPr>
              <a:r>
                <a:rPr lang="en-US" sz="1300" b="1" dirty="0">
                  <a:solidFill>
                    <a:schemeClr val="accent3"/>
                  </a:solidFill>
                </a:rPr>
                <a:t>Lorem ipsum</a:t>
              </a:r>
            </a:p>
          </p:txBody>
        </p:sp>
        <p:sp>
          <p:nvSpPr>
            <p:cNvPr id="41" name="Rectangle 40">
              <a:extLst>
                <a:ext uri="{FF2B5EF4-FFF2-40B4-BE49-F238E27FC236}">
                  <a16:creationId xmlns:a16="http://schemas.microsoft.com/office/drawing/2014/main" id="{C7388C4A-0C9F-EB43-9AB0-5E580525995A}"/>
                </a:ext>
              </a:extLst>
            </p:cNvPr>
            <p:cNvSpPr/>
            <p:nvPr/>
          </p:nvSpPr>
          <p:spPr>
            <a:xfrm>
              <a:off x="7467240" y="4770050"/>
              <a:ext cx="4172400" cy="800219"/>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grpSp>
        <p:nvGrpSpPr>
          <p:cNvPr id="43" name="Group 42"/>
          <p:cNvGrpSpPr/>
          <p:nvPr/>
        </p:nvGrpSpPr>
        <p:grpSpPr>
          <a:xfrm>
            <a:off x="8103724" y="1940277"/>
            <a:ext cx="3535916" cy="1029134"/>
            <a:chOff x="7467238" y="4541135"/>
            <a:chExt cx="4172402" cy="1029134"/>
          </a:xfrm>
        </p:grpSpPr>
        <p:sp>
          <p:nvSpPr>
            <p:cNvPr id="44" name="TextBox 43">
              <a:extLst>
                <a:ext uri="{FF2B5EF4-FFF2-40B4-BE49-F238E27FC236}">
                  <a16:creationId xmlns:a16="http://schemas.microsoft.com/office/drawing/2014/main" id="{8278A766-E080-2649-A301-83FBFCC94471}"/>
                </a:ext>
              </a:extLst>
            </p:cNvPr>
            <p:cNvSpPr txBox="1"/>
            <p:nvPr/>
          </p:nvSpPr>
          <p:spPr>
            <a:xfrm>
              <a:off x="7467238" y="4541135"/>
              <a:ext cx="4172400" cy="200055"/>
            </a:xfrm>
            <a:prstGeom prst="rect">
              <a:avLst/>
            </a:prstGeom>
            <a:noFill/>
          </p:spPr>
          <p:txBody>
            <a:bodyPr wrap="square" lIns="0" tIns="0" rIns="0" bIns="0" rtlCol="0">
              <a:spAutoFit/>
            </a:bodyPr>
            <a:lstStyle/>
            <a:p>
              <a:pPr defTabSz="913686">
                <a:buSzPct val="100000"/>
              </a:pPr>
              <a:r>
                <a:rPr lang="en-US" sz="1300" b="1" dirty="0">
                  <a:solidFill>
                    <a:schemeClr val="accent3"/>
                  </a:solidFill>
                </a:rPr>
                <a:t>Lorem ipsum</a:t>
              </a:r>
            </a:p>
          </p:txBody>
        </p:sp>
        <p:sp>
          <p:nvSpPr>
            <p:cNvPr id="45" name="Rectangle 44">
              <a:extLst>
                <a:ext uri="{FF2B5EF4-FFF2-40B4-BE49-F238E27FC236}">
                  <a16:creationId xmlns:a16="http://schemas.microsoft.com/office/drawing/2014/main" id="{C7388C4A-0C9F-EB43-9AB0-5E580525995A}"/>
                </a:ext>
              </a:extLst>
            </p:cNvPr>
            <p:cNvSpPr/>
            <p:nvPr/>
          </p:nvSpPr>
          <p:spPr>
            <a:xfrm>
              <a:off x="7467240" y="4770050"/>
              <a:ext cx="4172400" cy="800219"/>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grpSp>
        <p:nvGrpSpPr>
          <p:cNvPr id="46" name="Group 45"/>
          <p:cNvGrpSpPr/>
          <p:nvPr/>
        </p:nvGrpSpPr>
        <p:grpSpPr>
          <a:xfrm>
            <a:off x="519513" y="4125648"/>
            <a:ext cx="3568761" cy="1029134"/>
            <a:chOff x="7467238" y="4541135"/>
            <a:chExt cx="4172402" cy="1029134"/>
          </a:xfrm>
        </p:grpSpPr>
        <p:sp>
          <p:nvSpPr>
            <p:cNvPr id="47" name="TextBox 46">
              <a:extLst>
                <a:ext uri="{FF2B5EF4-FFF2-40B4-BE49-F238E27FC236}">
                  <a16:creationId xmlns:a16="http://schemas.microsoft.com/office/drawing/2014/main" id="{8278A766-E080-2649-A301-83FBFCC94471}"/>
                </a:ext>
              </a:extLst>
            </p:cNvPr>
            <p:cNvSpPr txBox="1"/>
            <p:nvPr/>
          </p:nvSpPr>
          <p:spPr>
            <a:xfrm>
              <a:off x="7467238" y="4541135"/>
              <a:ext cx="4172400" cy="200055"/>
            </a:xfrm>
            <a:prstGeom prst="rect">
              <a:avLst/>
            </a:prstGeom>
            <a:noFill/>
          </p:spPr>
          <p:txBody>
            <a:bodyPr wrap="square" lIns="0" tIns="0" rIns="0" bIns="0" rtlCol="0">
              <a:spAutoFit/>
            </a:bodyPr>
            <a:lstStyle/>
            <a:p>
              <a:pPr defTabSz="913686">
                <a:buSzPct val="100000"/>
              </a:pPr>
              <a:r>
                <a:rPr lang="en-US" sz="1300" b="1" dirty="0">
                  <a:solidFill>
                    <a:schemeClr val="accent3"/>
                  </a:solidFill>
                </a:rPr>
                <a:t>Lorem ipsum</a:t>
              </a:r>
            </a:p>
          </p:txBody>
        </p:sp>
        <p:sp>
          <p:nvSpPr>
            <p:cNvPr id="48" name="Rectangle 47">
              <a:extLst>
                <a:ext uri="{FF2B5EF4-FFF2-40B4-BE49-F238E27FC236}">
                  <a16:creationId xmlns:a16="http://schemas.microsoft.com/office/drawing/2014/main" id="{C7388C4A-0C9F-EB43-9AB0-5E580525995A}"/>
                </a:ext>
              </a:extLst>
            </p:cNvPr>
            <p:cNvSpPr/>
            <p:nvPr/>
          </p:nvSpPr>
          <p:spPr>
            <a:xfrm>
              <a:off x="7467240" y="4770050"/>
              <a:ext cx="4172400" cy="800219"/>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grpSp>
        <p:nvGrpSpPr>
          <p:cNvPr id="49" name="Group 48"/>
          <p:cNvGrpSpPr/>
          <p:nvPr/>
        </p:nvGrpSpPr>
        <p:grpSpPr>
          <a:xfrm>
            <a:off x="519513" y="1940277"/>
            <a:ext cx="3568761" cy="1029134"/>
            <a:chOff x="7467238" y="4541135"/>
            <a:chExt cx="4172402" cy="1029134"/>
          </a:xfrm>
        </p:grpSpPr>
        <p:sp>
          <p:nvSpPr>
            <p:cNvPr id="50" name="TextBox 49">
              <a:extLst>
                <a:ext uri="{FF2B5EF4-FFF2-40B4-BE49-F238E27FC236}">
                  <a16:creationId xmlns:a16="http://schemas.microsoft.com/office/drawing/2014/main" id="{8278A766-E080-2649-A301-83FBFCC94471}"/>
                </a:ext>
              </a:extLst>
            </p:cNvPr>
            <p:cNvSpPr txBox="1"/>
            <p:nvPr/>
          </p:nvSpPr>
          <p:spPr>
            <a:xfrm>
              <a:off x="7467238" y="4541135"/>
              <a:ext cx="4172400" cy="200055"/>
            </a:xfrm>
            <a:prstGeom prst="rect">
              <a:avLst/>
            </a:prstGeom>
            <a:noFill/>
          </p:spPr>
          <p:txBody>
            <a:bodyPr wrap="square" lIns="0" tIns="0" rIns="0" bIns="0" rtlCol="0">
              <a:spAutoFit/>
            </a:bodyPr>
            <a:lstStyle/>
            <a:p>
              <a:pPr defTabSz="913686">
                <a:buSzPct val="100000"/>
              </a:pPr>
              <a:r>
                <a:rPr lang="en-US" sz="1300" b="1" dirty="0">
                  <a:solidFill>
                    <a:schemeClr val="accent3"/>
                  </a:solidFill>
                </a:rPr>
                <a:t>Lorem ipsum</a:t>
              </a:r>
            </a:p>
          </p:txBody>
        </p:sp>
        <p:sp>
          <p:nvSpPr>
            <p:cNvPr id="51" name="Rectangle 50">
              <a:extLst>
                <a:ext uri="{FF2B5EF4-FFF2-40B4-BE49-F238E27FC236}">
                  <a16:creationId xmlns:a16="http://schemas.microsoft.com/office/drawing/2014/main" id="{C7388C4A-0C9F-EB43-9AB0-5E580525995A}"/>
                </a:ext>
              </a:extLst>
            </p:cNvPr>
            <p:cNvSpPr/>
            <p:nvPr/>
          </p:nvSpPr>
          <p:spPr>
            <a:xfrm>
              <a:off x="7467240" y="4770050"/>
              <a:ext cx="4172400" cy="800219"/>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spTree>
    <p:custDataLst>
      <p:tags r:id="rId1"/>
    </p:custDataLst>
    <p:extLst>
      <p:ext uri="{BB962C8B-B14F-4D97-AF65-F5344CB8AC3E}">
        <p14:creationId xmlns:p14="http://schemas.microsoft.com/office/powerpoint/2010/main" val="125759928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Freeform 16"/>
          <p:cNvSpPr>
            <a:spLocks/>
          </p:cNvSpPr>
          <p:nvPr/>
        </p:nvSpPr>
        <p:spPr bwMode="auto">
          <a:xfrm>
            <a:off x="4558615" y="2065703"/>
            <a:ext cx="3059980" cy="3061308"/>
          </a:xfrm>
          <a:prstGeom prst="arc">
            <a:avLst>
              <a:gd name="adj1" fmla="val 8757105"/>
              <a:gd name="adj2" fmla="val 6748160"/>
            </a:avLst>
          </a:prstGeom>
          <a:noFill/>
          <a:ln w="19050" cap="rnd">
            <a:solidFill>
              <a:srgbClr val="86BC2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04" name="Group 48"/>
          <p:cNvGrpSpPr>
            <a:grpSpLocks noChangeAspect="1"/>
          </p:cNvGrpSpPr>
          <p:nvPr/>
        </p:nvGrpSpPr>
        <p:grpSpPr bwMode="auto">
          <a:xfrm>
            <a:off x="3999108" y="1503581"/>
            <a:ext cx="812018" cy="809638"/>
            <a:chOff x="3100" y="2384"/>
            <a:chExt cx="341" cy="340"/>
          </a:xfrm>
          <a:solidFill>
            <a:schemeClr val="accent1"/>
          </a:solidFill>
        </p:grpSpPr>
        <p:sp>
          <p:nvSpPr>
            <p:cNvPr id="105" name="Freeform 342"/>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06" name="Freeform 343"/>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107" name="Group 417"/>
          <p:cNvGrpSpPr>
            <a:grpSpLocks noChangeAspect="1"/>
          </p:cNvGrpSpPr>
          <p:nvPr/>
        </p:nvGrpSpPr>
        <p:grpSpPr bwMode="auto">
          <a:xfrm>
            <a:off x="7330150" y="1503142"/>
            <a:ext cx="808870" cy="811246"/>
            <a:chOff x="2725" y="1609"/>
            <a:chExt cx="340" cy="341"/>
          </a:xfrm>
          <a:solidFill>
            <a:schemeClr val="accent2"/>
          </a:solidFill>
        </p:grpSpPr>
        <p:sp>
          <p:nvSpPr>
            <p:cNvPr id="108" name="Freeform 418"/>
            <p:cNvSpPr>
              <a:spLocks noEditPoints="1"/>
            </p:cNvSpPr>
            <p:nvPr/>
          </p:nvSpPr>
          <p:spPr bwMode="auto">
            <a:xfrm>
              <a:off x="2725" y="160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09" name="Freeform 419"/>
            <p:cNvSpPr>
              <a:spLocks noEditPoints="1"/>
            </p:cNvSpPr>
            <p:nvPr/>
          </p:nvSpPr>
          <p:spPr bwMode="auto">
            <a:xfrm>
              <a:off x="2817" y="1673"/>
              <a:ext cx="156" cy="213"/>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110" name="Group 577"/>
          <p:cNvGrpSpPr>
            <a:grpSpLocks noChangeAspect="1"/>
          </p:cNvGrpSpPr>
          <p:nvPr/>
        </p:nvGrpSpPr>
        <p:grpSpPr bwMode="auto">
          <a:xfrm>
            <a:off x="3999154" y="4805266"/>
            <a:ext cx="811928" cy="811924"/>
            <a:chOff x="7356" y="2314"/>
            <a:chExt cx="340" cy="340"/>
          </a:xfrm>
          <a:solidFill>
            <a:srgbClr val="009A44"/>
          </a:solidFill>
        </p:grpSpPr>
        <p:sp>
          <p:nvSpPr>
            <p:cNvPr id="111" name="Freeform 578"/>
            <p:cNvSpPr>
              <a:spLocks/>
            </p:cNvSpPr>
            <p:nvPr/>
          </p:nvSpPr>
          <p:spPr bwMode="auto">
            <a:xfrm>
              <a:off x="7441" y="2399"/>
              <a:ext cx="177" cy="170"/>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12" name="Freeform 579"/>
            <p:cNvSpPr>
              <a:spLocks noEditPoints="1"/>
            </p:cNvSpPr>
            <p:nvPr/>
          </p:nvSpPr>
          <p:spPr bwMode="auto">
            <a:xfrm>
              <a:off x="7356"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sp>
        <p:nvSpPr>
          <p:cNvPr id="113" name="文本框 112"/>
          <p:cNvSpPr txBox="1"/>
          <p:nvPr/>
        </p:nvSpPr>
        <p:spPr>
          <a:xfrm>
            <a:off x="530714" y="1714500"/>
            <a:ext cx="3282174" cy="1200329"/>
          </a:xfrm>
          <a:prstGeom prst="rect">
            <a:avLst/>
          </a:prstGeom>
          <a:noFill/>
        </p:spPr>
        <p:txBody>
          <a:bodyPr wrap="square" lIns="0" tIns="0" rIns="0" bIns="0" rtlCol="0" anchor="t">
            <a:spAutoFit/>
          </a:bodyPr>
          <a:lstStyle/>
          <a:p>
            <a:pPr>
              <a:buSzPct val="100000"/>
            </a:pPr>
            <a:r>
              <a:rPr lang="en-US" sz="1300" b="1" dirty="0">
                <a:solidFill>
                  <a:schemeClr val="accent3"/>
                </a:solidFill>
              </a:rPr>
              <a:t>Lorem ipsum</a:t>
            </a:r>
            <a:endParaRPr lang="en-US" altLang="zh-CN" sz="1300" dirty="0"/>
          </a:p>
          <a:p>
            <a:pPr marL="203200" indent="-203200">
              <a:buSzPct val="100000"/>
              <a:buFont typeface="Arial"/>
              <a:buChar char="•"/>
            </a:pPr>
            <a:r>
              <a:rPr lang="en-US" altLang="zh-CN" sz="1300" dirty="0"/>
              <a:t>This is dummy text it is not here to be read. The is just text to show where you could insert text. The is just text to show where you could insert text. Please replace with your text content here.</a:t>
            </a:r>
            <a:endParaRPr lang="en-US" sz="1300" dirty="0"/>
          </a:p>
        </p:txBody>
      </p:sp>
      <p:sp>
        <p:nvSpPr>
          <p:cNvPr id="114" name="文本框 113"/>
          <p:cNvSpPr txBox="1"/>
          <p:nvPr/>
        </p:nvSpPr>
        <p:spPr>
          <a:xfrm>
            <a:off x="530714" y="4191533"/>
            <a:ext cx="3282174" cy="1200329"/>
          </a:xfrm>
          <a:prstGeom prst="rect">
            <a:avLst/>
          </a:prstGeom>
          <a:noFill/>
        </p:spPr>
        <p:txBody>
          <a:bodyPr wrap="square" lIns="0" tIns="0" rIns="0" bIns="0" rtlCol="0" anchor="b">
            <a:spAutoFit/>
          </a:bodyPr>
          <a:lstStyle/>
          <a:p>
            <a:pPr>
              <a:buSzPct val="100000"/>
            </a:pPr>
            <a:r>
              <a:rPr lang="en-US" sz="1300" b="1" dirty="0">
                <a:solidFill>
                  <a:schemeClr val="accent3"/>
                </a:solidFill>
              </a:rPr>
              <a:t>Lorem ipsum</a:t>
            </a:r>
            <a:endParaRPr lang="en-US" altLang="zh-CN" sz="1300" dirty="0"/>
          </a:p>
          <a:p>
            <a:pPr marL="203200" indent="-203200">
              <a:buSzPct val="100000"/>
              <a:buFont typeface="Arial"/>
              <a:buChar char="•"/>
            </a:pPr>
            <a:r>
              <a:rPr lang="en-US" altLang="zh-CN" sz="1300" dirty="0"/>
              <a:t>This is dummy text it is not here to be read. The is just text to show where you could insert text. The is just text to show where you could insert text. Please replace with your text content here.</a:t>
            </a:r>
            <a:endParaRPr lang="en-US" sz="1300" dirty="0"/>
          </a:p>
        </p:txBody>
      </p:sp>
      <p:sp>
        <p:nvSpPr>
          <p:cNvPr id="115" name="文本框 114"/>
          <p:cNvSpPr txBox="1"/>
          <p:nvPr/>
        </p:nvSpPr>
        <p:spPr>
          <a:xfrm>
            <a:off x="8364322" y="1714500"/>
            <a:ext cx="3403816" cy="1200329"/>
          </a:xfrm>
          <a:prstGeom prst="rect">
            <a:avLst/>
          </a:prstGeom>
          <a:noFill/>
        </p:spPr>
        <p:txBody>
          <a:bodyPr wrap="square" lIns="0" tIns="0" rIns="0" bIns="0" rtlCol="0" anchor="t">
            <a:spAutoFit/>
          </a:bodyPr>
          <a:lstStyle/>
          <a:p>
            <a:pPr>
              <a:buSzPct val="100000"/>
            </a:pPr>
            <a:r>
              <a:rPr lang="en-US" sz="1300" b="1" dirty="0">
                <a:solidFill>
                  <a:schemeClr val="accent3"/>
                </a:solidFill>
              </a:rPr>
              <a:t>Lorem ipsum</a:t>
            </a:r>
            <a:endParaRPr lang="en-US" altLang="zh-CN" sz="1300" dirty="0"/>
          </a:p>
          <a:p>
            <a:pPr marL="203200" indent="-203200">
              <a:buSzPct val="100000"/>
              <a:buFont typeface="Arial"/>
              <a:buChar char="•"/>
            </a:pPr>
            <a:r>
              <a:rPr lang="en-US" altLang="zh-CN" sz="1300" dirty="0"/>
              <a:t>This is dummy text it is not here to be read. The is just text to show where you could insert text. The is just text to show where you could insert text. Please replace with your text content here.</a:t>
            </a:r>
            <a:endParaRPr lang="en-US" sz="1300" dirty="0"/>
          </a:p>
        </p:txBody>
      </p:sp>
      <p:sp>
        <p:nvSpPr>
          <p:cNvPr id="63" name="Freeform 16"/>
          <p:cNvSpPr>
            <a:spLocks/>
          </p:cNvSpPr>
          <p:nvPr/>
        </p:nvSpPr>
        <p:spPr bwMode="auto">
          <a:xfrm>
            <a:off x="4731835" y="2238999"/>
            <a:ext cx="2713540" cy="2714716"/>
          </a:xfrm>
          <a:prstGeom prst="arc">
            <a:avLst>
              <a:gd name="adj1" fmla="val 13598574"/>
              <a:gd name="adj2" fmla="val 10788521"/>
            </a:avLst>
          </a:prstGeom>
          <a:noFill/>
          <a:ln w="19050" cap="rnd">
            <a:solidFill>
              <a:srgbClr val="43B02A"/>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4" name="Freeform 16"/>
          <p:cNvSpPr>
            <a:spLocks/>
          </p:cNvSpPr>
          <p:nvPr/>
        </p:nvSpPr>
        <p:spPr bwMode="auto">
          <a:xfrm>
            <a:off x="4919161" y="2426407"/>
            <a:ext cx="2338890" cy="2339902"/>
          </a:xfrm>
          <a:prstGeom prst="arc">
            <a:avLst>
              <a:gd name="adj1" fmla="val 128013"/>
              <a:gd name="adj2" fmla="val 20365905"/>
            </a:avLst>
          </a:prstGeom>
          <a:noFill/>
          <a:ln w="19050" cap="rnd">
            <a:solidFill>
              <a:srgbClr val="009A44"/>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cxnSp>
        <p:nvCxnSpPr>
          <p:cNvPr id="8" name="Straight Connector 7"/>
          <p:cNvCxnSpPr/>
          <p:nvPr/>
        </p:nvCxnSpPr>
        <p:spPr>
          <a:xfrm flipH="1" flipV="1">
            <a:off x="4693868" y="2163513"/>
            <a:ext cx="337106" cy="337106"/>
          </a:xfrm>
          <a:prstGeom prst="line">
            <a:avLst/>
          </a:prstGeom>
          <a:ln w="12700">
            <a:solidFill>
              <a:srgbClr val="86BC25"/>
            </a:solidFill>
            <a:tailEnd type="ova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7000875" y="2163513"/>
            <a:ext cx="418092" cy="418092"/>
          </a:xfrm>
          <a:prstGeom prst="line">
            <a:avLst/>
          </a:prstGeom>
          <a:ln w="12700">
            <a:solidFill>
              <a:srgbClr val="43B02A"/>
            </a:solidFill>
            <a:tailEnd type="ova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4693869" y="4392846"/>
            <a:ext cx="535356" cy="535357"/>
          </a:xfrm>
          <a:prstGeom prst="line">
            <a:avLst/>
          </a:prstGeom>
          <a:ln w="12700">
            <a:solidFill>
              <a:srgbClr val="009A44"/>
            </a:solidFill>
            <a:tailEnd type="ova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rot="18900000">
            <a:off x="5615220" y="2400159"/>
            <a:ext cx="1965901" cy="3392018"/>
            <a:chOff x="5106024" y="2591673"/>
            <a:chExt cx="1965901" cy="3392018"/>
          </a:xfrm>
        </p:grpSpPr>
        <p:grpSp>
          <p:nvGrpSpPr>
            <p:cNvPr id="4" name="Group 3"/>
            <p:cNvGrpSpPr/>
            <p:nvPr/>
          </p:nvGrpSpPr>
          <p:grpSpPr>
            <a:xfrm>
              <a:off x="5911995" y="4462441"/>
              <a:ext cx="362389" cy="1521250"/>
              <a:chOff x="5911995" y="4462441"/>
              <a:chExt cx="362389" cy="1521250"/>
            </a:xfrm>
          </p:grpSpPr>
          <p:sp>
            <p:nvSpPr>
              <p:cNvPr id="61" name="Rectangle 60"/>
              <p:cNvSpPr/>
              <p:nvPr/>
            </p:nvSpPr>
            <p:spPr bwMode="gray">
              <a:xfrm>
                <a:off x="5992058" y="4570026"/>
                <a:ext cx="202266" cy="134842"/>
              </a:xfrm>
              <a:prstGeom prst="rect">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2" name="Rectangle 61"/>
              <p:cNvSpPr/>
              <p:nvPr/>
            </p:nvSpPr>
            <p:spPr bwMode="gray">
              <a:xfrm>
                <a:off x="5911995" y="4684415"/>
                <a:ext cx="362389" cy="1299276"/>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 name="Rectangle 2"/>
              <p:cNvSpPr/>
              <p:nvPr/>
            </p:nvSpPr>
            <p:spPr bwMode="gray">
              <a:xfrm>
                <a:off x="5953706" y="4462441"/>
                <a:ext cx="278970" cy="134842"/>
              </a:xfrm>
              <a:prstGeom prst="rect">
                <a:avLst/>
              </a:prstGeom>
              <a:solidFill>
                <a:srgbClr val="63666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96" name="Freeform 97"/>
            <p:cNvSpPr>
              <a:spLocks/>
            </p:cNvSpPr>
            <p:nvPr/>
          </p:nvSpPr>
          <p:spPr bwMode="auto">
            <a:xfrm>
              <a:off x="5106024" y="2591673"/>
              <a:ext cx="1965901" cy="1964420"/>
            </a:xfrm>
            <a:custGeom>
              <a:avLst/>
              <a:gdLst>
                <a:gd name="T0" fmla="*/ 1076 w 1122"/>
                <a:gd name="T1" fmla="*/ 561 h 1121"/>
                <a:gd name="T2" fmla="*/ 1030 w 1122"/>
                <a:gd name="T3" fmla="*/ 561 h 1121"/>
                <a:gd name="T4" fmla="*/ 993 w 1122"/>
                <a:gd name="T5" fmla="*/ 743 h 1121"/>
                <a:gd name="T6" fmla="*/ 823 w 1122"/>
                <a:gd name="T7" fmla="*/ 949 h 1121"/>
                <a:gd name="T8" fmla="*/ 561 w 1122"/>
                <a:gd name="T9" fmla="*/ 1029 h 1121"/>
                <a:gd name="T10" fmla="*/ 379 w 1122"/>
                <a:gd name="T11" fmla="*/ 993 h 1121"/>
                <a:gd name="T12" fmla="*/ 172 w 1122"/>
                <a:gd name="T13" fmla="*/ 823 h 1121"/>
                <a:gd name="T14" fmla="*/ 92 w 1122"/>
                <a:gd name="T15" fmla="*/ 561 h 1121"/>
                <a:gd name="T16" fmla="*/ 129 w 1122"/>
                <a:gd name="T17" fmla="*/ 378 h 1121"/>
                <a:gd name="T18" fmla="*/ 299 w 1122"/>
                <a:gd name="T19" fmla="*/ 172 h 1121"/>
                <a:gd name="T20" fmla="*/ 561 w 1122"/>
                <a:gd name="T21" fmla="*/ 92 h 1121"/>
                <a:gd name="T22" fmla="*/ 744 w 1122"/>
                <a:gd name="T23" fmla="*/ 128 h 1121"/>
                <a:gd name="T24" fmla="*/ 950 w 1122"/>
                <a:gd name="T25" fmla="*/ 298 h 1121"/>
                <a:gd name="T26" fmla="*/ 1030 w 1122"/>
                <a:gd name="T27" fmla="*/ 561 h 1121"/>
                <a:gd name="T28" fmla="*/ 1076 w 1122"/>
                <a:gd name="T29" fmla="*/ 561 h 1121"/>
                <a:gd name="T30" fmla="*/ 1122 w 1122"/>
                <a:gd name="T31" fmla="*/ 561 h 1121"/>
                <a:gd name="T32" fmla="*/ 1078 w 1122"/>
                <a:gd name="T33" fmla="*/ 342 h 1121"/>
                <a:gd name="T34" fmla="*/ 875 w 1122"/>
                <a:gd name="T35" fmla="*/ 96 h 1121"/>
                <a:gd name="T36" fmla="*/ 561 w 1122"/>
                <a:gd name="T37" fmla="*/ 0 h 1121"/>
                <a:gd name="T38" fmla="*/ 343 w 1122"/>
                <a:gd name="T39" fmla="*/ 44 h 1121"/>
                <a:gd name="T40" fmla="*/ 96 w 1122"/>
                <a:gd name="T41" fmla="*/ 247 h 1121"/>
                <a:gd name="T42" fmla="*/ 0 w 1122"/>
                <a:gd name="T43" fmla="*/ 561 h 1121"/>
                <a:gd name="T44" fmla="*/ 44 w 1122"/>
                <a:gd name="T45" fmla="*/ 779 h 1121"/>
                <a:gd name="T46" fmla="*/ 248 w 1122"/>
                <a:gd name="T47" fmla="*/ 1026 h 1121"/>
                <a:gd name="T48" fmla="*/ 561 w 1122"/>
                <a:gd name="T49" fmla="*/ 1121 h 1121"/>
                <a:gd name="T50" fmla="*/ 779 w 1122"/>
                <a:gd name="T51" fmla="*/ 1077 h 1121"/>
                <a:gd name="T52" fmla="*/ 1026 w 1122"/>
                <a:gd name="T53" fmla="*/ 874 h 1121"/>
                <a:gd name="T54" fmla="*/ 1122 w 1122"/>
                <a:gd name="T55" fmla="*/ 561 h 1121"/>
                <a:gd name="T56" fmla="*/ 1076 w 1122"/>
                <a:gd name="T57" fmla="*/ 561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2" h="1121">
                  <a:moveTo>
                    <a:pt x="1076" y="561"/>
                  </a:moveTo>
                  <a:cubicBezTo>
                    <a:pt x="1030" y="561"/>
                    <a:pt x="1030" y="561"/>
                    <a:pt x="1030" y="561"/>
                  </a:cubicBezTo>
                  <a:cubicBezTo>
                    <a:pt x="1030" y="625"/>
                    <a:pt x="1017" y="687"/>
                    <a:pt x="993" y="743"/>
                  </a:cubicBezTo>
                  <a:cubicBezTo>
                    <a:pt x="958" y="827"/>
                    <a:pt x="898" y="899"/>
                    <a:pt x="823" y="949"/>
                  </a:cubicBezTo>
                  <a:cubicBezTo>
                    <a:pt x="748" y="1000"/>
                    <a:pt x="658" y="1029"/>
                    <a:pt x="561" y="1029"/>
                  </a:cubicBezTo>
                  <a:cubicBezTo>
                    <a:pt x="496" y="1029"/>
                    <a:pt x="435" y="1016"/>
                    <a:pt x="379" y="993"/>
                  </a:cubicBezTo>
                  <a:cubicBezTo>
                    <a:pt x="294" y="957"/>
                    <a:pt x="223" y="898"/>
                    <a:pt x="172" y="823"/>
                  </a:cubicBezTo>
                  <a:cubicBezTo>
                    <a:pt x="122" y="748"/>
                    <a:pt x="92" y="658"/>
                    <a:pt x="92" y="561"/>
                  </a:cubicBezTo>
                  <a:cubicBezTo>
                    <a:pt x="92" y="496"/>
                    <a:pt x="105" y="434"/>
                    <a:pt x="129" y="378"/>
                  </a:cubicBezTo>
                  <a:cubicBezTo>
                    <a:pt x="165" y="294"/>
                    <a:pt x="224" y="222"/>
                    <a:pt x="299" y="172"/>
                  </a:cubicBezTo>
                  <a:cubicBezTo>
                    <a:pt x="374" y="121"/>
                    <a:pt x="464" y="92"/>
                    <a:pt x="561" y="92"/>
                  </a:cubicBezTo>
                  <a:cubicBezTo>
                    <a:pt x="626" y="92"/>
                    <a:pt x="688" y="105"/>
                    <a:pt x="744" y="128"/>
                  </a:cubicBezTo>
                  <a:cubicBezTo>
                    <a:pt x="828" y="164"/>
                    <a:pt x="899" y="224"/>
                    <a:pt x="950" y="298"/>
                  </a:cubicBezTo>
                  <a:cubicBezTo>
                    <a:pt x="1000" y="373"/>
                    <a:pt x="1030" y="463"/>
                    <a:pt x="1030" y="561"/>
                  </a:cubicBezTo>
                  <a:cubicBezTo>
                    <a:pt x="1076" y="561"/>
                    <a:pt x="1076" y="561"/>
                    <a:pt x="1076" y="561"/>
                  </a:cubicBezTo>
                  <a:cubicBezTo>
                    <a:pt x="1122" y="561"/>
                    <a:pt x="1122" y="561"/>
                    <a:pt x="1122" y="561"/>
                  </a:cubicBezTo>
                  <a:cubicBezTo>
                    <a:pt x="1122" y="483"/>
                    <a:pt x="1106" y="409"/>
                    <a:pt x="1078" y="342"/>
                  </a:cubicBezTo>
                  <a:cubicBezTo>
                    <a:pt x="1035" y="242"/>
                    <a:pt x="964" y="156"/>
                    <a:pt x="875" y="96"/>
                  </a:cubicBezTo>
                  <a:cubicBezTo>
                    <a:pt x="785" y="35"/>
                    <a:pt x="677" y="0"/>
                    <a:pt x="561" y="0"/>
                  </a:cubicBezTo>
                  <a:cubicBezTo>
                    <a:pt x="484" y="0"/>
                    <a:pt x="410" y="15"/>
                    <a:pt x="343" y="44"/>
                  </a:cubicBezTo>
                  <a:cubicBezTo>
                    <a:pt x="242" y="86"/>
                    <a:pt x="157" y="157"/>
                    <a:pt x="96" y="247"/>
                  </a:cubicBezTo>
                  <a:cubicBezTo>
                    <a:pt x="36" y="336"/>
                    <a:pt x="0" y="445"/>
                    <a:pt x="0" y="561"/>
                  </a:cubicBezTo>
                  <a:cubicBezTo>
                    <a:pt x="0" y="638"/>
                    <a:pt x="16" y="712"/>
                    <a:pt x="44" y="779"/>
                  </a:cubicBezTo>
                  <a:cubicBezTo>
                    <a:pt x="87" y="880"/>
                    <a:pt x="158" y="965"/>
                    <a:pt x="248" y="1026"/>
                  </a:cubicBezTo>
                  <a:cubicBezTo>
                    <a:pt x="337" y="1086"/>
                    <a:pt x="445" y="1121"/>
                    <a:pt x="561" y="1121"/>
                  </a:cubicBezTo>
                  <a:cubicBezTo>
                    <a:pt x="638" y="1121"/>
                    <a:pt x="712" y="1106"/>
                    <a:pt x="779" y="1077"/>
                  </a:cubicBezTo>
                  <a:cubicBezTo>
                    <a:pt x="880" y="1035"/>
                    <a:pt x="966" y="964"/>
                    <a:pt x="1026" y="874"/>
                  </a:cubicBezTo>
                  <a:cubicBezTo>
                    <a:pt x="1087" y="785"/>
                    <a:pt x="1122" y="677"/>
                    <a:pt x="1122" y="561"/>
                  </a:cubicBezTo>
                  <a:lnTo>
                    <a:pt x="1076" y="561"/>
                  </a:ln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7" name="Freeform 98"/>
            <p:cNvSpPr>
              <a:spLocks/>
            </p:cNvSpPr>
            <p:nvPr/>
          </p:nvSpPr>
          <p:spPr bwMode="auto">
            <a:xfrm>
              <a:off x="5135193" y="2621591"/>
              <a:ext cx="1906824" cy="1905322"/>
            </a:xfrm>
            <a:custGeom>
              <a:avLst/>
              <a:gdLst>
                <a:gd name="T0" fmla="*/ 1053 w 1076"/>
                <a:gd name="T1" fmla="*/ 538 h 1075"/>
                <a:gd name="T2" fmla="*/ 1030 w 1076"/>
                <a:gd name="T3" fmla="*/ 538 h 1075"/>
                <a:gd name="T4" fmla="*/ 886 w 1076"/>
                <a:gd name="T5" fmla="*/ 885 h 1075"/>
                <a:gd name="T6" fmla="*/ 538 w 1076"/>
                <a:gd name="T7" fmla="*/ 1029 h 1075"/>
                <a:gd name="T8" fmla="*/ 190 w 1076"/>
                <a:gd name="T9" fmla="*/ 885 h 1075"/>
                <a:gd name="T10" fmla="*/ 46 w 1076"/>
                <a:gd name="T11" fmla="*/ 538 h 1075"/>
                <a:gd name="T12" fmla="*/ 190 w 1076"/>
                <a:gd name="T13" fmla="*/ 190 h 1075"/>
                <a:gd name="T14" fmla="*/ 538 w 1076"/>
                <a:gd name="T15" fmla="*/ 46 h 1075"/>
                <a:gd name="T16" fmla="*/ 886 w 1076"/>
                <a:gd name="T17" fmla="*/ 190 h 1075"/>
                <a:gd name="T18" fmla="*/ 1030 w 1076"/>
                <a:gd name="T19" fmla="*/ 538 h 1075"/>
                <a:gd name="T20" fmla="*/ 1053 w 1076"/>
                <a:gd name="T21" fmla="*/ 538 h 1075"/>
                <a:gd name="T22" fmla="*/ 1076 w 1076"/>
                <a:gd name="T23" fmla="*/ 538 h 1075"/>
                <a:gd name="T24" fmla="*/ 918 w 1076"/>
                <a:gd name="T25" fmla="*/ 157 h 1075"/>
                <a:gd name="T26" fmla="*/ 538 w 1076"/>
                <a:gd name="T27" fmla="*/ 0 h 1075"/>
                <a:gd name="T28" fmla="*/ 158 w 1076"/>
                <a:gd name="T29" fmla="*/ 157 h 1075"/>
                <a:gd name="T30" fmla="*/ 0 w 1076"/>
                <a:gd name="T31" fmla="*/ 538 h 1075"/>
                <a:gd name="T32" fmla="*/ 158 w 1076"/>
                <a:gd name="T33" fmla="*/ 918 h 1075"/>
                <a:gd name="T34" fmla="*/ 538 w 1076"/>
                <a:gd name="T35" fmla="*/ 1075 h 1075"/>
                <a:gd name="T36" fmla="*/ 918 w 1076"/>
                <a:gd name="T37" fmla="*/ 918 h 1075"/>
                <a:gd name="T38" fmla="*/ 1076 w 1076"/>
                <a:gd name="T39" fmla="*/ 538 h 1075"/>
                <a:gd name="T40" fmla="*/ 1053 w 1076"/>
                <a:gd name="T41" fmla="*/ 538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6" h="1075">
                  <a:moveTo>
                    <a:pt x="1053" y="538"/>
                  </a:moveTo>
                  <a:cubicBezTo>
                    <a:pt x="1030" y="538"/>
                    <a:pt x="1030" y="538"/>
                    <a:pt x="1030" y="538"/>
                  </a:cubicBezTo>
                  <a:cubicBezTo>
                    <a:pt x="1030" y="673"/>
                    <a:pt x="975" y="796"/>
                    <a:pt x="886" y="885"/>
                  </a:cubicBezTo>
                  <a:cubicBezTo>
                    <a:pt x="797" y="974"/>
                    <a:pt x="674" y="1029"/>
                    <a:pt x="538" y="1029"/>
                  </a:cubicBezTo>
                  <a:cubicBezTo>
                    <a:pt x="402" y="1029"/>
                    <a:pt x="279" y="974"/>
                    <a:pt x="190" y="885"/>
                  </a:cubicBezTo>
                  <a:cubicBezTo>
                    <a:pt x="101" y="796"/>
                    <a:pt x="46" y="673"/>
                    <a:pt x="46" y="538"/>
                  </a:cubicBezTo>
                  <a:cubicBezTo>
                    <a:pt x="46" y="402"/>
                    <a:pt x="101" y="279"/>
                    <a:pt x="190" y="190"/>
                  </a:cubicBezTo>
                  <a:cubicBezTo>
                    <a:pt x="279" y="101"/>
                    <a:pt x="402" y="46"/>
                    <a:pt x="538" y="46"/>
                  </a:cubicBezTo>
                  <a:cubicBezTo>
                    <a:pt x="674" y="46"/>
                    <a:pt x="797" y="101"/>
                    <a:pt x="886" y="190"/>
                  </a:cubicBezTo>
                  <a:cubicBezTo>
                    <a:pt x="975" y="279"/>
                    <a:pt x="1030" y="402"/>
                    <a:pt x="1030" y="538"/>
                  </a:cubicBezTo>
                  <a:cubicBezTo>
                    <a:pt x="1053" y="538"/>
                    <a:pt x="1053" y="538"/>
                    <a:pt x="1053" y="538"/>
                  </a:cubicBezTo>
                  <a:cubicBezTo>
                    <a:pt x="1076" y="538"/>
                    <a:pt x="1076" y="538"/>
                    <a:pt x="1076" y="538"/>
                  </a:cubicBezTo>
                  <a:cubicBezTo>
                    <a:pt x="1076" y="389"/>
                    <a:pt x="1016" y="255"/>
                    <a:pt x="918" y="157"/>
                  </a:cubicBezTo>
                  <a:cubicBezTo>
                    <a:pt x="821" y="60"/>
                    <a:pt x="687" y="0"/>
                    <a:pt x="538" y="0"/>
                  </a:cubicBezTo>
                  <a:cubicBezTo>
                    <a:pt x="390" y="0"/>
                    <a:pt x="255" y="60"/>
                    <a:pt x="158" y="157"/>
                  </a:cubicBezTo>
                  <a:cubicBezTo>
                    <a:pt x="61" y="255"/>
                    <a:pt x="0" y="389"/>
                    <a:pt x="0" y="538"/>
                  </a:cubicBezTo>
                  <a:cubicBezTo>
                    <a:pt x="0" y="686"/>
                    <a:pt x="61" y="821"/>
                    <a:pt x="158" y="918"/>
                  </a:cubicBezTo>
                  <a:cubicBezTo>
                    <a:pt x="255" y="1015"/>
                    <a:pt x="390" y="1075"/>
                    <a:pt x="538" y="1075"/>
                  </a:cubicBezTo>
                  <a:cubicBezTo>
                    <a:pt x="687" y="1075"/>
                    <a:pt x="821" y="1015"/>
                    <a:pt x="918" y="918"/>
                  </a:cubicBezTo>
                  <a:cubicBezTo>
                    <a:pt x="1016" y="821"/>
                    <a:pt x="1076" y="686"/>
                    <a:pt x="1076" y="538"/>
                  </a:cubicBezTo>
                  <a:lnTo>
                    <a:pt x="1053" y="5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Oval 19"/>
            <p:cNvSpPr>
              <a:spLocks noChangeArrowheads="1"/>
            </p:cNvSpPr>
            <p:nvPr/>
          </p:nvSpPr>
          <p:spPr bwMode="auto">
            <a:xfrm>
              <a:off x="5177288" y="2663676"/>
              <a:ext cx="1822634" cy="182263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Tree>
    <p:custDataLst>
      <p:tags r:id="rId1"/>
    </p:custDataLst>
    <p:extLst>
      <p:ext uri="{BB962C8B-B14F-4D97-AF65-F5344CB8AC3E}">
        <p14:creationId xmlns:p14="http://schemas.microsoft.com/office/powerpoint/2010/main" val="288207204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FB9B1D0-33C2-4E12-9128-CCC23A72CE4A}"/>
              </a:ext>
            </a:extLst>
          </p:cNvPr>
          <p:cNvSpPr/>
          <p:nvPr/>
        </p:nvSpPr>
        <p:spPr bwMode="gray">
          <a:xfrm>
            <a:off x="2413181" y="2474331"/>
            <a:ext cx="2776085" cy="1069398"/>
          </a:xfrm>
          <a:prstGeom prst="rect">
            <a:avLst/>
          </a:prstGeom>
          <a:solidFill>
            <a:srgbClr val="046A38">
              <a:alpha val="18000"/>
            </a:srgb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 name="Rectangle 1">
            <a:extLst>
              <a:ext uri="{FF2B5EF4-FFF2-40B4-BE49-F238E27FC236}">
                <a16:creationId xmlns:a16="http://schemas.microsoft.com/office/drawing/2014/main" id="{342C0D43-3B67-4DD5-BE74-2024C7B7DBD9}"/>
              </a:ext>
            </a:extLst>
          </p:cNvPr>
          <p:cNvSpPr/>
          <p:nvPr/>
        </p:nvSpPr>
        <p:spPr>
          <a:xfrm>
            <a:off x="370098" y="987021"/>
            <a:ext cx="10080188" cy="338554"/>
          </a:xfrm>
          <a:prstGeom prst="rect">
            <a:avLst/>
          </a:prstGeom>
        </p:spPr>
        <p:txBody>
          <a:bodyPr wrap="square">
            <a:spAutoFit/>
          </a:bodyPr>
          <a:lstStyle/>
          <a:p>
            <a:r>
              <a:rPr lang="en-US" sz="1600" dirty="0">
                <a:solidFill>
                  <a:schemeClr val="bg1"/>
                </a:solidFill>
              </a:rPr>
              <a:t>This is dummy text it is not here to be read. The is just text to show where you could insert text.</a:t>
            </a:r>
          </a:p>
        </p:txBody>
      </p:sp>
      <p:sp>
        <p:nvSpPr>
          <p:cNvPr id="88" name="Rectangle 87">
            <a:extLst>
              <a:ext uri="{FF2B5EF4-FFF2-40B4-BE49-F238E27FC236}">
                <a16:creationId xmlns:a16="http://schemas.microsoft.com/office/drawing/2014/main" id="{FDBB4803-3FDA-4BD7-B31C-C02F6F7C0306}"/>
              </a:ext>
            </a:extLst>
          </p:cNvPr>
          <p:cNvSpPr/>
          <p:nvPr/>
        </p:nvSpPr>
        <p:spPr>
          <a:xfrm>
            <a:off x="2821710" y="2436260"/>
            <a:ext cx="1109663" cy="1077218"/>
          </a:xfrm>
          <a:prstGeom prst="rect">
            <a:avLst/>
          </a:prstGeom>
        </p:spPr>
        <p:txBody>
          <a:bodyPr wrap="none">
            <a:spAutoFit/>
          </a:bodyPr>
          <a:lstStyle/>
          <a:p>
            <a:r>
              <a:rPr lang="en-US" sz="3600" b="1" dirty="0">
                <a:ln>
                  <a:solidFill>
                    <a:srgbClr val="009A44"/>
                  </a:solidFill>
                </a:ln>
                <a:solidFill>
                  <a:sysClr val="windowText" lastClr="000000"/>
                </a:solidFill>
              </a:rPr>
              <a:t>90</a:t>
            </a:r>
            <a:r>
              <a:rPr lang="en-US" sz="2800" dirty="0">
                <a:ln>
                  <a:solidFill>
                    <a:srgbClr val="009A44"/>
                  </a:solidFill>
                </a:ln>
                <a:solidFill>
                  <a:sysClr val="windowText" lastClr="000000"/>
                </a:solidFill>
              </a:rPr>
              <a:t>%</a:t>
            </a:r>
            <a:br>
              <a:rPr lang="en-US" sz="2800" dirty="0">
                <a:solidFill>
                  <a:schemeClr val="accent3">
                    <a:lumMod val="40000"/>
                    <a:lumOff val="60000"/>
                  </a:schemeClr>
                </a:solidFill>
              </a:rPr>
            </a:br>
            <a:r>
              <a:rPr lang="en-US" sz="2800" dirty="0">
                <a:solidFill>
                  <a:srgbClr val="E3E48D"/>
                </a:solidFill>
              </a:rPr>
              <a:t>Lorem</a:t>
            </a:r>
          </a:p>
        </p:txBody>
      </p:sp>
      <p:sp>
        <p:nvSpPr>
          <p:cNvPr id="89" name="Rectangle 88">
            <a:extLst>
              <a:ext uri="{FF2B5EF4-FFF2-40B4-BE49-F238E27FC236}">
                <a16:creationId xmlns:a16="http://schemas.microsoft.com/office/drawing/2014/main" id="{E8668355-CFD1-406D-968D-B9CBA75A1F65}"/>
              </a:ext>
            </a:extLst>
          </p:cNvPr>
          <p:cNvSpPr/>
          <p:nvPr/>
        </p:nvSpPr>
        <p:spPr>
          <a:xfrm>
            <a:off x="9525790" y="3180254"/>
            <a:ext cx="1576072" cy="646331"/>
          </a:xfrm>
          <a:prstGeom prst="rect">
            <a:avLst/>
          </a:prstGeom>
        </p:spPr>
        <p:txBody>
          <a:bodyPr wrap="none">
            <a:spAutoFit/>
          </a:bodyPr>
          <a:lstStyle/>
          <a:p>
            <a:r>
              <a:rPr lang="en-US" sz="3600" b="1" dirty="0">
                <a:ln>
                  <a:solidFill>
                    <a:srgbClr val="009A44"/>
                  </a:solidFill>
                </a:ln>
                <a:solidFill>
                  <a:sysClr val="windowText" lastClr="000000"/>
                </a:solidFill>
              </a:rPr>
              <a:t>~92.5%</a:t>
            </a:r>
          </a:p>
        </p:txBody>
      </p:sp>
      <p:sp>
        <p:nvSpPr>
          <p:cNvPr id="90" name="Rectangle 89">
            <a:extLst>
              <a:ext uri="{FF2B5EF4-FFF2-40B4-BE49-F238E27FC236}">
                <a16:creationId xmlns:a16="http://schemas.microsoft.com/office/drawing/2014/main" id="{2A2055EB-256A-43BE-8AE1-130A936D3B71}"/>
              </a:ext>
            </a:extLst>
          </p:cNvPr>
          <p:cNvSpPr/>
          <p:nvPr/>
        </p:nvSpPr>
        <p:spPr>
          <a:xfrm>
            <a:off x="7857008" y="5236905"/>
            <a:ext cx="1218603" cy="646331"/>
          </a:xfrm>
          <a:prstGeom prst="rect">
            <a:avLst/>
          </a:prstGeom>
        </p:spPr>
        <p:txBody>
          <a:bodyPr wrap="none">
            <a:spAutoFit/>
          </a:bodyPr>
          <a:lstStyle/>
          <a:p>
            <a:r>
              <a:rPr lang="en-US" sz="3600" b="1" dirty="0">
                <a:ln>
                  <a:solidFill>
                    <a:srgbClr val="009A44"/>
                  </a:solidFill>
                </a:ln>
                <a:solidFill>
                  <a:sysClr val="windowText" lastClr="000000"/>
                </a:solidFill>
              </a:rPr>
              <a:t>~33%</a:t>
            </a:r>
          </a:p>
        </p:txBody>
      </p:sp>
      <p:sp>
        <p:nvSpPr>
          <p:cNvPr id="91" name="Rectangle 90">
            <a:extLst>
              <a:ext uri="{FF2B5EF4-FFF2-40B4-BE49-F238E27FC236}">
                <a16:creationId xmlns:a16="http://schemas.microsoft.com/office/drawing/2014/main" id="{278A70E6-0FD0-4AA6-BAB0-7BE784377BA8}"/>
              </a:ext>
            </a:extLst>
          </p:cNvPr>
          <p:cNvSpPr/>
          <p:nvPr/>
        </p:nvSpPr>
        <p:spPr>
          <a:xfrm>
            <a:off x="488900" y="1614549"/>
            <a:ext cx="5135385" cy="538609"/>
          </a:xfrm>
          <a:prstGeom prst="rect">
            <a:avLst/>
          </a:prstGeom>
          <a:solidFill>
            <a:schemeClr val="accent3">
              <a:lumMod val="50000"/>
              <a:alpha val="10000"/>
            </a:schemeClr>
          </a:solidFill>
          <a:ln w="9525" cap="rnd">
            <a:solidFill>
              <a:srgbClr val="43B02A"/>
            </a:solidFill>
          </a:ln>
        </p:spPr>
        <p:txBody>
          <a:bodyPr wrap="square">
            <a:spAutoFit/>
          </a:bodyPr>
          <a:lstStyle/>
          <a:p>
            <a:r>
              <a:rPr lang="en-US" sz="1600" b="1" dirty="0">
                <a:solidFill>
                  <a:srgbClr val="43B02A"/>
                </a:solidFill>
              </a:rPr>
              <a:t>Lorem ipsum dolor </a:t>
            </a:r>
          </a:p>
          <a:p>
            <a:r>
              <a:rPr lang="en-US" sz="1300" dirty="0">
                <a:solidFill>
                  <a:schemeClr val="bg1"/>
                </a:solidFill>
              </a:rPr>
              <a:t>This is dummy text it is not here to be read.</a:t>
            </a:r>
          </a:p>
        </p:txBody>
      </p:sp>
      <p:sp>
        <p:nvSpPr>
          <p:cNvPr id="86" name="Rectangle 85">
            <a:extLst>
              <a:ext uri="{FF2B5EF4-FFF2-40B4-BE49-F238E27FC236}">
                <a16:creationId xmlns:a16="http://schemas.microsoft.com/office/drawing/2014/main" id="{71F92105-DC68-4A75-82C6-90193C274CE2}"/>
              </a:ext>
            </a:extLst>
          </p:cNvPr>
          <p:cNvSpPr/>
          <p:nvPr/>
        </p:nvSpPr>
        <p:spPr>
          <a:xfrm>
            <a:off x="6096000" y="1614549"/>
            <a:ext cx="5626099" cy="538609"/>
          </a:xfrm>
          <a:prstGeom prst="rect">
            <a:avLst/>
          </a:prstGeom>
          <a:solidFill>
            <a:schemeClr val="accent3">
              <a:lumMod val="50000"/>
              <a:alpha val="10000"/>
            </a:schemeClr>
          </a:solidFill>
          <a:ln w="9525" cap="rnd">
            <a:solidFill>
              <a:srgbClr val="43B02A"/>
            </a:solidFill>
          </a:ln>
        </p:spPr>
        <p:txBody>
          <a:bodyPr wrap="square">
            <a:spAutoFit/>
          </a:bodyPr>
          <a:lstStyle/>
          <a:p>
            <a:r>
              <a:rPr lang="en-US" sz="1600" b="1" dirty="0">
                <a:solidFill>
                  <a:srgbClr val="43B02A"/>
                </a:solidFill>
              </a:rPr>
              <a:t>Lorem ipsum dolor </a:t>
            </a:r>
          </a:p>
          <a:p>
            <a:r>
              <a:rPr lang="en-US" sz="1300" dirty="0">
                <a:solidFill>
                  <a:schemeClr val="bg1"/>
                </a:solidFill>
              </a:rPr>
              <a:t>This is dummy text it is not here to be read.</a:t>
            </a:r>
          </a:p>
        </p:txBody>
      </p:sp>
      <p:grpSp>
        <p:nvGrpSpPr>
          <p:cNvPr id="7" name="Group 6">
            <a:extLst>
              <a:ext uri="{FF2B5EF4-FFF2-40B4-BE49-F238E27FC236}">
                <a16:creationId xmlns:a16="http://schemas.microsoft.com/office/drawing/2014/main" id="{76BD707B-9C1C-46BD-BB66-8677302E0EBB}"/>
              </a:ext>
            </a:extLst>
          </p:cNvPr>
          <p:cNvGrpSpPr/>
          <p:nvPr/>
        </p:nvGrpSpPr>
        <p:grpSpPr>
          <a:xfrm>
            <a:off x="1893598" y="2421746"/>
            <a:ext cx="519584" cy="1473992"/>
            <a:chOff x="2356052" y="1680907"/>
            <a:chExt cx="237918" cy="674943"/>
          </a:xfrm>
        </p:grpSpPr>
        <p:sp>
          <p:nvSpPr>
            <p:cNvPr id="3" name="Oval 2">
              <a:extLst>
                <a:ext uri="{FF2B5EF4-FFF2-40B4-BE49-F238E27FC236}">
                  <a16:creationId xmlns:a16="http://schemas.microsoft.com/office/drawing/2014/main" id="{6DC1B4A4-AFA1-4CDD-9406-3D7DC920D4E6}"/>
                </a:ext>
              </a:extLst>
            </p:cNvPr>
            <p:cNvSpPr/>
            <p:nvPr/>
          </p:nvSpPr>
          <p:spPr bwMode="gray">
            <a:xfrm>
              <a:off x="2356052" y="22905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6" name="Oval 75">
              <a:extLst>
                <a:ext uri="{FF2B5EF4-FFF2-40B4-BE49-F238E27FC236}">
                  <a16:creationId xmlns:a16="http://schemas.microsoft.com/office/drawing/2014/main" id="{E61C2642-5C63-4349-9BF5-8045DA66CD26}"/>
                </a:ext>
              </a:extLst>
            </p:cNvPr>
            <p:cNvSpPr/>
            <p:nvPr/>
          </p:nvSpPr>
          <p:spPr bwMode="gray">
            <a:xfrm>
              <a:off x="2356052" y="22524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7" name="Oval 76">
              <a:extLst>
                <a:ext uri="{FF2B5EF4-FFF2-40B4-BE49-F238E27FC236}">
                  <a16:creationId xmlns:a16="http://schemas.microsoft.com/office/drawing/2014/main" id="{F66E0FC4-2F16-43D1-A658-27B7868498B2}"/>
                </a:ext>
              </a:extLst>
            </p:cNvPr>
            <p:cNvSpPr/>
            <p:nvPr/>
          </p:nvSpPr>
          <p:spPr bwMode="gray">
            <a:xfrm>
              <a:off x="2356052" y="22143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3" name="Oval 82">
              <a:extLst>
                <a:ext uri="{FF2B5EF4-FFF2-40B4-BE49-F238E27FC236}">
                  <a16:creationId xmlns:a16="http://schemas.microsoft.com/office/drawing/2014/main" id="{952FDAFD-E0C7-4EEB-A730-FD813303232C}"/>
                </a:ext>
              </a:extLst>
            </p:cNvPr>
            <p:cNvSpPr/>
            <p:nvPr/>
          </p:nvSpPr>
          <p:spPr bwMode="gray">
            <a:xfrm>
              <a:off x="2356052" y="21762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4" name="Oval 83">
              <a:extLst>
                <a:ext uri="{FF2B5EF4-FFF2-40B4-BE49-F238E27FC236}">
                  <a16:creationId xmlns:a16="http://schemas.microsoft.com/office/drawing/2014/main" id="{3CAA1B8D-FF5A-4C14-BF85-3E05BF117781}"/>
                </a:ext>
              </a:extLst>
            </p:cNvPr>
            <p:cNvSpPr/>
            <p:nvPr/>
          </p:nvSpPr>
          <p:spPr bwMode="gray">
            <a:xfrm>
              <a:off x="2356052" y="21381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5" name="Oval 84">
              <a:extLst>
                <a:ext uri="{FF2B5EF4-FFF2-40B4-BE49-F238E27FC236}">
                  <a16:creationId xmlns:a16="http://schemas.microsoft.com/office/drawing/2014/main" id="{5E8CF07B-5361-4C17-B5BE-6AD7D23ABE23}"/>
                </a:ext>
              </a:extLst>
            </p:cNvPr>
            <p:cNvSpPr/>
            <p:nvPr/>
          </p:nvSpPr>
          <p:spPr bwMode="gray">
            <a:xfrm>
              <a:off x="2356052" y="21000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7" name="Oval 86">
              <a:extLst>
                <a:ext uri="{FF2B5EF4-FFF2-40B4-BE49-F238E27FC236}">
                  <a16:creationId xmlns:a16="http://schemas.microsoft.com/office/drawing/2014/main" id="{201653A7-44B7-4C20-8787-D9F29B31BE32}"/>
                </a:ext>
              </a:extLst>
            </p:cNvPr>
            <p:cNvSpPr/>
            <p:nvPr/>
          </p:nvSpPr>
          <p:spPr bwMode="gray">
            <a:xfrm>
              <a:off x="2356052" y="20619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2" name="Oval 91">
              <a:extLst>
                <a:ext uri="{FF2B5EF4-FFF2-40B4-BE49-F238E27FC236}">
                  <a16:creationId xmlns:a16="http://schemas.microsoft.com/office/drawing/2014/main" id="{10CBF191-7575-488C-897A-67AC79D7B9E3}"/>
                </a:ext>
              </a:extLst>
            </p:cNvPr>
            <p:cNvSpPr/>
            <p:nvPr/>
          </p:nvSpPr>
          <p:spPr bwMode="gray">
            <a:xfrm>
              <a:off x="2356052" y="20238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4" name="Oval 93">
              <a:extLst>
                <a:ext uri="{FF2B5EF4-FFF2-40B4-BE49-F238E27FC236}">
                  <a16:creationId xmlns:a16="http://schemas.microsoft.com/office/drawing/2014/main" id="{D4A64D5A-1399-4489-8808-F4F94254F208}"/>
                </a:ext>
              </a:extLst>
            </p:cNvPr>
            <p:cNvSpPr/>
            <p:nvPr/>
          </p:nvSpPr>
          <p:spPr bwMode="gray">
            <a:xfrm>
              <a:off x="2356052" y="19857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5" name="Oval 94">
              <a:extLst>
                <a:ext uri="{FF2B5EF4-FFF2-40B4-BE49-F238E27FC236}">
                  <a16:creationId xmlns:a16="http://schemas.microsoft.com/office/drawing/2014/main" id="{F39A6022-690D-4D96-A267-D22863EDBA22}"/>
                </a:ext>
              </a:extLst>
            </p:cNvPr>
            <p:cNvSpPr/>
            <p:nvPr/>
          </p:nvSpPr>
          <p:spPr bwMode="gray">
            <a:xfrm>
              <a:off x="2356052" y="19476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6" name="Oval 95">
              <a:extLst>
                <a:ext uri="{FF2B5EF4-FFF2-40B4-BE49-F238E27FC236}">
                  <a16:creationId xmlns:a16="http://schemas.microsoft.com/office/drawing/2014/main" id="{0BD4F925-0123-4464-8283-39577D8951EE}"/>
                </a:ext>
              </a:extLst>
            </p:cNvPr>
            <p:cNvSpPr/>
            <p:nvPr/>
          </p:nvSpPr>
          <p:spPr bwMode="gray">
            <a:xfrm>
              <a:off x="2356052" y="19095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7" name="Oval 96">
              <a:extLst>
                <a:ext uri="{FF2B5EF4-FFF2-40B4-BE49-F238E27FC236}">
                  <a16:creationId xmlns:a16="http://schemas.microsoft.com/office/drawing/2014/main" id="{D945A4A1-9A0A-45BD-9623-9E3A55986ED0}"/>
                </a:ext>
              </a:extLst>
            </p:cNvPr>
            <p:cNvSpPr/>
            <p:nvPr/>
          </p:nvSpPr>
          <p:spPr bwMode="gray">
            <a:xfrm>
              <a:off x="2356052" y="18714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8" name="Oval 97">
              <a:extLst>
                <a:ext uri="{FF2B5EF4-FFF2-40B4-BE49-F238E27FC236}">
                  <a16:creationId xmlns:a16="http://schemas.microsoft.com/office/drawing/2014/main" id="{106EEA8E-DDD8-4DC6-8175-E881B7006DFD}"/>
                </a:ext>
              </a:extLst>
            </p:cNvPr>
            <p:cNvSpPr/>
            <p:nvPr/>
          </p:nvSpPr>
          <p:spPr bwMode="gray">
            <a:xfrm>
              <a:off x="2356052" y="18333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0" name="Oval 99">
              <a:extLst>
                <a:ext uri="{FF2B5EF4-FFF2-40B4-BE49-F238E27FC236}">
                  <a16:creationId xmlns:a16="http://schemas.microsoft.com/office/drawing/2014/main" id="{777D49F7-7C67-42EB-9EBA-380E4FD18533}"/>
                </a:ext>
              </a:extLst>
            </p:cNvPr>
            <p:cNvSpPr/>
            <p:nvPr/>
          </p:nvSpPr>
          <p:spPr bwMode="gray">
            <a:xfrm>
              <a:off x="2356052" y="17952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1" name="Oval 100">
              <a:extLst>
                <a:ext uri="{FF2B5EF4-FFF2-40B4-BE49-F238E27FC236}">
                  <a16:creationId xmlns:a16="http://schemas.microsoft.com/office/drawing/2014/main" id="{C2EE00E2-8C74-4723-9407-3BE3C2E63868}"/>
                </a:ext>
              </a:extLst>
            </p:cNvPr>
            <p:cNvSpPr/>
            <p:nvPr/>
          </p:nvSpPr>
          <p:spPr bwMode="gray">
            <a:xfrm>
              <a:off x="2356052" y="17571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2" name="Oval 101">
              <a:extLst>
                <a:ext uri="{FF2B5EF4-FFF2-40B4-BE49-F238E27FC236}">
                  <a16:creationId xmlns:a16="http://schemas.microsoft.com/office/drawing/2014/main" id="{35244A6C-32D2-4373-8E37-7FA77C30ECEB}"/>
                </a:ext>
              </a:extLst>
            </p:cNvPr>
            <p:cNvSpPr/>
            <p:nvPr/>
          </p:nvSpPr>
          <p:spPr bwMode="gray">
            <a:xfrm>
              <a:off x="2356052" y="17190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3" name="Oval 102">
              <a:extLst>
                <a:ext uri="{FF2B5EF4-FFF2-40B4-BE49-F238E27FC236}">
                  <a16:creationId xmlns:a16="http://schemas.microsoft.com/office/drawing/2014/main" id="{902A1864-2DA9-43BD-AD95-8B54B106FD68}"/>
                </a:ext>
              </a:extLst>
            </p:cNvPr>
            <p:cNvSpPr/>
            <p:nvPr/>
          </p:nvSpPr>
          <p:spPr bwMode="gray">
            <a:xfrm>
              <a:off x="2356052" y="16809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106" name="TextBox 105">
            <a:extLst>
              <a:ext uri="{FF2B5EF4-FFF2-40B4-BE49-F238E27FC236}">
                <a16:creationId xmlns:a16="http://schemas.microsoft.com/office/drawing/2014/main" id="{1B92A75B-5A16-4F44-B657-F8727D89C760}"/>
              </a:ext>
            </a:extLst>
          </p:cNvPr>
          <p:cNvSpPr txBox="1"/>
          <p:nvPr/>
        </p:nvSpPr>
        <p:spPr>
          <a:xfrm flipH="1">
            <a:off x="399596" y="2571540"/>
            <a:ext cx="1382617" cy="600164"/>
          </a:xfrm>
          <a:prstGeom prst="rect">
            <a:avLst/>
          </a:prstGeom>
          <a:noFill/>
        </p:spPr>
        <p:txBody>
          <a:bodyPr wrap="square" rtlCol="0">
            <a:spAutoFit/>
          </a:bodyPr>
          <a:lstStyle/>
          <a:p>
            <a:pPr algn="r"/>
            <a:r>
              <a:rPr lang="en-US" sz="1100" dirty="0">
                <a:solidFill>
                  <a:schemeClr val="bg1"/>
                </a:solidFill>
              </a:rPr>
              <a:t>This is dummy text it is not here to be read. </a:t>
            </a:r>
            <a:endParaRPr lang="en-US" sz="1100" b="1" dirty="0">
              <a:solidFill>
                <a:schemeClr val="bg1"/>
              </a:solidFill>
            </a:endParaRPr>
          </a:p>
        </p:txBody>
      </p:sp>
      <p:sp>
        <p:nvSpPr>
          <p:cNvPr id="107" name="TextBox 106">
            <a:extLst>
              <a:ext uri="{FF2B5EF4-FFF2-40B4-BE49-F238E27FC236}">
                <a16:creationId xmlns:a16="http://schemas.microsoft.com/office/drawing/2014/main" id="{669DE8AF-EBB3-44ED-8410-2F35FC299E1B}"/>
              </a:ext>
            </a:extLst>
          </p:cNvPr>
          <p:cNvSpPr txBox="1"/>
          <p:nvPr/>
        </p:nvSpPr>
        <p:spPr>
          <a:xfrm flipH="1">
            <a:off x="3490972" y="3533227"/>
            <a:ext cx="1622148" cy="430887"/>
          </a:xfrm>
          <a:prstGeom prst="rect">
            <a:avLst/>
          </a:prstGeom>
          <a:noFill/>
        </p:spPr>
        <p:txBody>
          <a:bodyPr wrap="square" rtlCol="0">
            <a:spAutoFit/>
          </a:bodyPr>
          <a:lstStyle/>
          <a:p>
            <a:r>
              <a:rPr lang="en-US" sz="1100" dirty="0">
                <a:solidFill>
                  <a:srgbClr val="43B02A"/>
                </a:solidFill>
              </a:rPr>
              <a:t>This is dummy text it is not here to be read.</a:t>
            </a:r>
          </a:p>
        </p:txBody>
      </p:sp>
      <p:cxnSp>
        <p:nvCxnSpPr>
          <p:cNvPr id="14" name="Straight Connector 13">
            <a:extLst>
              <a:ext uri="{FF2B5EF4-FFF2-40B4-BE49-F238E27FC236}">
                <a16:creationId xmlns:a16="http://schemas.microsoft.com/office/drawing/2014/main" id="{575EEF1C-731F-4838-A7A1-3E5E9C5EFAE7}"/>
              </a:ext>
            </a:extLst>
          </p:cNvPr>
          <p:cNvCxnSpPr>
            <a:cxnSpLocks/>
          </p:cNvCxnSpPr>
          <p:nvPr/>
        </p:nvCxnSpPr>
        <p:spPr>
          <a:xfrm>
            <a:off x="2413181" y="2474330"/>
            <a:ext cx="2776085" cy="0"/>
          </a:xfrm>
          <a:prstGeom prst="line">
            <a:avLst/>
          </a:prstGeom>
          <a:ln w="6350" cap="rnd">
            <a:solidFill>
              <a:srgbClr val="43B02A"/>
            </a:solidFill>
            <a:prstDash val="solid"/>
          </a:ln>
        </p:spPr>
        <p:style>
          <a:lnRef idx="1">
            <a:schemeClr val="accent1"/>
          </a:lnRef>
          <a:fillRef idx="0">
            <a:schemeClr val="accent1"/>
          </a:fillRef>
          <a:effectRef idx="0">
            <a:schemeClr val="accent1"/>
          </a:effectRef>
          <a:fontRef idx="minor">
            <a:schemeClr val="tx1"/>
          </a:fontRef>
        </p:style>
      </p:cxnSp>
      <p:sp>
        <p:nvSpPr>
          <p:cNvPr id="116" name="Freeform 6">
            <a:extLst>
              <a:ext uri="{FF2B5EF4-FFF2-40B4-BE49-F238E27FC236}">
                <a16:creationId xmlns:a16="http://schemas.microsoft.com/office/drawing/2014/main" id="{A43A9D99-2266-436E-8A37-0909BAF1FB2B}"/>
              </a:ext>
            </a:extLst>
          </p:cNvPr>
          <p:cNvSpPr>
            <a:spLocks noEditPoints="1"/>
          </p:cNvSpPr>
          <p:nvPr/>
        </p:nvSpPr>
        <p:spPr bwMode="auto">
          <a:xfrm>
            <a:off x="2082285" y="2448176"/>
            <a:ext cx="142209" cy="82385"/>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Isosceles Triangle 18">
            <a:extLst>
              <a:ext uri="{FF2B5EF4-FFF2-40B4-BE49-F238E27FC236}">
                <a16:creationId xmlns:a16="http://schemas.microsoft.com/office/drawing/2014/main" id="{ED8C7C62-A684-42BF-BD4A-3578D8BB1970}"/>
              </a:ext>
            </a:extLst>
          </p:cNvPr>
          <p:cNvSpPr/>
          <p:nvPr/>
        </p:nvSpPr>
        <p:spPr bwMode="gray">
          <a:xfrm rot="5400000">
            <a:off x="1569776" y="2863361"/>
            <a:ext cx="455358" cy="62688"/>
          </a:xfrm>
          <a:prstGeom prst="triangle">
            <a:avLst/>
          </a:prstGeom>
          <a:solidFill>
            <a:schemeClr val="bg1">
              <a:lumMod val="95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18" name="Isosceles Triangle 117">
            <a:extLst>
              <a:ext uri="{FF2B5EF4-FFF2-40B4-BE49-F238E27FC236}">
                <a16:creationId xmlns:a16="http://schemas.microsoft.com/office/drawing/2014/main" id="{D01F92FD-D70C-43DF-A437-D7B27EEBC11F}"/>
              </a:ext>
            </a:extLst>
          </p:cNvPr>
          <p:cNvSpPr/>
          <p:nvPr/>
        </p:nvSpPr>
        <p:spPr bwMode="gray">
          <a:xfrm rot="16200000" flipH="1">
            <a:off x="3346209" y="3735565"/>
            <a:ext cx="311015" cy="56989"/>
          </a:xfrm>
          <a:prstGeom prst="triangle">
            <a:avLst/>
          </a:prstGeom>
          <a:solidFill>
            <a:schemeClr val="bg1">
              <a:lumMod val="95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cxnSp>
        <p:nvCxnSpPr>
          <p:cNvPr id="119" name="Straight Connector 118">
            <a:extLst>
              <a:ext uri="{FF2B5EF4-FFF2-40B4-BE49-F238E27FC236}">
                <a16:creationId xmlns:a16="http://schemas.microsoft.com/office/drawing/2014/main" id="{B4BC2A67-2A85-48A6-A575-811F7F34155A}"/>
              </a:ext>
            </a:extLst>
          </p:cNvPr>
          <p:cNvCxnSpPr>
            <a:cxnSpLocks/>
          </p:cNvCxnSpPr>
          <p:nvPr/>
        </p:nvCxnSpPr>
        <p:spPr>
          <a:xfrm>
            <a:off x="2413181" y="3543859"/>
            <a:ext cx="2776085" cy="0"/>
          </a:xfrm>
          <a:prstGeom prst="line">
            <a:avLst/>
          </a:prstGeom>
          <a:ln w="6350" cap="rnd">
            <a:solidFill>
              <a:srgbClr val="43B02A"/>
            </a:solidFill>
            <a:prstDash val="soli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4E9B252C-E997-4070-B060-19C84928DBAA}"/>
              </a:ext>
            </a:extLst>
          </p:cNvPr>
          <p:cNvGrpSpPr/>
          <p:nvPr/>
        </p:nvGrpSpPr>
        <p:grpSpPr>
          <a:xfrm>
            <a:off x="2843023" y="3586626"/>
            <a:ext cx="519584" cy="309112"/>
            <a:chOff x="2828274" y="4052618"/>
            <a:chExt cx="519584" cy="309112"/>
          </a:xfrm>
        </p:grpSpPr>
        <p:grpSp>
          <p:nvGrpSpPr>
            <p:cNvPr id="21" name="Group 20">
              <a:extLst>
                <a:ext uri="{FF2B5EF4-FFF2-40B4-BE49-F238E27FC236}">
                  <a16:creationId xmlns:a16="http://schemas.microsoft.com/office/drawing/2014/main" id="{68577EC1-C1E7-440D-A04C-3B38A9F2FFB6}"/>
                </a:ext>
              </a:extLst>
            </p:cNvPr>
            <p:cNvGrpSpPr/>
            <p:nvPr/>
          </p:nvGrpSpPr>
          <p:grpSpPr>
            <a:xfrm>
              <a:off x="2828274" y="4052618"/>
              <a:ext cx="519584" cy="309112"/>
              <a:chOff x="2828274" y="4052618"/>
              <a:chExt cx="519584" cy="309112"/>
            </a:xfrm>
          </p:grpSpPr>
          <p:sp>
            <p:nvSpPr>
              <p:cNvPr id="120" name="Oval 119">
                <a:extLst>
                  <a:ext uri="{FF2B5EF4-FFF2-40B4-BE49-F238E27FC236}">
                    <a16:creationId xmlns:a16="http://schemas.microsoft.com/office/drawing/2014/main" id="{2F9A806F-D8FC-43B1-98A0-A8E31993F60C}"/>
                  </a:ext>
                </a:extLst>
              </p:cNvPr>
              <p:cNvSpPr/>
              <p:nvPr/>
            </p:nvSpPr>
            <p:spPr bwMode="gray">
              <a:xfrm>
                <a:off x="2828274" y="4219029"/>
                <a:ext cx="519584" cy="142701"/>
              </a:xfrm>
              <a:prstGeom prst="ellipse">
                <a:avLst/>
              </a:prstGeom>
              <a:solidFill>
                <a:schemeClr val="tx1"/>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21" name="Oval 120">
                <a:extLst>
                  <a:ext uri="{FF2B5EF4-FFF2-40B4-BE49-F238E27FC236}">
                    <a16:creationId xmlns:a16="http://schemas.microsoft.com/office/drawing/2014/main" id="{D3E22A2C-7E03-43B0-87AF-A63E672C8F17}"/>
                  </a:ext>
                </a:extLst>
              </p:cNvPr>
              <p:cNvSpPr/>
              <p:nvPr/>
            </p:nvSpPr>
            <p:spPr bwMode="gray">
              <a:xfrm>
                <a:off x="2828274" y="4135823"/>
                <a:ext cx="519584" cy="142701"/>
              </a:xfrm>
              <a:prstGeom prst="ellipse">
                <a:avLst/>
              </a:prstGeom>
              <a:solidFill>
                <a:schemeClr val="tx1"/>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22" name="Oval 121">
                <a:extLst>
                  <a:ext uri="{FF2B5EF4-FFF2-40B4-BE49-F238E27FC236}">
                    <a16:creationId xmlns:a16="http://schemas.microsoft.com/office/drawing/2014/main" id="{FDB2DBC5-5303-4A5C-AA5B-7B9398450042}"/>
                  </a:ext>
                </a:extLst>
              </p:cNvPr>
              <p:cNvSpPr/>
              <p:nvPr/>
            </p:nvSpPr>
            <p:spPr bwMode="gray">
              <a:xfrm>
                <a:off x="2828274" y="4052618"/>
                <a:ext cx="519584" cy="142701"/>
              </a:xfrm>
              <a:prstGeom prst="ellipse">
                <a:avLst/>
              </a:prstGeom>
              <a:solidFill>
                <a:schemeClr val="tx1"/>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117" name="Freeform 6">
              <a:extLst>
                <a:ext uri="{FF2B5EF4-FFF2-40B4-BE49-F238E27FC236}">
                  <a16:creationId xmlns:a16="http://schemas.microsoft.com/office/drawing/2014/main" id="{D7876C52-B882-4958-86BC-B8186ED6FD4C}"/>
                </a:ext>
              </a:extLst>
            </p:cNvPr>
            <p:cNvSpPr>
              <a:spLocks noEditPoints="1"/>
            </p:cNvSpPr>
            <p:nvPr/>
          </p:nvSpPr>
          <p:spPr bwMode="auto">
            <a:xfrm>
              <a:off x="3016962" y="4074864"/>
              <a:ext cx="142209" cy="82385"/>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1" name="Rectangle 40">
            <a:extLst>
              <a:ext uri="{FF2B5EF4-FFF2-40B4-BE49-F238E27FC236}">
                <a16:creationId xmlns:a16="http://schemas.microsoft.com/office/drawing/2014/main" id="{FCA1A0BC-DE84-47D4-95B2-D4A0A615F43F}"/>
              </a:ext>
            </a:extLst>
          </p:cNvPr>
          <p:cNvSpPr/>
          <p:nvPr/>
        </p:nvSpPr>
        <p:spPr>
          <a:xfrm>
            <a:off x="6096001" y="2507653"/>
            <a:ext cx="1761008" cy="584775"/>
          </a:xfrm>
          <a:prstGeom prst="rect">
            <a:avLst/>
          </a:prstGeom>
        </p:spPr>
        <p:txBody>
          <a:bodyPr wrap="square">
            <a:spAutoFit/>
          </a:bodyPr>
          <a:lstStyle/>
          <a:p>
            <a:r>
              <a:rPr lang="da-DK" sz="1600" b="1" dirty="0">
                <a:solidFill>
                  <a:schemeClr val="bg1"/>
                </a:solidFill>
              </a:rPr>
              <a:t>Lorem ipsum dolor sit amet</a:t>
            </a:r>
            <a:endParaRPr lang="en-US" sz="1600" dirty="0">
              <a:solidFill>
                <a:schemeClr val="bg1"/>
              </a:solidFill>
            </a:endParaRPr>
          </a:p>
        </p:txBody>
      </p:sp>
      <p:sp>
        <p:nvSpPr>
          <p:cNvPr id="124" name="TextBox 123">
            <a:extLst>
              <a:ext uri="{FF2B5EF4-FFF2-40B4-BE49-F238E27FC236}">
                <a16:creationId xmlns:a16="http://schemas.microsoft.com/office/drawing/2014/main" id="{3B7A7C63-DF43-4360-830C-008DEAEDBF73}"/>
              </a:ext>
            </a:extLst>
          </p:cNvPr>
          <p:cNvSpPr txBox="1"/>
          <p:nvPr/>
        </p:nvSpPr>
        <p:spPr>
          <a:xfrm flipH="1">
            <a:off x="9649162" y="2507653"/>
            <a:ext cx="2147906" cy="584775"/>
          </a:xfrm>
          <a:prstGeom prst="rect">
            <a:avLst/>
          </a:prstGeom>
          <a:noFill/>
        </p:spPr>
        <p:txBody>
          <a:bodyPr wrap="square" rtlCol="0">
            <a:spAutoFit/>
          </a:bodyPr>
          <a:lstStyle/>
          <a:p>
            <a:r>
              <a:rPr lang="en-US" sz="1600" b="1" dirty="0">
                <a:solidFill>
                  <a:srgbClr val="43B02A"/>
                </a:solidFill>
              </a:rPr>
              <a:t>This is dummy text it is not here to be read.</a:t>
            </a:r>
            <a:endParaRPr lang="da-DK" sz="1600" b="1" dirty="0">
              <a:solidFill>
                <a:srgbClr val="43B02A"/>
              </a:solidFill>
            </a:endParaRPr>
          </a:p>
        </p:txBody>
      </p:sp>
      <p:grpSp>
        <p:nvGrpSpPr>
          <p:cNvPr id="65" name="Group 11">
            <a:extLst>
              <a:ext uri="{FF2B5EF4-FFF2-40B4-BE49-F238E27FC236}">
                <a16:creationId xmlns:a16="http://schemas.microsoft.com/office/drawing/2014/main" id="{E731E757-3223-4F05-ACFE-2A54EBAF37D0}"/>
              </a:ext>
            </a:extLst>
          </p:cNvPr>
          <p:cNvGrpSpPr>
            <a:grpSpLocks noChangeAspect="1"/>
          </p:cNvGrpSpPr>
          <p:nvPr/>
        </p:nvGrpSpPr>
        <p:grpSpPr bwMode="auto">
          <a:xfrm>
            <a:off x="8182152" y="2720231"/>
            <a:ext cx="902032" cy="875375"/>
            <a:chOff x="3149" y="4687"/>
            <a:chExt cx="1218" cy="1182"/>
          </a:xfrm>
          <a:solidFill>
            <a:srgbClr val="046A38"/>
          </a:solidFill>
        </p:grpSpPr>
        <p:sp>
          <p:nvSpPr>
            <p:cNvPr id="126" name="Freeform 12">
              <a:extLst>
                <a:ext uri="{FF2B5EF4-FFF2-40B4-BE49-F238E27FC236}">
                  <a16:creationId xmlns:a16="http://schemas.microsoft.com/office/drawing/2014/main" id="{22028B75-67FE-45A8-AE24-599A416C641F}"/>
                </a:ext>
              </a:extLst>
            </p:cNvPr>
            <p:cNvSpPr>
              <a:spLocks noEditPoints="1"/>
            </p:cNvSpPr>
            <p:nvPr/>
          </p:nvSpPr>
          <p:spPr bwMode="auto">
            <a:xfrm>
              <a:off x="3149" y="4789"/>
              <a:ext cx="1115" cy="1080"/>
            </a:xfrm>
            <a:custGeom>
              <a:avLst/>
              <a:gdLst>
                <a:gd name="T0" fmla="*/ 201 w 500"/>
                <a:gd name="T1" fmla="*/ 150 h 499"/>
                <a:gd name="T2" fmla="*/ 160 w 500"/>
                <a:gd name="T3" fmla="*/ 152 h 499"/>
                <a:gd name="T4" fmla="*/ 84 w 500"/>
                <a:gd name="T5" fmla="*/ 272 h 499"/>
                <a:gd name="T6" fmla="*/ 96 w 500"/>
                <a:gd name="T7" fmla="*/ 327 h 499"/>
                <a:gd name="T8" fmla="*/ 0 w 500"/>
                <a:gd name="T9" fmla="*/ 489 h 499"/>
                <a:gd name="T10" fmla="*/ 310 w 500"/>
                <a:gd name="T11" fmla="*/ 499 h 499"/>
                <a:gd name="T12" fmla="*/ 320 w 500"/>
                <a:gd name="T13" fmla="*/ 423 h 499"/>
                <a:gd name="T14" fmla="*/ 213 w 500"/>
                <a:gd name="T15" fmla="*/ 327 h 499"/>
                <a:gd name="T16" fmla="*/ 237 w 500"/>
                <a:gd name="T17" fmla="*/ 247 h 499"/>
                <a:gd name="T18" fmla="*/ 500 w 500"/>
                <a:gd name="T19" fmla="*/ 150 h 499"/>
                <a:gd name="T20" fmla="*/ 105 w 500"/>
                <a:gd name="T21" fmla="*/ 231 h 499"/>
                <a:gd name="T22" fmla="*/ 160 w 500"/>
                <a:gd name="T23" fmla="*/ 173 h 499"/>
                <a:gd name="T24" fmla="*/ 187 w 500"/>
                <a:gd name="T25" fmla="*/ 209 h 499"/>
                <a:gd name="T26" fmla="*/ 127 w 500"/>
                <a:gd name="T27" fmla="*/ 233 h 499"/>
                <a:gd name="T28" fmla="*/ 105 w 500"/>
                <a:gd name="T29" fmla="*/ 231 h 499"/>
                <a:gd name="T30" fmla="*/ 219 w 500"/>
                <a:gd name="T31" fmla="*/ 405 h 499"/>
                <a:gd name="T32" fmla="*/ 225 w 500"/>
                <a:gd name="T33" fmla="*/ 351 h 499"/>
                <a:gd name="T34" fmla="*/ 225 w 500"/>
                <a:gd name="T35" fmla="*/ 348 h 499"/>
                <a:gd name="T36" fmla="*/ 299 w 500"/>
                <a:gd name="T37" fmla="*/ 478 h 499"/>
                <a:gd name="T38" fmla="*/ 22 w 500"/>
                <a:gd name="T39" fmla="*/ 423 h 499"/>
                <a:gd name="T40" fmla="*/ 96 w 500"/>
                <a:gd name="T41" fmla="*/ 348 h 499"/>
                <a:gd name="T42" fmla="*/ 102 w 500"/>
                <a:gd name="T43" fmla="*/ 405 h 499"/>
                <a:gd name="T44" fmla="*/ 150 w 500"/>
                <a:gd name="T45" fmla="*/ 380 h 499"/>
                <a:gd name="T46" fmla="*/ 160 w 500"/>
                <a:gd name="T47" fmla="*/ 414 h 499"/>
                <a:gd name="T48" fmla="*/ 171 w 500"/>
                <a:gd name="T49" fmla="*/ 380 h 499"/>
                <a:gd name="T50" fmla="*/ 214 w 500"/>
                <a:gd name="T51" fmla="*/ 406 h 499"/>
                <a:gd name="T52" fmla="*/ 117 w 500"/>
                <a:gd name="T53" fmla="*/ 348 h 499"/>
                <a:gd name="T54" fmla="*/ 203 w 500"/>
                <a:gd name="T55" fmla="*/ 351 h 499"/>
                <a:gd name="T56" fmla="*/ 166 w 500"/>
                <a:gd name="T57" fmla="*/ 352 h 499"/>
                <a:gd name="T58" fmla="*/ 117 w 500"/>
                <a:gd name="T59" fmla="*/ 376 h 499"/>
                <a:gd name="T60" fmla="*/ 160 w 500"/>
                <a:gd name="T61" fmla="*/ 327 h 499"/>
                <a:gd name="T62" fmla="*/ 105 w 500"/>
                <a:gd name="T63" fmla="*/ 255 h 499"/>
                <a:gd name="T64" fmla="*/ 184 w 500"/>
                <a:gd name="T65" fmla="*/ 232 h 499"/>
                <a:gd name="T66" fmla="*/ 215 w 500"/>
                <a:gd name="T67" fmla="*/ 272 h 499"/>
                <a:gd name="T68" fmla="*/ 222 w 500"/>
                <a:gd name="T69" fmla="*/ 150 h 499"/>
                <a:gd name="T70" fmla="*/ 478 w 500"/>
                <a:gd name="T71" fmla="*/ 150 h 499"/>
                <a:gd name="T72" fmla="*/ 350 w 500"/>
                <a:gd name="T73" fmla="*/ 27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0" h="499">
                  <a:moveTo>
                    <a:pt x="350" y="0"/>
                  </a:moveTo>
                  <a:cubicBezTo>
                    <a:pt x="268" y="0"/>
                    <a:pt x="201" y="67"/>
                    <a:pt x="201" y="150"/>
                  </a:cubicBezTo>
                  <a:cubicBezTo>
                    <a:pt x="201" y="154"/>
                    <a:pt x="201" y="159"/>
                    <a:pt x="202" y="164"/>
                  </a:cubicBezTo>
                  <a:cubicBezTo>
                    <a:pt x="190" y="156"/>
                    <a:pt x="176" y="152"/>
                    <a:pt x="160" y="152"/>
                  </a:cubicBezTo>
                  <a:cubicBezTo>
                    <a:pt x="118" y="152"/>
                    <a:pt x="84" y="186"/>
                    <a:pt x="84" y="228"/>
                  </a:cubicBezTo>
                  <a:cubicBezTo>
                    <a:pt x="84" y="272"/>
                    <a:pt x="84" y="272"/>
                    <a:pt x="84" y="272"/>
                  </a:cubicBezTo>
                  <a:cubicBezTo>
                    <a:pt x="84" y="294"/>
                    <a:pt x="93" y="313"/>
                    <a:pt x="107" y="327"/>
                  </a:cubicBezTo>
                  <a:cubicBezTo>
                    <a:pt x="96" y="327"/>
                    <a:pt x="96" y="327"/>
                    <a:pt x="96" y="327"/>
                  </a:cubicBezTo>
                  <a:cubicBezTo>
                    <a:pt x="43" y="327"/>
                    <a:pt x="0" y="370"/>
                    <a:pt x="0" y="423"/>
                  </a:cubicBezTo>
                  <a:cubicBezTo>
                    <a:pt x="0" y="489"/>
                    <a:pt x="0" y="489"/>
                    <a:pt x="0" y="489"/>
                  </a:cubicBezTo>
                  <a:cubicBezTo>
                    <a:pt x="0" y="495"/>
                    <a:pt x="5" y="499"/>
                    <a:pt x="11" y="499"/>
                  </a:cubicBezTo>
                  <a:cubicBezTo>
                    <a:pt x="310" y="499"/>
                    <a:pt x="310" y="499"/>
                    <a:pt x="310" y="499"/>
                  </a:cubicBezTo>
                  <a:cubicBezTo>
                    <a:pt x="316" y="499"/>
                    <a:pt x="320" y="495"/>
                    <a:pt x="320" y="489"/>
                  </a:cubicBezTo>
                  <a:cubicBezTo>
                    <a:pt x="320" y="423"/>
                    <a:pt x="320" y="423"/>
                    <a:pt x="320" y="423"/>
                  </a:cubicBezTo>
                  <a:cubicBezTo>
                    <a:pt x="320" y="370"/>
                    <a:pt x="277" y="327"/>
                    <a:pt x="225" y="327"/>
                  </a:cubicBezTo>
                  <a:cubicBezTo>
                    <a:pt x="213" y="327"/>
                    <a:pt x="213" y="327"/>
                    <a:pt x="213" y="327"/>
                  </a:cubicBezTo>
                  <a:cubicBezTo>
                    <a:pt x="228" y="313"/>
                    <a:pt x="237" y="294"/>
                    <a:pt x="237" y="272"/>
                  </a:cubicBezTo>
                  <a:cubicBezTo>
                    <a:pt x="237" y="247"/>
                    <a:pt x="237" y="247"/>
                    <a:pt x="237" y="247"/>
                  </a:cubicBezTo>
                  <a:cubicBezTo>
                    <a:pt x="264" y="279"/>
                    <a:pt x="305" y="299"/>
                    <a:pt x="350" y="299"/>
                  </a:cubicBezTo>
                  <a:cubicBezTo>
                    <a:pt x="433" y="299"/>
                    <a:pt x="500" y="232"/>
                    <a:pt x="500" y="150"/>
                  </a:cubicBezTo>
                  <a:cubicBezTo>
                    <a:pt x="500" y="67"/>
                    <a:pt x="433" y="0"/>
                    <a:pt x="350" y="0"/>
                  </a:cubicBezTo>
                  <a:close/>
                  <a:moveTo>
                    <a:pt x="105" y="231"/>
                  </a:moveTo>
                  <a:cubicBezTo>
                    <a:pt x="105" y="228"/>
                    <a:pt x="105" y="228"/>
                    <a:pt x="105" y="228"/>
                  </a:cubicBezTo>
                  <a:cubicBezTo>
                    <a:pt x="105" y="198"/>
                    <a:pt x="130" y="173"/>
                    <a:pt x="160" y="173"/>
                  </a:cubicBezTo>
                  <a:cubicBezTo>
                    <a:pt x="190" y="173"/>
                    <a:pt x="214" y="196"/>
                    <a:pt x="215" y="225"/>
                  </a:cubicBezTo>
                  <a:cubicBezTo>
                    <a:pt x="187" y="209"/>
                    <a:pt x="187" y="209"/>
                    <a:pt x="187" y="209"/>
                  </a:cubicBezTo>
                  <a:cubicBezTo>
                    <a:pt x="183" y="206"/>
                    <a:pt x="177" y="207"/>
                    <a:pt x="174" y="211"/>
                  </a:cubicBezTo>
                  <a:cubicBezTo>
                    <a:pt x="162" y="225"/>
                    <a:pt x="145" y="233"/>
                    <a:pt x="127" y="233"/>
                  </a:cubicBezTo>
                  <a:cubicBezTo>
                    <a:pt x="105" y="233"/>
                    <a:pt x="105" y="233"/>
                    <a:pt x="105" y="233"/>
                  </a:cubicBezTo>
                  <a:lnTo>
                    <a:pt x="105" y="231"/>
                  </a:lnTo>
                  <a:close/>
                  <a:moveTo>
                    <a:pt x="214" y="406"/>
                  </a:moveTo>
                  <a:cubicBezTo>
                    <a:pt x="216" y="406"/>
                    <a:pt x="217" y="406"/>
                    <a:pt x="219" y="405"/>
                  </a:cubicBezTo>
                  <a:cubicBezTo>
                    <a:pt x="222" y="403"/>
                    <a:pt x="225" y="399"/>
                    <a:pt x="225" y="395"/>
                  </a:cubicBezTo>
                  <a:cubicBezTo>
                    <a:pt x="225" y="351"/>
                    <a:pt x="225" y="351"/>
                    <a:pt x="225" y="351"/>
                  </a:cubicBezTo>
                  <a:cubicBezTo>
                    <a:pt x="225" y="350"/>
                    <a:pt x="225" y="349"/>
                    <a:pt x="224" y="348"/>
                  </a:cubicBezTo>
                  <a:cubicBezTo>
                    <a:pt x="225" y="348"/>
                    <a:pt x="225" y="348"/>
                    <a:pt x="225" y="348"/>
                  </a:cubicBezTo>
                  <a:cubicBezTo>
                    <a:pt x="266" y="348"/>
                    <a:pt x="299" y="382"/>
                    <a:pt x="299" y="423"/>
                  </a:cubicBezTo>
                  <a:cubicBezTo>
                    <a:pt x="299" y="478"/>
                    <a:pt x="299" y="478"/>
                    <a:pt x="299" y="478"/>
                  </a:cubicBezTo>
                  <a:cubicBezTo>
                    <a:pt x="22" y="478"/>
                    <a:pt x="22" y="478"/>
                    <a:pt x="22" y="478"/>
                  </a:cubicBezTo>
                  <a:cubicBezTo>
                    <a:pt x="22" y="423"/>
                    <a:pt x="22" y="423"/>
                    <a:pt x="22" y="423"/>
                  </a:cubicBezTo>
                  <a:cubicBezTo>
                    <a:pt x="22" y="382"/>
                    <a:pt x="55" y="348"/>
                    <a:pt x="96" y="348"/>
                  </a:cubicBezTo>
                  <a:cubicBezTo>
                    <a:pt x="96" y="348"/>
                    <a:pt x="96" y="348"/>
                    <a:pt x="96" y="348"/>
                  </a:cubicBezTo>
                  <a:cubicBezTo>
                    <a:pt x="96" y="395"/>
                    <a:pt x="96" y="395"/>
                    <a:pt x="96" y="395"/>
                  </a:cubicBezTo>
                  <a:cubicBezTo>
                    <a:pt x="96" y="399"/>
                    <a:pt x="98" y="403"/>
                    <a:pt x="102" y="405"/>
                  </a:cubicBezTo>
                  <a:cubicBezTo>
                    <a:pt x="105" y="407"/>
                    <a:pt x="109" y="406"/>
                    <a:pt x="112" y="404"/>
                  </a:cubicBezTo>
                  <a:cubicBezTo>
                    <a:pt x="150" y="380"/>
                    <a:pt x="150" y="380"/>
                    <a:pt x="150" y="380"/>
                  </a:cubicBezTo>
                  <a:cubicBezTo>
                    <a:pt x="150" y="404"/>
                    <a:pt x="150" y="404"/>
                    <a:pt x="150" y="404"/>
                  </a:cubicBezTo>
                  <a:cubicBezTo>
                    <a:pt x="150" y="409"/>
                    <a:pt x="154" y="414"/>
                    <a:pt x="160" y="414"/>
                  </a:cubicBezTo>
                  <a:cubicBezTo>
                    <a:pt x="166" y="414"/>
                    <a:pt x="171" y="409"/>
                    <a:pt x="171" y="404"/>
                  </a:cubicBezTo>
                  <a:cubicBezTo>
                    <a:pt x="171" y="380"/>
                    <a:pt x="171" y="380"/>
                    <a:pt x="171" y="380"/>
                  </a:cubicBezTo>
                  <a:cubicBezTo>
                    <a:pt x="208" y="404"/>
                    <a:pt x="208" y="404"/>
                    <a:pt x="208" y="404"/>
                  </a:cubicBezTo>
                  <a:cubicBezTo>
                    <a:pt x="210" y="405"/>
                    <a:pt x="212" y="406"/>
                    <a:pt x="214" y="406"/>
                  </a:cubicBezTo>
                  <a:close/>
                  <a:moveTo>
                    <a:pt x="117" y="376"/>
                  </a:moveTo>
                  <a:cubicBezTo>
                    <a:pt x="117" y="348"/>
                    <a:pt x="117" y="348"/>
                    <a:pt x="117" y="348"/>
                  </a:cubicBezTo>
                  <a:cubicBezTo>
                    <a:pt x="204" y="348"/>
                    <a:pt x="204" y="348"/>
                    <a:pt x="204" y="348"/>
                  </a:cubicBezTo>
                  <a:cubicBezTo>
                    <a:pt x="203" y="349"/>
                    <a:pt x="203" y="350"/>
                    <a:pt x="203" y="351"/>
                  </a:cubicBezTo>
                  <a:cubicBezTo>
                    <a:pt x="203" y="376"/>
                    <a:pt x="203" y="376"/>
                    <a:pt x="203" y="376"/>
                  </a:cubicBezTo>
                  <a:cubicBezTo>
                    <a:pt x="166" y="352"/>
                    <a:pt x="166" y="352"/>
                    <a:pt x="166" y="352"/>
                  </a:cubicBezTo>
                  <a:cubicBezTo>
                    <a:pt x="163" y="350"/>
                    <a:pt x="158" y="350"/>
                    <a:pt x="155" y="352"/>
                  </a:cubicBezTo>
                  <a:lnTo>
                    <a:pt x="117" y="376"/>
                  </a:lnTo>
                  <a:close/>
                  <a:moveTo>
                    <a:pt x="215" y="272"/>
                  </a:moveTo>
                  <a:cubicBezTo>
                    <a:pt x="215" y="302"/>
                    <a:pt x="191" y="327"/>
                    <a:pt x="160" y="327"/>
                  </a:cubicBezTo>
                  <a:cubicBezTo>
                    <a:pt x="130" y="327"/>
                    <a:pt x="105" y="302"/>
                    <a:pt x="105" y="272"/>
                  </a:cubicBezTo>
                  <a:cubicBezTo>
                    <a:pt x="105" y="255"/>
                    <a:pt x="105" y="255"/>
                    <a:pt x="105" y="255"/>
                  </a:cubicBezTo>
                  <a:cubicBezTo>
                    <a:pt x="127" y="255"/>
                    <a:pt x="127" y="255"/>
                    <a:pt x="127" y="255"/>
                  </a:cubicBezTo>
                  <a:cubicBezTo>
                    <a:pt x="148" y="255"/>
                    <a:pt x="169" y="246"/>
                    <a:pt x="184" y="232"/>
                  </a:cubicBezTo>
                  <a:cubicBezTo>
                    <a:pt x="215" y="250"/>
                    <a:pt x="215" y="250"/>
                    <a:pt x="215" y="250"/>
                  </a:cubicBezTo>
                  <a:lnTo>
                    <a:pt x="215" y="272"/>
                  </a:lnTo>
                  <a:close/>
                  <a:moveTo>
                    <a:pt x="350" y="278"/>
                  </a:moveTo>
                  <a:cubicBezTo>
                    <a:pt x="280" y="278"/>
                    <a:pt x="222" y="220"/>
                    <a:pt x="222" y="150"/>
                  </a:cubicBezTo>
                  <a:cubicBezTo>
                    <a:pt x="222" y="79"/>
                    <a:pt x="280" y="22"/>
                    <a:pt x="350" y="22"/>
                  </a:cubicBezTo>
                  <a:cubicBezTo>
                    <a:pt x="421" y="22"/>
                    <a:pt x="478" y="79"/>
                    <a:pt x="478" y="150"/>
                  </a:cubicBezTo>
                  <a:cubicBezTo>
                    <a:pt x="478" y="220"/>
                    <a:pt x="421" y="278"/>
                    <a:pt x="350" y="278"/>
                  </a:cubicBezTo>
                  <a:close/>
                  <a:moveTo>
                    <a:pt x="350" y="278"/>
                  </a:moveTo>
                  <a:cubicBezTo>
                    <a:pt x="350" y="278"/>
                    <a:pt x="350" y="278"/>
                    <a:pt x="350" y="278"/>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13">
              <a:extLst>
                <a:ext uri="{FF2B5EF4-FFF2-40B4-BE49-F238E27FC236}">
                  <a16:creationId xmlns:a16="http://schemas.microsoft.com/office/drawing/2014/main" id="{4BE7C381-FC75-428F-84BF-E8F8F1986D8A}"/>
                </a:ext>
              </a:extLst>
            </p:cNvPr>
            <p:cNvSpPr>
              <a:spLocks noEditPoints="1"/>
            </p:cNvSpPr>
            <p:nvPr/>
          </p:nvSpPr>
          <p:spPr bwMode="auto">
            <a:xfrm>
              <a:off x="3484" y="5724"/>
              <a:ext cx="47" cy="45"/>
            </a:xfrm>
            <a:custGeom>
              <a:avLst/>
              <a:gdLst>
                <a:gd name="T0" fmla="*/ 18 w 21"/>
                <a:gd name="T1" fmla="*/ 3 h 21"/>
                <a:gd name="T2" fmla="*/ 10 w 21"/>
                <a:gd name="T3" fmla="*/ 0 h 21"/>
                <a:gd name="T4" fmla="*/ 3 w 21"/>
                <a:gd name="T5" fmla="*/ 3 h 21"/>
                <a:gd name="T6" fmla="*/ 0 w 21"/>
                <a:gd name="T7" fmla="*/ 10 h 21"/>
                <a:gd name="T8" fmla="*/ 3 w 21"/>
                <a:gd name="T9" fmla="*/ 18 h 21"/>
                <a:gd name="T10" fmla="*/ 10 w 21"/>
                <a:gd name="T11" fmla="*/ 21 h 21"/>
                <a:gd name="T12" fmla="*/ 18 w 21"/>
                <a:gd name="T13" fmla="*/ 18 h 21"/>
                <a:gd name="T14" fmla="*/ 21 w 21"/>
                <a:gd name="T15" fmla="*/ 10 h 21"/>
                <a:gd name="T16" fmla="*/ 18 w 21"/>
                <a:gd name="T17" fmla="*/ 3 h 21"/>
                <a:gd name="T18" fmla="*/ 18 w 21"/>
                <a:gd name="T19" fmla="*/ 3 h 21"/>
                <a:gd name="T20" fmla="*/ 18 w 21"/>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8" y="3"/>
                  </a:moveTo>
                  <a:cubicBezTo>
                    <a:pt x="16" y="1"/>
                    <a:pt x="13" y="0"/>
                    <a:pt x="10" y="0"/>
                  </a:cubicBezTo>
                  <a:cubicBezTo>
                    <a:pt x="8" y="0"/>
                    <a:pt x="5" y="1"/>
                    <a:pt x="3" y="3"/>
                  </a:cubicBezTo>
                  <a:cubicBezTo>
                    <a:pt x="1" y="5"/>
                    <a:pt x="0" y="8"/>
                    <a:pt x="0" y="10"/>
                  </a:cubicBezTo>
                  <a:cubicBezTo>
                    <a:pt x="0" y="13"/>
                    <a:pt x="1" y="16"/>
                    <a:pt x="3" y="18"/>
                  </a:cubicBezTo>
                  <a:cubicBezTo>
                    <a:pt x="5" y="20"/>
                    <a:pt x="8" y="21"/>
                    <a:pt x="10" y="21"/>
                  </a:cubicBezTo>
                  <a:cubicBezTo>
                    <a:pt x="13" y="21"/>
                    <a:pt x="16" y="20"/>
                    <a:pt x="18" y="18"/>
                  </a:cubicBezTo>
                  <a:cubicBezTo>
                    <a:pt x="20" y="16"/>
                    <a:pt x="21" y="13"/>
                    <a:pt x="21" y="10"/>
                  </a:cubicBezTo>
                  <a:cubicBezTo>
                    <a:pt x="21" y="8"/>
                    <a:pt x="20" y="5"/>
                    <a:pt x="18" y="3"/>
                  </a:cubicBezTo>
                  <a:close/>
                  <a:moveTo>
                    <a:pt x="18" y="3"/>
                  </a:moveTo>
                  <a:cubicBezTo>
                    <a:pt x="18" y="3"/>
                    <a:pt x="18" y="3"/>
                    <a:pt x="18" y="3"/>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14">
              <a:extLst>
                <a:ext uri="{FF2B5EF4-FFF2-40B4-BE49-F238E27FC236}">
                  <a16:creationId xmlns:a16="http://schemas.microsoft.com/office/drawing/2014/main" id="{0F9DADDA-54E9-4970-8D52-95EA9BED5E17}"/>
                </a:ext>
              </a:extLst>
            </p:cNvPr>
            <p:cNvSpPr>
              <a:spLocks noEditPoints="1"/>
            </p:cNvSpPr>
            <p:nvPr/>
          </p:nvSpPr>
          <p:spPr bwMode="auto">
            <a:xfrm>
              <a:off x="3613" y="5700"/>
              <a:ext cx="154" cy="46"/>
            </a:xfrm>
            <a:custGeom>
              <a:avLst/>
              <a:gdLst>
                <a:gd name="T0" fmla="*/ 58 w 69"/>
                <a:gd name="T1" fmla="*/ 0 h 21"/>
                <a:gd name="T2" fmla="*/ 10 w 69"/>
                <a:gd name="T3" fmla="*/ 0 h 21"/>
                <a:gd name="T4" fmla="*/ 0 w 69"/>
                <a:gd name="T5" fmla="*/ 10 h 21"/>
                <a:gd name="T6" fmla="*/ 10 w 69"/>
                <a:gd name="T7" fmla="*/ 21 h 21"/>
                <a:gd name="T8" fmla="*/ 58 w 69"/>
                <a:gd name="T9" fmla="*/ 21 h 21"/>
                <a:gd name="T10" fmla="*/ 69 w 69"/>
                <a:gd name="T11" fmla="*/ 10 h 21"/>
                <a:gd name="T12" fmla="*/ 58 w 69"/>
                <a:gd name="T13" fmla="*/ 0 h 21"/>
                <a:gd name="T14" fmla="*/ 58 w 69"/>
                <a:gd name="T15" fmla="*/ 0 h 21"/>
                <a:gd name="T16" fmla="*/ 58 w 6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21">
                  <a:moveTo>
                    <a:pt x="58" y="0"/>
                  </a:moveTo>
                  <a:cubicBezTo>
                    <a:pt x="10" y="0"/>
                    <a:pt x="10" y="0"/>
                    <a:pt x="10" y="0"/>
                  </a:cubicBezTo>
                  <a:cubicBezTo>
                    <a:pt x="5" y="0"/>
                    <a:pt x="0" y="4"/>
                    <a:pt x="0" y="10"/>
                  </a:cubicBezTo>
                  <a:cubicBezTo>
                    <a:pt x="0" y="16"/>
                    <a:pt x="5" y="21"/>
                    <a:pt x="10" y="21"/>
                  </a:cubicBezTo>
                  <a:cubicBezTo>
                    <a:pt x="58" y="21"/>
                    <a:pt x="58" y="21"/>
                    <a:pt x="58" y="21"/>
                  </a:cubicBezTo>
                  <a:cubicBezTo>
                    <a:pt x="64" y="21"/>
                    <a:pt x="69" y="16"/>
                    <a:pt x="69" y="10"/>
                  </a:cubicBezTo>
                  <a:cubicBezTo>
                    <a:pt x="69" y="4"/>
                    <a:pt x="64" y="0"/>
                    <a:pt x="58" y="0"/>
                  </a:cubicBezTo>
                  <a:close/>
                  <a:moveTo>
                    <a:pt x="58" y="0"/>
                  </a:moveTo>
                  <a:cubicBezTo>
                    <a:pt x="58" y="0"/>
                    <a:pt x="58" y="0"/>
                    <a:pt x="58"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5">
              <a:extLst>
                <a:ext uri="{FF2B5EF4-FFF2-40B4-BE49-F238E27FC236}">
                  <a16:creationId xmlns:a16="http://schemas.microsoft.com/office/drawing/2014/main" id="{801A87AA-79B5-4BE7-BE5D-97DDEFF45931}"/>
                </a:ext>
              </a:extLst>
            </p:cNvPr>
            <p:cNvSpPr>
              <a:spLocks noEditPoints="1"/>
            </p:cNvSpPr>
            <p:nvPr/>
          </p:nvSpPr>
          <p:spPr bwMode="auto">
            <a:xfrm>
              <a:off x="3497" y="4687"/>
              <a:ext cx="870" cy="851"/>
            </a:xfrm>
            <a:custGeom>
              <a:avLst/>
              <a:gdLst>
                <a:gd name="T0" fmla="*/ 194 w 390"/>
                <a:gd name="T1" fmla="*/ 0 h 393"/>
                <a:gd name="T2" fmla="*/ 67 w 390"/>
                <a:gd name="T3" fmla="*/ 47 h 393"/>
                <a:gd name="T4" fmla="*/ 1 w 390"/>
                <a:gd name="T5" fmla="*/ 164 h 393"/>
                <a:gd name="T6" fmla="*/ 9 w 390"/>
                <a:gd name="T7" fmla="*/ 177 h 393"/>
                <a:gd name="T8" fmla="*/ 22 w 390"/>
                <a:gd name="T9" fmla="*/ 168 h 393"/>
                <a:gd name="T10" fmla="*/ 194 w 390"/>
                <a:gd name="T11" fmla="*/ 22 h 393"/>
                <a:gd name="T12" fmla="*/ 369 w 390"/>
                <a:gd name="T13" fmla="*/ 197 h 393"/>
                <a:gd name="T14" fmla="*/ 194 w 390"/>
                <a:gd name="T15" fmla="*/ 372 h 393"/>
                <a:gd name="T16" fmla="*/ 184 w 390"/>
                <a:gd name="T17" fmla="*/ 382 h 393"/>
                <a:gd name="T18" fmla="*/ 194 w 390"/>
                <a:gd name="T19" fmla="*/ 393 h 393"/>
                <a:gd name="T20" fmla="*/ 390 w 390"/>
                <a:gd name="T21" fmla="*/ 197 h 393"/>
                <a:gd name="T22" fmla="*/ 194 w 390"/>
                <a:gd name="T23" fmla="*/ 0 h 393"/>
                <a:gd name="T24" fmla="*/ 194 w 390"/>
                <a:gd name="T25" fmla="*/ 0 h 393"/>
                <a:gd name="T26" fmla="*/ 194 w 390"/>
                <a:gd name="T27"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0" h="393">
                  <a:moveTo>
                    <a:pt x="194" y="0"/>
                  </a:moveTo>
                  <a:cubicBezTo>
                    <a:pt x="147" y="0"/>
                    <a:pt x="102" y="17"/>
                    <a:pt x="67" y="47"/>
                  </a:cubicBezTo>
                  <a:cubicBezTo>
                    <a:pt x="32" y="77"/>
                    <a:pt x="8" y="119"/>
                    <a:pt x="1" y="164"/>
                  </a:cubicBezTo>
                  <a:cubicBezTo>
                    <a:pt x="0" y="170"/>
                    <a:pt x="4" y="176"/>
                    <a:pt x="9" y="177"/>
                  </a:cubicBezTo>
                  <a:cubicBezTo>
                    <a:pt x="15" y="178"/>
                    <a:pt x="21" y="174"/>
                    <a:pt x="22" y="168"/>
                  </a:cubicBezTo>
                  <a:cubicBezTo>
                    <a:pt x="36" y="83"/>
                    <a:pt x="108" y="22"/>
                    <a:pt x="194" y="22"/>
                  </a:cubicBezTo>
                  <a:cubicBezTo>
                    <a:pt x="291" y="22"/>
                    <a:pt x="369" y="100"/>
                    <a:pt x="369" y="197"/>
                  </a:cubicBezTo>
                  <a:cubicBezTo>
                    <a:pt x="369" y="293"/>
                    <a:pt x="291" y="372"/>
                    <a:pt x="194" y="372"/>
                  </a:cubicBezTo>
                  <a:cubicBezTo>
                    <a:pt x="188" y="372"/>
                    <a:pt x="184" y="376"/>
                    <a:pt x="184" y="382"/>
                  </a:cubicBezTo>
                  <a:cubicBezTo>
                    <a:pt x="184" y="388"/>
                    <a:pt x="188" y="393"/>
                    <a:pt x="194" y="393"/>
                  </a:cubicBezTo>
                  <a:cubicBezTo>
                    <a:pt x="302" y="393"/>
                    <a:pt x="390" y="305"/>
                    <a:pt x="390" y="197"/>
                  </a:cubicBezTo>
                  <a:cubicBezTo>
                    <a:pt x="390" y="88"/>
                    <a:pt x="302" y="0"/>
                    <a:pt x="194" y="0"/>
                  </a:cubicBezTo>
                  <a:close/>
                  <a:moveTo>
                    <a:pt x="194" y="0"/>
                  </a:moveTo>
                  <a:cubicBezTo>
                    <a:pt x="194" y="0"/>
                    <a:pt x="194" y="0"/>
                    <a:pt x="194"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16">
              <a:extLst>
                <a:ext uri="{FF2B5EF4-FFF2-40B4-BE49-F238E27FC236}">
                  <a16:creationId xmlns:a16="http://schemas.microsoft.com/office/drawing/2014/main" id="{AB4EE5A0-9E06-450A-B2EA-E1C2DF0AFDFA}"/>
                </a:ext>
              </a:extLst>
            </p:cNvPr>
            <p:cNvSpPr>
              <a:spLocks noEditPoints="1"/>
            </p:cNvSpPr>
            <p:nvPr/>
          </p:nvSpPr>
          <p:spPr bwMode="auto">
            <a:xfrm>
              <a:off x="3827" y="5482"/>
              <a:ext cx="51" cy="49"/>
            </a:xfrm>
            <a:custGeom>
              <a:avLst/>
              <a:gdLst>
                <a:gd name="T0" fmla="*/ 13 w 23"/>
                <a:gd name="T1" fmla="*/ 1 h 23"/>
                <a:gd name="T2" fmla="*/ 13 w 23"/>
                <a:gd name="T3" fmla="*/ 1 h 23"/>
                <a:gd name="T4" fmla="*/ 1 w 23"/>
                <a:gd name="T5" fmla="*/ 10 h 23"/>
                <a:gd name="T6" fmla="*/ 9 w 23"/>
                <a:gd name="T7" fmla="*/ 22 h 23"/>
                <a:gd name="T8" fmla="*/ 11 w 23"/>
                <a:gd name="T9" fmla="*/ 23 h 23"/>
                <a:gd name="T10" fmla="*/ 22 w 23"/>
                <a:gd name="T11" fmla="*/ 14 h 23"/>
                <a:gd name="T12" fmla="*/ 13 w 23"/>
                <a:gd name="T13" fmla="*/ 1 h 23"/>
                <a:gd name="T14" fmla="*/ 13 w 23"/>
                <a:gd name="T15" fmla="*/ 1 h 23"/>
                <a:gd name="T16" fmla="*/ 13 w 23"/>
                <a:gd name="T1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3">
                  <a:moveTo>
                    <a:pt x="13" y="1"/>
                  </a:moveTo>
                  <a:cubicBezTo>
                    <a:pt x="13" y="1"/>
                    <a:pt x="13" y="1"/>
                    <a:pt x="13" y="1"/>
                  </a:cubicBezTo>
                  <a:cubicBezTo>
                    <a:pt x="7" y="0"/>
                    <a:pt x="2" y="4"/>
                    <a:pt x="1" y="10"/>
                  </a:cubicBezTo>
                  <a:cubicBezTo>
                    <a:pt x="0" y="16"/>
                    <a:pt x="3" y="21"/>
                    <a:pt x="9" y="22"/>
                  </a:cubicBezTo>
                  <a:cubicBezTo>
                    <a:pt x="10" y="23"/>
                    <a:pt x="10" y="23"/>
                    <a:pt x="11" y="23"/>
                  </a:cubicBezTo>
                  <a:cubicBezTo>
                    <a:pt x="16" y="23"/>
                    <a:pt x="21" y="19"/>
                    <a:pt x="22" y="14"/>
                  </a:cubicBezTo>
                  <a:cubicBezTo>
                    <a:pt x="23" y="8"/>
                    <a:pt x="19" y="3"/>
                    <a:pt x="13" y="1"/>
                  </a:cubicBezTo>
                  <a:close/>
                  <a:moveTo>
                    <a:pt x="13" y="1"/>
                  </a:moveTo>
                  <a:cubicBezTo>
                    <a:pt x="13" y="1"/>
                    <a:pt x="13" y="1"/>
                    <a:pt x="13" y="1"/>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17">
              <a:extLst>
                <a:ext uri="{FF2B5EF4-FFF2-40B4-BE49-F238E27FC236}">
                  <a16:creationId xmlns:a16="http://schemas.microsoft.com/office/drawing/2014/main" id="{E0AE35F7-DC77-43C6-BF04-B9C519E63CD8}"/>
                </a:ext>
              </a:extLst>
            </p:cNvPr>
            <p:cNvSpPr>
              <a:spLocks noEditPoints="1"/>
            </p:cNvSpPr>
            <p:nvPr/>
          </p:nvSpPr>
          <p:spPr bwMode="auto">
            <a:xfrm>
              <a:off x="3838" y="4979"/>
              <a:ext cx="230" cy="156"/>
            </a:xfrm>
            <a:custGeom>
              <a:avLst/>
              <a:gdLst>
                <a:gd name="T0" fmla="*/ 99 w 103"/>
                <a:gd name="T1" fmla="*/ 4 h 72"/>
                <a:gd name="T2" fmla="*/ 84 w 103"/>
                <a:gd name="T3" fmla="*/ 4 h 72"/>
                <a:gd name="T4" fmla="*/ 41 w 103"/>
                <a:gd name="T5" fmla="*/ 47 h 72"/>
                <a:gd name="T6" fmla="*/ 19 w 103"/>
                <a:gd name="T7" fmla="*/ 24 h 72"/>
                <a:gd name="T8" fmla="*/ 4 w 103"/>
                <a:gd name="T9" fmla="*/ 24 h 72"/>
                <a:gd name="T10" fmla="*/ 4 w 103"/>
                <a:gd name="T11" fmla="*/ 39 h 72"/>
                <a:gd name="T12" fmla="*/ 34 w 103"/>
                <a:gd name="T13" fmla="*/ 69 h 72"/>
                <a:gd name="T14" fmla="*/ 41 w 103"/>
                <a:gd name="T15" fmla="*/ 72 h 72"/>
                <a:gd name="T16" fmla="*/ 49 w 103"/>
                <a:gd name="T17" fmla="*/ 69 h 72"/>
                <a:gd name="T18" fmla="*/ 99 w 103"/>
                <a:gd name="T19" fmla="*/ 19 h 72"/>
                <a:gd name="T20" fmla="*/ 99 w 103"/>
                <a:gd name="T21" fmla="*/ 4 h 72"/>
                <a:gd name="T22" fmla="*/ 99 w 103"/>
                <a:gd name="T23" fmla="*/ 4 h 72"/>
                <a:gd name="T24" fmla="*/ 99 w 103"/>
                <a:gd name="T25" fmla="*/ 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2">
                  <a:moveTo>
                    <a:pt x="99" y="4"/>
                  </a:moveTo>
                  <a:cubicBezTo>
                    <a:pt x="95" y="0"/>
                    <a:pt x="88" y="0"/>
                    <a:pt x="84" y="4"/>
                  </a:cubicBezTo>
                  <a:cubicBezTo>
                    <a:pt x="41" y="47"/>
                    <a:pt x="41" y="47"/>
                    <a:pt x="41" y="47"/>
                  </a:cubicBezTo>
                  <a:cubicBezTo>
                    <a:pt x="19" y="24"/>
                    <a:pt x="19" y="24"/>
                    <a:pt x="19" y="24"/>
                  </a:cubicBezTo>
                  <a:cubicBezTo>
                    <a:pt x="15" y="20"/>
                    <a:pt x="8" y="20"/>
                    <a:pt x="4" y="24"/>
                  </a:cubicBezTo>
                  <a:cubicBezTo>
                    <a:pt x="0" y="28"/>
                    <a:pt x="0" y="35"/>
                    <a:pt x="4" y="39"/>
                  </a:cubicBezTo>
                  <a:cubicBezTo>
                    <a:pt x="34" y="69"/>
                    <a:pt x="34" y="69"/>
                    <a:pt x="34" y="69"/>
                  </a:cubicBezTo>
                  <a:cubicBezTo>
                    <a:pt x="36" y="71"/>
                    <a:pt x="39" y="72"/>
                    <a:pt x="41" y="72"/>
                  </a:cubicBezTo>
                  <a:cubicBezTo>
                    <a:pt x="44" y="72"/>
                    <a:pt x="47" y="71"/>
                    <a:pt x="49" y="69"/>
                  </a:cubicBezTo>
                  <a:cubicBezTo>
                    <a:pt x="99" y="19"/>
                    <a:pt x="99" y="19"/>
                    <a:pt x="99" y="19"/>
                  </a:cubicBezTo>
                  <a:cubicBezTo>
                    <a:pt x="103" y="15"/>
                    <a:pt x="103" y="8"/>
                    <a:pt x="99" y="4"/>
                  </a:cubicBezTo>
                  <a:close/>
                  <a:moveTo>
                    <a:pt x="99" y="4"/>
                  </a:moveTo>
                  <a:cubicBezTo>
                    <a:pt x="99" y="4"/>
                    <a:pt x="99" y="4"/>
                    <a:pt x="99" y="4"/>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18">
              <a:extLst>
                <a:ext uri="{FF2B5EF4-FFF2-40B4-BE49-F238E27FC236}">
                  <a16:creationId xmlns:a16="http://schemas.microsoft.com/office/drawing/2014/main" id="{1C23B321-E604-4774-BD8A-3938EBE161EE}"/>
                </a:ext>
              </a:extLst>
            </p:cNvPr>
            <p:cNvSpPr>
              <a:spLocks noEditPoints="1"/>
            </p:cNvSpPr>
            <p:nvPr/>
          </p:nvSpPr>
          <p:spPr bwMode="auto">
            <a:xfrm>
              <a:off x="3907" y="4862"/>
              <a:ext cx="47" cy="63"/>
            </a:xfrm>
            <a:custGeom>
              <a:avLst/>
              <a:gdLst>
                <a:gd name="T0" fmla="*/ 10 w 21"/>
                <a:gd name="T1" fmla="*/ 0 h 29"/>
                <a:gd name="T2" fmla="*/ 0 w 21"/>
                <a:gd name="T3" fmla="*/ 11 h 29"/>
                <a:gd name="T4" fmla="*/ 0 w 21"/>
                <a:gd name="T5" fmla="*/ 19 h 29"/>
                <a:gd name="T6" fmla="*/ 10 w 21"/>
                <a:gd name="T7" fmla="*/ 29 h 29"/>
                <a:gd name="T8" fmla="*/ 21 w 21"/>
                <a:gd name="T9" fmla="*/ 19 h 29"/>
                <a:gd name="T10" fmla="*/ 21 w 21"/>
                <a:gd name="T11" fmla="*/ 11 h 29"/>
                <a:gd name="T12" fmla="*/ 10 w 21"/>
                <a:gd name="T13" fmla="*/ 0 h 29"/>
                <a:gd name="T14" fmla="*/ 10 w 21"/>
                <a:gd name="T15" fmla="*/ 0 h 29"/>
                <a:gd name="T16" fmla="*/ 10 w 2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10" y="0"/>
                  </a:moveTo>
                  <a:cubicBezTo>
                    <a:pt x="4" y="0"/>
                    <a:pt x="0" y="5"/>
                    <a:pt x="0" y="11"/>
                  </a:cubicBezTo>
                  <a:cubicBezTo>
                    <a:pt x="0" y="19"/>
                    <a:pt x="0" y="19"/>
                    <a:pt x="0" y="19"/>
                  </a:cubicBezTo>
                  <a:cubicBezTo>
                    <a:pt x="0" y="25"/>
                    <a:pt x="4" y="29"/>
                    <a:pt x="10" y="29"/>
                  </a:cubicBezTo>
                  <a:cubicBezTo>
                    <a:pt x="16" y="29"/>
                    <a:pt x="21" y="25"/>
                    <a:pt x="21" y="19"/>
                  </a:cubicBezTo>
                  <a:cubicBezTo>
                    <a:pt x="21" y="11"/>
                    <a:pt x="21" y="11"/>
                    <a:pt x="21" y="11"/>
                  </a:cubicBezTo>
                  <a:cubicBezTo>
                    <a:pt x="21" y="5"/>
                    <a:pt x="16" y="0"/>
                    <a:pt x="10" y="0"/>
                  </a:cubicBezTo>
                  <a:close/>
                  <a:moveTo>
                    <a:pt x="10" y="0"/>
                  </a:moveTo>
                  <a:cubicBezTo>
                    <a:pt x="10" y="0"/>
                    <a:pt x="10" y="0"/>
                    <a:pt x="10"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19">
              <a:extLst>
                <a:ext uri="{FF2B5EF4-FFF2-40B4-BE49-F238E27FC236}">
                  <a16:creationId xmlns:a16="http://schemas.microsoft.com/office/drawing/2014/main" id="{0229DE89-5581-49F1-8D6A-7FC60FD9A072}"/>
                </a:ext>
              </a:extLst>
            </p:cNvPr>
            <p:cNvSpPr>
              <a:spLocks noEditPoints="1"/>
            </p:cNvSpPr>
            <p:nvPr/>
          </p:nvSpPr>
          <p:spPr bwMode="auto">
            <a:xfrm>
              <a:off x="3907" y="5300"/>
              <a:ext cx="47" cy="62"/>
            </a:xfrm>
            <a:custGeom>
              <a:avLst/>
              <a:gdLst>
                <a:gd name="T0" fmla="*/ 10 w 21"/>
                <a:gd name="T1" fmla="*/ 0 h 29"/>
                <a:gd name="T2" fmla="*/ 0 w 21"/>
                <a:gd name="T3" fmla="*/ 10 h 29"/>
                <a:gd name="T4" fmla="*/ 0 w 21"/>
                <a:gd name="T5" fmla="*/ 18 h 29"/>
                <a:gd name="T6" fmla="*/ 10 w 21"/>
                <a:gd name="T7" fmla="*/ 29 h 29"/>
                <a:gd name="T8" fmla="*/ 21 w 21"/>
                <a:gd name="T9" fmla="*/ 18 h 29"/>
                <a:gd name="T10" fmla="*/ 21 w 21"/>
                <a:gd name="T11" fmla="*/ 10 h 29"/>
                <a:gd name="T12" fmla="*/ 10 w 21"/>
                <a:gd name="T13" fmla="*/ 0 h 29"/>
                <a:gd name="T14" fmla="*/ 10 w 21"/>
                <a:gd name="T15" fmla="*/ 0 h 29"/>
                <a:gd name="T16" fmla="*/ 10 w 2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10" y="0"/>
                  </a:moveTo>
                  <a:cubicBezTo>
                    <a:pt x="4" y="0"/>
                    <a:pt x="0" y="5"/>
                    <a:pt x="0" y="10"/>
                  </a:cubicBezTo>
                  <a:cubicBezTo>
                    <a:pt x="0" y="18"/>
                    <a:pt x="0" y="18"/>
                    <a:pt x="0" y="18"/>
                  </a:cubicBezTo>
                  <a:cubicBezTo>
                    <a:pt x="0" y="24"/>
                    <a:pt x="4" y="29"/>
                    <a:pt x="10" y="29"/>
                  </a:cubicBezTo>
                  <a:cubicBezTo>
                    <a:pt x="16" y="29"/>
                    <a:pt x="21" y="24"/>
                    <a:pt x="21" y="18"/>
                  </a:cubicBezTo>
                  <a:cubicBezTo>
                    <a:pt x="21" y="10"/>
                    <a:pt x="21" y="10"/>
                    <a:pt x="21" y="10"/>
                  </a:cubicBezTo>
                  <a:cubicBezTo>
                    <a:pt x="21" y="5"/>
                    <a:pt x="16" y="0"/>
                    <a:pt x="10" y="0"/>
                  </a:cubicBezTo>
                  <a:close/>
                  <a:moveTo>
                    <a:pt x="10" y="0"/>
                  </a:moveTo>
                  <a:cubicBezTo>
                    <a:pt x="10" y="0"/>
                    <a:pt x="10" y="0"/>
                    <a:pt x="10"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0">
              <a:extLst>
                <a:ext uri="{FF2B5EF4-FFF2-40B4-BE49-F238E27FC236}">
                  <a16:creationId xmlns:a16="http://schemas.microsoft.com/office/drawing/2014/main" id="{47B1A234-B306-434A-A074-879DFAB5CFED}"/>
                </a:ext>
              </a:extLst>
            </p:cNvPr>
            <p:cNvSpPr>
              <a:spLocks noEditPoints="1"/>
            </p:cNvSpPr>
            <p:nvPr/>
          </p:nvSpPr>
          <p:spPr bwMode="auto">
            <a:xfrm>
              <a:off x="4122" y="5090"/>
              <a:ext cx="64" cy="45"/>
            </a:xfrm>
            <a:custGeom>
              <a:avLst/>
              <a:gdLst>
                <a:gd name="T0" fmla="*/ 19 w 29"/>
                <a:gd name="T1" fmla="*/ 0 h 21"/>
                <a:gd name="T2" fmla="*/ 11 w 29"/>
                <a:gd name="T3" fmla="*/ 0 h 21"/>
                <a:gd name="T4" fmla="*/ 0 w 29"/>
                <a:gd name="T5" fmla="*/ 11 h 21"/>
                <a:gd name="T6" fmla="*/ 11 w 29"/>
                <a:gd name="T7" fmla="*/ 21 h 21"/>
                <a:gd name="T8" fmla="*/ 19 w 29"/>
                <a:gd name="T9" fmla="*/ 21 h 21"/>
                <a:gd name="T10" fmla="*/ 29 w 29"/>
                <a:gd name="T11" fmla="*/ 11 h 21"/>
                <a:gd name="T12" fmla="*/ 19 w 29"/>
                <a:gd name="T13" fmla="*/ 0 h 21"/>
                <a:gd name="T14" fmla="*/ 19 w 29"/>
                <a:gd name="T15" fmla="*/ 0 h 21"/>
                <a:gd name="T16" fmla="*/ 19 w 2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1">
                  <a:moveTo>
                    <a:pt x="19" y="0"/>
                  </a:moveTo>
                  <a:cubicBezTo>
                    <a:pt x="11" y="0"/>
                    <a:pt x="11" y="0"/>
                    <a:pt x="11" y="0"/>
                  </a:cubicBezTo>
                  <a:cubicBezTo>
                    <a:pt x="5" y="0"/>
                    <a:pt x="0" y="5"/>
                    <a:pt x="0" y="11"/>
                  </a:cubicBezTo>
                  <a:cubicBezTo>
                    <a:pt x="0" y="16"/>
                    <a:pt x="5" y="21"/>
                    <a:pt x="11" y="21"/>
                  </a:cubicBezTo>
                  <a:cubicBezTo>
                    <a:pt x="19" y="21"/>
                    <a:pt x="19" y="21"/>
                    <a:pt x="19" y="21"/>
                  </a:cubicBezTo>
                  <a:cubicBezTo>
                    <a:pt x="25" y="21"/>
                    <a:pt x="29" y="16"/>
                    <a:pt x="29" y="11"/>
                  </a:cubicBezTo>
                  <a:cubicBezTo>
                    <a:pt x="29" y="5"/>
                    <a:pt x="25" y="0"/>
                    <a:pt x="19" y="0"/>
                  </a:cubicBezTo>
                  <a:close/>
                  <a:moveTo>
                    <a:pt x="19" y="0"/>
                  </a:moveTo>
                  <a:cubicBezTo>
                    <a:pt x="19" y="0"/>
                    <a:pt x="19" y="0"/>
                    <a:pt x="19"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21">
              <a:extLst>
                <a:ext uri="{FF2B5EF4-FFF2-40B4-BE49-F238E27FC236}">
                  <a16:creationId xmlns:a16="http://schemas.microsoft.com/office/drawing/2014/main" id="{61A8DB13-736F-4C7C-B3F7-26714D813716}"/>
                </a:ext>
              </a:extLst>
            </p:cNvPr>
            <p:cNvSpPr>
              <a:spLocks noEditPoints="1"/>
            </p:cNvSpPr>
            <p:nvPr/>
          </p:nvSpPr>
          <p:spPr bwMode="auto">
            <a:xfrm>
              <a:off x="3673" y="5090"/>
              <a:ext cx="65" cy="45"/>
            </a:xfrm>
            <a:custGeom>
              <a:avLst/>
              <a:gdLst>
                <a:gd name="T0" fmla="*/ 18 w 29"/>
                <a:gd name="T1" fmla="*/ 0 h 21"/>
                <a:gd name="T2" fmla="*/ 11 w 29"/>
                <a:gd name="T3" fmla="*/ 0 h 21"/>
                <a:gd name="T4" fmla="*/ 0 w 29"/>
                <a:gd name="T5" fmla="*/ 11 h 21"/>
                <a:gd name="T6" fmla="*/ 11 w 29"/>
                <a:gd name="T7" fmla="*/ 21 h 21"/>
                <a:gd name="T8" fmla="*/ 18 w 29"/>
                <a:gd name="T9" fmla="*/ 21 h 21"/>
                <a:gd name="T10" fmla="*/ 29 w 29"/>
                <a:gd name="T11" fmla="*/ 11 h 21"/>
                <a:gd name="T12" fmla="*/ 18 w 29"/>
                <a:gd name="T13" fmla="*/ 0 h 21"/>
                <a:gd name="T14" fmla="*/ 18 w 29"/>
                <a:gd name="T15" fmla="*/ 0 h 21"/>
                <a:gd name="T16" fmla="*/ 18 w 2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1">
                  <a:moveTo>
                    <a:pt x="18" y="0"/>
                  </a:moveTo>
                  <a:cubicBezTo>
                    <a:pt x="11" y="0"/>
                    <a:pt x="11" y="0"/>
                    <a:pt x="11" y="0"/>
                  </a:cubicBezTo>
                  <a:cubicBezTo>
                    <a:pt x="5" y="0"/>
                    <a:pt x="0" y="5"/>
                    <a:pt x="0" y="11"/>
                  </a:cubicBezTo>
                  <a:cubicBezTo>
                    <a:pt x="0" y="16"/>
                    <a:pt x="5" y="21"/>
                    <a:pt x="11" y="21"/>
                  </a:cubicBezTo>
                  <a:cubicBezTo>
                    <a:pt x="18" y="21"/>
                    <a:pt x="18" y="21"/>
                    <a:pt x="18" y="21"/>
                  </a:cubicBezTo>
                  <a:cubicBezTo>
                    <a:pt x="24" y="21"/>
                    <a:pt x="29" y="16"/>
                    <a:pt x="29" y="11"/>
                  </a:cubicBezTo>
                  <a:cubicBezTo>
                    <a:pt x="29" y="5"/>
                    <a:pt x="24" y="0"/>
                    <a:pt x="18" y="0"/>
                  </a:cubicBezTo>
                  <a:close/>
                  <a:moveTo>
                    <a:pt x="18" y="0"/>
                  </a:moveTo>
                  <a:cubicBezTo>
                    <a:pt x="18" y="0"/>
                    <a:pt x="18" y="0"/>
                    <a:pt x="18"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6" name="Group 135">
            <a:extLst>
              <a:ext uri="{FF2B5EF4-FFF2-40B4-BE49-F238E27FC236}">
                <a16:creationId xmlns:a16="http://schemas.microsoft.com/office/drawing/2014/main" id="{D4794C0C-DFB4-46E0-AD58-18DC79DBCEE7}"/>
              </a:ext>
            </a:extLst>
          </p:cNvPr>
          <p:cNvGrpSpPr/>
          <p:nvPr/>
        </p:nvGrpSpPr>
        <p:grpSpPr>
          <a:xfrm>
            <a:off x="7818283" y="2430775"/>
            <a:ext cx="1552007" cy="1549453"/>
            <a:chOff x="8343900" y="6959600"/>
            <a:chExt cx="1933575" cy="1874838"/>
          </a:xfrm>
          <a:solidFill>
            <a:schemeClr val="tx1">
              <a:lumMod val="65000"/>
              <a:lumOff val="35000"/>
            </a:schemeClr>
          </a:solidFill>
        </p:grpSpPr>
        <p:sp>
          <p:nvSpPr>
            <p:cNvPr id="137" name="Freeform 7">
              <a:extLst>
                <a:ext uri="{FF2B5EF4-FFF2-40B4-BE49-F238E27FC236}">
                  <a16:creationId xmlns:a16="http://schemas.microsoft.com/office/drawing/2014/main" id="{F5D18317-1EB3-4F73-A151-AF65C437840A}"/>
                </a:ext>
              </a:extLst>
            </p:cNvPr>
            <p:cNvSpPr>
              <a:spLocks noEditPoints="1"/>
            </p:cNvSpPr>
            <p:nvPr/>
          </p:nvSpPr>
          <p:spPr bwMode="auto">
            <a:xfrm>
              <a:off x="9350375" y="7927975"/>
              <a:ext cx="927100" cy="906463"/>
            </a:xfrm>
            <a:custGeom>
              <a:avLst/>
              <a:gdLst>
                <a:gd name="T0" fmla="*/ 254 w 262"/>
                <a:gd name="T1" fmla="*/ 0 h 264"/>
                <a:gd name="T2" fmla="*/ 246 w 262"/>
                <a:gd name="T3" fmla="*/ 8 h 264"/>
                <a:gd name="T4" fmla="*/ 246 w 262"/>
                <a:gd name="T5" fmla="*/ 26 h 264"/>
                <a:gd name="T6" fmla="*/ 246 w 262"/>
                <a:gd name="T7" fmla="*/ 26 h 264"/>
                <a:gd name="T8" fmla="*/ 209 w 262"/>
                <a:gd name="T9" fmla="*/ 26 h 264"/>
                <a:gd name="T10" fmla="*/ 201 w 262"/>
                <a:gd name="T11" fmla="*/ 33 h 264"/>
                <a:gd name="T12" fmla="*/ 168 w 262"/>
                <a:gd name="T13" fmla="*/ 112 h 264"/>
                <a:gd name="T14" fmla="*/ 169 w 262"/>
                <a:gd name="T15" fmla="*/ 122 h 264"/>
                <a:gd name="T16" fmla="*/ 196 w 262"/>
                <a:gd name="T17" fmla="*/ 148 h 264"/>
                <a:gd name="T18" fmla="*/ 196 w 262"/>
                <a:gd name="T19" fmla="*/ 149 h 264"/>
                <a:gd name="T20" fmla="*/ 147 w 262"/>
                <a:gd name="T21" fmla="*/ 198 h 264"/>
                <a:gd name="T22" fmla="*/ 146 w 262"/>
                <a:gd name="T23" fmla="*/ 198 h 264"/>
                <a:gd name="T24" fmla="*/ 120 w 262"/>
                <a:gd name="T25" fmla="*/ 171 h 264"/>
                <a:gd name="T26" fmla="*/ 110 w 262"/>
                <a:gd name="T27" fmla="*/ 170 h 264"/>
                <a:gd name="T28" fmla="*/ 31 w 262"/>
                <a:gd name="T29" fmla="*/ 203 h 264"/>
                <a:gd name="T30" fmla="*/ 24 w 262"/>
                <a:gd name="T31" fmla="*/ 211 h 264"/>
                <a:gd name="T32" fmla="*/ 24 w 262"/>
                <a:gd name="T33" fmla="*/ 248 h 264"/>
                <a:gd name="T34" fmla="*/ 24 w 262"/>
                <a:gd name="T35" fmla="*/ 248 h 264"/>
                <a:gd name="T36" fmla="*/ 8 w 262"/>
                <a:gd name="T37" fmla="*/ 248 h 264"/>
                <a:gd name="T38" fmla="*/ 0 w 262"/>
                <a:gd name="T39" fmla="*/ 256 h 264"/>
                <a:gd name="T40" fmla="*/ 8 w 262"/>
                <a:gd name="T41" fmla="*/ 264 h 264"/>
                <a:gd name="T42" fmla="*/ 24 w 262"/>
                <a:gd name="T43" fmla="*/ 264 h 264"/>
                <a:gd name="T44" fmla="*/ 40 w 262"/>
                <a:gd name="T45" fmla="*/ 248 h 264"/>
                <a:gd name="T46" fmla="*/ 40 w 262"/>
                <a:gd name="T47" fmla="*/ 217 h 264"/>
                <a:gd name="T48" fmla="*/ 113 w 262"/>
                <a:gd name="T49" fmla="*/ 187 h 264"/>
                <a:gd name="T50" fmla="*/ 135 w 262"/>
                <a:gd name="T51" fmla="*/ 209 h 264"/>
                <a:gd name="T52" fmla="*/ 158 w 262"/>
                <a:gd name="T53" fmla="*/ 209 h 264"/>
                <a:gd name="T54" fmla="*/ 207 w 262"/>
                <a:gd name="T55" fmla="*/ 160 h 264"/>
                <a:gd name="T56" fmla="*/ 207 w 262"/>
                <a:gd name="T57" fmla="*/ 137 h 264"/>
                <a:gd name="T58" fmla="*/ 185 w 262"/>
                <a:gd name="T59" fmla="*/ 115 h 264"/>
                <a:gd name="T60" fmla="*/ 215 w 262"/>
                <a:gd name="T61" fmla="*/ 42 h 264"/>
                <a:gd name="T62" fmla="*/ 246 w 262"/>
                <a:gd name="T63" fmla="*/ 42 h 264"/>
                <a:gd name="T64" fmla="*/ 262 w 262"/>
                <a:gd name="T65" fmla="*/ 26 h 264"/>
                <a:gd name="T66" fmla="*/ 262 w 262"/>
                <a:gd name="T67" fmla="*/ 8 h 264"/>
                <a:gd name="T68" fmla="*/ 254 w 262"/>
                <a:gd name="T69" fmla="*/ 0 h 264"/>
                <a:gd name="T70" fmla="*/ 254 w 262"/>
                <a:gd name="T71" fmla="*/ 0 h 264"/>
                <a:gd name="T72" fmla="*/ 254 w 262"/>
                <a:gd name="T7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2" h="264">
                  <a:moveTo>
                    <a:pt x="254" y="0"/>
                  </a:moveTo>
                  <a:cubicBezTo>
                    <a:pt x="250" y="0"/>
                    <a:pt x="246" y="3"/>
                    <a:pt x="246" y="8"/>
                  </a:cubicBezTo>
                  <a:cubicBezTo>
                    <a:pt x="246" y="26"/>
                    <a:pt x="246" y="26"/>
                    <a:pt x="246" y="26"/>
                  </a:cubicBezTo>
                  <a:cubicBezTo>
                    <a:pt x="246" y="26"/>
                    <a:pt x="246" y="26"/>
                    <a:pt x="246" y="26"/>
                  </a:cubicBezTo>
                  <a:cubicBezTo>
                    <a:pt x="209" y="26"/>
                    <a:pt x="209" y="26"/>
                    <a:pt x="209" y="26"/>
                  </a:cubicBezTo>
                  <a:cubicBezTo>
                    <a:pt x="205" y="26"/>
                    <a:pt x="202" y="29"/>
                    <a:pt x="201" y="33"/>
                  </a:cubicBezTo>
                  <a:cubicBezTo>
                    <a:pt x="195" y="61"/>
                    <a:pt x="184" y="88"/>
                    <a:pt x="168" y="112"/>
                  </a:cubicBezTo>
                  <a:cubicBezTo>
                    <a:pt x="166" y="115"/>
                    <a:pt x="167" y="119"/>
                    <a:pt x="169" y="122"/>
                  </a:cubicBezTo>
                  <a:cubicBezTo>
                    <a:pt x="196" y="148"/>
                    <a:pt x="196" y="148"/>
                    <a:pt x="196" y="148"/>
                  </a:cubicBezTo>
                  <a:cubicBezTo>
                    <a:pt x="196" y="148"/>
                    <a:pt x="196" y="149"/>
                    <a:pt x="196" y="149"/>
                  </a:cubicBezTo>
                  <a:cubicBezTo>
                    <a:pt x="147" y="198"/>
                    <a:pt x="147" y="198"/>
                    <a:pt x="147" y="198"/>
                  </a:cubicBezTo>
                  <a:cubicBezTo>
                    <a:pt x="147" y="198"/>
                    <a:pt x="146" y="198"/>
                    <a:pt x="146" y="198"/>
                  </a:cubicBezTo>
                  <a:cubicBezTo>
                    <a:pt x="120" y="171"/>
                    <a:pt x="120" y="171"/>
                    <a:pt x="120" y="171"/>
                  </a:cubicBezTo>
                  <a:cubicBezTo>
                    <a:pt x="117" y="169"/>
                    <a:pt x="113" y="168"/>
                    <a:pt x="110" y="170"/>
                  </a:cubicBezTo>
                  <a:cubicBezTo>
                    <a:pt x="86" y="186"/>
                    <a:pt x="59" y="197"/>
                    <a:pt x="31" y="203"/>
                  </a:cubicBezTo>
                  <a:cubicBezTo>
                    <a:pt x="27" y="204"/>
                    <a:pt x="24" y="207"/>
                    <a:pt x="24" y="211"/>
                  </a:cubicBezTo>
                  <a:cubicBezTo>
                    <a:pt x="24" y="248"/>
                    <a:pt x="24" y="248"/>
                    <a:pt x="24" y="248"/>
                  </a:cubicBezTo>
                  <a:cubicBezTo>
                    <a:pt x="24" y="248"/>
                    <a:pt x="24" y="248"/>
                    <a:pt x="24" y="248"/>
                  </a:cubicBezTo>
                  <a:cubicBezTo>
                    <a:pt x="8" y="248"/>
                    <a:pt x="8" y="248"/>
                    <a:pt x="8" y="248"/>
                  </a:cubicBezTo>
                  <a:cubicBezTo>
                    <a:pt x="4" y="248"/>
                    <a:pt x="0" y="252"/>
                    <a:pt x="0" y="256"/>
                  </a:cubicBezTo>
                  <a:cubicBezTo>
                    <a:pt x="0" y="261"/>
                    <a:pt x="4" y="264"/>
                    <a:pt x="8" y="264"/>
                  </a:cubicBezTo>
                  <a:cubicBezTo>
                    <a:pt x="24" y="264"/>
                    <a:pt x="24" y="264"/>
                    <a:pt x="24" y="264"/>
                  </a:cubicBezTo>
                  <a:cubicBezTo>
                    <a:pt x="33" y="264"/>
                    <a:pt x="40" y="257"/>
                    <a:pt x="40" y="248"/>
                  </a:cubicBezTo>
                  <a:cubicBezTo>
                    <a:pt x="40" y="217"/>
                    <a:pt x="40" y="217"/>
                    <a:pt x="40" y="217"/>
                  </a:cubicBezTo>
                  <a:cubicBezTo>
                    <a:pt x="66" y="212"/>
                    <a:pt x="91" y="201"/>
                    <a:pt x="113" y="187"/>
                  </a:cubicBezTo>
                  <a:cubicBezTo>
                    <a:pt x="135" y="209"/>
                    <a:pt x="135" y="209"/>
                    <a:pt x="135" y="209"/>
                  </a:cubicBezTo>
                  <a:cubicBezTo>
                    <a:pt x="141" y="215"/>
                    <a:pt x="152" y="215"/>
                    <a:pt x="158" y="209"/>
                  </a:cubicBezTo>
                  <a:cubicBezTo>
                    <a:pt x="207" y="160"/>
                    <a:pt x="207" y="160"/>
                    <a:pt x="207" y="160"/>
                  </a:cubicBezTo>
                  <a:cubicBezTo>
                    <a:pt x="213" y="154"/>
                    <a:pt x="213" y="143"/>
                    <a:pt x="207" y="137"/>
                  </a:cubicBezTo>
                  <a:cubicBezTo>
                    <a:pt x="185" y="115"/>
                    <a:pt x="185" y="115"/>
                    <a:pt x="185" y="115"/>
                  </a:cubicBezTo>
                  <a:cubicBezTo>
                    <a:pt x="199" y="93"/>
                    <a:pt x="210" y="68"/>
                    <a:pt x="215" y="42"/>
                  </a:cubicBezTo>
                  <a:cubicBezTo>
                    <a:pt x="246" y="42"/>
                    <a:pt x="246" y="42"/>
                    <a:pt x="246" y="42"/>
                  </a:cubicBezTo>
                  <a:cubicBezTo>
                    <a:pt x="255" y="42"/>
                    <a:pt x="262" y="35"/>
                    <a:pt x="262" y="26"/>
                  </a:cubicBezTo>
                  <a:cubicBezTo>
                    <a:pt x="262" y="8"/>
                    <a:pt x="262" y="8"/>
                    <a:pt x="262" y="8"/>
                  </a:cubicBezTo>
                  <a:cubicBezTo>
                    <a:pt x="262" y="3"/>
                    <a:pt x="259" y="0"/>
                    <a:pt x="254" y="0"/>
                  </a:cubicBezTo>
                  <a:close/>
                  <a:moveTo>
                    <a:pt x="254" y="0"/>
                  </a:moveTo>
                  <a:cubicBezTo>
                    <a:pt x="254" y="0"/>
                    <a:pt x="254" y="0"/>
                    <a:pt x="254" y="0"/>
                  </a:cubicBezTo>
                </a:path>
              </a:pathLst>
            </a:custGeom>
            <a:grpFill/>
            <a:ln w="222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a:extLst>
                <a:ext uri="{FF2B5EF4-FFF2-40B4-BE49-F238E27FC236}">
                  <a16:creationId xmlns:a16="http://schemas.microsoft.com/office/drawing/2014/main" id="{24F7A4A2-E671-4589-B26F-F4F59AE2C5B2}"/>
                </a:ext>
              </a:extLst>
            </p:cNvPr>
            <p:cNvSpPr>
              <a:spLocks noEditPoints="1"/>
            </p:cNvSpPr>
            <p:nvPr/>
          </p:nvSpPr>
          <p:spPr bwMode="auto">
            <a:xfrm>
              <a:off x="8343900" y="6959600"/>
              <a:ext cx="1933575" cy="1874838"/>
            </a:xfrm>
            <a:custGeom>
              <a:avLst/>
              <a:gdLst>
                <a:gd name="T0" fmla="*/ 499 w 546"/>
                <a:gd name="T1" fmla="*/ 222 h 546"/>
                <a:gd name="T2" fmla="*/ 491 w 546"/>
                <a:gd name="T3" fmla="*/ 128 h 546"/>
                <a:gd name="T4" fmla="*/ 491 w 546"/>
                <a:gd name="T5" fmla="*/ 105 h 546"/>
                <a:gd name="T6" fmla="*/ 419 w 546"/>
                <a:gd name="T7" fmla="*/ 56 h 546"/>
                <a:gd name="T8" fmla="*/ 324 w 546"/>
                <a:gd name="T9" fmla="*/ 47 h 546"/>
                <a:gd name="T10" fmla="*/ 308 w 546"/>
                <a:gd name="T11" fmla="*/ 0 h 546"/>
                <a:gd name="T12" fmla="*/ 222 w 546"/>
                <a:gd name="T13" fmla="*/ 16 h 546"/>
                <a:gd name="T14" fmla="*/ 150 w 546"/>
                <a:gd name="T15" fmla="*/ 78 h 546"/>
                <a:gd name="T16" fmla="*/ 105 w 546"/>
                <a:gd name="T17" fmla="*/ 56 h 546"/>
                <a:gd name="T18" fmla="*/ 56 w 546"/>
                <a:gd name="T19" fmla="*/ 128 h 546"/>
                <a:gd name="T20" fmla="*/ 47 w 546"/>
                <a:gd name="T21" fmla="*/ 222 h 546"/>
                <a:gd name="T22" fmla="*/ 0 w 546"/>
                <a:gd name="T23" fmla="*/ 239 h 546"/>
                <a:gd name="T24" fmla="*/ 16 w 546"/>
                <a:gd name="T25" fmla="*/ 324 h 546"/>
                <a:gd name="T26" fmla="*/ 78 w 546"/>
                <a:gd name="T27" fmla="*/ 397 h 546"/>
                <a:gd name="T28" fmla="*/ 56 w 546"/>
                <a:gd name="T29" fmla="*/ 442 h 546"/>
                <a:gd name="T30" fmla="*/ 128 w 546"/>
                <a:gd name="T31" fmla="*/ 491 h 546"/>
                <a:gd name="T32" fmla="*/ 222 w 546"/>
                <a:gd name="T33" fmla="*/ 499 h 546"/>
                <a:gd name="T34" fmla="*/ 239 w 546"/>
                <a:gd name="T35" fmla="*/ 546 h 546"/>
                <a:gd name="T36" fmla="*/ 263 w 546"/>
                <a:gd name="T37" fmla="*/ 538 h 546"/>
                <a:gd name="T38" fmla="*/ 239 w 546"/>
                <a:gd name="T39" fmla="*/ 530 h 546"/>
                <a:gd name="T40" fmla="*/ 238 w 546"/>
                <a:gd name="T41" fmla="*/ 493 h 546"/>
                <a:gd name="T42" fmla="*/ 153 w 546"/>
                <a:gd name="T43" fmla="*/ 452 h 546"/>
                <a:gd name="T44" fmla="*/ 116 w 546"/>
                <a:gd name="T45" fmla="*/ 480 h 546"/>
                <a:gd name="T46" fmla="*/ 67 w 546"/>
                <a:gd name="T47" fmla="*/ 431 h 546"/>
                <a:gd name="T48" fmla="*/ 94 w 546"/>
                <a:gd name="T49" fmla="*/ 404 h 546"/>
                <a:gd name="T50" fmla="*/ 62 w 546"/>
                <a:gd name="T51" fmla="*/ 315 h 546"/>
                <a:gd name="T52" fmla="*/ 16 w 546"/>
                <a:gd name="T53" fmla="*/ 308 h 546"/>
                <a:gd name="T54" fmla="*/ 16 w 546"/>
                <a:gd name="T55" fmla="*/ 239 h 546"/>
                <a:gd name="T56" fmla="*/ 54 w 546"/>
                <a:gd name="T57" fmla="*/ 238 h 546"/>
                <a:gd name="T58" fmla="*/ 95 w 546"/>
                <a:gd name="T59" fmla="*/ 153 h 546"/>
                <a:gd name="T60" fmla="*/ 67 w 546"/>
                <a:gd name="T61" fmla="*/ 116 h 546"/>
                <a:gd name="T62" fmla="*/ 116 w 546"/>
                <a:gd name="T63" fmla="*/ 67 h 546"/>
                <a:gd name="T64" fmla="*/ 143 w 546"/>
                <a:gd name="T65" fmla="*/ 94 h 546"/>
                <a:gd name="T66" fmla="*/ 232 w 546"/>
                <a:gd name="T67" fmla="*/ 62 h 546"/>
                <a:gd name="T68" fmla="*/ 238 w 546"/>
                <a:gd name="T69" fmla="*/ 16 h 546"/>
                <a:gd name="T70" fmla="*/ 308 w 546"/>
                <a:gd name="T71" fmla="*/ 16 h 546"/>
                <a:gd name="T72" fmla="*/ 308 w 546"/>
                <a:gd name="T73" fmla="*/ 54 h 546"/>
                <a:gd name="T74" fmla="*/ 394 w 546"/>
                <a:gd name="T75" fmla="*/ 95 h 546"/>
                <a:gd name="T76" fmla="*/ 430 w 546"/>
                <a:gd name="T77" fmla="*/ 67 h 546"/>
                <a:gd name="T78" fmla="*/ 480 w 546"/>
                <a:gd name="T79" fmla="*/ 116 h 546"/>
                <a:gd name="T80" fmla="*/ 453 w 546"/>
                <a:gd name="T81" fmla="*/ 143 h 546"/>
                <a:gd name="T82" fmla="*/ 485 w 546"/>
                <a:gd name="T83" fmla="*/ 232 h 546"/>
                <a:gd name="T84" fmla="*/ 530 w 546"/>
                <a:gd name="T85" fmla="*/ 238 h 546"/>
                <a:gd name="T86" fmla="*/ 530 w 546"/>
                <a:gd name="T87" fmla="*/ 253 h 546"/>
                <a:gd name="T88" fmla="*/ 546 w 546"/>
                <a:gd name="T89" fmla="*/ 253 h 546"/>
                <a:gd name="T90" fmla="*/ 530 w 546"/>
                <a:gd name="T91" fmla="*/ 222 h 546"/>
                <a:gd name="T92" fmla="*/ 530 w 546"/>
                <a:gd name="T93" fmla="*/ 22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6" h="546">
                  <a:moveTo>
                    <a:pt x="530" y="222"/>
                  </a:moveTo>
                  <a:cubicBezTo>
                    <a:pt x="499" y="222"/>
                    <a:pt x="499" y="222"/>
                    <a:pt x="499" y="222"/>
                  </a:cubicBezTo>
                  <a:cubicBezTo>
                    <a:pt x="494" y="197"/>
                    <a:pt x="483" y="172"/>
                    <a:pt x="469" y="150"/>
                  </a:cubicBezTo>
                  <a:cubicBezTo>
                    <a:pt x="491" y="128"/>
                    <a:pt x="491" y="128"/>
                    <a:pt x="491" y="128"/>
                  </a:cubicBezTo>
                  <a:cubicBezTo>
                    <a:pt x="494" y="125"/>
                    <a:pt x="496" y="121"/>
                    <a:pt x="496" y="116"/>
                  </a:cubicBezTo>
                  <a:cubicBezTo>
                    <a:pt x="496" y="112"/>
                    <a:pt x="494" y="108"/>
                    <a:pt x="491" y="105"/>
                  </a:cubicBezTo>
                  <a:cubicBezTo>
                    <a:pt x="442" y="56"/>
                    <a:pt x="442" y="56"/>
                    <a:pt x="442" y="56"/>
                  </a:cubicBezTo>
                  <a:cubicBezTo>
                    <a:pt x="436" y="49"/>
                    <a:pt x="425" y="49"/>
                    <a:pt x="419" y="56"/>
                  </a:cubicBezTo>
                  <a:cubicBezTo>
                    <a:pt x="397" y="78"/>
                    <a:pt x="397" y="78"/>
                    <a:pt x="397" y="78"/>
                  </a:cubicBezTo>
                  <a:cubicBezTo>
                    <a:pt x="375" y="63"/>
                    <a:pt x="350" y="53"/>
                    <a:pt x="324" y="47"/>
                  </a:cubicBezTo>
                  <a:cubicBezTo>
                    <a:pt x="324" y="16"/>
                    <a:pt x="324" y="16"/>
                    <a:pt x="324" y="16"/>
                  </a:cubicBezTo>
                  <a:cubicBezTo>
                    <a:pt x="324" y="8"/>
                    <a:pt x="317" y="0"/>
                    <a:pt x="308" y="0"/>
                  </a:cubicBezTo>
                  <a:cubicBezTo>
                    <a:pt x="239" y="0"/>
                    <a:pt x="239" y="0"/>
                    <a:pt x="239" y="0"/>
                  </a:cubicBezTo>
                  <a:cubicBezTo>
                    <a:pt x="230" y="0"/>
                    <a:pt x="222" y="8"/>
                    <a:pt x="222" y="16"/>
                  </a:cubicBezTo>
                  <a:cubicBezTo>
                    <a:pt x="222" y="47"/>
                    <a:pt x="222" y="47"/>
                    <a:pt x="222" y="47"/>
                  </a:cubicBezTo>
                  <a:cubicBezTo>
                    <a:pt x="197" y="53"/>
                    <a:pt x="172" y="63"/>
                    <a:pt x="150" y="78"/>
                  </a:cubicBezTo>
                  <a:cubicBezTo>
                    <a:pt x="128" y="56"/>
                    <a:pt x="128" y="56"/>
                    <a:pt x="128" y="56"/>
                  </a:cubicBezTo>
                  <a:cubicBezTo>
                    <a:pt x="121" y="49"/>
                    <a:pt x="111" y="49"/>
                    <a:pt x="105" y="56"/>
                  </a:cubicBezTo>
                  <a:cubicBezTo>
                    <a:pt x="56" y="105"/>
                    <a:pt x="56" y="105"/>
                    <a:pt x="56" y="105"/>
                  </a:cubicBezTo>
                  <a:cubicBezTo>
                    <a:pt x="49" y="111"/>
                    <a:pt x="49" y="121"/>
                    <a:pt x="56" y="128"/>
                  </a:cubicBezTo>
                  <a:cubicBezTo>
                    <a:pt x="78" y="150"/>
                    <a:pt x="78" y="150"/>
                    <a:pt x="78" y="150"/>
                  </a:cubicBezTo>
                  <a:cubicBezTo>
                    <a:pt x="63" y="172"/>
                    <a:pt x="53" y="197"/>
                    <a:pt x="47" y="222"/>
                  </a:cubicBezTo>
                  <a:cubicBezTo>
                    <a:pt x="16" y="222"/>
                    <a:pt x="16" y="222"/>
                    <a:pt x="16" y="222"/>
                  </a:cubicBezTo>
                  <a:cubicBezTo>
                    <a:pt x="8" y="222"/>
                    <a:pt x="0" y="230"/>
                    <a:pt x="0" y="239"/>
                  </a:cubicBezTo>
                  <a:cubicBezTo>
                    <a:pt x="0" y="308"/>
                    <a:pt x="0" y="308"/>
                    <a:pt x="0" y="308"/>
                  </a:cubicBezTo>
                  <a:cubicBezTo>
                    <a:pt x="0" y="317"/>
                    <a:pt x="8" y="324"/>
                    <a:pt x="16" y="324"/>
                  </a:cubicBezTo>
                  <a:cubicBezTo>
                    <a:pt x="47" y="324"/>
                    <a:pt x="47" y="324"/>
                    <a:pt x="47" y="324"/>
                  </a:cubicBezTo>
                  <a:cubicBezTo>
                    <a:pt x="53" y="350"/>
                    <a:pt x="63" y="375"/>
                    <a:pt x="78" y="397"/>
                  </a:cubicBezTo>
                  <a:cubicBezTo>
                    <a:pt x="56" y="419"/>
                    <a:pt x="56" y="419"/>
                    <a:pt x="56" y="419"/>
                  </a:cubicBezTo>
                  <a:cubicBezTo>
                    <a:pt x="49" y="425"/>
                    <a:pt x="49" y="436"/>
                    <a:pt x="56" y="442"/>
                  </a:cubicBezTo>
                  <a:cubicBezTo>
                    <a:pt x="105" y="491"/>
                    <a:pt x="105" y="491"/>
                    <a:pt x="105" y="491"/>
                  </a:cubicBezTo>
                  <a:cubicBezTo>
                    <a:pt x="111" y="497"/>
                    <a:pt x="121" y="497"/>
                    <a:pt x="128" y="491"/>
                  </a:cubicBezTo>
                  <a:cubicBezTo>
                    <a:pt x="150" y="469"/>
                    <a:pt x="150" y="469"/>
                    <a:pt x="150" y="469"/>
                  </a:cubicBezTo>
                  <a:cubicBezTo>
                    <a:pt x="172" y="483"/>
                    <a:pt x="197" y="494"/>
                    <a:pt x="222" y="499"/>
                  </a:cubicBezTo>
                  <a:cubicBezTo>
                    <a:pt x="222" y="530"/>
                    <a:pt x="222" y="530"/>
                    <a:pt x="222" y="530"/>
                  </a:cubicBezTo>
                  <a:cubicBezTo>
                    <a:pt x="222" y="539"/>
                    <a:pt x="230" y="546"/>
                    <a:pt x="239" y="546"/>
                  </a:cubicBezTo>
                  <a:cubicBezTo>
                    <a:pt x="255" y="546"/>
                    <a:pt x="255" y="546"/>
                    <a:pt x="255" y="546"/>
                  </a:cubicBezTo>
                  <a:cubicBezTo>
                    <a:pt x="260" y="546"/>
                    <a:pt x="263" y="543"/>
                    <a:pt x="263" y="538"/>
                  </a:cubicBezTo>
                  <a:cubicBezTo>
                    <a:pt x="263" y="534"/>
                    <a:pt x="260" y="530"/>
                    <a:pt x="255" y="530"/>
                  </a:cubicBezTo>
                  <a:cubicBezTo>
                    <a:pt x="239" y="530"/>
                    <a:pt x="239" y="530"/>
                    <a:pt x="239" y="530"/>
                  </a:cubicBezTo>
                  <a:cubicBezTo>
                    <a:pt x="239" y="530"/>
                    <a:pt x="238" y="530"/>
                    <a:pt x="238" y="530"/>
                  </a:cubicBezTo>
                  <a:cubicBezTo>
                    <a:pt x="238" y="493"/>
                    <a:pt x="238" y="493"/>
                    <a:pt x="238" y="493"/>
                  </a:cubicBezTo>
                  <a:cubicBezTo>
                    <a:pt x="238" y="489"/>
                    <a:pt x="236" y="486"/>
                    <a:pt x="232" y="485"/>
                  </a:cubicBezTo>
                  <a:cubicBezTo>
                    <a:pt x="204" y="479"/>
                    <a:pt x="177" y="468"/>
                    <a:pt x="153" y="452"/>
                  </a:cubicBezTo>
                  <a:cubicBezTo>
                    <a:pt x="150" y="450"/>
                    <a:pt x="146" y="451"/>
                    <a:pt x="143" y="453"/>
                  </a:cubicBezTo>
                  <a:cubicBezTo>
                    <a:pt x="116" y="480"/>
                    <a:pt x="116" y="480"/>
                    <a:pt x="116" y="480"/>
                  </a:cubicBezTo>
                  <a:cubicBezTo>
                    <a:pt x="116" y="480"/>
                    <a:pt x="116" y="480"/>
                    <a:pt x="116" y="480"/>
                  </a:cubicBezTo>
                  <a:cubicBezTo>
                    <a:pt x="67" y="431"/>
                    <a:pt x="67" y="431"/>
                    <a:pt x="67" y="431"/>
                  </a:cubicBezTo>
                  <a:cubicBezTo>
                    <a:pt x="67" y="431"/>
                    <a:pt x="67" y="430"/>
                    <a:pt x="67" y="430"/>
                  </a:cubicBezTo>
                  <a:cubicBezTo>
                    <a:pt x="94" y="404"/>
                    <a:pt x="94" y="404"/>
                    <a:pt x="94" y="404"/>
                  </a:cubicBezTo>
                  <a:cubicBezTo>
                    <a:pt x="96" y="401"/>
                    <a:pt x="97" y="397"/>
                    <a:pt x="95" y="394"/>
                  </a:cubicBezTo>
                  <a:cubicBezTo>
                    <a:pt x="78" y="370"/>
                    <a:pt x="67" y="343"/>
                    <a:pt x="62" y="315"/>
                  </a:cubicBezTo>
                  <a:cubicBezTo>
                    <a:pt x="61" y="311"/>
                    <a:pt x="58" y="308"/>
                    <a:pt x="54" y="308"/>
                  </a:cubicBezTo>
                  <a:cubicBezTo>
                    <a:pt x="16" y="308"/>
                    <a:pt x="16" y="308"/>
                    <a:pt x="16" y="308"/>
                  </a:cubicBezTo>
                  <a:cubicBezTo>
                    <a:pt x="16" y="308"/>
                    <a:pt x="16" y="308"/>
                    <a:pt x="16" y="308"/>
                  </a:cubicBezTo>
                  <a:cubicBezTo>
                    <a:pt x="16" y="239"/>
                    <a:pt x="16" y="239"/>
                    <a:pt x="16" y="239"/>
                  </a:cubicBezTo>
                  <a:cubicBezTo>
                    <a:pt x="16" y="239"/>
                    <a:pt x="16" y="238"/>
                    <a:pt x="16" y="238"/>
                  </a:cubicBezTo>
                  <a:cubicBezTo>
                    <a:pt x="54" y="238"/>
                    <a:pt x="54" y="238"/>
                    <a:pt x="54" y="238"/>
                  </a:cubicBezTo>
                  <a:cubicBezTo>
                    <a:pt x="58" y="238"/>
                    <a:pt x="61" y="236"/>
                    <a:pt x="62" y="232"/>
                  </a:cubicBezTo>
                  <a:cubicBezTo>
                    <a:pt x="67" y="204"/>
                    <a:pt x="78" y="177"/>
                    <a:pt x="95" y="153"/>
                  </a:cubicBezTo>
                  <a:cubicBezTo>
                    <a:pt x="97" y="150"/>
                    <a:pt x="96" y="146"/>
                    <a:pt x="94" y="143"/>
                  </a:cubicBezTo>
                  <a:cubicBezTo>
                    <a:pt x="67" y="116"/>
                    <a:pt x="67" y="116"/>
                    <a:pt x="67" y="116"/>
                  </a:cubicBezTo>
                  <a:cubicBezTo>
                    <a:pt x="67" y="116"/>
                    <a:pt x="67" y="116"/>
                    <a:pt x="67" y="116"/>
                  </a:cubicBezTo>
                  <a:cubicBezTo>
                    <a:pt x="116" y="67"/>
                    <a:pt x="116" y="67"/>
                    <a:pt x="116" y="67"/>
                  </a:cubicBezTo>
                  <a:cubicBezTo>
                    <a:pt x="116" y="67"/>
                    <a:pt x="116" y="67"/>
                    <a:pt x="116" y="67"/>
                  </a:cubicBezTo>
                  <a:cubicBezTo>
                    <a:pt x="143" y="94"/>
                    <a:pt x="143" y="94"/>
                    <a:pt x="143" y="94"/>
                  </a:cubicBezTo>
                  <a:cubicBezTo>
                    <a:pt x="146" y="96"/>
                    <a:pt x="150" y="97"/>
                    <a:pt x="153" y="95"/>
                  </a:cubicBezTo>
                  <a:cubicBezTo>
                    <a:pt x="177" y="78"/>
                    <a:pt x="204" y="67"/>
                    <a:pt x="232" y="62"/>
                  </a:cubicBezTo>
                  <a:cubicBezTo>
                    <a:pt x="236" y="61"/>
                    <a:pt x="238" y="58"/>
                    <a:pt x="238" y="54"/>
                  </a:cubicBezTo>
                  <a:cubicBezTo>
                    <a:pt x="238" y="16"/>
                    <a:pt x="238" y="16"/>
                    <a:pt x="238" y="16"/>
                  </a:cubicBezTo>
                  <a:cubicBezTo>
                    <a:pt x="238" y="16"/>
                    <a:pt x="239" y="16"/>
                    <a:pt x="239" y="16"/>
                  </a:cubicBezTo>
                  <a:cubicBezTo>
                    <a:pt x="308" y="16"/>
                    <a:pt x="308" y="16"/>
                    <a:pt x="308" y="16"/>
                  </a:cubicBezTo>
                  <a:cubicBezTo>
                    <a:pt x="308" y="16"/>
                    <a:pt x="308" y="16"/>
                    <a:pt x="308" y="16"/>
                  </a:cubicBezTo>
                  <a:cubicBezTo>
                    <a:pt x="308" y="54"/>
                    <a:pt x="308" y="54"/>
                    <a:pt x="308" y="54"/>
                  </a:cubicBezTo>
                  <a:cubicBezTo>
                    <a:pt x="308" y="58"/>
                    <a:pt x="311" y="61"/>
                    <a:pt x="315" y="62"/>
                  </a:cubicBezTo>
                  <a:cubicBezTo>
                    <a:pt x="343" y="67"/>
                    <a:pt x="370" y="78"/>
                    <a:pt x="394" y="95"/>
                  </a:cubicBezTo>
                  <a:cubicBezTo>
                    <a:pt x="397" y="97"/>
                    <a:pt x="401" y="96"/>
                    <a:pt x="404" y="94"/>
                  </a:cubicBezTo>
                  <a:cubicBezTo>
                    <a:pt x="430" y="67"/>
                    <a:pt x="430" y="67"/>
                    <a:pt x="430" y="67"/>
                  </a:cubicBezTo>
                  <a:cubicBezTo>
                    <a:pt x="430" y="67"/>
                    <a:pt x="431" y="67"/>
                    <a:pt x="431" y="67"/>
                  </a:cubicBezTo>
                  <a:cubicBezTo>
                    <a:pt x="480" y="116"/>
                    <a:pt x="480" y="116"/>
                    <a:pt x="480" y="116"/>
                  </a:cubicBezTo>
                  <a:cubicBezTo>
                    <a:pt x="480" y="116"/>
                    <a:pt x="480" y="116"/>
                    <a:pt x="480" y="116"/>
                  </a:cubicBezTo>
                  <a:cubicBezTo>
                    <a:pt x="453" y="143"/>
                    <a:pt x="453" y="143"/>
                    <a:pt x="453" y="143"/>
                  </a:cubicBezTo>
                  <a:cubicBezTo>
                    <a:pt x="451" y="146"/>
                    <a:pt x="450" y="150"/>
                    <a:pt x="452" y="153"/>
                  </a:cubicBezTo>
                  <a:cubicBezTo>
                    <a:pt x="468" y="177"/>
                    <a:pt x="479" y="204"/>
                    <a:pt x="485" y="232"/>
                  </a:cubicBezTo>
                  <a:cubicBezTo>
                    <a:pt x="486" y="236"/>
                    <a:pt x="489" y="238"/>
                    <a:pt x="493" y="238"/>
                  </a:cubicBezTo>
                  <a:cubicBezTo>
                    <a:pt x="530" y="238"/>
                    <a:pt x="530" y="238"/>
                    <a:pt x="530" y="238"/>
                  </a:cubicBezTo>
                  <a:cubicBezTo>
                    <a:pt x="530" y="238"/>
                    <a:pt x="530" y="239"/>
                    <a:pt x="530" y="239"/>
                  </a:cubicBezTo>
                  <a:cubicBezTo>
                    <a:pt x="530" y="253"/>
                    <a:pt x="530" y="253"/>
                    <a:pt x="530" y="253"/>
                  </a:cubicBezTo>
                  <a:cubicBezTo>
                    <a:pt x="530" y="257"/>
                    <a:pt x="534" y="261"/>
                    <a:pt x="538" y="261"/>
                  </a:cubicBezTo>
                  <a:cubicBezTo>
                    <a:pt x="543" y="261"/>
                    <a:pt x="546" y="257"/>
                    <a:pt x="546" y="253"/>
                  </a:cubicBezTo>
                  <a:cubicBezTo>
                    <a:pt x="546" y="239"/>
                    <a:pt x="546" y="239"/>
                    <a:pt x="546" y="239"/>
                  </a:cubicBezTo>
                  <a:cubicBezTo>
                    <a:pt x="546" y="230"/>
                    <a:pt x="539" y="222"/>
                    <a:pt x="530" y="222"/>
                  </a:cubicBezTo>
                  <a:close/>
                  <a:moveTo>
                    <a:pt x="530" y="222"/>
                  </a:moveTo>
                  <a:cubicBezTo>
                    <a:pt x="530" y="222"/>
                    <a:pt x="530" y="222"/>
                    <a:pt x="530" y="222"/>
                  </a:cubicBezTo>
                </a:path>
              </a:pathLst>
            </a:custGeom>
            <a:grpFill/>
            <a:ln w="222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49" name="Rectangle 148">
            <a:extLst>
              <a:ext uri="{FF2B5EF4-FFF2-40B4-BE49-F238E27FC236}">
                <a16:creationId xmlns:a16="http://schemas.microsoft.com/office/drawing/2014/main" id="{1A13330C-0CE2-4401-B5E3-504A785CFF7C}"/>
              </a:ext>
            </a:extLst>
          </p:cNvPr>
          <p:cNvSpPr/>
          <p:nvPr/>
        </p:nvSpPr>
        <p:spPr>
          <a:xfrm>
            <a:off x="488900" y="4198637"/>
            <a:ext cx="5135385" cy="538609"/>
          </a:xfrm>
          <a:prstGeom prst="rect">
            <a:avLst/>
          </a:prstGeom>
          <a:solidFill>
            <a:schemeClr val="accent3">
              <a:lumMod val="50000"/>
              <a:alpha val="10000"/>
            </a:schemeClr>
          </a:solidFill>
          <a:ln w="9525" cap="rnd">
            <a:solidFill>
              <a:srgbClr val="43B02A"/>
            </a:solidFill>
          </a:ln>
        </p:spPr>
        <p:txBody>
          <a:bodyPr wrap="square">
            <a:spAutoFit/>
          </a:bodyPr>
          <a:lstStyle/>
          <a:p>
            <a:r>
              <a:rPr lang="en-US" sz="1600" b="1" dirty="0">
                <a:solidFill>
                  <a:srgbClr val="43B02A"/>
                </a:solidFill>
              </a:rPr>
              <a:t>Lorem ipsum dolor </a:t>
            </a:r>
          </a:p>
          <a:p>
            <a:r>
              <a:rPr lang="en-US" sz="1300" dirty="0">
                <a:solidFill>
                  <a:schemeClr val="bg1"/>
                </a:solidFill>
              </a:rPr>
              <a:t>This is dummy text it is not here to be read.</a:t>
            </a:r>
          </a:p>
        </p:txBody>
      </p:sp>
      <p:sp>
        <p:nvSpPr>
          <p:cNvPr id="150" name="Rectangle 149">
            <a:extLst>
              <a:ext uri="{FF2B5EF4-FFF2-40B4-BE49-F238E27FC236}">
                <a16:creationId xmlns:a16="http://schemas.microsoft.com/office/drawing/2014/main" id="{A6FE7136-F9D7-43E9-A6F4-BCA991D41DE2}"/>
              </a:ext>
            </a:extLst>
          </p:cNvPr>
          <p:cNvSpPr/>
          <p:nvPr/>
        </p:nvSpPr>
        <p:spPr>
          <a:xfrm>
            <a:off x="6096000" y="4198637"/>
            <a:ext cx="5626099" cy="538609"/>
          </a:xfrm>
          <a:prstGeom prst="rect">
            <a:avLst/>
          </a:prstGeom>
          <a:solidFill>
            <a:schemeClr val="accent3">
              <a:lumMod val="50000"/>
              <a:alpha val="10000"/>
            </a:schemeClr>
          </a:solidFill>
          <a:ln w="9525" cap="rnd">
            <a:solidFill>
              <a:srgbClr val="43B02A"/>
            </a:solidFill>
          </a:ln>
        </p:spPr>
        <p:txBody>
          <a:bodyPr wrap="square">
            <a:spAutoFit/>
          </a:bodyPr>
          <a:lstStyle/>
          <a:p>
            <a:r>
              <a:rPr lang="en-US" sz="1600" b="1" dirty="0">
                <a:solidFill>
                  <a:srgbClr val="43B02A"/>
                </a:solidFill>
              </a:rPr>
              <a:t>Lorem ipsum dolor </a:t>
            </a:r>
          </a:p>
          <a:p>
            <a:r>
              <a:rPr lang="en-US" sz="1300" dirty="0">
                <a:solidFill>
                  <a:schemeClr val="bg1"/>
                </a:solidFill>
              </a:rPr>
              <a:t>This is dummy text it is not here to be read.</a:t>
            </a:r>
          </a:p>
        </p:txBody>
      </p:sp>
      <p:sp>
        <p:nvSpPr>
          <p:cNvPr id="152" name="TextBox 151">
            <a:extLst>
              <a:ext uri="{FF2B5EF4-FFF2-40B4-BE49-F238E27FC236}">
                <a16:creationId xmlns:a16="http://schemas.microsoft.com/office/drawing/2014/main" id="{BDB22C61-35BA-4861-A6C6-27A8D520301C}"/>
              </a:ext>
            </a:extLst>
          </p:cNvPr>
          <p:cNvSpPr txBox="1"/>
          <p:nvPr/>
        </p:nvSpPr>
        <p:spPr>
          <a:xfrm flipH="1">
            <a:off x="5992284" y="5724183"/>
            <a:ext cx="1822547" cy="430887"/>
          </a:xfrm>
          <a:prstGeom prst="rect">
            <a:avLst/>
          </a:prstGeom>
          <a:noFill/>
        </p:spPr>
        <p:txBody>
          <a:bodyPr wrap="square" rtlCol="0">
            <a:spAutoFit/>
          </a:bodyPr>
          <a:lstStyle/>
          <a:p>
            <a:pPr algn="ctr"/>
            <a:r>
              <a:rPr lang="en-US" sz="1100" dirty="0">
                <a:solidFill>
                  <a:schemeClr val="bg1"/>
                </a:solidFill>
              </a:rPr>
              <a:t>This is dummy text it is not here to be read. </a:t>
            </a:r>
          </a:p>
        </p:txBody>
      </p:sp>
      <p:sp>
        <p:nvSpPr>
          <p:cNvPr id="153" name="TextBox 152">
            <a:extLst>
              <a:ext uri="{FF2B5EF4-FFF2-40B4-BE49-F238E27FC236}">
                <a16:creationId xmlns:a16="http://schemas.microsoft.com/office/drawing/2014/main" id="{3E6D2B32-C237-4D16-BD70-DF4BF1C4FC2F}"/>
              </a:ext>
            </a:extLst>
          </p:cNvPr>
          <p:cNvSpPr txBox="1"/>
          <p:nvPr/>
        </p:nvSpPr>
        <p:spPr>
          <a:xfrm flipH="1">
            <a:off x="9749036" y="5724183"/>
            <a:ext cx="2085804" cy="430887"/>
          </a:xfrm>
          <a:prstGeom prst="rect">
            <a:avLst/>
          </a:prstGeom>
          <a:noFill/>
        </p:spPr>
        <p:txBody>
          <a:bodyPr wrap="square" rtlCol="0">
            <a:spAutoFit/>
          </a:bodyPr>
          <a:lstStyle/>
          <a:p>
            <a:pPr algn="ctr"/>
            <a:r>
              <a:rPr lang="en-US" sz="1100" dirty="0">
                <a:solidFill>
                  <a:schemeClr val="accent3">
                    <a:lumMod val="75000"/>
                  </a:schemeClr>
                </a:solidFill>
              </a:rPr>
              <a:t>This is dummy text it is not here to be read. </a:t>
            </a:r>
            <a:endParaRPr lang="da-DK" sz="1100" dirty="0">
              <a:solidFill>
                <a:schemeClr val="accent3">
                  <a:lumMod val="75000"/>
                </a:schemeClr>
              </a:solidFill>
            </a:endParaRPr>
          </a:p>
        </p:txBody>
      </p:sp>
      <p:grpSp>
        <p:nvGrpSpPr>
          <p:cNvPr id="156" name="Group 24">
            <a:extLst>
              <a:ext uri="{FF2B5EF4-FFF2-40B4-BE49-F238E27FC236}">
                <a16:creationId xmlns:a16="http://schemas.microsoft.com/office/drawing/2014/main" id="{D08BA1FC-450B-434C-B5C9-2AAE0D22FDB8}"/>
              </a:ext>
            </a:extLst>
          </p:cNvPr>
          <p:cNvGrpSpPr>
            <a:grpSpLocks noChangeAspect="1"/>
          </p:cNvGrpSpPr>
          <p:nvPr/>
        </p:nvGrpSpPr>
        <p:grpSpPr bwMode="auto">
          <a:xfrm>
            <a:off x="1212310" y="4992392"/>
            <a:ext cx="1170289" cy="1135355"/>
            <a:chOff x="2500" y="4290"/>
            <a:chExt cx="1474" cy="1430"/>
          </a:xfrm>
          <a:solidFill>
            <a:srgbClr val="43B02A"/>
          </a:solidFill>
        </p:grpSpPr>
        <p:sp>
          <p:nvSpPr>
            <p:cNvPr id="158" name="Freeform 25">
              <a:extLst>
                <a:ext uri="{FF2B5EF4-FFF2-40B4-BE49-F238E27FC236}">
                  <a16:creationId xmlns:a16="http://schemas.microsoft.com/office/drawing/2014/main" id="{6E7C051F-DEC1-4948-9022-A815A409E9D8}"/>
                </a:ext>
              </a:extLst>
            </p:cNvPr>
            <p:cNvSpPr>
              <a:spLocks noEditPoints="1"/>
            </p:cNvSpPr>
            <p:nvPr/>
          </p:nvSpPr>
          <p:spPr bwMode="auto">
            <a:xfrm>
              <a:off x="2785" y="4290"/>
              <a:ext cx="1189" cy="1430"/>
            </a:xfrm>
            <a:custGeom>
              <a:avLst/>
              <a:gdLst>
                <a:gd name="T0" fmla="*/ 432 w 533"/>
                <a:gd name="T1" fmla="*/ 405 h 661"/>
                <a:gd name="T2" fmla="*/ 395 w 533"/>
                <a:gd name="T3" fmla="*/ 357 h 661"/>
                <a:gd name="T4" fmla="*/ 171 w 533"/>
                <a:gd name="T5" fmla="*/ 181 h 661"/>
                <a:gd name="T6" fmla="*/ 298 w 533"/>
                <a:gd name="T7" fmla="*/ 384 h 661"/>
                <a:gd name="T8" fmla="*/ 193 w 533"/>
                <a:gd name="T9" fmla="*/ 427 h 661"/>
                <a:gd name="T10" fmla="*/ 0 w 533"/>
                <a:gd name="T11" fmla="*/ 405 h 661"/>
                <a:gd name="T12" fmla="*/ 75 w 533"/>
                <a:gd name="T13" fmla="*/ 501 h 661"/>
                <a:gd name="T14" fmla="*/ 117 w 533"/>
                <a:gd name="T15" fmla="*/ 427 h 661"/>
                <a:gd name="T16" fmla="*/ 96 w 533"/>
                <a:gd name="T17" fmla="*/ 523 h 661"/>
                <a:gd name="T18" fmla="*/ 0 w 533"/>
                <a:gd name="T19" fmla="*/ 597 h 661"/>
                <a:gd name="T20" fmla="*/ 139 w 533"/>
                <a:gd name="T21" fmla="*/ 597 h 661"/>
                <a:gd name="T22" fmla="*/ 253 w 533"/>
                <a:gd name="T23" fmla="*/ 624 h 661"/>
                <a:gd name="T24" fmla="*/ 309 w 533"/>
                <a:gd name="T25" fmla="*/ 661 h 661"/>
                <a:gd name="T26" fmla="*/ 459 w 533"/>
                <a:gd name="T27" fmla="*/ 629 h 661"/>
                <a:gd name="T28" fmla="*/ 491 w 533"/>
                <a:gd name="T29" fmla="*/ 555 h 661"/>
                <a:gd name="T30" fmla="*/ 482 w 533"/>
                <a:gd name="T31" fmla="*/ 491 h 661"/>
                <a:gd name="T32" fmla="*/ 469 w 533"/>
                <a:gd name="T33" fmla="*/ 469 h 661"/>
                <a:gd name="T34" fmla="*/ 373 w 533"/>
                <a:gd name="T35" fmla="*/ 469 h 661"/>
                <a:gd name="T36" fmla="*/ 469 w 533"/>
                <a:gd name="T37" fmla="*/ 469 h 661"/>
                <a:gd name="T38" fmla="*/ 384 w 533"/>
                <a:gd name="T39" fmla="*/ 523 h 661"/>
                <a:gd name="T40" fmla="*/ 459 w 533"/>
                <a:gd name="T41" fmla="*/ 501 h 661"/>
                <a:gd name="T42" fmla="*/ 459 w 533"/>
                <a:gd name="T43" fmla="*/ 565 h 661"/>
                <a:gd name="T44" fmla="*/ 384 w 533"/>
                <a:gd name="T45" fmla="*/ 544 h 661"/>
                <a:gd name="T46" fmla="*/ 192 w 533"/>
                <a:gd name="T47" fmla="*/ 181 h 661"/>
                <a:gd name="T48" fmla="*/ 352 w 533"/>
                <a:gd name="T49" fmla="*/ 341 h 661"/>
                <a:gd name="T50" fmla="*/ 352 w 533"/>
                <a:gd name="T51" fmla="*/ 363 h 661"/>
                <a:gd name="T52" fmla="*/ 331 w 533"/>
                <a:gd name="T53" fmla="*/ 384 h 661"/>
                <a:gd name="T54" fmla="*/ 262 w 533"/>
                <a:gd name="T55" fmla="*/ 605 h 661"/>
                <a:gd name="T56" fmla="*/ 139 w 533"/>
                <a:gd name="T57" fmla="*/ 576 h 661"/>
                <a:gd name="T58" fmla="*/ 216 w 533"/>
                <a:gd name="T59" fmla="*/ 442 h 661"/>
                <a:gd name="T60" fmla="*/ 411 w 533"/>
                <a:gd name="T61" fmla="*/ 405 h 661"/>
                <a:gd name="T62" fmla="*/ 282 w 533"/>
                <a:gd name="T63" fmla="*/ 485 h 661"/>
                <a:gd name="T64" fmla="*/ 192 w 533"/>
                <a:gd name="T65" fmla="*/ 523 h 661"/>
                <a:gd name="T66" fmla="*/ 260 w 533"/>
                <a:gd name="T67" fmla="*/ 533 h 661"/>
                <a:gd name="T68" fmla="*/ 309 w 533"/>
                <a:gd name="T69" fmla="*/ 608 h 661"/>
                <a:gd name="T70" fmla="*/ 331 w 533"/>
                <a:gd name="T71" fmla="*/ 459 h 661"/>
                <a:gd name="T72" fmla="*/ 360 w 533"/>
                <a:gd name="T73" fmla="*/ 491 h 661"/>
                <a:gd name="T74" fmla="*/ 352 w 533"/>
                <a:gd name="T75" fmla="*/ 555 h 661"/>
                <a:gd name="T76" fmla="*/ 373 w 533"/>
                <a:gd name="T77" fmla="*/ 627 h 661"/>
                <a:gd name="T78" fmla="*/ 459 w 533"/>
                <a:gd name="T79" fmla="*/ 608 h 661"/>
                <a:gd name="T80" fmla="*/ 384 w 533"/>
                <a:gd name="T81" fmla="*/ 587 h 661"/>
                <a:gd name="T82" fmla="*/ 459 w 533"/>
                <a:gd name="T83" fmla="*/ 608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3" h="661">
                  <a:moveTo>
                    <a:pt x="459" y="437"/>
                  </a:moveTo>
                  <a:cubicBezTo>
                    <a:pt x="421" y="437"/>
                    <a:pt x="421" y="437"/>
                    <a:pt x="421" y="437"/>
                  </a:cubicBezTo>
                  <a:cubicBezTo>
                    <a:pt x="428" y="428"/>
                    <a:pt x="432" y="417"/>
                    <a:pt x="432" y="405"/>
                  </a:cubicBezTo>
                  <a:cubicBezTo>
                    <a:pt x="432" y="394"/>
                    <a:pt x="422" y="384"/>
                    <a:pt x="411" y="384"/>
                  </a:cubicBezTo>
                  <a:cubicBezTo>
                    <a:pt x="395" y="384"/>
                    <a:pt x="395" y="384"/>
                    <a:pt x="395" y="384"/>
                  </a:cubicBezTo>
                  <a:cubicBezTo>
                    <a:pt x="395" y="357"/>
                    <a:pt x="395" y="357"/>
                    <a:pt x="395" y="357"/>
                  </a:cubicBezTo>
                  <a:cubicBezTo>
                    <a:pt x="474" y="338"/>
                    <a:pt x="533" y="267"/>
                    <a:pt x="533" y="181"/>
                  </a:cubicBezTo>
                  <a:cubicBezTo>
                    <a:pt x="533" y="81"/>
                    <a:pt x="452" y="0"/>
                    <a:pt x="352" y="0"/>
                  </a:cubicBezTo>
                  <a:cubicBezTo>
                    <a:pt x="252" y="0"/>
                    <a:pt x="171" y="81"/>
                    <a:pt x="171" y="181"/>
                  </a:cubicBezTo>
                  <a:cubicBezTo>
                    <a:pt x="171" y="267"/>
                    <a:pt x="230" y="338"/>
                    <a:pt x="309" y="357"/>
                  </a:cubicBezTo>
                  <a:cubicBezTo>
                    <a:pt x="309" y="384"/>
                    <a:pt x="309" y="384"/>
                    <a:pt x="309" y="384"/>
                  </a:cubicBezTo>
                  <a:cubicBezTo>
                    <a:pt x="298" y="384"/>
                    <a:pt x="298" y="384"/>
                    <a:pt x="298" y="384"/>
                  </a:cubicBezTo>
                  <a:cubicBezTo>
                    <a:pt x="290" y="384"/>
                    <a:pt x="282" y="386"/>
                    <a:pt x="274" y="390"/>
                  </a:cubicBezTo>
                  <a:cubicBezTo>
                    <a:pt x="207" y="423"/>
                    <a:pt x="207" y="423"/>
                    <a:pt x="207" y="423"/>
                  </a:cubicBezTo>
                  <a:cubicBezTo>
                    <a:pt x="202" y="426"/>
                    <a:pt x="198" y="427"/>
                    <a:pt x="193" y="427"/>
                  </a:cubicBezTo>
                  <a:cubicBezTo>
                    <a:pt x="139" y="427"/>
                    <a:pt x="139" y="427"/>
                    <a:pt x="139" y="427"/>
                  </a:cubicBezTo>
                  <a:cubicBezTo>
                    <a:pt x="139" y="405"/>
                    <a:pt x="139" y="405"/>
                    <a:pt x="139" y="405"/>
                  </a:cubicBezTo>
                  <a:cubicBezTo>
                    <a:pt x="0" y="405"/>
                    <a:pt x="0" y="405"/>
                    <a:pt x="0" y="405"/>
                  </a:cubicBezTo>
                  <a:cubicBezTo>
                    <a:pt x="0" y="427"/>
                    <a:pt x="0" y="427"/>
                    <a:pt x="0" y="427"/>
                  </a:cubicBezTo>
                  <a:cubicBezTo>
                    <a:pt x="75" y="427"/>
                    <a:pt x="75" y="427"/>
                    <a:pt x="75" y="427"/>
                  </a:cubicBezTo>
                  <a:cubicBezTo>
                    <a:pt x="75" y="501"/>
                    <a:pt x="75" y="501"/>
                    <a:pt x="75" y="501"/>
                  </a:cubicBezTo>
                  <a:cubicBezTo>
                    <a:pt x="96" y="501"/>
                    <a:pt x="96" y="501"/>
                    <a:pt x="96" y="501"/>
                  </a:cubicBezTo>
                  <a:cubicBezTo>
                    <a:pt x="96" y="427"/>
                    <a:pt x="96" y="427"/>
                    <a:pt x="96" y="427"/>
                  </a:cubicBezTo>
                  <a:cubicBezTo>
                    <a:pt x="117" y="427"/>
                    <a:pt x="117" y="427"/>
                    <a:pt x="117" y="427"/>
                  </a:cubicBezTo>
                  <a:cubicBezTo>
                    <a:pt x="117" y="597"/>
                    <a:pt x="117" y="597"/>
                    <a:pt x="117" y="597"/>
                  </a:cubicBezTo>
                  <a:cubicBezTo>
                    <a:pt x="96" y="597"/>
                    <a:pt x="96" y="597"/>
                    <a:pt x="96" y="597"/>
                  </a:cubicBezTo>
                  <a:cubicBezTo>
                    <a:pt x="96" y="523"/>
                    <a:pt x="96" y="523"/>
                    <a:pt x="96" y="523"/>
                  </a:cubicBezTo>
                  <a:cubicBezTo>
                    <a:pt x="75" y="523"/>
                    <a:pt x="75" y="523"/>
                    <a:pt x="75" y="523"/>
                  </a:cubicBezTo>
                  <a:cubicBezTo>
                    <a:pt x="75" y="597"/>
                    <a:pt x="75" y="597"/>
                    <a:pt x="75" y="597"/>
                  </a:cubicBezTo>
                  <a:cubicBezTo>
                    <a:pt x="0" y="597"/>
                    <a:pt x="0" y="597"/>
                    <a:pt x="0" y="597"/>
                  </a:cubicBezTo>
                  <a:cubicBezTo>
                    <a:pt x="0" y="619"/>
                    <a:pt x="0" y="619"/>
                    <a:pt x="0" y="619"/>
                  </a:cubicBezTo>
                  <a:cubicBezTo>
                    <a:pt x="139" y="619"/>
                    <a:pt x="139" y="619"/>
                    <a:pt x="139" y="619"/>
                  </a:cubicBezTo>
                  <a:cubicBezTo>
                    <a:pt x="139" y="597"/>
                    <a:pt x="139" y="597"/>
                    <a:pt x="139" y="597"/>
                  </a:cubicBezTo>
                  <a:cubicBezTo>
                    <a:pt x="193" y="597"/>
                    <a:pt x="193" y="597"/>
                    <a:pt x="193" y="597"/>
                  </a:cubicBezTo>
                  <a:cubicBezTo>
                    <a:pt x="198" y="597"/>
                    <a:pt x="202" y="598"/>
                    <a:pt x="207" y="601"/>
                  </a:cubicBezTo>
                  <a:cubicBezTo>
                    <a:pt x="253" y="624"/>
                    <a:pt x="253" y="624"/>
                    <a:pt x="253" y="624"/>
                  </a:cubicBezTo>
                  <a:cubicBezTo>
                    <a:pt x="260" y="627"/>
                    <a:pt x="269" y="629"/>
                    <a:pt x="277" y="629"/>
                  </a:cubicBezTo>
                  <a:cubicBezTo>
                    <a:pt x="309" y="629"/>
                    <a:pt x="309" y="629"/>
                    <a:pt x="309" y="629"/>
                  </a:cubicBezTo>
                  <a:cubicBezTo>
                    <a:pt x="309" y="661"/>
                    <a:pt x="309" y="661"/>
                    <a:pt x="309" y="661"/>
                  </a:cubicBezTo>
                  <a:cubicBezTo>
                    <a:pt x="395" y="661"/>
                    <a:pt x="395" y="661"/>
                    <a:pt x="395" y="661"/>
                  </a:cubicBezTo>
                  <a:cubicBezTo>
                    <a:pt x="395" y="629"/>
                    <a:pt x="395" y="629"/>
                    <a:pt x="395" y="629"/>
                  </a:cubicBezTo>
                  <a:cubicBezTo>
                    <a:pt x="459" y="629"/>
                    <a:pt x="459" y="629"/>
                    <a:pt x="459" y="629"/>
                  </a:cubicBezTo>
                  <a:cubicBezTo>
                    <a:pt x="476" y="629"/>
                    <a:pt x="491" y="615"/>
                    <a:pt x="491" y="597"/>
                  </a:cubicBezTo>
                  <a:cubicBezTo>
                    <a:pt x="491" y="589"/>
                    <a:pt x="487" y="582"/>
                    <a:pt x="482" y="576"/>
                  </a:cubicBezTo>
                  <a:cubicBezTo>
                    <a:pt x="487" y="570"/>
                    <a:pt x="491" y="563"/>
                    <a:pt x="491" y="555"/>
                  </a:cubicBezTo>
                  <a:cubicBezTo>
                    <a:pt x="491" y="546"/>
                    <a:pt x="487" y="539"/>
                    <a:pt x="482" y="533"/>
                  </a:cubicBezTo>
                  <a:cubicBezTo>
                    <a:pt x="487" y="528"/>
                    <a:pt x="491" y="520"/>
                    <a:pt x="491" y="512"/>
                  </a:cubicBezTo>
                  <a:cubicBezTo>
                    <a:pt x="491" y="504"/>
                    <a:pt x="487" y="496"/>
                    <a:pt x="482" y="491"/>
                  </a:cubicBezTo>
                  <a:cubicBezTo>
                    <a:pt x="487" y="485"/>
                    <a:pt x="491" y="478"/>
                    <a:pt x="491" y="469"/>
                  </a:cubicBezTo>
                  <a:cubicBezTo>
                    <a:pt x="491" y="452"/>
                    <a:pt x="476" y="437"/>
                    <a:pt x="459" y="437"/>
                  </a:cubicBezTo>
                  <a:close/>
                  <a:moveTo>
                    <a:pt x="469" y="469"/>
                  </a:moveTo>
                  <a:cubicBezTo>
                    <a:pt x="469" y="475"/>
                    <a:pt x="465" y="480"/>
                    <a:pt x="459" y="480"/>
                  </a:cubicBezTo>
                  <a:cubicBezTo>
                    <a:pt x="384" y="480"/>
                    <a:pt x="384" y="480"/>
                    <a:pt x="384" y="480"/>
                  </a:cubicBezTo>
                  <a:cubicBezTo>
                    <a:pt x="378" y="480"/>
                    <a:pt x="373" y="475"/>
                    <a:pt x="373" y="469"/>
                  </a:cubicBezTo>
                  <a:cubicBezTo>
                    <a:pt x="373" y="463"/>
                    <a:pt x="378" y="459"/>
                    <a:pt x="384" y="459"/>
                  </a:cubicBezTo>
                  <a:cubicBezTo>
                    <a:pt x="459" y="459"/>
                    <a:pt x="459" y="459"/>
                    <a:pt x="459" y="459"/>
                  </a:cubicBezTo>
                  <a:cubicBezTo>
                    <a:pt x="465" y="459"/>
                    <a:pt x="469" y="463"/>
                    <a:pt x="469" y="469"/>
                  </a:cubicBezTo>
                  <a:close/>
                  <a:moveTo>
                    <a:pt x="469" y="512"/>
                  </a:moveTo>
                  <a:cubicBezTo>
                    <a:pt x="469" y="518"/>
                    <a:pt x="465" y="523"/>
                    <a:pt x="459" y="523"/>
                  </a:cubicBezTo>
                  <a:cubicBezTo>
                    <a:pt x="384" y="523"/>
                    <a:pt x="384" y="523"/>
                    <a:pt x="384" y="523"/>
                  </a:cubicBezTo>
                  <a:cubicBezTo>
                    <a:pt x="378" y="523"/>
                    <a:pt x="373" y="518"/>
                    <a:pt x="373" y="512"/>
                  </a:cubicBezTo>
                  <a:cubicBezTo>
                    <a:pt x="373" y="506"/>
                    <a:pt x="378" y="501"/>
                    <a:pt x="384" y="501"/>
                  </a:cubicBezTo>
                  <a:cubicBezTo>
                    <a:pt x="459" y="501"/>
                    <a:pt x="459" y="501"/>
                    <a:pt x="459" y="501"/>
                  </a:cubicBezTo>
                  <a:cubicBezTo>
                    <a:pt x="465" y="501"/>
                    <a:pt x="469" y="506"/>
                    <a:pt x="469" y="512"/>
                  </a:cubicBezTo>
                  <a:close/>
                  <a:moveTo>
                    <a:pt x="469" y="555"/>
                  </a:moveTo>
                  <a:cubicBezTo>
                    <a:pt x="469" y="561"/>
                    <a:pt x="465" y="565"/>
                    <a:pt x="459" y="565"/>
                  </a:cubicBezTo>
                  <a:cubicBezTo>
                    <a:pt x="384" y="565"/>
                    <a:pt x="384" y="565"/>
                    <a:pt x="384" y="565"/>
                  </a:cubicBezTo>
                  <a:cubicBezTo>
                    <a:pt x="378" y="565"/>
                    <a:pt x="373" y="561"/>
                    <a:pt x="373" y="555"/>
                  </a:cubicBezTo>
                  <a:cubicBezTo>
                    <a:pt x="373" y="549"/>
                    <a:pt x="378" y="544"/>
                    <a:pt x="384" y="544"/>
                  </a:cubicBezTo>
                  <a:cubicBezTo>
                    <a:pt x="459" y="544"/>
                    <a:pt x="459" y="544"/>
                    <a:pt x="459" y="544"/>
                  </a:cubicBezTo>
                  <a:cubicBezTo>
                    <a:pt x="465" y="544"/>
                    <a:pt x="469" y="549"/>
                    <a:pt x="469" y="555"/>
                  </a:cubicBezTo>
                  <a:close/>
                  <a:moveTo>
                    <a:pt x="192" y="181"/>
                  </a:moveTo>
                  <a:cubicBezTo>
                    <a:pt x="192" y="93"/>
                    <a:pt x="264" y="21"/>
                    <a:pt x="352" y="21"/>
                  </a:cubicBezTo>
                  <a:cubicBezTo>
                    <a:pt x="440" y="21"/>
                    <a:pt x="512" y="93"/>
                    <a:pt x="512" y="181"/>
                  </a:cubicBezTo>
                  <a:cubicBezTo>
                    <a:pt x="512" y="270"/>
                    <a:pt x="440" y="341"/>
                    <a:pt x="352" y="341"/>
                  </a:cubicBezTo>
                  <a:cubicBezTo>
                    <a:pt x="264" y="341"/>
                    <a:pt x="192" y="270"/>
                    <a:pt x="192" y="181"/>
                  </a:cubicBezTo>
                  <a:close/>
                  <a:moveTo>
                    <a:pt x="331" y="361"/>
                  </a:moveTo>
                  <a:cubicBezTo>
                    <a:pt x="338" y="362"/>
                    <a:pt x="345" y="363"/>
                    <a:pt x="352" y="363"/>
                  </a:cubicBezTo>
                  <a:cubicBezTo>
                    <a:pt x="359" y="363"/>
                    <a:pt x="366" y="362"/>
                    <a:pt x="373" y="361"/>
                  </a:cubicBezTo>
                  <a:cubicBezTo>
                    <a:pt x="373" y="384"/>
                    <a:pt x="373" y="384"/>
                    <a:pt x="373" y="384"/>
                  </a:cubicBezTo>
                  <a:cubicBezTo>
                    <a:pt x="331" y="384"/>
                    <a:pt x="331" y="384"/>
                    <a:pt x="331" y="384"/>
                  </a:cubicBezTo>
                  <a:lnTo>
                    <a:pt x="331" y="361"/>
                  </a:lnTo>
                  <a:close/>
                  <a:moveTo>
                    <a:pt x="277" y="608"/>
                  </a:moveTo>
                  <a:cubicBezTo>
                    <a:pt x="272" y="608"/>
                    <a:pt x="267" y="607"/>
                    <a:pt x="262" y="605"/>
                  </a:cubicBezTo>
                  <a:cubicBezTo>
                    <a:pt x="216" y="582"/>
                    <a:pt x="216" y="582"/>
                    <a:pt x="216" y="582"/>
                  </a:cubicBezTo>
                  <a:cubicBezTo>
                    <a:pt x="209" y="578"/>
                    <a:pt x="201" y="576"/>
                    <a:pt x="193" y="576"/>
                  </a:cubicBezTo>
                  <a:cubicBezTo>
                    <a:pt x="139" y="576"/>
                    <a:pt x="139" y="576"/>
                    <a:pt x="139" y="576"/>
                  </a:cubicBezTo>
                  <a:cubicBezTo>
                    <a:pt x="139" y="448"/>
                    <a:pt x="139" y="448"/>
                    <a:pt x="139" y="448"/>
                  </a:cubicBezTo>
                  <a:cubicBezTo>
                    <a:pt x="193" y="448"/>
                    <a:pt x="193" y="448"/>
                    <a:pt x="193" y="448"/>
                  </a:cubicBezTo>
                  <a:cubicBezTo>
                    <a:pt x="201" y="448"/>
                    <a:pt x="209" y="446"/>
                    <a:pt x="216" y="442"/>
                  </a:cubicBezTo>
                  <a:cubicBezTo>
                    <a:pt x="284" y="409"/>
                    <a:pt x="284" y="409"/>
                    <a:pt x="284" y="409"/>
                  </a:cubicBezTo>
                  <a:cubicBezTo>
                    <a:pt x="288" y="406"/>
                    <a:pt x="293" y="405"/>
                    <a:pt x="298" y="405"/>
                  </a:cubicBezTo>
                  <a:cubicBezTo>
                    <a:pt x="411" y="405"/>
                    <a:pt x="411" y="405"/>
                    <a:pt x="411" y="405"/>
                  </a:cubicBezTo>
                  <a:cubicBezTo>
                    <a:pt x="411" y="423"/>
                    <a:pt x="396" y="437"/>
                    <a:pt x="379" y="437"/>
                  </a:cubicBezTo>
                  <a:cubicBezTo>
                    <a:pt x="314" y="437"/>
                    <a:pt x="314" y="437"/>
                    <a:pt x="314" y="437"/>
                  </a:cubicBezTo>
                  <a:cubicBezTo>
                    <a:pt x="282" y="485"/>
                    <a:pt x="282" y="485"/>
                    <a:pt x="282" y="485"/>
                  </a:cubicBezTo>
                  <a:cubicBezTo>
                    <a:pt x="274" y="497"/>
                    <a:pt x="263" y="507"/>
                    <a:pt x="250" y="514"/>
                  </a:cubicBezTo>
                  <a:cubicBezTo>
                    <a:pt x="238" y="520"/>
                    <a:pt x="225" y="523"/>
                    <a:pt x="212" y="523"/>
                  </a:cubicBezTo>
                  <a:cubicBezTo>
                    <a:pt x="192" y="523"/>
                    <a:pt x="192" y="523"/>
                    <a:pt x="192" y="523"/>
                  </a:cubicBezTo>
                  <a:cubicBezTo>
                    <a:pt x="192" y="544"/>
                    <a:pt x="192" y="544"/>
                    <a:pt x="192" y="544"/>
                  </a:cubicBezTo>
                  <a:cubicBezTo>
                    <a:pt x="212" y="544"/>
                    <a:pt x="212" y="544"/>
                    <a:pt x="212" y="544"/>
                  </a:cubicBezTo>
                  <a:cubicBezTo>
                    <a:pt x="229" y="544"/>
                    <a:pt x="245" y="540"/>
                    <a:pt x="260" y="533"/>
                  </a:cubicBezTo>
                  <a:cubicBezTo>
                    <a:pt x="276" y="525"/>
                    <a:pt x="290" y="512"/>
                    <a:pt x="300" y="497"/>
                  </a:cubicBezTo>
                  <a:cubicBezTo>
                    <a:pt x="309" y="483"/>
                    <a:pt x="309" y="483"/>
                    <a:pt x="309" y="483"/>
                  </a:cubicBezTo>
                  <a:cubicBezTo>
                    <a:pt x="309" y="608"/>
                    <a:pt x="309" y="608"/>
                    <a:pt x="309" y="608"/>
                  </a:cubicBezTo>
                  <a:lnTo>
                    <a:pt x="277" y="608"/>
                  </a:lnTo>
                  <a:close/>
                  <a:moveTo>
                    <a:pt x="331" y="640"/>
                  </a:moveTo>
                  <a:cubicBezTo>
                    <a:pt x="331" y="459"/>
                    <a:pt x="331" y="459"/>
                    <a:pt x="331" y="459"/>
                  </a:cubicBezTo>
                  <a:cubicBezTo>
                    <a:pt x="354" y="459"/>
                    <a:pt x="354" y="459"/>
                    <a:pt x="354" y="459"/>
                  </a:cubicBezTo>
                  <a:cubicBezTo>
                    <a:pt x="353" y="462"/>
                    <a:pt x="352" y="466"/>
                    <a:pt x="352" y="469"/>
                  </a:cubicBezTo>
                  <a:cubicBezTo>
                    <a:pt x="352" y="478"/>
                    <a:pt x="355" y="485"/>
                    <a:pt x="360" y="491"/>
                  </a:cubicBezTo>
                  <a:cubicBezTo>
                    <a:pt x="355" y="496"/>
                    <a:pt x="352" y="504"/>
                    <a:pt x="352" y="512"/>
                  </a:cubicBezTo>
                  <a:cubicBezTo>
                    <a:pt x="352" y="520"/>
                    <a:pt x="355" y="528"/>
                    <a:pt x="360" y="533"/>
                  </a:cubicBezTo>
                  <a:cubicBezTo>
                    <a:pt x="355" y="539"/>
                    <a:pt x="352" y="546"/>
                    <a:pt x="352" y="555"/>
                  </a:cubicBezTo>
                  <a:cubicBezTo>
                    <a:pt x="352" y="563"/>
                    <a:pt x="355" y="570"/>
                    <a:pt x="360" y="576"/>
                  </a:cubicBezTo>
                  <a:cubicBezTo>
                    <a:pt x="355" y="582"/>
                    <a:pt x="352" y="589"/>
                    <a:pt x="352" y="597"/>
                  </a:cubicBezTo>
                  <a:cubicBezTo>
                    <a:pt x="352" y="611"/>
                    <a:pt x="361" y="623"/>
                    <a:pt x="373" y="627"/>
                  </a:cubicBezTo>
                  <a:cubicBezTo>
                    <a:pt x="373" y="640"/>
                    <a:pt x="373" y="640"/>
                    <a:pt x="373" y="640"/>
                  </a:cubicBezTo>
                  <a:lnTo>
                    <a:pt x="331" y="640"/>
                  </a:lnTo>
                  <a:close/>
                  <a:moveTo>
                    <a:pt x="459" y="608"/>
                  </a:moveTo>
                  <a:cubicBezTo>
                    <a:pt x="384" y="608"/>
                    <a:pt x="384" y="608"/>
                    <a:pt x="384" y="608"/>
                  </a:cubicBezTo>
                  <a:cubicBezTo>
                    <a:pt x="378" y="608"/>
                    <a:pt x="373" y="603"/>
                    <a:pt x="373" y="597"/>
                  </a:cubicBezTo>
                  <a:cubicBezTo>
                    <a:pt x="373" y="591"/>
                    <a:pt x="378" y="587"/>
                    <a:pt x="384" y="587"/>
                  </a:cubicBezTo>
                  <a:cubicBezTo>
                    <a:pt x="459" y="587"/>
                    <a:pt x="459" y="587"/>
                    <a:pt x="459" y="587"/>
                  </a:cubicBezTo>
                  <a:cubicBezTo>
                    <a:pt x="465" y="587"/>
                    <a:pt x="469" y="591"/>
                    <a:pt x="469" y="597"/>
                  </a:cubicBezTo>
                  <a:cubicBezTo>
                    <a:pt x="469" y="603"/>
                    <a:pt x="465" y="608"/>
                    <a:pt x="459" y="608"/>
                  </a:cubicBezTo>
                  <a:close/>
                  <a:moveTo>
                    <a:pt x="459" y="608"/>
                  </a:moveTo>
                  <a:cubicBezTo>
                    <a:pt x="459" y="608"/>
                    <a:pt x="459" y="608"/>
                    <a:pt x="459" y="608"/>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6">
              <a:extLst>
                <a:ext uri="{FF2B5EF4-FFF2-40B4-BE49-F238E27FC236}">
                  <a16:creationId xmlns:a16="http://schemas.microsoft.com/office/drawing/2014/main" id="{E00528B6-9F37-4776-BF6B-EC5B3A9DB14A}"/>
                </a:ext>
              </a:extLst>
            </p:cNvPr>
            <p:cNvSpPr>
              <a:spLocks noEditPoints="1"/>
            </p:cNvSpPr>
            <p:nvPr/>
          </p:nvSpPr>
          <p:spPr bwMode="auto">
            <a:xfrm>
              <a:off x="3651" y="4500"/>
              <a:ext cx="133" cy="182"/>
            </a:xfrm>
            <a:custGeom>
              <a:avLst/>
              <a:gdLst>
                <a:gd name="T0" fmla="*/ 11 w 60"/>
                <a:gd name="T1" fmla="*/ 0 h 84"/>
                <a:gd name="T2" fmla="*/ 0 w 60"/>
                <a:gd name="T3" fmla="*/ 19 h 84"/>
                <a:gd name="T4" fmla="*/ 39 w 60"/>
                <a:gd name="T5" fmla="*/ 84 h 84"/>
                <a:gd name="T6" fmla="*/ 60 w 60"/>
                <a:gd name="T7" fmla="*/ 84 h 84"/>
                <a:gd name="T8" fmla="*/ 11 w 60"/>
                <a:gd name="T9" fmla="*/ 0 h 84"/>
                <a:gd name="T10" fmla="*/ 11 w 60"/>
                <a:gd name="T11" fmla="*/ 0 h 84"/>
                <a:gd name="T12" fmla="*/ 11 w 60"/>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60" h="84">
                  <a:moveTo>
                    <a:pt x="11" y="0"/>
                  </a:moveTo>
                  <a:cubicBezTo>
                    <a:pt x="0" y="19"/>
                    <a:pt x="0" y="19"/>
                    <a:pt x="0" y="19"/>
                  </a:cubicBezTo>
                  <a:cubicBezTo>
                    <a:pt x="24" y="32"/>
                    <a:pt x="39" y="57"/>
                    <a:pt x="39" y="84"/>
                  </a:cubicBezTo>
                  <a:cubicBezTo>
                    <a:pt x="60" y="84"/>
                    <a:pt x="60" y="84"/>
                    <a:pt x="60" y="84"/>
                  </a:cubicBezTo>
                  <a:cubicBezTo>
                    <a:pt x="60" y="49"/>
                    <a:pt x="41" y="17"/>
                    <a:pt x="11" y="0"/>
                  </a:cubicBezTo>
                  <a:close/>
                  <a:moveTo>
                    <a:pt x="11" y="0"/>
                  </a:moveTo>
                  <a:cubicBezTo>
                    <a:pt x="11" y="0"/>
                    <a:pt x="11" y="0"/>
                    <a:pt x="11"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27">
              <a:extLst>
                <a:ext uri="{FF2B5EF4-FFF2-40B4-BE49-F238E27FC236}">
                  <a16:creationId xmlns:a16="http://schemas.microsoft.com/office/drawing/2014/main" id="{481CBBA8-07FB-4464-9263-7949B603FEE3}"/>
                </a:ext>
              </a:extLst>
            </p:cNvPr>
            <p:cNvSpPr>
              <a:spLocks noEditPoints="1"/>
            </p:cNvSpPr>
            <p:nvPr/>
          </p:nvSpPr>
          <p:spPr bwMode="auto">
            <a:xfrm>
              <a:off x="3570" y="4474"/>
              <a:ext cx="54" cy="52"/>
            </a:xfrm>
            <a:custGeom>
              <a:avLst/>
              <a:gdLst>
                <a:gd name="T0" fmla="*/ 0 w 24"/>
                <a:gd name="T1" fmla="*/ 22 h 24"/>
                <a:gd name="T2" fmla="*/ 19 w 24"/>
                <a:gd name="T3" fmla="*/ 24 h 24"/>
                <a:gd name="T4" fmla="*/ 24 w 24"/>
                <a:gd name="T5" fmla="*/ 3 h 24"/>
                <a:gd name="T6" fmla="*/ 0 w 24"/>
                <a:gd name="T7" fmla="*/ 0 h 24"/>
                <a:gd name="T8" fmla="*/ 0 w 24"/>
                <a:gd name="T9" fmla="*/ 22 h 24"/>
                <a:gd name="T10" fmla="*/ 0 w 24"/>
                <a:gd name="T11" fmla="*/ 22 h 24"/>
                <a:gd name="T12" fmla="*/ 0 w 24"/>
                <a:gd name="T13" fmla="*/ 2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0" y="22"/>
                  </a:moveTo>
                  <a:cubicBezTo>
                    <a:pt x="6" y="22"/>
                    <a:pt x="13" y="22"/>
                    <a:pt x="19" y="24"/>
                  </a:cubicBezTo>
                  <a:cubicBezTo>
                    <a:pt x="24" y="3"/>
                    <a:pt x="24" y="3"/>
                    <a:pt x="24" y="3"/>
                  </a:cubicBezTo>
                  <a:cubicBezTo>
                    <a:pt x="16" y="1"/>
                    <a:pt x="8" y="0"/>
                    <a:pt x="0" y="0"/>
                  </a:cubicBezTo>
                  <a:lnTo>
                    <a:pt x="0" y="22"/>
                  </a:lnTo>
                  <a:close/>
                  <a:moveTo>
                    <a:pt x="0" y="22"/>
                  </a:moveTo>
                  <a:cubicBezTo>
                    <a:pt x="0" y="22"/>
                    <a:pt x="0" y="22"/>
                    <a:pt x="0" y="22"/>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28">
              <a:extLst>
                <a:ext uri="{FF2B5EF4-FFF2-40B4-BE49-F238E27FC236}">
                  <a16:creationId xmlns:a16="http://schemas.microsoft.com/office/drawing/2014/main" id="{0BD648F3-AA2A-46A5-9845-FF3D9806A409}"/>
                </a:ext>
              </a:extLst>
            </p:cNvPr>
            <p:cNvSpPr>
              <a:spLocks noEditPoints="1"/>
            </p:cNvSpPr>
            <p:nvPr/>
          </p:nvSpPr>
          <p:spPr bwMode="auto">
            <a:xfrm>
              <a:off x="3370" y="4383"/>
              <a:ext cx="510" cy="493"/>
            </a:xfrm>
            <a:custGeom>
              <a:avLst/>
              <a:gdLst>
                <a:gd name="T0" fmla="*/ 90 w 229"/>
                <a:gd name="T1" fmla="*/ 21 h 228"/>
                <a:gd name="T2" fmla="*/ 207 w 229"/>
                <a:gd name="T3" fmla="*/ 138 h 228"/>
                <a:gd name="T4" fmla="*/ 180 w 229"/>
                <a:gd name="T5" fmla="*/ 214 h 228"/>
                <a:gd name="T6" fmla="*/ 196 w 229"/>
                <a:gd name="T7" fmla="*/ 228 h 228"/>
                <a:gd name="T8" fmla="*/ 229 w 229"/>
                <a:gd name="T9" fmla="*/ 138 h 228"/>
                <a:gd name="T10" fmla="*/ 90 w 229"/>
                <a:gd name="T11" fmla="*/ 0 h 228"/>
                <a:gd name="T12" fmla="*/ 0 w 229"/>
                <a:gd name="T13" fmla="*/ 33 h 228"/>
                <a:gd name="T14" fmla="*/ 14 w 229"/>
                <a:gd name="T15" fmla="*/ 49 h 228"/>
                <a:gd name="T16" fmla="*/ 90 w 229"/>
                <a:gd name="T17" fmla="*/ 21 h 228"/>
                <a:gd name="T18" fmla="*/ 90 w 229"/>
                <a:gd name="T19" fmla="*/ 21 h 228"/>
                <a:gd name="T20" fmla="*/ 90 w 229"/>
                <a:gd name="T21" fmla="*/ 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28">
                  <a:moveTo>
                    <a:pt x="90" y="21"/>
                  </a:moveTo>
                  <a:cubicBezTo>
                    <a:pt x="155" y="21"/>
                    <a:pt x="207" y="74"/>
                    <a:pt x="207" y="138"/>
                  </a:cubicBezTo>
                  <a:cubicBezTo>
                    <a:pt x="207" y="166"/>
                    <a:pt x="197" y="193"/>
                    <a:pt x="180" y="214"/>
                  </a:cubicBezTo>
                  <a:cubicBezTo>
                    <a:pt x="196" y="228"/>
                    <a:pt x="196" y="228"/>
                    <a:pt x="196" y="228"/>
                  </a:cubicBezTo>
                  <a:cubicBezTo>
                    <a:pt x="217" y="203"/>
                    <a:pt x="229" y="171"/>
                    <a:pt x="229" y="138"/>
                  </a:cubicBezTo>
                  <a:cubicBezTo>
                    <a:pt x="229" y="62"/>
                    <a:pt x="166" y="0"/>
                    <a:pt x="90" y="0"/>
                  </a:cubicBezTo>
                  <a:cubicBezTo>
                    <a:pt x="57" y="0"/>
                    <a:pt x="26" y="11"/>
                    <a:pt x="0" y="33"/>
                  </a:cubicBezTo>
                  <a:cubicBezTo>
                    <a:pt x="14" y="49"/>
                    <a:pt x="14" y="49"/>
                    <a:pt x="14" y="49"/>
                  </a:cubicBezTo>
                  <a:cubicBezTo>
                    <a:pt x="35" y="31"/>
                    <a:pt x="62" y="21"/>
                    <a:pt x="90" y="21"/>
                  </a:cubicBezTo>
                  <a:close/>
                  <a:moveTo>
                    <a:pt x="90" y="21"/>
                  </a:moveTo>
                  <a:cubicBezTo>
                    <a:pt x="90" y="21"/>
                    <a:pt x="90" y="21"/>
                    <a:pt x="90" y="21"/>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29">
              <a:extLst>
                <a:ext uri="{FF2B5EF4-FFF2-40B4-BE49-F238E27FC236}">
                  <a16:creationId xmlns:a16="http://schemas.microsoft.com/office/drawing/2014/main" id="{DAC15AC0-43B1-4700-B07A-2CED27EBC9E7}"/>
                </a:ext>
              </a:extLst>
            </p:cNvPr>
            <p:cNvSpPr>
              <a:spLocks noEditPoints="1"/>
            </p:cNvSpPr>
            <p:nvPr/>
          </p:nvSpPr>
          <p:spPr bwMode="auto">
            <a:xfrm>
              <a:off x="3260" y="4489"/>
              <a:ext cx="511" cy="493"/>
            </a:xfrm>
            <a:custGeom>
              <a:avLst/>
              <a:gdLst>
                <a:gd name="T0" fmla="*/ 229 w 229"/>
                <a:gd name="T1" fmla="*/ 195 h 228"/>
                <a:gd name="T2" fmla="*/ 215 w 229"/>
                <a:gd name="T3" fmla="*/ 179 h 228"/>
                <a:gd name="T4" fmla="*/ 139 w 229"/>
                <a:gd name="T5" fmla="*/ 207 h 228"/>
                <a:gd name="T6" fmla="*/ 22 w 229"/>
                <a:gd name="T7" fmla="*/ 89 h 228"/>
                <a:gd name="T8" fmla="*/ 49 w 229"/>
                <a:gd name="T9" fmla="*/ 14 h 228"/>
                <a:gd name="T10" fmla="*/ 33 w 229"/>
                <a:gd name="T11" fmla="*/ 0 h 228"/>
                <a:gd name="T12" fmla="*/ 0 w 229"/>
                <a:gd name="T13" fmla="*/ 89 h 228"/>
                <a:gd name="T14" fmla="*/ 139 w 229"/>
                <a:gd name="T15" fmla="*/ 228 h 228"/>
                <a:gd name="T16" fmla="*/ 229 w 229"/>
                <a:gd name="T17" fmla="*/ 195 h 228"/>
                <a:gd name="T18" fmla="*/ 229 w 229"/>
                <a:gd name="T19" fmla="*/ 195 h 228"/>
                <a:gd name="T20" fmla="*/ 229 w 229"/>
                <a:gd name="T21" fmla="*/ 19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28">
                  <a:moveTo>
                    <a:pt x="229" y="195"/>
                  </a:moveTo>
                  <a:cubicBezTo>
                    <a:pt x="215" y="179"/>
                    <a:pt x="215" y="179"/>
                    <a:pt x="215" y="179"/>
                  </a:cubicBezTo>
                  <a:cubicBezTo>
                    <a:pt x="194" y="197"/>
                    <a:pt x="167" y="207"/>
                    <a:pt x="139" y="207"/>
                  </a:cubicBezTo>
                  <a:cubicBezTo>
                    <a:pt x="74" y="207"/>
                    <a:pt x="22" y="154"/>
                    <a:pt x="22" y="89"/>
                  </a:cubicBezTo>
                  <a:cubicBezTo>
                    <a:pt x="22" y="62"/>
                    <a:pt x="32" y="35"/>
                    <a:pt x="49" y="14"/>
                  </a:cubicBezTo>
                  <a:cubicBezTo>
                    <a:pt x="33" y="0"/>
                    <a:pt x="33" y="0"/>
                    <a:pt x="33" y="0"/>
                  </a:cubicBezTo>
                  <a:cubicBezTo>
                    <a:pt x="12" y="25"/>
                    <a:pt x="0" y="57"/>
                    <a:pt x="0" y="89"/>
                  </a:cubicBezTo>
                  <a:cubicBezTo>
                    <a:pt x="0" y="166"/>
                    <a:pt x="63" y="228"/>
                    <a:pt x="139" y="228"/>
                  </a:cubicBezTo>
                  <a:cubicBezTo>
                    <a:pt x="172" y="228"/>
                    <a:pt x="203" y="216"/>
                    <a:pt x="229" y="195"/>
                  </a:cubicBezTo>
                  <a:close/>
                  <a:moveTo>
                    <a:pt x="229" y="195"/>
                  </a:moveTo>
                  <a:cubicBezTo>
                    <a:pt x="229" y="195"/>
                    <a:pt x="229" y="195"/>
                    <a:pt x="229" y="195"/>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0">
              <a:extLst>
                <a:ext uri="{FF2B5EF4-FFF2-40B4-BE49-F238E27FC236}">
                  <a16:creationId xmlns:a16="http://schemas.microsoft.com/office/drawing/2014/main" id="{8273DD90-D6E1-41CC-B929-709B9035F887}"/>
                </a:ext>
              </a:extLst>
            </p:cNvPr>
            <p:cNvSpPr>
              <a:spLocks noEditPoints="1"/>
            </p:cNvSpPr>
            <p:nvPr/>
          </p:nvSpPr>
          <p:spPr bwMode="auto">
            <a:xfrm>
              <a:off x="2596" y="4383"/>
              <a:ext cx="428" cy="415"/>
            </a:xfrm>
            <a:custGeom>
              <a:avLst/>
              <a:gdLst>
                <a:gd name="T0" fmla="*/ 138 w 192"/>
                <a:gd name="T1" fmla="*/ 170 h 192"/>
                <a:gd name="T2" fmla="*/ 177 w 192"/>
                <a:gd name="T3" fmla="*/ 151 h 192"/>
                <a:gd name="T4" fmla="*/ 178 w 192"/>
                <a:gd name="T5" fmla="*/ 119 h 192"/>
                <a:gd name="T6" fmla="*/ 192 w 192"/>
                <a:gd name="T7" fmla="*/ 77 h 192"/>
                <a:gd name="T8" fmla="*/ 170 w 192"/>
                <a:gd name="T9" fmla="*/ 54 h 192"/>
                <a:gd name="T10" fmla="*/ 151 w 192"/>
                <a:gd name="T11" fmla="*/ 15 h 192"/>
                <a:gd name="T12" fmla="*/ 119 w 192"/>
                <a:gd name="T13" fmla="*/ 13 h 192"/>
                <a:gd name="T14" fmla="*/ 77 w 192"/>
                <a:gd name="T15" fmla="*/ 0 h 192"/>
                <a:gd name="T16" fmla="*/ 54 w 192"/>
                <a:gd name="T17" fmla="*/ 21 h 192"/>
                <a:gd name="T18" fmla="*/ 15 w 192"/>
                <a:gd name="T19" fmla="*/ 41 h 192"/>
                <a:gd name="T20" fmla="*/ 13 w 192"/>
                <a:gd name="T21" fmla="*/ 73 h 192"/>
                <a:gd name="T22" fmla="*/ 0 w 192"/>
                <a:gd name="T23" fmla="*/ 114 h 192"/>
                <a:gd name="T24" fmla="*/ 21 w 192"/>
                <a:gd name="T25" fmla="*/ 138 h 192"/>
                <a:gd name="T26" fmla="*/ 41 w 192"/>
                <a:gd name="T27" fmla="*/ 177 h 192"/>
                <a:gd name="T28" fmla="*/ 73 w 192"/>
                <a:gd name="T29" fmla="*/ 178 h 192"/>
                <a:gd name="T30" fmla="*/ 114 w 192"/>
                <a:gd name="T31" fmla="*/ 192 h 192"/>
                <a:gd name="T32" fmla="*/ 102 w 192"/>
                <a:gd name="T33" fmla="*/ 160 h 192"/>
                <a:gd name="T34" fmla="*/ 93 w 192"/>
                <a:gd name="T35" fmla="*/ 170 h 192"/>
                <a:gd name="T36" fmla="*/ 83 w 192"/>
                <a:gd name="T37" fmla="*/ 158 h 192"/>
                <a:gd name="T38" fmla="*/ 55 w 192"/>
                <a:gd name="T39" fmla="*/ 146 h 192"/>
                <a:gd name="T40" fmla="*/ 41 w 192"/>
                <a:gd name="T41" fmla="*/ 146 h 192"/>
                <a:gd name="T42" fmla="*/ 42 w 192"/>
                <a:gd name="T43" fmla="*/ 131 h 192"/>
                <a:gd name="T44" fmla="*/ 32 w 192"/>
                <a:gd name="T45" fmla="*/ 102 h 192"/>
                <a:gd name="T46" fmla="*/ 21 w 192"/>
                <a:gd name="T47" fmla="*/ 93 h 192"/>
                <a:gd name="T48" fmla="*/ 33 w 192"/>
                <a:gd name="T49" fmla="*/ 83 h 192"/>
                <a:gd name="T50" fmla="*/ 46 w 192"/>
                <a:gd name="T51" fmla="*/ 55 h 192"/>
                <a:gd name="T52" fmla="*/ 45 w 192"/>
                <a:gd name="T53" fmla="*/ 41 h 192"/>
                <a:gd name="T54" fmla="*/ 60 w 192"/>
                <a:gd name="T55" fmla="*/ 42 h 192"/>
                <a:gd name="T56" fmla="*/ 89 w 192"/>
                <a:gd name="T57" fmla="*/ 32 h 192"/>
                <a:gd name="T58" fmla="*/ 99 w 192"/>
                <a:gd name="T59" fmla="*/ 21 h 192"/>
                <a:gd name="T60" fmla="*/ 108 w 192"/>
                <a:gd name="T61" fmla="*/ 33 h 192"/>
                <a:gd name="T62" fmla="*/ 136 w 192"/>
                <a:gd name="T63" fmla="*/ 46 h 192"/>
                <a:gd name="T64" fmla="*/ 151 w 192"/>
                <a:gd name="T65" fmla="*/ 45 h 192"/>
                <a:gd name="T66" fmla="*/ 149 w 192"/>
                <a:gd name="T67" fmla="*/ 60 h 192"/>
                <a:gd name="T68" fmla="*/ 160 w 192"/>
                <a:gd name="T69" fmla="*/ 89 h 192"/>
                <a:gd name="T70" fmla="*/ 170 w 192"/>
                <a:gd name="T71" fmla="*/ 99 h 192"/>
                <a:gd name="T72" fmla="*/ 158 w 192"/>
                <a:gd name="T73" fmla="*/ 108 h 192"/>
                <a:gd name="T74" fmla="*/ 146 w 192"/>
                <a:gd name="T75" fmla="*/ 136 h 192"/>
                <a:gd name="T76" fmla="*/ 146 w 192"/>
                <a:gd name="T77" fmla="*/ 151 h 192"/>
                <a:gd name="T78" fmla="*/ 131 w 192"/>
                <a:gd name="T79" fmla="*/ 149 h 192"/>
                <a:gd name="T80" fmla="*/ 102 w 192"/>
                <a:gd name="T81" fmla="*/ 160 h 192"/>
                <a:gd name="T82" fmla="*/ 102 w 192"/>
                <a:gd name="T83" fmla="*/ 16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192">
                  <a:moveTo>
                    <a:pt x="119" y="178"/>
                  </a:moveTo>
                  <a:cubicBezTo>
                    <a:pt x="125" y="176"/>
                    <a:pt x="132" y="173"/>
                    <a:pt x="138" y="170"/>
                  </a:cubicBezTo>
                  <a:cubicBezTo>
                    <a:pt x="151" y="177"/>
                    <a:pt x="151" y="177"/>
                    <a:pt x="151" y="177"/>
                  </a:cubicBezTo>
                  <a:cubicBezTo>
                    <a:pt x="177" y="151"/>
                    <a:pt x="177" y="151"/>
                    <a:pt x="177" y="151"/>
                  </a:cubicBezTo>
                  <a:cubicBezTo>
                    <a:pt x="170" y="138"/>
                    <a:pt x="170" y="138"/>
                    <a:pt x="170" y="138"/>
                  </a:cubicBezTo>
                  <a:cubicBezTo>
                    <a:pt x="173" y="132"/>
                    <a:pt x="176" y="125"/>
                    <a:pt x="178" y="119"/>
                  </a:cubicBezTo>
                  <a:cubicBezTo>
                    <a:pt x="192" y="114"/>
                    <a:pt x="192" y="114"/>
                    <a:pt x="192" y="114"/>
                  </a:cubicBezTo>
                  <a:cubicBezTo>
                    <a:pt x="192" y="77"/>
                    <a:pt x="192" y="77"/>
                    <a:pt x="192" y="77"/>
                  </a:cubicBezTo>
                  <a:cubicBezTo>
                    <a:pt x="178" y="73"/>
                    <a:pt x="178" y="73"/>
                    <a:pt x="178" y="73"/>
                  </a:cubicBezTo>
                  <a:cubicBezTo>
                    <a:pt x="176" y="66"/>
                    <a:pt x="173" y="60"/>
                    <a:pt x="170" y="54"/>
                  </a:cubicBezTo>
                  <a:cubicBezTo>
                    <a:pt x="177" y="41"/>
                    <a:pt x="177" y="41"/>
                    <a:pt x="177" y="41"/>
                  </a:cubicBezTo>
                  <a:cubicBezTo>
                    <a:pt x="151" y="15"/>
                    <a:pt x="151" y="15"/>
                    <a:pt x="151" y="15"/>
                  </a:cubicBezTo>
                  <a:cubicBezTo>
                    <a:pt x="138" y="21"/>
                    <a:pt x="138" y="21"/>
                    <a:pt x="138" y="21"/>
                  </a:cubicBezTo>
                  <a:cubicBezTo>
                    <a:pt x="132" y="18"/>
                    <a:pt x="125" y="15"/>
                    <a:pt x="119" y="13"/>
                  </a:cubicBezTo>
                  <a:cubicBezTo>
                    <a:pt x="114" y="0"/>
                    <a:pt x="114" y="0"/>
                    <a:pt x="114" y="0"/>
                  </a:cubicBezTo>
                  <a:cubicBezTo>
                    <a:pt x="77" y="0"/>
                    <a:pt x="77" y="0"/>
                    <a:pt x="77" y="0"/>
                  </a:cubicBezTo>
                  <a:cubicBezTo>
                    <a:pt x="73" y="13"/>
                    <a:pt x="73" y="13"/>
                    <a:pt x="73" y="13"/>
                  </a:cubicBezTo>
                  <a:cubicBezTo>
                    <a:pt x="66" y="15"/>
                    <a:pt x="60" y="18"/>
                    <a:pt x="54" y="21"/>
                  </a:cubicBezTo>
                  <a:cubicBezTo>
                    <a:pt x="41" y="15"/>
                    <a:pt x="41" y="15"/>
                    <a:pt x="41" y="15"/>
                  </a:cubicBezTo>
                  <a:cubicBezTo>
                    <a:pt x="15" y="41"/>
                    <a:pt x="15" y="41"/>
                    <a:pt x="15" y="41"/>
                  </a:cubicBezTo>
                  <a:cubicBezTo>
                    <a:pt x="21" y="54"/>
                    <a:pt x="21" y="54"/>
                    <a:pt x="21" y="54"/>
                  </a:cubicBezTo>
                  <a:cubicBezTo>
                    <a:pt x="18" y="60"/>
                    <a:pt x="15" y="66"/>
                    <a:pt x="13" y="73"/>
                  </a:cubicBezTo>
                  <a:cubicBezTo>
                    <a:pt x="0" y="77"/>
                    <a:pt x="0" y="77"/>
                    <a:pt x="0" y="77"/>
                  </a:cubicBezTo>
                  <a:cubicBezTo>
                    <a:pt x="0" y="114"/>
                    <a:pt x="0" y="114"/>
                    <a:pt x="0" y="114"/>
                  </a:cubicBezTo>
                  <a:cubicBezTo>
                    <a:pt x="13" y="119"/>
                    <a:pt x="13" y="119"/>
                    <a:pt x="13" y="119"/>
                  </a:cubicBezTo>
                  <a:cubicBezTo>
                    <a:pt x="15" y="125"/>
                    <a:pt x="18" y="132"/>
                    <a:pt x="21" y="138"/>
                  </a:cubicBezTo>
                  <a:cubicBezTo>
                    <a:pt x="15" y="151"/>
                    <a:pt x="15" y="151"/>
                    <a:pt x="15" y="151"/>
                  </a:cubicBezTo>
                  <a:cubicBezTo>
                    <a:pt x="41" y="177"/>
                    <a:pt x="41" y="177"/>
                    <a:pt x="41" y="177"/>
                  </a:cubicBezTo>
                  <a:cubicBezTo>
                    <a:pt x="54" y="170"/>
                    <a:pt x="54" y="170"/>
                    <a:pt x="54" y="170"/>
                  </a:cubicBezTo>
                  <a:cubicBezTo>
                    <a:pt x="60" y="173"/>
                    <a:pt x="66" y="176"/>
                    <a:pt x="73" y="178"/>
                  </a:cubicBezTo>
                  <a:cubicBezTo>
                    <a:pt x="77" y="192"/>
                    <a:pt x="77" y="192"/>
                    <a:pt x="77" y="192"/>
                  </a:cubicBezTo>
                  <a:cubicBezTo>
                    <a:pt x="114" y="192"/>
                    <a:pt x="114" y="192"/>
                    <a:pt x="114" y="192"/>
                  </a:cubicBezTo>
                  <a:lnTo>
                    <a:pt x="119" y="178"/>
                  </a:lnTo>
                  <a:close/>
                  <a:moveTo>
                    <a:pt x="102" y="160"/>
                  </a:moveTo>
                  <a:cubicBezTo>
                    <a:pt x="99" y="170"/>
                    <a:pt x="99" y="170"/>
                    <a:pt x="99" y="170"/>
                  </a:cubicBezTo>
                  <a:cubicBezTo>
                    <a:pt x="93" y="170"/>
                    <a:pt x="93" y="170"/>
                    <a:pt x="93" y="170"/>
                  </a:cubicBezTo>
                  <a:cubicBezTo>
                    <a:pt x="89" y="160"/>
                    <a:pt x="89" y="160"/>
                    <a:pt x="89" y="160"/>
                  </a:cubicBezTo>
                  <a:cubicBezTo>
                    <a:pt x="83" y="158"/>
                    <a:pt x="83" y="158"/>
                    <a:pt x="83" y="158"/>
                  </a:cubicBezTo>
                  <a:cubicBezTo>
                    <a:pt x="75" y="157"/>
                    <a:pt x="67" y="154"/>
                    <a:pt x="60" y="149"/>
                  </a:cubicBezTo>
                  <a:cubicBezTo>
                    <a:pt x="55" y="146"/>
                    <a:pt x="55" y="146"/>
                    <a:pt x="55" y="146"/>
                  </a:cubicBezTo>
                  <a:cubicBezTo>
                    <a:pt x="45" y="151"/>
                    <a:pt x="45" y="151"/>
                    <a:pt x="45" y="151"/>
                  </a:cubicBezTo>
                  <a:cubicBezTo>
                    <a:pt x="41" y="146"/>
                    <a:pt x="41" y="146"/>
                    <a:pt x="41" y="146"/>
                  </a:cubicBezTo>
                  <a:cubicBezTo>
                    <a:pt x="46" y="136"/>
                    <a:pt x="46" y="136"/>
                    <a:pt x="46" y="136"/>
                  </a:cubicBezTo>
                  <a:cubicBezTo>
                    <a:pt x="42" y="131"/>
                    <a:pt x="42" y="131"/>
                    <a:pt x="42" y="131"/>
                  </a:cubicBezTo>
                  <a:cubicBezTo>
                    <a:pt x="38" y="124"/>
                    <a:pt x="35" y="116"/>
                    <a:pt x="33" y="108"/>
                  </a:cubicBezTo>
                  <a:cubicBezTo>
                    <a:pt x="32" y="102"/>
                    <a:pt x="32" y="102"/>
                    <a:pt x="32" y="102"/>
                  </a:cubicBezTo>
                  <a:cubicBezTo>
                    <a:pt x="21" y="99"/>
                    <a:pt x="21" y="99"/>
                    <a:pt x="21" y="99"/>
                  </a:cubicBezTo>
                  <a:cubicBezTo>
                    <a:pt x="21" y="93"/>
                    <a:pt x="21" y="93"/>
                    <a:pt x="21" y="93"/>
                  </a:cubicBezTo>
                  <a:cubicBezTo>
                    <a:pt x="32" y="89"/>
                    <a:pt x="32" y="89"/>
                    <a:pt x="32" y="89"/>
                  </a:cubicBezTo>
                  <a:cubicBezTo>
                    <a:pt x="33" y="83"/>
                    <a:pt x="33" y="83"/>
                    <a:pt x="33" y="83"/>
                  </a:cubicBezTo>
                  <a:cubicBezTo>
                    <a:pt x="35" y="75"/>
                    <a:pt x="38" y="67"/>
                    <a:pt x="42" y="60"/>
                  </a:cubicBezTo>
                  <a:cubicBezTo>
                    <a:pt x="46" y="55"/>
                    <a:pt x="46" y="55"/>
                    <a:pt x="46" y="55"/>
                  </a:cubicBezTo>
                  <a:cubicBezTo>
                    <a:pt x="41" y="45"/>
                    <a:pt x="41" y="45"/>
                    <a:pt x="41" y="45"/>
                  </a:cubicBezTo>
                  <a:cubicBezTo>
                    <a:pt x="45" y="41"/>
                    <a:pt x="45" y="41"/>
                    <a:pt x="45" y="41"/>
                  </a:cubicBezTo>
                  <a:cubicBezTo>
                    <a:pt x="55" y="46"/>
                    <a:pt x="55" y="46"/>
                    <a:pt x="55" y="46"/>
                  </a:cubicBezTo>
                  <a:cubicBezTo>
                    <a:pt x="60" y="42"/>
                    <a:pt x="60" y="42"/>
                    <a:pt x="60" y="42"/>
                  </a:cubicBezTo>
                  <a:cubicBezTo>
                    <a:pt x="67" y="38"/>
                    <a:pt x="75" y="35"/>
                    <a:pt x="83" y="33"/>
                  </a:cubicBezTo>
                  <a:cubicBezTo>
                    <a:pt x="89" y="32"/>
                    <a:pt x="89" y="32"/>
                    <a:pt x="89" y="32"/>
                  </a:cubicBezTo>
                  <a:cubicBezTo>
                    <a:pt x="93" y="21"/>
                    <a:pt x="93" y="21"/>
                    <a:pt x="93" y="21"/>
                  </a:cubicBezTo>
                  <a:cubicBezTo>
                    <a:pt x="99" y="21"/>
                    <a:pt x="99" y="21"/>
                    <a:pt x="99" y="21"/>
                  </a:cubicBezTo>
                  <a:cubicBezTo>
                    <a:pt x="102" y="32"/>
                    <a:pt x="102" y="32"/>
                    <a:pt x="102" y="32"/>
                  </a:cubicBezTo>
                  <a:cubicBezTo>
                    <a:pt x="108" y="33"/>
                    <a:pt x="108" y="33"/>
                    <a:pt x="108" y="33"/>
                  </a:cubicBezTo>
                  <a:cubicBezTo>
                    <a:pt x="116" y="35"/>
                    <a:pt x="124" y="38"/>
                    <a:pt x="131" y="42"/>
                  </a:cubicBezTo>
                  <a:cubicBezTo>
                    <a:pt x="136" y="46"/>
                    <a:pt x="136" y="46"/>
                    <a:pt x="136" y="46"/>
                  </a:cubicBezTo>
                  <a:cubicBezTo>
                    <a:pt x="146" y="41"/>
                    <a:pt x="146" y="41"/>
                    <a:pt x="146" y="41"/>
                  </a:cubicBezTo>
                  <a:cubicBezTo>
                    <a:pt x="151" y="45"/>
                    <a:pt x="151" y="45"/>
                    <a:pt x="151" y="45"/>
                  </a:cubicBezTo>
                  <a:cubicBezTo>
                    <a:pt x="146" y="55"/>
                    <a:pt x="146" y="55"/>
                    <a:pt x="146" y="55"/>
                  </a:cubicBezTo>
                  <a:cubicBezTo>
                    <a:pt x="149" y="60"/>
                    <a:pt x="149" y="60"/>
                    <a:pt x="149" y="60"/>
                  </a:cubicBezTo>
                  <a:cubicBezTo>
                    <a:pt x="154" y="67"/>
                    <a:pt x="157" y="75"/>
                    <a:pt x="158" y="83"/>
                  </a:cubicBezTo>
                  <a:cubicBezTo>
                    <a:pt x="160" y="89"/>
                    <a:pt x="160" y="89"/>
                    <a:pt x="160" y="89"/>
                  </a:cubicBezTo>
                  <a:cubicBezTo>
                    <a:pt x="170" y="93"/>
                    <a:pt x="170" y="93"/>
                    <a:pt x="170" y="93"/>
                  </a:cubicBezTo>
                  <a:cubicBezTo>
                    <a:pt x="170" y="99"/>
                    <a:pt x="170" y="99"/>
                    <a:pt x="170" y="99"/>
                  </a:cubicBezTo>
                  <a:cubicBezTo>
                    <a:pt x="160" y="102"/>
                    <a:pt x="160" y="102"/>
                    <a:pt x="160" y="102"/>
                  </a:cubicBezTo>
                  <a:cubicBezTo>
                    <a:pt x="158" y="108"/>
                    <a:pt x="158" y="108"/>
                    <a:pt x="158" y="108"/>
                  </a:cubicBezTo>
                  <a:cubicBezTo>
                    <a:pt x="157" y="116"/>
                    <a:pt x="154" y="124"/>
                    <a:pt x="149" y="131"/>
                  </a:cubicBezTo>
                  <a:cubicBezTo>
                    <a:pt x="146" y="136"/>
                    <a:pt x="146" y="136"/>
                    <a:pt x="146" y="136"/>
                  </a:cubicBezTo>
                  <a:cubicBezTo>
                    <a:pt x="151" y="146"/>
                    <a:pt x="151" y="146"/>
                    <a:pt x="151" y="146"/>
                  </a:cubicBezTo>
                  <a:cubicBezTo>
                    <a:pt x="146" y="151"/>
                    <a:pt x="146" y="151"/>
                    <a:pt x="146" y="151"/>
                  </a:cubicBezTo>
                  <a:cubicBezTo>
                    <a:pt x="136" y="146"/>
                    <a:pt x="136" y="146"/>
                    <a:pt x="136" y="146"/>
                  </a:cubicBezTo>
                  <a:cubicBezTo>
                    <a:pt x="131" y="149"/>
                    <a:pt x="131" y="149"/>
                    <a:pt x="131" y="149"/>
                  </a:cubicBezTo>
                  <a:cubicBezTo>
                    <a:pt x="124" y="154"/>
                    <a:pt x="116" y="157"/>
                    <a:pt x="108" y="158"/>
                  </a:cubicBezTo>
                  <a:lnTo>
                    <a:pt x="102" y="160"/>
                  </a:lnTo>
                  <a:close/>
                  <a:moveTo>
                    <a:pt x="102" y="160"/>
                  </a:moveTo>
                  <a:cubicBezTo>
                    <a:pt x="102" y="160"/>
                    <a:pt x="102" y="160"/>
                    <a:pt x="102" y="16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1">
              <a:extLst>
                <a:ext uri="{FF2B5EF4-FFF2-40B4-BE49-F238E27FC236}">
                  <a16:creationId xmlns:a16="http://schemas.microsoft.com/office/drawing/2014/main" id="{C9D71B44-732A-4B58-A209-27D49016F9A0}"/>
                </a:ext>
              </a:extLst>
            </p:cNvPr>
            <p:cNvSpPr>
              <a:spLocks noEditPoints="1"/>
            </p:cNvSpPr>
            <p:nvPr/>
          </p:nvSpPr>
          <p:spPr bwMode="auto">
            <a:xfrm>
              <a:off x="2714" y="4498"/>
              <a:ext cx="190" cy="184"/>
            </a:xfrm>
            <a:custGeom>
              <a:avLst/>
              <a:gdLst>
                <a:gd name="T0" fmla="*/ 43 w 85"/>
                <a:gd name="T1" fmla="*/ 0 h 85"/>
                <a:gd name="T2" fmla="*/ 0 w 85"/>
                <a:gd name="T3" fmla="*/ 43 h 85"/>
                <a:gd name="T4" fmla="*/ 43 w 85"/>
                <a:gd name="T5" fmla="*/ 85 h 85"/>
                <a:gd name="T6" fmla="*/ 85 w 85"/>
                <a:gd name="T7" fmla="*/ 43 h 85"/>
                <a:gd name="T8" fmla="*/ 43 w 85"/>
                <a:gd name="T9" fmla="*/ 0 h 85"/>
                <a:gd name="T10" fmla="*/ 43 w 85"/>
                <a:gd name="T11" fmla="*/ 64 h 85"/>
                <a:gd name="T12" fmla="*/ 21 w 85"/>
                <a:gd name="T13" fmla="*/ 43 h 85"/>
                <a:gd name="T14" fmla="*/ 43 w 85"/>
                <a:gd name="T15" fmla="*/ 21 h 85"/>
                <a:gd name="T16" fmla="*/ 64 w 85"/>
                <a:gd name="T17" fmla="*/ 43 h 85"/>
                <a:gd name="T18" fmla="*/ 43 w 85"/>
                <a:gd name="T19" fmla="*/ 64 h 85"/>
                <a:gd name="T20" fmla="*/ 43 w 85"/>
                <a:gd name="T21" fmla="*/ 64 h 85"/>
                <a:gd name="T22" fmla="*/ 43 w 85"/>
                <a:gd name="T23" fmla="*/ 6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3" y="0"/>
                  </a:moveTo>
                  <a:cubicBezTo>
                    <a:pt x="19" y="0"/>
                    <a:pt x="0" y="19"/>
                    <a:pt x="0" y="43"/>
                  </a:cubicBezTo>
                  <a:cubicBezTo>
                    <a:pt x="0" y="66"/>
                    <a:pt x="19" y="85"/>
                    <a:pt x="43" y="85"/>
                  </a:cubicBezTo>
                  <a:cubicBezTo>
                    <a:pt x="66" y="85"/>
                    <a:pt x="85" y="66"/>
                    <a:pt x="85" y="43"/>
                  </a:cubicBezTo>
                  <a:cubicBezTo>
                    <a:pt x="85" y="19"/>
                    <a:pt x="66" y="0"/>
                    <a:pt x="43" y="0"/>
                  </a:cubicBezTo>
                  <a:close/>
                  <a:moveTo>
                    <a:pt x="43" y="64"/>
                  </a:moveTo>
                  <a:cubicBezTo>
                    <a:pt x="31" y="64"/>
                    <a:pt x="21" y="54"/>
                    <a:pt x="21" y="43"/>
                  </a:cubicBezTo>
                  <a:cubicBezTo>
                    <a:pt x="21" y="31"/>
                    <a:pt x="31" y="21"/>
                    <a:pt x="43" y="21"/>
                  </a:cubicBezTo>
                  <a:cubicBezTo>
                    <a:pt x="54" y="21"/>
                    <a:pt x="64" y="31"/>
                    <a:pt x="64" y="43"/>
                  </a:cubicBezTo>
                  <a:cubicBezTo>
                    <a:pt x="64" y="54"/>
                    <a:pt x="54" y="64"/>
                    <a:pt x="43" y="64"/>
                  </a:cubicBezTo>
                  <a:close/>
                  <a:moveTo>
                    <a:pt x="43" y="64"/>
                  </a:moveTo>
                  <a:cubicBezTo>
                    <a:pt x="43" y="64"/>
                    <a:pt x="43" y="64"/>
                    <a:pt x="43" y="64"/>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2">
              <a:extLst>
                <a:ext uri="{FF2B5EF4-FFF2-40B4-BE49-F238E27FC236}">
                  <a16:creationId xmlns:a16="http://schemas.microsoft.com/office/drawing/2014/main" id="{ADCAD21C-5833-4AEB-8DC0-D20AF4CE4FB3}"/>
                </a:ext>
              </a:extLst>
            </p:cNvPr>
            <p:cNvSpPr>
              <a:spLocks noEditPoints="1"/>
            </p:cNvSpPr>
            <p:nvPr/>
          </p:nvSpPr>
          <p:spPr bwMode="auto">
            <a:xfrm>
              <a:off x="2500" y="4290"/>
              <a:ext cx="618" cy="716"/>
            </a:xfrm>
            <a:custGeom>
              <a:avLst/>
              <a:gdLst>
                <a:gd name="T0" fmla="*/ 475 w 618"/>
                <a:gd name="T1" fmla="*/ 716 h 716"/>
                <a:gd name="T2" fmla="*/ 475 w 618"/>
                <a:gd name="T3" fmla="*/ 599 h 716"/>
                <a:gd name="T4" fmla="*/ 618 w 618"/>
                <a:gd name="T5" fmla="*/ 599 h 716"/>
                <a:gd name="T6" fmla="*/ 618 w 618"/>
                <a:gd name="T7" fmla="*/ 0 h 716"/>
                <a:gd name="T8" fmla="*/ 0 w 618"/>
                <a:gd name="T9" fmla="*/ 0 h 716"/>
                <a:gd name="T10" fmla="*/ 0 w 618"/>
                <a:gd name="T11" fmla="*/ 599 h 716"/>
                <a:gd name="T12" fmla="*/ 317 w 618"/>
                <a:gd name="T13" fmla="*/ 599 h 716"/>
                <a:gd name="T14" fmla="*/ 475 w 618"/>
                <a:gd name="T15" fmla="*/ 716 h 716"/>
                <a:gd name="T16" fmla="*/ 47 w 618"/>
                <a:gd name="T17" fmla="*/ 46 h 716"/>
                <a:gd name="T18" fmla="*/ 571 w 618"/>
                <a:gd name="T19" fmla="*/ 46 h 716"/>
                <a:gd name="T20" fmla="*/ 571 w 618"/>
                <a:gd name="T21" fmla="*/ 554 h 716"/>
                <a:gd name="T22" fmla="*/ 428 w 618"/>
                <a:gd name="T23" fmla="*/ 554 h 716"/>
                <a:gd name="T24" fmla="*/ 428 w 618"/>
                <a:gd name="T25" fmla="*/ 623 h 716"/>
                <a:gd name="T26" fmla="*/ 332 w 618"/>
                <a:gd name="T27" fmla="*/ 554 h 716"/>
                <a:gd name="T28" fmla="*/ 47 w 618"/>
                <a:gd name="T29" fmla="*/ 554 h 716"/>
                <a:gd name="T30" fmla="*/ 47 w 618"/>
                <a:gd name="T31" fmla="*/ 46 h 716"/>
                <a:gd name="T32" fmla="*/ 47 w 618"/>
                <a:gd name="T33" fmla="*/ 46 h 716"/>
                <a:gd name="T34" fmla="*/ 47 w 618"/>
                <a:gd name="T35" fmla="*/ 4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716">
                  <a:moveTo>
                    <a:pt x="475" y="716"/>
                  </a:moveTo>
                  <a:lnTo>
                    <a:pt x="475" y="599"/>
                  </a:lnTo>
                  <a:lnTo>
                    <a:pt x="618" y="599"/>
                  </a:lnTo>
                  <a:lnTo>
                    <a:pt x="618" y="0"/>
                  </a:lnTo>
                  <a:lnTo>
                    <a:pt x="0" y="0"/>
                  </a:lnTo>
                  <a:lnTo>
                    <a:pt x="0" y="599"/>
                  </a:lnTo>
                  <a:lnTo>
                    <a:pt x="317" y="599"/>
                  </a:lnTo>
                  <a:lnTo>
                    <a:pt x="475" y="716"/>
                  </a:lnTo>
                  <a:close/>
                  <a:moveTo>
                    <a:pt x="47" y="46"/>
                  </a:moveTo>
                  <a:lnTo>
                    <a:pt x="571" y="46"/>
                  </a:lnTo>
                  <a:lnTo>
                    <a:pt x="571" y="554"/>
                  </a:lnTo>
                  <a:lnTo>
                    <a:pt x="428" y="554"/>
                  </a:lnTo>
                  <a:lnTo>
                    <a:pt x="428" y="623"/>
                  </a:lnTo>
                  <a:lnTo>
                    <a:pt x="332" y="554"/>
                  </a:lnTo>
                  <a:lnTo>
                    <a:pt x="47" y="554"/>
                  </a:lnTo>
                  <a:lnTo>
                    <a:pt x="47" y="46"/>
                  </a:lnTo>
                  <a:close/>
                  <a:moveTo>
                    <a:pt x="47" y="46"/>
                  </a:moveTo>
                  <a:lnTo>
                    <a:pt x="47" y="46"/>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3">
              <a:extLst>
                <a:ext uri="{FF2B5EF4-FFF2-40B4-BE49-F238E27FC236}">
                  <a16:creationId xmlns:a16="http://schemas.microsoft.com/office/drawing/2014/main" id="{831503EE-E400-4FA1-A381-5436775A8FF0}"/>
                </a:ext>
              </a:extLst>
            </p:cNvPr>
            <p:cNvSpPr>
              <a:spLocks noEditPoints="1"/>
            </p:cNvSpPr>
            <p:nvPr/>
          </p:nvSpPr>
          <p:spPr bwMode="auto">
            <a:xfrm>
              <a:off x="2500" y="4290"/>
              <a:ext cx="618" cy="716"/>
            </a:xfrm>
            <a:custGeom>
              <a:avLst/>
              <a:gdLst>
                <a:gd name="T0" fmla="*/ 475 w 618"/>
                <a:gd name="T1" fmla="*/ 716 h 716"/>
                <a:gd name="T2" fmla="*/ 475 w 618"/>
                <a:gd name="T3" fmla="*/ 599 h 716"/>
                <a:gd name="T4" fmla="*/ 618 w 618"/>
                <a:gd name="T5" fmla="*/ 599 h 716"/>
                <a:gd name="T6" fmla="*/ 618 w 618"/>
                <a:gd name="T7" fmla="*/ 0 h 716"/>
                <a:gd name="T8" fmla="*/ 0 w 618"/>
                <a:gd name="T9" fmla="*/ 0 h 716"/>
                <a:gd name="T10" fmla="*/ 0 w 618"/>
                <a:gd name="T11" fmla="*/ 599 h 716"/>
                <a:gd name="T12" fmla="*/ 317 w 618"/>
                <a:gd name="T13" fmla="*/ 599 h 716"/>
                <a:gd name="T14" fmla="*/ 475 w 618"/>
                <a:gd name="T15" fmla="*/ 716 h 716"/>
                <a:gd name="T16" fmla="*/ 47 w 618"/>
                <a:gd name="T17" fmla="*/ 46 h 716"/>
                <a:gd name="T18" fmla="*/ 571 w 618"/>
                <a:gd name="T19" fmla="*/ 46 h 716"/>
                <a:gd name="T20" fmla="*/ 571 w 618"/>
                <a:gd name="T21" fmla="*/ 554 h 716"/>
                <a:gd name="T22" fmla="*/ 428 w 618"/>
                <a:gd name="T23" fmla="*/ 554 h 716"/>
                <a:gd name="T24" fmla="*/ 428 w 618"/>
                <a:gd name="T25" fmla="*/ 623 h 716"/>
                <a:gd name="T26" fmla="*/ 332 w 618"/>
                <a:gd name="T27" fmla="*/ 554 h 716"/>
                <a:gd name="T28" fmla="*/ 47 w 618"/>
                <a:gd name="T29" fmla="*/ 554 h 716"/>
                <a:gd name="T30" fmla="*/ 47 w 618"/>
                <a:gd name="T31" fmla="*/ 46 h 716"/>
                <a:gd name="T32" fmla="*/ 47 w 618"/>
                <a:gd name="T33" fmla="*/ 46 h 716"/>
                <a:gd name="T34" fmla="*/ 47 w 618"/>
                <a:gd name="T35" fmla="*/ 4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716">
                  <a:moveTo>
                    <a:pt x="475" y="716"/>
                  </a:moveTo>
                  <a:lnTo>
                    <a:pt x="475" y="599"/>
                  </a:lnTo>
                  <a:lnTo>
                    <a:pt x="618" y="599"/>
                  </a:lnTo>
                  <a:lnTo>
                    <a:pt x="618" y="0"/>
                  </a:lnTo>
                  <a:lnTo>
                    <a:pt x="0" y="0"/>
                  </a:lnTo>
                  <a:lnTo>
                    <a:pt x="0" y="599"/>
                  </a:lnTo>
                  <a:lnTo>
                    <a:pt x="317" y="599"/>
                  </a:lnTo>
                  <a:lnTo>
                    <a:pt x="475" y="716"/>
                  </a:lnTo>
                  <a:moveTo>
                    <a:pt x="47" y="46"/>
                  </a:moveTo>
                  <a:lnTo>
                    <a:pt x="571" y="46"/>
                  </a:lnTo>
                  <a:lnTo>
                    <a:pt x="571" y="554"/>
                  </a:lnTo>
                  <a:lnTo>
                    <a:pt x="428" y="554"/>
                  </a:lnTo>
                  <a:lnTo>
                    <a:pt x="428" y="623"/>
                  </a:lnTo>
                  <a:lnTo>
                    <a:pt x="332" y="554"/>
                  </a:lnTo>
                  <a:lnTo>
                    <a:pt x="47" y="554"/>
                  </a:lnTo>
                  <a:lnTo>
                    <a:pt x="47" y="46"/>
                  </a:lnTo>
                  <a:moveTo>
                    <a:pt x="47" y="46"/>
                  </a:moveTo>
                  <a:lnTo>
                    <a:pt x="47" y="46"/>
                  </a:ln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Rectangle 34">
              <a:extLst>
                <a:ext uri="{FF2B5EF4-FFF2-40B4-BE49-F238E27FC236}">
                  <a16:creationId xmlns:a16="http://schemas.microsoft.com/office/drawing/2014/main" id="{87C3C029-FF1C-4C90-ACEB-965E28162D24}"/>
                </a:ext>
              </a:extLst>
            </p:cNvPr>
            <p:cNvSpPr>
              <a:spLocks noChangeArrowheads="1"/>
            </p:cNvSpPr>
            <p:nvPr/>
          </p:nvSpPr>
          <p:spPr bwMode="auto">
            <a:xfrm>
              <a:off x="2500" y="5075"/>
              <a:ext cx="47"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 name="Rectangle 35">
              <a:extLst>
                <a:ext uri="{FF2B5EF4-FFF2-40B4-BE49-F238E27FC236}">
                  <a16:creationId xmlns:a16="http://schemas.microsoft.com/office/drawing/2014/main" id="{9F773C92-8241-4460-9BC2-DAEEE374CA81}"/>
                </a:ext>
              </a:extLst>
            </p:cNvPr>
            <p:cNvSpPr>
              <a:spLocks noChangeArrowheads="1"/>
            </p:cNvSpPr>
            <p:nvPr/>
          </p:nvSpPr>
          <p:spPr bwMode="auto">
            <a:xfrm>
              <a:off x="2596" y="5075"/>
              <a:ext cx="47"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 name="Rectangle 36">
              <a:extLst>
                <a:ext uri="{FF2B5EF4-FFF2-40B4-BE49-F238E27FC236}">
                  <a16:creationId xmlns:a16="http://schemas.microsoft.com/office/drawing/2014/main" id="{04BC0771-A84E-4A24-A705-CF6BB80C1F2E}"/>
                </a:ext>
              </a:extLst>
            </p:cNvPr>
            <p:cNvSpPr>
              <a:spLocks noChangeArrowheads="1"/>
            </p:cNvSpPr>
            <p:nvPr/>
          </p:nvSpPr>
          <p:spPr bwMode="auto">
            <a:xfrm>
              <a:off x="2690" y="5075"/>
              <a:ext cx="49"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 name="Rectangle 37">
              <a:extLst>
                <a:ext uri="{FF2B5EF4-FFF2-40B4-BE49-F238E27FC236}">
                  <a16:creationId xmlns:a16="http://schemas.microsoft.com/office/drawing/2014/main" id="{0D144C72-67F3-44A4-AEBE-88473F646EE7}"/>
                </a:ext>
              </a:extLst>
            </p:cNvPr>
            <p:cNvSpPr>
              <a:spLocks noChangeArrowheads="1"/>
            </p:cNvSpPr>
            <p:nvPr/>
          </p:nvSpPr>
          <p:spPr bwMode="auto">
            <a:xfrm>
              <a:off x="2596" y="5166"/>
              <a:ext cx="47" cy="48"/>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1" name="Rectangle 38">
              <a:extLst>
                <a:ext uri="{FF2B5EF4-FFF2-40B4-BE49-F238E27FC236}">
                  <a16:creationId xmlns:a16="http://schemas.microsoft.com/office/drawing/2014/main" id="{CD99323A-9C4B-45D2-A33E-AEA8B9604025}"/>
                </a:ext>
              </a:extLst>
            </p:cNvPr>
            <p:cNvSpPr>
              <a:spLocks noChangeArrowheads="1"/>
            </p:cNvSpPr>
            <p:nvPr/>
          </p:nvSpPr>
          <p:spPr bwMode="auto">
            <a:xfrm>
              <a:off x="2690" y="5166"/>
              <a:ext cx="49" cy="48"/>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 name="Rectangle 39">
              <a:extLst>
                <a:ext uri="{FF2B5EF4-FFF2-40B4-BE49-F238E27FC236}">
                  <a16:creationId xmlns:a16="http://schemas.microsoft.com/office/drawing/2014/main" id="{0E55EAF2-3E0C-430A-AEEA-E84649FB8AC7}"/>
                </a:ext>
              </a:extLst>
            </p:cNvPr>
            <p:cNvSpPr>
              <a:spLocks noChangeArrowheads="1"/>
            </p:cNvSpPr>
            <p:nvPr/>
          </p:nvSpPr>
          <p:spPr bwMode="auto">
            <a:xfrm>
              <a:off x="2500" y="5675"/>
              <a:ext cx="47"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3" name="Rectangle 40">
              <a:extLst>
                <a:ext uri="{FF2B5EF4-FFF2-40B4-BE49-F238E27FC236}">
                  <a16:creationId xmlns:a16="http://schemas.microsoft.com/office/drawing/2014/main" id="{B6AB1E2A-D0EE-499A-8086-EA905F34663B}"/>
                </a:ext>
              </a:extLst>
            </p:cNvPr>
            <p:cNvSpPr>
              <a:spLocks noChangeArrowheads="1"/>
            </p:cNvSpPr>
            <p:nvPr/>
          </p:nvSpPr>
          <p:spPr bwMode="auto">
            <a:xfrm>
              <a:off x="2596" y="5675"/>
              <a:ext cx="47"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 name="Rectangle 41">
              <a:extLst>
                <a:ext uri="{FF2B5EF4-FFF2-40B4-BE49-F238E27FC236}">
                  <a16:creationId xmlns:a16="http://schemas.microsoft.com/office/drawing/2014/main" id="{7FFA8CF3-8FAF-419D-9DE7-86DD12977D3E}"/>
                </a:ext>
              </a:extLst>
            </p:cNvPr>
            <p:cNvSpPr>
              <a:spLocks noChangeArrowheads="1"/>
            </p:cNvSpPr>
            <p:nvPr/>
          </p:nvSpPr>
          <p:spPr bwMode="auto">
            <a:xfrm>
              <a:off x="2690" y="5675"/>
              <a:ext cx="49"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5" name="Rectangle 42">
              <a:extLst>
                <a:ext uri="{FF2B5EF4-FFF2-40B4-BE49-F238E27FC236}">
                  <a16:creationId xmlns:a16="http://schemas.microsoft.com/office/drawing/2014/main" id="{2DABF01B-A15F-4697-BDD4-150E3345C506}"/>
                </a:ext>
              </a:extLst>
            </p:cNvPr>
            <p:cNvSpPr>
              <a:spLocks noChangeArrowheads="1"/>
            </p:cNvSpPr>
            <p:nvPr/>
          </p:nvSpPr>
          <p:spPr bwMode="auto">
            <a:xfrm>
              <a:off x="2596" y="5582"/>
              <a:ext cx="47" cy="47"/>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 name="Rectangle 43">
              <a:extLst>
                <a:ext uri="{FF2B5EF4-FFF2-40B4-BE49-F238E27FC236}">
                  <a16:creationId xmlns:a16="http://schemas.microsoft.com/office/drawing/2014/main" id="{F94D8564-CF68-4D60-8F03-2F396029F125}"/>
                </a:ext>
              </a:extLst>
            </p:cNvPr>
            <p:cNvSpPr>
              <a:spLocks noChangeArrowheads="1"/>
            </p:cNvSpPr>
            <p:nvPr/>
          </p:nvSpPr>
          <p:spPr bwMode="auto">
            <a:xfrm>
              <a:off x="2690" y="5582"/>
              <a:ext cx="49" cy="47"/>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28" name="Arrow: Down 27">
            <a:extLst>
              <a:ext uri="{FF2B5EF4-FFF2-40B4-BE49-F238E27FC236}">
                <a16:creationId xmlns:a16="http://schemas.microsoft.com/office/drawing/2014/main" id="{09CE92DB-F457-418F-BD89-762717A6ADD2}"/>
              </a:ext>
            </a:extLst>
          </p:cNvPr>
          <p:cNvSpPr/>
          <p:nvPr/>
        </p:nvSpPr>
        <p:spPr bwMode="gray">
          <a:xfrm>
            <a:off x="4641469" y="2690716"/>
            <a:ext cx="374793" cy="624183"/>
          </a:xfrm>
          <a:prstGeom prst="downArrow">
            <a:avLst/>
          </a:prstGeom>
          <a:noFill/>
          <a:ln w="9525" algn="ctr">
            <a:solidFill>
              <a:schemeClr val="accent3">
                <a:lumMod val="20000"/>
                <a:lumOff val="80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5" name="Group 4"/>
          <p:cNvGrpSpPr/>
          <p:nvPr/>
        </p:nvGrpSpPr>
        <p:grpSpPr>
          <a:xfrm>
            <a:off x="6119867" y="4898929"/>
            <a:ext cx="1644227" cy="769742"/>
            <a:chOff x="6119867" y="4898929"/>
            <a:chExt cx="1644227" cy="769742"/>
          </a:xfrm>
        </p:grpSpPr>
        <p:grpSp>
          <p:nvGrpSpPr>
            <p:cNvPr id="177" name="Group 844">
              <a:extLst>
                <a:ext uri="{FF2B5EF4-FFF2-40B4-BE49-F238E27FC236}">
                  <a16:creationId xmlns:a16="http://schemas.microsoft.com/office/drawing/2014/main" id="{1DE7DC88-9808-4242-A3FF-1D8A39A50352}"/>
                </a:ext>
              </a:extLst>
            </p:cNvPr>
            <p:cNvGrpSpPr>
              <a:grpSpLocks noChangeAspect="1"/>
            </p:cNvGrpSpPr>
            <p:nvPr/>
          </p:nvGrpSpPr>
          <p:grpSpPr bwMode="auto">
            <a:xfrm>
              <a:off x="6119867" y="5303552"/>
              <a:ext cx="366963" cy="365119"/>
              <a:chOff x="4371" y="3110"/>
              <a:chExt cx="199" cy="198"/>
            </a:xfrm>
            <a:solidFill>
              <a:srgbClr val="046A38"/>
            </a:solidFill>
          </p:grpSpPr>
          <p:sp>
            <p:nvSpPr>
              <p:cNvPr id="178" name="Freeform 845">
                <a:extLst>
                  <a:ext uri="{FF2B5EF4-FFF2-40B4-BE49-F238E27FC236}">
                    <a16:creationId xmlns:a16="http://schemas.microsoft.com/office/drawing/2014/main" id="{7DE7B9EE-31EE-4994-A518-477A1EFC1B4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846">
                <a:extLst>
                  <a:ext uri="{FF2B5EF4-FFF2-40B4-BE49-F238E27FC236}">
                    <a16:creationId xmlns:a16="http://schemas.microsoft.com/office/drawing/2014/main" id="{02868522-4CBC-4081-9A69-930BF975514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Freeform 847">
                <a:extLst>
                  <a:ext uri="{FF2B5EF4-FFF2-40B4-BE49-F238E27FC236}">
                    <a16:creationId xmlns:a16="http://schemas.microsoft.com/office/drawing/2014/main" id="{FD2E8583-9AD8-4EA2-903F-6B0D8A529AAE}"/>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848">
                <a:extLst>
                  <a:ext uri="{FF2B5EF4-FFF2-40B4-BE49-F238E27FC236}">
                    <a16:creationId xmlns:a16="http://schemas.microsoft.com/office/drawing/2014/main" id="{6A171736-77DF-4FE0-9712-A86F97AEF473}"/>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849">
                <a:extLst>
                  <a:ext uri="{FF2B5EF4-FFF2-40B4-BE49-F238E27FC236}">
                    <a16:creationId xmlns:a16="http://schemas.microsoft.com/office/drawing/2014/main" id="{53EE28FE-7BD2-4074-823C-54BA9A7A817E}"/>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850">
                <a:extLst>
                  <a:ext uri="{FF2B5EF4-FFF2-40B4-BE49-F238E27FC236}">
                    <a16:creationId xmlns:a16="http://schemas.microsoft.com/office/drawing/2014/main" id="{E17C6BBF-88FA-45BB-91DF-64B70D99F7E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5" name="Group 844">
              <a:extLst>
                <a:ext uri="{FF2B5EF4-FFF2-40B4-BE49-F238E27FC236}">
                  <a16:creationId xmlns:a16="http://schemas.microsoft.com/office/drawing/2014/main" id="{C3949A4F-5F0F-4E7F-BAC1-A311FC1F3B56}"/>
                </a:ext>
              </a:extLst>
            </p:cNvPr>
            <p:cNvGrpSpPr>
              <a:grpSpLocks noChangeAspect="1"/>
            </p:cNvGrpSpPr>
            <p:nvPr/>
          </p:nvGrpSpPr>
          <p:grpSpPr bwMode="auto">
            <a:xfrm>
              <a:off x="6544100" y="5303552"/>
              <a:ext cx="366963" cy="365119"/>
              <a:chOff x="4371" y="3110"/>
              <a:chExt cx="199" cy="198"/>
            </a:xfrm>
            <a:solidFill>
              <a:srgbClr val="046A38"/>
            </a:solidFill>
          </p:grpSpPr>
          <p:sp>
            <p:nvSpPr>
              <p:cNvPr id="186" name="Freeform 845">
                <a:extLst>
                  <a:ext uri="{FF2B5EF4-FFF2-40B4-BE49-F238E27FC236}">
                    <a16:creationId xmlns:a16="http://schemas.microsoft.com/office/drawing/2014/main" id="{C10C26FA-B5FC-44FF-91F5-92F05F4EC41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846">
                <a:extLst>
                  <a:ext uri="{FF2B5EF4-FFF2-40B4-BE49-F238E27FC236}">
                    <a16:creationId xmlns:a16="http://schemas.microsoft.com/office/drawing/2014/main" id="{CAC88939-9B5A-4366-88BE-CC1531729689}"/>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847">
                <a:extLst>
                  <a:ext uri="{FF2B5EF4-FFF2-40B4-BE49-F238E27FC236}">
                    <a16:creationId xmlns:a16="http://schemas.microsoft.com/office/drawing/2014/main" id="{A15CFA93-3DE6-454F-855E-CECBE68BE79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848">
                <a:extLst>
                  <a:ext uri="{FF2B5EF4-FFF2-40B4-BE49-F238E27FC236}">
                    <a16:creationId xmlns:a16="http://schemas.microsoft.com/office/drawing/2014/main" id="{53409A72-A398-457A-AD34-C8C6826E140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849">
                <a:extLst>
                  <a:ext uri="{FF2B5EF4-FFF2-40B4-BE49-F238E27FC236}">
                    <a16:creationId xmlns:a16="http://schemas.microsoft.com/office/drawing/2014/main" id="{3D9ED42A-A0B1-470E-B5F4-F107EEB5DA7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Freeform 850">
                <a:extLst>
                  <a:ext uri="{FF2B5EF4-FFF2-40B4-BE49-F238E27FC236}">
                    <a16:creationId xmlns:a16="http://schemas.microsoft.com/office/drawing/2014/main" id="{B3FB21D8-53E8-46D1-A9DB-2E5989301C5A}"/>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2" name="Group 844">
              <a:extLst>
                <a:ext uri="{FF2B5EF4-FFF2-40B4-BE49-F238E27FC236}">
                  <a16:creationId xmlns:a16="http://schemas.microsoft.com/office/drawing/2014/main" id="{19794308-CF84-4530-98CC-F6E55D23DA14}"/>
                </a:ext>
              </a:extLst>
            </p:cNvPr>
            <p:cNvGrpSpPr>
              <a:grpSpLocks noChangeAspect="1"/>
            </p:cNvGrpSpPr>
            <p:nvPr/>
          </p:nvGrpSpPr>
          <p:grpSpPr bwMode="auto">
            <a:xfrm>
              <a:off x="6972898" y="5303552"/>
              <a:ext cx="366963" cy="365119"/>
              <a:chOff x="4371" y="3110"/>
              <a:chExt cx="199" cy="198"/>
            </a:xfrm>
            <a:solidFill>
              <a:srgbClr val="046A38"/>
            </a:solidFill>
          </p:grpSpPr>
          <p:sp>
            <p:nvSpPr>
              <p:cNvPr id="193" name="Freeform 845">
                <a:extLst>
                  <a:ext uri="{FF2B5EF4-FFF2-40B4-BE49-F238E27FC236}">
                    <a16:creationId xmlns:a16="http://schemas.microsoft.com/office/drawing/2014/main" id="{0EECC40E-D973-48CA-826A-0C6044F478C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4" name="Freeform 846">
                <a:extLst>
                  <a:ext uri="{FF2B5EF4-FFF2-40B4-BE49-F238E27FC236}">
                    <a16:creationId xmlns:a16="http://schemas.microsoft.com/office/drawing/2014/main" id="{234D0025-EC20-456D-95DC-C825D816545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Freeform 847">
                <a:extLst>
                  <a:ext uri="{FF2B5EF4-FFF2-40B4-BE49-F238E27FC236}">
                    <a16:creationId xmlns:a16="http://schemas.microsoft.com/office/drawing/2014/main" id="{634B2E30-2393-48FA-A732-17CCB7911CE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6" name="Freeform 848">
                <a:extLst>
                  <a:ext uri="{FF2B5EF4-FFF2-40B4-BE49-F238E27FC236}">
                    <a16:creationId xmlns:a16="http://schemas.microsoft.com/office/drawing/2014/main" id="{1A7215A0-24CE-4B0C-80BE-AEC46B3AE5B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7" name="Freeform 849">
                <a:extLst>
                  <a:ext uri="{FF2B5EF4-FFF2-40B4-BE49-F238E27FC236}">
                    <a16:creationId xmlns:a16="http://schemas.microsoft.com/office/drawing/2014/main" id="{D7BE5640-DE37-4B2D-BAFC-F49003B60F8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Freeform 850">
                <a:extLst>
                  <a:ext uri="{FF2B5EF4-FFF2-40B4-BE49-F238E27FC236}">
                    <a16:creationId xmlns:a16="http://schemas.microsoft.com/office/drawing/2014/main" id="{3D6D160C-7ED6-4A87-8E22-9971455D83B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9" name="Group 844">
              <a:extLst>
                <a:ext uri="{FF2B5EF4-FFF2-40B4-BE49-F238E27FC236}">
                  <a16:creationId xmlns:a16="http://schemas.microsoft.com/office/drawing/2014/main" id="{B8660E52-101B-4F06-A92C-F398B10F358F}"/>
                </a:ext>
              </a:extLst>
            </p:cNvPr>
            <p:cNvGrpSpPr>
              <a:grpSpLocks noChangeAspect="1"/>
            </p:cNvGrpSpPr>
            <p:nvPr/>
          </p:nvGrpSpPr>
          <p:grpSpPr bwMode="auto">
            <a:xfrm>
              <a:off x="7397131" y="5303552"/>
              <a:ext cx="366963" cy="365119"/>
              <a:chOff x="4371" y="3110"/>
              <a:chExt cx="199" cy="198"/>
            </a:xfrm>
            <a:solidFill>
              <a:srgbClr val="046A38"/>
            </a:solidFill>
          </p:grpSpPr>
          <p:sp>
            <p:nvSpPr>
              <p:cNvPr id="200" name="Freeform 845">
                <a:extLst>
                  <a:ext uri="{FF2B5EF4-FFF2-40B4-BE49-F238E27FC236}">
                    <a16:creationId xmlns:a16="http://schemas.microsoft.com/office/drawing/2014/main" id="{0CFBBC89-208B-4C16-907C-72F0C507713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1" name="Freeform 846">
                <a:extLst>
                  <a:ext uri="{FF2B5EF4-FFF2-40B4-BE49-F238E27FC236}">
                    <a16:creationId xmlns:a16="http://schemas.microsoft.com/office/drawing/2014/main" id="{3F54B557-6591-4640-982F-4BBB95963E2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2" name="Freeform 847">
                <a:extLst>
                  <a:ext uri="{FF2B5EF4-FFF2-40B4-BE49-F238E27FC236}">
                    <a16:creationId xmlns:a16="http://schemas.microsoft.com/office/drawing/2014/main" id="{0715FDD5-171D-4B69-BDBA-7C2DD7DF86A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3" name="Freeform 848">
                <a:extLst>
                  <a:ext uri="{FF2B5EF4-FFF2-40B4-BE49-F238E27FC236}">
                    <a16:creationId xmlns:a16="http://schemas.microsoft.com/office/drawing/2014/main" id="{4024755A-0763-4AFB-8A2D-3B9124B20AC7}"/>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849">
                <a:extLst>
                  <a:ext uri="{FF2B5EF4-FFF2-40B4-BE49-F238E27FC236}">
                    <a16:creationId xmlns:a16="http://schemas.microsoft.com/office/drawing/2014/main" id="{3C83B633-ACFE-431B-80EF-4847209A248A}"/>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Freeform 850">
                <a:extLst>
                  <a:ext uri="{FF2B5EF4-FFF2-40B4-BE49-F238E27FC236}">
                    <a16:creationId xmlns:a16="http://schemas.microsoft.com/office/drawing/2014/main" id="{B0C3D48A-3535-4E42-BE9D-DB461F502C5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6" name="Group 844">
              <a:extLst>
                <a:ext uri="{FF2B5EF4-FFF2-40B4-BE49-F238E27FC236}">
                  <a16:creationId xmlns:a16="http://schemas.microsoft.com/office/drawing/2014/main" id="{9E1FC628-44C9-4DD9-8D47-A7C0CFED0B7E}"/>
                </a:ext>
              </a:extLst>
            </p:cNvPr>
            <p:cNvGrpSpPr>
              <a:grpSpLocks noChangeAspect="1"/>
            </p:cNvGrpSpPr>
            <p:nvPr/>
          </p:nvGrpSpPr>
          <p:grpSpPr bwMode="auto">
            <a:xfrm>
              <a:off x="6322929" y="4898929"/>
              <a:ext cx="366963" cy="365119"/>
              <a:chOff x="4371" y="3110"/>
              <a:chExt cx="199" cy="198"/>
            </a:xfrm>
            <a:solidFill>
              <a:srgbClr val="046A38"/>
            </a:solidFill>
          </p:grpSpPr>
          <p:sp>
            <p:nvSpPr>
              <p:cNvPr id="207" name="Freeform 845">
                <a:extLst>
                  <a:ext uri="{FF2B5EF4-FFF2-40B4-BE49-F238E27FC236}">
                    <a16:creationId xmlns:a16="http://schemas.microsoft.com/office/drawing/2014/main" id="{D9E84B39-9628-4CD3-A07E-32DBA13EB044}"/>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8" name="Freeform 846">
                <a:extLst>
                  <a:ext uri="{FF2B5EF4-FFF2-40B4-BE49-F238E27FC236}">
                    <a16:creationId xmlns:a16="http://schemas.microsoft.com/office/drawing/2014/main" id="{ECABA6DD-F5ED-4F6F-8B93-6BF5FBA8EBE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9" name="Freeform 847">
                <a:extLst>
                  <a:ext uri="{FF2B5EF4-FFF2-40B4-BE49-F238E27FC236}">
                    <a16:creationId xmlns:a16="http://schemas.microsoft.com/office/drawing/2014/main" id="{7748F1D0-1CBF-47B7-9E6A-C0BF7E027C6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848">
                <a:extLst>
                  <a:ext uri="{FF2B5EF4-FFF2-40B4-BE49-F238E27FC236}">
                    <a16:creationId xmlns:a16="http://schemas.microsoft.com/office/drawing/2014/main" id="{ED8B2D9B-96E6-4A84-8CE6-477E270C842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1" name="Freeform 849">
                <a:extLst>
                  <a:ext uri="{FF2B5EF4-FFF2-40B4-BE49-F238E27FC236}">
                    <a16:creationId xmlns:a16="http://schemas.microsoft.com/office/drawing/2014/main" id="{DA120131-1F1B-4AE2-941C-91159559397D}"/>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2" name="Freeform 850">
                <a:extLst>
                  <a:ext uri="{FF2B5EF4-FFF2-40B4-BE49-F238E27FC236}">
                    <a16:creationId xmlns:a16="http://schemas.microsoft.com/office/drawing/2014/main" id="{89BFB90F-5694-455E-8EBD-2DD0FE2CAFD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3" name="Group 844">
              <a:extLst>
                <a:ext uri="{FF2B5EF4-FFF2-40B4-BE49-F238E27FC236}">
                  <a16:creationId xmlns:a16="http://schemas.microsoft.com/office/drawing/2014/main" id="{26B0F611-DC1D-446A-9556-D19A62332D27}"/>
                </a:ext>
              </a:extLst>
            </p:cNvPr>
            <p:cNvGrpSpPr>
              <a:grpSpLocks noChangeAspect="1"/>
            </p:cNvGrpSpPr>
            <p:nvPr/>
          </p:nvGrpSpPr>
          <p:grpSpPr bwMode="auto">
            <a:xfrm>
              <a:off x="6747162" y="4898929"/>
              <a:ext cx="366963" cy="365119"/>
              <a:chOff x="4371" y="3110"/>
              <a:chExt cx="199" cy="198"/>
            </a:xfrm>
            <a:solidFill>
              <a:srgbClr val="046A38"/>
            </a:solidFill>
          </p:grpSpPr>
          <p:sp>
            <p:nvSpPr>
              <p:cNvPr id="214" name="Freeform 845">
                <a:extLst>
                  <a:ext uri="{FF2B5EF4-FFF2-40B4-BE49-F238E27FC236}">
                    <a16:creationId xmlns:a16="http://schemas.microsoft.com/office/drawing/2014/main" id="{95D5EFBF-6BDC-4E19-B145-C929DF1C166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5" name="Freeform 846">
                <a:extLst>
                  <a:ext uri="{FF2B5EF4-FFF2-40B4-BE49-F238E27FC236}">
                    <a16:creationId xmlns:a16="http://schemas.microsoft.com/office/drawing/2014/main" id="{450CD42D-13C2-44C6-9CF1-E518055926EC}"/>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847">
                <a:extLst>
                  <a:ext uri="{FF2B5EF4-FFF2-40B4-BE49-F238E27FC236}">
                    <a16:creationId xmlns:a16="http://schemas.microsoft.com/office/drawing/2014/main" id="{886C9DD9-DB81-4803-A3BF-DE579A6A0D9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848">
                <a:extLst>
                  <a:ext uri="{FF2B5EF4-FFF2-40B4-BE49-F238E27FC236}">
                    <a16:creationId xmlns:a16="http://schemas.microsoft.com/office/drawing/2014/main" id="{7D93F06A-3FDC-4ADE-B757-054434A6193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849">
                <a:extLst>
                  <a:ext uri="{FF2B5EF4-FFF2-40B4-BE49-F238E27FC236}">
                    <a16:creationId xmlns:a16="http://schemas.microsoft.com/office/drawing/2014/main" id="{4FCF4770-7E18-4C57-A0A9-D376114B3E43}"/>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850">
                <a:extLst>
                  <a:ext uri="{FF2B5EF4-FFF2-40B4-BE49-F238E27FC236}">
                    <a16:creationId xmlns:a16="http://schemas.microsoft.com/office/drawing/2014/main" id="{7C0730FB-105D-47CE-B8FC-4918BECB3FF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0" name="Group 844">
              <a:extLst>
                <a:ext uri="{FF2B5EF4-FFF2-40B4-BE49-F238E27FC236}">
                  <a16:creationId xmlns:a16="http://schemas.microsoft.com/office/drawing/2014/main" id="{9CF23813-4E8B-45BB-80B7-5BE2E2E2175A}"/>
                </a:ext>
              </a:extLst>
            </p:cNvPr>
            <p:cNvGrpSpPr>
              <a:grpSpLocks noChangeAspect="1"/>
            </p:cNvGrpSpPr>
            <p:nvPr/>
          </p:nvGrpSpPr>
          <p:grpSpPr bwMode="auto">
            <a:xfrm>
              <a:off x="7175960" y="4898929"/>
              <a:ext cx="366963" cy="365119"/>
              <a:chOff x="4371" y="3110"/>
              <a:chExt cx="199" cy="198"/>
            </a:xfrm>
            <a:solidFill>
              <a:srgbClr val="046A38"/>
            </a:solidFill>
          </p:grpSpPr>
          <p:sp>
            <p:nvSpPr>
              <p:cNvPr id="221" name="Freeform 845">
                <a:extLst>
                  <a:ext uri="{FF2B5EF4-FFF2-40B4-BE49-F238E27FC236}">
                    <a16:creationId xmlns:a16="http://schemas.microsoft.com/office/drawing/2014/main" id="{1DD79EA0-4E08-42A4-BEBE-A31BC4C0EA4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2" name="Freeform 846">
                <a:extLst>
                  <a:ext uri="{FF2B5EF4-FFF2-40B4-BE49-F238E27FC236}">
                    <a16:creationId xmlns:a16="http://schemas.microsoft.com/office/drawing/2014/main" id="{0497B94D-63CB-4A8A-9D49-A56D28EF22EF}"/>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3" name="Freeform 847">
                <a:extLst>
                  <a:ext uri="{FF2B5EF4-FFF2-40B4-BE49-F238E27FC236}">
                    <a16:creationId xmlns:a16="http://schemas.microsoft.com/office/drawing/2014/main" id="{4941683E-354D-443D-8B65-4684B1F1296D}"/>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4" name="Freeform 848">
                <a:extLst>
                  <a:ext uri="{FF2B5EF4-FFF2-40B4-BE49-F238E27FC236}">
                    <a16:creationId xmlns:a16="http://schemas.microsoft.com/office/drawing/2014/main" id="{45F2C366-8EE7-4363-BBBE-9F714F17C5B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849">
                <a:extLst>
                  <a:ext uri="{FF2B5EF4-FFF2-40B4-BE49-F238E27FC236}">
                    <a16:creationId xmlns:a16="http://schemas.microsoft.com/office/drawing/2014/main" id="{731F7568-897F-4C33-A0F7-674A0A9A7AD3}"/>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6" name="Freeform 850">
                <a:extLst>
                  <a:ext uri="{FF2B5EF4-FFF2-40B4-BE49-F238E27FC236}">
                    <a16:creationId xmlns:a16="http://schemas.microsoft.com/office/drawing/2014/main" id="{C2F3482E-6E25-499B-9074-9191651E0457}"/>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283" name="TextBox 282">
            <a:extLst>
              <a:ext uri="{FF2B5EF4-FFF2-40B4-BE49-F238E27FC236}">
                <a16:creationId xmlns:a16="http://schemas.microsoft.com/office/drawing/2014/main" id="{A55AE46F-E218-4842-BFCC-D848772F4182}"/>
              </a:ext>
            </a:extLst>
          </p:cNvPr>
          <p:cNvSpPr txBox="1"/>
          <p:nvPr/>
        </p:nvSpPr>
        <p:spPr>
          <a:xfrm flipH="1">
            <a:off x="10823358" y="4898637"/>
            <a:ext cx="1126710" cy="369332"/>
          </a:xfrm>
          <a:prstGeom prst="rect">
            <a:avLst/>
          </a:prstGeom>
          <a:noFill/>
        </p:spPr>
        <p:txBody>
          <a:bodyPr wrap="square" rtlCol="0">
            <a:spAutoFit/>
          </a:bodyPr>
          <a:lstStyle/>
          <a:p>
            <a:r>
              <a:rPr lang="en-US" b="1" dirty="0">
                <a:solidFill>
                  <a:schemeClr val="accent3">
                    <a:lumMod val="75000"/>
                  </a:schemeClr>
                </a:solidFill>
              </a:rPr>
              <a:t>+100</a:t>
            </a:r>
          </a:p>
        </p:txBody>
      </p:sp>
      <p:grpSp>
        <p:nvGrpSpPr>
          <p:cNvPr id="6" name="Group 5"/>
          <p:cNvGrpSpPr/>
          <p:nvPr/>
        </p:nvGrpSpPr>
        <p:grpSpPr>
          <a:xfrm>
            <a:off x="9777467" y="4898929"/>
            <a:ext cx="1644227" cy="769742"/>
            <a:chOff x="9777467" y="4898929"/>
            <a:chExt cx="1644227" cy="769742"/>
          </a:xfrm>
        </p:grpSpPr>
        <p:grpSp>
          <p:nvGrpSpPr>
            <p:cNvPr id="290" name="Group 844">
              <a:extLst>
                <a:ext uri="{FF2B5EF4-FFF2-40B4-BE49-F238E27FC236}">
                  <a16:creationId xmlns:a16="http://schemas.microsoft.com/office/drawing/2014/main" id="{B77EA253-5E51-4379-AFEF-198546D207B5}"/>
                </a:ext>
              </a:extLst>
            </p:cNvPr>
            <p:cNvGrpSpPr>
              <a:grpSpLocks noChangeAspect="1"/>
            </p:cNvGrpSpPr>
            <p:nvPr/>
          </p:nvGrpSpPr>
          <p:grpSpPr bwMode="auto">
            <a:xfrm>
              <a:off x="9777467" y="5303552"/>
              <a:ext cx="366963" cy="365119"/>
              <a:chOff x="4371" y="3110"/>
              <a:chExt cx="199" cy="198"/>
            </a:xfrm>
            <a:solidFill>
              <a:schemeClr val="accent3"/>
            </a:solidFill>
          </p:grpSpPr>
          <p:sp>
            <p:nvSpPr>
              <p:cNvPr id="291" name="Freeform 845">
                <a:extLst>
                  <a:ext uri="{FF2B5EF4-FFF2-40B4-BE49-F238E27FC236}">
                    <a16:creationId xmlns:a16="http://schemas.microsoft.com/office/drawing/2014/main" id="{A6F5C1F6-8831-4BBD-8652-3D1B7B14A24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846">
                <a:extLst>
                  <a:ext uri="{FF2B5EF4-FFF2-40B4-BE49-F238E27FC236}">
                    <a16:creationId xmlns:a16="http://schemas.microsoft.com/office/drawing/2014/main" id="{94A6B741-4CAC-4666-A7A5-34140AC13B7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3" name="Freeform 847">
                <a:extLst>
                  <a:ext uri="{FF2B5EF4-FFF2-40B4-BE49-F238E27FC236}">
                    <a16:creationId xmlns:a16="http://schemas.microsoft.com/office/drawing/2014/main" id="{57C8FCB9-0683-46D9-A17B-069330A5936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4" name="Freeform 848">
                <a:extLst>
                  <a:ext uri="{FF2B5EF4-FFF2-40B4-BE49-F238E27FC236}">
                    <a16:creationId xmlns:a16="http://schemas.microsoft.com/office/drawing/2014/main" id="{66527B86-5910-4182-A828-CB6FAB41A6FC}"/>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Freeform 849">
                <a:extLst>
                  <a:ext uri="{FF2B5EF4-FFF2-40B4-BE49-F238E27FC236}">
                    <a16:creationId xmlns:a16="http://schemas.microsoft.com/office/drawing/2014/main" id="{38ABC072-0C86-4FCA-8FF4-7E15AFD66C08}"/>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850">
                <a:extLst>
                  <a:ext uri="{FF2B5EF4-FFF2-40B4-BE49-F238E27FC236}">
                    <a16:creationId xmlns:a16="http://schemas.microsoft.com/office/drawing/2014/main" id="{E5A14695-B227-42FD-A0F1-E5663F740C9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7" name="Group 844">
              <a:extLst>
                <a:ext uri="{FF2B5EF4-FFF2-40B4-BE49-F238E27FC236}">
                  <a16:creationId xmlns:a16="http://schemas.microsoft.com/office/drawing/2014/main" id="{A5E13FE7-F24A-4A6B-A685-16AB8A40C865}"/>
                </a:ext>
              </a:extLst>
            </p:cNvPr>
            <p:cNvGrpSpPr>
              <a:grpSpLocks noChangeAspect="1"/>
            </p:cNvGrpSpPr>
            <p:nvPr/>
          </p:nvGrpSpPr>
          <p:grpSpPr bwMode="auto">
            <a:xfrm>
              <a:off x="10201700" y="5303552"/>
              <a:ext cx="366963" cy="365119"/>
              <a:chOff x="4371" y="3110"/>
              <a:chExt cx="199" cy="198"/>
            </a:xfrm>
            <a:solidFill>
              <a:schemeClr val="accent3"/>
            </a:solidFill>
          </p:grpSpPr>
          <p:sp>
            <p:nvSpPr>
              <p:cNvPr id="298" name="Freeform 845">
                <a:extLst>
                  <a:ext uri="{FF2B5EF4-FFF2-40B4-BE49-F238E27FC236}">
                    <a16:creationId xmlns:a16="http://schemas.microsoft.com/office/drawing/2014/main" id="{61EA677A-83C2-45CB-8F26-01AB4D7E8759}"/>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9" name="Freeform 846">
                <a:extLst>
                  <a:ext uri="{FF2B5EF4-FFF2-40B4-BE49-F238E27FC236}">
                    <a16:creationId xmlns:a16="http://schemas.microsoft.com/office/drawing/2014/main" id="{4F799061-DB50-41A1-967A-8A2680CC092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0" name="Freeform 847">
                <a:extLst>
                  <a:ext uri="{FF2B5EF4-FFF2-40B4-BE49-F238E27FC236}">
                    <a16:creationId xmlns:a16="http://schemas.microsoft.com/office/drawing/2014/main" id="{AF0328AF-7C79-410E-B639-CE6A0B15E2C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1" name="Freeform 848">
                <a:extLst>
                  <a:ext uri="{FF2B5EF4-FFF2-40B4-BE49-F238E27FC236}">
                    <a16:creationId xmlns:a16="http://schemas.microsoft.com/office/drawing/2014/main" id="{4B0F4581-0EC4-4F27-8656-292BDBB5368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2" name="Freeform 849">
                <a:extLst>
                  <a:ext uri="{FF2B5EF4-FFF2-40B4-BE49-F238E27FC236}">
                    <a16:creationId xmlns:a16="http://schemas.microsoft.com/office/drawing/2014/main" id="{296746B7-5C6D-4D28-8D92-4FCBA3B4F66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850">
                <a:extLst>
                  <a:ext uri="{FF2B5EF4-FFF2-40B4-BE49-F238E27FC236}">
                    <a16:creationId xmlns:a16="http://schemas.microsoft.com/office/drawing/2014/main" id="{BBFC01F1-ADDD-4051-8F86-75551F998C1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4" name="Group 844">
              <a:extLst>
                <a:ext uri="{FF2B5EF4-FFF2-40B4-BE49-F238E27FC236}">
                  <a16:creationId xmlns:a16="http://schemas.microsoft.com/office/drawing/2014/main" id="{1F61F91C-D963-43F5-8038-F289F671549F}"/>
                </a:ext>
              </a:extLst>
            </p:cNvPr>
            <p:cNvGrpSpPr>
              <a:grpSpLocks noChangeAspect="1"/>
            </p:cNvGrpSpPr>
            <p:nvPr/>
          </p:nvGrpSpPr>
          <p:grpSpPr bwMode="auto">
            <a:xfrm>
              <a:off x="10630498" y="5303552"/>
              <a:ext cx="366963" cy="365119"/>
              <a:chOff x="4371" y="3110"/>
              <a:chExt cx="199" cy="198"/>
            </a:xfrm>
            <a:solidFill>
              <a:schemeClr val="accent3"/>
            </a:solidFill>
          </p:grpSpPr>
          <p:sp>
            <p:nvSpPr>
              <p:cNvPr id="305" name="Freeform 845">
                <a:extLst>
                  <a:ext uri="{FF2B5EF4-FFF2-40B4-BE49-F238E27FC236}">
                    <a16:creationId xmlns:a16="http://schemas.microsoft.com/office/drawing/2014/main" id="{85327D62-0DBE-412D-8FC3-2D6BAE34B609}"/>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6" name="Freeform 846">
                <a:extLst>
                  <a:ext uri="{FF2B5EF4-FFF2-40B4-BE49-F238E27FC236}">
                    <a16:creationId xmlns:a16="http://schemas.microsoft.com/office/drawing/2014/main" id="{818F2975-3D83-404F-9E55-8E8FB4D4E88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7" name="Freeform 847">
                <a:extLst>
                  <a:ext uri="{FF2B5EF4-FFF2-40B4-BE49-F238E27FC236}">
                    <a16:creationId xmlns:a16="http://schemas.microsoft.com/office/drawing/2014/main" id="{EA21159E-E877-4003-8794-8630943EAB03}"/>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8" name="Freeform 848">
                <a:extLst>
                  <a:ext uri="{FF2B5EF4-FFF2-40B4-BE49-F238E27FC236}">
                    <a16:creationId xmlns:a16="http://schemas.microsoft.com/office/drawing/2014/main" id="{3A36A992-EBCB-48A3-9692-2BFB73CA942C}"/>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9" name="Freeform 849">
                <a:extLst>
                  <a:ext uri="{FF2B5EF4-FFF2-40B4-BE49-F238E27FC236}">
                    <a16:creationId xmlns:a16="http://schemas.microsoft.com/office/drawing/2014/main" id="{CB11EDF7-48B7-49B7-A21C-DA6B72769D57}"/>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0" name="Freeform 850">
                <a:extLst>
                  <a:ext uri="{FF2B5EF4-FFF2-40B4-BE49-F238E27FC236}">
                    <a16:creationId xmlns:a16="http://schemas.microsoft.com/office/drawing/2014/main" id="{933E5A5D-D9CE-4F38-8C82-97EE58BDA711}"/>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1" name="Group 844">
              <a:extLst>
                <a:ext uri="{FF2B5EF4-FFF2-40B4-BE49-F238E27FC236}">
                  <a16:creationId xmlns:a16="http://schemas.microsoft.com/office/drawing/2014/main" id="{765FB01B-0FFC-43EA-9F97-6D97C0BD426B}"/>
                </a:ext>
              </a:extLst>
            </p:cNvPr>
            <p:cNvGrpSpPr>
              <a:grpSpLocks noChangeAspect="1"/>
            </p:cNvGrpSpPr>
            <p:nvPr/>
          </p:nvGrpSpPr>
          <p:grpSpPr bwMode="auto">
            <a:xfrm>
              <a:off x="11054731" y="5303552"/>
              <a:ext cx="366963" cy="365119"/>
              <a:chOff x="4371" y="3110"/>
              <a:chExt cx="199" cy="198"/>
            </a:xfrm>
            <a:solidFill>
              <a:schemeClr val="accent3"/>
            </a:solidFill>
          </p:grpSpPr>
          <p:sp>
            <p:nvSpPr>
              <p:cNvPr id="312" name="Freeform 845">
                <a:extLst>
                  <a:ext uri="{FF2B5EF4-FFF2-40B4-BE49-F238E27FC236}">
                    <a16:creationId xmlns:a16="http://schemas.microsoft.com/office/drawing/2014/main" id="{9F3C28EA-91A1-4C7D-820F-B77AB8F9345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Freeform 846">
                <a:extLst>
                  <a:ext uri="{FF2B5EF4-FFF2-40B4-BE49-F238E27FC236}">
                    <a16:creationId xmlns:a16="http://schemas.microsoft.com/office/drawing/2014/main" id="{F0647DBF-073E-4DB7-8D30-99576CC4ACC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4" name="Freeform 847">
                <a:extLst>
                  <a:ext uri="{FF2B5EF4-FFF2-40B4-BE49-F238E27FC236}">
                    <a16:creationId xmlns:a16="http://schemas.microsoft.com/office/drawing/2014/main" id="{22249B6A-0E52-4C0D-908F-871AD5CCDF6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5" name="Freeform 848">
                <a:extLst>
                  <a:ext uri="{FF2B5EF4-FFF2-40B4-BE49-F238E27FC236}">
                    <a16:creationId xmlns:a16="http://schemas.microsoft.com/office/drawing/2014/main" id="{1E1ED4B3-C402-49EC-A158-52306FF2D662}"/>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Freeform 849">
                <a:extLst>
                  <a:ext uri="{FF2B5EF4-FFF2-40B4-BE49-F238E27FC236}">
                    <a16:creationId xmlns:a16="http://schemas.microsoft.com/office/drawing/2014/main" id="{BC784B6B-FCC6-45B5-B7B8-F1B638301DC4}"/>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7" name="Freeform 850">
                <a:extLst>
                  <a:ext uri="{FF2B5EF4-FFF2-40B4-BE49-F238E27FC236}">
                    <a16:creationId xmlns:a16="http://schemas.microsoft.com/office/drawing/2014/main" id="{D723D877-32C1-4252-9344-8A403F3A83E1}"/>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8" name="Group 844">
              <a:extLst>
                <a:ext uri="{FF2B5EF4-FFF2-40B4-BE49-F238E27FC236}">
                  <a16:creationId xmlns:a16="http://schemas.microsoft.com/office/drawing/2014/main" id="{79AE9BE6-5BF7-45C3-BC63-6B7BE7CE886A}"/>
                </a:ext>
              </a:extLst>
            </p:cNvPr>
            <p:cNvGrpSpPr>
              <a:grpSpLocks noChangeAspect="1"/>
            </p:cNvGrpSpPr>
            <p:nvPr/>
          </p:nvGrpSpPr>
          <p:grpSpPr bwMode="auto">
            <a:xfrm>
              <a:off x="9980529" y="4898929"/>
              <a:ext cx="366963" cy="365119"/>
              <a:chOff x="4371" y="3110"/>
              <a:chExt cx="199" cy="198"/>
            </a:xfrm>
            <a:solidFill>
              <a:schemeClr val="accent3"/>
            </a:solidFill>
          </p:grpSpPr>
          <p:sp>
            <p:nvSpPr>
              <p:cNvPr id="319" name="Freeform 845">
                <a:extLst>
                  <a:ext uri="{FF2B5EF4-FFF2-40B4-BE49-F238E27FC236}">
                    <a16:creationId xmlns:a16="http://schemas.microsoft.com/office/drawing/2014/main" id="{F80650BD-99B5-48DE-AB57-5230A57FE75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846">
                <a:extLst>
                  <a:ext uri="{FF2B5EF4-FFF2-40B4-BE49-F238E27FC236}">
                    <a16:creationId xmlns:a16="http://schemas.microsoft.com/office/drawing/2014/main" id="{8F1344D0-17BB-4AF1-AFC8-5AEBB0216FA6}"/>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Freeform 847">
                <a:extLst>
                  <a:ext uri="{FF2B5EF4-FFF2-40B4-BE49-F238E27FC236}">
                    <a16:creationId xmlns:a16="http://schemas.microsoft.com/office/drawing/2014/main" id="{04139ABB-F315-49ED-8077-75C769969CC8}"/>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2" name="Freeform 848">
                <a:extLst>
                  <a:ext uri="{FF2B5EF4-FFF2-40B4-BE49-F238E27FC236}">
                    <a16:creationId xmlns:a16="http://schemas.microsoft.com/office/drawing/2014/main" id="{31951A4F-4625-4D73-9D75-2681EEDDF92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3" name="Freeform 849">
                <a:extLst>
                  <a:ext uri="{FF2B5EF4-FFF2-40B4-BE49-F238E27FC236}">
                    <a16:creationId xmlns:a16="http://schemas.microsoft.com/office/drawing/2014/main" id="{0538E0D6-6D8E-4BB0-ADBB-B70996A8DCCF}"/>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4" name="Freeform 850">
                <a:extLst>
                  <a:ext uri="{FF2B5EF4-FFF2-40B4-BE49-F238E27FC236}">
                    <a16:creationId xmlns:a16="http://schemas.microsoft.com/office/drawing/2014/main" id="{5019BBE4-BF83-49D0-94A3-6E38B718D10D}"/>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5" name="Group 844">
              <a:extLst>
                <a:ext uri="{FF2B5EF4-FFF2-40B4-BE49-F238E27FC236}">
                  <a16:creationId xmlns:a16="http://schemas.microsoft.com/office/drawing/2014/main" id="{CB53A9D8-6B4D-4701-AB2F-878D27F2B61C}"/>
                </a:ext>
              </a:extLst>
            </p:cNvPr>
            <p:cNvGrpSpPr>
              <a:grpSpLocks noChangeAspect="1"/>
            </p:cNvGrpSpPr>
            <p:nvPr/>
          </p:nvGrpSpPr>
          <p:grpSpPr bwMode="auto">
            <a:xfrm>
              <a:off x="10404762" y="4898929"/>
              <a:ext cx="366963" cy="365119"/>
              <a:chOff x="4371" y="3110"/>
              <a:chExt cx="199" cy="198"/>
            </a:xfrm>
            <a:solidFill>
              <a:schemeClr val="accent3"/>
            </a:solidFill>
          </p:grpSpPr>
          <p:sp>
            <p:nvSpPr>
              <p:cNvPr id="326" name="Freeform 845">
                <a:extLst>
                  <a:ext uri="{FF2B5EF4-FFF2-40B4-BE49-F238E27FC236}">
                    <a16:creationId xmlns:a16="http://schemas.microsoft.com/office/drawing/2014/main" id="{902FCB7C-753D-4536-A442-75CF0D62F6D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846">
                <a:extLst>
                  <a:ext uri="{FF2B5EF4-FFF2-40B4-BE49-F238E27FC236}">
                    <a16:creationId xmlns:a16="http://schemas.microsoft.com/office/drawing/2014/main" id="{0FB97BAD-3031-47CA-821B-F906872C8F3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8" name="Freeform 847">
                <a:extLst>
                  <a:ext uri="{FF2B5EF4-FFF2-40B4-BE49-F238E27FC236}">
                    <a16:creationId xmlns:a16="http://schemas.microsoft.com/office/drawing/2014/main" id="{69377D62-3545-45CF-8F3E-90D6DFB10C11}"/>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9" name="Freeform 848">
                <a:extLst>
                  <a:ext uri="{FF2B5EF4-FFF2-40B4-BE49-F238E27FC236}">
                    <a16:creationId xmlns:a16="http://schemas.microsoft.com/office/drawing/2014/main" id="{8C8C738A-41BF-4586-A73E-F7F7BED89CA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849">
                <a:extLst>
                  <a:ext uri="{FF2B5EF4-FFF2-40B4-BE49-F238E27FC236}">
                    <a16:creationId xmlns:a16="http://schemas.microsoft.com/office/drawing/2014/main" id="{8F63E87C-AC74-4398-94A3-90A9EE2A234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Freeform 850">
                <a:extLst>
                  <a:ext uri="{FF2B5EF4-FFF2-40B4-BE49-F238E27FC236}">
                    <a16:creationId xmlns:a16="http://schemas.microsoft.com/office/drawing/2014/main" id="{47CFF963-9877-4F5D-BFD2-FA5D8E4E0E9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 name="Isosceles Triangle 3">
            <a:extLst>
              <a:ext uri="{FF2B5EF4-FFF2-40B4-BE49-F238E27FC236}">
                <a16:creationId xmlns:a16="http://schemas.microsoft.com/office/drawing/2014/main" id="{6D381143-2C63-4C7F-AFA6-182B383519C6}"/>
              </a:ext>
            </a:extLst>
          </p:cNvPr>
          <p:cNvSpPr/>
          <p:nvPr/>
        </p:nvSpPr>
        <p:spPr bwMode="gray">
          <a:xfrm rot="16200000">
            <a:off x="2762026" y="4680328"/>
            <a:ext cx="608788" cy="1404349"/>
          </a:xfrm>
          <a:custGeom>
            <a:avLst/>
            <a:gdLst>
              <a:gd name="connsiteX0" fmla="*/ 0 w 456623"/>
              <a:gd name="connsiteY0" fmla="*/ 1444827 h 1444827"/>
              <a:gd name="connsiteX1" fmla="*/ 228312 w 456623"/>
              <a:gd name="connsiteY1" fmla="*/ 0 h 1444827"/>
              <a:gd name="connsiteX2" fmla="*/ 456623 w 456623"/>
              <a:gd name="connsiteY2" fmla="*/ 1444827 h 1444827"/>
              <a:gd name="connsiteX3" fmla="*/ 0 w 456623"/>
              <a:gd name="connsiteY3" fmla="*/ 1444827 h 1444827"/>
              <a:gd name="connsiteX0" fmla="*/ 0 w 611170"/>
              <a:gd name="connsiteY0" fmla="*/ 1425509 h 1444827"/>
              <a:gd name="connsiteX1" fmla="*/ 382859 w 611170"/>
              <a:gd name="connsiteY1" fmla="*/ 0 h 1444827"/>
              <a:gd name="connsiteX2" fmla="*/ 611170 w 611170"/>
              <a:gd name="connsiteY2" fmla="*/ 1444827 h 1444827"/>
              <a:gd name="connsiteX3" fmla="*/ 0 w 611170"/>
              <a:gd name="connsiteY3" fmla="*/ 1425509 h 1444827"/>
              <a:gd name="connsiteX0" fmla="*/ 0 w 613554"/>
              <a:gd name="connsiteY0" fmla="*/ 1394556 h 1444827"/>
              <a:gd name="connsiteX1" fmla="*/ 385243 w 613554"/>
              <a:gd name="connsiteY1" fmla="*/ 0 h 1444827"/>
              <a:gd name="connsiteX2" fmla="*/ 613554 w 613554"/>
              <a:gd name="connsiteY2" fmla="*/ 1444827 h 1444827"/>
              <a:gd name="connsiteX3" fmla="*/ 0 w 613554"/>
              <a:gd name="connsiteY3" fmla="*/ 1394556 h 1444827"/>
              <a:gd name="connsiteX0" fmla="*/ 0 w 613551"/>
              <a:gd name="connsiteY0" fmla="*/ 1394556 h 1404349"/>
              <a:gd name="connsiteX1" fmla="*/ 385243 w 613551"/>
              <a:gd name="connsiteY1" fmla="*/ 0 h 1404349"/>
              <a:gd name="connsiteX2" fmla="*/ 613551 w 613551"/>
              <a:gd name="connsiteY2" fmla="*/ 1404349 h 1404349"/>
              <a:gd name="connsiteX3" fmla="*/ 0 w 613551"/>
              <a:gd name="connsiteY3" fmla="*/ 1394556 h 1404349"/>
              <a:gd name="connsiteX0" fmla="*/ 0 w 608788"/>
              <a:gd name="connsiteY0" fmla="*/ 1401700 h 1404349"/>
              <a:gd name="connsiteX1" fmla="*/ 380480 w 608788"/>
              <a:gd name="connsiteY1" fmla="*/ 0 h 1404349"/>
              <a:gd name="connsiteX2" fmla="*/ 608788 w 608788"/>
              <a:gd name="connsiteY2" fmla="*/ 1404349 h 1404349"/>
              <a:gd name="connsiteX3" fmla="*/ 0 w 608788"/>
              <a:gd name="connsiteY3" fmla="*/ 1401700 h 1404349"/>
            </a:gdLst>
            <a:ahLst/>
            <a:cxnLst>
              <a:cxn ang="0">
                <a:pos x="connsiteX0" y="connsiteY0"/>
              </a:cxn>
              <a:cxn ang="0">
                <a:pos x="connsiteX1" y="connsiteY1"/>
              </a:cxn>
              <a:cxn ang="0">
                <a:pos x="connsiteX2" y="connsiteY2"/>
              </a:cxn>
              <a:cxn ang="0">
                <a:pos x="connsiteX3" y="connsiteY3"/>
              </a:cxn>
            </a:cxnLst>
            <a:rect l="l" t="t" r="r" b="b"/>
            <a:pathLst>
              <a:path w="608788" h="1404349">
                <a:moveTo>
                  <a:pt x="0" y="1401700"/>
                </a:moveTo>
                <a:lnTo>
                  <a:pt x="380480" y="0"/>
                </a:lnTo>
                <a:lnTo>
                  <a:pt x="608788" y="1404349"/>
                </a:lnTo>
                <a:lnTo>
                  <a:pt x="0" y="1401700"/>
                </a:lnTo>
                <a:close/>
              </a:path>
            </a:pathLst>
          </a:custGeom>
          <a:solidFill>
            <a:schemeClr val="accent3">
              <a:lumMod val="20000"/>
              <a:lumOff val="80000"/>
              <a:alpha val="43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9" name="Group 4">
            <a:extLst>
              <a:ext uri="{FF2B5EF4-FFF2-40B4-BE49-F238E27FC236}">
                <a16:creationId xmlns:a16="http://schemas.microsoft.com/office/drawing/2014/main" id="{205E986D-B2DF-4576-BFEE-6EE9685D2A34}"/>
              </a:ext>
            </a:extLst>
          </p:cNvPr>
          <p:cNvGrpSpPr>
            <a:grpSpLocks noChangeAspect="1"/>
          </p:cNvGrpSpPr>
          <p:nvPr/>
        </p:nvGrpSpPr>
        <p:grpSpPr bwMode="auto">
          <a:xfrm>
            <a:off x="3907537" y="4956500"/>
            <a:ext cx="844677" cy="819224"/>
            <a:chOff x="1501" y="4738"/>
            <a:chExt cx="1427" cy="1384"/>
          </a:xfrm>
          <a:solidFill>
            <a:srgbClr val="046A38"/>
          </a:solidFill>
        </p:grpSpPr>
        <p:sp>
          <p:nvSpPr>
            <p:cNvPr id="11" name="Freeform 5">
              <a:extLst>
                <a:ext uri="{FF2B5EF4-FFF2-40B4-BE49-F238E27FC236}">
                  <a16:creationId xmlns:a16="http://schemas.microsoft.com/office/drawing/2014/main" id="{B6A44E17-8255-4E37-AE43-082E0D23AA0E}"/>
                </a:ext>
              </a:extLst>
            </p:cNvPr>
            <p:cNvSpPr>
              <a:spLocks noEditPoints="1"/>
            </p:cNvSpPr>
            <p:nvPr/>
          </p:nvSpPr>
          <p:spPr bwMode="auto">
            <a:xfrm>
              <a:off x="2072" y="5222"/>
              <a:ext cx="856" cy="900"/>
            </a:xfrm>
            <a:custGeom>
              <a:avLst/>
              <a:gdLst>
                <a:gd name="T0" fmla="*/ 324 w 384"/>
                <a:gd name="T1" fmla="*/ 85 h 416"/>
                <a:gd name="T2" fmla="*/ 341 w 384"/>
                <a:gd name="T3" fmla="*/ 48 h 416"/>
                <a:gd name="T4" fmla="*/ 258 w 384"/>
                <a:gd name="T5" fmla="*/ 14 h 416"/>
                <a:gd name="T6" fmla="*/ 125 w 384"/>
                <a:gd name="T7" fmla="*/ 14 h 416"/>
                <a:gd name="T8" fmla="*/ 42 w 384"/>
                <a:gd name="T9" fmla="*/ 48 h 416"/>
                <a:gd name="T10" fmla="*/ 59 w 384"/>
                <a:gd name="T11" fmla="*/ 85 h 416"/>
                <a:gd name="T12" fmla="*/ 0 w 384"/>
                <a:gd name="T13" fmla="*/ 96 h 416"/>
                <a:gd name="T14" fmla="*/ 10 w 384"/>
                <a:gd name="T15" fmla="*/ 416 h 416"/>
                <a:gd name="T16" fmla="*/ 384 w 384"/>
                <a:gd name="T17" fmla="*/ 405 h 416"/>
                <a:gd name="T18" fmla="*/ 373 w 384"/>
                <a:gd name="T19" fmla="*/ 85 h 416"/>
                <a:gd name="T20" fmla="*/ 234 w 384"/>
                <a:gd name="T21" fmla="*/ 149 h 416"/>
                <a:gd name="T22" fmla="*/ 362 w 384"/>
                <a:gd name="T23" fmla="*/ 106 h 416"/>
                <a:gd name="T24" fmla="*/ 170 w 384"/>
                <a:gd name="T25" fmla="*/ 149 h 416"/>
                <a:gd name="T26" fmla="*/ 213 w 384"/>
                <a:gd name="T27" fmla="*/ 106 h 416"/>
                <a:gd name="T28" fmla="*/ 170 w 384"/>
                <a:gd name="T29" fmla="*/ 149 h 416"/>
                <a:gd name="T30" fmla="*/ 213 w 384"/>
                <a:gd name="T31" fmla="*/ 394 h 416"/>
                <a:gd name="T32" fmla="*/ 170 w 384"/>
                <a:gd name="T33" fmla="*/ 170 h 416"/>
                <a:gd name="T34" fmla="*/ 274 w 384"/>
                <a:gd name="T35" fmla="*/ 29 h 416"/>
                <a:gd name="T36" fmla="*/ 320 w 384"/>
                <a:gd name="T37" fmla="*/ 48 h 416"/>
                <a:gd name="T38" fmla="*/ 294 w 384"/>
                <a:gd name="T39" fmla="*/ 85 h 416"/>
                <a:gd name="T40" fmla="*/ 274 w 384"/>
                <a:gd name="T41" fmla="*/ 29 h 416"/>
                <a:gd name="T42" fmla="*/ 64 w 384"/>
                <a:gd name="T43" fmla="*/ 48 h 416"/>
                <a:gd name="T44" fmla="*/ 110 w 384"/>
                <a:gd name="T45" fmla="*/ 29 h 416"/>
                <a:gd name="T46" fmla="*/ 89 w 384"/>
                <a:gd name="T47" fmla="*/ 85 h 416"/>
                <a:gd name="T48" fmla="*/ 149 w 384"/>
                <a:gd name="T49" fmla="*/ 106 h 416"/>
                <a:gd name="T50" fmla="*/ 21 w 384"/>
                <a:gd name="T51" fmla="*/ 149 h 416"/>
                <a:gd name="T52" fmla="*/ 149 w 384"/>
                <a:gd name="T53" fmla="*/ 106 h 416"/>
                <a:gd name="T54" fmla="*/ 149 w 384"/>
                <a:gd name="T55" fmla="*/ 170 h 416"/>
                <a:gd name="T56" fmla="*/ 21 w 384"/>
                <a:gd name="T57" fmla="*/ 394 h 416"/>
                <a:gd name="T58" fmla="*/ 362 w 384"/>
                <a:gd name="T59" fmla="*/ 394 h 416"/>
                <a:gd name="T60" fmla="*/ 234 w 384"/>
                <a:gd name="T61" fmla="*/ 170 h 416"/>
                <a:gd name="T62" fmla="*/ 362 w 384"/>
                <a:gd name="T63" fmla="*/ 394 h 416"/>
                <a:gd name="T64" fmla="*/ 362 w 384"/>
                <a:gd name="T65" fmla="*/ 39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4" h="416">
                  <a:moveTo>
                    <a:pt x="373" y="85"/>
                  </a:moveTo>
                  <a:cubicBezTo>
                    <a:pt x="324" y="85"/>
                    <a:pt x="324" y="85"/>
                    <a:pt x="324" y="85"/>
                  </a:cubicBezTo>
                  <a:cubicBezTo>
                    <a:pt x="327" y="82"/>
                    <a:pt x="327" y="82"/>
                    <a:pt x="327" y="82"/>
                  </a:cubicBezTo>
                  <a:cubicBezTo>
                    <a:pt x="336" y="73"/>
                    <a:pt x="341" y="61"/>
                    <a:pt x="341" y="48"/>
                  </a:cubicBezTo>
                  <a:cubicBezTo>
                    <a:pt x="341" y="21"/>
                    <a:pt x="319" y="0"/>
                    <a:pt x="293" y="0"/>
                  </a:cubicBezTo>
                  <a:cubicBezTo>
                    <a:pt x="280" y="0"/>
                    <a:pt x="268" y="5"/>
                    <a:pt x="258" y="14"/>
                  </a:cubicBezTo>
                  <a:cubicBezTo>
                    <a:pt x="192" y="81"/>
                    <a:pt x="192" y="81"/>
                    <a:pt x="192" y="81"/>
                  </a:cubicBezTo>
                  <a:cubicBezTo>
                    <a:pt x="125" y="14"/>
                    <a:pt x="125" y="14"/>
                    <a:pt x="125" y="14"/>
                  </a:cubicBezTo>
                  <a:cubicBezTo>
                    <a:pt x="116" y="5"/>
                    <a:pt x="104" y="0"/>
                    <a:pt x="91" y="0"/>
                  </a:cubicBezTo>
                  <a:cubicBezTo>
                    <a:pt x="64" y="0"/>
                    <a:pt x="42" y="21"/>
                    <a:pt x="42" y="48"/>
                  </a:cubicBezTo>
                  <a:cubicBezTo>
                    <a:pt x="42" y="61"/>
                    <a:pt x="47" y="73"/>
                    <a:pt x="56" y="82"/>
                  </a:cubicBezTo>
                  <a:cubicBezTo>
                    <a:pt x="59" y="85"/>
                    <a:pt x="59" y="85"/>
                    <a:pt x="59" y="85"/>
                  </a:cubicBezTo>
                  <a:cubicBezTo>
                    <a:pt x="10" y="85"/>
                    <a:pt x="10" y="85"/>
                    <a:pt x="10" y="85"/>
                  </a:cubicBezTo>
                  <a:cubicBezTo>
                    <a:pt x="4" y="85"/>
                    <a:pt x="0" y="90"/>
                    <a:pt x="0" y="96"/>
                  </a:cubicBezTo>
                  <a:cubicBezTo>
                    <a:pt x="0" y="405"/>
                    <a:pt x="0" y="405"/>
                    <a:pt x="0" y="405"/>
                  </a:cubicBezTo>
                  <a:cubicBezTo>
                    <a:pt x="0" y="411"/>
                    <a:pt x="4" y="416"/>
                    <a:pt x="10" y="416"/>
                  </a:cubicBezTo>
                  <a:cubicBezTo>
                    <a:pt x="373" y="416"/>
                    <a:pt x="373" y="416"/>
                    <a:pt x="373" y="416"/>
                  </a:cubicBezTo>
                  <a:cubicBezTo>
                    <a:pt x="379" y="416"/>
                    <a:pt x="384" y="411"/>
                    <a:pt x="384" y="405"/>
                  </a:cubicBezTo>
                  <a:cubicBezTo>
                    <a:pt x="384" y="96"/>
                    <a:pt x="384" y="96"/>
                    <a:pt x="384" y="96"/>
                  </a:cubicBezTo>
                  <a:cubicBezTo>
                    <a:pt x="384" y="90"/>
                    <a:pt x="379" y="85"/>
                    <a:pt x="373" y="85"/>
                  </a:cubicBezTo>
                  <a:close/>
                  <a:moveTo>
                    <a:pt x="362" y="149"/>
                  </a:moveTo>
                  <a:cubicBezTo>
                    <a:pt x="234" y="149"/>
                    <a:pt x="234" y="149"/>
                    <a:pt x="234" y="149"/>
                  </a:cubicBezTo>
                  <a:cubicBezTo>
                    <a:pt x="234" y="106"/>
                    <a:pt x="234" y="106"/>
                    <a:pt x="234" y="106"/>
                  </a:cubicBezTo>
                  <a:cubicBezTo>
                    <a:pt x="362" y="106"/>
                    <a:pt x="362" y="106"/>
                    <a:pt x="362" y="106"/>
                  </a:cubicBezTo>
                  <a:lnTo>
                    <a:pt x="362" y="149"/>
                  </a:lnTo>
                  <a:close/>
                  <a:moveTo>
                    <a:pt x="170" y="149"/>
                  </a:moveTo>
                  <a:cubicBezTo>
                    <a:pt x="170" y="106"/>
                    <a:pt x="170" y="106"/>
                    <a:pt x="170" y="106"/>
                  </a:cubicBezTo>
                  <a:cubicBezTo>
                    <a:pt x="213" y="106"/>
                    <a:pt x="213" y="106"/>
                    <a:pt x="213" y="106"/>
                  </a:cubicBezTo>
                  <a:cubicBezTo>
                    <a:pt x="213" y="149"/>
                    <a:pt x="213" y="149"/>
                    <a:pt x="213" y="149"/>
                  </a:cubicBezTo>
                  <a:lnTo>
                    <a:pt x="170" y="149"/>
                  </a:lnTo>
                  <a:close/>
                  <a:moveTo>
                    <a:pt x="213" y="170"/>
                  </a:moveTo>
                  <a:cubicBezTo>
                    <a:pt x="213" y="394"/>
                    <a:pt x="213" y="394"/>
                    <a:pt x="213" y="394"/>
                  </a:cubicBezTo>
                  <a:cubicBezTo>
                    <a:pt x="170" y="394"/>
                    <a:pt x="170" y="394"/>
                    <a:pt x="170" y="394"/>
                  </a:cubicBezTo>
                  <a:cubicBezTo>
                    <a:pt x="170" y="170"/>
                    <a:pt x="170" y="170"/>
                    <a:pt x="170" y="170"/>
                  </a:cubicBezTo>
                  <a:lnTo>
                    <a:pt x="213" y="170"/>
                  </a:lnTo>
                  <a:close/>
                  <a:moveTo>
                    <a:pt x="274" y="29"/>
                  </a:moveTo>
                  <a:cubicBezTo>
                    <a:pt x="279" y="24"/>
                    <a:pt x="285" y="21"/>
                    <a:pt x="293" y="21"/>
                  </a:cubicBezTo>
                  <a:cubicBezTo>
                    <a:pt x="308" y="21"/>
                    <a:pt x="320" y="33"/>
                    <a:pt x="320" y="48"/>
                  </a:cubicBezTo>
                  <a:cubicBezTo>
                    <a:pt x="320" y="55"/>
                    <a:pt x="317" y="62"/>
                    <a:pt x="312" y="67"/>
                  </a:cubicBezTo>
                  <a:cubicBezTo>
                    <a:pt x="294" y="85"/>
                    <a:pt x="294" y="85"/>
                    <a:pt x="294" y="85"/>
                  </a:cubicBezTo>
                  <a:cubicBezTo>
                    <a:pt x="217" y="85"/>
                    <a:pt x="217" y="85"/>
                    <a:pt x="217" y="85"/>
                  </a:cubicBezTo>
                  <a:lnTo>
                    <a:pt x="274" y="29"/>
                  </a:lnTo>
                  <a:close/>
                  <a:moveTo>
                    <a:pt x="72" y="67"/>
                  </a:moveTo>
                  <a:cubicBezTo>
                    <a:pt x="66" y="62"/>
                    <a:pt x="64" y="55"/>
                    <a:pt x="64" y="48"/>
                  </a:cubicBezTo>
                  <a:cubicBezTo>
                    <a:pt x="64" y="33"/>
                    <a:pt x="76" y="21"/>
                    <a:pt x="91" y="21"/>
                  </a:cubicBezTo>
                  <a:cubicBezTo>
                    <a:pt x="98" y="21"/>
                    <a:pt x="105" y="24"/>
                    <a:pt x="110" y="29"/>
                  </a:cubicBezTo>
                  <a:cubicBezTo>
                    <a:pt x="166" y="85"/>
                    <a:pt x="166" y="85"/>
                    <a:pt x="166" y="85"/>
                  </a:cubicBezTo>
                  <a:cubicBezTo>
                    <a:pt x="89" y="85"/>
                    <a:pt x="89" y="85"/>
                    <a:pt x="89" y="85"/>
                  </a:cubicBezTo>
                  <a:lnTo>
                    <a:pt x="72" y="67"/>
                  </a:lnTo>
                  <a:close/>
                  <a:moveTo>
                    <a:pt x="149" y="106"/>
                  </a:moveTo>
                  <a:cubicBezTo>
                    <a:pt x="149" y="149"/>
                    <a:pt x="149" y="149"/>
                    <a:pt x="149" y="149"/>
                  </a:cubicBezTo>
                  <a:cubicBezTo>
                    <a:pt x="21" y="149"/>
                    <a:pt x="21" y="149"/>
                    <a:pt x="21" y="149"/>
                  </a:cubicBezTo>
                  <a:cubicBezTo>
                    <a:pt x="21" y="106"/>
                    <a:pt x="21" y="106"/>
                    <a:pt x="21" y="106"/>
                  </a:cubicBezTo>
                  <a:lnTo>
                    <a:pt x="149" y="106"/>
                  </a:lnTo>
                  <a:close/>
                  <a:moveTo>
                    <a:pt x="21" y="170"/>
                  </a:moveTo>
                  <a:cubicBezTo>
                    <a:pt x="149" y="170"/>
                    <a:pt x="149" y="170"/>
                    <a:pt x="149" y="170"/>
                  </a:cubicBezTo>
                  <a:cubicBezTo>
                    <a:pt x="149" y="394"/>
                    <a:pt x="149" y="394"/>
                    <a:pt x="149" y="394"/>
                  </a:cubicBezTo>
                  <a:cubicBezTo>
                    <a:pt x="21" y="394"/>
                    <a:pt x="21" y="394"/>
                    <a:pt x="21" y="394"/>
                  </a:cubicBezTo>
                  <a:lnTo>
                    <a:pt x="21" y="170"/>
                  </a:lnTo>
                  <a:close/>
                  <a:moveTo>
                    <a:pt x="362" y="394"/>
                  </a:moveTo>
                  <a:cubicBezTo>
                    <a:pt x="234" y="394"/>
                    <a:pt x="234" y="394"/>
                    <a:pt x="234" y="394"/>
                  </a:cubicBezTo>
                  <a:cubicBezTo>
                    <a:pt x="234" y="170"/>
                    <a:pt x="234" y="170"/>
                    <a:pt x="234" y="170"/>
                  </a:cubicBezTo>
                  <a:cubicBezTo>
                    <a:pt x="362" y="170"/>
                    <a:pt x="362" y="170"/>
                    <a:pt x="362" y="170"/>
                  </a:cubicBezTo>
                  <a:lnTo>
                    <a:pt x="362" y="394"/>
                  </a:lnTo>
                  <a:close/>
                  <a:moveTo>
                    <a:pt x="362" y="394"/>
                  </a:moveTo>
                  <a:cubicBezTo>
                    <a:pt x="362" y="394"/>
                    <a:pt x="362" y="394"/>
                    <a:pt x="362" y="394"/>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AD5F549-4C0A-494D-9CD8-65E24A6727D6}"/>
                </a:ext>
              </a:extLst>
            </p:cNvPr>
            <p:cNvSpPr>
              <a:spLocks noEditPoints="1"/>
            </p:cNvSpPr>
            <p:nvPr/>
          </p:nvSpPr>
          <p:spPr bwMode="auto">
            <a:xfrm>
              <a:off x="1501" y="4738"/>
              <a:ext cx="1086" cy="644"/>
            </a:xfrm>
            <a:custGeom>
              <a:avLst/>
              <a:gdLst>
                <a:gd name="T0" fmla="*/ 448 w 487"/>
                <a:gd name="T1" fmla="*/ 138 h 298"/>
                <a:gd name="T2" fmla="*/ 298 w 487"/>
                <a:gd name="T3" fmla="*/ 138 h 298"/>
                <a:gd name="T4" fmla="*/ 149 w 487"/>
                <a:gd name="T5" fmla="*/ 0 h 298"/>
                <a:gd name="T6" fmla="*/ 0 w 487"/>
                <a:gd name="T7" fmla="*/ 149 h 298"/>
                <a:gd name="T8" fmla="*/ 149 w 487"/>
                <a:gd name="T9" fmla="*/ 298 h 298"/>
                <a:gd name="T10" fmla="*/ 298 w 487"/>
                <a:gd name="T11" fmla="*/ 160 h 298"/>
                <a:gd name="T12" fmla="*/ 437 w 487"/>
                <a:gd name="T13" fmla="*/ 160 h 298"/>
                <a:gd name="T14" fmla="*/ 437 w 487"/>
                <a:gd name="T15" fmla="*/ 230 h 298"/>
                <a:gd name="T16" fmla="*/ 423 w 487"/>
                <a:gd name="T17" fmla="*/ 216 h 298"/>
                <a:gd name="T18" fmla="*/ 408 w 487"/>
                <a:gd name="T19" fmla="*/ 231 h 298"/>
                <a:gd name="T20" fmla="*/ 440 w 487"/>
                <a:gd name="T21" fmla="*/ 263 h 298"/>
                <a:gd name="T22" fmla="*/ 448 w 487"/>
                <a:gd name="T23" fmla="*/ 266 h 298"/>
                <a:gd name="T24" fmla="*/ 455 w 487"/>
                <a:gd name="T25" fmla="*/ 263 h 298"/>
                <a:gd name="T26" fmla="*/ 487 w 487"/>
                <a:gd name="T27" fmla="*/ 231 h 298"/>
                <a:gd name="T28" fmla="*/ 472 w 487"/>
                <a:gd name="T29" fmla="*/ 216 h 298"/>
                <a:gd name="T30" fmla="*/ 458 w 487"/>
                <a:gd name="T31" fmla="*/ 230 h 298"/>
                <a:gd name="T32" fmla="*/ 458 w 487"/>
                <a:gd name="T33" fmla="*/ 149 h 298"/>
                <a:gd name="T34" fmla="*/ 448 w 487"/>
                <a:gd name="T35" fmla="*/ 138 h 298"/>
                <a:gd name="T36" fmla="*/ 149 w 487"/>
                <a:gd name="T37" fmla="*/ 277 h 298"/>
                <a:gd name="T38" fmla="*/ 21 w 487"/>
                <a:gd name="T39" fmla="*/ 149 h 298"/>
                <a:gd name="T40" fmla="*/ 149 w 487"/>
                <a:gd name="T41" fmla="*/ 21 h 298"/>
                <a:gd name="T42" fmla="*/ 277 w 487"/>
                <a:gd name="T43" fmla="*/ 149 h 298"/>
                <a:gd name="T44" fmla="*/ 149 w 487"/>
                <a:gd name="T45" fmla="*/ 277 h 298"/>
                <a:gd name="T46" fmla="*/ 149 w 487"/>
                <a:gd name="T47" fmla="*/ 277 h 298"/>
                <a:gd name="T48" fmla="*/ 149 w 487"/>
                <a:gd name="T49" fmla="*/ 277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7" h="298">
                  <a:moveTo>
                    <a:pt x="448" y="138"/>
                  </a:moveTo>
                  <a:cubicBezTo>
                    <a:pt x="298" y="138"/>
                    <a:pt x="298" y="138"/>
                    <a:pt x="298" y="138"/>
                  </a:cubicBezTo>
                  <a:cubicBezTo>
                    <a:pt x="292" y="61"/>
                    <a:pt x="228" y="0"/>
                    <a:pt x="149" y="0"/>
                  </a:cubicBezTo>
                  <a:cubicBezTo>
                    <a:pt x="67" y="0"/>
                    <a:pt x="0" y="67"/>
                    <a:pt x="0" y="149"/>
                  </a:cubicBezTo>
                  <a:cubicBezTo>
                    <a:pt x="0" y="231"/>
                    <a:pt x="67" y="298"/>
                    <a:pt x="149" y="298"/>
                  </a:cubicBezTo>
                  <a:cubicBezTo>
                    <a:pt x="228" y="298"/>
                    <a:pt x="292" y="237"/>
                    <a:pt x="298" y="160"/>
                  </a:cubicBezTo>
                  <a:cubicBezTo>
                    <a:pt x="437" y="160"/>
                    <a:pt x="437" y="160"/>
                    <a:pt x="437" y="160"/>
                  </a:cubicBezTo>
                  <a:cubicBezTo>
                    <a:pt x="437" y="230"/>
                    <a:pt x="437" y="230"/>
                    <a:pt x="437" y="230"/>
                  </a:cubicBezTo>
                  <a:cubicBezTo>
                    <a:pt x="423" y="216"/>
                    <a:pt x="423" y="216"/>
                    <a:pt x="423" y="216"/>
                  </a:cubicBezTo>
                  <a:cubicBezTo>
                    <a:pt x="408" y="231"/>
                    <a:pt x="408" y="231"/>
                    <a:pt x="408" y="231"/>
                  </a:cubicBezTo>
                  <a:cubicBezTo>
                    <a:pt x="440" y="263"/>
                    <a:pt x="440" y="263"/>
                    <a:pt x="440" y="263"/>
                  </a:cubicBezTo>
                  <a:cubicBezTo>
                    <a:pt x="442" y="265"/>
                    <a:pt x="445" y="266"/>
                    <a:pt x="448" y="266"/>
                  </a:cubicBezTo>
                  <a:cubicBezTo>
                    <a:pt x="450" y="266"/>
                    <a:pt x="453" y="265"/>
                    <a:pt x="455" y="263"/>
                  </a:cubicBezTo>
                  <a:cubicBezTo>
                    <a:pt x="487" y="231"/>
                    <a:pt x="487" y="231"/>
                    <a:pt x="487" y="231"/>
                  </a:cubicBezTo>
                  <a:cubicBezTo>
                    <a:pt x="472" y="216"/>
                    <a:pt x="472" y="216"/>
                    <a:pt x="472" y="216"/>
                  </a:cubicBezTo>
                  <a:cubicBezTo>
                    <a:pt x="458" y="230"/>
                    <a:pt x="458" y="230"/>
                    <a:pt x="458" y="230"/>
                  </a:cubicBezTo>
                  <a:cubicBezTo>
                    <a:pt x="458" y="149"/>
                    <a:pt x="458" y="149"/>
                    <a:pt x="458" y="149"/>
                  </a:cubicBezTo>
                  <a:cubicBezTo>
                    <a:pt x="458" y="143"/>
                    <a:pt x="454" y="138"/>
                    <a:pt x="448" y="138"/>
                  </a:cubicBezTo>
                  <a:close/>
                  <a:moveTo>
                    <a:pt x="149" y="277"/>
                  </a:moveTo>
                  <a:cubicBezTo>
                    <a:pt x="78" y="277"/>
                    <a:pt x="21" y="220"/>
                    <a:pt x="21" y="149"/>
                  </a:cubicBezTo>
                  <a:cubicBezTo>
                    <a:pt x="21" y="78"/>
                    <a:pt x="78" y="21"/>
                    <a:pt x="149" y="21"/>
                  </a:cubicBezTo>
                  <a:cubicBezTo>
                    <a:pt x="220" y="21"/>
                    <a:pt x="277" y="78"/>
                    <a:pt x="277" y="149"/>
                  </a:cubicBezTo>
                  <a:cubicBezTo>
                    <a:pt x="277" y="220"/>
                    <a:pt x="220" y="277"/>
                    <a:pt x="149" y="277"/>
                  </a:cubicBezTo>
                  <a:close/>
                  <a:moveTo>
                    <a:pt x="149" y="277"/>
                  </a:moveTo>
                  <a:cubicBezTo>
                    <a:pt x="149" y="277"/>
                    <a:pt x="149" y="277"/>
                    <a:pt x="149" y="277"/>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2D3DD32D-6885-47E7-907B-67FB81A12C24}"/>
                </a:ext>
              </a:extLst>
            </p:cNvPr>
            <p:cNvSpPr>
              <a:spLocks noEditPoints="1"/>
            </p:cNvSpPr>
            <p:nvPr/>
          </p:nvSpPr>
          <p:spPr bwMode="auto">
            <a:xfrm>
              <a:off x="1617" y="4851"/>
              <a:ext cx="433" cy="395"/>
            </a:xfrm>
            <a:custGeom>
              <a:avLst/>
              <a:gdLst>
                <a:gd name="T0" fmla="*/ 130 w 194"/>
                <a:gd name="T1" fmla="*/ 55 h 183"/>
                <a:gd name="T2" fmla="*/ 107 w 194"/>
                <a:gd name="T3" fmla="*/ 7 h 183"/>
                <a:gd name="T4" fmla="*/ 87 w 194"/>
                <a:gd name="T5" fmla="*/ 7 h 183"/>
                <a:gd name="T6" fmla="*/ 64 w 194"/>
                <a:gd name="T7" fmla="*/ 55 h 183"/>
                <a:gd name="T8" fmla="*/ 10 w 194"/>
                <a:gd name="T9" fmla="*/ 62 h 183"/>
                <a:gd name="T10" fmla="*/ 2 w 194"/>
                <a:gd name="T11" fmla="*/ 70 h 183"/>
                <a:gd name="T12" fmla="*/ 4 w 194"/>
                <a:gd name="T13" fmla="*/ 80 h 183"/>
                <a:gd name="T14" fmla="*/ 43 w 194"/>
                <a:gd name="T15" fmla="*/ 118 h 183"/>
                <a:gd name="T16" fmla="*/ 34 w 194"/>
                <a:gd name="T17" fmla="*/ 170 h 183"/>
                <a:gd name="T18" fmla="*/ 38 w 194"/>
                <a:gd name="T19" fmla="*/ 180 h 183"/>
                <a:gd name="T20" fmla="*/ 49 w 194"/>
                <a:gd name="T21" fmla="*/ 181 h 183"/>
                <a:gd name="T22" fmla="*/ 97 w 194"/>
                <a:gd name="T23" fmla="*/ 156 h 183"/>
                <a:gd name="T24" fmla="*/ 145 w 194"/>
                <a:gd name="T25" fmla="*/ 181 h 183"/>
                <a:gd name="T26" fmla="*/ 150 w 194"/>
                <a:gd name="T27" fmla="*/ 182 h 183"/>
                <a:gd name="T28" fmla="*/ 156 w 194"/>
                <a:gd name="T29" fmla="*/ 180 h 183"/>
                <a:gd name="T30" fmla="*/ 160 w 194"/>
                <a:gd name="T31" fmla="*/ 170 h 183"/>
                <a:gd name="T32" fmla="*/ 151 w 194"/>
                <a:gd name="T33" fmla="*/ 118 h 183"/>
                <a:gd name="T34" fmla="*/ 190 w 194"/>
                <a:gd name="T35" fmla="*/ 80 h 183"/>
                <a:gd name="T36" fmla="*/ 192 w 194"/>
                <a:gd name="T37" fmla="*/ 70 h 183"/>
                <a:gd name="T38" fmla="*/ 184 w 194"/>
                <a:gd name="T39" fmla="*/ 62 h 183"/>
                <a:gd name="T40" fmla="*/ 130 w 194"/>
                <a:gd name="T41" fmla="*/ 55 h 183"/>
                <a:gd name="T42" fmla="*/ 132 w 194"/>
                <a:gd name="T43" fmla="*/ 106 h 183"/>
                <a:gd name="T44" fmla="*/ 129 w 194"/>
                <a:gd name="T45" fmla="*/ 116 h 183"/>
                <a:gd name="T46" fmla="*/ 136 w 194"/>
                <a:gd name="T47" fmla="*/ 152 h 183"/>
                <a:gd name="T48" fmla="*/ 102 w 194"/>
                <a:gd name="T49" fmla="*/ 135 h 183"/>
                <a:gd name="T50" fmla="*/ 97 w 194"/>
                <a:gd name="T51" fmla="*/ 134 h 183"/>
                <a:gd name="T52" fmla="*/ 92 w 194"/>
                <a:gd name="T53" fmla="*/ 135 h 183"/>
                <a:gd name="T54" fmla="*/ 58 w 194"/>
                <a:gd name="T55" fmla="*/ 152 h 183"/>
                <a:gd name="T56" fmla="*/ 65 w 194"/>
                <a:gd name="T57" fmla="*/ 116 h 183"/>
                <a:gd name="T58" fmla="*/ 62 w 194"/>
                <a:gd name="T59" fmla="*/ 106 h 183"/>
                <a:gd name="T60" fmla="*/ 35 w 194"/>
                <a:gd name="T61" fmla="*/ 80 h 183"/>
                <a:gd name="T62" fmla="*/ 72 w 194"/>
                <a:gd name="T63" fmla="*/ 75 h 183"/>
                <a:gd name="T64" fmla="*/ 80 w 194"/>
                <a:gd name="T65" fmla="*/ 69 h 183"/>
                <a:gd name="T66" fmla="*/ 97 w 194"/>
                <a:gd name="T67" fmla="*/ 35 h 183"/>
                <a:gd name="T68" fmla="*/ 114 w 194"/>
                <a:gd name="T69" fmla="*/ 69 h 183"/>
                <a:gd name="T70" fmla="*/ 122 w 194"/>
                <a:gd name="T71" fmla="*/ 75 h 183"/>
                <a:gd name="T72" fmla="*/ 159 w 194"/>
                <a:gd name="T73" fmla="*/ 80 h 183"/>
                <a:gd name="T74" fmla="*/ 132 w 194"/>
                <a:gd name="T75" fmla="*/ 106 h 183"/>
                <a:gd name="T76" fmla="*/ 132 w 194"/>
                <a:gd name="T77" fmla="*/ 106 h 183"/>
                <a:gd name="T78" fmla="*/ 132 w 194"/>
                <a:gd name="T79" fmla="*/ 106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4" h="183">
                  <a:moveTo>
                    <a:pt x="130" y="55"/>
                  </a:moveTo>
                  <a:cubicBezTo>
                    <a:pt x="107" y="7"/>
                    <a:pt x="107" y="7"/>
                    <a:pt x="107" y="7"/>
                  </a:cubicBezTo>
                  <a:cubicBezTo>
                    <a:pt x="103" y="0"/>
                    <a:pt x="91" y="0"/>
                    <a:pt x="87" y="7"/>
                  </a:cubicBezTo>
                  <a:cubicBezTo>
                    <a:pt x="64" y="55"/>
                    <a:pt x="64" y="55"/>
                    <a:pt x="64" y="55"/>
                  </a:cubicBezTo>
                  <a:cubicBezTo>
                    <a:pt x="10" y="62"/>
                    <a:pt x="10" y="62"/>
                    <a:pt x="10" y="62"/>
                  </a:cubicBezTo>
                  <a:cubicBezTo>
                    <a:pt x="6" y="63"/>
                    <a:pt x="3" y="66"/>
                    <a:pt x="2" y="70"/>
                  </a:cubicBezTo>
                  <a:cubicBezTo>
                    <a:pt x="0" y="73"/>
                    <a:pt x="1" y="78"/>
                    <a:pt x="4" y="80"/>
                  </a:cubicBezTo>
                  <a:cubicBezTo>
                    <a:pt x="43" y="118"/>
                    <a:pt x="43" y="118"/>
                    <a:pt x="43" y="118"/>
                  </a:cubicBezTo>
                  <a:cubicBezTo>
                    <a:pt x="34" y="170"/>
                    <a:pt x="34" y="170"/>
                    <a:pt x="34" y="170"/>
                  </a:cubicBezTo>
                  <a:cubicBezTo>
                    <a:pt x="33" y="174"/>
                    <a:pt x="35" y="178"/>
                    <a:pt x="38" y="180"/>
                  </a:cubicBezTo>
                  <a:cubicBezTo>
                    <a:pt x="41" y="183"/>
                    <a:pt x="46" y="183"/>
                    <a:pt x="49" y="181"/>
                  </a:cubicBezTo>
                  <a:cubicBezTo>
                    <a:pt x="97" y="156"/>
                    <a:pt x="97" y="156"/>
                    <a:pt x="97" y="156"/>
                  </a:cubicBezTo>
                  <a:cubicBezTo>
                    <a:pt x="145" y="181"/>
                    <a:pt x="145" y="181"/>
                    <a:pt x="145" y="181"/>
                  </a:cubicBezTo>
                  <a:cubicBezTo>
                    <a:pt x="146" y="182"/>
                    <a:pt x="148" y="182"/>
                    <a:pt x="150" y="182"/>
                  </a:cubicBezTo>
                  <a:cubicBezTo>
                    <a:pt x="152" y="182"/>
                    <a:pt x="154" y="182"/>
                    <a:pt x="156" y="180"/>
                  </a:cubicBezTo>
                  <a:cubicBezTo>
                    <a:pt x="159" y="178"/>
                    <a:pt x="161" y="174"/>
                    <a:pt x="160" y="170"/>
                  </a:cubicBezTo>
                  <a:cubicBezTo>
                    <a:pt x="151" y="118"/>
                    <a:pt x="151" y="118"/>
                    <a:pt x="151" y="118"/>
                  </a:cubicBezTo>
                  <a:cubicBezTo>
                    <a:pt x="190" y="80"/>
                    <a:pt x="190" y="80"/>
                    <a:pt x="190" y="80"/>
                  </a:cubicBezTo>
                  <a:cubicBezTo>
                    <a:pt x="193" y="78"/>
                    <a:pt x="194" y="73"/>
                    <a:pt x="192" y="70"/>
                  </a:cubicBezTo>
                  <a:cubicBezTo>
                    <a:pt x="191" y="66"/>
                    <a:pt x="188" y="63"/>
                    <a:pt x="184" y="62"/>
                  </a:cubicBezTo>
                  <a:lnTo>
                    <a:pt x="130" y="55"/>
                  </a:lnTo>
                  <a:close/>
                  <a:moveTo>
                    <a:pt x="132" y="106"/>
                  </a:moveTo>
                  <a:cubicBezTo>
                    <a:pt x="130" y="109"/>
                    <a:pt x="129" y="112"/>
                    <a:pt x="129" y="116"/>
                  </a:cubicBezTo>
                  <a:cubicBezTo>
                    <a:pt x="136" y="152"/>
                    <a:pt x="136" y="152"/>
                    <a:pt x="136" y="152"/>
                  </a:cubicBezTo>
                  <a:cubicBezTo>
                    <a:pt x="102" y="135"/>
                    <a:pt x="102" y="135"/>
                    <a:pt x="102" y="135"/>
                  </a:cubicBezTo>
                  <a:cubicBezTo>
                    <a:pt x="100" y="134"/>
                    <a:pt x="99" y="134"/>
                    <a:pt x="97" y="134"/>
                  </a:cubicBezTo>
                  <a:cubicBezTo>
                    <a:pt x="95" y="134"/>
                    <a:pt x="94" y="134"/>
                    <a:pt x="92" y="135"/>
                  </a:cubicBezTo>
                  <a:cubicBezTo>
                    <a:pt x="58" y="152"/>
                    <a:pt x="58" y="152"/>
                    <a:pt x="58" y="152"/>
                  </a:cubicBezTo>
                  <a:cubicBezTo>
                    <a:pt x="65" y="116"/>
                    <a:pt x="65" y="116"/>
                    <a:pt x="65" y="116"/>
                  </a:cubicBezTo>
                  <a:cubicBezTo>
                    <a:pt x="65" y="112"/>
                    <a:pt x="64" y="109"/>
                    <a:pt x="62" y="106"/>
                  </a:cubicBezTo>
                  <a:cubicBezTo>
                    <a:pt x="35" y="80"/>
                    <a:pt x="35" y="80"/>
                    <a:pt x="35" y="80"/>
                  </a:cubicBezTo>
                  <a:cubicBezTo>
                    <a:pt x="72" y="75"/>
                    <a:pt x="72" y="75"/>
                    <a:pt x="72" y="75"/>
                  </a:cubicBezTo>
                  <a:cubicBezTo>
                    <a:pt x="76" y="74"/>
                    <a:pt x="79" y="72"/>
                    <a:pt x="80" y="69"/>
                  </a:cubicBezTo>
                  <a:cubicBezTo>
                    <a:pt x="97" y="35"/>
                    <a:pt x="97" y="35"/>
                    <a:pt x="97" y="35"/>
                  </a:cubicBezTo>
                  <a:cubicBezTo>
                    <a:pt x="114" y="69"/>
                    <a:pt x="114" y="69"/>
                    <a:pt x="114" y="69"/>
                  </a:cubicBezTo>
                  <a:cubicBezTo>
                    <a:pt x="115" y="72"/>
                    <a:pt x="118" y="74"/>
                    <a:pt x="122" y="75"/>
                  </a:cubicBezTo>
                  <a:cubicBezTo>
                    <a:pt x="159" y="80"/>
                    <a:pt x="159" y="80"/>
                    <a:pt x="159" y="80"/>
                  </a:cubicBezTo>
                  <a:lnTo>
                    <a:pt x="132" y="106"/>
                  </a:lnTo>
                  <a:close/>
                  <a:moveTo>
                    <a:pt x="132" y="106"/>
                  </a:moveTo>
                  <a:cubicBezTo>
                    <a:pt x="132" y="106"/>
                    <a:pt x="132" y="106"/>
                    <a:pt x="132" y="106"/>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A660DC91-BA1E-4E5A-93D3-AC532E7CA47F}"/>
                </a:ext>
              </a:extLst>
            </p:cNvPr>
            <p:cNvSpPr>
              <a:spLocks noEditPoints="1"/>
            </p:cNvSpPr>
            <p:nvPr/>
          </p:nvSpPr>
          <p:spPr bwMode="auto">
            <a:xfrm>
              <a:off x="1501" y="5452"/>
              <a:ext cx="379" cy="369"/>
            </a:xfrm>
            <a:custGeom>
              <a:avLst/>
              <a:gdLst>
                <a:gd name="T0" fmla="*/ 19 w 170"/>
                <a:gd name="T1" fmla="*/ 108 h 171"/>
                <a:gd name="T2" fmla="*/ 63 w 170"/>
                <a:gd name="T3" fmla="*/ 152 h 171"/>
                <a:gd name="T4" fmla="*/ 85 w 170"/>
                <a:gd name="T5" fmla="*/ 171 h 171"/>
                <a:gd name="T6" fmla="*/ 107 w 170"/>
                <a:gd name="T7" fmla="*/ 152 h 171"/>
                <a:gd name="T8" fmla="*/ 151 w 170"/>
                <a:gd name="T9" fmla="*/ 108 h 171"/>
                <a:gd name="T10" fmla="*/ 170 w 170"/>
                <a:gd name="T11" fmla="*/ 86 h 171"/>
                <a:gd name="T12" fmla="*/ 151 w 170"/>
                <a:gd name="T13" fmla="*/ 64 h 171"/>
                <a:gd name="T14" fmla="*/ 107 w 170"/>
                <a:gd name="T15" fmla="*/ 19 h 171"/>
                <a:gd name="T16" fmla="*/ 85 w 170"/>
                <a:gd name="T17" fmla="*/ 0 h 171"/>
                <a:gd name="T18" fmla="*/ 63 w 170"/>
                <a:gd name="T19" fmla="*/ 19 h 171"/>
                <a:gd name="T20" fmla="*/ 19 w 170"/>
                <a:gd name="T21" fmla="*/ 64 h 171"/>
                <a:gd name="T22" fmla="*/ 0 w 170"/>
                <a:gd name="T23" fmla="*/ 86 h 171"/>
                <a:gd name="T24" fmla="*/ 19 w 170"/>
                <a:gd name="T25" fmla="*/ 108 h 171"/>
                <a:gd name="T26" fmla="*/ 22 w 170"/>
                <a:gd name="T27" fmla="*/ 85 h 171"/>
                <a:gd name="T28" fmla="*/ 84 w 170"/>
                <a:gd name="T29" fmla="*/ 22 h 171"/>
                <a:gd name="T30" fmla="*/ 85 w 170"/>
                <a:gd name="T31" fmla="*/ 22 h 171"/>
                <a:gd name="T32" fmla="*/ 86 w 170"/>
                <a:gd name="T33" fmla="*/ 22 h 171"/>
                <a:gd name="T34" fmla="*/ 148 w 170"/>
                <a:gd name="T35" fmla="*/ 85 h 171"/>
                <a:gd name="T36" fmla="*/ 149 w 170"/>
                <a:gd name="T37" fmla="*/ 86 h 171"/>
                <a:gd name="T38" fmla="*/ 148 w 170"/>
                <a:gd name="T39" fmla="*/ 87 h 171"/>
                <a:gd name="T40" fmla="*/ 86 w 170"/>
                <a:gd name="T41" fmla="*/ 149 h 171"/>
                <a:gd name="T42" fmla="*/ 84 w 170"/>
                <a:gd name="T43" fmla="*/ 149 h 171"/>
                <a:gd name="T44" fmla="*/ 22 w 170"/>
                <a:gd name="T45" fmla="*/ 87 h 171"/>
                <a:gd name="T46" fmla="*/ 21 w 170"/>
                <a:gd name="T47" fmla="*/ 86 h 171"/>
                <a:gd name="T48" fmla="*/ 22 w 170"/>
                <a:gd name="T49" fmla="*/ 85 h 171"/>
                <a:gd name="T50" fmla="*/ 22 w 170"/>
                <a:gd name="T51" fmla="*/ 85 h 171"/>
                <a:gd name="T52" fmla="*/ 22 w 170"/>
                <a:gd name="T5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0" h="171">
                  <a:moveTo>
                    <a:pt x="19" y="108"/>
                  </a:moveTo>
                  <a:cubicBezTo>
                    <a:pt x="42" y="111"/>
                    <a:pt x="59" y="129"/>
                    <a:pt x="63" y="152"/>
                  </a:cubicBezTo>
                  <a:cubicBezTo>
                    <a:pt x="65" y="163"/>
                    <a:pt x="74" y="171"/>
                    <a:pt x="85" y="171"/>
                  </a:cubicBezTo>
                  <a:cubicBezTo>
                    <a:pt x="96" y="171"/>
                    <a:pt x="105" y="163"/>
                    <a:pt x="107" y="152"/>
                  </a:cubicBezTo>
                  <a:cubicBezTo>
                    <a:pt x="111" y="129"/>
                    <a:pt x="128" y="111"/>
                    <a:pt x="151" y="108"/>
                  </a:cubicBezTo>
                  <a:cubicBezTo>
                    <a:pt x="162" y="106"/>
                    <a:pt x="170" y="97"/>
                    <a:pt x="170" y="86"/>
                  </a:cubicBezTo>
                  <a:cubicBezTo>
                    <a:pt x="170" y="75"/>
                    <a:pt x="162" y="65"/>
                    <a:pt x="151" y="64"/>
                  </a:cubicBezTo>
                  <a:cubicBezTo>
                    <a:pt x="128" y="60"/>
                    <a:pt x="111" y="42"/>
                    <a:pt x="107" y="19"/>
                  </a:cubicBezTo>
                  <a:cubicBezTo>
                    <a:pt x="105" y="8"/>
                    <a:pt x="96" y="0"/>
                    <a:pt x="85" y="0"/>
                  </a:cubicBezTo>
                  <a:cubicBezTo>
                    <a:pt x="74" y="0"/>
                    <a:pt x="65" y="8"/>
                    <a:pt x="63" y="19"/>
                  </a:cubicBezTo>
                  <a:cubicBezTo>
                    <a:pt x="59" y="42"/>
                    <a:pt x="42" y="60"/>
                    <a:pt x="19" y="64"/>
                  </a:cubicBezTo>
                  <a:cubicBezTo>
                    <a:pt x="8" y="65"/>
                    <a:pt x="0" y="75"/>
                    <a:pt x="0" y="86"/>
                  </a:cubicBezTo>
                  <a:cubicBezTo>
                    <a:pt x="0" y="97"/>
                    <a:pt x="8" y="106"/>
                    <a:pt x="19" y="108"/>
                  </a:cubicBezTo>
                  <a:close/>
                  <a:moveTo>
                    <a:pt x="22" y="85"/>
                  </a:moveTo>
                  <a:cubicBezTo>
                    <a:pt x="54" y="80"/>
                    <a:pt x="79" y="55"/>
                    <a:pt x="84" y="22"/>
                  </a:cubicBezTo>
                  <a:cubicBezTo>
                    <a:pt x="84" y="22"/>
                    <a:pt x="85" y="22"/>
                    <a:pt x="85" y="22"/>
                  </a:cubicBezTo>
                  <a:cubicBezTo>
                    <a:pt x="85" y="22"/>
                    <a:pt x="86" y="22"/>
                    <a:pt x="86" y="22"/>
                  </a:cubicBezTo>
                  <a:cubicBezTo>
                    <a:pt x="91" y="55"/>
                    <a:pt x="116" y="80"/>
                    <a:pt x="148" y="85"/>
                  </a:cubicBezTo>
                  <a:cubicBezTo>
                    <a:pt x="149" y="85"/>
                    <a:pt x="149" y="85"/>
                    <a:pt x="149" y="86"/>
                  </a:cubicBezTo>
                  <a:cubicBezTo>
                    <a:pt x="149" y="86"/>
                    <a:pt x="149" y="86"/>
                    <a:pt x="148" y="87"/>
                  </a:cubicBezTo>
                  <a:cubicBezTo>
                    <a:pt x="116" y="92"/>
                    <a:pt x="91" y="117"/>
                    <a:pt x="86" y="149"/>
                  </a:cubicBezTo>
                  <a:cubicBezTo>
                    <a:pt x="86" y="150"/>
                    <a:pt x="84" y="150"/>
                    <a:pt x="84" y="149"/>
                  </a:cubicBezTo>
                  <a:cubicBezTo>
                    <a:pt x="79" y="117"/>
                    <a:pt x="54" y="92"/>
                    <a:pt x="22" y="87"/>
                  </a:cubicBezTo>
                  <a:cubicBezTo>
                    <a:pt x="21" y="86"/>
                    <a:pt x="21" y="86"/>
                    <a:pt x="21" y="86"/>
                  </a:cubicBezTo>
                  <a:cubicBezTo>
                    <a:pt x="21" y="85"/>
                    <a:pt x="21" y="85"/>
                    <a:pt x="22" y="85"/>
                  </a:cubicBezTo>
                  <a:close/>
                  <a:moveTo>
                    <a:pt x="22" y="85"/>
                  </a:moveTo>
                  <a:cubicBezTo>
                    <a:pt x="22" y="85"/>
                    <a:pt x="22" y="85"/>
                    <a:pt x="22" y="85"/>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2AEDBC97-D448-4070-B034-EB8689BEF025}"/>
                </a:ext>
              </a:extLst>
            </p:cNvPr>
            <p:cNvSpPr>
              <a:spLocks noChangeArrowheads="1"/>
            </p:cNvSpPr>
            <p:nvPr/>
          </p:nvSpPr>
          <p:spPr bwMode="auto">
            <a:xfrm>
              <a:off x="2785" y="5984"/>
              <a:ext cx="47" cy="45"/>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10">
              <a:extLst>
                <a:ext uri="{FF2B5EF4-FFF2-40B4-BE49-F238E27FC236}">
                  <a16:creationId xmlns:a16="http://schemas.microsoft.com/office/drawing/2014/main" id="{1574F5EA-8BA1-4A6A-B3B1-5DDD9DE24B37}"/>
                </a:ext>
              </a:extLst>
            </p:cNvPr>
            <p:cNvSpPr>
              <a:spLocks noChangeArrowheads="1"/>
            </p:cNvSpPr>
            <p:nvPr/>
          </p:nvSpPr>
          <p:spPr bwMode="auto">
            <a:xfrm>
              <a:off x="2785" y="5891"/>
              <a:ext cx="47" cy="45"/>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EBC0ED0E-4BD3-4560-BD3F-480C4E3A76C0}"/>
                </a:ext>
              </a:extLst>
            </p:cNvPr>
            <p:cNvSpPr>
              <a:spLocks noChangeArrowheads="1"/>
            </p:cNvSpPr>
            <p:nvPr/>
          </p:nvSpPr>
          <p:spPr bwMode="auto">
            <a:xfrm>
              <a:off x="2785" y="5798"/>
              <a:ext cx="47" cy="47"/>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673510219"/>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1"/>
                                            </p:tgtEl>
                                            <p:attrNameLst>
                                              <p:attrName>style.visibility</p:attrName>
                                            </p:attrNameLst>
                                          </p:cBhvr>
                                          <p:to>
                                            <p:strVal val="visible"/>
                                          </p:to>
                                        </p:set>
                                        <p:animEffect transition="in" filter="fade">
                                          <p:cBhvr>
                                            <p:cTn id="12" dur="500"/>
                                            <p:tgtEl>
                                              <p:spTgt spid="9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down)">
                                          <p:cBhvr>
                                            <p:cTn id="17" dur="500"/>
                                            <p:tgtEl>
                                              <p:spTgt spid="7"/>
                                            </p:tgtEl>
                                          </p:cBhvr>
                                        </p:animEffect>
                                      </p:childTnLst>
                                    </p:cTn>
                                  </p:par>
                                  <p:par>
                                    <p:cTn id="18" presetID="1" presetClass="entr" presetSubtype="0" fill="hold" grpId="0" nodeType="withEffect">
                                      <p:stCondLst>
                                        <p:cond delay="500"/>
                                      </p:stCondLst>
                                      <p:childTnLst>
                                        <p:set>
                                          <p:cBhvr>
                                            <p:cTn id="19" dur="1" fill="hold">
                                              <p:stCondLst>
                                                <p:cond delay="0"/>
                                              </p:stCondLst>
                                            </p:cTn>
                                            <p:tgtEl>
                                              <p:spTgt spid="116"/>
                                            </p:tgtEl>
                                            <p:attrNameLst>
                                              <p:attrName>style.visibility</p:attrName>
                                            </p:attrNameLst>
                                          </p:cBhvr>
                                          <p:to>
                                            <p:strVal val="visible"/>
                                          </p:to>
                                        </p:se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2" presetClass="entr" presetSubtype="8" fill="hold" grpId="0" nodeType="withEffect" p14:presetBounceEnd="60000">
                                      <p:stCondLst>
                                        <p:cond delay="0"/>
                                      </p:stCondLst>
                                      <p:childTnLst>
                                        <p:set>
                                          <p:cBhvr>
                                            <p:cTn id="25" dur="1" fill="hold">
                                              <p:stCondLst>
                                                <p:cond delay="0"/>
                                              </p:stCondLst>
                                            </p:cTn>
                                            <p:tgtEl>
                                              <p:spTgt spid="106"/>
                                            </p:tgtEl>
                                            <p:attrNameLst>
                                              <p:attrName>style.visibility</p:attrName>
                                            </p:attrNameLst>
                                          </p:cBhvr>
                                          <p:to>
                                            <p:strVal val="visible"/>
                                          </p:to>
                                        </p:set>
                                        <p:anim calcmode="lin" valueType="num" p14:bounceEnd="60000">
                                          <p:cBhvr additive="base">
                                            <p:cTn id="26" dur="500" fill="hold"/>
                                            <p:tgtEl>
                                              <p:spTgt spid="106"/>
                                            </p:tgtEl>
                                            <p:attrNameLst>
                                              <p:attrName>ppt_x</p:attrName>
                                            </p:attrNameLst>
                                          </p:cBhvr>
                                          <p:tavLst>
                                            <p:tav tm="0">
                                              <p:val>
                                                <p:strVal val="0-#ppt_w/2"/>
                                              </p:val>
                                            </p:tav>
                                            <p:tav tm="100000">
                                              <p:val>
                                                <p:strVal val="#ppt_x"/>
                                              </p:val>
                                            </p:tav>
                                          </p:tavLst>
                                        </p:anim>
                                        <p:anim calcmode="lin" valueType="num" p14:bounceEnd="60000">
                                          <p:cBhvr additive="base">
                                            <p:cTn id="27" dur="500" fill="hold"/>
                                            <p:tgtEl>
                                              <p:spTgt spid="106"/>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wipe(down)">
                                          <p:cBhvr>
                                            <p:cTn id="32" dur="500"/>
                                            <p:tgtEl>
                                              <p:spTgt spid="26"/>
                                            </p:tgtEl>
                                          </p:cBhvr>
                                        </p:animEffect>
                                      </p:childTnLst>
                                    </p:cTn>
                                  </p:par>
                                </p:childTnLst>
                              </p:cTn>
                            </p:par>
                            <p:par>
                              <p:cTn id="33" fill="hold">
                                <p:stCondLst>
                                  <p:cond delay="1000"/>
                                </p:stCondLst>
                                <p:childTnLst>
                                  <p:par>
                                    <p:cTn id="34" presetID="10" presetClass="entr" presetSubtype="0" fill="hold" grpId="0" nodeType="afterEffect">
                                      <p:stCondLst>
                                        <p:cond delay="0"/>
                                      </p:stCondLst>
                                      <p:childTnLst>
                                        <p:set>
                                          <p:cBhvr>
                                            <p:cTn id="35" dur="1" fill="hold">
                                              <p:stCondLst>
                                                <p:cond delay="0"/>
                                              </p:stCondLst>
                                            </p:cTn>
                                            <p:tgtEl>
                                              <p:spTgt spid="118"/>
                                            </p:tgtEl>
                                            <p:attrNameLst>
                                              <p:attrName>style.visibility</p:attrName>
                                            </p:attrNameLst>
                                          </p:cBhvr>
                                          <p:to>
                                            <p:strVal val="visible"/>
                                          </p:to>
                                        </p:set>
                                        <p:animEffect transition="in" filter="fade">
                                          <p:cBhvr>
                                            <p:cTn id="36" dur="500"/>
                                            <p:tgtEl>
                                              <p:spTgt spid="118"/>
                                            </p:tgtEl>
                                          </p:cBhvr>
                                        </p:animEffect>
                                      </p:childTnLst>
                                    </p:cTn>
                                  </p:par>
                                  <p:par>
                                    <p:cTn id="37" presetID="2" presetClass="entr" presetSubtype="2" fill="hold" grpId="0" nodeType="withEffect" p14:presetBounceEnd="60000">
                                      <p:stCondLst>
                                        <p:cond delay="0"/>
                                      </p:stCondLst>
                                      <p:childTnLst>
                                        <p:set>
                                          <p:cBhvr>
                                            <p:cTn id="38" dur="1" fill="hold">
                                              <p:stCondLst>
                                                <p:cond delay="0"/>
                                              </p:stCondLst>
                                            </p:cTn>
                                            <p:tgtEl>
                                              <p:spTgt spid="107"/>
                                            </p:tgtEl>
                                            <p:attrNameLst>
                                              <p:attrName>style.visibility</p:attrName>
                                            </p:attrNameLst>
                                          </p:cBhvr>
                                          <p:to>
                                            <p:strVal val="visible"/>
                                          </p:to>
                                        </p:set>
                                        <p:anim calcmode="lin" valueType="num" p14:bounceEnd="60000">
                                          <p:cBhvr additive="base">
                                            <p:cTn id="39" dur="500" fill="hold"/>
                                            <p:tgtEl>
                                              <p:spTgt spid="107"/>
                                            </p:tgtEl>
                                            <p:attrNameLst>
                                              <p:attrName>ppt_x</p:attrName>
                                            </p:attrNameLst>
                                          </p:cBhvr>
                                          <p:tavLst>
                                            <p:tav tm="0">
                                              <p:val>
                                                <p:strVal val="1+#ppt_w/2"/>
                                              </p:val>
                                            </p:tav>
                                            <p:tav tm="100000">
                                              <p:val>
                                                <p:strVal val="#ppt_x"/>
                                              </p:val>
                                            </p:tav>
                                          </p:tavLst>
                                        </p:anim>
                                        <p:anim calcmode="lin" valueType="num" p14:bounceEnd="60000">
                                          <p:cBhvr additive="base">
                                            <p:cTn id="40" dur="500" fill="hold"/>
                                            <p:tgtEl>
                                              <p:spTgt spid="107"/>
                                            </p:tgtEl>
                                            <p:attrNameLst>
                                              <p:attrName>ppt_y</p:attrName>
                                            </p:attrNameLst>
                                          </p:cBhvr>
                                          <p:tavLst>
                                            <p:tav tm="0">
                                              <p:val>
                                                <p:strVal val="#ppt_y"/>
                                              </p:val>
                                            </p:tav>
                                            <p:tav tm="100000">
                                              <p:val>
                                                <p:strVal val="#ppt_y"/>
                                              </p:val>
                                            </p:tav>
                                          </p:tavLst>
                                        </p:anim>
                                      </p:childTnLst>
                                    </p:cTn>
                                  </p:par>
                                </p:childTnLst>
                              </p:cTn>
                            </p:par>
                            <p:par>
                              <p:cTn id="41" fill="hold">
                                <p:stCondLst>
                                  <p:cond delay="1500"/>
                                </p:stCondLst>
                                <p:childTnLst>
                                  <p:par>
                                    <p:cTn id="42" presetID="10" presetClass="entr" presetSubtype="0" fill="hold" nodeType="after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10" presetClass="entr" presetSubtype="0" fill="hold" nodeType="withEffect">
                                      <p:stCondLst>
                                        <p:cond delay="0"/>
                                      </p:stCondLst>
                                      <p:childTnLst>
                                        <p:set>
                                          <p:cBhvr>
                                            <p:cTn id="46" dur="1" fill="hold">
                                              <p:stCondLst>
                                                <p:cond delay="0"/>
                                              </p:stCondLst>
                                            </p:cTn>
                                            <p:tgtEl>
                                              <p:spTgt spid="119"/>
                                            </p:tgtEl>
                                            <p:attrNameLst>
                                              <p:attrName>style.visibility</p:attrName>
                                            </p:attrNameLst>
                                          </p:cBhvr>
                                          <p:to>
                                            <p:strVal val="visible"/>
                                          </p:to>
                                        </p:set>
                                        <p:animEffect transition="in" filter="fade">
                                          <p:cBhvr>
                                            <p:cTn id="47" dur="500"/>
                                            <p:tgtEl>
                                              <p:spTgt spid="119"/>
                                            </p:tgtEl>
                                          </p:cBhvr>
                                        </p:animEffect>
                                      </p:childTnLst>
                                    </p:cTn>
                                  </p:par>
                                  <p:par>
                                    <p:cTn id="48" presetID="42" presetClass="path" presetSubtype="0" fill="hold" nodeType="withEffect">
                                      <p:stCondLst>
                                        <p:cond delay="0"/>
                                      </p:stCondLst>
                                      <p:childTnLst>
                                        <p:animMotion origin="layout" path="M -0.00013 -0.15625 L 1.66667E-6 1.48148E-6 " pathEditMode="relative" rAng="0" ptsTypes="AA">
                                          <p:cBhvr>
                                            <p:cTn id="49" dur="2000" fill="hold"/>
                                            <p:tgtEl>
                                              <p:spTgt spid="119"/>
                                            </p:tgtEl>
                                            <p:attrNameLst>
                                              <p:attrName>ppt_x</p:attrName>
                                              <p:attrName>ppt_y</p:attrName>
                                            </p:attrNameLst>
                                          </p:cBhvr>
                                          <p:rCtr x="-13" y="7801"/>
                                        </p:animMotion>
                                      </p:childTnLst>
                                    </p:cTn>
                                  </p:par>
                                  <p:par>
                                    <p:cTn id="50" presetID="17" presetClass="entr" presetSubtype="1" fill="hold" grpId="0" nodeType="withEffect">
                                      <p:stCondLst>
                                        <p:cond delay="0"/>
                                      </p:stCondLst>
                                      <p:childTnLst>
                                        <p:set>
                                          <p:cBhvr>
                                            <p:cTn id="51" dur="1" fill="hold">
                                              <p:stCondLst>
                                                <p:cond delay="0"/>
                                              </p:stCondLst>
                                            </p:cTn>
                                            <p:tgtEl>
                                              <p:spTgt spid="16"/>
                                            </p:tgtEl>
                                            <p:attrNameLst>
                                              <p:attrName>style.visibility</p:attrName>
                                            </p:attrNameLst>
                                          </p:cBhvr>
                                          <p:to>
                                            <p:strVal val="visible"/>
                                          </p:to>
                                        </p:set>
                                        <p:anim calcmode="lin" valueType="num">
                                          <p:cBhvr>
                                            <p:cTn id="52" dur="2000" fill="hold"/>
                                            <p:tgtEl>
                                              <p:spTgt spid="16"/>
                                            </p:tgtEl>
                                            <p:attrNameLst>
                                              <p:attrName>ppt_x</p:attrName>
                                            </p:attrNameLst>
                                          </p:cBhvr>
                                          <p:tavLst>
                                            <p:tav tm="0">
                                              <p:val>
                                                <p:strVal val="#ppt_x"/>
                                              </p:val>
                                            </p:tav>
                                            <p:tav tm="100000">
                                              <p:val>
                                                <p:strVal val="#ppt_x"/>
                                              </p:val>
                                            </p:tav>
                                          </p:tavLst>
                                        </p:anim>
                                        <p:anim calcmode="lin" valueType="num">
                                          <p:cBhvr>
                                            <p:cTn id="53" dur="2000" fill="hold"/>
                                            <p:tgtEl>
                                              <p:spTgt spid="16"/>
                                            </p:tgtEl>
                                            <p:attrNameLst>
                                              <p:attrName>ppt_y</p:attrName>
                                            </p:attrNameLst>
                                          </p:cBhvr>
                                          <p:tavLst>
                                            <p:tav tm="0">
                                              <p:val>
                                                <p:strVal val="#ppt_y-#ppt_h/2"/>
                                              </p:val>
                                            </p:tav>
                                            <p:tav tm="100000">
                                              <p:val>
                                                <p:strVal val="#ppt_y"/>
                                              </p:val>
                                            </p:tav>
                                          </p:tavLst>
                                        </p:anim>
                                        <p:anim calcmode="lin" valueType="num">
                                          <p:cBhvr>
                                            <p:cTn id="54" dur="2000" fill="hold"/>
                                            <p:tgtEl>
                                              <p:spTgt spid="16"/>
                                            </p:tgtEl>
                                            <p:attrNameLst>
                                              <p:attrName>ppt_w</p:attrName>
                                            </p:attrNameLst>
                                          </p:cBhvr>
                                          <p:tavLst>
                                            <p:tav tm="0">
                                              <p:val>
                                                <p:strVal val="#ppt_w"/>
                                              </p:val>
                                            </p:tav>
                                            <p:tav tm="100000">
                                              <p:val>
                                                <p:strVal val="#ppt_w"/>
                                              </p:val>
                                            </p:tav>
                                          </p:tavLst>
                                        </p:anim>
                                        <p:anim calcmode="lin" valueType="num">
                                          <p:cBhvr>
                                            <p:cTn id="55" dur="2000" fill="hold"/>
                                            <p:tgtEl>
                                              <p:spTgt spid="16"/>
                                            </p:tgtEl>
                                            <p:attrNameLst>
                                              <p:attrName>ppt_h</p:attrName>
                                            </p:attrNameLst>
                                          </p:cBhvr>
                                          <p:tavLst>
                                            <p:tav tm="0">
                                              <p:val>
                                                <p:fltVal val="0"/>
                                              </p:val>
                                            </p:tav>
                                            <p:tav tm="100000">
                                              <p:val>
                                                <p:strVal val="#ppt_h"/>
                                              </p:val>
                                            </p:tav>
                                          </p:tavLst>
                                        </p:anim>
                                      </p:childTnLst>
                                    </p:cTn>
                                  </p:par>
                                </p:childTnLst>
                              </p:cTn>
                            </p:par>
                            <p:par>
                              <p:cTn id="56" fill="hold">
                                <p:stCondLst>
                                  <p:cond delay="3500"/>
                                </p:stCondLst>
                                <p:childTnLst>
                                  <p:par>
                                    <p:cTn id="57" presetID="10" presetClass="entr" presetSubtype="0" fill="hold" nodeType="afterEffect">
                                      <p:stCondLst>
                                        <p:cond delay="0"/>
                                      </p:stCondLst>
                                      <p:childTnLst>
                                        <p:set>
                                          <p:cBhvr>
                                            <p:cTn id="58" dur="1" fill="hold">
                                              <p:stCondLst>
                                                <p:cond delay="0"/>
                                              </p:stCondLst>
                                            </p:cTn>
                                            <p:tgtEl>
                                              <p:spTgt spid="88">
                                                <p:txEl>
                                                  <p:pRg st="0" end="0"/>
                                                </p:txEl>
                                              </p:spTgt>
                                            </p:tgtEl>
                                            <p:attrNameLst>
                                              <p:attrName>style.visibility</p:attrName>
                                            </p:attrNameLst>
                                          </p:cBhvr>
                                          <p:to>
                                            <p:strVal val="visible"/>
                                          </p:to>
                                        </p:set>
                                        <p:animEffect transition="in" filter="fade">
                                          <p:cBhvr>
                                            <p:cTn id="59" dur="500"/>
                                            <p:tgtEl>
                                              <p:spTgt spid="88">
                                                <p:txEl>
                                                  <p:pRg st="0" end="0"/>
                                                </p:txEl>
                                              </p:spTgt>
                                            </p:tgtEl>
                                          </p:cBhvr>
                                        </p:animEffect>
                                      </p:childTnLst>
                                    </p:cTn>
                                  </p:par>
                                  <p:par>
                                    <p:cTn id="60" presetID="47"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anim calcmode="lin" valueType="num">
                                          <p:cBhvr>
                                            <p:cTn id="63" dur="500" fill="hold"/>
                                            <p:tgtEl>
                                              <p:spTgt spid="28"/>
                                            </p:tgtEl>
                                            <p:attrNameLst>
                                              <p:attrName>ppt_x</p:attrName>
                                            </p:attrNameLst>
                                          </p:cBhvr>
                                          <p:tavLst>
                                            <p:tav tm="0">
                                              <p:val>
                                                <p:strVal val="#ppt_x"/>
                                              </p:val>
                                            </p:tav>
                                            <p:tav tm="100000">
                                              <p:val>
                                                <p:strVal val="#ppt_x"/>
                                              </p:val>
                                            </p:tav>
                                          </p:tavLst>
                                        </p:anim>
                                        <p:anim calcmode="lin" valueType="num">
                                          <p:cBhvr>
                                            <p:cTn id="64" dur="500" fill="hold"/>
                                            <p:tgtEl>
                                              <p:spTgt spid="28"/>
                                            </p:tgtEl>
                                            <p:attrNameLst>
                                              <p:attrName>ppt_y</p:attrName>
                                            </p:attrNameLst>
                                          </p:cBhvr>
                                          <p:tavLst>
                                            <p:tav tm="0">
                                              <p:val>
                                                <p:strVal val="#ppt_y-.1"/>
                                              </p:val>
                                            </p:tav>
                                            <p:tav tm="100000">
                                              <p:val>
                                                <p:strVal val="#ppt_y"/>
                                              </p:val>
                                            </p:tav>
                                          </p:tavLst>
                                        </p:anim>
                                      </p:childTnLst>
                                    </p:cTn>
                                  </p:par>
                                  <p:par>
                                    <p:cTn id="65" presetID="35" presetClass="emph" presetSubtype="0" repeatCount="indefinite" fill="hold" grpId="1" nodeType="withEffect">
                                      <p:stCondLst>
                                        <p:cond delay="0"/>
                                      </p:stCondLst>
                                      <p:childTnLst>
                                        <p:anim calcmode="discrete" valueType="str">
                                          <p:cBhvr>
                                            <p:cTn id="66" dur="1500" fill="hold"/>
                                            <p:tgtEl>
                                              <p:spTgt spid="28"/>
                                            </p:tgtEl>
                                            <p:attrNameLst>
                                              <p:attrName>style.visibility</p:attrName>
                                            </p:attrNameLst>
                                          </p:cBhvr>
                                          <p:tavLst>
                                            <p:tav tm="0">
                                              <p:val>
                                                <p:strVal val="hidden"/>
                                              </p:val>
                                            </p:tav>
                                            <p:tav tm="50000">
                                              <p:val>
                                                <p:strVal val="visible"/>
                                              </p:val>
                                            </p:tav>
                                          </p:tavLst>
                                        </p:anim>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fade">
                                          <p:cBhvr>
                                            <p:cTn id="71" dur="500"/>
                                            <p:tgtEl>
                                              <p:spTgt spid="86"/>
                                            </p:tgtEl>
                                          </p:cBhvr>
                                        </p:animEffect>
                                      </p:childTnLst>
                                    </p:cTn>
                                  </p:par>
                                </p:childTnLst>
                              </p:cTn>
                            </p:par>
                            <p:par>
                              <p:cTn id="72" fill="hold">
                                <p:stCondLst>
                                  <p:cond delay="500"/>
                                </p:stCondLst>
                                <p:childTnLst>
                                  <p:par>
                                    <p:cTn id="73" presetID="10" presetClass="entr" presetSubtype="0" fill="hold" nodeType="afterEffect">
                                      <p:stCondLst>
                                        <p:cond delay="0"/>
                                      </p:stCondLst>
                                      <p:childTnLst>
                                        <p:set>
                                          <p:cBhvr>
                                            <p:cTn id="74" dur="1" fill="hold">
                                              <p:stCondLst>
                                                <p:cond delay="0"/>
                                              </p:stCondLst>
                                            </p:cTn>
                                            <p:tgtEl>
                                              <p:spTgt spid="65"/>
                                            </p:tgtEl>
                                            <p:attrNameLst>
                                              <p:attrName>style.visibility</p:attrName>
                                            </p:attrNameLst>
                                          </p:cBhvr>
                                          <p:to>
                                            <p:strVal val="visible"/>
                                          </p:to>
                                        </p:set>
                                        <p:animEffect transition="in" filter="fade">
                                          <p:cBhvr>
                                            <p:cTn id="75" dur="500"/>
                                            <p:tgtEl>
                                              <p:spTgt spid="65"/>
                                            </p:tgtEl>
                                          </p:cBhvr>
                                        </p:animEffect>
                                      </p:childTnLst>
                                    </p:cTn>
                                  </p:par>
                                  <p:par>
                                    <p:cTn id="76" presetID="10" presetClass="entr" presetSubtype="0" fill="hold" nodeType="withEffect">
                                      <p:stCondLst>
                                        <p:cond delay="0"/>
                                      </p:stCondLst>
                                      <p:childTnLst>
                                        <p:set>
                                          <p:cBhvr>
                                            <p:cTn id="77" dur="1" fill="hold">
                                              <p:stCondLst>
                                                <p:cond delay="0"/>
                                              </p:stCondLst>
                                            </p:cTn>
                                            <p:tgtEl>
                                              <p:spTgt spid="136"/>
                                            </p:tgtEl>
                                            <p:attrNameLst>
                                              <p:attrName>style.visibility</p:attrName>
                                            </p:attrNameLst>
                                          </p:cBhvr>
                                          <p:to>
                                            <p:strVal val="visible"/>
                                          </p:to>
                                        </p:set>
                                        <p:animEffect transition="in" filter="fade">
                                          <p:cBhvr>
                                            <p:cTn id="78" dur="500"/>
                                            <p:tgtEl>
                                              <p:spTgt spid="136"/>
                                            </p:tgtEl>
                                          </p:cBhvr>
                                        </p:animEffect>
                                      </p:childTnLst>
                                    </p:cTn>
                                  </p:par>
                                  <p:par>
                                    <p:cTn id="79" presetID="8" presetClass="emph" presetSubtype="0" repeatCount="indefinite" fill="hold" nodeType="withEffect">
                                      <p:stCondLst>
                                        <p:cond delay="0"/>
                                      </p:stCondLst>
                                      <p:childTnLst>
                                        <p:animRot by="21600000">
                                          <p:cBhvr>
                                            <p:cTn id="80" dur="20000" fill="hold"/>
                                            <p:tgtEl>
                                              <p:spTgt spid="136"/>
                                            </p:tgtEl>
                                            <p:attrNameLst>
                                              <p:attrName>r</p:attrName>
                                            </p:attrNameLst>
                                          </p:cBhvr>
                                        </p:animRot>
                                      </p:childTnLst>
                                    </p:cTn>
                                  </p:par>
                                  <p:par>
                                    <p:cTn id="81" presetID="10" presetClass="entr" presetSubtype="0" fill="hold" grpId="0" nodeType="withEffect">
                                      <p:stCondLst>
                                        <p:cond delay="1000"/>
                                      </p:stCondLst>
                                      <p:childTnLst>
                                        <p:set>
                                          <p:cBhvr>
                                            <p:cTn id="82" dur="1" fill="hold">
                                              <p:stCondLst>
                                                <p:cond delay="0"/>
                                              </p:stCondLst>
                                            </p:cTn>
                                            <p:tgtEl>
                                              <p:spTgt spid="41"/>
                                            </p:tgtEl>
                                            <p:attrNameLst>
                                              <p:attrName>style.visibility</p:attrName>
                                            </p:attrNameLst>
                                          </p:cBhvr>
                                          <p:to>
                                            <p:strVal val="visible"/>
                                          </p:to>
                                        </p:set>
                                        <p:animEffect transition="in" filter="fade">
                                          <p:cBhvr>
                                            <p:cTn id="83" dur="750"/>
                                            <p:tgtEl>
                                              <p:spTgt spid="41"/>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124"/>
                                            </p:tgtEl>
                                            <p:attrNameLst>
                                              <p:attrName>style.visibility</p:attrName>
                                            </p:attrNameLst>
                                          </p:cBhvr>
                                          <p:to>
                                            <p:strVal val="visible"/>
                                          </p:to>
                                        </p:set>
                                        <p:animEffect transition="in" filter="fade">
                                          <p:cBhvr>
                                            <p:cTn id="86" dur="750"/>
                                            <p:tgtEl>
                                              <p:spTgt spid="124"/>
                                            </p:tgtEl>
                                          </p:cBhvr>
                                        </p:animEffect>
                                      </p:childTnLst>
                                    </p:cTn>
                                  </p:par>
                                  <p:par>
                                    <p:cTn id="87" presetID="53" presetClass="entr" presetSubtype="16" fill="hold" grpId="0" nodeType="withEffect">
                                      <p:stCondLst>
                                        <p:cond delay="1250"/>
                                      </p:stCondLst>
                                      <p:childTnLst>
                                        <p:set>
                                          <p:cBhvr>
                                            <p:cTn id="88" dur="1" fill="hold">
                                              <p:stCondLst>
                                                <p:cond delay="0"/>
                                              </p:stCondLst>
                                            </p:cTn>
                                            <p:tgtEl>
                                              <p:spTgt spid="89"/>
                                            </p:tgtEl>
                                            <p:attrNameLst>
                                              <p:attrName>style.visibility</p:attrName>
                                            </p:attrNameLst>
                                          </p:cBhvr>
                                          <p:to>
                                            <p:strVal val="visible"/>
                                          </p:to>
                                        </p:set>
                                        <p:anim calcmode="lin" valueType="num">
                                          <p:cBhvr>
                                            <p:cTn id="89" dur="750" fill="hold"/>
                                            <p:tgtEl>
                                              <p:spTgt spid="89"/>
                                            </p:tgtEl>
                                            <p:attrNameLst>
                                              <p:attrName>ppt_w</p:attrName>
                                            </p:attrNameLst>
                                          </p:cBhvr>
                                          <p:tavLst>
                                            <p:tav tm="0">
                                              <p:val>
                                                <p:fltVal val="0"/>
                                              </p:val>
                                            </p:tav>
                                            <p:tav tm="100000">
                                              <p:val>
                                                <p:strVal val="#ppt_w"/>
                                              </p:val>
                                            </p:tav>
                                          </p:tavLst>
                                        </p:anim>
                                        <p:anim calcmode="lin" valueType="num">
                                          <p:cBhvr>
                                            <p:cTn id="90" dur="750" fill="hold"/>
                                            <p:tgtEl>
                                              <p:spTgt spid="89"/>
                                            </p:tgtEl>
                                            <p:attrNameLst>
                                              <p:attrName>ppt_h</p:attrName>
                                            </p:attrNameLst>
                                          </p:cBhvr>
                                          <p:tavLst>
                                            <p:tav tm="0">
                                              <p:val>
                                                <p:fltVal val="0"/>
                                              </p:val>
                                            </p:tav>
                                            <p:tav tm="100000">
                                              <p:val>
                                                <p:strVal val="#ppt_h"/>
                                              </p:val>
                                            </p:tav>
                                          </p:tavLst>
                                        </p:anim>
                                        <p:animEffect transition="in" filter="fade">
                                          <p:cBhvr>
                                            <p:cTn id="91" dur="750"/>
                                            <p:tgtEl>
                                              <p:spTgt spid="89"/>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49"/>
                                            </p:tgtEl>
                                            <p:attrNameLst>
                                              <p:attrName>style.visibility</p:attrName>
                                            </p:attrNameLst>
                                          </p:cBhvr>
                                          <p:to>
                                            <p:strVal val="visible"/>
                                          </p:to>
                                        </p:set>
                                        <p:animEffect transition="in" filter="fade">
                                          <p:cBhvr>
                                            <p:cTn id="96" dur="500"/>
                                            <p:tgtEl>
                                              <p:spTgt spid="149"/>
                                            </p:tgtEl>
                                          </p:cBhvr>
                                        </p:animEffect>
                                      </p:childTnLst>
                                    </p:cTn>
                                  </p:par>
                                </p:childTnLst>
                              </p:cTn>
                            </p:par>
                            <p:par>
                              <p:cTn id="97" fill="hold">
                                <p:stCondLst>
                                  <p:cond delay="500"/>
                                </p:stCondLst>
                                <p:childTnLst>
                                  <p:par>
                                    <p:cTn id="98" presetID="47" presetClass="entr" presetSubtype="0" fill="hold" nodeType="afterEffect">
                                      <p:stCondLst>
                                        <p:cond delay="0"/>
                                      </p:stCondLst>
                                      <p:childTnLst>
                                        <p:set>
                                          <p:cBhvr>
                                            <p:cTn id="99" dur="1" fill="hold">
                                              <p:stCondLst>
                                                <p:cond delay="0"/>
                                              </p:stCondLst>
                                            </p:cTn>
                                            <p:tgtEl>
                                              <p:spTgt spid="156"/>
                                            </p:tgtEl>
                                            <p:attrNameLst>
                                              <p:attrName>style.visibility</p:attrName>
                                            </p:attrNameLst>
                                          </p:cBhvr>
                                          <p:to>
                                            <p:strVal val="visible"/>
                                          </p:to>
                                        </p:set>
                                        <p:animEffect transition="in" filter="fade">
                                          <p:cBhvr>
                                            <p:cTn id="100" dur="1000"/>
                                            <p:tgtEl>
                                              <p:spTgt spid="156"/>
                                            </p:tgtEl>
                                          </p:cBhvr>
                                        </p:animEffect>
                                        <p:anim calcmode="lin" valueType="num">
                                          <p:cBhvr>
                                            <p:cTn id="101" dur="1000" fill="hold"/>
                                            <p:tgtEl>
                                              <p:spTgt spid="156"/>
                                            </p:tgtEl>
                                            <p:attrNameLst>
                                              <p:attrName>ppt_x</p:attrName>
                                            </p:attrNameLst>
                                          </p:cBhvr>
                                          <p:tavLst>
                                            <p:tav tm="0">
                                              <p:val>
                                                <p:strVal val="#ppt_x"/>
                                              </p:val>
                                            </p:tav>
                                            <p:tav tm="100000">
                                              <p:val>
                                                <p:strVal val="#ppt_x"/>
                                              </p:val>
                                            </p:tav>
                                          </p:tavLst>
                                        </p:anim>
                                        <p:anim calcmode="lin" valueType="num">
                                          <p:cBhvr>
                                            <p:cTn id="102" dur="1000" fill="hold"/>
                                            <p:tgtEl>
                                              <p:spTgt spid="156"/>
                                            </p:tgtEl>
                                            <p:attrNameLst>
                                              <p:attrName>ppt_y</p:attrName>
                                            </p:attrNameLst>
                                          </p:cBhvr>
                                          <p:tavLst>
                                            <p:tav tm="0">
                                              <p:val>
                                                <p:strVal val="#ppt_y-.1"/>
                                              </p:val>
                                            </p:tav>
                                            <p:tav tm="100000">
                                              <p:val>
                                                <p:strVal val="#ppt_y"/>
                                              </p:val>
                                            </p:tav>
                                          </p:tavLst>
                                        </p:anim>
                                      </p:childTnLst>
                                    </p:cTn>
                                  </p:par>
                                </p:childTnLst>
                              </p:cTn>
                            </p:par>
                            <p:par>
                              <p:cTn id="103" fill="hold">
                                <p:stCondLst>
                                  <p:cond delay="1500"/>
                                </p:stCondLst>
                                <p:childTnLst>
                                  <p:par>
                                    <p:cTn id="104" presetID="22" presetClass="entr" presetSubtype="8" fill="hold" grpId="0" nodeType="afterEffect">
                                      <p:stCondLst>
                                        <p:cond delay="0"/>
                                      </p:stCondLst>
                                      <p:childTnLst>
                                        <p:set>
                                          <p:cBhvr>
                                            <p:cTn id="105" dur="1" fill="hold">
                                              <p:stCondLst>
                                                <p:cond delay="0"/>
                                              </p:stCondLst>
                                            </p:cTn>
                                            <p:tgtEl>
                                              <p:spTgt spid="4"/>
                                            </p:tgtEl>
                                            <p:attrNameLst>
                                              <p:attrName>style.visibility</p:attrName>
                                            </p:attrNameLst>
                                          </p:cBhvr>
                                          <p:to>
                                            <p:strVal val="visible"/>
                                          </p:to>
                                        </p:set>
                                        <p:animEffect transition="in" filter="wipe(left)">
                                          <p:cBhvr>
                                            <p:cTn id="106" dur="500"/>
                                            <p:tgtEl>
                                              <p:spTgt spid="4"/>
                                            </p:tgtEl>
                                          </p:cBhvr>
                                        </p:animEffect>
                                      </p:childTnLst>
                                    </p:cTn>
                                  </p:par>
                                </p:childTnLst>
                              </p:cTn>
                            </p:par>
                            <p:par>
                              <p:cTn id="107" fill="hold">
                                <p:stCondLst>
                                  <p:cond delay="2000"/>
                                </p:stCondLst>
                                <p:childTnLst>
                                  <p:par>
                                    <p:cTn id="108" presetID="22" presetClass="entr" presetSubtype="8" fill="hold" nodeType="afterEffect">
                                      <p:stCondLst>
                                        <p:cond delay="0"/>
                                      </p:stCondLst>
                                      <p:childTnLst>
                                        <p:set>
                                          <p:cBhvr>
                                            <p:cTn id="109" dur="1" fill="hold">
                                              <p:stCondLst>
                                                <p:cond delay="0"/>
                                              </p:stCondLst>
                                            </p:cTn>
                                            <p:tgtEl>
                                              <p:spTgt spid="9"/>
                                            </p:tgtEl>
                                            <p:attrNameLst>
                                              <p:attrName>style.visibility</p:attrName>
                                            </p:attrNameLst>
                                          </p:cBhvr>
                                          <p:to>
                                            <p:strVal val="visible"/>
                                          </p:to>
                                        </p:set>
                                        <p:animEffect transition="in" filter="wipe(left)">
                                          <p:cBhvr>
                                            <p:cTn id="110" dur="500"/>
                                            <p:tgtEl>
                                              <p:spTgt spid="9"/>
                                            </p:tgtEl>
                                          </p:cBhvr>
                                        </p:animEffect>
                                      </p:childTnLst>
                                    </p:cTn>
                                  </p:par>
                                  <p:par>
                                    <p:cTn id="111" presetID="26" presetClass="emph" presetSubtype="0" repeatCount="indefinite" fill="hold" nodeType="withEffect">
                                      <p:stCondLst>
                                        <p:cond delay="0"/>
                                      </p:stCondLst>
                                      <p:childTnLst>
                                        <p:animEffect transition="out" filter="fade">
                                          <p:cBhvr>
                                            <p:cTn id="112" dur="1000" tmFilter="0, 0; .2, .5; .8, .5; 1, 0"/>
                                            <p:tgtEl>
                                              <p:spTgt spid="9"/>
                                            </p:tgtEl>
                                          </p:cBhvr>
                                        </p:animEffect>
                                        <p:animScale>
                                          <p:cBhvr>
                                            <p:cTn id="113" dur="500" autoRev="1" fill="hold"/>
                                            <p:tgtEl>
                                              <p:spTgt spid="9"/>
                                            </p:tgtEl>
                                          </p:cBhvr>
                                          <p:by x="105000" y="105000"/>
                                        </p:animScale>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50"/>
                                            </p:tgtEl>
                                            <p:attrNameLst>
                                              <p:attrName>style.visibility</p:attrName>
                                            </p:attrNameLst>
                                          </p:cBhvr>
                                          <p:to>
                                            <p:strVal val="visible"/>
                                          </p:to>
                                        </p:set>
                                        <p:animEffect transition="in" filter="fade">
                                          <p:cBhvr>
                                            <p:cTn id="118" dur="500"/>
                                            <p:tgtEl>
                                              <p:spTgt spid="150"/>
                                            </p:tgtEl>
                                          </p:cBhvr>
                                        </p:animEffect>
                                      </p:childTnLst>
                                    </p:cTn>
                                  </p:par>
                                </p:childTnLst>
                              </p:cTn>
                            </p:par>
                            <p:par>
                              <p:cTn id="119" fill="hold">
                                <p:stCondLst>
                                  <p:cond delay="500"/>
                                </p:stCondLst>
                                <p:childTnLst>
                                  <p:par>
                                    <p:cTn id="120" presetID="10" presetClass="entr" presetSubtype="0" fill="hold" grpId="0" nodeType="afterEffect">
                                      <p:stCondLst>
                                        <p:cond delay="0"/>
                                      </p:stCondLst>
                                      <p:childTnLst>
                                        <p:set>
                                          <p:cBhvr>
                                            <p:cTn id="121" dur="1" fill="hold">
                                              <p:stCondLst>
                                                <p:cond delay="0"/>
                                              </p:stCondLst>
                                            </p:cTn>
                                            <p:tgtEl>
                                              <p:spTgt spid="152"/>
                                            </p:tgtEl>
                                            <p:attrNameLst>
                                              <p:attrName>style.visibility</p:attrName>
                                            </p:attrNameLst>
                                          </p:cBhvr>
                                          <p:to>
                                            <p:strVal val="visible"/>
                                          </p:to>
                                        </p:set>
                                        <p:animEffect transition="in" filter="fade">
                                          <p:cBhvr>
                                            <p:cTn id="122" dur="500"/>
                                            <p:tgtEl>
                                              <p:spTgt spid="152"/>
                                            </p:tgtEl>
                                          </p:cBhvr>
                                        </p:animEffect>
                                      </p:childTnLst>
                                    </p:cTn>
                                  </p:par>
                                </p:childTnLst>
                              </p:cTn>
                            </p:par>
                            <p:par>
                              <p:cTn id="123" fill="hold">
                                <p:stCondLst>
                                  <p:cond delay="1000"/>
                                </p:stCondLst>
                                <p:childTnLst>
                                  <p:par>
                                    <p:cTn id="124" presetID="10" presetClass="entr" presetSubtype="0" fill="hold" grpId="1" nodeType="afterEffect">
                                      <p:stCondLst>
                                        <p:cond delay="0"/>
                                      </p:stCondLst>
                                      <p:childTnLst>
                                        <p:set>
                                          <p:cBhvr>
                                            <p:cTn id="125" dur="1" fill="hold">
                                              <p:stCondLst>
                                                <p:cond delay="0"/>
                                              </p:stCondLst>
                                            </p:cTn>
                                            <p:tgtEl>
                                              <p:spTgt spid="283"/>
                                            </p:tgtEl>
                                            <p:attrNameLst>
                                              <p:attrName>style.visibility</p:attrName>
                                            </p:attrNameLst>
                                          </p:cBhvr>
                                          <p:to>
                                            <p:strVal val="visible"/>
                                          </p:to>
                                        </p:set>
                                        <p:animEffect transition="in" filter="fade">
                                          <p:cBhvr>
                                            <p:cTn id="126" dur="500"/>
                                            <p:tgtEl>
                                              <p:spTgt spid="283"/>
                                            </p:tgtEl>
                                          </p:cBhvr>
                                        </p:animEffect>
                                      </p:childTnLst>
                                    </p:cTn>
                                  </p:par>
                                </p:childTnLst>
                              </p:cTn>
                            </p:par>
                            <p:par>
                              <p:cTn id="127" fill="hold">
                                <p:stCondLst>
                                  <p:cond delay="1500"/>
                                </p:stCondLst>
                                <p:childTnLst>
                                  <p:par>
                                    <p:cTn id="128" presetID="35" presetClass="emph" presetSubtype="0" repeatCount="indefinite" fill="hold" grpId="0" nodeType="afterEffect">
                                      <p:stCondLst>
                                        <p:cond delay="0"/>
                                      </p:stCondLst>
                                      <p:childTnLst>
                                        <p:anim calcmode="discrete" valueType="str">
                                          <p:cBhvr>
                                            <p:cTn id="129" dur="1000" fill="hold"/>
                                            <p:tgtEl>
                                              <p:spTgt spid="283"/>
                                            </p:tgtEl>
                                            <p:attrNameLst>
                                              <p:attrName>style.visibility</p:attrName>
                                            </p:attrNameLst>
                                          </p:cBhvr>
                                          <p:tavLst>
                                            <p:tav tm="0">
                                              <p:val>
                                                <p:strVal val="hidden"/>
                                              </p:val>
                                            </p:tav>
                                            <p:tav tm="50000">
                                              <p:val>
                                                <p:strVal val="visible"/>
                                              </p:val>
                                            </p:tav>
                                          </p:tavLst>
                                        </p:anim>
                                      </p:childTnLst>
                                    </p:cTn>
                                  </p:par>
                                  <p:par>
                                    <p:cTn id="130" presetID="10" presetClass="entr" presetSubtype="0" fill="hold" grpId="0" nodeType="withEffect">
                                      <p:stCondLst>
                                        <p:cond delay="500"/>
                                      </p:stCondLst>
                                      <p:childTnLst>
                                        <p:set>
                                          <p:cBhvr>
                                            <p:cTn id="131" dur="1" fill="hold">
                                              <p:stCondLst>
                                                <p:cond delay="0"/>
                                              </p:stCondLst>
                                            </p:cTn>
                                            <p:tgtEl>
                                              <p:spTgt spid="153"/>
                                            </p:tgtEl>
                                            <p:attrNameLst>
                                              <p:attrName>style.visibility</p:attrName>
                                            </p:attrNameLst>
                                          </p:cBhvr>
                                          <p:to>
                                            <p:strVal val="visible"/>
                                          </p:to>
                                        </p:set>
                                        <p:animEffect transition="in" filter="fade">
                                          <p:cBhvr>
                                            <p:cTn id="132" dur="500"/>
                                            <p:tgtEl>
                                              <p:spTgt spid="153"/>
                                            </p:tgtEl>
                                          </p:cBhvr>
                                        </p:animEffect>
                                      </p:childTnLst>
                                    </p:cTn>
                                  </p:par>
                                </p:childTnLst>
                              </p:cTn>
                            </p:par>
                            <p:par>
                              <p:cTn id="133" fill="hold">
                                <p:stCondLst>
                                  <p:cond delay="2500"/>
                                </p:stCondLst>
                                <p:childTnLst>
                                  <p:par>
                                    <p:cTn id="134" presetID="53" presetClass="entr" presetSubtype="16" fill="hold" grpId="0" nodeType="afterEffect">
                                      <p:stCondLst>
                                        <p:cond delay="0"/>
                                      </p:stCondLst>
                                      <p:childTnLst>
                                        <p:set>
                                          <p:cBhvr>
                                            <p:cTn id="135" dur="1" fill="hold">
                                              <p:stCondLst>
                                                <p:cond delay="0"/>
                                              </p:stCondLst>
                                            </p:cTn>
                                            <p:tgtEl>
                                              <p:spTgt spid="90"/>
                                            </p:tgtEl>
                                            <p:attrNameLst>
                                              <p:attrName>style.visibility</p:attrName>
                                            </p:attrNameLst>
                                          </p:cBhvr>
                                          <p:to>
                                            <p:strVal val="visible"/>
                                          </p:to>
                                        </p:set>
                                        <p:anim calcmode="lin" valueType="num">
                                          <p:cBhvr>
                                            <p:cTn id="136" dur="500" fill="hold"/>
                                            <p:tgtEl>
                                              <p:spTgt spid="90"/>
                                            </p:tgtEl>
                                            <p:attrNameLst>
                                              <p:attrName>ppt_w</p:attrName>
                                            </p:attrNameLst>
                                          </p:cBhvr>
                                          <p:tavLst>
                                            <p:tav tm="0">
                                              <p:val>
                                                <p:fltVal val="0"/>
                                              </p:val>
                                            </p:tav>
                                            <p:tav tm="100000">
                                              <p:val>
                                                <p:strVal val="#ppt_w"/>
                                              </p:val>
                                            </p:tav>
                                          </p:tavLst>
                                        </p:anim>
                                        <p:anim calcmode="lin" valueType="num">
                                          <p:cBhvr>
                                            <p:cTn id="137" dur="500" fill="hold"/>
                                            <p:tgtEl>
                                              <p:spTgt spid="90"/>
                                            </p:tgtEl>
                                            <p:attrNameLst>
                                              <p:attrName>ppt_h</p:attrName>
                                            </p:attrNameLst>
                                          </p:cBhvr>
                                          <p:tavLst>
                                            <p:tav tm="0">
                                              <p:val>
                                                <p:fltVal val="0"/>
                                              </p:val>
                                            </p:tav>
                                            <p:tav tm="100000">
                                              <p:val>
                                                <p:strVal val="#ppt_h"/>
                                              </p:val>
                                            </p:tav>
                                          </p:tavLst>
                                        </p:anim>
                                        <p:animEffect transition="in" filter="fade">
                                          <p:cBhvr>
                                            <p:cTn id="138"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 grpId="0"/>
          <p:bldP spid="89" grpId="0"/>
          <p:bldP spid="90" grpId="0"/>
          <p:bldP spid="91" grpId="0" animBg="1"/>
          <p:bldP spid="86" grpId="0" animBg="1"/>
          <p:bldP spid="106" grpId="0"/>
          <p:bldP spid="107" grpId="0"/>
          <p:bldP spid="116" grpId="0" animBg="1"/>
          <p:bldP spid="19" grpId="0" animBg="1"/>
          <p:bldP spid="118" grpId="0" animBg="1"/>
          <p:bldP spid="41" grpId="0"/>
          <p:bldP spid="124" grpId="0"/>
          <p:bldP spid="149" grpId="0" animBg="1"/>
          <p:bldP spid="150" grpId="0" animBg="1"/>
          <p:bldP spid="152" grpId="0"/>
          <p:bldP spid="153" grpId="0"/>
          <p:bldP spid="28" grpId="0" animBg="1"/>
          <p:bldP spid="28" grpId="1" animBg="1"/>
          <p:bldP spid="283" grpId="0"/>
          <p:bldP spid="283" grpId="1"/>
          <p:bldP spid="4" grpId="0" animBg="1"/>
        </p:bldLst>
      </p:timing>
    </mc:Choice>
    <mc:Fallback xmlns:a14="http://schemas.microsoft.com/office/drawing/2010/main" xmlns:a16="http://schemas.microsoft.com/office/drawing/2014/main"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1"/>
                                            </p:tgtEl>
                                            <p:attrNameLst>
                                              <p:attrName>style.visibility</p:attrName>
                                            </p:attrNameLst>
                                          </p:cBhvr>
                                          <p:to>
                                            <p:strVal val="visible"/>
                                          </p:to>
                                        </p:set>
                                        <p:animEffect transition="in" filter="fade">
                                          <p:cBhvr>
                                            <p:cTn id="12" dur="500"/>
                                            <p:tgtEl>
                                              <p:spTgt spid="9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down)">
                                          <p:cBhvr>
                                            <p:cTn id="17" dur="500"/>
                                            <p:tgtEl>
                                              <p:spTgt spid="7"/>
                                            </p:tgtEl>
                                          </p:cBhvr>
                                        </p:animEffect>
                                      </p:childTnLst>
                                    </p:cTn>
                                  </p:par>
                                  <p:par>
                                    <p:cTn id="18" presetID="1" presetClass="entr" presetSubtype="0" fill="hold" grpId="0" nodeType="withEffect">
                                      <p:stCondLst>
                                        <p:cond delay="500"/>
                                      </p:stCondLst>
                                      <p:childTnLst>
                                        <p:set>
                                          <p:cBhvr>
                                            <p:cTn id="19" dur="1" fill="hold">
                                              <p:stCondLst>
                                                <p:cond delay="0"/>
                                              </p:stCondLst>
                                            </p:cTn>
                                            <p:tgtEl>
                                              <p:spTgt spid="116"/>
                                            </p:tgtEl>
                                            <p:attrNameLst>
                                              <p:attrName>style.visibility</p:attrName>
                                            </p:attrNameLst>
                                          </p:cBhvr>
                                          <p:to>
                                            <p:strVal val="visible"/>
                                          </p:to>
                                        </p:se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2" presetClass="entr" presetSubtype="8" fill="hold" grpId="0" nodeType="withEffect">
                                      <p:stCondLst>
                                        <p:cond delay="0"/>
                                      </p:stCondLst>
                                      <p:childTnLst>
                                        <p:set>
                                          <p:cBhvr>
                                            <p:cTn id="25" dur="1" fill="hold">
                                              <p:stCondLst>
                                                <p:cond delay="0"/>
                                              </p:stCondLst>
                                            </p:cTn>
                                            <p:tgtEl>
                                              <p:spTgt spid="106"/>
                                            </p:tgtEl>
                                            <p:attrNameLst>
                                              <p:attrName>style.visibility</p:attrName>
                                            </p:attrNameLst>
                                          </p:cBhvr>
                                          <p:to>
                                            <p:strVal val="visible"/>
                                          </p:to>
                                        </p:set>
                                        <p:anim calcmode="lin" valueType="num">
                                          <p:cBhvr additive="base">
                                            <p:cTn id="26" dur="500" fill="hold"/>
                                            <p:tgtEl>
                                              <p:spTgt spid="106"/>
                                            </p:tgtEl>
                                            <p:attrNameLst>
                                              <p:attrName>ppt_x</p:attrName>
                                            </p:attrNameLst>
                                          </p:cBhvr>
                                          <p:tavLst>
                                            <p:tav tm="0">
                                              <p:val>
                                                <p:strVal val="0-#ppt_w/2"/>
                                              </p:val>
                                            </p:tav>
                                            <p:tav tm="100000">
                                              <p:val>
                                                <p:strVal val="#ppt_x"/>
                                              </p:val>
                                            </p:tav>
                                          </p:tavLst>
                                        </p:anim>
                                        <p:anim calcmode="lin" valueType="num">
                                          <p:cBhvr additive="base">
                                            <p:cTn id="27" dur="500" fill="hold"/>
                                            <p:tgtEl>
                                              <p:spTgt spid="106"/>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wipe(down)">
                                          <p:cBhvr>
                                            <p:cTn id="32" dur="500"/>
                                            <p:tgtEl>
                                              <p:spTgt spid="26"/>
                                            </p:tgtEl>
                                          </p:cBhvr>
                                        </p:animEffect>
                                      </p:childTnLst>
                                    </p:cTn>
                                  </p:par>
                                </p:childTnLst>
                              </p:cTn>
                            </p:par>
                            <p:par>
                              <p:cTn id="33" fill="hold">
                                <p:stCondLst>
                                  <p:cond delay="1000"/>
                                </p:stCondLst>
                                <p:childTnLst>
                                  <p:par>
                                    <p:cTn id="34" presetID="10" presetClass="entr" presetSubtype="0" fill="hold" grpId="0" nodeType="afterEffect">
                                      <p:stCondLst>
                                        <p:cond delay="0"/>
                                      </p:stCondLst>
                                      <p:childTnLst>
                                        <p:set>
                                          <p:cBhvr>
                                            <p:cTn id="35" dur="1" fill="hold">
                                              <p:stCondLst>
                                                <p:cond delay="0"/>
                                              </p:stCondLst>
                                            </p:cTn>
                                            <p:tgtEl>
                                              <p:spTgt spid="118"/>
                                            </p:tgtEl>
                                            <p:attrNameLst>
                                              <p:attrName>style.visibility</p:attrName>
                                            </p:attrNameLst>
                                          </p:cBhvr>
                                          <p:to>
                                            <p:strVal val="visible"/>
                                          </p:to>
                                        </p:set>
                                        <p:animEffect transition="in" filter="fade">
                                          <p:cBhvr>
                                            <p:cTn id="36" dur="500"/>
                                            <p:tgtEl>
                                              <p:spTgt spid="118"/>
                                            </p:tgtEl>
                                          </p:cBhvr>
                                        </p:animEffect>
                                      </p:childTnLst>
                                    </p:cTn>
                                  </p:par>
                                  <p:par>
                                    <p:cTn id="37" presetID="2" presetClass="entr" presetSubtype="2" fill="hold" grpId="0" nodeType="withEffect">
                                      <p:stCondLst>
                                        <p:cond delay="0"/>
                                      </p:stCondLst>
                                      <p:childTnLst>
                                        <p:set>
                                          <p:cBhvr>
                                            <p:cTn id="38" dur="1" fill="hold">
                                              <p:stCondLst>
                                                <p:cond delay="0"/>
                                              </p:stCondLst>
                                            </p:cTn>
                                            <p:tgtEl>
                                              <p:spTgt spid="107"/>
                                            </p:tgtEl>
                                            <p:attrNameLst>
                                              <p:attrName>style.visibility</p:attrName>
                                            </p:attrNameLst>
                                          </p:cBhvr>
                                          <p:to>
                                            <p:strVal val="visible"/>
                                          </p:to>
                                        </p:set>
                                        <p:anim calcmode="lin" valueType="num">
                                          <p:cBhvr additive="base">
                                            <p:cTn id="39" dur="500" fill="hold"/>
                                            <p:tgtEl>
                                              <p:spTgt spid="107"/>
                                            </p:tgtEl>
                                            <p:attrNameLst>
                                              <p:attrName>ppt_x</p:attrName>
                                            </p:attrNameLst>
                                          </p:cBhvr>
                                          <p:tavLst>
                                            <p:tav tm="0">
                                              <p:val>
                                                <p:strVal val="1+#ppt_w/2"/>
                                              </p:val>
                                            </p:tav>
                                            <p:tav tm="100000">
                                              <p:val>
                                                <p:strVal val="#ppt_x"/>
                                              </p:val>
                                            </p:tav>
                                          </p:tavLst>
                                        </p:anim>
                                        <p:anim calcmode="lin" valueType="num">
                                          <p:cBhvr additive="base">
                                            <p:cTn id="40" dur="500" fill="hold"/>
                                            <p:tgtEl>
                                              <p:spTgt spid="107"/>
                                            </p:tgtEl>
                                            <p:attrNameLst>
                                              <p:attrName>ppt_y</p:attrName>
                                            </p:attrNameLst>
                                          </p:cBhvr>
                                          <p:tavLst>
                                            <p:tav tm="0">
                                              <p:val>
                                                <p:strVal val="#ppt_y"/>
                                              </p:val>
                                            </p:tav>
                                            <p:tav tm="100000">
                                              <p:val>
                                                <p:strVal val="#ppt_y"/>
                                              </p:val>
                                            </p:tav>
                                          </p:tavLst>
                                        </p:anim>
                                      </p:childTnLst>
                                    </p:cTn>
                                  </p:par>
                                </p:childTnLst>
                              </p:cTn>
                            </p:par>
                            <p:par>
                              <p:cTn id="41" fill="hold">
                                <p:stCondLst>
                                  <p:cond delay="1500"/>
                                </p:stCondLst>
                                <p:childTnLst>
                                  <p:par>
                                    <p:cTn id="42" presetID="10" presetClass="entr" presetSubtype="0" fill="hold" nodeType="after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10" presetClass="entr" presetSubtype="0" fill="hold" nodeType="withEffect">
                                      <p:stCondLst>
                                        <p:cond delay="0"/>
                                      </p:stCondLst>
                                      <p:childTnLst>
                                        <p:set>
                                          <p:cBhvr>
                                            <p:cTn id="46" dur="1" fill="hold">
                                              <p:stCondLst>
                                                <p:cond delay="0"/>
                                              </p:stCondLst>
                                            </p:cTn>
                                            <p:tgtEl>
                                              <p:spTgt spid="119"/>
                                            </p:tgtEl>
                                            <p:attrNameLst>
                                              <p:attrName>style.visibility</p:attrName>
                                            </p:attrNameLst>
                                          </p:cBhvr>
                                          <p:to>
                                            <p:strVal val="visible"/>
                                          </p:to>
                                        </p:set>
                                        <p:animEffect transition="in" filter="fade">
                                          <p:cBhvr>
                                            <p:cTn id="47" dur="500"/>
                                            <p:tgtEl>
                                              <p:spTgt spid="119"/>
                                            </p:tgtEl>
                                          </p:cBhvr>
                                        </p:animEffect>
                                      </p:childTnLst>
                                    </p:cTn>
                                  </p:par>
                                  <p:par>
                                    <p:cTn id="48" presetID="42" presetClass="path" presetSubtype="0" fill="hold" nodeType="withEffect">
                                      <p:stCondLst>
                                        <p:cond delay="0"/>
                                      </p:stCondLst>
                                      <p:childTnLst>
                                        <p:animMotion origin="layout" path="M -0.00013 -0.15625 L 1.66667E-6 1.48148E-6 " pathEditMode="relative" rAng="0" ptsTypes="AA">
                                          <p:cBhvr>
                                            <p:cTn id="49" dur="2000" fill="hold"/>
                                            <p:tgtEl>
                                              <p:spTgt spid="119"/>
                                            </p:tgtEl>
                                            <p:attrNameLst>
                                              <p:attrName>ppt_x</p:attrName>
                                              <p:attrName>ppt_y</p:attrName>
                                            </p:attrNameLst>
                                          </p:cBhvr>
                                          <p:rCtr x="-13" y="7801"/>
                                        </p:animMotion>
                                      </p:childTnLst>
                                    </p:cTn>
                                  </p:par>
                                  <p:par>
                                    <p:cTn id="50" presetID="17" presetClass="entr" presetSubtype="1" fill="hold" grpId="0" nodeType="withEffect">
                                      <p:stCondLst>
                                        <p:cond delay="0"/>
                                      </p:stCondLst>
                                      <p:childTnLst>
                                        <p:set>
                                          <p:cBhvr>
                                            <p:cTn id="51" dur="1" fill="hold">
                                              <p:stCondLst>
                                                <p:cond delay="0"/>
                                              </p:stCondLst>
                                            </p:cTn>
                                            <p:tgtEl>
                                              <p:spTgt spid="16"/>
                                            </p:tgtEl>
                                            <p:attrNameLst>
                                              <p:attrName>style.visibility</p:attrName>
                                            </p:attrNameLst>
                                          </p:cBhvr>
                                          <p:to>
                                            <p:strVal val="visible"/>
                                          </p:to>
                                        </p:set>
                                        <p:anim calcmode="lin" valueType="num">
                                          <p:cBhvr>
                                            <p:cTn id="52" dur="2000" fill="hold"/>
                                            <p:tgtEl>
                                              <p:spTgt spid="16"/>
                                            </p:tgtEl>
                                            <p:attrNameLst>
                                              <p:attrName>ppt_x</p:attrName>
                                            </p:attrNameLst>
                                          </p:cBhvr>
                                          <p:tavLst>
                                            <p:tav tm="0">
                                              <p:val>
                                                <p:strVal val="#ppt_x"/>
                                              </p:val>
                                            </p:tav>
                                            <p:tav tm="100000">
                                              <p:val>
                                                <p:strVal val="#ppt_x"/>
                                              </p:val>
                                            </p:tav>
                                          </p:tavLst>
                                        </p:anim>
                                        <p:anim calcmode="lin" valueType="num">
                                          <p:cBhvr>
                                            <p:cTn id="53" dur="2000" fill="hold"/>
                                            <p:tgtEl>
                                              <p:spTgt spid="16"/>
                                            </p:tgtEl>
                                            <p:attrNameLst>
                                              <p:attrName>ppt_y</p:attrName>
                                            </p:attrNameLst>
                                          </p:cBhvr>
                                          <p:tavLst>
                                            <p:tav tm="0">
                                              <p:val>
                                                <p:strVal val="#ppt_y-#ppt_h/2"/>
                                              </p:val>
                                            </p:tav>
                                            <p:tav tm="100000">
                                              <p:val>
                                                <p:strVal val="#ppt_y"/>
                                              </p:val>
                                            </p:tav>
                                          </p:tavLst>
                                        </p:anim>
                                        <p:anim calcmode="lin" valueType="num">
                                          <p:cBhvr>
                                            <p:cTn id="54" dur="2000" fill="hold"/>
                                            <p:tgtEl>
                                              <p:spTgt spid="16"/>
                                            </p:tgtEl>
                                            <p:attrNameLst>
                                              <p:attrName>ppt_w</p:attrName>
                                            </p:attrNameLst>
                                          </p:cBhvr>
                                          <p:tavLst>
                                            <p:tav tm="0">
                                              <p:val>
                                                <p:strVal val="#ppt_w"/>
                                              </p:val>
                                            </p:tav>
                                            <p:tav tm="100000">
                                              <p:val>
                                                <p:strVal val="#ppt_w"/>
                                              </p:val>
                                            </p:tav>
                                          </p:tavLst>
                                        </p:anim>
                                        <p:anim calcmode="lin" valueType="num">
                                          <p:cBhvr>
                                            <p:cTn id="55" dur="2000" fill="hold"/>
                                            <p:tgtEl>
                                              <p:spTgt spid="16"/>
                                            </p:tgtEl>
                                            <p:attrNameLst>
                                              <p:attrName>ppt_h</p:attrName>
                                            </p:attrNameLst>
                                          </p:cBhvr>
                                          <p:tavLst>
                                            <p:tav tm="0">
                                              <p:val>
                                                <p:fltVal val="0"/>
                                              </p:val>
                                            </p:tav>
                                            <p:tav tm="100000">
                                              <p:val>
                                                <p:strVal val="#ppt_h"/>
                                              </p:val>
                                            </p:tav>
                                          </p:tavLst>
                                        </p:anim>
                                      </p:childTnLst>
                                    </p:cTn>
                                  </p:par>
                                </p:childTnLst>
                              </p:cTn>
                            </p:par>
                            <p:par>
                              <p:cTn id="56" fill="hold">
                                <p:stCondLst>
                                  <p:cond delay="3500"/>
                                </p:stCondLst>
                                <p:childTnLst>
                                  <p:par>
                                    <p:cTn id="57" presetID="10" presetClass="entr" presetSubtype="0" fill="hold" nodeType="afterEffect">
                                      <p:stCondLst>
                                        <p:cond delay="0"/>
                                      </p:stCondLst>
                                      <p:childTnLst>
                                        <p:set>
                                          <p:cBhvr>
                                            <p:cTn id="58" dur="1" fill="hold">
                                              <p:stCondLst>
                                                <p:cond delay="0"/>
                                              </p:stCondLst>
                                            </p:cTn>
                                            <p:tgtEl>
                                              <p:spTgt spid="88">
                                                <p:txEl>
                                                  <p:pRg st="0" end="0"/>
                                                </p:txEl>
                                              </p:spTgt>
                                            </p:tgtEl>
                                            <p:attrNameLst>
                                              <p:attrName>style.visibility</p:attrName>
                                            </p:attrNameLst>
                                          </p:cBhvr>
                                          <p:to>
                                            <p:strVal val="visible"/>
                                          </p:to>
                                        </p:set>
                                        <p:animEffect transition="in" filter="fade">
                                          <p:cBhvr>
                                            <p:cTn id="59" dur="500"/>
                                            <p:tgtEl>
                                              <p:spTgt spid="88">
                                                <p:txEl>
                                                  <p:pRg st="0" end="0"/>
                                                </p:txEl>
                                              </p:spTgt>
                                            </p:tgtEl>
                                          </p:cBhvr>
                                        </p:animEffect>
                                      </p:childTnLst>
                                    </p:cTn>
                                  </p:par>
                                  <p:par>
                                    <p:cTn id="60" presetID="47"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anim calcmode="lin" valueType="num">
                                          <p:cBhvr>
                                            <p:cTn id="63" dur="500" fill="hold"/>
                                            <p:tgtEl>
                                              <p:spTgt spid="28"/>
                                            </p:tgtEl>
                                            <p:attrNameLst>
                                              <p:attrName>ppt_x</p:attrName>
                                            </p:attrNameLst>
                                          </p:cBhvr>
                                          <p:tavLst>
                                            <p:tav tm="0">
                                              <p:val>
                                                <p:strVal val="#ppt_x"/>
                                              </p:val>
                                            </p:tav>
                                            <p:tav tm="100000">
                                              <p:val>
                                                <p:strVal val="#ppt_x"/>
                                              </p:val>
                                            </p:tav>
                                          </p:tavLst>
                                        </p:anim>
                                        <p:anim calcmode="lin" valueType="num">
                                          <p:cBhvr>
                                            <p:cTn id="64" dur="500" fill="hold"/>
                                            <p:tgtEl>
                                              <p:spTgt spid="28"/>
                                            </p:tgtEl>
                                            <p:attrNameLst>
                                              <p:attrName>ppt_y</p:attrName>
                                            </p:attrNameLst>
                                          </p:cBhvr>
                                          <p:tavLst>
                                            <p:tav tm="0">
                                              <p:val>
                                                <p:strVal val="#ppt_y-.1"/>
                                              </p:val>
                                            </p:tav>
                                            <p:tav tm="100000">
                                              <p:val>
                                                <p:strVal val="#ppt_y"/>
                                              </p:val>
                                            </p:tav>
                                          </p:tavLst>
                                        </p:anim>
                                      </p:childTnLst>
                                    </p:cTn>
                                  </p:par>
                                  <p:par>
                                    <p:cTn id="65" presetID="35" presetClass="emph" presetSubtype="0" repeatCount="indefinite" fill="hold" grpId="1" nodeType="withEffect">
                                      <p:stCondLst>
                                        <p:cond delay="0"/>
                                      </p:stCondLst>
                                      <p:childTnLst>
                                        <p:anim calcmode="discrete" valueType="str">
                                          <p:cBhvr>
                                            <p:cTn id="66" dur="1500" fill="hold"/>
                                            <p:tgtEl>
                                              <p:spTgt spid="28"/>
                                            </p:tgtEl>
                                            <p:attrNameLst>
                                              <p:attrName>style.visibility</p:attrName>
                                            </p:attrNameLst>
                                          </p:cBhvr>
                                          <p:tavLst>
                                            <p:tav tm="0">
                                              <p:val>
                                                <p:strVal val="hidden"/>
                                              </p:val>
                                            </p:tav>
                                            <p:tav tm="50000">
                                              <p:val>
                                                <p:strVal val="visible"/>
                                              </p:val>
                                            </p:tav>
                                          </p:tavLst>
                                        </p:anim>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fade">
                                          <p:cBhvr>
                                            <p:cTn id="71" dur="500"/>
                                            <p:tgtEl>
                                              <p:spTgt spid="86"/>
                                            </p:tgtEl>
                                          </p:cBhvr>
                                        </p:animEffect>
                                      </p:childTnLst>
                                    </p:cTn>
                                  </p:par>
                                </p:childTnLst>
                              </p:cTn>
                            </p:par>
                            <p:par>
                              <p:cTn id="72" fill="hold">
                                <p:stCondLst>
                                  <p:cond delay="500"/>
                                </p:stCondLst>
                                <p:childTnLst>
                                  <p:par>
                                    <p:cTn id="73" presetID="10" presetClass="entr" presetSubtype="0" fill="hold" nodeType="afterEffect">
                                      <p:stCondLst>
                                        <p:cond delay="0"/>
                                      </p:stCondLst>
                                      <p:childTnLst>
                                        <p:set>
                                          <p:cBhvr>
                                            <p:cTn id="74" dur="1" fill="hold">
                                              <p:stCondLst>
                                                <p:cond delay="0"/>
                                              </p:stCondLst>
                                            </p:cTn>
                                            <p:tgtEl>
                                              <p:spTgt spid="65"/>
                                            </p:tgtEl>
                                            <p:attrNameLst>
                                              <p:attrName>style.visibility</p:attrName>
                                            </p:attrNameLst>
                                          </p:cBhvr>
                                          <p:to>
                                            <p:strVal val="visible"/>
                                          </p:to>
                                        </p:set>
                                        <p:animEffect transition="in" filter="fade">
                                          <p:cBhvr>
                                            <p:cTn id="75" dur="500"/>
                                            <p:tgtEl>
                                              <p:spTgt spid="65"/>
                                            </p:tgtEl>
                                          </p:cBhvr>
                                        </p:animEffect>
                                      </p:childTnLst>
                                    </p:cTn>
                                  </p:par>
                                  <p:par>
                                    <p:cTn id="76" presetID="10" presetClass="entr" presetSubtype="0" fill="hold" nodeType="withEffect">
                                      <p:stCondLst>
                                        <p:cond delay="0"/>
                                      </p:stCondLst>
                                      <p:childTnLst>
                                        <p:set>
                                          <p:cBhvr>
                                            <p:cTn id="77" dur="1" fill="hold">
                                              <p:stCondLst>
                                                <p:cond delay="0"/>
                                              </p:stCondLst>
                                            </p:cTn>
                                            <p:tgtEl>
                                              <p:spTgt spid="136"/>
                                            </p:tgtEl>
                                            <p:attrNameLst>
                                              <p:attrName>style.visibility</p:attrName>
                                            </p:attrNameLst>
                                          </p:cBhvr>
                                          <p:to>
                                            <p:strVal val="visible"/>
                                          </p:to>
                                        </p:set>
                                        <p:animEffect transition="in" filter="fade">
                                          <p:cBhvr>
                                            <p:cTn id="78" dur="500"/>
                                            <p:tgtEl>
                                              <p:spTgt spid="136"/>
                                            </p:tgtEl>
                                          </p:cBhvr>
                                        </p:animEffect>
                                      </p:childTnLst>
                                    </p:cTn>
                                  </p:par>
                                  <p:par>
                                    <p:cTn id="79" presetID="8" presetClass="emph" presetSubtype="0" repeatCount="indefinite" fill="hold" nodeType="withEffect">
                                      <p:stCondLst>
                                        <p:cond delay="0"/>
                                      </p:stCondLst>
                                      <p:childTnLst>
                                        <p:animRot by="21600000">
                                          <p:cBhvr>
                                            <p:cTn id="80" dur="20000" fill="hold"/>
                                            <p:tgtEl>
                                              <p:spTgt spid="136"/>
                                            </p:tgtEl>
                                            <p:attrNameLst>
                                              <p:attrName>r</p:attrName>
                                            </p:attrNameLst>
                                          </p:cBhvr>
                                        </p:animRot>
                                      </p:childTnLst>
                                    </p:cTn>
                                  </p:par>
                                  <p:par>
                                    <p:cTn id="81" presetID="10" presetClass="entr" presetSubtype="0" fill="hold" grpId="0" nodeType="withEffect">
                                      <p:stCondLst>
                                        <p:cond delay="1000"/>
                                      </p:stCondLst>
                                      <p:childTnLst>
                                        <p:set>
                                          <p:cBhvr>
                                            <p:cTn id="82" dur="1" fill="hold">
                                              <p:stCondLst>
                                                <p:cond delay="0"/>
                                              </p:stCondLst>
                                            </p:cTn>
                                            <p:tgtEl>
                                              <p:spTgt spid="41"/>
                                            </p:tgtEl>
                                            <p:attrNameLst>
                                              <p:attrName>style.visibility</p:attrName>
                                            </p:attrNameLst>
                                          </p:cBhvr>
                                          <p:to>
                                            <p:strVal val="visible"/>
                                          </p:to>
                                        </p:set>
                                        <p:animEffect transition="in" filter="fade">
                                          <p:cBhvr>
                                            <p:cTn id="83" dur="750"/>
                                            <p:tgtEl>
                                              <p:spTgt spid="41"/>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124"/>
                                            </p:tgtEl>
                                            <p:attrNameLst>
                                              <p:attrName>style.visibility</p:attrName>
                                            </p:attrNameLst>
                                          </p:cBhvr>
                                          <p:to>
                                            <p:strVal val="visible"/>
                                          </p:to>
                                        </p:set>
                                        <p:animEffect transition="in" filter="fade">
                                          <p:cBhvr>
                                            <p:cTn id="86" dur="750"/>
                                            <p:tgtEl>
                                              <p:spTgt spid="124"/>
                                            </p:tgtEl>
                                          </p:cBhvr>
                                        </p:animEffect>
                                      </p:childTnLst>
                                    </p:cTn>
                                  </p:par>
                                  <p:par>
                                    <p:cTn id="87" presetID="53" presetClass="entr" presetSubtype="16" fill="hold" grpId="0" nodeType="withEffect">
                                      <p:stCondLst>
                                        <p:cond delay="1250"/>
                                      </p:stCondLst>
                                      <p:childTnLst>
                                        <p:set>
                                          <p:cBhvr>
                                            <p:cTn id="88" dur="1" fill="hold">
                                              <p:stCondLst>
                                                <p:cond delay="0"/>
                                              </p:stCondLst>
                                            </p:cTn>
                                            <p:tgtEl>
                                              <p:spTgt spid="89"/>
                                            </p:tgtEl>
                                            <p:attrNameLst>
                                              <p:attrName>style.visibility</p:attrName>
                                            </p:attrNameLst>
                                          </p:cBhvr>
                                          <p:to>
                                            <p:strVal val="visible"/>
                                          </p:to>
                                        </p:set>
                                        <p:anim calcmode="lin" valueType="num">
                                          <p:cBhvr>
                                            <p:cTn id="89" dur="750" fill="hold"/>
                                            <p:tgtEl>
                                              <p:spTgt spid="89"/>
                                            </p:tgtEl>
                                            <p:attrNameLst>
                                              <p:attrName>ppt_w</p:attrName>
                                            </p:attrNameLst>
                                          </p:cBhvr>
                                          <p:tavLst>
                                            <p:tav tm="0">
                                              <p:val>
                                                <p:fltVal val="0"/>
                                              </p:val>
                                            </p:tav>
                                            <p:tav tm="100000">
                                              <p:val>
                                                <p:strVal val="#ppt_w"/>
                                              </p:val>
                                            </p:tav>
                                          </p:tavLst>
                                        </p:anim>
                                        <p:anim calcmode="lin" valueType="num">
                                          <p:cBhvr>
                                            <p:cTn id="90" dur="750" fill="hold"/>
                                            <p:tgtEl>
                                              <p:spTgt spid="89"/>
                                            </p:tgtEl>
                                            <p:attrNameLst>
                                              <p:attrName>ppt_h</p:attrName>
                                            </p:attrNameLst>
                                          </p:cBhvr>
                                          <p:tavLst>
                                            <p:tav tm="0">
                                              <p:val>
                                                <p:fltVal val="0"/>
                                              </p:val>
                                            </p:tav>
                                            <p:tav tm="100000">
                                              <p:val>
                                                <p:strVal val="#ppt_h"/>
                                              </p:val>
                                            </p:tav>
                                          </p:tavLst>
                                        </p:anim>
                                        <p:animEffect transition="in" filter="fade">
                                          <p:cBhvr>
                                            <p:cTn id="91" dur="750"/>
                                            <p:tgtEl>
                                              <p:spTgt spid="89"/>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49"/>
                                            </p:tgtEl>
                                            <p:attrNameLst>
                                              <p:attrName>style.visibility</p:attrName>
                                            </p:attrNameLst>
                                          </p:cBhvr>
                                          <p:to>
                                            <p:strVal val="visible"/>
                                          </p:to>
                                        </p:set>
                                        <p:animEffect transition="in" filter="fade">
                                          <p:cBhvr>
                                            <p:cTn id="96" dur="500"/>
                                            <p:tgtEl>
                                              <p:spTgt spid="149"/>
                                            </p:tgtEl>
                                          </p:cBhvr>
                                        </p:animEffect>
                                      </p:childTnLst>
                                    </p:cTn>
                                  </p:par>
                                </p:childTnLst>
                              </p:cTn>
                            </p:par>
                            <p:par>
                              <p:cTn id="97" fill="hold">
                                <p:stCondLst>
                                  <p:cond delay="500"/>
                                </p:stCondLst>
                                <p:childTnLst>
                                  <p:par>
                                    <p:cTn id="98" presetID="47" presetClass="entr" presetSubtype="0" fill="hold" nodeType="afterEffect">
                                      <p:stCondLst>
                                        <p:cond delay="0"/>
                                      </p:stCondLst>
                                      <p:childTnLst>
                                        <p:set>
                                          <p:cBhvr>
                                            <p:cTn id="99" dur="1" fill="hold">
                                              <p:stCondLst>
                                                <p:cond delay="0"/>
                                              </p:stCondLst>
                                            </p:cTn>
                                            <p:tgtEl>
                                              <p:spTgt spid="156"/>
                                            </p:tgtEl>
                                            <p:attrNameLst>
                                              <p:attrName>style.visibility</p:attrName>
                                            </p:attrNameLst>
                                          </p:cBhvr>
                                          <p:to>
                                            <p:strVal val="visible"/>
                                          </p:to>
                                        </p:set>
                                        <p:animEffect transition="in" filter="fade">
                                          <p:cBhvr>
                                            <p:cTn id="100" dur="1000"/>
                                            <p:tgtEl>
                                              <p:spTgt spid="156"/>
                                            </p:tgtEl>
                                          </p:cBhvr>
                                        </p:animEffect>
                                        <p:anim calcmode="lin" valueType="num">
                                          <p:cBhvr>
                                            <p:cTn id="101" dur="1000" fill="hold"/>
                                            <p:tgtEl>
                                              <p:spTgt spid="156"/>
                                            </p:tgtEl>
                                            <p:attrNameLst>
                                              <p:attrName>ppt_x</p:attrName>
                                            </p:attrNameLst>
                                          </p:cBhvr>
                                          <p:tavLst>
                                            <p:tav tm="0">
                                              <p:val>
                                                <p:strVal val="#ppt_x"/>
                                              </p:val>
                                            </p:tav>
                                            <p:tav tm="100000">
                                              <p:val>
                                                <p:strVal val="#ppt_x"/>
                                              </p:val>
                                            </p:tav>
                                          </p:tavLst>
                                        </p:anim>
                                        <p:anim calcmode="lin" valueType="num">
                                          <p:cBhvr>
                                            <p:cTn id="102" dur="1000" fill="hold"/>
                                            <p:tgtEl>
                                              <p:spTgt spid="156"/>
                                            </p:tgtEl>
                                            <p:attrNameLst>
                                              <p:attrName>ppt_y</p:attrName>
                                            </p:attrNameLst>
                                          </p:cBhvr>
                                          <p:tavLst>
                                            <p:tav tm="0">
                                              <p:val>
                                                <p:strVal val="#ppt_y-.1"/>
                                              </p:val>
                                            </p:tav>
                                            <p:tav tm="100000">
                                              <p:val>
                                                <p:strVal val="#ppt_y"/>
                                              </p:val>
                                            </p:tav>
                                          </p:tavLst>
                                        </p:anim>
                                      </p:childTnLst>
                                    </p:cTn>
                                  </p:par>
                                </p:childTnLst>
                              </p:cTn>
                            </p:par>
                            <p:par>
                              <p:cTn id="103" fill="hold">
                                <p:stCondLst>
                                  <p:cond delay="1500"/>
                                </p:stCondLst>
                                <p:childTnLst>
                                  <p:par>
                                    <p:cTn id="104" presetID="22" presetClass="entr" presetSubtype="8" fill="hold" grpId="0" nodeType="afterEffect">
                                      <p:stCondLst>
                                        <p:cond delay="0"/>
                                      </p:stCondLst>
                                      <p:childTnLst>
                                        <p:set>
                                          <p:cBhvr>
                                            <p:cTn id="105" dur="1" fill="hold">
                                              <p:stCondLst>
                                                <p:cond delay="0"/>
                                              </p:stCondLst>
                                            </p:cTn>
                                            <p:tgtEl>
                                              <p:spTgt spid="4"/>
                                            </p:tgtEl>
                                            <p:attrNameLst>
                                              <p:attrName>style.visibility</p:attrName>
                                            </p:attrNameLst>
                                          </p:cBhvr>
                                          <p:to>
                                            <p:strVal val="visible"/>
                                          </p:to>
                                        </p:set>
                                        <p:animEffect transition="in" filter="wipe(left)">
                                          <p:cBhvr>
                                            <p:cTn id="106" dur="500"/>
                                            <p:tgtEl>
                                              <p:spTgt spid="4"/>
                                            </p:tgtEl>
                                          </p:cBhvr>
                                        </p:animEffect>
                                      </p:childTnLst>
                                    </p:cTn>
                                  </p:par>
                                </p:childTnLst>
                              </p:cTn>
                            </p:par>
                            <p:par>
                              <p:cTn id="107" fill="hold">
                                <p:stCondLst>
                                  <p:cond delay="2000"/>
                                </p:stCondLst>
                                <p:childTnLst>
                                  <p:par>
                                    <p:cTn id="108" presetID="22" presetClass="entr" presetSubtype="8" fill="hold" nodeType="afterEffect">
                                      <p:stCondLst>
                                        <p:cond delay="0"/>
                                      </p:stCondLst>
                                      <p:childTnLst>
                                        <p:set>
                                          <p:cBhvr>
                                            <p:cTn id="109" dur="1" fill="hold">
                                              <p:stCondLst>
                                                <p:cond delay="0"/>
                                              </p:stCondLst>
                                            </p:cTn>
                                            <p:tgtEl>
                                              <p:spTgt spid="9"/>
                                            </p:tgtEl>
                                            <p:attrNameLst>
                                              <p:attrName>style.visibility</p:attrName>
                                            </p:attrNameLst>
                                          </p:cBhvr>
                                          <p:to>
                                            <p:strVal val="visible"/>
                                          </p:to>
                                        </p:set>
                                        <p:animEffect transition="in" filter="wipe(left)">
                                          <p:cBhvr>
                                            <p:cTn id="110" dur="500"/>
                                            <p:tgtEl>
                                              <p:spTgt spid="9"/>
                                            </p:tgtEl>
                                          </p:cBhvr>
                                        </p:animEffect>
                                      </p:childTnLst>
                                    </p:cTn>
                                  </p:par>
                                  <p:par>
                                    <p:cTn id="111" presetID="26" presetClass="emph" presetSubtype="0" repeatCount="indefinite" fill="hold" nodeType="withEffect">
                                      <p:stCondLst>
                                        <p:cond delay="0"/>
                                      </p:stCondLst>
                                      <p:childTnLst>
                                        <p:animEffect transition="out" filter="fade">
                                          <p:cBhvr>
                                            <p:cTn id="112" dur="1000" tmFilter="0, 0; .2, .5; .8, .5; 1, 0"/>
                                            <p:tgtEl>
                                              <p:spTgt spid="9"/>
                                            </p:tgtEl>
                                          </p:cBhvr>
                                        </p:animEffect>
                                        <p:animScale>
                                          <p:cBhvr>
                                            <p:cTn id="113" dur="500" autoRev="1" fill="hold"/>
                                            <p:tgtEl>
                                              <p:spTgt spid="9"/>
                                            </p:tgtEl>
                                          </p:cBhvr>
                                          <p:by x="105000" y="105000"/>
                                        </p:animScale>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50"/>
                                            </p:tgtEl>
                                            <p:attrNameLst>
                                              <p:attrName>style.visibility</p:attrName>
                                            </p:attrNameLst>
                                          </p:cBhvr>
                                          <p:to>
                                            <p:strVal val="visible"/>
                                          </p:to>
                                        </p:set>
                                        <p:animEffect transition="in" filter="fade">
                                          <p:cBhvr>
                                            <p:cTn id="118" dur="500"/>
                                            <p:tgtEl>
                                              <p:spTgt spid="150"/>
                                            </p:tgtEl>
                                          </p:cBhvr>
                                        </p:animEffect>
                                      </p:childTnLst>
                                    </p:cTn>
                                  </p:par>
                                </p:childTnLst>
                              </p:cTn>
                            </p:par>
                            <p:par>
                              <p:cTn id="119" fill="hold">
                                <p:stCondLst>
                                  <p:cond delay="500"/>
                                </p:stCondLst>
                                <p:childTnLst>
                                  <p:par>
                                    <p:cTn id="120" presetID="10" presetClass="entr" presetSubtype="0" fill="hold" grpId="0" nodeType="afterEffect">
                                      <p:stCondLst>
                                        <p:cond delay="0"/>
                                      </p:stCondLst>
                                      <p:childTnLst>
                                        <p:set>
                                          <p:cBhvr>
                                            <p:cTn id="121" dur="1" fill="hold">
                                              <p:stCondLst>
                                                <p:cond delay="0"/>
                                              </p:stCondLst>
                                            </p:cTn>
                                            <p:tgtEl>
                                              <p:spTgt spid="152"/>
                                            </p:tgtEl>
                                            <p:attrNameLst>
                                              <p:attrName>style.visibility</p:attrName>
                                            </p:attrNameLst>
                                          </p:cBhvr>
                                          <p:to>
                                            <p:strVal val="visible"/>
                                          </p:to>
                                        </p:set>
                                        <p:animEffect transition="in" filter="fade">
                                          <p:cBhvr>
                                            <p:cTn id="122" dur="500"/>
                                            <p:tgtEl>
                                              <p:spTgt spid="152"/>
                                            </p:tgtEl>
                                          </p:cBhvr>
                                        </p:animEffect>
                                      </p:childTnLst>
                                    </p:cTn>
                                  </p:par>
                                </p:childTnLst>
                              </p:cTn>
                            </p:par>
                            <p:par>
                              <p:cTn id="123" fill="hold">
                                <p:stCondLst>
                                  <p:cond delay="1000"/>
                                </p:stCondLst>
                                <p:childTnLst>
                                  <p:par>
                                    <p:cTn id="124" presetID="10" presetClass="entr" presetSubtype="0" fill="hold" grpId="1" nodeType="afterEffect">
                                      <p:stCondLst>
                                        <p:cond delay="0"/>
                                      </p:stCondLst>
                                      <p:childTnLst>
                                        <p:set>
                                          <p:cBhvr>
                                            <p:cTn id="125" dur="1" fill="hold">
                                              <p:stCondLst>
                                                <p:cond delay="0"/>
                                              </p:stCondLst>
                                            </p:cTn>
                                            <p:tgtEl>
                                              <p:spTgt spid="283"/>
                                            </p:tgtEl>
                                            <p:attrNameLst>
                                              <p:attrName>style.visibility</p:attrName>
                                            </p:attrNameLst>
                                          </p:cBhvr>
                                          <p:to>
                                            <p:strVal val="visible"/>
                                          </p:to>
                                        </p:set>
                                        <p:animEffect transition="in" filter="fade">
                                          <p:cBhvr>
                                            <p:cTn id="126" dur="500"/>
                                            <p:tgtEl>
                                              <p:spTgt spid="283"/>
                                            </p:tgtEl>
                                          </p:cBhvr>
                                        </p:animEffect>
                                      </p:childTnLst>
                                    </p:cTn>
                                  </p:par>
                                </p:childTnLst>
                              </p:cTn>
                            </p:par>
                            <p:par>
                              <p:cTn id="127" fill="hold">
                                <p:stCondLst>
                                  <p:cond delay="1500"/>
                                </p:stCondLst>
                                <p:childTnLst>
                                  <p:par>
                                    <p:cTn id="128" presetID="35" presetClass="emph" presetSubtype="0" repeatCount="indefinite" fill="hold" grpId="0" nodeType="afterEffect">
                                      <p:stCondLst>
                                        <p:cond delay="0"/>
                                      </p:stCondLst>
                                      <p:childTnLst>
                                        <p:anim calcmode="discrete" valueType="str">
                                          <p:cBhvr>
                                            <p:cTn id="129" dur="1000" fill="hold"/>
                                            <p:tgtEl>
                                              <p:spTgt spid="283"/>
                                            </p:tgtEl>
                                            <p:attrNameLst>
                                              <p:attrName>style.visibility</p:attrName>
                                            </p:attrNameLst>
                                          </p:cBhvr>
                                          <p:tavLst>
                                            <p:tav tm="0">
                                              <p:val>
                                                <p:strVal val="hidden"/>
                                              </p:val>
                                            </p:tav>
                                            <p:tav tm="50000">
                                              <p:val>
                                                <p:strVal val="visible"/>
                                              </p:val>
                                            </p:tav>
                                          </p:tavLst>
                                        </p:anim>
                                      </p:childTnLst>
                                    </p:cTn>
                                  </p:par>
                                  <p:par>
                                    <p:cTn id="130" presetID="10" presetClass="entr" presetSubtype="0" fill="hold" grpId="0" nodeType="withEffect">
                                      <p:stCondLst>
                                        <p:cond delay="500"/>
                                      </p:stCondLst>
                                      <p:childTnLst>
                                        <p:set>
                                          <p:cBhvr>
                                            <p:cTn id="131" dur="1" fill="hold">
                                              <p:stCondLst>
                                                <p:cond delay="0"/>
                                              </p:stCondLst>
                                            </p:cTn>
                                            <p:tgtEl>
                                              <p:spTgt spid="153"/>
                                            </p:tgtEl>
                                            <p:attrNameLst>
                                              <p:attrName>style.visibility</p:attrName>
                                            </p:attrNameLst>
                                          </p:cBhvr>
                                          <p:to>
                                            <p:strVal val="visible"/>
                                          </p:to>
                                        </p:set>
                                        <p:animEffect transition="in" filter="fade">
                                          <p:cBhvr>
                                            <p:cTn id="132" dur="500"/>
                                            <p:tgtEl>
                                              <p:spTgt spid="153"/>
                                            </p:tgtEl>
                                          </p:cBhvr>
                                        </p:animEffect>
                                      </p:childTnLst>
                                    </p:cTn>
                                  </p:par>
                                </p:childTnLst>
                              </p:cTn>
                            </p:par>
                            <p:par>
                              <p:cTn id="133" fill="hold">
                                <p:stCondLst>
                                  <p:cond delay="2500"/>
                                </p:stCondLst>
                                <p:childTnLst>
                                  <p:par>
                                    <p:cTn id="134" presetID="53" presetClass="entr" presetSubtype="16" fill="hold" grpId="0" nodeType="afterEffect">
                                      <p:stCondLst>
                                        <p:cond delay="0"/>
                                      </p:stCondLst>
                                      <p:childTnLst>
                                        <p:set>
                                          <p:cBhvr>
                                            <p:cTn id="135" dur="1" fill="hold">
                                              <p:stCondLst>
                                                <p:cond delay="0"/>
                                              </p:stCondLst>
                                            </p:cTn>
                                            <p:tgtEl>
                                              <p:spTgt spid="90"/>
                                            </p:tgtEl>
                                            <p:attrNameLst>
                                              <p:attrName>style.visibility</p:attrName>
                                            </p:attrNameLst>
                                          </p:cBhvr>
                                          <p:to>
                                            <p:strVal val="visible"/>
                                          </p:to>
                                        </p:set>
                                        <p:anim calcmode="lin" valueType="num">
                                          <p:cBhvr>
                                            <p:cTn id="136" dur="500" fill="hold"/>
                                            <p:tgtEl>
                                              <p:spTgt spid="90"/>
                                            </p:tgtEl>
                                            <p:attrNameLst>
                                              <p:attrName>ppt_w</p:attrName>
                                            </p:attrNameLst>
                                          </p:cBhvr>
                                          <p:tavLst>
                                            <p:tav tm="0">
                                              <p:val>
                                                <p:fltVal val="0"/>
                                              </p:val>
                                            </p:tav>
                                            <p:tav tm="100000">
                                              <p:val>
                                                <p:strVal val="#ppt_w"/>
                                              </p:val>
                                            </p:tav>
                                          </p:tavLst>
                                        </p:anim>
                                        <p:anim calcmode="lin" valueType="num">
                                          <p:cBhvr>
                                            <p:cTn id="137" dur="500" fill="hold"/>
                                            <p:tgtEl>
                                              <p:spTgt spid="90"/>
                                            </p:tgtEl>
                                            <p:attrNameLst>
                                              <p:attrName>ppt_h</p:attrName>
                                            </p:attrNameLst>
                                          </p:cBhvr>
                                          <p:tavLst>
                                            <p:tav tm="0">
                                              <p:val>
                                                <p:fltVal val="0"/>
                                              </p:val>
                                            </p:tav>
                                            <p:tav tm="100000">
                                              <p:val>
                                                <p:strVal val="#ppt_h"/>
                                              </p:val>
                                            </p:tav>
                                          </p:tavLst>
                                        </p:anim>
                                        <p:animEffect transition="in" filter="fade">
                                          <p:cBhvr>
                                            <p:cTn id="138"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 grpId="0"/>
          <p:bldP spid="89" grpId="0"/>
          <p:bldP spid="90" grpId="0"/>
          <p:bldP spid="91" grpId="0" animBg="1"/>
          <p:bldP spid="86" grpId="0" animBg="1"/>
          <p:bldP spid="106" grpId="0"/>
          <p:bldP spid="107" grpId="0"/>
          <p:bldP spid="116" grpId="0" animBg="1"/>
          <p:bldP spid="19" grpId="0" animBg="1"/>
          <p:bldP spid="118" grpId="0" animBg="1"/>
          <p:bldP spid="41" grpId="0"/>
          <p:bldP spid="124" grpId="0"/>
          <p:bldP spid="149" grpId="0" animBg="1"/>
          <p:bldP spid="150" grpId="0" animBg="1"/>
          <p:bldP spid="152" grpId="0"/>
          <p:bldP spid="153" grpId="0"/>
          <p:bldP spid="28" grpId="0" animBg="1"/>
          <p:bldP spid="28" grpId="1" animBg="1"/>
          <p:bldP spid="283" grpId="0"/>
          <p:bldP spid="283" grpId="1"/>
          <p:bldP spid="4" grpId="0" animBg="1"/>
        </p:bldLst>
      </p:timing>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7"/>
          <p:cNvSpPr/>
          <p:nvPr/>
        </p:nvSpPr>
        <p:spPr>
          <a:xfrm flipH="1">
            <a:off x="6096002" y="3408937"/>
            <a:ext cx="2404904" cy="935816"/>
          </a:xfrm>
          <a:custGeom>
            <a:avLst/>
            <a:gdLst>
              <a:gd name="connsiteX0" fmla="*/ 2404904 w 2404904"/>
              <a:gd name="connsiteY0" fmla="*/ 0 h 935816"/>
              <a:gd name="connsiteX1" fmla="*/ 2404904 w 2404904"/>
              <a:gd name="connsiteY1" fmla="*/ 935816 h 935816"/>
              <a:gd name="connsiteX2" fmla="*/ 1926112 w 2404904"/>
              <a:gd name="connsiteY2" fmla="*/ 926451 h 935816"/>
              <a:gd name="connsiteX3" fmla="*/ 0 w 2404904"/>
              <a:gd name="connsiteY3" fmla="*/ 467908 h 935816"/>
              <a:gd name="connsiteX4" fmla="*/ 1926112 w 2404904"/>
              <a:gd name="connsiteY4" fmla="*/ 9365 h 935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4904" h="935816">
                <a:moveTo>
                  <a:pt x="2404904" y="0"/>
                </a:moveTo>
                <a:lnTo>
                  <a:pt x="2404904" y="935816"/>
                </a:lnTo>
                <a:lnTo>
                  <a:pt x="1926112" y="926451"/>
                </a:lnTo>
                <a:cubicBezTo>
                  <a:pt x="826882" y="882807"/>
                  <a:pt x="0" y="694094"/>
                  <a:pt x="0" y="467908"/>
                </a:cubicBezTo>
                <a:cubicBezTo>
                  <a:pt x="0" y="241722"/>
                  <a:pt x="826882" y="53009"/>
                  <a:pt x="1926112" y="936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5" name="同心圆 2"/>
          <p:cNvSpPr/>
          <p:nvPr/>
        </p:nvSpPr>
        <p:spPr>
          <a:xfrm>
            <a:off x="4580705" y="2547764"/>
            <a:ext cx="3015866" cy="3015846"/>
          </a:xfrm>
          <a:prstGeom prst="donut">
            <a:avLst>
              <a:gd name="adj" fmla="val 11084"/>
            </a:avLst>
          </a:prstGeom>
          <a:solidFill>
            <a:schemeClr val="bg1">
              <a:lumMod val="9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400" dirty="0">
              <a:solidFill>
                <a:schemeClr val="tx1"/>
              </a:solidFill>
              <a:latin typeface="+mj-lt"/>
            </a:endParaRPr>
          </a:p>
        </p:txBody>
      </p:sp>
      <p:sp>
        <p:nvSpPr>
          <p:cNvPr id="6" name="任意多边形 6"/>
          <p:cNvSpPr/>
          <p:nvPr/>
        </p:nvSpPr>
        <p:spPr>
          <a:xfrm>
            <a:off x="3691098" y="3768977"/>
            <a:ext cx="2404904" cy="935816"/>
          </a:xfrm>
          <a:custGeom>
            <a:avLst/>
            <a:gdLst>
              <a:gd name="connsiteX0" fmla="*/ 2404904 w 2404904"/>
              <a:gd name="connsiteY0" fmla="*/ 0 h 935816"/>
              <a:gd name="connsiteX1" fmla="*/ 2404904 w 2404904"/>
              <a:gd name="connsiteY1" fmla="*/ 935816 h 935816"/>
              <a:gd name="connsiteX2" fmla="*/ 1926112 w 2404904"/>
              <a:gd name="connsiteY2" fmla="*/ 926451 h 935816"/>
              <a:gd name="connsiteX3" fmla="*/ 0 w 2404904"/>
              <a:gd name="connsiteY3" fmla="*/ 467908 h 935816"/>
              <a:gd name="connsiteX4" fmla="*/ 1926112 w 2404904"/>
              <a:gd name="connsiteY4" fmla="*/ 9365 h 935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4904" h="935816">
                <a:moveTo>
                  <a:pt x="2404904" y="0"/>
                </a:moveTo>
                <a:lnTo>
                  <a:pt x="2404904" y="935816"/>
                </a:lnTo>
                <a:lnTo>
                  <a:pt x="1926112" y="926451"/>
                </a:lnTo>
                <a:cubicBezTo>
                  <a:pt x="826882" y="882807"/>
                  <a:pt x="0" y="694094"/>
                  <a:pt x="0" y="467908"/>
                </a:cubicBezTo>
                <a:cubicBezTo>
                  <a:pt x="0" y="241722"/>
                  <a:pt x="826882" y="53009"/>
                  <a:pt x="1926112" y="9365"/>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7" name="矩形 8"/>
          <p:cNvSpPr/>
          <p:nvPr/>
        </p:nvSpPr>
        <p:spPr>
          <a:xfrm>
            <a:off x="5574197" y="3664940"/>
            <a:ext cx="1057277" cy="707886"/>
          </a:xfrm>
          <a:prstGeom prst="rect">
            <a:avLst/>
          </a:prstGeom>
        </p:spPr>
        <p:txBody>
          <a:bodyPr wrap="none">
            <a:spAutoFit/>
          </a:bodyPr>
          <a:lstStyle/>
          <a:p>
            <a:pPr algn="ctr"/>
            <a:r>
              <a:rPr lang="en-US" altLang="zh-CN" sz="4000" b="1" dirty="0">
                <a:solidFill>
                  <a:schemeClr val="bg1"/>
                </a:solidFill>
                <a:latin typeface="+mj-lt"/>
              </a:rPr>
              <a:t>Text</a:t>
            </a:r>
            <a:endParaRPr lang="en-US" altLang="zh-CN" sz="2000" b="1" dirty="0">
              <a:solidFill>
                <a:schemeClr val="bg1"/>
              </a:solidFill>
              <a:latin typeface="+mj-lt"/>
            </a:endParaRPr>
          </a:p>
        </p:txBody>
      </p:sp>
      <p:sp>
        <p:nvSpPr>
          <p:cNvPr id="8" name="矩形 9"/>
          <p:cNvSpPr/>
          <p:nvPr/>
        </p:nvSpPr>
        <p:spPr>
          <a:xfrm>
            <a:off x="3302004" y="1640761"/>
            <a:ext cx="5587996" cy="553998"/>
          </a:xfrm>
          <a:prstGeom prst="rect">
            <a:avLst/>
          </a:prstGeom>
        </p:spPr>
        <p:txBody>
          <a:bodyPr wrap="square">
            <a:spAutoFit/>
          </a:bodyPr>
          <a:lstStyle/>
          <a:p>
            <a:pPr algn="ctr"/>
            <a:r>
              <a:rPr lang="en-US" altLang="zh-CN" sz="1600" b="1" dirty="0"/>
              <a:t>Text</a:t>
            </a:r>
          </a:p>
          <a:p>
            <a:pPr algn="ctr"/>
            <a:r>
              <a:rPr lang="en-US" altLang="zh-CN" sz="1300" dirty="0"/>
              <a:t>And god said, let there be light: and there was light</a:t>
            </a:r>
          </a:p>
        </p:txBody>
      </p:sp>
      <p:sp>
        <p:nvSpPr>
          <p:cNvPr id="9" name="矩形 10"/>
          <p:cNvSpPr/>
          <p:nvPr/>
        </p:nvSpPr>
        <p:spPr>
          <a:xfrm>
            <a:off x="3302004" y="5639872"/>
            <a:ext cx="5587996" cy="553998"/>
          </a:xfrm>
          <a:prstGeom prst="rect">
            <a:avLst/>
          </a:prstGeom>
        </p:spPr>
        <p:txBody>
          <a:bodyPr wrap="square">
            <a:spAutoFit/>
          </a:bodyPr>
          <a:lstStyle/>
          <a:p>
            <a:pPr algn="ctr"/>
            <a:r>
              <a:rPr lang="en-US" altLang="zh-CN" sz="1600" b="1" dirty="0"/>
              <a:t>Text</a:t>
            </a:r>
          </a:p>
          <a:p>
            <a:pPr algn="ctr"/>
            <a:r>
              <a:rPr lang="en-US" altLang="zh-CN" sz="1300" dirty="0"/>
              <a:t>And god said, let there be light: and there was light</a:t>
            </a:r>
          </a:p>
        </p:txBody>
      </p:sp>
      <p:sp>
        <p:nvSpPr>
          <p:cNvPr id="10" name="矩形 11"/>
          <p:cNvSpPr/>
          <p:nvPr/>
        </p:nvSpPr>
        <p:spPr>
          <a:xfrm>
            <a:off x="527053" y="3227920"/>
            <a:ext cx="2952462" cy="738664"/>
          </a:xfrm>
          <a:prstGeom prst="rect">
            <a:avLst/>
          </a:prstGeom>
        </p:spPr>
        <p:txBody>
          <a:bodyPr wrap="square">
            <a:spAutoFit/>
          </a:bodyPr>
          <a:lstStyle/>
          <a:p>
            <a:pPr algn="ctr"/>
            <a:r>
              <a:rPr lang="en-US" altLang="zh-CN" sz="1600" b="1" dirty="0"/>
              <a:t>Text</a:t>
            </a:r>
          </a:p>
          <a:p>
            <a:pPr algn="ctr"/>
            <a:r>
              <a:rPr lang="en-US" altLang="zh-CN" sz="1300" dirty="0"/>
              <a:t>And god said, let there be light: and there was light</a:t>
            </a:r>
          </a:p>
        </p:txBody>
      </p:sp>
      <p:sp>
        <p:nvSpPr>
          <p:cNvPr id="11" name="矩形 12"/>
          <p:cNvSpPr/>
          <p:nvPr/>
        </p:nvSpPr>
        <p:spPr>
          <a:xfrm>
            <a:off x="8729862" y="3227920"/>
            <a:ext cx="2952462" cy="738664"/>
          </a:xfrm>
          <a:prstGeom prst="rect">
            <a:avLst/>
          </a:prstGeom>
        </p:spPr>
        <p:txBody>
          <a:bodyPr wrap="square">
            <a:spAutoFit/>
          </a:bodyPr>
          <a:lstStyle/>
          <a:p>
            <a:pPr algn="ctr"/>
            <a:r>
              <a:rPr lang="en-US" altLang="zh-CN" sz="1600" b="1" dirty="0"/>
              <a:t>Text</a:t>
            </a:r>
          </a:p>
          <a:p>
            <a:pPr algn="ctr"/>
            <a:r>
              <a:rPr lang="en-US" altLang="zh-CN" sz="1300" dirty="0"/>
              <a:t>And god said, let there be light: and there was light</a:t>
            </a:r>
          </a:p>
        </p:txBody>
      </p:sp>
      <p:sp>
        <p:nvSpPr>
          <p:cNvPr id="12" name="任意多边形 13"/>
          <p:cNvSpPr/>
          <p:nvPr/>
        </p:nvSpPr>
        <p:spPr>
          <a:xfrm>
            <a:off x="3966092" y="4080438"/>
            <a:ext cx="435215" cy="313660"/>
          </a:xfrm>
          <a:custGeom>
            <a:avLst/>
            <a:gdLst>
              <a:gd name="connsiteX0" fmla="*/ 2404904 w 2404904"/>
              <a:gd name="connsiteY0" fmla="*/ 0 h 935816"/>
              <a:gd name="connsiteX1" fmla="*/ 2404904 w 2404904"/>
              <a:gd name="connsiteY1" fmla="*/ 935816 h 935816"/>
              <a:gd name="connsiteX2" fmla="*/ 1926112 w 2404904"/>
              <a:gd name="connsiteY2" fmla="*/ 926451 h 935816"/>
              <a:gd name="connsiteX3" fmla="*/ 0 w 2404904"/>
              <a:gd name="connsiteY3" fmla="*/ 467908 h 935816"/>
              <a:gd name="connsiteX4" fmla="*/ 1926112 w 2404904"/>
              <a:gd name="connsiteY4" fmla="*/ 9365 h 935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4904" h="935816">
                <a:moveTo>
                  <a:pt x="2404904" y="0"/>
                </a:moveTo>
                <a:lnTo>
                  <a:pt x="2404904" y="935816"/>
                </a:lnTo>
                <a:lnTo>
                  <a:pt x="1926112" y="926451"/>
                </a:lnTo>
                <a:cubicBezTo>
                  <a:pt x="826882" y="882807"/>
                  <a:pt x="0" y="694094"/>
                  <a:pt x="0" y="467908"/>
                </a:cubicBezTo>
                <a:cubicBezTo>
                  <a:pt x="0" y="241722"/>
                  <a:pt x="826882" y="53009"/>
                  <a:pt x="1926112" y="9365"/>
                </a:cubicBezTo>
                <a:close/>
              </a:path>
            </a:pathLst>
          </a:cu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13" name="任意多边形 14"/>
          <p:cNvSpPr/>
          <p:nvPr/>
        </p:nvSpPr>
        <p:spPr>
          <a:xfrm flipH="1">
            <a:off x="7816315" y="3720015"/>
            <a:ext cx="435215" cy="313660"/>
          </a:xfrm>
          <a:custGeom>
            <a:avLst/>
            <a:gdLst>
              <a:gd name="connsiteX0" fmla="*/ 2404904 w 2404904"/>
              <a:gd name="connsiteY0" fmla="*/ 0 h 935816"/>
              <a:gd name="connsiteX1" fmla="*/ 2404904 w 2404904"/>
              <a:gd name="connsiteY1" fmla="*/ 935816 h 935816"/>
              <a:gd name="connsiteX2" fmla="*/ 1926112 w 2404904"/>
              <a:gd name="connsiteY2" fmla="*/ 926451 h 935816"/>
              <a:gd name="connsiteX3" fmla="*/ 0 w 2404904"/>
              <a:gd name="connsiteY3" fmla="*/ 467908 h 935816"/>
              <a:gd name="connsiteX4" fmla="*/ 1926112 w 2404904"/>
              <a:gd name="connsiteY4" fmla="*/ 9365 h 935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4904" h="935816">
                <a:moveTo>
                  <a:pt x="2404904" y="0"/>
                </a:moveTo>
                <a:lnTo>
                  <a:pt x="2404904" y="935816"/>
                </a:lnTo>
                <a:lnTo>
                  <a:pt x="1926112" y="926451"/>
                </a:lnTo>
                <a:cubicBezTo>
                  <a:pt x="826882" y="882807"/>
                  <a:pt x="0" y="694094"/>
                  <a:pt x="0" y="467908"/>
                </a:cubicBezTo>
                <a:cubicBezTo>
                  <a:pt x="0" y="241722"/>
                  <a:pt x="826882" y="53009"/>
                  <a:pt x="1926112" y="9365"/>
                </a:cubicBezTo>
                <a:close/>
              </a:path>
            </a:pathLst>
          </a:cu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Tree>
    <p:custDataLst>
      <p:tags r:id="rId1"/>
    </p:custDataLst>
    <p:extLst>
      <p:ext uri="{BB962C8B-B14F-4D97-AF65-F5344CB8AC3E}">
        <p14:creationId xmlns:p14="http://schemas.microsoft.com/office/powerpoint/2010/main" val="3594631660"/>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Oval 5">
            <a:extLst>
              <a:ext uri="{FF2B5EF4-FFF2-40B4-BE49-F238E27FC236}">
                <a16:creationId xmlns:a16="http://schemas.microsoft.com/office/drawing/2014/main" id="{5D5E4F04-86B2-45E7-B140-2EA2675DE42F}"/>
              </a:ext>
            </a:extLst>
          </p:cNvPr>
          <p:cNvSpPr>
            <a:spLocks noChangeArrowheads="1"/>
          </p:cNvSpPr>
          <p:nvPr/>
        </p:nvSpPr>
        <p:spPr bwMode="auto">
          <a:xfrm>
            <a:off x="5208502" y="2973608"/>
            <a:ext cx="1761515" cy="1766007"/>
          </a:xfrm>
          <a:prstGeom prst="ellipse">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 name="Freeform 6">
            <a:extLst>
              <a:ext uri="{FF2B5EF4-FFF2-40B4-BE49-F238E27FC236}">
                <a16:creationId xmlns:a16="http://schemas.microsoft.com/office/drawing/2014/main" id="{8DB7B2E6-F00F-4448-8539-34A67F2B20CE}"/>
              </a:ext>
            </a:extLst>
          </p:cNvPr>
          <p:cNvSpPr>
            <a:spLocks/>
          </p:cNvSpPr>
          <p:nvPr/>
        </p:nvSpPr>
        <p:spPr bwMode="auto">
          <a:xfrm>
            <a:off x="5867946" y="3856611"/>
            <a:ext cx="1787353" cy="1567163"/>
          </a:xfrm>
          <a:custGeom>
            <a:avLst/>
            <a:gdLst>
              <a:gd name="T0" fmla="*/ 415 w 673"/>
              <a:gd name="T1" fmla="*/ 0 h 589"/>
              <a:gd name="T2" fmla="*/ 514 w 673"/>
              <a:gd name="T3" fmla="*/ 0 h 589"/>
              <a:gd name="T4" fmla="*/ 516 w 673"/>
              <a:gd name="T5" fmla="*/ 9 h 589"/>
              <a:gd name="T6" fmla="*/ 502 w 673"/>
              <a:gd name="T7" fmla="*/ 45 h 589"/>
              <a:gd name="T8" fmla="*/ 537 w 673"/>
              <a:gd name="T9" fmla="*/ 80 h 589"/>
              <a:gd name="T10" fmla="*/ 572 w 673"/>
              <a:gd name="T11" fmla="*/ 45 h 589"/>
              <a:gd name="T12" fmla="*/ 558 w 673"/>
              <a:gd name="T13" fmla="*/ 9 h 589"/>
              <a:gd name="T14" fmla="*/ 560 w 673"/>
              <a:gd name="T15" fmla="*/ 0 h 589"/>
              <a:gd name="T16" fmla="*/ 673 w 673"/>
              <a:gd name="T17" fmla="*/ 0 h 589"/>
              <a:gd name="T18" fmla="*/ 528 w 673"/>
              <a:gd name="T19" fmla="*/ 387 h 589"/>
              <a:gd name="T20" fmla="*/ 534 w 673"/>
              <a:gd name="T21" fmla="*/ 399 h 589"/>
              <a:gd name="T22" fmla="*/ 570 w 673"/>
              <a:gd name="T23" fmla="*/ 415 h 589"/>
              <a:gd name="T24" fmla="*/ 570 w 673"/>
              <a:gd name="T25" fmla="*/ 464 h 589"/>
              <a:gd name="T26" fmla="*/ 521 w 673"/>
              <a:gd name="T27" fmla="*/ 464 h 589"/>
              <a:gd name="T28" fmla="*/ 505 w 673"/>
              <a:gd name="T29" fmla="*/ 429 h 589"/>
              <a:gd name="T30" fmla="*/ 494 w 673"/>
              <a:gd name="T31" fmla="*/ 423 h 589"/>
              <a:gd name="T32" fmla="*/ 84 w 673"/>
              <a:gd name="T33" fmla="*/ 589 h 589"/>
              <a:gd name="T34" fmla="*/ 84 w 673"/>
              <a:gd name="T35" fmla="*/ 480 h 589"/>
              <a:gd name="T36" fmla="*/ 71 w 673"/>
              <a:gd name="T37" fmla="*/ 475 h 589"/>
              <a:gd name="T38" fmla="*/ 35 w 673"/>
              <a:gd name="T39" fmla="*/ 489 h 589"/>
              <a:gd name="T40" fmla="*/ 0 w 673"/>
              <a:gd name="T41" fmla="*/ 455 h 589"/>
              <a:gd name="T42" fmla="*/ 35 w 673"/>
              <a:gd name="T43" fmla="*/ 420 h 589"/>
              <a:gd name="T44" fmla="*/ 71 w 673"/>
              <a:gd name="T45" fmla="*/ 434 h 589"/>
              <a:gd name="T46" fmla="*/ 84 w 673"/>
              <a:gd name="T47" fmla="*/ 430 h 589"/>
              <a:gd name="T48" fmla="*/ 84 w 673"/>
              <a:gd name="T49" fmla="*/ 332 h 589"/>
              <a:gd name="T50" fmla="*/ 309 w 673"/>
              <a:gd name="T51" fmla="*/ 243 h 589"/>
              <a:gd name="T52" fmla="*/ 304 w 673"/>
              <a:gd name="T53" fmla="*/ 234 h 589"/>
              <a:gd name="T54" fmla="*/ 268 w 673"/>
              <a:gd name="T55" fmla="*/ 219 h 589"/>
              <a:gd name="T56" fmla="*/ 268 w 673"/>
              <a:gd name="T57" fmla="*/ 169 h 589"/>
              <a:gd name="T58" fmla="*/ 318 w 673"/>
              <a:gd name="T59" fmla="*/ 169 h 589"/>
              <a:gd name="T60" fmla="*/ 333 w 673"/>
              <a:gd name="T61" fmla="*/ 205 h 589"/>
              <a:gd name="T62" fmla="*/ 341 w 673"/>
              <a:gd name="T63" fmla="*/ 210 h 589"/>
              <a:gd name="T64" fmla="*/ 415 w 673"/>
              <a:gd name="T65"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3" h="589">
                <a:moveTo>
                  <a:pt x="415" y="0"/>
                </a:moveTo>
                <a:cubicBezTo>
                  <a:pt x="514" y="0"/>
                  <a:pt x="514" y="0"/>
                  <a:pt x="514" y="0"/>
                </a:cubicBezTo>
                <a:cubicBezTo>
                  <a:pt x="516" y="3"/>
                  <a:pt x="516" y="5"/>
                  <a:pt x="516" y="9"/>
                </a:cubicBezTo>
                <a:cubicBezTo>
                  <a:pt x="516" y="20"/>
                  <a:pt x="502" y="26"/>
                  <a:pt x="502" y="45"/>
                </a:cubicBezTo>
                <a:cubicBezTo>
                  <a:pt x="502" y="64"/>
                  <a:pt x="518" y="80"/>
                  <a:pt x="537" y="80"/>
                </a:cubicBezTo>
                <a:cubicBezTo>
                  <a:pt x="556" y="80"/>
                  <a:pt x="572" y="64"/>
                  <a:pt x="572" y="45"/>
                </a:cubicBezTo>
                <a:cubicBezTo>
                  <a:pt x="572" y="25"/>
                  <a:pt x="558" y="22"/>
                  <a:pt x="558" y="9"/>
                </a:cubicBezTo>
                <a:cubicBezTo>
                  <a:pt x="558" y="5"/>
                  <a:pt x="558" y="3"/>
                  <a:pt x="560" y="0"/>
                </a:cubicBezTo>
                <a:cubicBezTo>
                  <a:pt x="673" y="0"/>
                  <a:pt x="673" y="0"/>
                  <a:pt x="673" y="0"/>
                </a:cubicBezTo>
                <a:cubicBezTo>
                  <a:pt x="673" y="148"/>
                  <a:pt x="619" y="283"/>
                  <a:pt x="528" y="387"/>
                </a:cubicBezTo>
                <a:cubicBezTo>
                  <a:pt x="529" y="391"/>
                  <a:pt x="531" y="396"/>
                  <a:pt x="534" y="399"/>
                </a:cubicBezTo>
                <a:cubicBezTo>
                  <a:pt x="542" y="407"/>
                  <a:pt x="557" y="402"/>
                  <a:pt x="570" y="415"/>
                </a:cubicBezTo>
                <a:cubicBezTo>
                  <a:pt x="583" y="429"/>
                  <a:pt x="583" y="451"/>
                  <a:pt x="570" y="464"/>
                </a:cubicBezTo>
                <a:cubicBezTo>
                  <a:pt x="556" y="478"/>
                  <a:pt x="534" y="478"/>
                  <a:pt x="521" y="464"/>
                </a:cubicBezTo>
                <a:cubicBezTo>
                  <a:pt x="506" y="450"/>
                  <a:pt x="515" y="438"/>
                  <a:pt x="505" y="429"/>
                </a:cubicBezTo>
                <a:cubicBezTo>
                  <a:pt x="502" y="426"/>
                  <a:pt x="498" y="424"/>
                  <a:pt x="494" y="423"/>
                </a:cubicBezTo>
                <a:cubicBezTo>
                  <a:pt x="388" y="526"/>
                  <a:pt x="243" y="589"/>
                  <a:pt x="84" y="589"/>
                </a:cubicBezTo>
                <a:cubicBezTo>
                  <a:pt x="84" y="480"/>
                  <a:pt x="84" y="480"/>
                  <a:pt x="84" y="480"/>
                </a:cubicBezTo>
                <a:cubicBezTo>
                  <a:pt x="80" y="477"/>
                  <a:pt x="76" y="475"/>
                  <a:pt x="71" y="475"/>
                </a:cubicBezTo>
                <a:cubicBezTo>
                  <a:pt x="60" y="475"/>
                  <a:pt x="53" y="489"/>
                  <a:pt x="35" y="489"/>
                </a:cubicBezTo>
                <a:cubicBezTo>
                  <a:pt x="16" y="489"/>
                  <a:pt x="0" y="474"/>
                  <a:pt x="0" y="455"/>
                </a:cubicBezTo>
                <a:cubicBezTo>
                  <a:pt x="0" y="435"/>
                  <a:pt x="16" y="420"/>
                  <a:pt x="35" y="420"/>
                </a:cubicBezTo>
                <a:cubicBezTo>
                  <a:pt x="55" y="420"/>
                  <a:pt x="57" y="434"/>
                  <a:pt x="71" y="434"/>
                </a:cubicBezTo>
                <a:cubicBezTo>
                  <a:pt x="76" y="434"/>
                  <a:pt x="80" y="432"/>
                  <a:pt x="84" y="430"/>
                </a:cubicBezTo>
                <a:cubicBezTo>
                  <a:pt x="84" y="332"/>
                  <a:pt x="84" y="332"/>
                  <a:pt x="84" y="332"/>
                </a:cubicBezTo>
                <a:cubicBezTo>
                  <a:pt x="171" y="332"/>
                  <a:pt x="250" y="298"/>
                  <a:pt x="309" y="243"/>
                </a:cubicBezTo>
                <a:cubicBezTo>
                  <a:pt x="308" y="240"/>
                  <a:pt x="307" y="237"/>
                  <a:pt x="304" y="234"/>
                </a:cubicBezTo>
                <a:cubicBezTo>
                  <a:pt x="296" y="226"/>
                  <a:pt x="281" y="231"/>
                  <a:pt x="268" y="219"/>
                </a:cubicBezTo>
                <a:cubicBezTo>
                  <a:pt x="255" y="205"/>
                  <a:pt x="255" y="183"/>
                  <a:pt x="268" y="169"/>
                </a:cubicBezTo>
                <a:cubicBezTo>
                  <a:pt x="282" y="156"/>
                  <a:pt x="304" y="156"/>
                  <a:pt x="318" y="169"/>
                </a:cubicBezTo>
                <a:cubicBezTo>
                  <a:pt x="332" y="184"/>
                  <a:pt x="323" y="195"/>
                  <a:pt x="333" y="205"/>
                </a:cubicBezTo>
                <a:cubicBezTo>
                  <a:pt x="335" y="207"/>
                  <a:pt x="338" y="209"/>
                  <a:pt x="341" y="210"/>
                </a:cubicBezTo>
                <a:cubicBezTo>
                  <a:pt x="387" y="152"/>
                  <a:pt x="415" y="79"/>
                  <a:pt x="415" y="0"/>
                </a:cubicBezTo>
                <a:close/>
              </a:path>
            </a:pathLst>
          </a:custGeom>
          <a:solidFill>
            <a:srgbClr val="43B02A"/>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Freeform 7">
            <a:extLst>
              <a:ext uri="{FF2B5EF4-FFF2-40B4-BE49-F238E27FC236}">
                <a16:creationId xmlns:a16="http://schemas.microsoft.com/office/drawing/2014/main" id="{5C46A931-AABB-4BB5-9A9B-7664748D543A}"/>
              </a:ext>
            </a:extLst>
          </p:cNvPr>
          <p:cNvSpPr>
            <a:spLocks/>
          </p:cNvSpPr>
          <p:nvPr/>
        </p:nvSpPr>
        <p:spPr bwMode="auto">
          <a:xfrm>
            <a:off x="4523219" y="3638669"/>
            <a:ext cx="1567164" cy="1785106"/>
          </a:xfrm>
          <a:custGeom>
            <a:avLst/>
            <a:gdLst>
              <a:gd name="T0" fmla="*/ 590 w 590"/>
              <a:gd name="T1" fmla="*/ 414 h 671"/>
              <a:gd name="T2" fmla="*/ 590 w 590"/>
              <a:gd name="T3" fmla="*/ 512 h 671"/>
              <a:gd name="T4" fmla="*/ 577 w 590"/>
              <a:gd name="T5" fmla="*/ 516 h 671"/>
              <a:gd name="T6" fmla="*/ 541 w 590"/>
              <a:gd name="T7" fmla="*/ 502 h 671"/>
              <a:gd name="T8" fmla="*/ 506 w 590"/>
              <a:gd name="T9" fmla="*/ 537 h 671"/>
              <a:gd name="T10" fmla="*/ 541 w 590"/>
              <a:gd name="T11" fmla="*/ 571 h 671"/>
              <a:gd name="T12" fmla="*/ 577 w 590"/>
              <a:gd name="T13" fmla="*/ 557 h 671"/>
              <a:gd name="T14" fmla="*/ 590 w 590"/>
              <a:gd name="T15" fmla="*/ 562 h 671"/>
              <a:gd name="T16" fmla="*/ 590 w 590"/>
              <a:gd name="T17" fmla="*/ 671 h 671"/>
              <a:gd name="T18" fmla="*/ 180 w 590"/>
              <a:gd name="T19" fmla="*/ 506 h 671"/>
              <a:gd name="T20" fmla="*/ 172 w 590"/>
              <a:gd name="T21" fmla="*/ 511 h 671"/>
              <a:gd name="T22" fmla="*/ 156 w 590"/>
              <a:gd name="T23" fmla="*/ 546 h 671"/>
              <a:gd name="T24" fmla="*/ 107 w 590"/>
              <a:gd name="T25" fmla="*/ 546 h 671"/>
              <a:gd name="T26" fmla="*/ 107 w 590"/>
              <a:gd name="T27" fmla="*/ 497 h 671"/>
              <a:gd name="T28" fmla="*/ 142 w 590"/>
              <a:gd name="T29" fmla="*/ 481 h 671"/>
              <a:gd name="T30" fmla="*/ 148 w 590"/>
              <a:gd name="T31" fmla="*/ 472 h 671"/>
              <a:gd name="T32" fmla="*/ 0 w 590"/>
              <a:gd name="T33" fmla="*/ 82 h 671"/>
              <a:gd name="T34" fmla="*/ 109 w 590"/>
              <a:gd name="T35" fmla="*/ 82 h 671"/>
              <a:gd name="T36" fmla="*/ 113 w 590"/>
              <a:gd name="T37" fmla="*/ 71 h 671"/>
              <a:gd name="T38" fmla="*/ 99 w 590"/>
              <a:gd name="T39" fmla="*/ 35 h 671"/>
              <a:gd name="T40" fmla="*/ 133 w 590"/>
              <a:gd name="T41" fmla="*/ 0 h 671"/>
              <a:gd name="T42" fmla="*/ 168 w 590"/>
              <a:gd name="T43" fmla="*/ 35 h 671"/>
              <a:gd name="T44" fmla="*/ 154 w 590"/>
              <a:gd name="T45" fmla="*/ 71 h 671"/>
              <a:gd name="T46" fmla="*/ 157 w 590"/>
              <a:gd name="T47" fmla="*/ 82 h 671"/>
              <a:gd name="T48" fmla="*/ 258 w 590"/>
              <a:gd name="T49" fmla="*/ 82 h 671"/>
              <a:gd name="T50" fmla="*/ 333 w 590"/>
              <a:gd name="T51" fmla="*/ 292 h 671"/>
              <a:gd name="T52" fmla="*/ 340 w 590"/>
              <a:gd name="T53" fmla="*/ 287 h 671"/>
              <a:gd name="T54" fmla="*/ 356 w 590"/>
              <a:gd name="T55" fmla="*/ 251 h 671"/>
              <a:gd name="T56" fmla="*/ 405 w 590"/>
              <a:gd name="T57" fmla="*/ 251 h 671"/>
              <a:gd name="T58" fmla="*/ 405 w 590"/>
              <a:gd name="T59" fmla="*/ 301 h 671"/>
              <a:gd name="T60" fmla="*/ 369 w 590"/>
              <a:gd name="T61" fmla="*/ 316 h 671"/>
              <a:gd name="T62" fmla="*/ 364 w 590"/>
              <a:gd name="T63" fmla="*/ 325 h 671"/>
              <a:gd name="T64" fmla="*/ 590 w 590"/>
              <a:gd name="T65" fmla="*/ 414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0" h="671">
                <a:moveTo>
                  <a:pt x="590" y="414"/>
                </a:moveTo>
                <a:cubicBezTo>
                  <a:pt x="590" y="512"/>
                  <a:pt x="590" y="512"/>
                  <a:pt x="590" y="512"/>
                </a:cubicBezTo>
                <a:cubicBezTo>
                  <a:pt x="586" y="514"/>
                  <a:pt x="582" y="516"/>
                  <a:pt x="577" y="516"/>
                </a:cubicBezTo>
                <a:cubicBezTo>
                  <a:pt x="563" y="516"/>
                  <a:pt x="561" y="502"/>
                  <a:pt x="541" y="502"/>
                </a:cubicBezTo>
                <a:cubicBezTo>
                  <a:pt x="522" y="502"/>
                  <a:pt x="506" y="517"/>
                  <a:pt x="506" y="537"/>
                </a:cubicBezTo>
                <a:cubicBezTo>
                  <a:pt x="506" y="556"/>
                  <a:pt x="522" y="571"/>
                  <a:pt x="541" y="571"/>
                </a:cubicBezTo>
                <a:cubicBezTo>
                  <a:pt x="559" y="571"/>
                  <a:pt x="566" y="557"/>
                  <a:pt x="577" y="557"/>
                </a:cubicBezTo>
                <a:cubicBezTo>
                  <a:pt x="582" y="557"/>
                  <a:pt x="586" y="559"/>
                  <a:pt x="590" y="562"/>
                </a:cubicBezTo>
                <a:cubicBezTo>
                  <a:pt x="590" y="671"/>
                  <a:pt x="590" y="671"/>
                  <a:pt x="590" y="671"/>
                </a:cubicBezTo>
                <a:cubicBezTo>
                  <a:pt x="430" y="671"/>
                  <a:pt x="286" y="608"/>
                  <a:pt x="180" y="506"/>
                </a:cubicBezTo>
                <a:cubicBezTo>
                  <a:pt x="177" y="507"/>
                  <a:pt x="174" y="508"/>
                  <a:pt x="172" y="511"/>
                </a:cubicBezTo>
                <a:cubicBezTo>
                  <a:pt x="162" y="520"/>
                  <a:pt x="170" y="532"/>
                  <a:pt x="156" y="546"/>
                </a:cubicBezTo>
                <a:cubicBezTo>
                  <a:pt x="142" y="560"/>
                  <a:pt x="120" y="560"/>
                  <a:pt x="107" y="546"/>
                </a:cubicBezTo>
                <a:cubicBezTo>
                  <a:pt x="93" y="533"/>
                  <a:pt x="93" y="511"/>
                  <a:pt x="107" y="497"/>
                </a:cubicBezTo>
                <a:cubicBezTo>
                  <a:pt x="120" y="484"/>
                  <a:pt x="134" y="489"/>
                  <a:pt x="142" y="481"/>
                </a:cubicBezTo>
                <a:cubicBezTo>
                  <a:pt x="145" y="479"/>
                  <a:pt x="147" y="475"/>
                  <a:pt x="148" y="472"/>
                </a:cubicBezTo>
                <a:cubicBezTo>
                  <a:pt x="56" y="368"/>
                  <a:pt x="0" y="231"/>
                  <a:pt x="0" y="82"/>
                </a:cubicBezTo>
                <a:cubicBezTo>
                  <a:pt x="109" y="82"/>
                  <a:pt x="109" y="82"/>
                  <a:pt x="109" y="82"/>
                </a:cubicBezTo>
                <a:cubicBezTo>
                  <a:pt x="111" y="79"/>
                  <a:pt x="113" y="75"/>
                  <a:pt x="113" y="71"/>
                </a:cubicBezTo>
                <a:cubicBezTo>
                  <a:pt x="113" y="60"/>
                  <a:pt x="99" y="53"/>
                  <a:pt x="99" y="35"/>
                </a:cubicBezTo>
                <a:cubicBezTo>
                  <a:pt x="99" y="16"/>
                  <a:pt x="114" y="0"/>
                  <a:pt x="133" y="0"/>
                </a:cubicBezTo>
                <a:cubicBezTo>
                  <a:pt x="153" y="0"/>
                  <a:pt x="168" y="16"/>
                  <a:pt x="168" y="35"/>
                </a:cubicBezTo>
                <a:cubicBezTo>
                  <a:pt x="168" y="55"/>
                  <a:pt x="154" y="57"/>
                  <a:pt x="154" y="71"/>
                </a:cubicBezTo>
                <a:cubicBezTo>
                  <a:pt x="154" y="75"/>
                  <a:pt x="155" y="79"/>
                  <a:pt x="157" y="82"/>
                </a:cubicBezTo>
                <a:cubicBezTo>
                  <a:pt x="258" y="82"/>
                  <a:pt x="258" y="82"/>
                  <a:pt x="258" y="82"/>
                </a:cubicBezTo>
                <a:cubicBezTo>
                  <a:pt x="258" y="161"/>
                  <a:pt x="286" y="234"/>
                  <a:pt x="333" y="292"/>
                </a:cubicBezTo>
                <a:cubicBezTo>
                  <a:pt x="335" y="291"/>
                  <a:pt x="338" y="289"/>
                  <a:pt x="340" y="287"/>
                </a:cubicBezTo>
                <a:cubicBezTo>
                  <a:pt x="350" y="277"/>
                  <a:pt x="341" y="266"/>
                  <a:pt x="356" y="251"/>
                </a:cubicBezTo>
                <a:cubicBezTo>
                  <a:pt x="369" y="238"/>
                  <a:pt x="391" y="238"/>
                  <a:pt x="405" y="251"/>
                </a:cubicBezTo>
                <a:cubicBezTo>
                  <a:pt x="418" y="265"/>
                  <a:pt x="418" y="287"/>
                  <a:pt x="405" y="301"/>
                </a:cubicBezTo>
                <a:cubicBezTo>
                  <a:pt x="392" y="313"/>
                  <a:pt x="377" y="308"/>
                  <a:pt x="369" y="316"/>
                </a:cubicBezTo>
                <a:cubicBezTo>
                  <a:pt x="367" y="319"/>
                  <a:pt x="365" y="322"/>
                  <a:pt x="364" y="325"/>
                </a:cubicBezTo>
                <a:cubicBezTo>
                  <a:pt x="423" y="380"/>
                  <a:pt x="503" y="414"/>
                  <a:pt x="590" y="414"/>
                </a:cubicBezTo>
                <a:close/>
              </a:path>
            </a:pathLst>
          </a:custGeom>
          <a:solidFill>
            <a:schemeClr val="accent3"/>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Freeform 8">
            <a:extLst>
              <a:ext uri="{FF2B5EF4-FFF2-40B4-BE49-F238E27FC236}">
                <a16:creationId xmlns:a16="http://schemas.microsoft.com/office/drawing/2014/main" id="{68D67AD0-BC7A-4475-961F-CF14C217A33A}"/>
              </a:ext>
            </a:extLst>
          </p:cNvPr>
          <p:cNvSpPr>
            <a:spLocks/>
          </p:cNvSpPr>
          <p:nvPr/>
        </p:nvSpPr>
        <p:spPr bwMode="auto">
          <a:xfrm>
            <a:off x="6090383" y="2288325"/>
            <a:ext cx="1564917" cy="1781735"/>
          </a:xfrm>
          <a:custGeom>
            <a:avLst/>
            <a:gdLst>
              <a:gd name="T0" fmla="*/ 0 w 589"/>
              <a:gd name="T1" fmla="*/ 258 h 670"/>
              <a:gd name="T2" fmla="*/ 0 w 589"/>
              <a:gd name="T3" fmla="*/ 153 h 670"/>
              <a:gd name="T4" fmla="*/ 13 w 589"/>
              <a:gd name="T5" fmla="*/ 148 h 670"/>
              <a:gd name="T6" fmla="*/ 49 w 589"/>
              <a:gd name="T7" fmla="*/ 162 h 670"/>
              <a:gd name="T8" fmla="*/ 84 w 589"/>
              <a:gd name="T9" fmla="*/ 127 h 670"/>
              <a:gd name="T10" fmla="*/ 49 w 589"/>
              <a:gd name="T11" fmla="*/ 92 h 670"/>
              <a:gd name="T12" fmla="*/ 13 w 589"/>
              <a:gd name="T13" fmla="*/ 107 h 670"/>
              <a:gd name="T14" fmla="*/ 0 w 589"/>
              <a:gd name="T15" fmla="*/ 102 h 670"/>
              <a:gd name="T16" fmla="*/ 0 w 589"/>
              <a:gd name="T17" fmla="*/ 0 h 670"/>
              <a:gd name="T18" fmla="*/ 409 w 589"/>
              <a:gd name="T19" fmla="*/ 166 h 670"/>
              <a:gd name="T20" fmla="*/ 421 w 589"/>
              <a:gd name="T21" fmla="*/ 160 h 670"/>
              <a:gd name="T22" fmla="*/ 437 w 589"/>
              <a:gd name="T23" fmla="*/ 125 h 670"/>
              <a:gd name="T24" fmla="*/ 486 w 589"/>
              <a:gd name="T25" fmla="*/ 125 h 670"/>
              <a:gd name="T26" fmla="*/ 486 w 589"/>
              <a:gd name="T27" fmla="*/ 174 h 670"/>
              <a:gd name="T28" fmla="*/ 450 w 589"/>
              <a:gd name="T29" fmla="*/ 190 h 670"/>
              <a:gd name="T30" fmla="*/ 444 w 589"/>
              <a:gd name="T31" fmla="*/ 203 h 670"/>
              <a:gd name="T32" fmla="*/ 589 w 589"/>
              <a:gd name="T33" fmla="*/ 590 h 670"/>
              <a:gd name="T34" fmla="*/ 476 w 589"/>
              <a:gd name="T35" fmla="*/ 590 h 670"/>
              <a:gd name="T36" fmla="*/ 474 w 589"/>
              <a:gd name="T37" fmla="*/ 599 h 670"/>
              <a:gd name="T38" fmla="*/ 488 w 589"/>
              <a:gd name="T39" fmla="*/ 635 h 670"/>
              <a:gd name="T40" fmla="*/ 453 w 589"/>
              <a:gd name="T41" fmla="*/ 670 h 670"/>
              <a:gd name="T42" fmla="*/ 418 w 589"/>
              <a:gd name="T43" fmla="*/ 635 h 670"/>
              <a:gd name="T44" fmla="*/ 432 w 589"/>
              <a:gd name="T45" fmla="*/ 599 h 670"/>
              <a:gd name="T46" fmla="*/ 430 w 589"/>
              <a:gd name="T47" fmla="*/ 590 h 670"/>
              <a:gd name="T48" fmla="*/ 331 w 589"/>
              <a:gd name="T49" fmla="*/ 590 h 670"/>
              <a:gd name="T50" fmla="*/ 256 w 589"/>
              <a:gd name="T51" fmla="*/ 379 h 670"/>
              <a:gd name="T52" fmla="*/ 249 w 589"/>
              <a:gd name="T53" fmla="*/ 383 h 670"/>
              <a:gd name="T54" fmla="*/ 234 w 589"/>
              <a:gd name="T55" fmla="*/ 419 h 670"/>
              <a:gd name="T56" fmla="*/ 184 w 589"/>
              <a:gd name="T57" fmla="*/ 419 h 670"/>
              <a:gd name="T58" fmla="*/ 184 w 589"/>
              <a:gd name="T59" fmla="*/ 370 h 670"/>
              <a:gd name="T60" fmla="*/ 220 w 589"/>
              <a:gd name="T61" fmla="*/ 354 h 670"/>
              <a:gd name="T62" fmla="*/ 225 w 589"/>
              <a:gd name="T63" fmla="*/ 346 h 670"/>
              <a:gd name="T64" fmla="*/ 0 w 589"/>
              <a:gd name="T65" fmla="*/ 258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9" h="670">
                <a:moveTo>
                  <a:pt x="0" y="258"/>
                </a:moveTo>
                <a:cubicBezTo>
                  <a:pt x="0" y="153"/>
                  <a:pt x="0" y="153"/>
                  <a:pt x="0" y="153"/>
                </a:cubicBezTo>
                <a:cubicBezTo>
                  <a:pt x="3" y="150"/>
                  <a:pt x="8" y="148"/>
                  <a:pt x="13" y="148"/>
                </a:cubicBezTo>
                <a:cubicBezTo>
                  <a:pt x="24" y="148"/>
                  <a:pt x="31" y="162"/>
                  <a:pt x="49" y="162"/>
                </a:cubicBezTo>
                <a:cubicBezTo>
                  <a:pt x="68" y="162"/>
                  <a:pt x="84" y="146"/>
                  <a:pt x="84" y="127"/>
                </a:cubicBezTo>
                <a:cubicBezTo>
                  <a:pt x="84" y="108"/>
                  <a:pt x="68" y="92"/>
                  <a:pt x="49" y="92"/>
                </a:cubicBezTo>
                <a:cubicBezTo>
                  <a:pt x="29" y="92"/>
                  <a:pt x="27" y="107"/>
                  <a:pt x="13" y="107"/>
                </a:cubicBezTo>
                <a:cubicBezTo>
                  <a:pt x="8" y="107"/>
                  <a:pt x="3" y="105"/>
                  <a:pt x="0" y="102"/>
                </a:cubicBezTo>
                <a:cubicBezTo>
                  <a:pt x="0" y="0"/>
                  <a:pt x="0" y="0"/>
                  <a:pt x="0" y="0"/>
                </a:cubicBezTo>
                <a:cubicBezTo>
                  <a:pt x="159" y="0"/>
                  <a:pt x="303" y="63"/>
                  <a:pt x="409" y="166"/>
                </a:cubicBezTo>
                <a:cubicBezTo>
                  <a:pt x="414" y="166"/>
                  <a:pt x="418" y="164"/>
                  <a:pt x="421" y="160"/>
                </a:cubicBezTo>
                <a:cubicBezTo>
                  <a:pt x="431" y="151"/>
                  <a:pt x="422" y="139"/>
                  <a:pt x="437" y="125"/>
                </a:cubicBezTo>
                <a:cubicBezTo>
                  <a:pt x="450" y="111"/>
                  <a:pt x="472" y="111"/>
                  <a:pt x="486" y="125"/>
                </a:cubicBezTo>
                <a:cubicBezTo>
                  <a:pt x="499" y="138"/>
                  <a:pt x="499" y="160"/>
                  <a:pt x="486" y="174"/>
                </a:cubicBezTo>
                <a:cubicBezTo>
                  <a:pt x="473" y="187"/>
                  <a:pt x="458" y="182"/>
                  <a:pt x="450" y="190"/>
                </a:cubicBezTo>
                <a:cubicBezTo>
                  <a:pt x="446" y="193"/>
                  <a:pt x="445" y="198"/>
                  <a:pt x="444" y="203"/>
                </a:cubicBezTo>
                <a:cubicBezTo>
                  <a:pt x="535" y="306"/>
                  <a:pt x="589" y="442"/>
                  <a:pt x="589" y="590"/>
                </a:cubicBezTo>
                <a:cubicBezTo>
                  <a:pt x="476" y="590"/>
                  <a:pt x="476" y="590"/>
                  <a:pt x="476" y="590"/>
                </a:cubicBezTo>
                <a:cubicBezTo>
                  <a:pt x="474" y="593"/>
                  <a:pt x="474" y="595"/>
                  <a:pt x="474" y="599"/>
                </a:cubicBezTo>
                <a:cubicBezTo>
                  <a:pt x="474" y="612"/>
                  <a:pt x="488" y="615"/>
                  <a:pt x="488" y="635"/>
                </a:cubicBezTo>
                <a:cubicBezTo>
                  <a:pt x="488" y="654"/>
                  <a:pt x="472" y="670"/>
                  <a:pt x="453" y="670"/>
                </a:cubicBezTo>
                <a:cubicBezTo>
                  <a:pt x="434" y="670"/>
                  <a:pt x="418" y="654"/>
                  <a:pt x="418" y="635"/>
                </a:cubicBezTo>
                <a:cubicBezTo>
                  <a:pt x="418" y="616"/>
                  <a:pt x="432" y="610"/>
                  <a:pt x="432" y="599"/>
                </a:cubicBezTo>
                <a:cubicBezTo>
                  <a:pt x="432" y="595"/>
                  <a:pt x="432" y="593"/>
                  <a:pt x="430" y="590"/>
                </a:cubicBezTo>
                <a:cubicBezTo>
                  <a:pt x="331" y="590"/>
                  <a:pt x="331" y="590"/>
                  <a:pt x="331" y="590"/>
                </a:cubicBezTo>
                <a:cubicBezTo>
                  <a:pt x="331" y="510"/>
                  <a:pt x="303" y="436"/>
                  <a:pt x="256" y="379"/>
                </a:cubicBezTo>
                <a:cubicBezTo>
                  <a:pt x="253" y="380"/>
                  <a:pt x="251" y="381"/>
                  <a:pt x="249" y="383"/>
                </a:cubicBezTo>
                <a:cubicBezTo>
                  <a:pt x="239" y="393"/>
                  <a:pt x="248" y="405"/>
                  <a:pt x="234" y="419"/>
                </a:cubicBezTo>
                <a:cubicBezTo>
                  <a:pt x="220" y="432"/>
                  <a:pt x="198" y="432"/>
                  <a:pt x="184" y="419"/>
                </a:cubicBezTo>
                <a:cubicBezTo>
                  <a:pt x="171" y="405"/>
                  <a:pt x="171" y="383"/>
                  <a:pt x="184" y="370"/>
                </a:cubicBezTo>
                <a:cubicBezTo>
                  <a:pt x="197" y="357"/>
                  <a:pt x="212" y="362"/>
                  <a:pt x="220" y="354"/>
                </a:cubicBezTo>
                <a:cubicBezTo>
                  <a:pt x="222" y="352"/>
                  <a:pt x="224" y="349"/>
                  <a:pt x="225" y="346"/>
                </a:cubicBezTo>
                <a:cubicBezTo>
                  <a:pt x="166" y="292"/>
                  <a:pt x="87" y="258"/>
                  <a:pt x="0" y="258"/>
                </a:cubicBezTo>
                <a:close/>
              </a:path>
            </a:pathLst>
          </a:custGeom>
          <a:solidFill>
            <a:srgbClr val="000000"/>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Freeform 9">
            <a:extLst>
              <a:ext uri="{FF2B5EF4-FFF2-40B4-BE49-F238E27FC236}">
                <a16:creationId xmlns:a16="http://schemas.microsoft.com/office/drawing/2014/main" id="{18ECF485-F762-448A-B3A2-880BEB9C8DAF}"/>
              </a:ext>
            </a:extLst>
          </p:cNvPr>
          <p:cNvSpPr>
            <a:spLocks/>
          </p:cNvSpPr>
          <p:nvPr/>
        </p:nvSpPr>
        <p:spPr bwMode="auto">
          <a:xfrm>
            <a:off x="4523219" y="2288325"/>
            <a:ext cx="1790723" cy="1568287"/>
          </a:xfrm>
          <a:custGeom>
            <a:avLst/>
            <a:gdLst>
              <a:gd name="T0" fmla="*/ 148 w 674"/>
              <a:gd name="T1" fmla="*/ 200 h 590"/>
              <a:gd name="T2" fmla="*/ 142 w 674"/>
              <a:gd name="T3" fmla="*/ 190 h 590"/>
              <a:gd name="T4" fmla="*/ 107 w 674"/>
              <a:gd name="T5" fmla="*/ 174 h 590"/>
              <a:gd name="T6" fmla="*/ 107 w 674"/>
              <a:gd name="T7" fmla="*/ 125 h 590"/>
              <a:gd name="T8" fmla="*/ 156 w 674"/>
              <a:gd name="T9" fmla="*/ 125 h 590"/>
              <a:gd name="T10" fmla="*/ 172 w 674"/>
              <a:gd name="T11" fmla="*/ 160 h 590"/>
              <a:gd name="T12" fmla="*/ 181 w 674"/>
              <a:gd name="T13" fmla="*/ 166 h 590"/>
              <a:gd name="T14" fmla="*/ 590 w 674"/>
              <a:gd name="T15" fmla="*/ 0 h 590"/>
              <a:gd name="T16" fmla="*/ 590 w 674"/>
              <a:gd name="T17" fmla="*/ 102 h 590"/>
              <a:gd name="T18" fmla="*/ 603 w 674"/>
              <a:gd name="T19" fmla="*/ 107 h 590"/>
              <a:gd name="T20" fmla="*/ 639 w 674"/>
              <a:gd name="T21" fmla="*/ 92 h 590"/>
              <a:gd name="T22" fmla="*/ 674 w 674"/>
              <a:gd name="T23" fmla="*/ 127 h 590"/>
              <a:gd name="T24" fmla="*/ 639 w 674"/>
              <a:gd name="T25" fmla="*/ 162 h 590"/>
              <a:gd name="T26" fmla="*/ 603 w 674"/>
              <a:gd name="T27" fmla="*/ 148 h 590"/>
              <a:gd name="T28" fmla="*/ 590 w 674"/>
              <a:gd name="T29" fmla="*/ 153 h 590"/>
              <a:gd name="T30" fmla="*/ 590 w 674"/>
              <a:gd name="T31" fmla="*/ 258 h 590"/>
              <a:gd name="T32" fmla="*/ 365 w 674"/>
              <a:gd name="T33" fmla="*/ 346 h 590"/>
              <a:gd name="T34" fmla="*/ 369 w 674"/>
              <a:gd name="T35" fmla="*/ 354 h 590"/>
              <a:gd name="T36" fmla="*/ 405 w 674"/>
              <a:gd name="T37" fmla="*/ 370 h 590"/>
              <a:gd name="T38" fmla="*/ 405 w 674"/>
              <a:gd name="T39" fmla="*/ 419 h 590"/>
              <a:gd name="T40" fmla="*/ 356 w 674"/>
              <a:gd name="T41" fmla="*/ 419 h 590"/>
              <a:gd name="T42" fmla="*/ 340 w 674"/>
              <a:gd name="T43" fmla="*/ 383 h 590"/>
              <a:gd name="T44" fmla="*/ 334 w 674"/>
              <a:gd name="T45" fmla="*/ 379 h 590"/>
              <a:gd name="T46" fmla="*/ 258 w 674"/>
              <a:gd name="T47" fmla="*/ 590 h 590"/>
              <a:gd name="T48" fmla="*/ 157 w 674"/>
              <a:gd name="T49" fmla="*/ 590 h 590"/>
              <a:gd name="T50" fmla="*/ 154 w 674"/>
              <a:gd name="T51" fmla="*/ 579 h 590"/>
              <a:gd name="T52" fmla="*/ 168 w 674"/>
              <a:gd name="T53" fmla="*/ 543 h 590"/>
              <a:gd name="T54" fmla="*/ 133 w 674"/>
              <a:gd name="T55" fmla="*/ 508 h 590"/>
              <a:gd name="T56" fmla="*/ 99 w 674"/>
              <a:gd name="T57" fmla="*/ 543 h 590"/>
              <a:gd name="T58" fmla="*/ 113 w 674"/>
              <a:gd name="T59" fmla="*/ 579 h 590"/>
              <a:gd name="T60" fmla="*/ 109 w 674"/>
              <a:gd name="T61" fmla="*/ 590 h 590"/>
              <a:gd name="T62" fmla="*/ 0 w 674"/>
              <a:gd name="T63" fmla="*/ 590 h 590"/>
              <a:gd name="T64" fmla="*/ 148 w 674"/>
              <a:gd name="T65" fmla="*/ 20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4" h="590">
                <a:moveTo>
                  <a:pt x="148" y="200"/>
                </a:moveTo>
                <a:cubicBezTo>
                  <a:pt x="147" y="196"/>
                  <a:pt x="145" y="193"/>
                  <a:pt x="142" y="190"/>
                </a:cubicBezTo>
                <a:cubicBezTo>
                  <a:pt x="134" y="182"/>
                  <a:pt x="120" y="187"/>
                  <a:pt x="107" y="174"/>
                </a:cubicBezTo>
                <a:cubicBezTo>
                  <a:pt x="93" y="160"/>
                  <a:pt x="93" y="138"/>
                  <a:pt x="107" y="125"/>
                </a:cubicBezTo>
                <a:cubicBezTo>
                  <a:pt x="120" y="111"/>
                  <a:pt x="142" y="111"/>
                  <a:pt x="156" y="125"/>
                </a:cubicBezTo>
                <a:cubicBezTo>
                  <a:pt x="170" y="139"/>
                  <a:pt x="162" y="151"/>
                  <a:pt x="172" y="160"/>
                </a:cubicBezTo>
                <a:cubicBezTo>
                  <a:pt x="174" y="163"/>
                  <a:pt x="177" y="165"/>
                  <a:pt x="181" y="166"/>
                </a:cubicBezTo>
                <a:cubicBezTo>
                  <a:pt x="287" y="63"/>
                  <a:pt x="431" y="0"/>
                  <a:pt x="590" y="0"/>
                </a:cubicBezTo>
                <a:cubicBezTo>
                  <a:pt x="590" y="102"/>
                  <a:pt x="590" y="102"/>
                  <a:pt x="590" y="102"/>
                </a:cubicBezTo>
                <a:cubicBezTo>
                  <a:pt x="593" y="105"/>
                  <a:pt x="598" y="107"/>
                  <a:pt x="603" y="107"/>
                </a:cubicBezTo>
                <a:cubicBezTo>
                  <a:pt x="617" y="107"/>
                  <a:pt x="619" y="92"/>
                  <a:pt x="639" y="92"/>
                </a:cubicBezTo>
                <a:cubicBezTo>
                  <a:pt x="658" y="92"/>
                  <a:pt x="674" y="108"/>
                  <a:pt x="674" y="127"/>
                </a:cubicBezTo>
                <a:cubicBezTo>
                  <a:pt x="674" y="146"/>
                  <a:pt x="658" y="162"/>
                  <a:pt x="639" y="162"/>
                </a:cubicBezTo>
                <a:cubicBezTo>
                  <a:pt x="621" y="162"/>
                  <a:pt x="614" y="148"/>
                  <a:pt x="603" y="148"/>
                </a:cubicBezTo>
                <a:cubicBezTo>
                  <a:pt x="598" y="148"/>
                  <a:pt x="593" y="150"/>
                  <a:pt x="590" y="153"/>
                </a:cubicBezTo>
                <a:cubicBezTo>
                  <a:pt x="590" y="258"/>
                  <a:pt x="590" y="258"/>
                  <a:pt x="590" y="258"/>
                </a:cubicBezTo>
                <a:cubicBezTo>
                  <a:pt x="503" y="258"/>
                  <a:pt x="424" y="292"/>
                  <a:pt x="365" y="346"/>
                </a:cubicBezTo>
                <a:cubicBezTo>
                  <a:pt x="365" y="349"/>
                  <a:pt x="367" y="352"/>
                  <a:pt x="369" y="354"/>
                </a:cubicBezTo>
                <a:cubicBezTo>
                  <a:pt x="377" y="362"/>
                  <a:pt x="392" y="357"/>
                  <a:pt x="405" y="370"/>
                </a:cubicBezTo>
                <a:cubicBezTo>
                  <a:pt x="418" y="383"/>
                  <a:pt x="418" y="405"/>
                  <a:pt x="405" y="419"/>
                </a:cubicBezTo>
                <a:cubicBezTo>
                  <a:pt x="391" y="432"/>
                  <a:pt x="369" y="432"/>
                  <a:pt x="356" y="419"/>
                </a:cubicBezTo>
                <a:cubicBezTo>
                  <a:pt x="341" y="405"/>
                  <a:pt x="350" y="393"/>
                  <a:pt x="340" y="383"/>
                </a:cubicBezTo>
                <a:cubicBezTo>
                  <a:pt x="338" y="381"/>
                  <a:pt x="336" y="380"/>
                  <a:pt x="334" y="379"/>
                </a:cubicBezTo>
                <a:cubicBezTo>
                  <a:pt x="286" y="436"/>
                  <a:pt x="258" y="510"/>
                  <a:pt x="258" y="590"/>
                </a:cubicBezTo>
                <a:cubicBezTo>
                  <a:pt x="157" y="590"/>
                  <a:pt x="157" y="590"/>
                  <a:pt x="157" y="590"/>
                </a:cubicBezTo>
                <a:cubicBezTo>
                  <a:pt x="155" y="587"/>
                  <a:pt x="154" y="583"/>
                  <a:pt x="154" y="579"/>
                </a:cubicBezTo>
                <a:cubicBezTo>
                  <a:pt x="154" y="565"/>
                  <a:pt x="168" y="563"/>
                  <a:pt x="168" y="543"/>
                </a:cubicBezTo>
                <a:cubicBezTo>
                  <a:pt x="168" y="524"/>
                  <a:pt x="153" y="508"/>
                  <a:pt x="133" y="508"/>
                </a:cubicBezTo>
                <a:cubicBezTo>
                  <a:pt x="114" y="508"/>
                  <a:pt x="99" y="524"/>
                  <a:pt x="99" y="543"/>
                </a:cubicBezTo>
                <a:cubicBezTo>
                  <a:pt x="99" y="561"/>
                  <a:pt x="113" y="568"/>
                  <a:pt x="113" y="579"/>
                </a:cubicBezTo>
                <a:cubicBezTo>
                  <a:pt x="113" y="583"/>
                  <a:pt x="111" y="587"/>
                  <a:pt x="109" y="590"/>
                </a:cubicBezTo>
                <a:cubicBezTo>
                  <a:pt x="0" y="590"/>
                  <a:pt x="0" y="590"/>
                  <a:pt x="0" y="590"/>
                </a:cubicBezTo>
                <a:cubicBezTo>
                  <a:pt x="0" y="440"/>
                  <a:pt x="56" y="304"/>
                  <a:pt x="148" y="200"/>
                </a:cubicBezTo>
                <a:close/>
              </a:path>
            </a:pathLst>
          </a:custGeom>
          <a:solidFill>
            <a:srgbClr val="86BC25"/>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6" name="Freeform 14">
            <a:extLst>
              <a:ext uri="{FF2B5EF4-FFF2-40B4-BE49-F238E27FC236}">
                <a16:creationId xmlns:a16="http://schemas.microsoft.com/office/drawing/2014/main" id="{C1A275F3-B9B9-462D-91F0-172F68940B35}"/>
              </a:ext>
            </a:extLst>
          </p:cNvPr>
          <p:cNvSpPr>
            <a:spLocks noEditPoints="1"/>
          </p:cNvSpPr>
          <p:nvPr/>
        </p:nvSpPr>
        <p:spPr bwMode="auto">
          <a:xfrm>
            <a:off x="4077223" y="1894006"/>
            <a:ext cx="4033059" cy="3925210"/>
          </a:xfrm>
          <a:custGeom>
            <a:avLst/>
            <a:gdLst>
              <a:gd name="T0" fmla="*/ 0 w 1518"/>
              <a:gd name="T1" fmla="*/ 1349 h 1476"/>
              <a:gd name="T2" fmla="*/ 214 w 1518"/>
              <a:gd name="T3" fmla="*/ 1257 h 1476"/>
              <a:gd name="T4" fmla="*/ 283 w 1518"/>
              <a:gd name="T5" fmla="*/ 1170 h 1476"/>
              <a:gd name="T6" fmla="*/ 283 w 1518"/>
              <a:gd name="T7" fmla="*/ 306 h 1476"/>
              <a:gd name="T8" fmla="*/ 214 w 1518"/>
              <a:gd name="T9" fmla="*/ 218 h 1476"/>
              <a:gd name="T10" fmla="*/ 0 w 1518"/>
              <a:gd name="T11" fmla="*/ 126 h 1476"/>
              <a:gd name="T12" fmla="*/ 253 w 1518"/>
              <a:gd name="T13" fmla="*/ 126 h 1476"/>
              <a:gd name="T14" fmla="*/ 290 w 1518"/>
              <a:gd name="T15" fmla="*/ 283 h 1476"/>
              <a:gd name="T16" fmla="*/ 758 w 1518"/>
              <a:gd name="T17" fmla="*/ 96 h 1476"/>
              <a:gd name="T18" fmla="*/ 1228 w 1518"/>
              <a:gd name="T19" fmla="*/ 283 h 1476"/>
              <a:gd name="T20" fmla="*/ 1264 w 1518"/>
              <a:gd name="T21" fmla="*/ 126 h 1476"/>
              <a:gd name="T22" fmla="*/ 1518 w 1518"/>
              <a:gd name="T23" fmla="*/ 126 h 1476"/>
              <a:gd name="T24" fmla="*/ 1304 w 1518"/>
              <a:gd name="T25" fmla="*/ 218 h 1476"/>
              <a:gd name="T26" fmla="*/ 1234 w 1518"/>
              <a:gd name="T27" fmla="*/ 308 h 1476"/>
              <a:gd name="T28" fmla="*/ 1234 w 1518"/>
              <a:gd name="T29" fmla="*/ 1168 h 1476"/>
              <a:gd name="T30" fmla="*/ 1304 w 1518"/>
              <a:gd name="T31" fmla="*/ 1257 h 1476"/>
              <a:gd name="T32" fmla="*/ 1518 w 1518"/>
              <a:gd name="T33" fmla="*/ 1349 h 1476"/>
              <a:gd name="T34" fmla="*/ 1264 w 1518"/>
              <a:gd name="T35" fmla="*/ 1349 h 1476"/>
              <a:gd name="T36" fmla="*/ 1228 w 1518"/>
              <a:gd name="T37" fmla="*/ 1192 h 1476"/>
              <a:gd name="T38" fmla="*/ 758 w 1518"/>
              <a:gd name="T39" fmla="*/ 1380 h 1476"/>
              <a:gd name="T40" fmla="*/ 290 w 1518"/>
              <a:gd name="T41" fmla="*/ 1192 h 1476"/>
              <a:gd name="T42" fmla="*/ 253 w 1518"/>
              <a:gd name="T43" fmla="*/ 1349 h 1476"/>
              <a:gd name="T44" fmla="*/ 300 w 1518"/>
              <a:gd name="T45" fmla="*/ 1158 h 1476"/>
              <a:gd name="T46" fmla="*/ 313 w 1518"/>
              <a:gd name="T47" fmla="*/ 1189 h 1476"/>
              <a:gd name="T48" fmla="*/ 1204 w 1518"/>
              <a:gd name="T49" fmla="*/ 1188 h 1476"/>
              <a:gd name="T50" fmla="*/ 1391 w 1518"/>
              <a:gd name="T51" fmla="*/ 738 h 1476"/>
              <a:gd name="T52" fmla="*/ 1203 w 1518"/>
              <a:gd name="T53" fmla="*/ 288 h 1476"/>
              <a:gd name="T54" fmla="*/ 314 w 1518"/>
              <a:gd name="T55" fmla="*/ 286 h 1476"/>
              <a:gd name="T56" fmla="*/ 124 w 1518"/>
              <a:gd name="T57" fmla="*/ 738 h 1476"/>
              <a:gd name="T58" fmla="*/ 300 w 1518"/>
              <a:gd name="T59" fmla="*/ 1158 h 1476"/>
              <a:gd name="T60" fmla="*/ 1484 w 1518"/>
              <a:gd name="T61" fmla="*/ 126 h 1476"/>
              <a:gd name="T62" fmla="*/ 1298 w 1518"/>
              <a:gd name="T63" fmla="*/ 126 h 1476"/>
              <a:gd name="T64" fmla="*/ 127 w 1518"/>
              <a:gd name="T65" fmla="*/ 34 h 1476"/>
              <a:gd name="T66" fmla="*/ 127 w 1518"/>
              <a:gd name="T67" fmla="*/ 219 h 1476"/>
              <a:gd name="T68" fmla="*/ 127 w 1518"/>
              <a:gd name="T69" fmla="*/ 34 h 1476"/>
              <a:gd name="T70" fmla="*/ 1484 w 1518"/>
              <a:gd name="T71" fmla="*/ 1349 h 1476"/>
              <a:gd name="T72" fmla="*/ 1298 w 1518"/>
              <a:gd name="T73" fmla="*/ 1349 h 1476"/>
              <a:gd name="T74" fmla="*/ 127 w 1518"/>
              <a:gd name="T75" fmla="*/ 1442 h 1476"/>
              <a:gd name="T76" fmla="*/ 127 w 1518"/>
              <a:gd name="T77" fmla="*/ 1256 h 1476"/>
              <a:gd name="T78" fmla="*/ 127 w 1518"/>
              <a:gd name="T79" fmla="*/ 1442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 h="1476">
                <a:moveTo>
                  <a:pt x="127" y="1476"/>
                </a:moveTo>
                <a:cubicBezTo>
                  <a:pt x="57" y="1476"/>
                  <a:pt x="0" y="1419"/>
                  <a:pt x="0" y="1349"/>
                </a:cubicBezTo>
                <a:cubicBezTo>
                  <a:pt x="0" y="1279"/>
                  <a:pt x="57" y="1222"/>
                  <a:pt x="127" y="1222"/>
                </a:cubicBezTo>
                <a:cubicBezTo>
                  <a:pt x="160" y="1222"/>
                  <a:pt x="191" y="1235"/>
                  <a:pt x="214" y="1257"/>
                </a:cubicBezTo>
                <a:cubicBezTo>
                  <a:pt x="284" y="1186"/>
                  <a:pt x="284" y="1186"/>
                  <a:pt x="284" y="1186"/>
                </a:cubicBezTo>
                <a:cubicBezTo>
                  <a:pt x="281" y="1181"/>
                  <a:pt x="281" y="1175"/>
                  <a:pt x="283" y="1170"/>
                </a:cubicBezTo>
                <a:cubicBezTo>
                  <a:pt x="179" y="1056"/>
                  <a:pt x="116" y="904"/>
                  <a:pt x="116" y="738"/>
                </a:cubicBezTo>
                <a:cubicBezTo>
                  <a:pt x="116" y="572"/>
                  <a:pt x="179" y="420"/>
                  <a:pt x="283" y="306"/>
                </a:cubicBezTo>
                <a:cubicBezTo>
                  <a:pt x="281" y="301"/>
                  <a:pt x="281" y="294"/>
                  <a:pt x="284" y="289"/>
                </a:cubicBezTo>
                <a:cubicBezTo>
                  <a:pt x="214" y="218"/>
                  <a:pt x="214" y="218"/>
                  <a:pt x="214" y="218"/>
                </a:cubicBezTo>
                <a:cubicBezTo>
                  <a:pt x="191" y="240"/>
                  <a:pt x="160" y="253"/>
                  <a:pt x="127" y="253"/>
                </a:cubicBezTo>
                <a:cubicBezTo>
                  <a:pt x="57" y="253"/>
                  <a:pt x="0" y="196"/>
                  <a:pt x="0" y="126"/>
                </a:cubicBezTo>
                <a:cubicBezTo>
                  <a:pt x="0" y="56"/>
                  <a:pt x="57" y="0"/>
                  <a:pt x="127" y="0"/>
                </a:cubicBezTo>
                <a:cubicBezTo>
                  <a:pt x="197" y="0"/>
                  <a:pt x="253" y="56"/>
                  <a:pt x="253" y="126"/>
                </a:cubicBezTo>
                <a:cubicBezTo>
                  <a:pt x="253" y="159"/>
                  <a:pt x="241" y="190"/>
                  <a:pt x="220" y="212"/>
                </a:cubicBezTo>
                <a:cubicBezTo>
                  <a:pt x="290" y="283"/>
                  <a:pt x="290" y="283"/>
                  <a:pt x="290" y="283"/>
                </a:cubicBezTo>
                <a:cubicBezTo>
                  <a:pt x="295" y="280"/>
                  <a:pt x="301" y="279"/>
                  <a:pt x="307" y="281"/>
                </a:cubicBezTo>
                <a:cubicBezTo>
                  <a:pt x="423" y="167"/>
                  <a:pt x="582" y="96"/>
                  <a:pt x="758" y="96"/>
                </a:cubicBezTo>
                <a:cubicBezTo>
                  <a:pt x="934" y="96"/>
                  <a:pt x="1094" y="167"/>
                  <a:pt x="1210" y="282"/>
                </a:cubicBezTo>
                <a:cubicBezTo>
                  <a:pt x="1215" y="279"/>
                  <a:pt x="1222" y="279"/>
                  <a:pt x="1228" y="283"/>
                </a:cubicBezTo>
                <a:cubicBezTo>
                  <a:pt x="1298" y="212"/>
                  <a:pt x="1298" y="212"/>
                  <a:pt x="1298" y="212"/>
                </a:cubicBezTo>
                <a:cubicBezTo>
                  <a:pt x="1277" y="190"/>
                  <a:pt x="1264" y="159"/>
                  <a:pt x="1264" y="126"/>
                </a:cubicBezTo>
                <a:cubicBezTo>
                  <a:pt x="1264" y="56"/>
                  <a:pt x="1321" y="0"/>
                  <a:pt x="1391" y="0"/>
                </a:cubicBezTo>
                <a:cubicBezTo>
                  <a:pt x="1461" y="0"/>
                  <a:pt x="1518" y="56"/>
                  <a:pt x="1518" y="126"/>
                </a:cubicBezTo>
                <a:cubicBezTo>
                  <a:pt x="1518" y="196"/>
                  <a:pt x="1461" y="253"/>
                  <a:pt x="1391" y="253"/>
                </a:cubicBezTo>
                <a:cubicBezTo>
                  <a:pt x="1357" y="253"/>
                  <a:pt x="1327" y="240"/>
                  <a:pt x="1304" y="218"/>
                </a:cubicBezTo>
                <a:cubicBezTo>
                  <a:pt x="1234" y="289"/>
                  <a:pt x="1234" y="289"/>
                  <a:pt x="1234" y="289"/>
                </a:cubicBezTo>
                <a:cubicBezTo>
                  <a:pt x="1237" y="295"/>
                  <a:pt x="1237" y="302"/>
                  <a:pt x="1234" y="308"/>
                </a:cubicBezTo>
                <a:cubicBezTo>
                  <a:pt x="1337" y="422"/>
                  <a:pt x="1399" y="572"/>
                  <a:pt x="1399" y="738"/>
                </a:cubicBezTo>
                <a:cubicBezTo>
                  <a:pt x="1399" y="903"/>
                  <a:pt x="1337" y="1054"/>
                  <a:pt x="1234" y="1168"/>
                </a:cubicBezTo>
                <a:cubicBezTo>
                  <a:pt x="1237" y="1173"/>
                  <a:pt x="1237" y="1181"/>
                  <a:pt x="1234" y="1186"/>
                </a:cubicBezTo>
                <a:cubicBezTo>
                  <a:pt x="1304" y="1257"/>
                  <a:pt x="1304" y="1257"/>
                  <a:pt x="1304" y="1257"/>
                </a:cubicBezTo>
                <a:cubicBezTo>
                  <a:pt x="1327" y="1235"/>
                  <a:pt x="1357" y="1222"/>
                  <a:pt x="1391" y="1222"/>
                </a:cubicBezTo>
                <a:cubicBezTo>
                  <a:pt x="1461" y="1222"/>
                  <a:pt x="1518" y="1279"/>
                  <a:pt x="1518" y="1349"/>
                </a:cubicBezTo>
                <a:cubicBezTo>
                  <a:pt x="1518" y="1419"/>
                  <a:pt x="1461" y="1476"/>
                  <a:pt x="1391" y="1476"/>
                </a:cubicBezTo>
                <a:cubicBezTo>
                  <a:pt x="1321" y="1476"/>
                  <a:pt x="1264" y="1419"/>
                  <a:pt x="1264" y="1349"/>
                </a:cubicBezTo>
                <a:cubicBezTo>
                  <a:pt x="1264" y="1316"/>
                  <a:pt x="1277" y="1285"/>
                  <a:pt x="1298" y="1263"/>
                </a:cubicBezTo>
                <a:cubicBezTo>
                  <a:pt x="1228" y="1192"/>
                  <a:pt x="1228" y="1192"/>
                  <a:pt x="1228" y="1192"/>
                </a:cubicBezTo>
                <a:cubicBezTo>
                  <a:pt x="1222" y="1195"/>
                  <a:pt x="1216" y="1196"/>
                  <a:pt x="1210" y="1193"/>
                </a:cubicBezTo>
                <a:cubicBezTo>
                  <a:pt x="1094" y="1308"/>
                  <a:pt x="934" y="1380"/>
                  <a:pt x="758" y="1380"/>
                </a:cubicBezTo>
                <a:cubicBezTo>
                  <a:pt x="582" y="1380"/>
                  <a:pt x="422" y="1309"/>
                  <a:pt x="306" y="1194"/>
                </a:cubicBezTo>
                <a:cubicBezTo>
                  <a:pt x="301" y="1196"/>
                  <a:pt x="295" y="1195"/>
                  <a:pt x="290" y="1192"/>
                </a:cubicBezTo>
                <a:cubicBezTo>
                  <a:pt x="220" y="1263"/>
                  <a:pt x="220" y="1263"/>
                  <a:pt x="220" y="1263"/>
                </a:cubicBezTo>
                <a:cubicBezTo>
                  <a:pt x="241" y="1285"/>
                  <a:pt x="253" y="1316"/>
                  <a:pt x="253" y="1349"/>
                </a:cubicBezTo>
                <a:cubicBezTo>
                  <a:pt x="253" y="1419"/>
                  <a:pt x="197" y="1476"/>
                  <a:pt x="127" y="1476"/>
                </a:cubicBezTo>
                <a:close/>
                <a:moveTo>
                  <a:pt x="300" y="1158"/>
                </a:moveTo>
                <a:cubicBezTo>
                  <a:pt x="310" y="1158"/>
                  <a:pt x="318" y="1166"/>
                  <a:pt x="318" y="1177"/>
                </a:cubicBezTo>
                <a:cubicBezTo>
                  <a:pt x="318" y="1181"/>
                  <a:pt x="316" y="1186"/>
                  <a:pt x="313" y="1189"/>
                </a:cubicBezTo>
                <a:cubicBezTo>
                  <a:pt x="428" y="1302"/>
                  <a:pt x="584" y="1371"/>
                  <a:pt x="758" y="1371"/>
                </a:cubicBezTo>
                <a:cubicBezTo>
                  <a:pt x="932" y="1371"/>
                  <a:pt x="1089" y="1301"/>
                  <a:pt x="1204" y="1188"/>
                </a:cubicBezTo>
                <a:cubicBezTo>
                  <a:pt x="1191" y="1171"/>
                  <a:pt x="1212" y="1150"/>
                  <a:pt x="1228" y="1161"/>
                </a:cubicBezTo>
                <a:cubicBezTo>
                  <a:pt x="1329" y="1049"/>
                  <a:pt x="1391" y="901"/>
                  <a:pt x="1391" y="738"/>
                </a:cubicBezTo>
                <a:cubicBezTo>
                  <a:pt x="1391" y="575"/>
                  <a:pt x="1329" y="426"/>
                  <a:pt x="1228" y="314"/>
                </a:cubicBezTo>
                <a:cubicBezTo>
                  <a:pt x="1211" y="324"/>
                  <a:pt x="1192" y="304"/>
                  <a:pt x="1203" y="288"/>
                </a:cubicBezTo>
                <a:cubicBezTo>
                  <a:pt x="1089" y="175"/>
                  <a:pt x="931" y="105"/>
                  <a:pt x="758" y="105"/>
                </a:cubicBezTo>
                <a:cubicBezTo>
                  <a:pt x="585" y="105"/>
                  <a:pt x="428" y="174"/>
                  <a:pt x="314" y="286"/>
                </a:cubicBezTo>
                <a:cubicBezTo>
                  <a:pt x="328" y="303"/>
                  <a:pt x="306" y="326"/>
                  <a:pt x="288" y="313"/>
                </a:cubicBezTo>
                <a:cubicBezTo>
                  <a:pt x="187" y="425"/>
                  <a:pt x="124" y="574"/>
                  <a:pt x="124" y="738"/>
                </a:cubicBezTo>
                <a:cubicBezTo>
                  <a:pt x="124" y="901"/>
                  <a:pt x="186" y="1050"/>
                  <a:pt x="288" y="1163"/>
                </a:cubicBezTo>
                <a:cubicBezTo>
                  <a:pt x="291" y="1160"/>
                  <a:pt x="295" y="1158"/>
                  <a:pt x="300" y="1158"/>
                </a:cubicBezTo>
                <a:close/>
                <a:moveTo>
                  <a:pt x="1391" y="34"/>
                </a:moveTo>
                <a:cubicBezTo>
                  <a:pt x="1442" y="34"/>
                  <a:pt x="1484" y="75"/>
                  <a:pt x="1484" y="126"/>
                </a:cubicBezTo>
                <a:cubicBezTo>
                  <a:pt x="1484" y="177"/>
                  <a:pt x="1442" y="219"/>
                  <a:pt x="1391" y="219"/>
                </a:cubicBezTo>
                <a:cubicBezTo>
                  <a:pt x="1340" y="219"/>
                  <a:pt x="1298" y="177"/>
                  <a:pt x="1298" y="126"/>
                </a:cubicBezTo>
                <a:cubicBezTo>
                  <a:pt x="1298" y="75"/>
                  <a:pt x="1340" y="34"/>
                  <a:pt x="1391" y="34"/>
                </a:cubicBezTo>
                <a:close/>
                <a:moveTo>
                  <a:pt x="127" y="34"/>
                </a:moveTo>
                <a:cubicBezTo>
                  <a:pt x="76" y="34"/>
                  <a:pt x="34" y="75"/>
                  <a:pt x="34" y="126"/>
                </a:cubicBezTo>
                <a:cubicBezTo>
                  <a:pt x="34" y="177"/>
                  <a:pt x="76" y="219"/>
                  <a:pt x="127" y="219"/>
                </a:cubicBezTo>
                <a:cubicBezTo>
                  <a:pt x="178" y="219"/>
                  <a:pt x="219" y="177"/>
                  <a:pt x="219" y="126"/>
                </a:cubicBezTo>
                <a:cubicBezTo>
                  <a:pt x="219" y="75"/>
                  <a:pt x="178" y="34"/>
                  <a:pt x="127" y="34"/>
                </a:cubicBezTo>
                <a:close/>
                <a:moveTo>
                  <a:pt x="1391" y="1442"/>
                </a:moveTo>
                <a:cubicBezTo>
                  <a:pt x="1442" y="1442"/>
                  <a:pt x="1484" y="1400"/>
                  <a:pt x="1484" y="1349"/>
                </a:cubicBezTo>
                <a:cubicBezTo>
                  <a:pt x="1484" y="1298"/>
                  <a:pt x="1442" y="1256"/>
                  <a:pt x="1391" y="1256"/>
                </a:cubicBezTo>
                <a:cubicBezTo>
                  <a:pt x="1340" y="1256"/>
                  <a:pt x="1298" y="1298"/>
                  <a:pt x="1298" y="1349"/>
                </a:cubicBezTo>
                <a:cubicBezTo>
                  <a:pt x="1298" y="1400"/>
                  <a:pt x="1340" y="1442"/>
                  <a:pt x="1391" y="1442"/>
                </a:cubicBezTo>
                <a:close/>
                <a:moveTo>
                  <a:pt x="127" y="1442"/>
                </a:moveTo>
                <a:cubicBezTo>
                  <a:pt x="76" y="1442"/>
                  <a:pt x="34" y="1400"/>
                  <a:pt x="34" y="1349"/>
                </a:cubicBezTo>
                <a:cubicBezTo>
                  <a:pt x="34" y="1298"/>
                  <a:pt x="76" y="1256"/>
                  <a:pt x="127" y="1256"/>
                </a:cubicBezTo>
                <a:cubicBezTo>
                  <a:pt x="178" y="1256"/>
                  <a:pt x="219" y="1298"/>
                  <a:pt x="219" y="1349"/>
                </a:cubicBezTo>
                <a:cubicBezTo>
                  <a:pt x="219" y="1400"/>
                  <a:pt x="178" y="1442"/>
                  <a:pt x="127" y="1442"/>
                </a:cubicBez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 name="Inhaltsplatzhalter 4">
            <a:extLst>
              <a:ext uri="{FF2B5EF4-FFF2-40B4-BE49-F238E27FC236}">
                <a16:creationId xmlns:a16="http://schemas.microsoft.com/office/drawing/2014/main" id="{2F022A49-4890-4481-9250-D960C0A53C94}"/>
              </a:ext>
            </a:extLst>
          </p:cNvPr>
          <p:cNvSpPr txBox="1">
            <a:spLocks/>
          </p:cNvSpPr>
          <p:nvPr/>
        </p:nvSpPr>
        <p:spPr>
          <a:xfrm>
            <a:off x="4921656" y="2887000"/>
            <a:ext cx="573692" cy="24622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1600" dirty="0">
                <a:solidFill>
                  <a:prstClr val="white"/>
                </a:solidFill>
                <a:latin typeface="+mn-lt"/>
              </a:rPr>
              <a:t>40%</a:t>
            </a:r>
          </a:p>
        </p:txBody>
      </p:sp>
      <p:sp>
        <p:nvSpPr>
          <p:cNvPr id="78" name="Inhaltsplatzhalter 4">
            <a:extLst>
              <a:ext uri="{FF2B5EF4-FFF2-40B4-BE49-F238E27FC236}">
                <a16:creationId xmlns:a16="http://schemas.microsoft.com/office/drawing/2014/main" id="{D2C46C31-BADC-4C14-B9A1-48B9FEE5EA90}"/>
              </a:ext>
            </a:extLst>
          </p:cNvPr>
          <p:cNvSpPr txBox="1">
            <a:spLocks/>
          </p:cNvSpPr>
          <p:nvPr/>
        </p:nvSpPr>
        <p:spPr>
          <a:xfrm>
            <a:off x="4921656" y="4564708"/>
            <a:ext cx="573692" cy="24622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1600" dirty="0">
                <a:solidFill>
                  <a:prstClr val="white"/>
                </a:solidFill>
                <a:latin typeface="+mn-lt"/>
              </a:rPr>
              <a:t>90%</a:t>
            </a:r>
          </a:p>
        </p:txBody>
      </p:sp>
      <p:sp>
        <p:nvSpPr>
          <p:cNvPr id="79" name="Inhaltsplatzhalter 4">
            <a:extLst>
              <a:ext uri="{FF2B5EF4-FFF2-40B4-BE49-F238E27FC236}">
                <a16:creationId xmlns:a16="http://schemas.microsoft.com/office/drawing/2014/main" id="{F444A587-B171-47AF-A660-C10E657487CD}"/>
              </a:ext>
            </a:extLst>
          </p:cNvPr>
          <p:cNvSpPr txBox="1">
            <a:spLocks/>
          </p:cNvSpPr>
          <p:nvPr/>
        </p:nvSpPr>
        <p:spPr>
          <a:xfrm>
            <a:off x="6712379" y="2887000"/>
            <a:ext cx="573692" cy="24622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1600" dirty="0">
                <a:solidFill>
                  <a:prstClr val="white"/>
                </a:solidFill>
                <a:latin typeface="+mn-lt"/>
              </a:rPr>
              <a:t>50%</a:t>
            </a:r>
          </a:p>
        </p:txBody>
      </p:sp>
      <p:sp>
        <p:nvSpPr>
          <p:cNvPr id="80" name="Inhaltsplatzhalter 4">
            <a:extLst>
              <a:ext uri="{FF2B5EF4-FFF2-40B4-BE49-F238E27FC236}">
                <a16:creationId xmlns:a16="http://schemas.microsoft.com/office/drawing/2014/main" id="{5C3E29A4-68CE-4313-95FA-646E01008587}"/>
              </a:ext>
            </a:extLst>
          </p:cNvPr>
          <p:cNvSpPr txBox="1">
            <a:spLocks/>
          </p:cNvSpPr>
          <p:nvPr/>
        </p:nvSpPr>
        <p:spPr>
          <a:xfrm>
            <a:off x="6712379" y="4564708"/>
            <a:ext cx="573692" cy="24622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1600" dirty="0">
                <a:solidFill>
                  <a:prstClr val="white"/>
                </a:solidFill>
                <a:latin typeface="+mn-lt"/>
              </a:rPr>
              <a:t>70%</a:t>
            </a:r>
          </a:p>
        </p:txBody>
      </p:sp>
      <p:sp>
        <p:nvSpPr>
          <p:cNvPr id="81" name="Oval 10">
            <a:extLst>
              <a:ext uri="{FF2B5EF4-FFF2-40B4-BE49-F238E27FC236}">
                <a16:creationId xmlns:a16="http://schemas.microsoft.com/office/drawing/2014/main" id="{41CFF724-BCB1-4042-A24E-95397C632942}"/>
              </a:ext>
            </a:extLst>
          </p:cNvPr>
          <p:cNvSpPr>
            <a:spLocks noChangeArrowheads="1"/>
          </p:cNvSpPr>
          <p:nvPr/>
        </p:nvSpPr>
        <p:spPr bwMode="auto">
          <a:xfrm>
            <a:off x="7526107" y="1985003"/>
            <a:ext cx="493179" cy="492056"/>
          </a:xfrm>
          <a:prstGeom prst="ellipse">
            <a:avLst/>
          </a:prstGeom>
          <a:solidFill>
            <a:srgbClr val="000000"/>
          </a:solidFill>
          <a:ln>
            <a:noFill/>
          </a:ln>
          <a:effectLst/>
        </p:spPr>
        <p:txBody>
          <a:bodyPr vert="horz" wrap="square" lIns="0" tIns="0" rIns="0" bIns="0" numCol="1" anchor="ctr" anchorCtr="0" compatLnSpc="1">
            <a:prstTxWarp prst="textNoShape">
              <a:avLst/>
            </a:prstTxWarp>
          </a:bodyPr>
          <a:lstStyle/>
          <a:p>
            <a:pPr algn="ctr"/>
            <a:r>
              <a:rPr lang="en-US" sz="1600" b="1" dirty="0">
                <a:solidFill>
                  <a:prstClr val="white"/>
                </a:solidFill>
              </a:rPr>
              <a:t>02</a:t>
            </a:r>
          </a:p>
        </p:txBody>
      </p:sp>
      <p:sp>
        <p:nvSpPr>
          <p:cNvPr id="82" name="Oval 11">
            <a:extLst>
              <a:ext uri="{FF2B5EF4-FFF2-40B4-BE49-F238E27FC236}">
                <a16:creationId xmlns:a16="http://schemas.microsoft.com/office/drawing/2014/main" id="{32F84BB2-5217-400A-B10A-F9C8DB006899}"/>
              </a:ext>
            </a:extLst>
          </p:cNvPr>
          <p:cNvSpPr>
            <a:spLocks noChangeArrowheads="1"/>
          </p:cNvSpPr>
          <p:nvPr/>
        </p:nvSpPr>
        <p:spPr bwMode="auto">
          <a:xfrm>
            <a:off x="4167096" y="1985003"/>
            <a:ext cx="492056" cy="492056"/>
          </a:xfrm>
          <a:prstGeom prst="ellipse">
            <a:avLst/>
          </a:prstGeom>
          <a:solidFill>
            <a:srgbClr val="86BC25"/>
          </a:solidFill>
          <a:ln>
            <a:noFill/>
          </a:ln>
          <a:effectLst/>
        </p:spPr>
        <p:txBody>
          <a:bodyPr vert="horz" wrap="square" lIns="0" tIns="0" rIns="0" bIns="0" numCol="1" anchor="ctr" anchorCtr="0" compatLnSpc="1">
            <a:prstTxWarp prst="textNoShape">
              <a:avLst/>
            </a:prstTxWarp>
          </a:bodyPr>
          <a:lstStyle/>
          <a:p>
            <a:pPr algn="ctr"/>
            <a:r>
              <a:rPr lang="en-US" sz="1600" b="1" dirty="0">
                <a:solidFill>
                  <a:prstClr val="white"/>
                </a:solidFill>
              </a:rPr>
              <a:t>01</a:t>
            </a:r>
          </a:p>
        </p:txBody>
      </p:sp>
      <p:sp>
        <p:nvSpPr>
          <p:cNvPr id="83" name="Oval 12">
            <a:extLst>
              <a:ext uri="{FF2B5EF4-FFF2-40B4-BE49-F238E27FC236}">
                <a16:creationId xmlns:a16="http://schemas.microsoft.com/office/drawing/2014/main" id="{C99B0698-248D-4640-8C46-34479D2E3FD4}"/>
              </a:ext>
            </a:extLst>
          </p:cNvPr>
          <p:cNvSpPr>
            <a:spLocks noChangeArrowheads="1"/>
          </p:cNvSpPr>
          <p:nvPr/>
        </p:nvSpPr>
        <p:spPr bwMode="auto">
          <a:xfrm>
            <a:off x="7526107" y="5233917"/>
            <a:ext cx="493179" cy="495426"/>
          </a:xfrm>
          <a:prstGeom prst="ellipse">
            <a:avLst/>
          </a:prstGeom>
          <a:solidFill>
            <a:srgbClr val="43B02A"/>
          </a:solidFill>
          <a:ln>
            <a:noFill/>
          </a:ln>
          <a:effectLst/>
        </p:spPr>
        <p:txBody>
          <a:bodyPr vert="horz" wrap="square" lIns="0" tIns="0" rIns="0" bIns="0" numCol="1" anchor="ctr" anchorCtr="0" compatLnSpc="1">
            <a:prstTxWarp prst="textNoShape">
              <a:avLst/>
            </a:prstTxWarp>
          </a:bodyPr>
          <a:lstStyle/>
          <a:p>
            <a:pPr algn="ctr"/>
            <a:r>
              <a:rPr lang="en-US" sz="1600" b="1" dirty="0">
                <a:solidFill>
                  <a:prstClr val="white"/>
                </a:solidFill>
              </a:rPr>
              <a:t>03</a:t>
            </a:r>
          </a:p>
        </p:txBody>
      </p:sp>
      <p:sp>
        <p:nvSpPr>
          <p:cNvPr id="84" name="Oval 13">
            <a:extLst>
              <a:ext uri="{FF2B5EF4-FFF2-40B4-BE49-F238E27FC236}">
                <a16:creationId xmlns:a16="http://schemas.microsoft.com/office/drawing/2014/main" id="{B586D0D0-0C3E-4B67-9170-54ED03A0BADC}"/>
              </a:ext>
            </a:extLst>
          </p:cNvPr>
          <p:cNvSpPr>
            <a:spLocks noChangeArrowheads="1"/>
          </p:cNvSpPr>
          <p:nvPr/>
        </p:nvSpPr>
        <p:spPr bwMode="auto">
          <a:xfrm>
            <a:off x="4167096" y="5233917"/>
            <a:ext cx="492056" cy="495426"/>
          </a:xfrm>
          <a:prstGeom prst="ellipse">
            <a:avLst/>
          </a:prstGeom>
          <a:solidFill>
            <a:schemeClr val="accent3"/>
          </a:solidFill>
          <a:ln>
            <a:noFill/>
          </a:ln>
          <a:effectLst/>
        </p:spPr>
        <p:txBody>
          <a:bodyPr vert="horz" wrap="square" lIns="0" tIns="0" rIns="0" bIns="0" numCol="1" anchor="ctr" anchorCtr="0" compatLnSpc="1">
            <a:prstTxWarp prst="textNoShape">
              <a:avLst/>
            </a:prstTxWarp>
          </a:bodyPr>
          <a:lstStyle/>
          <a:p>
            <a:pPr algn="ctr"/>
            <a:r>
              <a:rPr lang="en-US" sz="1600" b="1" dirty="0">
                <a:solidFill>
                  <a:prstClr val="white"/>
                </a:solidFill>
              </a:rPr>
              <a:t>04</a:t>
            </a:r>
          </a:p>
        </p:txBody>
      </p:sp>
      <p:sp>
        <p:nvSpPr>
          <p:cNvPr id="85" name="TextBox 20">
            <a:extLst>
              <a:ext uri="{FF2B5EF4-FFF2-40B4-BE49-F238E27FC236}">
                <a16:creationId xmlns:a16="http://schemas.microsoft.com/office/drawing/2014/main" id="{6813D3DA-EDC9-42BA-82CC-A938298F40E4}"/>
              </a:ext>
            </a:extLst>
          </p:cNvPr>
          <p:cNvSpPr txBox="1"/>
          <p:nvPr/>
        </p:nvSpPr>
        <p:spPr>
          <a:xfrm>
            <a:off x="8332719" y="1626443"/>
            <a:ext cx="1997245" cy="338554"/>
          </a:xfrm>
          <a:prstGeom prst="rect">
            <a:avLst/>
          </a:prstGeom>
          <a:noFill/>
        </p:spPr>
        <p:txBody>
          <a:bodyPr wrap="square" rtlCol="0">
            <a:spAutoFit/>
          </a:bodyPr>
          <a:lstStyle/>
          <a:p>
            <a:r>
              <a:rPr lang="en-US" sz="1600" b="1" dirty="0">
                <a:solidFill>
                  <a:srgbClr val="000000"/>
                </a:solidFill>
                <a:ea typeface="+mj-ea"/>
                <a:cs typeface="Lato" panose="020F0502020204030203" pitchFamily="34" charset="0"/>
              </a:rPr>
              <a:t>Option 2</a:t>
            </a:r>
            <a:endParaRPr lang="id-ID" sz="1600" b="1" dirty="0">
              <a:solidFill>
                <a:srgbClr val="000000"/>
              </a:solidFill>
              <a:ea typeface="+mj-ea"/>
              <a:cs typeface="Lato" panose="020F0502020204030203" pitchFamily="34" charset="0"/>
            </a:endParaRPr>
          </a:p>
        </p:txBody>
      </p:sp>
      <p:sp>
        <p:nvSpPr>
          <p:cNvPr id="86" name="Rectangle 21">
            <a:extLst>
              <a:ext uri="{FF2B5EF4-FFF2-40B4-BE49-F238E27FC236}">
                <a16:creationId xmlns:a16="http://schemas.microsoft.com/office/drawing/2014/main" id="{CA3BA5B6-C240-4A4F-AEF0-69499A2715AC}"/>
              </a:ext>
            </a:extLst>
          </p:cNvPr>
          <p:cNvSpPr/>
          <p:nvPr/>
        </p:nvSpPr>
        <p:spPr>
          <a:xfrm>
            <a:off x="8332719" y="1934220"/>
            <a:ext cx="3414781" cy="892552"/>
          </a:xfrm>
          <a:prstGeom prst="rect">
            <a:avLst/>
          </a:prstGeom>
        </p:spPr>
        <p:txBody>
          <a:bodyPr wrap="square">
            <a:spAutoFit/>
          </a:bodyPr>
          <a:lstStyle/>
          <a:p>
            <a:r>
              <a:rPr lang="en-US" sz="1300" dirty="0"/>
              <a:t>this is dummy text it is not here to be read it is here to show how this document will look. this is dummy text it is not here to be read it is here to show how this document will look.</a:t>
            </a:r>
          </a:p>
        </p:txBody>
      </p:sp>
      <p:sp>
        <p:nvSpPr>
          <p:cNvPr id="87" name="TextBox 24">
            <a:extLst>
              <a:ext uri="{FF2B5EF4-FFF2-40B4-BE49-F238E27FC236}">
                <a16:creationId xmlns:a16="http://schemas.microsoft.com/office/drawing/2014/main" id="{53B1E1D0-8F3B-4DE3-8282-1F2947B82953}"/>
              </a:ext>
            </a:extLst>
          </p:cNvPr>
          <p:cNvSpPr txBox="1"/>
          <p:nvPr/>
        </p:nvSpPr>
        <p:spPr>
          <a:xfrm>
            <a:off x="8332719" y="4853034"/>
            <a:ext cx="1997245" cy="338554"/>
          </a:xfrm>
          <a:prstGeom prst="rect">
            <a:avLst/>
          </a:prstGeom>
          <a:noFill/>
        </p:spPr>
        <p:txBody>
          <a:bodyPr wrap="square" rtlCol="0">
            <a:spAutoFit/>
          </a:bodyPr>
          <a:lstStyle/>
          <a:p>
            <a:r>
              <a:rPr lang="en-US" sz="1600" b="1" dirty="0">
                <a:solidFill>
                  <a:srgbClr val="43B02A"/>
                </a:solidFill>
                <a:ea typeface="+mj-ea"/>
                <a:cs typeface="Lato" panose="020F0502020204030203" pitchFamily="34" charset="0"/>
              </a:rPr>
              <a:t>Option 3</a:t>
            </a:r>
            <a:endParaRPr lang="id-ID" sz="1600" b="1" dirty="0">
              <a:solidFill>
                <a:srgbClr val="43B02A"/>
              </a:solidFill>
              <a:ea typeface="+mj-ea"/>
              <a:cs typeface="Lato" panose="020F0502020204030203" pitchFamily="34" charset="0"/>
            </a:endParaRPr>
          </a:p>
        </p:txBody>
      </p:sp>
      <p:sp>
        <p:nvSpPr>
          <p:cNvPr id="88" name="Rectangle 25">
            <a:extLst>
              <a:ext uri="{FF2B5EF4-FFF2-40B4-BE49-F238E27FC236}">
                <a16:creationId xmlns:a16="http://schemas.microsoft.com/office/drawing/2014/main" id="{810A446A-AEE0-442F-948D-82092A12828E}"/>
              </a:ext>
            </a:extLst>
          </p:cNvPr>
          <p:cNvSpPr/>
          <p:nvPr/>
        </p:nvSpPr>
        <p:spPr>
          <a:xfrm>
            <a:off x="8332719" y="5160811"/>
            <a:ext cx="3414781" cy="892552"/>
          </a:xfrm>
          <a:prstGeom prst="rect">
            <a:avLst/>
          </a:prstGeom>
        </p:spPr>
        <p:txBody>
          <a:bodyPr wrap="square">
            <a:spAutoFit/>
          </a:bodyPr>
          <a:lstStyle/>
          <a:p>
            <a:r>
              <a:rPr lang="en-US" sz="1300" dirty="0"/>
              <a:t>this is dummy text it is not here to be read it is here to show how this document will look. this is dummy text it is not here to be read it is here to show how this document will look.</a:t>
            </a:r>
          </a:p>
        </p:txBody>
      </p:sp>
      <p:sp>
        <p:nvSpPr>
          <p:cNvPr id="89" name="TextBox 27">
            <a:extLst>
              <a:ext uri="{FF2B5EF4-FFF2-40B4-BE49-F238E27FC236}">
                <a16:creationId xmlns:a16="http://schemas.microsoft.com/office/drawing/2014/main" id="{182571E2-2083-4458-B50A-44FB86F233C8}"/>
              </a:ext>
            </a:extLst>
          </p:cNvPr>
          <p:cNvSpPr txBox="1"/>
          <p:nvPr/>
        </p:nvSpPr>
        <p:spPr>
          <a:xfrm flipH="1">
            <a:off x="1787397" y="1626443"/>
            <a:ext cx="1997245" cy="338554"/>
          </a:xfrm>
          <a:prstGeom prst="rect">
            <a:avLst/>
          </a:prstGeom>
          <a:noFill/>
        </p:spPr>
        <p:txBody>
          <a:bodyPr wrap="square" rtlCol="0">
            <a:spAutoFit/>
          </a:bodyPr>
          <a:lstStyle/>
          <a:p>
            <a:pPr algn="r"/>
            <a:r>
              <a:rPr lang="en-US" sz="1600" b="1" dirty="0">
                <a:solidFill>
                  <a:srgbClr val="86BC25"/>
                </a:solidFill>
                <a:ea typeface="+mj-ea"/>
                <a:cs typeface="Lato" panose="020F0502020204030203" pitchFamily="34" charset="0"/>
              </a:rPr>
              <a:t>Option 1</a:t>
            </a:r>
            <a:endParaRPr lang="id-ID" sz="1600" b="1" dirty="0">
              <a:solidFill>
                <a:srgbClr val="86BC25"/>
              </a:solidFill>
              <a:ea typeface="+mj-ea"/>
              <a:cs typeface="Lato" panose="020F0502020204030203" pitchFamily="34" charset="0"/>
            </a:endParaRPr>
          </a:p>
        </p:txBody>
      </p:sp>
      <p:sp>
        <p:nvSpPr>
          <p:cNvPr id="90" name="Rectangle 28">
            <a:extLst>
              <a:ext uri="{FF2B5EF4-FFF2-40B4-BE49-F238E27FC236}">
                <a16:creationId xmlns:a16="http://schemas.microsoft.com/office/drawing/2014/main" id="{5C9BBBD0-FE5F-4085-8752-9C19C8BAAEA2}"/>
              </a:ext>
            </a:extLst>
          </p:cNvPr>
          <p:cNvSpPr/>
          <p:nvPr/>
        </p:nvSpPr>
        <p:spPr>
          <a:xfrm flipH="1">
            <a:off x="514350" y="1934220"/>
            <a:ext cx="3270292" cy="892552"/>
          </a:xfrm>
          <a:prstGeom prst="rect">
            <a:avLst/>
          </a:prstGeom>
        </p:spPr>
        <p:txBody>
          <a:bodyPr wrap="square">
            <a:spAutoFit/>
          </a:bodyPr>
          <a:lstStyle/>
          <a:p>
            <a:pPr algn="r"/>
            <a:r>
              <a:rPr lang="en-US" sz="1300" dirty="0"/>
              <a:t>this is dummy text it is not here to be read it is here to show how this document will look. this is dummy text it is not here to be read it is here to show how this document will look.</a:t>
            </a:r>
          </a:p>
        </p:txBody>
      </p:sp>
      <p:sp>
        <p:nvSpPr>
          <p:cNvPr id="91" name="TextBox 30">
            <a:extLst>
              <a:ext uri="{FF2B5EF4-FFF2-40B4-BE49-F238E27FC236}">
                <a16:creationId xmlns:a16="http://schemas.microsoft.com/office/drawing/2014/main" id="{FB291EA5-761F-4810-A57B-9C76A8CDF314}"/>
              </a:ext>
            </a:extLst>
          </p:cNvPr>
          <p:cNvSpPr txBox="1"/>
          <p:nvPr/>
        </p:nvSpPr>
        <p:spPr>
          <a:xfrm flipH="1">
            <a:off x="1787397" y="4853034"/>
            <a:ext cx="1997245" cy="338554"/>
          </a:xfrm>
          <a:prstGeom prst="rect">
            <a:avLst/>
          </a:prstGeom>
          <a:noFill/>
        </p:spPr>
        <p:txBody>
          <a:bodyPr wrap="square" rtlCol="0">
            <a:spAutoFit/>
          </a:bodyPr>
          <a:lstStyle/>
          <a:p>
            <a:pPr algn="r"/>
            <a:r>
              <a:rPr lang="en-US" sz="1600" b="1" dirty="0">
                <a:solidFill>
                  <a:schemeClr val="accent3"/>
                </a:solidFill>
                <a:ea typeface="+mj-ea"/>
                <a:cs typeface="Lato" panose="020F0502020204030203" pitchFamily="34" charset="0"/>
              </a:rPr>
              <a:t>Option 4</a:t>
            </a:r>
            <a:endParaRPr lang="id-ID" sz="1600" b="1" dirty="0">
              <a:solidFill>
                <a:schemeClr val="accent3"/>
              </a:solidFill>
              <a:ea typeface="+mj-ea"/>
              <a:cs typeface="Lato" panose="020F0502020204030203" pitchFamily="34" charset="0"/>
            </a:endParaRPr>
          </a:p>
        </p:txBody>
      </p:sp>
      <p:sp>
        <p:nvSpPr>
          <p:cNvPr id="92" name="Rectangle 31">
            <a:extLst>
              <a:ext uri="{FF2B5EF4-FFF2-40B4-BE49-F238E27FC236}">
                <a16:creationId xmlns:a16="http://schemas.microsoft.com/office/drawing/2014/main" id="{67781F24-3FA4-4B2A-A217-FB5A6821DDBB}"/>
              </a:ext>
            </a:extLst>
          </p:cNvPr>
          <p:cNvSpPr/>
          <p:nvPr/>
        </p:nvSpPr>
        <p:spPr>
          <a:xfrm flipH="1">
            <a:off x="514350" y="5160811"/>
            <a:ext cx="3270292" cy="892552"/>
          </a:xfrm>
          <a:prstGeom prst="rect">
            <a:avLst/>
          </a:prstGeom>
        </p:spPr>
        <p:txBody>
          <a:bodyPr wrap="square">
            <a:spAutoFit/>
          </a:bodyPr>
          <a:lstStyle/>
          <a:p>
            <a:pPr algn="r"/>
            <a:r>
              <a:rPr lang="en-US" sz="1300" dirty="0"/>
              <a:t>this is dummy text it is not here to be read it is here to show how this document will look. this is dummy text it is not here to be read it is here to show how this document will look.</a:t>
            </a:r>
          </a:p>
        </p:txBody>
      </p:sp>
    </p:spTree>
    <p:custDataLst>
      <p:tags r:id="rId1"/>
    </p:custDataLst>
    <p:extLst>
      <p:ext uri="{BB962C8B-B14F-4D97-AF65-F5344CB8AC3E}">
        <p14:creationId xmlns:p14="http://schemas.microsoft.com/office/powerpoint/2010/main" val="2587814553"/>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A946D1C4-7617-EE49-BC84-5060012119C0}"/>
              </a:ext>
            </a:extLst>
          </p:cNvPr>
          <p:cNvGrpSpPr/>
          <p:nvPr/>
        </p:nvGrpSpPr>
        <p:grpSpPr>
          <a:xfrm>
            <a:off x="4186222" y="2248534"/>
            <a:ext cx="3819559" cy="3818146"/>
            <a:chOff x="2662221" y="1028373"/>
            <a:chExt cx="3819559" cy="3818146"/>
          </a:xfrm>
        </p:grpSpPr>
        <p:grpSp>
          <p:nvGrpSpPr>
            <p:cNvPr id="22" name="Group 21">
              <a:extLst>
                <a:ext uri="{FF2B5EF4-FFF2-40B4-BE49-F238E27FC236}">
                  <a16:creationId xmlns:a16="http://schemas.microsoft.com/office/drawing/2014/main" id="{21C9E575-53A8-7E4D-A46E-74F84787E842}"/>
                </a:ext>
              </a:extLst>
            </p:cNvPr>
            <p:cNvGrpSpPr/>
            <p:nvPr/>
          </p:nvGrpSpPr>
          <p:grpSpPr>
            <a:xfrm>
              <a:off x="2662221" y="1028373"/>
              <a:ext cx="3819559" cy="3818146"/>
              <a:chOff x="2030005" y="1320855"/>
              <a:chExt cx="5007379" cy="5005526"/>
            </a:xfrm>
          </p:grpSpPr>
          <p:sp>
            <p:nvSpPr>
              <p:cNvPr id="31" name="Freeform 6999">
                <a:extLst>
                  <a:ext uri="{FF2B5EF4-FFF2-40B4-BE49-F238E27FC236}">
                    <a16:creationId xmlns:a16="http://schemas.microsoft.com/office/drawing/2014/main" id="{E67AC6CA-4900-E140-9CC4-121160F9D9C4}"/>
                  </a:ext>
                </a:extLst>
              </p:cNvPr>
              <p:cNvSpPr>
                <a:spLocks/>
              </p:cNvSpPr>
              <p:nvPr/>
            </p:nvSpPr>
            <p:spPr bwMode="auto">
              <a:xfrm>
                <a:off x="2030005" y="3931096"/>
                <a:ext cx="2364574" cy="2395285"/>
              </a:xfrm>
              <a:custGeom>
                <a:avLst/>
                <a:gdLst>
                  <a:gd name="T0" fmla="*/ 27 w 77"/>
                  <a:gd name="T1" fmla="*/ 0 h 78"/>
                  <a:gd name="T2" fmla="*/ 0 w 77"/>
                  <a:gd name="T3" fmla="*/ 0 h 78"/>
                  <a:gd name="T4" fmla="*/ 77 w 77"/>
                  <a:gd name="T5" fmla="*/ 78 h 78"/>
                  <a:gd name="T6" fmla="*/ 77 w 77"/>
                  <a:gd name="T7" fmla="*/ 51 h 78"/>
                  <a:gd name="T8" fmla="*/ 27 w 77"/>
                  <a:gd name="T9" fmla="*/ 0 h 78"/>
                </a:gdLst>
                <a:ahLst/>
                <a:cxnLst>
                  <a:cxn ang="0">
                    <a:pos x="T0" y="T1"/>
                  </a:cxn>
                  <a:cxn ang="0">
                    <a:pos x="T2" y="T3"/>
                  </a:cxn>
                  <a:cxn ang="0">
                    <a:pos x="T4" y="T5"/>
                  </a:cxn>
                  <a:cxn ang="0">
                    <a:pos x="T6" y="T7"/>
                  </a:cxn>
                  <a:cxn ang="0">
                    <a:pos x="T8" y="T9"/>
                  </a:cxn>
                </a:cxnLst>
                <a:rect l="0" t="0" r="r" b="b"/>
                <a:pathLst>
                  <a:path w="77" h="78">
                    <a:moveTo>
                      <a:pt x="27" y="0"/>
                    </a:moveTo>
                    <a:cubicBezTo>
                      <a:pt x="0" y="0"/>
                      <a:pt x="0" y="0"/>
                      <a:pt x="0" y="0"/>
                    </a:cubicBezTo>
                    <a:cubicBezTo>
                      <a:pt x="0" y="43"/>
                      <a:pt x="35" y="78"/>
                      <a:pt x="77" y="78"/>
                    </a:cubicBezTo>
                    <a:cubicBezTo>
                      <a:pt x="77" y="51"/>
                      <a:pt x="77" y="51"/>
                      <a:pt x="77" y="51"/>
                    </a:cubicBezTo>
                    <a:cubicBezTo>
                      <a:pt x="50" y="50"/>
                      <a:pt x="27" y="28"/>
                      <a:pt x="27"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3F3F3F"/>
                  </a:solidFill>
                </a:endParaRPr>
              </a:p>
            </p:txBody>
          </p:sp>
          <p:sp>
            <p:nvSpPr>
              <p:cNvPr id="32" name="Freeform 7000">
                <a:extLst>
                  <a:ext uri="{FF2B5EF4-FFF2-40B4-BE49-F238E27FC236}">
                    <a16:creationId xmlns:a16="http://schemas.microsoft.com/office/drawing/2014/main" id="{248C5473-2307-A946-8512-B1CD5EEBA5E6}"/>
                  </a:ext>
                </a:extLst>
              </p:cNvPr>
              <p:cNvSpPr>
                <a:spLocks/>
              </p:cNvSpPr>
              <p:nvPr/>
            </p:nvSpPr>
            <p:spPr bwMode="auto">
              <a:xfrm>
                <a:off x="2030005" y="1320856"/>
                <a:ext cx="2364574" cy="2395285"/>
              </a:xfrm>
              <a:custGeom>
                <a:avLst/>
                <a:gdLst>
                  <a:gd name="T0" fmla="*/ 0 w 77"/>
                  <a:gd name="T1" fmla="*/ 78 h 78"/>
                  <a:gd name="T2" fmla="*/ 27 w 77"/>
                  <a:gd name="T3" fmla="*/ 78 h 78"/>
                  <a:gd name="T4" fmla="*/ 77 w 77"/>
                  <a:gd name="T5" fmla="*/ 28 h 78"/>
                  <a:gd name="T6" fmla="*/ 77 w 77"/>
                  <a:gd name="T7" fmla="*/ 0 h 78"/>
                  <a:gd name="T8" fmla="*/ 0 w 77"/>
                  <a:gd name="T9" fmla="*/ 78 h 78"/>
                </a:gdLst>
                <a:ahLst/>
                <a:cxnLst>
                  <a:cxn ang="0">
                    <a:pos x="T0" y="T1"/>
                  </a:cxn>
                  <a:cxn ang="0">
                    <a:pos x="T2" y="T3"/>
                  </a:cxn>
                  <a:cxn ang="0">
                    <a:pos x="T4" y="T5"/>
                  </a:cxn>
                  <a:cxn ang="0">
                    <a:pos x="T6" y="T7"/>
                  </a:cxn>
                  <a:cxn ang="0">
                    <a:pos x="T8" y="T9"/>
                  </a:cxn>
                </a:cxnLst>
                <a:rect l="0" t="0" r="r" b="b"/>
                <a:pathLst>
                  <a:path w="77" h="78">
                    <a:moveTo>
                      <a:pt x="0" y="78"/>
                    </a:moveTo>
                    <a:cubicBezTo>
                      <a:pt x="27" y="78"/>
                      <a:pt x="27" y="78"/>
                      <a:pt x="27" y="78"/>
                    </a:cubicBezTo>
                    <a:cubicBezTo>
                      <a:pt x="27" y="51"/>
                      <a:pt x="50" y="28"/>
                      <a:pt x="77" y="28"/>
                    </a:cubicBezTo>
                    <a:cubicBezTo>
                      <a:pt x="77" y="0"/>
                      <a:pt x="77" y="0"/>
                      <a:pt x="77" y="0"/>
                    </a:cubicBezTo>
                    <a:cubicBezTo>
                      <a:pt x="35" y="1"/>
                      <a:pt x="0" y="36"/>
                      <a:pt x="0" y="7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3F3F3F"/>
                  </a:solidFill>
                </a:endParaRPr>
              </a:p>
            </p:txBody>
          </p:sp>
          <p:sp>
            <p:nvSpPr>
              <p:cNvPr id="33" name="Freeform 7001">
                <a:extLst>
                  <a:ext uri="{FF2B5EF4-FFF2-40B4-BE49-F238E27FC236}">
                    <a16:creationId xmlns:a16="http://schemas.microsoft.com/office/drawing/2014/main" id="{94F74755-FC32-C84C-B7DD-D32FDF817F8B}"/>
                  </a:ext>
                </a:extLst>
              </p:cNvPr>
              <p:cNvSpPr>
                <a:spLocks/>
              </p:cNvSpPr>
              <p:nvPr/>
            </p:nvSpPr>
            <p:spPr bwMode="auto">
              <a:xfrm>
                <a:off x="4611395" y="3931097"/>
                <a:ext cx="2425989" cy="2395284"/>
              </a:xfrm>
              <a:custGeom>
                <a:avLst/>
                <a:gdLst>
                  <a:gd name="T0" fmla="*/ 0 w 79"/>
                  <a:gd name="T1" fmla="*/ 51 h 78"/>
                  <a:gd name="T2" fmla="*/ 0 w 79"/>
                  <a:gd name="T3" fmla="*/ 78 h 78"/>
                  <a:gd name="T4" fmla="*/ 79 w 79"/>
                  <a:gd name="T5" fmla="*/ 0 h 78"/>
                  <a:gd name="T6" fmla="*/ 52 w 79"/>
                  <a:gd name="T7" fmla="*/ 0 h 78"/>
                  <a:gd name="T8" fmla="*/ 0 w 79"/>
                  <a:gd name="T9" fmla="*/ 51 h 78"/>
                </a:gdLst>
                <a:ahLst/>
                <a:cxnLst>
                  <a:cxn ang="0">
                    <a:pos x="T0" y="T1"/>
                  </a:cxn>
                  <a:cxn ang="0">
                    <a:pos x="T2" y="T3"/>
                  </a:cxn>
                  <a:cxn ang="0">
                    <a:pos x="T4" y="T5"/>
                  </a:cxn>
                  <a:cxn ang="0">
                    <a:pos x="T6" y="T7"/>
                  </a:cxn>
                  <a:cxn ang="0">
                    <a:pos x="T8" y="T9"/>
                  </a:cxn>
                </a:cxnLst>
                <a:rect l="0" t="0" r="r" b="b"/>
                <a:pathLst>
                  <a:path w="79" h="78">
                    <a:moveTo>
                      <a:pt x="0" y="51"/>
                    </a:moveTo>
                    <a:cubicBezTo>
                      <a:pt x="0" y="78"/>
                      <a:pt x="0" y="78"/>
                      <a:pt x="0" y="78"/>
                    </a:cubicBezTo>
                    <a:cubicBezTo>
                      <a:pt x="44" y="78"/>
                      <a:pt x="79" y="43"/>
                      <a:pt x="79" y="0"/>
                    </a:cubicBezTo>
                    <a:cubicBezTo>
                      <a:pt x="52" y="0"/>
                      <a:pt x="52" y="0"/>
                      <a:pt x="52" y="0"/>
                    </a:cubicBezTo>
                    <a:cubicBezTo>
                      <a:pt x="51" y="28"/>
                      <a:pt x="28" y="51"/>
                      <a:pt x="0" y="5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3F3F3F"/>
                  </a:solidFill>
                </a:endParaRPr>
              </a:p>
            </p:txBody>
          </p:sp>
          <p:sp>
            <p:nvSpPr>
              <p:cNvPr id="34" name="Freeform 7002">
                <a:extLst>
                  <a:ext uri="{FF2B5EF4-FFF2-40B4-BE49-F238E27FC236}">
                    <a16:creationId xmlns:a16="http://schemas.microsoft.com/office/drawing/2014/main" id="{5537B517-305D-E342-9EDB-3137E7D52B16}"/>
                  </a:ext>
                </a:extLst>
              </p:cNvPr>
              <p:cNvSpPr>
                <a:spLocks/>
              </p:cNvSpPr>
              <p:nvPr/>
            </p:nvSpPr>
            <p:spPr bwMode="auto">
              <a:xfrm>
                <a:off x="4611395" y="1320855"/>
                <a:ext cx="2425988" cy="2395285"/>
              </a:xfrm>
              <a:custGeom>
                <a:avLst/>
                <a:gdLst>
                  <a:gd name="T0" fmla="*/ 0 w 79"/>
                  <a:gd name="T1" fmla="*/ 0 h 78"/>
                  <a:gd name="T2" fmla="*/ 0 w 79"/>
                  <a:gd name="T3" fmla="*/ 27 h 78"/>
                  <a:gd name="T4" fmla="*/ 52 w 79"/>
                  <a:gd name="T5" fmla="*/ 78 h 78"/>
                  <a:gd name="T6" fmla="*/ 79 w 79"/>
                  <a:gd name="T7" fmla="*/ 78 h 78"/>
                  <a:gd name="T8" fmla="*/ 0 w 79"/>
                  <a:gd name="T9" fmla="*/ 0 h 78"/>
                </a:gdLst>
                <a:ahLst/>
                <a:cxnLst>
                  <a:cxn ang="0">
                    <a:pos x="T0" y="T1"/>
                  </a:cxn>
                  <a:cxn ang="0">
                    <a:pos x="T2" y="T3"/>
                  </a:cxn>
                  <a:cxn ang="0">
                    <a:pos x="T4" y="T5"/>
                  </a:cxn>
                  <a:cxn ang="0">
                    <a:pos x="T6" y="T7"/>
                  </a:cxn>
                  <a:cxn ang="0">
                    <a:pos x="T8" y="T9"/>
                  </a:cxn>
                </a:cxnLst>
                <a:rect l="0" t="0" r="r" b="b"/>
                <a:pathLst>
                  <a:path w="79" h="78">
                    <a:moveTo>
                      <a:pt x="0" y="0"/>
                    </a:moveTo>
                    <a:cubicBezTo>
                      <a:pt x="0" y="27"/>
                      <a:pt x="0" y="27"/>
                      <a:pt x="0" y="27"/>
                    </a:cubicBezTo>
                    <a:cubicBezTo>
                      <a:pt x="28" y="27"/>
                      <a:pt x="51" y="50"/>
                      <a:pt x="52" y="78"/>
                    </a:cubicBezTo>
                    <a:cubicBezTo>
                      <a:pt x="79" y="78"/>
                      <a:pt x="79" y="78"/>
                      <a:pt x="79" y="78"/>
                    </a:cubicBezTo>
                    <a:cubicBezTo>
                      <a:pt x="79" y="35"/>
                      <a:pt x="44"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3F3F3F"/>
                  </a:solidFill>
                </a:endParaRPr>
              </a:p>
            </p:txBody>
          </p:sp>
        </p:grpSp>
        <p:cxnSp>
          <p:nvCxnSpPr>
            <p:cNvPr id="23" name="Straight Connector 22">
              <a:extLst>
                <a:ext uri="{FF2B5EF4-FFF2-40B4-BE49-F238E27FC236}">
                  <a16:creationId xmlns:a16="http://schemas.microsoft.com/office/drawing/2014/main" id="{48DC8D7C-8974-9641-BAFD-88373B658504}"/>
                </a:ext>
              </a:extLst>
            </p:cNvPr>
            <p:cNvCxnSpPr/>
            <p:nvPr/>
          </p:nvCxnSpPr>
          <p:spPr>
            <a:xfrm flipV="1">
              <a:off x="3111592" y="1579532"/>
              <a:ext cx="2930543" cy="2775501"/>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E955798-2659-714D-A322-CA6490527A5A}"/>
                </a:ext>
              </a:extLst>
            </p:cNvPr>
            <p:cNvCxnSpPr/>
            <p:nvPr/>
          </p:nvCxnSpPr>
          <p:spPr>
            <a:xfrm flipV="1">
              <a:off x="3729225" y="2149214"/>
              <a:ext cx="1723866" cy="1609893"/>
            </a:xfrm>
            <a:prstGeom prst="line">
              <a:avLst/>
            </a:prstGeom>
            <a:ln w="762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5967094-A223-6E4F-8953-CA0727163E50}"/>
                </a:ext>
              </a:extLst>
            </p:cNvPr>
            <p:cNvSpPr txBox="1"/>
            <p:nvPr/>
          </p:nvSpPr>
          <p:spPr>
            <a:xfrm rot="19044452">
              <a:off x="2957619" y="2250486"/>
              <a:ext cx="2102596" cy="261610"/>
            </a:xfrm>
            <a:prstGeom prst="rect">
              <a:avLst/>
            </a:prstGeom>
            <a:noFill/>
          </p:spPr>
          <p:txBody>
            <a:bodyPr wrap="square" rtlCol="0">
              <a:spAutoFit/>
            </a:bodyPr>
            <a:lstStyle/>
            <a:p>
              <a:pPr algn="ctr"/>
              <a:r>
                <a:rPr lang="en-US" sz="1100" b="1" dirty="0">
                  <a:solidFill>
                    <a:prstClr val="black"/>
                  </a:solidFill>
                  <a:cs typeface="Calibri" pitchFamily="34" charset="0"/>
                </a:rPr>
                <a:t>Lorem ipsum</a:t>
              </a:r>
            </a:p>
          </p:txBody>
        </p:sp>
        <p:sp>
          <p:nvSpPr>
            <p:cNvPr id="26" name="TextBox 25">
              <a:extLst>
                <a:ext uri="{FF2B5EF4-FFF2-40B4-BE49-F238E27FC236}">
                  <a16:creationId xmlns:a16="http://schemas.microsoft.com/office/drawing/2014/main" id="{2AFF75C3-E739-BF4D-8384-75B4BB515E06}"/>
                </a:ext>
              </a:extLst>
            </p:cNvPr>
            <p:cNvSpPr txBox="1"/>
            <p:nvPr/>
          </p:nvSpPr>
          <p:spPr>
            <a:xfrm rot="19007605">
              <a:off x="4108785" y="3414060"/>
              <a:ext cx="2102596" cy="261610"/>
            </a:xfrm>
            <a:prstGeom prst="rect">
              <a:avLst/>
            </a:prstGeom>
            <a:noFill/>
          </p:spPr>
          <p:txBody>
            <a:bodyPr wrap="square" rtlCol="0">
              <a:spAutoFit/>
            </a:bodyPr>
            <a:lstStyle/>
            <a:p>
              <a:pPr algn="ctr"/>
              <a:r>
                <a:rPr lang="en-US" sz="1100" b="1" dirty="0">
                  <a:solidFill>
                    <a:prstClr val="black"/>
                  </a:solidFill>
                  <a:cs typeface="Calibri" pitchFamily="34" charset="0"/>
                </a:rPr>
                <a:t>Lorem ipsum</a:t>
              </a:r>
            </a:p>
          </p:txBody>
        </p:sp>
        <p:sp>
          <p:nvSpPr>
            <p:cNvPr id="27" name="Rectangle 26">
              <a:extLst>
                <a:ext uri="{FF2B5EF4-FFF2-40B4-BE49-F238E27FC236}">
                  <a16:creationId xmlns:a16="http://schemas.microsoft.com/office/drawing/2014/main" id="{DE2D9255-529E-8842-8CD5-8E69EED85687}"/>
                </a:ext>
              </a:extLst>
            </p:cNvPr>
            <p:cNvSpPr/>
            <p:nvPr/>
          </p:nvSpPr>
          <p:spPr>
            <a:xfrm rot="19007225">
              <a:off x="3469051" y="3137853"/>
              <a:ext cx="928459" cy="261610"/>
            </a:xfrm>
            <a:prstGeom prst="rect">
              <a:avLst/>
            </a:prstGeom>
            <a:solidFill>
              <a:schemeClr val="accent3"/>
            </a:solidFill>
          </p:spPr>
          <p:txBody>
            <a:bodyPr wrap="none">
              <a:spAutoFit/>
            </a:bodyPr>
            <a:lstStyle/>
            <a:p>
              <a:pPr fontAlgn="base"/>
              <a:r>
                <a:rPr lang="en-US" sz="1100" dirty="0">
                  <a:solidFill>
                    <a:prstClr val="white"/>
                  </a:solidFill>
                  <a:ea typeface="Segoe UI" pitchFamily="34" charset="0"/>
                  <a:cs typeface="Segoe UI" pitchFamily="34" charset="0"/>
                </a:rPr>
                <a:t>Lorem ipsum</a:t>
              </a:r>
            </a:p>
          </p:txBody>
        </p:sp>
        <p:sp>
          <p:nvSpPr>
            <p:cNvPr id="28" name="Rectangle 27">
              <a:extLst>
                <a:ext uri="{FF2B5EF4-FFF2-40B4-BE49-F238E27FC236}">
                  <a16:creationId xmlns:a16="http://schemas.microsoft.com/office/drawing/2014/main" id="{7EEC3E64-B494-F740-AF7E-10FEE16986E2}"/>
                </a:ext>
              </a:extLst>
            </p:cNvPr>
            <p:cNvSpPr>
              <a:spLocks noChangeAspect="1"/>
            </p:cNvSpPr>
            <p:nvPr/>
          </p:nvSpPr>
          <p:spPr>
            <a:xfrm rot="19045565">
              <a:off x="4486771" y="2172439"/>
              <a:ext cx="928459" cy="261610"/>
            </a:xfrm>
            <a:prstGeom prst="rect">
              <a:avLst/>
            </a:prstGeom>
            <a:solidFill>
              <a:srgbClr val="000000"/>
            </a:solidFill>
          </p:spPr>
          <p:txBody>
            <a:bodyPr wrap="none">
              <a:spAutoFit/>
            </a:bodyPr>
            <a:lstStyle/>
            <a:p>
              <a:r>
                <a:rPr lang="en-US" sz="1100" dirty="0">
                  <a:solidFill>
                    <a:prstClr val="white"/>
                  </a:solidFill>
                  <a:ea typeface="Segoe UI" pitchFamily="34" charset="0"/>
                  <a:cs typeface="Segoe UI" pitchFamily="34" charset="0"/>
                </a:rPr>
                <a:t>Lorem ipsum</a:t>
              </a:r>
            </a:p>
          </p:txBody>
        </p:sp>
        <p:sp>
          <p:nvSpPr>
            <p:cNvPr id="29" name="Rectangle 28">
              <a:extLst>
                <a:ext uri="{FF2B5EF4-FFF2-40B4-BE49-F238E27FC236}">
                  <a16:creationId xmlns:a16="http://schemas.microsoft.com/office/drawing/2014/main" id="{D74C86CE-76A9-FC4B-8BE5-03DC56028130}"/>
                </a:ext>
              </a:extLst>
            </p:cNvPr>
            <p:cNvSpPr/>
            <p:nvPr/>
          </p:nvSpPr>
          <p:spPr>
            <a:xfrm rot="19048540">
              <a:off x="3776716" y="3474491"/>
              <a:ext cx="928459" cy="261610"/>
            </a:xfrm>
            <a:prstGeom prst="rect">
              <a:avLst/>
            </a:prstGeom>
            <a:solidFill>
              <a:schemeClr val="accent3"/>
            </a:solidFill>
          </p:spPr>
          <p:txBody>
            <a:bodyPr wrap="none">
              <a:spAutoFit/>
            </a:bodyPr>
            <a:lstStyle/>
            <a:p>
              <a:pPr algn="r"/>
              <a:r>
                <a:rPr lang="en-US" sz="1100" dirty="0">
                  <a:solidFill>
                    <a:prstClr val="white"/>
                  </a:solidFill>
                  <a:ea typeface="Segoe UI" pitchFamily="34" charset="0"/>
                  <a:cs typeface="Segoe UI" pitchFamily="34" charset="0"/>
                </a:rPr>
                <a:t>Lorem ipsum</a:t>
              </a:r>
            </a:p>
          </p:txBody>
        </p:sp>
        <p:sp>
          <p:nvSpPr>
            <p:cNvPr id="30" name="Rectangle 29">
              <a:extLst>
                <a:ext uri="{FF2B5EF4-FFF2-40B4-BE49-F238E27FC236}">
                  <a16:creationId xmlns:a16="http://schemas.microsoft.com/office/drawing/2014/main" id="{825EFF27-88AC-594E-B486-A4C45DE8B250}"/>
                </a:ext>
              </a:extLst>
            </p:cNvPr>
            <p:cNvSpPr>
              <a:spLocks noChangeAspect="1"/>
            </p:cNvSpPr>
            <p:nvPr/>
          </p:nvSpPr>
          <p:spPr>
            <a:xfrm rot="19020000">
              <a:off x="4799155" y="2495904"/>
              <a:ext cx="928459" cy="261610"/>
            </a:xfrm>
            <a:prstGeom prst="rect">
              <a:avLst/>
            </a:prstGeom>
            <a:solidFill>
              <a:srgbClr val="000000"/>
            </a:solidFill>
          </p:spPr>
          <p:txBody>
            <a:bodyPr wrap="none">
              <a:spAutoFit/>
            </a:bodyPr>
            <a:lstStyle/>
            <a:p>
              <a:pPr fontAlgn="base"/>
              <a:r>
                <a:rPr lang="en-US" sz="1100" dirty="0">
                  <a:solidFill>
                    <a:prstClr val="white"/>
                  </a:solidFill>
                  <a:ea typeface="Segoe UI" pitchFamily="34" charset="0"/>
                  <a:cs typeface="Segoe UI" pitchFamily="34" charset="0"/>
                </a:rPr>
                <a:t>Lorem ipsum</a:t>
              </a:r>
            </a:p>
          </p:txBody>
        </p:sp>
      </p:grpSp>
      <p:grpSp>
        <p:nvGrpSpPr>
          <p:cNvPr id="35" name="Group 34">
            <a:extLst>
              <a:ext uri="{FF2B5EF4-FFF2-40B4-BE49-F238E27FC236}">
                <a16:creationId xmlns:a16="http://schemas.microsoft.com/office/drawing/2014/main" id="{8F399E54-4516-2D40-B14B-162561BD2D34}"/>
              </a:ext>
            </a:extLst>
          </p:cNvPr>
          <p:cNvGrpSpPr/>
          <p:nvPr/>
        </p:nvGrpSpPr>
        <p:grpSpPr>
          <a:xfrm>
            <a:off x="4219515" y="2274848"/>
            <a:ext cx="3706942" cy="3689902"/>
            <a:chOff x="2695515" y="2050297"/>
            <a:chExt cx="3706942" cy="3689902"/>
          </a:xfrm>
        </p:grpSpPr>
        <p:sp>
          <p:nvSpPr>
            <p:cNvPr id="36" name="TextBox 35">
              <a:extLst>
                <a:ext uri="{FF2B5EF4-FFF2-40B4-BE49-F238E27FC236}">
                  <a16:creationId xmlns:a16="http://schemas.microsoft.com/office/drawing/2014/main" id="{F2A4127C-2CD1-CA49-B9A2-080B49B66C6A}"/>
                </a:ext>
              </a:extLst>
            </p:cNvPr>
            <p:cNvSpPr txBox="1"/>
            <p:nvPr/>
          </p:nvSpPr>
          <p:spPr>
            <a:xfrm>
              <a:off x="2695515" y="2050297"/>
              <a:ext cx="236209" cy="442035"/>
            </a:xfrm>
            <a:prstGeom prst="rect">
              <a:avLst/>
            </a:prstGeom>
            <a:noFill/>
          </p:spPr>
          <p:txBody>
            <a:bodyPr wrap="none" lIns="36000" tIns="36000" rIns="36000" bIns="36000" rtlCol="0">
              <a:spAutoFit/>
            </a:bodyPr>
            <a:lstStyle/>
            <a:p>
              <a:r>
                <a:rPr lang="en-US" sz="2400" b="1" dirty="0">
                  <a:solidFill>
                    <a:srgbClr val="86BC25"/>
                  </a:solidFill>
                </a:rPr>
                <a:t>P</a:t>
              </a:r>
            </a:p>
          </p:txBody>
        </p:sp>
        <p:sp>
          <p:nvSpPr>
            <p:cNvPr id="37" name="TextBox 36">
              <a:extLst>
                <a:ext uri="{FF2B5EF4-FFF2-40B4-BE49-F238E27FC236}">
                  <a16:creationId xmlns:a16="http://schemas.microsoft.com/office/drawing/2014/main" id="{63255AF4-5AB1-4549-A79B-5287511DCF05}"/>
                </a:ext>
              </a:extLst>
            </p:cNvPr>
            <p:cNvSpPr txBox="1"/>
            <p:nvPr/>
          </p:nvSpPr>
          <p:spPr>
            <a:xfrm>
              <a:off x="2695515" y="5298164"/>
              <a:ext cx="154457" cy="442035"/>
            </a:xfrm>
            <a:prstGeom prst="rect">
              <a:avLst/>
            </a:prstGeom>
            <a:noFill/>
          </p:spPr>
          <p:txBody>
            <a:bodyPr wrap="none" lIns="36000" tIns="36000" rIns="36000" bIns="36000" rtlCol="0">
              <a:spAutoFit/>
            </a:bodyPr>
            <a:lstStyle/>
            <a:p>
              <a:r>
                <a:rPr lang="en-US" sz="2400" b="1" dirty="0">
                  <a:solidFill>
                    <a:schemeClr val="accent3"/>
                  </a:solidFill>
                </a:rPr>
                <a:t>I</a:t>
              </a:r>
            </a:p>
          </p:txBody>
        </p:sp>
        <p:sp>
          <p:nvSpPr>
            <p:cNvPr id="38" name="TextBox 37">
              <a:extLst>
                <a:ext uri="{FF2B5EF4-FFF2-40B4-BE49-F238E27FC236}">
                  <a16:creationId xmlns:a16="http://schemas.microsoft.com/office/drawing/2014/main" id="{359207B9-F1B5-654E-8052-8E1B04B3774D}"/>
                </a:ext>
              </a:extLst>
            </p:cNvPr>
            <p:cNvSpPr txBox="1"/>
            <p:nvPr/>
          </p:nvSpPr>
          <p:spPr>
            <a:xfrm>
              <a:off x="6134188" y="2050297"/>
              <a:ext cx="266667" cy="442035"/>
            </a:xfrm>
            <a:prstGeom prst="rect">
              <a:avLst/>
            </a:prstGeom>
            <a:noFill/>
          </p:spPr>
          <p:txBody>
            <a:bodyPr wrap="none" lIns="36000" tIns="36000" rIns="36000" bIns="36000" rtlCol="0">
              <a:spAutoFit/>
            </a:bodyPr>
            <a:lstStyle/>
            <a:p>
              <a:r>
                <a:rPr lang="en-US" sz="2400" b="1" dirty="0">
                  <a:solidFill>
                    <a:srgbClr val="000000"/>
                  </a:solidFill>
                </a:rPr>
                <a:t>D</a:t>
              </a:r>
            </a:p>
          </p:txBody>
        </p:sp>
        <p:sp>
          <p:nvSpPr>
            <p:cNvPr id="39" name="TextBox 38">
              <a:extLst>
                <a:ext uri="{FF2B5EF4-FFF2-40B4-BE49-F238E27FC236}">
                  <a16:creationId xmlns:a16="http://schemas.microsoft.com/office/drawing/2014/main" id="{860300D1-FCCD-464D-9A35-8A15ED8C7199}"/>
                </a:ext>
              </a:extLst>
            </p:cNvPr>
            <p:cNvSpPr txBox="1"/>
            <p:nvPr/>
          </p:nvSpPr>
          <p:spPr>
            <a:xfrm>
              <a:off x="6134188" y="5298164"/>
              <a:ext cx="268269" cy="442035"/>
            </a:xfrm>
            <a:prstGeom prst="rect">
              <a:avLst/>
            </a:prstGeom>
            <a:noFill/>
          </p:spPr>
          <p:txBody>
            <a:bodyPr wrap="none" lIns="36000" tIns="36000" rIns="36000" bIns="36000" rtlCol="0">
              <a:spAutoFit/>
            </a:bodyPr>
            <a:lstStyle/>
            <a:p>
              <a:r>
                <a:rPr lang="en-US" sz="2400" b="1" dirty="0">
                  <a:solidFill>
                    <a:srgbClr val="43B02A"/>
                  </a:solidFill>
                </a:rPr>
                <a:t>G</a:t>
              </a:r>
            </a:p>
          </p:txBody>
        </p:sp>
      </p:grpSp>
      <p:sp>
        <p:nvSpPr>
          <p:cNvPr id="40" name="TextBox 39">
            <a:extLst>
              <a:ext uri="{FF2B5EF4-FFF2-40B4-BE49-F238E27FC236}">
                <a16:creationId xmlns:a16="http://schemas.microsoft.com/office/drawing/2014/main" id="{6B051C6B-0659-104C-98A3-1664B7ABD767}"/>
              </a:ext>
            </a:extLst>
          </p:cNvPr>
          <p:cNvSpPr txBox="1"/>
          <p:nvPr/>
        </p:nvSpPr>
        <p:spPr>
          <a:xfrm>
            <a:off x="8240366" y="3972941"/>
            <a:ext cx="1102738" cy="246221"/>
          </a:xfrm>
          <a:prstGeom prst="rect">
            <a:avLst/>
          </a:prstGeom>
          <a:noFill/>
        </p:spPr>
        <p:txBody>
          <a:bodyPr wrap="none" lIns="0" tIns="0" rIns="0" bIns="0" rtlCol="0">
            <a:spAutoFit/>
          </a:bodyPr>
          <a:lstStyle/>
          <a:p>
            <a:r>
              <a:rPr lang="en-US" sz="1600" b="1" dirty="0">
                <a:solidFill>
                  <a:srgbClr val="000000"/>
                </a:solidFill>
              </a:rPr>
              <a:t>Lorem ipsum</a:t>
            </a:r>
          </a:p>
        </p:txBody>
      </p:sp>
      <p:sp>
        <p:nvSpPr>
          <p:cNvPr id="41" name="TextBox 40">
            <a:extLst>
              <a:ext uri="{FF2B5EF4-FFF2-40B4-BE49-F238E27FC236}">
                <a16:creationId xmlns:a16="http://schemas.microsoft.com/office/drawing/2014/main" id="{645E30F8-B146-7241-ABF8-F6DDEE2CC983}"/>
              </a:ext>
            </a:extLst>
          </p:cNvPr>
          <p:cNvSpPr txBox="1"/>
          <p:nvPr/>
        </p:nvSpPr>
        <p:spPr>
          <a:xfrm>
            <a:off x="2768552" y="3972941"/>
            <a:ext cx="1102738" cy="246221"/>
          </a:xfrm>
          <a:prstGeom prst="rect">
            <a:avLst/>
          </a:prstGeom>
          <a:noFill/>
        </p:spPr>
        <p:txBody>
          <a:bodyPr wrap="none" lIns="0" tIns="0" rIns="0" bIns="0" rtlCol="0">
            <a:spAutoFit/>
          </a:bodyPr>
          <a:lstStyle/>
          <a:p>
            <a:pPr algn="r"/>
            <a:r>
              <a:rPr lang="en-US" sz="1600" b="1" dirty="0">
                <a:solidFill>
                  <a:schemeClr val="accent3"/>
                </a:solidFill>
              </a:rPr>
              <a:t>Lorem ipsum</a:t>
            </a:r>
          </a:p>
        </p:txBody>
      </p:sp>
      <p:sp>
        <p:nvSpPr>
          <p:cNvPr id="42" name="Rectangle 41">
            <a:extLst>
              <a:ext uri="{FF2B5EF4-FFF2-40B4-BE49-F238E27FC236}">
                <a16:creationId xmlns:a16="http://schemas.microsoft.com/office/drawing/2014/main" id="{274F7A1E-0647-6846-80A9-2377DC8140A3}"/>
              </a:ext>
            </a:extLst>
          </p:cNvPr>
          <p:cNvSpPr/>
          <p:nvPr/>
        </p:nvSpPr>
        <p:spPr>
          <a:xfrm>
            <a:off x="494095" y="2269073"/>
            <a:ext cx="3492221" cy="1000274"/>
          </a:xfrm>
          <a:prstGeom prst="rect">
            <a:avLst/>
          </a:prstGeom>
          <a:noFill/>
          <a:ln>
            <a:noFill/>
          </a:ln>
        </p:spPr>
        <p:txBody>
          <a:bodyPr wrap="square" lIns="0" tIns="0" rIns="0" bIns="0" anchor="ctr">
            <a:spAutoFit/>
          </a:bodyPr>
          <a:lstStyle/>
          <a:p>
            <a:pPr fontAlgn="base"/>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44" name="TextBox 43">
            <a:extLst>
              <a:ext uri="{FF2B5EF4-FFF2-40B4-BE49-F238E27FC236}">
                <a16:creationId xmlns:a16="http://schemas.microsoft.com/office/drawing/2014/main" id="{6B051C6B-0659-104C-98A3-1664B7ABD767}"/>
              </a:ext>
            </a:extLst>
          </p:cNvPr>
          <p:cNvSpPr txBox="1"/>
          <p:nvPr/>
        </p:nvSpPr>
        <p:spPr>
          <a:xfrm>
            <a:off x="5493276" y="1714500"/>
            <a:ext cx="1102738" cy="246221"/>
          </a:xfrm>
          <a:prstGeom prst="rect">
            <a:avLst/>
          </a:prstGeom>
          <a:noFill/>
        </p:spPr>
        <p:txBody>
          <a:bodyPr wrap="none" lIns="0" tIns="0" rIns="0" bIns="0" rtlCol="0">
            <a:spAutoFit/>
          </a:bodyPr>
          <a:lstStyle/>
          <a:p>
            <a:pPr algn="r"/>
            <a:r>
              <a:rPr lang="en-US" sz="1600" b="1" dirty="0">
                <a:solidFill>
                  <a:srgbClr val="86BC25"/>
                </a:solidFill>
              </a:rPr>
              <a:t>Lorem ipsum</a:t>
            </a:r>
          </a:p>
        </p:txBody>
      </p:sp>
      <p:sp>
        <p:nvSpPr>
          <p:cNvPr id="45" name="TextBox 44">
            <a:extLst>
              <a:ext uri="{FF2B5EF4-FFF2-40B4-BE49-F238E27FC236}">
                <a16:creationId xmlns:a16="http://schemas.microsoft.com/office/drawing/2014/main" id="{6B051C6B-0659-104C-98A3-1664B7ABD767}"/>
              </a:ext>
            </a:extLst>
          </p:cNvPr>
          <p:cNvSpPr txBox="1"/>
          <p:nvPr/>
        </p:nvSpPr>
        <p:spPr>
          <a:xfrm>
            <a:off x="5493276" y="6281669"/>
            <a:ext cx="1102738" cy="246221"/>
          </a:xfrm>
          <a:prstGeom prst="rect">
            <a:avLst/>
          </a:prstGeom>
          <a:noFill/>
        </p:spPr>
        <p:txBody>
          <a:bodyPr wrap="none" lIns="0" tIns="0" rIns="0" bIns="0" rtlCol="0">
            <a:spAutoFit/>
          </a:bodyPr>
          <a:lstStyle/>
          <a:p>
            <a:pPr algn="r"/>
            <a:r>
              <a:rPr lang="en-US" sz="1600" b="1" dirty="0">
                <a:solidFill>
                  <a:srgbClr val="43B02A"/>
                </a:solidFill>
              </a:rPr>
              <a:t>Lorem ipsum</a:t>
            </a:r>
          </a:p>
        </p:txBody>
      </p:sp>
      <p:sp>
        <p:nvSpPr>
          <p:cNvPr id="46" name="Rectangle 45">
            <a:extLst>
              <a:ext uri="{FF2B5EF4-FFF2-40B4-BE49-F238E27FC236}">
                <a16:creationId xmlns:a16="http://schemas.microsoft.com/office/drawing/2014/main" id="{274F7A1E-0647-6846-80A9-2377DC8140A3}"/>
              </a:ext>
            </a:extLst>
          </p:cNvPr>
          <p:cNvSpPr/>
          <p:nvPr/>
        </p:nvSpPr>
        <p:spPr>
          <a:xfrm>
            <a:off x="494095" y="5162185"/>
            <a:ext cx="3492221" cy="1000274"/>
          </a:xfrm>
          <a:prstGeom prst="rect">
            <a:avLst/>
          </a:prstGeom>
          <a:noFill/>
          <a:ln>
            <a:noFill/>
          </a:ln>
        </p:spPr>
        <p:txBody>
          <a:bodyPr wrap="square" lIns="0" tIns="0" rIns="0" bIns="0" anchor="ctr">
            <a:spAutoFit/>
          </a:bodyPr>
          <a:lstStyle/>
          <a:p>
            <a:pPr fontAlgn="base"/>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47" name="Rectangle 46">
            <a:extLst>
              <a:ext uri="{FF2B5EF4-FFF2-40B4-BE49-F238E27FC236}">
                <a16:creationId xmlns:a16="http://schemas.microsoft.com/office/drawing/2014/main" id="{274F7A1E-0647-6846-80A9-2377DC8140A3}"/>
              </a:ext>
            </a:extLst>
          </p:cNvPr>
          <p:cNvSpPr/>
          <p:nvPr/>
        </p:nvSpPr>
        <p:spPr>
          <a:xfrm>
            <a:off x="8240366" y="2269073"/>
            <a:ext cx="3445060" cy="1000274"/>
          </a:xfrm>
          <a:prstGeom prst="rect">
            <a:avLst/>
          </a:prstGeom>
          <a:noFill/>
          <a:ln>
            <a:noFill/>
          </a:ln>
        </p:spPr>
        <p:txBody>
          <a:bodyPr wrap="square" lIns="0" tIns="0" rIns="0" bIns="0" anchor="ctr">
            <a:spAutoFit/>
          </a:bodyPr>
          <a:lstStyle/>
          <a:p>
            <a:pPr fontAlgn="base"/>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51" name="Rectangle 50">
            <a:extLst>
              <a:ext uri="{FF2B5EF4-FFF2-40B4-BE49-F238E27FC236}">
                <a16:creationId xmlns:a16="http://schemas.microsoft.com/office/drawing/2014/main" id="{274F7A1E-0647-6846-80A9-2377DC8140A3}"/>
              </a:ext>
            </a:extLst>
          </p:cNvPr>
          <p:cNvSpPr/>
          <p:nvPr/>
        </p:nvSpPr>
        <p:spPr>
          <a:xfrm>
            <a:off x="8240366" y="5162185"/>
            <a:ext cx="3445060" cy="1000274"/>
          </a:xfrm>
          <a:prstGeom prst="rect">
            <a:avLst/>
          </a:prstGeom>
          <a:noFill/>
          <a:ln>
            <a:noFill/>
          </a:ln>
        </p:spPr>
        <p:txBody>
          <a:bodyPr wrap="square" lIns="0" tIns="0" rIns="0" bIns="0" anchor="ctr">
            <a:spAutoFit/>
          </a:bodyPr>
          <a:lstStyle/>
          <a:p>
            <a:pPr fontAlgn="base"/>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Tree>
    <p:custDataLst>
      <p:tags r:id="rId1"/>
    </p:custDataLst>
    <p:extLst>
      <p:ext uri="{BB962C8B-B14F-4D97-AF65-F5344CB8AC3E}">
        <p14:creationId xmlns:p14="http://schemas.microsoft.com/office/powerpoint/2010/main" val="952617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2580000">
                                      <p:cBhvr>
                                        <p:cTn id="6" dur="2000" fill="hold"/>
                                        <p:tgtEl>
                                          <p:spTgt spid="21"/>
                                        </p:tgtEl>
                                        <p:attrNameLst>
                                          <p:attrName>r</p:attrName>
                                        </p:attrNameLst>
                                      </p:cBhvr>
                                    </p:animRot>
                                  </p:childTnLst>
                                </p:cTn>
                              </p:par>
                              <p:par>
                                <p:cTn id="7" presetID="10" presetClass="exit" presetSubtype="0" fill="hold" nodeType="withEffect">
                                  <p:stCondLst>
                                    <p:cond delay="0"/>
                                  </p:stCondLst>
                                  <p:childTnLst>
                                    <p:animEffect transition="out" filter="fade">
                                      <p:cBhvr>
                                        <p:cTn id="8" dur="500"/>
                                        <p:tgtEl>
                                          <p:spTgt spid="35"/>
                                        </p:tgtEl>
                                      </p:cBhvr>
                                    </p:animEffect>
                                    <p:set>
                                      <p:cBhvr>
                                        <p:cTn id="9" dur="1" fill="hold">
                                          <p:stCondLst>
                                            <p:cond delay="499"/>
                                          </p:stCondLst>
                                        </p:cTn>
                                        <p:tgtEl>
                                          <p:spTgt spid="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5913F963-22A8-E340-92A9-ACE1E5D1A8D8}"/>
              </a:ext>
            </a:extLst>
          </p:cNvPr>
          <p:cNvSpPr/>
          <p:nvPr/>
        </p:nvSpPr>
        <p:spPr>
          <a:xfrm>
            <a:off x="8042987" y="2216876"/>
            <a:ext cx="3625137" cy="1000274"/>
          </a:xfrm>
          <a:prstGeom prst="rect">
            <a:avLst/>
          </a:prstGeom>
          <a:noFill/>
          <a:ln>
            <a:noFill/>
          </a:ln>
        </p:spPr>
        <p:txBody>
          <a:bodyPr wrap="square" lIns="0" tIns="0" rIns="0" bIns="0">
            <a:spAutoFit/>
          </a:bodyPr>
          <a:lstStyle/>
          <a:p>
            <a:pPr marL="0" lvl="2">
              <a:buSzPct val="100000"/>
            </a:pPr>
            <a:r>
              <a:rPr lang="en-US" sz="1300" b="1" dirty="0">
                <a:solidFill>
                  <a:prstClr val="black"/>
                </a:solidFill>
              </a:rPr>
              <a:t>Lorem ipsum:</a:t>
            </a:r>
          </a:p>
          <a:p>
            <a:pPr marL="176400" lvl="2" indent="-17640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grpSp>
        <p:nvGrpSpPr>
          <p:cNvPr id="2" name="Group 1"/>
          <p:cNvGrpSpPr/>
          <p:nvPr/>
        </p:nvGrpSpPr>
        <p:grpSpPr>
          <a:xfrm>
            <a:off x="4495913" y="1714500"/>
            <a:ext cx="3200174" cy="3175676"/>
            <a:chOff x="3911600" y="1853798"/>
            <a:chExt cx="4368800" cy="4335356"/>
          </a:xfrm>
        </p:grpSpPr>
        <p:grpSp>
          <p:nvGrpSpPr>
            <p:cNvPr id="47" name="Group 46">
              <a:extLst>
                <a:ext uri="{FF2B5EF4-FFF2-40B4-BE49-F238E27FC236}">
                  <a16:creationId xmlns:a16="http://schemas.microsoft.com/office/drawing/2014/main" id="{DFB20680-4213-244E-97F9-CC581AF982FA}"/>
                </a:ext>
              </a:extLst>
            </p:cNvPr>
            <p:cNvGrpSpPr/>
            <p:nvPr/>
          </p:nvGrpSpPr>
          <p:grpSpPr>
            <a:xfrm>
              <a:off x="3911600" y="1853798"/>
              <a:ext cx="4368800" cy="4335356"/>
              <a:chOff x="2771648" y="1628647"/>
              <a:chExt cx="3600704" cy="3600705"/>
            </a:xfrm>
          </p:grpSpPr>
          <p:sp>
            <p:nvSpPr>
              <p:cNvPr id="89" name="Freeform 88">
                <a:extLst>
                  <a:ext uri="{FF2B5EF4-FFF2-40B4-BE49-F238E27FC236}">
                    <a16:creationId xmlns:a16="http://schemas.microsoft.com/office/drawing/2014/main" id="{56B275E3-604A-B24D-86FE-3C1313769220}"/>
                  </a:ext>
                </a:extLst>
              </p:cNvPr>
              <p:cNvSpPr/>
              <p:nvPr/>
            </p:nvSpPr>
            <p:spPr>
              <a:xfrm>
                <a:off x="2771648" y="1628647"/>
                <a:ext cx="1759712" cy="1759712"/>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0" y="1759712"/>
                    </a:moveTo>
                    <a:cubicBezTo>
                      <a:pt x="0" y="787850"/>
                      <a:pt x="787850" y="0"/>
                      <a:pt x="1759712" y="0"/>
                    </a:cubicBezTo>
                    <a:lnTo>
                      <a:pt x="1759712" y="1759712"/>
                    </a:lnTo>
                    <a:lnTo>
                      <a:pt x="0" y="175971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8984" tIns="678984" rIns="163576" bIns="163576" numCol="1" spcCol="1270" anchor="ctr" anchorCtr="0">
                <a:noAutofit/>
              </a:bodyPr>
              <a:lstStyle/>
              <a:p>
                <a:pPr algn="ctr" defTabSz="1022350"/>
                <a:endParaRPr lang="en-GB" sz="1300" dirty="0">
                  <a:solidFill>
                    <a:prstClr val="white"/>
                  </a:solidFill>
                </a:endParaRPr>
              </a:p>
            </p:txBody>
          </p:sp>
          <p:sp>
            <p:nvSpPr>
              <p:cNvPr id="90" name="Freeform 89">
                <a:extLst>
                  <a:ext uri="{FF2B5EF4-FFF2-40B4-BE49-F238E27FC236}">
                    <a16:creationId xmlns:a16="http://schemas.microsoft.com/office/drawing/2014/main" id="{965742F0-4744-534E-86EE-AF5E74DA6E48}"/>
                  </a:ext>
                </a:extLst>
              </p:cNvPr>
              <p:cNvSpPr/>
              <p:nvPr/>
            </p:nvSpPr>
            <p:spPr>
              <a:xfrm>
                <a:off x="4612640" y="1628647"/>
                <a:ext cx="1759712" cy="1759712"/>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0" y="0"/>
                    </a:moveTo>
                    <a:cubicBezTo>
                      <a:pt x="971862" y="0"/>
                      <a:pt x="1759712" y="787850"/>
                      <a:pt x="1759712" y="1759712"/>
                    </a:cubicBezTo>
                    <a:lnTo>
                      <a:pt x="0" y="1759712"/>
                    </a:lnTo>
                    <a:lnTo>
                      <a:pt x="0" y="0"/>
                    </a:lnTo>
                    <a:close/>
                  </a:path>
                </a:pathLst>
              </a:custGeom>
              <a:solidFill>
                <a:srgbClr val="00000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576" tIns="678984" rIns="678984" bIns="163576" numCol="1" spcCol="1270" anchor="ctr" anchorCtr="0">
                <a:noAutofit/>
              </a:bodyPr>
              <a:lstStyle/>
              <a:p>
                <a:pPr algn="ctr" defTabSz="1022350"/>
                <a:endParaRPr lang="en-GB" sz="1300" dirty="0">
                  <a:solidFill>
                    <a:prstClr val="white"/>
                  </a:solidFill>
                </a:endParaRPr>
              </a:p>
            </p:txBody>
          </p:sp>
          <p:sp>
            <p:nvSpPr>
              <p:cNvPr id="91" name="Freeform 90">
                <a:extLst>
                  <a:ext uri="{FF2B5EF4-FFF2-40B4-BE49-F238E27FC236}">
                    <a16:creationId xmlns:a16="http://schemas.microsoft.com/office/drawing/2014/main" id="{1BE2F7E0-E14A-B24E-B073-B1F7B0B7F46F}"/>
                  </a:ext>
                </a:extLst>
              </p:cNvPr>
              <p:cNvSpPr/>
              <p:nvPr/>
            </p:nvSpPr>
            <p:spPr>
              <a:xfrm rot="21600000">
                <a:off x="4612640" y="3469639"/>
                <a:ext cx="1759712" cy="1759713"/>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1759712" y="0"/>
                    </a:moveTo>
                    <a:cubicBezTo>
                      <a:pt x="1759712" y="971862"/>
                      <a:pt x="971862" y="1759712"/>
                      <a:pt x="0" y="1759712"/>
                    </a:cubicBezTo>
                    <a:lnTo>
                      <a:pt x="0" y="0"/>
                    </a:lnTo>
                    <a:lnTo>
                      <a:pt x="1759712" y="0"/>
                    </a:ln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576" tIns="163577" rIns="678984" bIns="678984" numCol="1" spcCol="1270" anchor="ctr" anchorCtr="0">
                <a:noAutofit/>
              </a:bodyPr>
              <a:lstStyle/>
              <a:p>
                <a:pPr algn="ctr" defTabSz="1022350"/>
                <a:endParaRPr lang="en-GB" sz="1300" dirty="0">
                  <a:solidFill>
                    <a:prstClr val="white"/>
                  </a:solidFill>
                </a:endParaRPr>
              </a:p>
            </p:txBody>
          </p:sp>
          <p:sp>
            <p:nvSpPr>
              <p:cNvPr id="92" name="Freeform 91">
                <a:extLst>
                  <a:ext uri="{FF2B5EF4-FFF2-40B4-BE49-F238E27FC236}">
                    <a16:creationId xmlns:a16="http://schemas.microsoft.com/office/drawing/2014/main" id="{2D731CB5-38EC-8E4C-9E4F-38C0A8EEC9E4}"/>
                  </a:ext>
                </a:extLst>
              </p:cNvPr>
              <p:cNvSpPr/>
              <p:nvPr/>
            </p:nvSpPr>
            <p:spPr>
              <a:xfrm rot="21600000">
                <a:off x="2771648" y="3469640"/>
                <a:ext cx="1759712" cy="1759712"/>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1759712" y="1759712"/>
                    </a:moveTo>
                    <a:cubicBezTo>
                      <a:pt x="787850" y="1759712"/>
                      <a:pt x="0" y="971862"/>
                      <a:pt x="0" y="0"/>
                    </a:cubicBezTo>
                    <a:lnTo>
                      <a:pt x="1759712" y="0"/>
                    </a:lnTo>
                    <a:lnTo>
                      <a:pt x="1759712" y="1759712"/>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8984" tIns="163576" rIns="163575" bIns="678984" numCol="1" spcCol="1270" anchor="ctr" anchorCtr="0">
                <a:noAutofit/>
              </a:bodyPr>
              <a:lstStyle/>
              <a:p>
                <a:pPr algn="ctr" defTabSz="1022350"/>
                <a:endParaRPr lang="en-GB" sz="1300" dirty="0">
                  <a:solidFill>
                    <a:prstClr val="white"/>
                  </a:solidFill>
                </a:endParaRPr>
              </a:p>
            </p:txBody>
          </p:sp>
        </p:grpSp>
        <p:sp>
          <p:nvSpPr>
            <p:cNvPr id="95" name="TextBox 94">
              <a:extLst>
                <a:ext uri="{FF2B5EF4-FFF2-40B4-BE49-F238E27FC236}">
                  <a16:creationId xmlns:a16="http://schemas.microsoft.com/office/drawing/2014/main" id="{C44A30FD-6B6F-C44F-B10F-5ED157005AB5}"/>
                </a:ext>
              </a:extLst>
            </p:cNvPr>
            <p:cNvSpPr txBox="1"/>
            <p:nvPr/>
          </p:nvSpPr>
          <p:spPr>
            <a:xfrm>
              <a:off x="4418927" y="2708069"/>
              <a:ext cx="1361637" cy="819329"/>
            </a:xfrm>
            <a:prstGeom prst="rect">
              <a:avLst/>
            </a:prstGeom>
            <a:noFill/>
          </p:spPr>
          <p:txBody>
            <a:bodyPr wrap="square" lIns="0" tIns="0" rIns="0" bIns="0" rtlCol="0">
              <a:spAutoFit/>
            </a:bodyPr>
            <a:lstStyle/>
            <a:p>
              <a:pPr algn="ctr">
                <a:buSzPct val="100000"/>
              </a:pPr>
              <a:r>
                <a:rPr lang="en-US" sz="1300" dirty="0">
                  <a:solidFill>
                    <a:prstClr val="white"/>
                  </a:solidFill>
                </a:rPr>
                <a:t>Lorem ipsum</a:t>
              </a:r>
            </a:p>
            <a:p>
              <a:pPr algn="ctr">
                <a:buSzPct val="100000"/>
              </a:pPr>
              <a:r>
                <a:rPr lang="en-US" sz="1300" dirty="0">
                  <a:solidFill>
                    <a:prstClr val="white"/>
                  </a:solidFill>
                </a:rPr>
                <a:t>Lorem ipsum</a:t>
              </a:r>
            </a:p>
            <a:p>
              <a:pPr algn="ctr">
                <a:buSzPct val="100000"/>
              </a:pPr>
              <a:r>
                <a:rPr lang="en-US" sz="1300" dirty="0">
                  <a:solidFill>
                    <a:prstClr val="white"/>
                  </a:solidFill>
                </a:rPr>
                <a:t>Lorem ipsum</a:t>
              </a:r>
            </a:p>
          </p:txBody>
        </p:sp>
        <p:sp>
          <p:nvSpPr>
            <p:cNvPr id="96" name="TextBox 95">
              <a:extLst>
                <a:ext uri="{FF2B5EF4-FFF2-40B4-BE49-F238E27FC236}">
                  <a16:creationId xmlns:a16="http://schemas.microsoft.com/office/drawing/2014/main" id="{E75784A5-70F1-A147-8258-76F65AE5F22A}"/>
                </a:ext>
              </a:extLst>
            </p:cNvPr>
            <p:cNvSpPr txBox="1"/>
            <p:nvPr/>
          </p:nvSpPr>
          <p:spPr>
            <a:xfrm>
              <a:off x="4418927" y="4501363"/>
              <a:ext cx="1361637" cy="819329"/>
            </a:xfrm>
            <a:prstGeom prst="rect">
              <a:avLst/>
            </a:prstGeom>
            <a:noFill/>
          </p:spPr>
          <p:txBody>
            <a:bodyPr wrap="square" lIns="0" tIns="0" rIns="0" bIns="0" rtlCol="0">
              <a:spAutoFit/>
            </a:bodyPr>
            <a:lstStyle/>
            <a:p>
              <a:pPr algn="ctr">
                <a:buSzPct val="100000"/>
              </a:pPr>
              <a:r>
                <a:rPr lang="en-US" sz="1300" dirty="0">
                  <a:solidFill>
                    <a:prstClr val="white"/>
                  </a:solidFill>
                </a:rPr>
                <a:t>Lorem ipsum</a:t>
              </a:r>
            </a:p>
            <a:p>
              <a:pPr algn="ctr">
                <a:buSzPct val="100000"/>
              </a:pPr>
              <a:r>
                <a:rPr lang="en-US" sz="1300" dirty="0">
                  <a:solidFill>
                    <a:prstClr val="white"/>
                  </a:solidFill>
                </a:rPr>
                <a:t>Lorem ipsum</a:t>
              </a:r>
            </a:p>
            <a:p>
              <a:pPr algn="ctr">
                <a:buSzPct val="100000"/>
              </a:pPr>
              <a:r>
                <a:rPr lang="en-US" sz="1300" dirty="0">
                  <a:solidFill>
                    <a:prstClr val="white"/>
                  </a:solidFill>
                </a:rPr>
                <a:t>Lorem ipsum</a:t>
              </a:r>
            </a:p>
          </p:txBody>
        </p:sp>
        <p:sp>
          <p:nvSpPr>
            <p:cNvPr id="97" name="TextBox 96">
              <a:extLst>
                <a:ext uri="{FF2B5EF4-FFF2-40B4-BE49-F238E27FC236}">
                  <a16:creationId xmlns:a16="http://schemas.microsoft.com/office/drawing/2014/main" id="{49DD3AEF-DD12-2C4F-B01D-526564AC40D4}"/>
                </a:ext>
              </a:extLst>
            </p:cNvPr>
            <p:cNvSpPr txBox="1"/>
            <p:nvPr/>
          </p:nvSpPr>
          <p:spPr>
            <a:xfrm>
              <a:off x="6281688" y="2708069"/>
              <a:ext cx="1497587" cy="819329"/>
            </a:xfrm>
            <a:prstGeom prst="rect">
              <a:avLst/>
            </a:prstGeom>
            <a:noFill/>
          </p:spPr>
          <p:txBody>
            <a:bodyPr wrap="square" lIns="0" tIns="0" rIns="0" bIns="0" rtlCol="0">
              <a:spAutoFit/>
            </a:bodyPr>
            <a:lstStyle/>
            <a:p>
              <a:pPr algn="ctr">
                <a:buSzPct val="100000"/>
              </a:pPr>
              <a:r>
                <a:rPr lang="en-US" sz="1300" dirty="0">
                  <a:solidFill>
                    <a:prstClr val="white"/>
                  </a:solidFill>
                </a:rPr>
                <a:t>Lorem ipsum</a:t>
              </a:r>
            </a:p>
            <a:p>
              <a:pPr algn="ctr">
                <a:buSzPct val="100000"/>
              </a:pPr>
              <a:r>
                <a:rPr lang="en-US" sz="1300" dirty="0">
                  <a:solidFill>
                    <a:prstClr val="white"/>
                  </a:solidFill>
                </a:rPr>
                <a:t>Lorem ipsum</a:t>
              </a:r>
            </a:p>
            <a:p>
              <a:pPr algn="ctr">
                <a:buSzPct val="100000"/>
              </a:pPr>
              <a:r>
                <a:rPr lang="en-US" sz="1300" dirty="0">
                  <a:solidFill>
                    <a:prstClr val="white"/>
                  </a:solidFill>
                </a:rPr>
                <a:t>Lorem ipsum</a:t>
              </a:r>
            </a:p>
          </p:txBody>
        </p:sp>
        <p:sp>
          <p:nvSpPr>
            <p:cNvPr id="98" name="TextBox 97">
              <a:extLst>
                <a:ext uri="{FF2B5EF4-FFF2-40B4-BE49-F238E27FC236}">
                  <a16:creationId xmlns:a16="http://schemas.microsoft.com/office/drawing/2014/main" id="{E433FA48-524F-A949-B869-6EAF583F6079}"/>
                </a:ext>
              </a:extLst>
            </p:cNvPr>
            <p:cNvSpPr txBox="1"/>
            <p:nvPr/>
          </p:nvSpPr>
          <p:spPr>
            <a:xfrm>
              <a:off x="6281688" y="4501363"/>
              <a:ext cx="1497587" cy="819329"/>
            </a:xfrm>
            <a:prstGeom prst="rect">
              <a:avLst/>
            </a:prstGeom>
            <a:noFill/>
          </p:spPr>
          <p:txBody>
            <a:bodyPr wrap="square" lIns="0" tIns="0" rIns="0" bIns="0" rtlCol="0">
              <a:spAutoFit/>
            </a:bodyPr>
            <a:lstStyle/>
            <a:p>
              <a:pPr algn="ctr">
                <a:buSzPct val="100000"/>
              </a:pPr>
              <a:r>
                <a:rPr lang="en-US" sz="1300" dirty="0">
                  <a:solidFill>
                    <a:prstClr val="white"/>
                  </a:solidFill>
                </a:rPr>
                <a:t>Lorem ipsum</a:t>
              </a:r>
            </a:p>
            <a:p>
              <a:pPr algn="ctr">
                <a:buSzPct val="100000"/>
              </a:pPr>
              <a:r>
                <a:rPr lang="en-US" sz="1300" dirty="0">
                  <a:solidFill>
                    <a:prstClr val="white"/>
                  </a:solidFill>
                </a:rPr>
                <a:t>Lorem ipsum</a:t>
              </a:r>
            </a:p>
            <a:p>
              <a:pPr algn="ctr">
                <a:buSzPct val="100000"/>
              </a:pPr>
              <a:r>
                <a:rPr lang="en-US" sz="1300" dirty="0">
                  <a:solidFill>
                    <a:prstClr val="white"/>
                  </a:solidFill>
                </a:rPr>
                <a:t>Lorem ipsum</a:t>
              </a:r>
            </a:p>
          </p:txBody>
        </p:sp>
      </p:grpSp>
      <p:grpSp>
        <p:nvGrpSpPr>
          <p:cNvPr id="4" name="Group 3"/>
          <p:cNvGrpSpPr/>
          <p:nvPr/>
        </p:nvGrpSpPr>
        <p:grpSpPr>
          <a:xfrm>
            <a:off x="4641152" y="1800808"/>
            <a:ext cx="2967882" cy="2985280"/>
            <a:chOff x="4698973" y="1858968"/>
            <a:chExt cx="2852240" cy="2868960"/>
          </a:xfrm>
        </p:grpSpPr>
        <p:sp>
          <p:nvSpPr>
            <p:cNvPr id="99" name="Rectangle 98">
              <a:extLst>
                <a:ext uri="{FF2B5EF4-FFF2-40B4-BE49-F238E27FC236}">
                  <a16:creationId xmlns:a16="http://schemas.microsoft.com/office/drawing/2014/main" id="{55A6D3CA-CBE8-3842-8050-139FC4364017}"/>
                </a:ext>
              </a:extLst>
            </p:cNvPr>
            <p:cNvSpPr/>
            <p:nvPr/>
          </p:nvSpPr>
          <p:spPr>
            <a:xfrm rot="18707065">
              <a:off x="4570262" y="2006106"/>
              <a:ext cx="1287707" cy="993432"/>
            </a:xfrm>
            <a:prstGeom prst="rect">
              <a:avLst/>
            </a:prstGeom>
            <a:noFill/>
            <a:ln>
              <a:noFill/>
            </a:ln>
          </p:spPr>
          <p:txBody>
            <a:bodyPr spcFirstLastPara="1" wrap="square" lIns="0" tIns="0" rIns="0" bIns="0" numCol="1">
              <a:prstTxWarp prst="textArchUp">
                <a:avLst>
                  <a:gd name="adj" fmla="val 10761912"/>
                </a:avLst>
              </a:prstTxWarp>
              <a:noAutofit/>
            </a:bodyPr>
            <a:lstStyle/>
            <a:p>
              <a:pPr marL="0" lvl="2" algn="ctr">
                <a:buSzPct val="100000"/>
              </a:pPr>
              <a:r>
                <a:rPr lang="en-US" sz="1300" b="1" dirty="0">
                  <a:solidFill>
                    <a:srgbClr val="86BC25"/>
                  </a:solidFill>
                </a:rPr>
                <a:t>Dummy text</a:t>
              </a:r>
              <a:endParaRPr lang="en-US" sz="1300" dirty="0">
                <a:solidFill>
                  <a:srgbClr val="86BC25"/>
                </a:solidFill>
              </a:endParaRPr>
            </a:p>
          </p:txBody>
        </p:sp>
        <p:sp>
          <p:nvSpPr>
            <p:cNvPr id="100" name="Rectangle 99">
              <a:extLst>
                <a:ext uri="{FF2B5EF4-FFF2-40B4-BE49-F238E27FC236}">
                  <a16:creationId xmlns:a16="http://schemas.microsoft.com/office/drawing/2014/main" id="{1AA796B6-3DD1-5B49-BCA7-03E5747D1214}"/>
                </a:ext>
              </a:extLst>
            </p:cNvPr>
            <p:cNvSpPr/>
            <p:nvPr/>
          </p:nvSpPr>
          <p:spPr>
            <a:xfrm rot="3076321">
              <a:off x="6354849" y="2068298"/>
              <a:ext cx="1287707" cy="993432"/>
            </a:xfrm>
            <a:prstGeom prst="rect">
              <a:avLst/>
            </a:prstGeom>
            <a:noFill/>
            <a:ln>
              <a:noFill/>
            </a:ln>
          </p:spPr>
          <p:txBody>
            <a:bodyPr spcFirstLastPara="1" wrap="square" lIns="0" tIns="0" rIns="0" bIns="0" numCol="1">
              <a:prstTxWarp prst="textArchUp">
                <a:avLst>
                  <a:gd name="adj" fmla="val 10761912"/>
                </a:avLst>
              </a:prstTxWarp>
              <a:noAutofit/>
            </a:bodyPr>
            <a:lstStyle/>
            <a:p>
              <a:pPr marL="0" lvl="2" algn="ctr">
                <a:buSzPct val="100000"/>
              </a:pPr>
              <a:r>
                <a:rPr lang="en-US" sz="1300" b="1" dirty="0">
                  <a:solidFill>
                    <a:srgbClr val="000000"/>
                  </a:solidFill>
                </a:rPr>
                <a:t>Dummy text</a:t>
              </a:r>
              <a:endParaRPr lang="en-US" sz="1300" dirty="0">
                <a:solidFill>
                  <a:srgbClr val="000000"/>
                </a:solidFill>
              </a:endParaRPr>
            </a:p>
          </p:txBody>
        </p:sp>
        <p:sp>
          <p:nvSpPr>
            <p:cNvPr id="101" name="Rectangle 100">
              <a:extLst>
                <a:ext uri="{FF2B5EF4-FFF2-40B4-BE49-F238E27FC236}">
                  <a16:creationId xmlns:a16="http://schemas.microsoft.com/office/drawing/2014/main" id="{13C24AF3-1AC6-CA45-892A-415B608BD2F5}"/>
                </a:ext>
              </a:extLst>
            </p:cNvPr>
            <p:cNvSpPr/>
            <p:nvPr/>
          </p:nvSpPr>
          <p:spPr>
            <a:xfrm rot="13793241">
              <a:off x="4551835" y="3587359"/>
              <a:ext cx="1287707" cy="993432"/>
            </a:xfrm>
            <a:prstGeom prst="rect">
              <a:avLst/>
            </a:prstGeom>
            <a:noFill/>
            <a:ln>
              <a:noFill/>
            </a:ln>
          </p:spPr>
          <p:txBody>
            <a:bodyPr spcFirstLastPara="1" wrap="square" lIns="0" tIns="0" rIns="0" bIns="0" numCol="1">
              <a:prstTxWarp prst="textArchUp">
                <a:avLst>
                  <a:gd name="adj" fmla="val 10761912"/>
                </a:avLst>
              </a:prstTxWarp>
              <a:noAutofit/>
            </a:bodyPr>
            <a:lstStyle/>
            <a:p>
              <a:pPr marL="0" lvl="2" algn="ctr">
                <a:buSzPct val="100000"/>
              </a:pPr>
              <a:r>
                <a:rPr lang="en-US" sz="1300" b="1" dirty="0">
                  <a:solidFill>
                    <a:schemeClr val="accent3"/>
                  </a:solidFill>
                </a:rPr>
                <a:t>Dummy text</a:t>
              </a:r>
              <a:endParaRPr lang="en-US" sz="1300" dirty="0">
                <a:solidFill>
                  <a:schemeClr val="accent3"/>
                </a:solidFill>
              </a:endParaRPr>
            </a:p>
          </p:txBody>
        </p:sp>
        <p:sp>
          <p:nvSpPr>
            <p:cNvPr id="102" name="Rectangle 101">
              <a:extLst>
                <a:ext uri="{FF2B5EF4-FFF2-40B4-BE49-F238E27FC236}">
                  <a16:creationId xmlns:a16="http://schemas.microsoft.com/office/drawing/2014/main" id="{28BF8F50-F222-CD49-88CC-FA9D5AAD1C9A}"/>
                </a:ext>
              </a:extLst>
            </p:cNvPr>
            <p:cNvSpPr/>
            <p:nvPr/>
          </p:nvSpPr>
          <p:spPr>
            <a:xfrm rot="8157133">
              <a:off x="6263506" y="3668428"/>
              <a:ext cx="1287707" cy="993432"/>
            </a:xfrm>
            <a:prstGeom prst="rect">
              <a:avLst/>
            </a:prstGeom>
            <a:noFill/>
            <a:ln>
              <a:noFill/>
            </a:ln>
          </p:spPr>
          <p:txBody>
            <a:bodyPr spcFirstLastPara="1" wrap="square" lIns="0" tIns="0" rIns="0" bIns="0" numCol="1">
              <a:prstTxWarp prst="textArchUp">
                <a:avLst>
                  <a:gd name="adj" fmla="val 10761912"/>
                </a:avLst>
              </a:prstTxWarp>
              <a:noAutofit/>
            </a:bodyPr>
            <a:lstStyle/>
            <a:p>
              <a:pPr marL="0" lvl="2" algn="ctr">
                <a:buSzPct val="100000"/>
              </a:pPr>
              <a:r>
                <a:rPr lang="en-US" sz="1300" b="1" dirty="0">
                  <a:solidFill>
                    <a:srgbClr val="43B02A"/>
                  </a:solidFill>
                </a:rPr>
                <a:t>Dummy text</a:t>
              </a:r>
              <a:endParaRPr lang="en-US" sz="1300" dirty="0">
                <a:solidFill>
                  <a:srgbClr val="43B02A"/>
                </a:solidFill>
              </a:endParaRPr>
            </a:p>
          </p:txBody>
        </p:sp>
      </p:grpSp>
      <p:grpSp>
        <p:nvGrpSpPr>
          <p:cNvPr id="28" name="Group 27"/>
          <p:cNvGrpSpPr/>
          <p:nvPr/>
        </p:nvGrpSpPr>
        <p:grpSpPr>
          <a:xfrm>
            <a:off x="471488" y="2085975"/>
            <a:ext cx="4071937" cy="2466975"/>
            <a:chOff x="7643813" y="2805113"/>
            <a:chExt cx="4105275" cy="2466975"/>
          </a:xfrm>
        </p:grpSpPr>
        <p:cxnSp>
          <p:nvCxnSpPr>
            <p:cNvPr id="29" name="Straight Connector 28"/>
            <p:cNvCxnSpPr/>
            <p:nvPr/>
          </p:nvCxnSpPr>
          <p:spPr>
            <a:xfrm>
              <a:off x="7643813" y="2805113"/>
              <a:ext cx="4105275"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643813" y="5272088"/>
              <a:ext cx="4105275"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7596188" y="2085975"/>
            <a:ext cx="4071937" cy="2466975"/>
            <a:chOff x="7643813" y="2805113"/>
            <a:chExt cx="4105275" cy="2466975"/>
          </a:xfrm>
        </p:grpSpPr>
        <p:cxnSp>
          <p:nvCxnSpPr>
            <p:cNvPr id="32" name="Straight Connector 31"/>
            <p:cNvCxnSpPr/>
            <p:nvPr/>
          </p:nvCxnSpPr>
          <p:spPr>
            <a:xfrm>
              <a:off x="7643813" y="2805113"/>
              <a:ext cx="4105275" cy="0"/>
            </a:xfrm>
            <a:prstGeom prst="line">
              <a:avLst/>
            </a:prstGeom>
            <a:ln>
              <a:solidFill>
                <a:schemeClr val="tx2"/>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7643813" y="5272088"/>
              <a:ext cx="4105275" cy="0"/>
            </a:xfrm>
            <a:prstGeom prst="line">
              <a:avLst/>
            </a:prstGeom>
            <a:ln>
              <a:solidFill>
                <a:schemeClr val="tx2"/>
              </a:solidFill>
              <a:headEnd type="oval"/>
              <a:tailEnd type="none"/>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5913F963-22A8-E340-92A9-ACE1E5D1A8D8}"/>
              </a:ext>
            </a:extLst>
          </p:cNvPr>
          <p:cNvSpPr/>
          <p:nvPr/>
        </p:nvSpPr>
        <p:spPr>
          <a:xfrm>
            <a:off x="8042987" y="3438517"/>
            <a:ext cx="3625137" cy="1000274"/>
          </a:xfrm>
          <a:prstGeom prst="rect">
            <a:avLst/>
          </a:prstGeom>
          <a:noFill/>
          <a:ln>
            <a:noFill/>
          </a:ln>
        </p:spPr>
        <p:txBody>
          <a:bodyPr wrap="square" lIns="0" tIns="0" rIns="0" bIns="0" anchor="b">
            <a:spAutoFit/>
          </a:bodyPr>
          <a:lstStyle/>
          <a:p>
            <a:pPr marL="0" lvl="2">
              <a:buSzPct val="100000"/>
            </a:pPr>
            <a:r>
              <a:rPr lang="en-US" sz="1300" b="1" dirty="0">
                <a:solidFill>
                  <a:prstClr val="black"/>
                </a:solidFill>
              </a:rPr>
              <a:t>Lorem ipsum:</a:t>
            </a:r>
          </a:p>
          <a:p>
            <a:pPr marL="176400" lvl="2" indent="-17640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
        <p:nvSpPr>
          <p:cNvPr id="35" name="Rectangle 34">
            <a:extLst>
              <a:ext uri="{FF2B5EF4-FFF2-40B4-BE49-F238E27FC236}">
                <a16:creationId xmlns:a16="http://schemas.microsoft.com/office/drawing/2014/main" id="{5913F963-22A8-E340-92A9-ACE1E5D1A8D8}"/>
              </a:ext>
            </a:extLst>
          </p:cNvPr>
          <p:cNvSpPr/>
          <p:nvPr/>
        </p:nvSpPr>
        <p:spPr>
          <a:xfrm>
            <a:off x="480014" y="2216876"/>
            <a:ext cx="3624230" cy="1000274"/>
          </a:xfrm>
          <a:prstGeom prst="rect">
            <a:avLst/>
          </a:prstGeom>
          <a:noFill/>
          <a:ln>
            <a:noFill/>
          </a:ln>
        </p:spPr>
        <p:txBody>
          <a:bodyPr wrap="square" lIns="0" tIns="0" rIns="0" bIns="0">
            <a:spAutoFit/>
          </a:bodyPr>
          <a:lstStyle/>
          <a:p>
            <a:pPr marL="0" lvl="2">
              <a:buSzPct val="100000"/>
            </a:pPr>
            <a:r>
              <a:rPr lang="en-US" sz="1300" b="1" dirty="0">
                <a:solidFill>
                  <a:prstClr val="black"/>
                </a:solidFill>
              </a:rPr>
              <a:t>Lorem ipsum:</a:t>
            </a:r>
          </a:p>
          <a:p>
            <a:pPr marL="176400" lvl="2" indent="-17640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
        <p:nvSpPr>
          <p:cNvPr id="36" name="Rectangle 35">
            <a:extLst>
              <a:ext uri="{FF2B5EF4-FFF2-40B4-BE49-F238E27FC236}">
                <a16:creationId xmlns:a16="http://schemas.microsoft.com/office/drawing/2014/main" id="{5913F963-22A8-E340-92A9-ACE1E5D1A8D8}"/>
              </a:ext>
            </a:extLst>
          </p:cNvPr>
          <p:cNvSpPr/>
          <p:nvPr/>
        </p:nvSpPr>
        <p:spPr>
          <a:xfrm>
            <a:off x="480014" y="3438517"/>
            <a:ext cx="3624230" cy="1000274"/>
          </a:xfrm>
          <a:prstGeom prst="rect">
            <a:avLst/>
          </a:prstGeom>
          <a:noFill/>
          <a:ln>
            <a:noFill/>
          </a:ln>
        </p:spPr>
        <p:txBody>
          <a:bodyPr wrap="square" lIns="0" tIns="0" rIns="0" bIns="0" anchor="b">
            <a:spAutoFit/>
          </a:bodyPr>
          <a:lstStyle/>
          <a:p>
            <a:pPr marL="0" lvl="2">
              <a:buSzPct val="100000"/>
            </a:pPr>
            <a:r>
              <a:rPr lang="en-US" sz="1300" b="1" dirty="0">
                <a:solidFill>
                  <a:prstClr val="black"/>
                </a:solidFill>
              </a:rPr>
              <a:t>Lorem ipsum:</a:t>
            </a:r>
          </a:p>
          <a:p>
            <a:pPr marL="176400" lvl="2" indent="-17640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Tree>
    <p:custDataLst>
      <p:tags r:id="rId1"/>
    </p:custDataLst>
    <p:extLst>
      <p:ext uri="{BB962C8B-B14F-4D97-AF65-F5344CB8AC3E}">
        <p14:creationId xmlns:p14="http://schemas.microsoft.com/office/powerpoint/2010/main" val="1018348815"/>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7AA4AC8-6269-A641-B791-6AF1FE8D643D}"/>
              </a:ext>
            </a:extLst>
          </p:cNvPr>
          <p:cNvGrpSpPr/>
          <p:nvPr/>
        </p:nvGrpSpPr>
        <p:grpSpPr>
          <a:xfrm>
            <a:off x="3291000" y="1724025"/>
            <a:ext cx="5376978" cy="4663057"/>
            <a:chOff x="4077063" y="2073097"/>
            <a:chExt cx="4077877" cy="3536443"/>
          </a:xfrm>
        </p:grpSpPr>
        <p:sp>
          <p:nvSpPr>
            <p:cNvPr id="82" name="Flowchart: Stored Data 10">
              <a:extLst>
                <a:ext uri="{FF2B5EF4-FFF2-40B4-BE49-F238E27FC236}">
                  <a16:creationId xmlns:a16="http://schemas.microsoft.com/office/drawing/2014/main" id="{C9BE3149-E3B9-A346-B9D6-BE8759BADDF3}"/>
                </a:ext>
              </a:extLst>
            </p:cNvPr>
            <p:cNvSpPr/>
            <p:nvPr/>
          </p:nvSpPr>
          <p:spPr bwMode="gray">
            <a:xfrm rot="5400000">
              <a:off x="5662357" y="1979153"/>
              <a:ext cx="867286" cy="1055173"/>
            </a:xfrm>
            <a:prstGeom prst="flowChartOnlineStorage">
              <a:avLst/>
            </a:prstGeom>
            <a:solidFill>
              <a:schemeClr val="bg2">
                <a:lumMod val="20000"/>
                <a:lumOff val="80000"/>
              </a:schemeClr>
            </a:solidFill>
            <a:ln w="19050" algn="ctr">
              <a:noFill/>
              <a:miter lim="800000"/>
              <a:headEnd/>
              <a:tailEnd/>
            </a:ln>
          </p:spPr>
          <p:txBody>
            <a:bodyPr wrap="square" lIns="66840" tIns="66840" rIns="66840" bIns="66840" rtlCol="0" anchor="ctr"/>
            <a:lstStyle/>
            <a:p>
              <a:pPr algn="ctr">
                <a:buFont typeface="Wingdings 2" pitchFamily="18" charset="2"/>
                <a:buNone/>
              </a:pPr>
              <a:endParaRPr lang="en-US" sz="1300" b="1" dirty="0">
                <a:solidFill>
                  <a:schemeClr val="bg1"/>
                </a:solidFill>
              </a:endParaRPr>
            </a:p>
          </p:txBody>
        </p:sp>
        <p:sp>
          <p:nvSpPr>
            <p:cNvPr id="83" name="Oval 82">
              <a:extLst>
                <a:ext uri="{FF2B5EF4-FFF2-40B4-BE49-F238E27FC236}">
                  <a16:creationId xmlns:a16="http://schemas.microsoft.com/office/drawing/2014/main" id="{BA8956C2-FD08-714A-A700-DC8E4781B4E5}"/>
                </a:ext>
              </a:extLst>
            </p:cNvPr>
            <p:cNvSpPr/>
            <p:nvPr/>
          </p:nvSpPr>
          <p:spPr bwMode="gray">
            <a:xfrm>
              <a:off x="4887503" y="2743667"/>
              <a:ext cx="2425571" cy="2425571"/>
            </a:xfrm>
            <a:prstGeom prst="ellipse">
              <a:avLst/>
            </a:prstGeom>
            <a:solidFill>
              <a:schemeClr val="bg1"/>
            </a:solidFill>
            <a:ln w="12700" algn="ctr">
              <a:solidFill>
                <a:schemeClr val="bg2"/>
              </a:solidFill>
              <a:miter lim="800000"/>
              <a:headEnd/>
              <a:tailEnd/>
            </a:ln>
          </p:spPr>
          <p:txBody>
            <a:bodyPr wrap="square" lIns="66840" tIns="66840" rIns="66840" bIns="66840" rtlCol="0" anchor="ctr"/>
            <a:lstStyle/>
            <a:p>
              <a:pPr algn="ctr">
                <a:buFont typeface="Wingdings 2" pitchFamily="18" charset="2"/>
                <a:buNone/>
              </a:pPr>
              <a:endParaRPr lang="en-US" sz="1300" b="1" dirty="0">
                <a:solidFill>
                  <a:schemeClr val="bg1"/>
                </a:solidFill>
              </a:endParaRPr>
            </a:p>
          </p:txBody>
        </p:sp>
        <p:sp>
          <p:nvSpPr>
            <p:cNvPr id="84" name="TextBox 83">
              <a:extLst>
                <a:ext uri="{FF2B5EF4-FFF2-40B4-BE49-F238E27FC236}">
                  <a16:creationId xmlns:a16="http://schemas.microsoft.com/office/drawing/2014/main" id="{5AEFAC33-7A2F-2F4F-9F95-5C3AF5522B61}"/>
                </a:ext>
              </a:extLst>
            </p:cNvPr>
            <p:cNvSpPr txBox="1"/>
            <p:nvPr/>
          </p:nvSpPr>
          <p:spPr>
            <a:xfrm>
              <a:off x="7397240" y="3362154"/>
              <a:ext cx="711151" cy="151721"/>
            </a:xfrm>
            <a:prstGeom prst="rect">
              <a:avLst/>
            </a:prstGeom>
            <a:noFill/>
          </p:spPr>
          <p:txBody>
            <a:bodyPr wrap="square" lIns="0" tIns="0" rIns="0" bIns="0" rtlCol="0">
              <a:spAutoFit/>
            </a:bodyPr>
            <a:lstStyle>
              <a:defPPr>
                <a:defRPr lang="en-US"/>
              </a:defPPr>
              <a:lvl1pPr algn="ctr">
                <a:buSzPct val="100000"/>
                <a:defRPr sz="1000">
                  <a:solidFill>
                    <a:schemeClr val="tx2"/>
                  </a:solidFill>
                </a:defRPr>
              </a:lvl1pPr>
            </a:lstStyle>
            <a:p>
              <a:r>
                <a:rPr lang="en-US" sz="1300" dirty="0">
                  <a:solidFill>
                    <a:srgbClr val="000000"/>
                  </a:solidFill>
                </a:rPr>
                <a:t>Lorem ipsum</a:t>
              </a:r>
            </a:p>
          </p:txBody>
        </p:sp>
        <p:sp>
          <p:nvSpPr>
            <p:cNvPr id="85" name="TextBox 84">
              <a:extLst>
                <a:ext uri="{FF2B5EF4-FFF2-40B4-BE49-F238E27FC236}">
                  <a16:creationId xmlns:a16="http://schemas.microsoft.com/office/drawing/2014/main" id="{71DF16B9-61D4-C34C-B5EF-B0D8FF5CA8E6}"/>
                </a:ext>
              </a:extLst>
            </p:cNvPr>
            <p:cNvSpPr txBox="1"/>
            <p:nvPr/>
          </p:nvSpPr>
          <p:spPr>
            <a:xfrm>
              <a:off x="4086845" y="3362153"/>
              <a:ext cx="800658" cy="151721"/>
            </a:xfrm>
            <a:prstGeom prst="rect">
              <a:avLst/>
            </a:prstGeom>
            <a:noFill/>
          </p:spPr>
          <p:txBody>
            <a:bodyPr wrap="square" lIns="0" tIns="0" rIns="0" bIns="0" rtlCol="0">
              <a:spAutoFit/>
            </a:bodyPr>
            <a:lstStyle/>
            <a:p>
              <a:pPr algn="ctr">
                <a:buSzPct val="100000"/>
              </a:pPr>
              <a:r>
                <a:rPr lang="en-US" sz="1300" dirty="0">
                  <a:solidFill>
                    <a:srgbClr val="000000"/>
                  </a:solidFill>
                </a:rPr>
                <a:t>Lorem ipsum</a:t>
              </a:r>
            </a:p>
          </p:txBody>
        </p:sp>
        <p:sp>
          <p:nvSpPr>
            <p:cNvPr id="86" name="TextBox 85">
              <a:extLst>
                <a:ext uri="{FF2B5EF4-FFF2-40B4-BE49-F238E27FC236}">
                  <a16:creationId xmlns:a16="http://schemas.microsoft.com/office/drawing/2014/main" id="{59A2A0CF-84FB-D64E-A5B1-7A7E547BB374}"/>
                </a:ext>
              </a:extLst>
            </p:cNvPr>
            <p:cNvSpPr txBox="1"/>
            <p:nvPr/>
          </p:nvSpPr>
          <p:spPr>
            <a:xfrm>
              <a:off x="4890203" y="2915372"/>
              <a:ext cx="2422871" cy="2243414"/>
            </a:xfrm>
            <a:prstGeom prst="rect">
              <a:avLst/>
            </a:prstGeom>
            <a:noFill/>
          </p:spPr>
          <p:txBody>
            <a:bodyPr spcFirstLastPara="1" wrap="none" lIns="0" tIns="0" rIns="0" bIns="0" numCol="1" rtlCol="0">
              <a:prstTxWarp prst="textArchUp">
                <a:avLst/>
              </a:prstTxWarp>
              <a:noAutofit/>
            </a:bodyPr>
            <a:lstStyle>
              <a:defPPr>
                <a:defRPr lang="en-US"/>
              </a:defPPr>
              <a:lvl1pPr algn="ctr">
                <a:buSzPct val="100000"/>
                <a:defRPr sz="1000">
                  <a:solidFill>
                    <a:schemeClr val="tx2"/>
                  </a:solidFill>
                </a:defRPr>
              </a:lvl1pPr>
            </a:lstStyle>
            <a:p>
              <a:r>
                <a:rPr lang="en-US" sz="1300" b="1" dirty="0">
                  <a:solidFill>
                    <a:srgbClr val="000000"/>
                  </a:solidFill>
                </a:rPr>
                <a:t>Lorem ipsum</a:t>
              </a:r>
            </a:p>
          </p:txBody>
        </p:sp>
        <p:grpSp>
          <p:nvGrpSpPr>
            <p:cNvPr id="87" name="Group 86">
              <a:extLst>
                <a:ext uri="{FF2B5EF4-FFF2-40B4-BE49-F238E27FC236}">
                  <a16:creationId xmlns:a16="http://schemas.microsoft.com/office/drawing/2014/main" id="{AFE957A9-90B1-EA46-9A15-AF7A41A50049}"/>
                </a:ext>
              </a:extLst>
            </p:cNvPr>
            <p:cNvGrpSpPr/>
            <p:nvPr/>
          </p:nvGrpSpPr>
          <p:grpSpPr>
            <a:xfrm>
              <a:off x="5138484" y="2994647"/>
              <a:ext cx="1923611" cy="1923611"/>
              <a:chOff x="4965701" y="2634008"/>
              <a:chExt cx="2230437" cy="2230438"/>
            </a:xfrm>
          </p:grpSpPr>
          <p:sp>
            <p:nvSpPr>
              <p:cNvPr id="88" name="Freeform 6">
                <a:extLst>
                  <a:ext uri="{FF2B5EF4-FFF2-40B4-BE49-F238E27FC236}">
                    <a16:creationId xmlns:a16="http://schemas.microsoft.com/office/drawing/2014/main" id="{5D0EC976-B8FB-9949-8975-FE1D7DB0A648}"/>
                  </a:ext>
                </a:extLst>
              </p:cNvPr>
              <p:cNvSpPr>
                <a:spLocks/>
              </p:cNvSpPr>
              <p:nvPr/>
            </p:nvSpPr>
            <p:spPr bwMode="auto">
              <a:xfrm>
                <a:off x="6081713" y="2634008"/>
                <a:ext cx="1114425" cy="1673225"/>
              </a:xfrm>
              <a:custGeom>
                <a:avLst/>
                <a:gdLst>
                  <a:gd name="T0" fmla="*/ 1250 w 1403"/>
                  <a:gd name="T1" fmla="*/ 2045 h 2109"/>
                  <a:gd name="T2" fmla="*/ 1309 w 1403"/>
                  <a:gd name="T3" fmla="*/ 1915 h 2109"/>
                  <a:gd name="T4" fmla="*/ 1354 w 1403"/>
                  <a:gd name="T5" fmla="*/ 1782 h 2109"/>
                  <a:gd name="T6" fmla="*/ 1384 w 1403"/>
                  <a:gd name="T7" fmla="*/ 1648 h 2109"/>
                  <a:gd name="T8" fmla="*/ 1402 w 1403"/>
                  <a:gd name="T9" fmla="*/ 1512 h 2109"/>
                  <a:gd name="T10" fmla="*/ 1403 w 1403"/>
                  <a:gd name="T11" fmla="*/ 1375 h 2109"/>
                  <a:gd name="T12" fmla="*/ 1394 w 1403"/>
                  <a:gd name="T13" fmla="*/ 1241 h 2109"/>
                  <a:gd name="T14" fmla="*/ 1373 w 1403"/>
                  <a:gd name="T15" fmla="*/ 1108 h 2109"/>
                  <a:gd name="T16" fmla="*/ 1338 w 1403"/>
                  <a:gd name="T17" fmla="*/ 978 h 2109"/>
                  <a:gd name="T18" fmla="*/ 1290 w 1403"/>
                  <a:gd name="T19" fmla="*/ 851 h 2109"/>
                  <a:gd name="T20" fmla="*/ 1231 w 1403"/>
                  <a:gd name="T21" fmla="*/ 730 h 2109"/>
                  <a:gd name="T22" fmla="*/ 1160 w 1403"/>
                  <a:gd name="T23" fmla="*/ 613 h 2109"/>
                  <a:gd name="T24" fmla="*/ 1077 w 1403"/>
                  <a:gd name="T25" fmla="*/ 505 h 2109"/>
                  <a:gd name="T26" fmla="*/ 983 w 1403"/>
                  <a:gd name="T27" fmla="*/ 404 h 2109"/>
                  <a:gd name="T28" fmla="*/ 879 w 1403"/>
                  <a:gd name="T29" fmla="*/ 309 h 2109"/>
                  <a:gd name="T30" fmla="*/ 764 w 1403"/>
                  <a:gd name="T31" fmla="*/ 227 h 2109"/>
                  <a:gd name="T32" fmla="*/ 620 w 1403"/>
                  <a:gd name="T33" fmla="*/ 146 h 2109"/>
                  <a:gd name="T34" fmla="*/ 451 w 1403"/>
                  <a:gd name="T35" fmla="*/ 75 h 2109"/>
                  <a:gd name="T36" fmla="*/ 275 w 1403"/>
                  <a:gd name="T37" fmla="*/ 27 h 2109"/>
                  <a:gd name="T38" fmla="*/ 92 w 1403"/>
                  <a:gd name="T39" fmla="*/ 4 h 2109"/>
                  <a:gd name="T40" fmla="*/ 0 w 1403"/>
                  <a:gd name="T41" fmla="*/ 469 h 2109"/>
                  <a:gd name="T42" fmla="*/ 96 w 1403"/>
                  <a:gd name="T43" fmla="*/ 475 h 2109"/>
                  <a:gd name="T44" fmla="*/ 188 w 1403"/>
                  <a:gd name="T45" fmla="*/ 488 h 2109"/>
                  <a:gd name="T46" fmla="*/ 278 w 1403"/>
                  <a:gd name="T47" fmla="*/ 511 h 2109"/>
                  <a:gd name="T48" fmla="*/ 365 w 1403"/>
                  <a:gd name="T49" fmla="*/ 544 h 2109"/>
                  <a:gd name="T50" fmla="*/ 445 w 1403"/>
                  <a:gd name="T51" fmla="*/ 582 h 2109"/>
                  <a:gd name="T52" fmla="*/ 595 w 1403"/>
                  <a:gd name="T53" fmla="*/ 684 h 2109"/>
                  <a:gd name="T54" fmla="*/ 722 w 1403"/>
                  <a:gd name="T55" fmla="*/ 811 h 2109"/>
                  <a:gd name="T56" fmla="*/ 824 w 1403"/>
                  <a:gd name="T57" fmla="*/ 960 h 2109"/>
                  <a:gd name="T58" fmla="*/ 862 w 1403"/>
                  <a:gd name="T59" fmla="*/ 1041 h 2109"/>
                  <a:gd name="T60" fmla="*/ 895 w 1403"/>
                  <a:gd name="T61" fmla="*/ 1128 h 2109"/>
                  <a:gd name="T62" fmla="*/ 918 w 1403"/>
                  <a:gd name="T63" fmla="*/ 1218 h 2109"/>
                  <a:gd name="T64" fmla="*/ 931 w 1403"/>
                  <a:gd name="T65" fmla="*/ 1310 h 2109"/>
                  <a:gd name="T66" fmla="*/ 937 w 1403"/>
                  <a:gd name="T67" fmla="*/ 1406 h 2109"/>
                  <a:gd name="T68" fmla="*/ 927 w 1403"/>
                  <a:gd name="T69" fmla="*/ 1529 h 2109"/>
                  <a:gd name="T70" fmla="*/ 904 w 1403"/>
                  <a:gd name="T71" fmla="*/ 1648 h 2109"/>
                  <a:gd name="T72" fmla="*/ 866 w 1403"/>
                  <a:gd name="T73" fmla="*/ 1765 h 2109"/>
                  <a:gd name="T74" fmla="*/ 810 w 1403"/>
                  <a:gd name="T75" fmla="*/ 1875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3" h="2109">
                    <a:moveTo>
                      <a:pt x="1215" y="2109"/>
                    </a:moveTo>
                    <a:lnTo>
                      <a:pt x="1250" y="2045"/>
                    </a:lnTo>
                    <a:lnTo>
                      <a:pt x="1283" y="1980"/>
                    </a:lnTo>
                    <a:lnTo>
                      <a:pt x="1309" y="1915"/>
                    </a:lnTo>
                    <a:lnTo>
                      <a:pt x="1332" y="1850"/>
                    </a:lnTo>
                    <a:lnTo>
                      <a:pt x="1354" y="1782"/>
                    </a:lnTo>
                    <a:lnTo>
                      <a:pt x="1371" y="1715"/>
                    </a:lnTo>
                    <a:lnTo>
                      <a:pt x="1384" y="1648"/>
                    </a:lnTo>
                    <a:lnTo>
                      <a:pt x="1394" y="1581"/>
                    </a:lnTo>
                    <a:lnTo>
                      <a:pt x="1402" y="1512"/>
                    </a:lnTo>
                    <a:lnTo>
                      <a:pt x="1403" y="1444"/>
                    </a:lnTo>
                    <a:lnTo>
                      <a:pt x="1403" y="1375"/>
                    </a:lnTo>
                    <a:lnTo>
                      <a:pt x="1402" y="1308"/>
                    </a:lnTo>
                    <a:lnTo>
                      <a:pt x="1394" y="1241"/>
                    </a:lnTo>
                    <a:lnTo>
                      <a:pt x="1386" y="1174"/>
                    </a:lnTo>
                    <a:lnTo>
                      <a:pt x="1373" y="1108"/>
                    </a:lnTo>
                    <a:lnTo>
                      <a:pt x="1357" y="1043"/>
                    </a:lnTo>
                    <a:lnTo>
                      <a:pt x="1338" y="978"/>
                    </a:lnTo>
                    <a:lnTo>
                      <a:pt x="1315" y="914"/>
                    </a:lnTo>
                    <a:lnTo>
                      <a:pt x="1290" y="851"/>
                    </a:lnTo>
                    <a:lnTo>
                      <a:pt x="1261" y="790"/>
                    </a:lnTo>
                    <a:lnTo>
                      <a:pt x="1231" y="730"/>
                    </a:lnTo>
                    <a:lnTo>
                      <a:pt x="1198" y="671"/>
                    </a:lnTo>
                    <a:lnTo>
                      <a:pt x="1160" y="613"/>
                    </a:lnTo>
                    <a:lnTo>
                      <a:pt x="1121" y="559"/>
                    </a:lnTo>
                    <a:lnTo>
                      <a:pt x="1077" y="505"/>
                    </a:lnTo>
                    <a:lnTo>
                      <a:pt x="1033" y="454"/>
                    </a:lnTo>
                    <a:lnTo>
                      <a:pt x="983" y="404"/>
                    </a:lnTo>
                    <a:lnTo>
                      <a:pt x="933" y="356"/>
                    </a:lnTo>
                    <a:lnTo>
                      <a:pt x="879" y="309"/>
                    </a:lnTo>
                    <a:lnTo>
                      <a:pt x="824" y="267"/>
                    </a:lnTo>
                    <a:lnTo>
                      <a:pt x="764" y="227"/>
                    </a:lnTo>
                    <a:lnTo>
                      <a:pt x="703" y="189"/>
                    </a:lnTo>
                    <a:lnTo>
                      <a:pt x="620" y="146"/>
                    </a:lnTo>
                    <a:lnTo>
                      <a:pt x="538" y="108"/>
                    </a:lnTo>
                    <a:lnTo>
                      <a:pt x="451" y="75"/>
                    </a:lnTo>
                    <a:lnTo>
                      <a:pt x="363" y="48"/>
                    </a:lnTo>
                    <a:lnTo>
                      <a:pt x="275" y="27"/>
                    </a:lnTo>
                    <a:lnTo>
                      <a:pt x="182" y="14"/>
                    </a:lnTo>
                    <a:lnTo>
                      <a:pt x="92" y="4"/>
                    </a:lnTo>
                    <a:lnTo>
                      <a:pt x="0" y="0"/>
                    </a:lnTo>
                    <a:lnTo>
                      <a:pt x="0" y="469"/>
                    </a:lnTo>
                    <a:lnTo>
                      <a:pt x="48" y="471"/>
                    </a:lnTo>
                    <a:lnTo>
                      <a:pt x="96" y="475"/>
                    </a:lnTo>
                    <a:lnTo>
                      <a:pt x="142" y="480"/>
                    </a:lnTo>
                    <a:lnTo>
                      <a:pt x="188" y="488"/>
                    </a:lnTo>
                    <a:lnTo>
                      <a:pt x="234" y="500"/>
                    </a:lnTo>
                    <a:lnTo>
                      <a:pt x="278" y="511"/>
                    </a:lnTo>
                    <a:lnTo>
                      <a:pt x="321" y="526"/>
                    </a:lnTo>
                    <a:lnTo>
                      <a:pt x="365" y="544"/>
                    </a:lnTo>
                    <a:lnTo>
                      <a:pt x="405" y="561"/>
                    </a:lnTo>
                    <a:lnTo>
                      <a:pt x="445" y="582"/>
                    </a:lnTo>
                    <a:lnTo>
                      <a:pt x="524" y="630"/>
                    </a:lnTo>
                    <a:lnTo>
                      <a:pt x="595" y="684"/>
                    </a:lnTo>
                    <a:lnTo>
                      <a:pt x="662" y="743"/>
                    </a:lnTo>
                    <a:lnTo>
                      <a:pt x="722" y="811"/>
                    </a:lnTo>
                    <a:lnTo>
                      <a:pt x="776" y="882"/>
                    </a:lnTo>
                    <a:lnTo>
                      <a:pt x="824" y="960"/>
                    </a:lnTo>
                    <a:lnTo>
                      <a:pt x="843" y="1001"/>
                    </a:lnTo>
                    <a:lnTo>
                      <a:pt x="862" y="1041"/>
                    </a:lnTo>
                    <a:lnTo>
                      <a:pt x="879" y="1083"/>
                    </a:lnTo>
                    <a:lnTo>
                      <a:pt x="895" y="1128"/>
                    </a:lnTo>
                    <a:lnTo>
                      <a:pt x="906" y="1172"/>
                    </a:lnTo>
                    <a:lnTo>
                      <a:pt x="918" y="1218"/>
                    </a:lnTo>
                    <a:lnTo>
                      <a:pt x="925" y="1264"/>
                    </a:lnTo>
                    <a:lnTo>
                      <a:pt x="931" y="1310"/>
                    </a:lnTo>
                    <a:lnTo>
                      <a:pt x="935" y="1358"/>
                    </a:lnTo>
                    <a:lnTo>
                      <a:pt x="937" y="1406"/>
                    </a:lnTo>
                    <a:lnTo>
                      <a:pt x="935" y="1467"/>
                    </a:lnTo>
                    <a:lnTo>
                      <a:pt x="927" y="1529"/>
                    </a:lnTo>
                    <a:lnTo>
                      <a:pt x="918" y="1588"/>
                    </a:lnTo>
                    <a:lnTo>
                      <a:pt x="904" y="1648"/>
                    </a:lnTo>
                    <a:lnTo>
                      <a:pt x="887" y="1707"/>
                    </a:lnTo>
                    <a:lnTo>
                      <a:pt x="866" y="1765"/>
                    </a:lnTo>
                    <a:lnTo>
                      <a:pt x="839" y="1821"/>
                    </a:lnTo>
                    <a:lnTo>
                      <a:pt x="810" y="1875"/>
                    </a:lnTo>
                    <a:lnTo>
                      <a:pt x="1215" y="2109"/>
                    </a:lnTo>
                    <a:close/>
                  </a:path>
                </a:pathLst>
              </a:custGeom>
              <a:solidFill>
                <a:srgbClr val="000000"/>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sp>
            <p:nvSpPr>
              <p:cNvPr id="89" name="Freeform 7">
                <a:extLst>
                  <a:ext uri="{FF2B5EF4-FFF2-40B4-BE49-F238E27FC236}">
                    <a16:creationId xmlns:a16="http://schemas.microsoft.com/office/drawing/2014/main" id="{73C421D6-A915-4443-A49B-908590481E15}"/>
                  </a:ext>
                </a:extLst>
              </p:cNvPr>
              <p:cNvSpPr>
                <a:spLocks/>
              </p:cNvSpPr>
              <p:nvPr/>
            </p:nvSpPr>
            <p:spPr bwMode="auto">
              <a:xfrm>
                <a:off x="5114926" y="4121496"/>
                <a:ext cx="1931987" cy="742950"/>
              </a:xfrm>
              <a:custGeom>
                <a:avLst/>
                <a:gdLst>
                  <a:gd name="T0" fmla="*/ 38 w 2432"/>
                  <a:gd name="T1" fmla="*/ 295 h 937"/>
                  <a:gd name="T2" fmla="*/ 121 w 2432"/>
                  <a:gd name="T3" fmla="*/ 411 h 937"/>
                  <a:gd name="T4" fmla="*/ 213 w 2432"/>
                  <a:gd name="T5" fmla="*/ 516 h 937"/>
                  <a:gd name="T6" fmla="*/ 315 w 2432"/>
                  <a:gd name="T7" fmla="*/ 610 h 937"/>
                  <a:gd name="T8" fmla="*/ 424 w 2432"/>
                  <a:gd name="T9" fmla="*/ 693 h 937"/>
                  <a:gd name="T10" fmla="*/ 539 w 2432"/>
                  <a:gd name="T11" fmla="*/ 764 h 937"/>
                  <a:gd name="T12" fmla="*/ 662 w 2432"/>
                  <a:gd name="T13" fmla="*/ 821 h 937"/>
                  <a:gd name="T14" fmla="*/ 789 w 2432"/>
                  <a:gd name="T15" fmla="*/ 869 h 937"/>
                  <a:gd name="T16" fmla="*/ 917 w 2432"/>
                  <a:gd name="T17" fmla="*/ 904 h 937"/>
                  <a:gd name="T18" fmla="*/ 1052 w 2432"/>
                  <a:gd name="T19" fmla="*/ 927 h 937"/>
                  <a:gd name="T20" fmla="*/ 1186 w 2432"/>
                  <a:gd name="T21" fmla="*/ 937 h 937"/>
                  <a:gd name="T22" fmla="*/ 1323 w 2432"/>
                  <a:gd name="T23" fmla="*/ 933 h 937"/>
                  <a:gd name="T24" fmla="*/ 1457 w 2432"/>
                  <a:gd name="T25" fmla="*/ 916 h 937"/>
                  <a:gd name="T26" fmla="*/ 1593 w 2432"/>
                  <a:gd name="T27" fmla="*/ 885 h 937"/>
                  <a:gd name="T28" fmla="*/ 1726 w 2432"/>
                  <a:gd name="T29" fmla="*/ 841 h 937"/>
                  <a:gd name="T30" fmla="*/ 1856 w 2432"/>
                  <a:gd name="T31" fmla="*/ 783 h 937"/>
                  <a:gd name="T32" fmla="*/ 1996 w 2432"/>
                  <a:gd name="T33" fmla="*/ 699 h 937"/>
                  <a:gd name="T34" fmla="*/ 2142 w 2432"/>
                  <a:gd name="T35" fmla="*/ 587 h 937"/>
                  <a:gd name="T36" fmla="*/ 2273 w 2432"/>
                  <a:gd name="T37" fmla="*/ 459 h 937"/>
                  <a:gd name="T38" fmla="*/ 2384 w 2432"/>
                  <a:gd name="T39" fmla="*/ 313 h 937"/>
                  <a:gd name="T40" fmla="*/ 2027 w 2432"/>
                  <a:gd name="T41" fmla="*/ 0 h 937"/>
                  <a:gd name="T42" fmla="*/ 1916 w 2432"/>
                  <a:gd name="T43" fmla="*/ 153 h 937"/>
                  <a:gd name="T44" fmla="*/ 1781 w 2432"/>
                  <a:gd name="T45" fmla="*/ 278 h 937"/>
                  <a:gd name="T46" fmla="*/ 1707 w 2432"/>
                  <a:gd name="T47" fmla="*/ 330 h 937"/>
                  <a:gd name="T48" fmla="*/ 1628 w 2432"/>
                  <a:gd name="T49" fmla="*/ 374 h 937"/>
                  <a:gd name="T50" fmla="*/ 1545 w 2432"/>
                  <a:gd name="T51" fmla="*/ 409 h 937"/>
                  <a:gd name="T52" fmla="*/ 1459 w 2432"/>
                  <a:gd name="T53" fmla="*/ 435 h 937"/>
                  <a:gd name="T54" fmla="*/ 1371 w 2432"/>
                  <a:gd name="T55" fmla="*/ 455 h 937"/>
                  <a:gd name="T56" fmla="*/ 1282 w 2432"/>
                  <a:gd name="T57" fmla="*/ 466 h 937"/>
                  <a:gd name="T58" fmla="*/ 1192 w 2432"/>
                  <a:gd name="T59" fmla="*/ 468 h 937"/>
                  <a:gd name="T60" fmla="*/ 1100 w 2432"/>
                  <a:gd name="T61" fmla="*/ 460 h 937"/>
                  <a:gd name="T62" fmla="*/ 1010 w 2432"/>
                  <a:gd name="T63" fmla="*/ 445 h 937"/>
                  <a:gd name="T64" fmla="*/ 921 w 2432"/>
                  <a:gd name="T65" fmla="*/ 420 h 937"/>
                  <a:gd name="T66" fmla="*/ 833 w 2432"/>
                  <a:gd name="T67" fmla="*/ 386 h 937"/>
                  <a:gd name="T68" fmla="*/ 748 w 2432"/>
                  <a:gd name="T69" fmla="*/ 343 h 937"/>
                  <a:gd name="T70" fmla="*/ 647 w 2432"/>
                  <a:gd name="T71" fmla="*/ 274 h 937"/>
                  <a:gd name="T72" fmla="*/ 555 w 2432"/>
                  <a:gd name="T73" fmla="*/ 194 h 937"/>
                  <a:gd name="T74" fmla="*/ 474 w 2432"/>
                  <a:gd name="T75" fmla="*/ 101 h 937"/>
                  <a:gd name="T76" fmla="*/ 405 w 2432"/>
                  <a:gd name="T77"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32" h="937">
                    <a:moveTo>
                      <a:pt x="0" y="234"/>
                    </a:moveTo>
                    <a:lnTo>
                      <a:pt x="38" y="295"/>
                    </a:lnTo>
                    <a:lnTo>
                      <a:pt x="78" y="355"/>
                    </a:lnTo>
                    <a:lnTo>
                      <a:pt x="121" y="411"/>
                    </a:lnTo>
                    <a:lnTo>
                      <a:pt x="167" y="464"/>
                    </a:lnTo>
                    <a:lnTo>
                      <a:pt x="213" y="516"/>
                    </a:lnTo>
                    <a:lnTo>
                      <a:pt x="263" y="564"/>
                    </a:lnTo>
                    <a:lnTo>
                      <a:pt x="315" y="610"/>
                    </a:lnTo>
                    <a:lnTo>
                      <a:pt x="368" y="652"/>
                    </a:lnTo>
                    <a:lnTo>
                      <a:pt x="424" y="693"/>
                    </a:lnTo>
                    <a:lnTo>
                      <a:pt x="482" y="729"/>
                    </a:lnTo>
                    <a:lnTo>
                      <a:pt x="539" y="764"/>
                    </a:lnTo>
                    <a:lnTo>
                      <a:pt x="601" y="795"/>
                    </a:lnTo>
                    <a:lnTo>
                      <a:pt x="662" y="821"/>
                    </a:lnTo>
                    <a:lnTo>
                      <a:pt x="724" y="848"/>
                    </a:lnTo>
                    <a:lnTo>
                      <a:pt x="789" y="869"/>
                    </a:lnTo>
                    <a:lnTo>
                      <a:pt x="852" y="889"/>
                    </a:lnTo>
                    <a:lnTo>
                      <a:pt x="917" y="904"/>
                    </a:lnTo>
                    <a:lnTo>
                      <a:pt x="985" y="917"/>
                    </a:lnTo>
                    <a:lnTo>
                      <a:pt x="1052" y="927"/>
                    </a:lnTo>
                    <a:lnTo>
                      <a:pt x="1119" y="933"/>
                    </a:lnTo>
                    <a:lnTo>
                      <a:pt x="1186" y="937"/>
                    </a:lnTo>
                    <a:lnTo>
                      <a:pt x="1253" y="937"/>
                    </a:lnTo>
                    <a:lnTo>
                      <a:pt x="1323" y="933"/>
                    </a:lnTo>
                    <a:lnTo>
                      <a:pt x="1390" y="925"/>
                    </a:lnTo>
                    <a:lnTo>
                      <a:pt x="1457" y="916"/>
                    </a:lnTo>
                    <a:lnTo>
                      <a:pt x="1526" y="902"/>
                    </a:lnTo>
                    <a:lnTo>
                      <a:pt x="1593" y="885"/>
                    </a:lnTo>
                    <a:lnTo>
                      <a:pt x="1659" y="866"/>
                    </a:lnTo>
                    <a:lnTo>
                      <a:pt x="1726" y="841"/>
                    </a:lnTo>
                    <a:lnTo>
                      <a:pt x="1791" y="814"/>
                    </a:lnTo>
                    <a:lnTo>
                      <a:pt x="1856" y="783"/>
                    </a:lnTo>
                    <a:lnTo>
                      <a:pt x="1920" y="748"/>
                    </a:lnTo>
                    <a:lnTo>
                      <a:pt x="1996" y="699"/>
                    </a:lnTo>
                    <a:lnTo>
                      <a:pt x="2071" y="647"/>
                    </a:lnTo>
                    <a:lnTo>
                      <a:pt x="2142" y="587"/>
                    </a:lnTo>
                    <a:lnTo>
                      <a:pt x="2210" y="526"/>
                    </a:lnTo>
                    <a:lnTo>
                      <a:pt x="2273" y="459"/>
                    </a:lnTo>
                    <a:lnTo>
                      <a:pt x="2331" y="387"/>
                    </a:lnTo>
                    <a:lnTo>
                      <a:pt x="2384" y="313"/>
                    </a:lnTo>
                    <a:lnTo>
                      <a:pt x="2432" y="234"/>
                    </a:lnTo>
                    <a:lnTo>
                      <a:pt x="2027" y="0"/>
                    </a:lnTo>
                    <a:lnTo>
                      <a:pt x="1975" y="80"/>
                    </a:lnTo>
                    <a:lnTo>
                      <a:pt x="1916" y="153"/>
                    </a:lnTo>
                    <a:lnTo>
                      <a:pt x="1852" y="220"/>
                    </a:lnTo>
                    <a:lnTo>
                      <a:pt x="1781" y="278"/>
                    </a:lnTo>
                    <a:lnTo>
                      <a:pt x="1745" y="305"/>
                    </a:lnTo>
                    <a:lnTo>
                      <a:pt x="1707" y="330"/>
                    </a:lnTo>
                    <a:lnTo>
                      <a:pt x="1668" y="353"/>
                    </a:lnTo>
                    <a:lnTo>
                      <a:pt x="1628" y="374"/>
                    </a:lnTo>
                    <a:lnTo>
                      <a:pt x="1586" y="391"/>
                    </a:lnTo>
                    <a:lnTo>
                      <a:pt x="1545" y="409"/>
                    </a:lnTo>
                    <a:lnTo>
                      <a:pt x="1501" y="424"/>
                    </a:lnTo>
                    <a:lnTo>
                      <a:pt x="1459" y="435"/>
                    </a:lnTo>
                    <a:lnTo>
                      <a:pt x="1415" y="447"/>
                    </a:lnTo>
                    <a:lnTo>
                      <a:pt x="1371" y="455"/>
                    </a:lnTo>
                    <a:lnTo>
                      <a:pt x="1326" y="462"/>
                    </a:lnTo>
                    <a:lnTo>
                      <a:pt x="1282" y="466"/>
                    </a:lnTo>
                    <a:lnTo>
                      <a:pt x="1236" y="468"/>
                    </a:lnTo>
                    <a:lnTo>
                      <a:pt x="1192" y="468"/>
                    </a:lnTo>
                    <a:lnTo>
                      <a:pt x="1146" y="466"/>
                    </a:lnTo>
                    <a:lnTo>
                      <a:pt x="1100" y="460"/>
                    </a:lnTo>
                    <a:lnTo>
                      <a:pt x="1056" y="455"/>
                    </a:lnTo>
                    <a:lnTo>
                      <a:pt x="1010" y="445"/>
                    </a:lnTo>
                    <a:lnTo>
                      <a:pt x="965" y="434"/>
                    </a:lnTo>
                    <a:lnTo>
                      <a:pt x="921" y="420"/>
                    </a:lnTo>
                    <a:lnTo>
                      <a:pt x="877" y="405"/>
                    </a:lnTo>
                    <a:lnTo>
                      <a:pt x="833" y="386"/>
                    </a:lnTo>
                    <a:lnTo>
                      <a:pt x="791" y="366"/>
                    </a:lnTo>
                    <a:lnTo>
                      <a:pt x="748" y="343"/>
                    </a:lnTo>
                    <a:lnTo>
                      <a:pt x="697" y="311"/>
                    </a:lnTo>
                    <a:lnTo>
                      <a:pt x="647" y="274"/>
                    </a:lnTo>
                    <a:lnTo>
                      <a:pt x="599" y="236"/>
                    </a:lnTo>
                    <a:lnTo>
                      <a:pt x="555" y="194"/>
                    </a:lnTo>
                    <a:lnTo>
                      <a:pt x="512" y="149"/>
                    </a:lnTo>
                    <a:lnTo>
                      <a:pt x="474" y="101"/>
                    </a:lnTo>
                    <a:lnTo>
                      <a:pt x="437" y="51"/>
                    </a:lnTo>
                    <a:lnTo>
                      <a:pt x="405" y="0"/>
                    </a:lnTo>
                    <a:lnTo>
                      <a:pt x="0" y="234"/>
                    </a:lnTo>
                    <a:close/>
                  </a:path>
                </a:pathLst>
              </a:custGeom>
              <a:solidFill>
                <a:schemeClr val="accent4"/>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sp>
            <p:nvSpPr>
              <p:cNvPr id="90" name="Freeform 8">
                <a:extLst>
                  <a:ext uri="{FF2B5EF4-FFF2-40B4-BE49-F238E27FC236}">
                    <a16:creationId xmlns:a16="http://schemas.microsoft.com/office/drawing/2014/main" id="{588E5BA8-0E70-1749-A3F7-E0AAF5F39A22}"/>
                  </a:ext>
                </a:extLst>
              </p:cNvPr>
              <p:cNvSpPr>
                <a:spLocks/>
              </p:cNvSpPr>
              <p:nvPr/>
            </p:nvSpPr>
            <p:spPr bwMode="auto">
              <a:xfrm>
                <a:off x="4965701" y="2634008"/>
                <a:ext cx="1116012" cy="1673225"/>
              </a:xfrm>
              <a:custGeom>
                <a:avLst/>
                <a:gdLst>
                  <a:gd name="T0" fmla="*/ 1332 w 1405"/>
                  <a:gd name="T1" fmla="*/ 2 h 2109"/>
                  <a:gd name="T2" fmla="*/ 1190 w 1405"/>
                  <a:gd name="T3" fmla="*/ 18 h 2109"/>
                  <a:gd name="T4" fmla="*/ 1054 w 1405"/>
                  <a:gd name="T5" fmla="*/ 44 h 2109"/>
                  <a:gd name="T6" fmla="*/ 921 w 1405"/>
                  <a:gd name="T7" fmla="*/ 87 h 2109"/>
                  <a:gd name="T8" fmla="*/ 794 w 1405"/>
                  <a:gd name="T9" fmla="*/ 139 h 2109"/>
                  <a:gd name="T10" fmla="*/ 675 w 1405"/>
                  <a:gd name="T11" fmla="*/ 204 h 2109"/>
                  <a:gd name="T12" fmla="*/ 564 w 1405"/>
                  <a:gd name="T13" fmla="*/ 281 h 2109"/>
                  <a:gd name="T14" fmla="*/ 460 w 1405"/>
                  <a:gd name="T15" fmla="*/ 365 h 2109"/>
                  <a:gd name="T16" fmla="*/ 364 w 1405"/>
                  <a:gd name="T17" fmla="*/ 461 h 2109"/>
                  <a:gd name="T18" fmla="*/ 278 w 1405"/>
                  <a:gd name="T19" fmla="*/ 565 h 2109"/>
                  <a:gd name="T20" fmla="*/ 203 w 1405"/>
                  <a:gd name="T21" fmla="*/ 676 h 2109"/>
                  <a:gd name="T22" fmla="*/ 138 w 1405"/>
                  <a:gd name="T23" fmla="*/ 797 h 2109"/>
                  <a:gd name="T24" fmla="*/ 84 w 1405"/>
                  <a:gd name="T25" fmla="*/ 922 h 2109"/>
                  <a:gd name="T26" fmla="*/ 44 w 1405"/>
                  <a:gd name="T27" fmla="*/ 1055 h 2109"/>
                  <a:gd name="T28" fmla="*/ 15 w 1405"/>
                  <a:gd name="T29" fmla="*/ 1193 h 2109"/>
                  <a:gd name="T30" fmla="*/ 1 w 1405"/>
                  <a:gd name="T31" fmla="*/ 1333 h 2109"/>
                  <a:gd name="T32" fmla="*/ 1 w 1405"/>
                  <a:gd name="T33" fmla="*/ 1498 h 2109"/>
                  <a:gd name="T34" fmla="*/ 26 w 1405"/>
                  <a:gd name="T35" fmla="*/ 1681 h 2109"/>
                  <a:gd name="T36" fmla="*/ 74 w 1405"/>
                  <a:gd name="T37" fmla="*/ 1857 h 2109"/>
                  <a:gd name="T38" fmla="*/ 144 w 1405"/>
                  <a:gd name="T39" fmla="*/ 2026 h 2109"/>
                  <a:gd name="T40" fmla="*/ 593 w 1405"/>
                  <a:gd name="T41" fmla="*/ 1875 h 2109"/>
                  <a:gd name="T42" fmla="*/ 549 w 1405"/>
                  <a:gd name="T43" fmla="*/ 1788 h 2109"/>
                  <a:gd name="T44" fmla="*/ 516 w 1405"/>
                  <a:gd name="T45" fmla="*/ 1702 h 2109"/>
                  <a:gd name="T46" fmla="*/ 491 w 1405"/>
                  <a:gd name="T47" fmla="*/ 1611 h 2109"/>
                  <a:gd name="T48" fmla="*/ 474 w 1405"/>
                  <a:gd name="T49" fmla="*/ 1521 h 2109"/>
                  <a:gd name="T50" fmla="*/ 468 w 1405"/>
                  <a:gd name="T51" fmla="*/ 1431 h 2109"/>
                  <a:gd name="T52" fmla="*/ 470 w 1405"/>
                  <a:gd name="T53" fmla="*/ 1341 h 2109"/>
                  <a:gd name="T54" fmla="*/ 480 w 1405"/>
                  <a:gd name="T55" fmla="*/ 1250 h 2109"/>
                  <a:gd name="T56" fmla="*/ 499 w 1405"/>
                  <a:gd name="T57" fmla="*/ 1164 h 2109"/>
                  <a:gd name="T58" fmla="*/ 528 w 1405"/>
                  <a:gd name="T59" fmla="*/ 1078 h 2109"/>
                  <a:gd name="T60" fmla="*/ 562 w 1405"/>
                  <a:gd name="T61" fmla="*/ 995 h 2109"/>
                  <a:gd name="T62" fmla="*/ 606 w 1405"/>
                  <a:gd name="T63" fmla="*/ 916 h 2109"/>
                  <a:gd name="T64" fmla="*/ 656 w 1405"/>
                  <a:gd name="T65" fmla="*/ 841 h 2109"/>
                  <a:gd name="T66" fmla="*/ 783 w 1405"/>
                  <a:gd name="T67" fmla="*/ 705 h 2109"/>
                  <a:gd name="T68" fmla="*/ 936 w 1405"/>
                  <a:gd name="T69" fmla="*/ 594 h 2109"/>
                  <a:gd name="T70" fmla="*/ 1046 w 1405"/>
                  <a:gd name="T71" fmla="*/ 540 h 2109"/>
                  <a:gd name="T72" fmla="*/ 1161 w 1405"/>
                  <a:gd name="T73" fmla="*/ 502 h 2109"/>
                  <a:gd name="T74" fmla="*/ 1282 w 1405"/>
                  <a:gd name="T75" fmla="*/ 477 h 2109"/>
                  <a:gd name="T76" fmla="*/ 1405 w 1405"/>
                  <a:gd name="T77" fmla="*/ 469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5" h="2109">
                    <a:moveTo>
                      <a:pt x="1405" y="0"/>
                    </a:moveTo>
                    <a:lnTo>
                      <a:pt x="1332" y="2"/>
                    </a:lnTo>
                    <a:lnTo>
                      <a:pt x="1261" y="8"/>
                    </a:lnTo>
                    <a:lnTo>
                      <a:pt x="1190" y="18"/>
                    </a:lnTo>
                    <a:lnTo>
                      <a:pt x="1121" y="29"/>
                    </a:lnTo>
                    <a:lnTo>
                      <a:pt x="1054" y="44"/>
                    </a:lnTo>
                    <a:lnTo>
                      <a:pt x="986" y="64"/>
                    </a:lnTo>
                    <a:lnTo>
                      <a:pt x="921" y="87"/>
                    </a:lnTo>
                    <a:lnTo>
                      <a:pt x="858" y="112"/>
                    </a:lnTo>
                    <a:lnTo>
                      <a:pt x="794" y="139"/>
                    </a:lnTo>
                    <a:lnTo>
                      <a:pt x="735" y="169"/>
                    </a:lnTo>
                    <a:lnTo>
                      <a:pt x="675" y="204"/>
                    </a:lnTo>
                    <a:lnTo>
                      <a:pt x="618" y="240"/>
                    </a:lnTo>
                    <a:lnTo>
                      <a:pt x="564" y="281"/>
                    </a:lnTo>
                    <a:lnTo>
                      <a:pt x="510" y="321"/>
                    </a:lnTo>
                    <a:lnTo>
                      <a:pt x="460" y="365"/>
                    </a:lnTo>
                    <a:lnTo>
                      <a:pt x="410" y="411"/>
                    </a:lnTo>
                    <a:lnTo>
                      <a:pt x="364" y="461"/>
                    </a:lnTo>
                    <a:lnTo>
                      <a:pt x="320" y="511"/>
                    </a:lnTo>
                    <a:lnTo>
                      <a:pt x="278" y="565"/>
                    </a:lnTo>
                    <a:lnTo>
                      <a:pt x="240" y="621"/>
                    </a:lnTo>
                    <a:lnTo>
                      <a:pt x="203" y="676"/>
                    </a:lnTo>
                    <a:lnTo>
                      <a:pt x="168" y="736"/>
                    </a:lnTo>
                    <a:lnTo>
                      <a:pt x="138" y="797"/>
                    </a:lnTo>
                    <a:lnTo>
                      <a:pt x="109" y="859"/>
                    </a:lnTo>
                    <a:lnTo>
                      <a:pt x="84" y="922"/>
                    </a:lnTo>
                    <a:lnTo>
                      <a:pt x="63" y="987"/>
                    </a:lnTo>
                    <a:lnTo>
                      <a:pt x="44" y="1055"/>
                    </a:lnTo>
                    <a:lnTo>
                      <a:pt x="28" y="1122"/>
                    </a:lnTo>
                    <a:lnTo>
                      <a:pt x="15" y="1193"/>
                    </a:lnTo>
                    <a:lnTo>
                      <a:pt x="7" y="1262"/>
                    </a:lnTo>
                    <a:lnTo>
                      <a:pt x="1" y="1333"/>
                    </a:lnTo>
                    <a:lnTo>
                      <a:pt x="0" y="1406"/>
                    </a:lnTo>
                    <a:lnTo>
                      <a:pt x="1" y="1498"/>
                    </a:lnTo>
                    <a:lnTo>
                      <a:pt x="11" y="1590"/>
                    </a:lnTo>
                    <a:lnTo>
                      <a:pt x="26" y="1681"/>
                    </a:lnTo>
                    <a:lnTo>
                      <a:pt x="48" y="1769"/>
                    </a:lnTo>
                    <a:lnTo>
                      <a:pt x="74" y="1857"/>
                    </a:lnTo>
                    <a:lnTo>
                      <a:pt x="105" y="1944"/>
                    </a:lnTo>
                    <a:lnTo>
                      <a:pt x="144" y="2026"/>
                    </a:lnTo>
                    <a:lnTo>
                      <a:pt x="188" y="2109"/>
                    </a:lnTo>
                    <a:lnTo>
                      <a:pt x="593" y="1875"/>
                    </a:lnTo>
                    <a:lnTo>
                      <a:pt x="570" y="1832"/>
                    </a:lnTo>
                    <a:lnTo>
                      <a:pt x="549" y="1788"/>
                    </a:lnTo>
                    <a:lnTo>
                      <a:pt x="531" y="1746"/>
                    </a:lnTo>
                    <a:lnTo>
                      <a:pt x="516" y="1702"/>
                    </a:lnTo>
                    <a:lnTo>
                      <a:pt x="501" y="1658"/>
                    </a:lnTo>
                    <a:lnTo>
                      <a:pt x="491" y="1611"/>
                    </a:lnTo>
                    <a:lnTo>
                      <a:pt x="481" y="1567"/>
                    </a:lnTo>
                    <a:lnTo>
                      <a:pt x="474" y="1521"/>
                    </a:lnTo>
                    <a:lnTo>
                      <a:pt x="470" y="1477"/>
                    </a:lnTo>
                    <a:lnTo>
                      <a:pt x="468" y="1431"/>
                    </a:lnTo>
                    <a:lnTo>
                      <a:pt x="468" y="1385"/>
                    </a:lnTo>
                    <a:lnTo>
                      <a:pt x="470" y="1341"/>
                    </a:lnTo>
                    <a:lnTo>
                      <a:pt x="474" y="1297"/>
                    </a:lnTo>
                    <a:lnTo>
                      <a:pt x="480" y="1250"/>
                    </a:lnTo>
                    <a:lnTo>
                      <a:pt x="489" y="1206"/>
                    </a:lnTo>
                    <a:lnTo>
                      <a:pt x="499" y="1164"/>
                    </a:lnTo>
                    <a:lnTo>
                      <a:pt x="512" y="1120"/>
                    </a:lnTo>
                    <a:lnTo>
                      <a:pt x="528" y="1078"/>
                    </a:lnTo>
                    <a:lnTo>
                      <a:pt x="543" y="1035"/>
                    </a:lnTo>
                    <a:lnTo>
                      <a:pt x="562" y="995"/>
                    </a:lnTo>
                    <a:lnTo>
                      <a:pt x="583" y="955"/>
                    </a:lnTo>
                    <a:lnTo>
                      <a:pt x="606" y="916"/>
                    </a:lnTo>
                    <a:lnTo>
                      <a:pt x="631" y="878"/>
                    </a:lnTo>
                    <a:lnTo>
                      <a:pt x="656" y="841"/>
                    </a:lnTo>
                    <a:lnTo>
                      <a:pt x="716" y="770"/>
                    </a:lnTo>
                    <a:lnTo>
                      <a:pt x="783" y="705"/>
                    </a:lnTo>
                    <a:lnTo>
                      <a:pt x="856" y="647"/>
                    </a:lnTo>
                    <a:lnTo>
                      <a:pt x="936" y="594"/>
                    </a:lnTo>
                    <a:lnTo>
                      <a:pt x="990" y="565"/>
                    </a:lnTo>
                    <a:lnTo>
                      <a:pt x="1046" y="540"/>
                    </a:lnTo>
                    <a:lnTo>
                      <a:pt x="1104" y="519"/>
                    </a:lnTo>
                    <a:lnTo>
                      <a:pt x="1161" y="502"/>
                    </a:lnTo>
                    <a:lnTo>
                      <a:pt x="1221" y="486"/>
                    </a:lnTo>
                    <a:lnTo>
                      <a:pt x="1282" y="477"/>
                    </a:lnTo>
                    <a:lnTo>
                      <a:pt x="1344" y="471"/>
                    </a:lnTo>
                    <a:lnTo>
                      <a:pt x="1405" y="469"/>
                    </a:lnTo>
                    <a:lnTo>
                      <a:pt x="1405" y="0"/>
                    </a:lnTo>
                    <a:close/>
                  </a:path>
                </a:pathLst>
              </a:custGeom>
              <a:solidFill>
                <a:schemeClr val="accent3"/>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grpSp>
        <p:sp>
          <p:nvSpPr>
            <p:cNvPr id="91" name="Oval 90">
              <a:extLst>
                <a:ext uri="{FF2B5EF4-FFF2-40B4-BE49-F238E27FC236}">
                  <a16:creationId xmlns:a16="http://schemas.microsoft.com/office/drawing/2014/main" id="{4D72A6A7-9FC7-6343-96D7-62D3AE94913A}"/>
                </a:ext>
              </a:extLst>
            </p:cNvPr>
            <p:cNvSpPr/>
            <p:nvPr/>
          </p:nvSpPr>
          <p:spPr bwMode="gray">
            <a:xfrm>
              <a:off x="5526361" y="3382524"/>
              <a:ext cx="1147856" cy="1147856"/>
            </a:xfrm>
            <a:prstGeom prst="ellipse">
              <a:avLst/>
            </a:prstGeom>
            <a:solidFill>
              <a:schemeClr val="accent2"/>
            </a:solidFill>
            <a:ln w="19050" algn="ctr">
              <a:noFill/>
              <a:miter lim="800000"/>
              <a:headEnd/>
              <a:tailEnd/>
            </a:ln>
          </p:spPr>
          <p:txBody>
            <a:bodyPr wrap="square" lIns="66840" tIns="66840" rIns="66840" bIns="66840" rtlCol="0" anchor="t"/>
            <a:lstStyle/>
            <a:p>
              <a:pPr algn="ctr">
                <a:buFont typeface="Wingdings 2" pitchFamily="18" charset="2"/>
                <a:buNone/>
              </a:pPr>
              <a:r>
                <a:rPr lang="en-US" sz="1300" b="1" dirty="0">
                  <a:solidFill>
                    <a:schemeClr val="bg1"/>
                  </a:solidFill>
                </a:rPr>
                <a:t>Lorem</a:t>
              </a:r>
            </a:p>
          </p:txBody>
        </p:sp>
        <p:sp>
          <p:nvSpPr>
            <p:cNvPr id="93" name="TextBox 92">
              <a:extLst>
                <a:ext uri="{FF2B5EF4-FFF2-40B4-BE49-F238E27FC236}">
                  <a16:creationId xmlns:a16="http://schemas.microsoft.com/office/drawing/2014/main" id="{D12F7FE3-AC4B-AD4B-8CAC-55DA00AA5E29}"/>
                </a:ext>
              </a:extLst>
            </p:cNvPr>
            <p:cNvSpPr txBox="1"/>
            <p:nvPr/>
          </p:nvSpPr>
          <p:spPr>
            <a:xfrm>
              <a:off x="5719886" y="2414799"/>
              <a:ext cx="778214" cy="151721"/>
            </a:xfrm>
            <a:prstGeom prst="rect">
              <a:avLst/>
            </a:prstGeom>
            <a:noFill/>
          </p:spPr>
          <p:txBody>
            <a:bodyPr wrap="square" lIns="0" tIns="0" rIns="0" bIns="0" rtlCol="0">
              <a:spAutoFit/>
            </a:bodyPr>
            <a:lstStyle/>
            <a:p>
              <a:pPr algn="ctr">
                <a:buSzPct val="100000"/>
              </a:pPr>
              <a:r>
                <a:rPr lang="en-US" sz="1300" dirty="0">
                  <a:solidFill>
                    <a:srgbClr val="000000"/>
                  </a:solidFill>
                </a:rPr>
                <a:t>Lorem ipsum</a:t>
              </a:r>
            </a:p>
          </p:txBody>
        </p:sp>
        <p:sp>
          <p:nvSpPr>
            <p:cNvPr id="109" name="TextBox 108">
              <a:extLst>
                <a:ext uri="{FF2B5EF4-FFF2-40B4-BE49-F238E27FC236}">
                  <a16:creationId xmlns:a16="http://schemas.microsoft.com/office/drawing/2014/main" id="{2DD9D796-0BF2-3242-A960-19117C0DD7DB}"/>
                </a:ext>
              </a:extLst>
            </p:cNvPr>
            <p:cNvSpPr txBox="1"/>
            <p:nvPr/>
          </p:nvSpPr>
          <p:spPr>
            <a:xfrm>
              <a:off x="5752112" y="5340318"/>
              <a:ext cx="823423" cy="151721"/>
            </a:xfrm>
            <a:prstGeom prst="rect">
              <a:avLst/>
            </a:prstGeom>
            <a:noFill/>
          </p:spPr>
          <p:txBody>
            <a:bodyPr wrap="square" lIns="0" tIns="0" rIns="0" bIns="0" rtlCol="0">
              <a:spAutoFit/>
            </a:bodyPr>
            <a:lstStyle/>
            <a:p>
              <a:pPr algn="ctr">
                <a:buSzPct val="100000"/>
              </a:pPr>
              <a:r>
                <a:rPr lang="en-US" sz="1300" dirty="0">
                  <a:solidFill>
                    <a:srgbClr val="000000"/>
                  </a:solidFill>
                </a:rPr>
                <a:t>Lorem ipsum</a:t>
              </a:r>
            </a:p>
          </p:txBody>
        </p:sp>
        <p:cxnSp>
          <p:nvCxnSpPr>
            <p:cNvPr id="110" name="Straight Connector 109">
              <a:extLst>
                <a:ext uri="{FF2B5EF4-FFF2-40B4-BE49-F238E27FC236}">
                  <a16:creationId xmlns:a16="http://schemas.microsoft.com/office/drawing/2014/main" id="{CA95DC75-EF9A-F84C-A747-4E55704F0C0F}"/>
                </a:ext>
              </a:extLst>
            </p:cNvPr>
            <p:cNvCxnSpPr/>
            <p:nvPr/>
          </p:nvCxnSpPr>
          <p:spPr>
            <a:xfrm>
              <a:off x="4077063" y="3808925"/>
              <a:ext cx="1153308" cy="0"/>
            </a:xfrm>
            <a:prstGeom prst="line">
              <a:avLst/>
            </a:prstGeom>
            <a:ln>
              <a:solidFill>
                <a:schemeClr val="accent3"/>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BA5D8096-B4BB-104E-9AFC-34E78C7E5251}"/>
                </a:ext>
              </a:extLst>
            </p:cNvPr>
            <p:cNvCxnSpPr/>
            <p:nvPr/>
          </p:nvCxnSpPr>
          <p:spPr>
            <a:xfrm flipH="1">
              <a:off x="7001632" y="3808925"/>
              <a:ext cx="1153308" cy="0"/>
            </a:xfrm>
            <a:prstGeom prst="line">
              <a:avLst/>
            </a:prstGeom>
            <a:ln>
              <a:solidFill>
                <a:srgbClr val="00000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F5F2F28-D362-894C-A1D2-2E2F740F76DD}"/>
                </a:ext>
              </a:extLst>
            </p:cNvPr>
            <p:cNvCxnSpPr/>
            <p:nvPr/>
          </p:nvCxnSpPr>
          <p:spPr>
            <a:xfrm flipV="1">
              <a:off x="5715673" y="4708032"/>
              <a:ext cx="0" cy="901508"/>
            </a:xfrm>
            <a:prstGeom prst="line">
              <a:avLst/>
            </a:prstGeom>
            <a:ln>
              <a:solidFill>
                <a:schemeClr val="accent4"/>
              </a:solidFill>
              <a:headEnd type="oval"/>
              <a:tailEnd type="none"/>
            </a:ln>
          </p:spPr>
          <p:style>
            <a:lnRef idx="1">
              <a:schemeClr val="accent1"/>
            </a:lnRef>
            <a:fillRef idx="0">
              <a:schemeClr val="accent1"/>
            </a:fillRef>
            <a:effectRef idx="0">
              <a:schemeClr val="accent1"/>
            </a:effectRef>
            <a:fontRef idx="minor">
              <a:schemeClr val="tx1"/>
            </a:fontRef>
          </p:style>
        </p:cxnSp>
      </p:grpSp>
      <p:sp>
        <p:nvSpPr>
          <p:cNvPr id="20" name="Freeform 227">
            <a:extLst>
              <a:ext uri="{FF2B5EF4-FFF2-40B4-BE49-F238E27FC236}">
                <a16:creationId xmlns:a16="http://schemas.microsoft.com/office/drawing/2014/main" id="{7509ECEE-20FF-4388-B7E1-96CEFD84CC22}"/>
              </a:ext>
            </a:extLst>
          </p:cNvPr>
          <p:cNvSpPr>
            <a:spLocks noEditPoints="1"/>
          </p:cNvSpPr>
          <p:nvPr/>
        </p:nvSpPr>
        <p:spPr bwMode="auto">
          <a:xfrm>
            <a:off x="5591580" y="4209650"/>
            <a:ext cx="865168" cy="518285"/>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Tree>
    <p:custDataLst>
      <p:tags r:id="rId1"/>
    </p:custDataLst>
    <p:extLst>
      <p:ext uri="{BB962C8B-B14F-4D97-AF65-F5344CB8AC3E}">
        <p14:creationId xmlns:p14="http://schemas.microsoft.com/office/powerpoint/2010/main" val="595919922"/>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8" name="Group 107"/>
          <p:cNvGrpSpPr/>
          <p:nvPr/>
        </p:nvGrpSpPr>
        <p:grpSpPr>
          <a:xfrm>
            <a:off x="4835240" y="1856498"/>
            <a:ext cx="2496409" cy="2531868"/>
            <a:chOff x="4835240" y="2535257"/>
            <a:chExt cx="2496409" cy="2531868"/>
          </a:xfrm>
        </p:grpSpPr>
        <p:grpSp>
          <p:nvGrpSpPr>
            <p:cNvPr id="33" name="Group 32"/>
            <p:cNvGrpSpPr/>
            <p:nvPr/>
          </p:nvGrpSpPr>
          <p:grpSpPr>
            <a:xfrm>
              <a:off x="5004810" y="2726531"/>
              <a:ext cx="2326839" cy="2340594"/>
              <a:chOff x="5004810" y="2726531"/>
              <a:chExt cx="2326839" cy="2340594"/>
            </a:xfrm>
          </p:grpSpPr>
          <p:cxnSp>
            <p:nvCxnSpPr>
              <p:cNvPr id="12" name="Straight Connector 11"/>
              <p:cNvCxnSpPr/>
              <p:nvPr/>
            </p:nvCxnSpPr>
            <p:spPr>
              <a:xfrm>
                <a:off x="5424488" y="2726531"/>
                <a:ext cx="1907161" cy="904842"/>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004810" y="4454987"/>
                <a:ext cx="2119180" cy="51852"/>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5004810" y="2726531"/>
                <a:ext cx="431274" cy="1728456"/>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6064400" y="3631373"/>
                <a:ext cx="1267249" cy="1435752"/>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flipH="1">
              <a:off x="4835240" y="2725868"/>
              <a:ext cx="2288750" cy="2341257"/>
              <a:chOff x="5034892" y="2725868"/>
              <a:chExt cx="2296759" cy="2341257"/>
            </a:xfrm>
          </p:grpSpPr>
          <p:cxnSp>
            <p:nvCxnSpPr>
              <p:cNvPr id="73" name="Straight Connector 72"/>
              <p:cNvCxnSpPr/>
              <p:nvPr/>
            </p:nvCxnSpPr>
            <p:spPr>
              <a:xfrm>
                <a:off x="5391396" y="2733913"/>
                <a:ext cx="1940255" cy="89746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5034892" y="2725868"/>
                <a:ext cx="353050" cy="179265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6082989" y="3631373"/>
                <a:ext cx="1248661" cy="1435752"/>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p:cNvCxnSpPr/>
            <p:nvPr/>
          </p:nvCxnSpPr>
          <p:spPr>
            <a:xfrm>
              <a:off x="5052853" y="3060440"/>
              <a:ext cx="196802" cy="355134"/>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6912769" y="3107343"/>
              <a:ext cx="218364" cy="308231"/>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570649" y="4490921"/>
              <a:ext cx="105229" cy="44907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5456305" y="4480913"/>
              <a:ext cx="92970" cy="415564"/>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6093015" y="2535257"/>
              <a:ext cx="17164" cy="493139"/>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cxnSp>
        <p:nvCxnSpPr>
          <p:cNvPr id="54" name="Straight Connector 53">
            <a:extLst>
              <a:ext uri="{FF2B5EF4-FFF2-40B4-BE49-F238E27FC236}">
                <a16:creationId xmlns:a16="http://schemas.microsoft.com/office/drawing/2014/main" id="{B692F062-3767-914C-8C9A-4A43E93B1A24}"/>
              </a:ext>
            </a:extLst>
          </p:cNvPr>
          <p:cNvCxnSpPr>
            <a:stCxn id="60" idx="7"/>
          </p:cNvCxnSpPr>
          <p:nvPr/>
        </p:nvCxnSpPr>
        <p:spPr>
          <a:xfrm flipV="1">
            <a:off x="4536048" y="3828081"/>
            <a:ext cx="412590" cy="340410"/>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1D7AD0B-5746-684C-873B-9B6899FF0A17}"/>
              </a:ext>
            </a:extLst>
          </p:cNvPr>
          <p:cNvCxnSpPr>
            <a:stCxn id="67" idx="5"/>
          </p:cNvCxnSpPr>
          <p:nvPr/>
        </p:nvCxnSpPr>
        <p:spPr>
          <a:xfrm>
            <a:off x="4536048" y="1991914"/>
            <a:ext cx="468762" cy="357723"/>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6B1A5DD-3511-7141-84DA-091E36F48983}"/>
              </a:ext>
            </a:extLst>
          </p:cNvPr>
          <p:cNvCxnSpPr>
            <a:stCxn id="69" idx="1"/>
          </p:cNvCxnSpPr>
          <p:nvPr/>
        </p:nvCxnSpPr>
        <p:spPr>
          <a:xfrm flipH="1" flipV="1">
            <a:off x="7094130" y="3833485"/>
            <a:ext cx="470649" cy="335006"/>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094556D-A317-BC47-A5BC-5714255E74B5}"/>
              </a:ext>
            </a:extLst>
          </p:cNvPr>
          <p:cNvCxnSpPr/>
          <p:nvPr/>
        </p:nvCxnSpPr>
        <p:spPr>
          <a:xfrm flipH="1">
            <a:off x="7085802" y="1945797"/>
            <a:ext cx="510074" cy="515242"/>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89E835E-EC25-724C-B00C-9FBAF0EEF512}"/>
              </a:ext>
            </a:extLst>
          </p:cNvPr>
          <p:cNvCxnSpPr>
            <a:stCxn id="60" idx="2"/>
          </p:cNvCxnSpPr>
          <p:nvPr/>
        </p:nvCxnSpPr>
        <p:spPr>
          <a:xfrm flipH="1" flipV="1">
            <a:off x="654786" y="4206908"/>
            <a:ext cx="3788511" cy="1"/>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B630C626-0266-6A4C-B38E-FB69508F369E}"/>
              </a:ext>
            </a:extLst>
          </p:cNvPr>
          <p:cNvSpPr/>
          <p:nvPr/>
        </p:nvSpPr>
        <p:spPr bwMode="gray">
          <a:xfrm>
            <a:off x="546122" y="4152578"/>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60" name="Oval 59">
            <a:extLst>
              <a:ext uri="{FF2B5EF4-FFF2-40B4-BE49-F238E27FC236}">
                <a16:creationId xmlns:a16="http://schemas.microsoft.com/office/drawing/2014/main" id="{C4119D63-8E02-034F-A2C7-C3F804782517}"/>
              </a:ext>
            </a:extLst>
          </p:cNvPr>
          <p:cNvSpPr/>
          <p:nvPr/>
        </p:nvSpPr>
        <p:spPr bwMode="gray">
          <a:xfrm>
            <a:off x="4443297" y="4152578"/>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cxnSp>
        <p:nvCxnSpPr>
          <p:cNvPr id="61" name="Straight Connector 60">
            <a:extLst>
              <a:ext uri="{FF2B5EF4-FFF2-40B4-BE49-F238E27FC236}">
                <a16:creationId xmlns:a16="http://schemas.microsoft.com/office/drawing/2014/main" id="{9922E2A3-1E29-CB4D-8405-6D32F456DCBC}"/>
              </a:ext>
            </a:extLst>
          </p:cNvPr>
          <p:cNvCxnSpPr/>
          <p:nvPr/>
        </p:nvCxnSpPr>
        <p:spPr>
          <a:xfrm flipH="1">
            <a:off x="546122" y="1952181"/>
            <a:ext cx="3897175" cy="2631"/>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0CBCCF82-5039-084B-92A8-5917C8C0BBCC}"/>
              </a:ext>
            </a:extLst>
          </p:cNvPr>
          <p:cNvSpPr txBox="1"/>
          <p:nvPr/>
        </p:nvSpPr>
        <p:spPr>
          <a:xfrm>
            <a:off x="763450" y="1714500"/>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800" b="0" kern="0">
                <a:solidFill>
                  <a:schemeClr val="accent3"/>
                </a:solidFill>
                <a:ea typeface="Arial Unicode MS" pitchFamily="34" charset="-128"/>
                <a:cs typeface="Arial Unicode MS" pitchFamily="34" charset="-128"/>
              </a:defRPr>
            </a:lvl1pPr>
          </a:lstStyle>
          <a:p>
            <a:r>
              <a:rPr lang="en-US" sz="1300" dirty="0">
                <a:solidFill>
                  <a:srgbClr val="000000"/>
                </a:solidFill>
              </a:rPr>
              <a:t>Lorem ipsum</a:t>
            </a:r>
          </a:p>
        </p:txBody>
      </p:sp>
      <p:cxnSp>
        <p:nvCxnSpPr>
          <p:cNvPr id="63" name="Straight Connector 62">
            <a:extLst>
              <a:ext uri="{FF2B5EF4-FFF2-40B4-BE49-F238E27FC236}">
                <a16:creationId xmlns:a16="http://schemas.microsoft.com/office/drawing/2014/main" id="{37C2B17A-D0A8-E444-A65A-DF368DBC37D9}"/>
              </a:ext>
            </a:extLst>
          </p:cNvPr>
          <p:cNvCxnSpPr/>
          <p:nvPr/>
        </p:nvCxnSpPr>
        <p:spPr>
          <a:xfrm flipH="1">
            <a:off x="7668147" y="1953496"/>
            <a:ext cx="3914211" cy="0"/>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97F39C3F-5F4D-5843-BAF6-09683DB73D1B}"/>
              </a:ext>
            </a:extLst>
          </p:cNvPr>
          <p:cNvSpPr txBox="1"/>
          <p:nvPr/>
        </p:nvSpPr>
        <p:spPr>
          <a:xfrm>
            <a:off x="10609870" y="1714500"/>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800" b="0" kern="0">
                <a:solidFill>
                  <a:schemeClr val="accent3"/>
                </a:solidFill>
                <a:ea typeface="Arial Unicode MS" pitchFamily="34" charset="-128"/>
                <a:cs typeface="Arial Unicode MS" pitchFamily="34" charset="-128"/>
              </a:defRPr>
            </a:lvl1pPr>
          </a:lstStyle>
          <a:p>
            <a:r>
              <a:rPr lang="en-US" sz="1300" dirty="0">
                <a:solidFill>
                  <a:srgbClr val="000000"/>
                </a:solidFill>
              </a:rPr>
              <a:t>Lorem ipsum</a:t>
            </a:r>
          </a:p>
        </p:txBody>
      </p:sp>
      <p:sp>
        <p:nvSpPr>
          <p:cNvPr id="65" name="TextBox 64">
            <a:extLst>
              <a:ext uri="{FF2B5EF4-FFF2-40B4-BE49-F238E27FC236}">
                <a16:creationId xmlns:a16="http://schemas.microsoft.com/office/drawing/2014/main" id="{F72B6FA5-89A9-474F-887A-94EC71DF60BC}"/>
              </a:ext>
            </a:extLst>
          </p:cNvPr>
          <p:cNvSpPr txBox="1"/>
          <p:nvPr/>
        </p:nvSpPr>
        <p:spPr>
          <a:xfrm>
            <a:off x="763449" y="3957075"/>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800" b="0" kern="0">
                <a:solidFill>
                  <a:schemeClr val="accent3"/>
                </a:solidFill>
                <a:ea typeface="Arial Unicode MS" pitchFamily="34" charset="-128"/>
                <a:cs typeface="Arial Unicode MS" pitchFamily="34" charset="-128"/>
              </a:defRPr>
            </a:lvl1pPr>
          </a:lstStyle>
          <a:p>
            <a:r>
              <a:rPr lang="en-US" sz="1300" dirty="0">
                <a:solidFill>
                  <a:srgbClr val="000000"/>
                </a:solidFill>
              </a:rPr>
              <a:t>Lorem ipsum</a:t>
            </a:r>
          </a:p>
        </p:txBody>
      </p:sp>
      <p:cxnSp>
        <p:nvCxnSpPr>
          <p:cNvPr id="66" name="Straight Connector 65">
            <a:extLst>
              <a:ext uri="{FF2B5EF4-FFF2-40B4-BE49-F238E27FC236}">
                <a16:creationId xmlns:a16="http://schemas.microsoft.com/office/drawing/2014/main" id="{BEB373F3-2747-A047-ABBB-DCEC7B322368}"/>
              </a:ext>
            </a:extLst>
          </p:cNvPr>
          <p:cNvCxnSpPr/>
          <p:nvPr/>
        </p:nvCxnSpPr>
        <p:spPr>
          <a:xfrm flipH="1" flipV="1">
            <a:off x="7552301" y="4196101"/>
            <a:ext cx="4030057" cy="21615"/>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67" name="Oval 66">
            <a:extLst>
              <a:ext uri="{FF2B5EF4-FFF2-40B4-BE49-F238E27FC236}">
                <a16:creationId xmlns:a16="http://schemas.microsoft.com/office/drawing/2014/main" id="{C2AE5F23-F811-A044-88DB-0EDA3344587B}"/>
              </a:ext>
            </a:extLst>
          </p:cNvPr>
          <p:cNvSpPr/>
          <p:nvPr/>
        </p:nvSpPr>
        <p:spPr bwMode="gray">
          <a:xfrm>
            <a:off x="4443297" y="1899166"/>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68" name="Oval 67">
            <a:extLst>
              <a:ext uri="{FF2B5EF4-FFF2-40B4-BE49-F238E27FC236}">
                <a16:creationId xmlns:a16="http://schemas.microsoft.com/office/drawing/2014/main" id="{DEC8DFFA-2409-804E-B0CB-5A23C53FBC49}"/>
              </a:ext>
            </a:extLst>
          </p:cNvPr>
          <p:cNvSpPr/>
          <p:nvPr/>
        </p:nvSpPr>
        <p:spPr bwMode="gray">
          <a:xfrm>
            <a:off x="546122" y="1899166"/>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69" name="Oval 68">
            <a:extLst>
              <a:ext uri="{FF2B5EF4-FFF2-40B4-BE49-F238E27FC236}">
                <a16:creationId xmlns:a16="http://schemas.microsoft.com/office/drawing/2014/main" id="{E5B0C837-4727-FB44-BDBC-F25B812AF29B}"/>
              </a:ext>
            </a:extLst>
          </p:cNvPr>
          <p:cNvSpPr/>
          <p:nvPr/>
        </p:nvSpPr>
        <p:spPr bwMode="gray">
          <a:xfrm>
            <a:off x="7548866" y="4152578"/>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70" name="Oval 69">
            <a:extLst>
              <a:ext uri="{FF2B5EF4-FFF2-40B4-BE49-F238E27FC236}">
                <a16:creationId xmlns:a16="http://schemas.microsoft.com/office/drawing/2014/main" id="{15D18B6A-B6EE-1E45-BA67-302FFFD4EC76}"/>
              </a:ext>
            </a:extLst>
          </p:cNvPr>
          <p:cNvSpPr/>
          <p:nvPr/>
        </p:nvSpPr>
        <p:spPr bwMode="gray">
          <a:xfrm>
            <a:off x="7548866" y="1899166"/>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71" name="TextBox 70">
            <a:extLst>
              <a:ext uri="{FF2B5EF4-FFF2-40B4-BE49-F238E27FC236}">
                <a16:creationId xmlns:a16="http://schemas.microsoft.com/office/drawing/2014/main" id="{21EDB583-8317-CA4E-AC51-4B5AA9E52D4A}"/>
              </a:ext>
            </a:extLst>
          </p:cNvPr>
          <p:cNvSpPr txBox="1"/>
          <p:nvPr/>
        </p:nvSpPr>
        <p:spPr>
          <a:xfrm>
            <a:off x="5542964" y="2964438"/>
            <a:ext cx="1106073" cy="246221"/>
          </a:xfrm>
          <a:prstGeom prst="rect">
            <a:avLst/>
          </a:prstGeom>
          <a:noFill/>
        </p:spPr>
        <p:txBody>
          <a:bodyPr wrap="none" lIns="0" tIns="0" rIns="0" bIns="0" rtlCol="0" anchor="ctr">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r>
              <a:rPr lang="en-US" sz="1600" b="1" dirty="0">
                <a:solidFill>
                  <a:schemeClr val="tx1"/>
                </a:solidFill>
                <a:latin typeface="+mj-lt"/>
              </a:rPr>
              <a:t>Lorem ipsum</a:t>
            </a:r>
          </a:p>
        </p:txBody>
      </p:sp>
      <p:sp>
        <p:nvSpPr>
          <p:cNvPr id="95" name="TextBox 94">
            <a:extLst>
              <a:ext uri="{FF2B5EF4-FFF2-40B4-BE49-F238E27FC236}">
                <a16:creationId xmlns:a16="http://schemas.microsoft.com/office/drawing/2014/main" id="{D22FE59B-AAA2-7F43-ABE8-AD33F0CE54E3}"/>
              </a:ext>
            </a:extLst>
          </p:cNvPr>
          <p:cNvSpPr txBox="1"/>
          <p:nvPr/>
        </p:nvSpPr>
        <p:spPr>
          <a:xfrm>
            <a:off x="10637121" y="3957075"/>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800" b="0" kern="0">
                <a:solidFill>
                  <a:schemeClr val="accent3"/>
                </a:solidFill>
                <a:ea typeface="Arial Unicode MS" pitchFamily="34" charset="-128"/>
                <a:cs typeface="Arial Unicode MS" pitchFamily="34" charset="-128"/>
              </a:defRPr>
            </a:lvl1pPr>
          </a:lstStyle>
          <a:p>
            <a:r>
              <a:rPr lang="en-US" sz="1300" dirty="0">
                <a:solidFill>
                  <a:srgbClr val="000000"/>
                </a:solidFill>
              </a:rPr>
              <a:t>Lorem ipsum</a:t>
            </a:r>
          </a:p>
        </p:txBody>
      </p:sp>
      <p:sp>
        <p:nvSpPr>
          <p:cNvPr id="96" name="TextBox 95">
            <a:extLst>
              <a:ext uri="{FF2B5EF4-FFF2-40B4-BE49-F238E27FC236}">
                <a16:creationId xmlns:a16="http://schemas.microsoft.com/office/drawing/2014/main" id="{063125AB-E2B9-C64E-8981-E877E3D2A89C}"/>
              </a:ext>
            </a:extLst>
          </p:cNvPr>
          <p:cNvSpPr txBox="1"/>
          <p:nvPr/>
        </p:nvSpPr>
        <p:spPr>
          <a:xfrm>
            <a:off x="7548866" y="2644619"/>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400" b="0" kern="0">
                <a:solidFill>
                  <a:schemeClr val="accent1"/>
                </a:solidFill>
                <a:ea typeface="Arial Unicode MS" pitchFamily="34" charset="-128"/>
                <a:cs typeface="Arial Unicode MS" pitchFamily="34" charset="-128"/>
              </a:defRPr>
            </a:lvl1pPr>
          </a:lstStyle>
          <a:p>
            <a:r>
              <a:rPr lang="en-US" sz="1300" dirty="0">
                <a:solidFill>
                  <a:srgbClr val="43B02A"/>
                </a:solidFill>
                <a:latin typeface="+mj-lt"/>
              </a:rPr>
              <a:t>Lorem ipsum</a:t>
            </a:r>
          </a:p>
        </p:txBody>
      </p:sp>
      <p:sp>
        <p:nvSpPr>
          <p:cNvPr id="97" name="TextBox 96">
            <a:extLst>
              <a:ext uri="{FF2B5EF4-FFF2-40B4-BE49-F238E27FC236}">
                <a16:creationId xmlns:a16="http://schemas.microsoft.com/office/drawing/2014/main" id="{AC84CEE0-A474-3647-AA4C-CE834054CAF7}"/>
              </a:ext>
            </a:extLst>
          </p:cNvPr>
          <p:cNvSpPr txBox="1"/>
          <p:nvPr/>
        </p:nvSpPr>
        <p:spPr>
          <a:xfrm>
            <a:off x="7548866" y="3374110"/>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400" b="0" kern="0">
                <a:solidFill>
                  <a:schemeClr val="accent1"/>
                </a:solidFill>
                <a:ea typeface="Arial Unicode MS" pitchFamily="34" charset="-128"/>
                <a:cs typeface="Arial Unicode MS" pitchFamily="34" charset="-128"/>
              </a:defRPr>
            </a:lvl1pPr>
          </a:lstStyle>
          <a:p>
            <a:r>
              <a:rPr lang="en-US" sz="1300" dirty="0">
                <a:solidFill>
                  <a:srgbClr val="43B02A"/>
                </a:solidFill>
                <a:latin typeface="+mj-lt"/>
              </a:rPr>
              <a:t>Lorem ipsum</a:t>
            </a:r>
          </a:p>
        </p:txBody>
      </p:sp>
      <p:sp>
        <p:nvSpPr>
          <p:cNvPr id="98" name="TextBox 97">
            <a:extLst>
              <a:ext uri="{FF2B5EF4-FFF2-40B4-BE49-F238E27FC236}">
                <a16:creationId xmlns:a16="http://schemas.microsoft.com/office/drawing/2014/main" id="{7C228557-4001-3D43-9C00-9274A2F398D9}"/>
              </a:ext>
            </a:extLst>
          </p:cNvPr>
          <p:cNvSpPr txBox="1"/>
          <p:nvPr/>
        </p:nvSpPr>
        <p:spPr>
          <a:xfrm>
            <a:off x="3603942" y="2644619"/>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400" b="0" kern="0">
                <a:solidFill>
                  <a:schemeClr val="accent1"/>
                </a:solidFill>
                <a:ea typeface="Arial Unicode MS" pitchFamily="34" charset="-128"/>
                <a:cs typeface="Arial Unicode MS" pitchFamily="34" charset="-128"/>
              </a:defRPr>
            </a:lvl1pPr>
          </a:lstStyle>
          <a:p>
            <a:pPr algn="r"/>
            <a:r>
              <a:rPr lang="en-US" sz="1300" dirty="0">
                <a:solidFill>
                  <a:srgbClr val="43B02A"/>
                </a:solidFill>
                <a:latin typeface="+mj-lt"/>
              </a:rPr>
              <a:t>Lorem ipsum</a:t>
            </a:r>
          </a:p>
        </p:txBody>
      </p:sp>
      <p:sp>
        <p:nvSpPr>
          <p:cNvPr id="99" name="TextBox 98">
            <a:extLst>
              <a:ext uri="{FF2B5EF4-FFF2-40B4-BE49-F238E27FC236}">
                <a16:creationId xmlns:a16="http://schemas.microsoft.com/office/drawing/2014/main" id="{BD9B9544-03B7-1C4E-89E2-B804CC6CAD9B}"/>
              </a:ext>
            </a:extLst>
          </p:cNvPr>
          <p:cNvSpPr txBox="1"/>
          <p:nvPr/>
        </p:nvSpPr>
        <p:spPr>
          <a:xfrm>
            <a:off x="3603942" y="3374110"/>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400" b="0" kern="0">
                <a:solidFill>
                  <a:schemeClr val="accent1"/>
                </a:solidFill>
                <a:ea typeface="Arial Unicode MS" pitchFamily="34" charset="-128"/>
                <a:cs typeface="Arial Unicode MS" pitchFamily="34" charset="-128"/>
              </a:defRPr>
            </a:lvl1pPr>
          </a:lstStyle>
          <a:p>
            <a:pPr algn="r"/>
            <a:r>
              <a:rPr lang="en-US" sz="1300" dirty="0">
                <a:solidFill>
                  <a:srgbClr val="43B02A"/>
                </a:solidFill>
                <a:latin typeface="+mj-lt"/>
              </a:rPr>
              <a:t>Lorem ipsum</a:t>
            </a:r>
          </a:p>
        </p:txBody>
      </p:sp>
      <p:sp>
        <p:nvSpPr>
          <p:cNvPr id="101" name="Oval 100">
            <a:extLst>
              <a:ext uri="{FF2B5EF4-FFF2-40B4-BE49-F238E27FC236}">
                <a16:creationId xmlns:a16="http://schemas.microsoft.com/office/drawing/2014/main" id="{93082835-AE87-0E4C-8B3E-5B69BAF0CEF1}"/>
              </a:ext>
            </a:extLst>
          </p:cNvPr>
          <p:cNvSpPr/>
          <p:nvPr/>
        </p:nvSpPr>
        <p:spPr bwMode="gray">
          <a:xfrm>
            <a:off x="11582358" y="4152578"/>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102" name="Oval 101">
            <a:extLst>
              <a:ext uri="{FF2B5EF4-FFF2-40B4-BE49-F238E27FC236}">
                <a16:creationId xmlns:a16="http://schemas.microsoft.com/office/drawing/2014/main" id="{4F0D9757-4A4C-EF4B-8708-35C3AA5220C8}"/>
              </a:ext>
            </a:extLst>
          </p:cNvPr>
          <p:cNvSpPr/>
          <p:nvPr/>
        </p:nvSpPr>
        <p:spPr bwMode="gray">
          <a:xfrm>
            <a:off x="11582358" y="1899166"/>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10" name="Oval 9"/>
          <p:cNvSpPr/>
          <p:nvPr/>
        </p:nvSpPr>
        <p:spPr bwMode="gray">
          <a:xfrm>
            <a:off x="4818632" y="1859654"/>
            <a:ext cx="2528712" cy="2528712"/>
          </a:xfrm>
          <a:prstGeom prst="ellipse">
            <a:avLst/>
          </a:prstGeom>
          <a:noFill/>
          <a:ln w="1905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41" name="Group 40"/>
          <p:cNvGrpSpPr/>
          <p:nvPr/>
        </p:nvGrpSpPr>
        <p:grpSpPr>
          <a:xfrm>
            <a:off x="4684843" y="1774661"/>
            <a:ext cx="2805631" cy="2769021"/>
            <a:chOff x="4690121" y="2453420"/>
            <a:chExt cx="2805631" cy="2769021"/>
          </a:xfrm>
          <a:solidFill>
            <a:schemeClr val="accent2"/>
          </a:solidFill>
        </p:grpSpPr>
        <p:sp>
          <p:nvSpPr>
            <p:cNvPr id="35" name="Oval 34"/>
            <p:cNvSpPr/>
            <p:nvPr/>
          </p:nvSpPr>
          <p:spPr bwMode="gray">
            <a:xfrm>
              <a:off x="5855494" y="2812256"/>
              <a:ext cx="471488" cy="471488"/>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7" name="Oval 76"/>
            <p:cNvSpPr/>
            <p:nvPr/>
          </p:nvSpPr>
          <p:spPr bwMode="gray">
            <a:xfrm>
              <a:off x="5259921" y="2572015"/>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8" name="Oval 77"/>
            <p:cNvSpPr/>
            <p:nvPr/>
          </p:nvSpPr>
          <p:spPr bwMode="gray">
            <a:xfrm>
              <a:off x="4690121" y="3445130"/>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9" name="Oval 78"/>
            <p:cNvSpPr/>
            <p:nvPr/>
          </p:nvSpPr>
          <p:spPr bwMode="gray">
            <a:xfrm>
              <a:off x="4875721" y="4288689"/>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0" name="Oval 79"/>
            <p:cNvSpPr/>
            <p:nvPr/>
          </p:nvSpPr>
          <p:spPr bwMode="gray">
            <a:xfrm>
              <a:off x="5904310" y="4896475"/>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1" name="Oval 80"/>
            <p:cNvSpPr/>
            <p:nvPr/>
          </p:nvSpPr>
          <p:spPr bwMode="gray">
            <a:xfrm>
              <a:off x="7169786" y="3463644"/>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2" name="Oval 81"/>
            <p:cNvSpPr/>
            <p:nvPr/>
          </p:nvSpPr>
          <p:spPr bwMode="gray">
            <a:xfrm>
              <a:off x="6611197" y="2572015"/>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3" name="Oval 82"/>
            <p:cNvSpPr/>
            <p:nvPr/>
          </p:nvSpPr>
          <p:spPr bwMode="gray">
            <a:xfrm>
              <a:off x="6398345" y="4337325"/>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4" name="Oval 83"/>
            <p:cNvSpPr/>
            <p:nvPr/>
          </p:nvSpPr>
          <p:spPr bwMode="gray">
            <a:xfrm>
              <a:off x="7039668" y="4443305"/>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5" name="Oval 84"/>
            <p:cNvSpPr/>
            <p:nvPr/>
          </p:nvSpPr>
          <p:spPr bwMode="gray">
            <a:xfrm>
              <a:off x="6579475" y="4829589"/>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6" name="Oval 85"/>
            <p:cNvSpPr/>
            <p:nvPr/>
          </p:nvSpPr>
          <p:spPr bwMode="gray">
            <a:xfrm>
              <a:off x="6918752" y="3903130"/>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7" name="Oval 86"/>
            <p:cNvSpPr/>
            <p:nvPr/>
          </p:nvSpPr>
          <p:spPr bwMode="gray">
            <a:xfrm>
              <a:off x="6823148" y="3342844"/>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8" name="Oval 87"/>
            <p:cNvSpPr/>
            <p:nvPr/>
          </p:nvSpPr>
          <p:spPr bwMode="gray">
            <a:xfrm>
              <a:off x="7055356" y="3021668"/>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9" name="Oval 88"/>
            <p:cNvSpPr/>
            <p:nvPr/>
          </p:nvSpPr>
          <p:spPr bwMode="gray">
            <a:xfrm>
              <a:off x="6022780" y="2453420"/>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0" name="Oval 89"/>
            <p:cNvSpPr/>
            <p:nvPr/>
          </p:nvSpPr>
          <p:spPr bwMode="gray">
            <a:xfrm>
              <a:off x="4967282" y="2985412"/>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1" name="Oval 90"/>
            <p:cNvSpPr/>
            <p:nvPr/>
          </p:nvSpPr>
          <p:spPr bwMode="gray">
            <a:xfrm>
              <a:off x="5188670" y="3329899"/>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2" name="Oval 91"/>
            <p:cNvSpPr/>
            <p:nvPr/>
          </p:nvSpPr>
          <p:spPr bwMode="gray">
            <a:xfrm>
              <a:off x="5491279" y="4395238"/>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3" name="Oval 92"/>
            <p:cNvSpPr/>
            <p:nvPr/>
          </p:nvSpPr>
          <p:spPr bwMode="gray">
            <a:xfrm>
              <a:off x="5371353" y="4797068"/>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4" name="Oval 93"/>
            <p:cNvSpPr/>
            <p:nvPr/>
          </p:nvSpPr>
          <p:spPr bwMode="gray">
            <a:xfrm>
              <a:off x="5004948" y="3832757"/>
              <a:ext cx="240946" cy="24094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spTree>
    <p:custDataLst>
      <p:tags r:id="rId1"/>
    </p:custDataLst>
    <p:extLst>
      <p:ext uri="{BB962C8B-B14F-4D97-AF65-F5344CB8AC3E}">
        <p14:creationId xmlns:p14="http://schemas.microsoft.com/office/powerpoint/2010/main" val="1485804674"/>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Content Placeholder 2"/>
          <p:cNvSpPr>
            <a:spLocks noGrp="1"/>
          </p:cNvSpPr>
          <p:nvPr>
            <p:ph sz="quarter" idx="4294967295"/>
          </p:nvPr>
        </p:nvSpPr>
        <p:spPr>
          <a:xfrm>
            <a:off x="7920038" y="2302971"/>
            <a:ext cx="3751262" cy="752475"/>
          </a:xfrm>
        </p:spPr>
        <p:txBody>
          <a:bodyPr>
            <a:normAutofit/>
          </a:bodyPr>
          <a:lstStyle/>
          <a:p>
            <a:pPr>
              <a:spcAft>
                <a:spcPts val="0"/>
              </a:spcAft>
            </a:pPr>
            <a:r>
              <a:rPr lang="en-US" sz="1300" b="1" noProof="0" dirty="0">
                <a:solidFill>
                  <a:srgbClr val="009A44"/>
                </a:solidFill>
              </a:rPr>
              <a:t>Title Bold </a:t>
            </a:r>
          </a:p>
          <a:p>
            <a:pPr>
              <a:spcAft>
                <a:spcPts val="0"/>
              </a:spcAft>
            </a:pPr>
            <a:r>
              <a:rPr lang="en-US" sz="1300" noProof="0" dirty="0"/>
              <a:t>this is dummy text it is not here to be read it is here to show how this document will look</a:t>
            </a:r>
          </a:p>
        </p:txBody>
      </p:sp>
      <p:sp>
        <p:nvSpPr>
          <p:cNvPr id="31" name="Content Placeholder 2"/>
          <p:cNvSpPr>
            <a:spLocks noGrp="1"/>
          </p:cNvSpPr>
          <p:nvPr>
            <p:ph sz="quarter" idx="4294967295"/>
          </p:nvPr>
        </p:nvSpPr>
        <p:spPr>
          <a:xfrm>
            <a:off x="7920038" y="3995246"/>
            <a:ext cx="3751262" cy="754062"/>
          </a:xfrm>
        </p:spPr>
        <p:txBody>
          <a:bodyPr/>
          <a:lstStyle/>
          <a:p>
            <a:pPr>
              <a:spcAft>
                <a:spcPts val="0"/>
              </a:spcAft>
            </a:pPr>
            <a:r>
              <a:rPr lang="en-US" sz="1300" b="1" noProof="0" dirty="0">
                <a:solidFill>
                  <a:srgbClr val="43B02A"/>
                </a:solidFill>
              </a:rPr>
              <a:t>Title Bold</a:t>
            </a:r>
          </a:p>
          <a:p>
            <a:pPr>
              <a:spcAft>
                <a:spcPts val="0"/>
              </a:spcAft>
            </a:pPr>
            <a:r>
              <a:rPr lang="en-US" sz="1300" noProof="0" dirty="0"/>
              <a:t>this is dummy text it is not here to be read it is here to show how this document will look</a:t>
            </a:r>
          </a:p>
        </p:txBody>
      </p:sp>
      <p:sp>
        <p:nvSpPr>
          <p:cNvPr id="32" name="Content Placeholder 2"/>
          <p:cNvSpPr>
            <a:spLocks noGrp="1"/>
          </p:cNvSpPr>
          <p:nvPr>
            <p:ph sz="quarter" idx="4294967295"/>
          </p:nvPr>
        </p:nvSpPr>
        <p:spPr>
          <a:xfrm>
            <a:off x="527050" y="2302971"/>
            <a:ext cx="3744913" cy="752475"/>
          </a:xfrm>
        </p:spPr>
        <p:txBody>
          <a:bodyPr>
            <a:normAutofit/>
          </a:bodyPr>
          <a:lstStyle/>
          <a:p>
            <a:pPr algn="r">
              <a:spcAft>
                <a:spcPts val="0"/>
              </a:spcAft>
            </a:pPr>
            <a:r>
              <a:rPr lang="en-US" sz="1300" b="1" noProof="0" dirty="0">
                <a:solidFill>
                  <a:srgbClr val="046A38"/>
                </a:solidFill>
              </a:rPr>
              <a:t>Title Bold </a:t>
            </a:r>
          </a:p>
          <a:p>
            <a:pPr algn="r">
              <a:spcAft>
                <a:spcPts val="0"/>
              </a:spcAft>
            </a:pPr>
            <a:r>
              <a:rPr lang="en-US" sz="1300" noProof="0" dirty="0"/>
              <a:t>this is dummy text it is not here to be read it is here to show how this document will look</a:t>
            </a:r>
          </a:p>
        </p:txBody>
      </p:sp>
      <p:sp>
        <p:nvSpPr>
          <p:cNvPr id="33" name="Content Placeholder 2"/>
          <p:cNvSpPr>
            <a:spLocks noGrp="1"/>
          </p:cNvSpPr>
          <p:nvPr>
            <p:ph sz="quarter" idx="4294967295"/>
          </p:nvPr>
        </p:nvSpPr>
        <p:spPr>
          <a:xfrm>
            <a:off x="527050" y="3995246"/>
            <a:ext cx="3744913" cy="754062"/>
          </a:xfrm>
        </p:spPr>
        <p:txBody>
          <a:bodyPr/>
          <a:lstStyle/>
          <a:p>
            <a:pPr algn="r">
              <a:spcAft>
                <a:spcPts val="0"/>
              </a:spcAft>
            </a:pPr>
            <a:r>
              <a:rPr lang="en-US" sz="1300" b="1" noProof="0" dirty="0">
                <a:solidFill>
                  <a:srgbClr val="86BC25"/>
                </a:solidFill>
              </a:rPr>
              <a:t>Title Bold</a:t>
            </a:r>
          </a:p>
          <a:p>
            <a:pPr algn="r">
              <a:spcAft>
                <a:spcPts val="0"/>
              </a:spcAft>
            </a:pPr>
            <a:r>
              <a:rPr lang="en-US" sz="1300" noProof="0" dirty="0"/>
              <a:t>this is dummy text it is not here to be read it is here to show how this document will look</a:t>
            </a:r>
          </a:p>
        </p:txBody>
      </p:sp>
      <p:sp>
        <p:nvSpPr>
          <p:cNvPr id="8" name="Parallelogram 7"/>
          <p:cNvSpPr/>
          <p:nvPr/>
        </p:nvSpPr>
        <p:spPr bwMode="gray">
          <a:xfrm rot="5400000">
            <a:off x="5293245" y="2523986"/>
            <a:ext cx="1073302" cy="543334"/>
          </a:xfrm>
          <a:prstGeom prst="parallelogram">
            <a:avLst>
              <a:gd name="adj" fmla="val 100728"/>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 name="Parallelogram 9"/>
          <p:cNvSpPr/>
          <p:nvPr/>
        </p:nvSpPr>
        <p:spPr bwMode="gray">
          <a:xfrm rot="5400000" flipV="1">
            <a:off x="5836578" y="2523986"/>
            <a:ext cx="1073302" cy="543334"/>
          </a:xfrm>
          <a:prstGeom prst="parallelogram">
            <a:avLst>
              <a:gd name="adj" fmla="val 100728"/>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3" name="Parallelogram 12"/>
          <p:cNvSpPr/>
          <p:nvPr/>
        </p:nvSpPr>
        <p:spPr bwMode="gray">
          <a:xfrm rot="10800000">
            <a:off x="6114928" y="2831283"/>
            <a:ext cx="1073302" cy="543334"/>
          </a:xfrm>
          <a:prstGeom prst="parallelogram">
            <a:avLst>
              <a:gd name="adj" fmla="val 100728"/>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 name="Parallelogram 13"/>
          <p:cNvSpPr/>
          <p:nvPr/>
        </p:nvSpPr>
        <p:spPr bwMode="gray">
          <a:xfrm rot="10800000" flipV="1">
            <a:off x="6114928" y="3374616"/>
            <a:ext cx="1073302" cy="543334"/>
          </a:xfrm>
          <a:prstGeom prst="parallelogram">
            <a:avLst>
              <a:gd name="adj" fmla="val 100728"/>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 name="Parallelogram 15"/>
          <p:cNvSpPr/>
          <p:nvPr/>
        </p:nvSpPr>
        <p:spPr bwMode="gray">
          <a:xfrm>
            <a:off x="5014898" y="3374617"/>
            <a:ext cx="1073302" cy="543334"/>
          </a:xfrm>
          <a:prstGeom prst="parallelogram">
            <a:avLst>
              <a:gd name="adj" fmla="val 100728"/>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7" name="Parallelogram 16"/>
          <p:cNvSpPr/>
          <p:nvPr/>
        </p:nvSpPr>
        <p:spPr bwMode="gray">
          <a:xfrm flipV="1">
            <a:off x="5014898" y="2831284"/>
            <a:ext cx="1073302" cy="543334"/>
          </a:xfrm>
          <a:prstGeom prst="parallelogram">
            <a:avLst>
              <a:gd name="adj" fmla="val 100728"/>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9" name="Parallelogram 18"/>
          <p:cNvSpPr/>
          <p:nvPr/>
        </p:nvSpPr>
        <p:spPr bwMode="gray">
          <a:xfrm rot="16200000">
            <a:off x="5836580" y="3681912"/>
            <a:ext cx="1073302" cy="543334"/>
          </a:xfrm>
          <a:prstGeom prst="parallelogram">
            <a:avLst>
              <a:gd name="adj" fmla="val 100728"/>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0" name="Parallelogram 19"/>
          <p:cNvSpPr/>
          <p:nvPr/>
        </p:nvSpPr>
        <p:spPr bwMode="gray">
          <a:xfrm rot="16200000" flipV="1">
            <a:off x="5293247" y="3681912"/>
            <a:ext cx="1073302" cy="543334"/>
          </a:xfrm>
          <a:prstGeom prst="parallelogram">
            <a:avLst>
              <a:gd name="adj" fmla="val 100728"/>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1" name="Diamond 10"/>
          <p:cNvSpPr/>
          <p:nvPr/>
        </p:nvSpPr>
        <p:spPr bwMode="gray">
          <a:xfrm>
            <a:off x="5600538" y="1714500"/>
            <a:ext cx="1002051" cy="1002051"/>
          </a:xfrm>
          <a:prstGeom prst="diamond">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2" name="Diamond 21"/>
          <p:cNvSpPr/>
          <p:nvPr/>
        </p:nvSpPr>
        <p:spPr bwMode="gray">
          <a:xfrm>
            <a:off x="5600538" y="4031513"/>
            <a:ext cx="1002051" cy="1002051"/>
          </a:xfrm>
          <a:prstGeom prst="diamond">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3" name="Diamond 22"/>
          <p:cNvSpPr/>
          <p:nvPr/>
        </p:nvSpPr>
        <p:spPr bwMode="gray">
          <a:xfrm>
            <a:off x="4476015" y="2873591"/>
            <a:ext cx="1002051" cy="1002051"/>
          </a:xfrm>
          <a:prstGeom prst="diamond">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4" name="Diamond 23"/>
          <p:cNvSpPr/>
          <p:nvPr/>
        </p:nvSpPr>
        <p:spPr bwMode="gray">
          <a:xfrm>
            <a:off x="6713934" y="2873591"/>
            <a:ext cx="1002051" cy="1002051"/>
          </a:xfrm>
          <a:prstGeom prst="diamond">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1" name="Rectangle 20"/>
          <p:cNvSpPr/>
          <p:nvPr/>
        </p:nvSpPr>
        <p:spPr bwMode="gray">
          <a:xfrm>
            <a:off x="5046078" y="2302376"/>
            <a:ext cx="414175" cy="414175"/>
          </a:xfrm>
          <a:prstGeom prst="rect">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sz="1600" b="1" dirty="0">
                <a:solidFill>
                  <a:schemeClr val="bg1"/>
                </a:solidFill>
              </a:rPr>
              <a:t>1</a:t>
            </a:r>
            <a:endParaRPr lang="en-US" sz="1600" b="1" dirty="0">
              <a:solidFill>
                <a:schemeClr val="bg1"/>
              </a:solidFill>
            </a:endParaRPr>
          </a:p>
        </p:txBody>
      </p:sp>
      <p:sp>
        <p:nvSpPr>
          <p:cNvPr id="26" name="Rectangle 25"/>
          <p:cNvSpPr/>
          <p:nvPr/>
        </p:nvSpPr>
        <p:spPr bwMode="gray">
          <a:xfrm>
            <a:off x="6735085" y="2302376"/>
            <a:ext cx="414175" cy="414175"/>
          </a:xfrm>
          <a:prstGeom prst="rect">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sz="1600" b="1" dirty="0">
                <a:solidFill>
                  <a:schemeClr val="bg1"/>
                </a:solidFill>
              </a:rPr>
              <a:t>2</a:t>
            </a:r>
            <a:endParaRPr lang="en-US" sz="1600" b="1" dirty="0">
              <a:solidFill>
                <a:schemeClr val="bg1"/>
              </a:solidFill>
            </a:endParaRPr>
          </a:p>
        </p:txBody>
      </p:sp>
      <p:sp>
        <p:nvSpPr>
          <p:cNvPr id="27" name="Rectangle 26"/>
          <p:cNvSpPr/>
          <p:nvPr/>
        </p:nvSpPr>
        <p:spPr bwMode="gray">
          <a:xfrm>
            <a:off x="6735085" y="3997001"/>
            <a:ext cx="414175" cy="414175"/>
          </a:xfrm>
          <a:prstGeom prst="rect">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sz="1600" b="1" dirty="0">
                <a:solidFill>
                  <a:schemeClr val="bg1"/>
                </a:solidFill>
              </a:rPr>
              <a:t>3</a:t>
            </a:r>
            <a:endParaRPr lang="en-US" sz="1600" b="1" dirty="0">
              <a:solidFill>
                <a:schemeClr val="bg1"/>
              </a:solidFill>
            </a:endParaRPr>
          </a:p>
        </p:txBody>
      </p:sp>
      <p:sp>
        <p:nvSpPr>
          <p:cNvPr id="28" name="Rectangle 27"/>
          <p:cNvSpPr/>
          <p:nvPr/>
        </p:nvSpPr>
        <p:spPr bwMode="gray">
          <a:xfrm>
            <a:off x="5046076" y="3997001"/>
            <a:ext cx="414175" cy="414175"/>
          </a:xfrm>
          <a:prstGeom prst="rect">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sz="1600" b="1" dirty="0">
                <a:solidFill>
                  <a:schemeClr val="bg1"/>
                </a:solidFill>
              </a:rPr>
              <a:t>4</a:t>
            </a:r>
            <a:endParaRPr lang="en-US" sz="1600" b="1" dirty="0">
              <a:solidFill>
                <a:schemeClr val="bg1"/>
              </a:solidFill>
            </a:endParaRPr>
          </a:p>
        </p:txBody>
      </p:sp>
      <p:grpSp>
        <p:nvGrpSpPr>
          <p:cNvPr id="34" name="Group 432"/>
          <p:cNvGrpSpPr>
            <a:grpSpLocks noChangeAspect="1"/>
          </p:cNvGrpSpPr>
          <p:nvPr/>
        </p:nvGrpSpPr>
        <p:grpSpPr bwMode="auto">
          <a:xfrm>
            <a:off x="5921056" y="2032812"/>
            <a:ext cx="369676" cy="370763"/>
            <a:chOff x="3505" y="1546"/>
            <a:chExt cx="340" cy="341"/>
          </a:xfrm>
          <a:solidFill>
            <a:schemeClr val="tx1"/>
          </a:solidFill>
        </p:grpSpPr>
        <p:sp>
          <p:nvSpPr>
            <p:cNvPr id="35"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 name="Group 531"/>
          <p:cNvGrpSpPr>
            <a:grpSpLocks noChangeAspect="1"/>
          </p:cNvGrpSpPr>
          <p:nvPr/>
        </p:nvGrpSpPr>
        <p:grpSpPr bwMode="auto">
          <a:xfrm>
            <a:off x="4796482" y="3195339"/>
            <a:ext cx="367631" cy="367631"/>
            <a:chOff x="4216" y="2000"/>
            <a:chExt cx="340" cy="340"/>
          </a:xfrm>
          <a:solidFill>
            <a:schemeClr val="tx1"/>
          </a:solidFill>
        </p:grpSpPr>
        <p:sp>
          <p:nvSpPr>
            <p:cNvPr id="38" name="Freeform 532"/>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533"/>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0" name="Group 325"/>
          <p:cNvGrpSpPr>
            <a:grpSpLocks noChangeAspect="1"/>
          </p:cNvGrpSpPr>
          <p:nvPr/>
        </p:nvGrpSpPr>
        <p:grpSpPr bwMode="auto">
          <a:xfrm>
            <a:off x="5921056" y="4347154"/>
            <a:ext cx="369676" cy="370763"/>
            <a:chOff x="5044" y="1157"/>
            <a:chExt cx="340" cy="341"/>
          </a:xfrm>
          <a:solidFill>
            <a:schemeClr val="tx1"/>
          </a:solidFill>
        </p:grpSpPr>
        <p:sp>
          <p:nvSpPr>
            <p:cNvPr id="41"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3" name="Group 299"/>
          <p:cNvGrpSpPr>
            <a:grpSpLocks noChangeAspect="1"/>
          </p:cNvGrpSpPr>
          <p:nvPr/>
        </p:nvGrpSpPr>
        <p:grpSpPr bwMode="auto">
          <a:xfrm>
            <a:off x="7030600" y="3195339"/>
            <a:ext cx="368713" cy="367631"/>
            <a:chOff x="1166" y="1121"/>
            <a:chExt cx="341" cy="340"/>
          </a:xfrm>
          <a:solidFill>
            <a:schemeClr val="tx1"/>
          </a:solidFill>
        </p:grpSpPr>
        <p:sp>
          <p:nvSpPr>
            <p:cNvPr id="44" name="Freeform 300"/>
            <p:cNvSpPr>
              <a:spLocks noEditPoints="1"/>
            </p:cNvSpPr>
            <p:nvPr/>
          </p:nvSpPr>
          <p:spPr bwMode="auto">
            <a:xfrm>
              <a:off x="1230" y="1213"/>
              <a:ext cx="213" cy="170"/>
            </a:xfrm>
            <a:custGeom>
              <a:avLst/>
              <a:gdLst>
                <a:gd name="T0" fmla="*/ 309 w 320"/>
                <a:gd name="T1" fmla="*/ 0 h 256"/>
                <a:gd name="T2" fmla="*/ 10 w 320"/>
                <a:gd name="T3" fmla="*/ 0 h 256"/>
                <a:gd name="T4" fmla="*/ 0 w 320"/>
                <a:gd name="T5" fmla="*/ 11 h 256"/>
                <a:gd name="T6" fmla="*/ 0 w 320"/>
                <a:gd name="T7" fmla="*/ 203 h 256"/>
                <a:gd name="T8" fmla="*/ 10 w 320"/>
                <a:gd name="T9" fmla="*/ 214 h 256"/>
                <a:gd name="T10" fmla="*/ 149 w 320"/>
                <a:gd name="T11" fmla="*/ 214 h 256"/>
                <a:gd name="T12" fmla="*/ 149 w 320"/>
                <a:gd name="T13" fmla="*/ 235 h 256"/>
                <a:gd name="T14" fmla="*/ 106 w 320"/>
                <a:gd name="T15" fmla="*/ 235 h 256"/>
                <a:gd name="T16" fmla="*/ 96 w 320"/>
                <a:gd name="T17" fmla="*/ 246 h 256"/>
                <a:gd name="T18" fmla="*/ 106 w 320"/>
                <a:gd name="T19" fmla="*/ 256 h 256"/>
                <a:gd name="T20" fmla="*/ 213 w 320"/>
                <a:gd name="T21" fmla="*/ 256 h 256"/>
                <a:gd name="T22" fmla="*/ 224 w 320"/>
                <a:gd name="T23" fmla="*/ 246 h 256"/>
                <a:gd name="T24" fmla="*/ 213 w 320"/>
                <a:gd name="T25" fmla="*/ 235 h 256"/>
                <a:gd name="T26" fmla="*/ 170 w 320"/>
                <a:gd name="T27" fmla="*/ 235 h 256"/>
                <a:gd name="T28" fmla="*/ 170 w 320"/>
                <a:gd name="T29" fmla="*/ 214 h 256"/>
                <a:gd name="T30" fmla="*/ 309 w 320"/>
                <a:gd name="T31" fmla="*/ 214 h 256"/>
                <a:gd name="T32" fmla="*/ 320 w 320"/>
                <a:gd name="T33" fmla="*/ 203 h 256"/>
                <a:gd name="T34" fmla="*/ 320 w 320"/>
                <a:gd name="T35" fmla="*/ 11 h 256"/>
                <a:gd name="T36" fmla="*/ 309 w 320"/>
                <a:gd name="T37" fmla="*/ 0 h 256"/>
                <a:gd name="T38" fmla="*/ 298 w 320"/>
                <a:gd name="T39" fmla="*/ 192 h 256"/>
                <a:gd name="T40" fmla="*/ 21 w 320"/>
                <a:gd name="T41" fmla="*/ 192 h 256"/>
                <a:gd name="T42" fmla="*/ 21 w 320"/>
                <a:gd name="T43" fmla="*/ 22 h 256"/>
                <a:gd name="T44" fmla="*/ 298 w 320"/>
                <a:gd name="T45" fmla="*/ 22 h 256"/>
                <a:gd name="T46" fmla="*/ 298 w 320"/>
                <a:gd name="T47"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56">
                  <a:moveTo>
                    <a:pt x="309" y="0"/>
                  </a:moveTo>
                  <a:cubicBezTo>
                    <a:pt x="10" y="0"/>
                    <a:pt x="10" y="0"/>
                    <a:pt x="10" y="0"/>
                  </a:cubicBezTo>
                  <a:cubicBezTo>
                    <a:pt x="4" y="0"/>
                    <a:pt x="0" y="5"/>
                    <a:pt x="0" y="11"/>
                  </a:cubicBezTo>
                  <a:cubicBezTo>
                    <a:pt x="0" y="203"/>
                    <a:pt x="0" y="203"/>
                    <a:pt x="0" y="203"/>
                  </a:cubicBezTo>
                  <a:cubicBezTo>
                    <a:pt x="0" y="209"/>
                    <a:pt x="4" y="214"/>
                    <a:pt x="10" y="214"/>
                  </a:cubicBezTo>
                  <a:cubicBezTo>
                    <a:pt x="149" y="214"/>
                    <a:pt x="149" y="214"/>
                    <a:pt x="149" y="214"/>
                  </a:cubicBezTo>
                  <a:cubicBezTo>
                    <a:pt x="149" y="235"/>
                    <a:pt x="149" y="235"/>
                    <a:pt x="149" y="235"/>
                  </a:cubicBezTo>
                  <a:cubicBezTo>
                    <a:pt x="106" y="235"/>
                    <a:pt x="106" y="235"/>
                    <a:pt x="106" y="235"/>
                  </a:cubicBezTo>
                  <a:cubicBezTo>
                    <a:pt x="100" y="235"/>
                    <a:pt x="96" y="240"/>
                    <a:pt x="96" y="246"/>
                  </a:cubicBezTo>
                  <a:cubicBezTo>
                    <a:pt x="96" y="252"/>
                    <a:pt x="100" y="256"/>
                    <a:pt x="106" y="256"/>
                  </a:cubicBezTo>
                  <a:cubicBezTo>
                    <a:pt x="213" y="256"/>
                    <a:pt x="213" y="256"/>
                    <a:pt x="213" y="256"/>
                  </a:cubicBezTo>
                  <a:cubicBezTo>
                    <a:pt x="219" y="256"/>
                    <a:pt x="224" y="252"/>
                    <a:pt x="224" y="246"/>
                  </a:cubicBezTo>
                  <a:cubicBezTo>
                    <a:pt x="224" y="240"/>
                    <a:pt x="219" y="235"/>
                    <a:pt x="213" y="235"/>
                  </a:cubicBezTo>
                  <a:cubicBezTo>
                    <a:pt x="170" y="235"/>
                    <a:pt x="170" y="235"/>
                    <a:pt x="170" y="235"/>
                  </a:cubicBezTo>
                  <a:cubicBezTo>
                    <a:pt x="170" y="214"/>
                    <a:pt x="170" y="214"/>
                    <a:pt x="170"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301"/>
            <p:cNvSpPr>
              <a:spLocks noEditPoints="1"/>
            </p:cNvSpPr>
            <p:nvPr/>
          </p:nvSpPr>
          <p:spPr bwMode="auto">
            <a:xfrm>
              <a:off x="1166" y="11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ustDataLst>
      <p:tags r:id="rId1"/>
    </p:custDataLst>
    <p:extLst>
      <p:ext uri="{BB962C8B-B14F-4D97-AF65-F5344CB8AC3E}">
        <p14:creationId xmlns:p14="http://schemas.microsoft.com/office/powerpoint/2010/main" val="1891219381"/>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28">
            <a:extLst>
              <a:ext uri="{FF2B5EF4-FFF2-40B4-BE49-F238E27FC236}">
                <a16:creationId xmlns:a16="http://schemas.microsoft.com/office/drawing/2014/main" id="{1798A505-DF9B-4157-92D5-A025F059F887}"/>
              </a:ext>
            </a:extLst>
          </p:cNvPr>
          <p:cNvSpPr>
            <a:spLocks/>
          </p:cNvSpPr>
          <p:nvPr/>
        </p:nvSpPr>
        <p:spPr bwMode="auto">
          <a:xfrm>
            <a:off x="2794754" y="5323680"/>
            <a:ext cx="1731963" cy="303213"/>
          </a:xfrm>
          <a:custGeom>
            <a:avLst/>
            <a:gdLst>
              <a:gd name="T0" fmla="*/ 0 w 593"/>
              <a:gd name="T1" fmla="*/ 0 h 104"/>
              <a:gd name="T2" fmla="*/ 556 w 593"/>
              <a:gd name="T3" fmla="*/ 0 h 104"/>
              <a:gd name="T4" fmla="*/ 593 w 593"/>
              <a:gd name="T5" fmla="*/ 37 h 104"/>
              <a:gd name="T6" fmla="*/ 593 w 593"/>
              <a:gd name="T7" fmla="*/ 104 h 104"/>
              <a:gd name="T8" fmla="*/ 37 w 593"/>
              <a:gd name="T9" fmla="*/ 104 h 104"/>
              <a:gd name="T10" fmla="*/ 0 w 593"/>
              <a:gd name="T11" fmla="*/ 67 h 104"/>
              <a:gd name="T12" fmla="*/ 0 w 593"/>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93" h="104">
                <a:moveTo>
                  <a:pt x="0" y="0"/>
                </a:moveTo>
                <a:cubicBezTo>
                  <a:pt x="556" y="0"/>
                  <a:pt x="556" y="0"/>
                  <a:pt x="556" y="0"/>
                </a:cubicBezTo>
                <a:cubicBezTo>
                  <a:pt x="576" y="0"/>
                  <a:pt x="593" y="16"/>
                  <a:pt x="593" y="37"/>
                </a:cubicBezTo>
                <a:cubicBezTo>
                  <a:pt x="593" y="104"/>
                  <a:pt x="593" y="104"/>
                  <a:pt x="593" y="104"/>
                </a:cubicBezTo>
                <a:cubicBezTo>
                  <a:pt x="37" y="104"/>
                  <a:pt x="37" y="104"/>
                  <a:pt x="37" y="104"/>
                </a:cubicBezTo>
                <a:cubicBezTo>
                  <a:pt x="16" y="104"/>
                  <a:pt x="0" y="87"/>
                  <a:pt x="0" y="67"/>
                </a:cubicBezTo>
                <a:cubicBezTo>
                  <a:pt x="0" y="0"/>
                  <a:pt x="0" y="0"/>
                  <a:pt x="0" y="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r>
              <a:rPr lang="en-US" altLang="zh-CN" sz="1300" dirty="0">
                <a:solidFill>
                  <a:schemeClr val="bg1"/>
                </a:solidFill>
              </a:rPr>
              <a:t>Dummy text</a:t>
            </a:r>
            <a:endParaRPr lang="zh-CN" altLang="en-US" sz="1300" dirty="0">
              <a:solidFill>
                <a:schemeClr val="bg1"/>
              </a:solidFill>
            </a:endParaRPr>
          </a:p>
        </p:txBody>
      </p:sp>
      <p:sp>
        <p:nvSpPr>
          <p:cNvPr id="7" name="Freeform 29">
            <a:extLst>
              <a:ext uri="{FF2B5EF4-FFF2-40B4-BE49-F238E27FC236}">
                <a16:creationId xmlns:a16="http://schemas.microsoft.com/office/drawing/2014/main" id="{E0376234-8D76-4533-983C-44F6794DE130}"/>
              </a:ext>
            </a:extLst>
          </p:cNvPr>
          <p:cNvSpPr>
            <a:spLocks/>
          </p:cNvSpPr>
          <p:nvPr/>
        </p:nvSpPr>
        <p:spPr bwMode="auto">
          <a:xfrm>
            <a:off x="8569325" y="3733800"/>
            <a:ext cx="1731963" cy="303213"/>
          </a:xfrm>
          <a:custGeom>
            <a:avLst/>
            <a:gdLst>
              <a:gd name="T0" fmla="*/ 0 w 593"/>
              <a:gd name="T1" fmla="*/ 0 h 104"/>
              <a:gd name="T2" fmla="*/ 556 w 593"/>
              <a:gd name="T3" fmla="*/ 0 h 104"/>
              <a:gd name="T4" fmla="*/ 593 w 593"/>
              <a:gd name="T5" fmla="*/ 37 h 104"/>
              <a:gd name="T6" fmla="*/ 593 w 593"/>
              <a:gd name="T7" fmla="*/ 104 h 104"/>
              <a:gd name="T8" fmla="*/ 37 w 593"/>
              <a:gd name="T9" fmla="*/ 104 h 104"/>
              <a:gd name="T10" fmla="*/ 0 w 593"/>
              <a:gd name="T11" fmla="*/ 67 h 104"/>
              <a:gd name="T12" fmla="*/ 0 w 593"/>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93" h="104">
                <a:moveTo>
                  <a:pt x="0" y="0"/>
                </a:moveTo>
                <a:cubicBezTo>
                  <a:pt x="556" y="0"/>
                  <a:pt x="556" y="0"/>
                  <a:pt x="556" y="0"/>
                </a:cubicBezTo>
                <a:cubicBezTo>
                  <a:pt x="577" y="0"/>
                  <a:pt x="593" y="17"/>
                  <a:pt x="593" y="37"/>
                </a:cubicBezTo>
                <a:cubicBezTo>
                  <a:pt x="593" y="104"/>
                  <a:pt x="593" y="104"/>
                  <a:pt x="593" y="104"/>
                </a:cubicBezTo>
                <a:cubicBezTo>
                  <a:pt x="37" y="104"/>
                  <a:pt x="37" y="104"/>
                  <a:pt x="37" y="104"/>
                </a:cubicBezTo>
                <a:cubicBezTo>
                  <a:pt x="17" y="104"/>
                  <a:pt x="0" y="87"/>
                  <a:pt x="0" y="67"/>
                </a:cubicBezTo>
                <a:cubicBezTo>
                  <a:pt x="0" y="0"/>
                  <a:pt x="0" y="0"/>
                  <a:pt x="0"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r>
              <a:rPr lang="en-US" altLang="zh-CN" sz="1300" dirty="0">
                <a:solidFill>
                  <a:schemeClr val="bg1"/>
                </a:solidFill>
              </a:rPr>
              <a:t>Dummy text</a:t>
            </a:r>
            <a:endParaRPr lang="zh-CN" altLang="en-US" sz="1300" dirty="0">
              <a:solidFill>
                <a:schemeClr val="bg1"/>
              </a:solidFill>
            </a:endParaRPr>
          </a:p>
        </p:txBody>
      </p:sp>
      <p:sp>
        <p:nvSpPr>
          <p:cNvPr id="8" name="Freeform 30">
            <a:extLst>
              <a:ext uri="{FF2B5EF4-FFF2-40B4-BE49-F238E27FC236}">
                <a16:creationId xmlns:a16="http://schemas.microsoft.com/office/drawing/2014/main" id="{91B9FC7D-E6A5-47EE-8AF2-A9450C9DAD40}"/>
              </a:ext>
            </a:extLst>
          </p:cNvPr>
          <p:cNvSpPr>
            <a:spLocks/>
          </p:cNvSpPr>
          <p:nvPr/>
        </p:nvSpPr>
        <p:spPr bwMode="auto">
          <a:xfrm>
            <a:off x="1735138" y="3873500"/>
            <a:ext cx="1733550" cy="303213"/>
          </a:xfrm>
          <a:custGeom>
            <a:avLst/>
            <a:gdLst>
              <a:gd name="T0" fmla="*/ 0 w 593"/>
              <a:gd name="T1" fmla="*/ 0 h 104"/>
              <a:gd name="T2" fmla="*/ 556 w 593"/>
              <a:gd name="T3" fmla="*/ 0 h 104"/>
              <a:gd name="T4" fmla="*/ 593 w 593"/>
              <a:gd name="T5" fmla="*/ 37 h 104"/>
              <a:gd name="T6" fmla="*/ 593 w 593"/>
              <a:gd name="T7" fmla="*/ 104 h 104"/>
              <a:gd name="T8" fmla="*/ 37 w 593"/>
              <a:gd name="T9" fmla="*/ 104 h 104"/>
              <a:gd name="T10" fmla="*/ 0 w 593"/>
              <a:gd name="T11" fmla="*/ 67 h 104"/>
              <a:gd name="T12" fmla="*/ 0 w 593"/>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93" h="104">
                <a:moveTo>
                  <a:pt x="0" y="0"/>
                </a:moveTo>
                <a:cubicBezTo>
                  <a:pt x="556" y="0"/>
                  <a:pt x="556" y="0"/>
                  <a:pt x="556" y="0"/>
                </a:cubicBezTo>
                <a:cubicBezTo>
                  <a:pt x="577" y="0"/>
                  <a:pt x="593" y="17"/>
                  <a:pt x="593" y="37"/>
                </a:cubicBezTo>
                <a:cubicBezTo>
                  <a:pt x="593" y="104"/>
                  <a:pt x="593" y="104"/>
                  <a:pt x="593" y="104"/>
                </a:cubicBezTo>
                <a:cubicBezTo>
                  <a:pt x="37" y="104"/>
                  <a:pt x="37" y="104"/>
                  <a:pt x="37" y="104"/>
                </a:cubicBezTo>
                <a:cubicBezTo>
                  <a:pt x="17" y="104"/>
                  <a:pt x="0" y="88"/>
                  <a:pt x="0" y="67"/>
                </a:cubicBezTo>
                <a:cubicBezTo>
                  <a:pt x="0" y="0"/>
                  <a:pt x="0" y="0"/>
                  <a:pt x="0"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r>
              <a:rPr lang="en-US" altLang="zh-CN" sz="1300" dirty="0">
                <a:solidFill>
                  <a:schemeClr val="bg1"/>
                </a:solidFill>
              </a:rPr>
              <a:t>Dummy text</a:t>
            </a:r>
            <a:endParaRPr lang="zh-CN" altLang="en-US" sz="1300" dirty="0">
              <a:solidFill>
                <a:schemeClr val="bg1"/>
              </a:solidFill>
            </a:endParaRPr>
          </a:p>
        </p:txBody>
      </p:sp>
      <p:sp>
        <p:nvSpPr>
          <p:cNvPr id="9" name="Freeform 31">
            <a:extLst>
              <a:ext uri="{FF2B5EF4-FFF2-40B4-BE49-F238E27FC236}">
                <a16:creationId xmlns:a16="http://schemas.microsoft.com/office/drawing/2014/main" id="{7706F665-C5A4-461E-96F5-8B1F3686C638}"/>
              </a:ext>
            </a:extLst>
          </p:cNvPr>
          <p:cNvSpPr>
            <a:spLocks noEditPoints="1"/>
          </p:cNvSpPr>
          <p:nvPr/>
        </p:nvSpPr>
        <p:spPr bwMode="auto">
          <a:xfrm>
            <a:off x="4422775" y="2365375"/>
            <a:ext cx="3732213" cy="3725863"/>
          </a:xfrm>
          <a:custGeom>
            <a:avLst/>
            <a:gdLst>
              <a:gd name="T0" fmla="*/ 639 w 1277"/>
              <a:gd name="T1" fmla="*/ 1182 h 1277"/>
              <a:gd name="T2" fmla="*/ 95 w 1277"/>
              <a:gd name="T3" fmla="*/ 638 h 1277"/>
              <a:gd name="T4" fmla="*/ 639 w 1277"/>
              <a:gd name="T5" fmla="*/ 94 h 1277"/>
              <a:gd name="T6" fmla="*/ 1183 w 1277"/>
              <a:gd name="T7" fmla="*/ 638 h 1277"/>
              <a:gd name="T8" fmla="*/ 639 w 1277"/>
              <a:gd name="T9" fmla="*/ 1182 h 1277"/>
              <a:gd name="T10" fmla="*/ 639 w 1277"/>
              <a:gd name="T11" fmla="*/ 0 h 1277"/>
              <a:gd name="T12" fmla="*/ 0 w 1277"/>
              <a:gd name="T13" fmla="*/ 638 h 1277"/>
              <a:gd name="T14" fmla="*/ 639 w 1277"/>
              <a:gd name="T15" fmla="*/ 1277 h 1277"/>
              <a:gd name="T16" fmla="*/ 1277 w 1277"/>
              <a:gd name="T17" fmla="*/ 638 h 1277"/>
              <a:gd name="T18" fmla="*/ 639 w 1277"/>
              <a:gd name="T19" fmla="*/ 0 h 1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7" h="1277">
                <a:moveTo>
                  <a:pt x="639" y="1182"/>
                </a:moveTo>
                <a:cubicBezTo>
                  <a:pt x="339" y="1182"/>
                  <a:pt x="95" y="938"/>
                  <a:pt x="95" y="638"/>
                </a:cubicBezTo>
                <a:cubicBezTo>
                  <a:pt x="95" y="338"/>
                  <a:pt x="339" y="94"/>
                  <a:pt x="639" y="94"/>
                </a:cubicBezTo>
                <a:cubicBezTo>
                  <a:pt x="939" y="94"/>
                  <a:pt x="1183" y="338"/>
                  <a:pt x="1183" y="638"/>
                </a:cubicBezTo>
                <a:cubicBezTo>
                  <a:pt x="1183" y="938"/>
                  <a:pt x="939" y="1182"/>
                  <a:pt x="639" y="1182"/>
                </a:cubicBezTo>
                <a:close/>
                <a:moveTo>
                  <a:pt x="639" y="0"/>
                </a:moveTo>
                <a:cubicBezTo>
                  <a:pt x="286" y="0"/>
                  <a:pt x="0" y="286"/>
                  <a:pt x="0" y="638"/>
                </a:cubicBezTo>
                <a:cubicBezTo>
                  <a:pt x="0" y="990"/>
                  <a:pt x="286" y="1277"/>
                  <a:pt x="639" y="1277"/>
                </a:cubicBezTo>
                <a:cubicBezTo>
                  <a:pt x="991" y="1277"/>
                  <a:pt x="1277" y="990"/>
                  <a:pt x="1277" y="638"/>
                </a:cubicBezTo>
                <a:cubicBezTo>
                  <a:pt x="1277" y="286"/>
                  <a:pt x="991" y="0"/>
                  <a:pt x="639" y="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1" name="Freeform 41">
            <a:extLst>
              <a:ext uri="{FF2B5EF4-FFF2-40B4-BE49-F238E27FC236}">
                <a16:creationId xmlns:a16="http://schemas.microsoft.com/office/drawing/2014/main" id="{3152FE21-AFF2-4CBA-87BA-A00B59C7FADE}"/>
              </a:ext>
            </a:extLst>
          </p:cNvPr>
          <p:cNvSpPr>
            <a:spLocks/>
          </p:cNvSpPr>
          <p:nvPr/>
        </p:nvSpPr>
        <p:spPr bwMode="auto">
          <a:xfrm>
            <a:off x="6003925" y="3044825"/>
            <a:ext cx="876300" cy="1981200"/>
          </a:xfrm>
          <a:custGeom>
            <a:avLst/>
            <a:gdLst>
              <a:gd name="T0" fmla="*/ 99 w 300"/>
              <a:gd name="T1" fmla="*/ 477 h 679"/>
              <a:gd name="T2" fmla="*/ 187 w 300"/>
              <a:gd name="T3" fmla="*/ 657 h 679"/>
              <a:gd name="T4" fmla="*/ 229 w 300"/>
              <a:gd name="T5" fmla="*/ 672 h 679"/>
              <a:gd name="T6" fmla="*/ 243 w 300"/>
              <a:gd name="T7" fmla="*/ 630 h 679"/>
              <a:gd name="T8" fmla="*/ 155 w 300"/>
              <a:gd name="T9" fmla="*/ 449 h 679"/>
              <a:gd name="T10" fmla="*/ 145 w 300"/>
              <a:gd name="T11" fmla="*/ 350 h 679"/>
              <a:gd name="T12" fmla="*/ 292 w 300"/>
              <a:gd name="T13" fmla="*/ 50 h 679"/>
              <a:gd name="T14" fmla="*/ 278 w 300"/>
              <a:gd name="T15" fmla="*/ 8 h 679"/>
              <a:gd name="T16" fmla="*/ 236 w 300"/>
              <a:gd name="T17" fmla="*/ 22 h 679"/>
              <a:gd name="T18" fmla="*/ 82 w 300"/>
              <a:gd name="T19" fmla="*/ 335 h 679"/>
              <a:gd name="T20" fmla="*/ 99 w 300"/>
              <a:gd name="T21" fmla="*/ 477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679">
                <a:moveTo>
                  <a:pt x="99" y="477"/>
                </a:moveTo>
                <a:cubicBezTo>
                  <a:pt x="187" y="657"/>
                  <a:pt x="187" y="657"/>
                  <a:pt x="187" y="657"/>
                </a:cubicBezTo>
                <a:cubicBezTo>
                  <a:pt x="194" y="673"/>
                  <a:pt x="213" y="679"/>
                  <a:pt x="229" y="672"/>
                </a:cubicBezTo>
                <a:cubicBezTo>
                  <a:pt x="244" y="664"/>
                  <a:pt x="251" y="645"/>
                  <a:pt x="243" y="630"/>
                </a:cubicBezTo>
                <a:cubicBezTo>
                  <a:pt x="155" y="449"/>
                  <a:pt x="155" y="449"/>
                  <a:pt x="155" y="449"/>
                </a:cubicBezTo>
                <a:cubicBezTo>
                  <a:pt x="179" y="419"/>
                  <a:pt x="175" y="376"/>
                  <a:pt x="145" y="350"/>
                </a:cubicBezTo>
                <a:cubicBezTo>
                  <a:pt x="292" y="50"/>
                  <a:pt x="292" y="50"/>
                  <a:pt x="292" y="50"/>
                </a:cubicBezTo>
                <a:cubicBezTo>
                  <a:pt x="300" y="34"/>
                  <a:pt x="294" y="15"/>
                  <a:pt x="278" y="8"/>
                </a:cubicBezTo>
                <a:cubicBezTo>
                  <a:pt x="263" y="0"/>
                  <a:pt x="244" y="7"/>
                  <a:pt x="236" y="22"/>
                </a:cubicBezTo>
                <a:cubicBezTo>
                  <a:pt x="82" y="335"/>
                  <a:pt x="82" y="335"/>
                  <a:pt x="82" y="335"/>
                </a:cubicBezTo>
                <a:cubicBezTo>
                  <a:pt x="0" y="355"/>
                  <a:pt x="14" y="477"/>
                  <a:pt x="99" y="477"/>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 name="Freeform 42">
            <a:extLst>
              <a:ext uri="{FF2B5EF4-FFF2-40B4-BE49-F238E27FC236}">
                <a16:creationId xmlns:a16="http://schemas.microsoft.com/office/drawing/2014/main" id="{15668526-5EFC-47F7-8E27-65799A8D8FAF}"/>
              </a:ext>
            </a:extLst>
          </p:cNvPr>
          <p:cNvSpPr>
            <a:spLocks/>
          </p:cNvSpPr>
          <p:nvPr/>
        </p:nvSpPr>
        <p:spPr bwMode="auto">
          <a:xfrm>
            <a:off x="4502150" y="3754437"/>
            <a:ext cx="347663" cy="1365250"/>
          </a:xfrm>
          <a:custGeom>
            <a:avLst/>
            <a:gdLst>
              <a:gd name="T0" fmla="*/ 82 w 119"/>
              <a:gd name="T1" fmla="*/ 468 h 468"/>
              <a:gd name="T2" fmla="*/ 21 w 119"/>
              <a:gd name="T3" fmla="*/ 320 h 468"/>
              <a:gd name="T4" fmla="*/ 0 w 119"/>
              <a:gd name="T5" fmla="*/ 162 h 468"/>
              <a:gd name="T6" fmla="*/ 5 w 119"/>
              <a:gd name="T7" fmla="*/ 82 h 468"/>
              <a:gd name="T8" fmla="*/ 21 w 119"/>
              <a:gd name="T9" fmla="*/ 4 h 468"/>
              <a:gd name="T10" fmla="*/ 44 w 119"/>
              <a:gd name="T11" fmla="*/ 0 h 468"/>
              <a:gd name="T12" fmla="*/ 63 w 119"/>
              <a:gd name="T13" fmla="*/ 15 h 468"/>
              <a:gd name="T14" fmla="*/ 48 w 119"/>
              <a:gd name="T15" fmla="*/ 88 h 468"/>
              <a:gd name="T16" fmla="*/ 43 w 119"/>
              <a:gd name="T17" fmla="*/ 162 h 468"/>
              <a:gd name="T18" fmla="*/ 63 w 119"/>
              <a:gd name="T19" fmla="*/ 309 h 468"/>
              <a:gd name="T20" fmla="*/ 119 w 119"/>
              <a:gd name="T21" fmla="*/ 446 h 468"/>
              <a:gd name="T22" fmla="*/ 82 w 119"/>
              <a:gd name="T23"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468">
                <a:moveTo>
                  <a:pt x="82" y="468"/>
                </a:moveTo>
                <a:cubicBezTo>
                  <a:pt x="55" y="421"/>
                  <a:pt x="35" y="372"/>
                  <a:pt x="21" y="320"/>
                </a:cubicBezTo>
                <a:cubicBezTo>
                  <a:pt x="7" y="269"/>
                  <a:pt x="0" y="216"/>
                  <a:pt x="0" y="162"/>
                </a:cubicBezTo>
                <a:cubicBezTo>
                  <a:pt x="0" y="136"/>
                  <a:pt x="2" y="109"/>
                  <a:pt x="5" y="82"/>
                </a:cubicBezTo>
                <a:cubicBezTo>
                  <a:pt x="9" y="56"/>
                  <a:pt x="14" y="30"/>
                  <a:pt x="21" y="4"/>
                </a:cubicBezTo>
                <a:cubicBezTo>
                  <a:pt x="44" y="0"/>
                  <a:pt x="44" y="0"/>
                  <a:pt x="44" y="0"/>
                </a:cubicBezTo>
                <a:cubicBezTo>
                  <a:pt x="63" y="15"/>
                  <a:pt x="63" y="15"/>
                  <a:pt x="63" y="15"/>
                </a:cubicBezTo>
                <a:cubicBezTo>
                  <a:pt x="56" y="39"/>
                  <a:pt x="51" y="64"/>
                  <a:pt x="48" y="88"/>
                </a:cubicBezTo>
                <a:cubicBezTo>
                  <a:pt x="45" y="112"/>
                  <a:pt x="43" y="137"/>
                  <a:pt x="43" y="162"/>
                </a:cubicBezTo>
                <a:cubicBezTo>
                  <a:pt x="43" y="212"/>
                  <a:pt x="50" y="262"/>
                  <a:pt x="63" y="309"/>
                </a:cubicBezTo>
                <a:cubicBezTo>
                  <a:pt x="75" y="357"/>
                  <a:pt x="94" y="403"/>
                  <a:pt x="119" y="446"/>
                </a:cubicBezTo>
                <a:cubicBezTo>
                  <a:pt x="82" y="468"/>
                  <a:pt x="82" y="468"/>
                  <a:pt x="82" y="46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43">
            <a:extLst>
              <a:ext uri="{FF2B5EF4-FFF2-40B4-BE49-F238E27FC236}">
                <a16:creationId xmlns:a16="http://schemas.microsoft.com/office/drawing/2014/main" id="{4B311F4F-F1F6-451F-8A72-C4039AF49428}"/>
              </a:ext>
            </a:extLst>
          </p:cNvPr>
          <p:cNvSpPr>
            <a:spLocks/>
          </p:cNvSpPr>
          <p:nvPr/>
        </p:nvSpPr>
        <p:spPr bwMode="auto">
          <a:xfrm>
            <a:off x="4741863" y="2443162"/>
            <a:ext cx="1582738" cy="955675"/>
          </a:xfrm>
          <a:custGeom>
            <a:avLst/>
            <a:gdLst>
              <a:gd name="T0" fmla="*/ 0 w 542"/>
              <a:gd name="T1" fmla="*/ 306 h 327"/>
              <a:gd name="T2" fmla="*/ 224 w 542"/>
              <a:gd name="T3" fmla="*/ 82 h 327"/>
              <a:gd name="T4" fmla="*/ 530 w 542"/>
              <a:gd name="T5" fmla="*/ 0 h 327"/>
              <a:gd name="T6" fmla="*/ 542 w 542"/>
              <a:gd name="T7" fmla="*/ 22 h 327"/>
              <a:gd name="T8" fmla="*/ 530 w 542"/>
              <a:gd name="T9" fmla="*/ 43 h 327"/>
              <a:gd name="T10" fmla="*/ 245 w 542"/>
              <a:gd name="T11" fmla="*/ 119 h 327"/>
              <a:gd name="T12" fmla="*/ 37 w 542"/>
              <a:gd name="T13" fmla="*/ 327 h 327"/>
              <a:gd name="T14" fmla="*/ 0 w 542"/>
              <a:gd name="T15" fmla="*/ 306 h 3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2" h="327">
                <a:moveTo>
                  <a:pt x="0" y="306"/>
                </a:moveTo>
                <a:cubicBezTo>
                  <a:pt x="55" y="211"/>
                  <a:pt x="132" y="135"/>
                  <a:pt x="224" y="82"/>
                </a:cubicBezTo>
                <a:cubicBezTo>
                  <a:pt x="315" y="29"/>
                  <a:pt x="420" y="0"/>
                  <a:pt x="530" y="0"/>
                </a:cubicBezTo>
                <a:cubicBezTo>
                  <a:pt x="542" y="22"/>
                  <a:pt x="542" y="22"/>
                  <a:pt x="542" y="22"/>
                </a:cubicBezTo>
                <a:cubicBezTo>
                  <a:pt x="530" y="43"/>
                  <a:pt x="530" y="43"/>
                  <a:pt x="530" y="43"/>
                </a:cubicBezTo>
                <a:cubicBezTo>
                  <a:pt x="428" y="43"/>
                  <a:pt x="330" y="70"/>
                  <a:pt x="245" y="119"/>
                </a:cubicBezTo>
                <a:cubicBezTo>
                  <a:pt x="160" y="168"/>
                  <a:pt x="88" y="239"/>
                  <a:pt x="37" y="327"/>
                </a:cubicBezTo>
                <a:cubicBezTo>
                  <a:pt x="0" y="306"/>
                  <a:pt x="0" y="306"/>
                  <a:pt x="0" y="306"/>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4" name="Freeform 44">
            <a:extLst>
              <a:ext uri="{FF2B5EF4-FFF2-40B4-BE49-F238E27FC236}">
                <a16:creationId xmlns:a16="http://schemas.microsoft.com/office/drawing/2014/main" id="{C33471DA-6747-443D-A368-38FF99FDECEC}"/>
              </a:ext>
            </a:extLst>
          </p:cNvPr>
          <p:cNvSpPr>
            <a:spLocks/>
          </p:cNvSpPr>
          <p:nvPr/>
        </p:nvSpPr>
        <p:spPr bwMode="auto">
          <a:xfrm>
            <a:off x="7119938" y="2965450"/>
            <a:ext cx="955675" cy="2808288"/>
          </a:xfrm>
          <a:custGeom>
            <a:avLst/>
            <a:gdLst>
              <a:gd name="T0" fmla="*/ 148 w 327"/>
              <a:gd name="T1" fmla="*/ 0 h 962"/>
              <a:gd name="T2" fmla="*/ 280 w 327"/>
              <a:gd name="T3" fmla="*/ 198 h 962"/>
              <a:gd name="T4" fmla="*/ 327 w 327"/>
              <a:gd name="T5" fmla="*/ 432 h 962"/>
              <a:gd name="T6" fmla="*/ 245 w 327"/>
              <a:gd name="T7" fmla="*/ 738 h 962"/>
              <a:gd name="T8" fmla="*/ 21 w 327"/>
              <a:gd name="T9" fmla="*/ 962 h 962"/>
              <a:gd name="T10" fmla="*/ 2 w 327"/>
              <a:gd name="T11" fmla="*/ 951 h 962"/>
              <a:gd name="T12" fmla="*/ 0 w 327"/>
              <a:gd name="T13" fmla="*/ 924 h 962"/>
              <a:gd name="T14" fmla="*/ 208 w 327"/>
              <a:gd name="T15" fmla="*/ 716 h 962"/>
              <a:gd name="T16" fmla="*/ 284 w 327"/>
              <a:gd name="T17" fmla="*/ 432 h 962"/>
              <a:gd name="T18" fmla="*/ 241 w 327"/>
              <a:gd name="T19" fmla="*/ 215 h 962"/>
              <a:gd name="T20" fmla="*/ 117 w 327"/>
              <a:gd name="T21" fmla="*/ 30 h 962"/>
              <a:gd name="T22" fmla="*/ 148 w 32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7" h="962">
                <a:moveTo>
                  <a:pt x="148" y="0"/>
                </a:moveTo>
                <a:cubicBezTo>
                  <a:pt x="205" y="57"/>
                  <a:pt x="250" y="125"/>
                  <a:pt x="280" y="198"/>
                </a:cubicBezTo>
                <a:cubicBezTo>
                  <a:pt x="311" y="272"/>
                  <a:pt x="327" y="351"/>
                  <a:pt x="327" y="432"/>
                </a:cubicBezTo>
                <a:cubicBezTo>
                  <a:pt x="327" y="541"/>
                  <a:pt x="298" y="646"/>
                  <a:pt x="245" y="738"/>
                </a:cubicBezTo>
                <a:cubicBezTo>
                  <a:pt x="192" y="829"/>
                  <a:pt x="116" y="907"/>
                  <a:pt x="21" y="962"/>
                </a:cubicBezTo>
                <a:cubicBezTo>
                  <a:pt x="2" y="951"/>
                  <a:pt x="2" y="951"/>
                  <a:pt x="2" y="951"/>
                </a:cubicBezTo>
                <a:cubicBezTo>
                  <a:pt x="0" y="924"/>
                  <a:pt x="0" y="924"/>
                  <a:pt x="0" y="924"/>
                </a:cubicBezTo>
                <a:cubicBezTo>
                  <a:pt x="88" y="874"/>
                  <a:pt x="159" y="801"/>
                  <a:pt x="208" y="716"/>
                </a:cubicBezTo>
                <a:cubicBezTo>
                  <a:pt x="257" y="631"/>
                  <a:pt x="284" y="534"/>
                  <a:pt x="284" y="432"/>
                </a:cubicBezTo>
                <a:cubicBezTo>
                  <a:pt x="284" y="357"/>
                  <a:pt x="269" y="283"/>
                  <a:pt x="241" y="215"/>
                </a:cubicBezTo>
                <a:cubicBezTo>
                  <a:pt x="212" y="147"/>
                  <a:pt x="171" y="84"/>
                  <a:pt x="117" y="30"/>
                </a:cubicBezTo>
                <a:cubicBezTo>
                  <a:pt x="148" y="0"/>
                  <a:pt x="148" y="0"/>
                  <a:pt x="148"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45">
            <a:extLst>
              <a:ext uri="{FF2B5EF4-FFF2-40B4-BE49-F238E27FC236}">
                <a16:creationId xmlns:a16="http://schemas.microsoft.com/office/drawing/2014/main" id="{E1C52D47-0919-4B98-B529-FBD77C065A83}"/>
              </a:ext>
            </a:extLst>
          </p:cNvPr>
          <p:cNvSpPr>
            <a:spLocks/>
          </p:cNvSpPr>
          <p:nvPr/>
        </p:nvSpPr>
        <p:spPr bwMode="auto">
          <a:xfrm>
            <a:off x="5026025" y="5400675"/>
            <a:ext cx="1298575" cy="612775"/>
          </a:xfrm>
          <a:custGeom>
            <a:avLst/>
            <a:gdLst>
              <a:gd name="T0" fmla="*/ 445 w 445"/>
              <a:gd name="T1" fmla="*/ 210 h 210"/>
              <a:gd name="T2" fmla="*/ 433 w 445"/>
              <a:gd name="T3" fmla="*/ 210 h 210"/>
              <a:gd name="T4" fmla="*/ 199 w 445"/>
              <a:gd name="T5" fmla="*/ 163 h 210"/>
              <a:gd name="T6" fmla="*/ 0 w 445"/>
              <a:gd name="T7" fmla="*/ 31 h 210"/>
              <a:gd name="T8" fmla="*/ 7 w 445"/>
              <a:gd name="T9" fmla="*/ 9 h 210"/>
              <a:gd name="T10" fmla="*/ 31 w 445"/>
              <a:gd name="T11" fmla="*/ 0 h 210"/>
              <a:gd name="T12" fmla="*/ 215 w 445"/>
              <a:gd name="T13" fmla="*/ 123 h 210"/>
              <a:gd name="T14" fmla="*/ 433 w 445"/>
              <a:gd name="T15" fmla="*/ 167 h 210"/>
              <a:gd name="T16" fmla="*/ 445 w 445"/>
              <a:gd name="T17" fmla="*/ 166 h 210"/>
              <a:gd name="T18" fmla="*/ 445 w 445"/>
              <a:gd name="T1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5" h="210">
                <a:moveTo>
                  <a:pt x="445" y="210"/>
                </a:moveTo>
                <a:cubicBezTo>
                  <a:pt x="441" y="210"/>
                  <a:pt x="437" y="210"/>
                  <a:pt x="433" y="210"/>
                </a:cubicBezTo>
                <a:cubicBezTo>
                  <a:pt x="352" y="210"/>
                  <a:pt x="272" y="194"/>
                  <a:pt x="199" y="163"/>
                </a:cubicBezTo>
                <a:cubicBezTo>
                  <a:pt x="125" y="133"/>
                  <a:pt x="58" y="88"/>
                  <a:pt x="0" y="31"/>
                </a:cubicBezTo>
                <a:cubicBezTo>
                  <a:pt x="7" y="9"/>
                  <a:pt x="7" y="9"/>
                  <a:pt x="7" y="9"/>
                </a:cubicBezTo>
                <a:cubicBezTo>
                  <a:pt x="31" y="0"/>
                  <a:pt x="31" y="0"/>
                  <a:pt x="31" y="0"/>
                </a:cubicBezTo>
                <a:cubicBezTo>
                  <a:pt x="84" y="53"/>
                  <a:pt x="147" y="95"/>
                  <a:pt x="215" y="123"/>
                </a:cubicBezTo>
                <a:cubicBezTo>
                  <a:pt x="283" y="152"/>
                  <a:pt x="357" y="167"/>
                  <a:pt x="433" y="167"/>
                </a:cubicBezTo>
                <a:cubicBezTo>
                  <a:pt x="437" y="167"/>
                  <a:pt x="441" y="166"/>
                  <a:pt x="445" y="166"/>
                </a:cubicBezTo>
                <a:cubicBezTo>
                  <a:pt x="445" y="210"/>
                  <a:pt x="445" y="210"/>
                  <a:pt x="445" y="21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6" name="Freeform 46">
            <a:extLst>
              <a:ext uri="{FF2B5EF4-FFF2-40B4-BE49-F238E27FC236}">
                <a16:creationId xmlns:a16="http://schemas.microsoft.com/office/drawing/2014/main" id="{C857E736-0854-4688-9EC6-F97139C9089E}"/>
              </a:ext>
            </a:extLst>
          </p:cNvPr>
          <p:cNvSpPr>
            <a:spLocks/>
          </p:cNvSpPr>
          <p:nvPr/>
        </p:nvSpPr>
        <p:spPr bwMode="auto">
          <a:xfrm>
            <a:off x="2921000" y="1714500"/>
            <a:ext cx="1733550" cy="303213"/>
          </a:xfrm>
          <a:custGeom>
            <a:avLst/>
            <a:gdLst>
              <a:gd name="T0" fmla="*/ 0 w 593"/>
              <a:gd name="T1" fmla="*/ 0 h 104"/>
              <a:gd name="T2" fmla="*/ 556 w 593"/>
              <a:gd name="T3" fmla="*/ 0 h 104"/>
              <a:gd name="T4" fmla="*/ 593 w 593"/>
              <a:gd name="T5" fmla="*/ 37 h 104"/>
              <a:gd name="T6" fmla="*/ 593 w 593"/>
              <a:gd name="T7" fmla="*/ 104 h 104"/>
              <a:gd name="T8" fmla="*/ 37 w 593"/>
              <a:gd name="T9" fmla="*/ 104 h 104"/>
              <a:gd name="T10" fmla="*/ 0 w 593"/>
              <a:gd name="T11" fmla="*/ 67 h 104"/>
              <a:gd name="T12" fmla="*/ 0 w 593"/>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93" h="104">
                <a:moveTo>
                  <a:pt x="0" y="0"/>
                </a:moveTo>
                <a:cubicBezTo>
                  <a:pt x="556" y="0"/>
                  <a:pt x="556" y="0"/>
                  <a:pt x="556" y="0"/>
                </a:cubicBezTo>
                <a:cubicBezTo>
                  <a:pt x="576" y="0"/>
                  <a:pt x="593" y="17"/>
                  <a:pt x="593" y="37"/>
                </a:cubicBezTo>
                <a:cubicBezTo>
                  <a:pt x="593" y="104"/>
                  <a:pt x="593" y="104"/>
                  <a:pt x="593" y="104"/>
                </a:cubicBezTo>
                <a:cubicBezTo>
                  <a:pt x="37" y="104"/>
                  <a:pt x="37" y="104"/>
                  <a:pt x="37" y="104"/>
                </a:cubicBezTo>
                <a:cubicBezTo>
                  <a:pt x="16" y="104"/>
                  <a:pt x="0" y="88"/>
                  <a:pt x="0" y="67"/>
                </a:cubicBezTo>
                <a:cubicBezTo>
                  <a:pt x="0" y="0"/>
                  <a:pt x="0" y="0"/>
                  <a:pt x="0" y="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r>
              <a:rPr lang="en-US" altLang="zh-CN" sz="1300" dirty="0">
                <a:solidFill>
                  <a:schemeClr val="bg1"/>
                </a:solidFill>
              </a:rPr>
              <a:t>Dummy text</a:t>
            </a:r>
            <a:endParaRPr lang="zh-CN" altLang="en-US" sz="1300" dirty="0">
              <a:solidFill>
                <a:schemeClr val="bg1"/>
              </a:solidFill>
            </a:endParaRPr>
          </a:p>
        </p:txBody>
      </p:sp>
      <p:sp>
        <p:nvSpPr>
          <p:cNvPr id="46" name="Freeform 66">
            <a:extLst>
              <a:ext uri="{FF2B5EF4-FFF2-40B4-BE49-F238E27FC236}">
                <a16:creationId xmlns:a16="http://schemas.microsoft.com/office/drawing/2014/main" id="{E5A0DFD8-6AD0-40CB-A37F-4F0C17FCAE16}"/>
              </a:ext>
            </a:extLst>
          </p:cNvPr>
          <p:cNvSpPr>
            <a:spLocks noEditPoints="1"/>
          </p:cNvSpPr>
          <p:nvPr/>
        </p:nvSpPr>
        <p:spPr bwMode="auto">
          <a:xfrm>
            <a:off x="4765675" y="1857375"/>
            <a:ext cx="661988" cy="358775"/>
          </a:xfrm>
          <a:custGeom>
            <a:avLst/>
            <a:gdLst>
              <a:gd name="T0" fmla="*/ 227 w 227"/>
              <a:gd name="T1" fmla="*/ 116 h 123"/>
              <a:gd name="T2" fmla="*/ 221 w 227"/>
              <a:gd name="T3" fmla="*/ 123 h 123"/>
              <a:gd name="T4" fmla="*/ 221 w 227"/>
              <a:gd name="T5" fmla="*/ 116 h 123"/>
              <a:gd name="T6" fmla="*/ 220 w 227"/>
              <a:gd name="T7" fmla="*/ 109 h 123"/>
              <a:gd name="T8" fmla="*/ 216 w 227"/>
              <a:gd name="T9" fmla="*/ 79 h 123"/>
              <a:gd name="T10" fmla="*/ 218 w 227"/>
              <a:gd name="T11" fmla="*/ 92 h 123"/>
              <a:gd name="T12" fmla="*/ 210 w 227"/>
              <a:gd name="T13" fmla="*/ 88 h 123"/>
              <a:gd name="T14" fmla="*/ 216 w 227"/>
              <a:gd name="T15" fmla="*/ 79 h 123"/>
              <a:gd name="T16" fmla="*/ 209 w 227"/>
              <a:gd name="T17" fmla="*/ 55 h 123"/>
              <a:gd name="T18" fmla="*/ 207 w 227"/>
              <a:gd name="T19" fmla="*/ 64 h 123"/>
              <a:gd name="T20" fmla="*/ 203 w 227"/>
              <a:gd name="T21" fmla="*/ 59 h 123"/>
              <a:gd name="T22" fmla="*/ 200 w 227"/>
              <a:gd name="T23" fmla="*/ 53 h 123"/>
              <a:gd name="T24" fmla="*/ 183 w 227"/>
              <a:gd name="T25" fmla="*/ 29 h 123"/>
              <a:gd name="T26" fmla="*/ 188 w 227"/>
              <a:gd name="T27" fmla="*/ 40 h 123"/>
              <a:gd name="T28" fmla="*/ 179 w 227"/>
              <a:gd name="T29" fmla="*/ 40 h 123"/>
              <a:gd name="T30" fmla="*/ 183 w 227"/>
              <a:gd name="T31" fmla="*/ 29 h 123"/>
              <a:gd name="T32" fmla="*/ 161 w 227"/>
              <a:gd name="T33" fmla="*/ 13 h 123"/>
              <a:gd name="T34" fmla="*/ 155 w 227"/>
              <a:gd name="T35" fmla="*/ 25 h 123"/>
              <a:gd name="T36" fmla="*/ 152 w 227"/>
              <a:gd name="T37" fmla="*/ 16 h 123"/>
              <a:gd name="T38" fmla="*/ 129 w 227"/>
              <a:gd name="T39" fmla="*/ 3 h 123"/>
              <a:gd name="T40" fmla="*/ 135 w 227"/>
              <a:gd name="T41" fmla="*/ 11 h 123"/>
              <a:gd name="T42" fmla="*/ 128 w 227"/>
              <a:gd name="T43" fmla="*/ 16 h 123"/>
              <a:gd name="T44" fmla="*/ 129 w 227"/>
              <a:gd name="T45" fmla="*/ 3 h 123"/>
              <a:gd name="T46" fmla="*/ 105 w 227"/>
              <a:gd name="T47" fmla="*/ 8 h 123"/>
              <a:gd name="T48" fmla="*/ 98 w 227"/>
              <a:gd name="T49" fmla="*/ 15 h 123"/>
              <a:gd name="T50" fmla="*/ 98 w 227"/>
              <a:gd name="T51" fmla="*/ 2 h 123"/>
              <a:gd name="T52" fmla="*/ 75 w 227"/>
              <a:gd name="T53" fmla="*/ 8 h 123"/>
              <a:gd name="T54" fmla="*/ 68 w 227"/>
              <a:gd name="T55" fmla="*/ 15 h 123"/>
              <a:gd name="T56" fmla="*/ 68 w 227"/>
              <a:gd name="T57" fmla="*/ 2 h 123"/>
              <a:gd name="T58" fmla="*/ 44 w 227"/>
              <a:gd name="T59" fmla="*/ 8 h 123"/>
              <a:gd name="T60" fmla="*/ 37 w 227"/>
              <a:gd name="T61" fmla="*/ 15 h 123"/>
              <a:gd name="T62" fmla="*/ 37 w 227"/>
              <a:gd name="T63" fmla="*/ 2 h 123"/>
              <a:gd name="T64" fmla="*/ 0 w 227"/>
              <a:gd name="T65" fmla="*/ 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123">
                <a:moveTo>
                  <a:pt x="221" y="109"/>
                </a:moveTo>
                <a:cubicBezTo>
                  <a:pt x="224" y="109"/>
                  <a:pt x="227" y="112"/>
                  <a:pt x="227" y="116"/>
                </a:cubicBezTo>
                <a:cubicBezTo>
                  <a:pt x="227" y="116"/>
                  <a:pt x="227" y="116"/>
                  <a:pt x="227" y="116"/>
                </a:cubicBezTo>
                <a:cubicBezTo>
                  <a:pt x="227" y="120"/>
                  <a:pt x="224" y="123"/>
                  <a:pt x="221" y="123"/>
                </a:cubicBezTo>
                <a:cubicBezTo>
                  <a:pt x="217" y="123"/>
                  <a:pt x="214" y="120"/>
                  <a:pt x="214" y="116"/>
                </a:cubicBezTo>
                <a:cubicBezTo>
                  <a:pt x="221" y="116"/>
                  <a:pt x="221" y="116"/>
                  <a:pt x="221" y="116"/>
                </a:cubicBezTo>
                <a:cubicBezTo>
                  <a:pt x="214" y="116"/>
                  <a:pt x="214" y="116"/>
                  <a:pt x="214" y="116"/>
                </a:cubicBezTo>
                <a:cubicBezTo>
                  <a:pt x="214" y="112"/>
                  <a:pt x="217" y="109"/>
                  <a:pt x="220" y="109"/>
                </a:cubicBezTo>
                <a:cubicBezTo>
                  <a:pt x="220" y="109"/>
                  <a:pt x="221" y="109"/>
                  <a:pt x="221" y="109"/>
                </a:cubicBezTo>
                <a:close/>
                <a:moveTo>
                  <a:pt x="216" y="79"/>
                </a:moveTo>
                <a:cubicBezTo>
                  <a:pt x="219" y="79"/>
                  <a:pt x="222" y="81"/>
                  <a:pt x="222" y="84"/>
                </a:cubicBezTo>
                <a:cubicBezTo>
                  <a:pt x="223" y="88"/>
                  <a:pt x="221" y="91"/>
                  <a:pt x="218" y="92"/>
                </a:cubicBezTo>
                <a:cubicBezTo>
                  <a:pt x="214" y="93"/>
                  <a:pt x="211" y="92"/>
                  <a:pt x="210" y="88"/>
                </a:cubicBezTo>
                <a:cubicBezTo>
                  <a:pt x="210" y="88"/>
                  <a:pt x="210" y="88"/>
                  <a:pt x="210" y="88"/>
                </a:cubicBezTo>
                <a:cubicBezTo>
                  <a:pt x="209" y="84"/>
                  <a:pt x="211" y="81"/>
                  <a:pt x="214" y="80"/>
                </a:cubicBezTo>
                <a:cubicBezTo>
                  <a:pt x="215" y="79"/>
                  <a:pt x="215" y="79"/>
                  <a:pt x="216" y="79"/>
                </a:cubicBezTo>
                <a:close/>
                <a:moveTo>
                  <a:pt x="203" y="52"/>
                </a:moveTo>
                <a:cubicBezTo>
                  <a:pt x="205" y="52"/>
                  <a:pt x="207" y="53"/>
                  <a:pt x="209" y="55"/>
                </a:cubicBezTo>
                <a:cubicBezTo>
                  <a:pt x="209" y="55"/>
                  <a:pt x="209" y="55"/>
                  <a:pt x="209" y="55"/>
                </a:cubicBezTo>
                <a:cubicBezTo>
                  <a:pt x="211" y="58"/>
                  <a:pt x="210" y="62"/>
                  <a:pt x="207" y="64"/>
                </a:cubicBezTo>
                <a:cubicBezTo>
                  <a:pt x="204" y="66"/>
                  <a:pt x="200" y="65"/>
                  <a:pt x="198" y="62"/>
                </a:cubicBezTo>
                <a:cubicBezTo>
                  <a:pt x="203" y="59"/>
                  <a:pt x="203" y="59"/>
                  <a:pt x="203" y="59"/>
                </a:cubicBezTo>
                <a:cubicBezTo>
                  <a:pt x="198" y="62"/>
                  <a:pt x="198" y="62"/>
                  <a:pt x="198" y="62"/>
                </a:cubicBezTo>
                <a:cubicBezTo>
                  <a:pt x="196" y="59"/>
                  <a:pt x="197" y="55"/>
                  <a:pt x="200" y="53"/>
                </a:cubicBezTo>
                <a:cubicBezTo>
                  <a:pt x="201" y="52"/>
                  <a:pt x="202" y="52"/>
                  <a:pt x="203" y="52"/>
                </a:cubicBezTo>
                <a:close/>
                <a:moveTo>
                  <a:pt x="183" y="29"/>
                </a:moveTo>
                <a:cubicBezTo>
                  <a:pt x="185" y="29"/>
                  <a:pt x="186" y="29"/>
                  <a:pt x="188" y="30"/>
                </a:cubicBezTo>
                <a:cubicBezTo>
                  <a:pt x="190" y="33"/>
                  <a:pt x="191" y="37"/>
                  <a:pt x="188" y="40"/>
                </a:cubicBezTo>
                <a:cubicBezTo>
                  <a:pt x="186" y="42"/>
                  <a:pt x="182" y="43"/>
                  <a:pt x="179" y="40"/>
                </a:cubicBezTo>
                <a:cubicBezTo>
                  <a:pt x="179" y="40"/>
                  <a:pt x="179" y="40"/>
                  <a:pt x="179" y="40"/>
                </a:cubicBezTo>
                <a:cubicBezTo>
                  <a:pt x="176" y="38"/>
                  <a:pt x="176" y="34"/>
                  <a:pt x="178" y="31"/>
                </a:cubicBezTo>
                <a:cubicBezTo>
                  <a:pt x="180" y="30"/>
                  <a:pt x="182" y="29"/>
                  <a:pt x="183" y="29"/>
                </a:cubicBezTo>
                <a:close/>
                <a:moveTo>
                  <a:pt x="158" y="12"/>
                </a:moveTo>
                <a:cubicBezTo>
                  <a:pt x="159" y="12"/>
                  <a:pt x="160" y="12"/>
                  <a:pt x="161" y="13"/>
                </a:cubicBezTo>
                <a:cubicBezTo>
                  <a:pt x="164" y="14"/>
                  <a:pt x="165" y="18"/>
                  <a:pt x="164" y="22"/>
                </a:cubicBezTo>
                <a:cubicBezTo>
                  <a:pt x="162" y="25"/>
                  <a:pt x="159" y="26"/>
                  <a:pt x="155" y="25"/>
                </a:cubicBezTo>
                <a:cubicBezTo>
                  <a:pt x="155" y="25"/>
                  <a:pt x="155" y="25"/>
                  <a:pt x="155" y="25"/>
                </a:cubicBezTo>
                <a:cubicBezTo>
                  <a:pt x="152" y="23"/>
                  <a:pt x="150" y="19"/>
                  <a:pt x="152" y="16"/>
                </a:cubicBezTo>
                <a:cubicBezTo>
                  <a:pt x="153" y="14"/>
                  <a:pt x="155" y="12"/>
                  <a:pt x="158" y="12"/>
                </a:cubicBezTo>
                <a:close/>
                <a:moveTo>
                  <a:pt x="129" y="3"/>
                </a:moveTo>
                <a:cubicBezTo>
                  <a:pt x="129" y="3"/>
                  <a:pt x="130" y="3"/>
                  <a:pt x="130" y="3"/>
                </a:cubicBezTo>
                <a:cubicBezTo>
                  <a:pt x="133" y="4"/>
                  <a:pt x="136" y="7"/>
                  <a:pt x="135" y="11"/>
                </a:cubicBezTo>
                <a:cubicBezTo>
                  <a:pt x="135" y="14"/>
                  <a:pt x="132" y="17"/>
                  <a:pt x="128" y="16"/>
                </a:cubicBezTo>
                <a:cubicBezTo>
                  <a:pt x="128" y="16"/>
                  <a:pt x="128" y="16"/>
                  <a:pt x="128" y="16"/>
                </a:cubicBezTo>
                <a:cubicBezTo>
                  <a:pt x="124" y="16"/>
                  <a:pt x="122" y="12"/>
                  <a:pt x="122" y="9"/>
                </a:cubicBezTo>
                <a:cubicBezTo>
                  <a:pt x="123" y="6"/>
                  <a:pt x="126" y="3"/>
                  <a:pt x="129" y="3"/>
                </a:cubicBezTo>
                <a:close/>
                <a:moveTo>
                  <a:pt x="98" y="2"/>
                </a:moveTo>
                <a:cubicBezTo>
                  <a:pt x="102" y="2"/>
                  <a:pt x="105" y="5"/>
                  <a:pt x="105" y="8"/>
                </a:cubicBezTo>
                <a:cubicBezTo>
                  <a:pt x="105" y="12"/>
                  <a:pt x="102" y="15"/>
                  <a:pt x="99" y="15"/>
                </a:cubicBezTo>
                <a:cubicBezTo>
                  <a:pt x="98" y="15"/>
                  <a:pt x="98" y="15"/>
                  <a:pt x="98" y="15"/>
                </a:cubicBezTo>
                <a:cubicBezTo>
                  <a:pt x="95" y="15"/>
                  <a:pt x="92" y="12"/>
                  <a:pt x="92" y="8"/>
                </a:cubicBezTo>
                <a:cubicBezTo>
                  <a:pt x="92" y="5"/>
                  <a:pt x="95" y="2"/>
                  <a:pt x="98" y="2"/>
                </a:cubicBezTo>
                <a:close/>
                <a:moveTo>
                  <a:pt x="68" y="2"/>
                </a:moveTo>
                <a:cubicBezTo>
                  <a:pt x="71" y="2"/>
                  <a:pt x="75" y="5"/>
                  <a:pt x="75" y="8"/>
                </a:cubicBezTo>
                <a:cubicBezTo>
                  <a:pt x="75" y="12"/>
                  <a:pt x="72" y="15"/>
                  <a:pt x="68" y="15"/>
                </a:cubicBezTo>
                <a:cubicBezTo>
                  <a:pt x="68" y="15"/>
                  <a:pt x="68" y="15"/>
                  <a:pt x="68" y="15"/>
                </a:cubicBezTo>
                <a:cubicBezTo>
                  <a:pt x="64" y="15"/>
                  <a:pt x="61" y="12"/>
                  <a:pt x="61" y="8"/>
                </a:cubicBezTo>
                <a:cubicBezTo>
                  <a:pt x="61" y="5"/>
                  <a:pt x="64" y="2"/>
                  <a:pt x="68" y="2"/>
                </a:cubicBezTo>
                <a:close/>
                <a:moveTo>
                  <a:pt x="37" y="2"/>
                </a:moveTo>
                <a:cubicBezTo>
                  <a:pt x="41" y="2"/>
                  <a:pt x="44" y="5"/>
                  <a:pt x="44" y="8"/>
                </a:cubicBezTo>
                <a:cubicBezTo>
                  <a:pt x="44" y="12"/>
                  <a:pt x="41" y="15"/>
                  <a:pt x="38" y="15"/>
                </a:cubicBezTo>
                <a:cubicBezTo>
                  <a:pt x="37" y="15"/>
                  <a:pt x="37" y="15"/>
                  <a:pt x="37" y="15"/>
                </a:cubicBezTo>
                <a:cubicBezTo>
                  <a:pt x="34" y="15"/>
                  <a:pt x="31" y="12"/>
                  <a:pt x="31" y="8"/>
                </a:cubicBezTo>
                <a:cubicBezTo>
                  <a:pt x="31" y="5"/>
                  <a:pt x="34" y="2"/>
                  <a:pt x="37" y="2"/>
                </a:cubicBezTo>
                <a:close/>
                <a:moveTo>
                  <a:pt x="14" y="8"/>
                </a:moveTo>
                <a:cubicBezTo>
                  <a:pt x="14" y="17"/>
                  <a:pt x="0" y="17"/>
                  <a:pt x="0" y="8"/>
                </a:cubicBezTo>
                <a:cubicBezTo>
                  <a:pt x="0" y="0"/>
                  <a:pt x="14" y="0"/>
                  <a:pt x="14" y="8"/>
                </a:cubicBezTo>
                <a:close/>
              </a:path>
            </a:pathLst>
          </a:custGeom>
          <a:solidFill>
            <a:srgbClr val="000000"/>
          </a:solidFill>
          <a:ln>
            <a:noFill/>
            <a:prstDash val="sysDot"/>
          </a:ln>
        </p:spPr>
        <p:txBody>
          <a:bodyPr vert="horz" wrap="square" lIns="91440" tIns="45720" rIns="91440" bIns="45720" numCol="1" anchor="t" anchorCtr="0" compatLnSpc="1">
            <a:prstTxWarp prst="textNoShape">
              <a:avLst/>
            </a:prstTxWarp>
          </a:bodyPr>
          <a:lstStyle/>
          <a:p>
            <a:endParaRPr lang="zh-CN" altLang="en-US"/>
          </a:p>
        </p:txBody>
      </p:sp>
      <p:sp>
        <p:nvSpPr>
          <p:cNvPr id="47" name="Freeform 67">
            <a:extLst>
              <a:ext uri="{FF2B5EF4-FFF2-40B4-BE49-F238E27FC236}">
                <a16:creationId xmlns:a16="http://schemas.microsoft.com/office/drawing/2014/main" id="{B541139C-103B-40F7-97CC-FAA93614303D}"/>
              </a:ext>
            </a:extLst>
          </p:cNvPr>
          <p:cNvSpPr>
            <a:spLocks/>
          </p:cNvSpPr>
          <p:nvPr/>
        </p:nvSpPr>
        <p:spPr bwMode="auto">
          <a:xfrm>
            <a:off x="5319713" y="2265362"/>
            <a:ext cx="173038" cy="85725"/>
          </a:xfrm>
          <a:custGeom>
            <a:avLst/>
            <a:gdLst>
              <a:gd name="T0" fmla="*/ 109 w 109"/>
              <a:gd name="T1" fmla="*/ 0 h 54"/>
              <a:gd name="T2" fmla="*/ 56 w 109"/>
              <a:gd name="T3" fmla="*/ 54 h 54"/>
              <a:gd name="T4" fmla="*/ 0 w 109"/>
              <a:gd name="T5" fmla="*/ 0 h 54"/>
              <a:gd name="T6" fmla="*/ 109 w 109"/>
              <a:gd name="T7" fmla="*/ 0 h 54"/>
              <a:gd name="T8" fmla="*/ 109 w 109"/>
              <a:gd name="T9" fmla="*/ 0 h 54"/>
            </a:gdLst>
            <a:ahLst/>
            <a:cxnLst>
              <a:cxn ang="0">
                <a:pos x="T0" y="T1"/>
              </a:cxn>
              <a:cxn ang="0">
                <a:pos x="T2" y="T3"/>
              </a:cxn>
              <a:cxn ang="0">
                <a:pos x="T4" y="T5"/>
              </a:cxn>
              <a:cxn ang="0">
                <a:pos x="T6" y="T7"/>
              </a:cxn>
              <a:cxn ang="0">
                <a:pos x="T8" y="T9"/>
              </a:cxn>
            </a:cxnLst>
            <a:rect l="0" t="0" r="r" b="b"/>
            <a:pathLst>
              <a:path w="109" h="54">
                <a:moveTo>
                  <a:pt x="109" y="0"/>
                </a:moveTo>
                <a:lnTo>
                  <a:pt x="56" y="54"/>
                </a:lnTo>
                <a:lnTo>
                  <a:pt x="0" y="0"/>
                </a:lnTo>
                <a:lnTo>
                  <a:pt x="109" y="0"/>
                </a:lnTo>
                <a:lnTo>
                  <a:pt x="109"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119">
            <a:extLst>
              <a:ext uri="{FF2B5EF4-FFF2-40B4-BE49-F238E27FC236}">
                <a16:creationId xmlns:a16="http://schemas.microsoft.com/office/drawing/2014/main" id="{3B959F56-718C-49FA-92A6-5E309483365A}"/>
              </a:ext>
            </a:extLst>
          </p:cNvPr>
          <p:cNvSpPr>
            <a:spLocks noEditPoints="1"/>
          </p:cNvSpPr>
          <p:nvPr/>
        </p:nvSpPr>
        <p:spPr bwMode="auto">
          <a:xfrm>
            <a:off x="8297863" y="3497262"/>
            <a:ext cx="665163" cy="195263"/>
          </a:xfrm>
          <a:custGeom>
            <a:avLst/>
            <a:gdLst>
              <a:gd name="T0" fmla="*/ 2 w 228"/>
              <a:gd name="T1" fmla="*/ 56 h 67"/>
              <a:gd name="T2" fmla="*/ 4 w 228"/>
              <a:gd name="T3" fmla="*/ 65 h 67"/>
              <a:gd name="T4" fmla="*/ 7 w 228"/>
              <a:gd name="T5" fmla="*/ 59 h 67"/>
              <a:gd name="T6" fmla="*/ 11 w 228"/>
              <a:gd name="T7" fmla="*/ 54 h 67"/>
              <a:gd name="T8" fmla="*/ 30 w 228"/>
              <a:gd name="T9" fmla="*/ 30 h 67"/>
              <a:gd name="T10" fmla="*/ 22 w 228"/>
              <a:gd name="T11" fmla="*/ 40 h 67"/>
              <a:gd name="T12" fmla="*/ 31 w 228"/>
              <a:gd name="T13" fmla="*/ 40 h 67"/>
              <a:gd name="T14" fmla="*/ 30 w 228"/>
              <a:gd name="T15" fmla="*/ 30 h 67"/>
              <a:gd name="T16" fmla="*/ 49 w 228"/>
              <a:gd name="T17" fmla="*/ 12 h 67"/>
              <a:gd name="T18" fmla="*/ 45 w 228"/>
              <a:gd name="T19" fmla="*/ 21 h 67"/>
              <a:gd name="T20" fmla="*/ 51 w 228"/>
              <a:gd name="T21" fmla="*/ 18 h 67"/>
              <a:gd name="T22" fmla="*/ 57 w 228"/>
              <a:gd name="T23" fmla="*/ 15 h 67"/>
              <a:gd name="T24" fmla="*/ 84 w 228"/>
              <a:gd name="T25" fmla="*/ 2 h 67"/>
              <a:gd name="T26" fmla="*/ 74 w 228"/>
              <a:gd name="T27" fmla="*/ 9 h 67"/>
              <a:gd name="T28" fmla="*/ 82 w 228"/>
              <a:gd name="T29" fmla="*/ 14 h 67"/>
              <a:gd name="T30" fmla="*/ 84 w 228"/>
              <a:gd name="T31" fmla="*/ 2 h 67"/>
              <a:gd name="T32" fmla="*/ 111 w 228"/>
              <a:gd name="T33" fmla="*/ 0 h 67"/>
              <a:gd name="T34" fmla="*/ 110 w 228"/>
              <a:gd name="T35" fmla="*/ 13 h 67"/>
              <a:gd name="T36" fmla="*/ 117 w 228"/>
              <a:gd name="T37" fmla="*/ 7 h 67"/>
              <a:gd name="T38" fmla="*/ 144 w 228"/>
              <a:gd name="T39" fmla="*/ 8 h 67"/>
              <a:gd name="T40" fmla="*/ 134 w 228"/>
              <a:gd name="T41" fmla="*/ 11 h 67"/>
              <a:gd name="T42" fmla="*/ 138 w 228"/>
              <a:gd name="T43" fmla="*/ 19 h 67"/>
              <a:gd name="T44" fmla="*/ 144 w 228"/>
              <a:gd name="T45" fmla="*/ 8 h 67"/>
              <a:gd name="T46" fmla="*/ 161 w 228"/>
              <a:gd name="T47" fmla="*/ 24 h 67"/>
              <a:gd name="T48" fmla="*/ 164 w 228"/>
              <a:gd name="T49" fmla="*/ 33 h 67"/>
              <a:gd name="T50" fmla="*/ 171 w 228"/>
              <a:gd name="T51" fmla="*/ 22 h 67"/>
              <a:gd name="T52" fmla="*/ 188 w 228"/>
              <a:gd name="T53" fmla="*/ 39 h 67"/>
              <a:gd name="T54" fmla="*/ 190 w 228"/>
              <a:gd name="T55" fmla="*/ 48 h 67"/>
              <a:gd name="T56" fmla="*/ 197 w 228"/>
              <a:gd name="T57" fmla="*/ 37 h 67"/>
              <a:gd name="T58" fmla="*/ 214 w 228"/>
              <a:gd name="T59" fmla="*/ 54 h 67"/>
              <a:gd name="T60" fmla="*/ 217 w 228"/>
              <a:gd name="T61" fmla="*/ 63 h 67"/>
              <a:gd name="T62" fmla="*/ 223 w 228"/>
              <a:gd name="T63" fmla="*/ 5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67">
                <a:moveTo>
                  <a:pt x="11" y="53"/>
                </a:moveTo>
                <a:cubicBezTo>
                  <a:pt x="8" y="52"/>
                  <a:pt x="4" y="53"/>
                  <a:pt x="2" y="56"/>
                </a:cubicBezTo>
                <a:cubicBezTo>
                  <a:pt x="2" y="56"/>
                  <a:pt x="2" y="56"/>
                  <a:pt x="2" y="56"/>
                </a:cubicBezTo>
                <a:cubicBezTo>
                  <a:pt x="0" y="59"/>
                  <a:pt x="1" y="63"/>
                  <a:pt x="4" y="65"/>
                </a:cubicBezTo>
                <a:cubicBezTo>
                  <a:pt x="7" y="67"/>
                  <a:pt x="11" y="66"/>
                  <a:pt x="13" y="63"/>
                </a:cubicBezTo>
                <a:cubicBezTo>
                  <a:pt x="7" y="59"/>
                  <a:pt x="7" y="59"/>
                  <a:pt x="7" y="59"/>
                </a:cubicBezTo>
                <a:cubicBezTo>
                  <a:pt x="13" y="63"/>
                  <a:pt x="13" y="63"/>
                  <a:pt x="13" y="63"/>
                </a:cubicBezTo>
                <a:cubicBezTo>
                  <a:pt x="15" y="59"/>
                  <a:pt x="14" y="55"/>
                  <a:pt x="11" y="54"/>
                </a:cubicBezTo>
                <a:cubicBezTo>
                  <a:pt x="11" y="54"/>
                  <a:pt x="11" y="54"/>
                  <a:pt x="11" y="53"/>
                </a:cubicBezTo>
                <a:close/>
                <a:moveTo>
                  <a:pt x="30" y="30"/>
                </a:moveTo>
                <a:cubicBezTo>
                  <a:pt x="27" y="28"/>
                  <a:pt x="24" y="29"/>
                  <a:pt x="22" y="31"/>
                </a:cubicBezTo>
                <a:cubicBezTo>
                  <a:pt x="20" y="33"/>
                  <a:pt x="19" y="37"/>
                  <a:pt x="22" y="40"/>
                </a:cubicBezTo>
                <a:cubicBezTo>
                  <a:pt x="24" y="43"/>
                  <a:pt x="28" y="43"/>
                  <a:pt x="31" y="40"/>
                </a:cubicBezTo>
                <a:cubicBezTo>
                  <a:pt x="31" y="40"/>
                  <a:pt x="31" y="40"/>
                  <a:pt x="31" y="40"/>
                </a:cubicBezTo>
                <a:cubicBezTo>
                  <a:pt x="34" y="37"/>
                  <a:pt x="34" y="33"/>
                  <a:pt x="31" y="31"/>
                </a:cubicBezTo>
                <a:cubicBezTo>
                  <a:pt x="31" y="30"/>
                  <a:pt x="30" y="30"/>
                  <a:pt x="30" y="30"/>
                </a:cubicBezTo>
                <a:close/>
                <a:moveTo>
                  <a:pt x="55" y="12"/>
                </a:moveTo>
                <a:cubicBezTo>
                  <a:pt x="53" y="11"/>
                  <a:pt x="51" y="11"/>
                  <a:pt x="49" y="12"/>
                </a:cubicBezTo>
                <a:cubicBezTo>
                  <a:pt x="49" y="12"/>
                  <a:pt x="48" y="12"/>
                  <a:pt x="48" y="12"/>
                </a:cubicBezTo>
                <a:cubicBezTo>
                  <a:pt x="45" y="14"/>
                  <a:pt x="44" y="18"/>
                  <a:pt x="45" y="21"/>
                </a:cubicBezTo>
                <a:cubicBezTo>
                  <a:pt x="47" y="24"/>
                  <a:pt x="51" y="26"/>
                  <a:pt x="54" y="24"/>
                </a:cubicBezTo>
                <a:cubicBezTo>
                  <a:pt x="51" y="18"/>
                  <a:pt x="51" y="18"/>
                  <a:pt x="51" y="18"/>
                </a:cubicBezTo>
                <a:cubicBezTo>
                  <a:pt x="54" y="24"/>
                  <a:pt x="54" y="24"/>
                  <a:pt x="54" y="24"/>
                </a:cubicBezTo>
                <a:cubicBezTo>
                  <a:pt x="58" y="22"/>
                  <a:pt x="59" y="18"/>
                  <a:pt x="57" y="15"/>
                </a:cubicBezTo>
                <a:cubicBezTo>
                  <a:pt x="57" y="14"/>
                  <a:pt x="56" y="13"/>
                  <a:pt x="55" y="12"/>
                </a:cubicBezTo>
                <a:close/>
                <a:moveTo>
                  <a:pt x="84" y="2"/>
                </a:moveTo>
                <a:cubicBezTo>
                  <a:pt x="82" y="2"/>
                  <a:pt x="81" y="1"/>
                  <a:pt x="79" y="2"/>
                </a:cubicBezTo>
                <a:cubicBezTo>
                  <a:pt x="75" y="2"/>
                  <a:pt x="73" y="6"/>
                  <a:pt x="74" y="9"/>
                </a:cubicBezTo>
                <a:cubicBezTo>
                  <a:pt x="74" y="13"/>
                  <a:pt x="78" y="15"/>
                  <a:pt x="81" y="14"/>
                </a:cubicBezTo>
                <a:cubicBezTo>
                  <a:pt x="81" y="14"/>
                  <a:pt x="82" y="14"/>
                  <a:pt x="82" y="14"/>
                </a:cubicBezTo>
                <a:cubicBezTo>
                  <a:pt x="85" y="14"/>
                  <a:pt x="87" y="10"/>
                  <a:pt x="87" y="7"/>
                </a:cubicBezTo>
                <a:cubicBezTo>
                  <a:pt x="86" y="5"/>
                  <a:pt x="85" y="3"/>
                  <a:pt x="84" y="2"/>
                </a:cubicBezTo>
                <a:close/>
                <a:moveTo>
                  <a:pt x="114" y="1"/>
                </a:moveTo>
                <a:cubicBezTo>
                  <a:pt x="113" y="0"/>
                  <a:pt x="112" y="0"/>
                  <a:pt x="111" y="0"/>
                </a:cubicBezTo>
                <a:cubicBezTo>
                  <a:pt x="108" y="0"/>
                  <a:pt x="104" y="2"/>
                  <a:pt x="104" y="6"/>
                </a:cubicBezTo>
                <a:cubicBezTo>
                  <a:pt x="104" y="9"/>
                  <a:pt x="106" y="12"/>
                  <a:pt x="110" y="13"/>
                </a:cubicBezTo>
                <a:cubicBezTo>
                  <a:pt x="110" y="13"/>
                  <a:pt x="110" y="13"/>
                  <a:pt x="110" y="13"/>
                </a:cubicBezTo>
                <a:cubicBezTo>
                  <a:pt x="114" y="13"/>
                  <a:pt x="117" y="10"/>
                  <a:pt x="117" y="7"/>
                </a:cubicBezTo>
                <a:cubicBezTo>
                  <a:pt x="117" y="4"/>
                  <a:pt x="116" y="2"/>
                  <a:pt x="114" y="1"/>
                </a:cubicBezTo>
                <a:close/>
                <a:moveTo>
                  <a:pt x="144" y="8"/>
                </a:moveTo>
                <a:cubicBezTo>
                  <a:pt x="143" y="7"/>
                  <a:pt x="143" y="7"/>
                  <a:pt x="142" y="7"/>
                </a:cubicBezTo>
                <a:cubicBezTo>
                  <a:pt x="139" y="6"/>
                  <a:pt x="135" y="7"/>
                  <a:pt x="134" y="11"/>
                </a:cubicBezTo>
                <a:cubicBezTo>
                  <a:pt x="133" y="14"/>
                  <a:pt x="134" y="18"/>
                  <a:pt x="137" y="19"/>
                </a:cubicBezTo>
                <a:cubicBezTo>
                  <a:pt x="138" y="19"/>
                  <a:pt x="138" y="19"/>
                  <a:pt x="138" y="19"/>
                </a:cubicBezTo>
                <a:cubicBezTo>
                  <a:pt x="141" y="21"/>
                  <a:pt x="145" y="19"/>
                  <a:pt x="146" y="15"/>
                </a:cubicBezTo>
                <a:cubicBezTo>
                  <a:pt x="147" y="12"/>
                  <a:pt x="146" y="9"/>
                  <a:pt x="144" y="8"/>
                </a:cubicBezTo>
                <a:close/>
                <a:moveTo>
                  <a:pt x="171" y="22"/>
                </a:moveTo>
                <a:cubicBezTo>
                  <a:pt x="167" y="20"/>
                  <a:pt x="163" y="21"/>
                  <a:pt x="161" y="24"/>
                </a:cubicBezTo>
                <a:cubicBezTo>
                  <a:pt x="160" y="27"/>
                  <a:pt x="161" y="31"/>
                  <a:pt x="164" y="33"/>
                </a:cubicBezTo>
                <a:cubicBezTo>
                  <a:pt x="164" y="33"/>
                  <a:pt x="164" y="33"/>
                  <a:pt x="164" y="33"/>
                </a:cubicBezTo>
                <a:cubicBezTo>
                  <a:pt x="167" y="35"/>
                  <a:pt x="171" y="34"/>
                  <a:pt x="173" y="30"/>
                </a:cubicBezTo>
                <a:cubicBezTo>
                  <a:pt x="175" y="27"/>
                  <a:pt x="174" y="23"/>
                  <a:pt x="171" y="22"/>
                </a:cubicBezTo>
                <a:close/>
                <a:moveTo>
                  <a:pt x="197" y="37"/>
                </a:moveTo>
                <a:cubicBezTo>
                  <a:pt x="194" y="35"/>
                  <a:pt x="190" y="36"/>
                  <a:pt x="188" y="39"/>
                </a:cubicBezTo>
                <a:cubicBezTo>
                  <a:pt x="186" y="42"/>
                  <a:pt x="187" y="46"/>
                  <a:pt x="190" y="48"/>
                </a:cubicBezTo>
                <a:cubicBezTo>
                  <a:pt x="190" y="48"/>
                  <a:pt x="190" y="48"/>
                  <a:pt x="190" y="48"/>
                </a:cubicBezTo>
                <a:cubicBezTo>
                  <a:pt x="194" y="50"/>
                  <a:pt x="198" y="49"/>
                  <a:pt x="199" y="46"/>
                </a:cubicBezTo>
                <a:cubicBezTo>
                  <a:pt x="201" y="43"/>
                  <a:pt x="200" y="39"/>
                  <a:pt x="197" y="37"/>
                </a:cubicBezTo>
                <a:close/>
                <a:moveTo>
                  <a:pt x="223" y="52"/>
                </a:moveTo>
                <a:cubicBezTo>
                  <a:pt x="220" y="50"/>
                  <a:pt x="216" y="51"/>
                  <a:pt x="214" y="54"/>
                </a:cubicBezTo>
                <a:cubicBezTo>
                  <a:pt x="212" y="57"/>
                  <a:pt x="213" y="61"/>
                  <a:pt x="216" y="63"/>
                </a:cubicBezTo>
                <a:cubicBezTo>
                  <a:pt x="217" y="63"/>
                  <a:pt x="217" y="63"/>
                  <a:pt x="217" y="63"/>
                </a:cubicBezTo>
                <a:cubicBezTo>
                  <a:pt x="220" y="65"/>
                  <a:pt x="224" y="64"/>
                  <a:pt x="226" y="61"/>
                </a:cubicBezTo>
                <a:cubicBezTo>
                  <a:pt x="228" y="58"/>
                  <a:pt x="226" y="54"/>
                  <a:pt x="223" y="52"/>
                </a:cubicBezTo>
                <a:close/>
              </a:path>
            </a:pathLst>
          </a:custGeom>
          <a:solidFill>
            <a:srgbClr val="000000"/>
          </a:solidFill>
          <a:ln>
            <a:noFill/>
            <a:prstDash val="sysDot"/>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120">
            <a:extLst>
              <a:ext uri="{FF2B5EF4-FFF2-40B4-BE49-F238E27FC236}">
                <a16:creationId xmlns:a16="http://schemas.microsoft.com/office/drawing/2014/main" id="{14FA224E-7644-49E7-84AC-9976774C1742}"/>
              </a:ext>
            </a:extLst>
          </p:cNvPr>
          <p:cNvSpPr>
            <a:spLocks/>
          </p:cNvSpPr>
          <p:nvPr/>
        </p:nvSpPr>
        <p:spPr bwMode="auto">
          <a:xfrm>
            <a:off x="8212138" y="3689350"/>
            <a:ext cx="149225" cy="117475"/>
          </a:xfrm>
          <a:custGeom>
            <a:avLst/>
            <a:gdLst>
              <a:gd name="T0" fmla="*/ 0 w 94"/>
              <a:gd name="T1" fmla="*/ 0 h 74"/>
              <a:gd name="T2" fmla="*/ 21 w 94"/>
              <a:gd name="T3" fmla="*/ 74 h 74"/>
              <a:gd name="T4" fmla="*/ 94 w 94"/>
              <a:gd name="T5" fmla="*/ 54 h 74"/>
              <a:gd name="T6" fmla="*/ 0 w 94"/>
              <a:gd name="T7" fmla="*/ 0 h 74"/>
              <a:gd name="T8" fmla="*/ 0 w 94"/>
              <a:gd name="T9" fmla="*/ 0 h 74"/>
            </a:gdLst>
            <a:ahLst/>
            <a:cxnLst>
              <a:cxn ang="0">
                <a:pos x="T0" y="T1"/>
              </a:cxn>
              <a:cxn ang="0">
                <a:pos x="T2" y="T3"/>
              </a:cxn>
              <a:cxn ang="0">
                <a:pos x="T4" y="T5"/>
              </a:cxn>
              <a:cxn ang="0">
                <a:pos x="T6" y="T7"/>
              </a:cxn>
              <a:cxn ang="0">
                <a:pos x="T8" y="T9"/>
              </a:cxn>
            </a:cxnLst>
            <a:rect l="0" t="0" r="r" b="b"/>
            <a:pathLst>
              <a:path w="94" h="74">
                <a:moveTo>
                  <a:pt x="0" y="0"/>
                </a:moveTo>
                <a:lnTo>
                  <a:pt x="21" y="74"/>
                </a:lnTo>
                <a:lnTo>
                  <a:pt x="94" y="54"/>
                </a:lnTo>
                <a:lnTo>
                  <a:pt x="0" y="0"/>
                </a:lnTo>
                <a:lnTo>
                  <a:pt x="0"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2" name="Group 1"/>
          <p:cNvGrpSpPr/>
          <p:nvPr/>
        </p:nvGrpSpPr>
        <p:grpSpPr>
          <a:xfrm>
            <a:off x="3556000" y="3838575"/>
            <a:ext cx="747713" cy="309562"/>
            <a:chOff x="3556000" y="3838575"/>
            <a:chExt cx="747713" cy="309562"/>
          </a:xfrm>
        </p:grpSpPr>
        <p:sp>
          <p:nvSpPr>
            <p:cNvPr id="503" name="Freeform 524">
              <a:extLst>
                <a:ext uri="{FF2B5EF4-FFF2-40B4-BE49-F238E27FC236}">
                  <a16:creationId xmlns:a16="http://schemas.microsoft.com/office/drawing/2014/main" id="{F1D4F4B5-7A82-45CE-A5E8-FC3BE7EE95BE}"/>
                </a:ext>
              </a:extLst>
            </p:cNvPr>
            <p:cNvSpPr>
              <a:spLocks noEditPoints="1"/>
            </p:cNvSpPr>
            <p:nvPr/>
          </p:nvSpPr>
          <p:spPr bwMode="auto">
            <a:xfrm>
              <a:off x="3556000" y="3838575"/>
              <a:ext cx="665163" cy="198438"/>
            </a:xfrm>
            <a:custGeom>
              <a:avLst/>
              <a:gdLst>
                <a:gd name="T0" fmla="*/ 226 w 228"/>
                <a:gd name="T1" fmla="*/ 56 h 68"/>
                <a:gd name="T2" fmla="*/ 224 w 228"/>
                <a:gd name="T3" fmla="*/ 66 h 68"/>
                <a:gd name="T4" fmla="*/ 220 w 228"/>
                <a:gd name="T5" fmla="*/ 60 h 68"/>
                <a:gd name="T6" fmla="*/ 217 w 228"/>
                <a:gd name="T7" fmla="*/ 54 h 68"/>
                <a:gd name="T8" fmla="*/ 198 w 228"/>
                <a:gd name="T9" fmla="*/ 30 h 68"/>
                <a:gd name="T10" fmla="*/ 206 w 228"/>
                <a:gd name="T11" fmla="*/ 41 h 68"/>
                <a:gd name="T12" fmla="*/ 196 w 228"/>
                <a:gd name="T13" fmla="*/ 41 h 68"/>
                <a:gd name="T14" fmla="*/ 198 w 228"/>
                <a:gd name="T15" fmla="*/ 30 h 68"/>
                <a:gd name="T16" fmla="*/ 179 w 228"/>
                <a:gd name="T17" fmla="*/ 13 h 68"/>
                <a:gd name="T18" fmla="*/ 182 w 228"/>
                <a:gd name="T19" fmla="*/ 22 h 68"/>
                <a:gd name="T20" fmla="*/ 177 w 228"/>
                <a:gd name="T21" fmla="*/ 19 h 68"/>
                <a:gd name="T22" fmla="*/ 170 w 228"/>
                <a:gd name="T23" fmla="*/ 16 h 68"/>
                <a:gd name="T24" fmla="*/ 144 w 228"/>
                <a:gd name="T25" fmla="*/ 3 h 68"/>
                <a:gd name="T26" fmla="*/ 154 w 228"/>
                <a:gd name="T27" fmla="*/ 10 h 68"/>
                <a:gd name="T28" fmla="*/ 146 w 228"/>
                <a:gd name="T29" fmla="*/ 15 h 68"/>
                <a:gd name="T30" fmla="*/ 144 w 228"/>
                <a:gd name="T31" fmla="*/ 3 h 68"/>
                <a:gd name="T32" fmla="*/ 117 w 228"/>
                <a:gd name="T33" fmla="*/ 0 h 68"/>
                <a:gd name="T34" fmla="*/ 118 w 228"/>
                <a:gd name="T35" fmla="*/ 13 h 68"/>
                <a:gd name="T36" fmla="*/ 111 w 228"/>
                <a:gd name="T37" fmla="*/ 7 h 68"/>
                <a:gd name="T38" fmla="*/ 84 w 228"/>
                <a:gd name="T39" fmla="*/ 8 h 68"/>
                <a:gd name="T40" fmla="*/ 94 w 228"/>
                <a:gd name="T41" fmla="*/ 11 h 68"/>
                <a:gd name="T42" fmla="*/ 90 w 228"/>
                <a:gd name="T43" fmla="*/ 20 h 68"/>
                <a:gd name="T44" fmla="*/ 84 w 228"/>
                <a:gd name="T45" fmla="*/ 8 h 68"/>
                <a:gd name="T46" fmla="*/ 66 w 228"/>
                <a:gd name="T47" fmla="*/ 25 h 68"/>
                <a:gd name="T48" fmla="*/ 64 w 228"/>
                <a:gd name="T49" fmla="*/ 34 h 68"/>
                <a:gd name="T50" fmla="*/ 57 w 228"/>
                <a:gd name="T51" fmla="*/ 22 h 68"/>
                <a:gd name="T52" fmla="*/ 40 w 228"/>
                <a:gd name="T53" fmla="*/ 40 h 68"/>
                <a:gd name="T54" fmla="*/ 37 w 228"/>
                <a:gd name="T55" fmla="*/ 49 h 68"/>
                <a:gd name="T56" fmla="*/ 31 w 228"/>
                <a:gd name="T57" fmla="*/ 37 h 68"/>
                <a:gd name="T58" fmla="*/ 13 w 228"/>
                <a:gd name="T59" fmla="*/ 55 h 68"/>
                <a:gd name="T60" fmla="*/ 11 w 228"/>
                <a:gd name="T61" fmla="*/ 64 h 68"/>
                <a:gd name="T62" fmla="*/ 4 w 228"/>
                <a:gd name="T63"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68">
                  <a:moveTo>
                    <a:pt x="217" y="54"/>
                  </a:moveTo>
                  <a:cubicBezTo>
                    <a:pt x="220" y="52"/>
                    <a:pt x="224" y="53"/>
                    <a:pt x="226" y="56"/>
                  </a:cubicBezTo>
                  <a:cubicBezTo>
                    <a:pt x="226" y="56"/>
                    <a:pt x="226" y="57"/>
                    <a:pt x="226" y="57"/>
                  </a:cubicBezTo>
                  <a:cubicBezTo>
                    <a:pt x="228" y="60"/>
                    <a:pt x="227" y="64"/>
                    <a:pt x="224" y="66"/>
                  </a:cubicBezTo>
                  <a:cubicBezTo>
                    <a:pt x="220" y="68"/>
                    <a:pt x="216" y="66"/>
                    <a:pt x="215" y="63"/>
                  </a:cubicBezTo>
                  <a:cubicBezTo>
                    <a:pt x="220" y="60"/>
                    <a:pt x="220" y="60"/>
                    <a:pt x="220" y="60"/>
                  </a:cubicBezTo>
                  <a:cubicBezTo>
                    <a:pt x="215" y="63"/>
                    <a:pt x="215" y="63"/>
                    <a:pt x="215" y="63"/>
                  </a:cubicBezTo>
                  <a:cubicBezTo>
                    <a:pt x="213" y="60"/>
                    <a:pt x="214" y="56"/>
                    <a:pt x="217" y="54"/>
                  </a:cubicBezTo>
                  <a:cubicBezTo>
                    <a:pt x="217" y="54"/>
                    <a:pt x="217" y="54"/>
                    <a:pt x="217" y="54"/>
                  </a:cubicBezTo>
                  <a:close/>
                  <a:moveTo>
                    <a:pt x="198" y="30"/>
                  </a:moveTo>
                  <a:cubicBezTo>
                    <a:pt x="200" y="29"/>
                    <a:pt x="204" y="29"/>
                    <a:pt x="206" y="31"/>
                  </a:cubicBezTo>
                  <a:cubicBezTo>
                    <a:pt x="208" y="34"/>
                    <a:pt x="208" y="38"/>
                    <a:pt x="206" y="41"/>
                  </a:cubicBezTo>
                  <a:cubicBezTo>
                    <a:pt x="203" y="43"/>
                    <a:pt x="200" y="44"/>
                    <a:pt x="197" y="41"/>
                  </a:cubicBezTo>
                  <a:cubicBezTo>
                    <a:pt x="197" y="41"/>
                    <a:pt x="197" y="41"/>
                    <a:pt x="196" y="41"/>
                  </a:cubicBezTo>
                  <a:cubicBezTo>
                    <a:pt x="194" y="38"/>
                    <a:pt x="194" y="34"/>
                    <a:pt x="196" y="31"/>
                  </a:cubicBezTo>
                  <a:cubicBezTo>
                    <a:pt x="197" y="31"/>
                    <a:pt x="197" y="31"/>
                    <a:pt x="198" y="30"/>
                  </a:cubicBezTo>
                  <a:close/>
                  <a:moveTo>
                    <a:pt x="173" y="13"/>
                  </a:moveTo>
                  <a:cubicBezTo>
                    <a:pt x="175" y="12"/>
                    <a:pt x="177" y="12"/>
                    <a:pt x="179" y="13"/>
                  </a:cubicBezTo>
                  <a:cubicBezTo>
                    <a:pt x="179" y="13"/>
                    <a:pt x="180" y="13"/>
                    <a:pt x="180" y="13"/>
                  </a:cubicBezTo>
                  <a:cubicBezTo>
                    <a:pt x="183" y="15"/>
                    <a:pt x="184" y="18"/>
                    <a:pt x="182" y="22"/>
                  </a:cubicBezTo>
                  <a:cubicBezTo>
                    <a:pt x="181" y="25"/>
                    <a:pt x="177" y="26"/>
                    <a:pt x="174" y="25"/>
                  </a:cubicBezTo>
                  <a:cubicBezTo>
                    <a:pt x="177" y="19"/>
                    <a:pt x="177" y="19"/>
                    <a:pt x="177" y="19"/>
                  </a:cubicBezTo>
                  <a:cubicBezTo>
                    <a:pt x="173" y="24"/>
                    <a:pt x="173" y="24"/>
                    <a:pt x="173" y="24"/>
                  </a:cubicBezTo>
                  <a:cubicBezTo>
                    <a:pt x="170" y="23"/>
                    <a:pt x="169" y="19"/>
                    <a:pt x="170" y="16"/>
                  </a:cubicBezTo>
                  <a:cubicBezTo>
                    <a:pt x="171" y="14"/>
                    <a:pt x="172" y="13"/>
                    <a:pt x="173" y="13"/>
                  </a:cubicBezTo>
                  <a:close/>
                  <a:moveTo>
                    <a:pt x="144" y="3"/>
                  </a:moveTo>
                  <a:cubicBezTo>
                    <a:pt x="146" y="2"/>
                    <a:pt x="147" y="2"/>
                    <a:pt x="149" y="2"/>
                  </a:cubicBezTo>
                  <a:cubicBezTo>
                    <a:pt x="152" y="3"/>
                    <a:pt x="155" y="6"/>
                    <a:pt x="154" y="10"/>
                  </a:cubicBezTo>
                  <a:cubicBezTo>
                    <a:pt x="153" y="13"/>
                    <a:pt x="150" y="16"/>
                    <a:pt x="147" y="15"/>
                  </a:cubicBezTo>
                  <a:cubicBezTo>
                    <a:pt x="147" y="15"/>
                    <a:pt x="146" y="15"/>
                    <a:pt x="146" y="15"/>
                  </a:cubicBezTo>
                  <a:cubicBezTo>
                    <a:pt x="143" y="14"/>
                    <a:pt x="140" y="11"/>
                    <a:pt x="141" y="7"/>
                  </a:cubicBezTo>
                  <a:cubicBezTo>
                    <a:pt x="141" y="5"/>
                    <a:pt x="143" y="4"/>
                    <a:pt x="144" y="3"/>
                  </a:cubicBezTo>
                  <a:close/>
                  <a:moveTo>
                    <a:pt x="114" y="1"/>
                  </a:moveTo>
                  <a:cubicBezTo>
                    <a:pt x="115" y="1"/>
                    <a:pt x="116" y="1"/>
                    <a:pt x="117" y="0"/>
                  </a:cubicBezTo>
                  <a:cubicBezTo>
                    <a:pt x="120" y="0"/>
                    <a:pt x="124" y="3"/>
                    <a:pt x="124" y="6"/>
                  </a:cubicBezTo>
                  <a:cubicBezTo>
                    <a:pt x="124" y="10"/>
                    <a:pt x="122" y="13"/>
                    <a:pt x="118" y="13"/>
                  </a:cubicBezTo>
                  <a:cubicBezTo>
                    <a:pt x="118" y="13"/>
                    <a:pt x="118" y="13"/>
                    <a:pt x="118" y="13"/>
                  </a:cubicBezTo>
                  <a:cubicBezTo>
                    <a:pt x="114" y="14"/>
                    <a:pt x="111" y="11"/>
                    <a:pt x="111" y="7"/>
                  </a:cubicBezTo>
                  <a:cubicBezTo>
                    <a:pt x="110" y="5"/>
                    <a:pt x="112" y="2"/>
                    <a:pt x="114" y="1"/>
                  </a:cubicBezTo>
                  <a:close/>
                  <a:moveTo>
                    <a:pt x="84" y="8"/>
                  </a:moveTo>
                  <a:cubicBezTo>
                    <a:pt x="85" y="8"/>
                    <a:pt x="85" y="8"/>
                    <a:pt x="85" y="8"/>
                  </a:cubicBezTo>
                  <a:cubicBezTo>
                    <a:pt x="89" y="6"/>
                    <a:pt x="93" y="8"/>
                    <a:pt x="94" y="11"/>
                  </a:cubicBezTo>
                  <a:cubicBezTo>
                    <a:pt x="95" y="15"/>
                    <a:pt x="94" y="18"/>
                    <a:pt x="90" y="20"/>
                  </a:cubicBezTo>
                  <a:cubicBezTo>
                    <a:pt x="90" y="20"/>
                    <a:pt x="90" y="20"/>
                    <a:pt x="90" y="20"/>
                  </a:cubicBezTo>
                  <a:cubicBezTo>
                    <a:pt x="86" y="21"/>
                    <a:pt x="83" y="19"/>
                    <a:pt x="81" y="16"/>
                  </a:cubicBezTo>
                  <a:cubicBezTo>
                    <a:pt x="80" y="13"/>
                    <a:pt x="82" y="10"/>
                    <a:pt x="84" y="8"/>
                  </a:cubicBezTo>
                  <a:close/>
                  <a:moveTo>
                    <a:pt x="57" y="22"/>
                  </a:moveTo>
                  <a:cubicBezTo>
                    <a:pt x="60" y="20"/>
                    <a:pt x="65" y="21"/>
                    <a:pt x="66" y="25"/>
                  </a:cubicBezTo>
                  <a:cubicBezTo>
                    <a:pt x="68" y="28"/>
                    <a:pt x="67" y="31"/>
                    <a:pt x="64" y="33"/>
                  </a:cubicBezTo>
                  <a:cubicBezTo>
                    <a:pt x="64" y="34"/>
                    <a:pt x="64" y="34"/>
                    <a:pt x="64" y="34"/>
                  </a:cubicBezTo>
                  <a:cubicBezTo>
                    <a:pt x="61" y="35"/>
                    <a:pt x="57" y="34"/>
                    <a:pt x="55" y="31"/>
                  </a:cubicBezTo>
                  <a:cubicBezTo>
                    <a:pt x="53" y="28"/>
                    <a:pt x="54" y="24"/>
                    <a:pt x="57" y="22"/>
                  </a:cubicBezTo>
                  <a:close/>
                  <a:moveTo>
                    <a:pt x="31" y="37"/>
                  </a:moveTo>
                  <a:cubicBezTo>
                    <a:pt x="34" y="36"/>
                    <a:pt x="38" y="37"/>
                    <a:pt x="40" y="40"/>
                  </a:cubicBezTo>
                  <a:cubicBezTo>
                    <a:pt x="42" y="43"/>
                    <a:pt x="41" y="47"/>
                    <a:pt x="38" y="49"/>
                  </a:cubicBezTo>
                  <a:cubicBezTo>
                    <a:pt x="37" y="49"/>
                    <a:pt x="37" y="49"/>
                    <a:pt x="37" y="49"/>
                  </a:cubicBezTo>
                  <a:cubicBezTo>
                    <a:pt x="34" y="51"/>
                    <a:pt x="30" y="49"/>
                    <a:pt x="28" y="46"/>
                  </a:cubicBezTo>
                  <a:cubicBezTo>
                    <a:pt x="27" y="43"/>
                    <a:pt x="28" y="39"/>
                    <a:pt x="31" y="37"/>
                  </a:cubicBezTo>
                  <a:close/>
                  <a:moveTo>
                    <a:pt x="4" y="53"/>
                  </a:moveTo>
                  <a:cubicBezTo>
                    <a:pt x="7" y="51"/>
                    <a:pt x="12" y="52"/>
                    <a:pt x="13" y="55"/>
                  </a:cubicBezTo>
                  <a:cubicBezTo>
                    <a:pt x="15" y="58"/>
                    <a:pt x="14" y="62"/>
                    <a:pt x="11" y="64"/>
                  </a:cubicBezTo>
                  <a:cubicBezTo>
                    <a:pt x="11" y="64"/>
                    <a:pt x="11" y="64"/>
                    <a:pt x="11" y="64"/>
                  </a:cubicBezTo>
                  <a:cubicBezTo>
                    <a:pt x="8" y="66"/>
                    <a:pt x="4" y="65"/>
                    <a:pt x="2" y="62"/>
                  </a:cubicBezTo>
                  <a:cubicBezTo>
                    <a:pt x="0" y="59"/>
                    <a:pt x="1" y="55"/>
                    <a:pt x="4" y="53"/>
                  </a:cubicBezTo>
                  <a:close/>
                </a:path>
              </a:pathLst>
            </a:custGeom>
            <a:solidFill>
              <a:srgbClr val="000000"/>
            </a:solidFill>
            <a:ln>
              <a:noFill/>
              <a:prstDash val="sysDot"/>
            </a:ln>
          </p:spPr>
          <p:txBody>
            <a:bodyPr vert="horz" wrap="square" lIns="91440" tIns="45720" rIns="91440" bIns="45720" numCol="1" anchor="t" anchorCtr="0" compatLnSpc="1">
              <a:prstTxWarp prst="textNoShape">
                <a:avLst/>
              </a:prstTxWarp>
            </a:bodyPr>
            <a:lstStyle/>
            <a:p>
              <a:endParaRPr lang="zh-CN" altLang="en-US"/>
            </a:p>
          </p:txBody>
        </p:sp>
        <p:sp>
          <p:nvSpPr>
            <p:cNvPr id="504" name="Freeform 525">
              <a:extLst>
                <a:ext uri="{FF2B5EF4-FFF2-40B4-BE49-F238E27FC236}">
                  <a16:creationId xmlns:a16="http://schemas.microsoft.com/office/drawing/2014/main" id="{9352F8DC-D085-464D-9ACB-833D31C1CC4D}"/>
                </a:ext>
              </a:extLst>
            </p:cNvPr>
            <p:cNvSpPr>
              <a:spLocks/>
            </p:cNvSpPr>
            <p:nvPr/>
          </p:nvSpPr>
          <p:spPr bwMode="auto">
            <a:xfrm>
              <a:off x="4157663" y="4030662"/>
              <a:ext cx="146050" cy="117475"/>
            </a:xfrm>
            <a:custGeom>
              <a:avLst/>
              <a:gdLst>
                <a:gd name="T0" fmla="*/ 92 w 92"/>
                <a:gd name="T1" fmla="*/ 0 h 74"/>
                <a:gd name="T2" fmla="*/ 74 w 92"/>
                <a:gd name="T3" fmla="*/ 74 h 74"/>
                <a:gd name="T4" fmla="*/ 0 w 92"/>
                <a:gd name="T5" fmla="*/ 56 h 74"/>
                <a:gd name="T6" fmla="*/ 92 w 92"/>
                <a:gd name="T7" fmla="*/ 0 h 74"/>
                <a:gd name="T8" fmla="*/ 92 w 92"/>
                <a:gd name="T9" fmla="*/ 0 h 74"/>
              </a:gdLst>
              <a:ahLst/>
              <a:cxnLst>
                <a:cxn ang="0">
                  <a:pos x="T0" y="T1"/>
                </a:cxn>
                <a:cxn ang="0">
                  <a:pos x="T2" y="T3"/>
                </a:cxn>
                <a:cxn ang="0">
                  <a:pos x="T4" y="T5"/>
                </a:cxn>
                <a:cxn ang="0">
                  <a:pos x="T6" y="T7"/>
                </a:cxn>
                <a:cxn ang="0">
                  <a:pos x="T8" y="T9"/>
                </a:cxn>
              </a:cxnLst>
              <a:rect l="0" t="0" r="r" b="b"/>
              <a:pathLst>
                <a:path w="92" h="74">
                  <a:moveTo>
                    <a:pt x="92" y="0"/>
                  </a:moveTo>
                  <a:lnTo>
                    <a:pt x="74" y="74"/>
                  </a:lnTo>
                  <a:lnTo>
                    <a:pt x="0" y="56"/>
                  </a:lnTo>
                  <a:lnTo>
                    <a:pt x="92" y="0"/>
                  </a:lnTo>
                  <a:lnTo>
                    <a:pt x="92"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grpSp>
      <p:sp>
        <p:nvSpPr>
          <p:cNvPr id="4" name="文本框 3"/>
          <p:cNvSpPr txBox="1"/>
          <p:nvPr/>
        </p:nvSpPr>
        <p:spPr>
          <a:xfrm>
            <a:off x="3030537" y="2176236"/>
            <a:ext cx="1631951" cy="600164"/>
          </a:xfrm>
          <a:prstGeom prst="rect">
            <a:avLst/>
          </a:prstGeom>
          <a:noFill/>
        </p:spPr>
        <p:txBody>
          <a:bodyPr wrap="square" lIns="0" tIns="0" rIns="0" bIns="0" rtlCol="0">
            <a:spAutoFit/>
          </a:bodyPr>
          <a:lstStyle/>
          <a:p>
            <a:pPr marL="203200" indent="-203200">
              <a:buSzPct val="100000"/>
              <a:buFont typeface="Arial"/>
              <a:buChar char="•"/>
            </a:pPr>
            <a:r>
              <a:rPr lang="en-US" altLang="zh-CN" sz="1300" dirty="0"/>
              <a:t>This is dummy text it is not here to be read.</a:t>
            </a:r>
            <a:endParaRPr lang="en-US" sz="1300" dirty="0"/>
          </a:p>
        </p:txBody>
      </p:sp>
      <p:sp>
        <p:nvSpPr>
          <p:cNvPr id="506" name="文本框 505"/>
          <p:cNvSpPr txBox="1"/>
          <p:nvPr/>
        </p:nvSpPr>
        <p:spPr>
          <a:xfrm>
            <a:off x="1792208" y="4228306"/>
            <a:ext cx="1631951" cy="600164"/>
          </a:xfrm>
          <a:prstGeom prst="rect">
            <a:avLst/>
          </a:prstGeom>
          <a:noFill/>
        </p:spPr>
        <p:txBody>
          <a:bodyPr wrap="square" lIns="0" tIns="0" rIns="0" bIns="0" rtlCol="0">
            <a:spAutoFit/>
          </a:bodyPr>
          <a:lstStyle/>
          <a:p>
            <a:pPr marL="203200" indent="-203200">
              <a:buSzPct val="100000"/>
              <a:buFont typeface="Arial"/>
              <a:buChar char="•"/>
            </a:pPr>
            <a:r>
              <a:rPr lang="en-US" altLang="zh-CN" sz="1300" dirty="0"/>
              <a:t>This is dummy text it is not here to be read.</a:t>
            </a:r>
            <a:endParaRPr lang="en-US" sz="1300" dirty="0"/>
          </a:p>
        </p:txBody>
      </p:sp>
      <p:sp>
        <p:nvSpPr>
          <p:cNvPr id="507" name="文本框 506"/>
          <p:cNvSpPr txBox="1"/>
          <p:nvPr/>
        </p:nvSpPr>
        <p:spPr>
          <a:xfrm>
            <a:off x="2844759" y="5663405"/>
            <a:ext cx="1631951" cy="600164"/>
          </a:xfrm>
          <a:prstGeom prst="rect">
            <a:avLst/>
          </a:prstGeom>
          <a:noFill/>
        </p:spPr>
        <p:txBody>
          <a:bodyPr wrap="square" lIns="0" tIns="0" rIns="0" bIns="0" rtlCol="0">
            <a:spAutoFit/>
          </a:bodyPr>
          <a:lstStyle/>
          <a:p>
            <a:pPr marL="203200" indent="-203200">
              <a:buSzPct val="100000"/>
              <a:buFont typeface="Arial"/>
              <a:buChar char="•"/>
            </a:pPr>
            <a:r>
              <a:rPr lang="en-US" altLang="zh-CN" sz="1300" dirty="0"/>
              <a:t>This is dummy text it is not here to be read.</a:t>
            </a:r>
            <a:endParaRPr lang="en-US" sz="1300" dirty="0"/>
          </a:p>
        </p:txBody>
      </p:sp>
      <p:sp>
        <p:nvSpPr>
          <p:cNvPr id="508" name="文本框 507"/>
          <p:cNvSpPr txBox="1"/>
          <p:nvPr/>
        </p:nvSpPr>
        <p:spPr>
          <a:xfrm>
            <a:off x="8628817" y="4082037"/>
            <a:ext cx="1631951" cy="600164"/>
          </a:xfrm>
          <a:prstGeom prst="rect">
            <a:avLst/>
          </a:prstGeom>
          <a:noFill/>
        </p:spPr>
        <p:txBody>
          <a:bodyPr wrap="square" lIns="0" tIns="0" rIns="0" bIns="0" rtlCol="0">
            <a:spAutoFit/>
          </a:bodyPr>
          <a:lstStyle/>
          <a:p>
            <a:pPr marL="203200" indent="-203200">
              <a:buSzPct val="100000"/>
              <a:buFont typeface="Arial"/>
              <a:buChar char="•"/>
            </a:pPr>
            <a:r>
              <a:rPr lang="en-US" altLang="zh-CN" sz="1300" dirty="0"/>
              <a:t>This is dummy text it is not here to be read.</a:t>
            </a:r>
            <a:endParaRPr lang="en-US" sz="1300" dirty="0"/>
          </a:p>
        </p:txBody>
      </p:sp>
      <p:sp>
        <p:nvSpPr>
          <p:cNvPr id="5" name="椭圆 4"/>
          <p:cNvSpPr/>
          <p:nvPr/>
        </p:nvSpPr>
        <p:spPr bwMode="gray">
          <a:xfrm>
            <a:off x="5237057" y="2396965"/>
            <a:ext cx="611556" cy="611556"/>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13" name="椭圆 512"/>
          <p:cNvSpPr/>
          <p:nvPr/>
        </p:nvSpPr>
        <p:spPr bwMode="gray">
          <a:xfrm>
            <a:off x="4281978" y="4134181"/>
            <a:ext cx="611556" cy="611556"/>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14" name="椭圆 513"/>
          <p:cNvSpPr/>
          <p:nvPr/>
        </p:nvSpPr>
        <p:spPr bwMode="gray">
          <a:xfrm>
            <a:off x="5305539" y="5537669"/>
            <a:ext cx="611556" cy="611556"/>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15" name="椭圆 514"/>
          <p:cNvSpPr/>
          <p:nvPr/>
        </p:nvSpPr>
        <p:spPr bwMode="gray">
          <a:xfrm>
            <a:off x="7652306" y="3746611"/>
            <a:ext cx="611556" cy="611556"/>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09" name="Freeform 19"/>
          <p:cNvSpPr>
            <a:spLocks noChangeAspect="1" noEditPoints="1"/>
          </p:cNvSpPr>
          <p:nvPr/>
        </p:nvSpPr>
        <p:spPr bwMode="auto">
          <a:xfrm>
            <a:off x="5265987" y="2425895"/>
            <a:ext cx="553696" cy="553696"/>
          </a:xfrm>
          <a:custGeom>
            <a:avLst/>
            <a:gdLst>
              <a:gd name="T0" fmla="*/ 266 w 512"/>
              <a:gd name="T1" fmla="*/ 252 h 512"/>
              <a:gd name="T2" fmla="*/ 394 w 512"/>
              <a:gd name="T3" fmla="*/ 197 h 512"/>
              <a:gd name="T4" fmla="*/ 394 w 512"/>
              <a:gd name="T5" fmla="*/ 334 h 512"/>
              <a:gd name="T6" fmla="*/ 266 w 512"/>
              <a:gd name="T7" fmla="*/ 389 h 512"/>
              <a:gd name="T8" fmla="*/ 266 w 512"/>
              <a:gd name="T9" fmla="*/ 252 h 512"/>
              <a:gd name="T10" fmla="*/ 117 w 512"/>
              <a:gd name="T11" fmla="*/ 324 h 512"/>
              <a:gd name="T12" fmla="*/ 245 w 512"/>
              <a:gd name="T13" fmla="*/ 388 h 512"/>
              <a:gd name="T14" fmla="*/ 245 w 512"/>
              <a:gd name="T15" fmla="*/ 252 h 512"/>
              <a:gd name="T16" fmla="*/ 117 w 512"/>
              <a:gd name="T17" fmla="*/ 197 h 512"/>
              <a:gd name="T18" fmla="*/ 117 w 512"/>
              <a:gd name="T19" fmla="*/ 324 h 512"/>
              <a:gd name="T20" fmla="*/ 256 w 512"/>
              <a:gd name="T21" fmla="*/ 129 h 512"/>
              <a:gd name="T22" fmla="*/ 133 w 512"/>
              <a:gd name="T23" fmla="*/ 181 h 512"/>
              <a:gd name="T24" fmla="*/ 256 w 512"/>
              <a:gd name="T25" fmla="*/ 233 h 512"/>
              <a:gd name="T26" fmla="*/ 378 w 512"/>
              <a:gd name="T27" fmla="*/ 181 h 512"/>
              <a:gd name="T28" fmla="*/ 256 w 512"/>
              <a:gd name="T29" fmla="*/ 129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415 w 512"/>
              <a:gd name="T43" fmla="*/ 177 h 512"/>
              <a:gd name="T44" fmla="*/ 414 w 512"/>
              <a:gd name="T45" fmla="*/ 176 h 512"/>
              <a:gd name="T46" fmla="*/ 413 w 512"/>
              <a:gd name="T47" fmla="*/ 174 h 512"/>
              <a:gd name="T48" fmla="*/ 412 w 512"/>
              <a:gd name="T49" fmla="*/ 173 h 512"/>
              <a:gd name="T50" fmla="*/ 409 w 512"/>
              <a:gd name="T51" fmla="*/ 171 h 512"/>
              <a:gd name="T52" fmla="*/ 409 w 512"/>
              <a:gd name="T53" fmla="*/ 171 h 512"/>
              <a:gd name="T54" fmla="*/ 409 w 512"/>
              <a:gd name="T55" fmla="*/ 171 h 512"/>
              <a:gd name="T56" fmla="*/ 260 w 512"/>
              <a:gd name="T57" fmla="*/ 107 h 512"/>
              <a:gd name="T58" fmla="*/ 251 w 512"/>
              <a:gd name="T59" fmla="*/ 107 h 512"/>
              <a:gd name="T60" fmla="*/ 102 w 512"/>
              <a:gd name="T61" fmla="*/ 171 h 512"/>
              <a:gd name="T62" fmla="*/ 96 w 512"/>
              <a:gd name="T63" fmla="*/ 181 h 512"/>
              <a:gd name="T64" fmla="*/ 96 w 512"/>
              <a:gd name="T65" fmla="*/ 330 h 512"/>
              <a:gd name="T66" fmla="*/ 102 w 512"/>
              <a:gd name="T67" fmla="*/ 340 h 512"/>
              <a:gd name="T68" fmla="*/ 251 w 512"/>
              <a:gd name="T69" fmla="*/ 415 h 512"/>
              <a:gd name="T70" fmla="*/ 251 w 512"/>
              <a:gd name="T71" fmla="*/ 415 h 512"/>
              <a:gd name="T72" fmla="*/ 256 w 512"/>
              <a:gd name="T73" fmla="*/ 416 h 512"/>
              <a:gd name="T74" fmla="*/ 256 w 512"/>
              <a:gd name="T75" fmla="*/ 416 h 512"/>
              <a:gd name="T76" fmla="*/ 256 w 512"/>
              <a:gd name="T77" fmla="*/ 416 h 512"/>
              <a:gd name="T78" fmla="*/ 256 w 512"/>
              <a:gd name="T79" fmla="*/ 416 h 512"/>
              <a:gd name="T80" fmla="*/ 256 w 512"/>
              <a:gd name="T81" fmla="*/ 416 h 512"/>
              <a:gd name="T82" fmla="*/ 259 w 512"/>
              <a:gd name="T83" fmla="*/ 415 h 512"/>
              <a:gd name="T84" fmla="*/ 260 w 512"/>
              <a:gd name="T85" fmla="*/ 415 h 512"/>
              <a:gd name="T86" fmla="*/ 409 w 512"/>
              <a:gd name="T87" fmla="*/ 351 h 512"/>
              <a:gd name="T88" fmla="*/ 416 w 512"/>
              <a:gd name="T89" fmla="*/ 341 h 512"/>
              <a:gd name="T90" fmla="*/ 416 w 512"/>
              <a:gd name="T9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66" y="252"/>
                </a:moveTo>
                <a:cubicBezTo>
                  <a:pt x="394" y="197"/>
                  <a:pt x="394" y="197"/>
                  <a:pt x="394" y="197"/>
                </a:cubicBezTo>
                <a:cubicBezTo>
                  <a:pt x="394" y="334"/>
                  <a:pt x="394" y="334"/>
                  <a:pt x="394" y="334"/>
                </a:cubicBezTo>
                <a:cubicBezTo>
                  <a:pt x="266" y="389"/>
                  <a:pt x="266" y="389"/>
                  <a:pt x="266" y="389"/>
                </a:cubicBezTo>
                <a:lnTo>
                  <a:pt x="266" y="252"/>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256" y="129"/>
                </a:moveTo>
                <a:cubicBezTo>
                  <a:pt x="133" y="181"/>
                  <a:pt x="133" y="181"/>
                  <a:pt x="133" y="181"/>
                </a:cubicBezTo>
                <a:cubicBezTo>
                  <a:pt x="256" y="233"/>
                  <a:pt x="256" y="233"/>
                  <a:pt x="256" y="233"/>
                </a:cubicBezTo>
                <a:cubicBezTo>
                  <a:pt x="378" y="181"/>
                  <a:pt x="378" y="181"/>
                  <a:pt x="378" y="181"/>
                </a:cubicBezTo>
                <a:lnTo>
                  <a:pt x="256" y="12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80"/>
                  <a:pt x="415" y="178"/>
                  <a:pt x="415" y="177"/>
                </a:cubicBezTo>
                <a:cubicBezTo>
                  <a:pt x="415" y="177"/>
                  <a:pt x="415" y="177"/>
                  <a:pt x="414" y="176"/>
                </a:cubicBezTo>
                <a:cubicBezTo>
                  <a:pt x="414" y="175"/>
                  <a:pt x="414" y="175"/>
                  <a:pt x="413" y="174"/>
                </a:cubicBezTo>
                <a:cubicBezTo>
                  <a:pt x="413" y="174"/>
                  <a:pt x="412" y="173"/>
                  <a:pt x="412" y="173"/>
                </a:cubicBezTo>
                <a:cubicBezTo>
                  <a:pt x="411" y="172"/>
                  <a:pt x="410" y="172"/>
                  <a:pt x="409" y="171"/>
                </a:cubicBezTo>
                <a:cubicBezTo>
                  <a:pt x="409" y="171"/>
                  <a:pt x="409" y="171"/>
                  <a:pt x="409" y="171"/>
                </a:cubicBezTo>
                <a:cubicBezTo>
                  <a:pt x="409" y="171"/>
                  <a:pt x="409" y="171"/>
                  <a:pt x="409" y="171"/>
                </a:cubicBezTo>
                <a:cubicBezTo>
                  <a:pt x="260" y="107"/>
                  <a:pt x="260" y="107"/>
                  <a:pt x="260" y="107"/>
                </a:cubicBezTo>
                <a:cubicBezTo>
                  <a:pt x="257" y="106"/>
                  <a:pt x="254" y="106"/>
                  <a:pt x="251" y="107"/>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1" y="415"/>
                  <a:pt x="251" y="415"/>
                  <a:pt x="251" y="415"/>
                </a:cubicBezTo>
                <a:cubicBezTo>
                  <a:pt x="253" y="415"/>
                  <a:pt x="254" y="416"/>
                  <a:pt x="256" y="416"/>
                </a:cubicBezTo>
                <a:cubicBezTo>
                  <a:pt x="256" y="416"/>
                  <a:pt x="256"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510" name="Freeform 274"/>
          <p:cNvSpPr>
            <a:spLocks noChangeAspect="1" noEditPoints="1"/>
          </p:cNvSpPr>
          <p:nvPr/>
        </p:nvSpPr>
        <p:spPr bwMode="auto">
          <a:xfrm>
            <a:off x="4310222" y="4162425"/>
            <a:ext cx="555068" cy="55506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266 h 512"/>
              <a:gd name="T12" fmla="*/ 281 w 512"/>
              <a:gd name="T13" fmla="*/ 266 h 512"/>
              <a:gd name="T14" fmla="*/ 359 w 512"/>
              <a:gd name="T15" fmla="*/ 344 h 512"/>
              <a:gd name="T16" fmla="*/ 359 w 512"/>
              <a:gd name="T17" fmla="*/ 359 h 512"/>
              <a:gd name="T18" fmla="*/ 352 w 512"/>
              <a:gd name="T19" fmla="*/ 362 h 512"/>
              <a:gd name="T20" fmla="*/ 344 w 512"/>
              <a:gd name="T21" fmla="*/ 359 h 512"/>
              <a:gd name="T22" fmla="*/ 266 w 512"/>
              <a:gd name="T23" fmla="*/ 281 h 512"/>
              <a:gd name="T24" fmla="*/ 266 w 512"/>
              <a:gd name="T25" fmla="*/ 394 h 512"/>
              <a:gd name="T26" fmla="*/ 256 w 512"/>
              <a:gd name="T27" fmla="*/ 405 h 512"/>
              <a:gd name="T28" fmla="*/ 245 w 512"/>
              <a:gd name="T29" fmla="*/ 394 h 512"/>
              <a:gd name="T30" fmla="*/ 245 w 512"/>
              <a:gd name="T31" fmla="*/ 281 h 512"/>
              <a:gd name="T32" fmla="*/ 167 w 512"/>
              <a:gd name="T33" fmla="*/ 359 h 512"/>
              <a:gd name="T34" fmla="*/ 160 w 512"/>
              <a:gd name="T35" fmla="*/ 362 h 512"/>
              <a:gd name="T36" fmla="*/ 152 w 512"/>
              <a:gd name="T37" fmla="*/ 359 h 512"/>
              <a:gd name="T38" fmla="*/ 152 w 512"/>
              <a:gd name="T39" fmla="*/ 344 h 512"/>
              <a:gd name="T40" fmla="*/ 230 w 512"/>
              <a:gd name="T41" fmla="*/ 266 h 512"/>
              <a:gd name="T42" fmla="*/ 117 w 512"/>
              <a:gd name="T43" fmla="*/ 266 h 512"/>
              <a:gd name="T44" fmla="*/ 106 w 512"/>
              <a:gd name="T45" fmla="*/ 256 h 512"/>
              <a:gd name="T46" fmla="*/ 117 w 512"/>
              <a:gd name="T47" fmla="*/ 245 h 512"/>
              <a:gd name="T48" fmla="*/ 230 w 512"/>
              <a:gd name="T49" fmla="*/ 245 h 512"/>
              <a:gd name="T50" fmla="*/ 152 w 512"/>
              <a:gd name="T51" fmla="*/ 167 h 512"/>
              <a:gd name="T52" fmla="*/ 152 w 512"/>
              <a:gd name="T53" fmla="*/ 152 h 512"/>
              <a:gd name="T54" fmla="*/ 167 w 512"/>
              <a:gd name="T55" fmla="*/ 152 h 512"/>
              <a:gd name="T56" fmla="*/ 245 w 512"/>
              <a:gd name="T57" fmla="*/ 230 h 512"/>
              <a:gd name="T58" fmla="*/ 245 w 512"/>
              <a:gd name="T59" fmla="*/ 117 h 512"/>
              <a:gd name="T60" fmla="*/ 256 w 512"/>
              <a:gd name="T61" fmla="*/ 106 h 512"/>
              <a:gd name="T62" fmla="*/ 266 w 512"/>
              <a:gd name="T63" fmla="*/ 117 h 512"/>
              <a:gd name="T64" fmla="*/ 266 w 512"/>
              <a:gd name="T65" fmla="*/ 230 h 512"/>
              <a:gd name="T66" fmla="*/ 344 w 512"/>
              <a:gd name="T67" fmla="*/ 152 h 512"/>
              <a:gd name="T68" fmla="*/ 359 w 512"/>
              <a:gd name="T69" fmla="*/ 152 h 512"/>
              <a:gd name="T70" fmla="*/ 359 w 512"/>
              <a:gd name="T71" fmla="*/ 167 h 512"/>
              <a:gd name="T72" fmla="*/ 281 w 512"/>
              <a:gd name="T73" fmla="*/ 245 h 512"/>
              <a:gd name="T74" fmla="*/ 394 w 512"/>
              <a:gd name="T75" fmla="*/ 245 h 512"/>
              <a:gd name="T76" fmla="*/ 405 w 512"/>
              <a:gd name="T77" fmla="*/ 256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266"/>
                </a:moveTo>
                <a:cubicBezTo>
                  <a:pt x="281" y="266"/>
                  <a:pt x="281" y="266"/>
                  <a:pt x="281" y="266"/>
                </a:cubicBezTo>
                <a:cubicBezTo>
                  <a:pt x="359" y="344"/>
                  <a:pt x="359" y="344"/>
                  <a:pt x="359" y="344"/>
                </a:cubicBezTo>
                <a:cubicBezTo>
                  <a:pt x="363" y="348"/>
                  <a:pt x="363" y="355"/>
                  <a:pt x="359" y="359"/>
                </a:cubicBezTo>
                <a:cubicBezTo>
                  <a:pt x="357" y="361"/>
                  <a:pt x="354" y="362"/>
                  <a:pt x="352" y="362"/>
                </a:cubicBezTo>
                <a:cubicBezTo>
                  <a:pt x="349" y="362"/>
                  <a:pt x="346" y="361"/>
                  <a:pt x="344" y="359"/>
                </a:cubicBezTo>
                <a:cubicBezTo>
                  <a:pt x="266" y="281"/>
                  <a:pt x="266" y="281"/>
                  <a:pt x="266" y="281"/>
                </a:cubicBezTo>
                <a:cubicBezTo>
                  <a:pt x="266" y="394"/>
                  <a:pt x="266" y="394"/>
                  <a:pt x="266" y="394"/>
                </a:cubicBezTo>
                <a:cubicBezTo>
                  <a:pt x="266" y="400"/>
                  <a:pt x="262" y="405"/>
                  <a:pt x="256" y="405"/>
                </a:cubicBezTo>
                <a:cubicBezTo>
                  <a:pt x="250" y="405"/>
                  <a:pt x="245" y="400"/>
                  <a:pt x="245" y="394"/>
                </a:cubicBezTo>
                <a:cubicBezTo>
                  <a:pt x="245" y="281"/>
                  <a:pt x="245" y="281"/>
                  <a:pt x="245" y="281"/>
                </a:cubicBezTo>
                <a:cubicBezTo>
                  <a:pt x="167" y="359"/>
                  <a:pt x="167" y="359"/>
                  <a:pt x="167" y="359"/>
                </a:cubicBezTo>
                <a:cubicBezTo>
                  <a:pt x="165" y="361"/>
                  <a:pt x="162" y="362"/>
                  <a:pt x="160" y="362"/>
                </a:cubicBezTo>
                <a:cubicBezTo>
                  <a:pt x="157" y="362"/>
                  <a:pt x="154" y="361"/>
                  <a:pt x="152" y="359"/>
                </a:cubicBezTo>
                <a:cubicBezTo>
                  <a:pt x="148" y="355"/>
                  <a:pt x="148" y="348"/>
                  <a:pt x="152" y="344"/>
                </a:cubicBezTo>
                <a:cubicBezTo>
                  <a:pt x="230" y="266"/>
                  <a:pt x="230" y="266"/>
                  <a:pt x="230" y="266"/>
                </a:cubicBezTo>
                <a:cubicBezTo>
                  <a:pt x="117" y="266"/>
                  <a:pt x="117" y="266"/>
                  <a:pt x="117" y="266"/>
                </a:cubicBezTo>
                <a:cubicBezTo>
                  <a:pt x="111" y="266"/>
                  <a:pt x="106" y="262"/>
                  <a:pt x="106" y="256"/>
                </a:cubicBezTo>
                <a:cubicBezTo>
                  <a:pt x="106" y="250"/>
                  <a:pt x="111" y="245"/>
                  <a:pt x="117" y="245"/>
                </a:cubicBezTo>
                <a:cubicBezTo>
                  <a:pt x="230" y="245"/>
                  <a:pt x="230" y="245"/>
                  <a:pt x="230" y="245"/>
                </a:cubicBezTo>
                <a:cubicBezTo>
                  <a:pt x="152" y="167"/>
                  <a:pt x="152" y="167"/>
                  <a:pt x="152" y="167"/>
                </a:cubicBezTo>
                <a:cubicBezTo>
                  <a:pt x="148" y="163"/>
                  <a:pt x="148" y="156"/>
                  <a:pt x="152" y="152"/>
                </a:cubicBezTo>
                <a:cubicBezTo>
                  <a:pt x="156" y="148"/>
                  <a:pt x="163" y="148"/>
                  <a:pt x="167" y="152"/>
                </a:cubicBezTo>
                <a:cubicBezTo>
                  <a:pt x="245" y="230"/>
                  <a:pt x="245" y="230"/>
                  <a:pt x="245" y="230"/>
                </a:cubicBezTo>
                <a:cubicBezTo>
                  <a:pt x="245" y="117"/>
                  <a:pt x="245" y="117"/>
                  <a:pt x="245" y="117"/>
                </a:cubicBezTo>
                <a:cubicBezTo>
                  <a:pt x="245" y="111"/>
                  <a:pt x="250" y="106"/>
                  <a:pt x="256" y="106"/>
                </a:cubicBezTo>
                <a:cubicBezTo>
                  <a:pt x="262" y="106"/>
                  <a:pt x="266" y="111"/>
                  <a:pt x="266" y="117"/>
                </a:cubicBezTo>
                <a:cubicBezTo>
                  <a:pt x="266" y="230"/>
                  <a:pt x="266" y="230"/>
                  <a:pt x="266" y="230"/>
                </a:cubicBezTo>
                <a:cubicBezTo>
                  <a:pt x="344" y="152"/>
                  <a:pt x="344" y="152"/>
                  <a:pt x="344" y="152"/>
                </a:cubicBezTo>
                <a:cubicBezTo>
                  <a:pt x="348" y="148"/>
                  <a:pt x="355" y="148"/>
                  <a:pt x="359" y="152"/>
                </a:cubicBezTo>
                <a:cubicBezTo>
                  <a:pt x="363" y="156"/>
                  <a:pt x="363" y="163"/>
                  <a:pt x="359" y="167"/>
                </a:cubicBezTo>
                <a:cubicBezTo>
                  <a:pt x="281" y="245"/>
                  <a:pt x="281" y="245"/>
                  <a:pt x="281" y="245"/>
                </a:cubicBezTo>
                <a:cubicBezTo>
                  <a:pt x="394" y="245"/>
                  <a:pt x="394" y="245"/>
                  <a:pt x="394" y="245"/>
                </a:cubicBezTo>
                <a:cubicBezTo>
                  <a:pt x="400" y="245"/>
                  <a:pt x="405" y="250"/>
                  <a:pt x="405" y="256"/>
                </a:cubicBezTo>
                <a:cubicBezTo>
                  <a:pt x="405" y="262"/>
                  <a:pt x="400" y="266"/>
                  <a:pt x="394" y="2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511" name="Freeform 944"/>
          <p:cNvSpPr>
            <a:spLocks noChangeAspect="1" noEditPoints="1"/>
          </p:cNvSpPr>
          <p:nvPr/>
        </p:nvSpPr>
        <p:spPr bwMode="auto">
          <a:xfrm>
            <a:off x="5334597" y="5566727"/>
            <a:ext cx="553441" cy="553441"/>
          </a:xfrm>
          <a:custGeom>
            <a:avLst/>
            <a:gdLst>
              <a:gd name="T0" fmla="*/ 330 w 512"/>
              <a:gd name="T1" fmla="*/ 362 h 512"/>
              <a:gd name="T2" fmla="*/ 181 w 512"/>
              <a:gd name="T3" fmla="*/ 384 h 512"/>
              <a:gd name="T4" fmla="*/ 335 w 512"/>
              <a:gd name="T5" fmla="*/ 227 h 512"/>
              <a:gd name="T6" fmla="*/ 320 w 512"/>
              <a:gd name="T7" fmla="*/ 209 h 512"/>
              <a:gd name="T8" fmla="*/ 308 w 512"/>
              <a:gd name="T9" fmla="*/ 186 h 512"/>
              <a:gd name="T10" fmla="*/ 306 w 512"/>
              <a:gd name="T11" fmla="*/ 149 h 512"/>
              <a:gd name="T12" fmla="*/ 271 w 512"/>
              <a:gd name="T13" fmla="*/ 147 h 512"/>
              <a:gd name="T14" fmla="*/ 245 w 512"/>
              <a:gd name="T15" fmla="*/ 149 h 512"/>
              <a:gd name="T16" fmla="*/ 142 w 512"/>
              <a:gd name="T17" fmla="*/ 217 h 512"/>
              <a:gd name="T18" fmla="*/ 221 w 512"/>
              <a:gd name="T19" fmla="*/ 224 h 512"/>
              <a:gd name="T20" fmla="*/ 252 w 512"/>
              <a:gd name="T21" fmla="*/ 246 h 512"/>
              <a:gd name="T22" fmla="*/ 203 w 512"/>
              <a:gd name="T23" fmla="*/ 341 h 512"/>
              <a:gd name="T24" fmla="*/ 309 w 512"/>
              <a:gd name="T25" fmla="*/ 320 h 512"/>
              <a:gd name="T26" fmla="*/ 321 w 512"/>
              <a:gd name="T27" fmla="*/ 309 h 512"/>
              <a:gd name="T28" fmla="*/ 310 w 512"/>
              <a:gd name="T29" fmla="*/ 284 h 512"/>
              <a:gd name="T30" fmla="*/ 334 w 512"/>
              <a:gd name="T31" fmla="*/ 272 h 512"/>
              <a:gd name="T32" fmla="*/ 323 w 512"/>
              <a:gd name="T33" fmla="*/ 242 h 512"/>
              <a:gd name="T34" fmla="*/ 512 w 512"/>
              <a:gd name="T35" fmla="*/ 256 h 512"/>
              <a:gd name="T36" fmla="*/ 0 w 512"/>
              <a:gd name="T37" fmla="*/ 256 h 512"/>
              <a:gd name="T38" fmla="*/ 512 w 512"/>
              <a:gd name="T39" fmla="*/ 256 h 512"/>
              <a:gd name="T40" fmla="*/ 345 w 512"/>
              <a:gd name="T41" fmla="*/ 249 h 512"/>
              <a:gd name="T42" fmla="*/ 362 w 512"/>
              <a:gd name="T43" fmla="*/ 221 h 512"/>
              <a:gd name="T44" fmla="*/ 344 w 512"/>
              <a:gd name="T45" fmla="*/ 208 h 512"/>
              <a:gd name="T46" fmla="*/ 350 w 512"/>
              <a:gd name="T47" fmla="*/ 179 h 512"/>
              <a:gd name="T48" fmla="*/ 324 w 512"/>
              <a:gd name="T49" fmla="*/ 168 h 512"/>
              <a:gd name="T50" fmla="*/ 328 w 512"/>
              <a:gd name="T51" fmla="*/ 132 h 512"/>
              <a:gd name="T52" fmla="*/ 281 w 512"/>
              <a:gd name="T53" fmla="*/ 128 h 512"/>
              <a:gd name="T54" fmla="*/ 230 w 512"/>
              <a:gd name="T55" fmla="*/ 97 h 512"/>
              <a:gd name="T56" fmla="*/ 224 w 512"/>
              <a:gd name="T57" fmla="*/ 143 h 512"/>
              <a:gd name="T58" fmla="*/ 118 w 512"/>
              <a:gd name="T59" fmla="*/ 218 h 512"/>
              <a:gd name="T60" fmla="*/ 152 w 512"/>
              <a:gd name="T61" fmla="*/ 266 h 512"/>
              <a:gd name="T62" fmla="*/ 231 w 512"/>
              <a:gd name="T63" fmla="*/ 252 h 512"/>
              <a:gd name="T64" fmla="*/ 182 w 512"/>
              <a:gd name="T65" fmla="*/ 341 h 512"/>
              <a:gd name="T66" fmla="*/ 160 w 512"/>
              <a:gd name="T67" fmla="*/ 352 h 512"/>
              <a:gd name="T68" fmla="*/ 170 w 512"/>
              <a:gd name="T69" fmla="*/ 405 h 512"/>
              <a:gd name="T70" fmla="*/ 352 w 512"/>
              <a:gd name="T71" fmla="*/ 394 h 512"/>
              <a:gd name="T72" fmla="*/ 341 w 512"/>
              <a:gd name="T73" fmla="*/ 341 h 512"/>
              <a:gd name="T74" fmla="*/ 330 w 512"/>
              <a:gd name="T75" fmla="*/ 330 h 512"/>
              <a:gd name="T76" fmla="*/ 350 w 512"/>
              <a:gd name="T77" fmla="*/ 325 h 512"/>
              <a:gd name="T78" fmla="*/ 336 w 512"/>
              <a:gd name="T79" fmla="*/ 293 h 512"/>
              <a:gd name="T80" fmla="*/ 362 w 512"/>
              <a:gd name="T81"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81" y="362"/>
                </a:moveTo>
                <a:cubicBezTo>
                  <a:pt x="330" y="362"/>
                  <a:pt x="330" y="362"/>
                  <a:pt x="330" y="362"/>
                </a:cubicBezTo>
                <a:cubicBezTo>
                  <a:pt x="330" y="384"/>
                  <a:pt x="330" y="384"/>
                  <a:pt x="330" y="384"/>
                </a:cubicBezTo>
                <a:cubicBezTo>
                  <a:pt x="181" y="384"/>
                  <a:pt x="181" y="384"/>
                  <a:pt x="181" y="384"/>
                </a:cubicBezTo>
                <a:lnTo>
                  <a:pt x="181" y="362"/>
                </a:lnTo>
                <a:close/>
                <a:moveTo>
                  <a:pt x="335" y="227"/>
                </a:moveTo>
                <a:cubicBezTo>
                  <a:pt x="326" y="223"/>
                  <a:pt x="326" y="223"/>
                  <a:pt x="326" y="223"/>
                </a:cubicBezTo>
                <a:cubicBezTo>
                  <a:pt x="321" y="220"/>
                  <a:pt x="318" y="215"/>
                  <a:pt x="320" y="209"/>
                </a:cubicBezTo>
                <a:cubicBezTo>
                  <a:pt x="327" y="191"/>
                  <a:pt x="327" y="191"/>
                  <a:pt x="327" y="191"/>
                </a:cubicBezTo>
                <a:cubicBezTo>
                  <a:pt x="308" y="186"/>
                  <a:pt x="308" y="186"/>
                  <a:pt x="308" y="186"/>
                </a:cubicBezTo>
                <a:cubicBezTo>
                  <a:pt x="303" y="184"/>
                  <a:pt x="300" y="178"/>
                  <a:pt x="301" y="173"/>
                </a:cubicBezTo>
                <a:cubicBezTo>
                  <a:pt x="306" y="149"/>
                  <a:pt x="306" y="149"/>
                  <a:pt x="306" y="149"/>
                </a:cubicBezTo>
                <a:cubicBezTo>
                  <a:pt x="277" y="149"/>
                  <a:pt x="277" y="149"/>
                  <a:pt x="277" y="149"/>
                </a:cubicBezTo>
                <a:cubicBezTo>
                  <a:pt x="275" y="149"/>
                  <a:pt x="272" y="148"/>
                  <a:pt x="271" y="147"/>
                </a:cubicBezTo>
                <a:cubicBezTo>
                  <a:pt x="245" y="128"/>
                  <a:pt x="245" y="128"/>
                  <a:pt x="245" y="128"/>
                </a:cubicBezTo>
                <a:cubicBezTo>
                  <a:pt x="245" y="149"/>
                  <a:pt x="245" y="149"/>
                  <a:pt x="245" y="149"/>
                </a:cubicBezTo>
                <a:cubicBezTo>
                  <a:pt x="245" y="153"/>
                  <a:pt x="243" y="156"/>
                  <a:pt x="240" y="158"/>
                </a:cubicBezTo>
                <a:cubicBezTo>
                  <a:pt x="142" y="217"/>
                  <a:pt x="142" y="217"/>
                  <a:pt x="142" y="217"/>
                </a:cubicBezTo>
                <a:cubicBezTo>
                  <a:pt x="155" y="243"/>
                  <a:pt x="155" y="243"/>
                  <a:pt x="155" y="243"/>
                </a:cubicBezTo>
                <a:cubicBezTo>
                  <a:pt x="221" y="224"/>
                  <a:pt x="221" y="224"/>
                  <a:pt x="221" y="224"/>
                </a:cubicBezTo>
                <a:cubicBezTo>
                  <a:pt x="223" y="224"/>
                  <a:pt x="225" y="224"/>
                  <a:pt x="227" y="224"/>
                </a:cubicBezTo>
                <a:cubicBezTo>
                  <a:pt x="229" y="225"/>
                  <a:pt x="248" y="231"/>
                  <a:pt x="252" y="246"/>
                </a:cubicBezTo>
                <a:cubicBezTo>
                  <a:pt x="254" y="253"/>
                  <a:pt x="253" y="263"/>
                  <a:pt x="242" y="274"/>
                </a:cubicBezTo>
                <a:cubicBezTo>
                  <a:pt x="218" y="298"/>
                  <a:pt x="206" y="319"/>
                  <a:pt x="203" y="341"/>
                </a:cubicBezTo>
                <a:cubicBezTo>
                  <a:pt x="309" y="341"/>
                  <a:pt x="309" y="341"/>
                  <a:pt x="309" y="341"/>
                </a:cubicBezTo>
                <a:cubicBezTo>
                  <a:pt x="309" y="320"/>
                  <a:pt x="309" y="320"/>
                  <a:pt x="309" y="320"/>
                </a:cubicBezTo>
                <a:cubicBezTo>
                  <a:pt x="309" y="314"/>
                  <a:pt x="314" y="309"/>
                  <a:pt x="320" y="309"/>
                </a:cubicBezTo>
                <a:cubicBezTo>
                  <a:pt x="321" y="309"/>
                  <a:pt x="321" y="309"/>
                  <a:pt x="321" y="309"/>
                </a:cubicBezTo>
                <a:cubicBezTo>
                  <a:pt x="311" y="294"/>
                  <a:pt x="311" y="294"/>
                  <a:pt x="311" y="294"/>
                </a:cubicBezTo>
                <a:cubicBezTo>
                  <a:pt x="309" y="291"/>
                  <a:pt x="309" y="287"/>
                  <a:pt x="310" y="284"/>
                </a:cubicBezTo>
                <a:cubicBezTo>
                  <a:pt x="311" y="281"/>
                  <a:pt x="313" y="279"/>
                  <a:pt x="316" y="278"/>
                </a:cubicBezTo>
                <a:cubicBezTo>
                  <a:pt x="334" y="272"/>
                  <a:pt x="334" y="272"/>
                  <a:pt x="334" y="272"/>
                </a:cubicBezTo>
                <a:cubicBezTo>
                  <a:pt x="323" y="256"/>
                  <a:pt x="323" y="256"/>
                  <a:pt x="323" y="256"/>
                </a:cubicBezTo>
                <a:cubicBezTo>
                  <a:pt x="320" y="252"/>
                  <a:pt x="320" y="246"/>
                  <a:pt x="323" y="242"/>
                </a:cubicBezTo>
                <a:lnTo>
                  <a:pt x="335" y="22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0" y="271"/>
                </a:moveTo>
                <a:cubicBezTo>
                  <a:pt x="345" y="249"/>
                  <a:pt x="345" y="249"/>
                  <a:pt x="345" y="249"/>
                </a:cubicBezTo>
                <a:cubicBezTo>
                  <a:pt x="360" y="230"/>
                  <a:pt x="360" y="230"/>
                  <a:pt x="360" y="230"/>
                </a:cubicBezTo>
                <a:cubicBezTo>
                  <a:pt x="362" y="228"/>
                  <a:pt x="363" y="225"/>
                  <a:pt x="362" y="221"/>
                </a:cubicBezTo>
                <a:cubicBezTo>
                  <a:pt x="361" y="218"/>
                  <a:pt x="359" y="216"/>
                  <a:pt x="356" y="214"/>
                </a:cubicBezTo>
                <a:cubicBezTo>
                  <a:pt x="344" y="208"/>
                  <a:pt x="344" y="208"/>
                  <a:pt x="344" y="208"/>
                </a:cubicBezTo>
                <a:cubicBezTo>
                  <a:pt x="351" y="187"/>
                  <a:pt x="351" y="187"/>
                  <a:pt x="351" y="187"/>
                </a:cubicBezTo>
                <a:cubicBezTo>
                  <a:pt x="352" y="184"/>
                  <a:pt x="351" y="181"/>
                  <a:pt x="350" y="179"/>
                </a:cubicBezTo>
                <a:cubicBezTo>
                  <a:pt x="349" y="176"/>
                  <a:pt x="346" y="174"/>
                  <a:pt x="344" y="173"/>
                </a:cubicBezTo>
                <a:cubicBezTo>
                  <a:pt x="324" y="168"/>
                  <a:pt x="324" y="168"/>
                  <a:pt x="324" y="168"/>
                </a:cubicBezTo>
                <a:cubicBezTo>
                  <a:pt x="330" y="141"/>
                  <a:pt x="330" y="141"/>
                  <a:pt x="330" y="141"/>
                </a:cubicBezTo>
                <a:cubicBezTo>
                  <a:pt x="331" y="138"/>
                  <a:pt x="330" y="134"/>
                  <a:pt x="328" y="132"/>
                </a:cubicBezTo>
                <a:cubicBezTo>
                  <a:pt x="326" y="129"/>
                  <a:pt x="323" y="128"/>
                  <a:pt x="320" y="128"/>
                </a:cubicBezTo>
                <a:cubicBezTo>
                  <a:pt x="281" y="128"/>
                  <a:pt x="281" y="128"/>
                  <a:pt x="281" y="128"/>
                </a:cubicBezTo>
                <a:cubicBezTo>
                  <a:pt x="241" y="98"/>
                  <a:pt x="241" y="98"/>
                  <a:pt x="241" y="98"/>
                </a:cubicBezTo>
                <a:cubicBezTo>
                  <a:pt x="237" y="95"/>
                  <a:pt x="233" y="95"/>
                  <a:pt x="230" y="97"/>
                </a:cubicBezTo>
                <a:cubicBezTo>
                  <a:pt x="226" y="99"/>
                  <a:pt x="224" y="102"/>
                  <a:pt x="224" y="106"/>
                </a:cubicBezTo>
                <a:cubicBezTo>
                  <a:pt x="224" y="143"/>
                  <a:pt x="224" y="143"/>
                  <a:pt x="224" y="143"/>
                </a:cubicBezTo>
                <a:cubicBezTo>
                  <a:pt x="122" y="204"/>
                  <a:pt x="122" y="204"/>
                  <a:pt x="122" y="204"/>
                </a:cubicBezTo>
                <a:cubicBezTo>
                  <a:pt x="117" y="207"/>
                  <a:pt x="116" y="213"/>
                  <a:pt x="118" y="218"/>
                </a:cubicBezTo>
                <a:cubicBezTo>
                  <a:pt x="139" y="260"/>
                  <a:pt x="139" y="260"/>
                  <a:pt x="139" y="260"/>
                </a:cubicBezTo>
                <a:cubicBezTo>
                  <a:pt x="142" y="265"/>
                  <a:pt x="147" y="267"/>
                  <a:pt x="152" y="266"/>
                </a:cubicBezTo>
                <a:cubicBezTo>
                  <a:pt x="223" y="246"/>
                  <a:pt x="223" y="246"/>
                  <a:pt x="223" y="246"/>
                </a:cubicBezTo>
                <a:cubicBezTo>
                  <a:pt x="227" y="247"/>
                  <a:pt x="231" y="250"/>
                  <a:pt x="231" y="252"/>
                </a:cubicBezTo>
                <a:cubicBezTo>
                  <a:pt x="231" y="252"/>
                  <a:pt x="231" y="255"/>
                  <a:pt x="227" y="259"/>
                </a:cubicBezTo>
                <a:cubicBezTo>
                  <a:pt x="209" y="277"/>
                  <a:pt x="186" y="304"/>
                  <a:pt x="182" y="341"/>
                </a:cubicBezTo>
                <a:cubicBezTo>
                  <a:pt x="170" y="341"/>
                  <a:pt x="170" y="341"/>
                  <a:pt x="170" y="341"/>
                </a:cubicBezTo>
                <a:cubicBezTo>
                  <a:pt x="164" y="341"/>
                  <a:pt x="160" y="346"/>
                  <a:pt x="160" y="352"/>
                </a:cubicBezTo>
                <a:cubicBezTo>
                  <a:pt x="160" y="394"/>
                  <a:pt x="160" y="394"/>
                  <a:pt x="160" y="394"/>
                </a:cubicBezTo>
                <a:cubicBezTo>
                  <a:pt x="160" y="400"/>
                  <a:pt x="164" y="405"/>
                  <a:pt x="170" y="405"/>
                </a:cubicBezTo>
                <a:cubicBezTo>
                  <a:pt x="341" y="405"/>
                  <a:pt x="341" y="405"/>
                  <a:pt x="341" y="405"/>
                </a:cubicBezTo>
                <a:cubicBezTo>
                  <a:pt x="347" y="405"/>
                  <a:pt x="352" y="400"/>
                  <a:pt x="352" y="394"/>
                </a:cubicBezTo>
                <a:cubicBezTo>
                  <a:pt x="352" y="352"/>
                  <a:pt x="352" y="352"/>
                  <a:pt x="352" y="352"/>
                </a:cubicBezTo>
                <a:cubicBezTo>
                  <a:pt x="352" y="346"/>
                  <a:pt x="347" y="341"/>
                  <a:pt x="341" y="341"/>
                </a:cubicBezTo>
                <a:cubicBezTo>
                  <a:pt x="330" y="341"/>
                  <a:pt x="330" y="341"/>
                  <a:pt x="330" y="341"/>
                </a:cubicBezTo>
                <a:cubicBezTo>
                  <a:pt x="330" y="330"/>
                  <a:pt x="330" y="330"/>
                  <a:pt x="330" y="330"/>
                </a:cubicBezTo>
                <a:cubicBezTo>
                  <a:pt x="341" y="330"/>
                  <a:pt x="341" y="330"/>
                  <a:pt x="341" y="330"/>
                </a:cubicBezTo>
                <a:cubicBezTo>
                  <a:pt x="345" y="330"/>
                  <a:pt x="349" y="328"/>
                  <a:pt x="350" y="325"/>
                </a:cubicBezTo>
                <a:cubicBezTo>
                  <a:pt x="352" y="321"/>
                  <a:pt x="352" y="317"/>
                  <a:pt x="350" y="314"/>
                </a:cubicBezTo>
                <a:cubicBezTo>
                  <a:pt x="336" y="293"/>
                  <a:pt x="336" y="293"/>
                  <a:pt x="336" y="293"/>
                </a:cubicBezTo>
                <a:cubicBezTo>
                  <a:pt x="355" y="287"/>
                  <a:pt x="355" y="287"/>
                  <a:pt x="355" y="287"/>
                </a:cubicBezTo>
                <a:cubicBezTo>
                  <a:pt x="358" y="286"/>
                  <a:pt x="361" y="283"/>
                  <a:pt x="362" y="280"/>
                </a:cubicBezTo>
                <a:cubicBezTo>
                  <a:pt x="363" y="277"/>
                  <a:pt x="362" y="273"/>
                  <a:pt x="360" y="271"/>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512" name="Freeform 962"/>
          <p:cNvSpPr>
            <a:spLocks noChangeAspect="1" noEditPoints="1"/>
          </p:cNvSpPr>
          <p:nvPr/>
        </p:nvSpPr>
        <p:spPr bwMode="auto">
          <a:xfrm>
            <a:off x="7681364" y="3775669"/>
            <a:ext cx="553441" cy="553441"/>
          </a:xfrm>
          <a:custGeom>
            <a:avLst/>
            <a:gdLst>
              <a:gd name="T0" fmla="*/ 234 w 512"/>
              <a:gd name="T1" fmla="*/ 192 h 512"/>
              <a:gd name="T2" fmla="*/ 228 w 512"/>
              <a:gd name="T3" fmla="*/ 170 h 512"/>
              <a:gd name="T4" fmla="*/ 283 w 512"/>
              <a:gd name="T5" fmla="*/ 170 h 512"/>
              <a:gd name="T6" fmla="*/ 276 w 512"/>
              <a:gd name="T7" fmla="*/ 192 h 512"/>
              <a:gd name="T8" fmla="*/ 234 w 512"/>
              <a:gd name="T9" fmla="*/ 192 h 512"/>
              <a:gd name="T10" fmla="*/ 256 w 512"/>
              <a:gd name="T11" fmla="*/ 138 h 512"/>
              <a:gd name="T12" fmla="*/ 266 w 512"/>
              <a:gd name="T13" fmla="*/ 128 h 512"/>
              <a:gd name="T14" fmla="*/ 256 w 512"/>
              <a:gd name="T15" fmla="*/ 117 h 512"/>
              <a:gd name="T16" fmla="*/ 245 w 512"/>
              <a:gd name="T17" fmla="*/ 128 h 512"/>
              <a:gd name="T18" fmla="*/ 256 w 512"/>
              <a:gd name="T19" fmla="*/ 13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30 w 512"/>
              <a:gd name="T31" fmla="*/ 352 h 512"/>
              <a:gd name="T32" fmla="*/ 320 w 512"/>
              <a:gd name="T33" fmla="*/ 341 h 512"/>
              <a:gd name="T34" fmla="*/ 306 w 512"/>
              <a:gd name="T35" fmla="*/ 341 h 512"/>
              <a:gd name="T36" fmla="*/ 294 w 512"/>
              <a:gd name="T37" fmla="*/ 213 h 512"/>
              <a:gd name="T38" fmla="*/ 309 w 512"/>
              <a:gd name="T39" fmla="*/ 213 h 512"/>
              <a:gd name="T40" fmla="*/ 320 w 512"/>
              <a:gd name="T41" fmla="*/ 202 h 512"/>
              <a:gd name="T42" fmla="*/ 309 w 512"/>
              <a:gd name="T43" fmla="*/ 192 h 512"/>
              <a:gd name="T44" fmla="*/ 299 w 512"/>
              <a:gd name="T45" fmla="*/ 192 h 512"/>
              <a:gd name="T46" fmla="*/ 308 w 512"/>
              <a:gd name="T47" fmla="*/ 164 h 512"/>
              <a:gd name="T48" fmla="*/ 307 w 512"/>
              <a:gd name="T49" fmla="*/ 154 h 512"/>
              <a:gd name="T50" fmla="*/ 298 w 512"/>
              <a:gd name="T51" fmla="*/ 149 h 512"/>
              <a:gd name="T52" fmla="*/ 279 w 512"/>
              <a:gd name="T53" fmla="*/ 149 h 512"/>
              <a:gd name="T54" fmla="*/ 288 w 512"/>
              <a:gd name="T55" fmla="*/ 128 h 512"/>
              <a:gd name="T56" fmla="*/ 256 w 512"/>
              <a:gd name="T57" fmla="*/ 96 h 512"/>
              <a:gd name="T58" fmla="*/ 224 w 512"/>
              <a:gd name="T59" fmla="*/ 128 h 512"/>
              <a:gd name="T60" fmla="*/ 232 w 512"/>
              <a:gd name="T61" fmla="*/ 149 h 512"/>
              <a:gd name="T62" fmla="*/ 213 w 512"/>
              <a:gd name="T63" fmla="*/ 149 h 512"/>
              <a:gd name="T64" fmla="*/ 204 w 512"/>
              <a:gd name="T65" fmla="*/ 154 h 512"/>
              <a:gd name="T66" fmla="*/ 203 w 512"/>
              <a:gd name="T67" fmla="*/ 164 h 512"/>
              <a:gd name="T68" fmla="*/ 212 w 512"/>
              <a:gd name="T69" fmla="*/ 192 h 512"/>
              <a:gd name="T70" fmla="*/ 202 w 512"/>
              <a:gd name="T71" fmla="*/ 192 h 512"/>
              <a:gd name="T72" fmla="*/ 192 w 512"/>
              <a:gd name="T73" fmla="*/ 202 h 512"/>
              <a:gd name="T74" fmla="*/ 202 w 512"/>
              <a:gd name="T75" fmla="*/ 213 h 512"/>
              <a:gd name="T76" fmla="*/ 217 w 512"/>
              <a:gd name="T77" fmla="*/ 213 h 512"/>
              <a:gd name="T78" fmla="*/ 206 w 512"/>
              <a:gd name="T79" fmla="*/ 341 h 512"/>
              <a:gd name="T80" fmla="*/ 192 w 512"/>
              <a:gd name="T81" fmla="*/ 341 h 512"/>
              <a:gd name="T82" fmla="*/ 181 w 512"/>
              <a:gd name="T83" fmla="*/ 352 h 512"/>
              <a:gd name="T84" fmla="*/ 181 w 512"/>
              <a:gd name="T85" fmla="*/ 394 h 512"/>
              <a:gd name="T86" fmla="*/ 192 w 512"/>
              <a:gd name="T87" fmla="*/ 405 h 512"/>
              <a:gd name="T88" fmla="*/ 320 w 512"/>
              <a:gd name="T89" fmla="*/ 405 h 512"/>
              <a:gd name="T90" fmla="*/ 330 w 512"/>
              <a:gd name="T91" fmla="*/ 394 h 512"/>
              <a:gd name="T92" fmla="*/ 330 w 512"/>
              <a:gd name="T93" fmla="*/ 352 h 512"/>
              <a:gd name="T94" fmla="*/ 283 w 512"/>
              <a:gd name="T95" fmla="*/ 341 h 512"/>
              <a:gd name="T96" fmla="*/ 272 w 512"/>
              <a:gd name="T97" fmla="*/ 213 h 512"/>
              <a:gd name="T98" fmla="*/ 238 w 512"/>
              <a:gd name="T99" fmla="*/ 213 h 512"/>
              <a:gd name="T100" fmla="*/ 229 w 512"/>
              <a:gd name="T101" fmla="*/ 341 h 512"/>
              <a:gd name="T102" fmla="*/ 283 w 512"/>
              <a:gd name="T103" fmla="*/ 341 h 512"/>
              <a:gd name="T104" fmla="*/ 202 w 512"/>
              <a:gd name="T105" fmla="*/ 384 h 512"/>
              <a:gd name="T106" fmla="*/ 309 w 512"/>
              <a:gd name="T107" fmla="*/ 384 h 512"/>
              <a:gd name="T108" fmla="*/ 309 w 512"/>
              <a:gd name="T109" fmla="*/ 362 h 512"/>
              <a:gd name="T110" fmla="*/ 202 w 512"/>
              <a:gd name="T111" fmla="*/ 362 h 512"/>
              <a:gd name="T112" fmla="*/ 202 w 512"/>
              <a:gd name="T11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34" y="192"/>
                </a:moveTo>
                <a:cubicBezTo>
                  <a:pt x="232" y="183"/>
                  <a:pt x="230" y="176"/>
                  <a:pt x="228" y="170"/>
                </a:cubicBezTo>
                <a:cubicBezTo>
                  <a:pt x="283" y="170"/>
                  <a:pt x="283" y="170"/>
                  <a:pt x="283" y="170"/>
                </a:cubicBezTo>
                <a:cubicBezTo>
                  <a:pt x="281" y="176"/>
                  <a:pt x="278" y="183"/>
                  <a:pt x="276" y="192"/>
                </a:cubicBezTo>
                <a:lnTo>
                  <a:pt x="234" y="19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52"/>
                </a:moveTo>
                <a:cubicBezTo>
                  <a:pt x="330" y="346"/>
                  <a:pt x="326" y="341"/>
                  <a:pt x="320" y="341"/>
                </a:cubicBezTo>
                <a:cubicBezTo>
                  <a:pt x="306" y="341"/>
                  <a:pt x="306" y="341"/>
                  <a:pt x="306" y="341"/>
                </a:cubicBezTo>
                <a:cubicBezTo>
                  <a:pt x="287" y="291"/>
                  <a:pt x="288" y="245"/>
                  <a:pt x="294" y="213"/>
                </a:cubicBezTo>
                <a:cubicBezTo>
                  <a:pt x="309" y="213"/>
                  <a:pt x="309" y="213"/>
                  <a:pt x="309" y="213"/>
                </a:cubicBezTo>
                <a:cubicBezTo>
                  <a:pt x="315" y="213"/>
                  <a:pt x="320" y="208"/>
                  <a:pt x="320" y="202"/>
                </a:cubicBezTo>
                <a:cubicBezTo>
                  <a:pt x="320" y="196"/>
                  <a:pt x="315" y="192"/>
                  <a:pt x="309" y="192"/>
                </a:cubicBezTo>
                <a:cubicBezTo>
                  <a:pt x="299" y="192"/>
                  <a:pt x="299" y="192"/>
                  <a:pt x="299" y="192"/>
                </a:cubicBezTo>
                <a:cubicBezTo>
                  <a:pt x="303" y="175"/>
                  <a:pt x="308" y="165"/>
                  <a:pt x="308" y="164"/>
                </a:cubicBezTo>
                <a:cubicBezTo>
                  <a:pt x="310" y="161"/>
                  <a:pt x="309" y="157"/>
                  <a:pt x="307" y="154"/>
                </a:cubicBezTo>
                <a:cubicBezTo>
                  <a:pt x="305" y="151"/>
                  <a:pt x="302" y="149"/>
                  <a:pt x="298" y="149"/>
                </a:cubicBezTo>
                <a:cubicBezTo>
                  <a:pt x="279" y="149"/>
                  <a:pt x="279" y="149"/>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3" y="149"/>
                  <a:pt x="213" y="149"/>
                  <a:pt x="213" y="149"/>
                </a:cubicBezTo>
                <a:cubicBezTo>
                  <a:pt x="209" y="149"/>
                  <a:pt x="206" y="151"/>
                  <a:pt x="204" y="154"/>
                </a:cubicBezTo>
                <a:cubicBezTo>
                  <a:pt x="202" y="157"/>
                  <a:pt x="202" y="160"/>
                  <a:pt x="203" y="164"/>
                </a:cubicBezTo>
                <a:cubicBezTo>
                  <a:pt x="203" y="164"/>
                  <a:pt x="207" y="175"/>
                  <a:pt x="212" y="192"/>
                </a:cubicBezTo>
                <a:cubicBezTo>
                  <a:pt x="202" y="192"/>
                  <a:pt x="202" y="192"/>
                  <a:pt x="202" y="192"/>
                </a:cubicBezTo>
                <a:cubicBezTo>
                  <a:pt x="196" y="192"/>
                  <a:pt x="192" y="196"/>
                  <a:pt x="192" y="202"/>
                </a:cubicBezTo>
                <a:cubicBezTo>
                  <a:pt x="192" y="208"/>
                  <a:pt x="196" y="213"/>
                  <a:pt x="202" y="213"/>
                </a:cubicBezTo>
                <a:cubicBezTo>
                  <a:pt x="217" y="213"/>
                  <a:pt x="217" y="213"/>
                  <a:pt x="217" y="213"/>
                </a:cubicBezTo>
                <a:cubicBezTo>
                  <a:pt x="223" y="249"/>
                  <a:pt x="226" y="298"/>
                  <a:pt x="206" y="341"/>
                </a:cubicBezTo>
                <a:cubicBezTo>
                  <a:pt x="192" y="341"/>
                  <a:pt x="192" y="341"/>
                  <a:pt x="192" y="341"/>
                </a:cubicBezTo>
                <a:cubicBezTo>
                  <a:pt x="186" y="341"/>
                  <a:pt x="181" y="346"/>
                  <a:pt x="181" y="352"/>
                </a:cubicBezTo>
                <a:cubicBezTo>
                  <a:pt x="181" y="394"/>
                  <a:pt x="181" y="394"/>
                  <a:pt x="181" y="394"/>
                </a:cubicBezTo>
                <a:cubicBezTo>
                  <a:pt x="181" y="400"/>
                  <a:pt x="186" y="405"/>
                  <a:pt x="192" y="405"/>
                </a:cubicBezTo>
                <a:cubicBezTo>
                  <a:pt x="320" y="405"/>
                  <a:pt x="320" y="405"/>
                  <a:pt x="320" y="405"/>
                </a:cubicBezTo>
                <a:cubicBezTo>
                  <a:pt x="326" y="405"/>
                  <a:pt x="330" y="400"/>
                  <a:pt x="330" y="394"/>
                </a:cubicBezTo>
                <a:lnTo>
                  <a:pt x="330" y="352"/>
                </a:lnTo>
                <a:close/>
                <a:moveTo>
                  <a:pt x="283" y="341"/>
                </a:moveTo>
                <a:cubicBezTo>
                  <a:pt x="266" y="291"/>
                  <a:pt x="267" y="246"/>
                  <a:pt x="272" y="213"/>
                </a:cubicBezTo>
                <a:cubicBezTo>
                  <a:pt x="238" y="213"/>
                  <a:pt x="238" y="213"/>
                  <a:pt x="238" y="213"/>
                </a:cubicBezTo>
                <a:cubicBezTo>
                  <a:pt x="245" y="249"/>
                  <a:pt x="247" y="297"/>
                  <a:pt x="229" y="341"/>
                </a:cubicBezTo>
                <a:lnTo>
                  <a:pt x="283" y="341"/>
                </a:lnTo>
                <a:close/>
                <a:moveTo>
                  <a:pt x="202" y="384"/>
                </a:moveTo>
                <a:cubicBezTo>
                  <a:pt x="309" y="384"/>
                  <a:pt x="309" y="384"/>
                  <a:pt x="309" y="384"/>
                </a:cubicBezTo>
                <a:cubicBezTo>
                  <a:pt x="309" y="362"/>
                  <a:pt x="309" y="362"/>
                  <a:pt x="309" y="362"/>
                </a:cubicBezTo>
                <a:cubicBezTo>
                  <a:pt x="202" y="362"/>
                  <a:pt x="202" y="362"/>
                  <a:pt x="202" y="362"/>
                </a:cubicBezTo>
                <a:lnTo>
                  <a:pt x="202" y="384"/>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nvGrpSpPr>
          <p:cNvPr id="35" name="Group 34"/>
          <p:cNvGrpSpPr/>
          <p:nvPr/>
        </p:nvGrpSpPr>
        <p:grpSpPr>
          <a:xfrm rot="2301308" flipV="1">
            <a:off x="4519677" y="5852003"/>
            <a:ext cx="747713" cy="315464"/>
            <a:chOff x="3556000" y="3838575"/>
            <a:chExt cx="747713" cy="309562"/>
          </a:xfrm>
        </p:grpSpPr>
        <p:sp>
          <p:nvSpPr>
            <p:cNvPr id="36" name="Freeform 524">
              <a:extLst>
                <a:ext uri="{FF2B5EF4-FFF2-40B4-BE49-F238E27FC236}">
                  <a16:creationId xmlns:a16="http://schemas.microsoft.com/office/drawing/2014/main" id="{F1D4F4B5-7A82-45CE-A5E8-FC3BE7EE95BE}"/>
                </a:ext>
              </a:extLst>
            </p:cNvPr>
            <p:cNvSpPr>
              <a:spLocks noEditPoints="1"/>
            </p:cNvSpPr>
            <p:nvPr/>
          </p:nvSpPr>
          <p:spPr bwMode="auto">
            <a:xfrm>
              <a:off x="3556000" y="3838575"/>
              <a:ext cx="665163" cy="198438"/>
            </a:xfrm>
            <a:custGeom>
              <a:avLst/>
              <a:gdLst>
                <a:gd name="T0" fmla="*/ 226 w 228"/>
                <a:gd name="T1" fmla="*/ 56 h 68"/>
                <a:gd name="T2" fmla="*/ 224 w 228"/>
                <a:gd name="T3" fmla="*/ 66 h 68"/>
                <a:gd name="T4" fmla="*/ 220 w 228"/>
                <a:gd name="T5" fmla="*/ 60 h 68"/>
                <a:gd name="T6" fmla="*/ 217 w 228"/>
                <a:gd name="T7" fmla="*/ 54 h 68"/>
                <a:gd name="T8" fmla="*/ 198 w 228"/>
                <a:gd name="T9" fmla="*/ 30 h 68"/>
                <a:gd name="T10" fmla="*/ 206 w 228"/>
                <a:gd name="T11" fmla="*/ 41 h 68"/>
                <a:gd name="T12" fmla="*/ 196 w 228"/>
                <a:gd name="T13" fmla="*/ 41 h 68"/>
                <a:gd name="T14" fmla="*/ 198 w 228"/>
                <a:gd name="T15" fmla="*/ 30 h 68"/>
                <a:gd name="T16" fmla="*/ 179 w 228"/>
                <a:gd name="T17" fmla="*/ 13 h 68"/>
                <a:gd name="T18" fmla="*/ 182 w 228"/>
                <a:gd name="T19" fmla="*/ 22 h 68"/>
                <a:gd name="T20" fmla="*/ 177 w 228"/>
                <a:gd name="T21" fmla="*/ 19 h 68"/>
                <a:gd name="T22" fmla="*/ 170 w 228"/>
                <a:gd name="T23" fmla="*/ 16 h 68"/>
                <a:gd name="T24" fmla="*/ 144 w 228"/>
                <a:gd name="T25" fmla="*/ 3 h 68"/>
                <a:gd name="T26" fmla="*/ 154 w 228"/>
                <a:gd name="T27" fmla="*/ 10 h 68"/>
                <a:gd name="T28" fmla="*/ 146 w 228"/>
                <a:gd name="T29" fmla="*/ 15 h 68"/>
                <a:gd name="T30" fmla="*/ 144 w 228"/>
                <a:gd name="T31" fmla="*/ 3 h 68"/>
                <a:gd name="T32" fmla="*/ 117 w 228"/>
                <a:gd name="T33" fmla="*/ 0 h 68"/>
                <a:gd name="T34" fmla="*/ 118 w 228"/>
                <a:gd name="T35" fmla="*/ 13 h 68"/>
                <a:gd name="T36" fmla="*/ 111 w 228"/>
                <a:gd name="T37" fmla="*/ 7 h 68"/>
                <a:gd name="T38" fmla="*/ 84 w 228"/>
                <a:gd name="T39" fmla="*/ 8 h 68"/>
                <a:gd name="T40" fmla="*/ 94 w 228"/>
                <a:gd name="T41" fmla="*/ 11 h 68"/>
                <a:gd name="T42" fmla="*/ 90 w 228"/>
                <a:gd name="T43" fmla="*/ 20 h 68"/>
                <a:gd name="T44" fmla="*/ 84 w 228"/>
                <a:gd name="T45" fmla="*/ 8 h 68"/>
                <a:gd name="T46" fmla="*/ 66 w 228"/>
                <a:gd name="T47" fmla="*/ 25 h 68"/>
                <a:gd name="T48" fmla="*/ 64 w 228"/>
                <a:gd name="T49" fmla="*/ 34 h 68"/>
                <a:gd name="T50" fmla="*/ 57 w 228"/>
                <a:gd name="T51" fmla="*/ 22 h 68"/>
                <a:gd name="T52" fmla="*/ 40 w 228"/>
                <a:gd name="T53" fmla="*/ 40 h 68"/>
                <a:gd name="T54" fmla="*/ 37 w 228"/>
                <a:gd name="T55" fmla="*/ 49 h 68"/>
                <a:gd name="T56" fmla="*/ 31 w 228"/>
                <a:gd name="T57" fmla="*/ 37 h 68"/>
                <a:gd name="T58" fmla="*/ 13 w 228"/>
                <a:gd name="T59" fmla="*/ 55 h 68"/>
                <a:gd name="T60" fmla="*/ 11 w 228"/>
                <a:gd name="T61" fmla="*/ 64 h 68"/>
                <a:gd name="T62" fmla="*/ 4 w 228"/>
                <a:gd name="T63"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68">
                  <a:moveTo>
                    <a:pt x="217" y="54"/>
                  </a:moveTo>
                  <a:cubicBezTo>
                    <a:pt x="220" y="52"/>
                    <a:pt x="224" y="53"/>
                    <a:pt x="226" y="56"/>
                  </a:cubicBezTo>
                  <a:cubicBezTo>
                    <a:pt x="226" y="56"/>
                    <a:pt x="226" y="57"/>
                    <a:pt x="226" y="57"/>
                  </a:cubicBezTo>
                  <a:cubicBezTo>
                    <a:pt x="228" y="60"/>
                    <a:pt x="227" y="64"/>
                    <a:pt x="224" y="66"/>
                  </a:cubicBezTo>
                  <a:cubicBezTo>
                    <a:pt x="220" y="68"/>
                    <a:pt x="216" y="66"/>
                    <a:pt x="215" y="63"/>
                  </a:cubicBezTo>
                  <a:cubicBezTo>
                    <a:pt x="220" y="60"/>
                    <a:pt x="220" y="60"/>
                    <a:pt x="220" y="60"/>
                  </a:cubicBezTo>
                  <a:cubicBezTo>
                    <a:pt x="215" y="63"/>
                    <a:pt x="215" y="63"/>
                    <a:pt x="215" y="63"/>
                  </a:cubicBezTo>
                  <a:cubicBezTo>
                    <a:pt x="213" y="60"/>
                    <a:pt x="214" y="56"/>
                    <a:pt x="217" y="54"/>
                  </a:cubicBezTo>
                  <a:cubicBezTo>
                    <a:pt x="217" y="54"/>
                    <a:pt x="217" y="54"/>
                    <a:pt x="217" y="54"/>
                  </a:cubicBezTo>
                  <a:close/>
                  <a:moveTo>
                    <a:pt x="198" y="30"/>
                  </a:moveTo>
                  <a:cubicBezTo>
                    <a:pt x="200" y="29"/>
                    <a:pt x="204" y="29"/>
                    <a:pt x="206" y="31"/>
                  </a:cubicBezTo>
                  <a:cubicBezTo>
                    <a:pt x="208" y="34"/>
                    <a:pt x="208" y="38"/>
                    <a:pt x="206" y="41"/>
                  </a:cubicBezTo>
                  <a:cubicBezTo>
                    <a:pt x="203" y="43"/>
                    <a:pt x="200" y="44"/>
                    <a:pt x="197" y="41"/>
                  </a:cubicBezTo>
                  <a:cubicBezTo>
                    <a:pt x="197" y="41"/>
                    <a:pt x="197" y="41"/>
                    <a:pt x="196" y="41"/>
                  </a:cubicBezTo>
                  <a:cubicBezTo>
                    <a:pt x="194" y="38"/>
                    <a:pt x="194" y="34"/>
                    <a:pt x="196" y="31"/>
                  </a:cubicBezTo>
                  <a:cubicBezTo>
                    <a:pt x="197" y="31"/>
                    <a:pt x="197" y="31"/>
                    <a:pt x="198" y="30"/>
                  </a:cubicBezTo>
                  <a:close/>
                  <a:moveTo>
                    <a:pt x="173" y="13"/>
                  </a:moveTo>
                  <a:cubicBezTo>
                    <a:pt x="175" y="12"/>
                    <a:pt x="177" y="12"/>
                    <a:pt x="179" y="13"/>
                  </a:cubicBezTo>
                  <a:cubicBezTo>
                    <a:pt x="179" y="13"/>
                    <a:pt x="180" y="13"/>
                    <a:pt x="180" y="13"/>
                  </a:cubicBezTo>
                  <a:cubicBezTo>
                    <a:pt x="183" y="15"/>
                    <a:pt x="184" y="18"/>
                    <a:pt x="182" y="22"/>
                  </a:cubicBezTo>
                  <a:cubicBezTo>
                    <a:pt x="181" y="25"/>
                    <a:pt x="177" y="26"/>
                    <a:pt x="174" y="25"/>
                  </a:cubicBezTo>
                  <a:cubicBezTo>
                    <a:pt x="177" y="19"/>
                    <a:pt x="177" y="19"/>
                    <a:pt x="177" y="19"/>
                  </a:cubicBezTo>
                  <a:cubicBezTo>
                    <a:pt x="173" y="24"/>
                    <a:pt x="173" y="24"/>
                    <a:pt x="173" y="24"/>
                  </a:cubicBezTo>
                  <a:cubicBezTo>
                    <a:pt x="170" y="23"/>
                    <a:pt x="169" y="19"/>
                    <a:pt x="170" y="16"/>
                  </a:cubicBezTo>
                  <a:cubicBezTo>
                    <a:pt x="171" y="14"/>
                    <a:pt x="172" y="13"/>
                    <a:pt x="173" y="13"/>
                  </a:cubicBezTo>
                  <a:close/>
                  <a:moveTo>
                    <a:pt x="144" y="3"/>
                  </a:moveTo>
                  <a:cubicBezTo>
                    <a:pt x="146" y="2"/>
                    <a:pt x="147" y="2"/>
                    <a:pt x="149" y="2"/>
                  </a:cubicBezTo>
                  <a:cubicBezTo>
                    <a:pt x="152" y="3"/>
                    <a:pt x="155" y="6"/>
                    <a:pt x="154" y="10"/>
                  </a:cubicBezTo>
                  <a:cubicBezTo>
                    <a:pt x="153" y="13"/>
                    <a:pt x="150" y="16"/>
                    <a:pt x="147" y="15"/>
                  </a:cubicBezTo>
                  <a:cubicBezTo>
                    <a:pt x="147" y="15"/>
                    <a:pt x="146" y="15"/>
                    <a:pt x="146" y="15"/>
                  </a:cubicBezTo>
                  <a:cubicBezTo>
                    <a:pt x="143" y="14"/>
                    <a:pt x="140" y="11"/>
                    <a:pt x="141" y="7"/>
                  </a:cubicBezTo>
                  <a:cubicBezTo>
                    <a:pt x="141" y="5"/>
                    <a:pt x="143" y="4"/>
                    <a:pt x="144" y="3"/>
                  </a:cubicBezTo>
                  <a:close/>
                  <a:moveTo>
                    <a:pt x="114" y="1"/>
                  </a:moveTo>
                  <a:cubicBezTo>
                    <a:pt x="115" y="1"/>
                    <a:pt x="116" y="1"/>
                    <a:pt x="117" y="0"/>
                  </a:cubicBezTo>
                  <a:cubicBezTo>
                    <a:pt x="120" y="0"/>
                    <a:pt x="124" y="3"/>
                    <a:pt x="124" y="6"/>
                  </a:cubicBezTo>
                  <a:cubicBezTo>
                    <a:pt x="124" y="10"/>
                    <a:pt x="122" y="13"/>
                    <a:pt x="118" y="13"/>
                  </a:cubicBezTo>
                  <a:cubicBezTo>
                    <a:pt x="118" y="13"/>
                    <a:pt x="118" y="13"/>
                    <a:pt x="118" y="13"/>
                  </a:cubicBezTo>
                  <a:cubicBezTo>
                    <a:pt x="114" y="14"/>
                    <a:pt x="111" y="11"/>
                    <a:pt x="111" y="7"/>
                  </a:cubicBezTo>
                  <a:cubicBezTo>
                    <a:pt x="110" y="5"/>
                    <a:pt x="112" y="2"/>
                    <a:pt x="114" y="1"/>
                  </a:cubicBezTo>
                  <a:close/>
                  <a:moveTo>
                    <a:pt x="84" y="8"/>
                  </a:moveTo>
                  <a:cubicBezTo>
                    <a:pt x="85" y="8"/>
                    <a:pt x="85" y="8"/>
                    <a:pt x="85" y="8"/>
                  </a:cubicBezTo>
                  <a:cubicBezTo>
                    <a:pt x="89" y="6"/>
                    <a:pt x="93" y="8"/>
                    <a:pt x="94" y="11"/>
                  </a:cubicBezTo>
                  <a:cubicBezTo>
                    <a:pt x="95" y="15"/>
                    <a:pt x="94" y="18"/>
                    <a:pt x="90" y="20"/>
                  </a:cubicBezTo>
                  <a:cubicBezTo>
                    <a:pt x="90" y="20"/>
                    <a:pt x="90" y="20"/>
                    <a:pt x="90" y="20"/>
                  </a:cubicBezTo>
                  <a:cubicBezTo>
                    <a:pt x="86" y="21"/>
                    <a:pt x="83" y="19"/>
                    <a:pt x="81" y="16"/>
                  </a:cubicBezTo>
                  <a:cubicBezTo>
                    <a:pt x="80" y="13"/>
                    <a:pt x="82" y="10"/>
                    <a:pt x="84" y="8"/>
                  </a:cubicBezTo>
                  <a:close/>
                  <a:moveTo>
                    <a:pt x="57" y="22"/>
                  </a:moveTo>
                  <a:cubicBezTo>
                    <a:pt x="60" y="20"/>
                    <a:pt x="65" y="21"/>
                    <a:pt x="66" y="25"/>
                  </a:cubicBezTo>
                  <a:cubicBezTo>
                    <a:pt x="68" y="28"/>
                    <a:pt x="67" y="31"/>
                    <a:pt x="64" y="33"/>
                  </a:cubicBezTo>
                  <a:cubicBezTo>
                    <a:pt x="64" y="34"/>
                    <a:pt x="64" y="34"/>
                    <a:pt x="64" y="34"/>
                  </a:cubicBezTo>
                  <a:cubicBezTo>
                    <a:pt x="61" y="35"/>
                    <a:pt x="57" y="34"/>
                    <a:pt x="55" y="31"/>
                  </a:cubicBezTo>
                  <a:cubicBezTo>
                    <a:pt x="53" y="28"/>
                    <a:pt x="54" y="24"/>
                    <a:pt x="57" y="22"/>
                  </a:cubicBezTo>
                  <a:close/>
                  <a:moveTo>
                    <a:pt x="31" y="37"/>
                  </a:moveTo>
                  <a:cubicBezTo>
                    <a:pt x="34" y="36"/>
                    <a:pt x="38" y="37"/>
                    <a:pt x="40" y="40"/>
                  </a:cubicBezTo>
                  <a:cubicBezTo>
                    <a:pt x="42" y="43"/>
                    <a:pt x="41" y="47"/>
                    <a:pt x="38" y="49"/>
                  </a:cubicBezTo>
                  <a:cubicBezTo>
                    <a:pt x="37" y="49"/>
                    <a:pt x="37" y="49"/>
                    <a:pt x="37" y="49"/>
                  </a:cubicBezTo>
                  <a:cubicBezTo>
                    <a:pt x="34" y="51"/>
                    <a:pt x="30" y="49"/>
                    <a:pt x="28" y="46"/>
                  </a:cubicBezTo>
                  <a:cubicBezTo>
                    <a:pt x="27" y="43"/>
                    <a:pt x="28" y="39"/>
                    <a:pt x="31" y="37"/>
                  </a:cubicBezTo>
                  <a:close/>
                  <a:moveTo>
                    <a:pt x="4" y="53"/>
                  </a:moveTo>
                  <a:cubicBezTo>
                    <a:pt x="7" y="51"/>
                    <a:pt x="12" y="52"/>
                    <a:pt x="13" y="55"/>
                  </a:cubicBezTo>
                  <a:cubicBezTo>
                    <a:pt x="15" y="58"/>
                    <a:pt x="14" y="62"/>
                    <a:pt x="11" y="64"/>
                  </a:cubicBezTo>
                  <a:cubicBezTo>
                    <a:pt x="11" y="64"/>
                    <a:pt x="11" y="64"/>
                    <a:pt x="11" y="64"/>
                  </a:cubicBezTo>
                  <a:cubicBezTo>
                    <a:pt x="8" y="66"/>
                    <a:pt x="4" y="65"/>
                    <a:pt x="2" y="62"/>
                  </a:cubicBezTo>
                  <a:cubicBezTo>
                    <a:pt x="0" y="59"/>
                    <a:pt x="1" y="55"/>
                    <a:pt x="4" y="53"/>
                  </a:cubicBezTo>
                  <a:close/>
                </a:path>
              </a:pathLst>
            </a:custGeom>
            <a:solidFill>
              <a:srgbClr val="000000"/>
            </a:solidFill>
            <a:ln>
              <a:noFill/>
              <a:prstDash val="sysDot"/>
            </a:ln>
          </p:spPr>
          <p:txBody>
            <a:bodyPr vert="horz" wrap="square" lIns="91440" tIns="45720" rIns="91440" bIns="45720" numCol="1" anchor="t" anchorCtr="0" compatLnSpc="1">
              <a:prstTxWarp prst="textNoShape">
                <a:avLst/>
              </a:prstTxWarp>
            </a:bodyPr>
            <a:lstStyle/>
            <a:p>
              <a:endParaRPr lang="zh-CN" altLang="en-US"/>
            </a:p>
          </p:txBody>
        </p:sp>
        <p:sp>
          <p:nvSpPr>
            <p:cNvPr id="37" name="Freeform 525">
              <a:extLst>
                <a:ext uri="{FF2B5EF4-FFF2-40B4-BE49-F238E27FC236}">
                  <a16:creationId xmlns:a16="http://schemas.microsoft.com/office/drawing/2014/main" id="{9352F8DC-D085-464D-9ACB-833D31C1CC4D}"/>
                </a:ext>
              </a:extLst>
            </p:cNvPr>
            <p:cNvSpPr>
              <a:spLocks/>
            </p:cNvSpPr>
            <p:nvPr/>
          </p:nvSpPr>
          <p:spPr bwMode="auto">
            <a:xfrm>
              <a:off x="4157663" y="4030662"/>
              <a:ext cx="146050" cy="117475"/>
            </a:xfrm>
            <a:custGeom>
              <a:avLst/>
              <a:gdLst>
                <a:gd name="T0" fmla="*/ 92 w 92"/>
                <a:gd name="T1" fmla="*/ 0 h 74"/>
                <a:gd name="T2" fmla="*/ 74 w 92"/>
                <a:gd name="T3" fmla="*/ 74 h 74"/>
                <a:gd name="T4" fmla="*/ 0 w 92"/>
                <a:gd name="T5" fmla="*/ 56 h 74"/>
                <a:gd name="T6" fmla="*/ 92 w 92"/>
                <a:gd name="T7" fmla="*/ 0 h 74"/>
                <a:gd name="T8" fmla="*/ 92 w 92"/>
                <a:gd name="T9" fmla="*/ 0 h 74"/>
              </a:gdLst>
              <a:ahLst/>
              <a:cxnLst>
                <a:cxn ang="0">
                  <a:pos x="T0" y="T1"/>
                </a:cxn>
                <a:cxn ang="0">
                  <a:pos x="T2" y="T3"/>
                </a:cxn>
                <a:cxn ang="0">
                  <a:pos x="T4" y="T5"/>
                </a:cxn>
                <a:cxn ang="0">
                  <a:pos x="T6" y="T7"/>
                </a:cxn>
                <a:cxn ang="0">
                  <a:pos x="T8" y="T9"/>
                </a:cxn>
              </a:cxnLst>
              <a:rect l="0" t="0" r="r" b="b"/>
              <a:pathLst>
                <a:path w="92" h="74">
                  <a:moveTo>
                    <a:pt x="92" y="0"/>
                  </a:moveTo>
                  <a:lnTo>
                    <a:pt x="74" y="74"/>
                  </a:lnTo>
                  <a:lnTo>
                    <a:pt x="0" y="56"/>
                  </a:lnTo>
                  <a:lnTo>
                    <a:pt x="92" y="0"/>
                  </a:lnTo>
                  <a:lnTo>
                    <a:pt x="92"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3325639909"/>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4">
            <a:extLst>
              <a:ext uri="{FF2B5EF4-FFF2-40B4-BE49-F238E27FC236}">
                <a16:creationId xmlns:a16="http://schemas.microsoft.com/office/drawing/2014/main" id="{F62AE47A-C544-AA4C-8F71-F07D1BEF7072}"/>
              </a:ext>
            </a:extLst>
          </p:cNvPr>
          <p:cNvGrpSpPr>
            <a:grpSpLocks noChangeAspect="1"/>
          </p:cNvGrpSpPr>
          <p:nvPr/>
        </p:nvGrpSpPr>
        <p:grpSpPr bwMode="auto">
          <a:xfrm>
            <a:off x="4548828" y="2167825"/>
            <a:ext cx="3094344" cy="3095586"/>
            <a:chOff x="1646" y="993"/>
            <a:chExt cx="2489" cy="2490"/>
          </a:xfrm>
        </p:grpSpPr>
        <p:sp>
          <p:nvSpPr>
            <p:cNvPr id="32" name="Freeform 31">
              <a:extLst>
                <a:ext uri="{FF2B5EF4-FFF2-40B4-BE49-F238E27FC236}">
                  <a16:creationId xmlns:a16="http://schemas.microsoft.com/office/drawing/2014/main" id="{C992513E-9CF8-974D-A6D1-DCCC85F3D61F}"/>
                </a:ext>
              </a:extLst>
            </p:cNvPr>
            <p:cNvSpPr>
              <a:spLocks/>
            </p:cNvSpPr>
            <p:nvPr/>
          </p:nvSpPr>
          <p:spPr bwMode="auto">
            <a:xfrm>
              <a:off x="2604" y="993"/>
              <a:ext cx="1523" cy="1523"/>
            </a:xfrm>
            <a:custGeom>
              <a:avLst/>
              <a:gdLst>
                <a:gd name="T0" fmla="*/ 598 w 2014"/>
                <a:gd name="T1" fmla="*/ 1645 h 2013"/>
                <a:gd name="T2" fmla="*/ 598 w 2014"/>
                <a:gd name="T3" fmla="*/ 1645 h 2013"/>
                <a:gd name="T4" fmla="*/ 1007 w 2014"/>
                <a:gd name="T5" fmla="*/ 2013 h 2013"/>
                <a:gd name="T6" fmla="*/ 2014 w 2014"/>
                <a:gd name="T7" fmla="*/ 1006 h 2013"/>
                <a:gd name="T8" fmla="*/ 1007 w 2014"/>
                <a:gd name="T9" fmla="*/ 0 h 2013"/>
                <a:gd name="T10" fmla="*/ 0 w 2014"/>
                <a:gd name="T11" fmla="*/ 1006 h 2013"/>
                <a:gd name="T12" fmla="*/ 375 w 2014"/>
                <a:gd name="T13" fmla="*/ 1424 h 2013"/>
                <a:gd name="T14" fmla="*/ 383 w 2014"/>
                <a:gd name="T15" fmla="*/ 1006 h 2013"/>
                <a:gd name="T16" fmla="*/ 1007 w 2014"/>
                <a:gd name="T17" fmla="*/ 382 h 2013"/>
                <a:gd name="T18" fmla="*/ 1630 w 2014"/>
                <a:gd name="T19" fmla="*/ 1006 h 2013"/>
                <a:gd name="T20" fmla="*/ 1008 w 2014"/>
                <a:gd name="T21" fmla="*/ 1641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4" h="2013">
                  <a:moveTo>
                    <a:pt x="598" y="1645"/>
                  </a:moveTo>
                  <a:lnTo>
                    <a:pt x="598" y="1645"/>
                  </a:lnTo>
                  <a:cubicBezTo>
                    <a:pt x="598" y="1645"/>
                    <a:pt x="758" y="1787"/>
                    <a:pt x="1007" y="2013"/>
                  </a:cubicBezTo>
                  <a:cubicBezTo>
                    <a:pt x="1563" y="2013"/>
                    <a:pt x="2014" y="1562"/>
                    <a:pt x="2014" y="1006"/>
                  </a:cubicBezTo>
                  <a:cubicBezTo>
                    <a:pt x="2014" y="450"/>
                    <a:pt x="1563" y="0"/>
                    <a:pt x="1007" y="0"/>
                  </a:cubicBezTo>
                  <a:cubicBezTo>
                    <a:pt x="451" y="0"/>
                    <a:pt x="0" y="450"/>
                    <a:pt x="0" y="1006"/>
                  </a:cubicBezTo>
                  <a:cubicBezTo>
                    <a:pt x="194" y="1223"/>
                    <a:pt x="375" y="1424"/>
                    <a:pt x="375" y="1424"/>
                  </a:cubicBezTo>
                  <a:cubicBezTo>
                    <a:pt x="375" y="1424"/>
                    <a:pt x="382" y="1246"/>
                    <a:pt x="383" y="1006"/>
                  </a:cubicBezTo>
                  <a:cubicBezTo>
                    <a:pt x="385" y="662"/>
                    <a:pt x="662" y="382"/>
                    <a:pt x="1007" y="382"/>
                  </a:cubicBezTo>
                  <a:cubicBezTo>
                    <a:pt x="1351" y="382"/>
                    <a:pt x="1630" y="662"/>
                    <a:pt x="1630" y="1006"/>
                  </a:cubicBezTo>
                  <a:cubicBezTo>
                    <a:pt x="1630" y="1350"/>
                    <a:pt x="1353" y="1641"/>
                    <a:pt x="1008" y="1641"/>
                  </a:cubicBezTo>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32">
              <a:extLst>
                <a:ext uri="{FF2B5EF4-FFF2-40B4-BE49-F238E27FC236}">
                  <a16:creationId xmlns:a16="http://schemas.microsoft.com/office/drawing/2014/main" id="{5E2B5D4E-6E32-324B-9C3E-F27FEA1E5752}"/>
                </a:ext>
              </a:extLst>
            </p:cNvPr>
            <p:cNvSpPr>
              <a:spLocks/>
            </p:cNvSpPr>
            <p:nvPr/>
          </p:nvSpPr>
          <p:spPr bwMode="auto">
            <a:xfrm>
              <a:off x="1646" y="1001"/>
              <a:ext cx="1523" cy="1523"/>
            </a:xfrm>
            <a:custGeom>
              <a:avLst/>
              <a:gdLst>
                <a:gd name="T0" fmla="*/ 1646 w 2014"/>
                <a:gd name="T1" fmla="*/ 1416 h 2014"/>
                <a:gd name="T2" fmla="*/ 1646 w 2014"/>
                <a:gd name="T3" fmla="*/ 1416 h 2014"/>
                <a:gd name="T4" fmla="*/ 2014 w 2014"/>
                <a:gd name="T5" fmla="*/ 1007 h 2014"/>
                <a:gd name="T6" fmla="*/ 1007 w 2014"/>
                <a:gd name="T7" fmla="*/ 0 h 2014"/>
                <a:gd name="T8" fmla="*/ 0 w 2014"/>
                <a:gd name="T9" fmla="*/ 1007 h 2014"/>
                <a:gd name="T10" fmla="*/ 1007 w 2014"/>
                <a:gd name="T11" fmla="*/ 2014 h 2014"/>
                <a:gd name="T12" fmla="*/ 1424 w 2014"/>
                <a:gd name="T13" fmla="*/ 1639 h 2014"/>
                <a:gd name="T14" fmla="*/ 1007 w 2014"/>
                <a:gd name="T15" fmla="*/ 1631 h 2014"/>
                <a:gd name="T16" fmla="*/ 383 w 2014"/>
                <a:gd name="T17" fmla="*/ 1007 h 2014"/>
                <a:gd name="T18" fmla="*/ 1007 w 2014"/>
                <a:gd name="T19" fmla="*/ 384 h 2014"/>
                <a:gd name="T20" fmla="*/ 1642 w 2014"/>
                <a:gd name="T21" fmla="*/ 1006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4" h="2014">
                  <a:moveTo>
                    <a:pt x="1646" y="1416"/>
                  </a:moveTo>
                  <a:lnTo>
                    <a:pt x="1646" y="1416"/>
                  </a:lnTo>
                  <a:cubicBezTo>
                    <a:pt x="1646" y="1416"/>
                    <a:pt x="1788" y="1256"/>
                    <a:pt x="2014" y="1007"/>
                  </a:cubicBezTo>
                  <a:cubicBezTo>
                    <a:pt x="2014" y="451"/>
                    <a:pt x="1563" y="0"/>
                    <a:pt x="1007" y="0"/>
                  </a:cubicBezTo>
                  <a:cubicBezTo>
                    <a:pt x="450" y="0"/>
                    <a:pt x="0" y="451"/>
                    <a:pt x="0" y="1007"/>
                  </a:cubicBezTo>
                  <a:cubicBezTo>
                    <a:pt x="0" y="1563"/>
                    <a:pt x="450" y="2014"/>
                    <a:pt x="1007" y="2014"/>
                  </a:cubicBezTo>
                  <a:cubicBezTo>
                    <a:pt x="1224" y="1820"/>
                    <a:pt x="1424" y="1639"/>
                    <a:pt x="1424" y="1639"/>
                  </a:cubicBezTo>
                  <a:cubicBezTo>
                    <a:pt x="1424" y="1639"/>
                    <a:pt x="1247" y="1632"/>
                    <a:pt x="1007" y="1631"/>
                  </a:cubicBezTo>
                  <a:cubicBezTo>
                    <a:pt x="662" y="1629"/>
                    <a:pt x="383" y="1352"/>
                    <a:pt x="383" y="1007"/>
                  </a:cubicBezTo>
                  <a:cubicBezTo>
                    <a:pt x="383" y="663"/>
                    <a:pt x="662" y="384"/>
                    <a:pt x="1007" y="384"/>
                  </a:cubicBezTo>
                  <a:cubicBezTo>
                    <a:pt x="1351" y="384"/>
                    <a:pt x="1642" y="661"/>
                    <a:pt x="1642" y="1006"/>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33">
              <a:extLst>
                <a:ext uri="{FF2B5EF4-FFF2-40B4-BE49-F238E27FC236}">
                  <a16:creationId xmlns:a16="http://schemas.microsoft.com/office/drawing/2014/main" id="{4D0708C1-D5BF-2A44-BE70-74F148779587}"/>
                </a:ext>
              </a:extLst>
            </p:cNvPr>
            <p:cNvSpPr>
              <a:spLocks/>
            </p:cNvSpPr>
            <p:nvPr/>
          </p:nvSpPr>
          <p:spPr bwMode="auto">
            <a:xfrm>
              <a:off x="1654" y="1959"/>
              <a:ext cx="1523" cy="1524"/>
            </a:xfrm>
            <a:custGeom>
              <a:avLst/>
              <a:gdLst>
                <a:gd name="T0" fmla="*/ 1416 w 2014"/>
                <a:gd name="T1" fmla="*/ 368 h 2015"/>
                <a:gd name="T2" fmla="*/ 1416 w 2014"/>
                <a:gd name="T3" fmla="*/ 368 h 2015"/>
                <a:gd name="T4" fmla="*/ 1007 w 2014"/>
                <a:gd name="T5" fmla="*/ 0 h 2015"/>
                <a:gd name="T6" fmla="*/ 0 w 2014"/>
                <a:gd name="T7" fmla="*/ 1007 h 2015"/>
                <a:gd name="T8" fmla="*/ 1007 w 2014"/>
                <a:gd name="T9" fmla="*/ 2015 h 2015"/>
                <a:gd name="T10" fmla="*/ 2014 w 2014"/>
                <a:gd name="T11" fmla="*/ 1007 h 2015"/>
                <a:gd name="T12" fmla="*/ 1639 w 2014"/>
                <a:gd name="T13" fmla="*/ 590 h 2015"/>
                <a:gd name="T14" fmla="*/ 1631 w 2014"/>
                <a:gd name="T15" fmla="*/ 1007 h 2015"/>
                <a:gd name="T16" fmla="*/ 1007 w 2014"/>
                <a:gd name="T17" fmla="*/ 1631 h 2015"/>
                <a:gd name="T18" fmla="*/ 383 w 2014"/>
                <a:gd name="T19" fmla="*/ 1007 h 2015"/>
                <a:gd name="T20" fmla="*/ 1006 w 2014"/>
                <a:gd name="T21" fmla="*/ 372 h 2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4" h="2015">
                  <a:moveTo>
                    <a:pt x="1416" y="368"/>
                  </a:moveTo>
                  <a:lnTo>
                    <a:pt x="1416" y="368"/>
                  </a:lnTo>
                  <a:cubicBezTo>
                    <a:pt x="1416" y="368"/>
                    <a:pt x="1255" y="226"/>
                    <a:pt x="1007" y="0"/>
                  </a:cubicBezTo>
                  <a:cubicBezTo>
                    <a:pt x="451" y="0"/>
                    <a:pt x="0" y="451"/>
                    <a:pt x="0" y="1007"/>
                  </a:cubicBezTo>
                  <a:cubicBezTo>
                    <a:pt x="0" y="1564"/>
                    <a:pt x="451" y="2015"/>
                    <a:pt x="1007" y="2015"/>
                  </a:cubicBezTo>
                  <a:cubicBezTo>
                    <a:pt x="1563" y="2015"/>
                    <a:pt x="2014" y="1564"/>
                    <a:pt x="2014" y="1007"/>
                  </a:cubicBezTo>
                  <a:cubicBezTo>
                    <a:pt x="1820" y="790"/>
                    <a:pt x="1639" y="590"/>
                    <a:pt x="1639" y="590"/>
                  </a:cubicBezTo>
                  <a:cubicBezTo>
                    <a:pt x="1639" y="590"/>
                    <a:pt x="1632" y="767"/>
                    <a:pt x="1631" y="1007"/>
                  </a:cubicBezTo>
                  <a:cubicBezTo>
                    <a:pt x="1629" y="1352"/>
                    <a:pt x="1351" y="1631"/>
                    <a:pt x="1007" y="1631"/>
                  </a:cubicBezTo>
                  <a:cubicBezTo>
                    <a:pt x="663" y="1631"/>
                    <a:pt x="383" y="1352"/>
                    <a:pt x="383" y="1007"/>
                  </a:cubicBezTo>
                  <a:cubicBezTo>
                    <a:pt x="383" y="663"/>
                    <a:pt x="661" y="372"/>
                    <a:pt x="1006" y="372"/>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34">
              <a:extLst>
                <a:ext uri="{FF2B5EF4-FFF2-40B4-BE49-F238E27FC236}">
                  <a16:creationId xmlns:a16="http://schemas.microsoft.com/office/drawing/2014/main" id="{25EE6933-BE4C-A54F-AD6E-7DBCF0B1C2BA}"/>
                </a:ext>
              </a:extLst>
            </p:cNvPr>
            <p:cNvSpPr>
              <a:spLocks/>
            </p:cNvSpPr>
            <p:nvPr/>
          </p:nvSpPr>
          <p:spPr bwMode="auto">
            <a:xfrm>
              <a:off x="2612" y="1951"/>
              <a:ext cx="1523" cy="1523"/>
            </a:xfrm>
            <a:custGeom>
              <a:avLst/>
              <a:gdLst>
                <a:gd name="T0" fmla="*/ 368 w 2014"/>
                <a:gd name="T1" fmla="*/ 598 h 2014"/>
                <a:gd name="T2" fmla="*/ 368 w 2014"/>
                <a:gd name="T3" fmla="*/ 598 h 2014"/>
                <a:gd name="T4" fmla="*/ 0 w 2014"/>
                <a:gd name="T5" fmla="*/ 1007 h 2014"/>
                <a:gd name="T6" fmla="*/ 1007 w 2014"/>
                <a:gd name="T7" fmla="*/ 2014 h 2014"/>
                <a:gd name="T8" fmla="*/ 2014 w 2014"/>
                <a:gd name="T9" fmla="*/ 1007 h 2014"/>
                <a:gd name="T10" fmla="*/ 1007 w 2014"/>
                <a:gd name="T11" fmla="*/ 0 h 2014"/>
                <a:gd name="T12" fmla="*/ 589 w 2014"/>
                <a:gd name="T13" fmla="*/ 376 h 2014"/>
                <a:gd name="T14" fmla="*/ 1007 w 2014"/>
                <a:gd name="T15" fmla="*/ 384 h 2014"/>
                <a:gd name="T16" fmla="*/ 1631 w 2014"/>
                <a:gd name="T17" fmla="*/ 1007 h 2014"/>
                <a:gd name="T18" fmla="*/ 1007 w 2014"/>
                <a:gd name="T19" fmla="*/ 1631 h 2014"/>
                <a:gd name="T20" fmla="*/ 372 w 2014"/>
                <a:gd name="T21" fmla="*/ 1008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4" h="2014">
                  <a:moveTo>
                    <a:pt x="368" y="598"/>
                  </a:moveTo>
                  <a:lnTo>
                    <a:pt x="368" y="598"/>
                  </a:lnTo>
                  <a:cubicBezTo>
                    <a:pt x="368" y="598"/>
                    <a:pt x="226" y="759"/>
                    <a:pt x="0" y="1007"/>
                  </a:cubicBezTo>
                  <a:cubicBezTo>
                    <a:pt x="0" y="1563"/>
                    <a:pt x="451" y="2014"/>
                    <a:pt x="1007" y="2014"/>
                  </a:cubicBezTo>
                  <a:cubicBezTo>
                    <a:pt x="1563" y="2014"/>
                    <a:pt x="2014" y="1563"/>
                    <a:pt x="2014" y="1007"/>
                  </a:cubicBezTo>
                  <a:cubicBezTo>
                    <a:pt x="2014" y="451"/>
                    <a:pt x="1563" y="0"/>
                    <a:pt x="1007" y="0"/>
                  </a:cubicBezTo>
                  <a:cubicBezTo>
                    <a:pt x="790" y="194"/>
                    <a:pt x="589" y="376"/>
                    <a:pt x="589" y="376"/>
                  </a:cubicBezTo>
                  <a:cubicBezTo>
                    <a:pt x="589" y="376"/>
                    <a:pt x="767" y="382"/>
                    <a:pt x="1007" y="384"/>
                  </a:cubicBezTo>
                  <a:cubicBezTo>
                    <a:pt x="1351" y="385"/>
                    <a:pt x="1631" y="663"/>
                    <a:pt x="1631" y="1007"/>
                  </a:cubicBezTo>
                  <a:cubicBezTo>
                    <a:pt x="1631" y="1351"/>
                    <a:pt x="1351" y="1631"/>
                    <a:pt x="1007" y="1631"/>
                  </a:cubicBezTo>
                  <a:cubicBezTo>
                    <a:pt x="663" y="1631"/>
                    <a:pt x="372" y="1353"/>
                    <a:pt x="372" y="1008"/>
                  </a:cubicBezTo>
                </a:path>
              </a:pathLst>
            </a:custGeom>
            <a:solidFill>
              <a:srgbClr val="009A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a:extLst>
              <a:ext uri="{FF2B5EF4-FFF2-40B4-BE49-F238E27FC236}">
                <a16:creationId xmlns:a16="http://schemas.microsoft.com/office/drawing/2014/main" id="{BA88319F-249A-0645-B98B-16FD77BDB635}"/>
              </a:ext>
            </a:extLst>
          </p:cNvPr>
          <p:cNvGrpSpPr/>
          <p:nvPr/>
        </p:nvGrpSpPr>
        <p:grpSpPr>
          <a:xfrm>
            <a:off x="5201517" y="2794114"/>
            <a:ext cx="1788969" cy="1843008"/>
            <a:chOff x="3481619" y="2999178"/>
            <a:chExt cx="1999786" cy="2060193"/>
          </a:xfrm>
        </p:grpSpPr>
        <p:sp>
          <p:nvSpPr>
            <p:cNvPr id="37" name="Oval 36">
              <a:extLst>
                <a:ext uri="{FF2B5EF4-FFF2-40B4-BE49-F238E27FC236}">
                  <a16:creationId xmlns:a16="http://schemas.microsoft.com/office/drawing/2014/main" id="{BB294A60-359A-3144-BC46-BCEC6BAEC45C}"/>
                </a:ext>
              </a:extLst>
            </p:cNvPr>
            <p:cNvSpPr/>
            <p:nvPr/>
          </p:nvSpPr>
          <p:spPr bwMode="gray">
            <a:xfrm>
              <a:off x="3481619" y="2999178"/>
              <a:ext cx="1999786" cy="1999786"/>
            </a:xfrm>
            <a:prstGeom prst="ellipse">
              <a:avLst/>
            </a:prstGeom>
            <a:solidFill>
              <a:schemeClr val="accent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8" name="Oval 37">
              <a:extLst>
                <a:ext uri="{FF2B5EF4-FFF2-40B4-BE49-F238E27FC236}">
                  <a16:creationId xmlns:a16="http://schemas.microsoft.com/office/drawing/2014/main" id="{AA2F308B-BE7E-134D-A247-40C4944079BE}"/>
                </a:ext>
              </a:extLst>
            </p:cNvPr>
            <p:cNvSpPr/>
            <p:nvPr/>
          </p:nvSpPr>
          <p:spPr bwMode="gray">
            <a:xfrm>
              <a:off x="3850765" y="3368324"/>
              <a:ext cx="1261494" cy="1261494"/>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9" name="TextBox 38">
              <a:extLst>
                <a:ext uri="{FF2B5EF4-FFF2-40B4-BE49-F238E27FC236}">
                  <a16:creationId xmlns:a16="http://schemas.microsoft.com/office/drawing/2014/main" id="{0196250F-F66F-ED45-83DD-C362EE47E114}"/>
                </a:ext>
              </a:extLst>
            </p:cNvPr>
            <p:cNvSpPr txBox="1"/>
            <p:nvPr/>
          </p:nvSpPr>
          <p:spPr>
            <a:xfrm>
              <a:off x="3915234" y="3766879"/>
              <a:ext cx="1132556" cy="378450"/>
            </a:xfrm>
            <a:prstGeom prst="rect">
              <a:avLst/>
            </a:prstGeom>
            <a:noFill/>
          </p:spPr>
          <p:txBody>
            <a:bodyPr vert="horz" wrap="square" lIns="0" tIns="0" rIns="0" bIns="0" rtlCol="0">
              <a:spAutoFit/>
            </a:bodyPr>
            <a:lstStyle/>
            <a:p>
              <a:pPr algn="ctr">
                <a:buSzPct val="100000"/>
              </a:pPr>
              <a:r>
                <a:rPr lang="en-US" sz="1100" b="1" dirty="0"/>
                <a:t>Lorem ipsum</a:t>
              </a:r>
            </a:p>
            <a:p>
              <a:pPr algn="ctr">
                <a:buSzPct val="100000"/>
              </a:pPr>
              <a:r>
                <a:rPr lang="en-US" sz="1100" b="1" dirty="0"/>
                <a:t>Lorem ipsum</a:t>
              </a:r>
            </a:p>
          </p:txBody>
        </p:sp>
        <p:sp>
          <p:nvSpPr>
            <p:cNvPr id="40" name="Rectangle 39">
              <a:extLst>
                <a:ext uri="{FF2B5EF4-FFF2-40B4-BE49-F238E27FC236}">
                  <a16:creationId xmlns:a16="http://schemas.microsoft.com/office/drawing/2014/main" id="{1B03F5C0-D2DA-7941-A881-ACB579EDC371}"/>
                </a:ext>
              </a:extLst>
            </p:cNvPr>
            <p:cNvSpPr/>
            <p:nvPr/>
          </p:nvSpPr>
          <p:spPr>
            <a:xfrm>
              <a:off x="3634262" y="3212004"/>
              <a:ext cx="1682745" cy="1847367"/>
            </a:xfrm>
            <a:prstGeom prst="rect">
              <a:avLst/>
            </a:prstGeom>
          </p:spPr>
          <p:txBody>
            <a:bodyPr wrap="none">
              <a:prstTxWarp prst="textArchUp">
                <a:avLst/>
              </a:prstTxWarp>
              <a:spAutoFit/>
            </a:bodyPr>
            <a:lstStyle/>
            <a:p>
              <a:pPr algn="ctr"/>
              <a:r>
                <a:rPr lang="en-US" sz="1300" b="1" dirty="0">
                  <a:solidFill>
                    <a:srgbClr val="FFFFFF"/>
                  </a:solidFill>
                  <a:latin typeface="+mj-lt"/>
                </a:rPr>
                <a:t>Lorem ipsum</a:t>
              </a:r>
            </a:p>
          </p:txBody>
        </p:sp>
      </p:grpSp>
      <p:sp>
        <p:nvSpPr>
          <p:cNvPr id="41" name="Rectangle 40">
            <a:extLst>
              <a:ext uri="{FF2B5EF4-FFF2-40B4-BE49-F238E27FC236}">
                <a16:creationId xmlns:a16="http://schemas.microsoft.com/office/drawing/2014/main" id="{28C3BBFD-5442-DA45-AE3C-8AEA1A0D3974}"/>
              </a:ext>
            </a:extLst>
          </p:cNvPr>
          <p:cNvSpPr/>
          <p:nvPr/>
        </p:nvSpPr>
        <p:spPr>
          <a:xfrm>
            <a:off x="503221" y="1703406"/>
            <a:ext cx="3724235" cy="1200329"/>
          </a:xfrm>
          <a:prstGeom prst="rect">
            <a:avLst/>
          </a:prstGeom>
        </p:spPr>
        <p:txBody>
          <a:bodyPr wrap="square" lIns="0" tIns="0" rIns="0" bIns="0">
            <a:spAutoFit/>
          </a:bodyPr>
          <a:lstStyle/>
          <a:p>
            <a:pPr marL="0" lvl="1">
              <a:buSzPct val="100000"/>
            </a:pPr>
            <a:r>
              <a:rPr lang="en-US" sz="1300" b="1" dirty="0">
                <a:solidFill>
                  <a:schemeClr val="accent1"/>
                </a:solidFill>
              </a:rPr>
              <a:t>Lorem ipsum </a:t>
            </a:r>
          </a:p>
          <a:p>
            <a:pPr marL="128016" lvl="1" indent="-128016">
              <a:buSzPct val="100000"/>
              <a:buFont typeface="Arial"/>
              <a:buChar char="•"/>
            </a:pPr>
            <a:r>
              <a:rPr lang="en-US" sz="1300" dirty="0"/>
              <a:t>This is dummy text it is not here to be read. The is just text to show where you could insert text. The is just text to show where you could insert text. </a:t>
            </a:r>
          </a:p>
          <a:p>
            <a:pPr marL="128016" lvl="1" indent="-128016">
              <a:buSzPct val="100000"/>
              <a:buFont typeface="Arial"/>
              <a:buChar char="•"/>
            </a:pPr>
            <a:endParaRPr lang="en-US" sz="1300" dirty="0"/>
          </a:p>
          <a:p>
            <a:pPr marL="128016" lvl="1" indent="-128016">
              <a:buSzPct val="100000"/>
              <a:buFont typeface="Arial"/>
              <a:buChar char="•"/>
            </a:pPr>
            <a:r>
              <a:rPr lang="en-US" sz="1300" dirty="0"/>
              <a:t>Please replace with your text content here.</a:t>
            </a:r>
          </a:p>
        </p:txBody>
      </p:sp>
      <p:sp>
        <p:nvSpPr>
          <p:cNvPr id="71" name="Rectangle 70">
            <a:extLst>
              <a:ext uri="{FF2B5EF4-FFF2-40B4-BE49-F238E27FC236}">
                <a16:creationId xmlns:a16="http://schemas.microsoft.com/office/drawing/2014/main" id="{59CB112F-86B5-3049-9D35-85140D4054FC}"/>
              </a:ext>
            </a:extLst>
          </p:cNvPr>
          <p:cNvSpPr/>
          <p:nvPr/>
        </p:nvSpPr>
        <p:spPr>
          <a:xfrm>
            <a:off x="503221" y="4183295"/>
            <a:ext cx="3724235" cy="1200329"/>
          </a:xfrm>
          <a:prstGeom prst="rect">
            <a:avLst/>
          </a:prstGeom>
        </p:spPr>
        <p:txBody>
          <a:bodyPr wrap="square" lIns="0" tIns="0" rIns="0" bIns="0">
            <a:spAutoFit/>
          </a:bodyPr>
          <a:lstStyle/>
          <a:p>
            <a:pPr marL="0" lvl="1">
              <a:buSzPct val="100000"/>
            </a:pPr>
            <a:r>
              <a:rPr lang="en-US" sz="1300" b="1" dirty="0">
                <a:solidFill>
                  <a:schemeClr val="accent3"/>
                </a:solidFill>
              </a:rPr>
              <a:t>Lorem ipsum </a:t>
            </a:r>
          </a:p>
          <a:p>
            <a:pPr marL="128016" lvl="1" indent="-128016">
              <a:buSzPct val="100000"/>
              <a:buFont typeface="Arial"/>
              <a:buChar char="•"/>
            </a:pPr>
            <a:r>
              <a:rPr lang="en-US" sz="1300" dirty="0"/>
              <a:t>This is dummy text it is not here to be read. The is just text to show where you could insert text. The is just text to show where you could insert text. </a:t>
            </a:r>
          </a:p>
          <a:p>
            <a:pPr marL="128016" lvl="1" indent="-128016">
              <a:buSzPct val="100000"/>
              <a:buFont typeface="Arial"/>
              <a:buChar char="•"/>
            </a:pPr>
            <a:endParaRPr lang="en-US" sz="1300" dirty="0"/>
          </a:p>
          <a:p>
            <a:pPr marL="128016" lvl="1" indent="-128016">
              <a:buSzPct val="100000"/>
              <a:buFont typeface="Arial"/>
              <a:buChar char="•"/>
            </a:pPr>
            <a:r>
              <a:rPr lang="en-US" sz="1300" dirty="0"/>
              <a:t>Please replace with your text content here.</a:t>
            </a:r>
          </a:p>
        </p:txBody>
      </p:sp>
      <p:sp>
        <p:nvSpPr>
          <p:cNvPr id="72" name="Rectangle 71">
            <a:extLst>
              <a:ext uri="{FF2B5EF4-FFF2-40B4-BE49-F238E27FC236}">
                <a16:creationId xmlns:a16="http://schemas.microsoft.com/office/drawing/2014/main" id="{C7478A14-BCDC-5446-B6C3-404AE53BE506}"/>
              </a:ext>
            </a:extLst>
          </p:cNvPr>
          <p:cNvSpPr/>
          <p:nvPr/>
        </p:nvSpPr>
        <p:spPr>
          <a:xfrm>
            <a:off x="7928017" y="1703407"/>
            <a:ext cx="3736933" cy="1200329"/>
          </a:xfrm>
          <a:prstGeom prst="rect">
            <a:avLst/>
          </a:prstGeom>
        </p:spPr>
        <p:txBody>
          <a:bodyPr wrap="square" lIns="0" tIns="0" rIns="0" bIns="0">
            <a:spAutoFit/>
          </a:bodyPr>
          <a:lstStyle/>
          <a:p>
            <a:pPr marL="0" lvl="1">
              <a:buSzPct val="100000"/>
            </a:pPr>
            <a:r>
              <a:rPr lang="en-US" sz="1300" b="1" dirty="0">
                <a:solidFill>
                  <a:schemeClr val="accent2"/>
                </a:solidFill>
              </a:rPr>
              <a:t>Lorem ipsum </a:t>
            </a:r>
          </a:p>
          <a:p>
            <a:pPr marL="128016" lvl="1" indent="-128016">
              <a:buSzPct val="100000"/>
              <a:buFont typeface="Arial"/>
              <a:buChar char="•"/>
            </a:pPr>
            <a:r>
              <a:rPr lang="en-US" sz="1300" dirty="0"/>
              <a:t>This is dummy text it is not here to be read. The is just text to show where you could insert text. The is just text to show where you could insert text. </a:t>
            </a:r>
          </a:p>
          <a:p>
            <a:pPr marL="128016" lvl="1" indent="-128016">
              <a:buSzPct val="100000"/>
              <a:buFont typeface="Arial"/>
              <a:buChar char="•"/>
            </a:pPr>
            <a:endParaRPr lang="en-US" sz="1300" dirty="0"/>
          </a:p>
          <a:p>
            <a:pPr marL="128016" lvl="1" indent="-128016">
              <a:buSzPct val="100000"/>
              <a:buFont typeface="Arial"/>
              <a:buChar char="•"/>
            </a:pPr>
            <a:r>
              <a:rPr lang="en-US" sz="1300" dirty="0"/>
              <a:t>Please replace with your text content here.</a:t>
            </a:r>
          </a:p>
        </p:txBody>
      </p:sp>
      <p:sp>
        <p:nvSpPr>
          <p:cNvPr id="73" name="Rectangle 72">
            <a:extLst>
              <a:ext uri="{FF2B5EF4-FFF2-40B4-BE49-F238E27FC236}">
                <a16:creationId xmlns:a16="http://schemas.microsoft.com/office/drawing/2014/main" id="{B367438D-92C1-D04F-BED3-7E03B4FD210A}"/>
              </a:ext>
            </a:extLst>
          </p:cNvPr>
          <p:cNvSpPr/>
          <p:nvPr/>
        </p:nvSpPr>
        <p:spPr>
          <a:xfrm>
            <a:off x="7928017" y="4183296"/>
            <a:ext cx="3736933" cy="1200329"/>
          </a:xfrm>
          <a:prstGeom prst="rect">
            <a:avLst/>
          </a:prstGeom>
        </p:spPr>
        <p:txBody>
          <a:bodyPr wrap="square" lIns="0" tIns="0" rIns="0" bIns="0">
            <a:spAutoFit/>
          </a:bodyPr>
          <a:lstStyle/>
          <a:p>
            <a:pPr marL="0" lvl="1">
              <a:buSzPct val="100000"/>
            </a:pPr>
            <a:r>
              <a:rPr lang="en-US" sz="1300" b="1" dirty="0">
                <a:solidFill>
                  <a:srgbClr val="009A44"/>
                </a:solidFill>
              </a:rPr>
              <a:t>Lorem ipsum </a:t>
            </a:r>
          </a:p>
          <a:p>
            <a:pPr marL="128016" lvl="1" indent="-128016">
              <a:buSzPct val="100000"/>
              <a:buFont typeface="Arial"/>
              <a:buChar char="•"/>
            </a:pPr>
            <a:r>
              <a:rPr lang="en-US" sz="1300" dirty="0"/>
              <a:t>This is dummy text it is not here to be read. The is just text to show where you could insert text. The is just text to show where you could insert text. </a:t>
            </a:r>
          </a:p>
          <a:p>
            <a:pPr marL="128016" lvl="1" indent="-128016">
              <a:buSzPct val="100000"/>
              <a:buFont typeface="Arial"/>
              <a:buChar char="•"/>
            </a:pPr>
            <a:endParaRPr lang="en-US" sz="1300" dirty="0"/>
          </a:p>
          <a:p>
            <a:pPr marL="128016" lvl="1" indent="-128016">
              <a:buSzPct val="100000"/>
              <a:buFont typeface="Arial"/>
              <a:buChar char="•"/>
            </a:pPr>
            <a:r>
              <a:rPr lang="en-US" sz="1300" dirty="0"/>
              <a:t>Please replace with your text content here.</a:t>
            </a:r>
          </a:p>
        </p:txBody>
      </p:sp>
      <p:sp>
        <p:nvSpPr>
          <p:cNvPr id="74" name="Teardrop 73">
            <a:extLst>
              <a:ext uri="{FF2B5EF4-FFF2-40B4-BE49-F238E27FC236}">
                <a16:creationId xmlns:a16="http://schemas.microsoft.com/office/drawing/2014/main" id="{1CFCBA94-55E6-4246-A16F-BC838DACC984}"/>
              </a:ext>
            </a:extLst>
          </p:cNvPr>
          <p:cNvSpPr/>
          <p:nvPr/>
        </p:nvSpPr>
        <p:spPr bwMode="gray">
          <a:xfrm>
            <a:off x="6792244" y="2025766"/>
            <a:ext cx="742660" cy="742660"/>
          </a:xfrm>
          <a:prstGeom prst="teardrop">
            <a:avLst>
              <a:gd name="adj" fmla="val 115000"/>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5" name="Oval 74">
            <a:extLst>
              <a:ext uri="{FF2B5EF4-FFF2-40B4-BE49-F238E27FC236}">
                <a16:creationId xmlns:a16="http://schemas.microsoft.com/office/drawing/2014/main" id="{8EB6CC6C-E040-CB43-A883-311AFAFFA9C6}"/>
              </a:ext>
            </a:extLst>
          </p:cNvPr>
          <p:cNvSpPr/>
          <p:nvPr/>
        </p:nvSpPr>
        <p:spPr bwMode="gray">
          <a:xfrm>
            <a:off x="6861869" y="2095391"/>
            <a:ext cx="603410" cy="603410"/>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6" name="Freeform 26">
            <a:extLst>
              <a:ext uri="{FF2B5EF4-FFF2-40B4-BE49-F238E27FC236}">
                <a16:creationId xmlns:a16="http://schemas.microsoft.com/office/drawing/2014/main" id="{C614F3C2-D9BF-A644-9407-72E6CF25B495}"/>
              </a:ext>
            </a:extLst>
          </p:cNvPr>
          <p:cNvSpPr>
            <a:spLocks noChangeAspect="1" noEditPoints="1"/>
          </p:cNvSpPr>
          <p:nvPr/>
        </p:nvSpPr>
        <p:spPr bwMode="auto">
          <a:xfrm>
            <a:off x="6893342" y="2126864"/>
            <a:ext cx="540467" cy="540467"/>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7" name="Teardrop 76">
            <a:extLst>
              <a:ext uri="{FF2B5EF4-FFF2-40B4-BE49-F238E27FC236}">
                <a16:creationId xmlns:a16="http://schemas.microsoft.com/office/drawing/2014/main" id="{E0C5E495-AA66-8544-96C8-321B5D6514A5}"/>
              </a:ext>
            </a:extLst>
          </p:cNvPr>
          <p:cNvSpPr/>
          <p:nvPr/>
        </p:nvSpPr>
        <p:spPr bwMode="gray">
          <a:xfrm flipH="1">
            <a:off x="4648200" y="2025766"/>
            <a:ext cx="742660" cy="742660"/>
          </a:xfrm>
          <a:prstGeom prst="teardrop">
            <a:avLst>
              <a:gd name="adj" fmla="val 115000"/>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8" name="Oval 77">
            <a:extLst>
              <a:ext uri="{FF2B5EF4-FFF2-40B4-BE49-F238E27FC236}">
                <a16:creationId xmlns:a16="http://schemas.microsoft.com/office/drawing/2014/main" id="{A8F61700-4344-BF4C-A5F1-59AAC45CCF60}"/>
              </a:ext>
            </a:extLst>
          </p:cNvPr>
          <p:cNvSpPr/>
          <p:nvPr/>
        </p:nvSpPr>
        <p:spPr bwMode="gray">
          <a:xfrm flipH="1">
            <a:off x="4717825" y="2095391"/>
            <a:ext cx="603410" cy="603410"/>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9" name="Teardrop 78">
            <a:extLst>
              <a:ext uri="{FF2B5EF4-FFF2-40B4-BE49-F238E27FC236}">
                <a16:creationId xmlns:a16="http://schemas.microsoft.com/office/drawing/2014/main" id="{FEFCD211-991B-0044-8ECA-13884903C63F}"/>
              </a:ext>
            </a:extLst>
          </p:cNvPr>
          <p:cNvSpPr/>
          <p:nvPr/>
        </p:nvSpPr>
        <p:spPr bwMode="gray">
          <a:xfrm rot="16659625" flipH="1">
            <a:off x="4648200" y="4486391"/>
            <a:ext cx="742660" cy="742660"/>
          </a:xfrm>
          <a:prstGeom prst="teardrop">
            <a:avLst>
              <a:gd name="adj" fmla="val 115000"/>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0" name="Oval 79">
            <a:extLst>
              <a:ext uri="{FF2B5EF4-FFF2-40B4-BE49-F238E27FC236}">
                <a16:creationId xmlns:a16="http://schemas.microsoft.com/office/drawing/2014/main" id="{CB66B0BD-3CFF-ED46-8DA5-74F8E6C9555B}"/>
              </a:ext>
            </a:extLst>
          </p:cNvPr>
          <p:cNvSpPr/>
          <p:nvPr/>
        </p:nvSpPr>
        <p:spPr bwMode="gray">
          <a:xfrm rot="16659625" flipH="1">
            <a:off x="4717825" y="4556016"/>
            <a:ext cx="603410" cy="603410"/>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1" name="Freeform 976">
            <a:extLst>
              <a:ext uri="{FF2B5EF4-FFF2-40B4-BE49-F238E27FC236}">
                <a16:creationId xmlns:a16="http://schemas.microsoft.com/office/drawing/2014/main" id="{676FBE52-A072-4545-A1B5-52648574FFE1}"/>
              </a:ext>
            </a:extLst>
          </p:cNvPr>
          <p:cNvSpPr>
            <a:spLocks noChangeAspect="1" noEditPoints="1"/>
          </p:cNvSpPr>
          <p:nvPr/>
        </p:nvSpPr>
        <p:spPr bwMode="auto">
          <a:xfrm>
            <a:off x="4749783" y="4587973"/>
            <a:ext cx="539497" cy="53949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2" name="Teardrop 81">
            <a:extLst>
              <a:ext uri="{FF2B5EF4-FFF2-40B4-BE49-F238E27FC236}">
                <a16:creationId xmlns:a16="http://schemas.microsoft.com/office/drawing/2014/main" id="{ADFFC222-DE0A-1646-8B92-264068AB65B4}"/>
              </a:ext>
            </a:extLst>
          </p:cNvPr>
          <p:cNvSpPr/>
          <p:nvPr/>
        </p:nvSpPr>
        <p:spPr bwMode="gray">
          <a:xfrm rot="4940375">
            <a:off x="6792244" y="4486391"/>
            <a:ext cx="742660" cy="742660"/>
          </a:xfrm>
          <a:prstGeom prst="teardrop">
            <a:avLst>
              <a:gd name="adj" fmla="val 115000"/>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3" name="Oval 82">
            <a:extLst>
              <a:ext uri="{FF2B5EF4-FFF2-40B4-BE49-F238E27FC236}">
                <a16:creationId xmlns:a16="http://schemas.microsoft.com/office/drawing/2014/main" id="{4EE81832-4829-984A-A08D-27424502D63B}"/>
              </a:ext>
            </a:extLst>
          </p:cNvPr>
          <p:cNvSpPr/>
          <p:nvPr/>
        </p:nvSpPr>
        <p:spPr bwMode="gray">
          <a:xfrm rot="4940375">
            <a:off x="6861869" y="4556016"/>
            <a:ext cx="603410" cy="603410"/>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4" name="Freeform 723">
            <a:extLst>
              <a:ext uri="{FF2B5EF4-FFF2-40B4-BE49-F238E27FC236}">
                <a16:creationId xmlns:a16="http://schemas.microsoft.com/office/drawing/2014/main" id="{DB0689CF-446D-FA47-AADC-1DA113300687}"/>
              </a:ext>
            </a:extLst>
          </p:cNvPr>
          <p:cNvSpPr>
            <a:spLocks noChangeAspect="1" noEditPoints="1"/>
          </p:cNvSpPr>
          <p:nvPr/>
        </p:nvSpPr>
        <p:spPr bwMode="auto">
          <a:xfrm>
            <a:off x="6893826" y="4587973"/>
            <a:ext cx="539496" cy="539496"/>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5" name="Freeform 84">
            <a:extLst>
              <a:ext uri="{FF2B5EF4-FFF2-40B4-BE49-F238E27FC236}">
                <a16:creationId xmlns:a16="http://schemas.microsoft.com/office/drawing/2014/main" id="{85C1A207-CB5A-9E48-8399-25BC137E3BD8}"/>
              </a:ext>
            </a:extLst>
          </p:cNvPr>
          <p:cNvSpPr>
            <a:spLocks noChangeAspect="1" noEditPoints="1"/>
          </p:cNvSpPr>
          <p:nvPr/>
        </p:nvSpPr>
        <p:spPr bwMode="auto">
          <a:xfrm>
            <a:off x="4749782" y="2127348"/>
            <a:ext cx="539496" cy="53949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7 w 512"/>
              <a:gd name="T11" fmla="*/ 208 h 512"/>
              <a:gd name="T12" fmla="*/ 213 w 512"/>
              <a:gd name="T13" fmla="*/ 208 h 512"/>
              <a:gd name="T14" fmla="*/ 256 w 512"/>
              <a:gd name="T15" fmla="*/ 252 h 512"/>
              <a:gd name="T16" fmla="*/ 280 w 512"/>
              <a:gd name="T17" fmla="*/ 227 h 512"/>
              <a:gd name="T18" fmla="*/ 295 w 512"/>
              <a:gd name="T19" fmla="*/ 227 h 512"/>
              <a:gd name="T20" fmla="*/ 295 w 512"/>
              <a:gd name="T21" fmla="*/ 242 h 512"/>
              <a:gd name="T22" fmla="*/ 263 w 512"/>
              <a:gd name="T23" fmla="*/ 274 h 512"/>
              <a:gd name="T24" fmla="*/ 256 w 512"/>
              <a:gd name="T25" fmla="*/ 277 h 512"/>
              <a:gd name="T26" fmla="*/ 248 w 512"/>
              <a:gd name="T27" fmla="*/ 274 h 512"/>
              <a:gd name="T28" fmla="*/ 197 w 512"/>
              <a:gd name="T29" fmla="*/ 224 h 512"/>
              <a:gd name="T30" fmla="*/ 197 w 512"/>
              <a:gd name="T31" fmla="*/ 208 h 512"/>
              <a:gd name="T32" fmla="*/ 256 w 512"/>
              <a:gd name="T33" fmla="*/ 384 h 512"/>
              <a:gd name="T34" fmla="*/ 245 w 512"/>
              <a:gd name="T35" fmla="*/ 373 h 512"/>
              <a:gd name="T36" fmla="*/ 256 w 512"/>
              <a:gd name="T37" fmla="*/ 363 h 512"/>
              <a:gd name="T38" fmla="*/ 362 w 512"/>
              <a:gd name="T39" fmla="*/ 256 h 512"/>
              <a:gd name="T40" fmla="*/ 256 w 512"/>
              <a:gd name="T41" fmla="*/ 149 h 512"/>
              <a:gd name="T42" fmla="*/ 149 w 512"/>
              <a:gd name="T43" fmla="*/ 256 h 512"/>
              <a:gd name="T44" fmla="*/ 170 w 512"/>
              <a:gd name="T45" fmla="*/ 320 h 512"/>
              <a:gd name="T46" fmla="*/ 170 w 512"/>
              <a:gd name="T47" fmla="*/ 288 h 512"/>
              <a:gd name="T48" fmla="*/ 180 w 512"/>
              <a:gd name="T49" fmla="*/ 277 h 512"/>
              <a:gd name="T50" fmla="*/ 191 w 512"/>
              <a:gd name="T51" fmla="*/ 288 h 512"/>
              <a:gd name="T52" fmla="*/ 191 w 512"/>
              <a:gd name="T53" fmla="*/ 341 h 512"/>
              <a:gd name="T54" fmla="*/ 181 w 512"/>
              <a:gd name="T55" fmla="*/ 353 h 512"/>
              <a:gd name="T56" fmla="*/ 128 w 512"/>
              <a:gd name="T57" fmla="*/ 353 h 512"/>
              <a:gd name="T58" fmla="*/ 117 w 512"/>
              <a:gd name="T59" fmla="*/ 342 h 512"/>
              <a:gd name="T60" fmla="*/ 128 w 512"/>
              <a:gd name="T61" fmla="*/ 331 h 512"/>
              <a:gd name="T62" fmla="*/ 152 w 512"/>
              <a:gd name="T63" fmla="*/ 331 h 512"/>
              <a:gd name="T64" fmla="*/ 128 w 512"/>
              <a:gd name="T65" fmla="*/ 256 h 512"/>
              <a:gd name="T66" fmla="*/ 256 w 512"/>
              <a:gd name="T67" fmla="*/ 128 h 512"/>
              <a:gd name="T68" fmla="*/ 384 w 512"/>
              <a:gd name="T69" fmla="*/ 256 h 512"/>
              <a:gd name="T70" fmla="*/ 256 w 512"/>
              <a:gd name="T7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7" y="208"/>
                </a:moveTo>
                <a:cubicBezTo>
                  <a:pt x="202" y="204"/>
                  <a:pt x="208" y="204"/>
                  <a:pt x="213" y="208"/>
                </a:cubicBezTo>
                <a:cubicBezTo>
                  <a:pt x="256" y="252"/>
                  <a:pt x="256" y="252"/>
                  <a:pt x="256" y="252"/>
                </a:cubicBezTo>
                <a:cubicBezTo>
                  <a:pt x="280" y="227"/>
                  <a:pt x="280" y="227"/>
                  <a:pt x="280" y="227"/>
                </a:cubicBezTo>
                <a:cubicBezTo>
                  <a:pt x="284" y="223"/>
                  <a:pt x="291" y="223"/>
                  <a:pt x="295" y="227"/>
                </a:cubicBezTo>
                <a:cubicBezTo>
                  <a:pt x="299" y="231"/>
                  <a:pt x="299" y="238"/>
                  <a:pt x="295" y="242"/>
                </a:cubicBezTo>
                <a:cubicBezTo>
                  <a:pt x="263" y="274"/>
                  <a:pt x="263" y="274"/>
                  <a:pt x="263" y="274"/>
                </a:cubicBezTo>
                <a:cubicBezTo>
                  <a:pt x="261" y="276"/>
                  <a:pt x="258" y="277"/>
                  <a:pt x="256" y="277"/>
                </a:cubicBezTo>
                <a:cubicBezTo>
                  <a:pt x="253" y="277"/>
                  <a:pt x="250" y="276"/>
                  <a:pt x="248" y="274"/>
                </a:cubicBezTo>
                <a:cubicBezTo>
                  <a:pt x="197" y="224"/>
                  <a:pt x="197" y="224"/>
                  <a:pt x="197" y="224"/>
                </a:cubicBezTo>
                <a:cubicBezTo>
                  <a:pt x="193" y="219"/>
                  <a:pt x="193" y="213"/>
                  <a:pt x="197" y="208"/>
                </a:cubicBezTo>
                <a:close/>
                <a:moveTo>
                  <a:pt x="256" y="384"/>
                </a:moveTo>
                <a:cubicBezTo>
                  <a:pt x="250" y="384"/>
                  <a:pt x="245" y="379"/>
                  <a:pt x="245" y="373"/>
                </a:cubicBezTo>
                <a:cubicBezTo>
                  <a:pt x="245" y="367"/>
                  <a:pt x="250" y="363"/>
                  <a:pt x="256" y="363"/>
                </a:cubicBezTo>
                <a:cubicBezTo>
                  <a:pt x="314" y="363"/>
                  <a:pt x="362" y="315"/>
                  <a:pt x="362" y="256"/>
                </a:cubicBezTo>
                <a:cubicBezTo>
                  <a:pt x="362" y="197"/>
                  <a:pt x="314" y="149"/>
                  <a:pt x="256" y="149"/>
                </a:cubicBezTo>
                <a:cubicBezTo>
                  <a:pt x="197" y="149"/>
                  <a:pt x="149" y="197"/>
                  <a:pt x="149" y="256"/>
                </a:cubicBezTo>
                <a:cubicBezTo>
                  <a:pt x="149" y="279"/>
                  <a:pt x="156" y="302"/>
                  <a:pt x="170" y="320"/>
                </a:cubicBezTo>
                <a:cubicBezTo>
                  <a:pt x="170" y="288"/>
                  <a:pt x="170" y="288"/>
                  <a:pt x="170" y="288"/>
                </a:cubicBezTo>
                <a:cubicBezTo>
                  <a:pt x="170" y="282"/>
                  <a:pt x="174" y="277"/>
                  <a:pt x="180" y="277"/>
                </a:cubicBezTo>
                <a:cubicBezTo>
                  <a:pt x="186" y="277"/>
                  <a:pt x="191" y="282"/>
                  <a:pt x="191" y="288"/>
                </a:cubicBezTo>
                <a:cubicBezTo>
                  <a:pt x="191" y="341"/>
                  <a:pt x="191" y="341"/>
                  <a:pt x="191" y="341"/>
                </a:cubicBezTo>
                <a:cubicBezTo>
                  <a:pt x="191" y="347"/>
                  <a:pt x="187" y="353"/>
                  <a:pt x="181" y="353"/>
                </a:cubicBezTo>
                <a:cubicBezTo>
                  <a:pt x="128" y="353"/>
                  <a:pt x="128" y="353"/>
                  <a:pt x="128" y="353"/>
                </a:cubicBezTo>
                <a:cubicBezTo>
                  <a:pt x="122" y="353"/>
                  <a:pt x="117" y="348"/>
                  <a:pt x="117" y="342"/>
                </a:cubicBezTo>
                <a:cubicBezTo>
                  <a:pt x="117" y="336"/>
                  <a:pt x="122" y="331"/>
                  <a:pt x="128" y="331"/>
                </a:cubicBezTo>
                <a:cubicBezTo>
                  <a:pt x="152" y="331"/>
                  <a:pt x="152" y="331"/>
                  <a:pt x="152" y="331"/>
                </a:cubicBezTo>
                <a:cubicBezTo>
                  <a:pt x="136" y="309"/>
                  <a:pt x="128" y="283"/>
                  <a:pt x="128" y="256"/>
                </a:cubicBezTo>
                <a:cubicBezTo>
                  <a:pt x="128" y="186"/>
                  <a:pt x="185" y="128"/>
                  <a:pt x="256" y="128"/>
                </a:cubicBezTo>
                <a:cubicBezTo>
                  <a:pt x="326" y="128"/>
                  <a:pt x="384" y="186"/>
                  <a:pt x="384" y="256"/>
                </a:cubicBezTo>
                <a:cubicBezTo>
                  <a:pt x="384" y="327"/>
                  <a:pt x="326" y="384"/>
                  <a:pt x="256" y="3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304512217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106"/>
          <p:cNvSpPr txBox="1"/>
          <p:nvPr/>
        </p:nvSpPr>
        <p:spPr>
          <a:xfrm>
            <a:off x="1209130" y="2264884"/>
            <a:ext cx="2211963" cy="421618"/>
          </a:xfrm>
          <a:prstGeom prst="rect">
            <a:avLst/>
          </a:prstGeom>
          <a:noFill/>
        </p:spPr>
        <p:txBody>
          <a:bodyPr wrap="square" lIns="219419" tIns="109710" rIns="219419" bIns="109710" rtlCol="0">
            <a:spAutoFit/>
          </a:bodyPr>
          <a:lstStyle/>
          <a:p>
            <a:r>
              <a:rPr lang="en-US" sz="1300" dirty="0">
                <a:solidFill>
                  <a:srgbClr val="000000"/>
                </a:solidFill>
                <a:ea typeface="+mj-ea"/>
                <a:cs typeface="Lato" pitchFamily="34" charset="0"/>
              </a:rPr>
              <a:t>Please replace with text</a:t>
            </a:r>
          </a:p>
        </p:txBody>
      </p:sp>
      <p:cxnSp>
        <p:nvCxnSpPr>
          <p:cNvPr id="70" name="ตัวเชื่อมต่อตรง 237"/>
          <p:cNvCxnSpPr/>
          <p:nvPr/>
        </p:nvCxnSpPr>
        <p:spPr>
          <a:xfrm rot="10800000" flipV="1">
            <a:off x="8507146" y="3166744"/>
            <a:ext cx="2646601" cy="420813"/>
          </a:xfrm>
          <a:prstGeom prst="bentConnector3">
            <a:avLst>
              <a:gd name="adj1" fmla="val 50000"/>
            </a:avLst>
          </a:prstGeom>
          <a:ln w="44450">
            <a:solidFill>
              <a:srgbClr val="75787B"/>
            </a:solidFill>
            <a:prstDash val="sysDot"/>
            <a:headEnd type="oval"/>
          </a:ln>
        </p:spPr>
        <p:style>
          <a:lnRef idx="1">
            <a:schemeClr val="accent1"/>
          </a:lnRef>
          <a:fillRef idx="0">
            <a:schemeClr val="accent1"/>
          </a:fillRef>
          <a:effectRef idx="0">
            <a:schemeClr val="accent1"/>
          </a:effectRef>
          <a:fontRef idx="minor">
            <a:schemeClr val="tx1"/>
          </a:fontRef>
        </p:style>
      </p:cxnSp>
      <p:sp>
        <p:nvSpPr>
          <p:cNvPr id="72" name="TextBox 137"/>
          <p:cNvSpPr txBox="1"/>
          <p:nvPr/>
        </p:nvSpPr>
        <p:spPr>
          <a:xfrm>
            <a:off x="9026998" y="2264884"/>
            <a:ext cx="2314350" cy="421618"/>
          </a:xfrm>
          <a:prstGeom prst="rect">
            <a:avLst/>
          </a:prstGeom>
          <a:noFill/>
        </p:spPr>
        <p:txBody>
          <a:bodyPr wrap="square" lIns="219419" tIns="109710" rIns="219419" bIns="109710" rtlCol="0">
            <a:spAutoFit/>
          </a:bodyPr>
          <a:lstStyle/>
          <a:p>
            <a:r>
              <a:rPr lang="en-US" sz="1300" dirty="0">
                <a:solidFill>
                  <a:srgbClr val="000000"/>
                </a:solidFill>
                <a:ea typeface="+mj-ea"/>
                <a:cs typeface="Lato" pitchFamily="34" charset="0"/>
              </a:rPr>
              <a:t>Please replace with text</a:t>
            </a:r>
          </a:p>
        </p:txBody>
      </p:sp>
      <p:grpSp>
        <p:nvGrpSpPr>
          <p:cNvPr id="3" name="Group 2"/>
          <p:cNvGrpSpPr/>
          <p:nvPr/>
        </p:nvGrpSpPr>
        <p:grpSpPr>
          <a:xfrm>
            <a:off x="1353529" y="3166744"/>
            <a:ext cx="2399322" cy="1527303"/>
            <a:chOff x="1353528" y="3166744"/>
            <a:chExt cx="2667765" cy="1527303"/>
          </a:xfrm>
        </p:grpSpPr>
        <p:cxnSp>
          <p:nvCxnSpPr>
            <p:cNvPr id="53" name="ตัวเชื่อมต่อตรง 237"/>
            <p:cNvCxnSpPr/>
            <p:nvPr/>
          </p:nvCxnSpPr>
          <p:spPr>
            <a:xfrm>
              <a:off x="1353528" y="3166744"/>
              <a:ext cx="2667765" cy="420813"/>
            </a:xfrm>
            <a:prstGeom prst="bentConnector3">
              <a:avLst>
                <a:gd name="adj1" fmla="val 50000"/>
              </a:avLst>
            </a:prstGeom>
            <a:ln w="44450">
              <a:solidFill>
                <a:srgbClr val="75787B"/>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81" name="ตัวเชื่อมต่อตรง 237"/>
            <p:cNvCxnSpPr/>
            <p:nvPr/>
          </p:nvCxnSpPr>
          <p:spPr>
            <a:xfrm flipV="1">
              <a:off x="1353528" y="4260435"/>
              <a:ext cx="2650336" cy="433612"/>
            </a:xfrm>
            <a:prstGeom prst="bentConnector3">
              <a:avLst>
                <a:gd name="adj1" fmla="val 50000"/>
              </a:avLst>
            </a:prstGeom>
            <a:ln w="44450">
              <a:solidFill>
                <a:srgbClr val="75787B"/>
              </a:solidFill>
              <a:prstDash val="sysDot"/>
              <a:headEnd type="oval"/>
            </a:ln>
          </p:spPr>
          <p:style>
            <a:lnRef idx="1">
              <a:schemeClr val="accent1"/>
            </a:lnRef>
            <a:fillRef idx="0">
              <a:schemeClr val="accent1"/>
            </a:fillRef>
            <a:effectRef idx="0">
              <a:schemeClr val="accent1"/>
            </a:effectRef>
            <a:fontRef idx="minor">
              <a:schemeClr val="tx1"/>
            </a:fontRef>
          </p:style>
        </p:cxnSp>
      </p:grpSp>
      <p:sp>
        <p:nvSpPr>
          <p:cNvPr id="83" name="TextBox 147"/>
          <p:cNvSpPr txBox="1"/>
          <p:nvPr/>
        </p:nvSpPr>
        <p:spPr>
          <a:xfrm>
            <a:off x="1171760" y="5031159"/>
            <a:ext cx="2211963" cy="421618"/>
          </a:xfrm>
          <a:prstGeom prst="rect">
            <a:avLst/>
          </a:prstGeom>
          <a:noFill/>
        </p:spPr>
        <p:txBody>
          <a:bodyPr wrap="square" lIns="219419" tIns="109710" rIns="219419" bIns="109710" rtlCol="0">
            <a:spAutoFit/>
          </a:bodyPr>
          <a:lstStyle/>
          <a:p>
            <a:r>
              <a:rPr lang="en-US" sz="1300" dirty="0">
                <a:solidFill>
                  <a:srgbClr val="000000"/>
                </a:solidFill>
                <a:ea typeface="Lato" pitchFamily="34" charset="0"/>
                <a:cs typeface="Lato" pitchFamily="34" charset="0"/>
              </a:rPr>
              <a:t>Please replace with text</a:t>
            </a:r>
          </a:p>
        </p:txBody>
      </p:sp>
      <p:sp>
        <p:nvSpPr>
          <p:cNvPr id="38" name="Freeform 7"/>
          <p:cNvSpPr>
            <a:spLocks noEditPoints="1"/>
          </p:cNvSpPr>
          <p:nvPr/>
        </p:nvSpPr>
        <p:spPr bwMode="auto">
          <a:xfrm>
            <a:off x="3658495" y="1708843"/>
            <a:ext cx="2285381" cy="2271565"/>
          </a:xfrm>
          <a:custGeom>
            <a:avLst/>
            <a:gdLst>
              <a:gd name="T0" fmla="*/ 806 w 806"/>
              <a:gd name="T1" fmla="*/ 401 h 806"/>
              <a:gd name="T2" fmla="*/ 733 w 806"/>
              <a:gd name="T3" fmla="*/ 336 h 806"/>
              <a:gd name="T4" fmla="*/ 776 w 806"/>
              <a:gd name="T5" fmla="*/ 248 h 806"/>
              <a:gd name="T6" fmla="*/ 684 w 806"/>
              <a:gd name="T7" fmla="*/ 217 h 806"/>
              <a:gd name="T8" fmla="*/ 687 w 806"/>
              <a:gd name="T9" fmla="*/ 116 h 806"/>
              <a:gd name="T10" fmla="*/ 590 w 806"/>
              <a:gd name="T11" fmla="*/ 122 h 806"/>
              <a:gd name="T12" fmla="*/ 558 w 806"/>
              <a:gd name="T13" fmla="*/ 30 h 806"/>
              <a:gd name="T14" fmla="*/ 470 w 806"/>
              <a:gd name="T15" fmla="*/ 73 h 806"/>
              <a:gd name="T16" fmla="*/ 401 w 806"/>
              <a:gd name="T17" fmla="*/ 0 h 806"/>
              <a:gd name="T18" fmla="*/ 337 w 806"/>
              <a:gd name="T19" fmla="*/ 73 h 806"/>
              <a:gd name="T20" fmla="*/ 249 w 806"/>
              <a:gd name="T21" fmla="*/ 30 h 806"/>
              <a:gd name="T22" fmla="*/ 217 w 806"/>
              <a:gd name="T23" fmla="*/ 122 h 806"/>
              <a:gd name="T24" fmla="*/ 116 w 806"/>
              <a:gd name="T25" fmla="*/ 120 h 806"/>
              <a:gd name="T26" fmla="*/ 123 w 806"/>
              <a:gd name="T27" fmla="*/ 216 h 806"/>
              <a:gd name="T28" fmla="*/ 31 w 806"/>
              <a:gd name="T29" fmla="*/ 248 h 806"/>
              <a:gd name="T30" fmla="*/ 73 w 806"/>
              <a:gd name="T31" fmla="*/ 336 h 806"/>
              <a:gd name="T32" fmla="*/ 0 w 806"/>
              <a:gd name="T33" fmla="*/ 405 h 806"/>
              <a:gd name="T34" fmla="*/ 73 w 806"/>
              <a:gd name="T35" fmla="*/ 469 h 806"/>
              <a:gd name="T36" fmla="*/ 30 w 806"/>
              <a:gd name="T37" fmla="*/ 557 h 806"/>
              <a:gd name="T38" fmla="*/ 122 w 806"/>
              <a:gd name="T39" fmla="*/ 589 h 806"/>
              <a:gd name="T40" fmla="*/ 120 w 806"/>
              <a:gd name="T41" fmla="*/ 690 h 806"/>
              <a:gd name="T42" fmla="*/ 217 w 806"/>
              <a:gd name="T43" fmla="*/ 684 h 806"/>
              <a:gd name="T44" fmla="*/ 249 w 806"/>
              <a:gd name="T45" fmla="*/ 775 h 806"/>
              <a:gd name="T46" fmla="*/ 336 w 806"/>
              <a:gd name="T47" fmla="*/ 733 h 806"/>
              <a:gd name="T48" fmla="*/ 406 w 806"/>
              <a:gd name="T49" fmla="*/ 806 h 806"/>
              <a:gd name="T50" fmla="*/ 470 w 806"/>
              <a:gd name="T51" fmla="*/ 733 h 806"/>
              <a:gd name="T52" fmla="*/ 558 w 806"/>
              <a:gd name="T53" fmla="*/ 776 h 806"/>
              <a:gd name="T54" fmla="*/ 589 w 806"/>
              <a:gd name="T55" fmla="*/ 684 h 806"/>
              <a:gd name="T56" fmla="*/ 690 w 806"/>
              <a:gd name="T57" fmla="*/ 686 h 806"/>
              <a:gd name="T58" fmla="*/ 684 w 806"/>
              <a:gd name="T59" fmla="*/ 589 h 806"/>
              <a:gd name="T60" fmla="*/ 776 w 806"/>
              <a:gd name="T61" fmla="*/ 557 h 806"/>
              <a:gd name="T62" fmla="*/ 733 w 806"/>
              <a:gd name="T63" fmla="*/ 470 h 806"/>
              <a:gd name="T64" fmla="*/ 170 w 806"/>
              <a:gd name="T65" fmla="*/ 517 h 806"/>
              <a:gd name="T66" fmla="*/ 636 w 806"/>
              <a:gd name="T67" fmla="*/ 289 h 806"/>
              <a:gd name="T68" fmla="*/ 170 w 806"/>
              <a:gd name="T69" fmla="*/ 51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6" h="806">
                <a:moveTo>
                  <a:pt x="740" y="423"/>
                </a:moveTo>
                <a:cubicBezTo>
                  <a:pt x="806" y="401"/>
                  <a:pt x="806" y="401"/>
                  <a:pt x="806" y="401"/>
                </a:cubicBezTo>
                <a:cubicBezTo>
                  <a:pt x="803" y="349"/>
                  <a:pt x="803" y="349"/>
                  <a:pt x="803" y="349"/>
                </a:cubicBezTo>
                <a:cubicBezTo>
                  <a:pt x="733" y="336"/>
                  <a:pt x="733" y="336"/>
                  <a:pt x="733" y="336"/>
                </a:cubicBezTo>
                <a:cubicBezTo>
                  <a:pt x="731" y="322"/>
                  <a:pt x="727" y="309"/>
                  <a:pt x="722" y="295"/>
                </a:cubicBezTo>
                <a:cubicBezTo>
                  <a:pt x="776" y="248"/>
                  <a:pt x="776" y="248"/>
                  <a:pt x="776" y="248"/>
                </a:cubicBezTo>
                <a:cubicBezTo>
                  <a:pt x="754" y="202"/>
                  <a:pt x="754" y="202"/>
                  <a:pt x="754" y="202"/>
                </a:cubicBezTo>
                <a:cubicBezTo>
                  <a:pt x="684" y="217"/>
                  <a:pt x="684" y="217"/>
                  <a:pt x="684" y="217"/>
                </a:cubicBezTo>
                <a:cubicBezTo>
                  <a:pt x="675" y="204"/>
                  <a:pt x="666" y="191"/>
                  <a:pt x="655" y="179"/>
                </a:cubicBezTo>
                <a:cubicBezTo>
                  <a:pt x="687" y="116"/>
                  <a:pt x="687" y="116"/>
                  <a:pt x="687" y="116"/>
                </a:cubicBezTo>
                <a:cubicBezTo>
                  <a:pt x="648" y="82"/>
                  <a:pt x="648" y="82"/>
                  <a:pt x="648" y="82"/>
                </a:cubicBezTo>
                <a:cubicBezTo>
                  <a:pt x="590" y="122"/>
                  <a:pt x="590" y="122"/>
                  <a:pt x="590" y="122"/>
                </a:cubicBezTo>
                <a:cubicBezTo>
                  <a:pt x="578" y="114"/>
                  <a:pt x="565" y="107"/>
                  <a:pt x="552" y="101"/>
                </a:cubicBezTo>
                <a:cubicBezTo>
                  <a:pt x="558" y="30"/>
                  <a:pt x="558" y="30"/>
                  <a:pt x="558" y="30"/>
                </a:cubicBezTo>
                <a:cubicBezTo>
                  <a:pt x="509" y="14"/>
                  <a:pt x="509" y="14"/>
                  <a:pt x="509" y="14"/>
                </a:cubicBezTo>
                <a:cubicBezTo>
                  <a:pt x="470" y="73"/>
                  <a:pt x="470" y="73"/>
                  <a:pt x="470" y="73"/>
                </a:cubicBezTo>
                <a:cubicBezTo>
                  <a:pt x="455" y="70"/>
                  <a:pt x="439" y="68"/>
                  <a:pt x="423" y="67"/>
                </a:cubicBezTo>
                <a:cubicBezTo>
                  <a:pt x="401" y="0"/>
                  <a:pt x="401" y="0"/>
                  <a:pt x="401" y="0"/>
                </a:cubicBezTo>
                <a:cubicBezTo>
                  <a:pt x="350" y="3"/>
                  <a:pt x="350" y="3"/>
                  <a:pt x="350" y="3"/>
                </a:cubicBezTo>
                <a:cubicBezTo>
                  <a:pt x="337" y="73"/>
                  <a:pt x="337" y="73"/>
                  <a:pt x="337" y="73"/>
                </a:cubicBezTo>
                <a:cubicBezTo>
                  <a:pt x="323" y="75"/>
                  <a:pt x="309" y="79"/>
                  <a:pt x="295" y="84"/>
                </a:cubicBezTo>
                <a:cubicBezTo>
                  <a:pt x="249" y="30"/>
                  <a:pt x="249" y="30"/>
                  <a:pt x="249" y="30"/>
                </a:cubicBezTo>
                <a:cubicBezTo>
                  <a:pt x="203" y="52"/>
                  <a:pt x="203" y="52"/>
                  <a:pt x="203" y="52"/>
                </a:cubicBezTo>
                <a:cubicBezTo>
                  <a:pt x="217" y="122"/>
                  <a:pt x="217" y="122"/>
                  <a:pt x="217" y="122"/>
                </a:cubicBezTo>
                <a:cubicBezTo>
                  <a:pt x="204" y="131"/>
                  <a:pt x="191" y="140"/>
                  <a:pt x="179" y="151"/>
                </a:cubicBezTo>
                <a:cubicBezTo>
                  <a:pt x="116" y="120"/>
                  <a:pt x="116" y="120"/>
                  <a:pt x="116" y="120"/>
                </a:cubicBezTo>
                <a:cubicBezTo>
                  <a:pt x="83" y="158"/>
                  <a:pt x="83" y="158"/>
                  <a:pt x="83" y="158"/>
                </a:cubicBezTo>
                <a:cubicBezTo>
                  <a:pt x="123" y="216"/>
                  <a:pt x="123" y="216"/>
                  <a:pt x="123" y="216"/>
                </a:cubicBezTo>
                <a:cubicBezTo>
                  <a:pt x="115" y="228"/>
                  <a:pt x="107" y="241"/>
                  <a:pt x="101" y="254"/>
                </a:cubicBezTo>
                <a:cubicBezTo>
                  <a:pt x="31" y="248"/>
                  <a:pt x="31" y="248"/>
                  <a:pt x="31" y="248"/>
                </a:cubicBezTo>
                <a:cubicBezTo>
                  <a:pt x="14" y="297"/>
                  <a:pt x="14" y="297"/>
                  <a:pt x="14" y="297"/>
                </a:cubicBezTo>
                <a:cubicBezTo>
                  <a:pt x="73" y="336"/>
                  <a:pt x="73" y="336"/>
                  <a:pt x="73" y="336"/>
                </a:cubicBezTo>
                <a:cubicBezTo>
                  <a:pt x="70" y="351"/>
                  <a:pt x="68" y="367"/>
                  <a:pt x="67" y="383"/>
                </a:cubicBezTo>
                <a:cubicBezTo>
                  <a:pt x="0" y="405"/>
                  <a:pt x="0" y="405"/>
                  <a:pt x="0" y="405"/>
                </a:cubicBezTo>
                <a:cubicBezTo>
                  <a:pt x="4" y="456"/>
                  <a:pt x="4" y="456"/>
                  <a:pt x="4" y="456"/>
                </a:cubicBezTo>
                <a:cubicBezTo>
                  <a:pt x="73" y="469"/>
                  <a:pt x="73" y="469"/>
                  <a:pt x="73" y="469"/>
                </a:cubicBezTo>
                <a:cubicBezTo>
                  <a:pt x="76" y="483"/>
                  <a:pt x="79" y="497"/>
                  <a:pt x="84" y="511"/>
                </a:cubicBezTo>
                <a:cubicBezTo>
                  <a:pt x="30" y="557"/>
                  <a:pt x="30" y="557"/>
                  <a:pt x="30" y="557"/>
                </a:cubicBezTo>
                <a:cubicBezTo>
                  <a:pt x="52" y="603"/>
                  <a:pt x="52" y="603"/>
                  <a:pt x="52" y="603"/>
                </a:cubicBezTo>
                <a:cubicBezTo>
                  <a:pt x="122" y="589"/>
                  <a:pt x="122" y="589"/>
                  <a:pt x="122" y="589"/>
                </a:cubicBezTo>
                <a:cubicBezTo>
                  <a:pt x="131" y="602"/>
                  <a:pt x="141" y="615"/>
                  <a:pt x="151" y="627"/>
                </a:cubicBezTo>
                <a:cubicBezTo>
                  <a:pt x="120" y="690"/>
                  <a:pt x="120" y="690"/>
                  <a:pt x="120" y="690"/>
                </a:cubicBezTo>
                <a:cubicBezTo>
                  <a:pt x="158" y="723"/>
                  <a:pt x="158" y="723"/>
                  <a:pt x="158" y="723"/>
                </a:cubicBezTo>
                <a:cubicBezTo>
                  <a:pt x="217" y="684"/>
                  <a:pt x="217" y="684"/>
                  <a:pt x="217" y="684"/>
                </a:cubicBezTo>
                <a:cubicBezTo>
                  <a:pt x="229" y="692"/>
                  <a:pt x="241" y="699"/>
                  <a:pt x="254" y="705"/>
                </a:cubicBezTo>
                <a:cubicBezTo>
                  <a:pt x="249" y="775"/>
                  <a:pt x="249" y="775"/>
                  <a:pt x="249" y="775"/>
                </a:cubicBezTo>
                <a:cubicBezTo>
                  <a:pt x="297" y="792"/>
                  <a:pt x="297" y="792"/>
                  <a:pt x="297" y="792"/>
                </a:cubicBezTo>
                <a:cubicBezTo>
                  <a:pt x="336" y="733"/>
                  <a:pt x="336" y="733"/>
                  <a:pt x="336" y="733"/>
                </a:cubicBezTo>
                <a:cubicBezTo>
                  <a:pt x="352" y="736"/>
                  <a:pt x="367" y="738"/>
                  <a:pt x="383" y="739"/>
                </a:cubicBezTo>
                <a:cubicBezTo>
                  <a:pt x="406" y="806"/>
                  <a:pt x="406" y="806"/>
                  <a:pt x="406" y="806"/>
                </a:cubicBezTo>
                <a:cubicBezTo>
                  <a:pt x="457" y="803"/>
                  <a:pt x="457" y="803"/>
                  <a:pt x="457" y="803"/>
                </a:cubicBezTo>
                <a:cubicBezTo>
                  <a:pt x="470" y="733"/>
                  <a:pt x="470" y="733"/>
                  <a:pt x="470" y="733"/>
                </a:cubicBezTo>
                <a:cubicBezTo>
                  <a:pt x="484" y="730"/>
                  <a:pt x="498" y="727"/>
                  <a:pt x="511" y="722"/>
                </a:cubicBezTo>
                <a:cubicBezTo>
                  <a:pt x="558" y="776"/>
                  <a:pt x="558" y="776"/>
                  <a:pt x="558" y="776"/>
                </a:cubicBezTo>
                <a:cubicBezTo>
                  <a:pt x="604" y="754"/>
                  <a:pt x="604" y="754"/>
                  <a:pt x="604" y="754"/>
                </a:cubicBezTo>
                <a:cubicBezTo>
                  <a:pt x="589" y="684"/>
                  <a:pt x="589" y="684"/>
                  <a:pt x="589" y="684"/>
                </a:cubicBezTo>
                <a:cubicBezTo>
                  <a:pt x="603" y="675"/>
                  <a:pt x="615" y="665"/>
                  <a:pt x="627" y="655"/>
                </a:cubicBezTo>
                <a:cubicBezTo>
                  <a:pt x="690" y="686"/>
                  <a:pt x="690" y="686"/>
                  <a:pt x="690" y="686"/>
                </a:cubicBezTo>
                <a:cubicBezTo>
                  <a:pt x="724" y="648"/>
                  <a:pt x="724" y="648"/>
                  <a:pt x="724" y="648"/>
                </a:cubicBezTo>
                <a:cubicBezTo>
                  <a:pt x="684" y="589"/>
                  <a:pt x="684" y="589"/>
                  <a:pt x="684" y="589"/>
                </a:cubicBezTo>
                <a:cubicBezTo>
                  <a:pt x="692" y="577"/>
                  <a:pt x="699" y="565"/>
                  <a:pt x="705" y="552"/>
                </a:cubicBezTo>
                <a:cubicBezTo>
                  <a:pt x="776" y="557"/>
                  <a:pt x="776" y="557"/>
                  <a:pt x="776" y="557"/>
                </a:cubicBezTo>
                <a:cubicBezTo>
                  <a:pt x="792" y="509"/>
                  <a:pt x="792" y="509"/>
                  <a:pt x="792" y="509"/>
                </a:cubicBezTo>
                <a:cubicBezTo>
                  <a:pt x="733" y="470"/>
                  <a:pt x="733" y="470"/>
                  <a:pt x="733" y="470"/>
                </a:cubicBezTo>
                <a:cubicBezTo>
                  <a:pt x="736" y="455"/>
                  <a:pt x="739" y="439"/>
                  <a:pt x="740" y="423"/>
                </a:cubicBezTo>
                <a:close/>
                <a:moveTo>
                  <a:pt x="170" y="517"/>
                </a:moveTo>
                <a:cubicBezTo>
                  <a:pt x="107" y="388"/>
                  <a:pt x="161" y="233"/>
                  <a:pt x="289" y="170"/>
                </a:cubicBezTo>
                <a:cubicBezTo>
                  <a:pt x="418" y="107"/>
                  <a:pt x="573" y="160"/>
                  <a:pt x="636" y="289"/>
                </a:cubicBezTo>
                <a:cubicBezTo>
                  <a:pt x="699" y="417"/>
                  <a:pt x="646" y="573"/>
                  <a:pt x="517" y="636"/>
                </a:cubicBezTo>
                <a:cubicBezTo>
                  <a:pt x="389" y="699"/>
                  <a:pt x="233" y="646"/>
                  <a:pt x="170" y="517"/>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th-TH" sz="1300">
              <a:solidFill>
                <a:srgbClr val="75787B"/>
              </a:solidFill>
              <a:ea typeface="+mj-ea"/>
            </a:endParaRPr>
          </a:p>
        </p:txBody>
      </p:sp>
      <p:sp>
        <p:nvSpPr>
          <p:cNvPr id="39" name="TextBox 102"/>
          <p:cNvSpPr txBox="1"/>
          <p:nvPr/>
        </p:nvSpPr>
        <p:spPr bwMode="auto">
          <a:xfrm>
            <a:off x="4358659" y="2351648"/>
            <a:ext cx="885052" cy="338554"/>
          </a:xfrm>
          <a:prstGeom prst="rect">
            <a:avLst/>
          </a:prstGeom>
          <a:noFill/>
        </p:spPr>
        <p:txBody>
          <a:bodyPr wrap="square">
            <a:spAutoFit/>
          </a:bodyPr>
          <a:lstStyle/>
          <a:p>
            <a:pPr algn="ctr" defTabSz="1828434">
              <a:defRPr/>
            </a:pPr>
            <a:r>
              <a:rPr lang="id-ID" sz="1600" b="1" dirty="0">
                <a:solidFill>
                  <a:srgbClr val="75787B"/>
                </a:solidFill>
                <a:ea typeface="+mj-ea"/>
                <a:cs typeface="Lato" pitchFamily="34" charset="0"/>
              </a:rPr>
              <a:t>Change</a:t>
            </a:r>
          </a:p>
        </p:txBody>
      </p:sp>
      <p:sp>
        <p:nvSpPr>
          <p:cNvPr id="40" name="TextBox 103"/>
          <p:cNvSpPr txBox="1"/>
          <p:nvPr/>
        </p:nvSpPr>
        <p:spPr>
          <a:xfrm>
            <a:off x="4151987" y="2575941"/>
            <a:ext cx="1298396" cy="783649"/>
          </a:xfrm>
          <a:prstGeom prst="rect">
            <a:avLst/>
          </a:prstGeom>
          <a:noFill/>
        </p:spPr>
        <p:txBody>
          <a:bodyPr wrap="square" lIns="219419" tIns="109710" rIns="219419" bIns="72000" rtlCol="0">
            <a:spAutoFit/>
          </a:bodyPr>
          <a:lstStyle/>
          <a:p>
            <a:pPr algn="ctr"/>
            <a:r>
              <a:rPr lang="en-US" sz="1300" dirty="0">
                <a:solidFill>
                  <a:srgbClr val="000000"/>
                </a:solidFill>
                <a:ea typeface="+mj-ea"/>
                <a:cs typeface="Lato" pitchFamily="34" charset="0"/>
              </a:rPr>
              <a:t>Please replace with text</a:t>
            </a:r>
          </a:p>
        </p:txBody>
      </p:sp>
      <p:sp>
        <p:nvSpPr>
          <p:cNvPr id="67" name="Freeform 7"/>
          <p:cNvSpPr>
            <a:spLocks noEditPoints="1"/>
          </p:cNvSpPr>
          <p:nvPr/>
        </p:nvSpPr>
        <p:spPr bwMode="auto">
          <a:xfrm>
            <a:off x="6248126" y="1714500"/>
            <a:ext cx="2285380" cy="2271565"/>
          </a:xfrm>
          <a:custGeom>
            <a:avLst/>
            <a:gdLst>
              <a:gd name="T0" fmla="*/ 806 w 806"/>
              <a:gd name="T1" fmla="*/ 401 h 806"/>
              <a:gd name="T2" fmla="*/ 733 w 806"/>
              <a:gd name="T3" fmla="*/ 336 h 806"/>
              <a:gd name="T4" fmla="*/ 776 w 806"/>
              <a:gd name="T5" fmla="*/ 248 h 806"/>
              <a:gd name="T6" fmla="*/ 684 w 806"/>
              <a:gd name="T7" fmla="*/ 217 h 806"/>
              <a:gd name="T8" fmla="*/ 687 w 806"/>
              <a:gd name="T9" fmla="*/ 116 h 806"/>
              <a:gd name="T10" fmla="*/ 590 w 806"/>
              <a:gd name="T11" fmla="*/ 122 h 806"/>
              <a:gd name="T12" fmla="*/ 558 w 806"/>
              <a:gd name="T13" fmla="*/ 30 h 806"/>
              <a:gd name="T14" fmla="*/ 470 w 806"/>
              <a:gd name="T15" fmla="*/ 73 h 806"/>
              <a:gd name="T16" fmla="*/ 401 w 806"/>
              <a:gd name="T17" fmla="*/ 0 h 806"/>
              <a:gd name="T18" fmla="*/ 337 w 806"/>
              <a:gd name="T19" fmla="*/ 73 h 806"/>
              <a:gd name="T20" fmla="*/ 249 w 806"/>
              <a:gd name="T21" fmla="*/ 30 h 806"/>
              <a:gd name="T22" fmla="*/ 217 w 806"/>
              <a:gd name="T23" fmla="*/ 122 h 806"/>
              <a:gd name="T24" fmla="*/ 116 w 806"/>
              <a:gd name="T25" fmla="*/ 120 h 806"/>
              <a:gd name="T26" fmla="*/ 123 w 806"/>
              <a:gd name="T27" fmla="*/ 216 h 806"/>
              <a:gd name="T28" fmla="*/ 31 w 806"/>
              <a:gd name="T29" fmla="*/ 248 h 806"/>
              <a:gd name="T30" fmla="*/ 73 w 806"/>
              <a:gd name="T31" fmla="*/ 336 h 806"/>
              <a:gd name="T32" fmla="*/ 0 w 806"/>
              <a:gd name="T33" fmla="*/ 405 h 806"/>
              <a:gd name="T34" fmla="*/ 73 w 806"/>
              <a:gd name="T35" fmla="*/ 469 h 806"/>
              <a:gd name="T36" fmla="*/ 30 w 806"/>
              <a:gd name="T37" fmla="*/ 557 h 806"/>
              <a:gd name="T38" fmla="*/ 122 w 806"/>
              <a:gd name="T39" fmla="*/ 589 h 806"/>
              <a:gd name="T40" fmla="*/ 120 w 806"/>
              <a:gd name="T41" fmla="*/ 690 h 806"/>
              <a:gd name="T42" fmla="*/ 217 w 806"/>
              <a:gd name="T43" fmla="*/ 684 h 806"/>
              <a:gd name="T44" fmla="*/ 249 w 806"/>
              <a:gd name="T45" fmla="*/ 775 h 806"/>
              <a:gd name="T46" fmla="*/ 336 w 806"/>
              <a:gd name="T47" fmla="*/ 733 h 806"/>
              <a:gd name="T48" fmla="*/ 406 w 806"/>
              <a:gd name="T49" fmla="*/ 806 h 806"/>
              <a:gd name="T50" fmla="*/ 470 w 806"/>
              <a:gd name="T51" fmla="*/ 733 h 806"/>
              <a:gd name="T52" fmla="*/ 558 w 806"/>
              <a:gd name="T53" fmla="*/ 776 h 806"/>
              <a:gd name="T54" fmla="*/ 589 w 806"/>
              <a:gd name="T55" fmla="*/ 684 h 806"/>
              <a:gd name="T56" fmla="*/ 690 w 806"/>
              <a:gd name="T57" fmla="*/ 686 h 806"/>
              <a:gd name="T58" fmla="*/ 684 w 806"/>
              <a:gd name="T59" fmla="*/ 589 h 806"/>
              <a:gd name="T60" fmla="*/ 776 w 806"/>
              <a:gd name="T61" fmla="*/ 557 h 806"/>
              <a:gd name="T62" fmla="*/ 733 w 806"/>
              <a:gd name="T63" fmla="*/ 470 h 806"/>
              <a:gd name="T64" fmla="*/ 170 w 806"/>
              <a:gd name="T65" fmla="*/ 517 h 806"/>
              <a:gd name="T66" fmla="*/ 636 w 806"/>
              <a:gd name="T67" fmla="*/ 289 h 806"/>
              <a:gd name="T68" fmla="*/ 170 w 806"/>
              <a:gd name="T69" fmla="*/ 51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6" h="806">
                <a:moveTo>
                  <a:pt x="740" y="423"/>
                </a:moveTo>
                <a:cubicBezTo>
                  <a:pt x="806" y="401"/>
                  <a:pt x="806" y="401"/>
                  <a:pt x="806" y="401"/>
                </a:cubicBezTo>
                <a:cubicBezTo>
                  <a:pt x="803" y="349"/>
                  <a:pt x="803" y="349"/>
                  <a:pt x="803" y="349"/>
                </a:cubicBezTo>
                <a:cubicBezTo>
                  <a:pt x="733" y="336"/>
                  <a:pt x="733" y="336"/>
                  <a:pt x="733" y="336"/>
                </a:cubicBezTo>
                <a:cubicBezTo>
                  <a:pt x="731" y="322"/>
                  <a:pt x="727" y="309"/>
                  <a:pt x="722" y="295"/>
                </a:cubicBezTo>
                <a:cubicBezTo>
                  <a:pt x="776" y="248"/>
                  <a:pt x="776" y="248"/>
                  <a:pt x="776" y="248"/>
                </a:cubicBezTo>
                <a:cubicBezTo>
                  <a:pt x="754" y="202"/>
                  <a:pt x="754" y="202"/>
                  <a:pt x="754" y="202"/>
                </a:cubicBezTo>
                <a:cubicBezTo>
                  <a:pt x="684" y="217"/>
                  <a:pt x="684" y="217"/>
                  <a:pt x="684" y="217"/>
                </a:cubicBezTo>
                <a:cubicBezTo>
                  <a:pt x="675" y="204"/>
                  <a:pt x="666" y="191"/>
                  <a:pt x="655" y="179"/>
                </a:cubicBezTo>
                <a:cubicBezTo>
                  <a:pt x="687" y="116"/>
                  <a:pt x="687" y="116"/>
                  <a:pt x="687" y="116"/>
                </a:cubicBezTo>
                <a:cubicBezTo>
                  <a:pt x="648" y="82"/>
                  <a:pt x="648" y="82"/>
                  <a:pt x="648" y="82"/>
                </a:cubicBezTo>
                <a:cubicBezTo>
                  <a:pt x="590" y="122"/>
                  <a:pt x="590" y="122"/>
                  <a:pt x="590" y="122"/>
                </a:cubicBezTo>
                <a:cubicBezTo>
                  <a:pt x="578" y="114"/>
                  <a:pt x="565" y="107"/>
                  <a:pt x="552" y="101"/>
                </a:cubicBezTo>
                <a:cubicBezTo>
                  <a:pt x="558" y="30"/>
                  <a:pt x="558" y="30"/>
                  <a:pt x="558" y="30"/>
                </a:cubicBezTo>
                <a:cubicBezTo>
                  <a:pt x="509" y="14"/>
                  <a:pt x="509" y="14"/>
                  <a:pt x="509" y="14"/>
                </a:cubicBezTo>
                <a:cubicBezTo>
                  <a:pt x="470" y="73"/>
                  <a:pt x="470" y="73"/>
                  <a:pt x="470" y="73"/>
                </a:cubicBezTo>
                <a:cubicBezTo>
                  <a:pt x="455" y="70"/>
                  <a:pt x="439" y="68"/>
                  <a:pt x="423" y="67"/>
                </a:cubicBezTo>
                <a:cubicBezTo>
                  <a:pt x="401" y="0"/>
                  <a:pt x="401" y="0"/>
                  <a:pt x="401" y="0"/>
                </a:cubicBezTo>
                <a:cubicBezTo>
                  <a:pt x="350" y="3"/>
                  <a:pt x="350" y="3"/>
                  <a:pt x="350" y="3"/>
                </a:cubicBezTo>
                <a:cubicBezTo>
                  <a:pt x="337" y="73"/>
                  <a:pt x="337" y="73"/>
                  <a:pt x="337" y="73"/>
                </a:cubicBezTo>
                <a:cubicBezTo>
                  <a:pt x="323" y="75"/>
                  <a:pt x="309" y="79"/>
                  <a:pt x="295" y="84"/>
                </a:cubicBezTo>
                <a:cubicBezTo>
                  <a:pt x="249" y="30"/>
                  <a:pt x="249" y="30"/>
                  <a:pt x="249" y="30"/>
                </a:cubicBezTo>
                <a:cubicBezTo>
                  <a:pt x="203" y="52"/>
                  <a:pt x="203" y="52"/>
                  <a:pt x="203" y="52"/>
                </a:cubicBezTo>
                <a:cubicBezTo>
                  <a:pt x="217" y="122"/>
                  <a:pt x="217" y="122"/>
                  <a:pt x="217" y="122"/>
                </a:cubicBezTo>
                <a:cubicBezTo>
                  <a:pt x="204" y="131"/>
                  <a:pt x="191" y="140"/>
                  <a:pt x="179" y="151"/>
                </a:cubicBezTo>
                <a:cubicBezTo>
                  <a:pt x="116" y="120"/>
                  <a:pt x="116" y="120"/>
                  <a:pt x="116" y="120"/>
                </a:cubicBezTo>
                <a:cubicBezTo>
                  <a:pt x="83" y="158"/>
                  <a:pt x="83" y="158"/>
                  <a:pt x="83" y="158"/>
                </a:cubicBezTo>
                <a:cubicBezTo>
                  <a:pt x="123" y="216"/>
                  <a:pt x="123" y="216"/>
                  <a:pt x="123" y="216"/>
                </a:cubicBezTo>
                <a:cubicBezTo>
                  <a:pt x="115" y="228"/>
                  <a:pt x="107" y="241"/>
                  <a:pt x="101" y="254"/>
                </a:cubicBezTo>
                <a:cubicBezTo>
                  <a:pt x="31" y="248"/>
                  <a:pt x="31" y="248"/>
                  <a:pt x="31" y="248"/>
                </a:cubicBezTo>
                <a:cubicBezTo>
                  <a:pt x="14" y="297"/>
                  <a:pt x="14" y="297"/>
                  <a:pt x="14" y="297"/>
                </a:cubicBezTo>
                <a:cubicBezTo>
                  <a:pt x="73" y="336"/>
                  <a:pt x="73" y="336"/>
                  <a:pt x="73" y="336"/>
                </a:cubicBezTo>
                <a:cubicBezTo>
                  <a:pt x="70" y="351"/>
                  <a:pt x="68" y="367"/>
                  <a:pt x="67" y="383"/>
                </a:cubicBezTo>
                <a:cubicBezTo>
                  <a:pt x="0" y="405"/>
                  <a:pt x="0" y="405"/>
                  <a:pt x="0" y="405"/>
                </a:cubicBezTo>
                <a:cubicBezTo>
                  <a:pt x="4" y="456"/>
                  <a:pt x="4" y="456"/>
                  <a:pt x="4" y="456"/>
                </a:cubicBezTo>
                <a:cubicBezTo>
                  <a:pt x="73" y="469"/>
                  <a:pt x="73" y="469"/>
                  <a:pt x="73" y="469"/>
                </a:cubicBezTo>
                <a:cubicBezTo>
                  <a:pt x="76" y="483"/>
                  <a:pt x="79" y="497"/>
                  <a:pt x="84" y="511"/>
                </a:cubicBezTo>
                <a:cubicBezTo>
                  <a:pt x="30" y="557"/>
                  <a:pt x="30" y="557"/>
                  <a:pt x="30" y="557"/>
                </a:cubicBezTo>
                <a:cubicBezTo>
                  <a:pt x="52" y="603"/>
                  <a:pt x="52" y="603"/>
                  <a:pt x="52" y="603"/>
                </a:cubicBezTo>
                <a:cubicBezTo>
                  <a:pt x="122" y="589"/>
                  <a:pt x="122" y="589"/>
                  <a:pt x="122" y="589"/>
                </a:cubicBezTo>
                <a:cubicBezTo>
                  <a:pt x="131" y="602"/>
                  <a:pt x="141" y="615"/>
                  <a:pt x="151" y="627"/>
                </a:cubicBezTo>
                <a:cubicBezTo>
                  <a:pt x="120" y="690"/>
                  <a:pt x="120" y="690"/>
                  <a:pt x="120" y="690"/>
                </a:cubicBezTo>
                <a:cubicBezTo>
                  <a:pt x="158" y="723"/>
                  <a:pt x="158" y="723"/>
                  <a:pt x="158" y="723"/>
                </a:cubicBezTo>
                <a:cubicBezTo>
                  <a:pt x="217" y="684"/>
                  <a:pt x="217" y="684"/>
                  <a:pt x="217" y="684"/>
                </a:cubicBezTo>
                <a:cubicBezTo>
                  <a:pt x="229" y="692"/>
                  <a:pt x="241" y="699"/>
                  <a:pt x="254" y="705"/>
                </a:cubicBezTo>
                <a:cubicBezTo>
                  <a:pt x="249" y="775"/>
                  <a:pt x="249" y="775"/>
                  <a:pt x="249" y="775"/>
                </a:cubicBezTo>
                <a:cubicBezTo>
                  <a:pt x="297" y="792"/>
                  <a:pt x="297" y="792"/>
                  <a:pt x="297" y="792"/>
                </a:cubicBezTo>
                <a:cubicBezTo>
                  <a:pt x="336" y="733"/>
                  <a:pt x="336" y="733"/>
                  <a:pt x="336" y="733"/>
                </a:cubicBezTo>
                <a:cubicBezTo>
                  <a:pt x="352" y="736"/>
                  <a:pt x="367" y="738"/>
                  <a:pt x="383" y="739"/>
                </a:cubicBezTo>
                <a:cubicBezTo>
                  <a:pt x="406" y="806"/>
                  <a:pt x="406" y="806"/>
                  <a:pt x="406" y="806"/>
                </a:cubicBezTo>
                <a:cubicBezTo>
                  <a:pt x="457" y="803"/>
                  <a:pt x="457" y="803"/>
                  <a:pt x="457" y="803"/>
                </a:cubicBezTo>
                <a:cubicBezTo>
                  <a:pt x="470" y="733"/>
                  <a:pt x="470" y="733"/>
                  <a:pt x="470" y="733"/>
                </a:cubicBezTo>
                <a:cubicBezTo>
                  <a:pt x="484" y="730"/>
                  <a:pt x="498" y="727"/>
                  <a:pt x="511" y="722"/>
                </a:cubicBezTo>
                <a:cubicBezTo>
                  <a:pt x="558" y="776"/>
                  <a:pt x="558" y="776"/>
                  <a:pt x="558" y="776"/>
                </a:cubicBezTo>
                <a:cubicBezTo>
                  <a:pt x="604" y="754"/>
                  <a:pt x="604" y="754"/>
                  <a:pt x="604" y="754"/>
                </a:cubicBezTo>
                <a:cubicBezTo>
                  <a:pt x="589" y="684"/>
                  <a:pt x="589" y="684"/>
                  <a:pt x="589" y="684"/>
                </a:cubicBezTo>
                <a:cubicBezTo>
                  <a:pt x="603" y="675"/>
                  <a:pt x="615" y="665"/>
                  <a:pt x="627" y="655"/>
                </a:cubicBezTo>
                <a:cubicBezTo>
                  <a:pt x="690" y="686"/>
                  <a:pt x="690" y="686"/>
                  <a:pt x="690" y="686"/>
                </a:cubicBezTo>
                <a:cubicBezTo>
                  <a:pt x="724" y="648"/>
                  <a:pt x="724" y="648"/>
                  <a:pt x="724" y="648"/>
                </a:cubicBezTo>
                <a:cubicBezTo>
                  <a:pt x="684" y="589"/>
                  <a:pt x="684" y="589"/>
                  <a:pt x="684" y="589"/>
                </a:cubicBezTo>
                <a:cubicBezTo>
                  <a:pt x="692" y="577"/>
                  <a:pt x="699" y="565"/>
                  <a:pt x="705" y="552"/>
                </a:cubicBezTo>
                <a:cubicBezTo>
                  <a:pt x="776" y="557"/>
                  <a:pt x="776" y="557"/>
                  <a:pt x="776" y="557"/>
                </a:cubicBezTo>
                <a:cubicBezTo>
                  <a:pt x="792" y="509"/>
                  <a:pt x="792" y="509"/>
                  <a:pt x="792" y="509"/>
                </a:cubicBezTo>
                <a:cubicBezTo>
                  <a:pt x="733" y="470"/>
                  <a:pt x="733" y="470"/>
                  <a:pt x="733" y="470"/>
                </a:cubicBezTo>
                <a:cubicBezTo>
                  <a:pt x="736" y="455"/>
                  <a:pt x="739" y="439"/>
                  <a:pt x="740" y="423"/>
                </a:cubicBezTo>
                <a:close/>
                <a:moveTo>
                  <a:pt x="170" y="517"/>
                </a:moveTo>
                <a:cubicBezTo>
                  <a:pt x="107" y="388"/>
                  <a:pt x="161" y="233"/>
                  <a:pt x="289" y="170"/>
                </a:cubicBezTo>
                <a:cubicBezTo>
                  <a:pt x="418" y="107"/>
                  <a:pt x="573" y="160"/>
                  <a:pt x="636" y="289"/>
                </a:cubicBezTo>
                <a:cubicBezTo>
                  <a:pt x="699" y="417"/>
                  <a:pt x="646" y="573"/>
                  <a:pt x="517" y="636"/>
                </a:cubicBezTo>
                <a:cubicBezTo>
                  <a:pt x="389" y="699"/>
                  <a:pt x="233" y="646"/>
                  <a:pt x="170" y="517"/>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th-TH" sz="1300">
              <a:solidFill>
                <a:srgbClr val="75787B"/>
              </a:solidFill>
              <a:ea typeface="+mj-ea"/>
            </a:endParaRPr>
          </a:p>
        </p:txBody>
      </p:sp>
      <p:sp>
        <p:nvSpPr>
          <p:cNvPr id="68" name="TextBox 133"/>
          <p:cNvSpPr txBox="1"/>
          <p:nvPr/>
        </p:nvSpPr>
        <p:spPr bwMode="auto">
          <a:xfrm>
            <a:off x="6566436" y="2359978"/>
            <a:ext cx="1648761" cy="338554"/>
          </a:xfrm>
          <a:prstGeom prst="rect">
            <a:avLst/>
          </a:prstGeom>
          <a:noFill/>
        </p:spPr>
        <p:txBody>
          <a:bodyPr wrap="square">
            <a:spAutoFit/>
          </a:bodyPr>
          <a:lstStyle/>
          <a:p>
            <a:pPr algn="ctr" defTabSz="1828434">
              <a:defRPr/>
            </a:pPr>
            <a:r>
              <a:rPr lang="id-ID" sz="1600" b="1" dirty="0">
                <a:solidFill>
                  <a:srgbClr val="86BC25"/>
                </a:solidFill>
                <a:ea typeface="+mj-ea"/>
                <a:cs typeface="Lato" pitchFamily="34" charset="0"/>
              </a:rPr>
              <a:t>Change</a:t>
            </a:r>
          </a:p>
        </p:txBody>
      </p:sp>
      <p:sp>
        <p:nvSpPr>
          <p:cNvPr id="69" name="TextBox 134"/>
          <p:cNvSpPr txBox="1"/>
          <p:nvPr/>
        </p:nvSpPr>
        <p:spPr>
          <a:xfrm>
            <a:off x="6741618" y="2584271"/>
            <a:ext cx="1298396" cy="783649"/>
          </a:xfrm>
          <a:prstGeom prst="rect">
            <a:avLst/>
          </a:prstGeom>
          <a:noFill/>
        </p:spPr>
        <p:txBody>
          <a:bodyPr wrap="square" lIns="219419" tIns="109710" rIns="219419" bIns="72000" rtlCol="0">
            <a:spAutoFit/>
          </a:bodyPr>
          <a:lstStyle/>
          <a:p>
            <a:pPr algn="ctr"/>
            <a:r>
              <a:rPr lang="en-US" sz="1300" dirty="0">
                <a:solidFill>
                  <a:srgbClr val="000000"/>
                </a:solidFill>
                <a:ea typeface="+mj-ea"/>
                <a:cs typeface="Lato" pitchFamily="34" charset="0"/>
              </a:rPr>
              <a:t>Please replace with text</a:t>
            </a:r>
          </a:p>
        </p:txBody>
      </p:sp>
      <p:sp>
        <p:nvSpPr>
          <p:cNvPr id="78" name="Freeform 7"/>
          <p:cNvSpPr>
            <a:spLocks noEditPoints="1"/>
          </p:cNvSpPr>
          <p:nvPr/>
        </p:nvSpPr>
        <p:spPr bwMode="auto">
          <a:xfrm>
            <a:off x="3658495" y="4046930"/>
            <a:ext cx="2285381" cy="2271565"/>
          </a:xfrm>
          <a:custGeom>
            <a:avLst/>
            <a:gdLst>
              <a:gd name="T0" fmla="*/ 806 w 806"/>
              <a:gd name="T1" fmla="*/ 401 h 806"/>
              <a:gd name="T2" fmla="*/ 733 w 806"/>
              <a:gd name="T3" fmla="*/ 336 h 806"/>
              <a:gd name="T4" fmla="*/ 776 w 806"/>
              <a:gd name="T5" fmla="*/ 248 h 806"/>
              <a:gd name="T6" fmla="*/ 684 w 806"/>
              <a:gd name="T7" fmla="*/ 217 h 806"/>
              <a:gd name="T8" fmla="*/ 687 w 806"/>
              <a:gd name="T9" fmla="*/ 116 h 806"/>
              <a:gd name="T10" fmla="*/ 590 w 806"/>
              <a:gd name="T11" fmla="*/ 122 h 806"/>
              <a:gd name="T12" fmla="*/ 558 w 806"/>
              <a:gd name="T13" fmla="*/ 30 h 806"/>
              <a:gd name="T14" fmla="*/ 470 w 806"/>
              <a:gd name="T15" fmla="*/ 73 h 806"/>
              <a:gd name="T16" fmla="*/ 401 w 806"/>
              <a:gd name="T17" fmla="*/ 0 h 806"/>
              <a:gd name="T18" fmla="*/ 337 w 806"/>
              <a:gd name="T19" fmla="*/ 73 h 806"/>
              <a:gd name="T20" fmla="*/ 249 w 806"/>
              <a:gd name="T21" fmla="*/ 30 h 806"/>
              <a:gd name="T22" fmla="*/ 217 w 806"/>
              <a:gd name="T23" fmla="*/ 122 h 806"/>
              <a:gd name="T24" fmla="*/ 116 w 806"/>
              <a:gd name="T25" fmla="*/ 120 h 806"/>
              <a:gd name="T26" fmla="*/ 123 w 806"/>
              <a:gd name="T27" fmla="*/ 216 h 806"/>
              <a:gd name="T28" fmla="*/ 31 w 806"/>
              <a:gd name="T29" fmla="*/ 248 h 806"/>
              <a:gd name="T30" fmla="*/ 73 w 806"/>
              <a:gd name="T31" fmla="*/ 336 h 806"/>
              <a:gd name="T32" fmla="*/ 0 w 806"/>
              <a:gd name="T33" fmla="*/ 405 h 806"/>
              <a:gd name="T34" fmla="*/ 73 w 806"/>
              <a:gd name="T35" fmla="*/ 469 h 806"/>
              <a:gd name="T36" fmla="*/ 30 w 806"/>
              <a:gd name="T37" fmla="*/ 557 h 806"/>
              <a:gd name="T38" fmla="*/ 122 w 806"/>
              <a:gd name="T39" fmla="*/ 589 h 806"/>
              <a:gd name="T40" fmla="*/ 120 w 806"/>
              <a:gd name="T41" fmla="*/ 690 h 806"/>
              <a:gd name="T42" fmla="*/ 217 w 806"/>
              <a:gd name="T43" fmla="*/ 684 h 806"/>
              <a:gd name="T44" fmla="*/ 249 w 806"/>
              <a:gd name="T45" fmla="*/ 775 h 806"/>
              <a:gd name="T46" fmla="*/ 336 w 806"/>
              <a:gd name="T47" fmla="*/ 733 h 806"/>
              <a:gd name="T48" fmla="*/ 406 w 806"/>
              <a:gd name="T49" fmla="*/ 806 h 806"/>
              <a:gd name="T50" fmla="*/ 470 w 806"/>
              <a:gd name="T51" fmla="*/ 733 h 806"/>
              <a:gd name="T52" fmla="*/ 558 w 806"/>
              <a:gd name="T53" fmla="*/ 776 h 806"/>
              <a:gd name="T54" fmla="*/ 589 w 806"/>
              <a:gd name="T55" fmla="*/ 684 h 806"/>
              <a:gd name="T56" fmla="*/ 690 w 806"/>
              <a:gd name="T57" fmla="*/ 686 h 806"/>
              <a:gd name="T58" fmla="*/ 684 w 806"/>
              <a:gd name="T59" fmla="*/ 589 h 806"/>
              <a:gd name="T60" fmla="*/ 776 w 806"/>
              <a:gd name="T61" fmla="*/ 557 h 806"/>
              <a:gd name="T62" fmla="*/ 733 w 806"/>
              <a:gd name="T63" fmla="*/ 470 h 806"/>
              <a:gd name="T64" fmla="*/ 170 w 806"/>
              <a:gd name="T65" fmla="*/ 517 h 806"/>
              <a:gd name="T66" fmla="*/ 636 w 806"/>
              <a:gd name="T67" fmla="*/ 289 h 806"/>
              <a:gd name="T68" fmla="*/ 170 w 806"/>
              <a:gd name="T69" fmla="*/ 51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6" h="806">
                <a:moveTo>
                  <a:pt x="740" y="423"/>
                </a:moveTo>
                <a:cubicBezTo>
                  <a:pt x="806" y="401"/>
                  <a:pt x="806" y="401"/>
                  <a:pt x="806" y="401"/>
                </a:cubicBezTo>
                <a:cubicBezTo>
                  <a:pt x="803" y="349"/>
                  <a:pt x="803" y="349"/>
                  <a:pt x="803" y="349"/>
                </a:cubicBezTo>
                <a:cubicBezTo>
                  <a:pt x="733" y="336"/>
                  <a:pt x="733" y="336"/>
                  <a:pt x="733" y="336"/>
                </a:cubicBezTo>
                <a:cubicBezTo>
                  <a:pt x="731" y="322"/>
                  <a:pt x="727" y="309"/>
                  <a:pt x="722" y="295"/>
                </a:cubicBezTo>
                <a:cubicBezTo>
                  <a:pt x="776" y="248"/>
                  <a:pt x="776" y="248"/>
                  <a:pt x="776" y="248"/>
                </a:cubicBezTo>
                <a:cubicBezTo>
                  <a:pt x="754" y="202"/>
                  <a:pt x="754" y="202"/>
                  <a:pt x="754" y="202"/>
                </a:cubicBezTo>
                <a:cubicBezTo>
                  <a:pt x="684" y="217"/>
                  <a:pt x="684" y="217"/>
                  <a:pt x="684" y="217"/>
                </a:cubicBezTo>
                <a:cubicBezTo>
                  <a:pt x="675" y="204"/>
                  <a:pt x="666" y="191"/>
                  <a:pt x="655" y="179"/>
                </a:cubicBezTo>
                <a:cubicBezTo>
                  <a:pt x="687" y="116"/>
                  <a:pt x="687" y="116"/>
                  <a:pt x="687" y="116"/>
                </a:cubicBezTo>
                <a:cubicBezTo>
                  <a:pt x="648" y="82"/>
                  <a:pt x="648" y="82"/>
                  <a:pt x="648" y="82"/>
                </a:cubicBezTo>
                <a:cubicBezTo>
                  <a:pt x="590" y="122"/>
                  <a:pt x="590" y="122"/>
                  <a:pt x="590" y="122"/>
                </a:cubicBezTo>
                <a:cubicBezTo>
                  <a:pt x="578" y="114"/>
                  <a:pt x="565" y="107"/>
                  <a:pt x="552" y="101"/>
                </a:cubicBezTo>
                <a:cubicBezTo>
                  <a:pt x="558" y="30"/>
                  <a:pt x="558" y="30"/>
                  <a:pt x="558" y="30"/>
                </a:cubicBezTo>
                <a:cubicBezTo>
                  <a:pt x="509" y="14"/>
                  <a:pt x="509" y="14"/>
                  <a:pt x="509" y="14"/>
                </a:cubicBezTo>
                <a:cubicBezTo>
                  <a:pt x="470" y="73"/>
                  <a:pt x="470" y="73"/>
                  <a:pt x="470" y="73"/>
                </a:cubicBezTo>
                <a:cubicBezTo>
                  <a:pt x="455" y="70"/>
                  <a:pt x="439" y="68"/>
                  <a:pt x="423" y="67"/>
                </a:cubicBezTo>
                <a:cubicBezTo>
                  <a:pt x="401" y="0"/>
                  <a:pt x="401" y="0"/>
                  <a:pt x="401" y="0"/>
                </a:cubicBezTo>
                <a:cubicBezTo>
                  <a:pt x="350" y="3"/>
                  <a:pt x="350" y="3"/>
                  <a:pt x="350" y="3"/>
                </a:cubicBezTo>
                <a:cubicBezTo>
                  <a:pt x="337" y="73"/>
                  <a:pt x="337" y="73"/>
                  <a:pt x="337" y="73"/>
                </a:cubicBezTo>
                <a:cubicBezTo>
                  <a:pt x="323" y="75"/>
                  <a:pt x="309" y="79"/>
                  <a:pt x="295" y="84"/>
                </a:cubicBezTo>
                <a:cubicBezTo>
                  <a:pt x="249" y="30"/>
                  <a:pt x="249" y="30"/>
                  <a:pt x="249" y="30"/>
                </a:cubicBezTo>
                <a:cubicBezTo>
                  <a:pt x="203" y="52"/>
                  <a:pt x="203" y="52"/>
                  <a:pt x="203" y="52"/>
                </a:cubicBezTo>
                <a:cubicBezTo>
                  <a:pt x="217" y="122"/>
                  <a:pt x="217" y="122"/>
                  <a:pt x="217" y="122"/>
                </a:cubicBezTo>
                <a:cubicBezTo>
                  <a:pt x="204" y="131"/>
                  <a:pt x="191" y="140"/>
                  <a:pt x="179" y="151"/>
                </a:cubicBezTo>
                <a:cubicBezTo>
                  <a:pt x="116" y="120"/>
                  <a:pt x="116" y="120"/>
                  <a:pt x="116" y="120"/>
                </a:cubicBezTo>
                <a:cubicBezTo>
                  <a:pt x="83" y="158"/>
                  <a:pt x="83" y="158"/>
                  <a:pt x="83" y="158"/>
                </a:cubicBezTo>
                <a:cubicBezTo>
                  <a:pt x="123" y="216"/>
                  <a:pt x="123" y="216"/>
                  <a:pt x="123" y="216"/>
                </a:cubicBezTo>
                <a:cubicBezTo>
                  <a:pt x="115" y="228"/>
                  <a:pt x="107" y="241"/>
                  <a:pt x="101" y="254"/>
                </a:cubicBezTo>
                <a:cubicBezTo>
                  <a:pt x="31" y="248"/>
                  <a:pt x="31" y="248"/>
                  <a:pt x="31" y="248"/>
                </a:cubicBezTo>
                <a:cubicBezTo>
                  <a:pt x="14" y="297"/>
                  <a:pt x="14" y="297"/>
                  <a:pt x="14" y="297"/>
                </a:cubicBezTo>
                <a:cubicBezTo>
                  <a:pt x="73" y="336"/>
                  <a:pt x="73" y="336"/>
                  <a:pt x="73" y="336"/>
                </a:cubicBezTo>
                <a:cubicBezTo>
                  <a:pt x="70" y="351"/>
                  <a:pt x="68" y="367"/>
                  <a:pt x="67" y="383"/>
                </a:cubicBezTo>
                <a:cubicBezTo>
                  <a:pt x="0" y="405"/>
                  <a:pt x="0" y="405"/>
                  <a:pt x="0" y="405"/>
                </a:cubicBezTo>
                <a:cubicBezTo>
                  <a:pt x="4" y="456"/>
                  <a:pt x="4" y="456"/>
                  <a:pt x="4" y="456"/>
                </a:cubicBezTo>
                <a:cubicBezTo>
                  <a:pt x="73" y="469"/>
                  <a:pt x="73" y="469"/>
                  <a:pt x="73" y="469"/>
                </a:cubicBezTo>
                <a:cubicBezTo>
                  <a:pt x="76" y="483"/>
                  <a:pt x="79" y="497"/>
                  <a:pt x="84" y="511"/>
                </a:cubicBezTo>
                <a:cubicBezTo>
                  <a:pt x="30" y="557"/>
                  <a:pt x="30" y="557"/>
                  <a:pt x="30" y="557"/>
                </a:cubicBezTo>
                <a:cubicBezTo>
                  <a:pt x="52" y="603"/>
                  <a:pt x="52" y="603"/>
                  <a:pt x="52" y="603"/>
                </a:cubicBezTo>
                <a:cubicBezTo>
                  <a:pt x="122" y="589"/>
                  <a:pt x="122" y="589"/>
                  <a:pt x="122" y="589"/>
                </a:cubicBezTo>
                <a:cubicBezTo>
                  <a:pt x="131" y="602"/>
                  <a:pt x="141" y="615"/>
                  <a:pt x="151" y="627"/>
                </a:cubicBezTo>
                <a:cubicBezTo>
                  <a:pt x="120" y="690"/>
                  <a:pt x="120" y="690"/>
                  <a:pt x="120" y="690"/>
                </a:cubicBezTo>
                <a:cubicBezTo>
                  <a:pt x="158" y="723"/>
                  <a:pt x="158" y="723"/>
                  <a:pt x="158" y="723"/>
                </a:cubicBezTo>
                <a:cubicBezTo>
                  <a:pt x="217" y="684"/>
                  <a:pt x="217" y="684"/>
                  <a:pt x="217" y="684"/>
                </a:cubicBezTo>
                <a:cubicBezTo>
                  <a:pt x="229" y="692"/>
                  <a:pt x="241" y="699"/>
                  <a:pt x="254" y="705"/>
                </a:cubicBezTo>
                <a:cubicBezTo>
                  <a:pt x="249" y="775"/>
                  <a:pt x="249" y="775"/>
                  <a:pt x="249" y="775"/>
                </a:cubicBezTo>
                <a:cubicBezTo>
                  <a:pt x="297" y="792"/>
                  <a:pt x="297" y="792"/>
                  <a:pt x="297" y="792"/>
                </a:cubicBezTo>
                <a:cubicBezTo>
                  <a:pt x="336" y="733"/>
                  <a:pt x="336" y="733"/>
                  <a:pt x="336" y="733"/>
                </a:cubicBezTo>
                <a:cubicBezTo>
                  <a:pt x="352" y="736"/>
                  <a:pt x="367" y="738"/>
                  <a:pt x="383" y="739"/>
                </a:cubicBezTo>
                <a:cubicBezTo>
                  <a:pt x="406" y="806"/>
                  <a:pt x="406" y="806"/>
                  <a:pt x="406" y="806"/>
                </a:cubicBezTo>
                <a:cubicBezTo>
                  <a:pt x="457" y="803"/>
                  <a:pt x="457" y="803"/>
                  <a:pt x="457" y="803"/>
                </a:cubicBezTo>
                <a:cubicBezTo>
                  <a:pt x="470" y="733"/>
                  <a:pt x="470" y="733"/>
                  <a:pt x="470" y="733"/>
                </a:cubicBezTo>
                <a:cubicBezTo>
                  <a:pt x="484" y="730"/>
                  <a:pt x="498" y="727"/>
                  <a:pt x="511" y="722"/>
                </a:cubicBezTo>
                <a:cubicBezTo>
                  <a:pt x="558" y="776"/>
                  <a:pt x="558" y="776"/>
                  <a:pt x="558" y="776"/>
                </a:cubicBezTo>
                <a:cubicBezTo>
                  <a:pt x="604" y="754"/>
                  <a:pt x="604" y="754"/>
                  <a:pt x="604" y="754"/>
                </a:cubicBezTo>
                <a:cubicBezTo>
                  <a:pt x="589" y="684"/>
                  <a:pt x="589" y="684"/>
                  <a:pt x="589" y="684"/>
                </a:cubicBezTo>
                <a:cubicBezTo>
                  <a:pt x="603" y="675"/>
                  <a:pt x="615" y="665"/>
                  <a:pt x="627" y="655"/>
                </a:cubicBezTo>
                <a:cubicBezTo>
                  <a:pt x="690" y="686"/>
                  <a:pt x="690" y="686"/>
                  <a:pt x="690" y="686"/>
                </a:cubicBezTo>
                <a:cubicBezTo>
                  <a:pt x="724" y="648"/>
                  <a:pt x="724" y="648"/>
                  <a:pt x="724" y="648"/>
                </a:cubicBezTo>
                <a:cubicBezTo>
                  <a:pt x="684" y="589"/>
                  <a:pt x="684" y="589"/>
                  <a:pt x="684" y="589"/>
                </a:cubicBezTo>
                <a:cubicBezTo>
                  <a:pt x="692" y="577"/>
                  <a:pt x="699" y="565"/>
                  <a:pt x="705" y="552"/>
                </a:cubicBezTo>
                <a:cubicBezTo>
                  <a:pt x="776" y="557"/>
                  <a:pt x="776" y="557"/>
                  <a:pt x="776" y="557"/>
                </a:cubicBezTo>
                <a:cubicBezTo>
                  <a:pt x="792" y="509"/>
                  <a:pt x="792" y="509"/>
                  <a:pt x="792" y="509"/>
                </a:cubicBezTo>
                <a:cubicBezTo>
                  <a:pt x="733" y="470"/>
                  <a:pt x="733" y="470"/>
                  <a:pt x="733" y="470"/>
                </a:cubicBezTo>
                <a:cubicBezTo>
                  <a:pt x="736" y="455"/>
                  <a:pt x="739" y="439"/>
                  <a:pt x="740" y="423"/>
                </a:cubicBezTo>
                <a:close/>
                <a:moveTo>
                  <a:pt x="170" y="517"/>
                </a:moveTo>
                <a:cubicBezTo>
                  <a:pt x="107" y="388"/>
                  <a:pt x="161" y="233"/>
                  <a:pt x="289" y="170"/>
                </a:cubicBezTo>
                <a:cubicBezTo>
                  <a:pt x="418" y="107"/>
                  <a:pt x="573" y="160"/>
                  <a:pt x="636" y="289"/>
                </a:cubicBezTo>
                <a:cubicBezTo>
                  <a:pt x="699" y="417"/>
                  <a:pt x="646" y="573"/>
                  <a:pt x="517" y="636"/>
                </a:cubicBezTo>
                <a:cubicBezTo>
                  <a:pt x="389" y="699"/>
                  <a:pt x="233" y="646"/>
                  <a:pt x="170" y="517"/>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th-TH" sz="1300">
              <a:solidFill>
                <a:srgbClr val="75787B"/>
              </a:solidFill>
              <a:ea typeface="+mj-ea"/>
            </a:endParaRPr>
          </a:p>
        </p:txBody>
      </p:sp>
      <p:sp>
        <p:nvSpPr>
          <p:cNvPr id="79" name="TextBox 143"/>
          <p:cNvSpPr txBox="1"/>
          <p:nvPr/>
        </p:nvSpPr>
        <p:spPr bwMode="auto">
          <a:xfrm>
            <a:off x="3965256" y="4709006"/>
            <a:ext cx="1671859" cy="338554"/>
          </a:xfrm>
          <a:prstGeom prst="rect">
            <a:avLst/>
          </a:prstGeom>
          <a:noFill/>
        </p:spPr>
        <p:txBody>
          <a:bodyPr wrap="square">
            <a:spAutoFit/>
          </a:bodyPr>
          <a:lstStyle/>
          <a:p>
            <a:pPr algn="ctr" defTabSz="1828434">
              <a:defRPr/>
            </a:pPr>
            <a:r>
              <a:rPr lang="id-ID" sz="1600" b="1" dirty="0">
                <a:solidFill>
                  <a:srgbClr val="43B02A"/>
                </a:solidFill>
                <a:ea typeface="+mj-ea"/>
                <a:cs typeface="Lato" pitchFamily="34" charset="0"/>
              </a:rPr>
              <a:t>Change</a:t>
            </a:r>
          </a:p>
        </p:txBody>
      </p:sp>
      <p:sp>
        <p:nvSpPr>
          <p:cNvPr id="80" name="TextBox 144"/>
          <p:cNvSpPr txBox="1"/>
          <p:nvPr/>
        </p:nvSpPr>
        <p:spPr>
          <a:xfrm>
            <a:off x="4151987" y="4911657"/>
            <a:ext cx="1298396" cy="783649"/>
          </a:xfrm>
          <a:prstGeom prst="rect">
            <a:avLst/>
          </a:prstGeom>
          <a:noFill/>
        </p:spPr>
        <p:txBody>
          <a:bodyPr wrap="square" lIns="219419" tIns="109710" rIns="219419" bIns="72000" rtlCol="0">
            <a:spAutoFit/>
          </a:bodyPr>
          <a:lstStyle/>
          <a:p>
            <a:pPr algn="ctr"/>
            <a:r>
              <a:rPr lang="en-US" sz="1300" dirty="0">
                <a:solidFill>
                  <a:srgbClr val="000000"/>
                </a:solidFill>
                <a:ea typeface="+mj-ea"/>
                <a:cs typeface="Lato" pitchFamily="34" charset="0"/>
              </a:rPr>
              <a:t>Please replace with text</a:t>
            </a:r>
          </a:p>
        </p:txBody>
      </p:sp>
      <p:sp>
        <p:nvSpPr>
          <p:cNvPr id="88" name="Freeform 7"/>
          <p:cNvSpPr>
            <a:spLocks noEditPoints="1"/>
          </p:cNvSpPr>
          <p:nvPr/>
        </p:nvSpPr>
        <p:spPr bwMode="auto">
          <a:xfrm>
            <a:off x="6248126" y="4061670"/>
            <a:ext cx="2285380" cy="2271565"/>
          </a:xfrm>
          <a:custGeom>
            <a:avLst/>
            <a:gdLst>
              <a:gd name="T0" fmla="*/ 806 w 806"/>
              <a:gd name="T1" fmla="*/ 401 h 806"/>
              <a:gd name="T2" fmla="*/ 733 w 806"/>
              <a:gd name="T3" fmla="*/ 336 h 806"/>
              <a:gd name="T4" fmla="*/ 776 w 806"/>
              <a:gd name="T5" fmla="*/ 248 h 806"/>
              <a:gd name="T6" fmla="*/ 684 w 806"/>
              <a:gd name="T7" fmla="*/ 217 h 806"/>
              <a:gd name="T8" fmla="*/ 687 w 806"/>
              <a:gd name="T9" fmla="*/ 116 h 806"/>
              <a:gd name="T10" fmla="*/ 590 w 806"/>
              <a:gd name="T11" fmla="*/ 122 h 806"/>
              <a:gd name="T12" fmla="*/ 558 w 806"/>
              <a:gd name="T13" fmla="*/ 30 h 806"/>
              <a:gd name="T14" fmla="*/ 470 w 806"/>
              <a:gd name="T15" fmla="*/ 73 h 806"/>
              <a:gd name="T16" fmla="*/ 401 w 806"/>
              <a:gd name="T17" fmla="*/ 0 h 806"/>
              <a:gd name="T18" fmla="*/ 337 w 806"/>
              <a:gd name="T19" fmla="*/ 73 h 806"/>
              <a:gd name="T20" fmla="*/ 249 w 806"/>
              <a:gd name="T21" fmla="*/ 30 h 806"/>
              <a:gd name="T22" fmla="*/ 217 w 806"/>
              <a:gd name="T23" fmla="*/ 122 h 806"/>
              <a:gd name="T24" fmla="*/ 116 w 806"/>
              <a:gd name="T25" fmla="*/ 120 h 806"/>
              <a:gd name="T26" fmla="*/ 123 w 806"/>
              <a:gd name="T27" fmla="*/ 216 h 806"/>
              <a:gd name="T28" fmla="*/ 31 w 806"/>
              <a:gd name="T29" fmla="*/ 248 h 806"/>
              <a:gd name="T30" fmla="*/ 73 w 806"/>
              <a:gd name="T31" fmla="*/ 336 h 806"/>
              <a:gd name="T32" fmla="*/ 0 w 806"/>
              <a:gd name="T33" fmla="*/ 405 h 806"/>
              <a:gd name="T34" fmla="*/ 73 w 806"/>
              <a:gd name="T35" fmla="*/ 469 h 806"/>
              <a:gd name="T36" fmla="*/ 30 w 806"/>
              <a:gd name="T37" fmla="*/ 557 h 806"/>
              <a:gd name="T38" fmla="*/ 122 w 806"/>
              <a:gd name="T39" fmla="*/ 589 h 806"/>
              <a:gd name="T40" fmla="*/ 120 w 806"/>
              <a:gd name="T41" fmla="*/ 690 h 806"/>
              <a:gd name="T42" fmla="*/ 217 w 806"/>
              <a:gd name="T43" fmla="*/ 684 h 806"/>
              <a:gd name="T44" fmla="*/ 249 w 806"/>
              <a:gd name="T45" fmla="*/ 775 h 806"/>
              <a:gd name="T46" fmla="*/ 336 w 806"/>
              <a:gd name="T47" fmla="*/ 733 h 806"/>
              <a:gd name="T48" fmla="*/ 406 w 806"/>
              <a:gd name="T49" fmla="*/ 806 h 806"/>
              <a:gd name="T50" fmla="*/ 470 w 806"/>
              <a:gd name="T51" fmla="*/ 733 h 806"/>
              <a:gd name="T52" fmla="*/ 558 w 806"/>
              <a:gd name="T53" fmla="*/ 776 h 806"/>
              <a:gd name="T54" fmla="*/ 589 w 806"/>
              <a:gd name="T55" fmla="*/ 684 h 806"/>
              <a:gd name="T56" fmla="*/ 690 w 806"/>
              <a:gd name="T57" fmla="*/ 686 h 806"/>
              <a:gd name="T58" fmla="*/ 684 w 806"/>
              <a:gd name="T59" fmla="*/ 589 h 806"/>
              <a:gd name="T60" fmla="*/ 776 w 806"/>
              <a:gd name="T61" fmla="*/ 557 h 806"/>
              <a:gd name="T62" fmla="*/ 733 w 806"/>
              <a:gd name="T63" fmla="*/ 470 h 806"/>
              <a:gd name="T64" fmla="*/ 170 w 806"/>
              <a:gd name="T65" fmla="*/ 517 h 806"/>
              <a:gd name="T66" fmla="*/ 636 w 806"/>
              <a:gd name="T67" fmla="*/ 289 h 806"/>
              <a:gd name="T68" fmla="*/ 170 w 806"/>
              <a:gd name="T69" fmla="*/ 51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6" h="806">
                <a:moveTo>
                  <a:pt x="740" y="423"/>
                </a:moveTo>
                <a:cubicBezTo>
                  <a:pt x="806" y="401"/>
                  <a:pt x="806" y="401"/>
                  <a:pt x="806" y="401"/>
                </a:cubicBezTo>
                <a:cubicBezTo>
                  <a:pt x="803" y="349"/>
                  <a:pt x="803" y="349"/>
                  <a:pt x="803" y="349"/>
                </a:cubicBezTo>
                <a:cubicBezTo>
                  <a:pt x="733" y="336"/>
                  <a:pt x="733" y="336"/>
                  <a:pt x="733" y="336"/>
                </a:cubicBezTo>
                <a:cubicBezTo>
                  <a:pt x="731" y="322"/>
                  <a:pt x="727" y="309"/>
                  <a:pt x="722" y="295"/>
                </a:cubicBezTo>
                <a:cubicBezTo>
                  <a:pt x="776" y="248"/>
                  <a:pt x="776" y="248"/>
                  <a:pt x="776" y="248"/>
                </a:cubicBezTo>
                <a:cubicBezTo>
                  <a:pt x="754" y="202"/>
                  <a:pt x="754" y="202"/>
                  <a:pt x="754" y="202"/>
                </a:cubicBezTo>
                <a:cubicBezTo>
                  <a:pt x="684" y="217"/>
                  <a:pt x="684" y="217"/>
                  <a:pt x="684" y="217"/>
                </a:cubicBezTo>
                <a:cubicBezTo>
                  <a:pt x="675" y="204"/>
                  <a:pt x="666" y="191"/>
                  <a:pt x="655" y="179"/>
                </a:cubicBezTo>
                <a:cubicBezTo>
                  <a:pt x="687" y="116"/>
                  <a:pt x="687" y="116"/>
                  <a:pt x="687" y="116"/>
                </a:cubicBezTo>
                <a:cubicBezTo>
                  <a:pt x="648" y="82"/>
                  <a:pt x="648" y="82"/>
                  <a:pt x="648" y="82"/>
                </a:cubicBezTo>
                <a:cubicBezTo>
                  <a:pt x="590" y="122"/>
                  <a:pt x="590" y="122"/>
                  <a:pt x="590" y="122"/>
                </a:cubicBezTo>
                <a:cubicBezTo>
                  <a:pt x="578" y="114"/>
                  <a:pt x="565" y="107"/>
                  <a:pt x="552" y="101"/>
                </a:cubicBezTo>
                <a:cubicBezTo>
                  <a:pt x="558" y="30"/>
                  <a:pt x="558" y="30"/>
                  <a:pt x="558" y="30"/>
                </a:cubicBezTo>
                <a:cubicBezTo>
                  <a:pt x="509" y="14"/>
                  <a:pt x="509" y="14"/>
                  <a:pt x="509" y="14"/>
                </a:cubicBezTo>
                <a:cubicBezTo>
                  <a:pt x="470" y="73"/>
                  <a:pt x="470" y="73"/>
                  <a:pt x="470" y="73"/>
                </a:cubicBezTo>
                <a:cubicBezTo>
                  <a:pt x="455" y="70"/>
                  <a:pt x="439" y="68"/>
                  <a:pt x="423" y="67"/>
                </a:cubicBezTo>
                <a:cubicBezTo>
                  <a:pt x="401" y="0"/>
                  <a:pt x="401" y="0"/>
                  <a:pt x="401" y="0"/>
                </a:cubicBezTo>
                <a:cubicBezTo>
                  <a:pt x="350" y="3"/>
                  <a:pt x="350" y="3"/>
                  <a:pt x="350" y="3"/>
                </a:cubicBezTo>
                <a:cubicBezTo>
                  <a:pt x="337" y="73"/>
                  <a:pt x="337" y="73"/>
                  <a:pt x="337" y="73"/>
                </a:cubicBezTo>
                <a:cubicBezTo>
                  <a:pt x="323" y="75"/>
                  <a:pt x="309" y="79"/>
                  <a:pt x="295" y="84"/>
                </a:cubicBezTo>
                <a:cubicBezTo>
                  <a:pt x="249" y="30"/>
                  <a:pt x="249" y="30"/>
                  <a:pt x="249" y="30"/>
                </a:cubicBezTo>
                <a:cubicBezTo>
                  <a:pt x="203" y="52"/>
                  <a:pt x="203" y="52"/>
                  <a:pt x="203" y="52"/>
                </a:cubicBezTo>
                <a:cubicBezTo>
                  <a:pt x="217" y="122"/>
                  <a:pt x="217" y="122"/>
                  <a:pt x="217" y="122"/>
                </a:cubicBezTo>
                <a:cubicBezTo>
                  <a:pt x="204" y="131"/>
                  <a:pt x="191" y="140"/>
                  <a:pt x="179" y="151"/>
                </a:cubicBezTo>
                <a:cubicBezTo>
                  <a:pt x="116" y="120"/>
                  <a:pt x="116" y="120"/>
                  <a:pt x="116" y="120"/>
                </a:cubicBezTo>
                <a:cubicBezTo>
                  <a:pt x="83" y="158"/>
                  <a:pt x="83" y="158"/>
                  <a:pt x="83" y="158"/>
                </a:cubicBezTo>
                <a:cubicBezTo>
                  <a:pt x="123" y="216"/>
                  <a:pt x="123" y="216"/>
                  <a:pt x="123" y="216"/>
                </a:cubicBezTo>
                <a:cubicBezTo>
                  <a:pt x="115" y="228"/>
                  <a:pt x="107" y="241"/>
                  <a:pt x="101" y="254"/>
                </a:cubicBezTo>
                <a:cubicBezTo>
                  <a:pt x="31" y="248"/>
                  <a:pt x="31" y="248"/>
                  <a:pt x="31" y="248"/>
                </a:cubicBezTo>
                <a:cubicBezTo>
                  <a:pt x="14" y="297"/>
                  <a:pt x="14" y="297"/>
                  <a:pt x="14" y="297"/>
                </a:cubicBezTo>
                <a:cubicBezTo>
                  <a:pt x="73" y="336"/>
                  <a:pt x="73" y="336"/>
                  <a:pt x="73" y="336"/>
                </a:cubicBezTo>
                <a:cubicBezTo>
                  <a:pt x="70" y="351"/>
                  <a:pt x="68" y="367"/>
                  <a:pt x="67" y="383"/>
                </a:cubicBezTo>
                <a:cubicBezTo>
                  <a:pt x="0" y="405"/>
                  <a:pt x="0" y="405"/>
                  <a:pt x="0" y="405"/>
                </a:cubicBezTo>
                <a:cubicBezTo>
                  <a:pt x="4" y="456"/>
                  <a:pt x="4" y="456"/>
                  <a:pt x="4" y="456"/>
                </a:cubicBezTo>
                <a:cubicBezTo>
                  <a:pt x="73" y="469"/>
                  <a:pt x="73" y="469"/>
                  <a:pt x="73" y="469"/>
                </a:cubicBezTo>
                <a:cubicBezTo>
                  <a:pt x="76" y="483"/>
                  <a:pt x="79" y="497"/>
                  <a:pt x="84" y="511"/>
                </a:cubicBezTo>
                <a:cubicBezTo>
                  <a:pt x="30" y="557"/>
                  <a:pt x="30" y="557"/>
                  <a:pt x="30" y="557"/>
                </a:cubicBezTo>
                <a:cubicBezTo>
                  <a:pt x="52" y="603"/>
                  <a:pt x="52" y="603"/>
                  <a:pt x="52" y="603"/>
                </a:cubicBezTo>
                <a:cubicBezTo>
                  <a:pt x="122" y="589"/>
                  <a:pt x="122" y="589"/>
                  <a:pt x="122" y="589"/>
                </a:cubicBezTo>
                <a:cubicBezTo>
                  <a:pt x="131" y="602"/>
                  <a:pt x="141" y="615"/>
                  <a:pt x="151" y="627"/>
                </a:cubicBezTo>
                <a:cubicBezTo>
                  <a:pt x="120" y="690"/>
                  <a:pt x="120" y="690"/>
                  <a:pt x="120" y="690"/>
                </a:cubicBezTo>
                <a:cubicBezTo>
                  <a:pt x="158" y="723"/>
                  <a:pt x="158" y="723"/>
                  <a:pt x="158" y="723"/>
                </a:cubicBezTo>
                <a:cubicBezTo>
                  <a:pt x="217" y="684"/>
                  <a:pt x="217" y="684"/>
                  <a:pt x="217" y="684"/>
                </a:cubicBezTo>
                <a:cubicBezTo>
                  <a:pt x="229" y="692"/>
                  <a:pt x="241" y="699"/>
                  <a:pt x="254" y="705"/>
                </a:cubicBezTo>
                <a:cubicBezTo>
                  <a:pt x="249" y="775"/>
                  <a:pt x="249" y="775"/>
                  <a:pt x="249" y="775"/>
                </a:cubicBezTo>
                <a:cubicBezTo>
                  <a:pt x="297" y="792"/>
                  <a:pt x="297" y="792"/>
                  <a:pt x="297" y="792"/>
                </a:cubicBezTo>
                <a:cubicBezTo>
                  <a:pt x="336" y="733"/>
                  <a:pt x="336" y="733"/>
                  <a:pt x="336" y="733"/>
                </a:cubicBezTo>
                <a:cubicBezTo>
                  <a:pt x="352" y="736"/>
                  <a:pt x="367" y="738"/>
                  <a:pt x="383" y="739"/>
                </a:cubicBezTo>
                <a:cubicBezTo>
                  <a:pt x="406" y="806"/>
                  <a:pt x="406" y="806"/>
                  <a:pt x="406" y="806"/>
                </a:cubicBezTo>
                <a:cubicBezTo>
                  <a:pt x="457" y="803"/>
                  <a:pt x="457" y="803"/>
                  <a:pt x="457" y="803"/>
                </a:cubicBezTo>
                <a:cubicBezTo>
                  <a:pt x="470" y="733"/>
                  <a:pt x="470" y="733"/>
                  <a:pt x="470" y="733"/>
                </a:cubicBezTo>
                <a:cubicBezTo>
                  <a:pt x="484" y="730"/>
                  <a:pt x="498" y="727"/>
                  <a:pt x="511" y="722"/>
                </a:cubicBezTo>
                <a:cubicBezTo>
                  <a:pt x="558" y="776"/>
                  <a:pt x="558" y="776"/>
                  <a:pt x="558" y="776"/>
                </a:cubicBezTo>
                <a:cubicBezTo>
                  <a:pt x="604" y="754"/>
                  <a:pt x="604" y="754"/>
                  <a:pt x="604" y="754"/>
                </a:cubicBezTo>
                <a:cubicBezTo>
                  <a:pt x="589" y="684"/>
                  <a:pt x="589" y="684"/>
                  <a:pt x="589" y="684"/>
                </a:cubicBezTo>
                <a:cubicBezTo>
                  <a:pt x="603" y="675"/>
                  <a:pt x="615" y="665"/>
                  <a:pt x="627" y="655"/>
                </a:cubicBezTo>
                <a:cubicBezTo>
                  <a:pt x="690" y="686"/>
                  <a:pt x="690" y="686"/>
                  <a:pt x="690" y="686"/>
                </a:cubicBezTo>
                <a:cubicBezTo>
                  <a:pt x="724" y="648"/>
                  <a:pt x="724" y="648"/>
                  <a:pt x="724" y="648"/>
                </a:cubicBezTo>
                <a:cubicBezTo>
                  <a:pt x="684" y="589"/>
                  <a:pt x="684" y="589"/>
                  <a:pt x="684" y="589"/>
                </a:cubicBezTo>
                <a:cubicBezTo>
                  <a:pt x="692" y="577"/>
                  <a:pt x="699" y="565"/>
                  <a:pt x="705" y="552"/>
                </a:cubicBezTo>
                <a:cubicBezTo>
                  <a:pt x="776" y="557"/>
                  <a:pt x="776" y="557"/>
                  <a:pt x="776" y="557"/>
                </a:cubicBezTo>
                <a:cubicBezTo>
                  <a:pt x="792" y="509"/>
                  <a:pt x="792" y="509"/>
                  <a:pt x="792" y="509"/>
                </a:cubicBezTo>
                <a:cubicBezTo>
                  <a:pt x="733" y="470"/>
                  <a:pt x="733" y="470"/>
                  <a:pt x="733" y="470"/>
                </a:cubicBezTo>
                <a:cubicBezTo>
                  <a:pt x="736" y="455"/>
                  <a:pt x="739" y="439"/>
                  <a:pt x="740" y="423"/>
                </a:cubicBezTo>
                <a:close/>
                <a:moveTo>
                  <a:pt x="170" y="517"/>
                </a:moveTo>
                <a:cubicBezTo>
                  <a:pt x="107" y="388"/>
                  <a:pt x="161" y="233"/>
                  <a:pt x="289" y="170"/>
                </a:cubicBezTo>
                <a:cubicBezTo>
                  <a:pt x="418" y="107"/>
                  <a:pt x="573" y="160"/>
                  <a:pt x="636" y="289"/>
                </a:cubicBezTo>
                <a:cubicBezTo>
                  <a:pt x="699" y="417"/>
                  <a:pt x="646" y="573"/>
                  <a:pt x="517" y="636"/>
                </a:cubicBezTo>
                <a:cubicBezTo>
                  <a:pt x="389" y="699"/>
                  <a:pt x="233" y="646"/>
                  <a:pt x="170" y="5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th-TH" sz="1300">
              <a:solidFill>
                <a:srgbClr val="75787B"/>
              </a:solidFill>
              <a:ea typeface="+mj-ea"/>
            </a:endParaRPr>
          </a:p>
        </p:txBody>
      </p:sp>
      <p:sp>
        <p:nvSpPr>
          <p:cNvPr id="89" name="TextBox 169"/>
          <p:cNvSpPr txBox="1"/>
          <p:nvPr/>
        </p:nvSpPr>
        <p:spPr bwMode="auto">
          <a:xfrm>
            <a:off x="6552877" y="4709006"/>
            <a:ext cx="1675879" cy="338554"/>
          </a:xfrm>
          <a:prstGeom prst="rect">
            <a:avLst/>
          </a:prstGeom>
          <a:noFill/>
        </p:spPr>
        <p:txBody>
          <a:bodyPr wrap="square">
            <a:spAutoFit/>
          </a:bodyPr>
          <a:lstStyle/>
          <a:p>
            <a:pPr algn="ctr" defTabSz="1828434">
              <a:defRPr/>
            </a:pPr>
            <a:r>
              <a:rPr lang="id-ID" sz="1600" b="1" dirty="0">
                <a:solidFill>
                  <a:schemeClr val="accent3"/>
                </a:solidFill>
                <a:ea typeface="+mj-ea"/>
                <a:cs typeface="Lato" pitchFamily="34" charset="0"/>
              </a:rPr>
              <a:t>Change</a:t>
            </a:r>
          </a:p>
        </p:txBody>
      </p:sp>
      <p:sp>
        <p:nvSpPr>
          <p:cNvPr id="91" name="TextBox 170"/>
          <p:cNvSpPr txBox="1"/>
          <p:nvPr/>
        </p:nvSpPr>
        <p:spPr>
          <a:xfrm>
            <a:off x="6741618" y="4933299"/>
            <a:ext cx="1298396" cy="783649"/>
          </a:xfrm>
          <a:prstGeom prst="rect">
            <a:avLst/>
          </a:prstGeom>
          <a:noFill/>
        </p:spPr>
        <p:txBody>
          <a:bodyPr wrap="square" lIns="219419" tIns="109710" rIns="219419" bIns="72000" rtlCol="0">
            <a:spAutoFit/>
          </a:bodyPr>
          <a:lstStyle/>
          <a:p>
            <a:pPr algn="ctr"/>
            <a:r>
              <a:rPr lang="en-US" sz="1300" dirty="0">
                <a:solidFill>
                  <a:srgbClr val="000000"/>
                </a:solidFill>
                <a:ea typeface="+mj-ea"/>
                <a:cs typeface="Lato" pitchFamily="34" charset="0"/>
              </a:rPr>
              <a:t>Please replace with text</a:t>
            </a:r>
          </a:p>
        </p:txBody>
      </p:sp>
      <p:cxnSp>
        <p:nvCxnSpPr>
          <p:cNvPr id="92" name="ตัวเชื่อมต่อตรง 237"/>
          <p:cNvCxnSpPr/>
          <p:nvPr/>
        </p:nvCxnSpPr>
        <p:spPr>
          <a:xfrm rot="10800000">
            <a:off x="8496089" y="4325589"/>
            <a:ext cx="2646601" cy="377865"/>
          </a:xfrm>
          <a:prstGeom prst="bentConnector3">
            <a:avLst>
              <a:gd name="adj1" fmla="val 50000"/>
            </a:avLst>
          </a:prstGeom>
          <a:ln w="44450">
            <a:solidFill>
              <a:srgbClr val="75787B"/>
            </a:solidFill>
            <a:prstDash val="sysDot"/>
            <a:headEnd type="oval"/>
          </a:ln>
        </p:spPr>
        <p:style>
          <a:lnRef idx="1">
            <a:schemeClr val="accent1"/>
          </a:lnRef>
          <a:fillRef idx="0">
            <a:schemeClr val="accent1"/>
          </a:fillRef>
          <a:effectRef idx="0">
            <a:schemeClr val="accent1"/>
          </a:effectRef>
          <a:fontRef idx="minor">
            <a:schemeClr val="tx1"/>
          </a:fontRef>
        </p:style>
      </p:cxnSp>
      <p:sp>
        <p:nvSpPr>
          <p:cNvPr id="94" name="TextBox 173"/>
          <p:cNvSpPr txBox="1"/>
          <p:nvPr/>
        </p:nvSpPr>
        <p:spPr>
          <a:xfrm>
            <a:off x="9031018" y="5031159"/>
            <a:ext cx="2314350" cy="421618"/>
          </a:xfrm>
          <a:prstGeom prst="rect">
            <a:avLst/>
          </a:prstGeom>
          <a:noFill/>
        </p:spPr>
        <p:txBody>
          <a:bodyPr wrap="square" lIns="219419" tIns="109710" rIns="219419" bIns="109710" rtlCol="0">
            <a:spAutoFit/>
          </a:bodyPr>
          <a:lstStyle/>
          <a:p>
            <a:r>
              <a:rPr lang="en-US" sz="1300" dirty="0">
                <a:solidFill>
                  <a:srgbClr val="000000"/>
                </a:solidFill>
                <a:ea typeface="Lato" pitchFamily="34" charset="0"/>
                <a:cs typeface="Lato" pitchFamily="34" charset="0"/>
              </a:rPr>
              <a:t>Please replace with text</a:t>
            </a:r>
          </a:p>
        </p:txBody>
      </p:sp>
      <p:sp>
        <p:nvSpPr>
          <p:cNvPr id="98" name="Freeform 375"/>
          <p:cNvSpPr>
            <a:spLocks noChangeAspect="1" noEditPoints="1"/>
          </p:cNvSpPr>
          <p:nvPr/>
        </p:nvSpPr>
        <p:spPr bwMode="auto">
          <a:xfrm>
            <a:off x="465880" y="2079893"/>
            <a:ext cx="608858" cy="60885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99" name="Freeform 375"/>
          <p:cNvSpPr>
            <a:spLocks noChangeAspect="1" noEditPoints="1"/>
          </p:cNvSpPr>
          <p:nvPr/>
        </p:nvSpPr>
        <p:spPr bwMode="auto">
          <a:xfrm>
            <a:off x="469900" y="4878283"/>
            <a:ext cx="608858" cy="60885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100" name="Freeform 375"/>
          <p:cNvSpPr>
            <a:spLocks noChangeAspect="1" noEditPoints="1"/>
          </p:cNvSpPr>
          <p:nvPr/>
        </p:nvSpPr>
        <p:spPr bwMode="auto">
          <a:xfrm>
            <a:off x="11113242" y="2079893"/>
            <a:ext cx="608858" cy="60885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101" name="Freeform 375"/>
          <p:cNvSpPr>
            <a:spLocks noChangeAspect="1" noEditPoints="1"/>
          </p:cNvSpPr>
          <p:nvPr/>
        </p:nvSpPr>
        <p:spPr bwMode="auto">
          <a:xfrm>
            <a:off x="11117262" y="4878283"/>
            <a:ext cx="608858" cy="60885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Tree>
    <p:custDataLst>
      <p:tags r:id="rId1"/>
    </p:custDataLst>
    <p:extLst>
      <p:ext uri="{BB962C8B-B14F-4D97-AF65-F5344CB8AC3E}">
        <p14:creationId xmlns:p14="http://schemas.microsoft.com/office/powerpoint/2010/main" val="230314928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gray">
          <a:xfrm>
            <a:off x="6324809" y="4141512"/>
            <a:ext cx="1743075" cy="1038225"/>
          </a:xfrm>
          <a:prstGeom prst="rect">
            <a:avLst/>
          </a:prstGeom>
          <a:solidFill>
            <a:srgbClr val="43B02A"/>
          </a:solidFill>
          <a:ln w="12700" algn="ctr">
            <a:noFill/>
            <a:miter lim="800000"/>
            <a:headEnd/>
            <a:tailEnd/>
          </a:ln>
        </p:spPr>
        <p:txBody>
          <a:bodyPr wrap="square" lIns="88900" tIns="88900" rIns="0" bIns="88900" rtlCol="0" anchor="ctr"/>
          <a:lstStyle/>
          <a:p>
            <a:pPr>
              <a:buSzPct val="100000"/>
            </a:pPr>
            <a:r>
              <a:rPr lang="en-US" sz="1300" b="1" dirty="0">
                <a:solidFill>
                  <a:srgbClr val="FFFFFF"/>
                </a:solidFill>
              </a:rPr>
              <a:t>Lorem ipsum </a:t>
            </a:r>
          </a:p>
          <a:p>
            <a:pPr>
              <a:buSzPct val="100000"/>
            </a:pPr>
            <a:r>
              <a:rPr lang="da-DK" sz="1300" dirty="0">
                <a:solidFill>
                  <a:srgbClr val="FFFFFF"/>
                </a:solidFill>
              </a:rPr>
              <a:t>Lorem ipsum dolor sit amet</a:t>
            </a:r>
            <a:endParaRPr lang="en-US" sz="1300" dirty="0">
              <a:solidFill>
                <a:srgbClr val="FFFFFF"/>
              </a:solidFill>
            </a:endParaRPr>
          </a:p>
        </p:txBody>
      </p:sp>
      <p:sp>
        <p:nvSpPr>
          <p:cNvPr id="5" name="Rounded Rectangle 4"/>
          <p:cNvSpPr/>
          <p:nvPr/>
        </p:nvSpPr>
        <p:spPr bwMode="gray">
          <a:xfrm>
            <a:off x="2720548" y="3155674"/>
            <a:ext cx="7170420" cy="800100"/>
          </a:xfrm>
          <a:prstGeom prst="roundRect">
            <a:avLst>
              <a:gd name="adj" fmla="val 50000"/>
            </a:avLst>
          </a:prstGeom>
          <a:solidFill>
            <a:schemeClr val="bg2"/>
          </a:solidFill>
          <a:ln w="12700" algn="ctr">
            <a:solidFill>
              <a:srgbClr val="75787B"/>
            </a:solidFill>
            <a:prstDash val="dash"/>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6" name="Freeform 8"/>
          <p:cNvSpPr>
            <a:spLocks noEditPoints="1"/>
          </p:cNvSpPr>
          <p:nvPr/>
        </p:nvSpPr>
        <p:spPr bwMode="auto">
          <a:xfrm rot="20465384">
            <a:off x="3349200" y="5088512"/>
            <a:ext cx="947737" cy="947737"/>
          </a:xfrm>
          <a:custGeom>
            <a:avLst/>
            <a:gdLst>
              <a:gd name="T0" fmla="*/ 509 w 1815"/>
              <a:gd name="T1" fmla="*/ 1367 h 1816"/>
              <a:gd name="T2" fmla="*/ 691 w 1815"/>
              <a:gd name="T3" fmla="*/ 1476 h 1816"/>
              <a:gd name="T4" fmla="*/ 907 w 1815"/>
              <a:gd name="T5" fmla="*/ 1516 h 1816"/>
              <a:gd name="T6" fmla="*/ 1124 w 1815"/>
              <a:gd name="T7" fmla="*/ 1476 h 1816"/>
              <a:gd name="T8" fmla="*/ 1305 w 1815"/>
              <a:gd name="T9" fmla="*/ 1367 h 1816"/>
              <a:gd name="T10" fmla="*/ 874 w 1815"/>
              <a:gd name="T11" fmla="*/ 1078 h 1816"/>
              <a:gd name="T12" fmla="*/ 855 w 1815"/>
              <a:gd name="T13" fmla="*/ 838 h 1816"/>
              <a:gd name="T14" fmla="*/ 820 w 1815"/>
              <a:gd name="T15" fmla="*/ 908 h 1816"/>
              <a:gd name="T16" fmla="*/ 855 w 1815"/>
              <a:gd name="T17" fmla="*/ 978 h 1816"/>
              <a:gd name="T18" fmla="*/ 933 w 1815"/>
              <a:gd name="T19" fmla="*/ 990 h 1816"/>
              <a:gd name="T20" fmla="*/ 989 w 1815"/>
              <a:gd name="T21" fmla="*/ 936 h 1816"/>
              <a:gd name="T22" fmla="*/ 977 w 1815"/>
              <a:gd name="T23" fmla="*/ 858 h 1816"/>
              <a:gd name="T24" fmla="*/ 907 w 1815"/>
              <a:gd name="T25" fmla="*/ 821 h 1816"/>
              <a:gd name="T26" fmla="*/ 1054 w 1815"/>
              <a:gd name="T27" fmla="*/ 842 h 1816"/>
              <a:gd name="T28" fmla="*/ 1511 w 1815"/>
              <a:gd name="T29" fmla="*/ 971 h 1816"/>
              <a:gd name="T30" fmla="*/ 1495 w 1815"/>
              <a:gd name="T31" fmla="*/ 755 h 1816"/>
              <a:gd name="T32" fmla="*/ 1401 w 1815"/>
              <a:gd name="T33" fmla="*/ 554 h 1816"/>
              <a:gd name="T34" fmla="*/ 1242 w 1815"/>
              <a:gd name="T35" fmla="*/ 402 h 1816"/>
              <a:gd name="T36" fmla="*/ 1036 w 1815"/>
              <a:gd name="T37" fmla="*/ 315 h 1816"/>
              <a:gd name="T38" fmla="*/ 635 w 1815"/>
              <a:gd name="T39" fmla="*/ 365 h 1816"/>
              <a:gd name="T40" fmla="*/ 460 w 1815"/>
              <a:gd name="T41" fmla="*/ 496 h 1816"/>
              <a:gd name="T42" fmla="*/ 342 w 1815"/>
              <a:gd name="T43" fmla="*/ 683 h 1816"/>
              <a:gd name="T44" fmla="*/ 300 w 1815"/>
              <a:gd name="T45" fmla="*/ 908 h 1816"/>
              <a:gd name="T46" fmla="*/ 328 w 1815"/>
              <a:gd name="T47" fmla="*/ 1091 h 1816"/>
              <a:gd name="T48" fmla="*/ 776 w 1815"/>
              <a:gd name="T49" fmla="*/ 315 h 1816"/>
              <a:gd name="T50" fmla="*/ 1064 w 1815"/>
              <a:gd name="T51" fmla="*/ 163 h 1816"/>
              <a:gd name="T52" fmla="*/ 1251 w 1815"/>
              <a:gd name="T53" fmla="*/ 229 h 1816"/>
              <a:gd name="T54" fmla="*/ 1659 w 1815"/>
              <a:gd name="T55" fmla="*/ 377 h 1816"/>
              <a:gd name="T56" fmla="*/ 1623 w 1815"/>
              <a:gd name="T57" fmla="*/ 650 h 1816"/>
              <a:gd name="T58" fmla="*/ 1815 w 1815"/>
              <a:gd name="T59" fmla="*/ 1065 h 1816"/>
              <a:gd name="T60" fmla="*/ 1612 w 1815"/>
              <a:gd name="T61" fmla="*/ 1193 h 1816"/>
              <a:gd name="T62" fmla="*/ 1672 w 1815"/>
              <a:gd name="T63" fmla="*/ 1427 h 1816"/>
              <a:gd name="T64" fmla="*/ 1265 w 1815"/>
              <a:gd name="T65" fmla="*/ 1579 h 1816"/>
              <a:gd name="T66" fmla="*/ 1080 w 1815"/>
              <a:gd name="T67" fmla="*/ 1648 h 1816"/>
              <a:gd name="T68" fmla="*/ 748 w 1815"/>
              <a:gd name="T69" fmla="*/ 1652 h 1816"/>
              <a:gd name="T70" fmla="*/ 563 w 1815"/>
              <a:gd name="T71" fmla="*/ 1586 h 1816"/>
              <a:gd name="T72" fmla="*/ 153 w 1815"/>
              <a:gd name="T73" fmla="*/ 1439 h 1816"/>
              <a:gd name="T74" fmla="*/ 192 w 1815"/>
              <a:gd name="T75" fmla="*/ 1167 h 1816"/>
              <a:gd name="T76" fmla="*/ 0 w 1815"/>
              <a:gd name="T77" fmla="*/ 751 h 1816"/>
              <a:gd name="T78" fmla="*/ 202 w 1815"/>
              <a:gd name="T79" fmla="*/ 624 h 1816"/>
              <a:gd name="T80" fmla="*/ 143 w 1815"/>
              <a:gd name="T81" fmla="*/ 390 h 1816"/>
              <a:gd name="T82" fmla="*/ 567 w 1815"/>
              <a:gd name="T83" fmla="*/ 227 h 1816"/>
              <a:gd name="T84" fmla="*/ 733 w 1815"/>
              <a:gd name="T85" fmla="*/ 0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5" h="1816">
                <a:moveTo>
                  <a:pt x="874" y="1078"/>
                </a:moveTo>
                <a:lnTo>
                  <a:pt x="459" y="1317"/>
                </a:lnTo>
                <a:lnTo>
                  <a:pt x="509" y="1367"/>
                </a:lnTo>
                <a:lnTo>
                  <a:pt x="565" y="1409"/>
                </a:lnTo>
                <a:lnTo>
                  <a:pt x="626" y="1446"/>
                </a:lnTo>
                <a:lnTo>
                  <a:pt x="691" y="1476"/>
                </a:lnTo>
                <a:lnTo>
                  <a:pt x="759" y="1498"/>
                </a:lnTo>
                <a:lnTo>
                  <a:pt x="832" y="1510"/>
                </a:lnTo>
                <a:lnTo>
                  <a:pt x="907" y="1516"/>
                </a:lnTo>
                <a:lnTo>
                  <a:pt x="982" y="1510"/>
                </a:lnTo>
                <a:lnTo>
                  <a:pt x="1054" y="1498"/>
                </a:lnTo>
                <a:lnTo>
                  <a:pt x="1124" y="1476"/>
                </a:lnTo>
                <a:lnTo>
                  <a:pt x="1188" y="1446"/>
                </a:lnTo>
                <a:lnTo>
                  <a:pt x="1249" y="1409"/>
                </a:lnTo>
                <a:lnTo>
                  <a:pt x="1305" y="1367"/>
                </a:lnTo>
                <a:lnTo>
                  <a:pt x="1356" y="1317"/>
                </a:lnTo>
                <a:lnTo>
                  <a:pt x="940" y="1078"/>
                </a:lnTo>
                <a:lnTo>
                  <a:pt x="874" y="1078"/>
                </a:lnTo>
                <a:close/>
                <a:moveTo>
                  <a:pt x="907" y="821"/>
                </a:moveTo>
                <a:lnTo>
                  <a:pt x="879" y="826"/>
                </a:lnTo>
                <a:lnTo>
                  <a:pt x="855" y="838"/>
                </a:lnTo>
                <a:lnTo>
                  <a:pt x="837" y="858"/>
                </a:lnTo>
                <a:lnTo>
                  <a:pt x="825" y="880"/>
                </a:lnTo>
                <a:lnTo>
                  <a:pt x="820" y="908"/>
                </a:lnTo>
                <a:lnTo>
                  <a:pt x="825" y="936"/>
                </a:lnTo>
                <a:lnTo>
                  <a:pt x="837" y="959"/>
                </a:lnTo>
                <a:lnTo>
                  <a:pt x="855" y="978"/>
                </a:lnTo>
                <a:lnTo>
                  <a:pt x="879" y="990"/>
                </a:lnTo>
                <a:lnTo>
                  <a:pt x="907" y="995"/>
                </a:lnTo>
                <a:lnTo>
                  <a:pt x="933" y="990"/>
                </a:lnTo>
                <a:lnTo>
                  <a:pt x="958" y="978"/>
                </a:lnTo>
                <a:lnTo>
                  <a:pt x="977" y="959"/>
                </a:lnTo>
                <a:lnTo>
                  <a:pt x="989" y="936"/>
                </a:lnTo>
                <a:lnTo>
                  <a:pt x="993" y="908"/>
                </a:lnTo>
                <a:lnTo>
                  <a:pt x="989" y="880"/>
                </a:lnTo>
                <a:lnTo>
                  <a:pt x="977" y="858"/>
                </a:lnTo>
                <a:lnTo>
                  <a:pt x="958" y="838"/>
                </a:lnTo>
                <a:lnTo>
                  <a:pt x="933" y="826"/>
                </a:lnTo>
                <a:lnTo>
                  <a:pt x="907" y="821"/>
                </a:lnTo>
                <a:close/>
                <a:moveTo>
                  <a:pt x="1036" y="315"/>
                </a:moveTo>
                <a:lnTo>
                  <a:pt x="1036" y="814"/>
                </a:lnTo>
                <a:lnTo>
                  <a:pt x="1054" y="842"/>
                </a:lnTo>
                <a:lnTo>
                  <a:pt x="1485" y="1091"/>
                </a:lnTo>
                <a:lnTo>
                  <a:pt x="1501" y="1032"/>
                </a:lnTo>
                <a:lnTo>
                  <a:pt x="1511" y="971"/>
                </a:lnTo>
                <a:lnTo>
                  <a:pt x="1515" y="908"/>
                </a:lnTo>
                <a:lnTo>
                  <a:pt x="1509" y="830"/>
                </a:lnTo>
                <a:lnTo>
                  <a:pt x="1495" y="755"/>
                </a:lnTo>
                <a:lnTo>
                  <a:pt x="1471" y="683"/>
                </a:lnTo>
                <a:lnTo>
                  <a:pt x="1440" y="617"/>
                </a:lnTo>
                <a:lnTo>
                  <a:pt x="1401" y="554"/>
                </a:lnTo>
                <a:lnTo>
                  <a:pt x="1354" y="496"/>
                </a:lnTo>
                <a:lnTo>
                  <a:pt x="1302" y="446"/>
                </a:lnTo>
                <a:lnTo>
                  <a:pt x="1242" y="402"/>
                </a:lnTo>
                <a:lnTo>
                  <a:pt x="1178" y="365"/>
                </a:lnTo>
                <a:lnTo>
                  <a:pt x="1110" y="336"/>
                </a:lnTo>
                <a:lnTo>
                  <a:pt x="1036" y="315"/>
                </a:lnTo>
                <a:close/>
                <a:moveTo>
                  <a:pt x="776" y="315"/>
                </a:moveTo>
                <a:lnTo>
                  <a:pt x="705" y="336"/>
                </a:lnTo>
                <a:lnTo>
                  <a:pt x="635" y="365"/>
                </a:lnTo>
                <a:lnTo>
                  <a:pt x="572" y="402"/>
                </a:lnTo>
                <a:lnTo>
                  <a:pt x="513" y="446"/>
                </a:lnTo>
                <a:lnTo>
                  <a:pt x="460" y="496"/>
                </a:lnTo>
                <a:lnTo>
                  <a:pt x="413" y="554"/>
                </a:lnTo>
                <a:lnTo>
                  <a:pt x="373" y="617"/>
                </a:lnTo>
                <a:lnTo>
                  <a:pt x="342" y="683"/>
                </a:lnTo>
                <a:lnTo>
                  <a:pt x="319" y="755"/>
                </a:lnTo>
                <a:lnTo>
                  <a:pt x="305" y="830"/>
                </a:lnTo>
                <a:lnTo>
                  <a:pt x="300" y="908"/>
                </a:lnTo>
                <a:lnTo>
                  <a:pt x="303" y="971"/>
                </a:lnTo>
                <a:lnTo>
                  <a:pt x="312" y="1032"/>
                </a:lnTo>
                <a:lnTo>
                  <a:pt x="328" y="1091"/>
                </a:lnTo>
                <a:lnTo>
                  <a:pt x="752" y="847"/>
                </a:lnTo>
                <a:lnTo>
                  <a:pt x="776" y="803"/>
                </a:lnTo>
                <a:lnTo>
                  <a:pt x="776" y="315"/>
                </a:lnTo>
                <a:close/>
                <a:moveTo>
                  <a:pt x="733" y="0"/>
                </a:moveTo>
                <a:lnTo>
                  <a:pt x="1064" y="0"/>
                </a:lnTo>
                <a:lnTo>
                  <a:pt x="1064" y="163"/>
                </a:lnTo>
                <a:lnTo>
                  <a:pt x="1129" y="180"/>
                </a:lnTo>
                <a:lnTo>
                  <a:pt x="1192" y="203"/>
                </a:lnTo>
                <a:lnTo>
                  <a:pt x="1251" y="229"/>
                </a:lnTo>
                <a:lnTo>
                  <a:pt x="1307" y="262"/>
                </a:lnTo>
                <a:lnTo>
                  <a:pt x="1426" y="144"/>
                </a:lnTo>
                <a:lnTo>
                  <a:pt x="1659" y="377"/>
                </a:lnTo>
                <a:lnTo>
                  <a:pt x="1544" y="493"/>
                </a:lnTo>
                <a:lnTo>
                  <a:pt x="1588" y="570"/>
                </a:lnTo>
                <a:lnTo>
                  <a:pt x="1623" y="650"/>
                </a:lnTo>
                <a:lnTo>
                  <a:pt x="1647" y="734"/>
                </a:lnTo>
                <a:lnTo>
                  <a:pt x="1815" y="734"/>
                </a:lnTo>
                <a:lnTo>
                  <a:pt x="1815" y="1065"/>
                </a:lnTo>
                <a:lnTo>
                  <a:pt x="1651" y="1065"/>
                </a:lnTo>
                <a:lnTo>
                  <a:pt x="1635" y="1130"/>
                </a:lnTo>
                <a:lnTo>
                  <a:pt x="1612" y="1193"/>
                </a:lnTo>
                <a:lnTo>
                  <a:pt x="1584" y="1252"/>
                </a:lnTo>
                <a:lnTo>
                  <a:pt x="1553" y="1308"/>
                </a:lnTo>
                <a:lnTo>
                  <a:pt x="1672" y="1427"/>
                </a:lnTo>
                <a:lnTo>
                  <a:pt x="1436" y="1661"/>
                </a:lnTo>
                <a:lnTo>
                  <a:pt x="1321" y="1545"/>
                </a:lnTo>
                <a:lnTo>
                  <a:pt x="1265" y="1579"/>
                </a:lnTo>
                <a:lnTo>
                  <a:pt x="1206" y="1608"/>
                </a:lnTo>
                <a:lnTo>
                  <a:pt x="1145" y="1631"/>
                </a:lnTo>
                <a:lnTo>
                  <a:pt x="1080" y="1648"/>
                </a:lnTo>
                <a:lnTo>
                  <a:pt x="1080" y="1816"/>
                </a:lnTo>
                <a:lnTo>
                  <a:pt x="748" y="1816"/>
                </a:lnTo>
                <a:lnTo>
                  <a:pt x="748" y="1652"/>
                </a:lnTo>
                <a:lnTo>
                  <a:pt x="684" y="1636"/>
                </a:lnTo>
                <a:lnTo>
                  <a:pt x="623" y="1613"/>
                </a:lnTo>
                <a:lnTo>
                  <a:pt x="563" y="1586"/>
                </a:lnTo>
                <a:lnTo>
                  <a:pt x="506" y="1554"/>
                </a:lnTo>
                <a:lnTo>
                  <a:pt x="387" y="1673"/>
                </a:lnTo>
                <a:lnTo>
                  <a:pt x="153" y="1439"/>
                </a:lnTo>
                <a:lnTo>
                  <a:pt x="268" y="1322"/>
                </a:lnTo>
                <a:lnTo>
                  <a:pt x="226" y="1247"/>
                </a:lnTo>
                <a:lnTo>
                  <a:pt x="192" y="1167"/>
                </a:lnTo>
                <a:lnTo>
                  <a:pt x="167" y="1081"/>
                </a:lnTo>
                <a:lnTo>
                  <a:pt x="0" y="1081"/>
                </a:lnTo>
                <a:lnTo>
                  <a:pt x="0" y="751"/>
                </a:lnTo>
                <a:lnTo>
                  <a:pt x="162" y="751"/>
                </a:lnTo>
                <a:lnTo>
                  <a:pt x="179" y="686"/>
                </a:lnTo>
                <a:lnTo>
                  <a:pt x="202" y="624"/>
                </a:lnTo>
                <a:lnTo>
                  <a:pt x="228" y="564"/>
                </a:lnTo>
                <a:lnTo>
                  <a:pt x="261" y="507"/>
                </a:lnTo>
                <a:lnTo>
                  <a:pt x="143" y="390"/>
                </a:lnTo>
                <a:lnTo>
                  <a:pt x="377" y="154"/>
                </a:lnTo>
                <a:lnTo>
                  <a:pt x="492" y="271"/>
                </a:lnTo>
                <a:lnTo>
                  <a:pt x="567" y="227"/>
                </a:lnTo>
                <a:lnTo>
                  <a:pt x="649" y="192"/>
                </a:lnTo>
                <a:lnTo>
                  <a:pt x="733" y="168"/>
                </a:lnTo>
                <a:lnTo>
                  <a:pt x="73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7" name="Freeform 9"/>
          <p:cNvSpPr>
            <a:spLocks noEditPoints="1"/>
          </p:cNvSpPr>
          <p:nvPr/>
        </p:nvSpPr>
        <p:spPr bwMode="auto">
          <a:xfrm rot="21319644">
            <a:off x="4032458" y="4643163"/>
            <a:ext cx="658813" cy="631825"/>
          </a:xfrm>
          <a:custGeom>
            <a:avLst/>
            <a:gdLst>
              <a:gd name="T0" fmla="*/ 378 w 830"/>
              <a:gd name="T1" fmla="*/ 290 h 796"/>
              <a:gd name="T2" fmla="*/ 321 w 830"/>
              <a:gd name="T3" fmla="*/ 323 h 796"/>
              <a:gd name="T4" fmla="*/ 288 w 830"/>
              <a:gd name="T5" fmla="*/ 381 h 796"/>
              <a:gd name="T6" fmla="*/ 288 w 830"/>
              <a:gd name="T7" fmla="*/ 450 h 796"/>
              <a:gd name="T8" fmla="*/ 321 w 830"/>
              <a:gd name="T9" fmla="*/ 508 h 796"/>
              <a:gd name="T10" fmla="*/ 378 w 830"/>
              <a:gd name="T11" fmla="*/ 543 h 796"/>
              <a:gd name="T12" fmla="*/ 448 w 830"/>
              <a:gd name="T13" fmla="*/ 543 h 796"/>
              <a:gd name="T14" fmla="*/ 506 w 830"/>
              <a:gd name="T15" fmla="*/ 508 h 796"/>
              <a:gd name="T16" fmla="*/ 541 w 830"/>
              <a:gd name="T17" fmla="*/ 450 h 796"/>
              <a:gd name="T18" fmla="*/ 541 w 830"/>
              <a:gd name="T19" fmla="*/ 381 h 796"/>
              <a:gd name="T20" fmla="*/ 506 w 830"/>
              <a:gd name="T21" fmla="*/ 323 h 796"/>
              <a:gd name="T22" fmla="*/ 448 w 830"/>
              <a:gd name="T23" fmla="*/ 290 h 796"/>
              <a:gd name="T24" fmla="*/ 357 w 830"/>
              <a:gd name="T25" fmla="*/ 0 h 796"/>
              <a:gd name="T26" fmla="*/ 490 w 830"/>
              <a:gd name="T27" fmla="*/ 5 h 796"/>
              <a:gd name="T28" fmla="*/ 506 w 830"/>
              <a:gd name="T29" fmla="*/ 31 h 796"/>
              <a:gd name="T30" fmla="*/ 553 w 830"/>
              <a:gd name="T31" fmla="*/ 145 h 796"/>
              <a:gd name="T32" fmla="*/ 633 w 830"/>
              <a:gd name="T33" fmla="*/ 204 h 796"/>
              <a:gd name="T34" fmla="*/ 754 w 830"/>
              <a:gd name="T35" fmla="*/ 215 h 796"/>
              <a:gd name="T36" fmla="*/ 785 w 830"/>
              <a:gd name="T37" fmla="*/ 222 h 796"/>
              <a:gd name="T38" fmla="*/ 829 w 830"/>
              <a:gd name="T39" fmla="*/ 346 h 796"/>
              <a:gd name="T40" fmla="*/ 823 w 830"/>
              <a:gd name="T41" fmla="*/ 377 h 796"/>
              <a:gd name="T42" fmla="*/ 721 w 830"/>
              <a:gd name="T43" fmla="*/ 414 h 796"/>
              <a:gd name="T44" fmla="*/ 715 w 830"/>
              <a:gd name="T45" fmla="*/ 470 h 796"/>
              <a:gd name="T46" fmla="*/ 684 w 830"/>
              <a:gd name="T47" fmla="*/ 562 h 796"/>
              <a:gd name="T48" fmla="*/ 712 w 830"/>
              <a:gd name="T49" fmla="*/ 679 h 796"/>
              <a:gd name="T50" fmla="*/ 715 w 830"/>
              <a:gd name="T51" fmla="*/ 709 h 796"/>
              <a:gd name="T52" fmla="*/ 611 w 830"/>
              <a:gd name="T53" fmla="*/ 791 h 796"/>
              <a:gd name="T54" fmla="*/ 579 w 830"/>
              <a:gd name="T55" fmla="*/ 794 h 796"/>
              <a:gd name="T56" fmla="*/ 511 w 830"/>
              <a:gd name="T57" fmla="*/ 707 h 796"/>
              <a:gd name="T58" fmla="*/ 413 w 830"/>
              <a:gd name="T59" fmla="*/ 723 h 796"/>
              <a:gd name="T60" fmla="*/ 312 w 830"/>
              <a:gd name="T61" fmla="*/ 705 h 796"/>
              <a:gd name="T62" fmla="*/ 246 w 830"/>
              <a:gd name="T63" fmla="*/ 791 h 796"/>
              <a:gd name="T64" fmla="*/ 214 w 830"/>
              <a:gd name="T65" fmla="*/ 787 h 796"/>
              <a:gd name="T66" fmla="*/ 110 w 830"/>
              <a:gd name="T67" fmla="*/ 707 h 796"/>
              <a:gd name="T68" fmla="*/ 113 w 830"/>
              <a:gd name="T69" fmla="*/ 676 h 796"/>
              <a:gd name="T70" fmla="*/ 143 w 830"/>
              <a:gd name="T71" fmla="*/ 559 h 796"/>
              <a:gd name="T72" fmla="*/ 113 w 830"/>
              <a:gd name="T73" fmla="*/ 468 h 796"/>
              <a:gd name="T74" fmla="*/ 108 w 830"/>
              <a:gd name="T75" fmla="*/ 410 h 796"/>
              <a:gd name="T76" fmla="*/ 7 w 830"/>
              <a:gd name="T77" fmla="*/ 372 h 796"/>
              <a:gd name="T78" fmla="*/ 0 w 830"/>
              <a:gd name="T79" fmla="*/ 342 h 796"/>
              <a:gd name="T80" fmla="*/ 45 w 830"/>
              <a:gd name="T81" fmla="*/ 218 h 796"/>
              <a:gd name="T82" fmla="*/ 75 w 830"/>
              <a:gd name="T83" fmla="*/ 211 h 796"/>
              <a:gd name="T84" fmla="*/ 197 w 830"/>
              <a:gd name="T85" fmla="*/ 203 h 796"/>
              <a:gd name="T86" fmla="*/ 279 w 830"/>
              <a:gd name="T87" fmla="*/ 143 h 796"/>
              <a:gd name="T88" fmla="*/ 326 w 830"/>
              <a:gd name="T89" fmla="*/ 31 h 796"/>
              <a:gd name="T90" fmla="*/ 342 w 830"/>
              <a:gd name="T91" fmla="*/ 5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0" h="796">
                <a:moveTo>
                  <a:pt x="413" y="285"/>
                </a:moveTo>
                <a:lnTo>
                  <a:pt x="378" y="290"/>
                </a:lnTo>
                <a:lnTo>
                  <a:pt x="349" y="304"/>
                </a:lnTo>
                <a:lnTo>
                  <a:pt x="321" y="323"/>
                </a:lnTo>
                <a:lnTo>
                  <a:pt x="302" y="349"/>
                </a:lnTo>
                <a:lnTo>
                  <a:pt x="288" y="381"/>
                </a:lnTo>
                <a:lnTo>
                  <a:pt x="282" y="416"/>
                </a:lnTo>
                <a:lnTo>
                  <a:pt x="288" y="450"/>
                </a:lnTo>
                <a:lnTo>
                  <a:pt x="302" y="482"/>
                </a:lnTo>
                <a:lnTo>
                  <a:pt x="321" y="508"/>
                </a:lnTo>
                <a:lnTo>
                  <a:pt x="349" y="529"/>
                </a:lnTo>
                <a:lnTo>
                  <a:pt x="378" y="543"/>
                </a:lnTo>
                <a:lnTo>
                  <a:pt x="413" y="546"/>
                </a:lnTo>
                <a:lnTo>
                  <a:pt x="448" y="543"/>
                </a:lnTo>
                <a:lnTo>
                  <a:pt x="480" y="529"/>
                </a:lnTo>
                <a:lnTo>
                  <a:pt x="506" y="508"/>
                </a:lnTo>
                <a:lnTo>
                  <a:pt x="527" y="482"/>
                </a:lnTo>
                <a:lnTo>
                  <a:pt x="541" y="450"/>
                </a:lnTo>
                <a:lnTo>
                  <a:pt x="544" y="416"/>
                </a:lnTo>
                <a:lnTo>
                  <a:pt x="541" y="381"/>
                </a:lnTo>
                <a:lnTo>
                  <a:pt x="527" y="349"/>
                </a:lnTo>
                <a:lnTo>
                  <a:pt x="506" y="323"/>
                </a:lnTo>
                <a:lnTo>
                  <a:pt x="480" y="304"/>
                </a:lnTo>
                <a:lnTo>
                  <a:pt x="448" y="290"/>
                </a:lnTo>
                <a:lnTo>
                  <a:pt x="413" y="285"/>
                </a:lnTo>
                <a:close/>
                <a:moveTo>
                  <a:pt x="357" y="0"/>
                </a:moveTo>
                <a:lnTo>
                  <a:pt x="474" y="0"/>
                </a:lnTo>
                <a:lnTo>
                  <a:pt x="490" y="5"/>
                </a:lnTo>
                <a:lnTo>
                  <a:pt x="501" y="16"/>
                </a:lnTo>
                <a:lnTo>
                  <a:pt x="506" y="31"/>
                </a:lnTo>
                <a:lnTo>
                  <a:pt x="506" y="126"/>
                </a:lnTo>
                <a:lnTo>
                  <a:pt x="553" y="145"/>
                </a:lnTo>
                <a:lnTo>
                  <a:pt x="597" y="171"/>
                </a:lnTo>
                <a:lnTo>
                  <a:pt x="633" y="204"/>
                </a:lnTo>
                <a:lnTo>
                  <a:pt x="666" y="244"/>
                </a:lnTo>
                <a:lnTo>
                  <a:pt x="754" y="215"/>
                </a:lnTo>
                <a:lnTo>
                  <a:pt x="771" y="215"/>
                </a:lnTo>
                <a:lnTo>
                  <a:pt x="785" y="222"/>
                </a:lnTo>
                <a:lnTo>
                  <a:pt x="794" y="236"/>
                </a:lnTo>
                <a:lnTo>
                  <a:pt x="829" y="346"/>
                </a:lnTo>
                <a:lnTo>
                  <a:pt x="830" y="363"/>
                </a:lnTo>
                <a:lnTo>
                  <a:pt x="823" y="377"/>
                </a:lnTo>
                <a:lnTo>
                  <a:pt x="810" y="386"/>
                </a:lnTo>
                <a:lnTo>
                  <a:pt x="721" y="414"/>
                </a:lnTo>
                <a:lnTo>
                  <a:pt x="721" y="417"/>
                </a:lnTo>
                <a:lnTo>
                  <a:pt x="715" y="470"/>
                </a:lnTo>
                <a:lnTo>
                  <a:pt x="703" y="517"/>
                </a:lnTo>
                <a:lnTo>
                  <a:pt x="684" y="562"/>
                </a:lnTo>
                <a:lnTo>
                  <a:pt x="656" y="602"/>
                </a:lnTo>
                <a:lnTo>
                  <a:pt x="712" y="679"/>
                </a:lnTo>
                <a:lnTo>
                  <a:pt x="717" y="693"/>
                </a:lnTo>
                <a:lnTo>
                  <a:pt x="715" y="709"/>
                </a:lnTo>
                <a:lnTo>
                  <a:pt x="705" y="723"/>
                </a:lnTo>
                <a:lnTo>
                  <a:pt x="611" y="791"/>
                </a:lnTo>
                <a:lnTo>
                  <a:pt x="595" y="796"/>
                </a:lnTo>
                <a:lnTo>
                  <a:pt x="579" y="794"/>
                </a:lnTo>
                <a:lnTo>
                  <a:pt x="567" y="784"/>
                </a:lnTo>
                <a:lnTo>
                  <a:pt x="511" y="707"/>
                </a:lnTo>
                <a:lnTo>
                  <a:pt x="464" y="719"/>
                </a:lnTo>
                <a:lnTo>
                  <a:pt x="413" y="723"/>
                </a:lnTo>
                <a:lnTo>
                  <a:pt x="363" y="719"/>
                </a:lnTo>
                <a:lnTo>
                  <a:pt x="312" y="705"/>
                </a:lnTo>
                <a:lnTo>
                  <a:pt x="258" y="780"/>
                </a:lnTo>
                <a:lnTo>
                  <a:pt x="246" y="791"/>
                </a:lnTo>
                <a:lnTo>
                  <a:pt x="230" y="794"/>
                </a:lnTo>
                <a:lnTo>
                  <a:pt x="214" y="787"/>
                </a:lnTo>
                <a:lnTo>
                  <a:pt x="120" y="719"/>
                </a:lnTo>
                <a:lnTo>
                  <a:pt x="110" y="707"/>
                </a:lnTo>
                <a:lnTo>
                  <a:pt x="108" y="691"/>
                </a:lnTo>
                <a:lnTo>
                  <a:pt x="113" y="676"/>
                </a:lnTo>
                <a:lnTo>
                  <a:pt x="169" y="599"/>
                </a:lnTo>
                <a:lnTo>
                  <a:pt x="143" y="559"/>
                </a:lnTo>
                <a:lnTo>
                  <a:pt x="124" y="515"/>
                </a:lnTo>
                <a:lnTo>
                  <a:pt x="113" y="468"/>
                </a:lnTo>
                <a:lnTo>
                  <a:pt x="108" y="417"/>
                </a:lnTo>
                <a:lnTo>
                  <a:pt x="108" y="410"/>
                </a:lnTo>
                <a:lnTo>
                  <a:pt x="21" y="381"/>
                </a:lnTo>
                <a:lnTo>
                  <a:pt x="7" y="372"/>
                </a:lnTo>
                <a:lnTo>
                  <a:pt x="0" y="358"/>
                </a:lnTo>
                <a:lnTo>
                  <a:pt x="0" y="342"/>
                </a:lnTo>
                <a:lnTo>
                  <a:pt x="36" y="230"/>
                </a:lnTo>
                <a:lnTo>
                  <a:pt x="45" y="218"/>
                </a:lnTo>
                <a:lnTo>
                  <a:pt x="59" y="210"/>
                </a:lnTo>
                <a:lnTo>
                  <a:pt x="75" y="211"/>
                </a:lnTo>
                <a:lnTo>
                  <a:pt x="165" y="241"/>
                </a:lnTo>
                <a:lnTo>
                  <a:pt x="197" y="203"/>
                </a:lnTo>
                <a:lnTo>
                  <a:pt x="235" y="169"/>
                </a:lnTo>
                <a:lnTo>
                  <a:pt x="279" y="143"/>
                </a:lnTo>
                <a:lnTo>
                  <a:pt x="326" y="124"/>
                </a:lnTo>
                <a:lnTo>
                  <a:pt x="326" y="31"/>
                </a:lnTo>
                <a:lnTo>
                  <a:pt x="331" y="16"/>
                </a:lnTo>
                <a:lnTo>
                  <a:pt x="342" y="5"/>
                </a:lnTo>
                <a:lnTo>
                  <a:pt x="357" y="0"/>
                </a:lnTo>
                <a:close/>
              </a:path>
            </a:pathLst>
          </a:custGeom>
          <a:solidFill>
            <a:srgbClr val="43B02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8" name="Freeform 10"/>
          <p:cNvSpPr>
            <a:spLocks noEditPoints="1"/>
          </p:cNvSpPr>
          <p:nvPr/>
        </p:nvSpPr>
        <p:spPr bwMode="auto">
          <a:xfrm>
            <a:off x="2914860" y="3308024"/>
            <a:ext cx="494348" cy="495400"/>
          </a:xfrm>
          <a:custGeom>
            <a:avLst/>
            <a:gdLst>
              <a:gd name="T0" fmla="*/ 436 w 941"/>
              <a:gd name="T1" fmla="*/ 343 h 941"/>
              <a:gd name="T2" fmla="*/ 377 w 941"/>
              <a:gd name="T3" fmla="*/ 377 h 941"/>
              <a:gd name="T4" fmla="*/ 344 w 941"/>
              <a:gd name="T5" fmla="*/ 435 h 941"/>
              <a:gd name="T6" fmla="*/ 344 w 941"/>
              <a:gd name="T7" fmla="*/ 505 h 941"/>
              <a:gd name="T8" fmla="*/ 377 w 941"/>
              <a:gd name="T9" fmla="*/ 564 h 941"/>
              <a:gd name="T10" fmla="*/ 436 w 941"/>
              <a:gd name="T11" fmla="*/ 597 h 941"/>
              <a:gd name="T12" fmla="*/ 506 w 941"/>
              <a:gd name="T13" fmla="*/ 597 h 941"/>
              <a:gd name="T14" fmla="*/ 564 w 941"/>
              <a:gd name="T15" fmla="*/ 564 h 941"/>
              <a:gd name="T16" fmla="*/ 599 w 941"/>
              <a:gd name="T17" fmla="*/ 505 h 941"/>
              <a:gd name="T18" fmla="*/ 599 w 941"/>
              <a:gd name="T19" fmla="*/ 435 h 941"/>
              <a:gd name="T20" fmla="*/ 564 w 941"/>
              <a:gd name="T21" fmla="*/ 377 h 941"/>
              <a:gd name="T22" fmla="*/ 506 w 941"/>
              <a:gd name="T23" fmla="*/ 343 h 941"/>
              <a:gd name="T24" fmla="*/ 363 w 941"/>
              <a:gd name="T25" fmla="*/ 0 h 941"/>
              <a:gd name="T26" fmla="*/ 571 w 941"/>
              <a:gd name="T27" fmla="*/ 138 h 941"/>
              <a:gd name="T28" fmla="*/ 628 w 941"/>
              <a:gd name="T29" fmla="*/ 161 h 941"/>
              <a:gd name="T30" fmla="*/ 874 w 941"/>
              <a:gd name="T31" fmla="*/ 208 h 941"/>
              <a:gd name="T32" fmla="*/ 791 w 941"/>
              <a:gd name="T33" fmla="*/ 334 h 941"/>
              <a:gd name="T34" fmla="*/ 941 w 941"/>
              <a:gd name="T35" fmla="*/ 363 h 941"/>
              <a:gd name="T36" fmla="*/ 803 w 941"/>
              <a:gd name="T37" fmla="*/ 571 h 941"/>
              <a:gd name="T38" fmla="*/ 780 w 941"/>
              <a:gd name="T39" fmla="*/ 627 h 941"/>
              <a:gd name="T40" fmla="*/ 733 w 941"/>
              <a:gd name="T41" fmla="*/ 875 h 941"/>
              <a:gd name="T42" fmla="*/ 607 w 941"/>
              <a:gd name="T43" fmla="*/ 789 h 941"/>
              <a:gd name="T44" fmla="*/ 578 w 941"/>
              <a:gd name="T45" fmla="*/ 941 h 941"/>
              <a:gd name="T46" fmla="*/ 370 w 941"/>
              <a:gd name="T47" fmla="*/ 803 h 941"/>
              <a:gd name="T48" fmla="*/ 312 w 941"/>
              <a:gd name="T49" fmla="*/ 781 h 941"/>
              <a:gd name="T50" fmla="*/ 66 w 941"/>
              <a:gd name="T51" fmla="*/ 732 h 941"/>
              <a:gd name="T52" fmla="*/ 152 w 941"/>
              <a:gd name="T53" fmla="*/ 606 h 941"/>
              <a:gd name="T54" fmla="*/ 0 w 941"/>
              <a:gd name="T55" fmla="*/ 578 h 941"/>
              <a:gd name="T56" fmla="*/ 138 w 941"/>
              <a:gd name="T57" fmla="*/ 370 h 941"/>
              <a:gd name="T58" fmla="*/ 161 w 941"/>
              <a:gd name="T59" fmla="*/ 313 h 941"/>
              <a:gd name="T60" fmla="*/ 209 w 941"/>
              <a:gd name="T61" fmla="*/ 67 h 941"/>
              <a:gd name="T62" fmla="*/ 333 w 941"/>
              <a:gd name="T63" fmla="*/ 150 h 941"/>
              <a:gd name="T64" fmla="*/ 363 w 941"/>
              <a:gd name="T65"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1" h="941">
                <a:moveTo>
                  <a:pt x="471" y="339"/>
                </a:moveTo>
                <a:lnTo>
                  <a:pt x="436" y="343"/>
                </a:lnTo>
                <a:lnTo>
                  <a:pt x="405" y="356"/>
                </a:lnTo>
                <a:lnTo>
                  <a:pt x="377" y="377"/>
                </a:lnTo>
                <a:lnTo>
                  <a:pt x="356" y="404"/>
                </a:lnTo>
                <a:lnTo>
                  <a:pt x="344" y="435"/>
                </a:lnTo>
                <a:lnTo>
                  <a:pt x="339" y="470"/>
                </a:lnTo>
                <a:lnTo>
                  <a:pt x="344" y="505"/>
                </a:lnTo>
                <a:lnTo>
                  <a:pt x="356" y="536"/>
                </a:lnTo>
                <a:lnTo>
                  <a:pt x="377" y="564"/>
                </a:lnTo>
                <a:lnTo>
                  <a:pt x="405" y="583"/>
                </a:lnTo>
                <a:lnTo>
                  <a:pt x="436" y="597"/>
                </a:lnTo>
                <a:lnTo>
                  <a:pt x="471" y="603"/>
                </a:lnTo>
                <a:lnTo>
                  <a:pt x="506" y="597"/>
                </a:lnTo>
                <a:lnTo>
                  <a:pt x="538" y="583"/>
                </a:lnTo>
                <a:lnTo>
                  <a:pt x="564" y="564"/>
                </a:lnTo>
                <a:lnTo>
                  <a:pt x="585" y="536"/>
                </a:lnTo>
                <a:lnTo>
                  <a:pt x="599" y="505"/>
                </a:lnTo>
                <a:lnTo>
                  <a:pt x="602" y="470"/>
                </a:lnTo>
                <a:lnTo>
                  <a:pt x="599" y="435"/>
                </a:lnTo>
                <a:lnTo>
                  <a:pt x="585" y="404"/>
                </a:lnTo>
                <a:lnTo>
                  <a:pt x="564" y="377"/>
                </a:lnTo>
                <a:lnTo>
                  <a:pt x="538" y="356"/>
                </a:lnTo>
                <a:lnTo>
                  <a:pt x="506" y="343"/>
                </a:lnTo>
                <a:lnTo>
                  <a:pt x="471" y="339"/>
                </a:lnTo>
                <a:close/>
                <a:moveTo>
                  <a:pt x="363" y="0"/>
                </a:moveTo>
                <a:lnTo>
                  <a:pt x="571" y="0"/>
                </a:lnTo>
                <a:lnTo>
                  <a:pt x="571" y="138"/>
                </a:lnTo>
                <a:lnTo>
                  <a:pt x="600" y="147"/>
                </a:lnTo>
                <a:lnTo>
                  <a:pt x="628" y="161"/>
                </a:lnTo>
                <a:lnTo>
                  <a:pt x="728" y="61"/>
                </a:lnTo>
                <a:lnTo>
                  <a:pt x="874" y="208"/>
                </a:lnTo>
                <a:lnTo>
                  <a:pt x="777" y="306"/>
                </a:lnTo>
                <a:lnTo>
                  <a:pt x="791" y="334"/>
                </a:lnTo>
                <a:lnTo>
                  <a:pt x="801" y="363"/>
                </a:lnTo>
                <a:lnTo>
                  <a:pt x="941" y="363"/>
                </a:lnTo>
                <a:lnTo>
                  <a:pt x="941" y="571"/>
                </a:lnTo>
                <a:lnTo>
                  <a:pt x="803" y="571"/>
                </a:lnTo>
                <a:lnTo>
                  <a:pt x="792" y="599"/>
                </a:lnTo>
                <a:lnTo>
                  <a:pt x="780" y="627"/>
                </a:lnTo>
                <a:lnTo>
                  <a:pt x="880" y="727"/>
                </a:lnTo>
                <a:lnTo>
                  <a:pt x="733" y="875"/>
                </a:lnTo>
                <a:lnTo>
                  <a:pt x="635" y="777"/>
                </a:lnTo>
                <a:lnTo>
                  <a:pt x="607" y="789"/>
                </a:lnTo>
                <a:lnTo>
                  <a:pt x="578" y="800"/>
                </a:lnTo>
                <a:lnTo>
                  <a:pt x="578" y="941"/>
                </a:lnTo>
                <a:lnTo>
                  <a:pt x="370" y="941"/>
                </a:lnTo>
                <a:lnTo>
                  <a:pt x="370" y="803"/>
                </a:lnTo>
                <a:lnTo>
                  <a:pt x="340" y="793"/>
                </a:lnTo>
                <a:lnTo>
                  <a:pt x="312" y="781"/>
                </a:lnTo>
                <a:lnTo>
                  <a:pt x="215" y="878"/>
                </a:lnTo>
                <a:lnTo>
                  <a:pt x="66" y="732"/>
                </a:lnTo>
                <a:lnTo>
                  <a:pt x="164" y="634"/>
                </a:lnTo>
                <a:lnTo>
                  <a:pt x="152" y="606"/>
                </a:lnTo>
                <a:lnTo>
                  <a:pt x="140" y="578"/>
                </a:lnTo>
                <a:lnTo>
                  <a:pt x="0" y="578"/>
                </a:lnTo>
                <a:lnTo>
                  <a:pt x="0" y="370"/>
                </a:lnTo>
                <a:lnTo>
                  <a:pt x="138" y="370"/>
                </a:lnTo>
                <a:lnTo>
                  <a:pt x="148" y="341"/>
                </a:lnTo>
                <a:lnTo>
                  <a:pt x="161" y="313"/>
                </a:lnTo>
                <a:lnTo>
                  <a:pt x="61" y="213"/>
                </a:lnTo>
                <a:lnTo>
                  <a:pt x="209" y="67"/>
                </a:lnTo>
                <a:lnTo>
                  <a:pt x="307" y="164"/>
                </a:lnTo>
                <a:lnTo>
                  <a:pt x="333" y="150"/>
                </a:lnTo>
                <a:lnTo>
                  <a:pt x="363" y="140"/>
                </a:lnTo>
                <a:lnTo>
                  <a:pt x="363" y="0"/>
                </a:lnTo>
                <a:close/>
              </a:path>
            </a:pathLst>
          </a:custGeom>
          <a:solidFill>
            <a:srgbClr val="009A4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9" name="Rounded Rectangle 8"/>
          <p:cNvSpPr/>
          <p:nvPr/>
        </p:nvSpPr>
        <p:spPr bwMode="gray">
          <a:xfrm>
            <a:off x="5912926" y="1214035"/>
            <a:ext cx="2418248" cy="1344134"/>
          </a:xfrm>
          <a:prstGeom prst="roundRect">
            <a:avLst>
              <a:gd name="adj" fmla="val 48185"/>
            </a:avLst>
          </a:prstGeom>
          <a:solidFill>
            <a:srgbClr val="43B02A"/>
          </a:solidFill>
          <a:ln w="12700" algn="ctr">
            <a:noFill/>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10" name="Freeform 6"/>
          <p:cNvSpPr>
            <a:spLocks noEditPoints="1"/>
          </p:cNvSpPr>
          <p:nvPr/>
        </p:nvSpPr>
        <p:spPr bwMode="auto">
          <a:xfrm>
            <a:off x="6723613" y="1243969"/>
            <a:ext cx="519153" cy="519151"/>
          </a:xfrm>
          <a:custGeom>
            <a:avLst/>
            <a:gdLst>
              <a:gd name="T0" fmla="*/ 477 w 1034"/>
              <a:gd name="T1" fmla="*/ 372 h 1032"/>
              <a:gd name="T2" fmla="*/ 410 w 1034"/>
              <a:gd name="T3" fmla="*/ 411 h 1032"/>
              <a:gd name="T4" fmla="*/ 372 w 1034"/>
              <a:gd name="T5" fmla="*/ 477 h 1032"/>
              <a:gd name="T6" fmla="*/ 372 w 1034"/>
              <a:gd name="T7" fmla="*/ 557 h 1032"/>
              <a:gd name="T8" fmla="*/ 410 w 1034"/>
              <a:gd name="T9" fmla="*/ 624 h 1032"/>
              <a:gd name="T10" fmla="*/ 477 w 1034"/>
              <a:gd name="T11" fmla="*/ 662 h 1032"/>
              <a:gd name="T12" fmla="*/ 557 w 1034"/>
              <a:gd name="T13" fmla="*/ 662 h 1032"/>
              <a:gd name="T14" fmla="*/ 623 w 1034"/>
              <a:gd name="T15" fmla="*/ 624 h 1032"/>
              <a:gd name="T16" fmla="*/ 662 w 1034"/>
              <a:gd name="T17" fmla="*/ 557 h 1032"/>
              <a:gd name="T18" fmla="*/ 662 w 1034"/>
              <a:gd name="T19" fmla="*/ 477 h 1032"/>
              <a:gd name="T20" fmla="*/ 623 w 1034"/>
              <a:gd name="T21" fmla="*/ 411 h 1032"/>
              <a:gd name="T22" fmla="*/ 557 w 1034"/>
              <a:gd name="T23" fmla="*/ 372 h 1032"/>
              <a:gd name="T24" fmla="*/ 449 w 1034"/>
              <a:gd name="T25" fmla="*/ 0 h 1032"/>
              <a:gd name="T26" fmla="*/ 609 w 1034"/>
              <a:gd name="T27" fmla="*/ 119 h 1032"/>
              <a:gd name="T28" fmla="*/ 693 w 1034"/>
              <a:gd name="T29" fmla="*/ 149 h 1032"/>
              <a:gd name="T30" fmla="*/ 835 w 1034"/>
              <a:gd name="T31" fmla="*/ 105 h 1032"/>
              <a:gd name="T32" fmla="*/ 863 w 1034"/>
              <a:gd name="T33" fmla="*/ 302 h 1032"/>
              <a:gd name="T34" fmla="*/ 899 w 1034"/>
              <a:gd name="T35" fmla="*/ 381 h 1032"/>
              <a:gd name="T36" fmla="*/ 1034 w 1034"/>
              <a:gd name="T37" fmla="*/ 449 h 1032"/>
              <a:gd name="T38" fmla="*/ 910 w 1034"/>
              <a:gd name="T39" fmla="*/ 611 h 1032"/>
              <a:gd name="T40" fmla="*/ 859 w 1034"/>
              <a:gd name="T41" fmla="*/ 727 h 1032"/>
              <a:gd name="T42" fmla="*/ 835 w 1034"/>
              <a:gd name="T43" fmla="*/ 929 h 1032"/>
              <a:gd name="T44" fmla="*/ 671 w 1034"/>
              <a:gd name="T45" fmla="*/ 887 h 1032"/>
              <a:gd name="T46" fmla="*/ 585 w 1034"/>
              <a:gd name="T47" fmla="*/ 1032 h 1032"/>
              <a:gd name="T48" fmla="*/ 423 w 1034"/>
              <a:gd name="T49" fmla="*/ 906 h 1032"/>
              <a:gd name="T50" fmla="*/ 308 w 1034"/>
              <a:gd name="T51" fmla="*/ 859 h 1032"/>
              <a:gd name="T52" fmla="*/ 105 w 1034"/>
              <a:gd name="T53" fmla="*/ 835 h 1032"/>
              <a:gd name="T54" fmla="*/ 145 w 1034"/>
              <a:gd name="T55" fmla="*/ 671 h 1032"/>
              <a:gd name="T56" fmla="*/ 0 w 1034"/>
              <a:gd name="T57" fmla="*/ 584 h 1032"/>
              <a:gd name="T58" fmla="*/ 122 w 1034"/>
              <a:gd name="T59" fmla="*/ 423 h 1032"/>
              <a:gd name="T60" fmla="*/ 150 w 1034"/>
              <a:gd name="T61" fmla="*/ 341 h 1032"/>
              <a:gd name="T62" fmla="*/ 105 w 1034"/>
              <a:gd name="T63" fmla="*/ 199 h 1032"/>
              <a:gd name="T64" fmla="*/ 302 w 1034"/>
              <a:gd name="T65" fmla="*/ 170 h 1032"/>
              <a:gd name="T66" fmla="*/ 381 w 1034"/>
              <a:gd name="T67" fmla="*/ 131 h 1032"/>
              <a:gd name="T68" fmla="*/ 449 w 1034"/>
              <a:gd name="T69" fmla="*/ 0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34" h="1032">
                <a:moveTo>
                  <a:pt x="517" y="367"/>
                </a:moveTo>
                <a:lnTo>
                  <a:pt x="477" y="372"/>
                </a:lnTo>
                <a:lnTo>
                  <a:pt x="440" y="386"/>
                </a:lnTo>
                <a:lnTo>
                  <a:pt x="410" y="411"/>
                </a:lnTo>
                <a:lnTo>
                  <a:pt x="388" y="440"/>
                </a:lnTo>
                <a:lnTo>
                  <a:pt x="372" y="477"/>
                </a:lnTo>
                <a:lnTo>
                  <a:pt x="367" y="517"/>
                </a:lnTo>
                <a:lnTo>
                  <a:pt x="372" y="557"/>
                </a:lnTo>
                <a:lnTo>
                  <a:pt x="388" y="592"/>
                </a:lnTo>
                <a:lnTo>
                  <a:pt x="410" y="624"/>
                </a:lnTo>
                <a:lnTo>
                  <a:pt x="440" y="646"/>
                </a:lnTo>
                <a:lnTo>
                  <a:pt x="477" y="662"/>
                </a:lnTo>
                <a:lnTo>
                  <a:pt x="517" y="667"/>
                </a:lnTo>
                <a:lnTo>
                  <a:pt x="557" y="662"/>
                </a:lnTo>
                <a:lnTo>
                  <a:pt x="594" y="646"/>
                </a:lnTo>
                <a:lnTo>
                  <a:pt x="623" y="624"/>
                </a:lnTo>
                <a:lnTo>
                  <a:pt x="646" y="592"/>
                </a:lnTo>
                <a:lnTo>
                  <a:pt x="662" y="557"/>
                </a:lnTo>
                <a:lnTo>
                  <a:pt x="667" y="517"/>
                </a:lnTo>
                <a:lnTo>
                  <a:pt x="662" y="477"/>
                </a:lnTo>
                <a:lnTo>
                  <a:pt x="646" y="440"/>
                </a:lnTo>
                <a:lnTo>
                  <a:pt x="623" y="411"/>
                </a:lnTo>
                <a:lnTo>
                  <a:pt x="594" y="386"/>
                </a:lnTo>
                <a:lnTo>
                  <a:pt x="557" y="372"/>
                </a:lnTo>
                <a:lnTo>
                  <a:pt x="517" y="367"/>
                </a:lnTo>
                <a:close/>
                <a:moveTo>
                  <a:pt x="449" y="0"/>
                </a:moveTo>
                <a:lnTo>
                  <a:pt x="585" y="0"/>
                </a:lnTo>
                <a:lnTo>
                  <a:pt x="609" y="119"/>
                </a:lnTo>
                <a:lnTo>
                  <a:pt x="653" y="131"/>
                </a:lnTo>
                <a:lnTo>
                  <a:pt x="693" y="149"/>
                </a:lnTo>
                <a:lnTo>
                  <a:pt x="732" y="170"/>
                </a:lnTo>
                <a:lnTo>
                  <a:pt x="835" y="105"/>
                </a:lnTo>
                <a:lnTo>
                  <a:pt x="929" y="199"/>
                </a:lnTo>
                <a:lnTo>
                  <a:pt x="863" y="302"/>
                </a:lnTo>
                <a:lnTo>
                  <a:pt x="884" y="341"/>
                </a:lnTo>
                <a:lnTo>
                  <a:pt x="899" y="381"/>
                </a:lnTo>
                <a:lnTo>
                  <a:pt x="911" y="423"/>
                </a:lnTo>
                <a:lnTo>
                  <a:pt x="1034" y="449"/>
                </a:lnTo>
                <a:lnTo>
                  <a:pt x="1034" y="584"/>
                </a:lnTo>
                <a:lnTo>
                  <a:pt x="910" y="611"/>
                </a:lnTo>
                <a:lnTo>
                  <a:pt x="889" y="671"/>
                </a:lnTo>
                <a:lnTo>
                  <a:pt x="859" y="727"/>
                </a:lnTo>
                <a:lnTo>
                  <a:pt x="929" y="835"/>
                </a:lnTo>
                <a:lnTo>
                  <a:pt x="835" y="929"/>
                </a:lnTo>
                <a:lnTo>
                  <a:pt x="726" y="859"/>
                </a:lnTo>
                <a:lnTo>
                  <a:pt x="671" y="887"/>
                </a:lnTo>
                <a:lnTo>
                  <a:pt x="611" y="906"/>
                </a:lnTo>
                <a:lnTo>
                  <a:pt x="585" y="1032"/>
                </a:lnTo>
                <a:lnTo>
                  <a:pt x="449" y="1032"/>
                </a:lnTo>
                <a:lnTo>
                  <a:pt x="423" y="906"/>
                </a:lnTo>
                <a:lnTo>
                  <a:pt x="363" y="887"/>
                </a:lnTo>
                <a:lnTo>
                  <a:pt x="308" y="859"/>
                </a:lnTo>
                <a:lnTo>
                  <a:pt x="199" y="929"/>
                </a:lnTo>
                <a:lnTo>
                  <a:pt x="105" y="835"/>
                </a:lnTo>
                <a:lnTo>
                  <a:pt x="175" y="727"/>
                </a:lnTo>
                <a:lnTo>
                  <a:pt x="145" y="671"/>
                </a:lnTo>
                <a:lnTo>
                  <a:pt x="124" y="611"/>
                </a:lnTo>
                <a:lnTo>
                  <a:pt x="0" y="584"/>
                </a:lnTo>
                <a:lnTo>
                  <a:pt x="0" y="449"/>
                </a:lnTo>
                <a:lnTo>
                  <a:pt x="122" y="423"/>
                </a:lnTo>
                <a:lnTo>
                  <a:pt x="135" y="381"/>
                </a:lnTo>
                <a:lnTo>
                  <a:pt x="150" y="341"/>
                </a:lnTo>
                <a:lnTo>
                  <a:pt x="171" y="302"/>
                </a:lnTo>
                <a:lnTo>
                  <a:pt x="105" y="199"/>
                </a:lnTo>
                <a:lnTo>
                  <a:pt x="199" y="105"/>
                </a:lnTo>
                <a:lnTo>
                  <a:pt x="302" y="170"/>
                </a:lnTo>
                <a:lnTo>
                  <a:pt x="341" y="149"/>
                </a:lnTo>
                <a:lnTo>
                  <a:pt x="381" y="131"/>
                </a:lnTo>
                <a:lnTo>
                  <a:pt x="424" y="119"/>
                </a:lnTo>
                <a:lnTo>
                  <a:pt x="449" y="0"/>
                </a:lnTo>
                <a:close/>
              </a:path>
            </a:pathLst>
          </a:custGeom>
          <a:solidFill>
            <a:srgbClr val="53565A"/>
          </a:solidFill>
          <a:ln w="0">
            <a:solidFill>
              <a:schemeClr val="bg1">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1" name="Freeform 7"/>
          <p:cNvSpPr>
            <a:spLocks noEditPoints="1"/>
          </p:cNvSpPr>
          <p:nvPr/>
        </p:nvSpPr>
        <p:spPr bwMode="auto">
          <a:xfrm>
            <a:off x="7128562" y="1437773"/>
            <a:ext cx="1005453" cy="1005450"/>
          </a:xfrm>
          <a:custGeom>
            <a:avLst/>
            <a:gdLst>
              <a:gd name="T0" fmla="*/ 888 w 1822"/>
              <a:gd name="T1" fmla="*/ 702 h 1823"/>
              <a:gd name="T2" fmla="*/ 841 w 1822"/>
              <a:gd name="T3" fmla="*/ 662 h 1823"/>
              <a:gd name="T4" fmla="*/ 822 w 1822"/>
              <a:gd name="T5" fmla="*/ 721 h 1823"/>
              <a:gd name="T6" fmla="*/ 777 w 1822"/>
              <a:gd name="T7" fmla="*/ 690 h 1823"/>
              <a:gd name="T8" fmla="*/ 730 w 1822"/>
              <a:gd name="T9" fmla="*/ 728 h 1823"/>
              <a:gd name="T10" fmla="*/ 747 w 1822"/>
              <a:gd name="T11" fmla="*/ 779 h 1823"/>
              <a:gd name="T12" fmla="*/ 684 w 1822"/>
              <a:gd name="T13" fmla="*/ 784 h 1823"/>
              <a:gd name="T14" fmla="*/ 714 w 1822"/>
              <a:gd name="T15" fmla="*/ 840 h 1823"/>
              <a:gd name="T16" fmla="*/ 660 w 1822"/>
              <a:gd name="T17" fmla="*/ 848 h 1823"/>
              <a:gd name="T18" fmla="*/ 653 w 1822"/>
              <a:gd name="T19" fmla="*/ 911 h 1823"/>
              <a:gd name="T20" fmla="*/ 653 w 1822"/>
              <a:gd name="T21" fmla="*/ 917 h 1823"/>
              <a:gd name="T22" fmla="*/ 660 w 1822"/>
              <a:gd name="T23" fmla="*/ 979 h 1823"/>
              <a:gd name="T24" fmla="*/ 714 w 1822"/>
              <a:gd name="T25" fmla="*/ 986 h 1823"/>
              <a:gd name="T26" fmla="*/ 686 w 1822"/>
              <a:gd name="T27" fmla="*/ 1044 h 1823"/>
              <a:gd name="T28" fmla="*/ 749 w 1822"/>
              <a:gd name="T29" fmla="*/ 1046 h 1823"/>
              <a:gd name="T30" fmla="*/ 733 w 1822"/>
              <a:gd name="T31" fmla="*/ 1098 h 1823"/>
              <a:gd name="T32" fmla="*/ 782 w 1822"/>
              <a:gd name="T33" fmla="*/ 1137 h 1823"/>
              <a:gd name="T34" fmla="*/ 826 w 1822"/>
              <a:gd name="T35" fmla="*/ 1103 h 1823"/>
              <a:gd name="T36" fmla="*/ 845 w 1822"/>
              <a:gd name="T37" fmla="*/ 1163 h 1823"/>
              <a:gd name="T38" fmla="*/ 892 w 1822"/>
              <a:gd name="T39" fmla="*/ 1121 h 1823"/>
              <a:gd name="T40" fmla="*/ 915 w 1822"/>
              <a:gd name="T41" fmla="*/ 1171 h 1823"/>
              <a:gd name="T42" fmla="*/ 976 w 1822"/>
              <a:gd name="T43" fmla="*/ 1161 h 1823"/>
              <a:gd name="T44" fmla="*/ 983 w 1822"/>
              <a:gd name="T45" fmla="*/ 1159 h 1823"/>
              <a:gd name="T46" fmla="*/ 1040 w 1822"/>
              <a:gd name="T47" fmla="*/ 1137 h 1823"/>
              <a:gd name="T48" fmla="*/ 1033 w 1822"/>
              <a:gd name="T49" fmla="*/ 1082 h 1823"/>
              <a:gd name="T50" fmla="*/ 1096 w 1822"/>
              <a:gd name="T51" fmla="*/ 1093 h 1823"/>
              <a:gd name="T52" fmla="*/ 1133 w 1822"/>
              <a:gd name="T53" fmla="*/ 1040 h 1823"/>
              <a:gd name="T54" fmla="*/ 1136 w 1822"/>
              <a:gd name="T55" fmla="*/ 1035 h 1823"/>
              <a:gd name="T56" fmla="*/ 1161 w 1822"/>
              <a:gd name="T57" fmla="*/ 978 h 1823"/>
              <a:gd name="T58" fmla="*/ 1119 w 1822"/>
              <a:gd name="T59" fmla="*/ 944 h 1823"/>
              <a:gd name="T60" fmla="*/ 1171 w 1822"/>
              <a:gd name="T61" fmla="*/ 910 h 1823"/>
              <a:gd name="T62" fmla="*/ 1117 w 1822"/>
              <a:gd name="T63" fmla="*/ 875 h 1823"/>
              <a:gd name="T64" fmla="*/ 1161 w 1822"/>
              <a:gd name="T65" fmla="*/ 840 h 1823"/>
              <a:gd name="T66" fmla="*/ 1135 w 1822"/>
              <a:gd name="T67" fmla="*/ 784 h 1823"/>
              <a:gd name="T68" fmla="*/ 1131 w 1822"/>
              <a:gd name="T69" fmla="*/ 779 h 1823"/>
              <a:gd name="T70" fmla="*/ 1094 w 1822"/>
              <a:gd name="T71" fmla="*/ 726 h 1823"/>
              <a:gd name="T72" fmla="*/ 1032 w 1822"/>
              <a:gd name="T73" fmla="*/ 740 h 1823"/>
              <a:gd name="T74" fmla="*/ 1037 w 1822"/>
              <a:gd name="T75" fmla="*/ 684 h 1823"/>
              <a:gd name="T76" fmla="*/ 977 w 1822"/>
              <a:gd name="T77" fmla="*/ 663 h 1823"/>
              <a:gd name="T78" fmla="*/ 972 w 1822"/>
              <a:gd name="T79" fmla="*/ 662 h 1823"/>
              <a:gd name="T80" fmla="*/ 911 w 1822"/>
              <a:gd name="T81" fmla="*/ 651 h 1823"/>
              <a:gd name="T82" fmla="*/ 1011 w 1822"/>
              <a:gd name="T83" fmla="*/ 164 h 1823"/>
              <a:gd name="T84" fmla="*/ 1260 w 1822"/>
              <a:gd name="T85" fmla="*/ 244 h 1823"/>
              <a:gd name="T86" fmla="*/ 1466 w 1822"/>
              <a:gd name="T87" fmla="*/ 403 h 1823"/>
              <a:gd name="T88" fmla="*/ 1608 w 1822"/>
              <a:gd name="T89" fmla="*/ 623 h 1823"/>
              <a:gd name="T90" fmla="*/ 1663 w 1822"/>
              <a:gd name="T91" fmla="*/ 880 h 1823"/>
              <a:gd name="T92" fmla="*/ 1793 w 1822"/>
              <a:gd name="T93" fmla="*/ 1150 h 1823"/>
              <a:gd name="T94" fmla="*/ 1658 w 1822"/>
              <a:gd name="T95" fmla="*/ 1437 h 1823"/>
              <a:gd name="T96" fmla="*/ 1433 w 1822"/>
              <a:gd name="T97" fmla="*/ 1662 h 1823"/>
              <a:gd name="T98" fmla="*/ 1145 w 1822"/>
              <a:gd name="T99" fmla="*/ 1795 h 1823"/>
              <a:gd name="T100" fmla="*/ 829 w 1822"/>
              <a:gd name="T101" fmla="*/ 1823 h 1823"/>
              <a:gd name="T102" fmla="*/ 524 w 1822"/>
              <a:gd name="T103" fmla="*/ 1739 h 1823"/>
              <a:gd name="T104" fmla="*/ 264 w 1822"/>
              <a:gd name="T105" fmla="*/ 1557 h 1823"/>
              <a:gd name="T106" fmla="*/ 82 w 1822"/>
              <a:gd name="T107" fmla="*/ 1297 h 1823"/>
              <a:gd name="T108" fmla="*/ 0 w 1822"/>
              <a:gd name="T109" fmla="*/ 990 h 1823"/>
              <a:gd name="T110" fmla="*/ 0 w 1822"/>
              <a:gd name="T111" fmla="*/ 836 h 1823"/>
              <a:gd name="T112" fmla="*/ 80 w 1822"/>
              <a:gd name="T113" fmla="*/ 529 h 1823"/>
              <a:gd name="T114" fmla="*/ 260 w 1822"/>
              <a:gd name="T115" fmla="*/ 267 h 1823"/>
              <a:gd name="T116" fmla="*/ 520 w 1822"/>
              <a:gd name="T117" fmla="*/ 84 h 1823"/>
              <a:gd name="T118" fmla="*/ 827 w 1822"/>
              <a:gd name="T119" fmla="*/ 0 h 1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2" h="1823">
                <a:moveTo>
                  <a:pt x="908" y="651"/>
                </a:moveTo>
                <a:lnTo>
                  <a:pt x="906" y="651"/>
                </a:lnTo>
                <a:lnTo>
                  <a:pt x="906" y="653"/>
                </a:lnTo>
                <a:lnTo>
                  <a:pt x="888" y="702"/>
                </a:lnTo>
                <a:lnTo>
                  <a:pt x="874" y="704"/>
                </a:lnTo>
                <a:lnTo>
                  <a:pt x="845" y="662"/>
                </a:lnTo>
                <a:lnTo>
                  <a:pt x="843" y="662"/>
                </a:lnTo>
                <a:lnTo>
                  <a:pt x="841" y="662"/>
                </a:lnTo>
                <a:lnTo>
                  <a:pt x="840" y="662"/>
                </a:lnTo>
                <a:lnTo>
                  <a:pt x="840" y="663"/>
                </a:lnTo>
                <a:lnTo>
                  <a:pt x="836" y="716"/>
                </a:lnTo>
                <a:lnTo>
                  <a:pt x="822" y="721"/>
                </a:lnTo>
                <a:lnTo>
                  <a:pt x="782" y="688"/>
                </a:lnTo>
                <a:lnTo>
                  <a:pt x="780" y="686"/>
                </a:lnTo>
                <a:lnTo>
                  <a:pt x="778" y="688"/>
                </a:lnTo>
                <a:lnTo>
                  <a:pt x="777" y="690"/>
                </a:lnTo>
                <a:lnTo>
                  <a:pt x="777" y="691"/>
                </a:lnTo>
                <a:lnTo>
                  <a:pt x="787" y="742"/>
                </a:lnTo>
                <a:lnTo>
                  <a:pt x="775" y="751"/>
                </a:lnTo>
                <a:lnTo>
                  <a:pt x="730" y="728"/>
                </a:lnTo>
                <a:lnTo>
                  <a:pt x="726" y="728"/>
                </a:lnTo>
                <a:lnTo>
                  <a:pt x="724" y="730"/>
                </a:lnTo>
                <a:lnTo>
                  <a:pt x="724" y="733"/>
                </a:lnTo>
                <a:lnTo>
                  <a:pt x="747" y="779"/>
                </a:lnTo>
                <a:lnTo>
                  <a:pt x="738" y="791"/>
                </a:lnTo>
                <a:lnTo>
                  <a:pt x="688" y="782"/>
                </a:lnTo>
                <a:lnTo>
                  <a:pt x="686" y="782"/>
                </a:lnTo>
                <a:lnTo>
                  <a:pt x="684" y="784"/>
                </a:lnTo>
                <a:lnTo>
                  <a:pt x="684" y="786"/>
                </a:lnTo>
                <a:lnTo>
                  <a:pt x="684" y="787"/>
                </a:lnTo>
                <a:lnTo>
                  <a:pt x="719" y="826"/>
                </a:lnTo>
                <a:lnTo>
                  <a:pt x="714" y="840"/>
                </a:lnTo>
                <a:lnTo>
                  <a:pt x="662" y="843"/>
                </a:lnTo>
                <a:lnTo>
                  <a:pt x="660" y="845"/>
                </a:lnTo>
                <a:lnTo>
                  <a:pt x="660" y="847"/>
                </a:lnTo>
                <a:lnTo>
                  <a:pt x="660" y="848"/>
                </a:lnTo>
                <a:lnTo>
                  <a:pt x="660" y="850"/>
                </a:lnTo>
                <a:lnTo>
                  <a:pt x="703" y="878"/>
                </a:lnTo>
                <a:lnTo>
                  <a:pt x="702" y="892"/>
                </a:lnTo>
                <a:lnTo>
                  <a:pt x="653" y="911"/>
                </a:lnTo>
                <a:lnTo>
                  <a:pt x="651" y="911"/>
                </a:lnTo>
                <a:lnTo>
                  <a:pt x="651" y="913"/>
                </a:lnTo>
                <a:lnTo>
                  <a:pt x="651" y="915"/>
                </a:lnTo>
                <a:lnTo>
                  <a:pt x="653" y="917"/>
                </a:lnTo>
                <a:lnTo>
                  <a:pt x="702" y="934"/>
                </a:lnTo>
                <a:lnTo>
                  <a:pt x="703" y="948"/>
                </a:lnTo>
                <a:lnTo>
                  <a:pt x="662" y="978"/>
                </a:lnTo>
                <a:lnTo>
                  <a:pt x="660" y="979"/>
                </a:lnTo>
                <a:lnTo>
                  <a:pt x="660" y="981"/>
                </a:lnTo>
                <a:lnTo>
                  <a:pt x="662" y="983"/>
                </a:lnTo>
                <a:lnTo>
                  <a:pt x="663" y="983"/>
                </a:lnTo>
                <a:lnTo>
                  <a:pt x="714" y="986"/>
                </a:lnTo>
                <a:lnTo>
                  <a:pt x="719" y="1000"/>
                </a:lnTo>
                <a:lnTo>
                  <a:pt x="688" y="1039"/>
                </a:lnTo>
                <a:lnTo>
                  <a:pt x="686" y="1042"/>
                </a:lnTo>
                <a:lnTo>
                  <a:pt x="686" y="1044"/>
                </a:lnTo>
                <a:lnTo>
                  <a:pt x="688" y="1044"/>
                </a:lnTo>
                <a:lnTo>
                  <a:pt x="689" y="1046"/>
                </a:lnTo>
                <a:lnTo>
                  <a:pt x="740" y="1035"/>
                </a:lnTo>
                <a:lnTo>
                  <a:pt x="749" y="1046"/>
                </a:lnTo>
                <a:lnTo>
                  <a:pt x="728" y="1093"/>
                </a:lnTo>
                <a:lnTo>
                  <a:pt x="728" y="1096"/>
                </a:lnTo>
                <a:lnTo>
                  <a:pt x="730" y="1098"/>
                </a:lnTo>
                <a:lnTo>
                  <a:pt x="733" y="1098"/>
                </a:lnTo>
                <a:lnTo>
                  <a:pt x="778" y="1075"/>
                </a:lnTo>
                <a:lnTo>
                  <a:pt x="789" y="1084"/>
                </a:lnTo>
                <a:lnTo>
                  <a:pt x="780" y="1135"/>
                </a:lnTo>
                <a:lnTo>
                  <a:pt x="782" y="1137"/>
                </a:lnTo>
                <a:lnTo>
                  <a:pt x="782" y="1138"/>
                </a:lnTo>
                <a:lnTo>
                  <a:pt x="784" y="1138"/>
                </a:lnTo>
                <a:lnTo>
                  <a:pt x="787" y="1137"/>
                </a:lnTo>
                <a:lnTo>
                  <a:pt x="826" y="1103"/>
                </a:lnTo>
                <a:lnTo>
                  <a:pt x="838" y="1109"/>
                </a:lnTo>
                <a:lnTo>
                  <a:pt x="843" y="1161"/>
                </a:lnTo>
                <a:lnTo>
                  <a:pt x="843" y="1163"/>
                </a:lnTo>
                <a:lnTo>
                  <a:pt x="845" y="1163"/>
                </a:lnTo>
                <a:lnTo>
                  <a:pt x="848" y="1163"/>
                </a:lnTo>
                <a:lnTo>
                  <a:pt x="850" y="1161"/>
                </a:lnTo>
                <a:lnTo>
                  <a:pt x="878" y="1119"/>
                </a:lnTo>
                <a:lnTo>
                  <a:pt x="892" y="1121"/>
                </a:lnTo>
                <a:lnTo>
                  <a:pt x="909" y="1170"/>
                </a:lnTo>
                <a:lnTo>
                  <a:pt x="911" y="1171"/>
                </a:lnTo>
                <a:lnTo>
                  <a:pt x="913" y="1171"/>
                </a:lnTo>
                <a:lnTo>
                  <a:pt x="915" y="1171"/>
                </a:lnTo>
                <a:lnTo>
                  <a:pt x="916" y="1170"/>
                </a:lnTo>
                <a:lnTo>
                  <a:pt x="932" y="1121"/>
                </a:lnTo>
                <a:lnTo>
                  <a:pt x="946" y="1119"/>
                </a:lnTo>
                <a:lnTo>
                  <a:pt x="976" y="1161"/>
                </a:lnTo>
                <a:lnTo>
                  <a:pt x="977" y="1163"/>
                </a:lnTo>
                <a:lnTo>
                  <a:pt x="981" y="1163"/>
                </a:lnTo>
                <a:lnTo>
                  <a:pt x="981" y="1161"/>
                </a:lnTo>
                <a:lnTo>
                  <a:pt x="983" y="1159"/>
                </a:lnTo>
                <a:lnTo>
                  <a:pt x="986" y="1109"/>
                </a:lnTo>
                <a:lnTo>
                  <a:pt x="998" y="1102"/>
                </a:lnTo>
                <a:lnTo>
                  <a:pt x="1039" y="1135"/>
                </a:lnTo>
                <a:lnTo>
                  <a:pt x="1040" y="1137"/>
                </a:lnTo>
                <a:lnTo>
                  <a:pt x="1042" y="1135"/>
                </a:lnTo>
                <a:lnTo>
                  <a:pt x="1044" y="1135"/>
                </a:lnTo>
                <a:lnTo>
                  <a:pt x="1044" y="1131"/>
                </a:lnTo>
                <a:lnTo>
                  <a:pt x="1033" y="1082"/>
                </a:lnTo>
                <a:lnTo>
                  <a:pt x="1046" y="1074"/>
                </a:lnTo>
                <a:lnTo>
                  <a:pt x="1093" y="1095"/>
                </a:lnTo>
                <a:lnTo>
                  <a:pt x="1094" y="1095"/>
                </a:lnTo>
                <a:lnTo>
                  <a:pt x="1096" y="1093"/>
                </a:lnTo>
                <a:lnTo>
                  <a:pt x="1096" y="1089"/>
                </a:lnTo>
                <a:lnTo>
                  <a:pt x="1073" y="1044"/>
                </a:lnTo>
                <a:lnTo>
                  <a:pt x="1082" y="1032"/>
                </a:lnTo>
                <a:lnTo>
                  <a:pt x="1133" y="1040"/>
                </a:lnTo>
                <a:lnTo>
                  <a:pt x="1136" y="1040"/>
                </a:lnTo>
                <a:lnTo>
                  <a:pt x="1136" y="1039"/>
                </a:lnTo>
                <a:lnTo>
                  <a:pt x="1138" y="1037"/>
                </a:lnTo>
                <a:lnTo>
                  <a:pt x="1136" y="1035"/>
                </a:lnTo>
                <a:lnTo>
                  <a:pt x="1103" y="997"/>
                </a:lnTo>
                <a:lnTo>
                  <a:pt x="1108" y="985"/>
                </a:lnTo>
                <a:lnTo>
                  <a:pt x="1159" y="979"/>
                </a:lnTo>
                <a:lnTo>
                  <a:pt x="1161" y="978"/>
                </a:lnTo>
                <a:lnTo>
                  <a:pt x="1162" y="976"/>
                </a:lnTo>
                <a:lnTo>
                  <a:pt x="1162" y="974"/>
                </a:lnTo>
                <a:lnTo>
                  <a:pt x="1161" y="972"/>
                </a:lnTo>
                <a:lnTo>
                  <a:pt x="1119" y="944"/>
                </a:lnTo>
                <a:lnTo>
                  <a:pt x="1121" y="931"/>
                </a:lnTo>
                <a:lnTo>
                  <a:pt x="1168" y="913"/>
                </a:lnTo>
                <a:lnTo>
                  <a:pt x="1169" y="911"/>
                </a:lnTo>
                <a:lnTo>
                  <a:pt x="1171" y="910"/>
                </a:lnTo>
                <a:lnTo>
                  <a:pt x="1169" y="908"/>
                </a:lnTo>
                <a:lnTo>
                  <a:pt x="1168" y="906"/>
                </a:lnTo>
                <a:lnTo>
                  <a:pt x="1121" y="890"/>
                </a:lnTo>
                <a:lnTo>
                  <a:pt x="1117" y="875"/>
                </a:lnTo>
                <a:lnTo>
                  <a:pt x="1161" y="845"/>
                </a:lnTo>
                <a:lnTo>
                  <a:pt x="1161" y="843"/>
                </a:lnTo>
                <a:lnTo>
                  <a:pt x="1161" y="841"/>
                </a:lnTo>
                <a:lnTo>
                  <a:pt x="1161" y="840"/>
                </a:lnTo>
                <a:lnTo>
                  <a:pt x="1159" y="840"/>
                </a:lnTo>
                <a:lnTo>
                  <a:pt x="1107" y="836"/>
                </a:lnTo>
                <a:lnTo>
                  <a:pt x="1101" y="822"/>
                </a:lnTo>
                <a:lnTo>
                  <a:pt x="1135" y="784"/>
                </a:lnTo>
                <a:lnTo>
                  <a:pt x="1135" y="782"/>
                </a:lnTo>
                <a:lnTo>
                  <a:pt x="1135" y="779"/>
                </a:lnTo>
                <a:lnTo>
                  <a:pt x="1133" y="779"/>
                </a:lnTo>
                <a:lnTo>
                  <a:pt x="1131" y="779"/>
                </a:lnTo>
                <a:lnTo>
                  <a:pt x="1080" y="787"/>
                </a:lnTo>
                <a:lnTo>
                  <a:pt x="1072" y="777"/>
                </a:lnTo>
                <a:lnTo>
                  <a:pt x="1094" y="730"/>
                </a:lnTo>
                <a:lnTo>
                  <a:pt x="1094" y="726"/>
                </a:lnTo>
                <a:lnTo>
                  <a:pt x="1091" y="725"/>
                </a:lnTo>
                <a:lnTo>
                  <a:pt x="1089" y="726"/>
                </a:lnTo>
                <a:lnTo>
                  <a:pt x="1044" y="747"/>
                </a:lnTo>
                <a:lnTo>
                  <a:pt x="1032" y="740"/>
                </a:lnTo>
                <a:lnTo>
                  <a:pt x="1040" y="688"/>
                </a:lnTo>
                <a:lnTo>
                  <a:pt x="1040" y="686"/>
                </a:lnTo>
                <a:lnTo>
                  <a:pt x="1039" y="684"/>
                </a:lnTo>
                <a:lnTo>
                  <a:pt x="1037" y="684"/>
                </a:lnTo>
                <a:lnTo>
                  <a:pt x="1035" y="686"/>
                </a:lnTo>
                <a:lnTo>
                  <a:pt x="997" y="719"/>
                </a:lnTo>
                <a:lnTo>
                  <a:pt x="983" y="714"/>
                </a:lnTo>
                <a:lnTo>
                  <a:pt x="977" y="663"/>
                </a:lnTo>
                <a:lnTo>
                  <a:pt x="977" y="660"/>
                </a:lnTo>
                <a:lnTo>
                  <a:pt x="976" y="660"/>
                </a:lnTo>
                <a:lnTo>
                  <a:pt x="974" y="660"/>
                </a:lnTo>
                <a:lnTo>
                  <a:pt x="972" y="662"/>
                </a:lnTo>
                <a:lnTo>
                  <a:pt x="944" y="704"/>
                </a:lnTo>
                <a:lnTo>
                  <a:pt x="930" y="702"/>
                </a:lnTo>
                <a:lnTo>
                  <a:pt x="911" y="653"/>
                </a:lnTo>
                <a:lnTo>
                  <a:pt x="911" y="651"/>
                </a:lnTo>
                <a:lnTo>
                  <a:pt x="908" y="651"/>
                </a:lnTo>
                <a:close/>
                <a:moveTo>
                  <a:pt x="827" y="0"/>
                </a:moveTo>
                <a:lnTo>
                  <a:pt x="991" y="0"/>
                </a:lnTo>
                <a:lnTo>
                  <a:pt x="1011" y="164"/>
                </a:lnTo>
                <a:lnTo>
                  <a:pt x="1070" y="175"/>
                </a:lnTo>
                <a:lnTo>
                  <a:pt x="1143" y="26"/>
                </a:lnTo>
                <a:lnTo>
                  <a:pt x="1299" y="84"/>
                </a:lnTo>
                <a:lnTo>
                  <a:pt x="1260" y="244"/>
                </a:lnTo>
                <a:lnTo>
                  <a:pt x="1313" y="274"/>
                </a:lnTo>
                <a:lnTo>
                  <a:pt x="1431" y="159"/>
                </a:lnTo>
                <a:lnTo>
                  <a:pt x="1559" y="265"/>
                </a:lnTo>
                <a:lnTo>
                  <a:pt x="1466" y="403"/>
                </a:lnTo>
                <a:lnTo>
                  <a:pt x="1506" y="450"/>
                </a:lnTo>
                <a:lnTo>
                  <a:pt x="1658" y="384"/>
                </a:lnTo>
                <a:lnTo>
                  <a:pt x="1740" y="527"/>
                </a:lnTo>
                <a:lnTo>
                  <a:pt x="1608" y="623"/>
                </a:lnTo>
                <a:lnTo>
                  <a:pt x="1629" y="681"/>
                </a:lnTo>
                <a:lnTo>
                  <a:pt x="1793" y="670"/>
                </a:lnTo>
                <a:lnTo>
                  <a:pt x="1822" y="833"/>
                </a:lnTo>
                <a:lnTo>
                  <a:pt x="1663" y="880"/>
                </a:lnTo>
                <a:lnTo>
                  <a:pt x="1663" y="911"/>
                </a:lnTo>
                <a:lnTo>
                  <a:pt x="1663" y="941"/>
                </a:lnTo>
                <a:lnTo>
                  <a:pt x="1822" y="986"/>
                </a:lnTo>
                <a:lnTo>
                  <a:pt x="1793" y="1150"/>
                </a:lnTo>
                <a:lnTo>
                  <a:pt x="1629" y="1138"/>
                </a:lnTo>
                <a:lnTo>
                  <a:pt x="1608" y="1196"/>
                </a:lnTo>
                <a:lnTo>
                  <a:pt x="1742" y="1294"/>
                </a:lnTo>
                <a:lnTo>
                  <a:pt x="1658" y="1437"/>
                </a:lnTo>
                <a:lnTo>
                  <a:pt x="1508" y="1370"/>
                </a:lnTo>
                <a:lnTo>
                  <a:pt x="1468" y="1418"/>
                </a:lnTo>
                <a:lnTo>
                  <a:pt x="1560" y="1556"/>
                </a:lnTo>
                <a:lnTo>
                  <a:pt x="1433" y="1662"/>
                </a:lnTo>
                <a:lnTo>
                  <a:pt x="1314" y="1547"/>
                </a:lnTo>
                <a:lnTo>
                  <a:pt x="1262" y="1578"/>
                </a:lnTo>
                <a:lnTo>
                  <a:pt x="1300" y="1739"/>
                </a:lnTo>
                <a:lnTo>
                  <a:pt x="1145" y="1795"/>
                </a:lnTo>
                <a:lnTo>
                  <a:pt x="1073" y="1648"/>
                </a:lnTo>
                <a:lnTo>
                  <a:pt x="1012" y="1659"/>
                </a:lnTo>
                <a:lnTo>
                  <a:pt x="995" y="1823"/>
                </a:lnTo>
                <a:lnTo>
                  <a:pt x="829" y="1823"/>
                </a:lnTo>
                <a:lnTo>
                  <a:pt x="812" y="1659"/>
                </a:lnTo>
                <a:lnTo>
                  <a:pt x="751" y="1648"/>
                </a:lnTo>
                <a:lnTo>
                  <a:pt x="679" y="1796"/>
                </a:lnTo>
                <a:lnTo>
                  <a:pt x="524" y="1739"/>
                </a:lnTo>
                <a:lnTo>
                  <a:pt x="562" y="1580"/>
                </a:lnTo>
                <a:lnTo>
                  <a:pt x="510" y="1549"/>
                </a:lnTo>
                <a:lnTo>
                  <a:pt x="389" y="1664"/>
                </a:lnTo>
                <a:lnTo>
                  <a:pt x="264" y="1557"/>
                </a:lnTo>
                <a:lnTo>
                  <a:pt x="354" y="1419"/>
                </a:lnTo>
                <a:lnTo>
                  <a:pt x="316" y="1372"/>
                </a:lnTo>
                <a:lnTo>
                  <a:pt x="164" y="1440"/>
                </a:lnTo>
                <a:lnTo>
                  <a:pt x="82" y="1297"/>
                </a:lnTo>
                <a:lnTo>
                  <a:pt x="215" y="1199"/>
                </a:lnTo>
                <a:lnTo>
                  <a:pt x="194" y="1142"/>
                </a:lnTo>
                <a:lnTo>
                  <a:pt x="28" y="1152"/>
                </a:lnTo>
                <a:lnTo>
                  <a:pt x="0" y="990"/>
                </a:lnTo>
                <a:lnTo>
                  <a:pt x="159" y="943"/>
                </a:lnTo>
                <a:lnTo>
                  <a:pt x="157" y="911"/>
                </a:lnTo>
                <a:lnTo>
                  <a:pt x="159" y="882"/>
                </a:lnTo>
                <a:lnTo>
                  <a:pt x="0" y="836"/>
                </a:lnTo>
                <a:lnTo>
                  <a:pt x="28" y="674"/>
                </a:lnTo>
                <a:lnTo>
                  <a:pt x="192" y="684"/>
                </a:lnTo>
                <a:lnTo>
                  <a:pt x="213" y="627"/>
                </a:lnTo>
                <a:lnTo>
                  <a:pt x="80" y="529"/>
                </a:lnTo>
                <a:lnTo>
                  <a:pt x="162" y="386"/>
                </a:lnTo>
                <a:lnTo>
                  <a:pt x="314" y="452"/>
                </a:lnTo>
                <a:lnTo>
                  <a:pt x="353" y="405"/>
                </a:lnTo>
                <a:lnTo>
                  <a:pt x="260" y="267"/>
                </a:lnTo>
                <a:lnTo>
                  <a:pt x="387" y="161"/>
                </a:lnTo>
                <a:lnTo>
                  <a:pt x="506" y="276"/>
                </a:lnTo>
                <a:lnTo>
                  <a:pt x="560" y="244"/>
                </a:lnTo>
                <a:lnTo>
                  <a:pt x="520" y="84"/>
                </a:lnTo>
                <a:lnTo>
                  <a:pt x="675" y="28"/>
                </a:lnTo>
                <a:lnTo>
                  <a:pt x="749" y="176"/>
                </a:lnTo>
                <a:lnTo>
                  <a:pt x="808" y="166"/>
                </a:lnTo>
                <a:lnTo>
                  <a:pt x="827" y="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2" name="Freeform 7"/>
          <p:cNvSpPr>
            <a:spLocks noEditPoints="1"/>
          </p:cNvSpPr>
          <p:nvPr/>
        </p:nvSpPr>
        <p:spPr bwMode="auto">
          <a:xfrm rot="21295377">
            <a:off x="6147972" y="1628437"/>
            <a:ext cx="799946" cy="799945"/>
          </a:xfrm>
          <a:custGeom>
            <a:avLst/>
            <a:gdLst>
              <a:gd name="T0" fmla="*/ 888 w 1822"/>
              <a:gd name="T1" fmla="*/ 702 h 1823"/>
              <a:gd name="T2" fmla="*/ 841 w 1822"/>
              <a:gd name="T3" fmla="*/ 662 h 1823"/>
              <a:gd name="T4" fmla="*/ 822 w 1822"/>
              <a:gd name="T5" fmla="*/ 721 h 1823"/>
              <a:gd name="T6" fmla="*/ 777 w 1822"/>
              <a:gd name="T7" fmla="*/ 690 h 1823"/>
              <a:gd name="T8" fmla="*/ 730 w 1822"/>
              <a:gd name="T9" fmla="*/ 728 h 1823"/>
              <a:gd name="T10" fmla="*/ 747 w 1822"/>
              <a:gd name="T11" fmla="*/ 779 h 1823"/>
              <a:gd name="T12" fmla="*/ 684 w 1822"/>
              <a:gd name="T13" fmla="*/ 784 h 1823"/>
              <a:gd name="T14" fmla="*/ 714 w 1822"/>
              <a:gd name="T15" fmla="*/ 840 h 1823"/>
              <a:gd name="T16" fmla="*/ 660 w 1822"/>
              <a:gd name="T17" fmla="*/ 848 h 1823"/>
              <a:gd name="T18" fmla="*/ 653 w 1822"/>
              <a:gd name="T19" fmla="*/ 911 h 1823"/>
              <a:gd name="T20" fmla="*/ 653 w 1822"/>
              <a:gd name="T21" fmla="*/ 917 h 1823"/>
              <a:gd name="T22" fmla="*/ 660 w 1822"/>
              <a:gd name="T23" fmla="*/ 979 h 1823"/>
              <a:gd name="T24" fmla="*/ 714 w 1822"/>
              <a:gd name="T25" fmla="*/ 986 h 1823"/>
              <a:gd name="T26" fmla="*/ 686 w 1822"/>
              <a:gd name="T27" fmla="*/ 1044 h 1823"/>
              <a:gd name="T28" fmla="*/ 749 w 1822"/>
              <a:gd name="T29" fmla="*/ 1046 h 1823"/>
              <a:gd name="T30" fmla="*/ 733 w 1822"/>
              <a:gd name="T31" fmla="*/ 1098 h 1823"/>
              <a:gd name="T32" fmla="*/ 782 w 1822"/>
              <a:gd name="T33" fmla="*/ 1137 h 1823"/>
              <a:gd name="T34" fmla="*/ 826 w 1822"/>
              <a:gd name="T35" fmla="*/ 1103 h 1823"/>
              <a:gd name="T36" fmla="*/ 845 w 1822"/>
              <a:gd name="T37" fmla="*/ 1163 h 1823"/>
              <a:gd name="T38" fmla="*/ 892 w 1822"/>
              <a:gd name="T39" fmla="*/ 1121 h 1823"/>
              <a:gd name="T40" fmla="*/ 915 w 1822"/>
              <a:gd name="T41" fmla="*/ 1171 h 1823"/>
              <a:gd name="T42" fmla="*/ 976 w 1822"/>
              <a:gd name="T43" fmla="*/ 1161 h 1823"/>
              <a:gd name="T44" fmla="*/ 983 w 1822"/>
              <a:gd name="T45" fmla="*/ 1159 h 1823"/>
              <a:gd name="T46" fmla="*/ 1040 w 1822"/>
              <a:gd name="T47" fmla="*/ 1137 h 1823"/>
              <a:gd name="T48" fmla="*/ 1033 w 1822"/>
              <a:gd name="T49" fmla="*/ 1082 h 1823"/>
              <a:gd name="T50" fmla="*/ 1096 w 1822"/>
              <a:gd name="T51" fmla="*/ 1093 h 1823"/>
              <a:gd name="T52" fmla="*/ 1133 w 1822"/>
              <a:gd name="T53" fmla="*/ 1040 h 1823"/>
              <a:gd name="T54" fmla="*/ 1136 w 1822"/>
              <a:gd name="T55" fmla="*/ 1035 h 1823"/>
              <a:gd name="T56" fmla="*/ 1161 w 1822"/>
              <a:gd name="T57" fmla="*/ 978 h 1823"/>
              <a:gd name="T58" fmla="*/ 1119 w 1822"/>
              <a:gd name="T59" fmla="*/ 944 h 1823"/>
              <a:gd name="T60" fmla="*/ 1171 w 1822"/>
              <a:gd name="T61" fmla="*/ 910 h 1823"/>
              <a:gd name="T62" fmla="*/ 1117 w 1822"/>
              <a:gd name="T63" fmla="*/ 875 h 1823"/>
              <a:gd name="T64" fmla="*/ 1161 w 1822"/>
              <a:gd name="T65" fmla="*/ 840 h 1823"/>
              <a:gd name="T66" fmla="*/ 1135 w 1822"/>
              <a:gd name="T67" fmla="*/ 784 h 1823"/>
              <a:gd name="T68" fmla="*/ 1131 w 1822"/>
              <a:gd name="T69" fmla="*/ 779 h 1823"/>
              <a:gd name="T70" fmla="*/ 1094 w 1822"/>
              <a:gd name="T71" fmla="*/ 726 h 1823"/>
              <a:gd name="T72" fmla="*/ 1032 w 1822"/>
              <a:gd name="T73" fmla="*/ 740 h 1823"/>
              <a:gd name="T74" fmla="*/ 1037 w 1822"/>
              <a:gd name="T75" fmla="*/ 684 h 1823"/>
              <a:gd name="T76" fmla="*/ 977 w 1822"/>
              <a:gd name="T77" fmla="*/ 663 h 1823"/>
              <a:gd name="T78" fmla="*/ 972 w 1822"/>
              <a:gd name="T79" fmla="*/ 662 h 1823"/>
              <a:gd name="T80" fmla="*/ 911 w 1822"/>
              <a:gd name="T81" fmla="*/ 651 h 1823"/>
              <a:gd name="T82" fmla="*/ 1011 w 1822"/>
              <a:gd name="T83" fmla="*/ 164 h 1823"/>
              <a:gd name="T84" fmla="*/ 1260 w 1822"/>
              <a:gd name="T85" fmla="*/ 244 h 1823"/>
              <a:gd name="T86" fmla="*/ 1466 w 1822"/>
              <a:gd name="T87" fmla="*/ 403 h 1823"/>
              <a:gd name="T88" fmla="*/ 1608 w 1822"/>
              <a:gd name="T89" fmla="*/ 623 h 1823"/>
              <a:gd name="T90" fmla="*/ 1663 w 1822"/>
              <a:gd name="T91" fmla="*/ 880 h 1823"/>
              <a:gd name="T92" fmla="*/ 1793 w 1822"/>
              <a:gd name="T93" fmla="*/ 1150 h 1823"/>
              <a:gd name="T94" fmla="*/ 1658 w 1822"/>
              <a:gd name="T95" fmla="*/ 1437 h 1823"/>
              <a:gd name="T96" fmla="*/ 1433 w 1822"/>
              <a:gd name="T97" fmla="*/ 1662 h 1823"/>
              <a:gd name="T98" fmla="*/ 1145 w 1822"/>
              <a:gd name="T99" fmla="*/ 1795 h 1823"/>
              <a:gd name="T100" fmla="*/ 829 w 1822"/>
              <a:gd name="T101" fmla="*/ 1823 h 1823"/>
              <a:gd name="T102" fmla="*/ 524 w 1822"/>
              <a:gd name="T103" fmla="*/ 1739 h 1823"/>
              <a:gd name="T104" fmla="*/ 264 w 1822"/>
              <a:gd name="T105" fmla="*/ 1557 h 1823"/>
              <a:gd name="T106" fmla="*/ 82 w 1822"/>
              <a:gd name="T107" fmla="*/ 1297 h 1823"/>
              <a:gd name="T108" fmla="*/ 0 w 1822"/>
              <a:gd name="T109" fmla="*/ 990 h 1823"/>
              <a:gd name="T110" fmla="*/ 0 w 1822"/>
              <a:gd name="T111" fmla="*/ 836 h 1823"/>
              <a:gd name="T112" fmla="*/ 80 w 1822"/>
              <a:gd name="T113" fmla="*/ 529 h 1823"/>
              <a:gd name="T114" fmla="*/ 260 w 1822"/>
              <a:gd name="T115" fmla="*/ 267 h 1823"/>
              <a:gd name="T116" fmla="*/ 520 w 1822"/>
              <a:gd name="T117" fmla="*/ 84 h 1823"/>
              <a:gd name="T118" fmla="*/ 827 w 1822"/>
              <a:gd name="T119" fmla="*/ 0 h 1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2" h="1823">
                <a:moveTo>
                  <a:pt x="908" y="651"/>
                </a:moveTo>
                <a:lnTo>
                  <a:pt x="906" y="651"/>
                </a:lnTo>
                <a:lnTo>
                  <a:pt x="906" y="653"/>
                </a:lnTo>
                <a:lnTo>
                  <a:pt x="888" y="702"/>
                </a:lnTo>
                <a:lnTo>
                  <a:pt x="874" y="704"/>
                </a:lnTo>
                <a:lnTo>
                  <a:pt x="845" y="662"/>
                </a:lnTo>
                <a:lnTo>
                  <a:pt x="843" y="662"/>
                </a:lnTo>
                <a:lnTo>
                  <a:pt x="841" y="662"/>
                </a:lnTo>
                <a:lnTo>
                  <a:pt x="840" y="662"/>
                </a:lnTo>
                <a:lnTo>
                  <a:pt x="840" y="663"/>
                </a:lnTo>
                <a:lnTo>
                  <a:pt x="836" y="716"/>
                </a:lnTo>
                <a:lnTo>
                  <a:pt x="822" y="721"/>
                </a:lnTo>
                <a:lnTo>
                  <a:pt x="782" y="688"/>
                </a:lnTo>
                <a:lnTo>
                  <a:pt x="780" y="686"/>
                </a:lnTo>
                <a:lnTo>
                  <a:pt x="778" y="688"/>
                </a:lnTo>
                <a:lnTo>
                  <a:pt x="777" y="690"/>
                </a:lnTo>
                <a:lnTo>
                  <a:pt x="777" y="691"/>
                </a:lnTo>
                <a:lnTo>
                  <a:pt x="787" y="742"/>
                </a:lnTo>
                <a:lnTo>
                  <a:pt x="775" y="751"/>
                </a:lnTo>
                <a:lnTo>
                  <a:pt x="730" y="728"/>
                </a:lnTo>
                <a:lnTo>
                  <a:pt x="726" y="728"/>
                </a:lnTo>
                <a:lnTo>
                  <a:pt x="724" y="730"/>
                </a:lnTo>
                <a:lnTo>
                  <a:pt x="724" y="733"/>
                </a:lnTo>
                <a:lnTo>
                  <a:pt x="747" y="779"/>
                </a:lnTo>
                <a:lnTo>
                  <a:pt x="738" y="791"/>
                </a:lnTo>
                <a:lnTo>
                  <a:pt x="688" y="782"/>
                </a:lnTo>
                <a:lnTo>
                  <a:pt x="686" y="782"/>
                </a:lnTo>
                <a:lnTo>
                  <a:pt x="684" y="784"/>
                </a:lnTo>
                <a:lnTo>
                  <a:pt x="684" y="786"/>
                </a:lnTo>
                <a:lnTo>
                  <a:pt x="684" y="787"/>
                </a:lnTo>
                <a:lnTo>
                  <a:pt x="719" y="826"/>
                </a:lnTo>
                <a:lnTo>
                  <a:pt x="714" y="840"/>
                </a:lnTo>
                <a:lnTo>
                  <a:pt x="662" y="843"/>
                </a:lnTo>
                <a:lnTo>
                  <a:pt x="660" y="845"/>
                </a:lnTo>
                <a:lnTo>
                  <a:pt x="660" y="847"/>
                </a:lnTo>
                <a:lnTo>
                  <a:pt x="660" y="848"/>
                </a:lnTo>
                <a:lnTo>
                  <a:pt x="660" y="850"/>
                </a:lnTo>
                <a:lnTo>
                  <a:pt x="703" y="878"/>
                </a:lnTo>
                <a:lnTo>
                  <a:pt x="702" y="892"/>
                </a:lnTo>
                <a:lnTo>
                  <a:pt x="653" y="911"/>
                </a:lnTo>
                <a:lnTo>
                  <a:pt x="651" y="911"/>
                </a:lnTo>
                <a:lnTo>
                  <a:pt x="651" y="913"/>
                </a:lnTo>
                <a:lnTo>
                  <a:pt x="651" y="915"/>
                </a:lnTo>
                <a:lnTo>
                  <a:pt x="653" y="917"/>
                </a:lnTo>
                <a:lnTo>
                  <a:pt x="702" y="934"/>
                </a:lnTo>
                <a:lnTo>
                  <a:pt x="703" y="948"/>
                </a:lnTo>
                <a:lnTo>
                  <a:pt x="662" y="978"/>
                </a:lnTo>
                <a:lnTo>
                  <a:pt x="660" y="979"/>
                </a:lnTo>
                <a:lnTo>
                  <a:pt x="660" y="981"/>
                </a:lnTo>
                <a:lnTo>
                  <a:pt x="662" y="983"/>
                </a:lnTo>
                <a:lnTo>
                  <a:pt x="663" y="983"/>
                </a:lnTo>
                <a:lnTo>
                  <a:pt x="714" y="986"/>
                </a:lnTo>
                <a:lnTo>
                  <a:pt x="719" y="1000"/>
                </a:lnTo>
                <a:lnTo>
                  <a:pt x="688" y="1039"/>
                </a:lnTo>
                <a:lnTo>
                  <a:pt x="686" y="1042"/>
                </a:lnTo>
                <a:lnTo>
                  <a:pt x="686" y="1044"/>
                </a:lnTo>
                <a:lnTo>
                  <a:pt x="688" y="1044"/>
                </a:lnTo>
                <a:lnTo>
                  <a:pt x="689" y="1046"/>
                </a:lnTo>
                <a:lnTo>
                  <a:pt x="740" y="1035"/>
                </a:lnTo>
                <a:lnTo>
                  <a:pt x="749" y="1046"/>
                </a:lnTo>
                <a:lnTo>
                  <a:pt x="728" y="1093"/>
                </a:lnTo>
                <a:lnTo>
                  <a:pt x="728" y="1096"/>
                </a:lnTo>
                <a:lnTo>
                  <a:pt x="730" y="1098"/>
                </a:lnTo>
                <a:lnTo>
                  <a:pt x="733" y="1098"/>
                </a:lnTo>
                <a:lnTo>
                  <a:pt x="778" y="1075"/>
                </a:lnTo>
                <a:lnTo>
                  <a:pt x="789" y="1084"/>
                </a:lnTo>
                <a:lnTo>
                  <a:pt x="780" y="1135"/>
                </a:lnTo>
                <a:lnTo>
                  <a:pt x="782" y="1137"/>
                </a:lnTo>
                <a:lnTo>
                  <a:pt x="782" y="1138"/>
                </a:lnTo>
                <a:lnTo>
                  <a:pt x="784" y="1138"/>
                </a:lnTo>
                <a:lnTo>
                  <a:pt x="787" y="1137"/>
                </a:lnTo>
                <a:lnTo>
                  <a:pt x="826" y="1103"/>
                </a:lnTo>
                <a:lnTo>
                  <a:pt x="838" y="1109"/>
                </a:lnTo>
                <a:lnTo>
                  <a:pt x="843" y="1161"/>
                </a:lnTo>
                <a:lnTo>
                  <a:pt x="843" y="1163"/>
                </a:lnTo>
                <a:lnTo>
                  <a:pt x="845" y="1163"/>
                </a:lnTo>
                <a:lnTo>
                  <a:pt x="848" y="1163"/>
                </a:lnTo>
                <a:lnTo>
                  <a:pt x="850" y="1161"/>
                </a:lnTo>
                <a:lnTo>
                  <a:pt x="878" y="1119"/>
                </a:lnTo>
                <a:lnTo>
                  <a:pt x="892" y="1121"/>
                </a:lnTo>
                <a:lnTo>
                  <a:pt x="909" y="1170"/>
                </a:lnTo>
                <a:lnTo>
                  <a:pt x="911" y="1171"/>
                </a:lnTo>
                <a:lnTo>
                  <a:pt x="913" y="1171"/>
                </a:lnTo>
                <a:lnTo>
                  <a:pt x="915" y="1171"/>
                </a:lnTo>
                <a:lnTo>
                  <a:pt x="916" y="1170"/>
                </a:lnTo>
                <a:lnTo>
                  <a:pt x="932" y="1121"/>
                </a:lnTo>
                <a:lnTo>
                  <a:pt x="946" y="1119"/>
                </a:lnTo>
                <a:lnTo>
                  <a:pt x="976" y="1161"/>
                </a:lnTo>
                <a:lnTo>
                  <a:pt x="977" y="1163"/>
                </a:lnTo>
                <a:lnTo>
                  <a:pt x="981" y="1163"/>
                </a:lnTo>
                <a:lnTo>
                  <a:pt x="981" y="1161"/>
                </a:lnTo>
                <a:lnTo>
                  <a:pt x="983" y="1159"/>
                </a:lnTo>
                <a:lnTo>
                  <a:pt x="986" y="1109"/>
                </a:lnTo>
                <a:lnTo>
                  <a:pt x="998" y="1102"/>
                </a:lnTo>
                <a:lnTo>
                  <a:pt x="1039" y="1135"/>
                </a:lnTo>
                <a:lnTo>
                  <a:pt x="1040" y="1137"/>
                </a:lnTo>
                <a:lnTo>
                  <a:pt x="1042" y="1135"/>
                </a:lnTo>
                <a:lnTo>
                  <a:pt x="1044" y="1135"/>
                </a:lnTo>
                <a:lnTo>
                  <a:pt x="1044" y="1131"/>
                </a:lnTo>
                <a:lnTo>
                  <a:pt x="1033" y="1082"/>
                </a:lnTo>
                <a:lnTo>
                  <a:pt x="1046" y="1074"/>
                </a:lnTo>
                <a:lnTo>
                  <a:pt x="1093" y="1095"/>
                </a:lnTo>
                <a:lnTo>
                  <a:pt x="1094" y="1095"/>
                </a:lnTo>
                <a:lnTo>
                  <a:pt x="1096" y="1093"/>
                </a:lnTo>
                <a:lnTo>
                  <a:pt x="1096" y="1089"/>
                </a:lnTo>
                <a:lnTo>
                  <a:pt x="1073" y="1044"/>
                </a:lnTo>
                <a:lnTo>
                  <a:pt x="1082" y="1032"/>
                </a:lnTo>
                <a:lnTo>
                  <a:pt x="1133" y="1040"/>
                </a:lnTo>
                <a:lnTo>
                  <a:pt x="1136" y="1040"/>
                </a:lnTo>
                <a:lnTo>
                  <a:pt x="1136" y="1039"/>
                </a:lnTo>
                <a:lnTo>
                  <a:pt x="1138" y="1037"/>
                </a:lnTo>
                <a:lnTo>
                  <a:pt x="1136" y="1035"/>
                </a:lnTo>
                <a:lnTo>
                  <a:pt x="1103" y="997"/>
                </a:lnTo>
                <a:lnTo>
                  <a:pt x="1108" y="985"/>
                </a:lnTo>
                <a:lnTo>
                  <a:pt x="1159" y="979"/>
                </a:lnTo>
                <a:lnTo>
                  <a:pt x="1161" y="978"/>
                </a:lnTo>
                <a:lnTo>
                  <a:pt x="1162" y="976"/>
                </a:lnTo>
                <a:lnTo>
                  <a:pt x="1162" y="974"/>
                </a:lnTo>
                <a:lnTo>
                  <a:pt x="1161" y="972"/>
                </a:lnTo>
                <a:lnTo>
                  <a:pt x="1119" y="944"/>
                </a:lnTo>
                <a:lnTo>
                  <a:pt x="1121" y="931"/>
                </a:lnTo>
                <a:lnTo>
                  <a:pt x="1168" y="913"/>
                </a:lnTo>
                <a:lnTo>
                  <a:pt x="1169" y="911"/>
                </a:lnTo>
                <a:lnTo>
                  <a:pt x="1171" y="910"/>
                </a:lnTo>
                <a:lnTo>
                  <a:pt x="1169" y="908"/>
                </a:lnTo>
                <a:lnTo>
                  <a:pt x="1168" y="906"/>
                </a:lnTo>
                <a:lnTo>
                  <a:pt x="1121" y="890"/>
                </a:lnTo>
                <a:lnTo>
                  <a:pt x="1117" y="875"/>
                </a:lnTo>
                <a:lnTo>
                  <a:pt x="1161" y="845"/>
                </a:lnTo>
                <a:lnTo>
                  <a:pt x="1161" y="843"/>
                </a:lnTo>
                <a:lnTo>
                  <a:pt x="1161" y="841"/>
                </a:lnTo>
                <a:lnTo>
                  <a:pt x="1161" y="840"/>
                </a:lnTo>
                <a:lnTo>
                  <a:pt x="1159" y="840"/>
                </a:lnTo>
                <a:lnTo>
                  <a:pt x="1107" y="836"/>
                </a:lnTo>
                <a:lnTo>
                  <a:pt x="1101" y="822"/>
                </a:lnTo>
                <a:lnTo>
                  <a:pt x="1135" y="784"/>
                </a:lnTo>
                <a:lnTo>
                  <a:pt x="1135" y="782"/>
                </a:lnTo>
                <a:lnTo>
                  <a:pt x="1135" y="779"/>
                </a:lnTo>
                <a:lnTo>
                  <a:pt x="1133" y="779"/>
                </a:lnTo>
                <a:lnTo>
                  <a:pt x="1131" y="779"/>
                </a:lnTo>
                <a:lnTo>
                  <a:pt x="1080" y="787"/>
                </a:lnTo>
                <a:lnTo>
                  <a:pt x="1072" y="777"/>
                </a:lnTo>
                <a:lnTo>
                  <a:pt x="1094" y="730"/>
                </a:lnTo>
                <a:lnTo>
                  <a:pt x="1094" y="726"/>
                </a:lnTo>
                <a:lnTo>
                  <a:pt x="1091" y="725"/>
                </a:lnTo>
                <a:lnTo>
                  <a:pt x="1089" y="726"/>
                </a:lnTo>
                <a:lnTo>
                  <a:pt x="1044" y="747"/>
                </a:lnTo>
                <a:lnTo>
                  <a:pt x="1032" y="740"/>
                </a:lnTo>
                <a:lnTo>
                  <a:pt x="1040" y="688"/>
                </a:lnTo>
                <a:lnTo>
                  <a:pt x="1040" y="686"/>
                </a:lnTo>
                <a:lnTo>
                  <a:pt x="1039" y="684"/>
                </a:lnTo>
                <a:lnTo>
                  <a:pt x="1037" y="684"/>
                </a:lnTo>
                <a:lnTo>
                  <a:pt x="1035" y="686"/>
                </a:lnTo>
                <a:lnTo>
                  <a:pt x="997" y="719"/>
                </a:lnTo>
                <a:lnTo>
                  <a:pt x="983" y="714"/>
                </a:lnTo>
                <a:lnTo>
                  <a:pt x="977" y="663"/>
                </a:lnTo>
                <a:lnTo>
                  <a:pt x="977" y="660"/>
                </a:lnTo>
                <a:lnTo>
                  <a:pt x="976" y="660"/>
                </a:lnTo>
                <a:lnTo>
                  <a:pt x="974" y="660"/>
                </a:lnTo>
                <a:lnTo>
                  <a:pt x="972" y="662"/>
                </a:lnTo>
                <a:lnTo>
                  <a:pt x="944" y="704"/>
                </a:lnTo>
                <a:lnTo>
                  <a:pt x="930" y="702"/>
                </a:lnTo>
                <a:lnTo>
                  <a:pt x="911" y="653"/>
                </a:lnTo>
                <a:lnTo>
                  <a:pt x="911" y="651"/>
                </a:lnTo>
                <a:lnTo>
                  <a:pt x="908" y="651"/>
                </a:lnTo>
                <a:close/>
                <a:moveTo>
                  <a:pt x="827" y="0"/>
                </a:moveTo>
                <a:lnTo>
                  <a:pt x="991" y="0"/>
                </a:lnTo>
                <a:lnTo>
                  <a:pt x="1011" y="164"/>
                </a:lnTo>
                <a:lnTo>
                  <a:pt x="1070" y="175"/>
                </a:lnTo>
                <a:lnTo>
                  <a:pt x="1143" y="26"/>
                </a:lnTo>
                <a:lnTo>
                  <a:pt x="1299" y="84"/>
                </a:lnTo>
                <a:lnTo>
                  <a:pt x="1260" y="244"/>
                </a:lnTo>
                <a:lnTo>
                  <a:pt x="1313" y="274"/>
                </a:lnTo>
                <a:lnTo>
                  <a:pt x="1431" y="159"/>
                </a:lnTo>
                <a:lnTo>
                  <a:pt x="1559" y="265"/>
                </a:lnTo>
                <a:lnTo>
                  <a:pt x="1466" y="403"/>
                </a:lnTo>
                <a:lnTo>
                  <a:pt x="1506" y="450"/>
                </a:lnTo>
                <a:lnTo>
                  <a:pt x="1658" y="384"/>
                </a:lnTo>
                <a:lnTo>
                  <a:pt x="1740" y="527"/>
                </a:lnTo>
                <a:lnTo>
                  <a:pt x="1608" y="623"/>
                </a:lnTo>
                <a:lnTo>
                  <a:pt x="1629" y="681"/>
                </a:lnTo>
                <a:lnTo>
                  <a:pt x="1793" y="670"/>
                </a:lnTo>
                <a:lnTo>
                  <a:pt x="1822" y="833"/>
                </a:lnTo>
                <a:lnTo>
                  <a:pt x="1663" y="880"/>
                </a:lnTo>
                <a:lnTo>
                  <a:pt x="1663" y="911"/>
                </a:lnTo>
                <a:lnTo>
                  <a:pt x="1663" y="941"/>
                </a:lnTo>
                <a:lnTo>
                  <a:pt x="1822" y="986"/>
                </a:lnTo>
                <a:lnTo>
                  <a:pt x="1793" y="1150"/>
                </a:lnTo>
                <a:lnTo>
                  <a:pt x="1629" y="1138"/>
                </a:lnTo>
                <a:lnTo>
                  <a:pt x="1608" y="1196"/>
                </a:lnTo>
                <a:lnTo>
                  <a:pt x="1742" y="1294"/>
                </a:lnTo>
                <a:lnTo>
                  <a:pt x="1658" y="1437"/>
                </a:lnTo>
                <a:lnTo>
                  <a:pt x="1508" y="1370"/>
                </a:lnTo>
                <a:lnTo>
                  <a:pt x="1468" y="1418"/>
                </a:lnTo>
                <a:lnTo>
                  <a:pt x="1560" y="1556"/>
                </a:lnTo>
                <a:lnTo>
                  <a:pt x="1433" y="1662"/>
                </a:lnTo>
                <a:lnTo>
                  <a:pt x="1314" y="1547"/>
                </a:lnTo>
                <a:lnTo>
                  <a:pt x="1262" y="1578"/>
                </a:lnTo>
                <a:lnTo>
                  <a:pt x="1300" y="1739"/>
                </a:lnTo>
                <a:lnTo>
                  <a:pt x="1145" y="1795"/>
                </a:lnTo>
                <a:lnTo>
                  <a:pt x="1073" y="1648"/>
                </a:lnTo>
                <a:lnTo>
                  <a:pt x="1012" y="1659"/>
                </a:lnTo>
                <a:lnTo>
                  <a:pt x="995" y="1823"/>
                </a:lnTo>
                <a:lnTo>
                  <a:pt x="829" y="1823"/>
                </a:lnTo>
                <a:lnTo>
                  <a:pt x="812" y="1659"/>
                </a:lnTo>
                <a:lnTo>
                  <a:pt x="751" y="1648"/>
                </a:lnTo>
                <a:lnTo>
                  <a:pt x="679" y="1796"/>
                </a:lnTo>
                <a:lnTo>
                  <a:pt x="524" y="1739"/>
                </a:lnTo>
                <a:lnTo>
                  <a:pt x="562" y="1580"/>
                </a:lnTo>
                <a:lnTo>
                  <a:pt x="510" y="1549"/>
                </a:lnTo>
                <a:lnTo>
                  <a:pt x="389" y="1664"/>
                </a:lnTo>
                <a:lnTo>
                  <a:pt x="264" y="1557"/>
                </a:lnTo>
                <a:lnTo>
                  <a:pt x="354" y="1419"/>
                </a:lnTo>
                <a:lnTo>
                  <a:pt x="316" y="1372"/>
                </a:lnTo>
                <a:lnTo>
                  <a:pt x="164" y="1440"/>
                </a:lnTo>
                <a:lnTo>
                  <a:pt x="82" y="1297"/>
                </a:lnTo>
                <a:lnTo>
                  <a:pt x="215" y="1199"/>
                </a:lnTo>
                <a:lnTo>
                  <a:pt x="194" y="1142"/>
                </a:lnTo>
                <a:lnTo>
                  <a:pt x="28" y="1152"/>
                </a:lnTo>
                <a:lnTo>
                  <a:pt x="0" y="990"/>
                </a:lnTo>
                <a:lnTo>
                  <a:pt x="159" y="943"/>
                </a:lnTo>
                <a:lnTo>
                  <a:pt x="157" y="911"/>
                </a:lnTo>
                <a:lnTo>
                  <a:pt x="159" y="882"/>
                </a:lnTo>
                <a:lnTo>
                  <a:pt x="0" y="836"/>
                </a:lnTo>
                <a:lnTo>
                  <a:pt x="28" y="674"/>
                </a:lnTo>
                <a:lnTo>
                  <a:pt x="192" y="684"/>
                </a:lnTo>
                <a:lnTo>
                  <a:pt x="213" y="627"/>
                </a:lnTo>
                <a:lnTo>
                  <a:pt x="80" y="529"/>
                </a:lnTo>
                <a:lnTo>
                  <a:pt x="162" y="386"/>
                </a:lnTo>
                <a:lnTo>
                  <a:pt x="314" y="452"/>
                </a:lnTo>
                <a:lnTo>
                  <a:pt x="353" y="405"/>
                </a:lnTo>
                <a:lnTo>
                  <a:pt x="260" y="267"/>
                </a:lnTo>
                <a:lnTo>
                  <a:pt x="387" y="161"/>
                </a:lnTo>
                <a:lnTo>
                  <a:pt x="506" y="276"/>
                </a:lnTo>
                <a:lnTo>
                  <a:pt x="560" y="244"/>
                </a:lnTo>
                <a:lnTo>
                  <a:pt x="520" y="84"/>
                </a:lnTo>
                <a:lnTo>
                  <a:pt x="675" y="28"/>
                </a:lnTo>
                <a:lnTo>
                  <a:pt x="749" y="176"/>
                </a:lnTo>
                <a:lnTo>
                  <a:pt x="808" y="166"/>
                </a:lnTo>
                <a:lnTo>
                  <a:pt x="827" y="0"/>
                </a:lnTo>
                <a:close/>
              </a:path>
            </a:pathLst>
          </a:custGeom>
          <a:solidFill>
            <a:srgbClr val="000000"/>
          </a:solidFill>
          <a:ln w="0">
            <a:solidFill>
              <a:schemeClr val="bg1">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3" name="Freeform 10"/>
          <p:cNvSpPr>
            <a:spLocks noEditPoints="1"/>
          </p:cNvSpPr>
          <p:nvPr/>
        </p:nvSpPr>
        <p:spPr bwMode="auto">
          <a:xfrm>
            <a:off x="6036678" y="3308024"/>
            <a:ext cx="494348" cy="495400"/>
          </a:xfrm>
          <a:custGeom>
            <a:avLst/>
            <a:gdLst>
              <a:gd name="T0" fmla="*/ 436 w 941"/>
              <a:gd name="T1" fmla="*/ 343 h 941"/>
              <a:gd name="T2" fmla="*/ 377 w 941"/>
              <a:gd name="T3" fmla="*/ 377 h 941"/>
              <a:gd name="T4" fmla="*/ 344 w 941"/>
              <a:gd name="T5" fmla="*/ 435 h 941"/>
              <a:gd name="T6" fmla="*/ 344 w 941"/>
              <a:gd name="T7" fmla="*/ 505 h 941"/>
              <a:gd name="T8" fmla="*/ 377 w 941"/>
              <a:gd name="T9" fmla="*/ 564 h 941"/>
              <a:gd name="T10" fmla="*/ 436 w 941"/>
              <a:gd name="T11" fmla="*/ 597 h 941"/>
              <a:gd name="T12" fmla="*/ 506 w 941"/>
              <a:gd name="T13" fmla="*/ 597 h 941"/>
              <a:gd name="T14" fmla="*/ 564 w 941"/>
              <a:gd name="T15" fmla="*/ 564 h 941"/>
              <a:gd name="T16" fmla="*/ 599 w 941"/>
              <a:gd name="T17" fmla="*/ 505 h 941"/>
              <a:gd name="T18" fmla="*/ 599 w 941"/>
              <a:gd name="T19" fmla="*/ 435 h 941"/>
              <a:gd name="T20" fmla="*/ 564 w 941"/>
              <a:gd name="T21" fmla="*/ 377 h 941"/>
              <a:gd name="T22" fmla="*/ 506 w 941"/>
              <a:gd name="T23" fmla="*/ 343 h 941"/>
              <a:gd name="T24" fmla="*/ 363 w 941"/>
              <a:gd name="T25" fmla="*/ 0 h 941"/>
              <a:gd name="T26" fmla="*/ 571 w 941"/>
              <a:gd name="T27" fmla="*/ 138 h 941"/>
              <a:gd name="T28" fmla="*/ 628 w 941"/>
              <a:gd name="T29" fmla="*/ 161 h 941"/>
              <a:gd name="T30" fmla="*/ 874 w 941"/>
              <a:gd name="T31" fmla="*/ 208 h 941"/>
              <a:gd name="T32" fmla="*/ 791 w 941"/>
              <a:gd name="T33" fmla="*/ 334 h 941"/>
              <a:gd name="T34" fmla="*/ 941 w 941"/>
              <a:gd name="T35" fmla="*/ 363 h 941"/>
              <a:gd name="T36" fmla="*/ 803 w 941"/>
              <a:gd name="T37" fmla="*/ 571 h 941"/>
              <a:gd name="T38" fmla="*/ 780 w 941"/>
              <a:gd name="T39" fmla="*/ 627 h 941"/>
              <a:gd name="T40" fmla="*/ 733 w 941"/>
              <a:gd name="T41" fmla="*/ 875 h 941"/>
              <a:gd name="T42" fmla="*/ 607 w 941"/>
              <a:gd name="T43" fmla="*/ 789 h 941"/>
              <a:gd name="T44" fmla="*/ 578 w 941"/>
              <a:gd name="T45" fmla="*/ 941 h 941"/>
              <a:gd name="T46" fmla="*/ 370 w 941"/>
              <a:gd name="T47" fmla="*/ 803 h 941"/>
              <a:gd name="T48" fmla="*/ 312 w 941"/>
              <a:gd name="T49" fmla="*/ 781 h 941"/>
              <a:gd name="T50" fmla="*/ 66 w 941"/>
              <a:gd name="T51" fmla="*/ 732 h 941"/>
              <a:gd name="T52" fmla="*/ 152 w 941"/>
              <a:gd name="T53" fmla="*/ 606 h 941"/>
              <a:gd name="T54" fmla="*/ 0 w 941"/>
              <a:gd name="T55" fmla="*/ 578 h 941"/>
              <a:gd name="T56" fmla="*/ 138 w 941"/>
              <a:gd name="T57" fmla="*/ 370 h 941"/>
              <a:gd name="T58" fmla="*/ 161 w 941"/>
              <a:gd name="T59" fmla="*/ 313 h 941"/>
              <a:gd name="T60" fmla="*/ 209 w 941"/>
              <a:gd name="T61" fmla="*/ 67 h 941"/>
              <a:gd name="T62" fmla="*/ 333 w 941"/>
              <a:gd name="T63" fmla="*/ 150 h 941"/>
              <a:gd name="T64" fmla="*/ 363 w 941"/>
              <a:gd name="T65"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1" h="941">
                <a:moveTo>
                  <a:pt x="471" y="339"/>
                </a:moveTo>
                <a:lnTo>
                  <a:pt x="436" y="343"/>
                </a:lnTo>
                <a:lnTo>
                  <a:pt x="405" y="356"/>
                </a:lnTo>
                <a:lnTo>
                  <a:pt x="377" y="377"/>
                </a:lnTo>
                <a:lnTo>
                  <a:pt x="356" y="404"/>
                </a:lnTo>
                <a:lnTo>
                  <a:pt x="344" y="435"/>
                </a:lnTo>
                <a:lnTo>
                  <a:pt x="339" y="470"/>
                </a:lnTo>
                <a:lnTo>
                  <a:pt x="344" y="505"/>
                </a:lnTo>
                <a:lnTo>
                  <a:pt x="356" y="536"/>
                </a:lnTo>
                <a:lnTo>
                  <a:pt x="377" y="564"/>
                </a:lnTo>
                <a:lnTo>
                  <a:pt x="405" y="583"/>
                </a:lnTo>
                <a:lnTo>
                  <a:pt x="436" y="597"/>
                </a:lnTo>
                <a:lnTo>
                  <a:pt x="471" y="603"/>
                </a:lnTo>
                <a:lnTo>
                  <a:pt x="506" y="597"/>
                </a:lnTo>
                <a:lnTo>
                  <a:pt x="538" y="583"/>
                </a:lnTo>
                <a:lnTo>
                  <a:pt x="564" y="564"/>
                </a:lnTo>
                <a:lnTo>
                  <a:pt x="585" y="536"/>
                </a:lnTo>
                <a:lnTo>
                  <a:pt x="599" y="505"/>
                </a:lnTo>
                <a:lnTo>
                  <a:pt x="602" y="470"/>
                </a:lnTo>
                <a:lnTo>
                  <a:pt x="599" y="435"/>
                </a:lnTo>
                <a:lnTo>
                  <a:pt x="585" y="404"/>
                </a:lnTo>
                <a:lnTo>
                  <a:pt x="564" y="377"/>
                </a:lnTo>
                <a:lnTo>
                  <a:pt x="538" y="356"/>
                </a:lnTo>
                <a:lnTo>
                  <a:pt x="506" y="343"/>
                </a:lnTo>
                <a:lnTo>
                  <a:pt x="471" y="339"/>
                </a:lnTo>
                <a:close/>
                <a:moveTo>
                  <a:pt x="363" y="0"/>
                </a:moveTo>
                <a:lnTo>
                  <a:pt x="571" y="0"/>
                </a:lnTo>
                <a:lnTo>
                  <a:pt x="571" y="138"/>
                </a:lnTo>
                <a:lnTo>
                  <a:pt x="600" y="147"/>
                </a:lnTo>
                <a:lnTo>
                  <a:pt x="628" y="161"/>
                </a:lnTo>
                <a:lnTo>
                  <a:pt x="728" y="61"/>
                </a:lnTo>
                <a:lnTo>
                  <a:pt x="874" y="208"/>
                </a:lnTo>
                <a:lnTo>
                  <a:pt x="777" y="306"/>
                </a:lnTo>
                <a:lnTo>
                  <a:pt x="791" y="334"/>
                </a:lnTo>
                <a:lnTo>
                  <a:pt x="801" y="363"/>
                </a:lnTo>
                <a:lnTo>
                  <a:pt x="941" y="363"/>
                </a:lnTo>
                <a:lnTo>
                  <a:pt x="941" y="571"/>
                </a:lnTo>
                <a:lnTo>
                  <a:pt x="803" y="571"/>
                </a:lnTo>
                <a:lnTo>
                  <a:pt x="792" y="599"/>
                </a:lnTo>
                <a:lnTo>
                  <a:pt x="780" y="627"/>
                </a:lnTo>
                <a:lnTo>
                  <a:pt x="880" y="727"/>
                </a:lnTo>
                <a:lnTo>
                  <a:pt x="733" y="875"/>
                </a:lnTo>
                <a:lnTo>
                  <a:pt x="635" y="777"/>
                </a:lnTo>
                <a:lnTo>
                  <a:pt x="607" y="789"/>
                </a:lnTo>
                <a:lnTo>
                  <a:pt x="578" y="800"/>
                </a:lnTo>
                <a:lnTo>
                  <a:pt x="578" y="941"/>
                </a:lnTo>
                <a:lnTo>
                  <a:pt x="370" y="941"/>
                </a:lnTo>
                <a:lnTo>
                  <a:pt x="370" y="803"/>
                </a:lnTo>
                <a:lnTo>
                  <a:pt x="340" y="793"/>
                </a:lnTo>
                <a:lnTo>
                  <a:pt x="312" y="781"/>
                </a:lnTo>
                <a:lnTo>
                  <a:pt x="215" y="878"/>
                </a:lnTo>
                <a:lnTo>
                  <a:pt x="66" y="732"/>
                </a:lnTo>
                <a:lnTo>
                  <a:pt x="164" y="634"/>
                </a:lnTo>
                <a:lnTo>
                  <a:pt x="152" y="606"/>
                </a:lnTo>
                <a:lnTo>
                  <a:pt x="140" y="578"/>
                </a:lnTo>
                <a:lnTo>
                  <a:pt x="0" y="578"/>
                </a:lnTo>
                <a:lnTo>
                  <a:pt x="0" y="370"/>
                </a:lnTo>
                <a:lnTo>
                  <a:pt x="138" y="370"/>
                </a:lnTo>
                <a:lnTo>
                  <a:pt x="148" y="341"/>
                </a:lnTo>
                <a:lnTo>
                  <a:pt x="161" y="313"/>
                </a:lnTo>
                <a:lnTo>
                  <a:pt x="61" y="213"/>
                </a:lnTo>
                <a:lnTo>
                  <a:pt x="209" y="67"/>
                </a:lnTo>
                <a:lnTo>
                  <a:pt x="307" y="164"/>
                </a:lnTo>
                <a:lnTo>
                  <a:pt x="333" y="150"/>
                </a:lnTo>
                <a:lnTo>
                  <a:pt x="363" y="140"/>
                </a:lnTo>
                <a:lnTo>
                  <a:pt x="363" y="0"/>
                </a:lnTo>
                <a:close/>
              </a:path>
            </a:pathLst>
          </a:custGeom>
          <a:solidFill>
            <a:srgbClr val="009A4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4" name="Rounded Rectangle 13"/>
          <p:cNvSpPr/>
          <p:nvPr/>
        </p:nvSpPr>
        <p:spPr bwMode="gray">
          <a:xfrm>
            <a:off x="4542007" y="3370363"/>
            <a:ext cx="374729" cy="1370272"/>
          </a:xfrm>
          <a:prstGeom prst="roundRect">
            <a:avLst>
              <a:gd name="adj" fmla="val 50000"/>
            </a:avLst>
          </a:prstGeom>
          <a:noFill/>
          <a:ln w="19050" algn="ctr">
            <a:solidFill>
              <a:srgbClr val="75787B"/>
            </a:solidFill>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15" name="Freeform 9"/>
          <p:cNvSpPr>
            <a:spLocks noEditPoints="1"/>
          </p:cNvSpPr>
          <p:nvPr/>
        </p:nvSpPr>
        <p:spPr bwMode="auto">
          <a:xfrm>
            <a:off x="4478934" y="4295973"/>
            <a:ext cx="511822" cy="490855"/>
          </a:xfrm>
          <a:custGeom>
            <a:avLst/>
            <a:gdLst>
              <a:gd name="T0" fmla="*/ 378 w 830"/>
              <a:gd name="T1" fmla="*/ 290 h 796"/>
              <a:gd name="T2" fmla="*/ 321 w 830"/>
              <a:gd name="T3" fmla="*/ 323 h 796"/>
              <a:gd name="T4" fmla="*/ 288 w 830"/>
              <a:gd name="T5" fmla="*/ 381 h 796"/>
              <a:gd name="T6" fmla="*/ 288 w 830"/>
              <a:gd name="T7" fmla="*/ 450 h 796"/>
              <a:gd name="T8" fmla="*/ 321 w 830"/>
              <a:gd name="T9" fmla="*/ 508 h 796"/>
              <a:gd name="T10" fmla="*/ 378 w 830"/>
              <a:gd name="T11" fmla="*/ 543 h 796"/>
              <a:gd name="T12" fmla="*/ 448 w 830"/>
              <a:gd name="T13" fmla="*/ 543 h 796"/>
              <a:gd name="T14" fmla="*/ 506 w 830"/>
              <a:gd name="T15" fmla="*/ 508 h 796"/>
              <a:gd name="T16" fmla="*/ 541 w 830"/>
              <a:gd name="T17" fmla="*/ 450 h 796"/>
              <a:gd name="T18" fmla="*/ 541 w 830"/>
              <a:gd name="T19" fmla="*/ 381 h 796"/>
              <a:gd name="T20" fmla="*/ 506 w 830"/>
              <a:gd name="T21" fmla="*/ 323 h 796"/>
              <a:gd name="T22" fmla="*/ 448 w 830"/>
              <a:gd name="T23" fmla="*/ 290 h 796"/>
              <a:gd name="T24" fmla="*/ 357 w 830"/>
              <a:gd name="T25" fmla="*/ 0 h 796"/>
              <a:gd name="T26" fmla="*/ 490 w 830"/>
              <a:gd name="T27" fmla="*/ 5 h 796"/>
              <a:gd name="T28" fmla="*/ 506 w 830"/>
              <a:gd name="T29" fmla="*/ 31 h 796"/>
              <a:gd name="T30" fmla="*/ 553 w 830"/>
              <a:gd name="T31" fmla="*/ 145 h 796"/>
              <a:gd name="T32" fmla="*/ 633 w 830"/>
              <a:gd name="T33" fmla="*/ 204 h 796"/>
              <a:gd name="T34" fmla="*/ 754 w 830"/>
              <a:gd name="T35" fmla="*/ 215 h 796"/>
              <a:gd name="T36" fmla="*/ 785 w 830"/>
              <a:gd name="T37" fmla="*/ 222 h 796"/>
              <a:gd name="T38" fmla="*/ 829 w 830"/>
              <a:gd name="T39" fmla="*/ 346 h 796"/>
              <a:gd name="T40" fmla="*/ 823 w 830"/>
              <a:gd name="T41" fmla="*/ 377 h 796"/>
              <a:gd name="T42" fmla="*/ 721 w 830"/>
              <a:gd name="T43" fmla="*/ 414 h 796"/>
              <a:gd name="T44" fmla="*/ 715 w 830"/>
              <a:gd name="T45" fmla="*/ 470 h 796"/>
              <a:gd name="T46" fmla="*/ 684 w 830"/>
              <a:gd name="T47" fmla="*/ 562 h 796"/>
              <a:gd name="T48" fmla="*/ 712 w 830"/>
              <a:gd name="T49" fmla="*/ 679 h 796"/>
              <a:gd name="T50" fmla="*/ 715 w 830"/>
              <a:gd name="T51" fmla="*/ 709 h 796"/>
              <a:gd name="T52" fmla="*/ 611 w 830"/>
              <a:gd name="T53" fmla="*/ 791 h 796"/>
              <a:gd name="T54" fmla="*/ 579 w 830"/>
              <a:gd name="T55" fmla="*/ 794 h 796"/>
              <a:gd name="T56" fmla="*/ 511 w 830"/>
              <a:gd name="T57" fmla="*/ 707 h 796"/>
              <a:gd name="T58" fmla="*/ 413 w 830"/>
              <a:gd name="T59" fmla="*/ 723 h 796"/>
              <a:gd name="T60" fmla="*/ 312 w 830"/>
              <a:gd name="T61" fmla="*/ 705 h 796"/>
              <a:gd name="T62" fmla="*/ 246 w 830"/>
              <a:gd name="T63" fmla="*/ 791 h 796"/>
              <a:gd name="T64" fmla="*/ 214 w 830"/>
              <a:gd name="T65" fmla="*/ 787 h 796"/>
              <a:gd name="T66" fmla="*/ 110 w 830"/>
              <a:gd name="T67" fmla="*/ 707 h 796"/>
              <a:gd name="T68" fmla="*/ 113 w 830"/>
              <a:gd name="T69" fmla="*/ 676 h 796"/>
              <a:gd name="T70" fmla="*/ 143 w 830"/>
              <a:gd name="T71" fmla="*/ 559 h 796"/>
              <a:gd name="T72" fmla="*/ 113 w 830"/>
              <a:gd name="T73" fmla="*/ 468 h 796"/>
              <a:gd name="T74" fmla="*/ 108 w 830"/>
              <a:gd name="T75" fmla="*/ 410 h 796"/>
              <a:gd name="T76" fmla="*/ 7 w 830"/>
              <a:gd name="T77" fmla="*/ 372 h 796"/>
              <a:gd name="T78" fmla="*/ 0 w 830"/>
              <a:gd name="T79" fmla="*/ 342 h 796"/>
              <a:gd name="T80" fmla="*/ 45 w 830"/>
              <a:gd name="T81" fmla="*/ 218 h 796"/>
              <a:gd name="T82" fmla="*/ 75 w 830"/>
              <a:gd name="T83" fmla="*/ 211 h 796"/>
              <a:gd name="T84" fmla="*/ 197 w 830"/>
              <a:gd name="T85" fmla="*/ 203 h 796"/>
              <a:gd name="T86" fmla="*/ 279 w 830"/>
              <a:gd name="T87" fmla="*/ 143 h 796"/>
              <a:gd name="T88" fmla="*/ 326 w 830"/>
              <a:gd name="T89" fmla="*/ 31 h 796"/>
              <a:gd name="T90" fmla="*/ 342 w 830"/>
              <a:gd name="T91" fmla="*/ 5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0" h="796">
                <a:moveTo>
                  <a:pt x="413" y="285"/>
                </a:moveTo>
                <a:lnTo>
                  <a:pt x="378" y="290"/>
                </a:lnTo>
                <a:lnTo>
                  <a:pt x="349" y="304"/>
                </a:lnTo>
                <a:lnTo>
                  <a:pt x="321" y="323"/>
                </a:lnTo>
                <a:lnTo>
                  <a:pt x="302" y="349"/>
                </a:lnTo>
                <a:lnTo>
                  <a:pt x="288" y="381"/>
                </a:lnTo>
                <a:lnTo>
                  <a:pt x="282" y="416"/>
                </a:lnTo>
                <a:lnTo>
                  <a:pt x="288" y="450"/>
                </a:lnTo>
                <a:lnTo>
                  <a:pt x="302" y="482"/>
                </a:lnTo>
                <a:lnTo>
                  <a:pt x="321" y="508"/>
                </a:lnTo>
                <a:lnTo>
                  <a:pt x="349" y="529"/>
                </a:lnTo>
                <a:lnTo>
                  <a:pt x="378" y="543"/>
                </a:lnTo>
                <a:lnTo>
                  <a:pt x="413" y="546"/>
                </a:lnTo>
                <a:lnTo>
                  <a:pt x="448" y="543"/>
                </a:lnTo>
                <a:lnTo>
                  <a:pt x="480" y="529"/>
                </a:lnTo>
                <a:lnTo>
                  <a:pt x="506" y="508"/>
                </a:lnTo>
                <a:lnTo>
                  <a:pt x="527" y="482"/>
                </a:lnTo>
                <a:lnTo>
                  <a:pt x="541" y="450"/>
                </a:lnTo>
                <a:lnTo>
                  <a:pt x="544" y="416"/>
                </a:lnTo>
                <a:lnTo>
                  <a:pt x="541" y="381"/>
                </a:lnTo>
                <a:lnTo>
                  <a:pt x="527" y="349"/>
                </a:lnTo>
                <a:lnTo>
                  <a:pt x="506" y="323"/>
                </a:lnTo>
                <a:lnTo>
                  <a:pt x="480" y="304"/>
                </a:lnTo>
                <a:lnTo>
                  <a:pt x="448" y="290"/>
                </a:lnTo>
                <a:lnTo>
                  <a:pt x="413" y="285"/>
                </a:lnTo>
                <a:close/>
                <a:moveTo>
                  <a:pt x="357" y="0"/>
                </a:moveTo>
                <a:lnTo>
                  <a:pt x="474" y="0"/>
                </a:lnTo>
                <a:lnTo>
                  <a:pt x="490" y="5"/>
                </a:lnTo>
                <a:lnTo>
                  <a:pt x="501" y="16"/>
                </a:lnTo>
                <a:lnTo>
                  <a:pt x="506" y="31"/>
                </a:lnTo>
                <a:lnTo>
                  <a:pt x="506" y="126"/>
                </a:lnTo>
                <a:lnTo>
                  <a:pt x="553" y="145"/>
                </a:lnTo>
                <a:lnTo>
                  <a:pt x="597" y="171"/>
                </a:lnTo>
                <a:lnTo>
                  <a:pt x="633" y="204"/>
                </a:lnTo>
                <a:lnTo>
                  <a:pt x="666" y="244"/>
                </a:lnTo>
                <a:lnTo>
                  <a:pt x="754" y="215"/>
                </a:lnTo>
                <a:lnTo>
                  <a:pt x="771" y="215"/>
                </a:lnTo>
                <a:lnTo>
                  <a:pt x="785" y="222"/>
                </a:lnTo>
                <a:lnTo>
                  <a:pt x="794" y="236"/>
                </a:lnTo>
                <a:lnTo>
                  <a:pt x="829" y="346"/>
                </a:lnTo>
                <a:lnTo>
                  <a:pt x="830" y="363"/>
                </a:lnTo>
                <a:lnTo>
                  <a:pt x="823" y="377"/>
                </a:lnTo>
                <a:lnTo>
                  <a:pt x="810" y="386"/>
                </a:lnTo>
                <a:lnTo>
                  <a:pt x="721" y="414"/>
                </a:lnTo>
                <a:lnTo>
                  <a:pt x="721" y="417"/>
                </a:lnTo>
                <a:lnTo>
                  <a:pt x="715" y="470"/>
                </a:lnTo>
                <a:lnTo>
                  <a:pt x="703" y="517"/>
                </a:lnTo>
                <a:lnTo>
                  <a:pt x="684" y="562"/>
                </a:lnTo>
                <a:lnTo>
                  <a:pt x="656" y="602"/>
                </a:lnTo>
                <a:lnTo>
                  <a:pt x="712" y="679"/>
                </a:lnTo>
                <a:lnTo>
                  <a:pt x="717" y="693"/>
                </a:lnTo>
                <a:lnTo>
                  <a:pt x="715" y="709"/>
                </a:lnTo>
                <a:lnTo>
                  <a:pt x="705" y="723"/>
                </a:lnTo>
                <a:lnTo>
                  <a:pt x="611" y="791"/>
                </a:lnTo>
                <a:lnTo>
                  <a:pt x="595" y="796"/>
                </a:lnTo>
                <a:lnTo>
                  <a:pt x="579" y="794"/>
                </a:lnTo>
                <a:lnTo>
                  <a:pt x="567" y="784"/>
                </a:lnTo>
                <a:lnTo>
                  <a:pt x="511" y="707"/>
                </a:lnTo>
                <a:lnTo>
                  <a:pt x="464" y="719"/>
                </a:lnTo>
                <a:lnTo>
                  <a:pt x="413" y="723"/>
                </a:lnTo>
                <a:lnTo>
                  <a:pt x="363" y="719"/>
                </a:lnTo>
                <a:lnTo>
                  <a:pt x="312" y="705"/>
                </a:lnTo>
                <a:lnTo>
                  <a:pt x="258" y="780"/>
                </a:lnTo>
                <a:lnTo>
                  <a:pt x="246" y="791"/>
                </a:lnTo>
                <a:lnTo>
                  <a:pt x="230" y="794"/>
                </a:lnTo>
                <a:lnTo>
                  <a:pt x="214" y="787"/>
                </a:lnTo>
                <a:lnTo>
                  <a:pt x="120" y="719"/>
                </a:lnTo>
                <a:lnTo>
                  <a:pt x="110" y="707"/>
                </a:lnTo>
                <a:lnTo>
                  <a:pt x="108" y="691"/>
                </a:lnTo>
                <a:lnTo>
                  <a:pt x="113" y="676"/>
                </a:lnTo>
                <a:lnTo>
                  <a:pt x="169" y="599"/>
                </a:lnTo>
                <a:lnTo>
                  <a:pt x="143" y="559"/>
                </a:lnTo>
                <a:lnTo>
                  <a:pt x="124" y="515"/>
                </a:lnTo>
                <a:lnTo>
                  <a:pt x="113" y="468"/>
                </a:lnTo>
                <a:lnTo>
                  <a:pt x="108" y="417"/>
                </a:lnTo>
                <a:lnTo>
                  <a:pt x="108" y="410"/>
                </a:lnTo>
                <a:lnTo>
                  <a:pt x="21" y="381"/>
                </a:lnTo>
                <a:lnTo>
                  <a:pt x="7" y="372"/>
                </a:lnTo>
                <a:lnTo>
                  <a:pt x="0" y="358"/>
                </a:lnTo>
                <a:lnTo>
                  <a:pt x="0" y="342"/>
                </a:lnTo>
                <a:lnTo>
                  <a:pt x="36" y="230"/>
                </a:lnTo>
                <a:lnTo>
                  <a:pt x="45" y="218"/>
                </a:lnTo>
                <a:lnTo>
                  <a:pt x="59" y="210"/>
                </a:lnTo>
                <a:lnTo>
                  <a:pt x="75" y="211"/>
                </a:lnTo>
                <a:lnTo>
                  <a:pt x="165" y="241"/>
                </a:lnTo>
                <a:lnTo>
                  <a:pt x="197" y="203"/>
                </a:lnTo>
                <a:lnTo>
                  <a:pt x="235" y="169"/>
                </a:lnTo>
                <a:lnTo>
                  <a:pt x="279" y="143"/>
                </a:lnTo>
                <a:lnTo>
                  <a:pt x="326" y="124"/>
                </a:lnTo>
                <a:lnTo>
                  <a:pt x="326" y="31"/>
                </a:lnTo>
                <a:lnTo>
                  <a:pt x="331" y="16"/>
                </a:lnTo>
                <a:lnTo>
                  <a:pt x="342" y="5"/>
                </a:lnTo>
                <a:lnTo>
                  <a:pt x="357" y="0"/>
                </a:lnTo>
                <a:close/>
              </a:path>
            </a:pathLst>
          </a:custGeom>
          <a:solidFill>
            <a:srgbClr val="86BC2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6" name="Freeform 8"/>
          <p:cNvSpPr>
            <a:spLocks noEditPoints="1"/>
          </p:cNvSpPr>
          <p:nvPr/>
        </p:nvSpPr>
        <p:spPr bwMode="auto">
          <a:xfrm rot="20515286">
            <a:off x="8024809" y="5088512"/>
            <a:ext cx="947737" cy="947737"/>
          </a:xfrm>
          <a:custGeom>
            <a:avLst/>
            <a:gdLst>
              <a:gd name="T0" fmla="*/ 509 w 1815"/>
              <a:gd name="T1" fmla="*/ 1367 h 1816"/>
              <a:gd name="T2" fmla="*/ 691 w 1815"/>
              <a:gd name="T3" fmla="*/ 1476 h 1816"/>
              <a:gd name="T4" fmla="*/ 907 w 1815"/>
              <a:gd name="T5" fmla="*/ 1516 h 1816"/>
              <a:gd name="T6" fmla="*/ 1124 w 1815"/>
              <a:gd name="T7" fmla="*/ 1476 h 1816"/>
              <a:gd name="T8" fmla="*/ 1305 w 1815"/>
              <a:gd name="T9" fmla="*/ 1367 h 1816"/>
              <a:gd name="T10" fmla="*/ 874 w 1815"/>
              <a:gd name="T11" fmla="*/ 1078 h 1816"/>
              <a:gd name="T12" fmla="*/ 855 w 1815"/>
              <a:gd name="T13" fmla="*/ 838 h 1816"/>
              <a:gd name="T14" fmla="*/ 820 w 1815"/>
              <a:gd name="T15" fmla="*/ 908 h 1816"/>
              <a:gd name="T16" fmla="*/ 855 w 1815"/>
              <a:gd name="T17" fmla="*/ 978 h 1816"/>
              <a:gd name="T18" fmla="*/ 933 w 1815"/>
              <a:gd name="T19" fmla="*/ 990 h 1816"/>
              <a:gd name="T20" fmla="*/ 989 w 1815"/>
              <a:gd name="T21" fmla="*/ 936 h 1816"/>
              <a:gd name="T22" fmla="*/ 977 w 1815"/>
              <a:gd name="T23" fmla="*/ 858 h 1816"/>
              <a:gd name="T24" fmla="*/ 907 w 1815"/>
              <a:gd name="T25" fmla="*/ 821 h 1816"/>
              <a:gd name="T26" fmla="*/ 1054 w 1815"/>
              <a:gd name="T27" fmla="*/ 842 h 1816"/>
              <a:gd name="T28" fmla="*/ 1511 w 1815"/>
              <a:gd name="T29" fmla="*/ 971 h 1816"/>
              <a:gd name="T30" fmla="*/ 1495 w 1815"/>
              <a:gd name="T31" fmla="*/ 755 h 1816"/>
              <a:gd name="T32" fmla="*/ 1401 w 1815"/>
              <a:gd name="T33" fmla="*/ 554 h 1816"/>
              <a:gd name="T34" fmla="*/ 1242 w 1815"/>
              <a:gd name="T35" fmla="*/ 402 h 1816"/>
              <a:gd name="T36" fmla="*/ 1036 w 1815"/>
              <a:gd name="T37" fmla="*/ 315 h 1816"/>
              <a:gd name="T38" fmla="*/ 635 w 1815"/>
              <a:gd name="T39" fmla="*/ 365 h 1816"/>
              <a:gd name="T40" fmla="*/ 460 w 1815"/>
              <a:gd name="T41" fmla="*/ 496 h 1816"/>
              <a:gd name="T42" fmla="*/ 342 w 1815"/>
              <a:gd name="T43" fmla="*/ 683 h 1816"/>
              <a:gd name="T44" fmla="*/ 300 w 1815"/>
              <a:gd name="T45" fmla="*/ 908 h 1816"/>
              <a:gd name="T46" fmla="*/ 328 w 1815"/>
              <a:gd name="T47" fmla="*/ 1091 h 1816"/>
              <a:gd name="T48" fmla="*/ 776 w 1815"/>
              <a:gd name="T49" fmla="*/ 315 h 1816"/>
              <a:gd name="T50" fmla="*/ 1064 w 1815"/>
              <a:gd name="T51" fmla="*/ 163 h 1816"/>
              <a:gd name="T52" fmla="*/ 1251 w 1815"/>
              <a:gd name="T53" fmla="*/ 229 h 1816"/>
              <a:gd name="T54" fmla="*/ 1659 w 1815"/>
              <a:gd name="T55" fmla="*/ 377 h 1816"/>
              <a:gd name="T56" fmla="*/ 1623 w 1815"/>
              <a:gd name="T57" fmla="*/ 650 h 1816"/>
              <a:gd name="T58" fmla="*/ 1815 w 1815"/>
              <a:gd name="T59" fmla="*/ 1065 h 1816"/>
              <a:gd name="T60" fmla="*/ 1612 w 1815"/>
              <a:gd name="T61" fmla="*/ 1193 h 1816"/>
              <a:gd name="T62" fmla="*/ 1672 w 1815"/>
              <a:gd name="T63" fmla="*/ 1427 h 1816"/>
              <a:gd name="T64" fmla="*/ 1265 w 1815"/>
              <a:gd name="T65" fmla="*/ 1579 h 1816"/>
              <a:gd name="T66" fmla="*/ 1080 w 1815"/>
              <a:gd name="T67" fmla="*/ 1648 h 1816"/>
              <a:gd name="T68" fmla="*/ 748 w 1815"/>
              <a:gd name="T69" fmla="*/ 1652 h 1816"/>
              <a:gd name="T70" fmla="*/ 563 w 1815"/>
              <a:gd name="T71" fmla="*/ 1586 h 1816"/>
              <a:gd name="T72" fmla="*/ 153 w 1815"/>
              <a:gd name="T73" fmla="*/ 1439 h 1816"/>
              <a:gd name="T74" fmla="*/ 192 w 1815"/>
              <a:gd name="T75" fmla="*/ 1167 h 1816"/>
              <a:gd name="T76" fmla="*/ 0 w 1815"/>
              <a:gd name="T77" fmla="*/ 751 h 1816"/>
              <a:gd name="T78" fmla="*/ 202 w 1815"/>
              <a:gd name="T79" fmla="*/ 624 h 1816"/>
              <a:gd name="T80" fmla="*/ 143 w 1815"/>
              <a:gd name="T81" fmla="*/ 390 h 1816"/>
              <a:gd name="T82" fmla="*/ 567 w 1815"/>
              <a:gd name="T83" fmla="*/ 227 h 1816"/>
              <a:gd name="T84" fmla="*/ 733 w 1815"/>
              <a:gd name="T85" fmla="*/ 0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5" h="1816">
                <a:moveTo>
                  <a:pt x="874" y="1078"/>
                </a:moveTo>
                <a:lnTo>
                  <a:pt x="459" y="1317"/>
                </a:lnTo>
                <a:lnTo>
                  <a:pt x="509" y="1367"/>
                </a:lnTo>
                <a:lnTo>
                  <a:pt x="565" y="1409"/>
                </a:lnTo>
                <a:lnTo>
                  <a:pt x="626" y="1446"/>
                </a:lnTo>
                <a:lnTo>
                  <a:pt x="691" y="1476"/>
                </a:lnTo>
                <a:lnTo>
                  <a:pt x="759" y="1498"/>
                </a:lnTo>
                <a:lnTo>
                  <a:pt x="832" y="1510"/>
                </a:lnTo>
                <a:lnTo>
                  <a:pt x="907" y="1516"/>
                </a:lnTo>
                <a:lnTo>
                  <a:pt x="982" y="1510"/>
                </a:lnTo>
                <a:lnTo>
                  <a:pt x="1054" y="1498"/>
                </a:lnTo>
                <a:lnTo>
                  <a:pt x="1124" y="1476"/>
                </a:lnTo>
                <a:lnTo>
                  <a:pt x="1188" y="1446"/>
                </a:lnTo>
                <a:lnTo>
                  <a:pt x="1249" y="1409"/>
                </a:lnTo>
                <a:lnTo>
                  <a:pt x="1305" y="1367"/>
                </a:lnTo>
                <a:lnTo>
                  <a:pt x="1356" y="1317"/>
                </a:lnTo>
                <a:lnTo>
                  <a:pt x="940" y="1078"/>
                </a:lnTo>
                <a:lnTo>
                  <a:pt x="874" y="1078"/>
                </a:lnTo>
                <a:close/>
                <a:moveTo>
                  <a:pt x="907" y="821"/>
                </a:moveTo>
                <a:lnTo>
                  <a:pt x="879" y="826"/>
                </a:lnTo>
                <a:lnTo>
                  <a:pt x="855" y="838"/>
                </a:lnTo>
                <a:lnTo>
                  <a:pt x="837" y="858"/>
                </a:lnTo>
                <a:lnTo>
                  <a:pt x="825" y="880"/>
                </a:lnTo>
                <a:lnTo>
                  <a:pt x="820" y="908"/>
                </a:lnTo>
                <a:lnTo>
                  <a:pt x="825" y="936"/>
                </a:lnTo>
                <a:lnTo>
                  <a:pt x="837" y="959"/>
                </a:lnTo>
                <a:lnTo>
                  <a:pt x="855" y="978"/>
                </a:lnTo>
                <a:lnTo>
                  <a:pt x="879" y="990"/>
                </a:lnTo>
                <a:lnTo>
                  <a:pt x="907" y="995"/>
                </a:lnTo>
                <a:lnTo>
                  <a:pt x="933" y="990"/>
                </a:lnTo>
                <a:lnTo>
                  <a:pt x="958" y="978"/>
                </a:lnTo>
                <a:lnTo>
                  <a:pt x="977" y="959"/>
                </a:lnTo>
                <a:lnTo>
                  <a:pt x="989" y="936"/>
                </a:lnTo>
                <a:lnTo>
                  <a:pt x="993" y="908"/>
                </a:lnTo>
                <a:lnTo>
                  <a:pt x="989" y="880"/>
                </a:lnTo>
                <a:lnTo>
                  <a:pt x="977" y="858"/>
                </a:lnTo>
                <a:lnTo>
                  <a:pt x="958" y="838"/>
                </a:lnTo>
                <a:lnTo>
                  <a:pt x="933" y="826"/>
                </a:lnTo>
                <a:lnTo>
                  <a:pt x="907" y="821"/>
                </a:lnTo>
                <a:close/>
                <a:moveTo>
                  <a:pt x="1036" y="315"/>
                </a:moveTo>
                <a:lnTo>
                  <a:pt x="1036" y="814"/>
                </a:lnTo>
                <a:lnTo>
                  <a:pt x="1054" y="842"/>
                </a:lnTo>
                <a:lnTo>
                  <a:pt x="1485" y="1091"/>
                </a:lnTo>
                <a:lnTo>
                  <a:pt x="1501" y="1032"/>
                </a:lnTo>
                <a:lnTo>
                  <a:pt x="1511" y="971"/>
                </a:lnTo>
                <a:lnTo>
                  <a:pt x="1515" y="908"/>
                </a:lnTo>
                <a:lnTo>
                  <a:pt x="1509" y="830"/>
                </a:lnTo>
                <a:lnTo>
                  <a:pt x="1495" y="755"/>
                </a:lnTo>
                <a:lnTo>
                  <a:pt x="1471" y="683"/>
                </a:lnTo>
                <a:lnTo>
                  <a:pt x="1440" y="617"/>
                </a:lnTo>
                <a:lnTo>
                  <a:pt x="1401" y="554"/>
                </a:lnTo>
                <a:lnTo>
                  <a:pt x="1354" y="496"/>
                </a:lnTo>
                <a:lnTo>
                  <a:pt x="1302" y="446"/>
                </a:lnTo>
                <a:lnTo>
                  <a:pt x="1242" y="402"/>
                </a:lnTo>
                <a:lnTo>
                  <a:pt x="1178" y="365"/>
                </a:lnTo>
                <a:lnTo>
                  <a:pt x="1110" y="336"/>
                </a:lnTo>
                <a:lnTo>
                  <a:pt x="1036" y="315"/>
                </a:lnTo>
                <a:close/>
                <a:moveTo>
                  <a:pt x="776" y="315"/>
                </a:moveTo>
                <a:lnTo>
                  <a:pt x="705" y="336"/>
                </a:lnTo>
                <a:lnTo>
                  <a:pt x="635" y="365"/>
                </a:lnTo>
                <a:lnTo>
                  <a:pt x="572" y="402"/>
                </a:lnTo>
                <a:lnTo>
                  <a:pt x="513" y="446"/>
                </a:lnTo>
                <a:lnTo>
                  <a:pt x="460" y="496"/>
                </a:lnTo>
                <a:lnTo>
                  <a:pt x="413" y="554"/>
                </a:lnTo>
                <a:lnTo>
                  <a:pt x="373" y="617"/>
                </a:lnTo>
                <a:lnTo>
                  <a:pt x="342" y="683"/>
                </a:lnTo>
                <a:lnTo>
                  <a:pt x="319" y="755"/>
                </a:lnTo>
                <a:lnTo>
                  <a:pt x="305" y="830"/>
                </a:lnTo>
                <a:lnTo>
                  <a:pt x="300" y="908"/>
                </a:lnTo>
                <a:lnTo>
                  <a:pt x="303" y="971"/>
                </a:lnTo>
                <a:lnTo>
                  <a:pt x="312" y="1032"/>
                </a:lnTo>
                <a:lnTo>
                  <a:pt x="328" y="1091"/>
                </a:lnTo>
                <a:lnTo>
                  <a:pt x="752" y="847"/>
                </a:lnTo>
                <a:lnTo>
                  <a:pt x="776" y="803"/>
                </a:lnTo>
                <a:lnTo>
                  <a:pt x="776" y="315"/>
                </a:lnTo>
                <a:close/>
                <a:moveTo>
                  <a:pt x="733" y="0"/>
                </a:moveTo>
                <a:lnTo>
                  <a:pt x="1064" y="0"/>
                </a:lnTo>
                <a:lnTo>
                  <a:pt x="1064" y="163"/>
                </a:lnTo>
                <a:lnTo>
                  <a:pt x="1129" y="180"/>
                </a:lnTo>
                <a:lnTo>
                  <a:pt x="1192" y="203"/>
                </a:lnTo>
                <a:lnTo>
                  <a:pt x="1251" y="229"/>
                </a:lnTo>
                <a:lnTo>
                  <a:pt x="1307" y="262"/>
                </a:lnTo>
                <a:lnTo>
                  <a:pt x="1426" y="144"/>
                </a:lnTo>
                <a:lnTo>
                  <a:pt x="1659" y="377"/>
                </a:lnTo>
                <a:lnTo>
                  <a:pt x="1544" y="493"/>
                </a:lnTo>
                <a:lnTo>
                  <a:pt x="1588" y="570"/>
                </a:lnTo>
                <a:lnTo>
                  <a:pt x="1623" y="650"/>
                </a:lnTo>
                <a:lnTo>
                  <a:pt x="1647" y="734"/>
                </a:lnTo>
                <a:lnTo>
                  <a:pt x="1815" y="734"/>
                </a:lnTo>
                <a:lnTo>
                  <a:pt x="1815" y="1065"/>
                </a:lnTo>
                <a:lnTo>
                  <a:pt x="1651" y="1065"/>
                </a:lnTo>
                <a:lnTo>
                  <a:pt x="1635" y="1130"/>
                </a:lnTo>
                <a:lnTo>
                  <a:pt x="1612" y="1193"/>
                </a:lnTo>
                <a:lnTo>
                  <a:pt x="1584" y="1252"/>
                </a:lnTo>
                <a:lnTo>
                  <a:pt x="1553" y="1308"/>
                </a:lnTo>
                <a:lnTo>
                  <a:pt x="1672" y="1427"/>
                </a:lnTo>
                <a:lnTo>
                  <a:pt x="1436" y="1661"/>
                </a:lnTo>
                <a:lnTo>
                  <a:pt x="1321" y="1545"/>
                </a:lnTo>
                <a:lnTo>
                  <a:pt x="1265" y="1579"/>
                </a:lnTo>
                <a:lnTo>
                  <a:pt x="1206" y="1608"/>
                </a:lnTo>
                <a:lnTo>
                  <a:pt x="1145" y="1631"/>
                </a:lnTo>
                <a:lnTo>
                  <a:pt x="1080" y="1648"/>
                </a:lnTo>
                <a:lnTo>
                  <a:pt x="1080" y="1816"/>
                </a:lnTo>
                <a:lnTo>
                  <a:pt x="748" y="1816"/>
                </a:lnTo>
                <a:lnTo>
                  <a:pt x="748" y="1652"/>
                </a:lnTo>
                <a:lnTo>
                  <a:pt x="684" y="1636"/>
                </a:lnTo>
                <a:lnTo>
                  <a:pt x="623" y="1613"/>
                </a:lnTo>
                <a:lnTo>
                  <a:pt x="563" y="1586"/>
                </a:lnTo>
                <a:lnTo>
                  <a:pt x="506" y="1554"/>
                </a:lnTo>
                <a:lnTo>
                  <a:pt x="387" y="1673"/>
                </a:lnTo>
                <a:lnTo>
                  <a:pt x="153" y="1439"/>
                </a:lnTo>
                <a:lnTo>
                  <a:pt x="268" y="1322"/>
                </a:lnTo>
                <a:lnTo>
                  <a:pt x="226" y="1247"/>
                </a:lnTo>
                <a:lnTo>
                  <a:pt x="192" y="1167"/>
                </a:lnTo>
                <a:lnTo>
                  <a:pt x="167" y="1081"/>
                </a:lnTo>
                <a:lnTo>
                  <a:pt x="0" y="1081"/>
                </a:lnTo>
                <a:lnTo>
                  <a:pt x="0" y="751"/>
                </a:lnTo>
                <a:lnTo>
                  <a:pt x="162" y="751"/>
                </a:lnTo>
                <a:lnTo>
                  <a:pt x="179" y="686"/>
                </a:lnTo>
                <a:lnTo>
                  <a:pt x="202" y="624"/>
                </a:lnTo>
                <a:lnTo>
                  <a:pt x="228" y="564"/>
                </a:lnTo>
                <a:lnTo>
                  <a:pt x="261" y="507"/>
                </a:lnTo>
                <a:lnTo>
                  <a:pt x="143" y="390"/>
                </a:lnTo>
                <a:lnTo>
                  <a:pt x="377" y="154"/>
                </a:lnTo>
                <a:lnTo>
                  <a:pt x="492" y="271"/>
                </a:lnTo>
                <a:lnTo>
                  <a:pt x="567" y="227"/>
                </a:lnTo>
                <a:lnTo>
                  <a:pt x="649" y="192"/>
                </a:lnTo>
                <a:lnTo>
                  <a:pt x="733" y="168"/>
                </a:lnTo>
                <a:lnTo>
                  <a:pt x="73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7" name="Freeform 9"/>
          <p:cNvSpPr>
            <a:spLocks noEditPoints="1"/>
          </p:cNvSpPr>
          <p:nvPr/>
        </p:nvSpPr>
        <p:spPr bwMode="auto">
          <a:xfrm rot="21319644">
            <a:off x="8708067" y="4643163"/>
            <a:ext cx="658813" cy="631825"/>
          </a:xfrm>
          <a:custGeom>
            <a:avLst/>
            <a:gdLst>
              <a:gd name="T0" fmla="*/ 378 w 830"/>
              <a:gd name="T1" fmla="*/ 290 h 796"/>
              <a:gd name="T2" fmla="*/ 321 w 830"/>
              <a:gd name="T3" fmla="*/ 323 h 796"/>
              <a:gd name="T4" fmla="*/ 288 w 830"/>
              <a:gd name="T5" fmla="*/ 381 h 796"/>
              <a:gd name="T6" fmla="*/ 288 w 830"/>
              <a:gd name="T7" fmla="*/ 450 h 796"/>
              <a:gd name="T8" fmla="*/ 321 w 830"/>
              <a:gd name="T9" fmla="*/ 508 h 796"/>
              <a:gd name="T10" fmla="*/ 378 w 830"/>
              <a:gd name="T11" fmla="*/ 543 h 796"/>
              <a:gd name="T12" fmla="*/ 448 w 830"/>
              <a:gd name="T13" fmla="*/ 543 h 796"/>
              <a:gd name="T14" fmla="*/ 506 w 830"/>
              <a:gd name="T15" fmla="*/ 508 h 796"/>
              <a:gd name="T16" fmla="*/ 541 w 830"/>
              <a:gd name="T17" fmla="*/ 450 h 796"/>
              <a:gd name="T18" fmla="*/ 541 w 830"/>
              <a:gd name="T19" fmla="*/ 381 h 796"/>
              <a:gd name="T20" fmla="*/ 506 w 830"/>
              <a:gd name="T21" fmla="*/ 323 h 796"/>
              <a:gd name="T22" fmla="*/ 448 w 830"/>
              <a:gd name="T23" fmla="*/ 290 h 796"/>
              <a:gd name="T24" fmla="*/ 357 w 830"/>
              <a:gd name="T25" fmla="*/ 0 h 796"/>
              <a:gd name="T26" fmla="*/ 490 w 830"/>
              <a:gd name="T27" fmla="*/ 5 h 796"/>
              <a:gd name="T28" fmla="*/ 506 w 830"/>
              <a:gd name="T29" fmla="*/ 31 h 796"/>
              <a:gd name="T30" fmla="*/ 553 w 830"/>
              <a:gd name="T31" fmla="*/ 145 h 796"/>
              <a:gd name="T32" fmla="*/ 633 w 830"/>
              <a:gd name="T33" fmla="*/ 204 h 796"/>
              <a:gd name="T34" fmla="*/ 754 w 830"/>
              <a:gd name="T35" fmla="*/ 215 h 796"/>
              <a:gd name="T36" fmla="*/ 785 w 830"/>
              <a:gd name="T37" fmla="*/ 222 h 796"/>
              <a:gd name="T38" fmla="*/ 829 w 830"/>
              <a:gd name="T39" fmla="*/ 346 h 796"/>
              <a:gd name="T40" fmla="*/ 823 w 830"/>
              <a:gd name="T41" fmla="*/ 377 h 796"/>
              <a:gd name="T42" fmla="*/ 721 w 830"/>
              <a:gd name="T43" fmla="*/ 414 h 796"/>
              <a:gd name="T44" fmla="*/ 715 w 830"/>
              <a:gd name="T45" fmla="*/ 470 h 796"/>
              <a:gd name="T46" fmla="*/ 684 w 830"/>
              <a:gd name="T47" fmla="*/ 562 h 796"/>
              <a:gd name="T48" fmla="*/ 712 w 830"/>
              <a:gd name="T49" fmla="*/ 679 h 796"/>
              <a:gd name="T50" fmla="*/ 715 w 830"/>
              <a:gd name="T51" fmla="*/ 709 h 796"/>
              <a:gd name="T52" fmla="*/ 611 w 830"/>
              <a:gd name="T53" fmla="*/ 791 h 796"/>
              <a:gd name="T54" fmla="*/ 579 w 830"/>
              <a:gd name="T55" fmla="*/ 794 h 796"/>
              <a:gd name="T56" fmla="*/ 511 w 830"/>
              <a:gd name="T57" fmla="*/ 707 h 796"/>
              <a:gd name="T58" fmla="*/ 413 w 830"/>
              <a:gd name="T59" fmla="*/ 723 h 796"/>
              <a:gd name="T60" fmla="*/ 312 w 830"/>
              <a:gd name="T61" fmla="*/ 705 h 796"/>
              <a:gd name="T62" fmla="*/ 246 w 830"/>
              <a:gd name="T63" fmla="*/ 791 h 796"/>
              <a:gd name="T64" fmla="*/ 214 w 830"/>
              <a:gd name="T65" fmla="*/ 787 h 796"/>
              <a:gd name="T66" fmla="*/ 110 w 830"/>
              <a:gd name="T67" fmla="*/ 707 h 796"/>
              <a:gd name="T68" fmla="*/ 113 w 830"/>
              <a:gd name="T69" fmla="*/ 676 h 796"/>
              <a:gd name="T70" fmla="*/ 143 w 830"/>
              <a:gd name="T71" fmla="*/ 559 h 796"/>
              <a:gd name="T72" fmla="*/ 113 w 830"/>
              <a:gd name="T73" fmla="*/ 468 h 796"/>
              <a:gd name="T74" fmla="*/ 108 w 830"/>
              <a:gd name="T75" fmla="*/ 410 h 796"/>
              <a:gd name="T76" fmla="*/ 7 w 830"/>
              <a:gd name="T77" fmla="*/ 372 h 796"/>
              <a:gd name="T78" fmla="*/ 0 w 830"/>
              <a:gd name="T79" fmla="*/ 342 h 796"/>
              <a:gd name="T80" fmla="*/ 45 w 830"/>
              <a:gd name="T81" fmla="*/ 218 h 796"/>
              <a:gd name="T82" fmla="*/ 75 w 830"/>
              <a:gd name="T83" fmla="*/ 211 h 796"/>
              <a:gd name="T84" fmla="*/ 197 w 830"/>
              <a:gd name="T85" fmla="*/ 203 h 796"/>
              <a:gd name="T86" fmla="*/ 279 w 830"/>
              <a:gd name="T87" fmla="*/ 143 h 796"/>
              <a:gd name="T88" fmla="*/ 326 w 830"/>
              <a:gd name="T89" fmla="*/ 31 h 796"/>
              <a:gd name="T90" fmla="*/ 342 w 830"/>
              <a:gd name="T91" fmla="*/ 5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0" h="796">
                <a:moveTo>
                  <a:pt x="413" y="285"/>
                </a:moveTo>
                <a:lnTo>
                  <a:pt x="378" y="290"/>
                </a:lnTo>
                <a:lnTo>
                  <a:pt x="349" y="304"/>
                </a:lnTo>
                <a:lnTo>
                  <a:pt x="321" y="323"/>
                </a:lnTo>
                <a:lnTo>
                  <a:pt x="302" y="349"/>
                </a:lnTo>
                <a:lnTo>
                  <a:pt x="288" y="381"/>
                </a:lnTo>
                <a:lnTo>
                  <a:pt x="282" y="416"/>
                </a:lnTo>
                <a:lnTo>
                  <a:pt x="288" y="450"/>
                </a:lnTo>
                <a:lnTo>
                  <a:pt x="302" y="482"/>
                </a:lnTo>
                <a:lnTo>
                  <a:pt x="321" y="508"/>
                </a:lnTo>
                <a:lnTo>
                  <a:pt x="349" y="529"/>
                </a:lnTo>
                <a:lnTo>
                  <a:pt x="378" y="543"/>
                </a:lnTo>
                <a:lnTo>
                  <a:pt x="413" y="546"/>
                </a:lnTo>
                <a:lnTo>
                  <a:pt x="448" y="543"/>
                </a:lnTo>
                <a:lnTo>
                  <a:pt x="480" y="529"/>
                </a:lnTo>
                <a:lnTo>
                  <a:pt x="506" y="508"/>
                </a:lnTo>
                <a:lnTo>
                  <a:pt x="527" y="482"/>
                </a:lnTo>
                <a:lnTo>
                  <a:pt x="541" y="450"/>
                </a:lnTo>
                <a:lnTo>
                  <a:pt x="544" y="416"/>
                </a:lnTo>
                <a:lnTo>
                  <a:pt x="541" y="381"/>
                </a:lnTo>
                <a:lnTo>
                  <a:pt x="527" y="349"/>
                </a:lnTo>
                <a:lnTo>
                  <a:pt x="506" y="323"/>
                </a:lnTo>
                <a:lnTo>
                  <a:pt x="480" y="304"/>
                </a:lnTo>
                <a:lnTo>
                  <a:pt x="448" y="290"/>
                </a:lnTo>
                <a:lnTo>
                  <a:pt x="413" y="285"/>
                </a:lnTo>
                <a:close/>
                <a:moveTo>
                  <a:pt x="357" y="0"/>
                </a:moveTo>
                <a:lnTo>
                  <a:pt x="474" y="0"/>
                </a:lnTo>
                <a:lnTo>
                  <a:pt x="490" y="5"/>
                </a:lnTo>
                <a:lnTo>
                  <a:pt x="501" y="16"/>
                </a:lnTo>
                <a:lnTo>
                  <a:pt x="506" y="31"/>
                </a:lnTo>
                <a:lnTo>
                  <a:pt x="506" y="126"/>
                </a:lnTo>
                <a:lnTo>
                  <a:pt x="553" y="145"/>
                </a:lnTo>
                <a:lnTo>
                  <a:pt x="597" y="171"/>
                </a:lnTo>
                <a:lnTo>
                  <a:pt x="633" y="204"/>
                </a:lnTo>
                <a:lnTo>
                  <a:pt x="666" y="244"/>
                </a:lnTo>
                <a:lnTo>
                  <a:pt x="754" y="215"/>
                </a:lnTo>
                <a:lnTo>
                  <a:pt x="771" y="215"/>
                </a:lnTo>
                <a:lnTo>
                  <a:pt x="785" y="222"/>
                </a:lnTo>
                <a:lnTo>
                  <a:pt x="794" y="236"/>
                </a:lnTo>
                <a:lnTo>
                  <a:pt x="829" y="346"/>
                </a:lnTo>
                <a:lnTo>
                  <a:pt x="830" y="363"/>
                </a:lnTo>
                <a:lnTo>
                  <a:pt x="823" y="377"/>
                </a:lnTo>
                <a:lnTo>
                  <a:pt x="810" y="386"/>
                </a:lnTo>
                <a:lnTo>
                  <a:pt x="721" y="414"/>
                </a:lnTo>
                <a:lnTo>
                  <a:pt x="721" y="417"/>
                </a:lnTo>
                <a:lnTo>
                  <a:pt x="715" y="470"/>
                </a:lnTo>
                <a:lnTo>
                  <a:pt x="703" y="517"/>
                </a:lnTo>
                <a:lnTo>
                  <a:pt x="684" y="562"/>
                </a:lnTo>
                <a:lnTo>
                  <a:pt x="656" y="602"/>
                </a:lnTo>
                <a:lnTo>
                  <a:pt x="712" y="679"/>
                </a:lnTo>
                <a:lnTo>
                  <a:pt x="717" y="693"/>
                </a:lnTo>
                <a:lnTo>
                  <a:pt x="715" y="709"/>
                </a:lnTo>
                <a:lnTo>
                  <a:pt x="705" y="723"/>
                </a:lnTo>
                <a:lnTo>
                  <a:pt x="611" y="791"/>
                </a:lnTo>
                <a:lnTo>
                  <a:pt x="595" y="796"/>
                </a:lnTo>
                <a:lnTo>
                  <a:pt x="579" y="794"/>
                </a:lnTo>
                <a:lnTo>
                  <a:pt x="567" y="784"/>
                </a:lnTo>
                <a:lnTo>
                  <a:pt x="511" y="707"/>
                </a:lnTo>
                <a:lnTo>
                  <a:pt x="464" y="719"/>
                </a:lnTo>
                <a:lnTo>
                  <a:pt x="413" y="723"/>
                </a:lnTo>
                <a:lnTo>
                  <a:pt x="363" y="719"/>
                </a:lnTo>
                <a:lnTo>
                  <a:pt x="312" y="705"/>
                </a:lnTo>
                <a:lnTo>
                  <a:pt x="258" y="780"/>
                </a:lnTo>
                <a:lnTo>
                  <a:pt x="246" y="791"/>
                </a:lnTo>
                <a:lnTo>
                  <a:pt x="230" y="794"/>
                </a:lnTo>
                <a:lnTo>
                  <a:pt x="214" y="787"/>
                </a:lnTo>
                <a:lnTo>
                  <a:pt x="120" y="719"/>
                </a:lnTo>
                <a:lnTo>
                  <a:pt x="110" y="707"/>
                </a:lnTo>
                <a:lnTo>
                  <a:pt x="108" y="691"/>
                </a:lnTo>
                <a:lnTo>
                  <a:pt x="113" y="676"/>
                </a:lnTo>
                <a:lnTo>
                  <a:pt x="169" y="599"/>
                </a:lnTo>
                <a:lnTo>
                  <a:pt x="143" y="559"/>
                </a:lnTo>
                <a:lnTo>
                  <a:pt x="124" y="515"/>
                </a:lnTo>
                <a:lnTo>
                  <a:pt x="113" y="468"/>
                </a:lnTo>
                <a:lnTo>
                  <a:pt x="108" y="417"/>
                </a:lnTo>
                <a:lnTo>
                  <a:pt x="108" y="410"/>
                </a:lnTo>
                <a:lnTo>
                  <a:pt x="21" y="381"/>
                </a:lnTo>
                <a:lnTo>
                  <a:pt x="7" y="372"/>
                </a:lnTo>
                <a:lnTo>
                  <a:pt x="0" y="358"/>
                </a:lnTo>
                <a:lnTo>
                  <a:pt x="0" y="342"/>
                </a:lnTo>
                <a:lnTo>
                  <a:pt x="36" y="230"/>
                </a:lnTo>
                <a:lnTo>
                  <a:pt x="45" y="218"/>
                </a:lnTo>
                <a:lnTo>
                  <a:pt x="59" y="210"/>
                </a:lnTo>
                <a:lnTo>
                  <a:pt x="75" y="211"/>
                </a:lnTo>
                <a:lnTo>
                  <a:pt x="165" y="241"/>
                </a:lnTo>
                <a:lnTo>
                  <a:pt x="197" y="203"/>
                </a:lnTo>
                <a:lnTo>
                  <a:pt x="235" y="169"/>
                </a:lnTo>
                <a:lnTo>
                  <a:pt x="279" y="143"/>
                </a:lnTo>
                <a:lnTo>
                  <a:pt x="326" y="124"/>
                </a:lnTo>
                <a:lnTo>
                  <a:pt x="326" y="31"/>
                </a:lnTo>
                <a:lnTo>
                  <a:pt x="331" y="16"/>
                </a:lnTo>
                <a:lnTo>
                  <a:pt x="342" y="5"/>
                </a:lnTo>
                <a:lnTo>
                  <a:pt x="357" y="0"/>
                </a:lnTo>
                <a:close/>
              </a:path>
            </a:pathLst>
          </a:custGeom>
          <a:solidFill>
            <a:srgbClr val="43B02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8" name="Rounded Rectangle 17"/>
          <p:cNvSpPr/>
          <p:nvPr/>
        </p:nvSpPr>
        <p:spPr bwMode="gray">
          <a:xfrm>
            <a:off x="9217616" y="3370363"/>
            <a:ext cx="374729" cy="1370272"/>
          </a:xfrm>
          <a:prstGeom prst="roundRect">
            <a:avLst>
              <a:gd name="adj" fmla="val 50000"/>
            </a:avLst>
          </a:prstGeom>
          <a:noFill/>
          <a:ln w="19050" algn="ctr">
            <a:solidFill>
              <a:srgbClr val="75787B"/>
            </a:solidFill>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19" name="Freeform 9"/>
          <p:cNvSpPr>
            <a:spLocks noEditPoints="1"/>
          </p:cNvSpPr>
          <p:nvPr/>
        </p:nvSpPr>
        <p:spPr bwMode="auto">
          <a:xfrm>
            <a:off x="9154543" y="4295973"/>
            <a:ext cx="511822" cy="490855"/>
          </a:xfrm>
          <a:custGeom>
            <a:avLst/>
            <a:gdLst>
              <a:gd name="T0" fmla="*/ 378 w 830"/>
              <a:gd name="T1" fmla="*/ 290 h 796"/>
              <a:gd name="T2" fmla="*/ 321 w 830"/>
              <a:gd name="T3" fmla="*/ 323 h 796"/>
              <a:gd name="T4" fmla="*/ 288 w 830"/>
              <a:gd name="T5" fmla="*/ 381 h 796"/>
              <a:gd name="T6" fmla="*/ 288 w 830"/>
              <a:gd name="T7" fmla="*/ 450 h 796"/>
              <a:gd name="T8" fmla="*/ 321 w 830"/>
              <a:gd name="T9" fmla="*/ 508 h 796"/>
              <a:gd name="T10" fmla="*/ 378 w 830"/>
              <a:gd name="T11" fmla="*/ 543 h 796"/>
              <a:gd name="T12" fmla="*/ 448 w 830"/>
              <a:gd name="T13" fmla="*/ 543 h 796"/>
              <a:gd name="T14" fmla="*/ 506 w 830"/>
              <a:gd name="T15" fmla="*/ 508 h 796"/>
              <a:gd name="T16" fmla="*/ 541 w 830"/>
              <a:gd name="T17" fmla="*/ 450 h 796"/>
              <a:gd name="T18" fmla="*/ 541 w 830"/>
              <a:gd name="T19" fmla="*/ 381 h 796"/>
              <a:gd name="T20" fmla="*/ 506 w 830"/>
              <a:gd name="T21" fmla="*/ 323 h 796"/>
              <a:gd name="T22" fmla="*/ 448 w 830"/>
              <a:gd name="T23" fmla="*/ 290 h 796"/>
              <a:gd name="T24" fmla="*/ 357 w 830"/>
              <a:gd name="T25" fmla="*/ 0 h 796"/>
              <a:gd name="T26" fmla="*/ 490 w 830"/>
              <a:gd name="T27" fmla="*/ 5 h 796"/>
              <a:gd name="T28" fmla="*/ 506 w 830"/>
              <a:gd name="T29" fmla="*/ 31 h 796"/>
              <a:gd name="T30" fmla="*/ 553 w 830"/>
              <a:gd name="T31" fmla="*/ 145 h 796"/>
              <a:gd name="T32" fmla="*/ 633 w 830"/>
              <a:gd name="T33" fmla="*/ 204 h 796"/>
              <a:gd name="T34" fmla="*/ 754 w 830"/>
              <a:gd name="T35" fmla="*/ 215 h 796"/>
              <a:gd name="T36" fmla="*/ 785 w 830"/>
              <a:gd name="T37" fmla="*/ 222 h 796"/>
              <a:gd name="T38" fmla="*/ 829 w 830"/>
              <a:gd name="T39" fmla="*/ 346 h 796"/>
              <a:gd name="T40" fmla="*/ 823 w 830"/>
              <a:gd name="T41" fmla="*/ 377 h 796"/>
              <a:gd name="T42" fmla="*/ 721 w 830"/>
              <a:gd name="T43" fmla="*/ 414 h 796"/>
              <a:gd name="T44" fmla="*/ 715 w 830"/>
              <a:gd name="T45" fmla="*/ 470 h 796"/>
              <a:gd name="T46" fmla="*/ 684 w 830"/>
              <a:gd name="T47" fmla="*/ 562 h 796"/>
              <a:gd name="T48" fmla="*/ 712 w 830"/>
              <a:gd name="T49" fmla="*/ 679 h 796"/>
              <a:gd name="T50" fmla="*/ 715 w 830"/>
              <a:gd name="T51" fmla="*/ 709 h 796"/>
              <a:gd name="T52" fmla="*/ 611 w 830"/>
              <a:gd name="T53" fmla="*/ 791 h 796"/>
              <a:gd name="T54" fmla="*/ 579 w 830"/>
              <a:gd name="T55" fmla="*/ 794 h 796"/>
              <a:gd name="T56" fmla="*/ 511 w 830"/>
              <a:gd name="T57" fmla="*/ 707 h 796"/>
              <a:gd name="T58" fmla="*/ 413 w 830"/>
              <a:gd name="T59" fmla="*/ 723 h 796"/>
              <a:gd name="T60" fmla="*/ 312 w 830"/>
              <a:gd name="T61" fmla="*/ 705 h 796"/>
              <a:gd name="T62" fmla="*/ 246 w 830"/>
              <a:gd name="T63" fmla="*/ 791 h 796"/>
              <a:gd name="T64" fmla="*/ 214 w 830"/>
              <a:gd name="T65" fmla="*/ 787 h 796"/>
              <a:gd name="T66" fmla="*/ 110 w 830"/>
              <a:gd name="T67" fmla="*/ 707 h 796"/>
              <a:gd name="T68" fmla="*/ 113 w 830"/>
              <a:gd name="T69" fmla="*/ 676 h 796"/>
              <a:gd name="T70" fmla="*/ 143 w 830"/>
              <a:gd name="T71" fmla="*/ 559 h 796"/>
              <a:gd name="T72" fmla="*/ 113 w 830"/>
              <a:gd name="T73" fmla="*/ 468 h 796"/>
              <a:gd name="T74" fmla="*/ 108 w 830"/>
              <a:gd name="T75" fmla="*/ 410 h 796"/>
              <a:gd name="T76" fmla="*/ 7 w 830"/>
              <a:gd name="T77" fmla="*/ 372 h 796"/>
              <a:gd name="T78" fmla="*/ 0 w 830"/>
              <a:gd name="T79" fmla="*/ 342 h 796"/>
              <a:gd name="T80" fmla="*/ 45 w 830"/>
              <a:gd name="T81" fmla="*/ 218 h 796"/>
              <a:gd name="T82" fmla="*/ 75 w 830"/>
              <a:gd name="T83" fmla="*/ 211 h 796"/>
              <a:gd name="T84" fmla="*/ 197 w 830"/>
              <a:gd name="T85" fmla="*/ 203 h 796"/>
              <a:gd name="T86" fmla="*/ 279 w 830"/>
              <a:gd name="T87" fmla="*/ 143 h 796"/>
              <a:gd name="T88" fmla="*/ 326 w 830"/>
              <a:gd name="T89" fmla="*/ 31 h 796"/>
              <a:gd name="T90" fmla="*/ 342 w 830"/>
              <a:gd name="T91" fmla="*/ 5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0" h="796">
                <a:moveTo>
                  <a:pt x="413" y="285"/>
                </a:moveTo>
                <a:lnTo>
                  <a:pt x="378" y="290"/>
                </a:lnTo>
                <a:lnTo>
                  <a:pt x="349" y="304"/>
                </a:lnTo>
                <a:lnTo>
                  <a:pt x="321" y="323"/>
                </a:lnTo>
                <a:lnTo>
                  <a:pt x="302" y="349"/>
                </a:lnTo>
                <a:lnTo>
                  <a:pt x="288" y="381"/>
                </a:lnTo>
                <a:lnTo>
                  <a:pt x="282" y="416"/>
                </a:lnTo>
                <a:lnTo>
                  <a:pt x="288" y="450"/>
                </a:lnTo>
                <a:lnTo>
                  <a:pt x="302" y="482"/>
                </a:lnTo>
                <a:lnTo>
                  <a:pt x="321" y="508"/>
                </a:lnTo>
                <a:lnTo>
                  <a:pt x="349" y="529"/>
                </a:lnTo>
                <a:lnTo>
                  <a:pt x="378" y="543"/>
                </a:lnTo>
                <a:lnTo>
                  <a:pt x="413" y="546"/>
                </a:lnTo>
                <a:lnTo>
                  <a:pt x="448" y="543"/>
                </a:lnTo>
                <a:lnTo>
                  <a:pt x="480" y="529"/>
                </a:lnTo>
                <a:lnTo>
                  <a:pt x="506" y="508"/>
                </a:lnTo>
                <a:lnTo>
                  <a:pt x="527" y="482"/>
                </a:lnTo>
                <a:lnTo>
                  <a:pt x="541" y="450"/>
                </a:lnTo>
                <a:lnTo>
                  <a:pt x="544" y="416"/>
                </a:lnTo>
                <a:lnTo>
                  <a:pt x="541" y="381"/>
                </a:lnTo>
                <a:lnTo>
                  <a:pt x="527" y="349"/>
                </a:lnTo>
                <a:lnTo>
                  <a:pt x="506" y="323"/>
                </a:lnTo>
                <a:lnTo>
                  <a:pt x="480" y="304"/>
                </a:lnTo>
                <a:lnTo>
                  <a:pt x="448" y="290"/>
                </a:lnTo>
                <a:lnTo>
                  <a:pt x="413" y="285"/>
                </a:lnTo>
                <a:close/>
                <a:moveTo>
                  <a:pt x="357" y="0"/>
                </a:moveTo>
                <a:lnTo>
                  <a:pt x="474" y="0"/>
                </a:lnTo>
                <a:lnTo>
                  <a:pt x="490" y="5"/>
                </a:lnTo>
                <a:lnTo>
                  <a:pt x="501" y="16"/>
                </a:lnTo>
                <a:lnTo>
                  <a:pt x="506" y="31"/>
                </a:lnTo>
                <a:lnTo>
                  <a:pt x="506" y="126"/>
                </a:lnTo>
                <a:lnTo>
                  <a:pt x="553" y="145"/>
                </a:lnTo>
                <a:lnTo>
                  <a:pt x="597" y="171"/>
                </a:lnTo>
                <a:lnTo>
                  <a:pt x="633" y="204"/>
                </a:lnTo>
                <a:lnTo>
                  <a:pt x="666" y="244"/>
                </a:lnTo>
                <a:lnTo>
                  <a:pt x="754" y="215"/>
                </a:lnTo>
                <a:lnTo>
                  <a:pt x="771" y="215"/>
                </a:lnTo>
                <a:lnTo>
                  <a:pt x="785" y="222"/>
                </a:lnTo>
                <a:lnTo>
                  <a:pt x="794" y="236"/>
                </a:lnTo>
                <a:lnTo>
                  <a:pt x="829" y="346"/>
                </a:lnTo>
                <a:lnTo>
                  <a:pt x="830" y="363"/>
                </a:lnTo>
                <a:lnTo>
                  <a:pt x="823" y="377"/>
                </a:lnTo>
                <a:lnTo>
                  <a:pt x="810" y="386"/>
                </a:lnTo>
                <a:lnTo>
                  <a:pt x="721" y="414"/>
                </a:lnTo>
                <a:lnTo>
                  <a:pt x="721" y="417"/>
                </a:lnTo>
                <a:lnTo>
                  <a:pt x="715" y="470"/>
                </a:lnTo>
                <a:lnTo>
                  <a:pt x="703" y="517"/>
                </a:lnTo>
                <a:lnTo>
                  <a:pt x="684" y="562"/>
                </a:lnTo>
                <a:lnTo>
                  <a:pt x="656" y="602"/>
                </a:lnTo>
                <a:lnTo>
                  <a:pt x="712" y="679"/>
                </a:lnTo>
                <a:lnTo>
                  <a:pt x="717" y="693"/>
                </a:lnTo>
                <a:lnTo>
                  <a:pt x="715" y="709"/>
                </a:lnTo>
                <a:lnTo>
                  <a:pt x="705" y="723"/>
                </a:lnTo>
                <a:lnTo>
                  <a:pt x="611" y="791"/>
                </a:lnTo>
                <a:lnTo>
                  <a:pt x="595" y="796"/>
                </a:lnTo>
                <a:lnTo>
                  <a:pt x="579" y="794"/>
                </a:lnTo>
                <a:lnTo>
                  <a:pt x="567" y="784"/>
                </a:lnTo>
                <a:lnTo>
                  <a:pt x="511" y="707"/>
                </a:lnTo>
                <a:lnTo>
                  <a:pt x="464" y="719"/>
                </a:lnTo>
                <a:lnTo>
                  <a:pt x="413" y="723"/>
                </a:lnTo>
                <a:lnTo>
                  <a:pt x="363" y="719"/>
                </a:lnTo>
                <a:lnTo>
                  <a:pt x="312" y="705"/>
                </a:lnTo>
                <a:lnTo>
                  <a:pt x="258" y="780"/>
                </a:lnTo>
                <a:lnTo>
                  <a:pt x="246" y="791"/>
                </a:lnTo>
                <a:lnTo>
                  <a:pt x="230" y="794"/>
                </a:lnTo>
                <a:lnTo>
                  <a:pt x="214" y="787"/>
                </a:lnTo>
                <a:lnTo>
                  <a:pt x="120" y="719"/>
                </a:lnTo>
                <a:lnTo>
                  <a:pt x="110" y="707"/>
                </a:lnTo>
                <a:lnTo>
                  <a:pt x="108" y="691"/>
                </a:lnTo>
                <a:lnTo>
                  <a:pt x="113" y="676"/>
                </a:lnTo>
                <a:lnTo>
                  <a:pt x="169" y="599"/>
                </a:lnTo>
                <a:lnTo>
                  <a:pt x="143" y="559"/>
                </a:lnTo>
                <a:lnTo>
                  <a:pt x="124" y="515"/>
                </a:lnTo>
                <a:lnTo>
                  <a:pt x="113" y="468"/>
                </a:lnTo>
                <a:lnTo>
                  <a:pt x="108" y="417"/>
                </a:lnTo>
                <a:lnTo>
                  <a:pt x="108" y="410"/>
                </a:lnTo>
                <a:lnTo>
                  <a:pt x="21" y="381"/>
                </a:lnTo>
                <a:lnTo>
                  <a:pt x="7" y="372"/>
                </a:lnTo>
                <a:lnTo>
                  <a:pt x="0" y="358"/>
                </a:lnTo>
                <a:lnTo>
                  <a:pt x="0" y="342"/>
                </a:lnTo>
                <a:lnTo>
                  <a:pt x="36" y="230"/>
                </a:lnTo>
                <a:lnTo>
                  <a:pt x="45" y="218"/>
                </a:lnTo>
                <a:lnTo>
                  <a:pt x="59" y="210"/>
                </a:lnTo>
                <a:lnTo>
                  <a:pt x="75" y="211"/>
                </a:lnTo>
                <a:lnTo>
                  <a:pt x="165" y="241"/>
                </a:lnTo>
                <a:lnTo>
                  <a:pt x="197" y="203"/>
                </a:lnTo>
                <a:lnTo>
                  <a:pt x="235" y="169"/>
                </a:lnTo>
                <a:lnTo>
                  <a:pt x="279" y="143"/>
                </a:lnTo>
                <a:lnTo>
                  <a:pt x="326" y="124"/>
                </a:lnTo>
                <a:lnTo>
                  <a:pt x="326" y="31"/>
                </a:lnTo>
                <a:lnTo>
                  <a:pt x="331" y="16"/>
                </a:lnTo>
                <a:lnTo>
                  <a:pt x="342" y="5"/>
                </a:lnTo>
                <a:lnTo>
                  <a:pt x="357" y="0"/>
                </a:lnTo>
                <a:close/>
              </a:path>
            </a:pathLst>
          </a:custGeom>
          <a:solidFill>
            <a:srgbClr val="86BC2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20" name="Freeform 10"/>
          <p:cNvSpPr>
            <a:spLocks noEditPoints="1"/>
          </p:cNvSpPr>
          <p:nvPr/>
        </p:nvSpPr>
        <p:spPr bwMode="auto">
          <a:xfrm>
            <a:off x="4475769" y="3308024"/>
            <a:ext cx="494348" cy="495400"/>
          </a:xfrm>
          <a:custGeom>
            <a:avLst/>
            <a:gdLst>
              <a:gd name="T0" fmla="*/ 436 w 941"/>
              <a:gd name="T1" fmla="*/ 343 h 941"/>
              <a:gd name="T2" fmla="*/ 377 w 941"/>
              <a:gd name="T3" fmla="*/ 377 h 941"/>
              <a:gd name="T4" fmla="*/ 344 w 941"/>
              <a:gd name="T5" fmla="*/ 435 h 941"/>
              <a:gd name="T6" fmla="*/ 344 w 941"/>
              <a:gd name="T7" fmla="*/ 505 h 941"/>
              <a:gd name="T8" fmla="*/ 377 w 941"/>
              <a:gd name="T9" fmla="*/ 564 h 941"/>
              <a:gd name="T10" fmla="*/ 436 w 941"/>
              <a:gd name="T11" fmla="*/ 597 h 941"/>
              <a:gd name="T12" fmla="*/ 506 w 941"/>
              <a:gd name="T13" fmla="*/ 597 h 941"/>
              <a:gd name="T14" fmla="*/ 564 w 941"/>
              <a:gd name="T15" fmla="*/ 564 h 941"/>
              <a:gd name="T16" fmla="*/ 599 w 941"/>
              <a:gd name="T17" fmla="*/ 505 h 941"/>
              <a:gd name="T18" fmla="*/ 599 w 941"/>
              <a:gd name="T19" fmla="*/ 435 h 941"/>
              <a:gd name="T20" fmla="*/ 564 w 941"/>
              <a:gd name="T21" fmla="*/ 377 h 941"/>
              <a:gd name="T22" fmla="*/ 506 w 941"/>
              <a:gd name="T23" fmla="*/ 343 h 941"/>
              <a:gd name="T24" fmla="*/ 363 w 941"/>
              <a:gd name="T25" fmla="*/ 0 h 941"/>
              <a:gd name="T26" fmla="*/ 571 w 941"/>
              <a:gd name="T27" fmla="*/ 138 h 941"/>
              <a:gd name="T28" fmla="*/ 628 w 941"/>
              <a:gd name="T29" fmla="*/ 161 h 941"/>
              <a:gd name="T30" fmla="*/ 874 w 941"/>
              <a:gd name="T31" fmla="*/ 208 h 941"/>
              <a:gd name="T32" fmla="*/ 791 w 941"/>
              <a:gd name="T33" fmla="*/ 334 h 941"/>
              <a:gd name="T34" fmla="*/ 941 w 941"/>
              <a:gd name="T35" fmla="*/ 363 h 941"/>
              <a:gd name="T36" fmla="*/ 803 w 941"/>
              <a:gd name="T37" fmla="*/ 571 h 941"/>
              <a:gd name="T38" fmla="*/ 780 w 941"/>
              <a:gd name="T39" fmla="*/ 627 h 941"/>
              <a:gd name="T40" fmla="*/ 733 w 941"/>
              <a:gd name="T41" fmla="*/ 875 h 941"/>
              <a:gd name="T42" fmla="*/ 607 w 941"/>
              <a:gd name="T43" fmla="*/ 789 h 941"/>
              <a:gd name="T44" fmla="*/ 578 w 941"/>
              <a:gd name="T45" fmla="*/ 941 h 941"/>
              <a:gd name="T46" fmla="*/ 370 w 941"/>
              <a:gd name="T47" fmla="*/ 803 h 941"/>
              <a:gd name="T48" fmla="*/ 312 w 941"/>
              <a:gd name="T49" fmla="*/ 781 h 941"/>
              <a:gd name="T50" fmla="*/ 66 w 941"/>
              <a:gd name="T51" fmla="*/ 732 h 941"/>
              <a:gd name="T52" fmla="*/ 152 w 941"/>
              <a:gd name="T53" fmla="*/ 606 h 941"/>
              <a:gd name="T54" fmla="*/ 0 w 941"/>
              <a:gd name="T55" fmla="*/ 578 h 941"/>
              <a:gd name="T56" fmla="*/ 138 w 941"/>
              <a:gd name="T57" fmla="*/ 370 h 941"/>
              <a:gd name="T58" fmla="*/ 161 w 941"/>
              <a:gd name="T59" fmla="*/ 313 h 941"/>
              <a:gd name="T60" fmla="*/ 209 w 941"/>
              <a:gd name="T61" fmla="*/ 67 h 941"/>
              <a:gd name="T62" fmla="*/ 333 w 941"/>
              <a:gd name="T63" fmla="*/ 150 h 941"/>
              <a:gd name="T64" fmla="*/ 363 w 941"/>
              <a:gd name="T65"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1" h="941">
                <a:moveTo>
                  <a:pt x="471" y="339"/>
                </a:moveTo>
                <a:lnTo>
                  <a:pt x="436" y="343"/>
                </a:lnTo>
                <a:lnTo>
                  <a:pt x="405" y="356"/>
                </a:lnTo>
                <a:lnTo>
                  <a:pt x="377" y="377"/>
                </a:lnTo>
                <a:lnTo>
                  <a:pt x="356" y="404"/>
                </a:lnTo>
                <a:lnTo>
                  <a:pt x="344" y="435"/>
                </a:lnTo>
                <a:lnTo>
                  <a:pt x="339" y="470"/>
                </a:lnTo>
                <a:lnTo>
                  <a:pt x="344" y="505"/>
                </a:lnTo>
                <a:lnTo>
                  <a:pt x="356" y="536"/>
                </a:lnTo>
                <a:lnTo>
                  <a:pt x="377" y="564"/>
                </a:lnTo>
                <a:lnTo>
                  <a:pt x="405" y="583"/>
                </a:lnTo>
                <a:lnTo>
                  <a:pt x="436" y="597"/>
                </a:lnTo>
                <a:lnTo>
                  <a:pt x="471" y="603"/>
                </a:lnTo>
                <a:lnTo>
                  <a:pt x="506" y="597"/>
                </a:lnTo>
                <a:lnTo>
                  <a:pt x="538" y="583"/>
                </a:lnTo>
                <a:lnTo>
                  <a:pt x="564" y="564"/>
                </a:lnTo>
                <a:lnTo>
                  <a:pt x="585" y="536"/>
                </a:lnTo>
                <a:lnTo>
                  <a:pt x="599" y="505"/>
                </a:lnTo>
                <a:lnTo>
                  <a:pt x="602" y="470"/>
                </a:lnTo>
                <a:lnTo>
                  <a:pt x="599" y="435"/>
                </a:lnTo>
                <a:lnTo>
                  <a:pt x="585" y="404"/>
                </a:lnTo>
                <a:lnTo>
                  <a:pt x="564" y="377"/>
                </a:lnTo>
                <a:lnTo>
                  <a:pt x="538" y="356"/>
                </a:lnTo>
                <a:lnTo>
                  <a:pt x="506" y="343"/>
                </a:lnTo>
                <a:lnTo>
                  <a:pt x="471" y="339"/>
                </a:lnTo>
                <a:close/>
                <a:moveTo>
                  <a:pt x="363" y="0"/>
                </a:moveTo>
                <a:lnTo>
                  <a:pt x="571" y="0"/>
                </a:lnTo>
                <a:lnTo>
                  <a:pt x="571" y="138"/>
                </a:lnTo>
                <a:lnTo>
                  <a:pt x="600" y="147"/>
                </a:lnTo>
                <a:lnTo>
                  <a:pt x="628" y="161"/>
                </a:lnTo>
                <a:lnTo>
                  <a:pt x="728" y="61"/>
                </a:lnTo>
                <a:lnTo>
                  <a:pt x="874" y="208"/>
                </a:lnTo>
                <a:lnTo>
                  <a:pt x="777" y="306"/>
                </a:lnTo>
                <a:lnTo>
                  <a:pt x="791" y="334"/>
                </a:lnTo>
                <a:lnTo>
                  <a:pt x="801" y="363"/>
                </a:lnTo>
                <a:lnTo>
                  <a:pt x="941" y="363"/>
                </a:lnTo>
                <a:lnTo>
                  <a:pt x="941" y="571"/>
                </a:lnTo>
                <a:lnTo>
                  <a:pt x="803" y="571"/>
                </a:lnTo>
                <a:lnTo>
                  <a:pt x="792" y="599"/>
                </a:lnTo>
                <a:lnTo>
                  <a:pt x="780" y="627"/>
                </a:lnTo>
                <a:lnTo>
                  <a:pt x="880" y="727"/>
                </a:lnTo>
                <a:lnTo>
                  <a:pt x="733" y="875"/>
                </a:lnTo>
                <a:lnTo>
                  <a:pt x="635" y="777"/>
                </a:lnTo>
                <a:lnTo>
                  <a:pt x="607" y="789"/>
                </a:lnTo>
                <a:lnTo>
                  <a:pt x="578" y="800"/>
                </a:lnTo>
                <a:lnTo>
                  <a:pt x="578" y="941"/>
                </a:lnTo>
                <a:lnTo>
                  <a:pt x="370" y="941"/>
                </a:lnTo>
                <a:lnTo>
                  <a:pt x="370" y="803"/>
                </a:lnTo>
                <a:lnTo>
                  <a:pt x="340" y="793"/>
                </a:lnTo>
                <a:lnTo>
                  <a:pt x="312" y="781"/>
                </a:lnTo>
                <a:lnTo>
                  <a:pt x="215" y="878"/>
                </a:lnTo>
                <a:lnTo>
                  <a:pt x="66" y="732"/>
                </a:lnTo>
                <a:lnTo>
                  <a:pt x="164" y="634"/>
                </a:lnTo>
                <a:lnTo>
                  <a:pt x="152" y="606"/>
                </a:lnTo>
                <a:lnTo>
                  <a:pt x="140" y="578"/>
                </a:lnTo>
                <a:lnTo>
                  <a:pt x="0" y="578"/>
                </a:lnTo>
                <a:lnTo>
                  <a:pt x="0" y="370"/>
                </a:lnTo>
                <a:lnTo>
                  <a:pt x="138" y="370"/>
                </a:lnTo>
                <a:lnTo>
                  <a:pt x="148" y="341"/>
                </a:lnTo>
                <a:lnTo>
                  <a:pt x="161" y="313"/>
                </a:lnTo>
                <a:lnTo>
                  <a:pt x="61" y="213"/>
                </a:lnTo>
                <a:lnTo>
                  <a:pt x="209" y="67"/>
                </a:lnTo>
                <a:lnTo>
                  <a:pt x="307" y="164"/>
                </a:lnTo>
                <a:lnTo>
                  <a:pt x="333" y="150"/>
                </a:lnTo>
                <a:lnTo>
                  <a:pt x="363" y="140"/>
                </a:lnTo>
                <a:lnTo>
                  <a:pt x="363" y="0"/>
                </a:lnTo>
                <a:close/>
              </a:path>
            </a:pathLst>
          </a:custGeom>
          <a:solidFill>
            <a:srgbClr val="009A4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21" name="Freeform 10"/>
          <p:cNvSpPr>
            <a:spLocks noEditPoints="1"/>
          </p:cNvSpPr>
          <p:nvPr/>
        </p:nvSpPr>
        <p:spPr bwMode="auto">
          <a:xfrm>
            <a:off x="9158495" y="3308024"/>
            <a:ext cx="494348" cy="495400"/>
          </a:xfrm>
          <a:custGeom>
            <a:avLst/>
            <a:gdLst>
              <a:gd name="T0" fmla="*/ 436 w 941"/>
              <a:gd name="T1" fmla="*/ 343 h 941"/>
              <a:gd name="T2" fmla="*/ 377 w 941"/>
              <a:gd name="T3" fmla="*/ 377 h 941"/>
              <a:gd name="T4" fmla="*/ 344 w 941"/>
              <a:gd name="T5" fmla="*/ 435 h 941"/>
              <a:gd name="T6" fmla="*/ 344 w 941"/>
              <a:gd name="T7" fmla="*/ 505 h 941"/>
              <a:gd name="T8" fmla="*/ 377 w 941"/>
              <a:gd name="T9" fmla="*/ 564 h 941"/>
              <a:gd name="T10" fmla="*/ 436 w 941"/>
              <a:gd name="T11" fmla="*/ 597 h 941"/>
              <a:gd name="T12" fmla="*/ 506 w 941"/>
              <a:gd name="T13" fmla="*/ 597 h 941"/>
              <a:gd name="T14" fmla="*/ 564 w 941"/>
              <a:gd name="T15" fmla="*/ 564 h 941"/>
              <a:gd name="T16" fmla="*/ 599 w 941"/>
              <a:gd name="T17" fmla="*/ 505 h 941"/>
              <a:gd name="T18" fmla="*/ 599 w 941"/>
              <a:gd name="T19" fmla="*/ 435 h 941"/>
              <a:gd name="T20" fmla="*/ 564 w 941"/>
              <a:gd name="T21" fmla="*/ 377 h 941"/>
              <a:gd name="T22" fmla="*/ 506 w 941"/>
              <a:gd name="T23" fmla="*/ 343 h 941"/>
              <a:gd name="T24" fmla="*/ 363 w 941"/>
              <a:gd name="T25" fmla="*/ 0 h 941"/>
              <a:gd name="T26" fmla="*/ 571 w 941"/>
              <a:gd name="T27" fmla="*/ 138 h 941"/>
              <a:gd name="T28" fmla="*/ 628 w 941"/>
              <a:gd name="T29" fmla="*/ 161 h 941"/>
              <a:gd name="T30" fmla="*/ 874 w 941"/>
              <a:gd name="T31" fmla="*/ 208 h 941"/>
              <a:gd name="T32" fmla="*/ 791 w 941"/>
              <a:gd name="T33" fmla="*/ 334 h 941"/>
              <a:gd name="T34" fmla="*/ 941 w 941"/>
              <a:gd name="T35" fmla="*/ 363 h 941"/>
              <a:gd name="T36" fmla="*/ 803 w 941"/>
              <a:gd name="T37" fmla="*/ 571 h 941"/>
              <a:gd name="T38" fmla="*/ 780 w 941"/>
              <a:gd name="T39" fmla="*/ 627 h 941"/>
              <a:gd name="T40" fmla="*/ 733 w 941"/>
              <a:gd name="T41" fmla="*/ 875 h 941"/>
              <a:gd name="T42" fmla="*/ 607 w 941"/>
              <a:gd name="T43" fmla="*/ 789 h 941"/>
              <a:gd name="T44" fmla="*/ 578 w 941"/>
              <a:gd name="T45" fmla="*/ 941 h 941"/>
              <a:gd name="T46" fmla="*/ 370 w 941"/>
              <a:gd name="T47" fmla="*/ 803 h 941"/>
              <a:gd name="T48" fmla="*/ 312 w 941"/>
              <a:gd name="T49" fmla="*/ 781 h 941"/>
              <a:gd name="T50" fmla="*/ 66 w 941"/>
              <a:gd name="T51" fmla="*/ 732 h 941"/>
              <a:gd name="T52" fmla="*/ 152 w 941"/>
              <a:gd name="T53" fmla="*/ 606 h 941"/>
              <a:gd name="T54" fmla="*/ 0 w 941"/>
              <a:gd name="T55" fmla="*/ 578 h 941"/>
              <a:gd name="T56" fmla="*/ 138 w 941"/>
              <a:gd name="T57" fmla="*/ 370 h 941"/>
              <a:gd name="T58" fmla="*/ 161 w 941"/>
              <a:gd name="T59" fmla="*/ 313 h 941"/>
              <a:gd name="T60" fmla="*/ 209 w 941"/>
              <a:gd name="T61" fmla="*/ 67 h 941"/>
              <a:gd name="T62" fmla="*/ 333 w 941"/>
              <a:gd name="T63" fmla="*/ 150 h 941"/>
              <a:gd name="T64" fmla="*/ 363 w 941"/>
              <a:gd name="T65"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1" h="941">
                <a:moveTo>
                  <a:pt x="471" y="339"/>
                </a:moveTo>
                <a:lnTo>
                  <a:pt x="436" y="343"/>
                </a:lnTo>
                <a:lnTo>
                  <a:pt x="405" y="356"/>
                </a:lnTo>
                <a:lnTo>
                  <a:pt x="377" y="377"/>
                </a:lnTo>
                <a:lnTo>
                  <a:pt x="356" y="404"/>
                </a:lnTo>
                <a:lnTo>
                  <a:pt x="344" y="435"/>
                </a:lnTo>
                <a:lnTo>
                  <a:pt x="339" y="470"/>
                </a:lnTo>
                <a:lnTo>
                  <a:pt x="344" y="505"/>
                </a:lnTo>
                <a:lnTo>
                  <a:pt x="356" y="536"/>
                </a:lnTo>
                <a:lnTo>
                  <a:pt x="377" y="564"/>
                </a:lnTo>
                <a:lnTo>
                  <a:pt x="405" y="583"/>
                </a:lnTo>
                <a:lnTo>
                  <a:pt x="436" y="597"/>
                </a:lnTo>
                <a:lnTo>
                  <a:pt x="471" y="603"/>
                </a:lnTo>
                <a:lnTo>
                  <a:pt x="506" y="597"/>
                </a:lnTo>
                <a:lnTo>
                  <a:pt x="538" y="583"/>
                </a:lnTo>
                <a:lnTo>
                  <a:pt x="564" y="564"/>
                </a:lnTo>
                <a:lnTo>
                  <a:pt x="585" y="536"/>
                </a:lnTo>
                <a:lnTo>
                  <a:pt x="599" y="505"/>
                </a:lnTo>
                <a:lnTo>
                  <a:pt x="602" y="470"/>
                </a:lnTo>
                <a:lnTo>
                  <a:pt x="599" y="435"/>
                </a:lnTo>
                <a:lnTo>
                  <a:pt x="585" y="404"/>
                </a:lnTo>
                <a:lnTo>
                  <a:pt x="564" y="377"/>
                </a:lnTo>
                <a:lnTo>
                  <a:pt x="538" y="356"/>
                </a:lnTo>
                <a:lnTo>
                  <a:pt x="506" y="343"/>
                </a:lnTo>
                <a:lnTo>
                  <a:pt x="471" y="339"/>
                </a:lnTo>
                <a:close/>
                <a:moveTo>
                  <a:pt x="363" y="0"/>
                </a:moveTo>
                <a:lnTo>
                  <a:pt x="571" y="0"/>
                </a:lnTo>
                <a:lnTo>
                  <a:pt x="571" y="138"/>
                </a:lnTo>
                <a:lnTo>
                  <a:pt x="600" y="147"/>
                </a:lnTo>
                <a:lnTo>
                  <a:pt x="628" y="161"/>
                </a:lnTo>
                <a:lnTo>
                  <a:pt x="728" y="61"/>
                </a:lnTo>
                <a:lnTo>
                  <a:pt x="874" y="208"/>
                </a:lnTo>
                <a:lnTo>
                  <a:pt x="777" y="306"/>
                </a:lnTo>
                <a:lnTo>
                  <a:pt x="791" y="334"/>
                </a:lnTo>
                <a:lnTo>
                  <a:pt x="801" y="363"/>
                </a:lnTo>
                <a:lnTo>
                  <a:pt x="941" y="363"/>
                </a:lnTo>
                <a:lnTo>
                  <a:pt x="941" y="571"/>
                </a:lnTo>
                <a:lnTo>
                  <a:pt x="803" y="571"/>
                </a:lnTo>
                <a:lnTo>
                  <a:pt x="792" y="599"/>
                </a:lnTo>
                <a:lnTo>
                  <a:pt x="780" y="627"/>
                </a:lnTo>
                <a:lnTo>
                  <a:pt x="880" y="727"/>
                </a:lnTo>
                <a:lnTo>
                  <a:pt x="733" y="875"/>
                </a:lnTo>
                <a:lnTo>
                  <a:pt x="635" y="777"/>
                </a:lnTo>
                <a:lnTo>
                  <a:pt x="607" y="789"/>
                </a:lnTo>
                <a:lnTo>
                  <a:pt x="578" y="800"/>
                </a:lnTo>
                <a:lnTo>
                  <a:pt x="578" y="941"/>
                </a:lnTo>
                <a:lnTo>
                  <a:pt x="370" y="941"/>
                </a:lnTo>
                <a:lnTo>
                  <a:pt x="370" y="803"/>
                </a:lnTo>
                <a:lnTo>
                  <a:pt x="340" y="793"/>
                </a:lnTo>
                <a:lnTo>
                  <a:pt x="312" y="781"/>
                </a:lnTo>
                <a:lnTo>
                  <a:pt x="215" y="878"/>
                </a:lnTo>
                <a:lnTo>
                  <a:pt x="66" y="732"/>
                </a:lnTo>
                <a:lnTo>
                  <a:pt x="164" y="634"/>
                </a:lnTo>
                <a:lnTo>
                  <a:pt x="152" y="606"/>
                </a:lnTo>
                <a:lnTo>
                  <a:pt x="140" y="578"/>
                </a:lnTo>
                <a:lnTo>
                  <a:pt x="0" y="578"/>
                </a:lnTo>
                <a:lnTo>
                  <a:pt x="0" y="370"/>
                </a:lnTo>
                <a:lnTo>
                  <a:pt x="138" y="370"/>
                </a:lnTo>
                <a:lnTo>
                  <a:pt x="148" y="341"/>
                </a:lnTo>
                <a:lnTo>
                  <a:pt x="161" y="313"/>
                </a:lnTo>
                <a:lnTo>
                  <a:pt x="61" y="213"/>
                </a:lnTo>
                <a:lnTo>
                  <a:pt x="209" y="67"/>
                </a:lnTo>
                <a:lnTo>
                  <a:pt x="307" y="164"/>
                </a:lnTo>
                <a:lnTo>
                  <a:pt x="333" y="150"/>
                </a:lnTo>
                <a:lnTo>
                  <a:pt x="363" y="140"/>
                </a:lnTo>
                <a:lnTo>
                  <a:pt x="363" y="0"/>
                </a:lnTo>
                <a:close/>
              </a:path>
            </a:pathLst>
          </a:custGeom>
          <a:solidFill>
            <a:srgbClr val="009A4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22" name="Rounded Rectangle 21"/>
          <p:cNvSpPr/>
          <p:nvPr/>
        </p:nvSpPr>
        <p:spPr bwMode="gray">
          <a:xfrm rot="9000000">
            <a:off x="7442900" y="2560384"/>
            <a:ext cx="374729" cy="1257640"/>
          </a:xfrm>
          <a:prstGeom prst="roundRect">
            <a:avLst>
              <a:gd name="adj" fmla="val 50000"/>
            </a:avLst>
          </a:prstGeom>
          <a:noFill/>
          <a:ln w="19050" algn="ctr">
            <a:solidFill>
              <a:srgbClr val="75787B"/>
            </a:solidFill>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23" name="Freeform 10"/>
          <p:cNvSpPr>
            <a:spLocks noEditPoints="1"/>
          </p:cNvSpPr>
          <p:nvPr/>
        </p:nvSpPr>
        <p:spPr bwMode="auto">
          <a:xfrm>
            <a:off x="7597587" y="3308024"/>
            <a:ext cx="494348" cy="495400"/>
          </a:xfrm>
          <a:custGeom>
            <a:avLst/>
            <a:gdLst>
              <a:gd name="T0" fmla="*/ 436 w 941"/>
              <a:gd name="T1" fmla="*/ 343 h 941"/>
              <a:gd name="T2" fmla="*/ 377 w 941"/>
              <a:gd name="T3" fmla="*/ 377 h 941"/>
              <a:gd name="T4" fmla="*/ 344 w 941"/>
              <a:gd name="T5" fmla="*/ 435 h 941"/>
              <a:gd name="T6" fmla="*/ 344 w 941"/>
              <a:gd name="T7" fmla="*/ 505 h 941"/>
              <a:gd name="T8" fmla="*/ 377 w 941"/>
              <a:gd name="T9" fmla="*/ 564 h 941"/>
              <a:gd name="T10" fmla="*/ 436 w 941"/>
              <a:gd name="T11" fmla="*/ 597 h 941"/>
              <a:gd name="T12" fmla="*/ 506 w 941"/>
              <a:gd name="T13" fmla="*/ 597 h 941"/>
              <a:gd name="T14" fmla="*/ 564 w 941"/>
              <a:gd name="T15" fmla="*/ 564 h 941"/>
              <a:gd name="T16" fmla="*/ 599 w 941"/>
              <a:gd name="T17" fmla="*/ 505 h 941"/>
              <a:gd name="T18" fmla="*/ 599 w 941"/>
              <a:gd name="T19" fmla="*/ 435 h 941"/>
              <a:gd name="T20" fmla="*/ 564 w 941"/>
              <a:gd name="T21" fmla="*/ 377 h 941"/>
              <a:gd name="T22" fmla="*/ 506 w 941"/>
              <a:gd name="T23" fmla="*/ 343 h 941"/>
              <a:gd name="T24" fmla="*/ 363 w 941"/>
              <a:gd name="T25" fmla="*/ 0 h 941"/>
              <a:gd name="T26" fmla="*/ 571 w 941"/>
              <a:gd name="T27" fmla="*/ 138 h 941"/>
              <a:gd name="T28" fmla="*/ 628 w 941"/>
              <a:gd name="T29" fmla="*/ 161 h 941"/>
              <a:gd name="T30" fmla="*/ 874 w 941"/>
              <a:gd name="T31" fmla="*/ 208 h 941"/>
              <a:gd name="T32" fmla="*/ 791 w 941"/>
              <a:gd name="T33" fmla="*/ 334 h 941"/>
              <a:gd name="T34" fmla="*/ 941 w 941"/>
              <a:gd name="T35" fmla="*/ 363 h 941"/>
              <a:gd name="T36" fmla="*/ 803 w 941"/>
              <a:gd name="T37" fmla="*/ 571 h 941"/>
              <a:gd name="T38" fmla="*/ 780 w 941"/>
              <a:gd name="T39" fmla="*/ 627 h 941"/>
              <a:gd name="T40" fmla="*/ 733 w 941"/>
              <a:gd name="T41" fmla="*/ 875 h 941"/>
              <a:gd name="T42" fmla="*/ 607 w 941"/>
              <a:gd name="T43" fmla="*/ 789 h 941"/>
              <a:gd name="T44" fmla="*/ 578 w 941"/>
              <a:gd name="T45" fmla="*/ 941 h 941"/>
              <a:gd name="T46" fmla="*/ 370 w 941"/>
              <a:gd name="T47" fmla="*/ 803 h 941"/>
              <a:gd name="T48" fmla="*/ 312 w 941"/>
              <a:gd name="T49" fmla="*/ 781 h 941"/>
              <a:gd name="T50" fmla="*/ 66 w 941"/>
              <a:gd name="T51" fmla="*/ 732 h 941"/>
              <a:gd name="T52" fmla="*/ 152 w 941"/>
              <a:gd name="T53" fmla="*/ 606 h 941"/>
              <a:gd name="T54" fmla="*/ 0 w 941"/>
              <a:gd name="T55" fmla="*/ 578 h 941"/>
              <a:gd name="T56" fmla="*/ 138 w 941"/>
              <a:gd name="T57" fmla="*/ 370 h 941"/>
              <a:gd name="T58" fmla="*/ 161 w 941"/>
              <a:gd name="T59" fmla="*/ 313 h 941"/>
              <a:gd name="T60" fmla="*/ 209 w 941"/>
              <a:gd name="T61" fmla="*/ 67 h 941"/>
              <a:gd name="T62" fmla="*/ 333 w 941"/>
              <a:gd name="T63" fmla="*/ 150 h 941"/>
              <a:gd name="T64" fmla="*/ 363 w 941"/>
              <a:gd name="T65"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1" h="941">
                <a:moveTo>
                  <a:pt x="471" y="339"/>
                </a:moveTo>
                <a:lnTo>
                  <a:pt x="436" y="343"/>
                </a:lnTo>
                <a:lnTo>
                  <a:pt x="405" y="356"/>
                </a:lnTo>
                <a:lnTo>
                  <a:pt x="377" y="377"/>
                </a:lnTo>
                <a:lnTo>
                  <a:pt x="356" y="404"/>
                </a:lnTo>
                <a:lnTo>
                  <a:pt x="344" y="435"/>
                </a:lnTo>
                <a:lnTo>
                  <a:pt x="339" y="470"/>
                </a:lnTo>
                <a:lnTo>
                  <a:pt x="344" y="505"/>
                </a:lnTo>
                <a:lnTo>
                  <a:pt x="356" y="536"/>
                </a:lnTo>
                <a:lnTo>
                  <a:pt x="377" y="564"/>
                </a:lnTo>
                <a:lnTo>
                  <a:pt x="405" y="583"/>
                </a:lnTo>
                <a:lnTo>
                  <a:pt x="436" y="597"/>
                </a:lnTo>
                <a:lnTo>
                  <a:pt x="471" y="603"/>
                </a:lnTo>
                <a:lnTo>
                  <a:pt x="506" y="597"/>
                </a:lnTo>
                <a:lnTo>
                  <a:pt x="538" y="583"/>
                </a:lnTo>
                <a:lnTo>
                  <a:pt x="564" y="564"/>
                </a:lnTo>
                <a:lnTo>
                  <a:pt x="585" y="536"/>
                </a:lnTo>
                <a:lnTo>
                  <a:pt x="599" y="505"/>
                </a:lnTo>
                <a:lnTo>
                  <a:pt x="602" y="470"/>
                </a:lnTo>
                <a:lnTo>
                  <a:pt x="599" y="435"/>
                </a:lnTo>
                <a:lnTo>
                  <a:pt x="585" y="404"/>
                </a:lnTo>
                <a:lnTo>
                  <a:pt x="564" y="377"/>
                </a:lnTo>
                <a:lnTo>
                  <a:pt x="538" y="356"/>
                </a:lnTo>
                <a:lnTo>
                  <a:pt x="506" y="343"/>
                </a:lnTo>
                <a:lnTo>
                  <a:pt x="471" y="339"/>
                </a:lnTo>
                <a:close/>
                <a:moveTo>
                  <a:pt x="363" y="0"/>
                </a:moveTo>
                <a:lnTo>
                  <a:pt x="571" y="0"/>
                </a:lnTo>
                <a:lnTo>
                  <a:pt x="571" y="138"/>
                </a:lnTo>
                <a:lnTo>
                  <a:pt x="600" y="147"/>
                </a:lnTo>
                <a:lnTo>
                  <a:pt x="628" y="161"/>
                </a:lnTo>
                <a:lnTo>
                  <a:pt x="728" y="61"/>
                </a:lnTo>
                <a:lnTo>
                  <a:pt x="874" y="208"/>
                </a:lnTo>
                <a:lnTo>
                  <a:pt x="777" y="306"/>
                </a:lnTo>
                <a:lnTo>
                  <a:pt x="791" y="334"/>
                </a:lnTo>
                <a:lnTo>
                  <a:pt x="801" y="363"/>
                </a:lnTo>
                <a:lnTo>
                  <a:pt x="941" y="363"/>
                </a:lnTo>
                <a:lnTo>
                  <a:pt x="941" y="571"/>
                </a:lnTo>
                <a:lnTo>
                  <a:pt x="803" y="571"/>
                </a:lnTo>
                <a:lnTo>
                  <a:pt x="792" y="599"/>
                </a:lnTo>
                <a:lnTo>
                  <a:pt x="780" y="627"/>
                </a:lnTo>
                <a:lnTo>
                  <a:pt x="880" y="727"/>
                </a:lnTo>
                <a:lnTo>
                  <a:pt x="733" y="875"/>
                </a:lnTo>
                <a:lnTo>
                  <a:pt x="635" y="777"/>
                </a:lnTo>
                <a:lnTo>
                  <a:pt x="607" y="789"/>
                </a:lnTo>
                <a:lnTo>
                  <a:pt x="578" y="800"/>
                </a:lnTo>
                <a:lnTo>
                  <a:pt x="578" y="941"/>
                </a:lnTo>
                <a:lnTo>
                  <a:pt x="370" y="941"/>
                </a:lnTo>
                <a:lnTo>
                  <a:pt x="370" y="803"/>
                </a:lnTo>
                <a:lnTo>
                  <a:pt x="340" y="793"/>
                </a:lnTo>
                <a:lnTo>
                  <a:pt x="312" y="781"/>
                </a:lnTo>
                <a:lnTo>
                  <a:pt x="215" y="878"/>
                </a:lnTo>
                <a:lnTo>
                  <a:pt x="66" y="732"/>
                </a:lnTo>
                <a:lnTo>
                  <a:pt x="164" y="634"/>
                </a:lnTo>
                <a:lnTo>
                  <a:pt x="152" y="606"/>
                </a:lnTo>
                <a:lnTo>
                  <a:pt x="140" y="578"/>
                </a:lnTo>
                <a:lnTo>
                  <a:pt x="0" y="578"/>
                </a:lnTo>
                <a:lnTo>
                  <a:pt x="0" y="370"/>
                </a:lnTo>
                <a:lnTo>
                  <a:pt x="138" y="370"/>
                </a:lnTo>
                <a:lnTo>
                  <a:pt x="148" y="341"/>
                </a:lnTo>
                <a:lnTo>
                  <a:pt x="161" y="313"/>
                </a:lnTo>
                <a:lnTo>
                  <a:pt x="61" y="213"/>
                </a:lnTo>
                <a:lnTo>
                  <a:pt x="209" y="67"/>
                </a:lnTo>
                <a:lnTo>
                  <a:pt x="307" y="164"/>
                </a:lnTo>
                <a:lnTo>
                  <a:pt x="333" y="150"/>
                </a:lnTo>
                <a:lnTo>
                  <a:pt x="363" y="140"/>
                </a:lnTo>
                <a:lnTo>
                  <a:pt x="363" y="0"/>
                </a:lnTo>
                <a:close/>
              </a:path>
            </a:pathLst>
          </a:custGeom>
          <a:solidFill>
            <a:srgbClr val="009A4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24" name="Striped Right Arrow 23"/>
          <p:cNvSpPr/>
          <p:nvPr/>
        </p:nvSpPr>
        <p:spPr bwMode="gray">
          <a:xfrm rot="3600000">
            <a:off x="7753373" y="2727862"/>
            <a:ext cx="516397" cy="352705"/>
          </a:xfrm>
          <a:prstGeom prst="stripedRightArrow">
            <a:avLst>
              <a:gd name="adj1" fmla="val 67073"/>
              <a:gd name="adj2" fmla="val 50000"/>
            </a:avLst>
          </a:pr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25" name="Rounded Rectangle 24"/>
          <p:cNvSpPr/>
          <p:nvPr/>
        </p:nvSpPr>
        <p:spPr bwMode="gray">
          <a:xfrm>
            <a:off x="3094491" y="3457998"/>
            <a:ext cx="6422534" cy="210692"/>
          </a:xfrm>
          <a:prstGeom prst="roundRect">
            <a:avLst>
              <a:gd name="adj" fmla="val 50000"/>
            </a:avLst>
          </a:prstGeom>
          <a:solidFill>
            <a:srgbClr val="43B02A"/>
          </a:solidFill>
          <a:ln w="1270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300" dirty="0">
                <a:solidFill>
                  <a:srgbClr val="FFFFFF"/>
                </a:solidFill>
              </a:rPr>
              <a:t>Lorem </a:t>
            </a:r>
            <a:r>
              <a:rPr lang="en-US" sz="1300" dirty="0" err="1">
                <a:solidFill>
                  <a:srgbClr val="FFFFFF"/>
                </a:solidFill>
              </a:rPr>
              <a:t>ipsu</a:t>
            </a:r>
            <a:endParaRPr lang="en-GB" sz="1300" dirty="0">
              <a:solidFill>
                <a:srgbClr val="FFFFFF"/>
              </a:solidFill>
            </a:endParaRPr>
          </a:p>
        </p:txBody>
      </p:sp>
      <p:sp>
        <p:nvSpPr>
          <p:cNvPr id="26" name="TextBox 25"/>
          <p:cNvSpPr txBox="1"/>
          <p:nvPr/>
        </p:nvSpPr>
        <p:spPr>
          <a:xfrm>
            <a:off x="6177679" y="986212"/>
            <a:ext cx="1680422" cy="200055"/>
          </a:xfrm>
          <a:prstGeom prst="rect">
            <a:avLst/>
          </a:prstGeom>
          <a:noFill/>
        </p:spPr>
        <p:txBody>
          <a:bodyPr vert="horz" wrap="square" lIns="0" tIns="0" rIns="0" bIns="0" rtlCol="0">
            <a:spAutoFit/>
          </a:bodyPr>
          <a:lstStyle/>
          <a:p>
            <a:pPr algn="ctr">
              <a:buSzPct val="100000"/>
            </a:pPr>
            <a:r>
              <a:rPr lang="en-US" sz="1300" b="1" dirty="0">
                <a:solidFill>
                  <a:srgbClr val="AEC000"/>
                </a:solidFill>
              </a:rPr>
              <a:t>Lorem ipsum</a:t>
            </a:r>
            <a:endParaRPr lang="en-GB" sz="1300" b="1" dirty="0">
              <a:solidFill>
                <a:srgbClr val="AEC000"/>
              </a:solidFill>
            </a:endParaRPr>
          </a:p>
        </p:txBody>
      </p:sp>
      <p:sp>
        <p:nvSpPr>
          <p:cNvPr id="27" name="TextBox 26"/>
          <p:cNvSpPr txBox="1"/>
          <p:nvPr/>
        </p:nvSpPr>
        <p:spPr>
          <a:xfrm>
            <a:off x="4970118" y="1941322"/>
            <a:ext cx="977761" cy="200055"/>
          </a:xfrm>
          <a:prstGeom prst="rect">
            <a:avLst/>
          </a:prstGeom>
          <a:noFill/>
        </p:spPr>
        <p:txBody>
          <a:bodyPr vert="horz" wrap="square" lIns="0" tIns="0" rIns="0" bIns="0" rtlCol="0">
            <a:spAutoFit/>
          </a:bodyPr>
          <a:lstStyle/>
          <a:p>
            <a:pPr algn="ctr">
              <a:buSzPct val="100000"/>
            </a:pPr>
            <a:r>
              <a:rPr lang="en-US" sz="1300" b="1" dirty="0">
                <a:solidFill>
                  <a:srgbClr val="63666A"/>
                </a:solidFill>
              </a:rPr>
              <a:t>Lorem ipsum</a:t>
            </a:r>
            <a:endParaRPr lang="en-GB" sz="1300" b="1" dirty="0">
              <a:solidFill>
                <a:srgbClr val="63666A"/>
              </a:solidFill>
            </a:endParaRPr>
          </a:p>
        </p:txBody>
      </p:sp>
      <p:sp>
        <p:nvSpPr>
          <p:cNvPr id="28" name="TextBox 27"/>
          <p:cNvSpPr txBox="1"/>
          <p:nvPr/>
        </p:nvSpPr>
        <p:spPr>
          <a:xfrm>
            <a:off x="8421529" y="1707451"/>
            <a:ext cx="1038225" cy="200055"/>
          </a:xfrm>
          <a:prstGeom prst="rect">
            <a:avLst/>
          </a:prstGeom>
          <a:noFill/>
        </p:spPr>
        <p:txBody>
          <a:bodyPr vert="horz" wrap="square" lIns="0" tIns="0" rIns="0" bIns="0" rtlCol="0">
            <a:spAutoFit/>
          </a:bodyPr>
          <a:lstStyle/>
          <a:p>
            <a:pPr algn="ctr">
              <a:buSzPct val="100000"/>
            </a:pPr>
            <a:r>
              <a:rPr lang="en-US" sz="1300" b="1" dirty="0">
                <a:solidFill>
                  <a:srgbClr val="86BC25"/>
                </a:solidFill>
              </a:rPr>
              <a:t>Lorem ipsum</a:t>
            </a:r>
            <a:endParaRPr lang="en-GB" sz="1300" b="1" dirty="0">
              <a:solidFill>
                <a:srgbClr val="86BC25"/>
              </a:solidFill>
            </a:endParaRPr>
          </a:p>
        </p:txBody>
      </p:sp>
      <p:sp>
        <p:nvSpPr>
          <p:cNvPr id="29" name="TextBox 28"/>
          <p:cNvSpPr txBox="1"/>
          <p:nvPr/>
        </p:nvSpPr>
        <p:spPr>
          <a:xfrm rot="19551801">
            <a:off x="8116123" y="2556329"/>
            <a:ext cx="430631" cy="200055"/>
          </a:xfrm>
          <a:prstGeom prst="rect">
            <a:avLst/>
          </a:prstGeom>
          <a:noFill/>
        </p:spPr>
        <p:txBody>
          <a:bodyPr vert="horz" wrap="none" lIns="0" tIns="0" rIns="0" bIns="0" rtlCol="0">
            <a:spAutoFit/>
          </a:bodyPr>
          <a:lstStyle/>
          <a:p>
            <a:pPr>
              <a:buSzPct val="100000"/>
            </a:pPr>
            <a:r>
              <a:rPr lang="en-US" sz="1300" dirty="0"/>
              <a:t>Lorem</a:t>
            </a:r>
            <a:endParaRPr lang="en-GB" sz="1300" dirty="0"/>
          </a:p>
        </p:txBody>
      </p:sp>
      <p:sp>
        <p:nvSpPr>
          <p:cNvPr id="30" name="TextBox 29"/>
          <p:cNvSpPr txBox="1"/>
          <p:nvPr/>
        </p:nvSpPr>
        <p:spPr>
          <a:xfrm>
            <a:off x="2637545" y="2819323"/>
            <a:ext cx="989018" cy="200055"/>
          </a:xfrm>
          <a:prstGeom prst="rect">
            <a:avLst/>
          </a:prstGeom>
          <a:noFill/>
        </p:spPr>
        <p:txBody>
          <a:bodyPr vert="horz" wrap="square" lIns="0" tIns="0" rIns="0" bIns="0" rtlCol="0">
            <a:spAutoFit/>
          </a:bodyPr>
          <a:lstStyle/>
          <a:p>
            <a:pPr algn="ctr">
              <a:buSzPct val="100000"/>
            </a:pPr>
            <a:r>
              <a:rPr lang="en-US" sz="1300" b="1" dirty="0">
                <a:solidFill>
                  <a:srgbClr val="009A44"/>
                </a:solidFill>
              </a:rPr>
              <a:t>Lorem ipsum</a:t>
            </a:r>
            <a:endParaRPr lang="en-GB" sz="1300" b="1" dirty="0">
              <a:solidFill>
                <a:srgbClr val="009A44"/>
              </a:solidFill>
            </a:endParaRPr>
          </a:p>
        </p:txBody>
      </p:sp>
      <p:sp>
        <p:nvSpPr>
          <p:cNvPr id="31" name="TextBox 30"/>
          <p:cNvSpPr txBox="1"/>
          <p:nvPr/>
        </p:nvSpPr>
        <p:spPr>
          <a:xfrm>
            <a:off x="4218031" y="2819323"/>
            <a:ext cx="1108405" cy="200055"/>
          </a:xfrm>
          <a:prstGeom prst="rect">
            <a:avLst/>
          </a:prstGeom>
          <a:noFill/>
        </p:spPr>
        <p:txBody>
          <a:bodyPr vert="horz" wrap="square" lIns="0" tIns="0" rIns="0" bIns="0" rtlCol="0">
            <a:spAutoFit/>
          </a:bodyPr>
          <a:lstStyle/>
          <a:p>
            <a:pPr algn="ctr">
              <a:buSzPct val="100000"/>
            </a:pPr>
            <a:r>
              <a:rPr lang="en-US" sz="1300" b="1" dirty="0">
                <a:solidFill>
                  <a:srgbClr val="009A44"/>
                </a:solidFill>
              </a:rPr>
              <a:t>Lorem ipsum</a:t>
            </a:r>
            <a:endParaRPr lang="en-GB" sz="1300" b="1" dirty="0">
              <a:solidFill>
                <a:srgbClr val="009A44"/>
              </a:solidFill>
            </a:endParaRPr>
          </a:p>
        </p:txBody>
      </p:sp>
      <p:sp>
        <p:nvSpPr>
          <p:cNvPr id="32" name="TextBox 31"/>
          <p:cNvSpPr txBox="1"/>
          <p:nvPr/>
        </p:nvSpPr>
        <p:spPr>
          <a:xfrm>
            <a:off x="8599076" y="2819323"/>
            <a:ext cx="1623828" cy="200055"/>
          </a:xfrm>
          <a:prstGeom prst="rect">
            <a:avLst/>
          </a:prstGeom>
          <a:noFill/>
        </p:spPr>
        <p:txBody>
          <a:bodyPr vert="horz" wrap="square" lIns="0" tIns="0" rIns="0" bIns="0" rtlCol="0">
            <a:spAutoFit/>
          </a:bodyPr>
          <a:lstStyle/>
          <a:p>
            <a:pPr algn="ctr">
              <a:buSzPct val="100000"/>
            </a:pPr>
            <a:r>
              <a:rPr lang="en-US" sz="1300" b="1" dirty="0">
                <a:solidFill>
                  <a:srgbClr val="009A44"/>
                </a:solidFill>
              </a:rPr>
              <a:t>Lorem ipsum</a:t>
            </a:r>
            <a:endParaRPr lang="en-GB" sz="1300" b="1" dirty="0">
              <a:solidFill>
                <a:srgbClr val="009A44"/>
              </a:solidFill>
            </a:endParaRPr>
          </a:p>
        </p:txBody>
      </p:sp>
      <p:grpSp>
        <p:nvGrpSpPr>
          <p:cNvPr id="33" name="Group 32"/>
          <p:cNvGrpSpPr/>
          <p:nvPr/>
        </p:nvGrpSpPr>
        <p:grpSpPr>
          <a:xfrm>
            <a:off x="9720471" y="4016739"/>
            <a:ext cx="426774" cy="624841"/>
            <a:chOff x="8077201" y="4290064"/>
            <a:chExt cx="426774" cy="624841"/>
          </a:xfrm>
          <a:solidFill>
            <a:srgbClr val="53565A"/>
          </a:solidFill>
        </p:grpSpPr>
        <p:sp>
          <p:nvSpPr>
            <p:cNvPr id="34" name="Striped Right Arrow 33"/>
            <p:cNvSpPr/>
            <p:nvPr/>
          </p:nvSpPr>
          <p:spPr bwMode="gray">
            <a:xfrm rot="5400000">
              <a:off x="7978167" y="4389098"/>
              <a:ext cx="624841" cy="426774"/>
            </a:xfrm>
            <a:prstGeom prst="stripedRightArrow">
              <a:avLst>
                <a:gd name="adj1" fmla="val 67073"/>
                <a:gd name="adj2" fmla="val 50000"/>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GB" sz="1300" b="1">
                <a:solidFill>
                  <a:schemeClr val="bg1"/>
                </a:solidFill>
              </a:endParaRPr>
            </a:p>
          </p:txBody>
        </p:sp>
        <p:sp>
          <p:nvSpPr>
            <p:cNvPr id="35" name="TextBox 34"/>
            <p:cNvSpPr txBox="1"/>
            <p:nvPr/>
          </p:nvSpPr>
          <p:spPr>
            <a:xfrm rot="5400000">
              <a:off x="8062497" y="4501292"/>
              <a:ext cx="469103" cy="200055"/>
            </a:xfrm>
            <a:prstGeom prst="rect">
              <a:avLst/>
            </a:prstGeom>
            <a:grpFill/>
          </p:spPr>
          <p:txBody>
            <a:bodyPr vert="horz" wrap="none" lIns="0" tIns="0" rIns="0" bIns="0" rtlCol="0">
              <a:spAutoFit/>
            </a:bodyPr>
            <a:lstStyle/>
            <a:p>
              <a:pPr>
                <a:buSzPct val="100000"/>
              </a:pPr>
              <a:r>
                <a:rPr lang="en-US" sz="1300" dirty="0">
                  <a:solidFill>
                    <a:schemeClr val="bg1"/>
                  </a:solidFill>
                </a:rPr>
                <a:t>Lorem </a:t>
              </a:r>
              <a:endParaRPr lang="en-GB" sz="1300" dirty="0">
                <a:solidFill>
                  <a:schemeClr val="bg1"/>
                </a:solidFill>
              </a:endParaRPr>
            </a:p>
          </p:txBody>
        </p:sp>
      </p:grpSp>
      <p:sp>
        <p:nvSpPr>
          <p:cNvPr id="36" name="TextBox 35"/>
          <p:cNvSpPr txBox="1"/>
          <p:nvPr/>
        </p:nvSpPr>
        <p:spPr>
          <a:xfrm>
            <a:off x="5859271" y="2819323"/>
            <a:ext cx="892972" cy="200055"/>
          </a:xfrm>
          <a:prstGeom prst="rect">
            <a:avLst/>
          </a:prstGeom>
          <a:noFill/>
        </p:spPr>
        <p:txBody>
          <a:bodyPr vert="horz" wrap="square" lIns="0" tIns="0" rIns="0" bIns="0" rtlCol="0">
            <a:spAutoFit/>
          </a:bodyPr>
          <a:lstStyle/>
          <a:p>
            <a:pPr algn="ctr">
              <a:buSzPct val="100000"/>
            </a:pPr>
            <a:r>
              <a:rPr lang="en-US" sz="1300" b="1" dirty="0">
                <a:solidFill>
                  <a:srgbClr val="009A44"/>
                </a:solidFill>
              </a:rPr>
              <a:t>Lorem ipsum</a:t>
            </a:r>
            <a:endParaRPr lang="en-GB" sz="1300" b="1" dirty="0">
              <a:solidFill>
                <a:srgbClr val="009A44"/>
              </a:solidFill>
            </a:endParaRPr>
          </a:p>
        </p:txBody>
      </p:sp>
      <p:sp>
        <p:nvSpPr>
          <p:cNvPr id="37" name="TextBox 36"/>
          <p:cNvSpPr txBox="1"/>
          <p:nvPr/>
        </p:nvSpPr>
        <p:spPr>
          <a:xfrm>
            <a:off x="1643270" y="1179198"/>
            <a:ext cx="1804988" cy="380252"/>
          </a:xfrm>
          <a:prstGeom prst="homePlate">
            <a:avLst>
              <a:gd name="adj" fmla="val 46025"/>
            </a:avLst>
          </a:prstGeom>
          <a:solidFill>
            <a:srgbClr val="009A44"/>
          </a:solidFill>
        </p:spPr>
        <p:txBody>
          <a:bodyPr vert="horz" wrap="square" lIns="365760" tIns="0" rIns="0" bIns="0" rtlCol="0" anchor="ctr" anchorCtr="0">
            <a:noAutofit/>
          </a:bodyPr>
          <a:lstStyle/>
          <a:p>
            <a:pPr>
              <a:buSzPct val="100000"/>
            </a:pPr>
            <a:r>
              <a:rPr lang="en-US" sz="1600" b="1" dirty="0">
                <a:solidFill>
                  <a:schemeClr val="bg1"/>
                </a:solidFill>
              </a:rPr>
              <a:t>Lorem ipsum </a:t>
            </a:r>
            <a:endParaRPr lang="en-GB" sz="1600" b="1" dirty="0">
              <a:solidFill>
                <a:schemeClr val="bg1"/>
              </a:solidFill>
            </a:endParaRPr>
          </a:p>
        </p:txBody>
      </p:sp>
      <p:grpSp>
        <p:nvGrpSpPr>
          <p:cNvPr id="38" name="Group 37"/>
          <p:cNvGrpSpPr/>
          <p:nvPr/>
        </p:nvGrpSpPr>
        <p:grpSpPr>
          <a:xfrm>
            <a:off x="5015120" y="4016739"/>
            <a:ext cx="426774" cy="624841"/>
            <a:chOff x="8077201" y="4290064"/>
            <a:chExt cx="426774" cy="624841"/>
          </a:xfrm>
          <a:solidFill>
            <a:srgbClr val="53565A"/>
          </a:solidFill>
        </p:grpSpPr>
        <p:sp>
          <p:nvSpPr>
            <p:cNvPr id="39" name="Striped Right Arrow 38"/>
            <p:cNvSpPr/>
            <p:nvPr/>
          </p:nvSpPr>
          <p:spPr bwMode="gray">
            <a:xfrm rot="5400000">
              <a:off x="7978167" y="4389098"/>
              <a:ext cx="624841" cy="426774"/>
            </a:xfrm>
            <a:prstGeom prst="stripedRightArrow">
              <a:avLst>
                <a:gd name="adj1" fmla="val 67073"/>
                <a:gd name="adj2" fmla="val 50000"/>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GB" sz="1300" b="1">
                <a:solidFill>
                  <a:schemeClr val="bg1"/>
                </a:solidFill>
              </a:endParaRPr>
            </a:p>
          </p:txBody>
        </p:sp>
        <p:sp>
          <p:nvSpPr>
            <p:cNvPr id="40" name="TextBox 39"/>
            <p:cNvSpPr txBox="1"/>
            <p:nvPr/>
          </p:nvSpPr>
          <p:spPr>
            <a:xfrm rot="5400000">
              <a:off x="8062497" y="4501292"/>
              <a:ext cx="469103" cy="200055"/>
            </a:xfrm>
            <a:prstGeom prst="rect">
              <a:avLst/>
            </a:prstGeom>
            <a:grpFill/>
          </p:spPr>
          <p:txBody>
            <a:bodyPr vert="horz" wrap="none" lIns="0" tIns="0" rIns="0" bIns="0" rtlCol="0">
              <a:spAutoFit/>
            </a:bodyPr>
            <a:lstStyle/>
            <a:p>
              <a:pPr>
                <a:buSzPct val="100000"/>
              </a:pPr>
              <a:r>
                <a:rPr lang="en-US" sz="1300" dirty="0">
                  <a:solidFill>
                    <a:schemeClr val="bg1"/>
                  </a:solidFill>
                </a:rPr>
                <a:t>Lorem </a:t>
              </a:r>
              <a:endParaRPr lang="en-GB" sz="1300" dirty="0">
                <a:solidFill>
                  <a:schemeClr val="bg1"/>
                </a:solidFill>
              </a:endParaRPr>
            </a:p>
          </p:txBody>
        </p:sp>
      </p:grpSp>
      <p:sp>
        <p:nvSpPr>
          <p:cNvPr id="41" name="Rectangle 40"/>
          <p:cNvSpPr/>
          <p:nvPr/>
        </p:nvSpPr>
        <p:spPr bwMode="gray">
          <a:xfrm>
            <a:off x="2019509" y="4156307"/>
            <a:ext cx="1538287" cy="780034"/>
          </a:xfrm>
          <a:prstGeom prst="rect">
            <a:avLst/>
          </a:prstGeom>
          <a:solidFill>
            <a:srgbClr val="43B02A"/>
          </a:solidFill>
          <a:ln w="12700" algn="ctr">
            <a:noFill/>
            <a:miter lim="800000"/>
            <a:headEnd/>
            <a:tailEnd/>
          </a:ln>
        </p:spPr>
        <p:txBody>
          <a:bodyPr wrap="square" lIns="88900" tIns="88900" rIns="0" bIns="88900" rtlCol="0" anchor="ctr"/>
          <a:lstStyle/>
          <a:p>
            <a:pPr>
              <a:buSzPct val="100000"/>
            </a:pPr>
            <a:r>
              <a:rPr lang="en-US" sz="1300" b="1" dirty="0">
                <a:solidFill>
                  <a:srgbClr val="FFFFFF"/>
                </a:solidFill>
              </a:rPr>
              <a:t>Lorem ipsum </a:t>
            </a:r>
          </a:p>
          <a:p>
            <a:pPr>
              <a:buSzPct val="100000"/>
            </a:pPr>
            <a:r>
              <a:rPr lang="da-DK" sz="1300" dirty="0">
                <a:solidFill>
                  <a:srgbClr val="FFFFFF"/>
                </a:solidFill>
              </a:rPr>
              <a:t>Lorem ipsum dolor sit amet</a:t>
            </a:r>
            <a:endParaRPr lang="en-US" sz="1300" dirty="0">
              <a:solidFill>
                <a:srgbClr val="FFFFFF"/>
              </a:solidFill>
            </a:endParaRPr>
          </a:p>
        </p:txBody>
      </p:sp>
      <p:cxnSp>
        <p:nvCxnSpPr>
          <p:cNvPr id="42" name="Straight Connector 41"/>
          <p:cNvCxnSpPr>
            <a:stCxn id="41" idx="3"/>
          </p:cNvCxnSpPr>
          <p:nvPr/>
        </p:nvCxnSpPr>
        <p:spPr>
          <a:xfrm>
            <a:off x="3557796" y="4546325"/>
            <a:ext cx="428625" cy="276225"/>
          </a:xfrm>
          <a:prstGeom prst="line">
            <a:avLst/>
          </a:prstGeom>
          <a:solidFill>
            <a:schemeClr val="bg1"/>
          </a:solidFill>
          <a:ln w="12700" algn="ctr">
            <a:solidFill>
              <a:srgbClr val="009A44"/>
            </a:solidFill>
            <a:miter lim="800000"/>
            <a:headEnd/>
            <a:tailEnd/>
          </a:ln>
        </p:spPr>
      </p:cxnSp>
      <p:cxnSp>
        <p:nvCxnSpPr>
          <p:cNvPr id="43" name="Straight Connector 42"/>
          <p:cNvCxnSpPr>
            <a:stCxn id="4" idx="3"/>
          </p:cNvCxnSpPr>
          <p:nvPr/>
        </p:nvCxnSpPr>
        <p:spPr>
          <a:xfrm>
            <a:off x="8067884" y="4660624"/>
            <a:ext cx="471487" cy="209550"/>
          </a:xfrm>
          <a:prstGeom prst="line">
            <a:avLst/>
          </a:prstGeom>
          <a:solidFill>
            <a:schemeClr val="bg1"/>
          </a:solidFill>
          <a:ln w="12700" algn="ctr">
            <a:solidFill>
              <a:srgbClr val="009A44"/>
            </a:solidFill>
            <a:miter lim="800000"/>
            <a:headEnd/>
            <a:tailEnd/>
          </a:ln>
        </p:spPr>
      </p:cxnSp>
      <p:sp>
        <p:nvSpPr>
          <p:cNvPr id="44" name="Rectangle 43"/>
          <p:cNvSpPr/>
          <p:nvPr/>
        </p:nvSpPr>
        <p:spPr bwMode="gray">
          <a:xfrm>
            <a:off x="3676859" y="1005412"/>
            <a:ext cx="1459057" cy="780034"/>
          </a:xfrm>
          <a:prstGeom prst="rect">
            <a:avLst/>
          </a:prstGeom>
          <a:solidFill>
            <a:srgbClr val="43B02A"/>
          </a:solidFill>
          <a:ln w="12700" algn="ctr">
            <a:noFill/>
            <a:miter lim="800000"/>
            <a:headEnd/>
            <a:tailEnd/>
          </a:ln>
        </p:spPr>
        <p:txBody>
          <a:bodyPr wrap="square" lIns="88900" tIns="88900" rIns="0" bIns="88900" rtlCol="0" anchor="ctr"/>
          <a:lstStyle/>
          <a:p>
            <a:pPr>
              <a:buSzPct val="100000"/>
            </a:pPr>
            <a:r>
              <a:rPr lang="en-US" sz="1300" b="1" dirty="0">
                <a:solidFill>
                  <a:srgbClr val="FFFFFF"/>
                </a:solidFill>
              </a:rPr>
              <a:t>Lorem ipsum </a:t>
            </a:r>
          </a:p>
          <a:p>
            <a:pPr>
              <a:buSzPct val="100000"/>
            </a:pPr>
            <a:r>
              <a:rPr lang="da-DK" sz="1300" dirty="0">
                <a:solidFill>
                  <a:srgbClr val="FFFFFF"/>
                </a:solidFill>
              </a:rPr>
              <a:t>Lorem ipsum dolor sit amet</a:t>
            </a:r>
            <a:endParaRPr lang="en-US" sz="1300" dirty="0">
              <a:solidFill>
                <a:srgbClr val="FFFFFF"/>
              </a:solidFill>
            </a:endParaRPr>
          </a:p>
        </p:txBody>
      </p:sp>
      <p:cxnSp>
        <p:nvCxnSpPr>
          <p:cNvPr id="45" name="Straight Connector 44"/>
          <p:cNvCxnSpPr>
            <a:stCxn id="44" idx="3"/>
          </p:cNvCxnSpPr>
          <p:nvPr/>
        </p:nvCxnSpPr>
        <p:spPr>
          <a:xfrm>
            <a:off x="5135916" y="1395430"/>
            <a:ext cx="777011" cy="258379"/>
          </a:xfrm>
          <a:prstGeom prst="line">
            <a:avLst/>
          </a:prstGeom>
          <a:solidFill>
            <a:schemeClr val="bg1"/>
          </a:solidFill>
          <a:ln w="12700" algn="ctr">
            <a:solidFill>
              <a:srgbClr val="009A44"/>
            </a:solidFill>
            <a:miter lim="800000"/>
            <a:headEnd/>
            <a:tailEnd/>
          </a:ln>
        </p:spPr>
      </p:cxnSp>
    </p:spTree>
    <p:custDataLst>
      <p:tags r:id="rId1"/>
    </p:custDataLst>
    <p:extLst>
      <p:ext uri="{BB962C8B-B14F-4D97-AF65-F5344CB8AC3E}">
        <p14:creationId xmlns:p14="http://schemas.microsoft.com/office/powerpoint/2010/main" val="1231236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endCondLst>
                                    <p:cond evt="onNext" delay="0">
                                      <p:tgtEl>
                                        <p:sldTgt/>
                                      </p:tgtEl>
                                    </p:cond>
                                  </p:endCondLst>
                                  <p:childTnLst>
                                    <p:animRot by="21600000">
                                      <p:cBhvr>
                                        <p:cTn id="6" dur="5000" fill="hold"/>
                                        <p:tgtEl>
                                          <p:spTgt spid="11"/>
                                        </p:tgtEl>
                                        <p:attrNameLst>
                                          <p:attrName>r</p:attrName>
                                        </p:attrNameLst>
                                      </p:cBhvr>
                                    </p:animRot>
                                  </p:childTnLst>
                                </p:cTn>
                              </p:par>
                              <p:par>
                                <p:cTn id="7" presetID="8" presetClass="emph" presetSubtype="0" repeatCount="indefinite" fill="hold" grpId="0" nodeType="withEffect">
                                  <p:stCondLst>
                                    <p:cond delay="0"/>
                                  </p:stCondLst>
                                  <p:endCondLst>
                                    <p:cond evt="onNext" delay="0">
                                      <p:tgtEl>
                                        <p:sldTgt/>
                                      </p:tgtEl>
                                    </p:cond>
                                  </p:endCondLst>
                                  <p:childTnLst>
                                    <p:animRot by="21600000">
                                      <p:cBhvr>
                                        <p:cTn id="8" dur="5000" fill="hold"/>
                                        <p:tgtEl>
                                          <p:spTgt spid="10"/>
                                        </p:tgtEl>
                                        <p:attrNameLst>
                                          <p:attrName>r</p:attrName>
                                        </p:attrNameLst>
                                      </p:cBhvr>
                                    </p:animRot>
                                  </p:childTnLst>
                                </p:cTn>
                              </p:par>
                              <p:par>
                                <p:cTn id="9" presetID="8" presetClass="emph" presetSubtype="0" repeatCount="indefinite" fill="hold" grpId="0" nodeType="withEffect">
                                  <p:stCondLst>
                                    <p:cond delay="0"/>
                                  </p:stCondLst>
                                  <p:endCondLst>
                                    <p:cond evt="onNext" delay="0">
                                      <p:tgtEl>
                                        <p:sldTgt/>
                                      </p:tgtEl>
                                    </p:cond>
                                  </p:endCondLst>
                                  <p:childTnLst>
                                    <p:animRot by="21600000">
                                      <p:cBhvr>
                                        <p:cTn id="10" dur="5000" fill="hold"/>
                                        <p:tgtEl>
                                          <p:spTgt spid="12"/>
                                        </p:tgtEl>
                                        <p:attrNameLst>
                                          <p:attrName>r</p:attrName>
                                        </p:attrNameLst>
                                      </p:cBhvr>
                                    </p:animRot>
                                  </p:childTnLst>
                                </p:cTn>
                              </p:par>
                              <p:par>
                                <p:cTn id="11" presetID="8" presetClass="emph" presetSubtype="0" repeatCount="indefinite" fill="hold" grpId="0" nodeType="withEffect">
                                  <p:stCondLst>
                                    <p:cond delay="0"/>
                                  </p:stCondLst>
                                  <p:endCondLst>
                                    <p:cond evt="onNext" delay="0">
                                      <p:tgtEl>
                                        <p:sldTgt/>
                                      </p:tgtEl>
                                    </p:cond>
                                  </p:endCondLst>
                                  <p:childTnLst>
                                    <p:animRot by="21600000">
                                      <p:cBhvr>
                                        <p:cTn id="12" dur="5000" fill="hold"/>
                                        <p:tgtEl>
                                          <p:spTgt spid="23"/>
                                        </p:tgtEl>
                                        <p:attrNameLst>
                                          <p:attrName>r</p:attrName>
                                        </p:attrNameLst>
                                      </p:cBhvr>
                                    </p:animRot>
                                  </p:childTnLst>
                                </p:cTn>
                              </p:par>
                              <p:par>
                                <p:cTn id="13" presetID="8" presetClass="emph" presetSubtype="0" repeatCount="indefinite" fill="hold" grpId="0" nodeType="withEffect">
                                  <p:stCondLst>
                                    <p:cond delay="0"/>
                                  </p:stCondLst>
                                  <p:endCondLst>
                                    <p:cond evt="onNext" delay="0">
                                      <p:tgtEl>
                                        <p:sldTgt/>
                                      </p:tgtEl>
                                    </p:cond>
                                  </p:endCondLst>
                                  <p:childTnLst>
                                    <p:animRot by="21600000">
                                      <p:cBhvr>
                                        <p:cTn id="14" dur="5000" fill="hold"/>
                                        <p:tgtEl>
                                          <p:spTgt spid="21"/>
                                        </p:tgtEl>
                                        <p:attrNameLst>
                                          <p:attrName>r</p:attrName>
                                        </p:attrNameLst>
                                      </p:cBhvr>
                                    </p:animRot>
                                  </p:childTnLst>
                                </p:cTn>
                              </p:par>
                              <p:par>
                                <p:cTn id="15" presetID="8" presetClass="emph" presetSubtype="0" repeatCount="indefinite" fill="hold" grpId="0" nodeType="withEffect">
                                  <p:stCondLst>
                                    <p:cond delay="0"/>
                                  </p:stCondLst>
                                  <p:endCondLst>
                                    <p:cond evt="onNext" delay="0">
                                      <p:tgtEl>
                                        <p:sldTgt/>
                                      </p:tgtEl>
                                    </p:cond>
                                  </p:endCondLst>
                                  <p:childTnLst>
                                    <p:animRot by="21600000">
                                      <p:cBhvr>
                                        <p:cTn id="16" dur="5000" fill="hold"/>
                                        <p:tgtEl>
                                          <p:spTgt spid="13"/>
                                        </p:tgtEl>
                                        <p:attrNameLst>
                                          <p:attrName>r</p:attrName>
                                        </p:attrNameLst>
                                      </p:cBhvr>
                                    </p:animRot>
                                  </p:childTnLst>
                                </p:cTn>
                              </p:par>
                              <p:par>
                                <p:cTn id="17" presetID="8" presetClass="emph" presetSubtype="0" repeatCount="indefinite" fill="hold" grpId="0" nodeType="withEffect">
                                  <p:stCondLst>
                                    <p:cond delay="0"/>
                                  </p:stCondLst>
                                  <p:endCondLst>
                                    <p:cond evt="onNext" delay="0">
                                      <p:tgtEl>
                                        <p:sldTgt/>
                                      </p:tgtEl>
                                    </p:cond>
                                  </p:endCondLst>
                                  <p:childTnLst>
                                    <p:animRot by="21600000">
                                      <p:cBhvr>
                                        <p:cTn id="18" dur="5000" fill="hold"/>
                                        <p:tgtEl>
                                          <p:spTgt spid="20"/>
                                        </p:tgtEl>
                                        <p:attrNameLst>
                                          <p:attrName>r</p:attrName>
                                        </p:attrNameLst>
                                      </p:cBhvr>
                                    </p:animRot>
                                  </p:childTnLst>
                                </p:cTn>
                              </p:par>
                              <p:par>
                                <p:cTn id="19" presetID="8" presetClass="emph" presetSubtype="0" repeatCount="indefinite" fill="hold" grpId="0" nodeType="withEffect">
                                  <p:stCondLst>
                                    <p:cond delay="0"/>
                                  </p:stCondLst>
                                  <p:endCondLst>
                                    <p:cond evt="onNext" delay="0">
                                      <p:tgtEl>
                                        <p:sldTgt/>
                                      </p:tgtEl>
                                    </p:cond>
                                  </p:endCondLst>
                                  <p:childTnLst>
                                    <p:animRot by="21600000">
                                      <p:cBhvr>
                                        <p:cTn id="20" dur="5000" fill="hold"/>
                                        <p:tgtEl>
                                          <p:spTgt spid="8"/>
                                        </p:tgtEl>
                                        <p:attrNameLst>
                                          <p:attrName>r</p:attrName>
                                        </p:attrNameLst>
                                      </p:cBhvr>
                                    </p:animRot>
                                  </p:childTnLst>
                                </p:cTn>
                              </p:par>
                              <p:par>
                                <p:cTn id="21" presetID="8" presetClass="emph" presetSubtype="0" repeatCount="indefinite" fill="hold" grpId="0" nodeType="withEffect">
                                  <p:stCondLst>
                                    <p:cond delay="0"/>
                                  </p:stCondLst>
                                  <p:endCondLst>
                                    <p:cond evt="onNext" delay="0">
                                      <p:tgtEl>
                                        <p:sldTgt/>
                                      </p:tgtEl>
                                    </p:cond>
                                  </p:endCondLst>
                                  <p:childTnLst>
                                    <p:animRot by="21600000">
                                      <p:cBhvr>
                                        <p:cTn id="22" dur="5000" fill="hold"/>
                                        <p:tgtEl>
                                          <p:spTgt spid="15"/>
                                        </p:tgtEl>
                                        <p:attrNameLst>
                                          <p:attrName>r</p:attrName>
                                        </p:attrNameLst>
                                      </p:cBhvr>
                                    </p:animRot>
                                  </p:childTnLst>
                                </p:cTn>
                              </p:par>
                              <p:par>
                                <p:cTn id="23" presetID="8" presetClass="emph" presetSubtype="0" repeatCount="indefinite" fill="hold" grpId="0" nodeType="withEffect">
                                  <p:stCondLst>
                                    <p:cond delay="0"/>
                                  </p:stCondLst>
                                  <p:endCondLst>
                                    <p:cond evt="onNext" delay="0">
                                      <p:tgtEl>
                                        <p:sldTgt/>
                                      </p:tgtEl>
                                    </p:cond>
                                  </p:endCondLst>
                                  <p:childTnLst>
                                    <p:animRot by="-21600000">
                                      <p:cBhvr>
                                        <p:cTn id="24" dur="5000" fill="hold"/>
                                        <p:tgtEl>
                                          <p:spTgt spid="7"/>
                                        </p:tgtEl>
                                        <p:attrNameLst>
                                          <p:attrName>r</p:attrName>
                                        </p:attrNameLst>
                                      </p:cBhvr>
                                    </p:animRot>
                                  </p:childTnLst>
                                </p:cTn>
                              </p:par>
                              <p:par>
                                <p:cTn id="25" presetID="8" presetClass="emph" presetSubtype="0" repeatCount="indefinite" fill="hold" grpId="0" nodeType="withEffect">
                                  <p:stCondLst>
                                    <p:cond delay="0"/>
                                  </p:stCondLst>
                                  <p:endCondLst>
                                    <p:cond evt="onNext" delay="0">
                                      <p:tgtEl>
                                        <p:sldTgt/>
                                      </p:tgtEl>
                                    </p:cond>
                                  </p:endCondLst>
                                  <p:childTnLst>
                                    <p:animRot by="21600000">
                                      <p:cBhvr>
                                        <p:cTn id="26" dur="5000" fill="hold"/>
                                        <p:tgtEl>
                                          <p:spTgt spid="6"/>
                                        </p:tgtEl>
                                        <p:attrNameLst>
                                          <p:attrName>r</p:attrName>
                                        </p:attrNameLst>
                                      </p:cBhvr>
                                    </p:animRot>
                                  </p:childTnLst>
                                </p:cTn>
                              </p:par>
                              <p:par>
                                <p:cTn id="27" presetID="8" presetClass="emph" presetSubtype="0" repeatCount="indefinite" fill="hold" grpId="0" nodeType="withEffect">
                                  <p:stCondLst>
                                    <p:cond delay="0"/>
                                  </p:stCondLst>
                                  <p:endCondLst>
                                    <p:cond evt="onNext" delay="0">
                                      <p:tgtEl>
                                        <p:sldTgt/>
                                      </p:tgtEl>
                                    </p:cond>
                                  </p:endCondLst>
                                  <p:childTnLst>
                                    <p:animRot by="21600000">
                                      <p:cBhvr>
                                        <p:cTn id="28" dur="5000" fill="hold"/>
                                        <p:tgtEl>
                                          <p:spTgt spid="16"/>
                                        </p:tgtEl>
                                        <p:attrNameLst>
                                          <p:attrName>r</p:attrName>
                                        </p:attrNameLst>
                                      </p:cBhvr>
                                    </p:animRot>
                                  </p:childTnLst>
                                </p:cTn>
                              </p:par>
                              <p:par>
                                <p:cTn id="29" presetID="8" presetClass="emph" presetSubtype="0" repeatCount="indefinite" fill="hold" grpId="0" nodeType="withEffect">
                                  <p:stCondLst>
                                    <p:cond delay="0"/>
                                  </p:stCondLst>
                                  <p:endCondLst>
                                    <p:cond evt="onNext" delay="0">
                                      <p:tgtEl>
                                        <p:sldTgt/>
                                      </p:tgtEl>
                                    </p:cond>
                                  </p:endCondLst>
                                  <p:childTnLst>
                                    <p:animRot by="-21600000">
                                      <p:cBhvr>
                                        <p:cTn id="30" dur="5000" fill="hold"/>
                                        <p:tgtEl>
                                          <p:spTgt spid="17"/>
                                        </p:tgtEl>
                                        <p:attrNameLst>
                                          <p:attrName>r</p:attrName>
                                        </p:attrNameLst>
                                      </p:cBhvr>
                                    </p:animRot>
                                  </p:childTnLst>
                                </p:cTn>
                              </p:par>
                              <p:par>
                                <p:cTn id="31" presetID="8" presetClass="emph" presetSubtype="0" repeatCount="indefinite" fill="hold" grpId="0" nodeType="withEffect">
                                  <p:stCondLst>
                                    <p:cond delay="0"/>
                                  </p:stCondLst>
                                  <p:endCondLst>
                                    <p:cond evt="onNext" delay="0">
                                      <p:tgtEl>
                                        <p:sldTgt/>
                                      </p:tgtEl>
                                    </p:cond>
                                  </p:endCondLst>
                                  <p:childTnLst>
                                    <p:animRot by="21600000">
                                      <p:cBhvr>
                                        <p:cTn id="32" dur="5000" fill="hold"/>
                                        <p:tgtEl>
                                          <p:spTgt spid="1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10" grpId="0" animBg="1"/>
      <p:bldP spid="11" grpId="0" animBg="1"/>
      <p:bldP spid="12" grpId="0" animBg="1"/>
      <p:bldP spid="13" grpId="0" animBg="1"/>
      <p:bldP spid="15" grpId="0" animBg="1"/>
      <p:bldP spid="16" grpId="0" animBg="1"/>
      <p:bldP spid="17" grpId="0" animBg="1"/>
      <p:bldP spid="19" grpId="0" animBg="1"/>
      <p:bldP spid="20" grpId="0" animBg="1"/>
      <p:bldP spid="21" grpId="0" animBg="1"/>
      <p:bldP spid="23"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5043715" y="2553810"/>
            <a:ext cx="2075544" cy="4161729"/>
            <a:chOff x="5043715" y="2553810"/>
            <a:chExt cx="2075544" cy="4161729"/>
          </a:xfrm>
          <a:solidFill>
            <a:srgbClr val="000000"/>
          </a:solidFill>
        </p:grpSpPr>
        <p:sp>
          <p:nvSpPr>
            <p:cNvPr id="94" name="Oval 93">
              <a:extLst>
                <a:ext uri="{FF2B5EF4-FFF2-40B4-BE49-F238E27FC236}">
                  <a16:creationId xmlns:a16="http://schemas.microsoft.com/office/drawing/2014/main" id="{3756122B-E38B-45CD-A9B8-A723926DC8EE}"/>
                </a:ext>
              </a:extLst>
            </p:cNvPr>
            <p:cNvSpPr/>
            <p:nvPr/>
          </p:nvSpPr>
          <p:spPr bwMode="gray">
            <a:xfrm>
              <a:off x="5043715" y="2553810"/>
              <a:ext cx="2075544" cy="2075544"/>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67" name="Rectangle 66">
              <a:extLst>
                <a:ext uri="{FF2B5EF4-FFF2-40B4-BE49-F238E27FC236}">
                  <a16:creationId xmlns:a16="http://schemas.microsoft.com/office/drawing/2014/main" id="{F5771899-808E-4FAA-B9F6-DDDE059D00EA}"/>
                </a:ext>
              </a:extLst>
            </p:cNvPr>
            <p:cNvSpPr/>
            <p:nvPr/>
          </p:nvSpPr>
          <p:spPr bwMode="gray">
            <a:xfrm>
              <a:off x="6040866" y="4629050"/>
              <a:ext cx="105935" cy="2012950"/>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68" name="Rectangle: Top Corners Rounded 67">
              <a:extLst>
                <a:ext uri="{FF2B5EF4-FFF2-40B4-BE49-F238E27FC236}">
                  <a16:creationId xmlns:a16="http://schemas.microsoft.com/office/drawing/2014/main" id="{CB2FCBAB-9DD6-4020-8DF2-4BBB2E6046A0}"/>
                </a:ext>
              </a:extLst>
            </p:cNvPr>
            <p:cNvSpPr/>
            <p:nvPr/>
          </p:nvSpPr>
          <p:spPr bwMode="gray">
            <a:xfrm>
              <a:off x="5568696" y="6572149"/>
              <a:ext cx="1025582" cy="143390"/>
            </a:xfrm>
            <a:prstGeom prst="round2SameRect">
              <a:avLst>
                <a:gd name="adj1" fmla="val 50000"/>
                <a:gd name="adj2" fmla="val 0"/>
              </a:avLst>
            </a:prstGeom>
            <a:grp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endParaRPr lang="en-US" sz="1600" b="1">
                <a:solidFill>
                  <a:schemeClr val="bg1"/>
                </a:solidFill>
              </a:endParaRPr>
            </a:p>
          </p:txBody>
        </p:sp>
      </p:grpSp>
      <p:grpSp>
        <p:nvGrpSpPr>
          <p:cNvPr id="3" name="Group 2"/>
          <p:cNvGrpSpPr/>
          <p:nvPr/>
        </p:nvGrpSpPr>
        <p:grpSpPr>
          <a:xfrm>
            <a:off x="5301794" y="2811889"/>
            <a:ext cx="1559386" cy="1559386"/>
            <a:chOff x="5301794" y="2811889"/>
            <a:chExt cx="1559386" cy="1559386"/>
          </a:xfrm>
        </p:grpSpPr>
        <p:sp>
          <p:nvSpPr>
            <p:cNvPr id="95" name="Oval 94">
              <a:extLst>
                <a:ext uri="{FF2B5EF4-FFF2-40B4-BE49-F238E27FC236}">
                  <a16:creationId xmlns:a16="http://schemas.microsoft.com/office/drawing/2014/main" id="{67D62164-7AA9-4620-99CE-89E451FDB854}"/>
                </a:ext>
              </a:extLst>
            </p:cNvPr>
            <p:cNvSpPr/>
            <p:nvPr/>
          </p:nvSpPr>
          <p:spPr bwMode="gray">
            <a:xfrm>
              <a:off x="5301794" y="2811889"/>
              <a:ext cx="1559386" cy="1559386"/>
            </a:xfrm>
            <a:prstGeom prst="ellipse">
              <a:avLst/>
            </a:pr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96" name="Oval 95">
              <a:extLst>
                <a:ext uri="{FF2B5EF4-FFF2-40B4-BE49-F238E27FC236}">
                  <a16:creationId xmlns:a16="http://schemas.microsoft.com/office/drawing/2014/main" id="{6BC45D38-93D0-43F6-9E37-99671E1A8EEF}"/>
                </a:ext>
              </a:extLst>
            </p:cNvPr>
            <p:cNvSpPr/>
            <p:nvPr/>
          </p:nvSpPr>
          <p:spPr bwMode="gray">
            <a:xfrm>
              <a:off x="5597359" y="3107454"/>
              <a:ext cx="968256" cy="968256"/>
            </a:xfrm>
            <a:prstGeom prst="ellipse">
              <a:avLst/>
            </a:prstGeom>
            <a:solidFill>
              <a:srgbClr val="63666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97" name="Oval 96">
              <a:extLst>
                <a:ext uri="{FF2B5EF4-FFF2-40B4-BE49-F238E27FC236}">
                  <a16:creationId xmlns:a16="http://schemas.microsoft.com/office/drawing/2014/main" id="{CDC43865-8C5C-4F44-B0DD-0B8557C87DAE}"/>
                </a:ext>
              </a:extLst>
            </p:cNvPr>
            <p:cNvSpPr/>
            <p:nvPr/>
          </p:nvSpPr>
          <p:spPr bwMode="gray">
            <a:xfrm>
              <a:off x="5833053" y="3343148"/>
              <a:ext cx="496868" cy="496868"/>
            </a:xfrm>
            <a:prstGeom prst="ellipse">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98" name="Oval 97">
              <a:extLst>
                <a:ext uri="{FF2B5EF4-FFF2-40B4-BE49-F238E27FC236}">
                  <a16:creationId xmlns:a16="http://schemas.microsoft.com/office/drawing/2014/main" id="{E4841CC0-D56E-456D-9FF2-F87578F0B44D}"/>
                </a:ext>
              </a:extLst>
            </p:cNvPr>
            <p:cNvSpPr/>
            <p:nvPr/>
          </p:nvSpPr>
          <p:spPr bwMode="gray">
            <a:xfrm>
              <a:off x="6038809" y="3550961"/>
              <a:ext cx="81242" cy="81242"/>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grpSp>
      <p:sp>
        <p:nvSpPr>
          <p:cNvPr id="54" name="Rectangle: Top Corners Rounded 53">
            <a:extLst>
              <a:ext uri="{FF2B5EF4-FFF2-40B4-BE49-F238E27FC236}">
                <a16:creationId xmlns:a16="http://schemas.microsoft.com/office/drawing/2014/main" id="{01E85BC0-2693-4AB4-8D13-51AD94935617}"/>
              </a:ext>
            </a:extLst>
          </p:cNvPr>
          <p:cNvSpPr/>
          <p:nvPr/>
        </p:nvSpPr>
        <p:spPr bwMode="gray">
          <a:xfrm>
            <a:off x="7199342" y="4360892"/>
            <a:ext cx="4501835" cy="580594"/>
          </a:xfrm>
          <a:prstGeom prst="round2SameRect">
            <a:avLst>
              <a:gd name="adj1" fmla="val 0"/>
              <a:gd name="adj2" fmla="val 0"/>
            </a:avLst>
          </a:prstGeom>
          <a:solidFill>
            <a:srgbClr val="75787B"/>
          </a:solidFill>
          <a:ln w="19050" algn="ctr">
            <a:noFill/>
            <a:miter lim="800000"/>
            <a:headEnd/>
            <a:tailEnd/>
          </a:ln>
        </p:spPr>
        <p:txBody>
          <a:bodyPr wrap="square" lIns="45720" tIns="45720" rIns="0" bIns="0" rtlCol="0" anchor="t" anchorCtr="0"/>
          <a:lstStyle/>
          <a:p>
            <a:pPr>
              <a:buFont typeface="Wingdings 2" pitchFamily="18" charset="2"/>
              <a:buNone/>
            </a:pPr>
            <a:r>
              <a:rPr lang="da-DK" sz="1300" b="1" dirty="0">
                <a:solidFill>
                  <a:prstClr val="white"/>
                </a:solidFill>
              </a:rPr>
              <a:t>Lorem ipsum dolor sit amet</a:t>
            </a:r>
            <a:endParaRPr lang="en-GB" sz="1300" b="1" dirty="0">
              <a:solidFill>
                <a:prstClr val="white"/>
              </a:solidFill>
            </a:endParaRPr>
          </a:p>
        </p:txBody>
      </p:sp>
      <p:sp>
        <p:nvSpPr>
          <p:cNvPr id="55" name="Rectangle: Top Corners Rounded 54">
            <a:extLst>
              <a:ext uri="{FF2B5EF4-FFF2-40B4-BE49-F238E27FC236}">
                <a16:creationId xmlns:a16="http://schemas.microsoft.com/office/drawing/2014/main" id="{9711D32A-4F64-428B-9E0F-25D152FA3B84}"/>
              </a:ext>
            </a:extLst>
          </p:cNvPr>
          <p:cNvSpPr/>
          <p:nvPr/>
        </p:nvSpPr>
        <p:spPr bwMode="gray">
          <a:xfrm>
            <a:off x="7178397" y="1714500"/>
            <a:ext cx="4522780" cy="580594"/>
          </a:xfrm>
          <a:prstGeom prst="round2SameRect">
            <a:avLst>
              <a:gd name="adj1" fmla="val 0"/>
              <a:gd name="adj2" fmla="val 0"/>
            </a:avLst>
          </a:prstGeom>
          <a:solidFill>
            <a:schemeClr val="accent2"/>
          </a:solidFill>
          <a:ln w="19050" algn="ctr">
            <a:noFill/>
            <a:miter lim="800000"/>
            <a:headEnd/>
            <a:tailEnd/>
          </a:ln>
        </p:spPr>
        <p:txBody>
          <a:bodyPr wrap="square" lIns="45720" tIns="45720" rIns="0" bIns="0" rtlCol="0" anchor="t" anchorCtr="0"/>
          <a:lstStyle/>
          <a:p>
            <a:pPr>
              <a:buFont typeface="Wingdings 2" pitchFamily="18" charset="2"/>
              <a:buNone/>
            </a:pPr>
            <a:r>
              <a:rPr lang="da-DK" sz="1300" b="1" dirty="0">
                <a:solidFill>
                  <a:prstClr val="white"/>
                </a:solidFill>
              </a:rPr>
              <a:t>Lorem ipsum dolor sit amet</a:t>
            </a:r>
            <a:endParaRPr lang="en-GB" sz="1300" b="1" dirty="0">
              <a:solidFill>
                <a:prstClr val="white"/>
              </a:solidFill>
            </a:endParaRPr>
          </a:p>
        </p:txBody>
      </p:sp>
      <p:sp>
        <p:nvSpPr>
          <p:cNvPr id="56" name="Rectangle: Top Corners Rounded 55">
            <a:extLst>
              <a:ext uri="{FF2B5EF4-FFF2-40B4-BE49-F238E27FC236}">
                <a16:creationId xmlns:a16="http://schemas.microsoft.com/office/drawing/2014/main" id="{E3EC22F1-BF91-44BD-944A-DB611005824A}"/>
              </a:ext>
            </a:extLst>
          </p:cNvPr>
          <p:cNvSpPr/>
          <p:nvPr/>
        </p:nvSpPr>
        <p:spPr bwMode="gray">
          <a:xfrm>
            <a:off x="538228" y="4360892"/>
            <a:ext cx="4557422" cy="580594"/>
          </a:xfrm>
          <a:prstGeom prst="round2SameRect">
            <a:avLst>
              <a:gd name="adj1" fmla="val 0"/>
              <a:gd name="adj2" fmla="val 0"/>
            </a:avLst>
          </a:prstGeom>
          <a:solidFill>
            <a:schemeClr val="accent3"/>
          </a:solidFill>
          <a:ln w="19050" algn="ctr">
            <a:noFill/>
            <a:miter lim="800000"/>
            <a:headEnd/>
            <a:tailEnd/>
          </a:ln>
        </p:spPr>
        <p:txBody>
          <a:bodyPr wrap="square" lIns="45720" tIns="45720" rIns="0" bIns="0" rtlCol="0" anchor="t" anchorCtr="0"/>
          <a:lstStyle/>
          <a:p>
            <a:pPr>
              <a:buFont typeface="Wingdings 2" pitchFamily="18" charset="2"/>
              <a:buNone/>
            </a:pPr>
            <a:r>
              <a:rPr lang="da-DK" sz="1300" b="1" dirty="0">
                <a:solidFill>
                  <a:prstClr val="white"/>
                </a:solidFill>
              </a:rPr>
              <a:t>Lorem ipsum dolor sit amet</a:t>
            </a:r>
            <a:endParaRPr lang="en-GB" sz="1300" b="1" dirty="0">
              <a:solidFill>
                <a:prstClr val="white"/>
              </a:solidFill>
            </a:endParaRPr>
          </a:p>
        </p:txBody>
      </p:sp>
      <p:sp>
        <p:nvSpPr>
          <p:cNvPr id="57" name="TextBox 56">
            <a:extLst>
              <a:ext uri="{FF2B5EF4-FFF2-40B4-BE49-F238E27FC236}">
                <a16:creationId xmlns:a16="http://schemas.microsoft.com/office/drawing/2014/main" id="{17E042B4-E5E2-48F2-80A8-478D276234B0}"/>
              </a:ext>
            </a:extLst>
          </p:cNvPr>
          <p:cNvSpPr txBox="1"/>
          <p:nvPr/>
        </p:nvSpPr>
        <p:spPr>
          <a:xfrm>
            <a:off x="531845" y="4704604"/>
            <a:ext cx="4578626" cy="892552"/>
          </a:xfrm>
          <a:prstGeom prst="roundRect">
            <a:avLst>
              <a:gd name="adj" fmla="val 0"/>
            </a:avLst>
          </a:prstGeom>
          <a:solidFill>
            <a:schemeClr val="bg1">
              <a:lumMod val="95000"/>
            </a:schemeClr>
          </a:solidFill>
        </p:spPr>
        <p:txBody>
          <a:bodyPr wrap="square" lIns="45720" tIns="45720" rIns="756000" bIns="45720" rtlCol="0">
            <a:spAutoFit/>
          </a:bodyPr>
          <a:lstStyle/>
          <a:p>
            <a:pPr marL="171450" indent="-17145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
        <p:nvSpPr>
          <p:cNvPr id="58" name="Rectangle: Top Corners Rounded 57">
            <a:extLst>
              <a:ext uri="{FF2B5EF4-FFF2-40B4-BE49-F238E27FC236}">
                <a16:creationId xmlns:a16="http://schemas.microsoft.com/office/drawing/2014/main" id="{DCDF8071-3FDE-4DD2-B004-686CF6C7A014}"/>
              </a:ext>
            </a:extLst>
          </p:cNvPr>
          <p:cNvSpPr/>
          <p:nvPr/>
        </p:nvSpPr>
        <p:spPr bwMode="gray">
          <a:xfrm>
            <a:off x="522014" y="1714500"/>
            <a:ext cx="4578626" cy="580594"/>
          </a:xfrm>
          <a:prstGeom prst="round2SameRect">
            <a:avLst>
              <a:gd name="adj1" fmla="val 0"/>
              <a:gd name="adj2" fmla="val 0"/>
            </a:avLst>
          </a:prstGeom>
          <a:solidFill>
            <a:srgbClr val="86BC25"/>
          </a:solidFill>
          <a:ln w="19050" algn="ctr">
            <a:noFill/>
            <a:miter lim="800000"/>
            <a:headEnd/>
            <a:tailEnd/>
          </a:ln>
        </p:spPr>
        <p:txBody>
          <a:bodyPr wrap="square" lIns="45720" tIns="45720" rIns="0" bIns="0" rtlCol="0" anchor="t" anchorCtr="0"/>
          <a:lstStyle/>
          <a:p>
            <a:pPr>
              <a:buFont typeface="Wingdings 2" pitchFamily="18" charset="2"/>
              <a:buNone/>
            </a:pPr>
            <a:r>
              <a:rPr lang="da-DK" sz="1300" b="1" dirty="0">
                <a:solidFill>
                  <a:prstClr val="white"/>
                </a:solidFill>
              </a:rPr>
              <a:t>Lorem ipsum dolor sit amet</a:t>
            </a:r>
            <a:endParaRPr lang="en-GB" sz="1300" b="1" dirty="0">
              <a:solidFill>
                <a:prstClr val="white"/>
              </a:solidFill>
            </a:endParaRPr>
          </a:p>
        </p:txBody>
      </p:sp>
      <p:sp>
        <p:nvSpPr>
          <p:cNvPr id="92" name="Oval 91">
            <a:extLst>
              <a:ext uri="{FF2B5EF4-FFF2-40B4-BE49-F238E27FC236}">
                <a16:creationId xmlns:a16="http://schemas.microsoft.com/office/drawing/2014/main" id="{1E64D95E-E275-4554-B540-22F0F5FA0767}"/>
              </a:ext>
            </a:extLst>
          </p:cNvPr>
          <p:cNvSpPr/>
          <p:nvPr/>
        </p:nvSpPr>
        <p:spPr bwMode="gray">
          <a:xfrm>
            <a:off x="4429024" y="4361904"/>
            <a:ext cx="488823" cy="488823"/>
          </a:xfrm>
          <a:prstGeom prst="ellips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prstClr val="white"/>
              </a:solidFill>
            </a:endParaRPr>
          </a:p>
        </p:txBody>
      </p:sp>
      <p:sp>
        <p:nvSpPr>
          <p:cNvPr id="93" name="Freeform 189">
            <a:extLst>
              <a:ext uri="{FF2B5EF4-FFF2-40B4-BE49-F238E27FC236}">
                <a16:creationId xmlns:a16="http://schemas.microsoft.com/office/drawing/2014/main" id="{3956BC6C-32F1-4A1E-91EA-01621830D76F}"/>
              </a:ext>
            </a:extLst>
          </p:cNvPr>
          <p:cNvSpPr>
            <a:spLocks noEditPoints="1"/>
          </p:cNvSpPr>
          <p:nvPr/>
        </p:nvSpPr>
        <p:spPr bwMode="auto">
          <a:xfrm>
            <a:off x="4488736" y="4417506"/>
            <a:ext cx="382385" cy="382385"/>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0" name="TextBox 59">
            <a:extLst>
              <a:ext uri="{FF2B5EF4-FFF2-40B4-BE49-F238E27FC236}">
                <a16:creationId xmlns:a16="http://schemas.microsoft.com/office/drawing/2014/main" id="{3D3FC361-67BF-4C8C-A1EA-E0CDDF0274B8}"/>
              </a:ext>
            </a:extLst>
          </p:cNvPr>
          <p:cNvSpPr txBox="1"/>
          <p:nvPr/>
        </p:nvSpPr>
        <p:spPr>
          <a:xfrm>
            <a:off x="522013" y="2024366"/>
            <a:ext cx="4578626" cy="892552"/>
          </a:xfrm>
          <a:prstGeom prst="roundRect">
            <a:avLst>
              <a:gd name="adj" fmla="val 0"/>
            </a:avLst>
          </a:prstGeom>
          <a:solidFill>
            <a:schemeClr val="bg1">
              <a:lumMod val="95000"/>
            </a:schemeClr>
          </a:solidFill>
        </p:spPr>
        <p:txBody>
          <a:bodyPr wrap="square" lIns="45720" tIns="45720" rIns="756000" bIns="45720" rtlCol="0">
            <a:spAutoFit/>
          </a:bodyPr>
          <a:lstStyle/>
          <a:p>
            <a:pPr marL="171450" indent="-17145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
        <p:nvSpPr>
          <p:cNvPr id="61" name="TextBox 60">
            <a:extLst>
              <a:ext uri="{FF2B5EF4-FFF2-40B4-BE49-F238E27FC236}">
                <a16:creationId xmlns:a16="http://schemas.microsoft.com/office/drawing/2014/main" id="{CE684630-677F-4E87-B492-6CEB7E0C2781}"/>
              </a:ext>
            </a:extLst>
          </p:cNvPr>
          <p:cNvSpPr txBox="1"/>
          <p:nvPr/>
        </p:nvSpPr>
        <p:spPr>
          <a:xfrm>
            <a:off x="7199341" y="4704604"/>
            <a:ext cx="4501835" cy="892552"/>
          </a:xfrm>
          <a:prstGeom prst="roundRect">
            <a:avLst>
              <a:gd name="adj" fmla="val 0"/>
            </a:avLst>
          </a:prstGeom>
          <a:solidFill>
            <a:schemeClr val="bg1">
              <a:lumMod val="95000"/>
            </a:schemeClr>
          </a:solidFill>
        </p:spPr>
        <p:txBody>
          <a:bodyPr wrap="square" lIns="45720" tIns="45720" rIns="756000" bIns="45720" rtlCol="0">
            <a:spAutoFit/>
          </a:bodyPr>
          <a:lstStyle/>
          <a:p>
            <a:pPr marL="171450" indent="-17145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
        <p:nvSpPr>
          <p:cNvPr id="62" name="TextBox 61">
            <a:extLst>
              <a:ext uri="{FF2B5EF4-FFF2-40B4-BE49-F238E27FC236}">
                <a16:creationId xmlns:a16="http://schemas.microsoft.com/office/drawing/2014/main" id="{1FB10A56-DF1F-49DF-9E61-6D19D0FE42AB}"/>
              </a:ext>
            </a:extLst>
          </p:cNvPr>
          <p:cNvSpPr txBox="1"/>
          <p:nvPr/>
        </p:nvSpPr>
        <p:spPr>
          <a:xfrm>
            <a:off x="7178397" y="2020500"/>
            <a:ext cx="4522780" cy="892552"/>
          </a:xfrm>
          <a:prstGeom prst="roundRect">
            <a:avLst>
              <a:gd name="adj" fmla="val 0"/>
            </a:avLst>
          </a:prstGeom>
          <a:solidFill>
            <a:schemeClr val="bg1">
              <a:lumMod val="95000"/>
            </a:schemeClr>
          </a:solidFill>
        </p:spPr>
        <p:txBody>
          <a:bodyPr wrap="square" lIns="45720" tIns="45720" rIns="756000" bIns="45720" rtlCol="0">
            <a:spAutoFit/>
          </a:bodyPr>
          <a:lstStyle/>
          <a:p>
            <a:pPr marL="171450" indent="-17145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grpSp>
        <p:nvGrpSpPr>
          <p:cNvPr id="79" name="Group 78">
            <a:extLst>
              <a:ext uri="{FF2B5EF4-FFF2-40B4-BE49-F238E27FC236}">
                <a16:creationId xmlns:a16="http://schemas.microsoft.com/office/drawing/2014/main" id="{875E33D9-43AC-4675-972A-A484A4781BAF}"/>
              </a:ext>
            </a:extLst>
          </p:cNvPr>
          <p:cNvGrpSpPr/>
          <p:nvPr/>
        </p:nvGrpSpPr>
        <p:grpSpPr>
          <a:xfrm rot="15300000">
            <a:off x="6737913" y="2527095"/>
            <a:ext cx="325887" cy="1696979"/>
            <a:chOff x="7491780" y="2505965"/>
            <a:chExt cx="394324" cy="2053345"/>
          </a:xfrm>
          <a:solidFill>
            <a:schemeClr val="accent3"/>
          </a:solidFill>
        </p:grpSpPr>
        <p:sp>
          <p:nvSpPr>
            <p:cNvPr id="80" name="Rectangle: Top Corners Rounded 79">
              <a:extLst>
                <a:ext uri="{FF2B5EF4-FFF2-40B4-BE49-F238E27FC236}">
                  <a16:creationId xmlns:a16="http://schemas.microsoft.com/office/drawing/2014/main" id="{84D13F68-9DDB-4ECC-9296-9DF880D8A6DB}"/>
                </a:ext>
              </a:extLst>
            </p:cNvPr>
            <p:cNvSpPr/>
            <p:nvPr/>
          </p:nvSpPr>
          <p:spPr bwMode="gray">
            <a:xfrm>
              <a:off x="7583714" y="2786743"/>
              <a:ext cx="210457" cy="340632"/>
            </a:xfrm>
            <a:prstGeom prst="round2SameRect">
              <a:avLst>
                <a:gd name="adj1" fmla="val 34771"/>
                <a:gd name="adj2" fmla="val 0"/>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81" name="Rectangle 80">
              <a:extLst>
                <a:ext uri="{FF2B5EF4-FFF2-40B4-BE49-F238E27FC236}">
                  <a16:creationId xmlns:a16="http://schemas.microsoft.com/office/drawing/2014/main" id="{17AEBA0C-15B3-4CB8-AD8F-0344D1DF911E}"/>
                </a:ext>
              </a:extLst>
            </p:cNvPr>
            <p:cNvSpPr/>
            <p:nvPr/>
          </p:nvSpPr>
          <p:spPr bwMode="gray">
            <a:xfrm>
              <a:off x="7646524" y="3127375"/>
              <a:ext cx="84835" cy="1362075"/>
            </a:xfrm>
            <a:prstGeom prst="rect">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82" name="Rectangle 81">
              <a:extLst>
                <a:ext uri="{FF2B5EF4-FFF2-40B4-BE49-F238E27FC236}">
                  <a16:creationId xmlns:a16="http://schemas.microsoft.com/office/drawing/2014/main" id="{EAED8C19-677D-4EB5-8EEB-D681CC2588BB}"/>
                </a:ext>
              </a:extLst>
            </p:cNvPr>
            <p:cNvSpPr/>
            <p:nvPr/>
          </p:nvSpPr>
          <p:spPr bwMode="gray">
            <a:xfrm>
              <a:off x="7653885" y="2686050"/>
              <a:ext cx="70112" cy="100693"/>
            </a:xfrm>
            <a:prstGeom prst="rect">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83" name="Parallelogram 82">
              <a:extLst>
                <a:ext uri="{FF2B5EF4-FFF2-40B4-BE49-F238E27FC236}">
                  <a16:creationId xmlns:a16="http://schemas.microsoft.com/office/drawing/2014/main" id="{EC321275-6C4F-4A14-ADC4-C7A1D8BF5A3E}"/>
                </a:ext>
              </a:extLst>
            </p:cNvPr>
            <p:cNvSpPr/>
            <p:nvPr/>
          </p:nvSpPr>
          <p:spPr bwMode="gray">
            <a:xfrm rot="5400000">
              <a:off x="7594814" y="4267274"/>
              <a:ext cx="426443" cy="156136"/>
            </a:xfrm>
            <a:prstGeom prst="parallelogram">
              <a:avLst>
                <a:gd name="adj" fmla="val 43333"/>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84" name="Parallelogram 83">
              <a:extLst>
                <a:ext uri="{FF2B5EF4-FFF2-40B4-BE49-F238E27FC236}">
                  <a16:creationId xmlns:a16="http://schemas.microsoft.com/office/drawing/2014/main" id="{31D25C54-562A-41FF-A87D-B6BAA5B14FCA}"/>
                </a:ext>
              </a:extLst>
            </p:cNvPr>
            <p:cNvSpPr/>
            <p:nvPr/>
          </p:nvSpPr>
          <p:spPr bwMode="gray">
            <a:xfrm rot="16200000" flipH="1">
              <a:off x="7356626" y="4268021"/>
              <a:ext cx="426443" cy="156136"/>
            </a:xfrm>
            <a:prstGeom prst="parallelogram">
              <a:avLst>
                <a:gd name="adj" fmla="val 43333"/>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85" name="Arrow: Pentagon 84">
              <a:extLst>
                <a:ext uri="{FF2B5EF4-FFF2-40B4-BE49-F238E27FC236}">
                  <a16:creationId xmlns:a16="http://schemas.microsoft.com/office/drawing/2014/main" id="{15059D5F-8355-4615-A5BC-6A184AB0BA9C}"/>
                </a:ext>
              </a:extLst>
            </p:cNvPr>
            <p:cNvSpPr/>
            <p:nvPr/>
          </p:nvSpPr>
          <p:spPr bwMode="gray">
            <a:xfrm rot="16200000">
              <a:off x="7598898" y="2573148"/>
              <a:ext cx="180085" cy="45719"/>
            </a:xfrm>
            <a:prstGeom prst="homePlate">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grpSp>
      <p:sp>
        <p:nvSpPr>
          <p:cNvPr id="76" name="Oval 75">
            <a:extLst>
              <a:ext uri="{FF2B5EF4-FFF2-40B4-BE49-F238E27FC236}">
                <a16:creationId xmlns:a16="http://schemas.microsoft.com/office/drawing/2014/main" id="{FC9C55DE-5F67-42DD-9825-FAAB496A2049}"/>
              </a:ext>
            </a:extLst>
          </p:cNvPr>
          <p:cNvSpPr/>
          <p:nvPr/>
        </p:nvSpPr>
        <p:spPr bwMode="gray">
          <a:xfrm>
            <a:off x="4488771" y="1723246"/>
            <a:ext cx="488823" cy="488823"/>
          </a:xfrm>
          <a:prstGeom prst="ellipse">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prstClr val="white"/>
              </a:solidFill>
            </a:endParaRPr>
          </a:p>
        </p:txBody>
      </p:sp>
      <p:sp>
        <p:nvSpPr>
          <p:cNvPr id="77" name="Freeform 783">
            <a:extLst>
              <a:ext uri="{FF2B5EF4-FFF2-40B4-BE49-F238E27FC236}">
                <a16:creationId xmlns:a16="http://schemas.microsoft.com/office/drawing/2014/main" id="{8DCB21FE-3F48-4E00-924E-9A187D92400C}"/>
              </a:ext>
            </a:extLst>
          </p:cNvPr>
          <p:cNvSpPr>
            <a:spLocks noEditPoints="1"/>
          </p:cNvSpPr>
          <p:nvPr/>
        </p:nvSpPr>
        <p:spPr bwMode="auto">
          <a:xfrm>
            <a:off x="4547433" y="1772722"/>
            <a:ext cx="382385" cy="38238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266 h 512"/>
              <a:gd name="T12" fmla="*/ 405 w 512"/>
              <a:gd name="T13" fmla="*/ 277 h 512"/>
              <a:gd name="T14" fmla="*/ 394 w 512"/>
              <a:gd name="T15" fmla="*/ 277 h 512"/>
              <a:gd name="T16" fmla="*/ 394 w 512"/>
              <a:gd name="T17" fmla="*/ 373 h 512"/>
              <a:gd name="T18" fmla="*/ 384 w 512"/>
              <a:gd name="T19" fmla="*/ 384 h 512"/>
              <a:gd name="T20" fmla="*/ 128 w 512"/>
              <a:gd name="T21" fmla="*/ 384 h 512"/>
              <a:gd name="T22" fmla="*/ 117 w 512"/>
              <a:gd name="T23" fmla="*/ 373 h 512"/>
              <a:gd name="T24" fmla="*/ 117 w 512"/>
              <a:gd name="T25" fmla="*/ 277 h 512"/>
              <a:gd name="T26" fmla="*/ 106 w 512"/>
              <a:gd name="T27" fmla="*/ 277 h 512"/>
              <a:gd name="T28" fmla="*/ 96 w 512"/>
              <a:gd name="T29" fmla="*/ 266 h 512"/>
              <a:gd name="T30" fmla="*/ 96 w 512"/>
              <a:gd name="T31" fmla="*/ 160 h 512"/>
              <a:gd name="T32" fmla="*/ 106 w 512"/>
              <a:gd name="T33" fmla="*/ 149 h 512"/>
              <a:gd name="T34" fmla="*/ 202 w 512"/>
              <a:gd name="T35" fmla="*/ 149 h 512"/>
              <a:gd name="T36" fmla="*/ 202 w 512"/>
              <a:gd name="T37" fmla="*/ 117 h 512"/>
              <a:gd name="T38" fmla="*/ 213 w 512"/>
              <a:gd name="T39" fmla="*/ 106 h 512"/>
              <a:gd name="T40" fmla="*/ 298 w 512"/>
              <a:gd name="T41" fmla="*/ 106 h 512"/>
              <a:gd name="T42" fmla="*/ 309 w 512"/>
              <a:gd name="T43" fmla="*/ 117 h 512"/>
              <a:gd name="T44" fmla="*/ 309 w 512"/>
              <a:gd name="T45" fmla="*/ 149 h 512"/>
              <a:gd name="T46" fmla="*/ 405 w 512"/>
              <a:gd name="T47" fmla="*/ 149 h 512"/>
              <a:gd name="T48" fmla="*/ 416 w 512"/>
              <a:gd name="T49" fmla="*/ 160 h 512"/>
              <a:gd name="T50" fmla="*/ 416 w 512"/>
              <a:gd name="T51" fmla="*/ 266 h 512"/>
              <a:gd name="T52" fmla="*/ 330 w 512"/>
              <a:gd name="T53" fmla="*/ 277 h 512"/>
              <a:gd name="T54" fmla="*/ 373 w 512"/>
              <a:gd name="T55" fmla="*/ 277 h 512"/>
              <a:gd name="T56" fmla="*/ 373 w 512"/>
              <a:gd name="T57" fmla="*/ 362 h 512"/>
              <a:gd name="T58" fmla="*/ 138 w 512"/>
              <a:gd name="T59" fmla="*/ 362 h 512"/>
              <a:gd name="T60" fmla="*/ 138 w 512"/>
              <a:gd name="T61" fmla="*/ 277 h 512"/>
              <a:gd name="T62" fmla="*/ 181 w 512"/>
              <a:gd name="T63" fmla="*/ 277 h 512"/>
              <a:gd name="T64" fmla="*/ 181 w 512"/>
              <a:gd name="T65" fmla="*/ 288 h 512"/>
              <a:gd name="T66" fmla="*/ 192 w 512"/>
              <a:gd name="T67" fmla="*/ 298 h 512"/>
              <a:gd name="T68" fmla="*/ 202 w 512"/>
              <a:gd name="T69" fmla="*/ 288 h 512"/>
              <a:gd name="T70" fmla="*/ 202 w 512"/>
              <a:gd name="T71" fmla="*/ 277 h 512"/>
              <a:gd name="T72" fmla="*/ 309 w 512"/>
              <a:gd name="T73" fmla="*/ 277 h 512"/>
              <a:gd name="T74" fmla="*/ 309 w 512"/>
              <a:gd name="T75" fmla="*/ 288 h 512"/>
              <a:gd name="T76" fmla="*/ 320 w 512"/>
              <a:gd name="T77" fmla="*/ 298 h 512"/>
              <a:gd name="T78" fmla="*/ 330 w 512"/>
              <a:gd name="T79" fmla="*/ 288 h 512"/>
              <a:gd name="T80" fmla="*/ 330 w 512"/>
              <a:gd name="T81" fmla="*/ 277 h 512"/>
              <a:gd name="T82" fmla="*/ 288 w 512"/>
              <a:gd name="T83" fmla="*/ 149 h 512"/>
              <a:gd name="T84" fmla="*/ 224 w 512"/>
              <a:gd name="T85" fmla="*/ 149 h 512"/>
              <a:gd name="T86" fmla="*/ 224 w 512"/>
              <a:gd name="T87" fmla="*/ 128 h 512"/>
              <a:gd name="T88" fmla="*/ 288 w 512"/>
              <a:gd name="T89" fmla="*/ 128 h 512"/>
              <a:gd name="T90" fmla="*/ 288 w 512"/>
              <a:gd name="T91" fmla="*/ 149 h 512"/>
              <a:gd name="T92" fmla="*/ 117 w 512"/>
              <a:gd name="T93" fmla="*/ 170 h 512"/>
              <a:gd name="T94" fmla="*/ 394 w 512"/>
              <a:gd name="T95" fmla="*/ 170 h 512"/>
              <a:gd name="T96" fmla="*/ 394 w 512"/>
              <a:gd name="T97" fmla="*/ 256 h 512"/>
              <a:gd name="T98" fmla="*/ 330 w 512"/>
              <a:gd name="T99" fmla="*/ 256 h 512"/>
              <a:gd name="T100" fmla="*/ 330 w 512"/>
              <a:gd name="T101" fmla="*/ 245 h 512"/>
              <a:gd name="T102" fmla="*/ 320 w 512"/>
              <a:gd name="T103" fmla="*/ 234 h 512"/>
              <a:gd name="T104" fmla="*/ 309 w 512"/>
              <a:gd name="T105" fmla="*/ 245 h 512"/>
              <a:gd name="T106" fmla="*/ 309 w 512"/>
              <a:gd name="T107" fmla="*/ 256 h 512"/>
              <a:gd name="T108" fmla="*/ 202 w 512"/>
              <a:gd name="T109" fmla="*/ 256 h 512"/>
              <a:gd name="T110" fmla="*/ 202 w 512"/>
              <a:gd name="T111" fmla="*/ 245 h 512"/>
              <a:gd name="T112" fmla="*/ 192 w 512"/>
              <a:gd name="T113" fmla="*/ 234 h 512"/>
              <a:gd name="T114" fmla="*/ 181 w 512"/>
              <a:gd name="T115" fmla="*/ 245 h 512"/>
              <a:gd name="T116" fmla="*/ 181 w 512"/>
              <a:gd name="T117" fmla="*/ 256 h 512"/>
              <a:gd name="T118" fmla="*/ 117 w 512"/>
              <a:gd name="T119" fmla="*/ 256 h 512"/>
              <a:gd name="T120" fmla="*/ 117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66"/>
                </a:moveTo>
                <a:cubicBezTo>
                  <a:pt x="416" y="272"/>
                  <a:pt x="411" y="277"/>
                  <a:pt x="405" y="277"/>
                </a:cubicBezTo>
                <a:cubicBezTo>
                  <a:pt x="394" y="277"/>
                  <a:pt x="394" y="277"/>
                  <a:pt x="394" y="277"/>
                </a:cubicBezTo>
                <a:cubicBezTo>
                  <a:pt x="394" y="373"/>
                  <a:pt x="394" y="373"/>
                  <a:pt x="394" y="373"/>
                </a:cubicBezTo>
                <a:cubicBezTo>
                  <a:pt x="394" y="379"/>
                  <a:pt x="390" y="384"/>
                  <a:pt x="384" y="384"/>
                </a:cubicBezTo>
                <a:cubicBezTo>
                  <a:pt x="128" y="384"/>
                  <a:pt x="128" y="384"/>
                  <a:pt x="128" y="384"/>
                </a:cubicBezTo>
                <a:cubicBezTo>
                  <a:pt x="122" y="384"/>
                  <a:pt x="117" y="379"/>
                  <a:pt x="117" y="373"/>
                </a:cubicBezTo>
                <a:cubicBezTo>
                  <a:pt x="117" y="277"/>
                  <a:pt x="117" y="277"/>
                  <a:pt x="117" y="277"/>
                </a:cubicBezTo>
                <a:cubicBezTo>
                  <a:pt x="106" y="277"/>
                  <a:pt x="106" y="277"/>
                  <a:pt x="106" y="277"/>
                </a:cubicBezTo>
                <a:cubicBezTo>
                  <a:pt x="100" y="277"/>
                  <a:pt x="96" y="272"/>
                  <a:pt x="96" y="266"/>
                </a:cubicBezTo>
                <a:cubicBezTo>
                  <a:pt x="96" y="160"/>
                  <a:pt x="96" y="160"/>
                  <a:pt x="96" y="160"/>
                </a:cubicBezTo>
                <a:cubicBezTo>
                  <a:pt x="96" y="154"/>
                  <a:pt x="100" y="149"/>
                  <a:pt x="106" y="149"/>
                </a:cubicBezTo>
                <a:cubicBezTo>
                  <a:pt x="202" y="149"/>
                  <a:pt x="202" y="149"/>
                  <a:pt x="202" y="149"/>
                </a:cubicBezTo>
                <a:cubicBezTo>
                  <a:pt x="202" y="117"/>
                  <a:pt x="202" y="117"/>
                  <a:pt x="202" y="117"/>
                </a:cubicBezTo>
                <a:cubicBezTo>
                  <a:pt x="202" y="111"/>
                  <a:pt x="207" y="106"/>
                  <a:pt x="213" y="106"/>
                </a:cubicBezTo>
                <a:cubicBezTo>
                  <a:pt x="298" y="106"/>
                  <a:pt x="298" y="106"/>
                  <a:pt x="298" y="106"/>
                </a:cubicBezTo>
                <a:cubicBezTo>
                  <a:pt x="304" y="106"/>
                  <a:pt x="309" y="111"/>
                  <a:pt x="309" y="117"/>
                </a:cubicBezTo>
                <a:cubicBezTo>
                  <a:pt x="309" y="149"/>
                  <a:pt x="309" y="149"/>
                  <a:pt x="309" y="149"/>
                </a:cubicBezTo>
                <a:cubicBezTo>
                  <a:pt x="405" y="149"/>
                  <a:pt x="405" y="149"/>
                  <a:pt x="405" y="149"/>
                </a:cubicBezTo>
                <a:cubicBezTo>
                  <a:pt x="411" y="149"/>
                  <a:pt x="416" y="154"/>
                  <a:pt x="416" y="160"/>
                </a:cubicBezTo>
                <a:lnTo>
                  <a:pt x="416" y="266"/>
                </a:lnTo>
                <a:close/>
                <a:moveTo>
                  <a:pt x="330" y="277"/>
                </a:moveTo>
                <a:cubicBezTo>
                  <a:pt x="373" y="277"/>
                  <a:pt x="373" y="277"/>
                  <a:pt x="373" y="277"/>
                </a:cubicBezTo>
                <a:cubicBezTo>
                  <a:pt x="373" y="362"/>
                  <a:pt x="373" y="362"/>
                  <a:pt x="373" y="362"/>
                </a:cubicBezTo>
                <a:cubicBezTo>
                  <a:pt x="138" y="362"/>
                  <a:pt x="138" y="362"/>
                  <a:pt x="138" y="362"/>
                </a:cubicBezTo>
                <a:cubicBezTo>
                  <a:pt x="138" y="277"/>
                  <a:pt x="138" y="277"/>
                  <a:pt x="138" y="277"/>
                </a:cubicBezTo>
                <a:cubicBezTo>
                  <a:pt x="181" y="277"/>
                  <a:pt x="181" y="277"/>
                  <a:pt x="181" y="277"/>
                </a:cubicBezTo>
                <a:cubicBezTo>
                  <a:pt x="181" y="288"/>
                  <a:pt x="181" y="288"/>
                  <a:pt x="181" y="288"/>
                </a:cubicBezTo>
                <a:cubicBezTo>
                  <a:pt x="181" y="294"/>
                  <a:pt x="186" y="298"/>
                  <a:pt x="192" y="298"/>
                </a:cubicBezTo>
                <a:cubicBezTo>
                  <a:pt x="198" y="298"/>
                  <a:pt x="202" y="294"/>
                  <a:pt x="202" y="288"/>
                </a:cubicBezTo>
                <a:cubicBezTo>
                  <a:pt x="202" y="277"/>
                  <a:pt x="202" y="277"/>
                  <a:pt x="202" y="277"/>
                </a:cubicBezTo>
                <a:cubicBezTo>
                  <a:pt x="309" y="277"/>
                  <a:pt x="309" y="277"/>
                  <a:pt x="309" y="277"/>
                </a:cubicBezTo>
                <a:cubicBezTo>
                  <a:pt x="309" y="288"/>
                  <a:pt x="309" y="288"/>
                  <a:pt x="309" y="288"/>
                </a:cubicBezTo>
                <a:cubicBezTo>
                  <a:pt x="309" y="294"/>
                  <a:pt x="314" y="298"/>
                  <a:pt x="320" y="298"/>
                </a:cubicBezTo>
                <a:cubicBezTo>
                  <a:pt x="326" y="298"/>
                  <a:pt x="330" y="294"/>
                  <a:pt x="330" y="288"/>
                </a:cubicBezTo>
                <a:lnTo>
                  <a:pt x="330" y="277"/>
                </a:lnTo>
                <a:close/>
                <a:moveTo>
                  <a:pt x="288" y="149"/>
                </a:moveTo>
                <a:cubicBezTo>
                  <a:pt x="224" y="149"/>
                  <a:pt x="224" y="149"/>
                  <a:pt x="224" y="149"/>
                </a:cubicBezTo>
                <a:cubicBezTo>
                  <a:pt x="224" y="128"/>
                  <a:pt x="224" y="128"/>
                  <a:pt x="224" y="128"/>
                </a:cubicBezTo>
                <a:cubicBezTo>
                  <a:pt x="288" y="128"/>
                  <a:pt x="288" y="128"/>
                  <a:pt x="288" y="128"/>
                </a:cubicBezTo>
                <a:lnTo>
                  <a:pt x="288" y="149"/>
                </a:lnTo>
                <a:close/>
                <a:moveTo>
                  <a:pt x="117" y="170"/>
                </a:moveTo>
                <a:cubicBezTo>
                  <a:pt x="394" y="170"/>
                  <a:pt x="394" y="170"/>
                  <a:pt x="394" y="170"/>
                </a:cubicBezTo>
                <a:cubicBezTo>
                  <a:pt x="394" y="256"/>
                  <a:pt x="394" y="256"/>
                  <a:pt x="394" y="256"/>
                </a:cubicBezTo>
                <a:cubicBezTo>
                  <a:pt x="330" y="256"/>
                  <a:pt x="330" y="256"/>
                  <a:pt x="330" y="256"/>
                </a:cubicBezTo>
                <a:cubicBezTo>
                  <a:pt x="330" y="245"/>
                  <a:pt x="330" y="245"/>
                  <a:pt x="330" y="245"/>
                </a:cubicBezTo>
                <a:cubicBezTo>
                  <a:pt x="330" y="239"/>
                  <a:pt x="326" y="234"/>
                  <a:pt x="320" y="234"/>
                </a:cubicBezTo>
                <a:cubicBezTo>
                  <a:pt x="314" y="234"/>
                  <a:pt x="309" y="239"/>
                  <a:pt x="309" y="245"/>
                </a:cubicBezTo>
                <a:cubicBezTo>
                  <a:pt x="309" y="256"/>
                  <a:pt x="309" y="256"/>
                  <a:pt x="309" y="256"/>
                </a:cubicBezTo>
                <a:cubicBezTo>
                  <a:pt x="202" y="256"/>
                  <a:pt x="202" y="256"/>
                  <a:pt x="202" y="256"/>
                </a:cubicBezTo>
                <a:cubicBezTo>
                  <a:pt x="202" y="245"/>
                  <a:pt x="202" y="245"/>
                  <a:pt x="202" y="245"/>
                </a:cubicBezTo>
                <a:cubicBezTo>
                  <a:pt x="202" y="239"/>
                  <a:pt x="198" y="234"/>
                  <a:pt x="192" y="234"/>
                </a:cubicBezTo>
                <a:cubicBezTo>
                  <a:pt x="186" y="234"/>
                  <a:pt x="181" y="239"/>
                  <a:pt x="181" y="245"/>
                </a:cubicBezTo>
                <a:cubicBezTo>
                  <a:pt x="181" y="256"/>
                  <a:pt x="181" y="256"/>
                  <a:pt x="181" y="256"/>
                </a:cubicBezTo>
                <a:cubicBezTo>
                  <a:pt x="117" y="256"/>
                  <a:pt x="117" y="256"/>
                  <a:pt x="117" y="256"/>
                </a:cubicBezTo>
                <a:lnTo>
                  <a:pt x="117" y="1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4" name="Oval 73">
            <a:extLst>
              <a:ext uri="{FF2B5EF4-FFF2-40B4-BE49-F238E27FC236}">
                <a16:creationId xmlns:a16="http://schemas.microsoft.com/office/drawing/2014/main" id="{1382F7F3-A4AC-4811-BF5C-CCA571434C0F}"/>
              </a:ext>
            </a:extLst>
          </p:cNvPr>
          <p:cNvSpPr/>
          <p:nvPr/>
        </p:nvSpPr>
        <p:spPr bwMode="gray">
          <a:xfrm>
            <a:off x="11046010" y="1712425"/>
            <a:ext cx="488823" cy="488823"/>
          </a:xfrm>
          <a:prstGeom prst="ellipse">
            <a:avLst/>
          </a:prstGeom>
          <a:solidFill>
            <a:schemeClr val="accent2"/>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prstClr val="white"/>
              </a:solidFill>
            </a:endParaRPr>
          </a:p>
        </p:txBody>
      </p:sp>
      <p:sp>
        <p:nvSpPr>
          <p:cNvPr id="75" name="Freeform 751">
            <a:extLst>
              <a:ext uri="{FF2B5EF4-FFF2-40B4-BE49-F238E27FC236}">
                <a16:creationId xmlns:a16="http://schemas.microsoft.com/office/drawing/2014/main" id="{96EAE4C9-6768-45FC-A15F-00BD25602B95}"/>
              </a:ext>
            </a:extLst>
          </p:cNvPr>
          <p:cNvSpPr>
            <a:spLocks noEditPoints="1"/>
          </p:cNvSpPr>
          <p:nvPr/>
        </p:nvSpPr>
        <p:spPr bwMode="auto">
          <a:xfrm>
            <a:off x="11104574" y="1761784"/>
            <a:ext cx="382385" cy="382385"/>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2" name="Oval 71">
            <a:extLst>
              <a:ext uri="{FF2B5EF4-FFF2-40B4-BE49-F238E27FC236}">
                <a16:creationId xmlns:a16="http://schemas.microsoft.com/office/drawing/2014/main" id="{04F00C71-98B2-486C-94F8-53DF36FF2AB1}"/>
              </a:ext>
            </a:extLst>
          </p:cNvPr>
          <p:cNvSpPr/>
          <p:nvPr/>
        </p:nvSpPr>
        <p:spPr bwMode="gray">
          <a:xfrm>
            <a:off x="11045911" y="4369577"/>
            <a:ext cx="488823" cy="488823"/>
          </a:xfrm>
          <a:prstGeom prst="ellipse">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prstClr val="white"/>
              </a:solidFill>
            </a:endParaRPr>
          </a:p>
        </p:txBody>
      </p:sp>
      <p:sp>
        <p:nvSpPr>
          <p:cNvPr id="73" name="Freeform 575">
            <a:extLst>
              <a:ext uri="{FF2B5EF4-FFF2-40B4-BE49-F238E27FC236}">
                <a16:creationId xmlns:a16="http://schemas.microsoft.com/office/drawing/2014/main" id="{30FD6902-B0CE-43C1-9922-17C374C08162}"/>
              </a:ext>
            </a:extLst>
          </p:cNvPr>
          <p:cNvSpPr>
            <a:spLocks noEditPoints="1"/>
          </p:cNvSpPr>
          <p:nvPr/>
        </p:nvSpPr>
        <p:spPr bwMode="auto">
          <a:xfrm>
            <a:off x="11105049" y="4420032"/>
            <a:ext cx="382385" cy="38238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62 h 512"/>
              <a:gd name="T12" fmla="*/ 320 w 512"/>
              <a:gd name="T13" fmla="*/ 384 h 512"/>
              <a:gd name="T14" fmla="*/ 224 w 512"/>
              <a:gd name="T15" fmla="*/ 384 h 512"/>
              <a:gd name="T16" fmla="*/ 191 w 512"/>
              <a:gd name="T17" fmla="*/ 373 h 512"/>
              <a:gd name="T18" fmla="*/ 106 w 512"/>
              <a:gd name="T19" fmla="*/ 373 h 512"/>
              <a:gd name="T20" fmla="*/ 96 w 512"/>
              <a:gd name="T21" fmla="*/ 362 h 512"/>
              <a:gd name="T22" fmla="*/ 96 w 512"/>
              <a:gd name="T23" fmla="*/ 245 h 512"/>
              <a:gd name="T24" fmla="*/ 106 w 512"/>
              <a:gd name="T25" fmla="*/ 234 h 512"/>
              <a:gd name="T26" fmla="*/ 175 w 512"/>
              <a:gd name="T27" fmla="*/ 234 h 512"/>
              <a:gd name="T28" fmla="*/ 184 w 512"/>
              <a:gd name="T29" fmla="*/ 220 h 512"/>
              <a:gd name="T30" fmla="*/ 185 w 512"/>
              <a:gd name="T31" fmla="*/ 218 h 512"/>
              <a:gd name="T32" fmla="*/ 280 w 512"/>
              <a:gd name="T33" fmla="*/ 110 h 512"/>
              <a:gd name="T34" fmla="*/ 287 w 512"/>
              <a:gd name="T35" fmla="*/ 106 h 512"/>
              <a:gd name="T36" fmla="*/ 295 w 512"/>
              <a:gd name="T37" fmla="*/ 109 h 512"/>
              <a:gd name="T38" fmla="*/ 309 w 512"/>
              <a:gd name="T39" fmla="*/ 152 h 512"/>
              <a:gd name="T40" fmla="*/ 292 w 512"/>
              <a:gd name="T41" fmla="*/ 202 h 512"/>
              <a:gd name="T42" fmla="*/ 330 w 512"/>
              <a:gd name="T43" fmla="*/ 202 h 512"/>
              <a:gd name="T44" fmla="*/ 394 w 512"/>
              <a:gd name="T45" fmla="*/ 266 h 512"/>
              <a:gd name="T46" fmla="*/ 370 w 512"/>
              <a:gd name="T47" fmla="*/ 362 h 512"/>
              <a:gd name="T48" fmla="*/ 170 w 512"/>
              <a:gd name="T49" fmla="*/ 330 h 512"/>
              <a:gd name="T50" fmla="*/ 174 w 512"/>
              <a:gd name="T51" fmla="*/ 352 h 512"/>
              <a:gd name="T52" fmla="*/ 117 w 512"/>
              <a:gd name="T53" fmla="*/ 352 h 512"/>
              <a:gd name="T54" fmla="*/ 117 w 512"/>
              <a:gd name="T55" fmla="*/ 256 h 512"/>
              <a:gd name="T56" fmla="*/ 170 w 512"/>
              <a:gd name="T57" fmla="*/ 256 h 512"/>
              <a:gd name="T58" fmla="*/ 170 w 512"/>
              <a:gd name="T59" fmla="*/ 256 h 512"/>
              <a:gd name="T60" fmla="*/ 170 w 512"/>
              <a:gd name="T61" fmla="*/ 330 h 512"/>
              <a:gd name="T62" fmla="*/ 373 w 512"/>
              <a:gd name="T63" fmla="*/ 267 h 512"/>
              <a:gd name="T64" fmla="*/ 354 w 512"/>
              <a:gd name="T65" fmla="*/ 348 h 512"/>
              <a:gd name="T66" fmla="*/ 320 w 512"/>
              <a:gd name="T67" fmla="*/ 362 h 512"/>
              <a:gd name="T68" fmla="*/ 224 w 512"/>
              <a:gd name="T69" fmla="*/ 362 h 512"/>
              <a:gd name="T70" fmla="*/ 192 w 512"/>
              <a:gd name="T71" fmla="*/ 330 h 512"/>
              <a:gd name="T72" fmla="*/ 192 w 512"/>
              <a:gd name="T73" fmla="*/ 256 h 512"/>
              <a:gd name="T74" fmla="*/ 200 w 512"/>
              <a:gd name="T75" fmla="*/ 233 h 512"/>
              <a:gd name="T76" fmla="*/ 201 w 512"/>
              <a:gd name="T77" fmla="*/ 233 h 512"/>
              <a:gd name="T78" fmla="*/ 287 w 512"/>
              <a:gd name="T79" fmla="*/ 134 h 512"/>
              <a:gd name="T80" fmla="*/ 288 w 512"/>
              <a:gd name="T81" fmla="*/ 146 h 512"/>
              <a:gd name="T82" fmla="*/ 267 w 512"/>
              <a:gd name="T83" fmla="*/ 210 h 512"/>
              <a:gd name="T84" fmla="*/ 267 w 512"/>
              <a:gd name="T85" fmla="*/ 210 h 512"/>
              <a:gd name="T86" fmla="*/ 266 w 512"/>
              <a:gd name="T87" fmla="*/ 213 h 512"/>
              <a:gd name="T88" fmla="*/ 277 w 512"/>
              <a:gd name="T89" fmla="*/ 224 h 512"/>
              <a:gd name="T90" fmla="*/ 330 w 512"/>
              <a:gd name="T91" fmla="*/ 224 h 512"/>
              <a:gd name="T92" fmla="*/ 373 w 512"/>
              <a:gd name="T93" fmla="*/ 2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62"/>
                </a:moveTo>
                <a:cubicBezTo>
                  <a:pt x="357" y="377"/>
                  <a:pt x="340" y="384"/>
                  <a:pt x="320" y="384"/>
                </a:cubicBezTo>
                <a:cubicBezTo>
                  <a:pt x="224" y="384"/>
                  <a:pt x="224" y="384"/>
                  <a:pt x="224" y="384"/>
                </a:cubicBezTo>
                <a:cubicBezTo>
                  <a:pt x="211" y="384"/>
                  <a:pt x="200" y="380"/>
                  <a:pt x="191" y="373"/>
                </a:cubicBezTo>
                <a:cubicBezTo>
                  <a:pt x="106" y="373"/>
                  <a:pt x="106" y="373"/>
                  <a:pt x="106" y="373"/>
                </a:cubicBezTo>
                <a:cubicBezTo>
                  <a:pt x="100" y="373"/>
                  <a:pt x="96" y="368"/>
                  <a:pt x="96" y="362"/>
                </a:cubicBezTo>
                <a:cubicBezTo>
                  <a:pt x="96" y="245"/>
                  <a:pt x="96" y="245"/>
                  <a:pt x="96" y="245"/>
                </a:cubicBezTo>
                <a:cubicBezTo>
                  <a:pt x="96" y="239"/>
                  <a:pt x="100" y="234"/>
                  <a:pt x="106" y="234"/>
                </a:cubicBezTo>
                <a:cubicBezTo>
                  <a:pt x="175" y="234"/>
                  <a:pt x="175" y="234"/>
                  <a:pt x="175" y="234"/>
                </a:cubicBezTo>
                <a:cubicBezTo>
                  <a:pt x="177" y="229"/>
                  <a:pt x="180" y="224"/>
                  <a:pt x="184" y="220"/>
                </a:cubicBezTo>
                <a:cubicBezTo>
                  <a:pt x="185" y="218"/>
                  <a:pt x="185" y="218"/>
                  <a:pt x="185" y="218"/>
                </a:cubicBezTo>
                <a:cubicBezTo>
                  <a:pt x="280" y="110"/>
                  <a:pt x="280" y="110"/>
                  <a:pt x="280" y="110"/>
                </a:cubicBezTo>
                <a:cubicBezTo>
                  <a:pt x="282" y="108"/>
                  <a:pt x="284" y="106"/>
                  <a:pt x="287" y="106"/>
                </a:cubicBezTo>
                <a:cubicBezTo>
                  <a:pt x="290" y="106"/>
                  <a:pt x="293" y="107"/>
                  <a:pt x="295" y="109"/>
                </a:cubicBezTo>
                <a:cubicBezTo>
                  <a:pt x="296" y="110"/>
                  <a:pt x="315" y="129"/>
                  <a:pt x="309" y="152"/>
                </a:cubicBezTo>
                <a:cubicBezTo>
                  <a:pt x="292" y="202"/>
                  <a:pt x="292" y="202"/>
                  <a:pt x="292" y="202"/>
                </a:cubicBezTo>
                <a:cubicBezTo>
                  <a:pt x="330" y="202"/>
                  <a:pt x="330" y="202"/>
                  <a:pt x="330" y="202"/>
                </a:cubicBezTo>
                <a:cubicBezTo>
                  <a:pt x="361" y="202"/>
                  <a:pt x="394" y="235"/>
                  <a:pt x="394" y="266"/>
                </a:cubicBezTo>
                <a:cubicBezTo>
                  <a:pt x="395" y="268"/>
                  <a:pt x="400" y="329"/>
                  <a:pt x="370" y="362"/>
                </a:cubicBezTo>
                <a:close/>
                <a:moveTo>
                  <a:pt x="170" y="330"/>
                </a:moveTo>
                <a:cubicBezTo>
                  <a:pt x="170" y="338"/>
                  <a:pt x="172" y="345"/>
                  <a:pt x="174" y="352"/>
                </a:cubicBezTo>
                <a:cubicBezTo>
                  <a:pt x="117" y="352"/>
                  <a:pt x="117" y="352"/>
                  <a:pt x="117" y="352"/>
                </a:cubicBezTo>
                <a:cubicBezTo>
                  <a:pt x="117" y="256"/>
                  <a:pt x="117" y="256"/>
                  <a:pt x="117" y="256"/>
                </a:cubicBezTo>
                <a:cubicBezTo>
                  <a:pt x="170" y="256"/>
                  <a:pt x="170" y="256"/>
                  <a:pt x="170" y="256"/>
                </a:cubicBezTo>
                <a:cubicBezTo>
                  <a:pt x="170" y="256"/>
                  <a:pt x="170" y="256"/>
                  <a:pt x="170" y="256"/>
                </a:cubicBezTo>
                <a:lnTo>
                  <a:pt x="170" y="330"/>
                </a:lnTo>
                <a:close/>
                <a:moveTo>
                  <a:pt x="373" y="267"/>
                </a:moveTo>
                <a:cubicBezTo>
                  <a:pt x="373" y="268"/>
                  <a:pt x="378" y="322"/>
                  <a:pt x="354" y="348"/>
                </a:cubicBezTo>
                <a:cubicBezTo>
                  <a:pt x="346" y="358"/>
                  <a:pt x="334" y="362"/>
                  <a:pt x="320" y="362"/>
                </a:cubicBezTo>
                <a:cubicBezTo>
                  <a:pt x="224" y="362"/>
                  <a:pt x="224" y="362"/>
                  <a:pt x="224" y="362"/>
                </a:cubicBezTo>
                <a:cubicBezTo>
                  <a:pt x="205" y="362"/>
                  <a:pt x="192" y="349"/>
                  <a:pt x="192" y="330"/>
                </a:cubicBezTo>
                <a:cubicBezTo>
                  <a:pt x="192" y="256"/>
                  <a:pt x="192" y="256"/>
                  <a:pt x="192" y="256"/>
                </a:cubicBezTo>
                <a:cubicBezTo>
                  <a:pt x="192" y="248"/>
                  <a:pt x="195" y="240"/>
                  <a:pt x="200" y="233"/>
                </a:cubicBezTo>
                <a:cubicBezTo>
                  <a:pt x="201" y="233"/>
                  <a:pt x="201" y="233"/>
                  <a:pt x="201" y="233"/>
                </a:cubicBezTo>
                <a:cubicBezTo>
                  <a:pt x="287" y="134"/>
                  <a:pt x="287" y="134"/>
                  <a:pt x="287" y="134"/>
                </a:cubicBezTo>
                <a:cubicBezTo>
                  <a:pt x="288" y="138"/>
                  <a:pt x="289" y="142"/>
                  <a:pt x="288" y="146"/>
                </a:cubicBezTo>
                <a:cubicBezTo>
                  <a:pt x="267" y="210"/>
                  <a:pt x="267" y="210"/>
                  <a:pt x="267" y="210"/>
                </a:cubicBezTo>
                <a:cubicBezTo>
                  <a:pt x="267" y="210"/>
                  <a:pt x="267" y="210"/>
                  <a:pt x="267" y="210"/>
                </a:cubicBezTo>
                <a:cubicBezTo>
                  <a:pt x="267" y="211"/>
                  <a:pt x="266" y="212"/>
                  <a:pt x="266" y="213"/>
                </a:cubicBezTo>
                <a:cubicBezTo>
                  <a:pt x="266" y="219"/>
                  <a:pt x="271" y="224"/>
                  <a:pt x="277" y="224"/>
                </a:cubicBezTo>
                <a:cubicBezTo>
                  <a:pt x="330" y="224"/>
                  <a:pt x="330" y="224"/>
                  <a:pt x="330" y="224"/>
                </a:cubicBezTo>
                <a:cubicBezTo>
                  <a:pt x="349" y="224"/>
                  <a:pt x="373" y="247"/>
                  <a:pt x="373" y="2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Tree>
    <p:custDataLst>
      <p:tags r:id="rId1"/>
    </p:custDataLst>
    <p:extLst>
      <p:ext uri="{BB962C8B-B14F-4D97-AF65-F5344CB8AC3E}">
        <p14:creationId xmlns:p14="http://schemas.microsoft.com/office/powerpoint/2010/main" val="3840573461"/>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C2FF16CE-4D85-F747-B698-2A0519B6BF80}"/>
              </a:ext>
            </a:extLst>
          </p:cNvPr>
          <p:cNvSpPr txBox="1"/>
          <p:nvPr/>
        </p:nvSpPr>
        <p:spPr>
          <a:xfrm>
            <a:off x="523880" y="5993509"/>
            <a:ext cx="11144246" cy="384579"/>
          </a:xfrm>
          <a:prstGeom prst="rect">
            <a:avLst/>
          </a:prstGeom>
          <a:solidFill>
            <a:srgbClr val="000000"/>
          </a:solidFill>
          <a:ln w="19050">
            <a:noFill/>
          </a:ln>
        </p:spPr>
        <p:txBody>
          <a:bodyPr wrap="square" lIns="91370" tIns="91370" rIns="91370" bIns="91370" rtlCol="0">
            <a:spAutoFit/>
          </a:bodyPr>
          <a:lstStyle>
            <a:defPPr>
              <a:defRPr lang="en-US"/>
            </a:defPPr>
            <a:lvl1pPr algn="ctr">
              <a:defRPr sz="1200" b="1" kern="0">
                <a:solidFill>
                  <a:schemeClr val="bg1"/>
                </a:solidFill>
                <a:cs typeface="Arial" charset="0"/>
              </a:defRPr>
            </a:lvl1pPr>
          </a:lstStyle>
          <a:p>
            <a:pPr defTabSz="913686"/>
            <a:r>
              <a:rPr lang="en-US" sz="1300" dirty="0">
                <a:solidFill>
                  <a:prstClr val="white"/>
                </a:solidFill>
              </a:rPr>
              <a:t>This is dummy text it is not here to be read.</a:t>
            </a:r>
          </a:p>
        </p:txBody>
      </p:sp>
      <p:sp>
        <p:nvSpPr>
          <p:cNvPr id="35" name="Oval 34">
            <a:extLst>
              <a:ext uri="{FF2B5EF4-FFF2-40B4-BE49-F238E27FC236}">
                <a16:creationId xmlns:a16="http://schemas.microsoft.com/office/drawing/2014/main" id="{885A6048-D212-174E-B38E-9EAB00337B5B}"/>
              </a:ext>
            </a:extLst>
          </p:cNvPr>
          <p:cNvSpPr/>
          <p:nvPr/>
        </p:nvSpPr>
        <p:spPr bwMode="gray">
          <a:xfrm>
            <a:off x="3178790" y="2119321"/>
            <a:ext cx="5834420" cy="3284270"/>
          </a:xfrm>
          <a:prstGeom prst="ellipse">
            <a:avLst/>
          </a:prstGeom>
          <a:noFill/>
          <a:ln w="19050" algn="ctr">
            <a:solidFill>
              <a:schemeClr val="bg2"/>
            </a:solidFill>
            <a:prstDash val="dash"/>
            <a:miter lim="800000"/>
            <a:headEnd/>
            <a:tailEnd/>
          </a:ln>
        </p:spPr>
        <p:txBody>
          <a:bodyPr wrap="square" lIns="88830" tIns="88830" rIns="88830" bIns="88830" rtlCol="0" anchor="ctr"/>
          <a:lstStyle/>
          <a:p>
            <a:pPr algn="ctr" defTabSz="913686"/>
            <a:endParaRPr lang="en-US" sz="1300" b="1" dirty="0">
              <a:solidFill>
                <a:prstClr val="white"/>
              </a:solidFill>
            </a:endParaRPr>
          </a:p>
        </p:txBody>
      </p:sp>
      <p:sp>
        <p:nvSpPr>
          <p:cNvPr id="53" name="Freeform 33">
            <a:extLst>
              <a:ext uri="{FF2B5EF4-FFF2-40B4-BE49-F238E27FC236}">
                <a16:creationId xmlns:a16="http://schemas.microsoft.com/office/drawing/2014/main" id="{E2A21165-7661-444E-B2B8-DDEA5BA7A704}"/>
              </a:ext>
            </a:extLst>
          </p:cNvPr>
          <p:cNvSpPr>
            <a:spLocks noChangeAspect="1" noEditPoints="1"/>
          </p:cNvSpPr>
          <p:nvPr/>
        </p:nvSpPr>
        <p:spPr bwMode="auto">
          <a:xfrm rot="19794659">
            <a:off x="5594153" y="1660792"/>
            <a:ext cx="1003694" cy="1003694"/>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1"/>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1300">
              <a:solidFill>
                <a:prstClr val="black"/>
              </a:solidFill>
            </a:endParaRPr>
          </a:p>
        </p:txBody>
      </p:sp>
      <p:sp>
        <p:nvSpPr>
          <p:cNvPr id="54" name="Oval 53">
            <a:extLst>
              <a:ext uri="{FF2B5EF4-FFF2-40B4-BE49-F238E27FC236}">
                <a16:creationId xmlns:a16="http://schemas.microsoft.com/office/drawing/2014/main" id="{3CBA62C5-AB4F-1D48-9576-C5FA270ADA7B}"/>
              </a:ext>
            </a:extLst>
          </p:cNvPr>
          <p:cNvSpPr/>
          <p:nvPr/>
        </p:nvSpPr>
        <p:spPr bwMode="gray">
          <a:xfrm rot="20435821">
            <a:off x="5763994" y="1834073"/>
            <a:ext cx="664013" cy="657134"/>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endParaRPr lang="en-US" sz="1300" b="1" dirty="0">
              <a:solidFill>
                <a:srgbClr val="313131"/>
              </a:solidFill>
            </a:endParaRPr>
          </a:p>
        </p:txBody>
      </p:sp>
      <p:sp>
        <p:nvSpPr>
          <p:cNvPr id="56" name="Freeform 33">
            <a:extLst>
              <a:ext uri="{FF2B5EF4-FFF2-40B4-BE49-F238E27FC236}">
                <a16:creationId xmlns:a16="http://schemas.microsoft.com/office/drawing/2014/main" id="{5C11632D-D920-0D4E-8C21-BC3B33456C51}"/>
              </a:ext>
            </a:extLst>
          </p:cNvPr>
          <p:cNvSpPr>
            <a:spLocks noChangeAspect="1" noEditPoints="1"/>
          </p:cNvSpPr>
          <p:nvPr/>
        </p:nvSpPr>
        <p:spPr bwMode="auto">
          <a:xfrm rot="19797781">
            <a:off x="5594153" y="4853536"/>
            <a:ext cx="1003694" cy="1003694"/>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rgbClr val="009A44"/>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1300">
              <a:solidFill>
                <a:prstClr val="black"/>
              </a:solidFill>
            </a:endParaRPr>
          </a:p>
        </p:txBody>
      </p:sp>
      <p:sp>
        <p:nvSpPr>
          <p:cNvPr id="57" name="Oval 56">
            <a:extLst>
              <a:ext uri="{FF2B5EF4-FFF2-40B4-BE49-F238E27FC236}">
                <a16:creationId xmlns:a16="http://schemas.microsoft.com/office/drawing/2014/main" id="{FCFE1A74-7B7B-BF42-9EC6-DA80A755E55D}"/>
              </a:ext>
            </a:extLst>
          </p:cNvPr>
          <p:cNvSpPr/>
          <p:nvPr/>
        </p:nvSpPr>
        <p:spPr bwMode="gray">
          <a:xfrm rot="20556659">
            <a:off x="5765416" y="5034096"/>
            <a:ext cx="664013" cy="657134"/>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endParaRPr lang="en-US" sz="1300" b="1" dirty="0">
              <a:solidFill>
                <a:srgbClr val="313131"/>
              </a:solidFill>
            </a:endParaRPr>
          </a:p>
        </p:txBody>
      </p:sp>
      <p:sp>
        <p:nvSpPr>
          <p:cNvPr id="59" name="Freeform 33">
            <a:extLst>
              <a:ext uri="{FF2B5EF4-FFF2-40B4-BE49-F238E27FC236}">
                <a16:creationId xmlns:a16="http://schemas.microsoft.com/office/drawing/2014/main" id="{3614AE79-D67F-A746-BB17-AD26E2A1E983}"/>
              </a:ext>
            </a:extLst>
          </p:cNvPr>
          <p:cNvSpPr>
            <a:spLocks noChangeAspect="1" noEditPoints="1"/>
          </p:cNvSpPr>
          <p:nvPr/>
        </p:nvSpPr>
        <p:spPr bwMode="auto">
          <a:xfrm>
            <a:off x="8487812" y="3079884"/>
            <a:ext cx="1003694" cy="1003694"/>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2"/>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1300">
              <a:solidFill>
                <a:prstClr val="black"/>
              </a:solidFill>
            </a:endParaRPr>
          </a:p>
        </p:txBody>
      </p:sp>
      <p:sp>
        <p:nvSpPr>
          <p:cNvPr id="60" name="Oval 59">
            <a:extLst>
              <a:ext uri="{FF2B5EF4-FFF2-40B4-BE49-F238E27FC236}">
                <a16:creationId xmlns:a16="http://schemas.microsoft.com/office/drawing/2014/main" id="{2ABC061A-6EBB-0F43-8DAF-523D285CE538}"/>
              </a:ext>
            </a:extLst>
          </p:cNvPr>
          <p:cNvSpPr/>
          <p:nvPr/>
        </p:nvSpPr>
        <p:spPr bwMode="gray">
          <a:xfrm>
            <a:off x="8657653" y="3253165"/>
            <a:ext cx="664014" cy="657134"/>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endParaRPr lang="en-US" sz="1300" b="1" dirty="0">
              <a:solidFill>
                <a:srgbClr val="313131"/>
              </a:solidFill>
            </a:endParaRPr>
          </a:p>
        </p:txBody>
      </p:sp>
      <p:sp>
        <p:nvSpPr>
          <p:cNvPr id="62" name="Freeform 33">
            <a:extLst>
              <a:ext uri="{FF2B5EF4-FFF2-40B4-BE49-F238E27FC236}">
                <a16:creationId xmlns:a16="http://schemas.microsoft.com/office/drawing/2014/main" id="{CDCA8192-D46B-3643-BEF6-E51DA1851270}"/>
              </a:ext>
            </a:extLst>
          </p:cNvPr>
          <p:cNvSpPr>
            <a:spLocks noChangeAspect="1" noEditPoints="1"/>
          </p:cNvSpPr>
          <p:nvPr/>
        </p:nvSpPr>
        <p:spPr bwMode="auto">
          <a:xfrm rot="20471685">
            <a:off x="2710775" y="3259609"/>
            <a:ext cx="1003694" cy="1003694"/>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3"/>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1300">
              <a:solidFill>
                <a:prstClr val="black"/>
              </a:solidFill>
            </a:endParaRPr>
          </a:p>
        </p:txBody>
      </p:sp>
      <p:sp>
        <p:nvSpPr>
          <p:cNvPr id="63" name="Oval 62">
            <a:extLst>
              <a:ext uri="{FF2B5EF4-FFF2-40B4-BE49-F238E27FC236}">
                <a16:creationId xmlns:a16="http://schemas.microsoft.com/office/drawing/2014/main" id="{08F1E5E9-5031-CD48-BDEE-54F52C0708F5}"/>
              </a:ext>
            </a:extLst>
          </p:cNvPr>
          <p:cNvSpPr/>
          <p:nvPr/>
        </p:nvSpPr>
        <p:spPr bwMode="gray">
          <a:xfrm rot="20471685">
            <a:off x="2881020" y="3432752"/>
            <a:ext cx="664014" cy="657134"/>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endParaRPr lang="en-US" sz="1300" b="1" dirty="0">
              <a:solidFill>
                <a:srgbClr val="313131"/>
              </a:solidFill>
            </a:endParaRPr>
          </a:p>
        </p:txBody>
      </p:sp>
      <p:sp>
        <p:nvSpPr>
          <p:cNvPr id="68" name="TextBox 67">
            <a:extLst>
              <a:ext uri="{FF2B5EF4-FFF2-40B4-BE49-F238E27FC236}">
                <a16:creationId xmlns:a16="http://schemas.microsoft.com/office/drawing/2014/main" id="{0DE07B1C-A1C7-0B4D-B053-B8355D2562A8}"/>
              </a:ext>
            </a:extLst>
          </p:cNvPr>
          <p:cNvSpPr txBox="1"/>
          <p:nvPr/>
        </p:nvSpPr>
        <p:spPr>
          <a:xfrm>
            <a:off x="4902798" y="4328571"/>
            <a:ext cx="2386403" cy="400110"/>
          </a:xfrm>
          <a:prstGeom prst="rect">
            <a:avLst/>
          </a:prstGeom>
          <a:noFill/>
        </p:spPr>
        <p:txBody>
          <a:bodyPr wrap="square" lIns="0" tIns="0" rIns="0" bIns="0" rtlCol="0">
            <a:spAutoFit/>
          </a:bodyPr>
          <a:lstStyle/>
          <a:p>
            <a:pPr algn="ctr" defTabSz="913686">
              <a:buSzPct val="100000"/>
            </a:pPr>
            <a:r>
              <a:rPr lang="en-US" sz="1300" dirty="0">
                <a:solidFill>
                  <a:srgbClr val="000000"/>
                </a:solidFill>
              </a:rPr>
              <a:t>This is dummy text it is not here to be read.</a:t>
            </a:r>
          </a:p>
        </p:txBody>
      </p:sp>
      <p:sp>
        <p:nvSpPr>
          <p:cNvPr id="69" name="TextBox 68">
            <a:extLst>
              <a:ext uri="{FF2B5EF4-FFF2-40B4-BE49-F238E27FC236}">
                <a16:creationId xmlns:a16="http://schemas.microsoft.com/office/drawing/2014/main" id="{B33CFC3F-8DAA-E94B-9E71-B7F24A067459}"/>
              </a:ext>
            </a:extLst>
          </p:cNvPr>
          <p:cNvSpPr txBox="1"/>
          <p:nvPr/>
        </p:nvSpPr>
        <p:spPr>
          <a:xfrm>
            <a:off x="4391033" y="2686031"/>
            <a:ext cx="3409951" cy="200055"/>
          </a:xfrm>
          <a:prstGeom prst="rect">
            <a:avLst/>
          </a:prstGeom>
          <a:noFill/>
        </p:spPr>
        <p:txBody>
          <a:bodyPr wrap="square" lIns="0" tIns="0" rIns="0" bIns="0" rtlCol="0">
            <a:spAutoFit/>
          </a:bodyPr>
          <a:lstStyle/>
          <a:p>
            <a:pPr algn="ctr" defTabSz="913686">
              <a:buSzPct val="100000"/>
            </a:pPr>
            <a:r>
              <a:rPr lang="en-US" sz="1300" dirty="0">
                <a:solidFill>
                  <a:srgbClr val="000000"/>
                </a:solidFill>
              </a:rPr>
              <a:t>This is dummy text it is not here to be read.</a:t>
            </a:r>
          </a:p>
        </p:txBody>
      </p:sp>
      <p:sp>
        <p:nvSpPr>
          <p:cNvPr id="70" name="TextBox 69">
            <a:extLst>
              <a:ext uri="{FF2B5EF4-FFF2-40B4-BE49-F238E27FC236}">
                <a16:creationId xmlns:a16="http://schemas.microsoft.com/office/drawing/2014/main" id="{49EC6726-DE66-5748-A2D4-006FDE265C94}"/>
              </a:ext>
            </a:extLst>
          </p:cNvPr>
          <p:cNvSpPr txBox="1"/>
          <p:nvPr/>
        </p:nvSpPr>
        <p:spPr>
          <a:xfrm>
            <a:off x="2527171" y="4332670"/>
            <a:ext cx="1720987" cy="400110"/>
          </a:xfrm>
          <a:prstGeom prst="rect">
            <a:avLst/>
          </a:prstGeom>
          <a:solidFill>
            <a:schemeClr val="bg1"/>
          </a:solidFill>
        </p:spPr>
        <p:txBody>
          <a:bodyPr wrap="square" lIns="0" tIns="0" rIns="0" bIns="0" rtlCol="0">
            <a:spAutoFit/>
          </a:bodyPr>
          <a:lstStyle/>
          <a:p>
            <a:pPr algn="ctr" defTabSz="913686">
              <a:buSzPct val="100000"/>
            </a:pPr>
            <a:r>
              <a:rPr lang="en-US" sz="1300" dirty="0">
                <a:solidFill>
                  <a:srgbClr val="000000"/>
                </a:solidFill>
              </a:rPr>
              <a:t>This is dummy text it is not here to be read.</a:t>
            </a:r>
          </a:p>
        </p:txBody>
      </p:sp>
      <p:sp>
        <p:nvSpPr>
          <p:cNvPr id="71" name="TextBox 70">
            <a:extLst>
              <a:ext uri="{FF2B5EF4-FFF2-40B4-BE49-F238E27FC236}">
                <a16:creationId xmlns:a16="http://schemas.microsoft.com/office/drawing/2014/main" id="{87C167BC-8240-8A47-A43A-6B6E9E9F1C9F}"/>
              </a:ext>
            </a:extLst>
          </p:cNvPr>
          <p:cNvSpPr txBox="1"/>
          <p:nvPr/>
        </p:nvSpPr>
        <p:spPr>
          <a:xfrm>
            <a:off x="7863860" y="4184815"/>
            <a:ext cx="2298700" cy="400110"/>
          </a:xfrm>
          <a:prstGeom prst="rect">
            <a:avLst/>
          </a:prstGeom>
          <a:solidFill>
            <a:schemeClr val="bg1"/>
          </a:solidFill>
        </p:spPr>
        <p:txBody>
          <a:bodyPr wrap="square" lIns="0" tIns="0" rIns="0" bIns="0" rtlCol="0">
            <a:spAutoFit/>
          </a:bodyPr>
          <a:lstStyle/>
          <a:p>
            <a:pPr algn="ctr" defTabSz="913686">
              <a:buSzPct val="100000"/>
            </a:pPr>
            <a:r>
              <a:rPr lang="en-US" sz="1300" dirty="0">
                <a:solidFill>
                  <a:srgbClr val="000000"/>
                </a:solidFill>
              </a:rPr>
              <a:t>This is dummy text it is not here to be read.</a:t>
            </a:r>
          </a:p>
        </p:txBody>
      </p:sp>
      <p:sp>
        <p:nvSpPr>
          <p:cNvPr id="24" name="Freeform 189">
            <a:extLst>
              <a:ext uri="{FF2B5EF4-FFF2-40B4-BE49-F238E27FC236}">
                <a16:creationId xmlns:a16="http://schemas.microsoft.com/office/drawing/2014/main" id="{1AC5E046-9892-417B-8F83-B5F8792C595F}"/>
              </a:ext>
            </a:extLst>
          </p:cNvPr>
          <p:cNvSpPr>
            <a:spLocks noChangeAspect="1" noEditPoints="1"/>
          </p:cNvSpPr>
          <p:nvPr/>
        </p:nvSpPr>
        <p:spPr bwMode="auto">
          <a:xfrm>
            <a:off x="2939377" y="3494758"/>
            <a:ext cx="533122" cy="533121"/>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25" name="Freeform 401">
            <a:extLst>
              <a:ext uri="{FF2B5EF4-FFF2-40B4-BE49-F238E27FC236}">
                <a16:creationId xmlns:a16="http://schemas.microsoft.com/office/drawing/2014/main" id="{0D6DB39B-FC24-4406-85C4-5FF5FD7BA3B4}"/>
              </a:ext>
            </a:extLst>
          </p:cNvPr>
          <p:cNvSpPr>
            <a:spLocks noChangeAspect="1" noEditPoints="1"/>
          </p:cNvSpPr>
          <p:nvPr/>
        </p:nvSpPr>
        <p:spPr bwMode="auto">
          <a:xfrm>
            <a:off x="5815780" y="1884544"/>
            <a:ext cx="556189" cy="556189"/>
          </a:xfrm>
          <a:custGeom>
            <a:avLst/>
            <a:gdLst>
              <a:gd name="T0" fmla="*/ 310 w 512"/>
              <a:gd name="T1" fmla="*/ 388 h 512"/>
              <a:gd name="T2" fmla="*/ 313 w 512"/>
              <a:gd name="T3" fmla="*/ 394 h 512"/>
              <a:gd name="T4" fmla="*/ 198 w 512"/>
              <a:gd name="T5" fmla="*/ 394 h 512"/>
              <a:gd name="T6" fmla="*/ 201 w 512"/>
              <a:gd name="T7" fmla="*/ 388 h 512"/>
              <a:gd name="T8" fmla="*/ 202 w 512"/>
              <a:gd name="T9" fmla="*/ 384 h 512"/>
              <a:gd name="T10" fmla="*/ 202 w 512"/>
              <a:gd name="T11" fmla="*/ 256 h 512"/>
              <a:gd name="T12" fmla="*/ 309 w 512"/>
              <a:gd name="T13" fmla="*/ 256 h 512"/>
              <a:gd name="T14" fmla="*/ 309 w 512"/>
              <a:gd name="T15" fmla="*/ 384 h 512"/>
              <a:gd name="T16" fmla="*/ 310 w 512"/>
              <a:gd name="T17" fmla="*/ 388 h 512"/>
              <a:gd name="T18" fmla="*/ 288 w 512"/>
              <a:gd name="T19" fmla="*/ 202 h 512"/>
              <a:gd name="T20" fmla="*/ 224 w 512"/>
              <a:gd name="T21" fmla="*/ 202 h 512"/>
              <a:gd name="T22" fmla="*/ 224 w 512"/>
              <a:gd name="T23" fmla="*/ 234 h 512"/>
              <a:gd name="T24" fmla="*/ 288 w 512"/>
              <a:gd name="T25" fmla="*/ 234 h 512"/>
              <a:gd name="T26" fmla="*/ 288 w 512"/>
              <a:gd name="T27" fmla="*/ 202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24 w 512"/>
              <a:gd name="T39" fmla="*/ 128 h 512"/>
              <a:gd name="T40" fmla="*/ 256 w 512"/>
              <a:gd name="T41" fmla="*/ 160 h 512"/>
              <a:gd name="T42" fmla="*/ 288 w 512"/>
              <a:gd name="T43" fmla="*/ 128 h 512"/>
              <a:gd name="T44" fmla="*/ 256 w 512"/>
              <a:gd name="T45" fmla="*/ 96 h 512"/>
              <a:gd name="T46" fmla="*/ 224 w 512"/>
              <a:gd name="T47" fmla="*/ 128 h 512"/>
              <a:gd name="T48" fmla="*/ 330 w 512"/>
              <a:gd name="T49" fmla="*/ 381 h 512"/>
              <a:gd name="T50" fmla="*/ 330 w 512"/>
              <a:gd name="T51" fmla="*/ 256 h 512"/>
              <a:gd name="T52" fmla="*/ 341 w 512"/>
              <a:gd name="T53" fmla="*/ 245 h 512"/>
              <a:gd name="T54" fmla="*/ 330 w 512"/>
              <a:gd name="T55" fmla="*/ 234 h 512"/>
              <a:gd name="T56" fmla="*/ 309 w 512"/>
              <a:gd name="T57" fmla="*/ 234 h 512"/>
              <a:gd name="T58" fmla="*/ 309 w 512"/>
              <a:gd name="T59" fmla="*/ 192 h 512"/>
              <a:gd name="T60" fmla="*/ 298 w 512"/>
              <a:gd name="T61" fmla="*/ 181 h 512"/>
              <a:gd name="T62" fmla="*/ 213 w 512"/>
              <a:gd name="T63" fmla="*/ 181 h 512"/>
              <a:gd name="T64" fmla="*/ 202 w 512"/>
              <a:gd name="T65" fmla="*/ 192 h 512"/>
              <a:gd name="T66" fmla="*/ 202 w 512"/>
              <a:gd name="T67" fmla="*/ 234 h 512"/>
              <a:gd name="T68" fmla="*/ 181 w 512"/>
              <a:gd name="T69" fmla="*/ 234 h 512"/>
              <a:gd name="T70" fmla="*/ 170 w 512"/>
              <a:gd name="T71" fmla="*/ 245 h 512"/>
              <a:gd name="T72" fmla="*/ 181 w 512"/>
              <a:gd name="T73" fmla="*/ 256 h 512"/>
              <a:gd name="T74" fmla="*/ 181 w 512"/>
              <a:gd name="T75" fmla="*/ 381 h 512"/>
              <a:gd name="T76" fmla="*/ 171 w 512"/>
              <a:gd name="T77" fmla="*/ 400 h 512"/>
              <a:gd name="T78" fmla="*/ 176 w 512"/>
              <a:gd name="T79" fmla="*/ 415 h 512"/>
              <a:gd name="T80" fmla="*/ 181 w 512"/>
              <a:gd name="T81" fmla="*/ 416 h 512"/>
              <a:gd name="T82" fmla="*/ 181 w 512"/>
              <a:gd name="T83" fmla="*/ 416 h 512"/>
              <a:gd name="T84" fmla="*/ 330 w 512"/>
              <a:gd name="T85" fmla="*/ 416 h 512"/>
              <a:gd name="T86" fmla="*/ 330 w 512"/>
              <a:gd name="T87" fmla="*/ 416 h 512"/>
              <a:gd name="T88" fmla="*/ 330 w 512"/>
              <a:gd name="T89" fmla="*/ 416 h 512"/>
              <a:gd name="T90" fmla="*/ 335 w 512"/>
              <a:gd name="T91" fmla="*/ 415 h 512"/>
              <a:gd name="T92" fmla="*/ 340 w 512"/>
              <a:gd name="T93" fmla="*/ 400 h 512"/>
              <a:gd name="T94" fmla="*/ 330 w 512"/>
              <a:gd name="T95" fmla="*/ 381 h 512"/>
              <a:gd name="T96" fmla="*/ 256 w 512"/>
              <a:gd name="T97" fmla="*/ 138 h 512"/>
              <a:gd name="T98" fmla="*/ 266 w 512"/>
              <a:gd name="T99" fmla="*/ 128 h 512"/>
              <a:gd name="T100" fmla="*/ 256 w 512"/>
              <a:gd name="T101" fmla="*/ 117 h 512"/>
              <a:gd name="T102" fmla="*/ 245 w 512"/>
              <a:gd name="T103" fmla="*/ 128 h 512"/>
              <a:gd name="T104" fmla="*/ 256 w 512"/>
              <a:gd name="T105"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10" y="388"/>
                </a:moveTo>
                <a:cubicBezTo>
                  <a:pt x="313" y="394"/>
                  <a:pt x="313" y="394"/>
                  <a:pt x="313" y="394"/>
                </a:cubicBezTo>
                <a:cubicBezTo>
                  <a:pt x="198" y="394"/>
                  <a:pt x="198" y="394"/>
                  <a:pt x="198" y="394"/>
                </a:cubicBezTo>
                <a:cubicBezTo>
                  <a:pt x="201" y="388"/>
                  <a:pt x="201" y="388"/>
                  <a:pt x="201" y="388"/>
                </a:cubicBezTo>
                <a:cubicBezTo>
                  <a:pt x="202" y="387"/>
                  <a:pt x="202" y="385"/>
                  <a:pt x="202" y="384"/>
                </a:cubicBezTo>
                <a:cubicBezTo>
                  <a:pt x="202" y="256"/>
                  <a:pt x="202" y="256"/>
                  <a:pt x="202" y="256"/>
                </a:cubicBezTo>
                <a:cubicBezTo>
                  <a:pt x="309" y="256"/>
                  <a:pt x="309" y="256"/>
                  <a:pt x="309" y="256"/>
                </a:cubicBezTo>
                <a:cubicBezTo>
                  <a:pt x="309" y="384"/>
                  <a:pt x="309" y="384"/>
                  <a:pt x="309" y="384"/>
                </a:cubicBezTo>
                <a:cubicBezTo>
                  <a:pt x="309" y="385"/>
                  <a:pt x="309" y="387"/>
                  <a:pt x="310" y="388"/>
                </a:cubicBezTo>
                <a:close/>
                <a:moveTo>
                  <a:pt x="288" y="202"/>
                </a:moveTo>
                <a:cubicBezTo>
                  <a:pt x="224" y="202"/>
                  <a:pt x="224" y="202"/>
                  <a:pt x="224" y="202"/>
                </a:cubicBezTo>
                <a:cubicBezTo>
                  <a:pt x="224" y="234"/>
                  <a:pt x="224" y="234"/>
                  <a:pt x="224" y="234"/>
                </a:cubicBezTo>
                <a:cubicBezTo>
                  <a:pt x="288" y="234"/>
                  <a:pt x="288" y="234"/>
                  <a:pt x="288" y="234"/>
                </a:cubicBezTo>
                <a:lnTo>
                  <a:pt x="288"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330" y="381"/>
                </a:moveTo>
                <a:cubicBezTo>
                  <a:pt x="330" y="256"/>
                  <a:pt x="330" y="256"/>
                  <a:pt x="330" y="256"/>
                </a:cubicBezTo>
                <a:cubicBezTo>
                  <a:pt x="336" y="256"/>
                  <a:pt x="341" y="251"/>
                  <a:pt x="341" y="245"/>
                </a:cubicBezTo>
                <a:cubicBezTo>
                  <a:pt x="341" y="239"/>
                  <a:pt x="336" y="234"/>
                  <a:pt x="330" y="234"/>
                </a:cubicBezTo>
                <a:cubicBezTo>
                  <a:pt x="309" y="234"/>
                  <a:pt x="309" y="234"/>
                  <a:pt x="309" y="234"/>
                </a:cubicBezTo>
                <a:cubicBezTo>
                  <a:pt x="309" y="192"/>
                  <a:pt x="309" y="192"/>
                  <a:pt x="309" y="192"/>
                </a:cubicBezTo>
                <a:cubicBezTo>
                  <a:pt x="309" y="186"/>
                  <a:pt x="304" y="181"/>
                  <a:pt x="298" y="181"/>
                </a:cubicBezTo>
                <a:cubicBezTo>
                  <a:pt x="213" y="181"/>
                  <a:pt x="213" y="181"/>
                  <a:pt x="213" y="181"/>
                </a:cubicBezTo>
                <a:cubicBezTo>
                  <a:pt x="207" y="181"/>
                  <a:pt x="202" y="186"/>
                  <a:pt x="202" y="192"/>
                </a:cubicBezTo>
                <a:cubicBezTo>
                  <a:pt x="202" y="234"/>
                  <a:pt x="202" y="234"/>
                  <a:pt x="202" y="234"/>
                </a:cubicBezTo>
                <a:cubicBezTo>
                  <a:pt x="181" y="234"/>
                  <a:pt x="181" y="234"/>
                  <a:pt x="181" y="234"/>
                </a:cubicBezTo>
                <a:cubicBezTo>
                  <a:pt x="175" y="234"/>
                  <a:pt x="170" y="239"/>
                  <a:pt x="170" y="245"/>
                </a:cubicBezTo>
                <a:cubicBezTo>
                  <a:pt x="170" y="251"/>
                  <a:pt x="175" y="256"/>
                  <a:pt x="181" y="256"/>
                </a:cubicBezTo>
                <a:cubicBezTo>
                  <a:pt x="181" y="381"/>
                  <a:pt x="181" y="381"/>
                  <a:pt x="181" y="381"/>
                </a:cubicBezTo>
                <a:cubicBezTo>
                  <a:pt x="171" y="400"/>
                  <a:pt x="171" y="400"/>
                  <a:pt x="171" y="400"/>
                </a:cubicBezTo>
                <a:cubicBezTo>
                  <a:pt x="169" y="406"/>
                  <a:pt x="171" y="412"/>
                  <a:pt x="176" y="415"/>
                </a:cubicBezTo>
                <a:cubicBezTo>
                  <a:pt x="178" y="415"/>
                  <a:pt x="179" y="416"/>
                  <a:pt x="181" y="416"/>
                </a:cubicBezTo>
                <a:cubicBezTo>
                  <a:pt x="181" y="416"/>
                  <a:pt x="181" y="416"/>
                  <a:pt x="181" y="416"/>
                </a:cubicBezTo>
                <a:cubicBezTo>
                  <a:pt x="330" y="416"/>
                  <a:pt x="330" y="416"/>
                  <a:pt x="330" y="416"/>
                </a:cubicBezTo>
                <a:cubicBezTo>
                  <a:pt x="330" y="416"/>
                  <a:pt x="330" y="416"/>
                  <a:pt x="330" y="416"/>
                </a:cubicBezTo>
                <a:cubicBezTo>
                  <a:pt x="330" y="416"/>
                  <a:pt x="330" y="416"/>
                  <a:pt x="330" y="416"/>
                </a:cubicBezTo>
                <a:cubicBezTo>
                  <a:pt x="332" y="416"/>
                  <a:pt x="334" y="415"/>
                  <a:pt x="335" y="415"/>
                </a:cubicBezTo>
                <a:cubicBezTo>
                  <a:pt x="340" y="412"/>
                  <a:pt x="343" y="406"/>
                  <a:pt x="340" y="400"/>
                </a:cubicBezTo>
                <a:lnTo>
                  <a:pt x="330" y="381"/>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26" name="Freeform 806">
            <a:extLst>
              <a:ext uri="{FF2B5EF4-FFF2-40B4-BE49-F238E27FC236}">
                <a16:creationId xmlns:a16="http://schemas.microsoft.com/office/drawing/2014/main" id="{3B803DE4-A61F-49E2-A5CD-463450C87926}"/>
              </a:ext>
            </a:extLst>
          </p:cNvPr>
          <p:cNvSpPr>
            <a:spLocks noChangeAspect="1" noEditPoints="1"/>
          </p:cNvSpPr>
          <p:nvPr/>
        </p:nvSpPr>
        <p:spPr bwMode="auto">
          <a:xfrm>
            <a:off x="8727663" y="3317507"/>
            <a:ext cx="544840" cy="54484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27" name="Freeform 765">
            <a:extLst>
              <a:ext uri="{FF2B5EF4-FFF2-40B4-BE49-F238E27FC236}">
                <a16:creationId xmlns:a16="http://schemas.microsoft.com/office/drawing/2014/main" id="{1F87D81D-09C7-4D8C-AA87-94476E165D69}"/>
              </a:ext>
            </a:extLst>
          </p:cNvPr>
          <p:cNvSpPr>
            <a:spLocks noChangeAspect="1" noEditPoints="1"/>
          </p:cNvSpPr>
          <p:nvPr/>
        </p:nvSpPr>
        <p:spPr bwMode="auto">
          <a:xfrm>
            <a:off x="5819001" y="5089162"/>
            <a:ext cx="553998" cy="553998"/>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sz="1300" dirty="0"/>
          </a:p>
        </p:txBody>
      </p:sp>
    </p:spTree>
    <p:custDataLst>
      <p:tags r:id="rId1"/>
    </p:custDataLst>
    <p:extLst>
      <p:ext uri="{BB962C8B-B14F-4D97-AF65-F5344CB8AC3E}">
        <p14:creationId xmlns:p14="http://schemas.microsoft.com/office/powerpoint/2010/main" val="4203818047"/>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 name="TextBox 115"/>
          <p:cNvSpPr txBox="1"/>
          <p:nvPr/>
        </p:nvSpPr>
        <p:spPr>
          <a:xfrm>
            <a:off x="1112933" y="1830581"/>
            <a:ext cx="1526138" cy="583594"/>
          </a:xfrm>
          <a:prstGeom prst="rect">
            <a:avLst/>
          </a:prstGeom>
          <a:noFill/>
        </p:spPr>
        <p:txBody>
          <a:bodyPr wrap="square" lIns="219419" tIns="109710" rIns="219419" bIns="72000" rtlCol="0">
            <a:spAutoFit/>
          </a:bodyPr>
          <a:lstStyle/>
          <a:p>
            <a:r>
              <a:rPr lang="en-US" sz="1300" dirty="0">
                <a:solidFill>
                  <a:srgbClr val="000000"/>
                </a:solidFill>
                <a:ea typeface="Lato" pitchFamily="34" charset="0"/>
                <a:cs typeface="Lato" pitchFamily="34" charset="0"/>
              </a:rPr>
              <a:t>Please replace with text</a:t>
            </a:r>
          </a:p>
        </p:txBody>
      </p:sp>
      <p:sp>
        <p:nvSpPr>
          <p:cNvPr id="248" name="TextBox 120"/>
          <p:cNvSpPr txBox="1"/>
          <p:nvPr/>
        </p:nvSpPr>
        <p:spPr>
          <a:xfrm>
            <a:off x="9705975" y="1830581"/>
            <a:ext cx="1471839" cy="583594"/>
          </a:xfrm>
          <a:prstGeom prst="rect">
            <a:avLst/>
          </a:prstGeom>
          <a:noFill/>
        </p:spPr>
        <p:txBody>
          <a:bodyPr wrap="square" lIns="219419" tIns="109710" rIns="219419" bIns="72000" rtlCol="0">
            <a:spAutoFit/>
          </a:bodyPr>
          <a:lstStyle/>
          <a:p>
            <a:r>
              <a:rPr lang="en-US" sz="1300" dirty="0">
                <a:solidFill>
                  <a:srgbClr val="000000"/>
                </a:solidFill>
                <a:ea typeface="Lato" pitchFamily="34" charset="0"/>
                <a:cs typeface="Lato" pitchFamily="34" charset="0"/>
              </a:rPr>
              <a:t>Please replace with text</a:t>
            </a:r>
          </a:p>
        </p:txBody>
      </p:sp>
      <p:sp>
        <p:nvSpPr>
          <p:cNvPr id="253" name="TextBox 125"/>
          <p:cNvSpPr txBox="1"/>
          <p:nvPr/>
        </p:nvSpPr>
        <p:spPr>
          <a:xfrm>
            <a:off x="1150388" y="5533750"/>
            <a:ext cx="1526138" cy="583594"/>
          </a:xfrm>
          <a:prstGeom prst="rect">
            <a:avLst/>
          </a:prstGeom>
          <a:noFill/>
        </p:spPr>
        <p:txBody>
          <a:bodyPr wrap="square" lIns="219419" tIns="109710" rIns="219419" bIns="72000" rtlCol="0">
            <a:spAutoFit/>
          </a:bodyPr>
          <a:lstStyle/>
          <a:p>
            <a:r>
              <a:rPr lang="en-US" sz="1300" dirty="0">
                <a:solidFill>
                  <a:srgbClr val="000000"/>
                </a:solidFill>
                <a:ea typeface="Lato" pitchFamily="34" charset="0"/>
                <a:cs typeface="Lato" pitchFamily="34" charset="0"/>
              </a:rPr>
              <a:t>Please replace with text</a:t>
            </a:r>
          </a:p>
        </p:txBody>
      </p:sp>
      <p:sp>
        <p:nvSpPr>
          <p:cNvPr id="258" name="TextBox 130"/>
          <p:cNvSpPr txBox="1"/>
          <p:nvPr/>
        </p:nvSpPr>
        <p:spPr>
          <a:xfrm>
            <a:off x="9743429" y="5533750"/>
            <a:ext cx="1471839" cy="583594"/>
          </a:xfrm>
          <a:prstGeom prst="rect">
            <a:avLst/>
          </a:prstGeom>
          <a:noFill/>
        </p:spPr>
        <p:txBody>
          <a:bodyPr wrap="square" lIns="219419" tIns="109710" rIns="219419" bIns="72000" rtlCol="0">
            <a:spAutoFit/>
          </a:bodyPr>
          <a:lstStyle/>
          <a:p>
            <a:r>
              <a:rPr lang="en-US" sz="1300" dirty="0">
                <a:solidFill>
                  <a:srgbClr val="000000"/>
                </a:solidFill>
                <a:ea typeface="Lato" pitchFamily="34" charset="0"/>
                <a:cs typeface="Lato" pitchFamily="34" charset="0"/>
              </a:rPr>
              <a:t>Please replace with text</a:t>
            </a:r>
          </a:p>
        </p:txBody>
      </p:sp>
      <p:grpSp>
        <p:nvGrpSpPr>
          <p:cNvPr id="274" name="Group 331"/>
          <p:cNvGrpSpPr>
            <a:grpSpLocks noChangeAspect="1"/>
          </p:cNvGrpSpPr>
          <p:nvPr/>
        </p:nvGrpSpPr>
        <p:grpSpPr bwMode="auto">
          <a:xfrm>
            <a:off x="473535" y="1835302"/>
            <a:ext cx="644648" cy="644648"/>
            <a:chOff x="3832" y="1197"/>
            <a:chExt cx="340" cy="340"/>
          </a:xfrm>
          <a:solidFill>
            <a:srgbClr val="63666A"/>
          </a:solidFill>
        </p:grpSpPr>
        <p:sp>
          <p:nvSpPr>
            <p:cNvPr id="275"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76"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77" name="Group 331"/>
          <p:cNvGrpSpPr>
            <a:grpSpLocks noChangeAspect="1"/>
          </p:cNvGrpSpPr>
          <p:nvPr/>
        </p:nvGrpSpPr>
        <p:grpSpPr bwMode="auto">
          <a:xfrm>
            <a:off x="473535" y="5431598"/>
            <a:ext cx="644648" cy="644648"/>
            <a:chOff x="3832" y="1197"/>
            <a:chExt cx="340" cy="340"/>
          </a:xfrm>
          <a:solidFill>
            <a:srgbClr val="009A44"/>
          </a:solidFill>
        </p:grpSpPr>
        <p:sp>
          <p:nvSpPr>
            <p:cNvPr id="278"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79"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80" name="Group 331"/>
          <p:cNvGrpSpPr>
            <a:grpSpLocks noChangeAspect="1"/>
          </p:cNvGrpSpPr>
          <p:nvPr/>
        </p:nvGrpSpPr>
        <p:grpSpPr bwMode="auto">
          <a:xfrm>
            <a:off x="11073499" y="5387807"/>
            <a:ext cx="644648" cy="644648"/>
            <a:chOff x="3832" y="1197"/>
            <a:chExt cx="340" cy="340"/>
          </a:xfrm>
          <a:solidFill>
            <a:srgbClr val="000000"/>
          </a:solidFill>
        </p:grpSpPr>
        <p:sp>
          <p:nvSpPr>
            <p:cNvPr id="281"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82"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83" name="Group 331"/>
          <p:cNvGrpSpPr>
            <a:grpSpLocks noChangeAspect="1"/>
          </p:cNvGrpSpPr>
          <p:nvPr/>
        </p:nvGrpSpPr>
        <p:grpSpPr bwMode="auto">
          <a:xfrm>
            <a:off x="11073499" y="1816670"/>
            <a:ext cx="644648" cy="644648"/>
            <a:chOff x="3832" y="1197"/>
            <a:chExt cx="340" cy="340"/>
          </a:xfrm>
          <a:solidFill>
            <a:srgbClr val="046A38"/>
          </a:solidFill>
        </p:grpSpPr>
        <p:sp>
          <p:nvSpPr>
            <p:cNvPr id="284"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85"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sp>
        <p:nvSpPr>
          <p:cNvPr id="188" name="Freeform 9"/>
          <p:cNvSpPr>
            <a:spLocks/>
          </p:cNvSpPr>
          <p:nvPr/>
        </p:nvSpPr>
        <p:spPr bwMode="auto">
          <a:xfrm>
            <a:off x="2237923" y="1829084"/>
            <a:ext cx="2115252" cy="2126538"/>
          </a:xfrm>
          <a:custGeom>
            <a:avLst/>
            <a:gdLst>
              <a:gd name="T0" fmla="*/ 0 w 182"/>
              <a:gd name="T1" fmla="*/ 183 h 183"/>
              <a:gd name="T2" fmla="*/ 182 w 182"/>
              <a:gd name="T3" fmla="*/ 183 h 183"/>
              <a:gd name="T4" fmla="*/ 182 w 182"/>
              <a:gd name="T5" fmla="*/ 0 h 183"/>
              <a:gd name="T6" fmla="*/ 0 w 182"/>
              <a:gd name="T7" fmla="*/ 183 h 183"/>
            </a:gdLst>
            <a:ahLst/>
            <a:cxnLst>
              <a:cxn ang="0">
                <a:pos x="T0" y="T1"/>
              </a:cxn>
              <a:cxn ang="0">
                <a:pos x="T2" y="T3"/>
              </a:cxn>
              <a:cxn ang="0">
                <a:pos x="T4" y="T5"/>
              </a:cxn>
              <a:cxn ang="0">
                <a:pos x="T6" y="T7"/>
              </a:cxn>
            </a:cxnLst>
            <a:rect l="0" t="0" r="r" b="b"/>
            <a:pathLst>
              <a:path w="182" h="183">
                <a:moveTo>
                  <a:pt x="0" y="183"/>
                </a:moveTo>
                <a:cubicBezTo>
                  <a:pt x="182" y="183"/>
                  <a:pt x="182" y="183"/>
                  <a:pt x="182" y="183"/>
                </a:cubicBezTo>
                <a:cubicBezTo>
                  <a:pt x="182" y="0"/>
                  <a:pt x="182" y="0"/>
                  <a:pt x="182" y="0"/>
                </a:cubicBezTo>
                <a:cubicBezTo>
                  <a:pt x="81" y="0"/>
                  <a:pt x="0" y="82"/>
                  <a:pt x="0" y="183"/>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th-TH" sz="1300"/>
          </a:p>
        </p:txBody>
      </p:sp>
      <p:sp>
        <p:nvSpPr>
          <p:cNvPr id="192" name="TextBox 87"/>
          <p:cNvSpPr txBox="1"/>
          <p:nvPr/>
        </p:nvSpPr>
        <p:spPr bwMode="auto">
          <a:xfrm>
            <a:off x="3285392" y="2693106"/>
            <a:ext cx="694229" cy="292388"/>
          </a:xfrm>
          <a:prstGeom prst="rect">
            <a:avLst/>
          </a:prstGeom>
          <a:noFill/>
        </p:spPr>
        <p:txBody>
          <a:bodyPr wrap="none">
            <a:spAutoFit/>
          </a:bodyPr>
          <a:lstStyle/>
          <a:p>
            <a:pPr algn="ctr" defTabSz="1828434">
              <a:defRPr/>
            </a:pPr>
            <a:r>
              <a:rPr lang="id-ID" sz="1300" b="1" dirty="0">
                <a:solidFill>
                  <a:schemeClr val="bg1"/>
                </a:solidFill>
                <a:ea typeface="Lato" pitchFamily="34" charset="0"/>
                <a:cs typeface="Lato" pitchFamily="34" charset="0"/>
              </a:rPr>
              <a:t>Change</a:t>
            </a:r>
          </a:p>
        </p:txBody>
      </p:sp>
      <p:sp>
        <p:nvSpPr>
          <p:cNvPr id="193" name="TextBox 88"/>
          <p:cNvSpPr txBox="1"/>
          <p:nvPr/>
        </p:nvSpPr>
        <p:spPr>
          <a:xfrm>
            <a:off x="2960531" y="2925269"/>
            <a:ext cx="1343951" cy="783649"/>
          </a:xfrm>
          <a:prstGeom prst="rect">
            <a:avLst/>
          </a:prstGeom>
          <a:noFill/>
        </p:spPr>
        <p:txBody>
          <a:bodyPr wrap="square" lIns="219419" tIns="109710" rIns="219419" bIns="72000" rtlCol="0">
            <a:spAutoFit/>
          </a:bodyPr>
          <a:lstStyle/>
          <a:p>
            <a:pPr algn="ctr"/>
            <a:r>
              <a:rPr lang="en-US" sz="1300" dirty="0">
                <a:solidFill>
                  <a:schemeClr val="bg1"/>
                </a:solidFill>
                <a:ea typeface="Lato" pitchFamily="34" charset="0"/>
                <a:cs typeface="Lato" pitchFamily="34" charset="0"/>
              </a:rPr>
              <a:t>Please replace with text</a:t>
            </a:r>
          </a:p>
        </p:txBody>
      </p:sp>
      <p:sp>
        <p:nvSpPr>
          <p:cNvPr id="221" name="Freeform 7"/>
          <p:cNvSpPr>
            <a:spLocks/>
          </p:cNvSpPr>
          <p:nvPr/>
        </p:nvSpPr>
        <p:spPr bwMode="auto">
          <a:xfrm>
            <a:off x="7850112" y="1814563"/>
            <a:ext cx="2115252" cy="2115252"/>
          </a:xfrm>
          <a:custGeom>
            <a:avLst/>
            <a:gdLst>
              <a:gd name="T0" fmla="*/ 182 w 182"/>
              <a:gd name="T1" fmla="*/ 182 h 182"/>
              <a:gd name="T2" fmla="*/ 0 w 182"/>
              <a:gd name="T3" fmla="*/ 182 h 182"/>
              <a:gd name="T4" fmla="*/ 0 w 182"/>
              <a:gd name="T5" fmla="*/ 0 h 182"/>
              <a:gd name="T6" fmla="*/ 182 w 182"/>
              <a:gd name="T7" fmla="*/ 182 h 182"/>
            </a:gdLst>
            <a:ahLst/>
            <a:cxnLst>
              <a:cxn ang="0">
                <a:pos x="T0" y="T1"/>
              </a:cxn>
              <a:cxn ang="0">
                <a:pos x="T2" y="T3"/>
              </a:cxn>
              <a:cxn ang="0">
                <a:pos x="T4" y="T5"/>
              </a:cxn>
              <a:cxn ang="0">
                <a:pos x="T6" y="T7"/>
              </a:cxn>
            </a:cxnLst>
            <a:rect l="0" t="0" r="r" b="b"/>
            <a:pathLst>
              <a:path w="182" h="182">
                <a:moveTo>
                  <a:pt x="182" y="182"/>
                </a:moveTo>
                <a:cubicBezTo>
                  <a:pt x="0" y="182"/>
                  <a:pt x="0" y="182"/>
                  <a:pt x="0" y="182"/>
                </a:cubicBezTo>
                <a:cubicBezTo>
                  <a:pt x="0" y="0"/>
                  <a:pt x="0" y="0"/>
                  <a:pt x="0" y="0"/>
                </a:cubicBezTo>
                <a:cubicBezTo>
                  <a:pt x="100" y="0"/>
                  <a:pt x="182" y="81"/>
                  <a:pt x="182" y="182"/>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th-TH" sz="1300"/>
          </a:p>
        </p:txBody>
      </p:sp>
      <p:sp>
        <p:nvSpPr>
          <p:cNvPr id="222" name="TextBox 94"/>
          <p:cNvSpPr txBox="1"/>
          <p:nvPr/>
        </p:nvSpPr>
        <p:spPr bwMode="auto">
          <a:xfrm>
            <a:off x="8369726" y="2690006"/>
            <a:ext cx="694229" cy="292388"/>
          </a:xfrm>
          <a:prstGeom prst="rect">
            <a:avLst/>
          </a:prstGeom>
          <a:noFill/>
        </p:spPr>
        <p:txBody>
          <a:bodyPr wrap="none">
            <a:spAutoFit/>
          </a:bodyPr>
          <a:lstStyle/>
          <a:p>
            <a:pPr algn="ctr" defTabSz="1828434">
              <a:defRPr/>
            </a:pPr>
            <a:r>
              <a:rPr lang="id-ID" sz="1300" b="1" dirty="0">
                <a:solidFill>
                  <a:schemeClr val="bg1"/>
                </a:solidFill>
                <a:ea typeface="Lato" pitchFamily="34" charset="0"/>
                <a:cs typeface="Lato" pitchFamily="34" charset="0"/>
              </a:rPr>
              <a:t>Change</a:t>
            </a:r>
          </a:p>
        </p:txBody>
      </p:sp>
      <p:sp>
        <p:nvSpPr>
          <p:cNvPr id="223" name="TextBox 95"/>
          <p:cNvSpPr txBox="1"/>
          <p:nvPr/>
        </p:nvSpPr>
        <p:spPr>
          <a:xfrm>
            <a:off x="8044865" y="2922169"/>
            <a:ext cx="1343950" cy="783649"/>
          </a:xfrm>
          <a:prstGeom prst="rect">
            <a:avLst/>
          </a:prstGeom>
          <a:noFill/>
        </p:spPr>
        <p:txBody>
          <a:bodyPr wrap="square" lIns="219419" tIns="109710" rIns="219419" bIns="72000" rtlCol="0">
            <a:spAutoFit/>
          </a:bodyPr>
          <a:lstStyle/>
          <a:p>
            <a:pPr algn="ctr"/>
            <a:r>
              <a:rPr lang="en-US" sz="1300" dirty="0">
                <a:solidFill>
                  <a:schemeClr val="bg1"/>
                </a:solidFill>
                <a:ea typeface="Lato" pitchFamily="34" charset="0"/>
                <a:cs typeface="Lato" pitchFamily="34" charset="0"/>
              </a:rPr>
              <a:t>Please replace with text</a:t>
            </a:r>
          </a:p>
        </p:txBody>
      </p:sp>
      <p:sp>
        <p:nvSpPr>
          <p:cNvPr id="226" name="Freeform 10"/>
          <p:cNvSpPr>
            <a:spLocks/>
          </p:cNvSpPr>
          <p:nvPr/>
        </p:nvSpPr>
        <p:spPr bwMode="auto">
          <a:xfrm>
            <a:off x="2226637" y="4071703"/>
            <a:ext cx="2115252" cy="2115252"/>
          </a:xfrm>
          <a:custGeom>
            <a:avLst/>
            <a:gdLst>
              <a:gd name="T0" fmla="*/ 182 w 182"/>
              <a:gd name="T1" fmla="*/ 182 h 182"/>
              <a:gd name="T2" fmla="*/ 0 w 182"/>
              <a:gd name="T3" fmla="*/ 0 h 182"/>
              <a:gd name="T4" fmla="*/ 182 w 182"/>
              <a:gd name="T5" fmla="*/ 0 h 182"/>
              <a:gd name="T6" fmla="*/ 182 w 182"/>
              <a:gd name="T7" fmla="*/ 182 h 182"/>
            </a:gdLst>
            <a:ahLst/>
            <a:cxnLst>
              <a:cxn ang="0">
                <a:pos x="T0" y="T1"/>
              </a:cxn>
              <a:cxn ang="0">
                <a:pos x="T2" y="T3"/>
              </a:cxn>
              <a:cxn ang="0">
                <a:pos x="T4" y="T5"/>
              </a:cxn>
              <a:cxn ang="0">
                <a:pos x="T6" y="T7"/>
              </a:cxn>
            </a:cxnLst>
            <a:rect l="0" t="0" r="r" b="b"/>
            <a:pathLst>
              <a:path w="182" h="182">
                <a:moveTo>
                  <a:pt x="182" y="182"/>
                </a:moveTo>
                <a:cubicBezTo>
                  <a:pt x="82" y="182"/>
                  <a:pt x="0" y="100"/>
                  <a:pt x="0" y="0"/>
                </a:cubicBezTo>
                <a:cubicBezTo>
                  <a:pt x="182" y="0"/>
                  <a:pt x="182" y="0"/>
                  <a:pt x="182" y="0"/>
                </a:cubicBezTo>
                <a:lnTo>
                  <a:pt x="182" y="182"/>
                </a:ln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th-TH" sz="1300"/>
          </a:p>
        </p:txBody>
      </p:sp>
      <p:sp>
        <p:nvSpPr>
          <p:cNvPr id="227" name="TextBox 99"/>
          <p:cNvSpPr txBox="1"/>
          <p:nvPr/>
        </p:nvSpPr>
        <p:spPr bwMode="auto">
          <a:xfrm>
            <a:off x="3285392" y="4658728"/>
            <a:ext cx="694229" cy="292388"/>
          </a:xfrm>
          <a:prstGeom prst="rect">
            <a:avLst/>
          </a:prstGeom>
          <a:noFill/>
        </p:spPr>
        <p:txBody>
          <a:bodyPr wrap="none">
            <a:spAutoFit/>
          </a:bodyPr>
          <a:lstStyle/>
          <a:p>
            <a:pPr algn="ctr" defTabSz="1828434">
              <a:defRPr/>
            </a:pPr>
            <a:r>
              <a:rPr lang="id-ID" sz="1300" b="1" dirty="0">
                <a:solidFill>
                  <a:schemeClr val="bg1"/>
                </a:solidFill>
                <a:ea typeface="Lato" pitchFamily="34" charset="0"/>
                <a:cs typeface="Lato" pitchFamily="34" charset="0"/>
              </a:rPr>
              <a:t>Change</a:t>
            </a:r>
          </a:p>
        </p:txBody>
      </p:sp>
      <p:sp>
        <p:nvSpPr>
          <p:cNvPr id="228" name="TextBox 100"/>
          <p:cNvSpPr txBox="1"/>
          <p:nvPr/>
        </p:nvSpPr>
        <p:spPr>
          <a:xfrm>
            <a:off x="2960531" y="4890889"/>
            <a:ext cx="1343950" cy="783649"/>
          </a:xfrm>
          <a:prstGeom prst="rect">
            <a:avLst/>
          </a:prstGeom>
          <a:noFill/>
        </p:spPr>
        <p:txBody>
          <a:bodyPr wrap="square" lIns="219419" tIns="109710" rIns="219419" bIns="72000" rtlCol="0">
            <a:spAutoFit/>
          </a:bodyPr>
          <a:lstStyle/>
          <a:p>
            <a:pPr algn="ctr"/>
            <a:r>
              <a:rPr lang="en-US" sz="1300" dirty="0">
                <a:solidFill>
                  <a:schemeClr val="bg1"/>
                </a:solidFill>
                <a:ea typeface="Lato" pitchFamily="34" charset="0"/>
                <a:cs typeface="Lato" pitchFamily="34" charset="0"/>
              </a:rPr>
              <a:t>Please replace with text</a:t>
            </a:r>
          </a:p>
        </p:txBody>
      </p:sp>
      <p:sp>
        <p:nvSpPr>
          <p:cNvPr id="233" name="Freeform 8"/>
          <p:cNvSpPr>
            <a:spLocks/>
          </p:cNvSpPr>
          <p:nvPr/>
        </p:nvSpPr>
        <p:spPr bwMode="auto">
          <a:xfrm>
            <a:off x="7850112" y="4045896"/>
            <a:ext cx="2115252" cy="2114446"/>
          </a:xfrm>
          <a:custGeom>
            <a:avLst/>
            <a:gdLst>
              <a:gd name="T0" fmla="*/ 0 w 182"/>
              <a:gd name="T1" fmla="*/ 182 h 182"/>
              <a:gd name="T2" fmla="*/ 182 w 182"/>
              <a:gd name="T3" fmla="*/ 0 h 182"/>
              <a:gd name="T4" fmla="*/ 0 w 182"/>
              <a:gd name="T5" fmla="*/ 0 h 182"/>
              <a:gd name="T6" fmla="*/ 0 w 182"/>
              <a:gd name="T7" fmla="*/ 182 h 182"/>
            </a:gdLst>
            <a:ahLst/>
            <a:cxnLst>
              <a:cxn ang="0">
                <a:pos x="T0" y="T1"/>
              </a:cxn>
              <a:cxn ang="0">
                <a:pos x="T2" y="T3"/>
              </a:cxn>
              <a:cxn ang="0">
                <a:pos x="T4" y="T5"/>
              </a:cxn>
              <a:cxn ang="0">
                <a:pos x="T6" y="T7"/>
              </a:cxn>
            </a:cxnLst>
            <a:rect l="0" t="0" r="r" b="b"/>
            <a:pathLst>
              <a:path w="182" h="182">
                <a:moveTo>
                  <a:pt x="0" y="182"/>
                </a:moveTo>
                <a:cubicBezTo>
                  <a:pt x="100" y="182"/>
                  <a:pt x="182" y="101"/>
                  <a:pt x="182" y="0"/>
                </a:cubicBezTo>
                <a:cubicBezTo>
                  <a:pt x="0" y="0"/>
                  <a:pt x="0" y="0"/>
                  <a:pt x="0" y="0"/>
                </a:cubicBezTo>
                <a:lnTo>
                  <a:pt x="0" y="182"/>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th-TH" sz="1300"/>
          </a:p>
        </p:txBody>
      </p:sp>
      <p:sp>
        <p:nvSpPr>
          <p:cNvPr id="234" name="TextBox 106"/>
          <p:cNvSpPr txBox="1"/>
          <p:nvPr/>
        </p:nvSpPr>
        <p:spPr bwMode="auto">
          <a:xfrm>
            <a:off x="8369726" y="4677397"/>
            <a:ext cx="694229" cy="292388"/>
          </a:xfrm>
          <a:prstGeom prst="rect">
            <a:avLst/>
          </a:prstGeom>
          <a:noFill/>
        </p:spPr>
        <p:txBody>
          <a:bodyPr wrap="none">
            <a:spAutoFit/>
          </a:bodyPr>
          <a:lstStyle/>
          <a:p>
            <a:pPr algn="ctr" defTabSz="1828434">
              <a:defRPr/>
            </a:pPr>
            <a:r>
              <a:rPr lang="id-ID" sz="1300" b="1" dirty="0">
                <a:solidFill>
                  <a:schemeClr val="bg1"/>
                </a:solidFill>
                <a:ea typeface="Lato" pitchFamily="34" charset="0"/>
                <a:cs typeface="Lato" pitchFamily="34" charset="0"/>
              </a:rPr>
              <a:t>Change</a:t>
            </a:r>
          </a:p>
        </p:txBody>
      </p:sp>
      <p:sp>
        <p:nvSpPr>
          <p:cNvPr id="235" name="TextBox 107"/>
          <p:cNvSpPr txBox="1"/>
          <p:nvPr/>
        </p:nvSpPr>
        <p:spPr>
          <a:xfrm>
            <a:off x="8044865" y="4909559"/>
            <a:ext cx="1343951" cy="783649"/>
          </a:xfrm>
          <a:prstGeom prst="rect">
            <a:avLst/>
          </a:prstGeom>
          <a:noFill/>
        </p:spPr>
        <p:txBody>
          <a:bodyPr wrap="square" lIns="219419" tIns="109710" rIns="219419" bIns="72000" rtlCol="0">
            <a:spAutoFit/>
          </a:bodyPr>
          <a:lstStyle/>
          <a:p>
            <a:pPr algn="ctr"/>
            <a:r>
              <a:rPr lang="en-US" sz="1300" dirty="0">
                <a:solidFill>
                  <a:schemeClr val="bg1"/>
                </a:solidFill>
                <a:ea typeface="Lato" pitchFamily="34" charset="0"/>
                <a:cs typeface="Lato" pitchFamily="34" charset="0"/>
              </a:rPr>
              <a:t>Please replace with text</a:t>
            </a:r>
          </a:p>
        </p:txBody>
      </p:sp>
      <p:grpSp>
        <p:nvGrpSpPr>
          <p:cNvPr id="262" name="Group 331"/>
          <p:cNvGrpSpPr>
            <a:grpSpLocks noChangeAspect="1"/>
          </p:cNvGrpSpPr>
          <p:nvPr/>
        </p:nvGrpSpPr>
        <p:grpSpPr bwMode="auto">
          <a:xfrm>
            <a:off x="3377793" y="2192404"/>
            <a:ext cx="543718" cy="543718"/>
            <a:chOff x="3832" y="1197"/>
            <a:chExt cx="340" cy="340"/>
          </a:xfrm>
          <a:solidFill>
            <a:srgbClr val="FFFFFF"/>
          </a:solidFill>
        </p:grpSpPr>
        <p:sp>
          <p:nvSpPr>
            <p:cNvPr id="263"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64"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65" name="Group 331"/>
          <p:cNvGrpSpPr>
            <a:grpSpLocks noChangeAspect="1"/>
          </p:cNvGrpSpPr>
          <p:nvPr/>
        </p:nvGrpSpPr>
        <p:grpSpPr bwMode="auto">
          <a:xfrm>
            <a:off x="8347950" y="2138994"/>
            <a:ext cx="543718" cy="543718"/>
            <a:chOff x="3832" y="1197"/>
            <a:chExt cx="340" cy="340"/>
          </a:xfrm>
          <a:solidFill>
            <a:srgbClr val="FFFFFF"/>
          </a:solidFill>
        </p:grpSpPr>
        <p:sp>
          <p:nvSpPr>
            <p:cNvPr id="266"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67"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68" name="Group 331"/>
          <p:cNvGrpSpPr>
            <a:grpSpLocks noChangeAspect="1"/>
          </p:cNvGrpSpPr>
          <p:nvPr/>
        </p:nvGrpSpPr>
        <p:grpSpPr bwMode="auto">
          <a:xfrm>
            <a:off x="8478102" y="4132982"/>
            <a:ext cx="543718" cy="543718"/>
            <a:chOff x="3832" y="1197"/>
            <a:chExt cx="340" cy="340"/>
          </a:xfrm>
          <a:solidFill>
            <a:srgbClr val="FFFFFF"/>
          </a:solidFill>
        </p:grpSpPr>
        <p:sp>
          <p:nvSpPr>
            <p:cNvPr id="269"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70"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71" name="Group 331"/>
          <p:cNvGrpSpPr>
            <a:grpSpLocks noChangeAspect="1"/>
          </p:cNvGrpSpPr>
          <p:nvPr/>
        </p:nvGrpSpPr>
        <p:grpSpPr bwMode="auto">
          <a:xfrm>
            <a:off x="3413524" y="4147329"/>
            <a:ext cx="543718" cy="543718"/>
            <a:chOff x="3832" y="1197"/>
            <a:chExt cx="340" cy="340"/>
          </a:xfrm>
          <a:solidFill>
            <a:srgbClr val="FFFFFF"/>
          </a:solidFill>
        </p:grpSpPr>
        <p:sp>
          <p:nvSpPr>
            <p:cNvPr id="272"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73"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sp>
        <p:nvSpPr>
          <p:cNvPr id="2" name="Rectangle 1"/>
          <p:cNvSpPr/>
          <p:nvPr/>
        </p:nvSpPr>
        <p:spPr bwMode="gray">
          <a:xfrm>
            <a:off x="4458269" y="1814563"/>
            <a:ext cx="3276600" cy="4372392"/>
          </a:xfrm>
          <a:prstGeom prst="rect">
            <a:avLst/>
          </a:prstGeom>
          <a:solidFill>
            <a:srgbClr val="86BC25"/>
          </a:solidFill>
          <a:ln w="19050" algn="ctr">
            <a:noFill/>
            <a:miter lim="800000"/>
            <a:headEnd/>
            <a:tailEnd/>
          </a:ln>
        </p:spPr>
        <p:txBody>
          <a:bodyPr wrap="square" lIns="88900" tIns="88900" rIns="88900" bIns="88900" rtlCol="0" anchor="ctr"/>
          <a:lstStyle/>
          <a:p>
            <a:pPr algn="ctr" defTabSz="913686">
              <a:buSzPct val="100000"/>
            </a:pPr>
            <a:r>
              <a:rPr lang="en-US" sz="1300" dirty="0">
                <a:solidFill>
                  <a:srgbClr val="FFFFFF"/>
                </a:solidFill>
              </a:rPr>
              <a:t>This is dummy text it is not here to be read. The is just text to show where you could insert text. The is just to show where you could insert text. Please replace with your text content here.</a:t>
            </a:r>
          </a:p>
        </p:txBody>
      </p:sp>
      <p:grpSp>
        <p:nvGrpSpPr>
          <p:cNvPr id="49" name="Group 331"/>
          <p:cNvGrpSpPr>
            <a:grpSpLocks noChangeAspect="1"/>
          </p:cNvGrpSpPr>
          <p:nvPr/>
        </p:nvGrpSpPr>
        <p:grpSpPr bwMode="auto">
          <a:xfrm>
            <a:off x="5591744" y="2231297"/>
            <a:ext cx="1009650" cy="1009650"/>
            <a:chOff x="3832" y="1197"/>
            <a:chExt cx="340" cy="340"/>
          </a:xfrm>
          <a:solidFill>
            <a:srgbClr val="FFFFFF"/>
          </a:solidFill>
        </p:grpSpPr>
        <p:sp>
          <p:nvSpPr>
            <p:cNvPr id="50"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51"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spTree>
    <p:custDataLst>
      <p:tags r:id="rId1"/>
    </p:custDataLst>
    <p:extLst>
      <p:ext uri="{BB962C8B-B14F-4D97-AF65-F5344CB8AC3E}">
        <p14:creationId xmlns:p14="http://schemas.microsoft.com/office/powerpoint/2010/main" val="1172822165"/>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80097175-A4A5-1042-A5EC-759AB6B5D873}"/>
              </a:ext>
            </a:extLst>
          </p:cNvPr>
          <p:cNvSpPr/>
          <p:nvPr/>
        </p:nvSpPr>
        <p:spPr>
          <a:xfrm>
            <a:off x="569511" y="4545910"/>
            <a:ext cx="3098857" cy="1000274"/>
          </a:xfrm>
          <a:prstGeom prst="rect">
            <a:avLst/>
          </a:prstGeom>
        </p:spPr>
        <p:txBody>
          <a:bodyPr wrap="square" lIns="0" tIns="0" rIns="0" bIns="0">
            <a:spAutoFit/>
          </a:bodyPr>
          <a:lstStyle/>
          <a:p>
            <a:pPr defTabSz="1219170" eaLnBrk="0" fontAlgn="base" hangingPunct="0">
              <a:defRPr/>
            </a:pPr>
            <a:r>
              <a:rPr lang="en-US" sz="1300" b="1" dirty="0"/>
              <a:t>Lorem ipsum</a:t>
            </a:r>
          </a:p>
          <a:p>
            <a:pPr marL="112713" indent="-112713" defTabSz="1219170" eaLnBrk="0" fontAlgn="base" hangingPunct="0">
              <a:buFont typeface="Arial" panose="020B0604020202020204" pitchFamily="34" charset="0"/>
              <a:buChar char="•"/>
              <a:defRPr/>
            </a:pPr>
            <a:r>
              <a:rPr lang="en-US" sz="1300" dirty="0"/>
              <a:t>The is just text to show where you could insert text. The is just to show where you could insert text. Please replace with your text content here.</a:t>
            </a:r>
          </a:p>
        </p:txBody>
      </p:sp>
      <p:sp>
        <p:nvSpPr>
          <p:cNvPr id="81" name="Freeform 80">
            <a:extLst>
              <a:ext uri="{FF2B5EF4-FFF2-40B4-BE49-F238E27FC236}">
                <a16:creationId xmlns:a16="http://schemas.microsoft.com/office/drawing/2014/main" id="{CDD48A94-141E-2243-90DC-EB02EB825C3D}"/>
              </a:ext>
            </a:extLst>
          </p:cNvPr>
          <p:cNvSpPr/>
          <p:nvPr/>
        </p:nvSpPr>
        <p:spPr bwMode="gray">
          <a:xfrm rot="16200000" flipH="1" flipV="1">
            <a:off x="7243845" y="1494841"/>
            <a:ext cx="548008" cy="175375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12700" algn="ctr">
            <a:solidFill>
              <a:schemeClr val="accent1"/>
            </a:solidFill>
            <a:miter lim="800000"/>
            <a:headEnd/>
            <a:tailEnd type="oval"/>
          </a:ln>
        </p:spPr>
        <p:txBody>
          <a:bodyPr anchor="ctr"/>
          <a:lstStyle/>
          <a:p>
            <a:pPr algn="ctr" defTabSz="1219170" eaLnBrk="0" fontAlgn="base" hangingPunct="0"/>
            <a:endParaRPr lang="en-US" sz="1300">
              <a:solidFill>
                <a:srgbClr val="75787B"/>
              </a:solidFill>
            </a:endParaRPr>
          </a:p>
        </p:txBody>
      </p:sp>
      <p:sp>
        <p:nvSpPr>
          <p:cNvPr id="82" name="Freeform 81">
            <a:extLst>
              <a:ext uri="{FF2B5EF4-FFF2-40B4-BE49-F238E27FC236}">
                <a16:creationId xmlns:a16="http://schemas.microsoft.com/office/drawing/2014/main" id="{DD969F6E-A0DB-6848-976D-85FF420D2DF4}"/>
              </a:ext>
            </a:extLst>
          </p:cNvPr>
          <p:cNvSpPr/>
          <p:nvPr/>
        </p:nvSpPr>
        <p:spPr bwMode="gray">
          <a:xfrm rot="16200000" flipH="1">
            <a:off x="2931637" y="2410993"/>
            <a:ext cx="1466448" cy="986072"/>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12700" algn="ctr">
            <a:solidFill>
              <a:srgbClr val="046A38"/>
            </a:solidFill>
            <a:miter lim="800000"/>
            <a:headEnd/>
            <a:tailEnd type="oval"/>
          </a:ln>
        </p:spPr>
        <p:txBody>
          <a:bodyPr anchor="ctr"/>
          <a:lstStyle/>
          <a:p>
            <a:pPr algn="ctr" defTabSz="1219170" eaLnBrk="0" fontAlgn="base" hangingPunct="0"/>
            <a:endParaRPr lang="en-US" sz="1300">
              <a:solidFill>
                <a:srgbClr val="75787B"/>
              </a:solidFill>
            </a:endParaRPr>
          </a:p>
        </p:txBody>
      </p:sp>
      <p:sp>
        <p:nvSpPr>
          <p:cNvPr id="83" name="Freeform 82">
            <a:extLst>
              <a:ext uri="{FF2B5EF4-FFF2-40B4-BE49-F238E27FC236}">
                <a16:creationId xmlns:a16="http://schemas.microsoft.com/office/drawing/2014/main" id="{AF073F82-3814-E04E-B506-582771E4A166}"/>
              </a:ext>
            </a:extLst>
          </p:cNvPr>
          <p:cNvSpPr/>
          <p:nvPr/>
        </p:nvSpPr>
        <p:spPr bwMode="gray">
          <a:xfrm rot="16200000" flipH="1">
            <a:off x="3723396" y="4913128"/>
            <a:ext cx="1319762" cy="1275812"/>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12700" algn="ctr">
            <a:solidFill>
              <a:schemeClr val="accent2"/>
            </a:solidFill>
            <a:miter lim="800000"/>
            <a:headEnd/>
            <a:tailEnd type="oval"/>
          </a:ln>
        </p:spPr>
        <p:txBody>
          <a:bodyPr anchor="ctr"/>
          <a:lstStyle/>
          <a:p>
            <a:pPr algn="ctr" defTabSz="1219170" eaLnBrk="0" fontAlgn="base" hangingPunct="0">
              <a:defRPr/>
            </a:pPr>
            <a:endParaRPr lang="en-US" sz="1300">
              <a:solidFill>
                <a:srgbClr val="75787B"/>
              </a:solidFill>
            </a:endParaRPr>
          </a:p>
        </p:txBody>
      </p:sp>
      <p:sp>
        <p:nvSpPr>
          <p:cNvPr id="85" name="Rectangle 84">
            <a:extLst>
              <a:ext uri="{FF2B5EF4-FFF2-40B4-BE49-F238E27FC236}">
                <a16:creationId xmlns:a16="http://schemas.microsoft.com/office/drawing/2014/main" id="{1EF93E34-2D1E-6C4C-8062-688B39BC2104}"/>
              </a:ext>
            </a:extLst>
          </p:cNvPr>
          <p:cNvSpPr/>
          <p:nvPr/>
        </p:nvSpPr>
        <p:spPr>
          <a:xfrm>
            <a:off x="8772525" y="1710960"/>
            <a:ext cx="2962275" cy="1000274"/>
          </a:xfrm>
          <a:prstGeom prst="rect">
            <a:avLst/>
          </a:prstGeom>
        </p:spPr>
        <p:txBody>
          <a:bodyPr wrap="square" lIns="0" tIns="0" rIns="0" bIns="0">
            <a:spAutoFit/>
          </a:bodyPr>
          <a:lstStyle/>
          <a:p>
            <a:pPr defTabSz="1219170" eaLnBrk="0" fontAlgn="base" hangingPunct="0">
              <a:defRPr/>
            </a:pPr>
            <a:r>
              <a:rPr lang="en-US" sz="1300" b="1" dirty="0"/>
              <a:t>Lorem ipsum</a:t>
            </a:r>
          </a:p>
          <a:p>
            <a:pPr marL="112713" indent="-112713" defTabSz="1219170" eaLnBrk="0" fontAlgn="base" hangingPunct="0">
              <a:buFont typeface="Arial" panose="020B0604020202020204" pitchFamily="34" charset="0"/>
              <a:buChar char="•"/>
              <a:defRPr/>
            </a:pPr>
            <a:r>
              <a:rPr lang="en-US" sz="1300" dirty="0"/>
              <a:t>The is just text to show where you could insert text. The is just to show where you could insert text. Please replace with your text content here.</a:t>
            </a:r>
          </a:p>
        </p:txBody>
      </p:sp>
      <p:sp>
        <p:nvSpPr>
          <p:cNvPr id="86" name="Rectangle 85">
            <a:extLst>
              <a:ext uri="{FF2B5EF4-FFF2-40B4-BE49-F238E27FC236}">
                <a16:creationId xmlns:a16="http://schemas.microsoft.com/office/drawing/2014/main" id="{25C37997-FF95-6948-A52A-3DFD9A73ABC1}"/>
              </a:ext>
            </a:extLst>
          </p:cNvPr>
          <p:cNvSpPr/>
          <p:nvPr/>
        </p:nvSpPr>
        <p:spPr>
          <a:xfrm>
            <a:off x="9571202" y="4123249"/>
            <a:ext cx="2163598" cy="1200329"/>
          </a:xfrm>
          <a:prstGeom prst="rect">
            <a:avLst/>
          </a:prstGeom>
        </p:spPr>
        <p:txBody>
          <a:bodyPr wrap="square" lIns="0" tIns="0" rIns="0" bIns="0">
            <a:spAutoFit/>
          </a:bodyPr>
          <a:lstStyle/>
          <a:p>
            <a:pPr defTabSz="1219170" eaLnBrk="0" fontAlgn="base" hangingPunct="0">
              <a:defRPr/>
            </a:pPr>
            <a:r>
              <a:rPr lang="en-US" sz="1300" b="1" dirty="0"/>
              <a:t>Lorem ipsum</a:t>
            </a:r>
          </a:p>
          <a:p>
            <a:pPr marL="112713" indent="-112713" defTabSz="1219170" eaLnBrk="0" fontAlgn="base" hangingPunct="0">
              <a:buFont typeface="Arial" panose="020B0604020202020204" pitchFamily="34" charset="0"/>
              <a:buChar char="•"/>
              <a:defRPr/>
            </a:pPr>
            <a:r>
              <a:rPr lang="en-US" sz="1300" dirty="0"/>
              <a:t>The is just text to show where you could insert text. The is just to show where you could insert text. Please replace with your text content here.</a:t>
            </a:r>
          </a:p>
        </p:txBody>
      </p:sp>
      <p:sp>
        <p:nvSpPr>
          <p:cNvPr id="87" name="Rectangle 86">
            <a:extLst>
              <a:ext uri="{FF2B5EF4-FFF2-40B4-BE49-F238E27FC236}">
                <a16:creationId xmlns:a16="http://schemas.microsoft.com/office/drawing/2014/main" id="{D110294E-D318-B148-AB61-4BECB4E96466}"/>
              </a:ext>
            </a:extLst>
          </p:cNvPr>
          <p:cNvSpPr/>
          <p:nvPr/>
        </p:nvSpPr>
        <p:spPr>
          <a:xfrm>
            <a:off x="569511" y="1822809"/>
            <a:ext cx="2312830" cy="1200329"/>
          </a:xfrm>
          <a:prstGeom prst="rect">
            <a:avLst/>
          </a:prstGeom>
        </p:spPr>
        <p:txBody>
          <a:bodyPr wrap="square" lIns="0" tIns="0" rIns="0" bIns="0">
            <a:spAutoFit/>
          </a:bodyPr>
          <a:lstStyle/>
          <a:p>
            <a:pPr defTabSz="1219170" eaLnBrk="0" fontAlgn="base" hangingPunct="0">
              <a:defRPr/>
            </a:pPr>
            <a:r>
              <a:rPr lang="en-US" sz="1300" b="1" dirty="0"/>
              <a:t>Lorem ipsum</a:t>
            </a:r>
          </a:p>
          <a:p>
            <a:pPr marL="112713" indent="-112713" defTabSz="1219170" eaLnBrk="0" fontAlgn="base" hangingPunct="0">
              <a:buFont typeface="Arial" panose="020B0604020202020204" pitchFamily="34" charset="0"/>
              <a:buChar char="•"/>
              <a:defRPr/>
            </a:pPr>
            <a:r>
              <a:rPr lang="en-US" sz="1300" dirty="0"/>
              <a:t>The is just text to show where you could insert text. The is just to show where you could insert text. Please replace with your text content here.</a:t>
            </a:r>
          </a:p>
        </p:txBody>
      </p:sp>
      <p:grpSp>
        <p:nvGrpSpPr>
          <p:cNvPr id="2" name="Group 1">
            <a:extLst>
              <a:ext uri="{FF2B5EF4-FFF2-40B4-BE49-F238E27FC236}">
                <a16:creationId xmlns:a16="http://schemas.microsoft.com/office/drawing/2014/main" id="{6B1FA64F-D8FA-FD40-8C76-64723E174B51}"/>
              </a:ext>
            </a:extLst>
          </p:cNvPr>
          <p:cNvGrpSpPr/>
          <p:nvPr/>
        </p:nvGrpSpPr>
        <p:grpSpPr>
          <a:xfrm>
            <a:off x="4413607" y="2712910"/>
            <a:ext cx="3364787" cy="3362979"/>
            <a:chOff x="5358121" y="3458838"/>
            <a:chExt cx="2170542" cy="2169376"/>
          </a:xfrm>
        </p:grpSpPr>
        <p:grpSp>
          <p:nvGrpSpPr>
            <p:cNvPr id="84" name="Group 83">
              <a:extLst>
                <a:ext uri="{FF2B5EF4-FFF2-40B4-BE49-F238E27FC236}">
                  <a16:creationId xmlns:a16="http://schemas.microsoft.com/office/drawing/2014/main" id="{D0655447-7403-6645-A87B-A5D0D25A102F}"/>
                </a:ext>
              </a:extLst>
            </p:cNvPr>
            <p:cNvGrpSpPr/>
            <p:nvPr/>
          </p:nvGrpSpPr>
          <p:grpSpPr>
            <a:xfrm>
              <a:off x="5358121" y="3458838"/>
              <a:ext cx="2170542" cy="2169376"/>
              <a:chOff x="1630705" y="1855798"/>
              <a:chExt cx="2268998" cy="2267780"/>
            </a:xfrm>
          </p:grpSpPr>
          <p:sp>
            <p:nvSpPr>
              <p:cNvPr id="116" name="Oval 155">
                <a:extLst>
                  <a:ext uri="{FF2B5EF4-FFF2-40B4-BE49-F238E27FC236}">
                    <a16:creationId xmlns:a16="http://schemas.microsoft.com/office/drawing/2014/main" id="{2E897EE5-FE69-6C49-9AFF-BF109D8B5DDE}"/>
                  </a:ext>
                </a:extLst>
              </p:cNvPr>
              <p:cNvSpPr/>
              <p:nvPr/>
            </p:nvSpPr>
            <p:spPr bwMode="auto">
              <a:xfrm rot="2700000">
                <a:off x="2295441" y="1446964"/>
                <a:ext cx="939526" cy="1757194"/>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1219170" eaLnBrk="0" fontAlgn="base" hangingPunct="0">
                  <a:defRPr/>
                </a:pPr>
                <a:endParaRPr lang="en-US" sz="1300" dirty="0">
                  <a:solidFill>
                    <a:srgbClr val="44546A"/>
                  </a:solidFill>
                </a:endParaRPr>
              </a:p>
            </p:txBody>
          </p:sp>
          <p:sp>
            <p:nvSpPr>
              <p:cNvPr id="117" name="Oval 155">
                <a:extLst>
                  <a:ext uri="{FF2B5EF4-FFF2-40B4-BE49-F238E27FC236}">
                    <a16:creationId xmlns:a16="http://schemas.microsoft.com/office/drawing/2014/main" id="{E26C0A3F-CCAF-4F40-9A78-B7E92148F335}"/>
                  </a:ext>
                </a:extLst>
              </p:cNvPr>
              <p:cNvSpPr/>
              <p:nvPr/>
            </p:nvSpPr>
            <p:spPr bwMode="auto">
              <a:xfrm rot="18900000">
                <a:off x="2960176" y="2111700"/>
                <a:ext cx="939527" cy="17559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1219170" eaLnBrk="0" fontAlgn="base" hangingPunct="0">
                  <a:defRPr/>
                </a:pPr>
                <a:endParaRPr lang="en-US" sz="1300" err="1">
                  <a:solidFill>
                    <a:srgbClr val="44546A"/>
                  </a:solidFill>
                </a:endParaRPr>
              </a:p>
            </p:txBody>
          </p:sp>
          <p:sp>
            <p:nvSpPr>
              <p:cNvPr id="118" name="Oval 155">
                <a:extLst>
                  <a:ext uri="{FF2B5EF4-FFF2-40B4-BE49-F238E27FC236}">
                    <a16:creationId xmlns:a16="http://schemas.microsoft.com/office/drawing/2014/main" id="{EF525C9A-DC6D-A24D-A248-A1A895C78AD9}"/>
                  </a:ext>
                </a:extLst>
              </p:cNvPr>
              <p:cNvSpPr/>
              <p:nvPr/>
            </p:nvSpPr>
            <p:spPr bwMode="auto">
              <a:xfrm rot="18900000">
                <a:off x="1630705" y="2111700"/>
                <a:ext cx="939526" cy="1755976"/>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rgbClr val="046A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1219170" eaLnBrk="0" fontAlgn="base" hangingPunct="0">
                  <a:defRPr/>
                </a:pPr>
                <a:endParaRPr lang="en-US" sz="1300" err="1">
                  <a:solidFill>
                    <a:srgbClr val="44546A"/>
                  </a:solidFill>
                </a:endParaRPr>
              </a:p>
            </p:txBody>
          </p:sp>
          <p:sp>
            <p:nvSpPr>
              <p:cNvPr id="119" name="Rectangle 140">
                <a:extLst>
                  <a:ext uri="{FF2B5EF4-FFF2-40B4-BE49-F238E27FC236}">
                    <a16:creationId xmlns:a16="http://schemas.microsoft.com/office/drawing/2014/main" id="{DB9A47C7-7FF6-D247-869F-B01D5B5143B0}"/>
                  </a:ext>
                </a:extLst>
              </p:cNvPr>
              <p:cNvSpPr/>
              <p:nvPr/>
            </p:nvSpPr>
            <p:spPr bwMode="auto">
              <a:xfrm rot="2700000">
                <a:off x="2295441" y="2775218"/>
                <a:ext cx="939526" cy="1757194"/>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1219170" eaLnBrk="0" fontAlgn="base" hangingPunct="0">
                  <a:defRPr/>
                </a:pPr>
                <a:endParaRPr lang="en-US" sz="1300" err="1">
                  <a:solidFill>
                    <a:srgbClr val="44546A"/>
                  </a:solidFill>
                </a:endParaRPr>
              </a:p>
            </p:txBody>
          </p:sp>
        </p:grpSp>
        <p:sp>
          <p:nvSpPr>
            <p:cNvPr id="88" name="Oval 87">
              <a:extLst>
                <a:ext uri="{FF2B5EF4-FFF2-40B4-BE49-F238E27FC236}">
                  <a16:creationId xmlns:a16="http://schemas.microsoft.com/office/drawing/2014/main" id="{058EE053-1D15-1A4F-BB66-67D04BF619AE}"/>
                </a:ext>
              </a:extLst>
            </p:cNvPr>
            <p:cNvSpPr/>
            <p:nvPr/>
          </p:nvSpPr>
          <p:spPr bwMode="gray">
            <a:xfrm>
              <a:off x="5718065" y="3817615"/>
              <a:ext cx="1450652" cy="1451822"/>
            </a:xfrm>
            <a:prstGeom prst="ellipse">
              <a:avLst/>
            </a:prstGeom>
            <a:solidFill>
              <a:srgbClr val="000000"/>
            </a:solidFill>
            <a:ln w="19050" algn="ctr">
              <a:noFill/>
              <a:miter lim="800000"/>
              <a:headEnd/>
              <a:tailEnd/>
            </a:ln>
          </p:spPr>
          <p:txBody>
            <a:bodyPr wrap="none" lIns="0" tIns="0" rIns="0" bIns="0" anchor="t"/>
            <a:lstStyle/>
            <a:p>
              <a:pPr algn="ctr" defTabSz="1219170" eaLnBrk="0" fontAlgn="base" hangingPunct="0">
                <a:defRPr/>
              </a:pPr>
              <a:r>
                <a:rPr lang="en-US" sz="1300" b="1" dirty="0">
                  <a:solidFill>
                    <a:prstClr val="white"/>
                  </a:solidFill>
                </a:rPr>
                <a:t>Lorem ipsum</a:t>
              </a:r>
              <a:endParaRPr lang="en-US" sz="1300" dirty="0">
                <a:solidFill>
                  <a:prstClr val="white"/>
                </a:solidFill>
              </a:endParaRPr>
            </a:p>
          </p:txBody>
        </p:sp>
        <p:grpSp>
          <p:nvGrpSpPr>
            <p:cNvPr id="89" name="Group 88">
              <a:extLst>
                <a:ext uri="{FF2B5EF4-FFF2-40B4-BE49-F238E27FC236}">
                  <a16:creationId xmlns:a16="http://schemas.microsoft.com/office/drawing/2014/main" id="{FCCCE0E3-723C-9C4D-8A13-C898EA0EF7AA}"/>
                </a:ext>
              </a:extLst>
            </p:cNvPr>
            <p:cNvGrpSpPr/>
            <p:nvPr/>
          </p:nvGrpSpPr>
          <p:grpSpPr>
            <a:xfrm>
              <a:off x="6235311" y="4407986"/>
              <a:ext cx="416162" cy="601864"/>
              <a:chOff x="9294813" y="2922588"/>
              <a:chExt cx="693737" cy="1003300"/>
            </a:xfrm>
            <a:solidFill>
              <a:schemeClr val="bg1"/>
            </a:solidFill>
          </p:grpSpPr>
          <p:sp>
            <p:nvSpPr>
              <p:cNvPr id="95" name="Freeform 5">
                <a:extLst>
                  <a:ext uri="{FF2B5EF4-FFF2-40B4-BE49-F238E27FC236}">
                    <a16:creationId xmlns:a16="http://schemas.microsoft.com/office/drawing/2014/main" id="{918C2188-A215-A240-A317-01D025C7F4CA}"/>
                  </a:ext>
                </a:extLst>
              </p:cNvPr>
              <p:cNvSpPr>
                <a:spLocks noEditPoints="1"/>
              </p:cNvSpPr>
              <p:nvPr/>
            </p:nvSpPr>
            <p:spPr bwMode="auto">
              <a:xfrm>
                <a:off x="9294813" y="2922588"/>
                <a:ext cx="693737" cy="1003300"/>
              </a:xfrm>
              <a:custGeom>
                <a:avLst/>
                <a:gdLst>
                  <a:gd name="T0" fmla="*/ 170 w 196"/>
                  <a:gd name="T1" fmla="*/ 130 h 284"/>
                  <a:gd name="T2" fmla="*/ 162 w 196"/>
                  <a:gd name="T3" fmla="*/ 130 h 284"/>
                  <a:gd name="T4" fmla="*/ 138 w 196"/>
                  <a:gd name="T5" fmla="*/ 116 h 284"/>
                  <a:gd name="T6" fmla="*/ 162 w 196"/>
                  <a:gd name="T7" fmla="*/ 37 h 284"/>
                  <a:gd name="T8" fmla="*/ 103 w 196"/>
                  <a:gd name="T9" fmla="*/ 5 h 284"/>
                  <a:gd name="T10" fmla="*/ 94 w 196"/>
                  <a:gd name="T11" fmla="*/ 17 h 284"/>
                  <a:gd name="T12" fmla="*/ 35 w 196"/>
                  <a:gd name="T13" fmla="*/ 111 h 284"/>
                  <a:gd name="T14" fmla="*/ 59 w 196"/>
                  <a:gd name="T15" fmla="*/ 126 h 284"/>
                  <a:gd name="T16" fmla="*/ 35 w 196"/>
                  <a:gd name="T17" fmla="*/ 140 h 284"/>
                  <a:gd name="T18" fmla="*/ 22 w 196"/>
                  <a:gd name="T19" fmla="*/ 126 h 284"/>
                  <a:gd name="T20" fmla="*/ 0 w 196"/>
                  <a:gd name="T21" fmla="*/ 224 h 284"/>
                  <a:gd name="T22" fmla="*/ 27 w 196"/>
                  <a:gd name="T23" fmla="*/ 224 h 284"/>
                  <a:gd name="T24" fmla="*/ 35 w 196"/>
                  <a:gd name="T25" fmla="*/ 206 h 284"/>
                  <a:gd name="T26" fmla="*/ 48 w 196"/>
                  <a:gd name="T27" fmla="*/ 253 h 284"/>
                  <a:gd name="T28" fmla="*/ 37 w 196"/>
                  <a:gd name="T29" fmla="*/ 279 h 284"/>
                  <a:gd name="T30" fmla="*/ 86 w 196"/>
                  <a:gd name="T31" fmla="*/ 279 h 284"/>
                  <a:gd name="T32" fmla="*/ 75 w 196"/>
                  <a:gd name="T33" fmla="*/ 253 h 284"/>
                  <a:gd name="T34" fmla="*/ 121 w 196"/>
                  <a:gd name="T35" fmla="*/ 253 h 284"/>
                  <a:gd name="T36" fmla="*/ 111 w 196"/>
                  <a:gd name="T37" fmla="*/ 279 h 284"/>
                  <a:gd name="T38" fmla="*/ 159 w 196"/>
                  <a:gd name="T39" fmla="*/ 279 h 284"/>
                  <a:gd name="T40" fmla="*/ 149 w 196"/>
                  <a:gd name="T41" fmla="*/ 253 h 284"/>
                  <a:gd name="T42" fmla="*/ 162 w 196"/>
                  <a:gd name="T43" fmla="*/ 206 h 284"/>
                  <a:gd name="T44" fmla="*/ 170 w 196"/>
                  <a:gd name="T45" fmla="*/ 224 h 284"/>
                  <a:gd name="T46" fmla="*/ 196 w 196"/>
                  <a:gd name="T47" fmla="*/ 224 h 284"/>
                  <a:gd name="T48" fmla="*/ 18 w 196"/>
                  <a:gd name="T49" fmla="*/ 219 h 284"/>
                  <a:gd name="T50" fmla="*/ 18 w 196"/>
                  <a:gd name="T51" fmla="*/ 135 h 284"/>
                  <a:gd name="T52" fmla="*/ 27 w 196"/>
                  <a:gd name="T53" fmla="*/ 159 h 284"/>
                  <a:gd name="T54" fmla="*/ 35 w 196"/>
                  <a:gd name="T55" fmla="*/ 159 h 284"/>
                  <a:gd name="T56" fmla="*/ 55 w 196"/>
                  <a:gd name="T57" fmla="*/ 26 h 284"/>
                  <a:gd name="T58" fmla="*/ 152 w 196"/>
                  <a:gd name="T59" fmla="*/ 107 h 284"/>
                  <a:gd name="T60" fmla="*/ 128 w 196"/>
                  <a:gd name="T61" fmla="*/ 126 h 284"/>
                  <a:gd name="T62" fmla="*/ 128 w 196"/>
                  <a:gd name="T63" fmla="*/ 116 h 284"/>
                  <a:gd name="T64" fmla="*/ 46 w 196"/>
                  <a:gd name="T65" fmla="*/ 275 h 284"/>
                  <a:gd name="T66" fmla="*/ 57 w 196"/>
                  <a:gd name="T67" fmla="*/ 253 h 284"/>
                  <a:gd name="T68" fmla="*/ 66 w 196"/>
                  <a:gd name="T69" fmla="*/ 253 h 284"/>
                  <a:gd name="T70" fmla="*/ 150 w 196"/>
                  <a:gd name="T71" fmla="*/ 275 h 284"/>
                  <a:gd name="T72" fmla="*/ 150 w 196"/>
                  <a:gd name="T73" fmla="*/ 262 h 284"/>
                  <a:gd name="T74" fmla="*/ 139 w 196"/>
                  <a:gd name="T75" fmla="*/ 211 h 284"/>
                  <a:gd name="T76" fmla="*/ 152 w 196"/>
                  <a:gd name="T77" fmla="*/ 201 h 284"/>
                  <a:gd name="T78" fmla="*/ 152 w 196"/>
                  <a:gd name="T79" fmla="*/ 135 h 284"/>
                  <a:gd name="T80" fmla="*/ 162 w 196"/>
                  <a:gd name="T81" fmla="*/ 159 h 284"/>
                  <a:gd name="T82" fmla="*/ 170 w 196"/>
                  <a:gd name="T83" fmla="*/ 159 h 284"/>
                  <a:gd name="T84" fmla="*/ 179 w 196"/>
                  <a:gd name="T85" fmla="*/ 135 h 284"/>
                  <a:gd name="T86" fmla="*/ 187 w 196"/>
                  <a:gd name="T87" fmla="*/ 21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6" h="284">
                    <a:moveTo>
                      <a:pt x="192" y="126"/>
                    </a:moveTo>
                    <a:cubicBezTo>
                      <a:pt x="174" y="126"/>
                      <a:pt x="174" y="126"/>
                      <a:pt x="174" y="126"/>
                    </a:cubicBezTo>
                    <a:cubicBezTo>
                      <a:pt x="172" y="126"/>
                      <a:pt x="170" y="128"/>
                      <a:pt x="170" y="130"/>
                    </a:cubicBezTo>
                    <a:cubicBezTo>
                      <a:pt x="170" y="140"/>
                      <a:pt x="170" y="140"/>
                      <a:pt x="170" y="140"/>
                    </a:cubicBezTo>
                    <a:cubicBezTo>
                      <a:pt x="162" y="140"/>
                      <a:pt x="162" y="140"/>
                      <a:pt x="162" y="140"/>
                    </a:cubicBezTo>
                    <a:cubicBezTo>
                      <a:pt x="162" y="130"/>
                      <a:pt x="162" y="130"/>
                      <a:pt x="162" y="130"/>
                    </a:cubicBezTo>
                    <a:cubicBezTo>
                      <a:pt x="162" y="128"/>
                      <a:pt x="160" y="126"/>
                      <a:pt x="157" y="126"/>
                    </a:cubicBezTo>
                    <a:cubicBezTo>
                      <a:pt x="138" y="126"/>
                      <a:pt x="138" y="126"/>
                      <a:pt x="138" y="126"/>
                    </a:cubicBezTo>
                    <a:cubicBezTo>
                      <a:pt x="138" y="116"/>
                      <a:pt x="138" y="116"/>
                      <a:pt x="138" y="116"/>
                    </a:cubicBezTo>
                    <a:cubicBezTo>
                      <a:pt x="157" y="116"/>
                      <a:pt x="157" y="116"/>
                      <a:pt x="157" y="116"/>
                    </a:cubicBezTo>
                    <a:cubicBezTo>
                      <a:pt x="160" y="116"/>
                      <a:pt x="162" y="114"/>
                      <a:pt x="162" y="111"/>
                    </a:cubicBezTo>
                    <a:cubicBezTo>
                      <a:pt x="162" y="37"/>
                      <a:pt x="162" y="37"/>
                      <a:pt x="162" y="37"/>
                    </a:cubicBezTo>
                    <a:cubicBezTo>
                      <a:pt x="162" y="26"/>
                      <a:pt x="153" y="17"/>
                      <a:pt x="141" y="17"/>
                    </a:cubicBezTo>
                    <a:cubicBezTo>
                      <a:pt x="103" y="17"/>
                      <a:pt x="103" y="17"/>
                      <a:pt x="103" y="17"/>
                    </a:cubicBezTo>
                    <a:cubicBezTo>
                      <a:pt x="103" y="5"/>
                      <a:pt x="103" y="5"/>
                      <a:pt x="103" y="5"/>
                    </a:cubicBezTo>
                    <a:cubicBezTo>
                      <a:pt x="103" y="2"/>
                      <a:pt x="101" y="0"/>
                      <a:pt x="98" y="0"/>
                    </a:cubicBezTo>
                    <a:cubicBezTo>
                      <a:pt x="96" y="0"/>
                      <a:pt x="94" y="2"/>
                      <a:pt x="94" y="5"/>
                    </a:cubicBezTo>
                    <a:cubicBezTo>
                      <a:pt x="94" y="17"/>
                      <a:pt x="94" y="17"/>
                      <a:pt x="94" y="17"/>
                    </a:cubicBezTo>
                    <a:cubicBezTo>
                      <a:pt x="55" y="17"/>
                      <a:pt x="55" y="17"/>
                      <a:pt x="55" y="17"/>
                    </a:cubicBezTo>
                    <a:cubicBezTo>
                      <a:pt x="44" y="17"/>
                      <a:pt x="35" y="26"/>
                      <a:pt x="35" y="37"/>
                    </a:cubicBezTo>
                    <a:cubicBezTo>
                      <a:pt x="35" y="111"/>
                      <a:pt x="35" y="111"/>
                      <a:pt x="35" y="111"/>
                    </a:cubicBezTo>
                    <a:cubicBezTo>
                      <a:pt x="35" y="114"/>
                      <a:pt x="37" y="116"/>
                      <a:pt x="39" y="116"/>
                    </a:cubicBezTo>
                    <a:cubicBezTo>
                      <a:pt x="59" y="116"/>
                      <a:pt x="59" y="116"/>
                      <a:pt x="59" y="116"/>
                    </a:cubicBezTo>
                    <a:cubicBezTo>
                      <a:pt x="59" y="126"/>
                      <a:pt x="59" y="126"/>
                      <a:pt x="59" y="126"/>
                    </a:cubicBezTo>
                    <a:cubicBezTo>
                      <a:pt x="39" y="126"/>
                      <a:pt x="39" y="126"/>
                      <a:pt x="39" y="126"/>
                    </a:cubicBezTo>
                    <a:cubicBezTo>
                      <a:pt x="37" y="126"/>
                      <a:pt x="35" y="128"/>
                      <a:pt x="35" y="130"/>
                    </a:cubicBezTo>
                    <a:cubicBezTo>
                      <a:pt x="35" y="140"/>
                      <a:pt x="35" y="140"/>
                      <a:pt x="35" y="140"/>
                    </a:cubicBezTo>
                    <a:cubicBezTo>
                      <a:pt x="27" y="140"/>
                      <a:pt x="27" y="140"/>
                      <a:pt x="27" y="140"/>
                    </a:cubicBezTo>
                    <a:cubicBezTo>
                      <a:pt x="27" y="130"/>
                      <a:pt x="27" y="130"/>
                      <a:pt x="27" y="130"/>
                    </a:cubicBezTo>
                    <a:cubicBezTo>
                      <a:pt x="27" y="128"/>
                      <a:pt x="25" y="126"/>
                      <a:pt x="22" y="126"/>
                    </a:cubicBezTo>
                    <a:cubicBezTo>
                      <a:pt x="5" y="126"/>
                      <a:pt x="5" y="126"/>
                      <a:pt x="5" y="126"/>
                    </a:cubicBezTo>
                    <a:cubicBezTo>
                      <a:pt x="2" y="126"/>
                      <a:pt x="0" y="128"/>
                      <a:pt x="0" y="130"/>
                    </a:cubicBezTo>
                    <a:cubicBezTo>
                      <a:pt x="0" y="224"/>
                      <a:pt x="0" y="224"/>
                      <a:pt x="0" y="224"/>
                    </a:cubicBezTo>
                    <a:cubicBezTo>
                      <a:pt x="0" y="227"/>
                      <a:pt x="2" y="229"/>
                      <a:pt x="5" y="229"/>
                    </a:cubicBezTo>
                    <a:cubicBezTo>
                      <a:pt x="22" y="229"/>
                      <a:pt x="22" y="229"/>
                      <a:pt x="22" y="229"/>
                    </a:cubicBezTo>
                    <a:cubicBezTo>
                      <a:pt x="25" y="229"/>
                      <a:pt x="27" y="227"/>
                      <a:pt x="27" y="224"/>
                    </a:cubicBezTo>
                    <a:cubicBezTo>
                      <a:pt x="27" y="168"/>
                      <a:pt x="27" y="168"/>
                      <a:pt x="27" y="168"/>
                    </a:cubicBezTo>
                    <a:cubicBezTo>
                      <a:pt x="35" y="168"/>
                      <a:pt x="35" y="168"/>
                      <a:pt x="35" y="168"/>
                    </a:cubicBezTo>
                    <a:cubicBezTo>
                      <a:pt x="35" y="206"/>
                      <a:pt x="35" y="206"/>
                      <a:pt x="35" y="206"/>
                    </a:cubicBezTo>
                    <a:cubicBezTo>
                      <a:pt x="35" y="209"/>
                      <a:pt x="37" y="211"/>
                      <a:pt x="39" y="211"/>
                    </a:cubicBezTo>
                    <a:cubicBezTo>
                      <a:pt x="48" y="211"/>
                      <a:pt x="48" y="211"/>
                      <a:pt x="48" y="211"/>
                    </a:cubicBezTo>
                    <a:cubicBezTo>
                      <a:pt x="48" y="253"/>
                      <a:pt x="48" y="253"/>
                      <a:pt x="48" y="253"/>
                    </a:cubicBezTo>
                    <a:cubicBezTo>
                      <a:pt x="42" y="253"/>
                      <a:pt x="42" y="253"/>
                      <a:pt x="42" y="253"/>
                    </a:cubicBezTo>
                    <a:cubicBezTo>
                      <a:pt x="39" y="253"/>
                      <a:pt x="37" y="255"/>
                      <a:pt x="37" y="257"/>
                    </a:cubicBezTo>
                    <a:cubicBezTo>
                      <a:pt x="37" y="279"/>
                      <a:pt x="37" y="279"/>
                      <a:pt x="37" y="279"/>
                    </a:cubicBezTo>
                    <a:cubicBezTo>
                      <a:pt x="37" y="282"/>
                      <a:pt x="39" y="284"/>
                      <a:pt x="42" y="284"/>
                    </a:cubicBezTo>
                    <a:cubicBezTo>
                      <a:pt x="81" y="284"/>
                      <a:pt x="81" y="284"/>
                      <a:pt x="81" y="284"/>
                    </a:cubicBezTo>
                    <a:cubicBezTo>
                      <a:pt x="84" y="284"/>
                      <a:pt x="86" y="282"/>
                      <a:pt x="86" y="279"/>
                    </a:cubicBezTo>
                    <a:cubicBezTo>
                      <a:pt x="86" y="257"/>
                      <a:pt x="86" y="257"/>
                      <a:pt x="86" y="257"/>
                    </a:cubicBezTo>
                    <a:cubicBezTo>
                      <a:pt x="86" y="255"/>
                      <a:pt x="84" y="253"/>
                      <a:pt x="81" y="253"/>
                    </a:cubicBezTo>
                    <a:cubicBezTo>
                      <a:pt x="75" y="253"/>
                      <a:pt x="75" y="253"/>
                      <a:pt x="75" y="253"/>
                    </a:cubicBezTo>
                    <a:cubicBezTo>
                      <a:pt x="75" y="211"/>
                      <a:pt x="75" y="211"/>
                      <a:pt x="75" y="211"/>
                    </a:cubicBezTo>
                    <a:cubicBezTo>
                      <a:pt x="121" y="211"/>
                      <a:pt x="121" y="211"/>
                      <a:pt x="121" y="211"/>
                    </a:cubicBezTo>
                    <a:cubicBezTo>
                      <a:pt x="121" y="253"/>
                      <a:pt x="121" y="253"/>
                      <a:pt x="121" y="253"/>
                    </a:cubicBezTo>
                    <a:cubicBezTo>
                      <a:pt x="115" y="253"/>
                      <a:pt x="115" y="253"/>
                      <a:pt x="115" y="253"/>
                    </a:cubicBezTo>
                    <a:cubicBezTo>
                      <a:pt x="113" y="253"/>
                      <a:pt x="111" y="255"/>
                      <a:pt x="111" y="257"/>
                    </a:cubicBezTo>
                    <a:cubicBezTo>
                      <a:pt x="111" y="279"/>
                      <a:pt x="111" y="279"/>
                      <a:pt x="111" y="279"/>
                    </a:cubicBezTo>
                    <a:cubicBezTo>
                      <a:pt x="111" y="282"/>
                      <a:pt x="113" y="284"/>
                      <a:pt x="115" y="284"/>
                    </a:cubicBezTo>
                    <a:cubicBezTo>
                      <a:pt x="155" y="284"/>
                      <a:pt x="155" y="284"/>
                      <a:pt x="155" y="284"/>
                    </a:cubicBezTo>
                    <a:cubicBezTo>
                      <a:pt x="157" y="284"/>
                      <a:pt x="159" y="282"/>
                      <a:pt x="159" y="279"/>
                    </a:cubicBezTo>
                    <a:cubicBezTo>
                      <a:pt x="159" y="257"/>
                      <a:pt x="159" y="257"/>
                      <a:pt x="159" y="257"/>
                    </a:cubicBezTo>
                    <a:cubicBezTo>
                      <a:pt x="159" y="255"/>
                      <a:pt x="157" y="253"/>
                      <a:pt x="155" y="253"/>
                    </a:cubicBezTo>
                    <a:cubicBezTo>
                      <a:pt x="149" y="253"/>
                      <a:pt x="149" y="253"/>
                      <a:pt x="149" y="253"/>
                    </a:cubicBezTo>
                    <a:cubicBezTo>
                      <a:pt x="149" y="211"/>
                      <a:pt x="149" y="211"/>
                      <a:pt x="149" y="211"/>
                    </a:cubicBezTo>
                    <a:cubicBezTo>
                      <a:pt x="157" y="211"/>
                      <a:pt x="157" y="211"/>
                      <a:pt x="157" y="211"/>
                    </a:cubicBezTo>
                    <a:cubicBezTo>
                      <a:pt x="160" y="211"/>
                      <a:pt x="162" y="209"/>
                      <a:pt x="162" y="206"/>
                    </a:cubicBezTo>
                    <a:cubicBezTo>
                      <a:pt x="162" y="168"/>
                      <a:pt x="162" y="168"/>
                      <a:pt x="162" y="168"/>
                    </a:cubicBezTo>
                    <a:cubicBezTo>
                      <a:pt x="170" y="168"/>
                      <a:pt x="170" y="168"/>
                      <a:pt x="170" y="168"/>
                    </a:cubicBezTo>
                    <a:cubicBezTo>
                      <a:pt x="170" y="224"/>
                      <a:pt x="170" y="224"/>
                      <a:pt x="170" y="224"/>
                    </a:cubicBezTo>
                    <a:cubicBezTo>
                      <a:pt x="170" y="227"/>
                      <a:pt x="172" y="229"/>
                      <a:pt x="174" y="229"/>
                    </a:cubicBezTo>
                    <a:cubicBezTo>
                      <a:pt x="192" y="229"/>
                      <a:pt x="192" y="229"/>
                      <a:pt x="192" y="229"/>
                    </a:cubicBezTo>
                    <a:cubicBezTo>
                      <a:pt x="194" y="229"/>
                      <a:pt x="196" y="227"/>
                      <a:pt x="196" y="224"/>
                    </a:cubicBezTo>
                    <a:cubicBezTo>
                      <a:pt x="196" y="130"/>
                      <a:pt x="196" y="130"/>
                      <a:pt x="196" y="130"/>
                    </a:cubicBezTo>
                    <a:cubicBezTo>
                      <a:pt x="196" y="128"/>
                      <a:pt x="194" y="126"/>
                      <a:pt x="192" y="126"/>
                    </a:cubicBezTo>
                    <a:close/>
                    <a:moveTo>
                      <a:pt x="18" y="219"/>
                    </a:moveTo>
                    <a:cubicBezTo>
                      <a:pt x="10" y="219"/>
                      <a:pt x="10" y="219"/>
                      <a:pt x="10" y="219"/>
                    </a:cubicBezTo>
                    <a:cubicBezTo>
                      <a:pt x="10" y="135"/>
                      <a:pt x="10" y="135"/>
                      <a:pt x="10" y="135"/>
                    </a:cubicBezTo>
                    <a:cubicBezTo>
                      <a:pt x="18" y="135"/>
                      <a:pt x="18" y="135"/>
                      <a:pt x="18" y="135"/>
                    </a:cubicBezTo>
                    <a:lnTo>
                      <a:pt x="18" y="219"/>
                    </a:lnTo>
                    <a:close/>
                    <a:moveTo>
                      <a:pt x="35" y="159"/>
                    </a:moveTo>
                    <a:cubicBezTo>
                      <a:pt x="27" y="159"/>
                      <a:pt x="27" y="159"/>
                      <a:pt x="27" y="159"/>
                    </a:cubicBezTo>
                    <a:cubicBezTo>
                      <a:pt x="27" y="149"/>
                      <a:pt x="27" y="149"/>
                      <a:pt x="27" y="149"/>
                    </a:cubicBezTo>
                    <a:cubicBezTo>
                      <a:pt x="35" y="149"/>
                      <a:pt x="35" y="149"/>
                      <a:pt x="35" y="149"/>
                    </a:cubicBezTo>
                    <a:lnTo>
                      <a:pt x="35" y="159"/>
                    </a:lnTo>
                    <a:close/>
                    <a:moveTo>
                      <a:pt x="44" y="107"/>
                    </a:moveTo>
                    <a:cubicBezTo>
                      <a:pt x="44" y="37"/>
                      <a:pt x="44" y="37"/>
                      <a:pt x="44" y="37"/>
                    </a:cubicBezTo>
                    <a:cubicBezTo>
                      <a:pt x="44" y="31"/>
                      <a:pt x="49" y="26"/>
                      <a:pt x="55" y="26"/>
                    </a:cubicBezTo>
                    <a:cubicBezTo>
                      <a:pt x="141" y="26"/>
                      <a:pt x="141" y="26"/>
                      <a:pt x="141" y="26"/>
                    </a:cubicBezTo>
                    <a:cubicBezTo>
                      <a:pt x="147" y="26"/>
                      <a:pt x="152" y="31"/>
                      <a:pt x="152" y="37"/>
                    </a:cubicBezTo>
                    <a:cubicBezTo>
                      <a:pt x="152" y="107"/>
                      <a:pt x="152" y="107"/>
                      <a:pt x="152" y="107"/>
                    </a:cubicBezTo>
                    <a:lnTo>
                      <a:pt x="44" y="107"/>
                    </a:lnTo>
                    <a:close/>
                    <a:moveTo>
                      <a:pt x="128" y="116"/>
                    </a:moveTo>
                    <a:cubicBezTo>
                      <a:pt x="128" y="126"/>
                      <a:pt x="128" y="126"/>
                      <a:pt x="128" y="126"/>
                    </a:cubicBezTo>
                    <a:cubicBezTo>
                      <a:pt x="68" y="126"/>
                      <a:pt x="68" y="126"/>
                      <a:pt x="68" y="126"/>
                    </a:cubicBezTo>
                    <a:cubicBezTo>
                      <a:pt x="68" y="116"/>
                      <a:pt x="68" y="116"/>
                      <a:pt x="68" y="116"/>
                    </a:cubicBezTo>
                    <a:lnTo>
                      <a:pt x="128" y="116"/>
                    </a:lnTo>
                    <a:close/>
                    <a:moveTo>
                      <a:pt x="76" y="262"/>
                    </a:moveTo>
                    <a:cubicBezTo>
                      <a:pt x="76" y="275"/>
                      <a:pt x="76" y="275"/>
                      <a:pt x="76" y="275"/>
                    </a:cubicBezTo>
                    <a:cubicBezTo>
                      <a:pt x="46" y="275"/>
                      <a:pt x="46" y="275"/>
                      <a:pt x="46" y="275"/>
                    </a:cubicBezTo>
                    <a:cubicBezTo>
                      <a:pt x="46" y="262"/>
                      <a:pt x="46" y="262"/>
                      <a:pt x="46" y="262"/>
                    </a:cubicBezTo>
                    <a:lnTo>
                      <a:pt x="76" y="262"/>
                    </a:lnTo>
                    <a:close/>
                    <a:moveTo>
                      <a:pt x="57" y="253"/>
                    </a:moveTo>
                    <a:cubicBezTo>
                      <a:pt x="57" y="211"/>
                      <a:pt x="57" y="211"/>
                      <a:pt x="57" y="211"/>
                    </a:cubicBezTo>
                    <a:cubicBezTo>
                      <a:pt x="66" y="211"/>
                      <a:pt x="66" y="211"/>
                      <a:pt x="66" y="211"/>
                    </a:cubicBezTo>
                    <a:cubicBezTo>
                      <a:pt x="66" y="253"/>
                      <a:pt x="66" y="253"/>
                      <a:pt x="66" y="253"/>
                    </a:cubicBezTo>
                    <a:lnTo>
                      <a:pt x="57" y="253"/>
                    </a:lnTo>
                    <a:close/>
                    <a:moveTo>
                      <a:pt x="150" y="262"/>
                    </a:moveTo>
                    <a:cubicBezTo>
                      <a:pt x="150" y="275"/>
                      <a:pt x="150" y="275"/>
                      <a:pt x="150" y="275"/>
                    </a:cubicBezTo>
                    <a:cubicBezTo>
                      <a:pt x="120" y="275"/>
                      <a:pt x="120" y="275"/>
                      <a:pt x="120" y="275"/>
                    </a:cubicBezTo>
                    <a:cubicBezTo>
                      <a:pt x="120" y="262"/>
                      <a:pt x="120" y="262"/>
                      <a:pt x="120" y="262"/>
                    </a:cubicBezTo>
                    <a:lnTo>
                      <a:pt x="150" y="262"/>
                    </a:lnTo>
                    <a:close/>
                    <a:moveTo>
                      <a:pt x="131" y="253"/>
                    </a:moveTo>
                    <a:cubicBezTo>
                      <a:pt x="131" y="211"/>
                      <a:pt x="131" y="211"/>
                      <a:pt x="131" y="211"/>
                    </a:cubicBezTo>
                    <a:cubicBezTo>
                      <a:pt x="139" y="211"/>
                      <a:pt x="139" y="211"/>
                      <a:pt x="139" y="211"/>
                    </a:cubicBezTo>
                    <a:cubicBezTo>
                      <a:pt x="139" y="253"/>
                      <a:pt x="139" y="253"/>
                      <a:pt x="139" y="253"/>
                    </a:cubicBezTo>
                    <a:lnTo>
                      <a:pt x="131" y="253"/>
                    </a:lnTo>
                    <a:close/>
                    <a:moveTo>
                      <a:pt x="152" y="201"/>
                    </a:moveTo>
                    <a:cubicBezTo>
                      <a:pt x="44" y="201"/>
                      <a:pt x="44" y="201"/>
                      <a:pt x="44" y="201"/>
                    </a:cubicBezTo>
                    <a:cubicBezTo>
                      <a:pt x="44" y="135"/>
                      <a:pt x="44" y="135"/>
                      <a:pt x="44" y="135"/>
                    </a:cubicBezTo>
                    <a:cubicBezTo>
                      <a:pt x="152" y="135"/>
                      <a:pt x="152" y="135"/>
                      <a:pt x="152" y="135"/>
                    </a:cubicBezTo>
                    <a:cubicBezTo>
                      <a:pt x="152" y="201"/>
                      <a:pt x="152" y="201"/>
                      <a:pt x="152" y="201"/>
                    </a:cubicBezTo>
                    <a:close/>
                    <a:moveTo>
                      <a:pt x="170" y="159"/>
                    </a:moveTo>
                    <a:cubicBezTo>
                      <a:pt x="162" y="159"/>
                      <a:pt x="162" y="159"/>
                      <a:pt x="162" y="159"/>
                    </a:cubicBezTo>
                    <a:cubicBezTo>
                      <a:pt x="162" y="149"/>
                      <a:pt x="162" y="149"/>
                      <a:pt x="162" y="149"/>
                    </a:cubicBezTo>
                    <a:cubicBezTo>
                      <a:pt x="170" y="149"/>
                      <a:pt x="170" y="149"/>
                      <a:pt x="170" y="149"/>
                    </a:cubicBezTo>
                    <a:lnTo>
                      <a:pt x="170" y="159"/>
                    </a:lnTo>
                    <a:close/>
                    <a:moveTo>
                      <a:pt x="187" y="219"/>
                    </a:moveTo>
                    <a:cubicBezTo>
                      <a:pt x="179" y="219"/>
                      <a:pt x="179" y="219"/>
                      <a:pt x="179" y="219"/>
                    </a:cubicBezTo>
                    <a:cubicBezTo>
                      <a:pt x="179" y="135"/>
                      <a:pt x="179" y="135"/>
                      <a:pt x="179" y="135"/>
                    </a:cubicBezTo>
                    <a:cubicBezTo>
                      <a:pt x="187" y="135"/>
                      <a:pt x="187" y="135"/>
                      <a:pt x="187" y="135"/>
                    </a:cubicBezTo>
                    <a:lnTo>
                      <a:pt x="187" y="219"/>
                    </a:lnTo>
                    <a:close/>
                    <a:moveTo>
                      <a:pt x="187" y="219"/>
                    </a:moveTo>
                    <a:cubicBezTo>
                      <a:pt x="187" y="219"/>
                      <a:pt x="187" y="219"/>
                      <a:pt x="187" y="219"/>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sp>
            <p:nvSpPr>
              <p:cNvPr id="96" name="Freeform 6">
                <a:extLst>
                  <a:ext uri="{FF2B5EF4-FFF2-40B4-BE49-F238E27FC236}">
                    <a16:creationId xmlns:a16="http://schemas.microsoft.com/office/drawing/2014/main" id="{DA1C856C-E46E-D545-9F36-DC7B4A64C42F}"/>
                  </a:ext>
                </a:extLst>
              </p:cNvPr>
              <p:cNvSpPr>
                <a:spLocks noEditPoints="1"/>
              </p:cNvSpPr>
              <p:nvPr/>
            </p:nvSpPr>
            <p:spPr bwMode="auto">
              <a:xfrm>
                <a:off x="9467850" y="3089276"/>
                <a:ext cx="146050" cy="147638"/>
              </a:xfrm>
              <a:custGeom>
                <a:avLst/>
                <a:gdLst>
                  <a:gd name="T0" fmla="*/ 21 w 41"/>
                  <a:gd name="T1" fmla="*/ 0 h 42"/>
                  <a:gd name="T2" fmla="*/ 0 w 41"/>
                  <a:gd name="T3" fmla="*/ 21 h 42"/>
                  <a:gd name="T4" fmla="*/ 21 w 41"/>
                  <a:gd name="T5" fmla="*/ 42 h 42"/>
                  <a:gd name="T6" fmla="*/ 41 w 41"/>
                  <a:gd name="T7" fmla="*/ 21 h 42"/>
                  <a:gd name="T8" fmla="*/ 21 w 41"/>
                  <a:gd name="T9" fmla="*/ 0 h 42"/>
                  <a:gd name="T10" fmla="*/ 21 w 41"/>
                  <a:gd name="T11" fmla="*/ 33 h 42"/>
                  <a:gd name="T12" fmla="*/ 9 w 41"/>
                  <a:gd name="T13" fmla="*/ 21 h 42"/>
                  <a:gd name="T14" fmla="*/ 21 w 41"/>
                  <a:gd name="T15" fmla="*/ 10 h 42"/>
                  <a:gd name="T16" fmla="*/ 32 w 41"/>
                  <a:gd name="T17" fmla="*/ 21 h 42"/>
                  <a:gd name="T18" fmla="*/ 21 w 41"/>
                  <a:gd name="T19" fmla="*/ 33 h 42"/>
                  <a:gd name="T20" fmla="*/ 21 w 41"/>
                  <a:gd name="T21" fmla="*/ 33 h 42"/>
                  <a:gd name="T22" fmla="*/ 21 w 41"/>
                  <a:gd name="T2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2">
                    <a:moveTo>
                      <a:pt x="21" y="0"/>
                    </a:moveTo>
                    <a:cubicBezTo>
                      <a:pt x="9" y="0"/>
                      <a:pt x="0" y="10"/>
                      <a:pt x="0" y="21"/>
                    </a:cubicBezTo>
                    <a:cubicBezTo>
                      <a:pt x="0" y="33"/>
                      <a:pt x="9" y="42"/>
                      <a:pt x="21" y="42"/>
                    </a:cubicBezTo>
                    <a:cubicBezTo>
                      <a:pt x="32" y="42"/>
                      <a:pt x="41" y="33"/>
                      <a:pt x="41" y="21"/>
                    </a:cubicBezTo>
                    <a:cubicBezTo>
                      <a:pt x="41" y="10"/>
                      <a:pt x="32" y="0"/>
                      <a:pt x="21" y="0"/>
                    </a:cubicBezTo>
                    <a:close/>
                    <a:moveTo>
                      <a:pt x="21" y="33"/>
                    </a:moveTo>
                    <a:cubicBezTo>
                      <a:pt x="14" y="33"/>
                      <a:pt x="9" y="28"/>
                      <a:pt x="9" y="21"/>
                    </a:cubicBezTo>
                    <a:cubicBezTo>
                      <a:pt x="9" y="15"/>
                      <a:pt x="14" y="10"/>
                      <a:pt x="21" y="10"/>
                    </a:cubicBezTo>
                    <a:cubicBezTo>
                      <a:pt x="27" y="10"/>
                      <a:pt x="32" y="15"/>
                      <a:pt x="32" y="21"/>
                    </a:cubicBezTo>
                    <a:cubicBezTo>
                      <a:pt x="32" y="28"/>
                      <a:pt x="27" y="33"/>
                      <a:pt x="21" y="33"/>
                    </a:cubicBezTo>
                    <a:close/>
                    <a:moveTo>
                      <a:pt x="21" y="33"/>
                    </a:moveTo>
                    <a:cubicBezTo>
                      <a:pt x="21" y="33"/>
                      <a:pt x="21" y="33"/>
                      <a:pt x="21" y="33"/>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sp>
            <p:nvSpPr>
              <p:cNvPr id="97" name="Freeform 7">
                <a:extLst>
                  <a:ext uri="{FF2B5EF4-FFF2-40B4-BE49-F238E27FC236}">
                    <a16:creationId xmlns:a16="http://schemas.microsoft.com/office/drawing/2014/main" id="{7BE7C5AE-1900-FE43-8CEB-091C3EE15F44}"/>
                  </a:ext>
                </a:extLst>
              </p:cNvPr>
              <p:cNvSpPr>
                <a:spLocks noEditPoints="1"/>
              </p:cNvSpPr>
              <p:nvPr/>
            </p:nvSpPr>
            <p:spPr bwMode="auto">
              <a:xfrm>
                <a:off x="9669463" y="3089276"/>
                <a:ext cx="149225" cy="147638"/>
              </a:xfrm>
              <a:custGeom>
                <a:avLst/>
                <a:gdLst>
                  <a:gd name="T0" fmla="*/ 21 w 42"/>
                  <a:gd name="T1" fmla="*/ 0 h 42"/>
                  <a:gd name="T2" fmla="*/ 0 w 42"/>
                  <a:gd name="T3" fmla="*/ 21 h 42"/>
                  <a:gd name="T4" fmla="*/ 21 w 42"/>
                  <a:gd name="T5" fmla="*/ 42 h 42"/>
                  <a:gd name="T6" fmla="*/ 42 w 42"/>
                  <a:gd name="T7" fmla="*/ 21 h 42"/>
                  <a:gd name="T8" fmla="*/ 21 w 42"/>
                  <a:gd name="T9" fmla="*/ 0 h 42"/>
                  <a:gd name="T10" fmla="*/ 21 w 42"/>
                  <a:gd name="T11" fmla="*/ 33 h 42"/>
                  <a:gd name="T12" fmla="*/ 9 w 42"/>
                  <a:gd name="T13" fmla="*/ 21 h 42"/>
                  <a:gd name="T14" fmla="*/ 21 w 42"/>
                  <a:gd name="T15" fmla="*/ 10 h 42"/>
                  <a:gd name="T16" fmla="*/ 32 w 42"/>
                  <a:gd name="T17" fmla="*/ 21 h 42"/>
                  <a:gd name="T18" fmla="*/ 21 w 42"/>
                  <a:gd name="T19" fmla="*/ 33 h 42"/>
                  <a:gd name="T20" fmla="*/ 21 w 42"/>
                  <a:gd name="T21" fmla="*/ 33 h 42"/>
                  <a:gd name="T22" fmla="*/ 21 w 42"/>
                  <a:gd name="T2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2">
                    <a:moveTo>
                      <a:pt x="21" y="0"/>
                    </a:moveTo>
                    <a:cubicBezTo>
                      <a:pt x="9" y="0"/>
                      <a:pt x="0" y="10"/>
                      <a:pt x="0" y="21"/>
                    </a:cubicBezTo>
                    <a:cubicBezTo>
                      <a:pt x="0" y="33"/>
                      <a:pt x="9" y="42"/>
                      <a:pt x="21" y="42"/>
                    </a:cubicBezTo>
                    <a:cubicBezTo>
                      <a:pt x="32" y="42"/>
                      <a:pt x="42" y="33"/>
                      <a:pt x="42" y="21"/>
                    </a:cubicBezTo>
                    <a:cubicBezTo>
                      <a:pt x="42" y="10"/>
                      <a:pt x="32" y="0"/>
                      <a:pt x="21" y="0"/>
                    </a:cubicBezTo>
                    <a:close/>
                    <a:moveTo>
                      <a:pt x="21" y="33"/>
                    </a:moveTo>
                    <a:cubicBezTo>
                      <a:pt x="14" y="33"/>
                      <a:pt x="9" y="28"/>
                      <a:pt x="9" y="21"/>
                    </a:cubicBezTo>
                    <a:cubicBezTo>
                      <a:pt x="9" y="15"/>
                      <a:pt x="14" y="10"/>
                      <a:pt x="21" y="10"/>
                    </a:cubicBezTo>
                    <a:cubicBezTo>
                      <a:pt x="27" y="10"/>
                      <a:pt x="32" y="15"/>
                      <a:pt x="32" y="21"/>
                    </a:cubicBezTo>
                    <a:cubicBezTo>
                      <a:pt x="32" y="28"/>
                      <a:pt x="27" y="33"/>
                      <a:pt x="21" y="33"/>
                    </a:cubicBezTo>
                    <a:close/>
                    <a:moveTo>
                      <a:pt x="21" y="33"/>
                    </a:moveTo>
                    <a:cubicBezTo>
                      <a:pt x="21" y="33"/>
                      <a:pt x="21" y="33"/>
                      <a:pt x="21" y="33"/>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sp>
            <p:nvSpPr>
              <p:cNvPr id="98" name="Freeform 8">
                <a:extLst>
                  <a:ext uri="{FF2B5EF4-FFF2-40B4-BE49-F238E27FC236}">
                    <a16:creationId xmlns:a16="http://schemas.microsoft.com/office/drawing/2014/main" id="{6345FADB-FA7F-684D-82FC-483C99EB8BD7}"/>
                  </a:ext>
                </a:extLst>
              </p:cNvPr>
              <p:cNvSpPr>
                <a:spLocks noEditPoints="1"/>
              </p:cNvSpPr>
              <p:nvPr/>
            </p:nvSpPr>
            <p:spPr bwMode="auto">
              <a:xfrm>
                <a:off x="9536113" y="3452813"/>
                <a:ext cx="215900" cy="127000"/>
              </a:xfrm>
              <a:custGeom>
                <a:avLst/>
                <a:gdLst>
                  <a:gd name="T0" fmla="*/ 30 w 61"/>
                  <a:gd name="T1" fmla="*/ 0 h 36"/>
                  <a:gd name="T2" fmla="*/ 0 w 61"/>
                  <a:gd name="T3" fmla="*/ 31 h 36"/>
                  <a:gd name="T4" fmla="*/ 4 w 61"/>
                  <a:gd name="T5" fmla="*/ 36 h 36"/>
                  <a:gd name="T6" fmla="*/ 56 w 61"/>
                  <a:gd name="T7" fmla="*/ 36 h 36"/>
                  <a:gd name="T8" fmla="*/ 61 w 61"/>
                  <a:gd name="T9" fmla="*/ 31 h 36"/>
                  <a:gd name="T10" fmla="*/ 30 w 61"/>
                  <a:gd name="T11" fmla="*/ 0 h 36"/>
                  <a:gd name="T12" fmla="*/ 10 w 61"/>
                  <a:gd name="T13" fmla="*/ 26 h 36"/>
                  <a:gd name="T14" fmla="*/ 30 w 61"/>
                  <a:gd name="T15" fmla="*/ 10 h 36"/>
                  <a:gd name="T16" fmla="*/ 51 w 61"/>
                  <a:gd name="T17" fmla="*/ 26 h 36"/>
                  <a:gd name="T18" fmla="*/ 10 w 61"/>
                  <a:gd name="T19" fmla="*/ 26 h 36"/>
                  <a:gd name="T20" fmla="*/ 10 w 61"/>
                  <a:gd name="T21" fmla="*/ 26 h 36"/>
                  <a:gd name="T22" fmla="*/ 10 w 61"/>
                  <a:gd name="T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36">
                    <a:moveTo>
                      <a:pt x="30" y="0"/>
                    </a:moveTo>
                    <a:cubicBezTo>
                      <a:pt x="13" y="0"/>
                      <a:pt x="0" y="14"/>
                      <a:pt x="0" y="31"/>
                    </a:cubicBezTo>
                    <a:cubicBezTo>
                      <a:pt x="0" y="33"/>
                      <a:pt x="2" y="36"/>
                      <a:pt x="4" y="36"/>
                    </a:cubicBezTo>
                    <a:cubicBezTo>
                      <a:pt x="56" y="36"/>
                      <a:pt x="56" y="36"/>
                      <a:pt x="56" y="36"/>
                    </a:cubicBezTo>
                    <a:cubicBezTo>
                      <a:pt x="59" y="36"/>
                      <a:pt x="61" y="33"/>
                      <a:pt x="61" y="31"/>
                    </a:cubicBezTo>
                    <a:cubicBezTo>
                      <a:pt x="61" y="14"/>
                      <a:pt x="47" y="0"/>
                      <a:pt x="30" y="0"/>
                    </a:cubicBezTo>
                    <a:close/>
                    <a:moveTo>
                      <a:pt x="10" y="26"/>
                    </a:moveTo>
                    <a:cubicBezTo>
                      <a:pt x="12" y="17"/>
                      <a:pt x="20" y="10"/>
                      <a:pt x="30" y="10"/>
                    </a:cubicBezTo>
                    <a:cubicBezTo>
                      <a:pt x="40" y="10"/>
                      <a:pt x="49" y="17"/>
                      <a:pt x="51" y="26"/>
                    </a:cubicBezTo>
                    <a:lnTo>
                      <a:pt x="10" y="26"/>
                    </a:lnTo>
                    <a:close/>
                    <a:moveTo>
                      <a:pt x="10" y="26"/>
                    </a:moveTo>
                    <a:cubicBezTo>
                      <a:pt x="10" y="26"/>
                      <a:pt x="10" y="26"/>
                      <a:pt x="10" y="26"/>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sp>
            <p:nvSpPr>
              <p:cNvPr id="114" name="Freeform 9">
                <a:extLst>
                  <a:ext uri="{FF2B5EF4-FFF2-40B4-BE49-F238E27FC236}">
                    <a16:creationId xmlns:a16="http://schemas.microsoft.com/office/drawing/2014/main" id="{3C0363A6-FABA-924D-936F-D3F07C1BEB09}"/>
                  </a:ext>
                </a:extLst>
              </p:cNvPr>
              <p:cNvSpPr>
                <a:spLocks noEditPoints="1"/>
              </p:cNvSpPr>
              <p:nvPr/>
            </p:nvSpPr>
            <p:spPr bwMode="auto">
              <a:xfrm>
                <a:off x="9766300" y="3430588"/>
                <a:ext cx="31750" cy="31750"/>
              </a:xfrm>
              <a:custGeom>
                <a:avLst/>
                <a:gdLst>
                  <a:gd name="T0" fmla="*/ 9 w 9"/>
                  <a:gd name="T1" fmla="*/ 4 h 9"/>
                  <a:gd name="T2" fmla="*/ 4 w 9"/>
                  <a:gd name="T3" fmla="*/ 9 h 9"/>
                  <a:gd name="T4" fmla="*/ 0 w 9"/>
                  <a:gd name="T5" fmla="*/ 4 h 9"/>
                  <a:gd name="T6" fmla="*/ 4 w 9"/>
                  <a:gd name="T7" fmla="*/ 0 h 9"/>
                  <a:gd name="T8" fmla="*/ 9 w 9"/>
                  <a:gd name="T9" fmla="*/ 4 h 9"/>
                  <a:gd name="T10" fmla="*/ 9 w 9"/>
                  <a:gd name="T11" fmla="*/ 4 h 9"/>
                  <a:gd name="T12" fmla="*/ 9 w 9"/>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9" y="4"/>
                    </a:moveTo>
                    <a:cubicBezTo>
                      <a:pt x="9" y="7"/>
                      <a:pt x="7" y="9"/>
                      <a:pt x="4" y="9"/>
                    </a:cubicBezTo>
                    <a:cubicBezTo>
                      <a:pt x="2" y="9"/>
                      <a:pt x="0" y="7"/>
                      <a:pt x="0" y="4"/>
                    </a:cubicBezTo>
                    <a:cubicBezTo>
                      <a:pt x="0" y="2"/>
                      <a:pt x="2" y="0"/>
                      <a:pt x="4" y="0"/>
                    </a:cubicBezTo>
                    <a:cubicBezTo>
                      <a:pt x="7" y="0"/>
                      <a:pt x="9" y="2"/>
                      <a:pt x="9" y="4"/>
                    </a:cubicBezTo>
                    <a:close/>
                    <a:moveTo>
                      <a:pt x="9" y="4"/>
                    </a:moveTo>
                    <a:cubicBezTo>
                      <a:pt x="9" y="4"/>
                      <a:pt x="9" y="4"/>
                      <a:pt x="9" y="4"/>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sp>
            <p:nvSpPr>
              <p:cNvPr id="115" name="Freeform 10">
                <a:extLst>
                  <a:ext uri="{FF2B5EF4-FFF2-40B4-BE49-F238E27FC236}">
                    <a16:creationId xmlns:a16="http://schemas.microsoft.com/office/drawing/2014/main" id="{90131CC2-9A54-F14D-8E01-B91F6BCFC10D}"/>
                  </a:ext>
                </a:extLst>
              </p:cNvPr>
              <p:cNvSpPr>
                <a:spLocks noEditPoints="1"/>
              </p:cNvSpPr>
              <p:nvPr/>
            </p:nvSpPr>
            <p:spPr bwMode="auto">
              <a:xfrm>
                <a:off x="9485313" y="3430588"/>
                <a:ext cx="36512" cy="31750"/>
              </a:xfrm>
              <a:custGeom>
                <a:avLst/>
                <a:gdLst>
                  <a:gd name="T0" fmla="*/ 10 w 10"/>
                  <a:gd name="T1" fmla="*/ 4 h 9"/>
                  <a:gd name="T2" fmla="*/ 5 w 10"/>
                  <a:gd name="T3" fmla="*/ 9 h 9"/>
                  <a:gd name="T4" fmla="*/ 0 w 10"/>
                  <a:gd name="T5" fmla="*/ 4 h 9"/>
                  <a:gd name="T6" fmla="*/ 5 w 10"/>
                  <a:gd name="T7" fmla="*/ 0 h 9"/>
                  <a:gd name="T8" fmla="*/ 10 w 10"/>
                  <a:gd name="T9" fmla="*/ 4 h 9"/>
                  <a:gd name="T10" fmla="*/ 10 w 10"/>
                  <a:gd name="T11" fmla="*/ 4 h 9"/>
                  <a:gd name="T12" fmla="*/ 10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10" y="4"/>
                    </a:moveTo>
                    <a:cubicBezTo>
                      <a:pt x="10" y="7"/>
                      <a:pt x="8" y="9"/>
                      <a:pt x="5" y="9"/>
                    </a:cubicBezTo>
                    <a:cubicBezTo>
                      <a:pt x="2" y="9"/>
                      <a:pt x="0" y="7"/>
                      <a:pt x="0" y="4"/>
                    </a:cubicBezTo>
                    <a:cubicBezTo>
                      <a:pt x="0" y="2"/>
                      <a:pt x="2" y="0"/>
                      <a:pt x="5" y="0"/>
                    </a:cubicBezTo>
                    <a:cubicBezTo>
                      <a:pt x="8" y="0"/>
                      <a:pt x="10" y="2"/>
                      <a:pt x="10" y="4"/>
                    </a:cubicBezTo>
                    <a:close/>
                    <a:moveTo>
                      <a:pt x="10" y="4"/>
                    </a:moveTo>
                    <a:cubicBezTo>
                      <a:pt x="10" y="4"/>
                      <a:pt x="10" y="4"/>
                      <a:pt x="10" y="4"/>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grpSp>
      </p:grpSp>
      <p:sp>
        <p:nvSpPr>
          <p:cNvPr id="90" name="Freeform 89">
            <a:extLst>
              <a:ext uri="{FF2B5EF4-FFF2-40B4-BE49-F238E27FC236}">
                <a16:creationId xmlns:a16="http://schemas.microsoft.com/office/drawing/2014/main" id="{EA8D725B-2911-4F43-8663-66E5856C7362}"/>
              </a:ext>
            </a:extLst>
          </p:cNvPr>
          <p:cNvSpPr/>
          <p:nvPr/>
        </p:nvSpPr>
        <p:spPr bwMode="gray">
          <a:xfrm rot="5400000">
            <a:off x="7977235" y="3882029"/>
            <a:ext cx="659883" cy="1849006"/>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12700" algn="ctr">
            <a:solidFill>
              <a:schemeClr val="accent3"/>
            </a:solidFill>
            <a:miter lim="800000"/>
            <a:headEnd/>
            <a:tailEnd type="oval"/>
          </a:ln>
        </p:spPr>
        <p:txBody>
          <a:bodyPr anchor="ctr"/>
          <a:lstStyle/>
          <a:p>
            <a:pPr algn="ctr" defTabSz="1219170" eaLnBrk="0" fontAlgn="base" hangingPunct="0">
              <a:defRPr/>
            </a:pPr>
            <a:endParaRPr lang="en-US" sz="1300">
              <a:solidFill>
                <a:srgbClr val="75787B"/>
              </a:solidFill>
            </a:endParaRPr>
          </a:p>
        </p:txBody>
      </p:sp>
      <p:sp>
        <p:nvSpPr>
          <p:cNvPr id="91" name="Freeform 756">
            <a:extLst>
              <a:ext uri="{FF2B5EF4-FFF2-40B4-BE49-F238E27FC236}">
                <a16:creationId xmlns:a16="http://schemas.microsoft.com/office/drawing/2014/main" id="{62CCD11B-A8DB-C544-80B4-0969DD0F8030}"/>
              </a:ext>
            </a:extLst>
          </p:cNvPr>
          <p:cNvSpPr>
            <a:spLocks noChangeAspect="1" noEditPoints="1"/>
          </p:cNvSpPr>
          <p:nvPr/>
        </p:nvSpPr>
        <p:spPr bwMode="auto">
          <a:xfrm>
            <a:off x="3550781" y="4531558"/>
            <a:ext cx="369676" cy="369676"/>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92" name="Freeform 259">
            <a:extLst>
              <a:ext uri="{FF2B5EF4-FFF2-40B4-BE49-F238E27FC236}">
                <a16:creationId xmlns:a16="http://schemas.microsoft.com/office/drawing/2014/main" id="{B5945171-622E-644D-91AC-C3EED5D273F7}"/>
              </a:ext>
            </a:extLst>
          </p:cNvPr>
          <p:cNvSpPr>
            <a:spLocks noChangeAspect="1" noEditPoints="1"/>
          </p:cNvSpPr>
          <p:nvPr/>
        </p:nvSpPr>
        <p:spPr bwMode="auto">
          <a:xfrm>
            <a:off x="2988008" y="1802090"/>
            <a:ext cx="367631" cy="368712"/>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93" name="Freeform 26">
            <a:extLst>
              <a:ext uri="{FF2B5EF4-FFF2-40B4-BE49-F238E27FC236}">
                <a16:creationId xmlns:a16="http://schemas.microsoft.com/office/drawing/2014/main" id="{E713E08B-05B0-6048-93F8-EE4DB538B1FE}"/>
              </a:ext>
            </a:extLst>
          </p:cNvPr>
          <p:cNvSpPr>
            <a:spLocks noChangeAspect="1" noEditPoints="1"/>
          </p:cNvSpPr>
          <p:nvPr/>
        </p:nvSpPr>
        <p:spPr bwMode="auto">
          <a:xfrm>
            <a:off x="8210910" y="1730083"/>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94" name="Freeform 812">
            <a:extLst>
              <a:ext uri="{FF2B5EF4-FFF2-40B4-BE49-F238E27FC236}">
                <a16:creationId xmlns:a16="http://schemas.microsoft.com/office/drawing/2014/main" id="{3D1CDB61-E6BC-C346-87FE-42B4AFF6942C}"/>
              </a:ext>
            </a:extLst>
          </p:cNvPr>
          <p:cNvSpPr>
            <a:spLocks noChangeAspect="1" noEditPoints="1"/>
          </p:cNvSpPr>
          <p:nvPr/>
        </p:nvSpPr>
        <p:spPr bwMode="auto">
          <a:xfrm>
            <a:off x="9047169" y="4106484"/>
            <a:ext cx="369021" cy="370106"/>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sz="1300"/>
          </a:p>
        </p:txBody>
      </p:sp>
    </p:spTree>
    <p:custDataLst>
      <p:tags r:id="rId1"/>
    </p:custDataLst>
    <p:extLst>
      <p:ext uri="{BB962C8B-B14F-4D97-AF65-F5344CB8AC3E}">
        <p14:creationId xmlns:p14="http://schemas.microsoft.com/office/powerpoint/2010/main" val="3058960909"/>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12">
            <a:extLst>
              <a:ext uri="{FF2B5EF4-FFF2-40B4-BE49-F238E27FC236}">
                <a16:creationId xmlns:a16="http://schemas.microsoft.com/office/drawing/2014/main" id="{49CE125F-CD67-4F92-A099-3798FE4CD06B}"/>
              </a:ext>
            </a:extLst>
          </p:cNvPr>
          <p:cNvSpPr>
            <a:spLocks/>
          </p:cNvSpPr>
          <p:nvPr/>
        </p:nvSpPr>
        <p:spPr bwMode="auto">
          <a:xfrm>
            <a:off x="3607730" y="1950575"/>
            <a:ext cx="4976540" cy="3474298"/>
          </a:xfrm>
          <a:prstGeom prst="roundRect">
            <a:avLst>
              <a:gd name="adj" fmla="val 4056"/>
            </a:avLst>
          </a:pr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sym typeface="+mn-lt"/>
            </a:endParaRPr>
          </a:p>
        </p:txBody>
      </p:sp>
      <p:sp>
        <p:nvSpPr>
          <p:cNvPr id="23" name="TextBox 44">
            <a:extLst>
              <a:ext uri="{FF2B5EF4-FFF2-40B4-BE49-F238E27FC236}">
                <a16:creationId xmlns:a16="http://schemas.microsoft.com/office/drawing/2014/main" id="{00379656-ABFA-44D6-8435-6BCBBBE91263}"/>
              </a:ext>
            </a:extLst>
          </p:cNvPr>
          <p:cNvSpPr txBox="1"/>
          <p:nvPr/>
        </p:nvSpPr>
        <p:spPr>
          <a:xfrm>
            <a:off x="1248300" y="1929991"/>
            <a:ext cx="654025" cy="200055"/>
          </a:xfrm>
          <a:prstGeom prst="rect">
            <a:avLst/>
          </a:prstGeom>
          <a:noFill/>
        </p:spPr>
        <p:txBody>
          <a:bodyPr wrap="none" lIns="0" tIns="0" rIns="0" bIns="0" rtlCol="0">
            <a:spAutoFit/>
          </a:bodyPr>
          <a:lstStyle/>
          <a:p>
            <a:pPr lvl="0">
              <a:defRPr/>
            </a:pPr>
            <a:r>
              <a:rPr lang="en-US" sz="1300" b="1" kern="0" dirty="0">
                <a:solidFill>
                  <a:schemeClr val="tx1">
                    <a:lumMod val="75000"/>
                    <a:lumOff val="25000"/>
                  </a:schemeClr>
                </a:solidFill>
                <a:sym typeface="+mn-lt"/>
              </a:rPr>
              <a:t>Text here</a:t>
            </a:r>
          </a:p>
        </p:txBody>
      </p:sp>
      <p:sp>
        <p:nvSpPr>
          <p:cNvPr id="26" name="TextBox 47">
            <a:extLst>
              <a:ext uri="{FF2B5EF4-FFF2-40B4-BE49-F238E27FC236}">
                <a16:creationId xmlns:a16="http://schemas.microsoft.com/office/drawing/2014/main" id="{5D96A8CD-8AB0-4B7D-87DD-93737E252CC7}"/>
              </a:ext>
            </a:extLst>
          </p:cNvPr>
          <p:cNvSpPr txBox="1"/>
          <p:nvPr/>
        </p:nvSpPr>
        <p:spPr>
          <a:xfrm>
            <a:off x="540767" y="2432806"/>
            <a:ext cx="2602659" cy="800219"/>
          </a:xfrm>
          <a:prstGeom prst="rect">
            <a:avLst/>
          </a:prstGeom>
          <a:noFill/>
        </p:spPr>
        <p:txBody>
          <a:bodyPr wrap="square" lIns="0" tIns="0" rIns="0" bIns="0" rtlCol="0">
            <a:spAutoFit/>
          </a:bodyPr>
          <a:lstStyle/>
          <a:p>
            <a:pPr>
              <a:defRPr/>
            </a:pPr>
            <a:r>
              <a:rPr lang="en-US" sz="1300" kern="0" dirty="0">
                <a:solidFill>
                  <a:schemeClr val="tx1">
                    <a:lumMod val="75000"/>
                    <a:lumOff val="25000"/>
                  </a:schemeClr>
                </a:solidFill>
                <a:sym typeface="+mn-lt"/>
              </a:rPr>
              <a:t>The is just text to show where you could insert text. The is just to show where you could insert text. Please replace with your text content here.</a:t>
            </a:r>
            <a:endParaRPr lang="en-US" altLang="zh-CN" sz="1300" kern="0" dirty="0">
              <a:solidFill>
                <a:schemeClr val="tx1">
                  <a:lumMod val="75000"/>
                  <a:lumOff val="25000"/>
                </a:schemeClr>
              </a:solidFill>
              <a:sym typeface="+mn-lt"/>
            </a:endParaRPr>
          </a:p>
        </p:txBody>
      </p:sp>
      <p:sp>
        <p:nvSpPr>
          <p:cNvPr id="27" name="TextBox 48">
            <a:extLst>
              <a:ext uri="{FF2B5EF4-FFF2-40B4-BE49-F238E27FC236}">
                <a16:creationId xmlns:a16="http://schemas.microsoft.com/office/drawing/2014/main" id="{1C8782DB-B796-4107-9EC4-0495B0456EA5}"/>
              </a:ext>
            </a:extLst>
          </p:cNvPr>
          <p:cNvSpPr txBox="1"/>
          <p:nvPr/>
        </p:nvSpPr>
        <p:spPr>
          <a:xfrm>
            <a:off x="9753866" y="1908951"/>
            <a:ext cx="654025" cy="200055"/>
          </a:xfrm>
          <a:prstGeom prst="rect">
            <a:avLst/>
          </a:prstGeom>
          <a:noFill/>
        </p:spPr>
        <p:txBody>
          <a:bodyPr wrap="none" lIns="0" tIns="0" rIns="0" bIns="0" rtlCol="0">
            <a:spAutoFit/>
          </a:bodyPr>
          <a:lstStyle/>
          <a:p>
            <a:pPr lvl="0">
              <a:defRPr/>
            </a:pPr>
            <a:r>
              <a:rPr lang="en-US" sz="1300" b="1" kern="0" dirty="0">
                <a:solidFill>
                  <a:schemeClr val="tx1">
                    <a:lumMod val="75000"/>
                    <a:lumOff val="25000"/>
                  </a:schemeClr>
                </a:solidFill>
                <a:sym typeface="+mn-lt"/>
              </a:rPr>
              <a:t>Text here</a:t>
            </a:r>
          </a:p>
        </p:txBody>
      </p:sp>
      <p:sp>
        <p:nvSpPr>
          <p:cNvPr id="29" name="TextBox 51">
            <a:extLst>
              <a:ext uri="{FF2B5EF4-FFF2-40B4-BE49-F238E27FC236}">
                <a16:creationId xmlns:a16="http://schemas.microsoft.com/office/drawing/2014/main" id="{19894525-6F03-44EC-A8BD-58DC29B81848}"/>
              </a:ext>
            </a:extLst>
          </p:cNvPr>
          <p:cNvSpPr txBox="1"/>
          <p:nvPr/>
        </p:nvSpPr>
        <p:spPr>
          <a:xfrm>
            <a:off x="9048573" y="2432806"/>
            <a:ext cx="2605361" cy="800219"/>
          </a:xfrm>
          <a:prstGeom prst="rect">
            <a:avLst/>
          </a:prstGeom>
          <a:noFill/>
        </p:spPr>
        <p:txBody>
          <a:bodyPr wrap="square" lIns="0" tIns="0" rIns="0" bIns="0" rtlCol="0">
            <a:spAutoFit/>
          </a:bodyPr>
          <a:lstStyle/>
          <a:p>
            <a:pPr>
              <a:defRPr/>
            </a:pPr>
            <a:r>
              <a:rPr lang="en-US" altLang="zh-CN" sz="1300" kern="0" dirty="0">
                <a:solidFill>
                  <a:schemeClr val="tx1">
                    <a:lumMod val="75000"/>
                    <a:lumOff val="25000"/>
                  </a:schemeClr>
                </a:solidFill>
                <a:sym typeface="+mn-lt"/>
              </a:rPr>
              <a:t>The is just text to show where you could insert text. The is just to show where you could insert text. Please replace with your text content here.</a:t>
            </a:r>
          </a:p>
        </p:txBody>
      </p:sp>
      <p:sp>
        <p:nvSpPr>
          <p:cNvPr id="30" name="TextBox 52">
            <a:extLst>
              <a:ext uri="{FF2B5EF4-FFF2-40B4-BE49-F238E27FC236}">
                <a16:creationId xmlns:a16="http://schemas.microsoft.com/office/drawing/2014/main" id="{0E58B225-6266-46B4-9195-59DA5A6EE385}"/>
              </a:ext>
            </a:extLst>
          </p:cNvPr>
          <p:cNvSpPr txBox="1"/>
          <p:nvPr/>
        </p:nvSpPr>
        <p:spPr>
          <a:xfrm>
            <a:off x="1248300" y="4488017"/>
            <a:ext cx="654025" cy="200055"/>
          </a:xfrm>
          <a:prstGeom prst="rect">
            <a:avLst/>
          </a:prstGeom>
          <a:noFill/>
        </p:spPr>
        <p:txBody>
          <a:bodyPr wrap="none" lIns="0" tIns="0" rIns="0" bIns="0" rtlCol="0">
            <a:spAutoFit/>
          </a:bodyPr>
          <a:lstStyle/>
          <a:p>
            <a:pPr lvl="0">
              <a:defRPr/>
            </a:pPr>
            <a:r>
              <a:rPr lang="en-US" sz="1300" b="1" kern="0" dirty="0">
                <a:solidFill>
                  <a:schemeClr val="tx1">
                    <a:lumMod val="75000"/>
                    <a:lumOff val="25000"/>
                  </a:schemeClr>
                </a:solidFill>
                <a:sym typeface="+mn-lt"/>
              </a:rPr>
              <a:t>Text here</a:t>
            </a:r>
          </a:p>
        </p:txBody>
      </p:sp>
      <p:sp>
        <p:nvSpPr>
          <p:cNvPr id="32" name="TextBox 55">
            <a:extLst>
              <a:ext uri="{FF2B5EF4-FFF2-40B4-BE49-F238E27FC236}">
                <a16:creationId xmlns:a16="http://schemas.microsoft.com/office/drawing/2014/main" id="{625C4D32-AF74-43B8-9050-D333D8F4DCB7}"/>
              </a:ext>
            </a:extLst>
          </p:cNvPr>
          <p:cNvSpPr txBox="1"/>
          <p:nvPr/>
        </p:nvSpPr>
        <p:spPr>
          <a:xfrm>
            <a:off x="540767" y="4990832"/>
            <a:ext cx="2602659" cy="800219"/>
          </a:xfrm>
          <a:prstGeom prst="rect">
            <a:avLst/>
          </a:prstGeom>
          <a:noFill/>
        </p:spPr>
        <p:txBody>
          <a:bodyPr wrap="square" lIns="0" tIns="0" rIns="0" bIns="0" rtlCol="0">
            <a:spAutoFit/>
          </a:bodyPr>
          <a:lstStyle/>
          <a:p>
            <a:pPr>
              <a:defRPr/>
            </a:pPr>
            <a:r>
              <a:rPr lang="en-US" altLang="zh-CN" sz="1300" kern="0" dirty="0">
                <a:solidFill>
                  <a:schemeClr val="tx1">
                    <a:lumMod val="75000"/>
                    <a:lumOff val="25000"/>
                  </a:schemeClr>
                </a:solidFill>
                <a:sym typeface="+mn-lt"/>
              </a:rPr>
              <a:t>The is just text to show where you could insert text. The is just to show where you could insert text. Please replace with your text content here.</a:t>
            </a:r>
          </a:p>
        </p:txBody>
      </p:sp>
      <p:sp>
        <p:nvSpPr>
          <p:cNvPr id="33" name="TextBox 56">
            <a:extLst>
              <a:ext uri="{FF2B5EF4-FFF2-40B4-BE49-F238E27FC236}">
                <a16:creationId xmlns:a16="http://schemas.microsoft.com/office/drawing/2014/main" id="{F73EA969-F252-4C64-A409-9FF0E7BD6863}"/>
              </a:ext>
            </a:extLst>
          </p:cNvPr>
          <p:cNvSpPr txBox="1"/>
          <p:nvPr/>
        </p:nvSpPr>
        <p:spPr>
          <a:xfrm>
            <a:off x="9753866" y="4466977"/>
            <a:ext cx="654025" cy="200055"/>
          </a:xfrm>
          <a:prstGeom prst="rect">
            <a:avLst/>
          </a:prstGeom>
          <a:noFill/>
        </p:spPr>
        <p:txBody>
          <a:bodyPr wrap="none" lIns="0" tIns="0" rIns="0" bIns="0" rtlCol="0">
            <a:spAutoFit/>
          </a:bodyPr>
          <a:lstStyle/>
          <a:p>
            <a:pPr lvl="0">
              <a:defRPr/>
            </a:pPr>
            <a:r>
              <a:rPr lang="en-US" sz="1300" b="1" kern="0" dirty="0">
                <a:solidFill>
                  <a:schemeClr val="tx1">
                    <a:lumMod val="75000"/>
                    <a:lumOff val="25000"/>
                  </a:schemeClr>
                </a:solidFill>
                <a:sym typeface="+mn-lt"/>
              </a:rPr>
              <a:t>Text here</a:t>
            </a:r>
          </a:p>
        </p:txBody>
      </p:sp>
      <p:sp>
        <p:nvSpPr>
          <p:cNvPr id="35" name="TextBox 59">
            <a:extLst>
              <a:ext uri="{FF2B5EF4-FFF2-40B4-BE49-F238E27FC236}">
                <a16:creationId xmlns:a16="http://schemas.microsoft.com/office/drawing/2014/main" id="{95535B71-322E-4961-A010-2CF9ED3E810D}"/>
              </a:ext>
            </a:extLst>
          </p:cNvPr>
          <p:cNvSpPr txBox="1"/>
          <p:nvPr/>
        </p:nvSpPr>
        <p:spPr>
          <a:xfrm>
            <a:off x="9048573" y="4990832"/>
            <a:ext cx="2605361" cy="800219"/>
          </a:xfrm>
          <a:prstGeom prst="rect">
            <a:avLst/>
          </a:prstGeom>
          <a:noFill/>
        </p:spPr>
        <p:txBody>
          <a:bodyPr wrap="square" lIns="0" tIns="0" rIns="0" bIns="0" rtlCol="0">
            <a:spAutoFit/>
          </a:bodyPr>
          <a:lstStyle/>
          <a:p>
            <a:pPr>
              <a:defRPr/>
            </a:pPr>
            <a:r>
              <a:rPr lang="en-US" altLang="zh-CN" sz="1300" kern="0" dirty="0">
                <a:solidFill>
                  <a:schemeClr val="tx1">
                    <a:lumMod val="75000"/>
                    <a:lumOff val="25000"/>
                  </a:schemeClr>
                </a:solidFill>
                <a:sym typeface="+mn-lt"/>
              </a:rPr>
              <a:t>The is just text to show where you could insert text. The is just to show where you could insert text. Please replace with your text content here.</a:t>
            </a:r>
          </a:p>
        </p:txBody>
      </p:sp>
      <p:sp>
        <p:nvSpPr>
          <p:cNvPr id="66" name="Freeform 472"/>
          <p:cNvSpPr>
            <a:spLocks noChangeAspect="1" noEditPoints="1"/>
          </p:cNvSpPr>
          <p:nvPr/>
        </p:nvSpPr>
        <p:spPr bwMode="auto">
          <a:xfrm>
            <a:off x="9048574" y="4315760"/>
            <a:ext cx="540000" cy="54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67" name="Freeform 59"/>
          <p:cNvSpPr>
            <a:spLocks noChangeAspect="1" noEditPoints="1"/>
          </p:cNvSpPr>
          <p:nvPr/>
        </p:nvSpPr>
        <p:spPr bwMode="auto">
          <a:xfrm>
            <a:off x="540767" y="1750127"/>
            <a:ext cx="538415" cy="540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68" name="Freeform 331"/>
          <p:cNvSpPr>
            <a:spLocks noChangeAspect="1" noEditPoints="1"/>
          </p:cNvSpPr>
          <p:nvPr/>
        </p:nvSpPr>
        <p:spPr bwMode="auto">
          <a:xfrm>
            <a:off x="540767" y="4315760"/>
            <a:ext cx="538415" cy="54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sz="1300"/>
          </a:p>
        </p:txBody>
      </p:sp>
      <p:grpSp>
        <p:nvGrpSpPr>
          <p:cNvPr id="69" name="Group 294"/>
          <p:cNvGrpSpPr>
            <a:grpSpLocks noChangeAspect="1"/>
          </p:cNvGrpSpPr>
          <p:nvPr/>
        </p:nvGrpSpPr>
        <p:grpSpPr bwMode="auto">
          <a:xfrm>
            <a:off x="9048574" y="1782222"/>
            <a:ext cx="540000" cy="540000"/>
            <a:chOff x="799" y="1118"/>
            <a:chExt cx="340" cy="340"/>
          </a:xfrm>
          <a:solidFill>
            <a:schemeClr val="accent3"/>
          </a:solidFill>
        </p:grpSpPr>
        <p:sp>
          <p:nvSpPr>
            <p:cNvPr id="70" name="Freeform 295"/>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a14="http://schemas.microsoft.com/office/drawing/2010/main" xmlns:c="http://schemas.openxmlformats.org/drawingml/2006/chart"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71" name="Rectangle 296"/>
            <p:cNvSpPr>
              <a:spLocks noChangeArrowheads="1"/>
            </p:cNvSpPr>
            <p:nvPr/>
          </p:nvSpPr>
          <p:spPr bwMode="auto">
            <a:xfrm>
              <a:off x="877" y="1224"/>
              <a:ext cx="184" cy="113"/>
            </a:xfrm>
            <a:prstGeom prst="rect">
              <a:avLst/>
            </a:prstGeom>
            <a:grpFill/>
            <a:ln>
              <a:noFill/>
            </a:ln>
            <a:extLst>
              <a:ext uri="{91240B29-F687-4f45-9708-019B960494DF}">
                <a14:hiddenLine xmlns:a14="http://schemas.microsoft.com/office/drawing/2010/main" xmlns:c="http://schemas.openxmlformats.org/drawingml/2006/chart" xmlns:p14="http://schemas.microsoft.com/office/powerpoint/2010/main"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grpSp>
      <p:sp>
        <p:nvSpPr>
          <p:cNvPr id="21" name="Rectangle 13">
            <a:extLst>
              <a:ext uri="{FF2B5EF4-FFF2-40B4-BE49-F238E27FC236}">
                <a16:creationId xmlns:a16="http://schemas.microsoft.com/office/drawing/2014/main" id="{652D0199-8530-49DC-8FA1-87D7E90D5E6F}"/>
              </a:ext>
            </a:extLst>
          </p:cNvPr>
          <p:cNvSpPr>
            <a:spLocks noChangeArrowheads="1"/>
          </p:cNvSpPr>
          <p:nvPr/>
        </p:nvSpPr>
        <p:spPr bwMode="auto">
          <a:xfrm>
            <a:off x="3683001" y="2023175"/>
            <a:ext cx="4825172" cy="3329928"/>
          </a:xfrm>
          <a:prstGeom prst="rect">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sym typeface="+mn-lt"/>
            </a:endParaRPr>
          </a:p>
        </p:txBody>
      </p:sp>
      <p:sp>
        <p:nvSpPr>
          <p:cNvPr id="22" name="Freeform 14">
            <a:extLst>
              <a:ext uri="{FF2B5EF4-FFF2-40B4-BE49-F238E27FC236}">
                <a16:creationId xmlns:a16="http://schemas.microsoft.com/office/drawing/2014/main" id="{60E53509-B6BA-4EFF-9155-584284FC029F}"/>
              </a:ext>
            </a:extLst>
          </p:cNvPr>
          <p:cNvSpPr>
            <a:spLocks/>
          </p:cNvSpPr>
          <p:nvPr/>
        </p:nvSpPr>
        <p:spPr bwMode="auto">
          <a:xfrm>
            <a:off x="8340176" y="3363024"/>
            <a:ext cx="45720" cy="650228"/>
          </a:xfrm>
          <a:prstGeom prst="roundRect">
            <a:avLst>
              <a:gd name="adj" fmla="val 50000"/>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sym typeface="+mn-lt"/>
            </a:endParaRPr>
          </a:p>
        </p:txBody>
      </p:sp>
      <p:graphicFrame>
        <p:nvGraphicFramePr>
          <p:cNvPr id="40" name="Chart 63">
            <a:extLst>
              <a:ext uri="{FF2B5EF4-FFF2-40B4-BE49-F238E27FC236}">
                <a16:creationId xmlns:a16="http://schemas.microsoft.com/office/drawing/2014/main" id="{25C856D1-6B18-4C8E-94CA-B8607CC4C14D}"/>
              </a:ext>
            </a:extLst>
          </p:cNvPr>
          <p:cNvGraphicFramePr/>
          <p:nvPr>
            <p:extLst>
              <p:ext uri="{D42A27DB-BD31-4B8C-83A1-F6EECF244321}">
                <p14:modId xmlns:p14="http://schemas.microsoft.com/office/powerpoint/2010/main" val="1703842771"/>
              </p:ext>
            </p:extLst>
          </p:nvPr>
        </p:nvGraphicFramePr>
        <p:xfrm>
          <a:off x="4316129" y="2501143"/>
          <a:ext cx="3559743" cy="2373163"/>
        </p:xfrm>
        <a:graphic>
          <a:graphicData uri="http://schemas.openxmlformats.org/drawingml/2006/chart">
            <c:chart xmlns:c="http://schemas.openxmlformats.org/drawingml/2006/chart" xmlns:r="http://schemas.openxmlformats.org/officeDocument/2006/relationships" r:id="rId4"/>
          </a:graphicData>
        </a:graphic>
      </p:graphicFrame>
      <p:sp>
        <p:nvSpPr>
          <p:cNvPr id="42" name="Oval 30">
            <a:extLst>
              <a:ext uri="{FF2B5EF4-FFF2-40B4-BE49-F238E27FC236}">
                <a16:creationId xmlns:a16="http://schemas.microsoft.com/office/drawing/2014/main" id="{FCF8570F-5241-4D96-9CFF-02CEFDC527B6}"/>
              </a:ext>
            </a:extLst>
          </p:cNvPr>
          <p:cNvSpPr>
            <a:spLocks noChangeArrowheads="1"/>
          </p:cNvSpPr>
          <p:nvPr/>
        </p:nvSpPr>
        <p:spPr bwMode="auto">
          <a:xfrm>
            <a:off x="5462673" y="3054396"/>
            <a:ext cx="1266659" cy="1266659"/>
          </a:xfrm>
          <a:prstGeom prst="ellipse">
            <a:avLst/>
          </a:pr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sym typeface="+mn-lt"/>
            </a:endParaRPr>
          </a:p>
        </p:txBody>
      </p:sp>
      <p:sp>
        <p:nvSpPr>
          <p:cNvPr id="55" name="Rectangle 22">
            <a:extLst>
              <a:ext uri="{FF2B5EF4-FFF2-40B4-BE49-F238E27FC236}">
                <a16:creationId xmlns:a16="http://schemas.microsoft.com/office/drawing/2014/main" id="{59A8A1D8-13F2-42DB-9279-2C310DBB745F}"/>
              </a:ext>
            </a:extLst>
          </p:cNvPr>
          <p:cNvSpPr>
            <a:spLocks noChangeArrowheads="1"/>
          </p:cNvSpPr>
          <p:nvPr/>
        </p:nvSpPr>
        <p:spPr bwMode="auto">
          <a:xfrm>
            <a:off x="4241642" y="5594475"/>
            <a:ext cx="177319" cy="178976"/>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effectLst/>
              <a:uLnTx/>
              <a:uFillTx/>
              <a:sym typeface="+mn-lt"/>
            </a:endParaRPr>
          </a:p>
        </p:txBody>
      </p:sp>
      <p:sp>
        <p:nvSpPr>
          <p:cNvPr id="56" name="TextBox 66">
            <a:extLst>
              <a:ext uri="{FF2B5EF4-FFF2-40B4-BE49-F238E27FC236}">
                <a16:creationId xmlns:a16="http://schemas.microsoft.com/office/drawing/2014/main" id="{DE196297-D30E-4518-B5F2-3AE25468FECD}"/>
              </a:ext>
            </a:extLst>
          </p:cNvPr>
          <p:cNvSpPr txBox="1"/>
          <p:nvPr/>
        </p:nvSpPr>
        <p:spPr>
          <a:xfrm>
            <a:off x="4400882" y="5514686"/>
            <a:ext cx="476412" cy="292388"/>
          </a:xfrm>
          <a:prstGeom prst="rect">
            <a:avLst/>
          </a:prstGeom>
          <a:noFill/>
        </p:spPr>
        <p:txBody>
          <a:bodyPr wrap="none" rtlCol="0">
            <a:spAutoFit/>
          </a:bodyPr>
          <a:lstStyle/>
          <a:p>
            <a:pPr marL="0" marR="0" lvl="0" indent="0" defTabSz="914400" eaLnBrk="1" fontAlgn="auto" latinLnBrk="0" hangingPunct="1">
              <a:spcBef>
                <a:spcPts val="0"/>
              </a:spcBef>
              <a:spcAft>
                <a:spcPts val="0"/>
              </a:spcAft>
              <a:buClrTx/>
              <a:buSzTx/>
              <a:buFontTx/>
              <a:buNone/>
              <a:tabLst/>
              <a:defRPr/>
            </a:pPr>
            <a:r>
              <a:rPr kumimoji="0" lang="en-US" sz="1300" b="1" i="0" u="none" strike="noStrike" kern="0" cap="none" spc="0" normalizeH="0" baseline="0" noProof="0" dirty="0">
                <a:ln>
                  <a:noFill/>
                </a:ln>
                <a:effectLst/>
                <a:uLnTx/>
                <a:uFillTx/>
                <a:sym typeface="+mn-lt"/>
              </a:rPr>
              <a:t>15%</a:t>
            </a:r>
          </a:p>
        </p:txBody>
      </p:sp>
      <p:sp>
        <p:nvSpPr>
          <p:cNvPr id="58" name="Rectangle 22">
            <a:extLst>
              <a:ext uri="{FF2B5EF4-FFF2-40B4-BE49-F238E27FC236}">
                <a16:creationId xmlns:a16="http://schemas.microsoft.com/office/drawing/2014/main" id="{8A87643A-E2FD-449D-B8C0-0BB0F6AB6122}"/>
              </a:ext>
            </a:extLst>
          </p:cNvPr>
          <p:cNvSpPr>
            <a:spLocks noChangeArrowheads="1"/>
          </p:cNvSpPr>
          <p:nvPr/>
        </p:nvSpPr>
        <p:spPr bwMode="auto">
          <a:xfrm>
            <a:off x="5167937" y="5594475"/>
            <a:ext cx="177319" cy="178976"/>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effectLst/>
              <a:uLnTx/>
              <a:uFillTx/>
              <a:sym typeface="+mn-lt"/>
            </a:endParaRPr>
          </a:p>
        </p:txBody>
      </p:sp>
      <p:sp>
        <p:nvSpPr>
          <p:cNvPr id="59" name="TextBox 71">
            <a:extLst>
              <a:ext uri="{FF2B5EF4-FFF2-40B4-BE49-F238E27FC236}">
                <a16:creationId xmlns:a16="http://schemas.microsoft.com/office/drawing/2014/main" id="{880AFDE4-A34F-4F02-9E78-E2C3546672A0}"/>
              </a:ext>
            </a:extLst>
          </p:cNvPr>
          <p:cNvSpPr txBox="1"/>
          <p:nvPr/>
        </p:nvSpPr>
        <p:spPr>
          <a:xfrm>
            <a:off x="5327177" y="5514686"/>
            <a:ext cx="476412" cy="292388"/>
          </a:xfrm>
          <a:prstGeom prst="rect">
            <a:avLst/>
          </a:prstGeom>
          <a:noFill/>
        </p:spPr>
        <p:txBody>
          <a:bodyPr wrap="none" rtlCol="0">
            <a:spAutoFit/>
          </a:bodyPr>
          <a:lstStyle/>
          <a:p>
            <a:pPr marL="0" marR="0" lvl="0" indent="0" defTabSz="914400" eaLnBrk="1" fontAlgn="auto" latinLnBrk="0" hangingPunct="1">
              <a:spcBef>
                <a:spcPts val="0"/>
              </a:spcBef>
              <a:spcAft>
                <a:spcPts val="0"/>
              </a:spcAft>
              <a:buClrTx/>
              <a:buSzTx/>
              <a:buFontTx/>
              <a:buNone/>
              <a:tabLst/>
              <a:defRPr/>
            </a:pPr>
            <a:r>
              <a:rPr kumimoji="0" lang="en-US" sz="1300" b="1" i="0" u="none" strike="noStrike" kern="0" cap="none" spc="0" normalizeH="0" baseline="0" noProof="0" dirty="0">
                <a:ln>
                  <a:noFill/>
                </a:ln>
                <a:effectLst/>
                <a:uLnTx/>
                <a:uFillTx/>
                <a:sym typeface="+mn-lt"/>
              </a:rPr>
              <a:t>20%</a:t>
            </a:r>
          </a:p>
        </p:txBody>
      </p:sp>
      <p:sp>
        <p:nvSpPr>
          <p:cNvPr id="61" name="Rectangle 22">
            <a:extLst>
              <a:ext uri="{FF2B5EF4-FFF2-40B4-BE49-F238E27FC236}">
                <a16:creationId xmlns:a16="http://schemas.microsoft.com/office/drawing/2014/main" id="{5C4BF4C2-E749-4CAC-A8E9-086C4CEBF7B4}"/>
              </a:ext>
            </a:extLst>
          </p:cNvPr>
          <p:cNvSpPr>
            <a:spLocks noChangeArrowheads="1"/>
          </p:cNvSpPr>
          <p:nvPr/>
        </p:nvSpPr>
        <p:spPr bwMode="auto">
          <a:xfrm>
            <a:off x="6094232" y="5594475"/>
            <a:ext cx="177319" cy="178976"/>
          </a:xfrm>
          <a:prstGeom prst="rect">
            <a:avLst/>
          </a:pr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effectLst/>
              <a:uLnTx/>
              <a:uFillTx/>
              <a:sym typeface="+mn-lt"/>
            </a:endParaRPr>
          </a:p>
        </p:txBody>
      </p:sp>
      <p:sp>
        <p:nvSpPr>
          <p:cNvPr id="62" name="TextBox 73">
            <a:extLst>
              <a:ext uri="{FF2B5EF4-FFF2-40B4-BE49-F238E27FC236}">
                <a16:creationId xmlns:a16="http://schemas.microsoft.com/office/drawing/2014/main" id="{0BBD79F6-5648-44D9-ADEF-445E18068236}"/>
              </a:ext>
            </a:extLst>
          </p:cNvPr>
          <p:cNvSpPr txBox="1"/>
          <p:nvPr/>
        </p:nvSpPr>
        <p:spPr>
          <a:xfrm>
            <a:off x="6253472" y="5514686"/>
            <a:ext cx="476412" cy="292388"/>
          </a:xfrm>
          <a:prstGeom prst="rect">
            <a:avLst/>
          </a:prstGeom>
          <a:noFill/>
        </p:spPr>
        <p:txBody>
          <a:bodyPr wrap="none" rtlCol="0">
            <a:spAutoFit/>
          </a:bodyPr>
          <a:lstStyle/>
          <a:p>
            <a:pPr marL="0" marR="0" lvl="0" indent="0" defTabSz="914400" eaLnBrk="1" fontAlgn="auto" latinLnBrk="0" hangingPunct="1">
              <a:spcBef>
                <a:spcPts val="0"/>
              </a:spcBef>
              <a:spcAft>
                <a:spcPts val="0"/>
              </a:spcAft>
              <a:buClrTx/>
              <a:buSzTx/>
              <a:buFontTx/>
              <a:buNone/>
              <a:tabLst/>
              <a:defRPr/>
            </a:pPr>
            <a:r>
              <a:rPr kumimoji="0" lang="en-US" sz="1300" b="1" i="0" u="none" strike="noStrike" kern="0" cap="none" spc="0" normalizeH="0" baseline="0" noProof="0" dirty="0">
                <a:ln>
                  <a:noFill/>
                </a:ln>
                <a:effectLst/>
                <a:uLnTx/>
                <a:uFillTx/>
                <a:sym typeface="+mn-lt"/>
              </a:rPr>
              <a:t>25%</a:t>
            </a:r>
          </a:p>
        </p:txBody>
      </p:sp>
      <p:sp>
        <p:nvSpPr>
          <p:cNvPr id="64" name="Rectangle 22">
            <a:extLst>
              <a:ext uri="{FF2B5EF4-FFF2-40B4-BE49-F238E27FC236}">
                <a16:creationId xmlns:a16="http://schemas.microsoft.com/office/drawing/2014/main" id="{13ACE66B-544C-495B-9AE8-B6602F978389}"/>
              </a:ext>
            </a:extLst>
          </p:cNvPr>
          <p:cNvSpPr>
            <a:spLocks noChangeArrowheads="1"/>
          </p:cNvSpPr>
          <p:nvPr/>
        </p:nvSpPr>
        <p:spPr bwMode="auto">
          <a:xfrm>
            <a:off x="7020526" y="5594475"/>
            <a:ext cx="177319" cy="178976"/>
          </a:xfrm>
          <a:prstGeom prst="rect">
            <a:avLst/>
          </a:pr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effectLst/>
              <a:uLnTx/>
              <a:uFillTx/>
              <a:sym typeface="+mn-lt"/>
            </a:endParaRPr>
          </a:p>
        </p:txBody>
      </p:sp>
      <p:sp>
        <p:nvSpPr>
          <p:cNvPr id="65" name="TextBox 75">
            <a:extLst>
              <a:ext uri="{FF2B5EF4-FFF2-40B4-BE49-F238E27FC236}">
                <a16:creationId xmlns:a16="http://schemas.microsoft.com/office/drawing/2014/main" id="{B6B8E14B-6169-4EC9-9F59-3292D0CA63D5}"/>
              </a:ext>
            </a:extLst>
          </p:cNvPr>
          <p:cNvSpPr txBox="1"/>
          <p:nvPr/>
        </p:nvSpPr>
        <p:spPr>
          <a:xfrm>
            <a:off x="7179766" y="5514686"/>
            <a:ext cx="476412" cy="292388"/>
          </a:xfrm>
          <a:prstGeom prst="rect">
            <a:avLst/>
          </a:prstGeom>
          <a:noFill/>
        </p:spPr>
        <p:txBody>
          <a:bodyPr wrap="none" rtlCol="0">
            <a:spAutoFit/>
          </a:bodyPr>
          <a:lstStyle/>
          <a:p>
            <a:pPr marL="0" marR="0" lvl="0" indent="0" defTabSz="914400" eaLnBrk="1" fontAlgn="auto" latinLnBrk="0" hangingPunct="1">
              <a:spcBef>
                <a:spcPts val="0"/>
              </a:spcBef>
              <a:spcAft>
                <a:spcPts val="0"/>
              </a:spcAft>
              <a:buClrTx/>
              <a:buSzTx/>
              <a:buFontTx/>
              <a:buNone/>
              <a:tabLst/>
              <a:defRPr/>
            </a:pPr>
            <a:r>
              <a:rPr kumimoji="0" lang="en-US" sz="1300" b="1" i="0" u="none" strike="noStrike" kern="0" cap="none" spc="0" normalizeH="0" baseline="0" noProof="0" dirty="0">
                <a:ln>
                  <a:noFill/>
                </a:ln>
                <a:effectLst/>
                <a:uLnTx/>
                <a:uFillTx/>
                <a:sym typeface="+mn-lt"/>
              </a:rPr>
              <a:t>30%</a:t>
            </a:r>
          </a:p>
        </p:txBody>
      </p:sp>
      <p:sp>
        <p:nvSpPr>
          <p:cNvPr id="78" name="TextBox 44">
            <a:extLst>
              <a:ext uri="{FF2B5EF4-FFF2-40B4-BE49-F238E27FC236}">
                <a16:creationId xmlns:a16="http://schemas.microsoft.com/office/drawing/2014/main" id="{00379656-ABFA-44D6-8435-6BCBBBE91263}"/>
              </a:ext>
            </a:extLst>
          </p:cNvPr>
          <p:cNvSpPr txBox="1"/>
          <p:nvPr/>
        </p:nvSpPr>
        <p:spPr>
          <a:xfrm>
            <a:off x="5522601" y="3527022"/>
            <a:ext cx="1206731" cy="292388"/>
          </a:xfrm>
          <a:prstGeom prst="rect">
            <a:avLst/>
          </a:prstGeom>
          <a:noFill/>
        </p:spPr>
        <p:txBody>
          <a:bodyPr wrap="square" rtlCol="0">
            <a:spAutoFit/>
          </a:bodyPr>
          <a:lstStyle/>
          <a:p>
            <a:pPr lvl="0" algn="ctr">
              <a:defRPr/>
            </a:pPr>
            <a:r>
              <a:rPr lang="en-US" sz="1300" b="1" kern="0" dirty="0">
                <a:solidFill>
                  <a:schemeClr val="bg1"/>
                </a:solidFill>
                <a:sym typeface="+mn-lt"/>
              </a:rPr>
              <a:t>Text here</a:t>
            </a:r>
          </a:p>
        </p:txBody>
      </p:sp>
    </p:spTree>
    <p:custDataLst>
      <p:tags r:id="rId1"/>
    </p:custDataLst>
    <p:extLst>
      <p:ext uri="{BB962C8B-B14F-4D97-AF65-F5344CB8AC3E}">
        <p14:creationId xmlns:p14="http://schemas.microsoft.com/office/powerpoint/2010/main" val="1855015079"/>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72"/>
          <p:cNvGrpSpPr/>
          <p:nvPr/>
        </p:nvGrpSpPr>
        <p:grpSpPr>
          <a:xfrm>
            <a:off x="5048467" y="1861962"/>
            <a:ext cx="2114344" cy="2714610"/>
            <a:chOff x="376236" y="1341438"/>
            <a:chExt cx="3060945" cy="3929953"/>
          </a:xfrm>
        </p:grpSpPr>
        <p:sp>
          <p:nvSpPr>
            <p:cNvPr id="7" name="Freeform 7"/>
            <p:cNvSpPr>
              <a:spLocks/>
            </p:cNvSpPr>
            <p:nvPr/>
          </p:nvSpPr>
          <p:spPr bwMode="auto">
            <a:xfrm>
              <a:off x="462294" y="1341438"/>
              <a:ext cx="2888830" cy="946631"/>
            </a:xfrm>
            <a:custGeom>
              <a:avLst/>
              <a:gdLst>
                <a:gd name="T0" fmla="*/ 4021 w 4021"/>
                <a:gd name="T1" fmla="*/ 1317 h 1317"/>
                <a:gd name="T2" fmla="*/ 4021 w 4021"/>
                <a:gd name="T3" fmla="*/ 1317 h 1317"/>
                <a:gd name="T4" fmla="*/ 2010 w 4021"/>
                <a:gd name="T5" fmla="*/ 0 h 1317"/>
                <a:gd name="T6" fmla="*/ 0 w 4021"/>
                <a:gd name="T7" fmla="*/ 1317 h 1317"/>
                <a:gd name="T8" fmla="*/ 4021 w 4021"/>
                <a:gd name="T9" fmla="*/ 1317 h 1317"/>
              </a:gdLst>
              <a:ahLst/>
              <a:cxnLst>
                <a:cxn ang="0">
                  <a:pos x="T0" y="T1"/>
                </a:cxn>
                <a:cxn ang="0">
                  <a:pos x="T2" y="T3"/>
                </a:cxn>
                <a:cxn ang="0">
                  <a:pos x="T4" y="T5"/>
                </a:cxn>
                <a:cxn ang="0">
                  <a:pos x="T6" y="T7"/>
                </a:cxn>
                <a:cxn ang="0">
                  <a:pos x="T8" y="T9"/>
                </a:cxn>
              </a:cxnLst>
              <a:rect l="0" t="0" r="r" b="b"/>
              <a:pathLst>
                <a:path w="4021" h="1317">
                  <a:moveTo>
                    <a:pt x="4021" y="1317"/>
                  </a:moveTo>
                  <a:lnTo>
                    <a:pt x="4021" y="1317"/>
                  </a:lnTo>
                  <a:cubicBezTo>
                    <a:pt x="3733" y="492"/>
                    <a:pt x="2960" y="0"/>
                    <a:pt x="2010" y="0"/>
                  </a:cubicBezTo>
                  <a:cubicBezTo>
                    <a:pt x="1060" y="0"/>
                    <a:pt x="287" y="492"/>
                    <a:pt x="0" y="1317"/>
                  </a:cubicBezTo>
                  <a:lnTo>
                    <a:pt x="4021" y="1317"/>
                  </a:lnTo>
                  <a:close/>
                </a:path>
              </a:pathLst>
            </a:cu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00"/>
            </a:p>
          </p:txBody>
        </p:sp>
        <p:sp>
          <p:nvSpPr>
            <p:cNvPr id="8" name="Freeform 10"/>
            <p:cNvSpPr>
              <a:spLocks/>
            </p:cNvSpPr>
            <p:nvPr/>
          </p:nvSpPr>
          <p:spPr bwMode="auto">
            <a:xfrm>
              <a:off x="376236" y="2358937"/>
              <a:ext cx="3060945" cy="911195"/>
            </a:xfrm>
            <a:custGeom>
              <a:avLst/>
              <a:gdLst>
                <a:gd name="T0" fmla="*/ 0 w 4262"/>
                <a:gd name="T1" fmla="*/ 643 h 1268"/>
                <a:gd name="T2" fmla="*/ 0 w 4262"/>
                <a:gd name="T3" fmla="*/ 643 h 1268"/>
                <a:gd name="T4" fmla="*/ 85 w 4262"/>
                <a:gd name="T5" fmla="*/ 1268 h 1268"/>
                <a:gd name="T6" fmla="*/ 4178 w 4262"/>
                <a:gd name="T7" fmla="*/ 1268 h 1268"/>
                <a:gd name="T8" fmla="*/ 4262 w 4262"/>
                <a:gd name="T9" fmla="*/ 643 h 1268"/>
                <a:gd name="T10" fmla="*/ 4174 w 4262"/>
                <a:gd name="T11" fmla="*/ 0 h 1268"/>
                <a:gd name="T12" fmla="*/ 89 w 4262"/>
                <a:gd name="T13" fmla="*/ 0 h 1268"/>
                <a:gd name="T14" fmla="*/ 0 w 4262"/>
                <a:gd name="T15" fmla="*/ 643 h 1268"/>
                <a:gd name="T16" fmla="*/ 0 w 4262"/>
                <a:gd name="T17" fmla="*/ 643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2" h="1268">
                  <a:moveTo>
                    <a:pt x="0" y="643"/>
                  </a:moveTo>
                  <a:lnTo>
                    <a:pt x="0" y="643"/>
                  </a:lnTo>
                  <a:cubicBezTo>
                    <a:pt x="0" y="876"/>
                    <a:pt x="32" y="1082"/>
                    <a:pt x="85" y="1268"/>
                  </a:cubicBezTo>
                  <a:lnTo>
                    <a:pt x="4178" y="1268"/>
                  </a:lnTo>
                  <a:cubicBezTo>
                    <a:pt x="4230" y="1082"/>
                    <a:pt x="4262" y="876"/>
                    <a:pt x="4262" y="643"/>
                  </a:cubicBezTo>
                  <a:cubicBezTo>
                    <a:pt x="4262" y="412"/>
                    <a:pt x="4231" y="198"/>
                    <a:pt x="4174" y="0"/>
                  </a:cubicBezTo>
                  <a:lnTo>
                    <a:pt x="89" y="0"/>
                  </a:lnTo>
                  <a:cubicBezTo>
                    <a:pt x="31" y="198"/>
                    <a:pt x="0" y="412"/>
                    <a:pt x="0" y="643"/>
                  </a:cubicBezTo>
                  <a:lnTo>
                    <a:pt x="0" y="643"/>
                  </a:lnTo>
                  <a:close/>
                </a:path>
              </a:pathLst>
            </a:custGeom>
            <a:solidFill>
              <a:schemeClr val="accent3"/>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300"/>
            </a:p>
          </p:txBody>
        </p:sp>
        <p:sp>
          <p:nvSpPr>
            <p:cNvPr id="9" name="Freeform 12"/>
            <p:cNvSpPr>
              <a:spLocks/>
            </p:cNvSpPr>
            <p:nvPr/>
          </p:nvSpPr>
          <p:spPr bwMode="auto">
            <a:xfrm>
              <a:off x="958390" y="4324760"/>
              <a:ext cx="1894952" cy="946631"/>
            </a:xfrm>
            <a:custGeom>
              <a:avLst/>
              <a:gdLst>
                <a:gd name="T0" fmla="*/ 0 w 2640"/>
                <a:gd name="T1" fmla="*/ 0 h 1317"/>
                <a:gd name="T2" fmla="*/ 0 w 2640"/>
                <a:gd name="T3" fmla="*/ 0 h 1317"/>
                <a:gd name="T4" fmla="*/ 127 w 2640"/>
                <a:gd name="T5" fmla="*/ 630 h 1317"/>
                <a:gd name="T6" fmla="*/ 610 w 2640"/>
                <a:gd name="T7" fmla="*/ 1317 h 1317"/>
                <a:gd name="T8" fmla="*/ 2030 w 2640"/>
                <a:gd name="T9" fmla="*/ 1317 h 1317"/>
                <a:gd name="T10" fmla="*/ 2513 w 2640"/>
                <a:gd name="T11" fmla="*/ 630 h 1317"/>
                <a:gd name="T12" fmla="*/ 2640 w 2640"/>
                <a:gd name="T13" fmla="*/ 0 h 1317"/>
                <a:gd name="T14" fmla="*/ 0 w 2640"/>
                <a:gd name="T15" fmla="*/ 0 h 1317"/>
                <a:gd name="T16" fmla="*/ 0 w 2640"/>
                <a:gd name="T17" fmla="*/ 0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0" h="1317">
                  <a:moveTo>
                    <a:pt x="0" y="0"/>
                  </a:moveTo>
                  <a:lnTo>
                    <a:pt x="0" y="0"/>
                  </a:lnTo>
                  <a:cubicBezTo>
                    <a:pt x="77" y="190"/>
                    <a:pt x="127" y="394"/>
                    <a:pt x="127" y="630"/>
                  </a:cubicBezTo>
                  <a:cubicBezTo>
                    <a:pt x="127" y="857"/>
                    <a:pt x="340" y="1317"/>
                    <a:pt x="610" y="1317"/>
                  </a:cubicBezTo>
                  <a:lnTo>
                    <a:pt x="2030" y="1317"/>
                  </a:lnTo>
                  <a:cubicBezTo>
                    <a:pt x="2300" y="1317"/>
                    <a:pt x="2513" y="857"/>
                    <a:pt x="2513" y="630"/>
                  </a:cubicBezTo>
                  <a:cubicBezTo>
                    <a:pt x="2513" y="394"/>
                    <a:pt x="2563" y="190"/>
                    <a:pt x="2640" y="0"/>
                  </a:cubicBezTo>
                  <a:lnTo>
                    <a:pt x="0" y="0"/>
                  </a:lnTo>
                  <a:lnTo>
                    <a:pt x="0" y="0"/>
                  </a:lnTo>
                  <a:close/>
                </a:path>
              </a:pathLst>
            </a:custGeom>
            <a:solidFill>
              <a:srgbClr val="86BC25"/>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300"/>
            </a:p>
          </p:txBody>
        </p:sp>
        <p:sp>
          <p:nvSpPr>
            <p:cNvPr id="10" name="Freeform 14"/>
            <p:cNvSpPr>
              <a:spLocks/>
            </p:cNvSpPr>
            <p:nvPr/>
          </p:nvSpPr>
          <p:spPr bwMode="auto">
            <a:xfrm>
              <a:off x="458920" y="3342691"/>
              <a:ext cx="2895579" cy="911195"/>
            </a:xfrm>
            <a:custGeom>
              <a:avLst/>
              <a:gdLst>
                <a:gd name="T0" fmla="*/ 3379 w 4032"/>
                <a:gd name="T1" fmla="*/ 1267 h 1267"/>
                <a:gd name="T2" fmla="*/ 3379 w 4032"/>
                <a:gd name="T3" fmla="*/ 1267 h 1267"/>
                <a:gd name="T4" fmla="*/ 4032 w 4032"/>
                <a:gd name="T5" fmla="*/ 0 h 1267"/>
                <a:gd name="T6" fmla="*/ 0 w 4032"/>
                <a:gd name="T7" fmla="*/ 0 h 1267"/>
                <a:gd name="T8" fmla="*/ 653 w 4032"/>
                <a:gd name="T9" fmla="*/ 1267 h 1267"/>
                <a:gd name="T10" fmla="*/ 3379 w 4032"/>
                <a:gd name="T11" fmla="*/ 1267 h 1267"/>
                <a:gd name="T12" fmla="*/ 3379 w 4032"/>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4032" h="1267">
                  <a:moveTo>
                    <a:pt x="3379" y="1267"/>
                  </a:moveTo>
                  <a:lnTo>
                    <a:pt x="3379" y="1267"/>
                  </a:lnTo>
                  <a:cubicBezTo>
                    <a:pt x="3568" y="854"/>
                    <a:pt x="3869" y="495"/>
                    <a:pt x="4032" y="0"/>
                  </a:cubicBezTo>
                  <a:lnTo>
                    <a:pt x="0" y="0"/>
                  </a:lnTo>
                  <a:cubicBezTo>
                    <a:pt x="163" y="495"/>
                    <a:pt x="464" y="854"/>
                    <a:pt x="653" y="1267"/>
                  </a:cubicBezTo>
                  <a:lnTo>
                    <a:pt x="3379" y="1267"/>
                  </a:lnTo>
                  <a:lnTo>
                    <a:pt x="3379" y="1267"/>
                  </a:lnTo>
                  <a:close/>
                </a:path>
              </a:pathLst>
            </a:custGeom>
            <a:solidFill>
              <a:srgbClr val="000000"/>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300"/>
            </a:p>
          </p:txBody>
        </p:sp>
      </p:grpSp>
      <p:sp>
        <p:nvSpPr>
          <p:cNvPr id="14" name="Freeform 5"/>
          <p:cNvSpPr>
            <a:spLocks/>
          </p:cNvSpPr>
          <p:nvPr/>
        </p:nvSpPr>
        <p:spPr bwMode="auto">
          <a:xfrm>
            <a:off x="5118322" y="1933575"/>
            <a:ext cx="1974634" cy="2562224"/>
          </a:xfrm>
          <a:custGeom>
            <a:avLst/>
            <a:gdLst>
              <a:gd name="T0" fmla="*/ 607 w 634"/>
              <a:gd name="T1" fmla="*/ 174 h 823"/>
              <a:gd name="T2" fmla="*/ 317 w 634"/>
              <a:gd name="T3" fmla="*/ 0 h 823"/>
              <a:gd name="T4" fmla="*/ 26 w 634"/>
              <a:gd name="T5" fmla="*/ 174 h 823"/>
              <a:gd name="T6" fmla="*/ 10 w 634"/>
              <a:gd name="T7" fmla="*/ 221 h 823"/>
              <a:gd name="T8" fmla="*/ 0 w 634"/>
              <a:gd name="T9" fmla="*/ 306 h 823"/>
              <a:gd name="T10" fmla="*/ 10 w 634"/>
              <a:gd name="T11" fmla="*/ 388 h 823"/>
              <a:gd name="T12" fmla="*/ 25 w 634"/>
              <a:gd name="T13" fmla="*/ 435 h 823"/>
              <a:gd name="T14" fmla="*/ 76 w 634"/>
              <a:gd name="T15" fmla="*/ 535 h 823"/>
              <a:gd name="T16" fmla="*/ 114 w 634"/>
              <a:gd name="T17" fmla="*/ 602 h 823"/>
              <a:gd name="T18" fmla="*/ 133 w 634"/>
              <a:gd name="T19" fmla="*/ 649 h 823"/>
              <a:gd name="T20" fmla="*/ 146 w 634"/>
              <a:gd name="T21" fmla="*/ 732 h 823"/>
              <a:gd name="T22" fmla="*/ 206 w 634"/>
              <a:gd name="T23" fmla="*/ 823 h 823"/>
              <a:gd name="T24" fmla="*/ 427 w 634"/>
              <a:gd name="T25" fmla="*/ 823 h 823"/>
              <a:gd name="T26" fmla="*/ 487 w 634"/>
              <a:gd name="T27" fmla="*/ 732 h 823"/>
              <a:gd name="T28" fmla="*/ 500 w 634"/>
              <a:gd name="T29" fmla="*/ 649 h 823"/>
              <a:gd name="T30" fmla="*/ 520 w 634"/>
              <a:gd name="T31" fmla="*/ 602 h 823"/>
              <a:gd name="T32" fmla="*/ 557 w 634"/>
              <a:gd name="T33" fmla="*/ 535 h 823"/>
              <a:gd name="T34" fmla="*/ 609 w 634"/>
              <a:gd name="T35" fmla="*/ 435 h 823"/>
              <a:gd name="T36" fmla="*/ 624 w 634"/>
              <a:gd name="T37" fmla="*/ 388 h 823"/>
              <a:gd name="T38" fmla="*/ 634 w 634"/>
              <a:gd name="T39" fmla="*/ 306 h 823"/>
              <a:gd name="T40" fmla="*/ 624 w 634"/>
              <a:gd name="T41" fmla="*/ 221 h 823"/>
              <a:gd name="T42" fmla="*/ 607 w 634"/>
              <a:gd name="T43" fmla="*/ 174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4" h="823">
                <a:moveTo>
                  <a:pt x="607" y="174"/>
                </a:moveTo>
                <a:cubicBezTo>
                  <a:pt x="560" y="66"/>
                  <a:pt x="451" y="0"/>
                  <a:pt x="317" y="0"/>
                </a:cubicBezTo>
                <a:cubicBezTo>
                  <a:pt x="183" y="0"/>
                  <a:pt x="74" y="66"/>
                  <a:pt x="26" y="174"/>
                </a:cubicBezTo>
                <a:cubicBezTo>
                  <a:pt x="10" y="221"/>
                  <a:pt x="10" y="221"/>
                  <a:pt x="10" y="221"/>
                </a:cubicBezTo>
                <a:cubicBezTo>
                  <a:pt x="3" y="248"/>
                  <a:pt x="0" y="276"/>
                  <a:pt x="0" y="306"/>
                </a:cubicBezTo>
                <a:cubicBezTo>
                  <a:pt x="0" y="335"/>
                  <a:pt x="3" y="361"/>
                  <a:pt x="10" y="388"/>
                </a:cubicBezTo>
                <a:cubicBezTo>
                  <a:pt x="25" y="435"/>
                  <a:pt x="25" y="435"/>
                  <a:pt x="25" y="435"/>
                </a:cubicBezTo>
                <a:cubicBezTo>
                  <a:pt x="39" y="472"/>
                  <a:pt x="58" y="504"/>
                  <a:pt x="76" y="535"/>
                </a:cubicBezTo>
                <a:cubicBezTo>
                  <a:pt x="89" y="556"/>
                  <a:pt x="103" y="579"/>
                  <a:pt x="114" y="602"/>
                </a:cubicBezTo>
                <a:cubicBezTo>
                  <a:pt x="133" y="649"/>
                  <a:pt x="133" y="649"/>
                  <a:pt x="133" y="649"/>
                </a:cubicBezTo>
                <a:cubicBezTo>
                  <a:pt x="142" y="676"/>
                  <a:pt x="146" y="704"/>
                  <a:pt x="146" y="732"/>
                </a:cubicBezTo>
                <a:cubicBezTo>
                  <a:pt x="146" y="764"/>
                  <a:pt x="177" y="823"/>
                  <a:pt x="206" y="823"/>
                </a:cubicBezTo>
                <a:cubicBezTo>
                  <a:pt x="427" y="823"/>
                  <a:pt x="427" y="823"/>
                  <a:pt x="427" y="823"/>
                </a:cubicBezTo>
                <a:cubicBezTo>
                  <a:pt x="456" y="823"/>
                  <a:pt x="487" y="764"/>
                  <a:pt x="487" y="732"/>
                </a:cubicBezTo>
                <a:cubicBezTo>
                  <a:pt x="487" y="704"/>
                  <a:pt x="491" y="676"/>
                  <a:pt x="500" y="649"/>
                </a:cubicBezTo>
                <a:cubicBezTo>
                  <a:pt x="520" y="602"/>
                  <a:pt x="520" y="602"/>
                  <a:pt x="520" y="602"/>
                </a:cubicBezTo>
                <a:cubicBezTo>
                  <a:pt x="531" y="579"/>
                  <a:pt x="544" y="556"/>
                  <a:pt x="557" y="535"/>
                </a:cubicBezTo>
                <a:cubicBezTo>
                  <a:pt x="576" y="504"/>
                  <a:pt x="595" y="472"/>
                  <a:pt x="609" y="435"/>
                </a:cubicBezTo>
                <a:cubicBezTo>
                  <a:pt x="624" y="388"/>
                  <a:pt x="624" y="388"/>
                  <a:pt x="624" y="388"/>
                </a:cubicBezTo>
                <a:cubicBezTo>
                  <a:pt x="631" y="361"/>
                  <a:pt x="634" y="334"/>
                  <a:pt x="634" y="306"/>
                </a:cubicBezTo>
                <a:cubicBezTo>
                  <a:pt x="634" y="277"/>
                  <a:pt x="630" y="248"/>
                  <a:pt x="624" y="221"/>
                </a:cubicBezTo>
                <a:lnTo>
                  <a:pt x="607" y="174"/>
                </a:lnTo>
                <a:close/>
              </a:path>
            </a:pathLst>
          </a:custGeom>
          <a:solidFill>
            <a:srgbClr val="FFFFFF"/>
          </a:solidFill>
          <a:ln w="44450">
            <a:solidFill>
              <a:srgbClr val="FFFFFF"/>
            </a:solidFill>
          </a:ln>
        </p:spPr>
        <p:txBody>
          <a:bodyPr vert="horz" wrap="square" lIns="91440" tIns="45720" rIns="91440" bIns="45720" numCol="1" anchor="t" anchorCtr="0" compatLnSpc="1">
            <a:prstTxWarp prst="textNoShape">
              <a:avLst/>
            </a:prstTxWarp>
          </a:bodyPr>
          <a:lstStyle/>
          <a:p>
            <a:endParaRPr lang="en-US"/>
          </a:p>
        </p:txBody>
      </p:sp>
      <p:sp>
        <p:nvSpPr>
          <p:cNvPr id="102" name="Freeform 1126"/>
          <p:cNvSpPr>
            <a:spLocks/>
          </p:cNvSpPr>
          <p:nvPr/>
        </p:nvSpPr>
        <p:spPr bwMode="auto">
          <a:xfrm flipH="1">
            <a:off x="7634725" y="1995472"/>
            <a:ext cx="4050000" cy="1444726"/>
          </a:xfrm>
          <a:prstGeom prst="roundRect">
            <a:avLst>
              <a:gd name="adj" fmla="val 10209"/>
            </a:avLst>
          </a:prstGeom>
          <a:solidFill>
            <a:srgbClr val="43B02A"/>
          </a:solidFill>
          <a:ln w="25400">
            <a:noFill/>
          </a:ln>
        </p:spPr>
        <p:txBody>
          <a:bodyPr lIns="540000"/>
          <a:lstStyle/>
          <a:p>
            <a:r>
              <a:rPr lang="da-DK" altLang="zh-CN" sz="1300" b="1" dirty="0">
                <a:solidFill>
                  <a:srgbClr val="FFFFFF"/>
                </a:solidFill>
                <a:ea typeface="Verdana" panose="020B0604030504040204" pitchFamily="34" charset="0"/>
                <a:cs typeface="Verdana" panose="020B0604030504040204" pitchFamily="34" charset="0"/>
              </a:rPr>
              <a:t>Lorem ipsum dolor sit amet</a:t>
            </a:r>
            <a:endParaRPr lang="en-US" altLang="zh-CN" sz="1300" b="1" dirty="0">
              <a:solidFill>
                <a:srgbClr val="FFFFFF"/>
              </a:solidFill>
              <a:ea typeface="Verdana" panose="020B0604030504040204" pitchFamily="34" charset="0"/>
              <a:cs typeface="Verdana" panose="020B0604030504040204" pitchFamily="34" charset="0"/>
            </a:endParaRPr>
          </a:p>
          <a:p>
            <a:r>
              <a:rPr lang="en-US" altLang="zh-CN" sz="1300" dirty="0">
                <a:solidFill>
                  <a:srgbClr val="FFFFFF"/>
                </a:solidFill>
                <a:ea typeface="Verdana" panose="020B0604030504040204" pitchFamily="34" charset="0"/>
                <a:cs typeface="Verdana" panose="020B0604030504040204" pitchFamily="34" charset="0"/>
              </a:rPr>
              <a:t>This is dummy text it is not here to be read.</a:t>
            </a:r>
          </a:p>
        </p:txBody>
      </p:sp>
      <p:sp>
        <p:nvSpPr>
          <p:cNvPr id="103" name="Freeform 1126"/>
          <p:cNvSpPr>
            <a:spLocks/>
          </p:cNvSpPr>
          <p:nvPr/>
        </p:nvSpPr>
        <p:spPr bwMode="auto">
          <a:xfrm flipH="1">
            <a:off x="7629036" y="4030342"/>
            <a:ext cx="4050000" cy="1447491"/>
          </a:xfrm>
          <a:prstGeom prst="roundRect">
            <a:avLst>
              <a:gd name="adj" fmla="val 9576"/>
            </a:avLst>
          </a:prstGeom>
          <a:solidFill>
            <a:srgbClr val="000000"/>
          </a:solidFill>
          <a:ln w="25400">
            <a:noFill/>
          </a:ln>
        </p:spPr>
        <p:txBody>
          <a:bodyPr lIns="540000"/>
          <a:lstStyle/>
          <a:p>
            <a:r>
              <a:rPr lang="da-DK" altLang="zh-CN" sz="1300" b="1" dirty="0">
                <a:solidFill>
                  <a:srgbClr val="86BC25"/>
                </a:solidFill>
                <a:ea typeface="Verdana" panose="020B0604030504040204" pitchFamily="34" charset="0"/>
                <a:cs typeface="Verdana" panose="020B0604030504040204" pitchFamily="34" charset="0"/>
              </a:rPr>
              <a:t>Lorem ipsum dolor sit amet</a:t>
            </a:r>
            <a:endParaRPr lang="en-US" altLang="zh-CN" sz="1300" b="1" dirty="0">
              <a:solidFill>
                <a:srgbClr val="86BC25"/>
              </a:solidFill>
              <a:ea typeface="Verdana" panose="020B0604030504040204" pitchFamily="34" charset="0"/>
              <a:cs typeface="Verdana" panose="020B0604030504040204" pitchFamily="34" charset="0"/>
            </a:endParaRPr>
          </a:p>
          <a:p>
            <a:r>
              <a:rPr lang="en-US" altLang="zh-CN" sz="1300" dirty="0">
                <a:solidFill>
                  <a:srgbClr val="FFFFFF"/>
                </a:solidFill>
                <a:ea typeface="Verdana" panose="020B0604030504040204" pitchFamily="34" charset="0"/>
                <a:cs typeface="Verdana" panose="020B0604030504040204" pitchFamily="34" charset="0"/>
              </a:rPr>
              <a:t>This is dummy text it is not here to be read.</a:t>
            </a:r>
          </a:p>
        </p:txBody>
      </p:sp>
      <p:sp>
        <p:nvSpPr>
          <p:cNvPr id="114" name="Freeform 1126"/>
          <p:cNvSpPr>
            <a:spLocks/>
          </p:cNvSpPr>
          <p:nvPr/>
        </p:nvSpPr>
        <p:spPr bwMode="auto">
          <a:xfrm>
            <a:off x="482940" y="4030342"/>
            <a:ext cx="4059141" cy="1447491"/>
          </a:xfrm>
          <a:prstGeom prst="roundRect">
            <a:avLst>
              <a:gd name="adj" fmla="val 9576"/>
            </a:avLst>
          </a:prstGeom>
          <a:solidFill>
            <a:schemeClr val="accent3"/>
          </a:solidFill>
          <a:ln w="25400">
            <a:noFill/>
          </a:ln>
        </p:spPr>
        <p:txBody>
          <a:bodyPr lIns="90000" rIns="540000"/>
          <a:lstStyle/>
          <a:p>
            <a:r>
              <a:rPr lang="da-DK" altLang="zh-CN" sz="1300" b="1" dirty="0">
                <a:solidFill>
                  <a:srgbClr val="FFFFFF"/>
                </a:solidFill>
                <a:ea typeface="Verdana" panose="020B0604030504040204" pitchFamily="34" charset="0"/>
                <a:cs typeface="Verdana" panose="020B0604030504040204" pitchFamily="34" charset="0"/>
              </a:rPr>
              <a:t>Lorem ipsum dolor sit amet</a:t>
            </a:r>
            <a:endParaRPr lang="en-US" altLang="zh-CN" sz="1300" b="1" dirty="0">
              <a:solidFill>
                <a:srgbClr val="FFFFFF"/>
              </a:solidFill>
              <a:ea typeface="Verdana" panose="020B0604030504040204" pitchFamily="34" charset="0"/>
              <a:cs typeface="Verdana" panose="020B0604030504040204" pitchFamily="34" charset="0"/>
            </a:endParaRPr>
          </a:p>
          <a:p>
            <a:r>
              <a:rPr lang="en-US" altLang="zh-CN" sz="1300" dirty="0">
                <a:solidFill>
                  <a:srgbClr val="FFFFFF"/>
                </a:solidFill>
                <a:ea typeface="Verdana" panose="020B0604030504040204" pitchFamily="34" charset="0"/>
                <a:cs typeface="Verdana" panose="020B0604030504040204" pitchFamily="34" charset="0"/>
              </a:rPr>
              <a:t>This is dummy text it is not here to be read.</a:t>
            </a:r>
          </a:p>
        </p:txBody>
      </p:sp>
      <p:sp>
        <p:nvSpPr>
          <p:cNvPr id="58" name="Oval 57"/>
          <p:cNvSpPr/>
          <p:nvPr/>
        </p:nvSpPr>
        <p:spPr bwMode="gray">
          <a:xfrm>
            <a:off x="4145676" y="3639079"/>
            <a:ext cx="782525" cy="782525"/>
          </a:xfrm>
          <a:prstGeom prst="ellipse">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9" name="Oval 58"/>
          <p:cNvSpPr/>
          <p:nvPr/>
        </p:nvSpPr>
        <p:spPr bwMode="gray">
          <a:xfrm>
            <a:off x="7253292" y="1614032"/>
            <a:ext cx="782525" cy="782525"/>
          </a:xfrm>
          <a:prstGeom prst="ellipse">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0" name="Oval 59"/>
          <p:cNvSpPr/>
          <p:nvPr/>
        </p:nvSpPr>
        <p:spPr bwMode="gray">
          <a:xfrm>
            <a:off x="7253292" y="3639079"/>
            <a:ext cx="782525" cy="782525"/>
          </a:xfrm>
          <a:prstGeom prst="ellipse">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13" name="Freeform 1126"/>
          <p:cNvSpPr>
            <a:spLocks/>
          </p:cNvSpPr>
          <p:nvPr/>
        </p:nvSpPr>
        <p:spPr bwMode="auto">
          <a:xfrm>
            <a:off x="485192" y="1995472"/>
            <a:ext cx="4051387" cy="1444726"/>
          </a:xfrm>
          <a:prstGeom prst="roundRect">
            <a:avLst>
              <a:gd name="adj" fmla="val 6979"/>
            </a:avLst>
          </a:prstGeom>
          <a:solidFill>
            <a:srgbClr val="FFFFFF"/>
          </a:solidFill>
          <a:ln w="25400">
            <a:solidFill>
              <a:srgbClr val="000000"/>
            </a:solidFill>
          </a:ln>
        </p:spPr>
        <p:txBody>
          <a:bodyPr lIns="90000" rIns="540000"/>
          <a:lstStyle/>
          <a:p>
            <a:r>
              <a:rPr lang="da-DK" altLang="zh-CN" sz="1300" b="1" dirty="0">
                <a:solidFill>
                  <a:srgbClr val="86BC25"/>
                </a:solidFill>
                <a:ea typeface="Verdana" panose="020B0604030504040204" pitchFamily="34" charset="0"/>
                <a:cs typeface="Verdana" panose="020B0604030504040204" pitchFamily="34" charset="0"/>
              </a:rPr>
              <a:t>Lorem ipsum dolor sit amet</a:t>
            </a:r>
            <a:endParaRPr lang="en-US" altLang="zh-CN" sz="1300" b="1" dirty="0">
              <a:solidFill>
                <a:srgbClr val="86BC25"/>
              </a:solidFill>
              <a:ea typeface="Verdana" panose="020B0604030504040204" pitchFamily="34" charset="0"/>
              <a:cs typeface="Verdana" panose="020B0604030504040204" pitchFamily="34" charset="0"/>
            </a:endParaRPr>
          </a:p>
          <a:p>
            <a:r>
              <a:rPr lang="en-US" altLang="zh-CN" sz="1300" dirty="0">
                <a:solidFill>
                  <a:srgbClr val="000000"/>
                </a:solidFill>
                <a:ea typeface="Verdana" panose="020B0604030504040204" pitchFamily="34" charset="0"/>
                <a:cs typeface="Verdana" panose="020B0604030504040204" pitchFamily="34" charset="0"/>
              </a:rPr>
              <a:t>This is dummy text it is not here to be read.</a:t>
            </a:r>
          </a:p>
        </p:txBody>
      </p:sp>
      <p:sp>
        <p:nvSpPr>
          <p:cNvPr id="4" name="Oval 3"/>
          <p:cNvSpPr/>
          <p:nvPr/>
        </p:nvSpPr>
        <p:spPr bwMode="gray">
          <a:xfrm>
            <a:off x="4145676" y="1614032"/>
            <a:ext cx="782525" cy="782525"/>
          </a:xfrm>
          <a:prstGeom prst="ellipse">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18" name="组合 17"/>
          <p:cNvGrpSpPr/>
          <p:nvPr/>
        </p:nvGrpSpPr>
        <p:grpSpPr>
          <a:xfrm>
            <a:off x="5694956" y="4633856"/>
            <a:ext cx="821364" cy="770694"/>
            <a:chOff x="5646772" y="5220836"/>
            <a:chExt cx="1041305" cy="977067"/>
          </a:xfrm>
          <a:solidFill>
            <a:srgbClr val="62B5E5"/>
          </a:solidFill>
        </p:grpSpPr>
        <p:sp>
          <p:nvSpPr>
            <p:cNvPr id="16" name="išľîḑe">
              <a:extLst>
                <a:ext uri="{FF2B5EF4-FFF2-40B4-BE49-F238E27FC236}">
                  <a16:creationId xmlns:a16="http://schemas.microsoft.com/office/drawing/2014/main" id="{9E681CE1-0222-4F48-BBE3-85DA3C4EE382}"/>
                </a:ext>
              </a:extLst>
            </p:cNvPr>
            <p:cNvSpPr/>
            <p:nvPr/>
          </p:nvSpPr>
          <p:spPr bwMode="auto">
            <a:xfrm>
              <a:off x="5646772" y="5220836"/>
              <a:ext cx="1034543" cy="476702"/>
            </a:xfrm>
            <a:custGeom>
              <a:avLst/>
              <a:gdLst>
                <a:gd name="T0" fmla="*/ 166 w 183"/>
                <a:gd name="T1" fmla="*/ 0 h 84"/>
                <a:gd name="T2" fmla="*/ 17 w 183"/>
                <a:gd name="T3" fmla="*/ 0 h 84"/>
                <a:gd name="T4" fmla="*/ 2 w 183"/>
                <a:gd name="T5" fmla="*/ 24 h 84"/>
                <a:gd name="T6" fmla="*/ 17 w 183"/>
                <a:gd name="T7" fmla="*/ 49 h 84"/>
                <a:gd name="T8" fmla="*/ 67 w 183"/>
                <a:gd name="T9" fmla="*/ 49 h 84"/>
                <a:gd name="T10" fmla="*/ 13 w 183"/>
                <a:gd name="T11" fmla="*/ 59 h 84"/>
                <a:gd name="T12" fmla="*/ 3 w 183"/>
                <a:gd name="T13" fmla="*/ 75 h 84"/>
                <a:gd name="T14" fmla="*/ 17 w 183"/>
                <a:gd name="T15" fmla="*/ 84 h 84"/>
                <a:gd name="T16" fmla="*/ 22 w 183"/>
                <a:gd name="T17" fmla="*/ 82 h 84"/>
                <a:gd name="T18" fmla="*/ 171 w 183"/>
                <a:gd name="T19" fmla="*/ 33 h 84"/>
                <a:gd name="T20" fmla="*/ 182 w 183"/>
                <a:gd name="T21" fmla="*/ 14 h 84"/>
                <a:gd name="T22" fmla="*/ 166 w 183"/>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84">
                  <a:moveTo>
                    <a:pt x="166" y="0"/>
                  </a:moveTo>
                  <a:cubicBezTo>
                    <a:pt x="17" y="0"/>
                    <a:pt x="17" y="0"/>
                    <a:pt x="17" y="0"/>
                  </a:cubicBezTo>
                  <a:cubicBezTo>
                    <a:pt x="9" y="0"/>
                    <a:pt x="2" y="16"/>
                    <a:pt x="2" y="24"/>
                  </a:cubicBezTo>
                  <a:cubicBezTo>
                    <a:pt x="2" y="33"/>
                    <a:pt x="9" y="49"/>
                    <a:pt x="17" y="49"/>
                  </a:cubicBezTo>
                  <a:cubicBezTo>
                    <a:pt x="67" y="49"/>
                    <a:pt x="67" y="49"/>
                    <a:pt x="67" y="49"/>
                  </a:cubicBezTo>
                  <a:cubicBezTo>
                    <a:pt x="13" y="59"/>
                    <a:pt x="13" y="59"/>
                    <a:pt x="13" y="59"/>
                  </a:cubicBezTo>
                  <a:cubicBezTo>
                    <a:pt x="4" y="62"/>
                    <a:pt x="0" y="67"/>
                    <a:pt x="3" y="75"/>
                  </a:cubicBezTo>
                  <a:cubicBezTo>
                    <a:pt x="5" y="82"/>
                    <a:pt x="11" y="84"/>
                    <a:pt x="17" y="84"/>
                  </a:cubicBezTo>
                  <a:cubicBezTo>
                    <a:pt x="19" y="84"/>
                    <a:pt x="21" y="83"/>
                    <a:pt x="22" y="82"/>
                  </a:cubicBezTo>
                  <a:cubicBezTo>
                    <a:pt x="171" y="33"/>
                    <a:pt x="171" y="33"/>
                    <a:pt x="171" y="33"/>
                  </a:cubicBezTo>
                  <a:cubicBezTo>
                    <a:pt x="178" y="31"/>
                    <a:pt x="183" y="22"/>
                    <a:pt x="182" y="14"/>
                  </a:cubicBezTo>
                  <a:cubicBezTo>
                    <a:pt x="181" y="7"/>
                    <a:pt x="174" y="0"/>
                    <a:pt x="166"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spcBef>
                  <a:spcPts val="0"/>
                </a:spcBef>
                <a:spcAft>
                  <a:spcPts val="0"/>
                </a:spcAft>
                <a:buClrTx/>
                <a:buSzTx/>
                <a:buFontTx/>
                <a:buNone/>
                <a:tabLst/>
                <a:defRPr/>
              </a:pPr>
              <a:endParaRPr kumimoji="0" sz="1300" b="0" i="0" u="none" strike="noStrike" kern="0" cap="none" spc="0" normalizeH="0" baseline="0" noProof="0">
                <a:ln>
                  <a:noFill/>
                </a:ln>
                <a:solidFill>
                  <a:srgbClr val="000000"/>
                </a:solidFill>
                <a:effectLst/>
                <a:uLnTx/>
                <a:uFillTx/>
                <a:latin typeface="Arial"/>
                <a:ea typeface="微软雅黑"/>
                <a:cs typeface="+mn-cs"/>
              </a:endParaRPr>
            </a:p>
          </p:txBody>
        </p:sp>
        <p:sp>
          <p:nvSpPr>
            <p:cNvPr id="17" name="i$líḓe">
              <a:extLst>
                <a:ext uri="{FF2B5EF4-FFF2-40B4-BE49-F238E27FC236}">
                  <a16:creationId xmlns:a16="http://schemas.microsoft.com/office/drawing/2014/main" id="{571CC505-93F1-4795-A35A-543AD15BFDA8}"/>
                </a:ext>
              </a:extLst>
            </p:cNvPr>
            <p:cNvSpPr/>
            <p:nvPr/>
          </p:nvSpPr>
          <p:spPr bwMode="auto">
            <a:xfrm>
              <a:off x="5653534" y="5494684"/>
              <a:ext cx="1034543" cy="703219"/>
            </a:xfrm>
            <a:custGeom>
              <a:avLst/>
              <a:gdLst>
                <a:gd name="T0" fmla="*/ 165 w 183"/>
                <a:gd name="T1" fmla="*/ 62 h 124"/>
                <a:gd name="T2" fmla="*/ 115 w 183"/>
                <a:gd name="T3" fmla="*/ 62 h 124"/>
                <a:gd name="T4" fmla="*/ 170 w 183"/>
                <a:gd name="T5" fmla="*/ 38 h 124"/>
                <a:gd name="T6" fmla="*/ 180 w 183"/>
                <a:gd name="T7" fmla="*/ 14 h 124"/>
                <a:gd name="T8" fmla="*/ 160 w 183"/>
                <a:gd name="T9" fmla="*/ 3 h 124"/>
                <a:gd name="T10" fmla="*/ 12 w 183"/>
                <a:gd name="T11" fmla="*/ 50 h 124"/>
                <a:gd name="T12" fmla="*/ 1 w 183"/>
                <a:gd name="T13" fmla="*/ 70 h 124"/>
                <a:gd name="T14" fmla="*/ 16 w 183"/>
                <a:gd name="T15" fmla="*/ 87 h 124"/>
                <a:gd name="T16" fmla="*/ 30 w 183"/>
                <a:gd name="T17" fmla="*/ 87 h 124"/>
                <a:gd name="T18" fmla="*/ 54 w 183"/>
                <a:gd name="T19" fmla="*/ 124 h 124"/>
                <a:gd name="T20" fmla="*/ 127 w 183"/>
                <a:gd name="T21" fmla="*/ 124 h 124"/>
                <a:gd name="T22" fmla="*/ 151 w 183"/>
                <a:gd name="T23" fmla="*/ 87 h 124"/>
                <a:gd name="T24" fmla="*/ 165 w 183"/>
                <a:gd name="T25" fmla="*/ 87 h 124"/>
                <a:gd name="T26" fmla="*/ 181 w 183"/>
                <a:gd name="T27" fmla="*/ 75 h 124"/>
                <a:gd name="T28" fmla="*/ 165 w 183"/>
                <a:gd name="T29"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124">
                  <a:moveTo>
                    <a:pt x="165" y="62"/>
                  </a:moveTo>
                  <a:cubicBezTo>
                    <a:pt x="115" y="62"/>
                    <a:pt x="115" y="62"/>
                    <a:pt x="115" y="62"/>
                  </a:cubicBezTo>
                  <a:cubicBezTo>
                    <a:pt x="170" y="38"/>
                    <a:pt x="170" y="38"/>
                    <a:pt x="170" y="38"/>
                  </a:cubicBezTo>
                  <a:cubicBezTo>
                    <a:pt x="178" y="35"/>
                    <a:pt x="183" y="23"/>
                    <a:pt x="180" y="14"/>
                  </a:cubicBezTo>
                  <a:cubicBezTo>
                    <a:pt x="177" y="6"/>
                    <a:pt x="169" y="0"/>
                    <a:pt x="160" y="3"/>
                  </a:cubicBezTo>
                  <a:cubicBezTo>
                    <a:pt x="12" y="50"/>
                    <a:pt x="12" y="50"/>
                    <a:pt x="12" y="50"/>
                  </a:cubicBezTo>
                  <a:cubicBezTo>
                    <a:pt x="4" y="52"/>
                    <a:pt x="0" y="63"/>
                    <a:pt x="1" y="70"/>
                  </a:cubicBezTo>
                  <a:cubicBezTo>
                    <a:pt x="2" y="78"/>
                    <a:pt x="9" y="87"/>
                    <a:pt x="16" y="87"/>
                  </a:cubicBezTo>
                  <a:cubicBezTo>
                    <a:pt x="30" y="87"/>
                    <a:pt x="30" y="87"/>
                    <a:pt x="30" y="87"/>
                  </a:cubicBezTo>
                  <a:cubicBezTo>
                    <a:pt x="54" y="124"/>
                    <a:pt x="54" y="124"/>
                    <a:pt x="54" y="124"/>
                  </a:cubicBezTo>
                  <a:cubicBezTo>
                    <a:pt x="127" y="124"/>
                    <a:pt x="127" y="124"/>
                    <a:pt x="127" y="124"/>
                  </a:cubicBezTo>
                  <a:cubicBezTo>
                    <a:pt x="151" y="87"/>
                    <a:pt x="151" y="87"/>
                    <a:pt x="151" y="87"/>
                  </a:cubicBezTo>
                  <a:cubicBezTo>
                    <a:pt x="165" y="87"/>
                    <a:pt x="165" y="87"/>
                    <a:pt x="165" y="87"/>
                  </a:cubicBezTo>
                  <a:cubicBezTo>
                    <a:pt x="174" y="87"/>
                    <a:pt x="181" y="83"/>
                    <a:pt x="181" y="75"/>
                  </a:cubicBezTo>
                  <a:cubicBezTo>
                    <a:pt x="181" y="66"/>
                    <a:pt x="174" y="62"/>
                    <a:pt x="165" y="6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spcBef>
                  <a:spcPts val="0"/>
                </a:spcBef>
                <a:spcAft>
                  <a:spcPts val="0"/>
                </a:spcAft>
                <a:buClrTx/>
                <a:buSzTx/>
                <a:buFontTx/>
                <a:buNone/>
                <a:tabLst/>
                <a:defRPr/>
              </a:pPr>
              <a:endParaRPr kumimoji="0" sz="1300" b="0" i="0" u="none" strike="noStrike" kern="0" cap="none" spc="0" normalizeH="0" baseline="0" noProof="0">
                <a:ln>
                  <a:noFill/>
                </a:ln>
                <a:solidFill>
                  <a:srgbClr val="000000"/>
                </a:solidFill>
                <a:effectLst/>
                <a:uLnTx/>
                <a:uFillTx/>
                <a:latin typeface="Arial"/>
                <a:ea typeface="微软雅黑"/>
                <a:cs typeface="+mn-cs"/>
              </a:endParaRPr>
            </a:p>
          </p:txBody>
        </p:sp>
      </p:grpSp>
      <p:sp>
        <p:nvSpPr>
          <p:cNvPr id="19" name="îšḷîďê">
            <a:extLst>
              <a:ext uri="{FF2B5EF4-FFF2-40B4-BE49-F238E27FC236}">
                <a16:creationId xmlns:a16="http://schemas.microsoft.com/office/drawing/2014/main" id="{362986F0-0085-4032-80CB-34D5F1F17BD7}"/>
              </a:ext>
            </a:extLst>
          </p:cNvPr>
          <p:cNvSpPr/>
          <p:nvPr/>
        </p:nvSpPr>
        <p:spPr bwMode="auto">
          <a:xfrm>
            <a:off x="5635025" y="3133800"/>
            <a:ext cx="941227" cy="1094054"/>
          </a:xfrm>
          <a:custGeom>
            <a:avLst/>
            <a:gdLst>
              <a:gd name="T0" fmla="*/ 13 w 232"/>
              <a:gd name="T1" fmla="*/ 38 h 269"/>
              <a:gd name="T2" fmla="*/ 4 w 232"/>
              <a:gd name="T3" fmla="*/ 37 h 269"/>
              <a:gd name="T4" fmla="*/ 3 w 232"/>
              <a:gd name="T5" fmla="*/ 46 h 269"/>
              <a:gd name="T6" fmla="*/ 6 w 232"/>
              <a:gd name="T7" fmla="*/ 51 h 269"/>
              <a:gd name="T8" fmla="*/ 77 w 232"/>
              <a:gd name="T9" fmla="*/ 265 h 269"/>
              <a:gd name="T10" fmla="*/ 83 w 232"/>
              <a:gd name="T11" fmla="*/ 269 h 269"/>
              <a:gd name="T12" fmla="*/ 85 w 232"/>
              <a:gd name="T13" fmla="*/ 269 h 269"/>
              <a:gd name="T14" fmla="*/ 89 w 232"/>
              <a:gd name="T15" fmla="*/ 260 h 269"/>
              <a:gd name="T16" fmla="*/ 24 w 232"/>
              <a:gd name="T17" fmla="*/ 63 h 269"/>
              <a:gd name="T18" fmla="*/ 76 w 232"/>
              <a:gd name="T19" fmla="*/ 69 h 269"/>
              <a:gd name="T20" fmla="*/ 85 w 232"/>
              <a:gd name="T21" fmla="*/ 64 h 269"/>
              <a:gd name="T22" fmla="*/ 113 w 232"/>
              <a:gd name="T23" fmla="*/ 73 h 269"/>
              <a:gd name="T24" fmla="*/ 145 w 232"/>
              <a:gd name="T25" fmla="*/ 62 h 269"/>
              <a:gd name="T26" fmla="*/ 161 w 232"/>
              <a:gd name="T27" fmla="*/ 68 h 269"/>
              <a:gd name="T28" fmla="*/ 210 w 232"/>
              <a:gd name="T29" fmla="*/ 65 h 269"/>
              <a:gd name="T30" fmla="*/ 146 w 232"/>
              <a:gd name="T31" fmla="*/ 260 h 269"/>
              <a:gd name="T32" fmla="*/ 150 w 232"/>
              <a:gd name="T33" fmla="*/ 269 h 269"/>
              <a:gd name="T34" fmla="*/ 152 w 232"/>
              <a:gd name="T35" fmla="*/ 269 h 269"/>
              <a:gd name="T36" fmla="*/ 158 w 232"/>
              <a:gd name="T37" fmla="*/ 265 h 269"/>
              <a:gd name="T38" fmla="*/ 228 w 232"/>
              <a:gd name="T39" fmla="*/ 50 h 269"/>
              <a:gd name="T40" fmla="*/ 230 w 232"/>
              <a:gd name="T41" fmla="*/ 48 h 269"/>
              <a:gd name="T42" fmla="*/ 229 w 232"/>
              <a:gd name="T43" fmla="*/ 39 h 269"/>
              <a:gd name="T44" fmla="*/ 220 w 232"/>
              <a:gd name="T45" fmla="*/ 40 h 269"/>
              <a:gd name="T46" fmla="*/ 165 w 232"/>
              <a:gd name="T47" fmla="*/ 55 h 269"/>
              <a:gd name="T48" fmla="*/ 154 w 232"/>
              <a:gd name="T49" fmla="*/ 52 h 269"/>
              <a:gd name="T50" fmla="*/ 160 w 232"/>
              <a:gd name="T51" fmla="*/ 31 h 269"/>
              <a:gd name="T52" fmla="*/ 146 w 232"/>
              <a:gd name="T53" fmla="*/ 3 h 269"/>
              <a:gd name="T54" fmla="*/ 132 w 232"/>
              <a:gd name="T55" fmla="*/ 3 h 269"/>
              <a:gd name="T56" fmla="*/ 123 w 232"/>
              <a:gd name="T57" fmla="*/ 32 h 269"/>
              <a:gd name="T58" fmla="*/ 134 w 232"/>
              <a:gd name="T59" fmla="*/ 54 h 269"/>
              <a:gd name="T60" fmla="*/ 95 w 232"/>
              <a:gd name="T61" fmla="*/ 55 h 269"/>
              <a:gd name="T62" fmla="*/ 103 w 232"/>
              <a:gd name="T63" fmla="*/ 32 h 269"/>
              <a:gd name="T64" fmla="*/ 92 w 232"/>
              <a:gd name="T65" fmla="*/ 4 h 269"/>
              <a:gd name="T66" fmla="*/ 77 w 232"/>
              <a:gd name="T67" fmla="*/ 4 h 269"/>
              <a:gd name="T68" fmla="*/ 66 w 232"/>
              <a:gd name="T69" fmla="*/ 32 h 269"/>
              <a:gd name="T70" fmla="*/ 75 w 232"/>
              <a:gd name="T71" fmla="*/ 55 h 269"/>
              <a:gd name="T72" fmla="*/ 72 w 232"/>
              <a:gd name="T73" fmla="*/ 56 h 269"/>
              <a:gd name="T74" fmla="*/ 13 w 232"/>
              <a:gd name="T75" fmla="*/ 38 h 269"/>
              <a:gd name="T76" fmla="*/ 140 w 232"/>
              <a:gd name="T77" fmla="*/ 14 h 269"/>
              <a:gd name="T78" fmla="*/ 140 w 232"/>
              <a:gd name="T79" fmla="*/ 14 h 269"/>
              <a:gd name="T80" fmla="*/ 140 w 232"/>
              <a:gd name="T81" fmla="*/ 14 h 269"/>
              <a:gd name="T82" fmla="*/ 147 w 232"/>
              <a:gd name="T83" fmla="*/ 32 h 269"/>
              <a:gd name="T84" fmla="*/ 143 w 232"/>
              <a:gd name="T85" fmla="*/ 45 h 269"/>
              <a:gd name="T86" fmla="*/ 136 w 232"/>
              <a:gd name="T87" fmla="*/ 31 h 269"/>
              <a:gd name="T88" fmla="*/ 140 w 232"/>
              <a:gd name="T89" fmla="*/ 14 h 269"/>
              <a:gd name="T90" fmla="*/ 84 w 232"/>
              <a:gd name="T91" fmla="*/ 15 h 269"/>
              <a:gd name="T92" fmla="*/ 84 w 232"/>
              <a:gd name="T93" fmla="*/ 15 h 269"/>
              <a:gd name="T94" fmla="*/ 85 w 232"/>
              <a:gd name="T95" fmla="*/ 16 h 269"/>
              <a:gd name="T96" fmla="*/ 89 w 232"/>
              <a:gd name="T97" fmla="*/ 31 h 269"/>
              <a:gd name="T98" fmla="*/ 85 w 232"/>
              <a:gd name="T99" fmla="*/ 47 h 269"/>
              <a:gd name="T100" fmla="*/ 79 w 232"/>
              <a:gd name="T101" fmla="*/ 31 h 269"/>
              <a:gd name="T102" fmla="*/ 84 w 232"/>
              <a:gd name="T103" fmla="*/ 1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9">
                <a:moveTo>
                  <a:pt x="13" y="38"/>
                </a:moveTo>
                <a:cubicBezTo>
                  <a:pt x="11" y="35"/>
                  <a:pt x="6" y="35"/>
                  <a:pt x="4" y="37"/>
                </a:cubicBezTo>
                <a:cubicBezTo>
                  <a:pt x="1" y="39"/>
                  <a:pt x="0" y="44"/>
                  <a:pt x="3" y="46"/>
                </a:cubicBezTo>
                <a:cubicBezTo>
                  <a:pt x="4" y="48"/>
                  <a:pt x="5" y="49"/>
                  <a:pt x="6" y="51"/>
                </a:cubicBezTo>
                <a:cubicBezTo>
                  <a:pt x="77" y="265"/>
                  <a:pt x="77" y="265"/>
                  <a:pt x="77" y="265"/>
                </a:cubicBezTo>
                <a:cubicBezTo>
                  <a:pt x="77" y="267"/>
                  <a:pt x="80" y="269"/>
                  <a:pt x="83" y="269"/>
                </a:cubicBezTo>
                <a:cubicBezTo>
                  <a:pt x="83" y="269"/>
                  <a:pt x="84" y="269"/>
                  <a:pt x="85" y="269"/>
                </a:cubicBezTo>
                <a:cubicBezTo>
                  <a:pt x="88" y="268"/>
                  <a:pt x="90" y="264"/>
                  <a:pt x="89" y="260"/>
                </a:cubicBezTo>
                <a:cubicBezTo>
                  <a:pt x="24" y="63"/>
                  <a:pt x="24" y="63"/>
                  <a:pt x="24" y="63"/>
                </a:cubicBezTo>
                <a:cubicBezTo>
                  <a:pt x="40" y="70"/>
                  <a:pt x="60" y="74"/>
                  <a:pt x="76" y="69"/>
                </a:cubicBezTo>
                <a:cubicBezTo>
                  <a:pt x="79" y="68"/>
                  <a:pt x="82" y="66"/>
                  <a:pt x="85" y="64"/>
                </a:cubicBezTo>
                <a:cubicBezTo>
                  <a:pt x="93" y="70"/>
                  <a:pt x="103" y="73"/>
                  <a:pt x="113" y="73"/>
                </a:cubicBezTo>
                <a:cubicBezTo>
                  <a:pt x="125" y="73"/>
                  <a:pt x="136" y="69"/>
                  <a:pt x="145" y="62"/>
                </a:cubicBezTo>
                <a:cubicBezTo>
                  <a:pt x="150" y="64"/>
                  <a:pt x="155" y="67"/>
                  <a:pt x="161" y="68"/>
                </a:cubicBezTo>
                <a:cubicBezTo>
                  <a:pt x="180" y="73"/>
                  <a:pt x="196" y="72"/>
                  <a:pt x="210" y="65"/>
                </a:cubicBezTo>
                <a:cubicBezTo>
                  <a:pt x="146" y="260"/>
                  <a:pt x="146" y="260"/>
                  <a:pt x="146" y="260"/>
                </a:cubicBezTo>
                <a:cubicBezTo>
                  <a:pt x="144" y="264"/>
                  <a:pt x="146" y="268"/>
                  <a:pt x="150" y="269"/>
                </a:cubicBezTo>
                <a:cubicBezTo>
                  <a:pt x="150" y="269"/>
                  <a:pt x="151" y="269"/>
                  <a:pt x="152" y="269"/>
                </a:cubicBezTo>
                <a:cubicBezTo>
                  <a:pt x="155" y="269"/>
                  <a:pt x="157" y="267"/>
                  <a:pt x="158" y="265"/>
                </a:cubicBezTo>
                <a:cubicBezTo>
                  <a:pt x="228" y="50"/>
                  <a:pt x="228" y="50"/>
                  <a:pt x="228" y="50"/>
                </a:cubicBezTo>
                <a:cubicBezTo>
                  <a:pt x="229" y="50"/>
                  <a:pt x="230" y="49"/>
                  <a:pt x="230" y="48"/>
                </a:cubicBezTo>
                <a:cubicBezTo>
                  <a:pt x="232" y="45"/>
                  <a:pt x="232" y="41"/>
                  <a:pt x="229" y="39"/>
                </a:cubicBezTo>
                <a:cubicBezTo>
                  <a:pt x="226" y="37"/>
                  <a:pt x="222" y="37"/>
                  <a:pt x="220" y="40"/>
                </a:cubicBezTo>
                <a:cubicBezTo>
                  <a:pt x="207" y="56"/>
                  <a:pt x="189" y="62"/>
                  <a:pt x="165" y="55"/>
                </a:cubicBezTo>
                <a:cubicBezTo>
                  <a:pt x="162" y="55"/>
                  <a:pt x="158" y="54"/>
                  <a:pt x="154" y="52"/>
                </a:cubicBezTo>
                <a:cubicBezTo>
                  <a:pt x="158" y="46"/>
                  <a:pt x="160" y="38"/>
                  <a:pt x="160" y="31"/>
                </a:cubicBezTo>
                <a:cubicBezTo>
                  <a:pt x="159" y="17"/>
                  <a:pt x="154" y="7"/>
                  <a:pt x="146" y="3"/>
                </a:cubicBezTo>
                <a:cubicBezTo>
                  <a:pt x="142" y="0"/>
                  <a:pt x="137" y="0"/>
                  <a:pt x="132" y="3"/>
                </a:cubicBezTo>
                <a:cubicBezTo>
                  <a:pt x="125" y="8"/>
                  <a:pt x="122" y="18"/>
                  <a:pt x="123" y="32"/>
                </a:cubicBezTo>
                <a:cubicBezTo>
                  <a:pt x="124" y="40"/>
                  <a:pt x="127" y="48"/>
                  <a:pt x="134" y="54"/>
                </a:cubicBezTo>
                <a:cubicBezTo>
                  <a:pt x="123" y="61"/>
                  <a:pt x="107" y="61"/>
                  <a:pt x="95" y="55"/>
                </a:cubicBezTo>
                <a:cubicBezTo>
                  <a:pt x="99" y="49"/>
                  <a:pt x="102" y="41"/>
                  <a:pt x="103" y="32"/>
                </a:cubicBezTo>
                <a:cubicBezTo>
                  <a:pt x="103" y="19"/>
                  <a:pt x="99" y="9"/>
                  <a:pt x="92" y="4"/>
                </a:cubicBezTo>
                <a:cubicBezTo>
                  <a:pt x="87" y="1"/>
                  <a:pt x="82" y="1"/>
                  <a:pt x="77" y="4"/>
                </a:cubicBezTo>
                <a:cubicBezTo>
                  <a:pt x="70" y="8"/>
                  <a:pt x="65" y="18"/>
                  <a:pt x="66" y="32"/>
                </a:cubicBezTo>
                <a:cubicBezTo>
                  <a:pt x="66" y="40"/>
                  <a:pt x="69" y="48"/>
                  <a:pt x="75" y="55"/>
                </a:cubicBezTo>
                <a:cubicBezTo>
                  <a:pt x="74" y="56"/>
                  <a:pt x="73" y="56"/>
                  <a:pt x="72" y="56"/>
                </a:cubicBezTo>
                <a:cubicBezTo>
                  <a:pt x="52" y="63"/>
                  <a:pt x="23" y="52"/>
                  <a:pt x="13" y="38"/>
                </a:cubicBezTo>
                <a:close/>
                <a:moveTo>
                  <a:pt x="140" y="14"/>
                </a:moveTo>
                <a:cubicBezTo>
                  <a:pt x="140" y="14"/>
                  <a:pt x="140" y="14"/>
                  <a:pt x="140" y="14"/>
                </a:cubicBezTo>
                <a:cubicBezTo>
                  <a:pt x="140" y="14"/>
                  <a:pt x="140" y="14"/>
                  <a:pt x="140" y="14"/>
                </a:cubicBezTo>
                <a:cubicBezTo>
                  <a:pt x="142" y="15"/>
                  <a:pt x="146" y="20"/>
                  <a:pt x="147" y="32"/>
                </a:cubicBezTo>
                <a:cubicBezTo>
                  <a:pt x="147" y="36"/>
                  <a:pt x="145" y="41"/>
                  <a:pt x="143" y="45"/>
                </a:cubicBezTo>
                <a:cubicBezTo>
                  <a:pt x="139" y="41"/>
                  <a:pt x="137" y="37"/>
                  <a:pt x="136" y="31"/>
                </a:cubicBezTo>
                <a:cubicBezTo>
                  <a:pt x="135" y="21"/>
                  <a:pt x="138" y="15"/>
                  <a:pt x="140" y="14"/>
                </a:cubicBezTo>
                <a:close/>
                <a:moveTo>
                  <a:pt x="84" y="15"/>
                </a:moveTo>
                <a:cubicBezTo>
                  <a:pt x="84" y="15"/>
                  <a:pt x="84" y="15"/>
                  <a:pt x="84" y="15"/>
                </a:cubicBezTo>
                <a:cubicBezTo>
                  <a:pt x="84" y="15"/>
                  <a:pt x="85" y="15"/>
                  <a:pt x="85" y="16"/>
                </a:cubicBezTo>
                <a:cubicBezTo>
                  <a:pt x="87" y="17"/>
                  <a:pt x="90" y="21"/>
                  <a:pt x="89" y="31"/>
                </a:cubicBezTo>
                <a:cubicBezTo>
                  <a:pt x="89" y="37"/>
                  <a:pt x="88" y="43"/>
                  <a:pt x="85" y="47"/>
                </a:cubicBezTo>
                <a:cubicBezTo>
                  <a:pt x="81" y="42"/>
                  <a:pt x="79" y="37"/>
                  <a:pt x="79" y="31"/>
                </a:cubicBezTo>
                <a:cubicBezTo>
                  <a:pt x="79" y="21"/>
                  <a:pt x="82" y="16"/>
                  <a:pt x="84" y="15"/>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spcBef>
                <a:spcPts val="0"/>
              </a:spcBef>
              <a:spcAft>
                <a:spcPts val="0"/>
              </a:spcAft>
              <a:buClrTx/>
              <a:buSzTx/>
              <a:buFontTx/>
              <a:buNone/>
              <a:tabLst/>
              <a:defRPr/>
            </a:pPr>
            <a:endParaRPr kumimoji="0" sz="1300" b="0" i="0" u="none" strike="noStrike" kern="0" cap="none" spc="0" normalizeH="0" baseline="0" noProof="0">
              <a:ln>
                <a:noFill/>
              </a:ln>
              <a:solidFill>
                <a:srgbClr val="000000"/>
              </a:solidFill>
              <a:effectLst/>
              <a:uLnTx/>
              <a:uFillTx/>
              <a:latin typeface="Arial"/>
              <a:ea typeface="微软雅黑"/>
              <a:cs typeface="+mn-cs"/>
            </a:endParaRPr>
          </a:p>
        </p:txBody>
      </p:sp>
      <p:sp>
        <p:nvSpPr>
          <p:cNvPr id="23" name="矩形 22"/>
          <p:cNvSpPr/>
          <p:nvPr/>
        </p:nvSpPr>
        <p:spPr>
          <a:xfrm>
            <a:off x="5562863" y="2510141"/>
            <a:ext cx="1085554" cy="292388"/>
          </a:xfrm>
          <a:prstGeom prst="rect">
            <a:avLst/>
          </a:prstGeom>
        </p:spPr>
        <p:txBody>
          <a:bodyPr wrap="none">
            <a:spAutoFit/>
          </a:bodyPr>
          <a:lstStyle/>
          <a:p>
            <a:pPr lvl="0" algn="ctr">
              <a:defRPr/>
            </a:pPr>
            <a:r>
              <a:rPr lang="da-DK" altLang="zh-CN" sz="1300" b="1" kern="0" dirty="0">
                <a:solidFill>
                  <a:srgbClr val="86BC25"/>
                </a:solidFill>
                <a:ea typeface="Verdana" panose="020B0604030504040204" pitchFamily="34" charset="0"/>
                <a:cs typeface="Verdana" panose="020B0604030504040204" pitchFamily="34" charset="0"/>
              </a:rPr>
              <a:t>Lorem ipsum</a:t>
            </a:r>
            <a:endParaRPr lang="zh-CN" altLang="en-US" sz="1300" b="1" kern="0" dirty="0">
              <a:solidFill>
                <a:srgbClr val="86BC25"/>
              </a:solidFill>
              <a:ea typeface="微软雅黑"/>
              <a:cs typeface="Verdana" panose="020B0604030504040204" pitchFamily="34" charset="0"/>
            </a:endParaRPr>
          </a:p>
        </p:txBody>
      </p:sp>
      <p:grpSp>
        <p:nvGrpSpPr>
          <p:cNvPr id="128" name="组合 127"/>
          <p:cNvGrpSpPr/>
          <p:nvPr/>
        </p:nvGrpSpPr>
        <p:grpSpPr>
          <a:xfrm rot="1004401">
            <a:off x="4962289" y="2069742"/>
            <a:ext cx="175832" cy="153406"/>
            <a:chOff x="4659459" y="2145375"/>
            <a:chExt cx="222916" cy="194484"/>
          </a:xfrm>
          <a:solidFill>
            <a:srgbClr val="53565A"/>
          </a:solidFill>
        </p:grpSpPr>
        <p:sp>
          <p:nvSpPr>
            <p:cNvPr id="125" name="燕尾形 124"/>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27" name="燕尾形 126"/>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grpSp>
        <p:nvGrpSpPr>
          <p:cNvPr id="129" name="组合 128"/>
          <p:cNvGrpSpPr/>
          <p:nvPr/>
        </p:nvGrpSpPr>
        <p:grpSpPr>
          <a:xfrm rot="20806050">
            <a:off x="5082599" y="3896328"/>
            <a:ext cx="175832" cy="153406"/>
            <a:chOff x="4659459" y="2145375"/>
            <a:chExt cx="222916" cy="194484"/>
          </a:xfrm>
          <a:solidFill>
            <a:srgbClr val="53565A"/>
          </a:solidFill>
        </p:grpSpPr>
        <p:sp>
          <p:nvSpPr>
            <p:cNvPr id="130" name="燕尾形 129"/>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31" name="燕尾形 130"/>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grpSp>
        <p:nvGrpSpPr>
          <p:cNvPr id="132" name="组合 131"/>
          <p:cNvGrpSpPr/>
          <p:nvPr/>
        </p:nvGrpSpPr>
        <p:grpSpPr>
          <a:xfrm rot="20140079" flipH="1">
            <a:off x="7051861" y="2076150"/>
            <a:ext cx="176056" cy="125027"/>
            <a:chOff x="4659459" y="2145375"/>
            <a:chExt cx="222916" cy="194484"/>
          </a:xfrm>
          <a:solidFill>
            <a:srgbClr val="53565A"/>
          </a:solidFill>
        </p:grpSpPr>
        <p:sp>
          <p:nvSpPr>
            <p:cNvPr id="133" name="燕尾形 132"/>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34" name="燕尾形 133"/>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grpSp>
        <p:nvGrpSpPr>
          <p:cNvPr id="135" name="组合 134"/>
          <p:cNvGrpSpPr/>
          <p:nvPr/>
        </p:nvGrpSpPr>
        <p:grpSpPr>
          <a:xfrm rot="1242914" flipH="1">
            <a:off x="6967431" y="3924707"/>
            <a:ext cx="176056" cy="125027"/>
            <a:chOff x="4659459" y="2145375"/>
            <a:chExt cx="222916" cy="194484"/>
          </a:xfrm>
          <a:solidFill>
            <a:srgbClr val="53565A"/>
          </a:solidFill>
        </p:grpSpPr>
        <p:sp>
          <p:nvSpPr>
            <p:cNvPr id="136" name="燕尾形 135"/>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37" name="燕尾形 136"/>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grpSp>
        <p:nvGrpSpPr>
          <p:cNvPr id="70" name="Group 459"/>
          <p:cNvGrpSpPr>
            <a:grpSpLocks noChangeAspect="1"/>
          </p:cNvGrpSpPr>
          <p:nvPr/>
        </p:nvGrpSpPr>
        <p:grpSpPr bwMode="auto">
          <a:xfrm>
            <a:off x="4210382" y="3703785"/>
            <a:ext cx="653113" cy="653113"/>
            <a:chOff x="1918" y="1565"/>
            <a:chExt cx="340" cy="340"/>
          </a:xfrm>
          <a:solidFill>
            <a:schemeClr val="accent3"/>
          </a:solidFill>
        </p:grpSpPr>
        <p:sp>
          <p:nvSpPr>
            <p:cNvPr id="71" name="Freeform 460"/>
            <p:cNvSpPr>
              <a:spLocks noEditPoints="1"/>
            </p:cNvSpPr>
            <p:nvPr/>
          </p:nvSpPr>
          <p:spPr bwMode="auto">
            <a:xfrm>
              <a:off x="2010" y="1636"/>
              <a:ext cx="156" cy="199"/>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sp>
          <p:nvSpPr>
            <p:cNvPr id="72" name="Freeform 461"/>
            <p:cNvSpPr>
              <a:spLocks noEditPoints="1"/>
            </p:cNvSpPr>
            <p:nvPr/>
          </p:nvSpPr>
          <p:spPr bwMode="auto">
            <a:xfrm>
              <a:off x="1918" y="156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grpSp>
      <p:grpSp>
        <p:nvGrpSpPr>
          <p:cNvPr id="93" name="Group 669"/>
          <p:cNvGrpSpPr>
            <a:grpSpLocks noChangeAspect="1"/>
          </p:cNvGrpSpPr>
          <p:nvPr/>
        </p:nvGrpSpPr>
        <p:grpSpPr bwMode="auto">
          <a:xfrm>
            <a:off x="7317998" y="3703785"/>
            <a:ext cx="653113" cy="653113"/>
            <a:chOff x="1910" y="2326"/>
            <a:chExt cx="340" cy="340"/>
          </a:xfrm>
          <a:solidFill>
            <a:srgbClr val="000000"/>
          </a:solidFill>
        </p:grpSpPr>
        <p:sp>
          <p:nvSpPr>
            <p:cNvPr id="94"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7" name="Group 112"/>
          <p:cNvGrpSpPr>
            <a:grpSpLocks noChangeAspect="1"/>
          </p:cNvGrpSpPr>
          <p:nvPr/>
        </p:nvGrpSpPr>
        <p:grpSpPr bwMode="auto">
          <a:xfrm>
            <a:off x="7317998" y="1678738"/>
            <a:ext cx="653113" cy="653113"/>
            <a:chOff x="1157" y="393"/>
            <a:chExt cx="340" cy="340"/>
          </a:xfrm>
          <a:solidFill>
            <a:srgbClr val="43B02A"/>
          </a:solidFill>
        </p:grpSpPr>
        <p:sp>
          <p:nvSpPr>
            <p:cNvPr id="38"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sp>
          <p:nvSpPr>
            <p:cNvPr id="39"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grpSp>
      <p:grpSp>
        <p:nvGrpSpPr>
          <p:cNvPr id="48" name="Group 526"/>
          <p:cNvGrpSpPr>
            <a:grpSpLocks noChangeAspect="1"/>
          </p:cNvGrpSpPr>
          <p:nvPr/>
        </p:nvGrpSpPr>
        <p:grpSpPr bwMode="auto">
          <a:xfrm>
            <a:off x="4210382" y="1678738"/>
            <a:ext cx="653113" cy="653113"/>
            <a:chOff x="3464" y="1974"/>
            <a:chExt cx="340" cy="340"/>
          </a:xfrm>
          <a:solidFill>
            <a:srgbClr val="000000"/>
          </a:solidFill>
        </p:grpSpPr>
        <p:sp>
          <p:nvSpPr>
            <p:cNvPr id="49"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sp>
          <p:nvSpPr>
            <p:cNvPr id="50"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grpSp>
    </p:spTree>
    <p:custDataLst>
      <p:tags r:id="rId1"/>
    </p:custDataLst>
    <p:extLst>
      <p:ext uri="{BB962C8B-B14F-4D97-AF65-F5344CB8AC3E}">
        <p14:creationId xmlns:p14="http://schemas.microsoft.com/office/powerpoint/2010/main" val="4038735821"/>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任意多边形 9"/>
          <p:cNvSpPr>
            <a:spLocks/>
          </p:cNvSpPr>
          <p:nvPr/>
        </p:nvSpPr>
        <p:spPr bwMode="auto">
          <a:xfrm>
            <a:off x="4070350" y="1998662"/>
            <a:ext cx="2032000" cy="2032000"/>
          </a:xfrm>
          <a:custGeom>
            <a:avLst/>
            <a:gdLst>
              <a:gd name="T0" fmla="*/ 0 w 1367938"/>
              <a:gd name="T1" fmla="*/ 0 h 1367940"/>
              <a:gd name="T2" fmla="*/ 1647136 w 1367938"/>
              <a:gd name="T3" fmla="*/ 823233 h 1367940"/>
              <a:gd name="T4" fmla="*/ 2470704 w 1367938"/>
              <a:gd name="T5" fmla="*/ 1646464 h 1367940"/>
              <a:gd name="T6" fmla="*/ 1647136 w 1367938"/>
              <a:gd name="T7" fmla="*/ 2469695 h 1367940"/>
              <a:gd name="T8" fmla="*/ 1647136 w 1367938"/>
              <a:gd name="T9" fmla="*/ 2469694 h 1367940"/>
              <a:gd name="T10" fmla="*/ 823568 w 1367938"/>
              <a:gd name="T11" fmla="*/ 1646462 h 1367940"/>
              <a:gd name="T12" fmla="*/ 0 w 1367938"/>
              <a:gd name="T13" fmla="*/ 0 h 13679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7938" h="1367940">
                <a:moveTo>
                  <a:pt x="0" y="0"/>
                </a:moveTo>
                <a:cubicBezTo>
                  <a:pt x="303986" y="303987"/>
                  <a:pt x="607973" y="455980"/>
                  <a:pt x="911959" y="455980"/>
                </a:cubicBezTo>
                <a:cubicBezTo>
                  <a:pt x="1163789" y="455980"/>
                  <a:pt x="1367938" y="660129"/>
                  <a:pt x="1367938" y="911960"/>
                </a:cubicBezTo>
                <a:cubicBezTo>
                  <a:pt x="1367938" y="1163791"/>
                  <a:pt x="1163789" y="1367940"/>
                  <a:pt x="911959" y="1367940"/>
                </a:cubicBezTo>
                <a:lnTo>
                  <a:pt x="911959" y="1367939"/>
                </a:lnTo>
                <a:cubicBezTo>
                  <a:pt x="660129" y="1367939"/>
                  <a:pt x="455979" y="1163790"/>
                  <a:pt x="455979" y="911959"/>
                </a:cubicBezTo>
                <a:cubicBezTo>
                  <a:pt x="455979" y="607973"/>
                  <a:pt x="303986" y="303987"/>
                  <a:pt x="0" y="0"/>
                </a:cubicBezTo>
                <a:close/>
              </a:path>
            </a:pathLst>
          </a:custGeom>
          <a:solidFill>
            <a:srgbClr val="009A44">
              <a:alpha val="98038"/>
            </a:srgbClr>
          </a:solidFill>
          <a:ln>
            <a:noFill/>
          </a:ln>
          <a:effectLst>
            <a:outerShdw dist="38100" dir="2700000" algn="ctr" rotWithShape="0">
              <a:srgbClr val="000000">
                <a:alpha val="37999"/>
              </a:srgbClr>
            </a:outerShdw>
          </a:effectLst>
        </p:spPr>
        <p:txBody>
          <a:bodyPr anchor="ctr"/>
          <a:lstStyle/>
          <a:p>
            <a:endParaRPr lang="en-US"/>
          </a:p>
        </p:txBody>
      </p:sp>
      <p:sp>
        <p:nvSpPr>
          <p:cNvPr id="29" name="任意多边形 10"/>
          <p:cNvSpPr>
            <a:spLocks/>
          </p:cNvSpPr>
          <p:nvPr/>
        </p:nvSpPr>
        <p:spPr bwMode="auto">
          <a:xfrm>
            <a:off x="6130925" y="4030663"/>
            <a:ext cx="2032000" cy="2033587"/>
          </a:xfrm>
          <a:custGeom>
            <a:avLst/>
            <a:gdLst>
              <a:gd name="T0" fmla="*/ 823568 w 1367938"/>
              <a:gd name="T1" fmla="*/ 0 h 1367940"/>
              <a:gd name="T2" fmla="*/ 823568 w 1367938"/>
              <a:gd name="T3" fmla="*/ 1 h 1367940"/>
              <a:gd name="T4" fmla="*/ 1647136 w 1367938"/>
              <a:gd name="T5" fmla="*/ 825810 h 1367940"/>
              <a:gd name="T6" fmla="*/ 2470704 w 1367938"/>
              <a:gd name="T7" fmla="*/ 2477424 h 1367940"/>
              <a:gd name="T8" fmla="*/ 823568 w 1367938"/>
              <a:gd name="T9" fmla="*/ 1651615 h 1367940"/>
              <a:gd name="T10" fmla="*/ 0 w 1367938"/>
              <a:gd name="T11" fmla="*/ 825809 h 1367940"/>
              <a:gd name="T12" fmla="*/ 823568 w 1367938"/>
              <a:gd name="T13" fmla="*/ 0 h 13679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7938" h="1367940">
                <a:moveTo>
                  <a:pt x="455979" y="0"/>
                </a:moveTo>
                <a:lnTo>
                  <a:pt x="455979" y="1"/>
                </a:lnTo>
                <a:cubicBezTo>
                  <a:pt x="707810" y="1"/>
                  <a:pt x="911959" y="204150"/>
                  <a:pt x="911959" y="455981"/>
                </a:cubicBezTo>
                <a:cubicBezTo>
                  <a:pt x="911959" y="759967"/>
                  <a:pt x="1063952" y="1063953"/>
                  <a:pt x="1367938" y="1367940"/>
                </a:cubicBezTo>
                <a:cubicBezTo>
                  <a:pt x="1063952" y="1063953"/>
                  <a:pt x="759966" y="911960"/>
                  <a:pt x="455979" y="911960"/>
                </a:cubicBezTo>
                <a:cubicBezTo>
                  <a:pt x="204149" y="911960"/>
                  <a:pt x="0" y="707811"/>
                  <a:pt x="0" y="455980"/>
                </a:cubicBezTo>
                <a:cubicBezTo>
                  <a:pt x="0" y="204149"/>
                  <a:pt x="204149" y="0"/>
                  <a:pt x="455979" y="0"/>
                </a:cubicBezTo>
                <a:close/>
              </a:path>
            </a:pathLst>
          </a:custGeom>
          <a:solidFill>
            <a:srgbClr val="86BC25">
              <a:alpha val="98038"/>
            </a:srgbClr>
          </a:solidFill>
          <a:ln>
            <a:noFill/>
          </a:ln>
          <a:effectLst>
            <a:outerShdw dist="38100" dir="2700000" algn="ctr" rotWithShape="0">
              <a:srgbClr val="000000">
                <a:alpha val="37999"/>
              </a:srgbClr>
            </a:outerShdw>
          </a:effectLst>
        </p:spPr>
        <p:txBody>
          <a:bodyPr anchor="ctr"/>
          <a:lstStyle/>
          <a:p>
            <a:endParaRPr lang="en-US"/>
          </a:p>
        </p:txBody>
      </p:sp>
      <p:sp>
        <p:nvSpPr>
          <p:cNvPr id="30" name="任意多边形 11"/>
          <p:cNvSpPr>
            <a:spLocks/>
          </p:cNvSpPr>
          <p:nvPr/>
        </p:nvSpPr>
        <p:spPr bwMode="auto">
          <a:xfrm>
            <a:off x="4070350" y="4030663"/>
            <a:ext cx="2032000" cy="2033587"/>
          </a:xfrm>
          <a:custGeom>
            <a:avLst/>
            <a:gdLst>
              <a:gd name="T0" fmla="*/ 1647140 w 1367937"/>
              <a:gd name="T1" fmla="*/ 0 h 1367940"/>
              <a:gd name="T2" fmla="*/ 2470709 w 1367937"/>
              <a:gd name="T3" fmla="*/ 825809 h 1367940"/>
              <a:gd name="T4" fmla="*/ 1647140 w 1367937"/>
              <a:gd name="T5" fmla="*/ 1651615 h 1367940"/>
              <a:gd name="T6" fmla="*/ 0 w 1367937"/>
              <a:gd name="T7" fmla="*/ 2477424 h 1367940"/>
              <a:gd name="T8" fmla="*/ 823569 w 1367937"/>
              <a:gd name="T9" fmla="*/ 825809 h 1367940"/>
              <a:gd name="T10" fmla="*/ 1647140 w 1367937"/>
              <a:gd name="T11" fmla="*/ 0 h 136794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67937" h="1367940">
                <a:moveTo>
                  <a:pt x="911958" y="0"/>
                </a:moveTo>
                <a:cubicBezTo>
                  <a:pt x="1163788" y="0"/>
                  <a:pt x="1367937" y="204149"/>
                  <a:pt x="1367937" y="455980"/>
                </a:cubicBezTo>
                <a:cubicBezTo>
                  <a:pt x="1367937" y="707811"/>
                  <a:pt x="1163788" y="911960"/>
                  <a:pt x="911958" y="911960"/>
                </a:cubicBezTo>
                <a:cubicBezTo>
                  <a:pt x="607972" y="911960"/>
                  <a:pt x="303986" y="1063953"/>
                  <a:pt x="0" y="1367940"/>
                </a:cubicBezTo>
                <a:cubicBezTo>
                  <a:pt x="303986" y="1063953"/>
                  <a:pt x="455979" y="759967"/>
                  <a:pt x="455979" y="455980"/>
                </a:cubicBezTo>
                <a:cubicBezTo>
                  <a:pt x="455979" y="204149"/>
                  <a:pt x="660128" y="0"/>
                  <a:pt x="911958" y="0"/>
                </a:cubicBezTo>
                <a:close/>
              </a:path>
            </a:pathLst>
          </a:custGeom>
          <a:solidFill>
            <a:srgbClr val="C4D600"/>
          </a:solidFill>
          <a:ln>
            <a:noFill/>
          </a:ln>
          <a:effectLst>
            <a:outerShdw dist="38100" dir="2700000" algn="ctr" rotWithShape="0">
              <a:srgbClr val="000000">
                <a:alpha val="37999"/>
              </a:srgbClr>
            </a:outerShdw>
          </a:effectLst>
        </p:spPr>
        <p:txBody>
          <a:bodyPr anchor="ctr"/>
          <a:lstStyle/>
          <a:p>
            <a:endParaRPr lang="en-US"/>
          </a:p>
        </p:txBody>
      </p:sp>
      <p:sp>
        <p:nvSpPr>
          <p:cNvPr id="31" name="任意多边形 12"/>
          <p:cNvSpPr>
            <a:spLocks/>
          </p:cNvSpPr>
          <p:nvPr/>
        </p:nvSpPr>
        <p:spPr bwMode="auto">
          <a:xfrm>
            <a:off x="6130925" y="1998662"/>
            <a:ext cx="2032000" cy="2032000"/>
          </a:xfrm>
          <a:custGeom>
            <a:avLst/>
            <a:gdLst>
              <a:gd name="T0" fmla="*/ 2155836 w 1367937"/>
              <a:gd name="T1" fmla="*/ 100222 h 1367940"/>
              <a:gd name="T2" fmla="*/ 2155836 w 1367937"/>
              <a:gd name="T3" fmla="*/ 115338 h 1367940"/>
              <a:gd name="T4" fmla="*/ 2108634 w 1367937"/>
              <a:gd name="T5" fmla="*/ 115338 h 1367940"/>
              <a:gd name="T6" fmla="*/ 2155836 w 1367937"/>
              <a:gd name="T7" fmla="*/ 100222 h 1367940"/>
              <a:gd name="T8" fmla="*/ 2470709 w 1367937"/>
              <a:gd name="T9" fmla="*/ 0 h 1367940"/>
              <a:gd name="T10" fmla="*/ 1647140 w 1367937"/>
              <a:gd name="T11" fmla="*/ 1646464 h 1367940"/>
              <a:gd name="T12" fmla="*/ 823569 w 1367937"/>
              <a:gd name="T13" fmla="*/ 2469695 h 1367940"/>
              <a:gd name="T14" fmla="*/ 0 w 1367937"/>
              <a:gd name="T15" fmla="*/ 1646464 h 1367940"/>
              <a:gd name="T16" fmla="*/ 823569 w 1367937"/>
              <a:gd name="T17" fmla="*/ 823233 h 1367940"/>
              <a:gd name="T18" fmla="*/ 2470709 w 1367937"/>
              <a:gd name="T19" fmla="*/ 0 h 13679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67937" h="1367940">
                <a:moveTo>
                  <a:pt x="1193604" y="55512"/>
                </a:moveTo>
                <a:lnTo>
                  <a:pt x="1193604" y="63885"/>
                </a:lnTo>
                <a:lnTo>
                  <a:pt x="1167470" y="63885"/>
                </a:lnTo>
                <a:lnTo>
                  <a:pt x="1193604" y="55512"/>
                </a:lnTo>
                <a:close/>
                <a:moveTo>
                  <a:pt x="1367937" y="0"/>
                </a:moveTo>
                <a:cubicBezTo>
                  <a:pt x="1063951" y="303987"/>
                  <a:pt x="911958" y="607973"/>
                  <a:pt x="911958" y="911960"/>
                </a:cubicBezTo>
                <a:cubicBezTo>
                  <a:pt x="911958" y="1163791"/>
                  <a:pt x="707809" y="1367940"/>
                  <a:pt x="455979" y="1367940"/>
                </a:cubicBezTo>
                <a:cubicBezTo>
                  <a:pt x="204149" y="1367940"/>
                  <a:pt x="0" y="1163791"/>
                  <a:pt x="0" y="911960"/>
                </a:cubicBezTo>
                <a:cubicBezTo>
                  <a:pt x="0" y="660129"/>
                  <a:pt x="204149" y="455980"/>
                  <a:pt x="455979" y="455980"/>
                </a:cubicBezTo>
                <a:cubicBezTo>
                  <a:pt x="759965" y="455980"/>
                  <a:pt x="1063951" y="303987"/>
                  <a:pt x="1367937" y="0"/>
                </a:cubicBezTo>
                <a:close/>
              </a:path>
            </a:pathLst>
          </a:custGeom>
          <a:solidFill>
            <a:srgbClr val="43B02A"/>
          </a:solidFill>
          <a:ln>
            <a:noFill/>
          </a:ln>
          <a:effectLst>
            <a:outerShdw dist="38100" dir="2700000" algn="ctr" rotWithShape="0">
              <a:srgbClr val="000000">
                <a:alpha val="37999"/>
              </a:srgbClr>
            </a:outerShdw>
          </a:effectLst>
        </p:spPr>
        <p:txBody>
          <a:bodyPr anchor="ctr"/>
          <a:lstStyle/>
          <a:p>
            <a:endParaRPr lang="en-US"/>
          </a:p>
        </p:txBody>
      </p:sp>
      <p:cxnSp>
        <p:nvCxnSpPr>
          <p:cNvPr id="32" name="直接连接符 13"/>
          <p:cNvCxnSpPr>
            <a:cxnSpLocks noChangeShapeType="1"/>
          </p:cNvCxnSpPr>
          <p:nvPr/>
        </p:nvCxnSpPr>
        <p:spPr bwMode="auto">
          <a:xfrm>
            <a:off x="3930650" y="1704975"/>
            <a:ext cx="0" cy="1465263"/>
          </a:xfrm>
          <a:prstGeom prst="line">
            <a:avLst/>
          </a:prstGeom>
          <a:noFill/>
          <a:ln w="6350">
            <a:solidFill>
              <a:schemeClr val="bg1"/>
            </a:solidFill>
            <a:prstDash val="sysDash"/>
            <a:round/>
            <a:headEnd/>
            <a:tailEnd/>
          </a:ln>
          <a:extLst>
            <a:ext uri="{909E8E84-426E-40DD-AFC4-6F175D3DCCD1}">
              <a14:hiddenFill xmlns:a14="http://schemas.microsoft.com/office/drawing/2010/main">
                <a:noFill/>
              </a14:hiddenFill>
            </a:ext>
          </a:extLst>
        </p:spPr>
      </p:cxnSp>
      <p:cxnSp>
        <p:nvCxnSpPr>
          <p:cNvPr id="33" name="直接连接符 15"/>
          <p:cNvCxnSpPr>
            <a:cxnSpLocks noChangeShapeType="1"/>
          </p:cNvCxnSpPr>
          <p:nvPr/>
        </p:nvCxnSpPr>
        <p:spPr bwMode="auto">
          <a:xfrm>
            <a:off x="3930650" y="4908550"/>
            <a:ext cx="0" cy="1465263"/>
          </a:xfrm>
          <a:prstGeom prst="line">
            <a:avLst/>
          </a:prstGeom>
          <a:noFill/>
          <a:ln w="6350">
            <a:solidFill>
              <a:schemeClr val="bg1"/>
            </a:solidFill>
            <a:prstDash val="sysDash"/>
            <a:round/>
            <a:headEnd/>
            <a:tailEnd/>
          </a:ln>
          <a:extLst>
            <a:ext uri="{909E8E84-426E-40DD-AFC4-6F175D3DCCD1}">
              <a14:hiddenFill xmlns:a14="http://schemas.microsoft.com/office/drawing/2010/main">
                <a:noFill/>
              </a14:hiddenFill>
            </a:ext>
          </a:extLst>
        </p:spPr>
      </p:cxnSp>
      <p:cxnSp>
        <p:nvCxnSpPr>
          <p:cNvPr id="34" name="直接连接符 16"/>
          <p:cNvCxnSpPr>
            <a:cxnSpLocks noChangeShapeType="1"/>
          </p:cNvCxnSpPr>
          <p:nvPr/>
        </p:nvCxnSpPr>
        <p:spPr bwMode="auto">
          <a:xfrm>
            <a:off x="8261350" y="1704975"/>
            <a:ext cx="0" cy="1465263"/>
          </a:xfrm>
          <a:prstGeom prst="line">
            <a:avLst/>
          </a:prstGeom>
          <a:noFill/>
          <a:ln w="6350">
            <a:solidFill>
              <a:schemeClr val="bg1"/>
            </a:solidFill>
            <a:prstDash val="sysDash"/>
            <a:round/>
            <a:headEnd/>
            <a:tailEnd/>
          </a:ln>
          <a:extLst>
            <a:ext uri="{909E8E84-426E-40DD-AFC4-6F175D3DCCD1}">
              <a14:hiddenFill xmlns:a14="http://schemas.microsoft.com/office/drawing/2010/main">
                <a:noFill/>
              </a14:hiddenFill>
            </a:ext>
          </a:extLst>
        </p:spPr>
      </p:cxnSp>
      <p:cxnSp>
        <p:nvCxnSpPr>
          <p:cNvPr id="35" name="直接连接符 17"/>
          <p:cNvCxnSpPr>
            <a:cxnSpLocks noChangeShapeType="1"/>
          </p:cNvCxnSpPr>
          <p:nvPr/>
        </p:nvCxnSpPr>
        <p:spPr bwMode="auto">
          <a:xfrm>
            <a:off x="8261350" y="4908550"/>
            <a:ext cx="0" cy="1465263"/>
          </a:xfrm>
          <a:prstGeom prst="line">
            <a:avLst/>
          </a:prstGeom>
          <a:noFill/>
          <a:ln w="6350">
            <a:solidFill>
              <a:schemeClr val="bg1"/>
            </a:solidFill>
            <a:prstDash val="sysDash"/>
            <a:round/>
            <a:headEnd/>
            <a:tailEnd/>
          </a:ln>
          <a:extLst>
            <a:ext uri="{909E8E84-426E-40DD-AFC4-6F175D3DCCD1}">
              <a14:hiddenFill xmlns:a14="http://schemas.microsoft.com/office/drawing/2010/main">
                <a:noFill/>
              </a14:hiddenFill>
            </a:ext>
          </a:extLst>
        </p:spPr>
      </p:cxnSp>
      <p:sp>
        <p:nvSpPr>
          <p:cNvPr id="36" name="椭圆 21"/>
          <p:cNvSpPr>
            <a:spLocks noChangeArrowheads="1"/>
          </p:cNvSpPr>
          <p:nvPr/>
        </p:nvSpPr>
        <p:spPr bwMode="auto">
          <a:xfrm>
            <a:off x="5291138" y="3198812"/>
            <a:ext cx="1654175" cy="1655762"/>
          </a:xfrm>
          <a:prstGeom prst="ellipse">
            <a:avLst/>
          </a:prstGeom>
          <a:solidFill>
            <a:schemeClr val="bg1">
              <a:alpha val="47842"/>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300">
              <a:solidFill>
                <a:schemeClr val="bg1"/>
              </a:solidFill>
              <a:latin typeface="微软雅黑" panose="020B0503020204020204" pitchFamily="34" charset="-122"/>
              <a:ea typeface="微软雅黑" panose="020B0503020204020204" pitchFamily="34" charset="-122"/>
              <a:sym typeface="+mn-lt"/>
            </a:endParaRPr>
          </a:p>
        </p:txBody>
      </p:sp>
      <p:sp>
        <p:nvSpPr>
          <p:cNvPr id="37" name="椭圆 22"/>
          <p:cNvSpPr>
            <a:spLocks noChangeArrowheads="1"/>
          </p:cNvSpPr>
          <p:nvPr/>
        </p:nvSpPr>
        <p:spPr bwMode="auto">
          <a:xfrm>
            <a:off x="5508625" y="3417888"/>
            <a:ext cx="1217613" cy="1216025"/>
          </a:xfrm>
          <a:prstGeom prst="ellipse">
            <a:avLst/>
          </a:prstGeom>
          <a:solidFill>
            <a:schemeClr val="bg1"/>
          </a:solidFill>
          <a:ln>
            <a:noFill/>
          </a:ln>
        </p:spPr>
        <p:txBody>
          <a:bodyPr lIns="0" tIns="0" rIns="0" bIns="0"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b="1" dirty="0">
                <a:latin typeface="+mn-lt"/>
                <a:ea typeface="微软雅黑" panose="020B0503020204020204" pitchFamily="34" charset="-122"/>
                <a:sym typeface="+mn-lt"/>
              </a:rPr>
              <a:t>Text</a:t>
            </a:r>
          </a:p>
        </p:txBody>
      </p:sp>
      <p:grpSp>
        <p:nvGrpSpPr>
          <p:cNvPr id="38" name="Group 19"/>
          <p:cNvGrpSpPr>
            <a:grpSpLocks/>
          </p:cNvGrpSpPr>
          <p:nvPr/>
        </p:nvGrpSpPr>
        <p:grpSpPr bwMode="auto">
          <a:xfrm>
            <a:off x="863600" y="4908550"/>
            <a:ext cx="3067050" cy="1339340"/>
            <a:chOff x="0" y="0"/>
            <a:chExt cx="3066579" cy="1338543"/>
          </a:xfrm>
        </p:grpSpPr>
        <p:sp>
          <p:nvSpPr>
            <p:cNvPr id="39" name="矩形 24"/>
            <p:cNvSpPr>
              <a:spLocks noChangeArrowheads="1"/>
            </p:cNvSpPr>
            <p:nvPr/>
          </p:nvSpPr>
          <p:spPr bwMode="auto">
            <a:xfrm>
              <a:off x="15723" y="0"/>
              <a:ext cx="1005378" cy="292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chemeClr val="bg1"/>
                  </a:solidFill>
                  <a:latin typeface="+mn-lt"/>
                  <a:ea typeface="微软雅黑" panose="020B0503020204020204" pitchFamily="34" charset="-122"/>
                  <a:sym typeface="+mn-lt"/>
                </a:rPr>
                <a:t>Sample text</a:t>
              </a:r>
              <a:endParaRPr lang="zh-CN" altLang="en-US" sz="1300" b="1" dirty="0">
                <a:solidFill>
                  <a:schemeClr val="bg1"/>
                </a:solidFill>
                <a:latin typeface="+mn-lt"/>
                <a:ea typeface="微软雅黑" panose="020B0503020204020204" pitchFamily="34" charset="-122"/>
                <a:sym typeface="+mn-lt"/>
              </a:endParaRPr>
            </a:p>
          </p:txBody>
        </p:sp>
        <p:sp>
          <p:nvSpPr>
            <p:cNvPr id="40" name="矩形 25"/>
            <p:cNvSpPr>
              <a:spLocks noChangeArrowheads="1"/>
            </p:cNvSpPr>
            <p:nvPr/>
          </p:nvSpPr>
          <p:spPr bwMode="auto">
            <a:xfrm>
              <a:off x="0" y="246586"/>
              <a:ext cx="3066579" cy="1091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300" dirty="0">
                  <a:solidFill>
                    <a:schemeClr val="bg1"/>
                  </a:solidFill>
                  <a:latin typeface="+mn-lt"/>
                  <a:ea typeface="微软雅黑" panose="020B0503020204020204" pitchFamily="34" charset="-122"/>
                  <a:sym typeface="+mn-lt"/>
                </a:rPr>
                <a:t>This is dummy text it is not here to be read. The is just text to show where you could insert text. The is just text to show where you could insert text. Please replace with your text content here.</a:t>
              </a:r>
              <a:endParaRPr lang="zh-CN" altLang="en-US" sz="1300" dirty="0">
                <a:solidFill>
                  <a:schemeClr val="bg1"/>
                </a:solidFill>
                <a:latin typeface="+mn-lt"/>
                <a:ea typeface="微软雅黑" panose="020B0503020204020204" pitchFamily="34" charset="-122"/>
                <a:sym typeface="+mn-lt"/>
              </a:endParaRPr>
            </a:p>
          </p:txBody>
        </p:sp>
      </p:grpSp>
      <p:grpSp>
        <p:nvGrpSpPr>
          <p:cNvPr id="41" name="Group 22"/>
          <p:cNvGrpSpPr>
            <a:grpSpLocks/>
          </p:cNvGrpSpPr>
          <p:nvPr/>
        </p:nvGrpSpPr>
        <p:grpSpPr bwMode="auto">
          <a:xfrm>
            <a:off x="863601" y="1776455"/>
            <a:ext cx="3067050" cy="1339340"/>
            <a:chOff x="1" y="0"/>
            <a:chExt cx="3066186" cy="1338540"/>
          </a:xfrm>
        </p:grpSpPr>
        <p:sp>
          <p:nvSpPr>
            <p:cNvPr id="42" name="矩形 27"/>
            <p:cNvSpPr>
              <a:spLocks noChangeArrowheads="1"/>
            </p:cNvSpPr>
            <p:nvPr/>
          </p:nvSpPr>
          <p:spPr bwMode="auto">
            <a:xfrm>
              <a:off x="15723" y="0"/>
              <a:ext cx="1005249" cy="292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chemeClr val="bg1"/>
                  </a:solidFill>
                  <a:latin typeface="+mn-lt"/>
                  <a:ea typeface="微软雅黑" panose="020B0503020204020204" pitchFamily="34" charset="-122"/>
                  <a:sym typeface="+mn-lt"/>
                </a:rPr>
                <a:t>Sample text</a:t>
              </a:r>
              <a:endParaRPr lang="zh-CN" altLang="en-US" sz="1300" b="1" dirty="0">
                <a:solidFill>
                  <a:schemeClr val="bg1"/>
                </a:solidFill>
                <a:latin typeface="+mn-lt"/>
                <a:ea typeface="微软雅黑" panose="020B0503020204020204" pitchFamily="34" charset="-122"/>
                <a:sym typeface="+mn-lt"/>
              </a:endParaRPr>
            </a:p>
          </p:txBody>
        </p:sp>
        <p:sp>
          <p:nvSpPr>
            <p:cNvPr id="43" name="矩形 28"/>
            <p:cNvSpPr>
              <a:spLocks noChangeArrowheads="1"/>
            </p:cNvSpPr>
            <p:nvPr/>
          </p:nvSpPr>
          <p:spPr bwMode="auto">
            <a:xfrm>
              <a:off x="1" y="246586"/>
              <a:ext cx="3066186" cy="1091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300" dirty="0">
                  <a:solidFill>
                    <a:schemeClr val="bg1"/>
                  </a:solidFill>
                  <a:latin typeface="+mn-lt"/>
                  <a:ea typeface="微软雅黑" panose="020B0503020204020204" pitchFamily="34" charset="-122"/>
                  <a:sym typeface="+mn-lt"/>
                </a:rPr>
                <a:t>This is dummy text it is not here to be read. The is just text to show where you could insert text. The is just text to show where you could insert text. Please replace with your text content here.</a:t>
              </a:r>
              <a:endParaRPr lang="zh-CN" altLang="en-US" sz="1300" dirty="0">
                <a:solidFill>
                  <a:schemeClr val="bg1"/>
                </a:solidFill>
                <a:latin typeface="+mn-lt"/>
                <a:ea typeface="微软雅黑" panose="020B0503020204020204" pitchFamily="34" charset="-122"/>
                <a:sym typeface="+mn-lt"/>
              </a:endParaRPr>
            </a:p>
          </p:txBody>
        </p:sp>
      </p:grpSp>
      <p:grpSp>
        <p:nvGrpSpPr>
          <p:cNvPr id="44" name="Group 25"/>
          <p:cNvGrpSpPr>
            <a:grpSpLocks/>
          </p:cNvGrpSpPr>
          <p:nvPr/>
        </p:nvGrpSpPr>
        <p:grpSpPr bwMode="auto">
          <a:xfrm>
            <a:off x="8393113" y="4908550"/>
            <a:ext cx="3260822" cy="1339340"/>
            <a:chOff x="0" y="0"/>
            <a:chExt cx="3261848" cy="1338543"/>
          </a:xfrm>
        </p:grpSpPr>
        <p:sp>
          <p:nvSpPr>
            <p:cNvPr id="45" name="矩形 36"/>
            <p:cNvSpPr>
              <a:spLocks noChangeArrowheads="1"/>
            </p:cNvSpPr>
            <p:nvPr/>
          </p:nvSpPr>
          <p:spPr bwMode="auto">
            <a:xfrm>
              <a:off x="15723" y="0"/>
              <a:ext cx="1005848" cy="292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chemeClr val="bg1"/>
                  </a:solidFill>
                  <a:latin typeface="+mn-lt"/>
                  <a:ea typeface="微软雅黑" panose="020B0503020204020204" pitchFamily="34" charset="-122"/>
                  <a:sym typeface="+mn-lt"/>
                </a:rPr>
                <a:t>Sample text</a:t>
              </a:r>
              <a:endParaRPr lang="zh-CN" altLang="en-US" sz="1300" b="1" dirty="0">
                <a:solidFill>
                  <a:schemeClr val="bg1"/>
                </a:solidFill>
                <a:latin typeface="+mn-lt"/>
                <a:ea typeface="微软雅黑" panose="020B0503020204020204" pitchFamily="34" charset="-122"/>
                <a:sym typeface="+mn-lt"/>
              </a:endParaRPr>
            </a:p>
          </p:txBody>
        </p:sp>
        <p:sp>
          <p:nvSpPr>
            <p:cNvPr id="46" name="矩形 37"/>
            <p:cNvSpPr>
              <a:spLocks noChangeArrowheads="1"/>
            </p:cNvSpPr>
            <p:nvPr/>
          </p:nvSpPr>
          <p:spPr bwMode="auto">
            <a:xfrm>
              <a:off x="0" y="246586"/>
              <a:ext cx="3261848" cy="1091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300" dirty="0">
                  <a:solidFill>
                    <a:schemeClr val="bg1"/>
                  </a:solidFill>
                  <a:latin typeface="+mn-lt"/>
                  <a:ea typeface="微软雅黑" panose="020B0503020204020204" pitchFamily="34" charset="-122"/>
                  <a:sym typeface="+mn-lt"/>
                </a:rPr>
                <a:t>This is dummy text it is not here to be read. The is just text to show where you could insert text. The is just text to show where you could insert text. Please replace with your text content here.</a:t>
              </a:r>
              <a:endParaRPr lang="zh-CN" altLang="en-US" sz="1300" dirty="0">
                <a:solidFill>
                  <a:schemeClr val="bg1"/>
                </a:solidFill>
                <a:latin typeface="+mn-lt"/>
                <a:ea typeface="微软雅黑" panose="020B0503020204020204" pitchFamily="34" charset="-122"/>
                <a:sym typeface="+mn-lt"/>
              </a:endParaRPr>
            </a:p>
          </p:txBody>
        </p:sp>
      </p:grpSp>
      <p:grpSp>
        <p:nvGrpSpPr>
          <p:cNvPr id="47" name="Group 28"/>
          <p:cNvGrpSpPr>
            <a:grpSpLocks/>
          </p:cNvGrpSpPr>
          <p:nvPr/>
        </p:nvGrpSpPr>
        <p:grpSpPr bwMode="auto">
          <a:xfrm>
            <a:off x="8393113" y="1776455"/>
            <a:ext cx="3260822" cy="1339340"/>
            <a:chOff x="0" y="0"/>
            <a:chExt cx="3261536" cy="1338540"/>
          </a:xfrm>
        </p:grpSpPr>
        <p:sp>
          <p:nvSpPr>
            <p:cNvPr id="48" name="矩形 39"/>
            <p:cNvSpPr>
              <a:spLocks noChangeArrowheads="1"/>
            </p:cNvSpPr>
            <p:nvPr/>
          </p:nvSpPr>
          <p:spPr bwMode="auto">
            <a:xfrm>
              <a:off x="15723" y="0"/>
              <a:ext cx="3245813" cy="292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chemeClr val="bg1"/>
                  </a:solidFill>
                  <a:latin typeface="+mn-lt"/>
                  <a:ea typeface="微软雅黑" panose="020B0503020204020204" pitchFamily="34" charset="-122"/>
                  <a:sym typeface="+mn-lt"/>
                </a:rPr>
                <a:t>Sample text</a:t>
              </a:r>
              <a:endParaRPr lang="zh-CN" altLang="en-US" sz="1300" b="1" dirty="0">
                <a:solidFill>
                  <a:schemeClr val="bg1"/>
                </a:solidFill>
                <a:latin typeface="+mn-lt"/>
                <a:ea typeface="微软雅黑" panose="020B0503020204020204" pitchFamily="34" charset="-122"/>
                <a:sym typeface="+mn-lt"/>
              </a:endParaRPr>
            </a:p>
          </p:txBody>
        </p:sp>
        <p:sp>
          <p:nvSpPr>
            <p:cNvPr id="49" name="矩形 40"/>
            <p:cNvSpPr>
              <a:spLocks noChangeArrowheads="1"/>
            </p:cNvSpPr>
            <p:nvPr/>
          </p:nvSpPr>
          <p:spPr bwMode="auto">
            <a:xfrm>
              <a:off x="0" y="246586"/>
              <a:ext cx="3261536" cy="1091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300" dirty="0">
                  <a:solidFill>
                    <a:schemeClr val="bg1"/>
                  </a:solidFill>
                  <a:latin typeface="+mn-lt"/>
                  <a:ea typeface="微软雅黑" panose="020B0503020204020204" pitchFamily="34" charset="-122"/>
                  <a:sym typeface="+mn-lt"/>
                </a:rPr>
                <a:t>This is dummy text it is not here to be read. The is just text to show where you could insert text. The is just text to show where you could insert text. Please replace with your text content here.</a:t>
              </a:r>
              <a:endParaRPr lang="zh-CN" altLang="en-US" sz="1300" dirty="0">
                <a:solidFill>
                  <a:schemeClr val="bg1"/>
                </a:solidFill>
                <a:latin typeface="+mn-lt"/>
                <a:ea typeface="微软雅黑" panose="020B0503020204020204" pitchFamily="34" charset="-122"/>
                <a:sym typeface="+mn-lt"/>
              </a:endParaRPr>
            </a:p>
          </p:txBody>
        </p:sp>
      </p:grpSp>
    </p:spTree>
    <p:custDataLst>
      <p:tags r:id="rId1"/>
    </p:custDataLst>
    <p:extLst>
      <p:ext uri="{BB962C8B-B14F-4D97-AF65-F5344CB8AC3E}">
        <p14:creationId xmlns:p14="http://schemas.microsoft.com/office/powerpoint/2010/main" val="114030129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8"/>
          <p:cNvGrpSpPr>
            <a:grpSpLocks/>
          </p:cNvGrpSpPr>
          <p:nvPr/>
        </p:nvGrpSpPr>
        <p:grpSpPr bwMode="auto">
          <a:xfrm>
            <a:off x="4764088" y="1714500"/>
            <a:ext cx="2667000" cy="4070350"/>
            <a:chOff x="0" y="0"/>
            <a:chExt cx="3019425" cy="4606802"/>
          </a:xfrm>
        </p:grpSpPr>
        <p:sp>
          <p:nvSpPr>
            <p:cNvPr id="5" name="Freeform 5"/>
            <p:cNvSpPr>
              <a:spLocks/>
            </p:cNvSpPr>
            <p:nvPr/>
          </p:nvSpPr>
          <p:spPr bwMode="auto">
            <a:xfrm>
              <a:off x="972326" y="2008738"/>
              <a:ext cx="1737967" cy="1094206"/>
            </a:xfrm>
            <a:custGeom>
              <a:avLst/>
              <a:gdLst>
                <a:gd name="T0" fmla="*/ 2147483647 w 2687"/>
                <a:gd name="T1" fmla="*/ 0 h 1694"/>
                <a:gd name="T2" fmla="*/ 2147483647 w 2687"/>
                <a:gd name="T3" fmla="*/ 2147483647 h 1694"/>
                <a:gd name="T4" fmla="*/ 2147483647 w 2687"/>
                <a:gd name="T5" fmla="*/ 2147483647 h 1694"/>
                <a:gd name="T6" fmla="*/ 2147483647 w 2687"/>
                <a:gd name="T7" fmla="*/ 2147483647 h 1694"/>
                <a:gd name="T8" fmla="*/ 2147483647 w 2687"/>
                <a:gd name="T9" fmla="*/ 2147483647 h 1694"/>
                <a:gd name="T10" fmla="*/ 2147483647 w 2687"/>
                <a:gd name="T11" fmla="*/ 0 h 1694"/>
                <a:gd name="T12" fmla="*/ 2147483647 w 2687"/>
                <a:gd name="T13" fmla="*/ 0 h 16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87" h="1694">
                  <a:moveTo>
                    <a:pt x="588" y="0"/>
                  </a:moveTo>
                  <a:cubicBezTo>
                    <a:pt x="293" y="436"/>
                    <a:pt x="0" y="741"/>
                    <a:pt x="4" y="1380"/>
                  </a:cubicBezTo>
                  <a:cubicBezTo>
                    <a:pt x="5" y="1455"/>
                    <a:pt x="6" y="1685"/>
                    <a:pt x="7" y="1694"/>
                  </a:cubicBezTo>
                  <a:cubicBezTo>
                    <a:pt x="1352" y="1694"/>
                    <a:pt x="1352" y="1694"/>
                    <a:pt x="1352" y="1694"/>
                  </a:cubicBezTo>
                  <a:cubicBezTo>
                    <a:pt x="1354" y="1687"/>
                    <a:pt x="1340" y="1535"/>
                    <a:pt x="1370" y="1386"/>
                  </a:cubicBezTo>
                  <a:cubicBezTo>
                    <a:pt x="1475" y="854"/>
                    <a:pt x="2200" y="559"/>
                    <a:pt x="2687" y="0"/>
                  </a:cubicBezTo>
                  <a:lnTo>
                    <a:pt x="58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6" name="Freeform 6"/>
            <p:cNvSpPr>
              <a:spLocks/>
            </p:cNvSpPr>
            <p:nvPr/>
          </p:nvSpPr>
          <p:spPr bwMode="auto">
            <a:xfrm>
              <a:off x="1353349" y="731267"/>
              <a:ext cx="1666076" cy="1688921"/>
            </a:xfrm>
            <a:custGeom>
              <a:avLst/>
              <a:gdLst>
                <a:gd name="T0" fmla="*/ 2147483647 w 2577"/>
                <a:gd name="T1" fmla="*/ 2147483647 h 2611"/>
                <a:gd name="T2" fmla="*/ 2147483647 w 2577"/>
                <a:gd name="T3" fmla="*/ 0 h 2611"/>
                <a:gd name="T4" fmla="*/ 2147483647 w 2577"/>
                <a:gd name="T5" fmla="*/ 2147483647 h 2611"/>
                <a:gd name="T6" fmla="*/ 2147483647 w 2577"/>
                <a:gd name="T7" fmla="*/ 2147483647 h 2611"/>
                <a:gd name="T8" fmla="*/ 0 w 2577"/>
                <a:gd name="T9" fmla="*/ 2147483647 h 2611"/>
                <a:gd name="T10" fmla="*/ 2147483647 w 2577"/>
                <a:gd name="T11" fmla="*/ 2147483647 h 2611"/>
                <a:gd name="T12" fmla="*/ 2147483647 w 2577"/>
                <a:gd name="T13" fmla="*/ 2147483647 h 2611"/>
                <a:gd name="T14" fmla="*/ 2147483647 w 2577"/>
                <a:gd name="T15" fmla="*/ 2147483647 h 2611"/>
                <a:gd name="T16" fmla="*/ 2147483647 w 2577"/>
                <a:gd name="T17" fmla="*/ 2147483647 h 2611"/>
                <a:gd name="T18" fmla="*/ 2147483647 w 2577"/>
                <a:gd name="T19" fmla="*/ 2147483647 h 2611"/>
                <a:gd name="T20" fmla="*/ 2147483647 w 2577"/>
                <a:gd name="T21" fmla="*/ 2147483647 h 2611"/>
                <a:gd name="T22" fmla="*/ 2147483647 w 2577"/>
                <a:gd name="T23" fmla="*/ 2147483647 h 2611"/>
                <a:gd name="T24" fmla="*/ 2147483647 w 2577"/>
                <a:gd name="T25" fmla="*/ 2147483647 h 2611"/>
                <a:gd name="T26" fmla="*/ 2147483647 w 2577"/>
                <a:gd name="T27" fmla="*/ 2147483647 h 2611"/>
                <a:gd name="T28" fmla="*/ 2147483647 w 2577"/>
                <a:gd name="T29" fmla="*/ 2147483647 h 26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577" h="2611">
                  <a:moveTo>
                    <a:pt x="2577" y="820"/>
                  </a:moveTo>
                  <a:cubicBezTo>
                    <a:pt x="2577" y="511"/>
                    <a:pt x="2519" y="238"/>
                    <a:pt x="2410" y="0"/>
                  </a:cubicBezTo>
                  <a:cubicBezTo>
                    <a:pt x="381" y="810"/>
                    <a:pt x="381" y="810"/>
                    <a:pt x="381" y="810"/>
                  </a:cubicBezTo>
                  <a:cubicBezTo>
                    <a:pt x="391" y="853"/>
                    <a:pt x="396" y="898"/>
                    <a:pt x="396" y="947"/>
                  </a:cubicBezTo>
                  <a:cubicBezTo>
                    <a:pt x="396" y="1339"/>
                    <a:pt x="210" y="1663"/>
                    <a:pt x="0" y="1974"/>
                  </a:cubicBezTo>
                  <a:cubicBezTo>
                    <a:pt x="433" y="1975"/>
                    <a:pt x="433" y="1975"/>
                    <a:pt x="433" y="1975"/>
                  </a:cubicBezTo>
                  <a:cubicBezTo>
                    <a:pt x="736" y="1975"/>
                    <a:pt x="687" y="2193"/>
                    <a:pt x="626" y="2254"/>
                  </a:cubicBezTo>
                  <a:cubicBezTo>
                    <a:pt x="626" y="2254"/>
                    <a:pt x="626" y="2254"/>
                    <a:pt x="626" y="2254"/>
                  </a:cubicBezTo>
                  <a:cubicBezTo>
                    <a:pt x="587" y="2294"/>
                    <a:pt x="563" y="2345"/>
                    <a:pt x="565" y="2401"/>
                  </a:cubicBezTo>
                  <a:cubicBezTo>
                    <a:pt x="568" y="2519"/>
                    <a:pt x="681" y="2611"/>
                    <a:pt x="817" y="2607"/>
                  </a:cubicBezTo>
                  <a:cubicBezTo>
                    <a:pt x="952" y="2603"/>
                    <a:pt x="1059" y="2504"/>
                    <a:pt x="1056" y="2386"/>
                  </a:cubicBezTo>
                  <a:cubicBezTo>
                    <a:pt x="1054" y="2329"/>
                    <a:pt x="1026" y="2278"/>
                    <a:pt x="983" y="2241"/>
                  </a:cubicBezTo>
                  <a:cubicBezTo>
                    <a:pt x="931" y="2176"/>
                    <a:pt x="890" y="2007"/>
                    <a:pt x="1118" y="1977"/>
                  </a:cubicBezTo>
                  <a:cubicBezTo>
                    <a:pt x="2099" y="1974"/>
                    <a:pt x="2099" y="1974"/>
                    <a:pt x="2099" y="1974"/>
                  </a:cubicBezTo>
                  <a:cubicBezTo>
                    <a:pt x="2372" y="1662"/>
                    <a:pt x="2577" y="1293"/>
                    <a:pt x="2577" y="820"/>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7" name="Freeform 7"/>
            <p:cNvSpPr>
              <a:spLocks/>
            </p:cNvSpPr>
            <p:nvPr/>
          </p:nvSpPr>
          <p:spPr bwMode="auto">
            <a:xfrm>
              <a:off x="1310214" y="0"/>
              <a:ext cx="1601374" cy="1390665"/>
            </a:xfrm>
            <a:custGeom>
              <a:avLst/>
              <a:gdLst>
                <a:gd name="T0" fmla="*/ 2147483647 w 2475"/>
                <a:gd name="T1" fmla="*/ 2147483647 h 2152"/>
                <a:gd name="T2" fmla="*/ 2147483647 w 2475"/>
                <a:gd name="T3" fmla="*/ 2147483647 h 2152"/>
                <a:gd name="T4" fmla="*/ 2147483647 w 2475"/>
                <a:gd name="T5" fmla="*/ 2147483647 h 2152"/>
                <a:gd name="T6" fmla="*/ 2147483647 w 2475"/>
                <a:gd name="T7" fmla="*/ 0 h 2152"/>
                <a:gd name="T8" fmla="*/ 0 w 2475"/>
                <a:gd name="T9" fmla="*/ 0 h 2152"/>
                <a:gd name="T10" fmla="*/ 2147483647 w 2475"/>
                <a:gd name="T11" fmla="*/ 2147483647 h 2152"/>
                <a:gd name="T12" fmla="*/ 2147483647 w 2475"/>
                <a:gd name="T13" fmla="*/ 2147483647 h 2152"/>
                <a:gd name="T14" fmla="*/ 2147483647 w 2475"/>
                <a:gd name="T15" fmla="*/ 2147483647 h 2152"/>
                <a:gd name="T16" fmla="*/ 2147483647 w 2475"/>
                <a:gd name="T17" fmla="*/ 2147483647 h 2152"/>
                <a:gd name="T18" fmla="*/ 2147483647 w 2475"/>
                <a:gd name="T19" fmla="*/ 2147483647 h 2152"/>
                <a:gd name="T20" fmla="*/ 2147483647 w 2475"/>
                <a:gd name="T21" fmla="*/ 2147483647 h 2152"/>
                <a:gd name="T22" fmla="*/ 2147483647 w 2475"/>
                <a:gd name="T23" fmla="*/ 2147483647 h 2152"/>
                <a:gd name="T24" fmla="*/ 2147483647 w 2475"/>
                <a:gd name="T25" fmla="*/ 2147483647 h 2152"/>
                <a:gd name="T26" fmla="*/ 2147483647 w 2475"/>
                <a:gd name="T27" fmla="*/ 2147483647 h 21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475" h="2152">
                  <a:moveTo>
                    <a:pt x="1772" y="1697"/>
                  </a:moveTo>
                  <a:cubicBezTo>
                    <a:pt x="1700" y="1657"/>
                    <a:pt x="1604" y="1517"/>
                    <a:pt x="1793" y="1406"/>
                  </a:cubicBezTo>
                  <a:cubicBezTo>
                    <a:pt x="2475" y="1134"/>
                    <a:pt x="2475" y="1134"/>
                    <a:pt x="2475" y="1134"/>
                  </a:cubicBezTo>
                  <a:cubicBezTo>
                    <a:pt x="2129" y="386"/>
                    <a:pt x="1261" y="0"/>
                    <a:pt x="18" y="0"/>
                  </a:cubicBezTo>
                  <a:cubicBezTo>
                    <a:pt x="12" y="0"/>
                    <a:pt x="6" y="0"/>
                    <a:pt x="0" y="0"/>
                  </a:cubicBezTo>
                  <a:cubicBezTo>
                    <a:pt x="5" y="1547"/>
                    <a:pt x="5" y="1547"/>
                    <a:pt x="5" y="1547"/>
                  </a:cubicBezTo>
                  <a:cubicBezTo>
                    <a:pt x="241" y="1610"/>
                    <a:pt x="398" y="1742"/>
                    <a:pt x="446" y="1944"/>
                  </a:cubicBezTo>
                  <a:cubicBezTo>
                    <a:pt x="1229" y="1632"/>
                    <a:pt x="1229" y="1632"/>
                    <a:pt x="1229" y="1632"/>
                  </a:cubicBezTo>
                  <a:cubicBezTo>
                    <a:pt x="1461" y="1568"/>
                    <a:pt x="1477" y="1766"/>
                    <a:pt x="1444" y="1840"/>
                  </a:cubicBezTo>
                  <a:cubicBezTo>
                    <a:pt x="1444" y="1839"/>
                    <a:pt x="1444" y="1839"/>
                    <a:pt x="1444" y="1839"/>
                  </a:cubicBezTo>
                  <a:cubicBezTo>
                    <a:pt x="1422" y="1890"/>
                    <a:pt x="1419" y="1947"/>
                    <a:pt x="1441" y="1998"/>
                  </a:cubicBezTo>
                  <a:cubicBezTo>
                    <a:pt x="1487" y="2107"/>
                    <a:pt x="1625" y="2152"/>
                    <a:pt x="1750" y="2098"/>
                  </a:cubicBezTo>
                  <a:cubicBezTo>
                    <a:pt x="1875" y="2045"/>
                    <a:pt x="1939" y="1914"/>
                    <a:pt x="1893" y="1806"/>
                  </a:cubicBezTo>
                  <a:cubicBezTo>
                    <a:pt x="1870" y="1753"/>
                    <a:pt x="1826" y="1715"/>
                    <a:pt x="1772" y="169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 name="Freeform 8"/>
            <p:cNvSpPr>
              <a:spLocks/>
            </p:cNvSpPr>
            <p:nvPr/>
          </p:nvSpPr>
          <p:spPr bwMode="auto">
            <a:xfrm>
              <a:off x="0" y="0"/>
              <a:ext cx="1721791" cy="1255911"/>
            </a:xfrm>
            <a:custGeom>
              <a:avLst/>
              <a:gdLst>
                <a:gd name="T0" fmla="*/ 2147483647 w 2665"/>
                <a:gd name="T1" fmla="*/ 2147483647 h 1945"/>
                <a:gd name="T2" fmla="*/ 2147483647 w 2665"/>
                <a:gd name="T3" fmla="*/ 2147483647 h 1945"/>
                <a:gd name="T4" fmla="*/ 2147483647 w 2665"/>
                <a:gd name="T5" fmla="*/ 2147483647 h 1945"/>
                <a:gd name="T6" fmla="*/ 2147483647 w 2665"/>
                <a:gd name="T7" fmla="*/ 0 h 1945"/>
                <a:gd name="T8" fmla="*/ 0 w 2665"/>
                <a:gd name="T9" fmla="*/ 2147483647 h 1945"/>
                <a:gd name="T10" fmla="*/ 2147483647 w 2665"/>
                <a:gd name="T11" fmla="*/ 2147483647 h 1945"/>
                <a:gd name="T12" fmla="*/ 2147483647 w 2665"/>
                <a:gd name="T13" fmla="*/ 2147483647 h 1945"/>
                <a:gd name="T14" fmla="*/ 2147483647 w 2665"/>
                <a:gd name="T15" fmla="*/ 2147483647 h 1945"/>
                <a:gd name="T16" fmla="*/ 2147483647 w 2665"/>
                <a:gd name="T17" fmla="*/ 2147483647 h 1945"/>
                <a:gd name="T18" fmla="*/ 2147483647 w 2665"/>
                <a:gd name="T19" fmla="*/ 2147483647 h 1945"/>
                <a:gd name="T20" fmla="*/ 2147483647 w 2665"/>
                <a:gd name="T21" fmla="*/ 2147483647 h 1945"/>
                <a:gd name="T22" fmla="*/ 2147483647 w 2665"/>
                <a:gd name="T23" fmla="*/ 2147483647 h 1945"/>
                <a:gd name="T24" fmla="*/ 2147483647 w 2665"/>
                <a:gd name="T25" fmla="*/ 2147483647 h 1945"/>
                <a:gd name="T26" fmla="*/ 2147483647 w 2665"/>
                <a:gd name="T27" fmla="*/ 2147483647 h 1945"/>
                <a:gd name="T28" fmla="*/ 2147483647 w 2665"/>
                <a:gd name="T29" fmla="*/ 2147483647 h 19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65" h="1945">
                  <a:moveTo>
                    <a:pt x="2438" y="501"/>
                  </a:moveTo>
                  <a:cubicBezTo>
                    <a:pt x="2381" y="503"/>
                    <a:pt x="2329" y="531"/>
                    <a:pt x="2293" y="575"/>
                  </a:cubicBezTo>
                  <a:cubicBezTo>
                    <a:pt x="2229" y="627"/>
                    <a:pt x="2062" y="668"/>
                    <a:pt x="2028" y="444"/>
                  </a:cubicBezTo>
                  <a:cubicBezTo>
                    <a:pt x="2027" y="0"/>
                    <a:pt x="2027" y="0"/>
                    <a:pt x="2027" y="0"/>
                  </a:cubicBezTo>
                  <a:cubicBezTo>
                    <a:pt x="833" y="6"/>
                    <a:pt x="0" y="552"/>
                    <a:pt x="0" y="552"/>
                  </a:cubicBezTo>
                  <a:cubicBezTo>
                    <a:pt x="435" y="1945"/>
                    <a:pt x="435" y="1945"/>
                    <a:pt x="435" y="1945"/>
                  </a:cubicBezTo>
                  <a:cubicBezTo>
                    <a:pt x="435" y="1945"/>
                    <a:pt x="1004" y="1502"/>
                    <a:pt x="1656" y="1502"/>
                  </a:cubicBezTo>
                  <a:cubicBezTo>
                    <a:pt x="1796" y="1502"/>
                    <a:pt x="1922" y="1517"/>
                    <a:pt x="2032" y="1547"/>
                  </a:cubicBezTo>
                  <a:cubicBezTo>
                    <a:pt x="2031" y="1360"/>
                    <a:pt x="2031" y="1360"/>
                    <a:pt x="2031" y="1360"/>
                  </a:cubicBezTo>
                  <a:cubicBezTo>
                    <a:pt x="2035" y="1114"/>
                    <a:pt x="2035" y="1114"/>
                    <a:pt x="2035" y="1114"/>
                  </a:cubicBezTo>
                  <a:cubicBezTo>
                    <a:pt x="2033" y="810"/>
                    <a:pt x="2247" y="871"/>
                    <a:pt x="2309" y="932"/>
                  </a:cubicBezTo>
                  <a:cubicBezTo>
                    <a:pt x="2309" y="931"/>
                    <a:pt x="2309" y="931"/>
                    <a:pt x="2309" y="931"/>
                  </a:cubicBezTo>
                  <a:cubicBezTo>
                    <a:pt x="2348" y="970"/>
                    <a:pt x="2400" y="993"/>
                    <a:pt x="2456" y="991"/>
                  </a:cubicBezTo>
                  <a:cubicBezTo>
                    <a:pt x="2573" y="987"/>
                    <a:pt x="2665" y="874"/>
                    <a:pt x="2660" y="738"/>
                  </a:cubicBezTo>
                  <a:cubicBezTo>
                    <a:pt x="2655" y="603"/>
                    <a:pt x="2556" y="496"/>
                    <a:pt x="2438" y="501"/>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9" name="任意多边形 14"/>
            <p:cNvSpPr>
              <a:spLocks/>
            </p:cNvSpPr>
            <p:nvPr/>
          </p:nvSpPr>
          <p:spPr bwMode="auto">
            <a:xfrm>
              <a:off x="765640" y="3318551"/>
              <a:ext cx="1290445" cy="1288251"/>
            </a:xfrm>
            <a:custGeom>
              <a:avLst/>
              <a:gdLst>
                <a:gd name="T0" fmla="*/ 694643 w 1289896"/>
                <a:gd name="T1" fmla="*/ 1865 h 1288803"/>
                <a:gd name="T2" fmla="*/ 1258403 w 1289896"/>
                <a:gd name="T3" fmla="*/ 438760 h 1288803"/>
                <a:gd name="T4" fmla="*/ 851546 w 1289896"/>
                <a:gd name="T5" fmla="*/ 1253043 h 1288803"/>
                <a:gd name="T6" fmla="*/ 33944 w 1289896"/>
                <a:gd name="T7" fmla="*/ 847837 h 1288803"/>
                <a:gd name="T8" fmla="*/ 440154 w 1289896"/>
                <a:gd name="T9" fmla="*/ 33555 h 1288803"/>
                <a:gd name="T10" fmla="*/ 694643 w 1289896"/>
                <a:gd name="T11" fmla="*/ 1865 h 1288803"/>
                <a:gd name="T12" fmla="*/ 646969 w 1289896"/>
                <a:gd name="T13" fmla="*/ 193219 h 1288803"/>
                <a:gd name="T14" fmla="*/ 503236 w 1289896"/>
                <a:gd name="T15" fmla="*/ 217078 h 1288803"/>
                <a:gd name="T16" fmla="*/ 218360 w 1289896"/>
                <a:gd name="T17" fmla="*/ 786447 h 1288803"/>
                <a:gd name="T18" fmla="*/ 646323 w 1289896"/>
                <a:gd name="T19" fmla="*/ 1093376 h 1288803"/>
                <a:gd name="T20" fmla="*/ 790702 w 1289896"/>
                <a:gd name="T21" fmla="*/ 1069518 h 1288803"/>
                <a:gd name="T22" fmla="*/ 1074932 w 1289896"/>
                <a:gd name="T23" fmla="*/ 500151 h 1288803"/>
                <a:gd name="T24" fmla="*/ 646969 w 1289896"/>
                <a:gd name="T25" fmla="*/ 193219 h 12888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89896" h="1288803">
                  <a:moveTo>
                    <a:pt x="693462" y="1869"/>
                  </a:moveTo>
                  <a:cubicBezTo>
                    <a:pt x="944000" y="21047"/>
                    <a:pt x="1170891" y="186470"/>
                    <a:pt x="1256263" y="439512"/>
                  </a:cubicBezTo>
                  <a:cubicBezTo>
                    <a:pt x="1369446" y="776901"/>
                    <a:pt x="1187707" y="1142082"/>
                    <a:pt x="850098" y="1255192"/>
                  </a:cubicBezTo>
                  <a:cubicBezTo>
                    <a:pt x="512490" y="1368301"/>
                    <a:pt x="147071" y="1186680"/>
                    <a:pt x="33888" y="849291"/>
                  </a:cubicBezTo>
                  <a:cubicBezTo>
                    <a:pt x="-79942" y="511902"/>
                    <a:pt x="102444" y="146720"/>
                    <a:pt x="439406" y="33611"/>
                  </a:cubicBezTo>
                  <a:cubicBezTo>
                    <a:pt x="523808" y="5333"/>
                    <a:pt x="609949" y="-4523"/>
                    <a:pt x="693462" y="1869"/>
                  </a:cubicBezTo>
                  <a:close/>
                  <a:moveTo>
                    <a:pt x="645869" y="193551"/>
                  </a:moveTo>
                  <a:cubicBezTo>
                    <a:pt x="597393" y="193551"/>
                    <a:pt x="548917" y="201302"/>
                    <a:pt x="502380" y="217450"/>
                  </a:cubicBezTo>
                  <a:cubicBezTo>
                    <a:pt x="266464" y="296252"/>
                    <a:pt x="139133" y="552035"/>
                    <a:pt x="217988" y="787795"/>
                  </a:cubicBezTo>
                  <a:cubicBezTo>
                    <a:pt x="280037" y="971881"/>
                    <a:pt x="451965" y="1095251"/>
                    <a:pt x="645223" y="1095251"/>
                  </a:cubicBezTo>
                  <a:cubicBezTo>
                    <a:pt x="694345" y="1095251"/>
                    <a:pt x="742175" y="1087500"/>
                    <a:pt x="789358" y="1071352"/>
                  </a:cubicBezTo>
                  <a:cubicBezTo>
                    <a:pt x="1024628" y="992550"/>
                    <a:pt x="1151958" y="736767"/>
                    <a:pt x="1073104" y="501008"/>
                  </a:cubicBezTo>
                  <a:cubicBezTo>
                    <a:pt x="1011055" y="316921"/>
                    <a:pt x="839773" y="193551"/>
                    <a:pt x="645869" y="193551"/>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grpSp>
      <p:sp>
        <p:nvSpPr>
          <p:cNvPr id="10" name="矩形 15"/>
          <p:cNvSpPr>
            <a:spLocks noChangeArrowheads="1"/>
          </p:cNvSpPr>
          <p:nvPr/>
        </p:nvSpPr>
        <p:spPr bwMode="auto">
          <a:xfrm>
            <a:off x="5232400" y="1976438"/>
            <a:ext cx="707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3200" dirty="0">
                <a:solidFill>
                  <a:schemeClr val="bg1"/>
                </a:solidFill>
                <a:latin typeface="+mn-lt"/>
                <a:ea typeface="微软雅黑" panose="020B0503020204020204" pitchFamily="34" charset="-122"/>
                <a:sym typeface="+mn-lt"/>
              </a:rPr>
              <a:t>01</a:t>
            </a:r>
            <a:endParaRPr lang="zh-CN" altLang="en-US" sz="3200" dirty="0">
              <a:solidFill>
                <a:schemeClr val="bg1"/>
              </a:solidFill>
              <a:latin typeface="+mn-lt"/>
              <a:ea typeface="微软雅黑" panose="020B0503020204020204" pitchFamily="34" charset="-122"/>
              <a:sym typeface="+mn-lt"/>
            </a:endParaRPr>
          </a:p>
        </p:txBody>
      </p:sp>
      <p:sp>
        <p:nvSpPr>
          <p:cNvPr id="11" name="矩形 16"/>
          <p:cNvSpPr>
            <a:spLocks noChangeArrowheads="1"/>
          </p:cNvSpPr>
          <p:nvPr/>
        </p:nvSpPr>
        <p:spPr bwMode="auto">
          <a:xfrm>
            <a:off x="6324600" y="1992313"/>
            <a:ext cx="707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3200" dirty="0">
                <a:latin typeface="+mn-lt"/>
                <a:ea typeface="微软雅黑" panose="020B0503020204020204" pitchFamily="34" charset="-122"/>
                <a:sym typeface="+mn-lt"/>
              </a:rPr>
              <a:t>02</a:t>
            </a:r>
            <a:endParaRPr lang="zh-CN" altLang="en-US" sz="3200" dirty="0">
              <a:latin typeface="+mn-lt"/>
              <a:ea typeface="微软雅黑" panose="020B0503020204020204" pitchFamily="34" charset="-122"/>
              <a:sym typeface="+mn-lt"/>
            </a:endParaRPr>
          </a:p>
        </p:txBody>
      </p:sp>
      <p:sp>
        <p:nvSpPr>
          <p:cNvPr id="12" name="矩形 17"/>
          <p:cNvSpPr>
            <a:spLocks noChangeArrowheads="1"/>
          </p:cNvSpPr>
          <p:nvPr/>
        </p:nvSpPr>
        <p:spPr bwMode="auto">
          <a:xfrm>
            <a:off x="6426200" y="2913063"/>
            <a:ext cx="707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3200" dirty="0">
                <a:solidFill>
                  <a:schemeClr val="bg1"/>
                </a:solidFill>
                <a:latin typeface="+mn-lt"/>
                <a:ea typeface="微软雅黑" panose="020B0503020204020204" pitchFamily="34" charset="-122"/>
                <a:sym typeface="+mn-lt"/>
              </a:rPr>
              <a:t>03</a:t>
            </a:r>
            <a:endParaRPr lang="zh-CN" altLang="en-US" sz="3200" dirty="0">
              <a:solidFill>
                <a:schemeClr val="bg1"/>
              </a:solidFill>
              <a:latin typeface="+mn-lt"/>
              <a:ea typeface="微软雅黑" panose="020B0503020204020204" pitchFamily="34" charset="-122"/>
              <a:sym typeface="+mn-lt"/>
            </a:endParaRPr>
          </a:p>
        </p:txBody>
      </p:sp>
      <p:sp>
        <p:nvSpPr>
          <p:cNvPr id="13" name="矩形 18"/>
          <p:cNvSpPr>
            <a:spLocks noChangeArrowheads="1"/>
          </p:cNvSpPr>
          <p:nvPr/>
        </p:nvSpPr>
        <p:spPr bwMode="auto">
          <a:xfrm>
            <a:off x="5800725" y="3790950"/>
            <a:ext cx="707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3200" dirty="0">
                <a:latin typeface="+mn-lt"/>
                <a:ea typeface="微软雅黑" panose="020B0503020204020204" pitchFamily="34" charset="-122"/>
                <a:sym typeface="+mn-lt"/>
              </a:rPr>
              <a:t>04</a:t>
            </a:r>
            <a:endParaRPr lang="zh-CN" altLang="en-US" sz="3200" dirty="0">
              <a:latin typeface="+mn-lt"/>
              <a:ea typeface="微软雅黑" panose="020B0503020204020204" pitchFamily="34" charset="-122"/>
              <a:sym typeface="+mn-lt"/>
            </a:endParaRPr>
          </a:p>
        </p:txBody>
      </p:sp>
      <p:grpSp>
        <p:nvGrpSpPr>
          <p:cNvPr id="14" name="Group 18"/>
          <p:cNvGrpSpPr>
            <a:grpSpLocks/>
          </p:cNvGrpSpPr>
          <p:nvPr/>
        </p:nvGrpSpPr>
        <p:grpSpPr bwMode="auto">
          <a:xfrm>
            <a:off x="1017588" y="4071938"/>
            <a:ext cx="3392487" cy="738778"/>
            <a:chOff x="0" y="0"/>
            <a:chExt cx="3391967" cy="739529"/>
          </a:xfrm>
        </p:grpSpPr>
        <p:sp>
          <p:nvSpPr>
            <p:cNvPr id="15" name="矩形 20"/>
            <p:cNvSpPr>
              <a:spLocks noChangeArrowheads="1"/>
            </p:cNvSpPr>
            <p:nvPr/>
          </p:nvSpPr>
          <p:spPr bwMode="auto">
            <a:xfrm>
              <a:off x="15723" y="0"/>
              <a:ext cx="1005378" cy="292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latin typeface="+mn-lt"/>
                  <a:ea typeface="微软雅黑" panose="020B0503020204020204" pitchFamily="34" charset="-122"/>
                  <a:sym typeface="+mn-lt"/>
                </a:rPr>
                <a:t>Sample text</a:t>
              </a:r>
              <a:endParaRPr lang="zh-CN" altLang="en-US" sz="1300" b="1" dirty="0">
                <a:solidFill>
                  <a:srgbClr val="86BC25"/>
                </a:solidFill>
                <a:latin typeface="+mn-lt"/>
                <a:ea typeface="微软雅黑" panose="020B0503020204020204" pitchFamily="34" charset="-122"/>
                <a:sym typeface="+mn-lt"/>
              </a:endParaRPr>
            </a:p>
          </p:txBody>
        </p:sp>
        <p:sp>
          <p:nvSpPr>
            <p:cNvPr id="16" name="矩形 21"/>
            <p:cNvSpPr>
              <a:spLocks noChangeArrowheads="1"/>
            </p:cNvSpPr>
            <p:nvPr/>
          </p:nvSpPr>
          <p:spPr bwMode="auto">
            <a:xfrm>
              <a:off x="0" y="246586"/>
              <a:ext cx="3391967" cy="492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latin typeface="+mn-lt"/>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latin typeface="+mn-lt"/>
                <a:ea typeface="微软雅黑" panose="020B0503020204020204" pitchFamily="34" charset="-122"/>
                <a:sym typeface="+mn-lt"/>
              </a:endParaRPr>
            </a:p>
          </p:txBody>
        </p:sp>
      </p:grpSp>
      <p:grpSp>
        <p:nvGrpSpPr>
          <p:cNvPr id="17" name="Group 21"/>
          <p:cNvGrpSpPr>
            <a:grpSpLocks/>
          </p:cNvGrpSpPr>
          <p:nvPr/>
        </p:nvGrpSpPr>
        <p:grpSpPr bwMode="auto">
          <a:xfrm>
            <a:off x="1001713" y="1922463"/>
            <a:ext cx="3170237" cy="738778"/>
            <a:chOff x="0" y="0"/>
            <a:chExt cx="3170931" cy="739529"/>
          </a:xfrm>
        </p:grpSpPr>
        <p:sp>
          <p:nvSpPr>
            <p:cNvPr id="18" name="矩形 23"/>
            <p:cNvSpPr>
              <a:spLocks noChangeArrowheads="1"/>
            </p:cNvSpPr>
            <p:nvPr/>
          </p:nvSpPr>
          <p:spPr bwMode="auto">
            <a:xfrm>
              <a:off x="15723" y="0"/>
              <a:ext cx="1005752" cy="292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latin typeface="+mn-lt"/>
                  <a:ea typeface="微软雅黑" panose="020B0503020204020204" pitchFamily="34" charset="-122"/>
                  <a:sym typeface="+mn-lt"/>
                </a:rPr>
                <a:t>Sample text</a:t>
              </a:r>
              <a:endParaRPr lang="zh-CN" altLang="en-US" sz="1300" b="1" dirty="0">
                <a:solidFill>
                  <a:srgbClr val="86BC25"/>
                </a:solidFill>
                <a:latin typeface="+mn-lt"/>
                <a:ea typeface="微软雅黑" panose="020B0503020204020204" pitchFamily="34" charset="-122"/>
                <a:sym typeface="+mn-lt"/>
              </a:endParaRPr>
            </a:p>
          </p:txBody>
        </p:sp>
        <p:sp>
          <p:nvSpPr>
            <p:cNvPr id="19" name="矩形 24"/>
            <p:cNvSpPr>
              <a:spLocks noChangeArrowheads="1"/>
            </p:cNvSpPr>
            <p:nvPr/>
          </p:nvSpPr>
          <p:spPr bwMode="auto">
            <a:xfrm>
              <a:off x="0" y="246586"/>
              <a:ext cx="3170931" cy="492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latin typeface="+mn-lt"/>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latin typeface="+mn-lt"/>
                <a:ea typeface="微软雅黑" panose="020B0503020204020204" pitchFamily="34" charset="-122"/>
                <a:sym typeface="+mn-lt"/>
              </a:endParaRPr>
            </a:p>
          </p:txBody>
        </p:sp>
      </p:grpSp>
      <p:grpSp>
        <p:nvGrpSpPr>
          <p:cNvPr id="20" name="Group 24"/>
          <p:cNvGrpSpPr>
            <a:grpSpLocks/>
          </p:cNvGrpSpPr>
          <p:nvPr/>
        </p:nvGrpSpPr>
        <p:grpSpPr bwMode="auto">
          <a:xfrm>
            <a:off x="7924800" y="1922463"/>
            <a:ext cx="3402013" cy="738778"/>
            <a:chOff x="0" y="0"/>
            <a:chExt cx="3402588" cy="739529"/>
          </a:xfrm>
        </p:grpSpPr>
        <p:sp>
          <p:nvSpPr>
            <p:cNvPr id="21" name="矩形 26"/>
            <p:cNvSpPr>
              <a:spLocks noChangeArrowheads="1"/>
            </p:cNvSpPr>
            <p:nvPr/>
          </p:nvSpPr>
          <p:spPr bwMode="auto">
            <a:xfrm>
              <a:off x="15722" y="0"/>
              <a:ext cx="1005702" cy="292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latin typeface="+mn-lt"/>
                  <a:ea typeface="微软雅黑" panose="020B0503020204020204" pitchFamily="34" charset="-122"/>
                  <a:sym typeface="+mn-lt"/>
                </a:rPr>
                <a:t>Sample</a:t>
              </a:r>
              <a:r>
                <a:rPr lang="en-US" altLang="zh-CN" sz="1300" b="1" dirty="0">
                  <a:solidFill>
                    <a:schemeClr val="bg1"/>
                  </a:solidFill>
                  <a:latin typeface="+mn-lt"/>
                  <a:ea typeface="微软雅黑" panose="020B0503020204020204" pitchFamily="34" charset="-122"/>
                  <a:sym typeface="+mn-lt"/>
                </a:rPr>
                <a:t> </a:t>
              </a:r>
              <a:r>
                <a:rPr lang="en-US" altLang="zh-CN" sz="1300" b="1" dirty="0">
                  <a:solidFill>
                    <a:srgbClr val="86BC25"/>
                  </a:solidFill>
                  <a:latin typeface="+mn-lt"/>
                  <a:ea typeface="微软雅黑" panose="020B0503020204020204" pitchFamily="34" charset="-122"/>
                  <a:sym typeface="+mn-lt"/>
                </a:rPr>
                <a:t>text</a:t>
              </a:r>
              <a:endParaRPr lang="zh-CN" altLang="en-US" sz="1300" b="1" dirty="0">
                <a:solidFill>
                  <a:srgbClr val="86BC25"/>
                </a:solidFill>
                <a:latin typeface="+mn-lt"/>
                <a:ea typeface="微软雅黑" panose="020B0503020204020204" pitchFamily="34" charset="-122"/>
                <a:sym typeface="+mn-lt"/>
              </a:endParaRPr>
            </a:p>
          </p:txBody>
        </p:sp>
        <p:sp>
          <p:nvSpPr>
            <p:cNvPr id="22" name="矩形 27"/>
            <p:cNvSpPr>
              <a:spLocks noChangeArrowheads="1"/>
            </p:cNvSpPr>
            <p:nvPr/>
          </p:nvSpPr>
          <p:spPr bwMode="auto">
            <a:xfrm>
              <a:off x="0" y="246586"/>
              <a:ext cx="3402588" cy="492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latin typeface="+mn-lt"/>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latin typeface="+mn-lt"/>
                <a:ea typeface="微软雅黑" panose="020B0503020204020204" pitchFamily="34" charset="-122"/>
                <a:sym typeface="+mn-lt"/>
              </a:endParaRPr>
            </a:p>
          </p:txBody>
        </p:sp>
      </p:grpSp>
      <p:grpSp>
        <p:nvGrpSpPr>
          <p:cNvPr id="23" name="Group 27"/>
          <p:cNvGrpSpPr>
            <a:grpSpLocks/>
          </p:cNvGrpSpPr>
          <p:nvPr/>
        </p:nvGrpSpPr>
        <p:grpSpPr bwMode="auto">
          <a:xfrm>
            <a:off x="7924800" y="3889375"/>
            <a:ext cx="3402013" cy="739176"/>
            <a:chOff x="0" y="0"/>
            <a:chExt cx="3402588" cy="738735"/>
          </a:xfrm>
        </p:grpSpPr>
        <p:sp>
          <p:nvSpPr>
            <p:cNvPr id="24" name="矩形 29"/>
            <p:cNvSpPr>
              <a:spLocks noChangeArrowheads="1"/>
            </p:cNvSpPr>
            <p:nvPr/>
          </p:nvSpPr>
          <p:spPr bwMode="auto">
            <a:xfrm>
              <a:off x="15722" y="0"/>
              <a:ext cx="1005702" cy="292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latin typeface="+mn-lt"/>
                  <a:ea typeface="微软雅黑" panose="020B0503020204020204" pitchFamily="34" charset="-122"/>
                  <a:sym typeface="+mn-lt"/>
                </a:rPr>
                <a:t>Sample text</a:t>
              </a:r>
              <a:endParaRPr lang="zh-CN" altLang="en-US" sz="1300" b="1" dirty="0">
                <a:solidFill>
                  <a:srgbClr val="86BC25"/>
                </a:solidFill>
                <a:latin typeface="+mn-lt"/>
                <a:ea typeface="微软雅黑" panose="020B0503020204020204" pitchFamily="34" charset="-122"/>
                <a:sym typeface="+mn-lt"/>
              </a:endParaRPr>
            </a:p>
          </p:txBody>
        </p:sp>
        <p:sp>
          <p:nvSpPr>
            <p:cNvPr id="25" name="矩形 30"/>
            <p:cNvSpPr>
              <a:spLocks noChangeArrowheads="1"/>
            </p:cNvSpPr>
            <p:nvPr/>
          </p:nvSpPr>
          <p:spPr bwMode="auto">
            <a:xfrm>
              <a:off x="0" y="246586"/>
              <a:ext cx="3402588" cy="492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latin typeface="+mn-lt"/>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latin typeface="+mn-lt"/>
                <a:ea typeface="微软雅黑" panose="020B0503020204020204" pitchFamily="34" charset="-122"/>
                <a:sym typeface="+mn-lt"/>
              </a:endParaRPr>
            </a:p>
          </p:txBody>
        </p:sp>
      </p:grpSp>
    </p:spTree>
    <p:custDataLst>
      <p:tags r:id="rId1"/>
    </p:custDataLst>
    <p:extLst>
      <p:ext uri="{BB962C8B-B14F-4D97-AF65-F5344CB8AC3E}">
        <p14:creationId xmlns:p14="http://schemas.microsoft.com/office/powerpoint/2010/main" val="2100952447"/>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1116420" y="1714500"/>
            <a:ext cx="9913530" cy="4594406"/>
            <a:chOff x="-432375" y="654050"/>
            <a:chExt cx="13023413" cy="6035675"/>
          </a:xfrm>
        </p:grpSpPr>
        <p:sp>
          <p:nvSpPr>
            <p:cNvPr id="2" name="Freeform 7"/>
            <p:cNvSpPr>
              <a:spLocks noChangeArrowheads="1"/>
            </p:cNvSpPr>
            <p:nvPr/>
          </p:nvSpPr>
          <p:spPr bwMode="auto">
            <a:xfrm>
              <a:off x="3052763" y="1803400"/>
              <a:ext cx="2720975" cy="2940050"/>
            </a:xfrm>
            <a:custGeom>
              <a:avLst/>
              <a:gdLst>
                <a:gd name="T0" fmla="*/ 144 w 471"/>
                <a:gd name="T1" fmla="*/ 462 h 509"/>
                <a:gd name="T2" fmla="*/ 144 w 471"/>
                <a:gd name="T3" fmla="*/ 407 h 509"/>
                <a:gd name="T4" fmla="*/ 144 w 471"/>
                <a:gd name="T5" fmla="*/ 403 h 509"/>
                <a:gd name="T6" fmla="*/ 227 w 471"/>
                <a:gd name="T7" fmla="*/ 323 h 509"/>
                <a:gd name="T8" fmla="*/ 423 w 471"/>
                <a:gd name="T9" fmla="*/ 323 h 509"/>
                <a:gd name="T10" fmla="*/ 471 w 471"/>
                <a:gd name="T11" fmla="*/ 275 h 509"/>
                <a:gd name="T12" fmla="*/ 471 w 471"/>
                <a:gd name="T13" fmla="*/ 49 h 509"/>
                <a:gd name="T14" fmla="*/ 423 w 471"/>
                <a:gd name="T15" fmla="*/ 1 h 509"/>
                <a:gd name="T16" fmla="*/ 192 w 471"/>
                <a:gd name="T17" fmla="*/ 0 h 509"/>
                <a:gd name="T18" fmla="*/ 144 w 471"/>
                <a:gd name="T19" fmla="*/ 48 h 509"/>
                <a:gd name="T20" fmla="*/ 144 w 471"/>
                <a:gd name="T21" fmla="*/ 275 h 509"/>
                <a:gd name="T22" fmla="*/ 144 w 471"/>
                <a:gd name="T23" fmla="*/ 281 h 509"/>
                <a:gd name="T24" fmla="*/ 89 w 471"/>
                <a:gd name="T25" fmla="*/ 359 h 509"/>
                <a:gd name="T26" fmla="*/ 48 w 471"/>
                <a:gd name="T27" fmla="*/ 359 h 509"/>
                <a:gd name="T28" fmla="*/ 0 w 471"/>
                <a:gd name="T29" fmla="*/ 407 h 509"/>
                <a:gd name="T30" fmla="*/ 0 w 471"/>
                <a:gd name="T31" fmla="*/ 461 h 509"/>
                <a:gd name="T32" fmla="*/ 48 w 471"/>
                <a:gd name="T33" fmla="*/ 509 h 509"/>
                <a:gd name="T34" fmla="*/ 96 w 471"/>
                <a:gd name="T35" fmla="*/ 509 h 509"/>
                <a:gd name="T36" fmla="*/ 144 w 471"/>
                <a:gd name="T37" fmla="*/ 46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 h="509">
                  <a:moveTo>
                    <a:pt x="144" y="462"/>
                  </a:moveTo>
                  <a:cubicBezTo>
                    <a:pt x="144" y="407"/>
                    <a:pt x="144" y="407"/>
                    <a:pt x="144" y="407"/>
                  </a:cubicBezTo>
                  <a:cubicBezTo>
                    <a:pt x="144" y="406"/>
                    <a:pt x="144" y="405"/>
                    <a:pt x="144" y="403"/>
                  </a:cubicBezTo>
                  <a:cubicBezTo>
                    <a:pt x="143" y="390"/>
                    <a:pt x="148" y="338"/>
                    <a:pt x="227" y="323"/>
                  </a:cubicBezTo>
                  <a:cubicBezTo>
                    <a:pt x="423" y="323"/>
                    <a:pt x="423" y="323"/>
                    <a:pt x="423" y="323"/>
                  </a:cubicBezTo>
                  <a:cubicBezTo>
                    <a:pt x="449" y="323"/>
                    <a:pt x="471" y="302"/>
                    <a:pt x="471" y="275"/>
                  </a:cubicBezTo>
                  <a:cubicBezTo>
                    <a:pt x="471" y="49"/>
                    <a:pt x="471" y="49"/>
                    <a:pt x="471" y="49"/>
                  </a:cubicBezTo>
                  <a:cubicBezTo>
                    <a:pt x="471" y="22"/>
                    <a:pt x="450" y="1"/>
                    <a:pt x="423" y="1"/>
                  </a:cubicBezTo>
                  <a:cubicBezTo>
                    <a:pt x="192" y="0"/>
                    <a:pt x="192" y="0"/>
                    <a:pt x="192" y="0"/>
                  </a:cubicBezTo>
                  <a:cubicBezTo>
                    <a:pt x="166" y="0"/>
                    <a:pt x="144" y="22"/>
                    <a:pt x="144" y="48"/>
                  </a:cubicBezTo>
                  <a:cubicBezTo>
                    <a:pt x="144" y="275"/>
                    <a:pt x="144" y="275"/>
                    <a:pt x="144" y="275"/>
                  </a:cubicBezTo>
                  <a:cubicBezTo>
                    <a:pt x="144" y="277"/>
                    <a:pt x="144" y="279"/>
                    <a:pt x="144" y="281"/>
                  </a:cubicBezTo>
                  <a:cubicBezTo>
                    <a:pt x="142" y="308"/>
                    <a:pt x="131" y="346"/>
                    <a:pt x="89" y="359"/>
                  </a:cubicBezTo>
                  <a:cubicBezTo>
                    <a:pt x="48" y="359"/>
                    <a:pt x="48" y="359"/>
                    <a:pt x="48" y="359"/>
                  </a:cubicBezTo>
                  <a:cubicBezTo>
                    <a:pt x="21" y="359"/>
                    <a:pt x="0" y="380"/>
                    <a:pt x="0" y="407"/>
                  </a:cubicBezTo>
                  <a:cubicBezTo>
                    <a:pt x="0" y="461"/>
                    <a:pt x="0" y="461"/>
                    <a:pt x="0" y="461"/>
                  </a:cubicBezTo>
                  <a:cubicBezTo>
                    <a:pt x="0" y="488"/>
                    <a:pt x="21" y="509"/>
                    <a:pt x="48" y="509"/>
                  </a:cubicBezTo>
                  <a:cubicBezTo>
                    <a:pt x="96" y="509"/>
                    <a:pt x="96" y="509"/>
                    <a:pt x="96" y="509"/>
                  </a:cubicBezTo>
                  <a:cubicBezTo>
                    <a:pt x="122" y="509"/>
                    <a:pt x="144" y="488"/>
                    <a:pt x="144" y="462"/>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sz="1300" dirty="0">
                <a:latin typeface="+mn-lt"/>
                <a:ea typeface="+mn-ea"/>
              </a:endParaRPr>
            </a:p>
          </p:txBody>
        </p:sp>
        <p:sp>
          <p:nvSpPr>
            <p:cNvPr id="4" name="Freeform 5"/>
            <p:cNvSpPr>
              <a:spLocks noChangeArrowheads="1"/>
            </p:cNvSpPr>
            <p:nvPr/>
          </p:nvSpPr>
          <p:spPr bwMode="auto">
            <a:xfrm>
              <a:off x="4225925" y="3975100"/>
              <a:ext cx="2944813" cy="2714625"/>
            </a:xfrm>
            <a:custGeom>
              <a:avLst/>
              <a:gdLst>
                <a:gd name="T0" fmla="*/ 462 w 510"/>
                <a:gd name="T1" fmla="*/ 326 h 470"/>
                <a:gd name="T2" fmla="*/ 407 w 510"/>
                <a:gd name="T3" fmla="*/ 326 h 470"/>
                <a:gd name="T4" fmla="*/ 404 w 510"/>
                <a:gd name="T5" fmla="*/ 327 h 470"/>
                <a:gd name="T6" fmla="*/ 323 w 510"/>
                <a:gd name="T7" fmla="*/ 244 h 470"/>
                <a:gd name="T8" fmla="*/ 323 w 510"/>
                <a:gd name="T9" fmla="*/ 48 h 470"/>
                <a:gd name="T10" fmla="*/ 275 w 510"/>
                <a:gd name="T11" fmla="*/ 0 h 470"/>
                <a:gd name="T12" fmla="*/ 48 w 510"/>
                <a:gd name="T13" fmla="*/ 0 h 470"/>
                <a:gd name="T14" fmla="*/ 0 w 510"/>
                <a:gd name="T15" fmla="*/ 48 h 470"/>
                <a:gd name="T16" fmla="*/ 0 w 510"/>
                <a:gd name="T17" fmla="*/ 278 h 470"/>
                <a:gd name="T18" fmla="*/ 48 w 510"/>
                <a:gd name="T19" fmla="*/ 326 h 470"/>
                <a:gd name="T20" fmla="*/ 275 w 510"/>
                <a:gd name="T21" fmla="*/ 326 h 470"/>
                <a:gd name="T22" fmla="*/ 281 w 510"/>
                <a:gd name="T23" fmla="*/ 326 h 470"/>
                <a:gd name="T24" fmla="*/ 359 w 510"/>
                <a:gd name="T25" fmla="*/ 381 h 470"/>
                <a:gd name="T26" fmla="*/ 359 w 510"/>
                <a:gd name="T27" fmla="*/ 422 h 470"/>
                <a:gd name="T28" fmla="*/ 407 w 510"/>
                <a:gd name="T29" fmla="*/ 470 h 470"/>
                <a:gd name="T30" fmla="*/ 462 w 510"/>
                <a:gd name="T31" fmla="*/ 470 h 470"/>
                <a:gd name="T32" fmla="*/ 510 w 510"/>
                <a:gd name="T33" fmla="*/ 422 h 470"/>
                <a:gd name="T34" fmla="*/ 510 w 510"/>
                <a:gd name="T35" fmla="*/ 374 h 470"/>
                <a:gd name="T36" fmla="*/ 462 w 510"/>
                <a:gd name="T37" fmla="*/ 3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0" h="470">
                  <a:moveTo>
                    <a:pt x="462" y="326"/>
                  </a:moveTo>
                  <a:cubicBezTo>
                    <a:pt x="407" y="326"/>
                    <a:pt x="407" y="326"/>
                    <a:pt x="407" y="326"/>
                  </a:cubicBezTo>
                  <a:cubicBezTo>
                    <a:pt x="406" y="326"/>
                    <a:pt x="405" y="326"/>
                    <a:pt x="404" y="327"/>
                  </a:cubicBezTo>
                  <a:cubicBezTo>
                    <a:pt x="390" y="327"/>
                    <a:pt x="338" y="322"/>
                    <a:pt x="323" y="244"/>
                  </a:cubicBezTo>
                  <a:cubicBezTo>
                    <a:pt x="323" y="48"/>
                    <a:pt x="323" y="48"/>
                    <a:pt x="323" y="48"/>
                  </a:cubicBezTo>
                  <a:cubicBezTo>
                    <a:pt x="323" y="21"/>
                    <a:pt x="302" y="0"/>
                    <a:pt x="275" y="0"/>
                  </a:cubicBezTo>
                  <a:cubicBezTo>
                    <a:pt x="48" y="0"/>
                    <a:pt x="48" y="0"/>
                    <a:pt x="48" y="0"/>
                  </a:cubicBezTo>
                  <a:cubicBezTo>
                    <a:pt x="22" y="0"/>
                    <a:pt x="0" y="21"/>
                    <a:pt x="0" y="48"/>
                  </a:cubicBezTo>
                  <a:cubicBezTo>
                    <a:pt x="0" y="278"/>
                    <a:pt x="0" y="278"/>
                    <a:pt x="0" y="278"/>
                  </a:cubicBezTo>
                  <a:cubicBezTo>
                    <a:pt x="0" y="305"/>
                    <a:pt x="22" y="326"/>
                    <a:pt x="48" y="326"/>
                  </a:cubicBezTo>
                  <a:cubicBezTo>
                    <a:pt x="275" y="326"/>
                    <a:pt x="275" y="326"/>
                    <a:pt x="275" y="326"/>
                  </a:cubicBezTo>
                  <a:cubicBezTo>
                    <a:pt x="277" y="326"/>
                    <a:pt x="279" y="326"/>
                    <a:pt x="281" y="326"/>
                  </a:cubicBezTo>
                  <a:cubicBezTo>
                    <a:pt x="309" y="328"/>
                    <a:pt x="346" y="339"/>
                    <a:pt x="359" y="381"/>
                  </a:cubicBezTo>
                  <a:cubicBezTo>
                    <a:pt x="359" y="422"/>
                    <a:pt x="359" y="422"/>
                    <a:pt x="359" y="422"/>
                  </a:cubicBezTo>
                  <a:cubicBezTo>
                    <a:pt x="359" y="449"/>
                    <a:pt x="380" y="470"/>
                    <a:pt x="407" y="470"/>
                  </a:cubicBezTo>
                  <a:cubicBezTo>
                    <a:pt x="462" y="470"/>
                    <a:pt x="462" y="470"/>
                    <a:pt x="462" y="470"/>
                  </a:cubicBezTo>
                  <a:cubicBezTo>
                    <a:pt x="488" y="470"/>
                    <a:pt x="510" y="449"/>
                    <a:pt x="510" y="422"/>
                  </a:cubicBezTo>
                  <a:cubicBezTo>
                    <a:pt x="510" y="374"/>
                    <a:pt x="510" y="374"/>
                    <a:pt x="510" y="374"/>
                  </a:cubicBezTo>
                  <a:cubicBezTo>
                    <a:pt x="510" y="348"/>
                    <a:pt x="488" y="326"/>
                    <a:pt x="462" y="326"/>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sz="1300" dirty="0">
                <a:latin typeface="+mn-lt"/>
                <a:ea typeface="+mn-ea"/>
              </a:endParaRPr>
            </a:p>
          </p:txBody>
        </p:sp>
        <p:sp>
          <p:nvSpPr>
            <p:cNvPr id="6" name="Freeform 8"/>
            <p:cNvSpPr>
              <a:spLocks noChangeArrowheads="1"/>
            </p:cNvSpPr>
            <p:nvPr/>
          </p:nvSpPr>
          <p:spPr bwMode="auto">
            <a:xfrm>
              <a:off x="5022850" y="654050"/>
              <a:ext cx="2940050" cy="2720975"/>
            </a:xfrm>
            <a:custGeom>
              <a:avLst/>
              <a:gdLst>
                <a:gd name="T0" fmla="*/ 48 w 509"/>
                <a:gd name="T1" fmla="*/ 144 h 471"/>
                <a:gd name="T2" fmla="*/ 102 w 509"/>
                <a:gd name="T3" fmla="*/ 144 h 471"/>
                <a:gd name="T4" fmla="*/ 106 w 509"/>
                <a:gd name="T5" fmla="*/ 144 h 471"/>
                <a:gd name="T6" fmla="*/ 186 w 509"/>
                <a:gd name="T7" fmla="*/ 227 h 471"/>
                <a:gd name="T8" fmla="*/ 186 w 509"/>
                <a:gd name="T9" fmla="*/ 423 h 471"/>
                <a:gd name="T10" fmla="*/ 234 w 509"/>
                <a:gd name="T11" fmla="*/ 471 h 471"/>
                <a:gd name="T12" fmla="*/ 461 w 509"/>
                <a:gd name="T13" fmla="*/ 471 h 471"/>
                <a:gd name="T14" fmla="*/ 509 w 509"/>
                <a:gd name="T15" fmla="*/ 423 h 471"/>
                <a:gd name="T16" fmla="*/ 509 w 509"/>
                <a:gd name="T17" fmla="*/ 192 h 471"/>
                <a:gd name="T18" fmla="*/ 461 w 509"/>
                <a:gd name="T19" fmla="*/ 144 h 471"/>
                <a:gd name="T20" fmla="*/ 234 w 509"/>
                <a:gd name="T21" fmla="*/ 144 h 471"/>
                <a:gd name="T22" fmla="*/ 228 w 509"/>
                <a:gd name="T23" fmla="*/ 144 h 471"/>
                <a:gd name="T24" fmla="*/ 151 w 509"/>
                <a:gd name="T25" fmla="*/ 89 h 471"/>
                <a:gd name="T26" fmla="*/ 151 w 509"/>
                <a:gd name="T27" fmla="*/ 48 h 471"/>
                <a:gd name="T28" fmla="*/ 103 w 509"/>
                <a:gd name="T29" fmla="*/ 0 h 471"/>
                <a:gd name="T30" fmla="*/ 48 w 509"/>
                <a:gd name="T31" fmla="*/ 0 h 471"/>
                <a:gd name="T32" fmla="*/ 0 w 509"/>
                <a:gd name="T33" fmla="*/ 48 h 471"/>
                <a:gd name="T34" fmla="*/ 0 w 509"/>
                <a:gd name="T35" fmla="*/ 96 h 471"/>
                <a:gd name="T36" fmla="*/ 48 w 509"/>
                <a:gd name="T37" fmla="*/ 144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9" h="471">
                  <a:moveTo>
                    <a:pt x="48" y="144"/>
                  </a:moveTo>
                  <a:cubicBezTo>
                    <a:pt x="102" y="144"/>
                    <a:pt x="102" y="144"/>
                    <a:pt x="102" y="144"/>
                  </a:cubicBezTo>
                  <a:cubicBezTo>
                    <a:pt x="104" y="144"/>
                    <a:pt x="105" y="144"/>
                    <a:pt x="106" y="144"/>
                  </a:cubicBezTo>
                  <a:cubicBezTo>
                    <a:pt x="120" y="143"/>
                    <a:pt x="171" y="148"/>
                    <a:pt x="186" y="227"/>
                  </a:cubicBezTo>
                  <a:cubicBezTo>
                    <a:pt x="186" y="423"/>
                    <a:pt x="186" y="423"/>
                    <a:pt x="186" y="423"/>
                  </a:cubicBezTo>
                  <a:cubicBezTo>
                    <a:pt x="186" y="449"/>
                    <a:pt x="207" y="471"/>
                    <a:pt x="234" y="471"/>
                  </a:cubicBezTo>
                  <a:cubicBezTo>
                    <a:pt x="461" y="471"/>
                    <a:pt x="461" y="471"/>
                    <a:pt x="461" y="471"/>
                  </a:cubicBezTo>
                  <a:cubicBezTo>
                    <a:pt x="487" y="471"/>
                    <a:pt x="509" y="450"/>
                    <a:pt x="509" y="423"/>
                  </a:cubicBezTo>
                  <a:cubicBezTo>
                    <a:pt x="509" y="192"/>
                    <a:pt x="509" y="192"/>
                    <a:pt x="509" y="192"/>
                  </a:cubicBezTo>
                  <a:cubicBezTo>
                    <a:pt x="509" y="166"/>
                    <a:pt x="488" y="144"/>
                    <a:pt x="461" y="144"/>
                  </a:cubicBezTo>
                  <a:cubicBezTo>
                    <a:pt x="234" y="144"/>
                    <a:pt x="234" y="144"/>
                    <a:pt x="234" y="144"/>
                  </a:cubicBezTo>
                  <a:cubicBezTo>
                    <a:pt x="232" y="144"/>
                    <a:pt x="230" y="144"/>
                    <a:pt x="228" y="144"/>
                  </a:cubicBezTo>
                  <a:cubicBezTo>
                    <a:pt x="201" y="142"/>
                    <a:pt x="164" y="131"/>
                    <a:pt x="151" y="89"/>
                  </a:cubicBezTo>
                  <a:cubicBezTo>
                    <a:pt x="151" y="48"/>
                    <a:pt x="151" y="48"/>
                    <a:pt x="151" y="48"/>
                  </a:cubicBezTo>
                  <a:cubicBezTo>
                    <a:pt x="151" y="21"/>
                    <a:pt x="129" y="0"/>
                    <a:pt x="103" y="0"/>
                  </a:cubicBezTo>
                  <a:cubicBezTo>
                    <a:pt x="48" y="0"/>
                    <a:pt x="48" y="0"/>
                    <a:pt x="48" y="0"/>
                  </a:cubicBezTo>
                  <a:cubicBezTo>
                    <a:pt x="22" y="0"/>
                    <a:pt x="0" y="21"/>
                    <a:pt x="0" y="48"/>
                  </a:cubicBezTo>
                  <a:cubicBezTo>
                    <a:pt x="0" y="96"/>
                    <a:pt x="0" y="96"/>
                    <a:pt x="0" y="96"/>
                  </a:cubicBezTo>
                  <a:cubicBezTo>
                    <a:pt x="0" y="122"/>
                    <a:pt x="21" y="144"/>
                    <a:pt x="48" y="144"/>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sz="1300" dirty="0">
                <a:latin typeface="+mn-lt"/>
                <a:ea typeface="+mn-ea"/>
              </a:endParaRPr>
            </a:p>
          </p:txBody>
        </p:sp>
        <p:sp>
          <p:nvSpPr>
            <p:cNvPr id="8" name="Freeform 6"/>
            <p:cNvSpPr>
              <a:spLocks noChangeArrowheads="1"/>
            </p:cNvSpPr>
            <p:nvPr/>
          </p:nvSpPr>
          <p:spPr bwMode="auto">
            <a:xfrm>
              <a:off x="6397625" y="2543175"/>
              <a:ext cx="2708275" cy="2990850"/>
            </a:xfrm>
            <a:custGeom>
              <a:avLst/>
              <a:gdLst>
                <a:gd name="T0" fmla="*/ 323 w 469"/>
                <a:gd name="T1" fmla="*/ 51 h 518"/>
                <a:gd name="T2" fmla="*/ 325 w 469"/>
                <a:gd name="T3" fmla="*/ 105 h 518"/>
                <a:gd name="T4" fmla="*/ 325 w 469"/>
                <a:gd name="T5" fmla="*/ 109 h 518"/>
                <a:gd name="T6" fmla="*/ 244 w 469"/>
                <a:gd name="T7" fmla="*/ 191 h 518"/>
                <a:gd name="T8" fmla="*/ 48 w 469"/>
                <a:gd name="T9" fmla="*/ 195 h 518"/>
                <a:gd name="T10" fmla="*/ 1 w 469"/>
                <a:gd name="T11" fmla="*/ 244 h 518"/>
                <a:gd name="T12" fmla="*/ 5 w 469"/>
                <a:gd name="T13" fmla="*/ 470 h 518"/>
                <a:gd name="T14" fmla="*/ 54 w 469"/>
                <a:gd name="T15" fmla="*/ 517 h 518"/>
                <a:gd name="T16" fmla="*/ 285 w 469"/>
                <a:gd name="T17" fmla="*/ 513 h 518"/>
                <a:gd name="T18" fmla="*/ 332 w 469"/>
                <a:gd name="T19" fmla="*/ 464 h 518"/>
                <a:gd name="T20" fmla="*/ 327 w 469"/>
                <a:gd name="T21" fmla="*/ 237 h 518"/>
                <a:gd name="T22" fmla="*/ 327 w 469"/>
                <a:gd name="T23" fmla="*/ 231 h 518"/>
                <a:gd name="T24" fmla="*/ 380 w 469"/>
                <a:gd name="T25" fmla="*/ 152 h 518"/>
                <a:gd name="T26" fmla="*/ 422 w 469"/>
                <a:gd name="T27" fmla="*/ 151 h 518"/>
                <a:gd name="T28" fmla="*/ 469 w 469"/>
                <a:gd name="T29" fmla="*/ 102 h 518"/>
                <a:gd name="T30" fmla="*/ 467 w 469"/>
                <a:gd name="T31" fmla="*/ 48 h 518"/>
                <a:gd name="T32" fmla="*/ 418 w 469"/>
                <a:gd name="T33" fmla="*/ 1 h 518"/>
                <a:gd name="T34" fmla="*/ 370 w 469"/>
                <a:gd name="T35" fmla="*/ 2 h 518"/>
                <a:gd name="T36" fmla="*/ 323 w 469"/>
                <a:gd name="T37" fmla="*/ 51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9" h="518">
                  <a:moveTo>
                    <a:pt x="323" y="51"/>
                  </a:moveTo>
                  <a:cubicBezTo>
                    <a:pt x="325" y="105"/>
                    <a:pt x="325" y="105"/>
                    <a:pt x="325" y="105"/>
                  </a:cubicBezTo>
                  <a:cubicBezTo>
                    <a:pt x="325" y="106"/>
                    <a:pt x="325" y="107"/>
                    <a:pt x="325" y="109"/>
                  </a:cubicBezTo>
                  <a:cubicBezTo>
                    <a:pt x="325" y="122"/>
                    <a:pt x="322" y="174"/>
                    <a:pt x="244" y="191"/>
                  </a:cubicBezTo>
                  <a:cubicBezTo>
                    <a:pt x="48" y="195"/>
                    <a:pt x="48" y="195"/>
                    <a:pt x="48" y="195"/>
                  </a:cubicBezTo>
                  <a:cubicBezTo>
                    <a:pt x="21" y="195"/>
                    <a:pt x="0" y="217"/>
                    <a:pt x="1" y="244"/>
                  </a:cubicBezTo>
                  <a:cubicBezTo>
                    <a:pt x="5" y="470"/>
                    <a:pt x="5" y="470"/>
                    <a:pt x="5" y="470"/>
                  </a:cubicBezTo>
                  <a:cubicBezTo>
                    <a:pt x="6" y="497"/>
                    <a:pt x="28" y="518"/>
                    <a:pt x="54" y="517"/>
                  </a:cubicBezTo>
                  <a:cubicBezTo>
                    <a:pt x="285" y="513"/>
                    <a:pt x="285" y="513"/>
                    <a:pt x="285" y="513"/>
                  </a:cubicBezTo>
                  <a:cubicBezTo>
                    <a:pt x="311" y="512"/>
                    <a:pt x="332" y="490"/>
                    <a:pt x="332" y="464"/>
                  </a:cubicBezTo>
                  <a:cubicBezTo>
                    <a:pt x="327" y="237"/>
                    <a:pt x="327" y="237"/>
                    <a:pt x="327" y="237"/>
                  </a:cubicBezTo>
                  <a:cubicBezTo>
                    <a:pt x="327" y="235"/>
                    <a:pt x="327" y="233"/>
                    <a:pt x="327" y="231"/>
                  </a:cubicBezTo>
                  <a:cubicBezTo>
                    <a:pt x="329" y="204"/>
                    <a:pt x="339" y="166"/>
                    <a:pt x="380" y="152"/>
                  </a:cubicBezTo>
                  <a:cubicBezTo>
                    <a:pt x="422" y="151"/>
                    <a:pt x="422" y="151"/>
                    <a:pt x="422" y="151"/>
                  </a:cubicBezTo>
                  <a:cubicBezTo>
                    <a:pt x="448" y="151"/>
                    <a:pt x="469" y="129"/>
                    <a:pt x="469" y="102"/>
                  </a:cubicBezTo>
                  <a:cubicBezTo>
                    <a:pt x="467" y="48"/>
                    <a:pt x="467" y="48"/>
                    <a:pt x="467" y="48"/>
                  </a:cubicBezTo>
                  <a:cubicBezTo>
                    <a:pt x="467" y="21"/>
                    <a:pt x="445" y="0"/>
                    <a:pt x="418" y="1"/>
                  </a:cubicBezTo>
                  <a:cubicBezTo>
                    <a:pt x="370" y="2"/>
                    <a:pt x="370" y="2"/>
                    <a:pt x="370" y="2"/>
                  </a:cubicBezTo>
                  <a:cubicBezTo>
                    <a:pt x="344" y="2"/>
                    <a:pt x="323" y="24"/>
                    <a:pt x="323" y="51"/>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sz="1300" dirty="0">
                <a:latin typeface="+mn-lt"/>
                <a:ea typeface="+mn-ea"/>
              </a:endParaRPr>
            </a:p>
          </p:txBody>
        </p:sp>
        <p:sp>
          <p:nvSpPr>
            <p:cNvPr id="10" name="TextBox 13"/>
            <p:cNvSpPr txBox="1">
              <a:spLocks noChangeArrowheads="1"/>
            </p:cNvSpPr>
            <p:nvPr/>
          </p:nvSpPr>
          <p:spPr bwMode="auto">
            <a:xfrm>
              <a:off x="8131175" y="1555751"/>
              <a:ext cx="2338388" cy="26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ea typeface="微软雅黑" panose="020B0503020204020204" pitchFamily="34" charset="-122"/>
                  <a:sym typeface="+mn-lt"/>
                </a:rPr>
                <a:t>Sample text</a:t>
              </a:r>
              <a:endParaRPr lang="zh-CN" altLang="en-US" sz="1300" b="1" dirty="0">
                <a:solidFill>
                  <a:srgbClr val="86BC25"/>
                </a:solidFill>
                <a:ea typeface="微软雅黑" panose="020B0503020204020204" pitchFamily="34" charset="-122"/>
                <a:sym typeface="+mn-lt"/>
              </a:endParaRPr>
            </a:p>
          </p:txBody>
        </p:sp>
        <p:sp>
          <p:nvSpPr>
            <p:cNvPr id="11" name="TextBox 13"/>
            <p:cNvSpPr txBox="1">
              <a:spLocks noChangeArrowheads="1"/>
            </p:cNvSpPr>
            <p:nvPr/>
          </p:nvSpPr>
          <p:spPr bwMode="auto">
            <a:xfrm>
              <a:off x="8135937" y="1843089"/>
              <a:ext cx="4091314" cy="52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ea typeface="微软雅黑" panose="020B0503020204020204" pitchFamily="34" charset="-122"/>
                <a:sym typeface="+mn-lt"/>
              </a:endParaRPr>
            </a:p>
          </p:txBody>
        </p:sp>
        <p:sp>
          <p:nvSpPr>
            <p:cNvPr id="12" name="TextBox 13"/>
            <p:cNvSpPr txBox="1">
              <a:spLocks noChangeArrowheads="1"/>
            </p:cNvSpPr>
            <p:nvPr/>
          </p:nvSpPr>
          <p:spPr bwMode="auto">
            <a:xfrm>
              <a:off x="8559800" y="4137026"/>
              <a:ext cx="2338388" cy="26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ea typeface="微软雅黑" panose="020B0503020204020204" pitchFamily="34" charset="-122"/>
                  <a:sym typeface="+mn-lt"/>
                </a:rPr>
                <a:t>Sample text</a:t>
              </a:r>
              <a:endParaRPr lang="zh-CN" altLang="en-US" sz="1300" b="1" dirty="0">
                <a:solidFill>
                  <a:srgbClr val="86BC25"/>
                </a:solidFill>
                <a:ea typeface="微软雅黑" panose="020B0503020204020204" pitchFamily="34" charset="-122"/>
                <a:sym typeface="+mn-lt"/>
              </a:endParaRPr>
            </a:p>
          </p:txBody>
        </p:sp>
        <p:sp>
          <p:nvSpPr>
            <p:cNvPr id="13" name="TextBox 13"/>
            <p:cNvSpPr txBox="1">
              <a:spLocks noChangeArrowheads="1"/>
            </p:cNvSpPr>
            <p:nvPr/>
          </p:nvSpPr>
          <p:spPr bwMode="auto">
            <a:xfrm>
              <a:off x="8564562" y="4422777"/>
              <a:ext cx="4026476" cy="52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ea typeface="微软雅黑" panose="020B0503020204020204" pitchFamily="34" charset="-122"/>
                <a:sym typeface="+mn-lt"/>
              </a:endParaRPr>
            </a:p>
          </p:txBody>
        </p:sp>
        <p:sp>
          <p:nvSpPr>
            <p:cNvPr id="14" name="TextBox 13"/>
            <p:cNvSpPr txBox="1">
              <a:spLocks noChangeArrowheads="1"/>
            </p:cNvSpPr>
            <p:nvPr/>
          </p:nvSpPr>
          <p:spPr bwMode="auto">
            <a:xfrm>
              <a:off x="1176338" y="2295524"/>
              <a:ext cx="2336801" cy="26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r" eaLnBrk="1" hangingPunct="1"/>
              <a:r>
                <a:rPr lang="en-US" altLang="zh-CN" sz="1300" b="1" dirty="0">
                  <a:solidFill>
                    <a:srgbClr val="86BC25"/>
                  </a:solidFill>
                  <a:ea typeface="微软雅黑" panose="020B0503020204020204" pitchFamily="34" charset="-122"/>
                  <a:sym typeface="+mn-lt"/>
                </a:rPr>
                <a:t>Sample text</a:t>
              </a:r>
              <a:endParaRPr lang="zh-CN" altLang="en-US" sz="1300" b="1" dirty="0">
                <a:solidFill>
                  <a:srgbClr val="86BC25"/>
                </a:solidFill>
                <a:ea typeface="微软雅黑" panose="020B0503020204020204" pitchFamily="34" charset="-122"/>
                <a:sym typeface="+mn-lt"/>
              </a:endParaRPr>
            </a:p>
          </p:txBody>
        </p:sp>
        <p:sp>
          <p:nvSpPr>
            <p:cNvPr id="15" name="TextBox 13"/>
            <p:cNvSpPr txBox="1">
              <a:spLocks noChangeArrowheads="1"/>
            </p:cNvSpPr>
            <p:nvPr/>
          </p:nvSpPr>
          <p:spPr bwMode="auto">
            <a:xfrm>
              <a:off x="-432375" y="2582862"/>
              <a:ext cx="3945511" cy="52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r" eaLnBrk="1" hangingPunct="1"/>
              <a:r>
                <a:rPr lang="en-US" altLang="zh-CN" sz="1300" dirty="0">
                  <a:solidFill>
                    <a:schemeClr val="bg1"/>
                  </a:solidFill>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ea typeface="微软雅黑" panose="020B0503020204020204" pitchFamily="34" charset="-122"/>
                <a:sym typeface="+mn-lt"/>
              </a:endParaRPr>
            </a:p>
          </p:txBody>
        </p:sp>
        <p:sp>
          <p:nvSpPr>
            <p:cNvPr id="16" name="TextBox 13"/>
            <p:cNvSpPr txBox="1">
              <a:spLocks noChangeArrowheads="1"/>
            </p:cNvSpPr>
            <p:nvPr/>
          </p:nvSpPr>
          <p:spPr bwMode="auto">
            <a:xfrm>
              <a:off x="1481139" y="5113338"/>
              <a:ext cx="2338386" cy="26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r" eaLnBrk="1" hangingPunct="1"/>
              <a:r>
                <a:rPr lang="en-US" altLang="zh-CN" sz="1300" b="1" dirty="0">
                  <a:solidFill>
                    <a:srgbClr val="86BC25"/>
                  </a:solidFill>
                  <a:ea typeface="微软雅黑" panose="020B0503020204020204" pitchFamily="34" charset="-122"/>
                  <a:sym typeface="+mn-lt"/>
                </a:rPr>
                <a:t>Sample text</a:t>
              </a:r>
              <a:endParaRPr lang="zh-CN" altLang="en-US" sz="1300" b="1" dirty="0">
                <a:solidFill>
                  <a:srgbClr val="86BC25"/>
                </a:solidFill>
                <a:ea typeface="微软雅黑" panose="020B0503020204020204" pitchFamily="34" charset="-122"/>
                <a:sym typeface="+mn-lt"/>
              </a:endParaRPr>
            </a:p>
          </p:txBody>
        </p:sp>
        <p:sp>
          <p:nvSpPr>
            <p:cNvPr id="17" name="TextBox 13"/>
            <p:cNvSpPr txBox="1">
              <a:spLocks noChangeArrowheads="1"/>
            </p:cNvSpPr>
            <p:nvPr/>
          </p:nvSpPr>
          <p:spPr bwMode="auto">
            <a:xfrm>
              <a:off x="-131288" y="5399087"/>
              <a:ext cx="3950813" cy="52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r" eaLnBrk="1" hangingPunct="1"/>
              <a:r>
                <a:rPr lang="en-US" altLang="zh-CN" sz="1300" dirty="0">
                  <a:solidFill>
                    <a:schemeClr val="bg1"/>
                  </a:solidFill>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ea typeface="微软雅黑" panose="020B0503020204020204" pitchFamily="34" charset="-122"/>
                <a:sym typeface="+mn-lt"/>
              </a:endParaRPr>
            </a:p>
          </p:txBody>
        </p:sp>
        <p:sp>
          <p:nvSpPr>
            <p:cNvPr id="18" name="TextBox 13"/>
            <p:cNvSpPr txBox="1">
              <a:spLocks noChangeArrowheads="1"/>
            </p:cNvSpPr>
            <p:nvPr/>
          </p:nvSpPr>
          <p:spPr bwMode="auto">
            <a:xfrm>
              <a:off x="4137025" y="2146561"/>
              <a:ext cx="1404937" cy="105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300" dirty="0">
                  <a:solidFill>
                    <a:schemeClr val="accent1"/>
                  </a:solidFill>
                  <a:latin typeface="+mn-lt"/>
                  <a:ea typeface="+mn-ea"/>
                  <a:sym typeface="Arial" panose="020B0604020202020204" pitchFamily="34" charset="0"/>
                </a:rPr>
                <a:t>Add your text here you need, add your text here you need,</a:t>
              </a:r>
            </a:p>
          </p:txBody>
        </p:sp>
        <p:sp>
          <p:nvSpPr>
            <p:cNvPr id="19" name="TextBox 13"/>
            <p:cNvSpPr txBox="1">
              <a:spLocks noChangeArrowheads="1"/>
            </p:cNvSpPr>
            <p:nvPr/>
          </p:nvSpPr>
          <p:spPr bwMode="auto">
            <a:xfrm>
              <a:off x="6308725" y="1825886"/>
              <a:ext cx="1404937" cy="105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300" dirty="0">
                  <a:solidFill>
                    <a:schemeClr val="accent1"/>
                  </a:solidFill>
                  <a:sym typeface="Arial" panose="020B0604020202020204" pitchFamily="34" charset="0"/>
                </a:rPr>
                <a:t>Add your text here you need, add your text here you need,</a:t>
              </a:r>
            </a:p>
          </p:txBody>
        </p:sp>
        <p:sp>
          <p:nvSpPr>
            <p:cNvPr id="20" name="TextBox 13"/>
            <p:cNvSpPr txBox="1">
              <a:spLocks noChangeArrowheads="1"/>
            </p:cNvSpPr>
            <p:nvPr/>
          </p:nvSpPr>
          <p:spPr bwMode="auto">
            <a:xfrm>
              <a:off x="4462463" y="4353187"/>
              <a:ext cx="1403350" cy="105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300" dirty="0">
                  <a:solidFill>
                    <a:schemeClr val="accent1"/>
                  </a:solidFill>
                  <a:sym typeface="Arial" panose="020B0604020202020204" pitchFamily="34" charset="0"/>
                </a:rPr>
                <a:t>Add your text here you need, add your text here you need,</a:t>
              </a:r>
            </a:p>
          </p:txBody>
        </p:sp>
        <p:sp>
          <p:nvSpPr>
            <p:cNvPr id="21" name="TextBox 13"/>
            <p:cNvSpPr txBox="1">
              <a:spLocks noChangeArrowheads="1"/>
            </p:cNvSpPr>
            <p:nvPr/>
          </p:nvSpPr>
          <p:spPr bwMode="auto">
            <a:xfrm>
              <a:off x="6705600" y="4042036"/>
              <a:ext cx="1403350" cy="105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300" dirty="0">
                  <a:solidFill>
                    <a:schemeClr val="accent1"/>
                  </a:solidFill>
                  <a:sym typeface="Arial" panose="020B0604020202020204" pitchFamily="34" charset="0"/>
                </a:rPr>
                <a:t>Add your text here you need, add your text here you need,</a:t>
              </a:r>
            </a:p>
          </p:txBody>
        </p:sp>
      </p:grpSp>
      <p:grpSp>
        <p:nvGrpSpPr>
          <p:cNvPr id="23" name="Group 447">
            <a:extLst>
              <a:ext uri="{FF2B5EF4-FFF2-40B4-BE49-F238E27FC236}">
                <a16:creationId xmlns:a16="http://schemas.microsoft.com/office/drawing/2014/main" id="{47307AE6-90BC-44A0-8E85-5C61D1C6B67F}"/>
              </a:ext>
            </a:extLst>
          </p:cNvPr>
          <p:cNvGrpSpPr>
            <a:grpSpLocks noChangeAspect="1"/>
          </p:cNvGrpSpPr>
          <p:nvPr/>
        </p:nvGrpSpPr>
        <p:grpSpPr bwMode="auto">
          <a:xfrm>
            <a:off x="3909580" y="4358612"/>
            <a:ext cx="327204" cy="327204"/>
            <a:chOff x="5601" y="1820"/>
            <a:chExt cx="340" cy="340"/>
          </a:xfrm>
          <a:solidFill>
            <a:schemeClr val="accent1"/>
          </a:solidFill>
        </p:grpSpPr>
        <p:sp>
          <p:nvSpPr>
            <p:cNvPr id="24" name="Freeform 448">
              <a:extLst>
                <a:ext uri="{FF2B5EF4-FFF2-40B4-BE49-F238E27FC236}">
                  <a16:creationId xmlns:a16="http://schemas.microsoft.com/office/drawing/2014/main" id="{74216DF5-FA82-42A1-BD35-82D4BD00C39C}"/>
                </a:ext>
              </a:extLst>
            </p:cNvPr>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25" name="Freeform 449">
              <a:extLst>
                <a:ext uri="{FF2B5EF4-FFF2-40B4-BE49-F238E27FC236}">
                  <a16:creationId xmlns:a16="http://schemas.microsoft.com/office/drawing/2014/main" id="{F9943489-F533-444A-AA98-5AA5FCC3F9B0}"/>
                </a:ext>
              </a:extLst>
            </p:cNvPr>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sp>
        <p:nvSpPr>
          <p:cNvPr id="26" name="Freeform 580">
            <a:extLst>
              <a:ext uri="{FF2B5EF4-FFF2-40B4-BE49-F238E27FC236}">
                <a16:creationId xmlns:a16="http://schemas.microsoft.com/office/drawing/2014/main" id="{7B7B5C17-9545-4FDE-BBCB-1E8D022DA2EB}"/>
              </a:ext>
            </a:extLst>
          </p:cNvPr>
          <p:cNvSpPr>
            <a:spLocks noChangeAspect="1" noEditPoints="1"/>
          </p:cNvSpPr>
          <p:nvPr/>
        </p:nvSpPr>
        <p:spPr bwMode="auto">
          <a:xfrm>
            <a:off x="5423148" y="1854095"/>
            <a:ext cx="328042" cy="328042"/>
          </a:xfrm>
          <a:custGeom>
            <a:avLst/>
            <a:gdLst>
              <a:gd name="T0" fmla="*/ 176 w 512"/>
              <a:gd name="T1" fmla="*/ 170 h 512"/>
              <a:gd name="T2" fmla="*/ 352 w 512"/>
              <a:gd name="T3" fmla="*/ 170 h 512"/>
              <a:gd name="T4" fmla="*/ 352 w 512"/>
              <a:gd name="T5" fmla="*/ 394 h 512"/>
              <a:gd name="T6" fmla="*/ 176 w 512"/>
              <a:gd name="T7" fmla="*/ 394 h 512"/>
              <a:gd name="T8" fmla="*/ 160 w 512"/>
              <a:gd name="T9" fmla="*/ 378 h 512"/>
              <a:gd name="T10" fmla="*/ 160 w 512"/>
              <a:gd name="T11" fmla="*/ 167 h 512"/>
              <a:gd name="T12" fmla="*/ 176 w 512"/>
              <a:gd name="T13" fmla="*/ 170 h 512"/>
              <a:gd name="T14" fmla="*/ 176 w 512"/>
              <a:gd name="T15" fmla="*/ 149 h 512"/>
              <a:gd name="T16" fmla="*/ 323 w 512"/>
              <a:gd name="T17" fmla="*/ 149 h 512"/>
              <a:gd name="T18" fmla="*/ 320 w 512"/>
              <a:gd name="T19" fmla="*/ 133 h 512"/>
              <a:gd name="T20" fmla="*/ 323 w 512"/>
              <a:gd name="T21" fmla="*/ 117 h 512"/>
              <a:gd name="T22" fmla="*/ 176 w 512"/>
              <a:gd name="T23" fmla="*/ 117 h 512"/>
              <a:gd name="T24" fmla="*/ 160 w 512"/>
              <a:gd name="T25" fmla="*/ 133 h 512"/>
              <a:gd name="T26" fmla="*/ 176 w 512"/>
              <a:gd name="T27" fmla="*/ 149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133 h 512"/>
              <a:gd name="T40" fmla="*/ 346 w 512"/>
              <a:gd name="T41" fmla="*/ 117 h 512"/>
              <a:gd name="T42" fmla="*/ 364 w 512"/>
              <a:gd name="T43" fmla="*/ 117 h 512"/>
              <a:gd name="T44" fmla="*/ 373 w 512"/>
              <a:gd name="T45" fmla="*/ 106 h 512"/>
              <a:gd name="T46" fmla="*/ 364 w 512"/>
              <a:gd name="T47" fmla="*/ 96 h 512"/>
              <a:gd name="T48" fmla="*/ 176 w 512"/>
              <a:gd name="T49" fmla="*/ 96 h 512"/>
              <a:gd name="T50" fmla="*/ 138 w 512"/>
              <a:gd name="T51" fmla="*/ 133 h 512"/>
              <a:gd name="T52" fmla="*/ 138 w 512"/>
              <a:gd name="T53" fmla="*/ 378 h 512"/>
              <a:gd name="T54" fmla="*/ 176 w 512"/>
              <a:gd name="T55" fmla="*/ 416 h 512"/>
              <a:gd name="T56" fmla="*/ 362 w 512"/>
              <a:gd name="T57" fmla="*/ 416 h 512"/>
              <a:gd name="T58" fmla="*/ 373 w 512"/>
              <a:gd name="T59" fmla="*/ 405 h 512"/>
              <a:gd name="T60" fmla="*/ 373 w 512"/>
              <a:gd name="T61" fmla="*/ 160 h 512"/>
              <a:gd name="T62" fmla="*/ 362 w 512"/>
              <a:gd name="T63" fmla="*/ 149 h 512"/>
              <a:gd name="T64" fmla="*/ 346 w 512"/>
              <a:gd name="T65" fmla="*/ 149 h 512"/>
              <a:gd name="T66" fmla="*/ 341 w 512"/>
              <a:gd name="T67" fmla="*/ 13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76" y="170"/>
                </a:moveTo>
                <a:cubicBezTo>
                  <a:pt x="178" y="170"/>
                  <a:pt x="352" y="170"/>
                  <a:pt x="352" y="170"/>
                </a:cubicBezTo>
                <a:cubicBezTo>
                  <a:pt x="352" y="394"/>
                  <a:pt x="352" y="394"/>
                  <a:pt x="352" y="394"/>
                </a:cubicBezTo>
                <a:cubicBezTo>
                  <a:pt x="176" y="394"/>
                  <a:pt x="176" y="394"/>
                  <a:pt x="176" y="394"/>
                </a:cubicBezTo>
                <a:cubicBezTo>
                  <a:pt x="167" y="394"/>
                  <a:pt x="160" y="387"/>
                  <a:pt x="160" y="378"/>
                </a:cubicBezTo>
                <a:cubicBezTo>
                  <a:pt x="160" y="167"/>
                  <a:pt x="160" y="167"/>
                  <a:pt x="160" y="167"/>
                </a:cubicBezTo>
                <a:cubicBezTo>
                  <a:pt x="165" y="169"/>
                  <a:pt x="170" y="170"/>
                  <a:pt x="176" y="170"/>
                </a:cubicBezTo>
                <a:close/>
                <a:moveTo>
                  <a:pt x="176" y="149"/>
                </a:moveTo>
                <a:cubicBezTo>
                  <a:pt x="177" y="149"/>
                  <a:pt x="268" y="149"/>
                  <a:pt x="323" y="149"/>
                </a:cubicBezTo>
                <a:cubicBezTo>
                  <a:pt x="321" y="144"/>
                  <a:pt x="320" y="139"/>
                  <a:pt x="320" y="133"/>
                </a:cubicBezTo>
                <a:cubicBezTo>
                  <a:pt x="320" y="127"/>
                  <a:pt x="321" y="122"/>
                  <a:pt x="323" y="117"/>
                </a:cubicBezTo>
                <a:cubicBezTo>
                  <a:pt x="176" y="117"/>
                  <a:pt x="176" y="117"/>
                  <a:pt x="176" y="117"/>
                </a:cubicBezTo>
                <a:cubicBezTo>
                  <a:pt x="167" y="117"/>
                  <a:pt x="160" y="124"/>
                  <a:pt x="160" y="133"/>
                </a:cubicBezTo>
                <a:cubicBezTo>
                  <a:pt x="160" y="142"/>
                  <a:pt x="167" y="149"/>
                  <a:pt x="176" y="14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33"/>
                </a:moveTo>
                <a:cubicBezTo>
                  <a:pt x="341" y="127"/>
                  <a:pt x="343" y="122"/>
                  <a:pt x="346" y="117"/>
                </a:cubicBezTo>
                <a:cubicBezTo>
                  <a:pt x="364" y="117"/>
                  <a:pt x="364" y="117"/>
                  <a:pt x="364" y="117"/>
                </a:cubicBezTo>
                <a:cubicBezTo>
                  <a:pt x="369" y="117"/>
                  <a:pt x="373" y="112"/>
                  <a:pt x="373" y="106"/>
                </a:cubicBezTo>
                <a:cubicBezTo>
                  <a:pt x="373" y="100"/>
                  <a:pt x="369" y="96"/>
                  <a:pt x="364" y="96"/>
                </a:cubicBezTo>
                <a:cubicBezTo>
                  <a:pt x="176" y="96"/>
                  <a:pt x="176" y="96"/>
                  <a:pt x="176" y="96"/>
                </a:cubicBezTo>
                <a:cubicBezTo>
                  <a:pt x="155" y="96"/>
                  <a:pt x="138" y="112"/>
                  <a:pt x="138" y="133"/>
                </a:cubicBezTo>
                <a:cubicBezTo>
                  <a:pt x="138" y="378"/>
                  <a:pt x="138" y="378"/>
                  <a:pt x="138" y="378"/>
                </a:cubicBezTo>
                <a:cubicBezTo>
                  <a:pt x="138" y="399"/>
                  <a:pt x="155" y="416"/>
                  <a:pt x="176" y="416"/>
                </a:cubicBezTo>
                <a:cubicBezTo>
                  <a:pt x="362" y="416"/>
                  <a:pt x="362" y="416"/>
                  <a:pt x="362" y="416"/>
                </a:cubicBezTo>
                <a:cubicBezTo>
                  <a:pt x="368" y="416"/>
                  <a:pt x="373" y="411"/>
                  <a:pt x="373" y="405"/>
                </a:cubicBezTo>
                <a:cubicBezTo>
                  <a:pt x="373" y="160"/>
                  <a:pt x="373" y="160"/>
                  <a:pt x="373" y="160"/>
                </a:cubicBezTo>
                <a:cubicBezTo>
                  <a:pt x="373" y="154"/>
                  <a:pt x="368" y="149"/>
                  <a:pt x="362" y="149"/>
                </a:cubicBezTo>
                <a:cubicBezTo>
                  <a:pt x="362" y="149"/>
                  <a:pt x="356" y="149"/>
                  <a:pt x="346" y="149"/>
                </a:cubicBezTo>
                <a:cubicBezTo>
                  <a:pt x="343" y="144"/>
                  <a:pt x="341" y="139"/>
                  <a:pt x="341" y="1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27" name="Freeform 496">
            <a:extLst>
              <a:ext uri="{FF2B5EF4-FFF2-40B4-BE49-F238E27FC236}">
                <a16:creationId xmlns:a16="http://schemas.microsoft.com/office/drawing/2014/main" id="{BBA75DE2-346D-49F5-895D-2FCDB503BD4C}"/>
              </a:ext>
            </a:extLst>
          </p:cNvPr>
          <p:cNvSpPr>
            <a:spLocks noChangeAspect="1" noEditPoints="1"/>
          </p:cNvSpPr>
          <p:nvPr/>
        </p:nvSpPr>
        <p:spPr bwMode="auto">
          <a:xfrm>
            <a:off x="7911792" y="3303325"/>
            <a:ext cx="327204" cy="328165"/>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28" name="Freeform 556">
            <a:extLst>
              <a:ext uri="{FF2B5EF4-FFF2-40B4-BE49-F238E27FC236}">
                <a16:creationId xmlns:a16="http://schemas.microsoft.com/office/drawing/2014/main" id="{977CE780-C45D-431E-BF44-2AD83927C345}"/>
              </a:ext>
            </a:extLst>
          </p:cNvPr>
          <p:cNvSpPr>
            <a:spLocks noChangeAspect="1" noEditPoints="1"/>
          </p:cNvSpPr>
          <p:nvPr/>
        </p:nvSpPr>
        <p:spPr bwMode="auto">
          <a:xfrm>
            <a:off x="6409547" y="5842147"/>
            <a:ext cx="327204" cy="328165"/>
          </a:xfrm>
          <a:custGeom>
            <a:avLst/>
            <a:gdLst>
              <a:gd name="T0" fmla="*/ 298 w 512"/>
              <a:gd name="T1" fmla="*/ 213 h 512"/>
              <a:gd name="T2" fmla="*/ 349 w 512"/>
              <a:gd name="T3" fmla="*/ 213 h 512"/>
              <a:gd name="T4" fmla="*/ 215 w 512"/>
              <a:gd name="T5" fmla="*/ 363 h 512"/>
              <a:gd name="T6" fmla="*/ 245 w 512"/>
              <a:gd name="T7" fmla="*/ 259 h 512"/>
              <a:gd name="T8" fmla="*/ 243 w 512"/>
              <a:gd name="T9" fmla="*/ 249 h 512"/>
              <a:gd name="T10" fmla="*/ 234 w 512"/>
              <a:gd name="T11" fmla="*/ 245 h 512"/>
              <a:gd name="T12" fmla="*/ 187 w 512"/>
              <a:gd name="T13" fmla="*/ 245 h 512"/>
              <a:gd name="T14" fmla="*/ 241 w 512"/>
              <a:gd name="T15" fmla="*/ 117 h 512"/>
              <a:gd name="T16" fmla="*/ 325 w 512"/>
              <a:gd name="T17" fmla="*/ 117 h 512"/>
              <a:gd name="T18" fmla="*/ 289 w 512"/>
              <a:gd name="T19" fmla="*/ 198 h 512"/>
              <a:gd name="T20" fmla="*/ 289 w 512"/>
              <a:gd name="T21" fmla="*/ 208 h 512"/>
              <a:gd name="T22" fmla="*/ 298 w 512"/>
              <a:gd name="T23" fmla="*/ 213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83 w 512"/>
              <a:gd name="T35" fmla="*/ 198 h 512"/>
              <a:gd name="T36" fmla="*/ 373 w 512"/>
              <a:gd name="T37" fmla="*/ 192 h 512"/>
              <a:gd name="T38" fmla="*/ 315 w 512"/>
              <a:gd name="T39" fmla="*/ 192 h 512"/>
              <a:gd name="T40" fmla="*/ 351 w 512"/>
              <a:gd name="T41" fmla="*/ 111 h 512"/>
              <a:gd name="T42" fmla="*/ 350 w 512"/>
              <a:gd name="T43" fmla="*/ 101 h 512"/>
              <a:gd name="T44" fmla="*/ 341 w 512"/>
              <a:gd name="T45" fmla="*/ 96 h 512"/>
              <a:gd name="T46" fmla="*/ 234 w 512"/>
              <a:gd name="T47" fmla="*/ 96 h 512"/>
              <a:gd name="T48" fmla="*/ 225 w 512"/>
              <a:gd name="T49" fmla="*/ 102 h 512"/>
              <a:gd name="T50" fmla="*/ 161 w 512"/>
              <a:gd name="T51" fmla="*/ 251 h 512"/>
              <a:gd name="T52" fmla="*/ 161 w 512"/>
              <a:gd name="T53" fmla="*/ 262 h 512"/>
              <a:gd name="T54" fmla="*/ 170 w 512"/>
              <a:gd name="T55" fmla="*/ 266 h 512"/>
              <a:gd name="T56" fmla="*/ 220 w 512"/>
              <a:gd name="T57" fmla="*/ 266 h 512"/>
              <a:gd name="T58" fmla="*/ 181 w 512"/>
              <a:gd name="T59" fmla="*/ 402 h 512"/>
              <a:gd name="T60" fmla="*/ 187 w 512"/>
              <a:gd name="T61" fmla="*/ 414 h 512"/>
              <a:gd name="T62" fmla="*/ 192 w 512"/>
              <a:gd name="T63" fmla="*/ 416 h 512"/>
              <a:gd name="T64" fmla="*/ 200 w 512"/>
              <a:gd name="T65" fmla="*/ 412 h 512"/>
              <a:gd name="T66" fmla="*/ 381 w 512"/>
              <a:gd name="T67" fmla="*/ 209 h 512"/>
              <a:gd name="T68" fmla="*/ 383 w 512"/>
              <a:gd name="T69"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98" y="213"/>
                </a:moveTo>
                <a:cubicBezTo>
                  <a:pt x="349" y="213"/>
                  <a:pt x="349" y="213"/>
                  <a:pt x="349" y="213"/>
                </a:cubicBezTo>
                <a:cubicBezTo>
                  <a:pt x="215" y="363"/>
                  <a:pt x="215" y="363"/>
                  <a:pt x="215" y="363"/>
                </a:cubicBezTo>
                <a:cubicBezTo>
                  <a:pt x="245" y="259"/>
                  <a:pt x="245" y="259"/>
                  <a:pt x="245" y="259"/>
                </a:cubicBezTo>
                <a:cubicBezTo>
                  <a:pt x="246" y="255"/>
                  <a:pt x="245" y="252"/>
                  <a:pt x="243" y="249"/>
                </a:cubicBezTo>
                <a:cubicBezTo>
                  <a:pt x="241" y="247"/>
                  <a:pt x="238" y="245"/>
                  <a:pt x="234" y="245"/>
                </a:cubicBezTo>
                <a:cubicBezTo>
                  <a:pt x="187" y="245"/>
                  <a:pt x="187" y="245"/>
                  <a:pt x="187" y="245"/>
                </a:cubicBezTo>
                <a:cubicBezTo>
                  <a:pt x="241" y="117"/>
                  <a:pt x="241" y="117"/>
                  <a:pt x="241" y="117"/>
                </a:cubicBezTo>
                <a:cubicBezTo>
                  <a:pt x="325" y="117"/>
                  <a:pt x="325" y="117"/>
                  <a:pt x="325" y="117"/>
                </a:cubicBezTo>
                <a:cubicBezTo>
                  <a:pt x="289" y="198"/>
                  <a:pt x="289" y="198"/>
                  <a:pt x="289" y="198"/>
                </a:cubicBezTo>
                <a:cubicBezTo>
                  <a:pt x="287" y="201"/>
                  <a:pt x="287" y="205"/>
                  <a:pt x="289" y="208"/>
                </a:cubicBezTo>
                <a:cubicBezTo>
                  <a:pt x="291" y="211"/>
                  <a:pt x="295" y="213"/>
                  <a:pt x="29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3" y="198"/>
                </a:moveTo>
                <a:cubicBezTo>
                  <a:pt x="381" y="194"/>
                  <a:pt x="377" y="192"/>
                  <a:pt x="373" y="192"/>
                </a:cubicBezTo>
                <a:cubicBezTo>
                  <a:pt x="315" y="192"/>
                  <a:pt x="315" y="192"/>
                  <a:pt x="315" y="192"/>
                </a:cubicBezTo>
                <a:cubicBezTo>
                  <a:pt x="351" y="111"/>
                  <a:pt x="351" y="111"/>
                  <a:pt x="351" y="111"/>
                </a:cubicBezTo>
                <a:cubicBezTo>
                  <a:pt x="352" y="107"/>
                  <a:pt x="352" y="104"/>
                  <a:pt x="350" y="101"/>
                </a:cubicBezTo>
                <a:cubicBezTo>
                  <a:pt x="348" y="97"/>
                  <a:pt x="345" y="96"/>
                  <a:pt x="341" y="96"/>
                </a:cubicBezTo>
                <a:cubicBezTo>
                  <a:pt x="234" y="96"/>
                  <a:pt x="234" y="96"/>
                  <a:pt x="234" y="96"/>
                </a:cubicBezTo>
                <a:cubicBezTo>
                  <a:pt x="230" y="96"/>
                  <a:pt x="226" y="98"/>
                  <a:pt x="225" y="102"/>
                </a:cubicBezTo>
                <a:cubicBezTo>
                  <a:pt x="161" y="251"/>
                  <a:pt x="161" y="251"/>
                  <a:pt x="161" y="251"/>
                </a:cubicBezTo>
                <a:cubicBezTo>
                  <a:pt x="159" y="255"/>
                  <a:pt x="159" y="259"/>
                  <a:pt x="161" y="262"/>
                </a:cubicBezTo>
                <a:cubicBezTo>
                  <a:pt x="163" y="265"/>
                  <a:pt x="167" y="266"/>
                  <a:pt x="170" y="266"/>
                </a:cubicBezTo>
                <a:cubicBezTo>
                  <a:pt x="220" y="266"/>
                  <a:pt x="220" y="266"/>
                  <a:pt x="220" y="266"/>
                </a:cubicBezTo>
                <a:cubicBezTo>
                  <a:pt x="181" y="402"/>
                  <a:pt x="181" y="402"/>
                  <a:pt x="181" y="402"/>
                </a:cubicBezTo>
                <a:cubicBezTo>
                  <a:pt x="180" y="407"/>
                  <a:pt x="182" y="412"/>
                  <a:pt x="187" y="414"/>
                </a:cubicBezTo>
                <a:cubicBezTo>
                  <a:pt x="188" y="415"/>
                  <a:pt x="190" y="416"/>
                  <a:pt x="192" y="416"/>
                </a:cubicBezTo>
                <a:cubicBezTo>
                  <a:pt x="195" y="416"/>
                  <a:pt x="198" y="414"/>
                  <a:pt x="200" y="412"/>
                </a:cubicBezTo>
                <a:cubicBezTo>
                  <a:pt x="381" y="209"/>
                  <a:pt x="381" y="209"/>
                  <a:pt x="381" y="209"/>
                </a:cubicBezTo>
                <a:cubicBezTo>
                  <a:pt x="384" y="206"/>
                  <a:pt x="384" y="202"/>
                  <a:pt x="383" y="19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300" dirty="0"/>
          </a:p>
        </p:txBody>
      </p:sp>
    </p:spTree>
    <p:custDataLst>
      <p:tags r:id="rId1"/>
    </p:custDataLst>
    <p:extLst>
      <p:ext uri="{BB962C8B-B14F-4D97-AF65-F5344CB8AC3E}">
        <p14:creationId xmlns:p14="http://schemas.microsoft.com/office/powerpoint/2010/main" val="345875920"/>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4"/>
          <p:cNvSpPr>
            <a:spLocks noChangeArrowheads="1"/>
          </p:cNvSpPr>
          <p:nvPr/>
        </p:nvSpPr>
        <p:spPr bwMode="auto">
          <a:xfrm>
            <a:off x="-337565" y="868268"/>
            <a:ext cx="184731"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spcBef>
                <a:spcPts val="0"/>
              </a:spcBef>
              <a:spcAft>
                <a:spcPts val="0"/>
              </a:spcAft>
              <a:buClrTx/>
              <a:buSzTx/>
              <a:buFontTx/>
              <a:buNone/>
              <a:tabLst/>
              <a:defRPr/>
            </a:pPr>
            <a:endParaRPr kumimoji="0" lang="en-US" altLang="en-US" sz="1300" b="0" i="0" u="none" strike="noStrike" kern="1200" cap="none" spc="0" normalizeH="0" baseline="0" noProof="0">
              <a:ln>
                <a:noFill/>
              </a:ln>
              <a:solidFill>
                <a:prstClr val="black"/>
              </a:solidFill>
              <a:effectLst/>
              <a:uLnTx/>
              <a:uFillTx/>
              <a:latin typeface="Futura Bk" pitchFamily="34" charset="0"/>
              <a:ea typeface="华文细黑"/>
              <a:cs typeface="+mn-cs"/>
            </a:endParaRPr>
          </a:p>
        </p:txBody>
      </p:sp>
      <p:sp>
        <p:nvSpPr>
          <p:cNvPr id="88" name="Rectangle 5"/>
          <p:cNvSpPr>
            <a:spLocks noChangeArrowheads="1"/>
          </p:cNvSpPr>
          <p:nvPr/>
        </p:nvSpPr>
        <p:spPr bwMode="auto">
          <a:xfrm>
            <a:off x="-337565" y="873405"/>
            <a:ext cx="184731"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spcBef>
                <a:spcPts val="0"/>
              </a:spcBef>
              <a:spcAft>
                <a:spcPts val="0"/>
              </a:spcAft>
              <a:buClrTx/>
              <a:buSzTx/>
              <a:buFontTx/>
              <a:buNone/>
              <a:tabLst/>
              <a:defRPr/>
            </a:pPr>
            <a:endParaRPr kumimoji="0" lang="en-US" altLang="en-US" sz="1300" b="0" i="0" u="none" strike="noStrike" kern="1200" cap="none" spc="0" normalizeH="0" baseline="0" noProof="0">
              <a:ln>
                <a:noFill/>
              </a:ln>
              <a:solidFill>
                <a:prstClr val="black"/>
              </a:solidFill>
              <a:effectLst/>
              <a:uLnTx/>
              <a:uFillTx/>
              <a:latin typeface="Futura Bk" pitchFamily="34" charset="0"/>
              <a:ea typeface="华文细黑"/>
              <a:cs typeface="+mn-cs"/>
            </a:endParaRPr>
          </a:p>
        </p:txBody>
      </p:sp>
      <p:grpSp>
        <p:nvGrpSpPr>
          <p:cNvPr id="747" name="组合 746"/>
          <p:cNvGrpSpPr/>
          <p:nvPr/>
        </p:nvGrpSpPr>
        <p:grpSpPr>
          <a:xfrm>
            <a:off x="493044" y="1934732"/>
            <a:ext cx="5391683" cy="922672"/>
            <a:chOff x="1371600" y="2181225"/>
            <a:chExt cx="3716338" cy="574675"/>
          </a:xfrm>
        </p:grpSpPr>
        <p:sp>
          <p:nvSpPr>
            <p:cNvPr id="751" name="Freeform 5"/>
            <p:cNvSpPr>
              <a:spLocks/>
            </p:cNvSpPr>
            <p:nvPr/>
          </p:nvSpPr>
          <p:spPr bwMode="auto">
            <a:xfrm>
              <a:off x="1371600" y="2181225"/>
              <a:ext cx="3522663" cy="574675"/>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752" name="Freeform 6"/>
            <p:cNvSpPr>
              <a:spLocks/>
            </p:cNvSpPr>
            <p:nvPr/>
          </p:nvSpPr>
          <p:spPr bwMode="auto">
            <a:xfrm>
              <a:off x="4549775" y="2181225"/>
              <a:ext cx="538163" cy="574675"/>
            </a:xfrm>
            <a:custGeom>
              <a:avLst/>
              <a:gdLst>
                <a:gd name="T0" fmla="*/ 284 w 339"/>
                <a:gd name="T1" fmla="*/ 0 h 362"/>
                <a:gd name="T2" fmla="*/ 0 w 339"/>
                <a:gd name="T3" fmla="*/ 362 h 362"/>
                <a:gd name="T4" fmla="*/ 54 w 339"/>
                <a:gd name="T5" fmla="*/ 362 h 362"/>
                <a:gd name="T6" fmla="*/ 339 w 339"/>
                <a:gd name="T7" fmla="*/ 0 h 362"/>
                <a:gd name="T8" fmla="*/ 284 w 339"/>
                <a:gd name="T9" fmla="*/ 0 h 362"/>
              </a:gdLst>
              <a:ahLst/>
              <a:cxnLst>
                <a:cxn ang="0">
                  <a:pos x="T0" y="T1"/>
                </a:cxn>
                <a:cxn ang="0">
                  <a:pos x="T2" y="T3"/>
                </a:cxn>
                <a:cxn ang="0">
                  <a:pos x="T4" y="T5"/>
                </a:cxn>
                <a:cxn ang="0">
                  <a:pos x="T6" y="T7"/>
                </a:cxn>
                <a:cxn ang="0">
                  <a:pos x="T8" y="T9"/>
                </a:cxn>
              </a:cxnLst>
              <a:rect l="0" t="0" r="r" b="b"/>
              <a:pathLst>
                <a:path w="339" h="362">
                  <a:moveTo>
                    <a:pt x="284" y="0"/>
                  </a:moveTo>
                  <a:lnTo>
                    <a:pt x="0" y="362"/>
                  </a:lnTo>
                  <a:lnTo>
                    <a:pt x="54" y="362"/>
                  </a:lnTo>
                  <a:lnTo>
                    <a:pt x="339" y="0"/>
                  </a:lnTo>
                  <a:lnTo>
                    <a:pt x="284"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300"/>
            </a:p>
          </p:txBody>
        </p:sp>
      </p:grpSp>
      <p:sp>
        <p:nvSpPr>
          <p:cNvPr id="749" name="íṥ1íḑé">
            <a:extLst>
              <a:ext uri="{FF2B5EF4-FFF2-40B4-BE49-F238E27FC236}">
                <a16:creationId xmlns:a16="http://schemas.microsoft.com/office/drawing/2014/main" id="{BB8B7BF4-6FB5-4534-AAA6-C9970FF13C1A}"/>
              </a:ext>
            </a:extLst>
          </p:cNvPr>
          <p:cNvSpPr/>
          <p:nvPr/>
        </p:nvSpPr>
        <p:spPr bwMode="auto">
          <a:xfrm>
            <a:off x="2166347" y="1975574"/>
            <a:ext cx="2839997" cy="86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it is not here to be read. The is just text to show where you could insert text.</a:t>
            </a:r>
          </a:p>
        </p:txBody>
      </p:sp>
      <p:sp>
        <p:nvSpPr>
          <p:cNvPr id="750" name="ïṣľíḍe">
            <a:extLst>
              <a:ext uri="{FF2B5EF4-FFF2-40B4-BE49-F238E27FC236}">
                <a16:creationId xmlns:a16="http://schemas.microsoft.com/office/drawing/2014/main" id="{A1E2FB72-F084-4316-A475-936B0DE3CD31}"/>
              </a:ext>
            </a:extLst>
          </p:cNvPr>
          <p:cNvSpPr txBox="1"/>
          <p:nvPr/>
        </p:nvSpPr>
        <p:spPr bwMode="auto">
          <a:xfrm>
            <a:off x="2166347" y="1623034"/>
            <a:ext cx="2254125" cy="44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n-US" altLang="zh-CN" sz="1300" b="1" dirty="0">
                <a:solidFill>
                  <a:schemeClr val="accent3"/>
                </a:solidFill>
                <a:ea typeface="Verdana" panose="020B0604030504040204" pitchFamily="34" charset="0"/>
                <a:cs typeface="Verdana" panose="020B0604030504040204" pitchFamily="34" charset="0"/>
              </a:rPr>
              <a:t>Lorem ipsum</a:t>
            </a:r>
          </a:p>
        </p:txBody>
      </p:sp>
      <p:sp>
        <p:nvSpPr>
          <p:cNvPr id="788" name="椭圆 787"/>
          <p:cNvSpPr/>
          <p:nvPr/>
        </p:nvSpPr>
        <p:spPr bwMode="gray">
          <a:xfrm>
            <a:off x="617584" y="1584632"/>
            <a:ext cx="1455966" cy="1455966"/>
          </a:xfrm>
          <a:prstGeom prst="ellipse">
            <a:avLst/>
          </a:prstGeom>
          <a:solidFill>
            <a:schemeClr val="tx1"/>
          </a:solidFill>
          <a:ln w="6350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3" name="Group 2"/>
          <p:cNvGrpSpPr/>
          <p:nvPr/>
        </p:nvGrpSpPr>
        <p:grpSpPr>
          <a:xfrm>
            <a:off x="6369243" y="1934732"/>
            <a:ext cx="5350964" cy="922672"/>
            <a:chOff x="8003869" y="1743316"/>
            <a:chExt cx="3716338" cy="922672"/>
          </a:xfrm>
        </p:grpSpPr>
        <p:sp>
          <p:nvSpPr>
            <p:cNvPr id="780" name="Freeform 5"/>
            <p:cNvSpPr>
              <a:spLocks/>
            </p:cNvSpPr>
            <p:nvPr/>
          </p:nvSpPr>
          <p:spPr bwMode="auto">
            <a:xfrm>
              <a:off x="8003869" y="1743316"/>
              <a:ext cx="3522663" cy="922672"/>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781" name="Freeform 6"/>
            <p:cNvSpPr>
              <a:spLocks/>
            </p:cNvSpPr>
            <p:nvPr/>
          </p:nvSpPr>
          <p:spPr bwMode="auto">
            <a:xfrm>
              <a:off x="11182044" y="1743316"/>
              <a:ext cx="538163" cy="922672"/>
            </a:xfrm>
            <a:custGeom>
              <a:avLst/>
              <a:gdLst>
                <a:gd name="T0" fmla="*/ 284 w 339"/>
                <a:gd name="T1" fmla="*/ 0 h 362"/>
                <a:gd name="T2" fmla="*/ 0 w 339"/>
                <a:gd name="T3" fmla="*/ 362 h 362"/>
                <a:gd name="T4" fmla="*/ 54 w 339"/>
                <a:gd name="T5" fmla="*/ 362 h 362"/>
                <a:gd name="T6" fmla="*/ 339 w 339"/>
                <a:gd name="T7" fmla="*/ 0 h 362"/>
                <a:gd name="T8" fmla="*/ 284 w 339"/>
                <a:gd name="T9" fmla="*/ 0 h 362"/>
              </a:gdLst>
              <a:ahLst/>
              <a:cxnLst>
                <a:cxn ang="0">
                  <a:pos x="T0" y="T1"/>
                </a:cxn>
                <a:cxn ang="0">
                  <a:pos x="T2" y="T3"/>
                </a:cxn>
                <a:cxn ang="0">
                  <a:pos x="T4" y="T5"/>
                </a:cxn>
                <a:cxn ang="0">
                  <a:pos x="T6" y="T7"/>
                </a:cxn>
                <a:cxn ang="0">
                  <a:pos x="T8" y="T9"/>
                </a:cxn>
              </a:cxnLst>
              <a:rect l="0" t="0" r="r" b="b"/>
              <a:pathLst>
                <a:path w="339" h="362">
                  <a:moveTo>
                    <a:pt x="284" y="0"/>
                  </a:moveTo>
                  <a:lnTo>
                    <a:pt x="0" y="362"/>
                  </a:lnTo>
                  <a:lnTo>
                    <a:pt x="54" y="362"/>
                  </a:lnTo>
                  <a:lnTo>
                    <a:pt x="339" y="0"/>
                  </a:lnTo>
                  <a:lnTo>
                    <a:pt x="284" y="0"/>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sz="1300"/>
            </a:p>
          </p:txBody>
        </p:sp>
      </p:grpSp>
      <p:sp>
        <p:nvSpPr>
          <p:cNvPr id="778" name="íṥ1íḑé">
            <a:extLst>
              <a:ext uri="{FF2B5EF4-FFF2-40B4-BE49-F238E27FC236}">
                <a16:creationId xmlns:a16="http://schemas.microsoft.com/office/drawing/2014/main" id="{BB8B7BF4-6FB5-4534-AAA6-C9970FF13C1A}"/>
              </a:ext>
            </a:extLst>
          </p:cNvPr>
          <p:cNvSpPr/>
          <p:nvPr/>
        </p:nvSpPr>
        <p:spPr bwMode="auto">
          <a:xfrm>
            <a:off x="8058236" y="1975574"/>
            <a:ext cx="2793062" cy="86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it is not here to be read. The is just text to show where you could insert text.</a:t>
            </a:r>
          </a:p>
        </p:txBody>
      </p:sp>
      <p:sp>
        <p:nvSpPr>
          <p:cNvPr id="779" name="ïṣľíḍe">
            <a:extLst>
              <a:ext uri="{FF2B5EF4-FFF2-40B4-BE49-F238E27FC236}">
                <a16:creationId xmlns:a16="http://schemas.microsoft.com/office/drawing/2014/main" id="{A1E2FB72-F084-4316-A475-936B0DE3CD31}"/>
              </a:ext>
            </a:extLst>
          </p:cNvPr>
          <p:cNvSpPr txBox="1"/>
          <p:nvPr/>
        </p:nvSpPr>
        <p:spPr bwMode="auto">
          <a:xfrm>
            <a:off x="8058236" y="1623034"/>
            <a:ext cx="2254125" cy="44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n-US" altLang="zh-CN" sz="1300" b="1" dirty="0">
                <a:solidFill>
                  <a:srgbClr val="43B02A"/>
                </a:solidFill>
                <a:ea typeface="Verdana" panose="020B0604030504040204" pitchFamily="34" charset="0"/>
                <a:cs typeface="Verdana" panose="020B0604030504040204" pitchFamily="34" charset="0"/>
              </a:rPr>
              <a:t>Lorem ipsum</a:t>
            </a:r>
          </a:p>
        </p:txBody>
      </p:sp>
      <p:sp>
        <p:nvSpPr>
          <p:cNvPr id="789" name="椭圆 788"/>
          <p:cNvSpPr/>
          <p:nvPr/>
        </p:nvSpPr>
        <p:spPr bwMode="gray">
          <a:xfrm>
            <a:off x="6491002" y="1584632"/>
            <a:ext cx="1455966" cy="1455966"/>
          </a:xfrm>
          <a:prstGeom prst="ellipse">
            <a:avLst/>
          </a:prstGeom>
          <a:solidFill>
            <a:schemeClr val="tx1"/>
          </a:solidFill>
          <a:ln w="6350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2" name="Group 1"/>
          <p:cNvGrpSpPr/>
          <p:nvPr/>
        </p:nvGrpSpPr>
        <p:grpSpPr>
          <a:xfrm>
            <a:off x="6366462" y="4147403"/>
            <a:ext cx="5350964" cy="922672"/>
            <a:chOff x="8001088" y="3883590"/>
            <a:chExt cx="3716338" cy="922672"/>
          </a:xfrm>
        </p:grpSpPr>
        <p:sp>
          <p:nvSpPr>
            <p:cNvPr id="758" name="Freeform 5"/>
            <p:cNvSpPr>
              <a:spLocks/>
            </p:cNvSpPr>
            <p:nvPr/>
          </p:nvSpPr>
          <p:spPr bwMode="auto">
            <a:xfrm>
              <a:off x="8001088" y="3883590"/>
              <a:ext cx="3522663" cy="922672"/>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761" name="Freeform 6"/>
            <p:cNvSpPr>
              <a:spLocks/>
            </p:cNvSpPr>
            <p:nvPr/>
          </p:nvSpPr>
          <p:spPr bwMode="auto">
            <a:xfrm>
              <a:off x="11179263" y="3883590"/>
              <a:ext cx="538163" cy="922672"/>
            </a:xfrm>
            <a:custGeom>
              <a:avLst/>
              <a:gdLst>
                <a:gd name="T0" fmla="*/ 284 w 339"/>
                <a:gd name="T1" fmla="*/ 0 h 362"/>
                <a:gd name="T2" fmla="*/ 0 w 339"/>
                <a:gd name="T3" fmla="*/ 362 h 362"/>
                <a:gd name="T4" fmla="*/ 54 w 339"/>
                <a:gd name="T5" fmla="*/ 362 h 362"/>
                <a:gd name="T6" fmla="*/ 339 w 339"/>
                <a:gd name="T7" fmla="*/ 0 h 362"/>
                <a:gd name="T8" fmla="*/ 284 w 339"/>
                <a:gd name="T9" fmla="*/ 0 h 362"/>
              </a:gdLst>
              <a:ahLst/>
              <a:cxnLst>
                <a:cxn ang="0">
                  <a:pos x="T0" y="T1"/>
                </a:cxn>
                <a:cxn ang="0">
                  <a:pos x="T2" y="T3"/>
                </a:cxn>
                <a:cxn ang="0">
                  <a:pos x="T4" y="T5"/>
                </a:cxn>
                <a:cxn ang="0">
                  <a:pos x="T6" y="T7"/>
                </a:cxn>
                <a:cxn ang="0">
                  <a:pos x="T8" y="T9"/>
                </a:cxn>
              </a:cxnLst>
              <a:rect l="0" t="0" r="r" b="b"/>
              <a:pathLst>
                <a:path w="339" h="362">
                  <a:moveTo>
                    <a:pt x="284" y="0"/>
                  </a:moveTo>
                  <a:lnTo>
                    <a:pt x="0" y="362"/>
                  </a:lnTo>
                  <a:lnTo>
                    <a:pt x="54" y="362"/>
                  </a:lnTo>
                  <a:lnTo>
                    <a:pt x="339" y="0"/>
                  </a:lnTo>
                  <a:lnTo>
                    <a:pt x="284" y="0"/>
                  </a:ln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endParaRPr lang="en-US" sz="1300"/>
            </a:p>
          </p:txBody>
        </p:sp>
      </p:grpSp>
      <p:sp>
        <p:nvSpPr>
          <p:cNvPr id="756" name="íṥ1íḑé">
            <a:extLst>
              <a:ext uri="{FF2B5EF4-FFF2-40B4-BE49-F238E27FC236}">
                <a16:creationId xmlns:a16="http://schemas.microsoft.com/office/drawing/2014/main" id="{BB8B7BF4-6FB5-4534-AAA6-C9970FF13C1A}"/>
              </a:ext>
            </a:extLst>
          </p:cNvPr>
          <p:cNvSpPr/>
          <p:nvPr/>
        </p:nvSpPr>
        <p:spPr bwMode="auto">
          <a:xfrm>
            <a:off x="8055455" y="4147403"/>
            <a:ext cx="2802906" cy="86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80000" lvl="0" indent="-180000">
              <a:buFont typeface="Arial" panose="020B0604020202020204" pitchFamily="34" charset="0"/>
              <a:buChar char="•"/>
            </a:pPr>
            <a:r>
              <a:rPr lang="en-US" altLang="zh-CN" sz="1300" dirty="0">
                <a:solidFill>
                  <a:srgbClr val="000000"/>
                </a:solidFill>
                <a:ea typeface="Verdana" panose="020B0604030504040204" pitchFamily="34" charset="0"/>
                <a:cs typeface="Verdana" panose="020B0604030504040204" pitchFamily="34" charset="0"/>
              </a:rPr>
              <a:t>This is dummy text it is not here to be read. The is just text to show where you could insert text.</a:t>
            </a:r>
          </a:p>
        </p:txBody>
      </p:sp>
      <p:sp>
        <p:nvSpPr>
          <p:cNvPr id="757" name="ïṣľíḍe">
            <a:extLst>
              <a:ext uri="{FF2B5EF4-FFF2-40B4-BE49-F238E27FC236}">
                <a16:creationId xmlns:a16="http://schemas.microsoft.com/office/drawing/2014/main" id="{A1E2FB72-F084-4316-A475-936B0DE3CD31}"/>
              </a:ext>
            </a:extLst>
          </p:cNvPr>
          <p:cNvSpPr txBox="1"/>
          <p:nvPr/>
        </p:nvSpPr>
        <p:spPr bwMode="auto">
          <a:xfrm>
            <a:off x="8055455" y="3835705"/>
            <a:ext cx="2254125" cy="44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n-US" altLang="zh-CN" sz="1300" b="1" dirty="0">
                <a:solidFill>
                  <a:srgbClr val="FFFFFF"/>
                </a:solidFill>
                <a:ea typeface="Verdana" panose="020B0604030504040204" pitchFamily="34" charset="0"/>
                <a:cs typeface="Verdana" panose="020B0604030504040204" pitchFamily="34" charset="0"/>
              </a:rPr>
              <a:t>Lorem ipsum</a:t>
            </a:r>
          </a:p>
        </p:txBody>
      </p:sp>
      <p:sp>
        <p:nvSpPr>
          <p:cNvPr id="807" name="椭圆 806"/>
          <p:cNvSpPr/>
          <p:nvPr/>
        </p:nvSpPr>
        <p:spPr bwMode="gray">
          <a:xfrm>
            <a:off x="6477253" y="3724907"/>
            <a:ext cx="1455966" cy="1455966"/>
          </a:xfrm>
          <a:prstGeom prst="ellipse">
            <a:avLst/>
          </a:prstGeom>
          <a:solidFill>
            <a:schemeClr val="tx1"/>
          </a:solidFill>
          <a:ln w="6350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13" name="组合 12"/>
          <p:cNvGrpSpPr/>
          <p:nvPr/>
        </p:nvGrpSpPr>
        <p:grpSpPr>
          <a:xfrm>
            <a:off x="493044" y="4147403"/>
            <a:ext cx="5381320" cy="922672"/>
            <a:chOff x="1371600" y="2181225"/>
            <a:chExt cx="3716338" cy="574675"/>
          </a:xfrm>
        </p:grpSpPr>
        <p:sp>
          <p:nvSpPr>
            <p:cNvPr id="6" name="Freeform 5"/>
            <p:cNvSpPr>
              <a:spLocks/>
            </p:cNvSpPr>
            <p:nvPr/>
          </p:nvSpPr>
          <p:spPr bwMode="auto">
            <a:xfrm>
              <a:off x="1371600" y="2181225"/>
              <a:ext cx="3522663" cy="574675"/>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2" name="Freeform 6"/>
            <p:cNvSpPr>
              <a:spLocks/>
            </p:cNvSpPr>
            <p:nvPr/>
          </p:nvSpPr>
          <p:spPr bwMode="auto">
            <a:xfrm>
              <a:off x="4549775" y="2181225"/>
              <a:ext cx="538163" cy="574675"/>
            </a:xfrm>
            <a:custGeom>
              <a:avLst/>
              <a:gdLst>
                <a:gd name="T0" fmla="*/ 284 w 339"/>
                <a:gd name="T1" fmla="*/ 0 h 362"/>
                <a:gd name="T2" fmla="*/ 0 w 339"/>
                <a:gd name="T3" fmla="*/ 362 h 362"/>
                <a:gd name="T4" fmla="*/ 54 w 339"/>
                <a:gd name="T5" fmla="*/ 362 h 362"/>
                <a:gd name="T6" fmla="*/ 339 w 339"/>
                <a:gd name="T7" fmla="*/ 0 h 362"/>
                <a:gd name="T8" fmla="*/ 284 w 339"/>
                <a:gd name="T9" fmla="*/ 0 h 362"/>
              </a:gdLst>
              <a:ahLst/>
              <a:cxnLst>
                <a:cxn ang="0">
                  <a:pos x="T0" y="T1"/>
                </a:cxn>
                <a:cxn ang="0">
                  <a:pos x="T2" y="T3"/>
                </a:cxn>
                <a:cxn ang="0">
                  <a:pos x="T4" y="T5"/>
                </a:cxn>
                <a:cxn ang="0">
                  <a:pos x="T6" y="T7"/>
                </a:cxn>
                <a:cxn ang="0">
                  <a:pos x="T8" y="T9"/>
                </a:cxn>
              </a:cxnLst>
              <a:rect l="0" t="0" r="r" b="b"/>
              <a:pathLst>
                <a:path w="339" h="362">
                  <a:moveTo>
                    <a:pt x="284" y="0"/>
                  </a:moveTo>
                  <a:lnTo>
                    <a:pt x="0" y="362"/>
                  </a:lnTo>
                  <a:lnTo>
                    <a:pt x="54" y="362"/>
                  </a:lnTo>
                  <a:lnTo>
                    <a:pt x="339" y="0"/>
                  </a:lnTo>
                  <a:lnTo>
                    <a:pt x="284" y="0"/>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US" sz="1300"/>
            </a:p>
          </p:txBody>
        </p:sp>
      </p:grpSp>
      <p:sp>
        <p:nvSpPr>
          <p:cNvPr id="773" name="íṥ1íḑé">
            <a:extLst>
              <a:ext uri="{FF2B5EF4-FFF2-40B4-BE49-F238E27FC236}">
                <a16:creationId xmlns:a16="http://schemas.microsoft.com/office/drawing/2014/main" id="{BB8B7BF4-6FB5-4534-AAA6-C9970FF13C1A}"/>
              </a:ext>
            </a:extLst>
          </p:cNvPr>
          <p:cNvSpPr/>
          <p:nvPr/>
        </p:nvSpPr>
        <p:spPr bwMode="auto">
          <a:xfrm>
            <a:off x="2155984" y="4147403"/>
            <a:ext cx="2820667" cy="86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it is not here to be read. The is just text to show where you could insert text.</a:t>
            </a:r>
          </a:p>
        </p:txBody>
      </p:sp>
      <p:sp>
        <p:nvSpPr>
          <p:cNvPr id="774" name="ïṣľíḍe">
            <a:extLst>
              <a:ext uri="{FF2B5EF4-FFF2-40B4-BE49-F238E27FC236}">
                <a16:creationId xmlns:a16="http://schemas.microsoft.com/office/drawing/2014/main" id="{A1E2FB72-F084-4316-A475-936B0DE3CD31}"/>
              </a:ext>
            </a:extLst>
          </p:cNvPr>
          <p:cNvSpPr txBox="1"/>
          <p:nvPr/>
        </p:nvSpPr>
        <p:spPr bwMode="auto">
          <a:xfrm>
            <a:off x="2155984" y="3835705"/>
            <a:ext cx="2254125" cy="44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n-US" altLang="zh-CN" sz="1300" b="1" dirty="0">
                <a:solidFill>
                  <a:srgbClr val="97999B"/>
                </a:solidFill>
                <a:ea typeface="Verdana" panose="020B0604030504040204" pitchFamily="34" charset="0"/>
                <a:cs typeface="Verdana" panose="020B0604030504040204" pitchFamily="34" charset="0"/>
              </a:rPr>
              <a:t>Lorem ipsum</a:t>
            </a:r>
          </a:p>
        </p:txBody>
      </p:sp>
      <p:sp>
        <p:nvSpPr>
          <p:cNvPr id="808" name="椭圆 807"/>
          <p:cNvSpPr/>
          <p:nvPr/>
        </p:nvSpPr>
        <p:spPr bwMode="gray">
          <a:xfrm>
            <a:off x="617960" y="3724907"/>
            <a:ext cx="1455966" cy="1455966"/>
          </a:xfrm>
          <a:prstGeom prst="ellipse">
            <a:avLst/>
          </a:prstGeom>
          <a:solidFill>
            <a:schemeClr val="tx1"/>
          </a:solidFill>
          <a:ln w="6350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79" name="Group 78">
            <a:extLst>
              <a:ext uri="{FF2B5EF4-FFF2-40B4-BE49-F238E27FC236}">
                <a16:creationId xmlns:a16="http://schemas.microsoft.com/office/drawing/2014/main" id="{B071C21D-522A-4C46-956D-D70C5D73B805}"/>
              </a:ext>
            </a:extLst>
          </p:cNvPr>
          <p:cNvGrpSpPr>
            <a:grpSpLocks noChangeAspect="1"/>
          </p:cNvGrpSpPr>
          <p:nvPr/>
        </p:nvGrpSpPr>
        <p:grpSpPr>
          <a:xfrm>
            <a:off x="716522" y="3828233"/>
            <a:ext cx="1256298" cy="1249314"/>
            <a:chOff x="3441700" y="3584575"/>
            <a:chExt cx="2570163" cy="2555875"/>
          </a:xfrm>
          <a:solidFill>
            <a:srgbClr val="75787B"/>
          </a:solidFill>
        </p:grpSpPr>
        <p:sp>
          <p:nvSpPr>
            <p:cNvPr id="80" name="Freeform 17">
              <a:extLst>
                <a:ext uri="{FF2B5EF4-FFF2-40B4-BE49-F238E27FC236}">
                  <a16:creationId xmlns:a16="http://schemas.microsoft.com/office/drawing/2014/main" id="{D3E19407-E3C2-4FE2-8DA4-183DA7D58DDB}"/>
                </a:ext>
              </a:extLst>
            </p:cNvPr>
            <p:cNvSpPr>
              <a:spLocks noEditPoints="1"/>
            </p:cNvSpPr>
            <p:nvPr/>
          </p:nvSpPr>
          <p:spPr bwMode="auto">
            <a:xfrm>
              <a:off x="3441700" y="3584575"/>
              <a:ext cx="2570163" cy="2555875"/>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81" name="Freeform 18">
              <a:extLst>
                <a:ext uri="{FF2B5EF4-FFF2-40B4-BE49-F238E27FC236}">
                  <a16:creationId xmlns:a16="http://schemas.microsoft.com/office/drawing/2014/main" id="{52569829-ED4D-4767-98F7-53D510434715}"/>
                </a:ext>
              </a:extLst>
            </p:cNvPr>
            <p:cNvSpPr>
              <a:spLocks noEditPoints="1"/>
            </p:cNvSpPr>
            <p:nvPr/>
          </p:nvSpPr>
          <p:spPr bwMode="auto">
            <a:xfrm>
              <a:off x="3976688" y="4210050"/>
              <a:ext cx="1479550" cy="1184275"/>
            </a:xfrm>
            <a:custGeom>
              <a:avLst/>
              <a:gdLst>
                <a:gd name="T0" fmla="*/ 56 w 221"/>
                <a:gd name="T1" fmla="*/ 122 h 178"/>
                <a:gd name="T2" fmla="*/ 88 w 221"/>
                <a:gd name="T3" fmla="*/ 90 h 178"/>
                <a:gd name="T4" fmla="*/ 56 w 221"/>
                <a:gd name="T5" fmla="*/ 58 h 178"/>
                <a:gd name="T6" fmla="*/ 24 w 221"/>
                <a:gd name="T7" fmla="*/ 90 h 178"/>
                <a:gd name="T8" fmla="*/ 56 w 221"/>
                <a:gd name="T9" fmla="*/ 122 h 178"/>
                <a:gd name="T10" fmla="*/ 56 w 221"/>
                <a:gd name="T11" fmla="*/ 74 h 178"/>
                <a:gd name="T12" fmla="*/ 72 w 221"/>
                <a:gd name="T13" fmla="*/ 90 h 178"/>
                <a:gd name="T14" fmla="*/ 56 w 221"/>
                <a:gd name="T15" fmla="*/ 106 h 178"/>
                <a:gd name="T16" fmla="*/ 40 w 221"/>
                <a:gd name="T17" fmla="*/ 90 h 178"/>
                <a:gd name="T18" fmla="*/ 56 w 221"/>
                <a:gd name="T19" fmla="*/ 74 h 178"/>
                <a:gd name="T20" fmla="*/ 127 w 221"/>
                <a:gd name="T21" fmla="*/ 68 h 178"/>
                <a:gd name="T22" fmla="*/ 136 w 221"/>
                <a:gd name="T23" fmla="*/ 89 h 178"/>
                <a:gd name="T24" fmla="*/ 127 w 221"/>
                <a:gd name="T25" fmla="*/ 111 h 178"/>
                <a:gd name="T26" fmla="*/ 122 w 221"/>
                <a:gd name="T27" fmla="*/ 113 h 178"/>
                <a:gd name="T28" fmla="*/ 116 w 221"/>
                <a:gd name="T29" fmla="*/ 111 h 178"/>
                <a:gd name="T30" fmla="*/ 116 w 221"/>
                <a:gd name="T31" fmla="*/ 100 h 178"/>
                <a:gd name="T32" fmla="*/ 120 w 221"/>
                <a:gd name="T33" fmla="*/ 89 h 178"/>
                <a:gd name="T34" fmla="*/ 116 w 221"/>
                <a:gd name="T35" fmla="*/ 78 h 178"/>
                <a:gd name="T36" fmla="*/ 116 w 221"/>
                <a:gd name="T37" fmla="*/ 67 h 178"/>
                <a:gd name="T38" fmla="*/ 127 w 221"/>
                <a:gd name="T39" fmla="*/ 68 h 178"/>
                <a:gd name="T40" fmla="*/ 178 w 221"/>
                <a:gd name="T41" fmla="*/ 89 h 178"/>
                <a:gd name="T42" fmla="*/ 153 w 221"/>
                <a:gd name="T43" fmla="*/ 144 h 178"/>
                <a:gd name="T44" fmla="*/ 147 w 221"/>
                <a:gd name="T45" fmla="*/ 145 h 178"/>
                <a:gd name="T46" fmla="*/ 141 w 221"/>
                <a:gd name="T47" fmla="*/ 143 h 178"/>
                <a:gd name="T48" fmla="*/ 142 w 221"/>
                <a:gd name="T49" fmla="*/ 131 h 178"/>
                <a:gd name="T50" fmla="*/ 162 w 221"/>
                <a:gd name="T51" fmla="*/ 89 h 178"/>
                <a:gd name="T52" fmla="*/ 142 w 221"/>
                <a:gd name="T53" fmla="*/ 47 h 178"/>
                <a:gd name="T54" fmla="*/ 141 w 221"/>
                <a:gd name="T55" fmla="*/ 36 h 178"/>
                <a:gd name="T56" fmla="*/ 153 w 221"/>
                <a:gd name="T57" fmla="*/ 35 h 178"/>
                <a:gd name="T58" fmla="*/ 178 w 221"/>
                <a:gd name="T59" fmla="*/ 89 h 178"/>
                <a:gd name="T60" fmla="*/ 221 w 221"/>
                <a:gd name="T61" fmla="*/ 89 h 178"/>
                <a:gd name="T62" fmla="*/ 178 w 221"/>
                <a:gd name="T63" fmla="*/ 176 h 178"/>
                <a:gd name="T64" fmla="*/ 173 w 221"/>
                <a:gd name="T65" fmla="*/ 178 h 178"/>
                <a:gd name="T66" fmla="*/ 167 w 221"/>
                <a:gd name="T67" fmla="*/ 175 h 178"/>
                <a:gd name="T68" fmla="*/ 168 w 221"/>
                <a:gd name="T69" fmla="*/ 163 h 178"/>
                <a:gd name="T70" fmla="*/ 205 w 221"/>
                <a:gd name="T71" fmla="*/ 89 h 178"/>
                <a:gd name="T72" fmla="*/ 168 w 221"/>
                <a:gd name="T73" fmla="*/ 15 h 178"/>
                <a:gd name="T74" fmla="*/ 167 w 221"/>
                <a:gd name="T75" fmla="*/ 4 h 178"/>
                <a:gd name="T76" fmla="*/ 178 w 221"/>
                <a:gd name="T77" fmla="*/ 2 h 178"/>
                <a:gd name="T78" fmla="*/ 221 w 221"/>
                <a:gd name="T79" fmla="*/ 89 h 178"/>
                <a:gd name="T80" fmla="*/ 112 w 221"/>
                <a:gd name="T81" fmla="*/ 146 h 178"/>
                <a:gd name="T82" fmla="*/ 112 w 221"/>
                <a:gd name="T83" fmla="*/ 170 h 178"/>
                <a:gd name="T84" fmla="*/ 104 w 221"/>
                <a:gd name="T85" fmla="*/ 178 h 178"/>
                <a:gd name="T86" fmla="*/ 96 w 221"/>
                <a:gd name="T87" fmla="*/ 170 h 178"/>
                <a:gd name="T88" fmla="*/ 96 w 221"/>
                <a:gd name="T89" fmla="*/ 154 h 178"/>
                <a:gd name="T90" fmla="*/ 16 w 221"/>
                <a:gd name="T91" fmla="*/ 154 h 178"/>
                <a:gd name="T92" fmla="*/ 16 w 221"/>
                <a:gd name="T93" fmla="*/ 170 h 178"/>
                <a:gd name="T94" fmla="*/ 8 w 221"/>
                <a:gd name="T95" fmla="*/ 178 h 178"/>
                <a:gd name="T96" fmla="*/ 0 w 221"/>
                <a:gd name="T97" fmla="*/ 170 h 178"/>
                <a:gd name="T98" fmla="*/ 0 w 221"/>
                <a:gd name="T99" fmla="*/ 146 h 178"/>
                <a:gd name="T100" fmla="*/ 8 w 221"/>
                <a:gd name="T101" fmla="*/ 138 h 178"/>
                <a:gd name="T102" fmla="*/ 104 w 221"/>
                <a:gd name="T103" fmla="*/ 138 h 178"/>
                <a:gd name="T104" fmla="*/ 112 w 221"/>
                <a:gd name="T105"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178">
                  <a:moveTo>
                    <a:pt x="56" y="122"/>
                  </a:moveTo>
                  <a:cubicBezTo>
                    <a:pt x="73" y="122"/>
                    <a:pt x="88" y="107"/>
                    <a:pt x="88" y="90"/>
                  </a:cubicBezTo>
                  <a:cubicBezTo>
                    <a:pt x="88" y="72"/>
                    <a:pt x="73" y="58"/>
                    <a:pt x="56" y="58"/>
                  </a:cubicBezTo>
                  <a:cubicBezTo>
                    <a:pt x="38" y="58"/>
                    <a:pt x="24" y="72"/>
                    <a:pt x="24" y="90"/>
                  </a:cubicBezTo>
                  <a:cubicBezTo>
                    <a:pt x="24" y="107"/>
                    <a:pt x="38" y="122"/>
                    <a:pt x="56" y="122"/>
                  </a:cubicBezTo>
                  <a:close/>
                  <a:moveTo>
                    <a:pt x="56" y="74"/>
                  </a:moveTo>
                  <a:cubicBezTo>
                    <a:pt x="64" y="74"/>
                    <a:pt x="72" y="81"/>
                    <a:pt x="72" y="90"/>
                  </a:cubicBezTo>
                  <a:cubicBezTo>
                    <a:pt x="72" y="98"/>
                    <a:pt x="64" y="106"/>
                    <a:pt x="56" y="106"/>
                  </a:cubicBezTo>
                  <a:cubicBezTo>
                    <a:pt x="47" y="106"/>
                    <a:pt x="40" y="98"/>
                    <a:pt x="40" y="90"/>
                  </a:cubicBezTo>
                  <a:cubicBezTo>
                    <a:pt x="40" y="81"/>
                    <a:pt x="47" y="74"/>
                    <a:pt x="56" y="74"/>
                  </a:cubicBezTo>
                  <a:close/>
                  <a:moveTo>
                    <a:pt x="127" y="68"/>
                  </a:moveTo>
                  <a:cubicBezTo>
                    <a:pt x="133" y="73"/>
                    <a:pt x="136" y="81"/>
                    <a:pt x="136" y="89"/>
                  </a:cubicBezTo>
                  <a:cubicBezTo>
                    <a:pt x="136" y="97"/>
                    <a:pt x="133" y="105"/>
                    <a:pt x="127" y="111"/>
                  </a:cubicBezTo>
                  <a:cubicBezTo>
                    <a:pt x="126" y="112"/>
                    <a:pt x="124" y="113"/>
                    <a:pt x="122" y="113"/>
                  </a:cubicBezTo>
                  <a:cubicBezTo>
                    <a:pt x="120" y="113"/>
                    <a:pt x="118" y="112"/>
                    <a:pt x="116" y="111"/>
                  </a:cubicBezTo>
                  <a:cubicBezTo>
                    <a:pt x="113" y="108"/>
                    <a:pt x="113" y="103"/>
                    <a:pt x="116" y="100"/>
                  </a:cubicBezTo>
                  <a:cubicBezTo>
                    <a:pt x="118" y="97"/>
                    <a:pt x="120" y="93"/>
                    <a:pt x="120" y="89"/>
                  </a:cubicBezTo>
                  <a:cubicBezTo>
                    <a:pt x="120" y="85"/>
                    <a:pt x="118" y="81"/>
                    <a:pt x="116" y="78"/>
                  </a:cubicBezTo>
                  <a:cubicBezTo>
                    <a:pt x="113" y="75"/>
                    <a:pt x="113" y="70"/>
                    <a:pt x="116" y="67"/>
                  </a:cubicBezTo>
                  <a:cubicBezTo>
                    <a:pt x="119" y="64"/>
                    <a:pt x="124" y="64"/>
                    <a:pt x="127" y="68"/>
                  </a:cubicBezTo>
                  <a:close/>
                  <a:moveTo>
                    <a:pt x="178" y="89"/>
                  </a:moveTo>
                  <a:cubicBezTo>
                    <a:pt x="178" y="110"/>
                    <a:pt x="169" y="130"/>
                    <a:pt x="153" y="144"/>
                  </a:cubicBezTo>
                  <a:cubicBezTo>
                    <a:pt x="151" y="145"/>
                    <a:pt x="149" y="145"/>
                    <a:pt x="147" y="145"/>
                  </a:cubicBezTo>
                  <a:cubicBezTo>
                    <a:pt x="145" y="145"/>
                    <a:pt x="143" y="144"/>
                    <a:pt x="141" y="143"/>
                  </a:cubicBezTo>
                  <a:cubicBezTo>
                    <a:pt x="138" y="139"/>
                    <a:pt x="139" y="134"/>
                    <a:pt x="142" y="131"/>
                  </a:cubicBezTo>
                  <a:cubicBezTo>
                    <a:pt x="155" y="121"/>
                    <a:pt x="162" y="105"/>
                    <a:pt x="162" y="89"/>
                  </a:cubicBezTo>
                  <a:cubicBezTo>
                    <a:pt x="162" y="73"/>
                    <a:pt x="155" y="58"/>
                    <a:pt x="142" y="47"/>
                  </a:cubicBezTo>
                  <a:cubicBezTo>
                    <a:pt x="139" y="44"/>
                    <a:pt x="138" y="39"/>
                    <a:pt x="141" y="36"/>
                  </a:cubicBezTo>
                  <a:cubicBezTo>
                    <a:pt x="144" y="32"/>
                    <a:pt x="149" y="32"/>
                    <a:pt x="153" y="35"/>
                  </a:cubicBezTo>
                  <a:cubicBezTo>
                    <a:pt x="169" y="48"/>
                    <a:pt x="178" y="68"/>
                    <a:pt x="178" y="89"/>
                  </a:cubicBezTo>
                  <a:close/>
                  <a:moveTo>
                    <a:pt x="221" y="89"/>
                  </a:moveTo>
                  <a:cubicBezTo>
                    <a:pt x="221" y="123"/>
                    <a:pt x="205" y="154"/>
                    <a:pt x="178" y="176"/>
                  </a:cubicBezTo>
                  <a:cubicBezTo>
                    <a:pt x="176" y="177"/>
                    <a:pt x="175" y="178"/>
                    <a:pt x="173" y="178"/>
                  </a:cubicBezTo>
                  <a:cubicBezTo>
                    <a:pt x="171" y="178"/>
                    <a:pt x="168" y="177"/>
                    <a:pt x="167" y="175"/>
                  </a:cubicBezTo>
                  <a:cubicBezTo>
                    <a:pt x="164" y="171"/>
                    <a:pt x="164" y="166"/>
                    <a:pt x="168" y="163"/>
                  </a:cubicBezTo>
                  <a:cubicBezTo>
                    <a:pt x="191" y="145"/>
                    <a:pt x="205" y="118"/>
                    <a:pt x="205" y="89"/>
                  </a:cubicBezTo>
                  <a:cubicBezTo>
                    <a:pt x="205" y="60"/>
                    <a:pt x="191" y="33"/>
                    <a:pt x="168" y="15"/>
                  </a:cubicBezTo>
                  <a:cubicBezTo>
                    <a:pt x="164" y="12"/>
                    <a:pt x="164" y="7"/>
                    <a:pt x="167" y="4"/>
                  </a:cubicBezTo>
                  <a:cubicBezTo>
                    <a:pt x="169" y="0"/>
                    <a:pt x="174" y="0"/>
                    <a:pt x="178" y="2"/>
                  </a:cubicBezTo>
                  <a:cubicBezTo>
                    <a:pt x="205" y="24"/>
                    <a:pt x="221" y="55"/>
                    <a:pt x="221" y="89"/>
                  </a:cubicBezTo>
                  <a:close/>
                  <a:moveTo>
                    <a:pt x="112" y="146"/>
                  </a:moveTo>
                  <a:cubicBezTo>
                    <a:pt x="112" y="170"/>
                    <a:pt x="112" y="170"/>
                    <a:pt x="112" y="170"/>
                  </a:cubicBezTo>
                  <a:cubicBezTo>
                    <a:pt x="112" y="174"/>
                    <a:pt x="108" y="178"/>
                    <a:pt x="104" y="178"/>
                  </a:cubicBezTo>
                  <a:cubicBezTo>
                    <a:pt x="99" y="178"/>
                    <a:pt x="96" y="174"/>
                    <a:pt x="96" y="170"/>
                  </a:cubicBezTo>
                  <a:cubicBezTo>
                    <a:pt x="96" y="154"/>
                    <a:pt x="96" y="154"/>
                    <a:pt x="96" y="154"/>
                  </a:cubicBezTo>
                  <a:cubicBezTo>
                    <a:pt x="16" y="154"/>
                    <a:pt x="16" y="154"/>
                    <a:pt x="16" y="154"/>
                  </a:cubicBezTo>
                  <a:cubicBezTo>
                    <a:pt x="16" y="170"/>
                    <a:pt x="16" y="170"/>
                    <a:pt x="16" y="170"/>
                  </a:cubicBezTo>
                  <a:cubicBezTo>
                    <a:pt x="16" y="174"/>
                    <a:pt x="12" y="178"/>
                    <a:pt x="8" y="178"/>
                  </a:cubicBezTo>
                  <a:cubicBezTo>
                    <a:pt x="3" y="178"/>
                    <a:pt x="0" y="174"/>
                    <a:pt x="0" y="170"/>
                  </a:cubicBezTo>
                  <a:cubicBezTo>
                    <a:pt x="0" y="146"/>
                    <a:pt x="0" y="146"/>
                    <a:pt x="0" y="146"/>
                  </a:cubicBezTo>
                  <a:cubicBezTo>
                    <a:pt x="0" y="141"/>
                    <a:pt x="3" y="138"/>
                    <a:pt x="8" y="138"/>
                  </a:cubicBezTo>
                  <a:cubicBezTo>
                    <a:pt x="104" y="138"/>
                    <a:pt x="104" y="138"/>
                    <a:pt x="104" y="138"/>
                  </a:cubicBezTo>
                  <a:cubicBezTo>
                    <a:pt x="108" y="138"/>
                    <a:pt x="112" y="141"/>
                    <a:pt x="112"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grpSp>
      <p:grpSp>
        <p:nvGrpSpPr>
          <p:cNvPr id="85" name="Group 816">
            <a:extLst>
              <a:ext uri="{FF2B5EF4-FFF2-40B4-BE49-F238E27FC236}">
                <a16:creationId xmlns:a16="http://schemas.microsoft.com/office/drawing/2014/main" id="{BD765096-78D3-4FEF-A5D0-0252CCE2C2E2}"/>
              </a:ext>
            </a:extLst>
          </p:cNvPr>
          <p:cNvGrpSpPr>
            <a:grpSpLocks noChangeAspect="1"/>
          </p:cNvGrpSpPr>
          <p:nvPr/>
        </p:nvGrpSpPr>
        <p:grpSpPr bwMode="auto">
          <a:xfrm>
            <a:off x="726623" y="1687958"/>
            <a:ext cx="1249314" cy="1249314"/>
            <a:chOff x="4518" y="3391"/>
            <a:chExt cx="340" cy="340"/>
          </a:xfrm>
          <a:solidFill>
            <a:schemeClr val="accent3"/>
          </a:solidFill>
        </p:grpSpPr>
        <p:sp>
          <p:nvSpPr>
            <p:cNvPr id="86" name="Freeform 817">
              <a:extLst>
                <a:ext uri="{FF2B5EF4-FFF2-40B4-BE49-F238E27FC236}">
                  <a16:creationId xmlns:a16="http://schemas.microsoft.com/office/drawing/2014/main" id="{C375BDE2-A36F-44D9-A33E-F69E01F54BC6}"/>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89" name="Freeform 818">
              <a:extLst>
                <a:ext uri="{FF2B5EF4-FFF2-40B4-BE49-F238E27FC236}">
                  <a16:creationId xmlns:a16="http://schemas.microsoft.com/office/drawing/2014/main" id="{A7360001-CD97-4F99-9BFC-C6911BE3D366}"/>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90" name="Group 795">
            <a:extLst>
              <a:ext uri="{FF2B5EF4-FFF2-40B4-BE49-F238E27FC236}">
                <a16:creationId xmlns:a16="http://schemas.microsoft.com/office/drawing/2014/main" id="{C4F11010-8A3A-4F49-BB88-CE895FEC5B77}"/>
              </a:ext>
            </a:extLst>
          </p:cNvPr>
          <p:cNvGrpSpPr>
            <a:grpSpLocks noChangeAspect="1"/>
          </p:cNvGrpSpPr>
          <p:nvPr/>
        </p:nvGrpSpPr>
        <p:grpSpPr bwMode="auto">
          <a:xfrm>
            <a:off x="6603618" y="1687958"/>
            <a:ext cx="1249314" cy="1249314"/>
            <a:chOff x="7361" y="3009"/>
            <a:chExt cx="340" cy="340"/>
          </a:xfrm>
          <a:solidFill>
            <a:srgbClr val="43B02A"/>
          </a:solidFill>
        </p:grpSpPr>
        <p:sp>
          <p:nvSpPr>
            <p:cNvPr id="91" name="Freeform 796">
              <a:extLst>
                <a:ext uri="{FF2B5EF4-FFF2-40B4-BE49-F238E27FC236}">
                  <a16:creationId xmlns:a16="http://schemas.microsoft.com/office/drawing/2014/main" id="{65B98F3E-6583-4CAA-9A19-53FAFCBD62B4}"/>
                </a:ext>
              </a:extLst>
            </p:cNvPr>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2" name="Freeform 797">
              <a:extLst>
                <a:ext uri="{FF2B5EF4-FFF2-40B4-BE49-F238E27FC236}">
                  <a16:creationId xmlns:a16="http://schemas.microsoft.com/office/drawing/2014/main" id="{2980208E-84EE-44AB-BE63-9C25B696AE12}"/>
                </a:ext>
              </a:extLst>
            </p:cNvPr>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3" name="Freeform 798">
              <a:extLst>
                <a:ext uri="{FF2B5EF4-FFF2-40B4-BE49-F238E27FC236}">
                  <a16:creationId xmlns:a16="http://schemas.microsoft.com/office/drawing/2014/main" id="{6DFE3F03-44D2-4B95-A576-3ED03E8CEAA9}"/>
                </a:ext>
              </a:extLst>
            </p:cNvPr>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4" name="Freeform 799">
              <a:extLst>
                <a:ext uri="{FF2B5EF4-FFF2-40B4-BE49-F238E27FC236}">
                  <a16:creationId xmlns:a16="http://schemas.microsoft.com/office/drawing/2014/main" id="{AC0C2054-0630-4C3C-A47C-94B871BCEFAF}"/>
                </a:ext>
              </a:extLst>
            </p:cNvPr>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5" name="Freeform 800">
              <a:extLst>
                <a:ext uri="{FF2B5EF4-FFF2-40B4-BE49-F238E27FC236}">
                  <a16:creationId xmlns:a16="http://schemas.microsoft.com/office/drawing/2014/main" id="{BB3DF3C7-4D51-4BF1-826C-B652BC7EB913}"/>
                </a:ext>
              </a:extLst>
            </p:cNvPr>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6" name="Freeform 801">
              <a:extLst>
                <a:ext uri="{FF2B5EF4-FFF2-40B4-BE49-F238E27FC236}">
                  <a16:creationId xmlns:a16="http://schemas.microsoft.com/office/drawing/2014/main" id="{E2E12F9B-EE9A-4D72-BD6E-BD1EF8C2C907}"/>
                </a:ext>
              </a:extLst>
            </p:cNvPr>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7" name="Freeform 802">
              <a:extLst>
                <a:ext uri="{FF2B5EF4-FFF2-40B4-BE49-F238E27FC236}">
                  <a16:creationId xmlns:a16="http://schemas.microsoft.com/office/drawing/2014/main" id="{323D1C02-B33C-4CD6-9E5A-783D6957875D}"/>
                </a:ext>
              </a:extLst>
            </p:cNvPr>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98" name="Group 890">
            <a:extLst>
              <a:ext uri="{FF2B5EF4-FFF2-40B4-BE49-F238E27FC236}">
                <a16:creationId xmlns:a16="http://schemas.microsoft.com/office/drawing/2014/main" id="{BD67B5FB-D6AA-4196-8B85-E2AE3355C64D}"/>
              </a:ext>
            </a:extLst>
          </p:cNvPr>
          <p:cNvGrpSpPr>
            <a:grpSpLocks noChangeAspect="1"/>
          </p:cNvGrpSpPr>
          <p:nvPr/>
        </p:nvGrpSpPr>
        <p:grpSpPr bwMode="auto">
          <a:xfrm>
            <a:off x="6596041" y="3828233"/>
            <a:ext cx="1252986" cy="1249314"/>
            <a:chOff x="1153" y="3104"/>
            <a:chExt cx="341" cy="340"/>
          </a:xfrm>
          <a:solidFill>
            <a:srgbClr val="FFFFFF"/>
          </a:solidFill>
        </p:grpSpPr>
        <p:sp>
          <p:nvSpPr>
            <p:cNvPr id="99" name="Freeform 891">
              <a:extLst>
                <a:ext uri="{FF2B5EF4-FFF2-40B4-BE49-F238E27FC236}">
                  <a16:creationId xmlns:a16="http://schemas.microsoft.com/office/drawing/2014/main" id="{FD6258E3-6635-4BEB-A2C8-BCAC683FCA65}"/>
                </a:ext>
              </a:extLst>
            </p:cNvPr>
            <p:cNvSpPr>
              <a:spLocks noEditPoints="1"/>
            </p:cNvSpPr>
            <p:nvPr/>
          </p:nvSpPr>
          <p:spPr bwMode="auto">
            <a:xfrm>
              <a:off x="1302" y="3168"/>
              <a:ext cx="43" cy="4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0" name="Freeform 892">
              <a:extLst>
                <a:ext uri="{FF2B5EF4-FFF2-40B4-BE49-F238E27FC236}">
                  <a16:creationId xmlns:a16="http://schemas.microsoft.com/office/drawing/2014/main" id="{303D160E-1C35-4E71-889E-166C09EB30D4}"/>
                </a:ext>
              </a:extLst>
            </p:cNvPr>
            <p:cNvSpPr>
              <a:spLocks/>
            </p:cNvSpPr>
            <p:nvPr/>
          </p:nvSpPr>
          <p:spPr bwMode="auto">
            <a:xfrm>
              <a:off x="1288" y="3217"/>
              <a:ext cx="78" cy="163"/>
            </a:xfrm>
            <a:custGeom>
              <a:avLst/>
              <a:gdLst>
                <a:gd name="T0" fmla="*/ 107 w 118"/>
                <a:gd name="T1" fmla="*/ 246 h 246"/>
                <a:gd name="T2" fmla="*/ 96 w 118"/>
                <a:gd name="T3" fmla="*/ 237 h 246"/>
                <a:gd name="T4" fmla="*/ 86 w 118"/>
                <a:gd name="T5" fmla="*/ 165 h 246"/>
                <a:gd name="T6" fmla="*/ 45 w 118"/>
                <a:gd name="T7" fmla="*/ 114 h 246"/>
                <a:gd name="T8" fmla="*/ 43 w 118"/>
                <a:gd name="T9" fmla="*/ 107 h 246"/>
                <a:gd name="T10" fmla="*/ 43 w 118"/>
                <a:gd name="T11" fmla="*/ 32 h 246"/>
                <a:gd name="T12" fmla="*/ 22 w 118"/>
                <a:gd name="T13" fmla="*/ 48 h 246"/>
                <a:gd name="T14" fmla="*/ 22 w 118"/>
                <a:gd name="T15" fmla="*/ 118 h 246"/>
                <a:gd name="T16" fmla="*/ 11 w 118"/>
                <a:gd name="T17" fmla="*/ 128 h 246"/>
                <a:gd name="T18" fmla="*/ 0 w 118"/>
                <a:gd name="T19" fmla="*/ 118 h 246"/>
                <a:gd name="T20" fmla="*/ 0 w 118"/>
                <a:gd name="T21" fmla="*/ 43 h 246"/>
                <a:gd name="T22" fmla="*/ 5 w 118"/>
                <a:gd name="T23" fmla="*/ 34 h 246"/>
                <a:gd name="T24" fmla="*/ 47 w 118"/>
                <a:gd name="T25" fmla="*/ 2 h 246"/>
                <a:gd name="T26" fmla="*/ 58 w 118"/>
                <a:gd name="T27" fmla="*/ 1 h 246"/>
                <a:gd name="T28" fmla="*/ 64 w 118"/>
                <a:gd name="T29" fmla="*/ 11 h 246"/>
                <a:gd name="T30" fmla="*/ 64 w 118"/>
                <a:gd name="T31" fmla="*/ 103 h 246"/>
                <a:gd name="T32" fmla="*/ 105 w 118"/>
                <a:gd name="T33" fmla="*/ 154 h 246"/>
                <a:gd name="T34" fmla="*/ 107 w 118"/>
                <a:gd name="T35" fmla="*/ 159 h 246"/>
                <a:gd name="T36" fmla="*/ 118 w 118"/>
                <a:gd name="T37" fmla="*/ 233 h 246"/>
                <a:gd name="T38" fmla="*/ 109 w 118"/>
                <a:gd name="T39" fmla="*/ 246 h 246"/>
                <a:gd name="T40" fmla="*/ 107 w 118"/>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46">
                  <a:moveTo>
                    <a:pt x="107" y="246"/>
                  </a:moveTo>
                  <a:cubicBezTo>
                    <a:pt x="102" y="246"/>
                    <a:pt x="97" y="242"/>
                    <a:pt x="96" y="237"/>
                  </a:cubicBezTo>
                  <a:cubicBezTo>
                    <a:pt x="86" y="165"/>
                    <a:pt x="86" y="165"/>
                    <a:pt x="86" y="165"/>
                  </a:cubicBezTo>
                  <a:cubicBezTo>
                    <a:pt x="45" y="114"/>
                    <a:pt x="45" y="114"/>
                    <a:pt x="45" y="114"/>
                  </a:cubicBezTo>
                  <a:cubicBezTo>
                    <a:pt x="44" y="112"/>
                    <a:pt x="43" y="109"/>
                    <a:pt x="43" y="107"/>
                  </a:cubicBezTo>
                  <a:cubicBezTo>
                    <a:pt x="43" y="32"/>
                    <a:pt x="43" y="32"/>
                    <a:pt x="43" y="32"/>
                  </a:cubicBezTo>
                  <a:cubicBezTo>
                    <a:pt x="22" y="48"/>
                    <a:pt x="22" y="48"/>
                    <a:pt x="22" y="48"/>
                  </a:cubicBezTo>
                  <a:cubicBezTo>
                    <a:pt x="22" y="118"/>
                    <a:pt x="22" y="118"/>
                    <a:pt x="22" y="118"/>
                  </a:cubicBezTo>
                  <a:cubicBezTo>
                    <a:pt x="22" y="124"/>
                    <a:pt x="17" y="128"/>
                    <a:pt x="11" y="128"/>
                  </a:cubicBezTo>
                  <a:cubicBezTo>
                    <a:pt x="5" y="128"/>
                    <a:pt x="0" y="124"/>
                    <a:pt x="0" y="118"/>
                  </a:cubicBezTo>
                  <a:cubicBezTo>
                    <a:pt x="0" y="43"/>
                    <a:pt x="0" y="43"/>
                    <a:pt x="0" y="43"/>
                  </a:cubicBezTo>
                  <a:cubicBezTo>
                    <a:pt x="0" y="40"/>
                    <a:pt x="2" y="36"/>
                    <a:pt x="5" y="34"/>
                  </a:cubicBezTo>
                  <a:cubicBezTo>
                    <a:pt x="47" y="2"/>
                    <a:pt x="47" y="2"/>
                    <a:pt x="47" y="2"/>
                  </a:cubicBezTo>
                  <a:cubicBezTo>
                    <a:pt x="51" y="0"/>
                    <a:pt x="55" y="0"/>
                    <a:pt x="58" y="1"/>
                  </a:cubicBezTo>
                  <a:cubicBezTo>
                    <a:pt x="62" y="3"/>
                    <a:pt x="64" y="7"/>
                    <a:pt x="64" y="11"/>
                  </a:cubicBezTo>
                  <a:cubicBezTo>
                    <a:pt x="64" y="103"/>
                    <a:pt x="64" y="103"/>
                    <a:pt x="64" y="103"/>
                  </a:cubicBezTo>
                  <a:cubicBezTo>
                    <a:pt x="105" y="154"/>
                    <a:pt x="105" y="154"/>
                    <a:pt x="105" y="154"/>
                  </a:cubicBezTo>
                  <a:cubicBezTo>
                    <a:pt x="106" y="155"/>
                    <a:pt x="107" y="157"/>
                    <a:pt x="107" y="159"/>
                  </a:cubicBezTo>
                  <a:cubicBezTo>
                    <a:pt x="118" y="233"/>
                    <a:pt x="118" y="233"/>
                    <a:pt x="118" y="233"/>
                  </a:cubicBezTo>
                  <a:cubicBezTo>
                    <a:pt x="118" y="239"/>
                    <a:pt x="114" y="245"/>
                    <a:pt x="109" y="246"/>
                  </a:cubicBezTo>
                  <a:cubicBezTo>
                    <a:pt x="108" y="246"/>
                    <a:pt x="107" y="246"/>
                    <a:pt x="107" y="24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1" name="Freeform 893">
              <a:extLst>
                <a:ext uri="{FF2B5EF4-FFF2-40B4-BE49-F238E27FC236}">
                  <a16:creationId xmlns:a16="http://schemas.microsoft.com/office/drawing/2014/main" id="{8BB06F6A-6C26-47A0-B619-3E5406D5F016}"/>
                </a:ext>
              </a:extLst>
            </p:cNvPr>
            <p:cNvSpPr>
              <a:spLocks/>
            </p:cNvSpPr>
            <p:nvPr/>
          </p:nvSpPr>
          <p:spPr bwMode="auto">
            <a:xfrm>
              <a:off x="1273" y="3315"/>
              <a:ext cx="51" cy="65"/>
            </a:xfrm>
            <a:custGeom>
              <a:avLst/>
              <a:gdLst>
                <a:gd name="T0" fmla="*/ 12 w 77"/>
                <a:gd name="T1" fmla="*/ 98 h 98"/>
                <a:gd name="T2" fmla="*/ 5 w 77"/>
                <a:gd name="T3" fmla="*/ 96 h 98"/>
                <a:gd name="T4" fmla="*/ 3 w 77"/>
                <a:gd name="T5" fmla="*/ 81 h 98"/>
                <a:gd name="T6" fmla="*/ 56 w 77"/>
                <a:gd name="T7" fmla="*/ 6 h 98"/>
                <a:gd name="T8" fmla="*/ 71 w 77"/>
                <a:gd name="T9" fmla="*/ 4 h 98"/>
                <a:gd name="T10" fmla="*/ 74 w 77"/>
                <a:gd name="T11" fmla="*/ 19 h 98"/>
                <a:gd name="T12" fmla="*/ 20 w 77"/>
                <a:gd name="T13" fmla="*/ 93 h 98"/>
                <a:gd name="T14" fmla="*/ 12 w 77"/>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98">
                  <a:moveTo>
                    <a:pt x="12" y="98"/>
                  </a:moveTo>
                  <a:cubicBezTo>
                    <a:pt x="10" y="98"/>
                    <a:pt x="7" y="97"/>
                    <a:pt x="5" y="96"/>
                  </a:cubicBezTo>
                  <a:cubicBezTo>
                    <a:pt x="1" y="92"/>
                    <a:pt x="0" y="86"/>
                    <a:pt x="3" y="81"/>
                  </a:cubicBezTo>
                  <a:cubicBezTo>
                    <a:pt x="56" y="6"/>
                    <a:pt x="56" y="6"/>
                    <a:pt x="56" y="6"/>
                  </a:cubicBezTo>
                  <a:cubicBezTo>
                    <a:pt x="60" y="1"/>
                    <a:pt x="66" y="0"/>
                    <a:pt x="71" y="4"/>
                  </a:cubicBezTo>
                  <a:cubicBezTo>
                    <a:pt x="76" y="7"/>
                    <a:pt x="77" y="14"/>
                    <a:pt x="74" y="19"/>
                  </a:cubicBezTo>
                  <a:cubicBezTo>
                    <a:pt x="20" y="93"/>
                    <a:pt x="20" y="93"/>
                    <a:pt x="20" y="93"/>
                  </a:cubicBezTo>
                  <a:cubicBezTo>
                    <a:pt x="18" y="96"/>
                    <a:pt x="15" y="98"/>
                    <a:pt x="12" y="9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2" name="Freeform 894">
              <a:extLst>
                <a:ext uri="{FF2B5EF4-FFF2-40B4-BE49-F238E27FC236}">
                  <a16:creationId xmlns:a16="http://schemas.microsoft.com/office/drawing/2014/main" id="{23313C08-8E76-4784-B803-423F5EB240B7}"/>
                </a:ext>
              </a:extLst>
            </p:cNvPr>
            <p:cNvSpPr>
              <a:spLocks/>
            </p:cNvSpPr>
            <p:nvPr/>
          </p:nvSpPr>
          <p:spPr bwMode="auto">
            <a:xfrm>
              <a:off x="1344" y="3266"/>
              <a:ext cx="23" cy="22"/>
            </a:xfrm>
            <a:custGeom>
              <a:avLst/>
              <a:gdLst>
                <a:gd name="T0" fmla="*/ 22 w 34"/>
                <a:gd name="T1" fmla="*/ 33 h 33"/>
                <a:gd name="T2" fmla="*/ 14 w 34"/>
                <a:gd name="T3" fmla="*/ 30 h 33"/>
                <a:gd name="T4" fmla="*/ 4 w 34"/>
                <a:gd name="T5" fmla="*/ 19 h 33"/>
                <a:gd name="T6" fmla="*/ 4 w 34"/>
                <a:gd name="T7" fmla="*/ 4 h 33"/>
                <a:gd name="T8" fmla="*/ 19 w 34"/>
                <a:gd name="T9" fmla="*/ 4 h 33"/>
                <a:gd name="T10" fmla="*/ 30 w 34"/>
                <a:gd name="T11" fmla="*/ 15 h 33"/>
                <a:gd name="T12" fmla="*/ 30 w 34"/>
                <a:gd name="T13" fmla="*/ 30 h 33"/>
                <a:gd name="T14" fmla="*/ 22 w 34"/>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33">
                  <a:moveTo>
                    <a:pt x="22" y="33"/>
                  </a:moveTo>
                  <a:cubicBezTo>
                    <a:pt x="19" y="33"/>
                    <a:pt x="17" y="32"/>
                    <a:pt x="14" y="30"/>
                  </a:cubicBezTo>
                  <a:cubicBezTo>
                    <a:pt x="4" y="19"/>
                    <a:pt x="4" y="19"/>
                    <a:pt x="4" y="19"/>
                  </a:cubicBezTo>
                  <a:cubicBezTo>
                    <a:pt x="0" y="15"/>
                    <a:pt x="0" y="8"/>
                    <a:pt x="4" y="4"/>
                  </a:cubicBezTo>
                  <a:cubicBezTo>
                    <a:pt x="8" y="0"/>
                    <a:pt x="15" y="0"/>
                    <a:pt x="19" y="4"/>
                  </a:cubicBezTo>
                  <a:cubicBezTo>
                    <a:pt x="30" y="15"/>
                    <a:pt x="30" y="15"/>
                    <a:pt x="30" y="15"/>
                  </a:cubicBezTo>
                  <a:cubicBezTo>
                    <a:pt x="34" y="19"/>
                    <a:pt x="34" y="26"/>
                    <a:pt x="30" y="30"/>
                  </a:cubicBezTo>
                  <a:cubicBezTo>
                    <a:pt x="27" y="32"/>
                    <a:pt x="25" y="33"/>
                    <a:pt x="22" y="3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3" name="Freeform 895">
              <a:extLst>
                <a:ext uri="{FF2B5EF4-FFF2-40B4-BE49-F238E27FC236}">
                  <a16:creationId xmlns:a16="http://schemas.microsoft.com/office/drawing/2014/main" id="{095C2798-94E5-4955-94DF-4506766DA408}"/>
                </a:ext>
              </a:extLst>
            </p:cNvPr>
            <p:cNvSpPr>
              <a:spLocks noEditPoints="1"/>
            </p:cNvSpPr>
            <p:nvPr/>
          </p:nvSpPr>
          <p:spPr bwMode="auto">
            <a:xfrm>
              <a:off x="1153" y="31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spTree>
    <p:custDataLst>
      <p:tags r:id="rId1"/>
    </p:custDataLst>
    <p:extLst>
      <p:ext uri="{BB962C8B-B14F-4D97-AF65-F5344CB8AC3E}">
        <p14:creationId xmlns:p14="http://schemas.microsoft.com/office/powerpoint/2010/main" val="349383223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Rectangle 221">
            <a:extLst>
              <a:ext uri="{FF2B5EF4-FFF2-40B4-BE49-F238E27FC236}">
                <a16:creationId xmlns:a16="http://schemas.microsoft.com/office/drawing/2014/main" id="{0A5F53C6-F091-CC43-9AB7-5228F183147C}"/>
              </a:ext>
            </a:extLst>
          </p:cNvPr>
          <p:cNvSpPr/>
          <p:nvPr/>
        </p:nvSpPr>
        <p:spPr bwMode="gray">
          <a:xfrm>
            <a:off x="2244224" y="5511753"/>
            <a:ext cx="9552489" cy="744761"/>
          </a:xfrm>
          <a:prstGeom prst="rect">
            <a:avLst/>
          </a:prstGeom>
          <a:solidFill>
            <a:schemeClr val="bg1">
              <a:lumMod val="95000"/>
            </a:schemeClr>
          </a:solidFill>
          <a:ln w="12700" algn="ctr">
            <a:noFill/>
            <a:miter lim="800000"/>
            <a:headEnd/>
            <a:tailEnd/>
          </a:ln>
        </p:spPr>
        <p:txBody>
          <a:bodyPr wrap="square" lIns="66675" tIns="66675" rIns="66675" bIns="66675" rtlCol="0" anchor="ctr"/>
          <a:lstStyle/>
          <a:p>
            <a:pPr>
              <a:buFont typeface="Wingdings 2" pitchFamily="18" charset="2"/>
              <a:buNone/>
            </a:pPr>
            <a:endParaRPr lang="en-GB" sz="1300" b="1" dirty="0">
              <a:solidFill>
                <a:schemeClr val="bg1"/>
              </a:solidFill>
            </a:endParaRPr>
          </a:p>
        </p:txBody>
      </p:sp>
      <p:sp>
        <p:nvSpPr>
          <p:cNvPr id="223" name="Rectangle 222">
            <a:extLst>
              <a:ext uri="{FF2B5EF4-FFF2-40B4-BE49-F238E27FC236}">
                <a16:creationId xmlns:a16="http://schemas.microsoft.com/office/drawing/2014/main" id="{1C8EBB1F-657C-9F4E-B6D8-CAA092AE7BF4}"/>
              </a:ext>
            </a:extLst>
          </p:cNvPr>
          <p:cNvSpPr/>
          <p:nvPr/>
        </p:nvSpPr>
        <p:spPr bwMode="gray">
          <a:xfrm>
            <a:off x="2244224" y="3911563"/>
            <a:ext cx="9552489" cy="744761"/>
          </a:xfrm>
          <a:prstGeom prst="rect">
            <a:avLst/>
          </a:prstGeom>
          <a:solidFill>
            <a:schemeClr val="bg1">
              <a:lumMod val="95000"/>
            </a:schemeClr>
          </a:solidFill>
          <a:ln w="12700" algn="ctr">
            <a:noFill/>
            <a:miter lim="800000"/>
            <a:headEnd/>
            <a:tailEnd/>
          </a:ln>
        </p:spPr>
        <p:txBody>
          <a:bodyPr wrap="square" lIns="66675" tIns="66675" rIns="66675" bIns="66675" rtlCol="0" anchor="ctr"/>
          <a:lstStyle/>
          <a:p>
            <a:pPr>
              <a:buFont typeface="Wingdings 2" pitchFamily="18" charset="2"/>
              <a:buNone/>
            </a:pPr>
            <a:endParaRPr lang="en-GB" sz="1300" b="1" dirty="0">
              <a:solidFill>
                <a:schemeClr val="bg1"/>
              </a:solidFill>
            </a:endParaRPr>
          </a:p>
        </p:txBody>
      </p:sp>
      <p:sp>
        <p:nvSpPr>
          <p:cNvPr id="224" name="Rectangle 223">
            <a:extLst>
              <a:ext uri="{FF2B5EF4-FFF2-40B4-BE49-F238E27FC236}">
                <a16:creationId xmlns:a16="http://schemas.microsoft.com/office/drawing/2014/main" id="{3533695C-3BE4-F742-9F33-597FADD1269C}"/>
              </a:ext>
            </a:extLst>
          </p:cNvPr>
          <p:cNvSpPr/>
          <p:nvPr/>
        </p:nvSpPr>
        <p:spPr bwMode="gray">
          <a:xfrm>
            <a:off x="2244224" y="3111470"/>
            <a:ext cx="9552489" cy="744761"/>
          </a:xfrm>
          <a:prstGeom prst="rect">
            <a:avLst/>
          </a:prstGeom>
          <a:solidFill>
            <a:schemeClr val="bg1">
              <a:lumMod val="95000"/>
            </a:schemeClr>
          </a:solidFill>
          <a:ln w="12700" algn="ctr">
            <a:noFill/>
            <a:miter lim="800000"/>
            <a:headEnd/>
            <a:tailEnd/>
          </a:ln>
        </p:spPr>
        <p:txBody>
          <a:bodyPr wrap="square" lIns="66675" tIns="66675" rIns="66675" bIns="66675" rtlCol="0" anchor="ctr"/>
          <a:lstStyle/>
          <a:p>
            <a:pPr>
              <a:buFont typeface="Wingdings 2" pitchFamily="18" charset="2"/>
              <a:buNone/>
            </a:pPr>
            <a:endParaRPr lang="en-GB" sz="1300" b="1" dirty="0">
              <a:solidFill>
                <a:schemeClr val="bg1"/>
              </a:solidFill>
            </a:endParaRPr>
          </a:p>
        </p:txBody>
      </p:sp>
      <p:sp>
        <p:nvSpPr>
          <p:cNvPr id="225" name="Rectangle 224">
            <a:extLst>
              <a:ext uri="{FF2B5EF4-FFF2-40B4-BE49-F238E27FC236}">
                <a16:creationId xmlns:a16="http://schemas.microsoft.com/office/drawing/2014/main" id="{D472BD0F-2937-4046-B431-4AAC42785854}"/>
              </a:ext>
            </a:extLst>
          </p:cNvPr>
          <p:cNvSpPr/>
          <p:nvPr/>
        </p:nvSpPr>
        <p:spPr bwMode="gray">
          <a:xfrm>
            <a:off x="2244224" y="2311376"/>
            <a:ext cx="9552489" cy="744761"/>
          </a:xfrm>
          <a:prstGeom prst="rect">
            <a:avLst/>
          </a:prstGeom>
          <a:solidFill>
            <a:schemeClr val="bg1">
              <a:lumMod val="95000"/>
            </a:schemeClr>
          </a:solidFill>
          <a:ln w="12700" algn="ctr">
            <a:noFill/>
            <a:miter lim="800000"/>
            <a:headEnd/>
            <a:tailEnd/>
          </a:ln>
        </p:spPr>
        <p:txBody>
          <a:bodyPr wrap="square" lIns="66675" tIns="66675" rIns="66675" bIns="66675" rtlCol="0" anchor="ctr"/>
          <a:lstStyle/>
          <a:p>
            <a:pPr>
              <a:buFont typeface="Wingdings 2" pitchFamily="18" charset="2"/>
              <a:buNone/>
            </a:pPr>
            <a:endParaRPr lang="en-GB" sz="1300" b="1" dirty="0">
              <a:solidFill>
                <a:schemeClr val="bg1"/>
              </a:solidFill>
            </a:endParaRPr>
          </a:p>
        </p:txBody>
      </p:sp>
      <p:sp>
        <p:nvSpPr>
          <p:cNvPr id="226" name="Rectangle 225">
            <a:extLst>
              <a:ext uri="{FF2B5EF4-FFF2-40B4-BE49-F238E27FC236}">
                <a16:creationId xmlns:a16="http://schemas.microsoft.com/office/drawing/2014/main" id="{DB813CAA-A75F-BF40-914C-CD5131EDF718}"/>
              </a:ext>
            </a:extLst>
          </p:cNvPr>
          <p:cNvSpPr/>
          <p:nvPr/>
        </p:nvSpPr>
        <p:spPr bwMode="gray">
          <a:xfrm>
            <a:off x="2244224" y="4711657"/>
            <a:ext cx="9552489" cy="744761"/>
          </a:xfrm>
          <a:prstGeom prst="rect">
            <a:avLst/>
          </a:prstGeom>
          <a:solidFill>
            <a:schemeClr val="bg1">
              <a:lumMod val="95000"/>
            </a:schemeClr>
          </a:solidFill>
          <a:ln w="12700" algn="ctr">
            <a:noFill/>
            <a:miter lim="800000"/>
            <a:headEnd/>
            <a:tailEnd/>
          </a:ln>
        </p:spPr>
        <p:txBody>
          <a:bodyPr wrap="square" lIns="66675" tIns="66675" rIns="66675" bIns="66675" rtlCol="0" anchor="ctr"/>
          <a:lstStyle/>
          <a:p>
            <a:pPr>
              <a:buFont typeface="Wingdings 2" pitchFamily="18" charset="2"/>
              <a:buNone/>
            </a:pPr>
            <a:endParaRPr lang="en-GB" sz="1300" b="1" dirty="0">
              <a:solidFill>
                <a:schemeClr val="bg1"/>
              </a:solidFill>
            </a:endParaRPr>
          </a:p>
        </p:txBody>
      </p:sp>
      <p:sp>
        <p:nvSpPr>
          <p:cNvPr id="227" name="Rectangle 226">
            <a:extLst>
              <a:ext uri="{FF2B5EF4-FFF2-40B4-BE49-F238E27FC236}">
                <a16:creationId xmlns:a16="http://schemas.microsoft.com/office/drawing/2014/main" id="{3DBFA9C0-0CE7-C54D-844E-DA626385921B}"/>
              </a:ext>
            </a:extLst>
          </p:cNvPr>
          <p:cNvSpPr/>
          <p:nvPr/>
        </p:nvSpPr>
        <p:spPr bwMode="gray">
          <a:xfrm>
            <a:off x="395288" y="2311376"/>
            <a:ext cx="1806727" cy="744761"/>
          </a:xfrm>
          <a:prstGeom prst="rect">
            <a:avLst/>
          </a:prstGeom>
          <a:solidFill>
            <a:srgbClr val="000000"/>
          </a:solidFill>
          <a:ln w="19050" algn="ctr">
            <a:noFill/>
            <a:miter lim="800000"/>
            <a:headEnd/>
            <a:tailEnd/>
          </a:ln>
        </p:spPr>
        <p:txBody>
          <a:bodyPr wrap="square" lIns="66675" tIns="66675" rIns="66675" bIns="66675" rtlCol="0" anchor="ctr"/>
          <a:lstStyle/>
          <a:p>
            <a:pP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28" name="Rectangle 227">
            <a:extLst>
              <a:ext uri="{FF2B5EF4-FFF2-40B4-BE49-F238E27FC236}">
                <a16:creationId xmlns:a16="http://schemas.microsoft.com/office/drawing/2014/main" id="{4497F014-1231-584D-8E6E-3B24F2806D12}"/>
              </a:ext>
            </a:extLst>
          </p:cNvPr>
          <p:cNvSpPr/>
          <p:nvPr/>
        </p:nvSpPr>
        <p:spPr bwMode="gray">
          <a:xfrm>
            <a:off x="395287" y="3111470"/>
            <a:ext cx="1806727" cy="744761"/>
          </a:xfrm>
          <a:prstGeom prst="rect">
            <a:avLst/>
          </a:prstGeom>
          <a:solidFill>
            <a:srgbClr val="000000"/>
          </a:solidFill>
          <a:ln w="19050" algn="ctr">
            <a:noFill/>
            <a:miter lim="800000"/>
            <a:headEnd/>
            <a:tailEnd/>
          </a:ln>
        </p:spPr>
        <p:txBody>
          <a:bodyPr wrap="square" lIns="66675" tIns="66675" rIns="66675" bIns="66675" rtlCol="0" anchor="ctr"/>
          <a:lstStyle/>
          <a:p>
            <a:pP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29" name="Rectangle 228">
            <a:extLst>
              <a:ext uri="{FF2B5EF4-FFF2-40B4-BE49-F238E27FC236}">
                <a16:creationId xmlns:a16="http://schemas.microsoft.com/office/drawing/2014/main" id="{9FAC0E13-CDE1-4A43-AD0A-26C4AF5AC3A8}"/>
              </a:ext>
            </a:extLst>
          </p:cNvPr>
          <p:cNvSpPr/>
          <p:nvPr/>
        </p:nvSpPr>
        <p:spPr bwMode="gray">
          <a:xfrm>
            <a:off x="395287" y="3911563"/>
            <a:ext cx="1806727" cy="744761"/>
          </a:xfrm>
          <a:prstGeom prst="rect">
            <a:avLst/>
          </a:prstGeom>
          <a:solidFill>
            <a:srgbClr val="000000"/>
          </a:solidFill>
          <a:ln w="19050" algn="ctr">
            <a:noFill/>
            <a:miter lim="800000"/>
            <a:headEnd/>
            <a:tailEnd/>
          </a:ln>
        </p:spPr>
        <p:txBody>
          <a:bodyPr wrap="square" lIns="66675" tIns="66675" rIns="66675" bIns="66675" rtlCol="0" anchor="ctr"/>
          <a:lstStyle/>
          <a:p>
            <a:pP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0" name="Rectangle 229">
            <a:extLst>
              <a:ext uri="{FF2B5EF4-FFF2-40B4-BE49-F238E27FC236}">
                <a16:creationId xmlns:a16="http://schemas.microsoft.com/office/drawing/2014/main" id="{707A6AC7-9DFA-E945-B8BE-F7102511236B}"/>
              </a:ext>
            </a:extLst>
          </p:cNvPr>
          <p:cNvSpPr/>
          <p:nvPr/>
        </p:nvSpPr>
        <p:spPr bwMode="gray">
          <a:xfrm>
            <a:off x="395287" y="4711657"/>
            <a:ext cx="1806727" cy="744761"/>
          </a:xfrm>
          <a:prstGeom prst="rect">
            <a:avLst/>
          </a:prstGeom>
          <a:solidFill>
            <a:srgbClr val="000000"/>
          </a:solidFill>
          <a:ln w="19050" algn="ctr">
            <a:noFill/>
            <a:miter lim="800000"/>
            <a:headEnd/>
            <a:tailEnd/>
          </a:ln>
        </p:spPr>
        <p:txBody>
          <a:bodyPr wrap="square" lIns="66675" tIns="66675" rIns="66675" bIns="66675" rtlCol="0" anchor="ctr"/>
          <a:lstStyle/>
          <a:p>
            <a:pP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1" name="Rectangle 230">
            <a:extLst>
              <a:ext uri="{FF2B5EF4-FFF2-40B4-BE49-F238E27FC236}">
                <a16:creationId xmlns:a16="http://schemas.microsoft.com/office/drawing/2014/main" id="{D6CDAB47-098E-704E-925A-83421A077302}"/>
              </a:ext>
            </a:extLst>
          </p:cNvPr>
          <p:cNvSpPr/>
          <p:nvPr/>
        </p:nvSpPr>
        <p:spPr bwMode="gray">
          <a:xfrm>
            <a:off x="395287" y="5511753"/>
            <a:ext cx="1806727" cy="744761"/>
          </a:xfrm>
          <a:prstGeom prst="rect">
            <a:avLst/>
          </a:prstGeom>
          <a:solidFill>
            <a:srgbClr val="000000"/>
          </a:solidFill>
          <a:ln w="19050" algn="ctr">
            <a:noFill/>
            <a:miter lim="800000"/>
            <a:headEnd/>
            <a:tailEnd/>
          </a:ln>
        </p:spPr>
        <p:txBody>
          <a:bodyPr wrap="square" lIns="66675" tIns="66675" rIns="66675" bIns="66675" rtlCol="0" anchor="ctr"/>
          <a:lstStyle/>
          <a:p>
            <a:pP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2" name="Freeform 231">
            <a:extLst>
              <a:ext uri="{FF2B5EF4-FFF2-40B4-BE49-F238E27FC236}">
                <a16:creationId xmlns:a16="http://schemas.microsoft.com/office/drawing/2014/main" id="{2E115AAD-CF87-534E-B1F8-B4DC6C7E7256}"/>
              </a:ext>
            </a:extLst>
          </p:cNvPr>
          <p:cNvSpPr/>
          <p:nvPr/>
        </p:nvSpPr>
        <p:spPr bwMode="gray">
          <a:xfrm>
            <a:off x="2242527" y="1561147"/>
            <a:ext cx="2362643" cy="694436"/>
          </a:xfrm>
          <a:custGeom>
            <a:avLst/>
            <a:gdLst>
              <a:gd name="connsiteX0" fmla="*/ 238014 w 1012051"/>
              <a:gd name="connsiteY0" fmla="*/ 0 h 685346"/>
              <a:gd name="connsiteX1" fmla="*/ 1012051 w 1012051"/>
              <a:gd name="connsiteY1" fmla="*/ 0 h 685346"/>
              <a:gd name="connsiteX2" fmla="*/ 1012051 w 1012051"/>
              <a:gd name="connsiteY2" fmla="*/ 685346 h 685346"/>
              <a:gd name="connsiteX3" fmla="*/ 0 w 1012051"/>
              <a:gd name="connsiteY3" fmla="*/ 685346 h 685346"/>
            </a:gdLst>
            <a:ahLst/>
            <a:cxnLst>
              <a:cxn ang="0">
                <a:pos x="connsiteX0" y="connsiteY0"/>
              </a:cxn>
              <a:cxn ang="0">
                <a:pos x="connsiteX1" y="connsiteY1"/>
              </a:cxn>
              <a:cxn ang="0">
                <a:pos x="connsiteX2" y="connsiteY2"/>
              </a:cxn>
              <a:cxn ang="0">
                <a:pos x="connsiteX3" y="connsiteY3"/>
              </a:cxn>
            </a:cxnLst>
            <a:rect l="l" t="t" r="r" b="b"/>
            <a:pathLst>
              <a:path w="1012051" h="685346">
                <a:moveTo>
                  <a:pt x="238014" y="0"/>
                </a:moveTo>
                <a:lnTo>
                  <a:pt x="1012051" y="0"/>
                </a:lnTo>
                <a:lnTo>
                  <a:pt x="1012051" y="685346"/>
                </a:lnTo>
                <a:lnTo>
                  <a:pt x="0" y="685346"/>
                </a:lnTo>
                <a:close/>
              </a:path>
            </a:pathLst>
          </a:custGeom>
          <a:solidFill>
            <a:srgbClr val="046A38"/>
          </a:solidFill>
          <a:ln w="19050" algn="ctr">
            <a:noFill/>
            <a:miter lim="800000"/>
            <a:headEnd/>
            <a:tailEnd/>
          </a:ln>
        </p:spPr>
        <p:txBody>
          <a:bodyPr wrap="square" lIns="66675" tIns="66675" rIns="66675" bIns="66675" rtlCol="0" anchor="b"/>
          <a:lstStyle/>
          <a:p>
            <a:pPr marL="215504" algn="ctr"/>
            <a:r>
              <a:rPr lang="en-US" sz="1300" b="1" dirty="0">
                <a:solidFill>
                  <a:schemeClr val="bg1"/>
                </a:solidFill>
              </a:rPr>
              <a:t>Lorem ipsum dolor</a:t>
            </a:r>
            <a:endParaRPr lang="en-GB" sz="1300" b="1" dirty="0">
              <a:solidFill>
                <a:schemeClr val="bg1"/>
              </a:solidFill>
            </a:endParaRPr>
          </a:p>
        </p:txBody>
      </p:sp>
      <p:sp>
        <p:nvSpPr>
          <p:cNvPr id="233" name="Rectangle 232">
            <a:extLst>
              <a:ext uri="{FF2B5EF4-FFF2-40B4-BE49-F238E27FC236}">
                <a16:creationId xmlns:a16="http://schemas.microsoft.com/office/drawing/2014/main" id="{F1719946-A404-244E-9CF6-0BF55EBD8BF1}"/>
              </a:ext>
            </a:extLst>
          </p:cNvPr>
          <p:cNvSpPr/>
          <p:nvPr/>
        </p:nvSpPr>
        <p:spPr bwMode="gray">
          <a:xfrm>
            <a:off x="4639707" y="1561147"/>
            <a:ext cx="2362643" cy="694895"/>
          </a:xfrm>
          <a:prstGeom prst="rect">
            <a:avLst/>
          </a:prstGeom>
          <a:solidFill>
            <a:srgbClr val="009A44"/>
          </a:solidFill>
          <a:ln w="19050" algn="ctr">
            <a:noFill/>
            <a:miter lim="800000"/>
            <a:headEnd/>
            <a:tailEnd/>
          </a:ln>
        </p:spPr>
        <p:txBody>
          <a:bodyPr wrap="square" lIns="66675" tIns="66675" rIns="66675" bIns="66675" rtlCol="0" anchor="b"/>
          <a:lstStyle/>
          <a:p>
            <a:pPr algn="ct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4" name="Rectangle 233">
            <a:extLst>
              <a:ext uri="{FF2B5EF4-FFF2-40B4-BE49-F238E27FC236}">
                <a16:creationId xmlns:a16="http://schemas.microsoft.com/office/drawing/2014/main" id="{6A411D74-C863-6542-B1C1-9E80F9CF6E13}"/>
              </a:ext>
            </a:extLst>
          </p:cNvPr>
          <p:cNvSpPr/>
          <p:nvPr/>
        </p:nvSpPr>
        <p:spPr bwMode="gray">
          <a:xfrm>
            <a:off x="7036889" y="1561147"/>
            <a:ext cx="2362643" cy="694895"/>
          </a:xfrm>
          <a:prstGeom prst="rect">
            <a:avLst/>
          </a:prstGeom>
          <a:solidFill>
            <a:srgbClr val="43B02A"/>
          </a:solidFill>
          <a:ln w="19050" algn="ctr">
            <a:noFill/>
            <a:miter lim="800000"/>
            <a:headEnd/>
            <a:tailEnd/>
          </a:ln>
        </p:spPr>
        <p:txBody>
          <a:bodyPr wrap="square" lIns="66675" tIns="66675" rIns="66675" bIns="66675" rtlCol="0" anchor="b"/>
          <a:lstStyle/>
          <a:p>
            <a:pPr algn="ct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5" name="Freeform 234">
            <a:extLst>
              <a:ext uri="{FF2B5EF4-FFF2-40B4-BE49-F238E27FC236}">
                <a16:creationId xmlns:a16="http://schemas.microsoft.com/office/drawing/2014/main" id="{758B98C1-90CE-F64C-AB63-288D5028D1E0}"/>
              </a:ext>
            </a:extLst>
          </p:cNvPr>
          <p:cNvSpPr/>
          <p:nvPr/>
        </p:nvSpPr>
        <p:spPr bwMode="gray">
          <a:xfrm flipH="1">
            <a:off x="9434070" y="1561147"/>
            <a:ext cx="2362643" cy="694436"/>
          </a:xfrm>
          <a:custGeom>
            <a:avLst/>
            <a:gdLst>
              <a:gd name="connsiteX0" fmla="*/ 238014 w 1012051"/>
              <a:gd name="connsiteY0" fmla="*/ 0 h 685346"/>
              <a:gd name="connsiteX1" fmla="*/ 1012051 w 1012051"/>
              <a:gd name="connsiteY1" fmla="*/ 0 h 685346"/>
              <a:gd name="connsiteX2" fmla="*/ 1012051 w 1012051"/>
              <a:gd name="connsiteY2" fmla="*/ 685346 h 685346"/>
              <a:gd name="connsiteX3" fmla="*/ 0 w 1012051"/>
              <a:gd name="connsiteY3" fmla="*/ 685346 h 685346"/>
            </a:gdLst>
            <a:ahLst/>
            <a:cxnLst>
              <a:cxn ang="0">
                <a:pos x="connsiteX0" y="connsiteY0"/>
              </a:cxn>
              <a:cxn ang="0">
                <a:pos x="connsiteX1" y="connsiteY1"/>
              </a:cxn>
              <a:cxn ang="0">
                <a:pos x="connsiteX2" y="connsiteY2"/>
              </a:cxn>
              <a:cxn ang="0">
                <a:pos x="connsiteX3" y="connsiteY3"/>
              </a:cxn>
            </a:cxnLst>
            <a:rect l="l" t="t" r="r" b="b"/>
            <a:pathLst>
              <a:path w="1012051" h="685346">
                <a:moveTo>
                  <a:pt x="238014" y="0"/>
                </a:moveTo>
                <a:lnTo>
                  <a:pt x="1012051" y="0"/>
                </a:lnTo>
                <a:lnTo>
                  <a:pt x="1012051" y="685346"/>
                </a:lnTo>
                <a:lnTo>
                  <a:pt x="0" y="685346"/>
                </a:lnTo>
                <a:close/>
              </a:path>
            </a:pathLst>
          </a:custGeom>
          <a:solidFill>
            <a:srgbClr val="86BC25"/>
          </a:solidFill>
          <a:ln w="19050" algn="ctr">
            <a:noFill/>
            <a:miter lim="800000"/>
            <a:headEnd/>
            <a:tailEnd/>
          </a:ln>
        </p:spPr>
        <p:txBody>
          <a:bodyPr wrap="square" lIns="66675" tIns="66675" rIns="342900" bIns="66675" rtlCol="0" anchor="b"/>
          <a:lstStyle/>
          <a:p>
            <a:pPr algn="ct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6" name="Rectangle 235">
            <a:extLst>
              <a:ext uri="{FF2B5EF4-FFF2-40B4-BE49-F238E27FC236}">
                <a16:creationId xmlns:a16="http://schemas.microsoft.com/office/drawing/2014/main" id="{45DD547B-EC57-464B-8841-D5B72DE62FB9}"/>
              </a:ext>
            </a:extLst>
          </p:cNvPr>
          <p:cNvSpPr/>
          <p:nvPr/>
        </p:nvSpPr>
        <p:spPr bwMode="gray">
          <a:xfrm>
            <a:off x="2389909" y="2380954"/>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37" name="Rectangle 236">
            <a:extLst>
              <a:ext uri="{FF2B5EF4-FFF2-40B4-BE49-F238E27FC236}">
                <a16:creationId xmlns:a16="http://schemas.microsoft.com/office/drawing/2014/main" id="{D3176BF6-BC43-674C-AC39-B95FD9848F30}"/>
              </a:ext>
            </a:extLst>
          </p:cNvPr>
          <p:cNvSpPr/>
          <p:nvPr/>
        </p:nvSpPr>
        <p:spPr bwMode="gray">
          <a:xfrm>
            <a:off x="3561973" y="2380954"/>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38" name="Rectangle 237">
            <a:extLst>
              <a:ext uri="{FF2B5EF4-FFF2-40B4-BE49-F238E27FC236}">
                <a16:creationId xmlns:a16="http://schemas.microsoft.com/office/drawing/2014/main" id="{0B7481EF-9320-9843-AF64-4CC3840B9020}"/>
              </a:ext>
            </a:extLst>
          </p:cNvPr>
          <p:cNvSpPr/>
          <p:nvPr/>
        </p:nvSpPr>
        <p:spPr bwMode="gray">
          <a:xfrm>
            <a:off x="4734039" y="2380954"/>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39" name="Rectangle 238">
            <a:extLst>
              <a:ext uri="{FF2B5EF4-FFF2-40B4-BE49-F238E27FC236}">
                <a16:creationId xmlns:a16="http://schemas.microsoft.com/office/drawing/2014/main" id="{91AAC479-9794-0947-927D-E4E70715BF23}"/>
              </a:ext>
            </a:extLst>
          </p:cNvPr>
          <p:cNvSpPr/>
          <p:nvPr/>
        </p:nvSpPr>
        <p:spPr bwMode="gray">
          <a:xfrm>
            <a:off x="3561973" y="3181047"/>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0" name="Rectangle 239">
            <a:extLst>
              <a:ext uri="{FF2B5EF4-FFF2-40B4-BE49-F238E27FC236}">
                <a16:creationId xmlns:a16="http://schemas.microsoft.com/office/drawing/2014/main" id="{856962AF-79F1-234C-9A86-B6E45BC13941}"/>
              </a:ext>
            </a:extLst>
          </p:cNvPr>
          <p:cNvSpPr/>
          <p:nvPr/>
        </p:nvSpPr>
        <p:spPr bwMode="gray">
          <a:xfrm>
            <a:off x="4734039" y="3181047"/>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1" name="Rectangle 240">
            <a:extLst>
              <a:ext uri="{FF2B5EF4-FFF2-40B4-BE49-F238E27FC236}">
                <a16:creationId xmlns:a16="http://schemas.microsoft.com/office/drawing/2014/main" id="{96C2CBC5-E45D-9142-B365-348C1D0336DF}"/>
              </a:ext>
            </a:extLst>
          </p:cNvPr>
          <p:cNvSpPr/>
          <p:nvPr/>
        </p:nvSpPr>
        <p:spPr bwMode="gray">
          <a:xfrm>
            <a:off x="5906105" y="3181047"/>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2" name="Rectangle 241">
            <a:extLst>
              <a:ext uri="{FF2B5EF4-FFF2-40B4-BE49-F238E27FC236}">
                <a16:creationId xmlns:a16="http://schemas.microsoft.com/office/drawing/2014/main" id="{C3FCF399-832B-694D-A50B-3028194A4CF6}"/>
              </a:ext>
            </a:extLst>
          </p:cNvPr>
          <p:cNvSpPr/>
          <p:nvPr/>
        </p:nvSpPr>
        <p:spPr bwMode="gray">
          <a:xfrm>
            <a:off x="2389909" y="3981142"/>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3" name="Rectangle 242">
            <a:extLst>
              <a:ext uri="{FF2B5EF4-FFF2-40B4-BE49-F238E27FC236}">
                <a16:creationId xmlns:a16="http://schemas.microsoft.com/office/drawing/2014/main" id="{0C69B557-E8C6-8042-BF71-332FAE3FF32D}"/>
              </a:ext>
            </a:extLst>
          </p:cNvPr>
          <p:cNvSpPr/>
          <p:nvPr/>
        </p:nvSpPr>
        <p:spPr bwMode="gray">
          <a:xfrm>
            <a:off x="3561973" y="3981142"/>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4" name="Rectangle 243">
            <a:extLst>
              <a:ext uri="{FF2B5EF4-FFF2-40B4-BE49-F238E27FC236}">
                <a16:creationId xmlns:a16="http://schemas.microsoft.com/office/drawing/2014/main" id="{A647FBBC-38C8-1B44-87E7-0824390A5E13}"/>
              </a:ext>
            </a:extLst>
          </p:cNvPr>
          <p:cNvSpPr/>
          <p:nvPr/>
        </p:nvSpPr>
        <p:spPr bwMode="gray">
          <a:xfrm>
            <a:off x="4734039" y="3981142"/>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5" name="Rectangle 244">
            <a:extLst>
              <a:ext uri="{FF2B5EF4-FFF2-40B4-BE49-F238E27FC236}">
                <a16:creationId xmlns:a16="http://schemas.microsoft.com/office/drawing/2014/main" id="{EADA4DBF-21A5-5044-8D5D-BCC8D01008D3}"/>
              </a:ext>
            </a:extLst>
          </p:cNvPr>
          <p:cNvSpPr/>
          <p:nvPr/>
        </p:nvSpPr>
        <p:spPr bwMode="gray">
          <a:xfrm>
            <a:off x="5906105" y="3981142"/>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6" name="Rectangle 245">
            <a:extLst>
              <a:ext uri="{FF2B5EF4-FFF2-40B4-BE49-F238E27FC236}">
                <a16:creationId xmlns:a16="http://schemas.microsoft.com/office/drawing/2014/main" id="{3A009509-8FDB-5A4E-856F-8622EA52DE79}"/>
              </a:ext>
            </a:extLst>
          </p:cNvPr>
          <p:cNvSpPr/>
          <p:nvPr/>
        </p:nvSpPr>
        <p:spPr bwMode="gray">
          <a:xfrm>
            <a:off x="7078170" y="3981142"/>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7" name="Rectangle 246">
            <a:extLst>
              <a:ext uri="{FF2B5EF4-FFF2-40B4-BE49-F238E27FC236}">
                <a16:creationId xmlns:a16="http://schemas.microsoft.com/office/drawing/2014/main" id="{29499918-222B-1245-BA66-75B059C302DC}"/>
              </a:ext>
            </a:extLst>
          </p:cNvPr>
          <p:cNvSpPr/>
          <p:nvPr/>
        </p:nvSpPr>
        <p:spPr bwMode="gray">
          <a:xfrm>
            <a:off x="8250234" y="3981142"/>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p>
        </p:txBody>
      </p:sp>
      <p:sp>
        <p:nvSpPr>
          <p:cNvPr id="248" name="Rectangle 247">
            <a:extLst>
              <a:ext uri="{FF2B5EF4-FFF2-40B4-BE49-F238E27FC236}">
                <a16:creationId xmlns:a16="http://schemas.microsoft.com/office/drawing/2014/main" id="{BB7AE4FB-B28F-DF44-B3D4-B163CF67027B}"/>
              </a:ext>
            </a:extLst>
          </p:cNvPr>
          <p:cNvSpPr/>
          <p:nvPr/>
        </p:nvSpPr>
        <p:spPr bwMode="gray">
          <a:xfrm>
            <a:off x="9422300" y="3981142"/>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9" name="Rectangle 248">
            <a:extLst>
              <a:ext uri="{FF2B5EF4-FFF2-40B4-BE49-F238E27FC236}">
                <a16:creationId xmlns:a16="http://schemas.microsoft.com/office/drawing/2014/main" id="{1FF9AC7F-1B04-114D-A113-C344B46D0BF3}"/>
              </a:ext>
            </a:extLst>
          </p:cNvPr>
          <p:cNvSpPr/>
          <p:nvPr/>
        </p:nvSpPr>
        <p:spPr bwMode="gray">
          <a:xfrm>
            <a:off x="10594363" y="3981142"/>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50" name="Rectangle 249">
            <a:extLst>
              <a:ext uri="{FF2B5EF4-FFF2-40B4-BE49-F238E27FC236}">
                <a16:creationId xmlns:a16="http://schemas.microsoft.com/office/drawing/2014/main" id="{7030B7A5-FA75-644B-8E52-9D074D7C9726}"/>
              </a:ext>
            </a:extLst>
          </p:cNvPr>
          <p:cNvSpPr/>
          <p:nvPr/>
        </p:nvSpPr>
        <p:spPr bwMode="gray">
          <a:xfrm>
            <a:off x="3561973" y="4781235"/>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1" name="Rectangle 250">
            <a:extLst>
              <a:ext uri="{FF2B5EF4-FFF2-40B4-BE49-F238E27FC236}">
                <a16:creationId xmlns:a16="http://schemas.microsoft.com/office/drawing/2014/main" id="{219B6B15-EF9B-7D44-8B88-7FA2E9214AD2}"/>
              </a:ext>
            </a:extLst>
          </p:cNvPr>
          <p:cNvSpPr/>
          <p:nvPr/>
        </p:nvSpPr>
        <p:spPr bwMode="gray">
          <a:xfrm>
            <a:off x="4734039" y="4781235"/>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2" name="Rectangle 251">
            <a:extLst>
              <a:ext uri="{FF2B5EF4-FFF2-40B4-BE49-F238E27FC236}">
                <a16:creationId xmlns:a16="http://schemas.microsoft.com/office/drawing/2014/main" id="{4D1CCC58-0671-5A4A-A448-A3775DDFB468}"/>
              </a:ext>
            </a:extLst>
          </p:cNvPr>
          <p:cNvSpPr/>
          <p:nvPr/>
        </p:nvSpPr>
        <p:spPr bwMode="gray">
          <a:xfrm>
            <a:off x="5906105" y="4781235"/>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3" name="Rectangle 252">
            <a:extLst>
              <a:ext uri="{FF2B5EF4-FFF2-40B4-BE49-F238E27FC236}">
                <a16:creationId xmlns:a16="http://schemas.microsoft.com/office/drawing/2014/main" id="{6B26CAF2-920B-B345-8579-A14B3E9F9CC2}"/>
              </a:ext>
            </a:extLst>
          </p:cNvPr>
          <p:cNvSpPr/>
          <p:nvPr/>
        </p:nvSpPr>
        <p:spPr bwMode="gray">
          <a:xfrm>
            <a:off x="8250234" y="4781235"/>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4" name="Rectangle 253">
            <a:extLst>
              <a:ext uri="{FF2B5EF4-FFF2-40B4-BE49-F238E27FC236}">
                <a16:creationId xmlns:a16="http://schemas.microsoft.com/office/drawing/2014/main" id="{B2726B6D-75F7-F14E-9C20-82FC7B307FD1}"/>
              </a:ext>
            </a:extLst>
          </p:cNvPr>
          <p:cNvSpPr/>
          <p:nvPr/>
        </p:nvSpPr>
        <p:spPr bwMode="gray">
          <a:xfrm>
            <a:off x="9422300" y="4781235"/>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5" name="Rectangle 254">
            <a:extLst>
              <a:ext uri="{FF2B5EF4-FFF2-40B4-BE49-F238E27FC236}">
                <a16:creationId xmlns:a16="http://schemas.microsoft.com/office/drawing/2014/main" id="{0C797DA2-6588-B84E-8452-B73003C0958B}"/>
              </a:ext>
            </a:extLst>
          </p:cNvPr>
          <p:cNvSpPr/>
          <p:nvPr/>
        </p:nvSpPr>
        <p:spPr bwMode="gray">
          <a:xfrm>
            <a:off x="10594363" y="4781235"/>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6" name="Rectangle 255">
            <a:extLst>
              <a:ext uri="{FF2B5EF4-FFF2-40B4-BE49-F238E27FC236}">
                <a16:creationId xmlns:a16="http://schemas.microsoft.com/office/drawing/2014/main" id="{4FC2F3BF-FFEA-F448-A71A-5BF9902A4F0D}"/>
              </a:ext>
            </a:extLst>
          </p:cNvPr>
          <p:cNvSpPr/>
          <p:nvPr/>
        </p:nvSpPr>
        <p:spPr bwMode="gray">
          <a:xfrm>
            <a:off x="2389909" y="5581330"/>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7" name="Rectangle 256">
            <a:extLst>
              <a:ext uri="{FF2B5EF4-FFF2-40B4-BE49-F238E27FC236}">
                <a16:creationId xmlns:a16="http://schemas.microsoft.com/office/drawing/2014/main" id="{C1A5BC43-EE4E-9544-B300-DB6C55CC65B4}"/>
              </a:ext>
            </a:extLst>
          </p:cNvPr>
          <p:cNvSpPr/>
          <p:nvPr/>
        </p:nvSpPr>
        <p:spPr bwMode="gray">
          <a:xfrm>
            <a:off x="3561973" y="5581330"/>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8" name="Rectangle 257">
            <a:extLst>
              <a:ext uri="{FF2B5EF4-FFF2-40B4-BE49-F238E27FC236}">
                <a16:creationId xmlns:a16="http://schemas.microsoft.com/office/drawing/2014/main" id="{9A9DD930-C060-3343-9C73-40594247AFF4}"/>
              </a:ext>
            </a:extLst>
          </p:cNvPr>
          <p:cNvSpPr/>
          <p:nvPr/>
        </p:nvSpPr>
        <p:spPr bwMode="gray">
          <a:xfrm>
            <a:off x="5906105" y="5581330"/>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9" name="Rectangle 258">
            <a:extLst>
              <a:ext uri="{FF2B5EF4-FFF2-40B4-BE49-F238E27FC236}">
                <a16:creationId xmlns:a16="http://schemas.microsoft.com/office/drawing/2014/main" id="{0A43A075-5380-1744-8224-D9059229AEAF}"/>
              </a:ext>
            </a:extLst>
          </p:cNvPr>
          <p:cNvSpPr/>
          <p:nvPr/>
        </p:nvSpPr>
        <p:spPr bwMode="gray">
          <a:xfrm>
            <a:off x="7078170" y="5581330"/>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60" name="Rectangle 259">
            <a:extLst>
              <a:ext uri="{FF2B5EF4-FFF2-40B4-BE49-F238E27FC236}">
                <a16:creationId xmlns:a16="http://schemas.microsoft.com/office/drawing/2014/main" id="{DF5CD12A-E5B6-5F4C-AA44-EBB9F6819E93}"/>
              </a:ext>
            </a:extLst>
          </p:cNvPr>
          <p:cNvSpPr/>
          <p:nvPr/>
        </p:nvSpPr>
        <p:spPr bwMode="gray">
          <a:xfrm>
            <a:off x="8250234" y="5581330"/>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61" name="Rectangle 260">
            <a:extLst>
              <a:ext uri="{FF2B5EF4-FFF2-40B4-BE49-F238E27FC236}">
                <a16:creationId xmlns:a16="http://schemas.microsoft.com/office/drawing/2014/main" id="{078E57ED-0F85-5246-99D4-465939B9335C}"/>
              </a:ext>
            </a:extLst>
          </p:cNvPr>
          <p:cNvSpPr/>
          <p:nvPr/>
        </p:nvSpPr>
        <p:spPr bwMode="gray">
          <a:xfrm>
            <a:off x="9422300" y="5581330"/>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62" name="Rectangle 261">
            <a:extLst>
              <a:ext uri="{FF2B5EF4-FFF2-40B4-BE49-F238E27FC236}">
                <a16:creationId xmlns:a16="http://schemas.microsoft.com/office/drawing/2014/main" id="{7A1DC249-D57C-414E-98FD-E3CEC02FB6CE}"/>
              </a:ext>
            </a:extLst>
          </p:cNvPr>
          <p:cNvSpPr/>
          <p:nvPr/>
        </p:nvSpPr>
        <p:spPr bwMode="gray">
          <a:xfrm>
            <a:off x="10594363" y="5581330"/>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cxnSp>
        <p:nvCxnSpPr>
          <p:cNvPr id="263" name="Elbow Connector 262">
            <a:extLst>
              <a:ext uri="{FF2B5EF4-FFF2-40B4-BE49-F238E27FC236}">
                <a16:creationId xmlns:a16="http://schemas.microsoft.com/office/drawing/2014/main" id="{A95C0833-24EC-8D46-9D31-EA8BB763D3BB}"/>
              </a:ext>
            </a:extLst>
          </p:cNvPr>
          <p:cNvCxnSpPr>
            <a:stCxn id="254" idx="2"/>
            <a:endCxn id="260" idx="0"/>
          </p:cNvCxnSpPr>
          <p:nvPr/>
        </p:nvCxnSpPr>
        <p:spPr>
          <a:xfrm rot="5400000">
            <a:off x="9267355" y="4898053"/>
            <a:ext cx="194492" cy="1172066"/>
          </a:xfrm>
          <a:prstGeom prst="bentConnector3">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Elbow Connector 263">
            <a:extLst>
              <a:ext uri="{FF2B5EF4-FFF2-40B4-BE49-F238E27FC236}">
                <a16:creationId xmlns:a16="http://schemas.microsoft.com/office/drawing/2014/main" id="{735EE85D-2167-9742-A216-709E8A37E046}"/>
              </a:ext>
            </a:extLst>
          </p:cNvPr>
          <p:cNvCxnSpPr>
            <a:stCxn id="254" idx="2"/>
            <a:endCxn id="262" idx="0"/>
          </p:cNvCxnSpPr>
          <p:nvPr/>
        </p:nvCxnSpPr>
        <p:spPr>
          <a:xfrm rot="16200000" flipH="1">
            <a:off x="10439418" y="4898053"/>
            <a:ext cx="194492" cy="1172063"/>
          </a:xfrm>
          <a:prstGeom prst="bentConnector3">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5" name="Straight Arrow Connector 264">
            <a:extLst>
              <a:ext uri="{FF2B5EF4-FFF2-40B4-BE49-F238E27FC236}">
                <a16:creationId xmlns:a16="http://schemas.microsoft.com/office/drawing/2014/main" id="{65915A60-5E91-1545-8176-F42FD5A16749}"/>
              </a:ext>
            </a:extLst>
          </p:cNvPr>
          <p:cNvCxnSpPr>
            <a:stCxn id="254" idx="2"/>
            <a:endCxn id="261" idx="0"/>
          </p:cNvCxnSpPr>
          <p:nvPr/>
        </p:nvCxnSpPr>
        <p:spPr>
          <a:xfrm>
            <a:off x="9950634" y="5386838"/>
            <a:ext cx="0" cy="194492"/>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Straight Arrow Connector 265">
            <a:extLst>
              <a:ext uri="{FF2B5EF4-FFF2-40B4-BE49-F238E27FC236}">
                <a16:creationId xmlns:a16="http://schemas.microsoft.com/office/drawing/2014/main" id="{DB3AA1D0-A800-7B44-91B5-4041565A02EE}"/>
              </a:ext>
            </a:extLst>
          </p:cNvPr>
          <p:cNvCxnSpPr>
            <a:stCxn id="246" idx="2"/>
            <a:endCxn id="259" idx="0"/>
          </p:cNvCxnSpPr>
          <p:nvPr/>
        </p:nvCxnSpPr>
        <p:spPr>
          <a:xfrm>
            <a:off x="7606502" y="4586745"/>
            <a:ext cx="0" cy="994585"/>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F31AE232-7686-214D-8461-EC8F86360D4B}"/>
              </a:ext>
            </a:extLst>
          </p:cNvPr>
          <p:cNvCxnSpPr>
            <a:stCxn id="252" idx="2"/>
            <a:endCxn id="258" idx="0"/>
          </p:cNvCxnSpPr>
          <p:nvPr/>
        </p:nvCxnSpPr>
        <p:spPr>
          <a:xfrm>
            <a:off x="6434437" y="5386838"/>
            <a:ext cx="0" cy="194492"/>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Elbow Connector 267">
            <a:extLst>
              <a:ext uri="{FF2B5EF4-FFF2-40B4-BE49-F238E27FC236}">
                <a16:creationId xmlns:a16="http://schemas.microsoft.com/office/drawing/2014/main" id="{F5B8C346-0E39-3845-9570-BBC0D48EC7F9}"/>
              </a:ext>
            </a:extLst>
          </p:cNvPr>
          <p:cNvCxnSpPr>
            <a:stCxn id="250" idx="2"/>
            <a:endCxn id="258" idx="0"/>
          </p:cNvCxnSpPr>
          <p:nvPr/>
        </p:nvCxnSpPr>
        <p:spPr>
          <a:xfrm rot="16200000" flipH="1">
            <a:off x="5165127" y="4312019"/>
            <a:ext cx="194492" cy="2344131"/>
          </a:xfrm>
          <a:prstGeom prst="bentConnector3">
            <a:avLst>
              <a:gd name="adj1" fmla="val 50000"/>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Straight Arrow Connector 11289">
            <a:extLst>
              <a:ext uri="{FF2B5EF4-FFF2-40B4-BE49-F238E27FC236}">
                <a16:creationId xmlns:a16="http://schemas.microsoft.com/office/drawing/2014/main" id="{97D7D6C8-E57B-2946-AC41-4C6A573B26AC}"/>
              </a:ext>
            </a:extLst>
          </p:cNvPr>
          <p:cNvCxnSpPr>
            <a:stCxn id="237" idx="2"/>
            <a:endCxn id="242" idx="0"/>
          </p:cNvCxnSpPr>
          <p:nvPr/>
        </p:nvCxnSpPr>
        <p:spPr>
          <a:xfrm rot="5400000">
            <a:off x="3006984" y="2897818"/>
            <a:ext cx="994584" cy="1172066"/>
          </a:xfrm>
          <a:prstGeom prst="bentConnector3">
            <a:avLst>
              <a:gd name="adj1" fmla="val 12169"/>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0" name="Elbow Connector 269">
            <a:extLst>
              <a:ext uri="{FF2B5EF4-FFF2-40B4-BE49-F238E27FC236}">
                <a16:creationId xmlns:a16="http://schemas.microsoft.com/office/drawing/2014/main" id="{D6453EEE-7B54-CD46-81BC-D31EA9444901}"/>
              </a:ext>
            </a:extLst>
          </p:cNvPr>
          <p:cNvCxnSpPr>
            <a:stCxn id="238" idx="2"/>
            <a:endCxn id="256" idx="1"/>
          </p:cNvCxnSpPr>
          <p:nvPr/>
        </p:nvCxnSpPr>
        <p:spPr>
          <a:xfrm rot="5400000">
            <a:off x="2377354" y="2999113"/>
            <a:ext cx="2897574" cy="2872465"/>
          </a:xfrm>
          <a:prstGeom prst="bentConnector4">
            <a:avLst>
              <a:gd name="adj1" fmla="val 1599"/>
              <a:gd name="adj2" fmla="val 104462"/>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Elbow Connector 270">
            <a:extLst>
              <a:ext uri="{FF2B5EF4-FFF2-40B4-BE49-F238E27FC236}">
                <a16:creationId xmlns:a16="http://schemas.microsoft.com/office/drawing/2014/main" id="{4A8F18A5-0AC8-194F-B7A8-5E08C5D5C9A1}"/>
              </a:ext>
            </a:extLst>
          </p:cNvPr>
          <p:cNvCxnSpPr>
            <a:stCxn id="242" idx="2"/>
            <a:endCxn id="250" idx="1"/>
          </p:cNvCxnSpPr>
          <p:nvPr/>
        </p:nvCxnSpPr>
        <p:spPr>
          <a:xfrm rot="16200000" flipH="1">
            <a:off x="2991464" y="4513524"/>
            <a:ext cx="497291" cy="643732"/>
          </a:xfrm>
          <a:prstGeom prst="bentConnector2">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2" name="Straight Arrow Connector 271">
            <a:extLst>
              <a:ext uri="{FF2B5EF4-FFF2-40B4-BE49-F238E27FC236}">
                <a16:creationId xmlns:a16="http://schemas.microsoft.com/office/drawing/2014/main" id="{ED6DBF65-719E-684A-A6FF-D36BF930584B}"/>
              </a:ext>
            </a:extLst>
          </p:cNvPr>
          <p:cNvCxnSpPr>
            <a:stCxn id="239" idx="3"/>
            <a:endCxn id="240" idx="1"/>
          </p:cNvCxnSpPr>
          <p:nvPr/>
        </p:nvCxnSpPr>
        <p:spPr>
          <a:xfrm>
            <a:off x="4618643" y="3483849"/>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a:extLst>
              <a:ext uri="{FF2B5EF4-FFF2-40B4-BE49-F238E27FC236}">
                <a16:creationId xmlns:a16="http://schemas.microsoft.com/office/drawing/2014/main" id="{D8B447B0-7841-AF40-9AF0-AD30E3E395AB}"/>
              </a:ext>
            </a:extLst>
          </p:cNvPr>
          <p:cNvCxnSpPr>
            <a:stCxn id="240" idx="3"/>
            <a:endCxn id="241" idx="1"/>
          </p:cNvCxnSpPr>
          <p:nvPr/>
        </p:nvCxnSpPr>
        <p:spPr>
          <a:xfrm>
            <a:off x="5790708" y="3483849"/>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Straight Arrow Connector 273">
            <a:extLst>
              <a:ext uri="{FF2B5EF4-FFF2-40B4-BE49-F238E27FC236}">
                <a16:creationId xmlns:a16="http://schemas.microsoft.com/office/drawing/2014/main" id="{481E9984-53B1-9A44-B515-0BA8E6C2697F}"/>
              </a:ext>
            </a:extLst>
          </p:cNvPr>
          <p:cNvCxnSpPr>
            <a:stCxn id="242" idx="3"/>
            <a:endCxn id="243" idx="1"/>
          </p:cNvCxnSpPr>
          <p:nvPr/>
        </p:nvCxnSpPr>
        <p:spPr>
          <a:xfrm>
            <a:off x="3446578"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D7920E88-93D1-3543-BCF3-EDDCD9C0F9AE}"/>
              </a:ext>
            </a:extLst>
          </p:cNvPr>
          <p:cNvCxnSpPr>
            <a:stCxn id="243" idx="3"/>
            <a:endCxn id="244" idx="1"/>
          </p:cNvCxnSpPr>
          <p:nvPr/>
        </p:nvCxnSpPr>
        <p:spPr>
          <a:xfrm>
            <a:off x="4618643"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D1482C2C-B4F2-BF48-8B1C-A82CCA52C040}"/>
              </a:ext>
            </a:extLst>
          </p:cNvPr>
          <p:cNvCxnSpPr>
            <a:stCxn id="244" idx="3"/>
            <a:endCxn id="245" idx="1"/>
          </p:cNvCxnSpPr>
          <p:nvPr/>
        </p:nvCxnSpPr>
        <p:spPr>
          <a:xfrm>
            <a:off x="5790708"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9D7F0DE-1EA2-7947-9D0A-6D2B611EF04F}"/>
              </a:ext>
            </a:extLst>
          </p:cNvPr>
          <p:cNvCxnSpPr>
            <a:stCxn id="245" idx="3"/>
            <a:endCxn id="246" idx="1"/>
          </p:cNvCxnSpPr>
          <p:nvPr/>
        </p:nvCxnSpPr>
        <p:spPr>
          <a:xfrm>
            <a:off x="6962773"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4B584B5D-E67A-B946-9966-4EF30C6E2A26}"/>
              </a:ext>
            </a:extLst>
          </p:cNvPr>
          <p:cNvCxnSpPr>
            <a:stCxn id="246" idx="3"/>
            <a:endCxn id="247" idx="1"/>
          </p:cNvCxnSpPr>
          <p:nvPr/>
        </p:nvCxnSpPr>
        <p:spPr>
          <a:xfrm>
            <a:off x="8134839"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462073FC-4D4F-9643-AACB-BA9A392CE2E7}"/>
              </a:ext>
            </a:extLst>
          </p:cNvPr>
          <p:cNvCxnSpPr>
            <a:stCxn id="247" idx="3"/>
            <a:endCxn id="248" idx="1"/>
          </p:cNvCxnSpPr>
          <p:nvPr/>
        </p:nvCxnSpPr>
        <p:spPr>
          <a:xfrm>
            <a:off x="9306904"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80" name="Straight Arrow Connector 279">
            <a:extLst>
              <a:ext uri="{FF2B5EF4-FFF2-40B4-BE49-F238E27FC236}">
                <a16:creationId xmlns:a16="http://schemas.microsoft.com/office/drawing/2014/main" id="{6CBAFFD6-333C-0740-B5AB-D9271DC9CECD}"/>
              </a:ext>
            </a:extLst>
          </p:cNvPr>
          <p:cNvCxnSpPr>
            <a:stCxn id="250" idx="3"/>
            <a:endCxn id="251" idx="1"/>
          </p:cNvCxnSpPr>
          <p:nvPr/>
        </p:nvCxnSpPr>
        <p:spPr>
          <a:xfrm>
            <a:off x="4618643" y="5084036"/>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Elbow Connector 280">
            <a:extLst>
              <a:ext uri="{FF2B5EF4-FFF2-40B4-BE49-F238E27FC236}">
                <a16:creationId xmlns:a16="http://schemas.microsoft.com/office/drawing/2014/main" id="{12DE2202-B539-BF45-A3F5-4B016B513C38}"/>
              </a:ext>
            </a:extLst>
          </p:cNvPr>
          <p:cNvCxnSpPr>
            <a:stCxn id="254" idx="0"/>
            <a:endCxn id="249" idx="2"/>
          </p:cNvCxnSpPr>
          <p:nvPr/>
        </p:nvCxnSpPr>
        <p:spPr>
          <a:xfrm rot="5400000" flipH="1" flipV="1">
            <a:off x="10439419" y="4097958"/>
            <a:ext cx="194490" cy="1172063"/>
          </a:xfrm>
          <a:prstGeom prst="bentConnector3">
            <a:avLst>
              <a:gd name="adj1" fmla="val 40326"/>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82" name="Straight Arrow Connector 281">
            <a:extLst>
              <a:ext uri="{FF2B5EF4-FFF2-40B4-BE49-F238E27FC236}">
                <a16:creationId xmlns:a16="http://schemas.microsoft.com/office/drawing/2014/main" id="{E05688A2-289B-B641-8917-77CFA08ACFF4}"/>
              </a:ext>
            </a:extLst>
          </p:cNvPr>
          <p:cNvCxnSpPr>
            <a:stCxn id="256" idx="3"/>
            <a:endCxn id="257" idx="1"/>
          </p:cNvCxnSpPr>
          <p:nvPr/>
        </p:nvCxnSpPr>
        <p:spPr>
          <a:xfrm>
            <a:off x="3446578" y="588413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83" name="Oval 282">
            <a:extLst>
              <a:ext uri="{FF2B5EF4-FFF2-40B4-BE49-F238E27FC236}">
                <a16:creationId xmlns:a16="http://schemas.microsoft.com/office/drawing/2014/main" id="{050AAFD7-4FAC-6249-B0C4-7681BAD49415}"/>
              </a:ext>
            </a:extLst>
          </p:cNvPr>
          <p:cNvSpPr/>
          <p:nvPr/>
        </p:nvSpPr>
        <p:spPr bwMode="gray">
          <a:xfrm>
            <a:off x="3421891" y="1277346"/>
            <a:ext cx="555916" cy="555916"/>
          </a:xfrm>
          <a:prstGeom prst="ellipse">
            <a:avLst/>
          </a:prstGeom>
          <a:solidFill>
            <a:schemeClr val="bg1"/>
          </a:solidFill>
          <a:ln w="19050" algn="ctr">
            <a:solidFill>
              <a:srgbClr val="046A38"/>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chemeClr val="bg1"/>
              </a:solidFill>
            </a:endParaRPr>
          </a:p>
        </p:txBody>
      </p:sp>
      <p:sp>
        <p:nvSpPr>
          <p:cNvPr id="284" name="Oval 283">
            <a:extLst>
              <a:ext uri="{FF2B5EF4-FFF2-40B4-BE49-F238E27FC236}">
                <a16:creationId xmlns:a16="http://schemas.microsoft.com/office/drawing/2014/main" id="{0592339A-C770-4B48-AFD4-3378ECBAD093}"/>
              </a:ext>
            </a:extLst>
          </p:cNvPr>
          <p:cNvSpPr/>
          <p:nvPr/>
        </p:nvSpPr>
        <p:spPr bwMode="gray">
          <a:xfrm>
            <a:off x="5543070" y="1277346"/>
            <a:ext cx="555916" cy="555916"/>
          </a:xfrm>
          <a:prstGeom prst="ellipse">
            <a:avLst/>
          </a:prstGeom>
          <a:solidFill>
            <a:schemeClr val="bg1"/>
          </a:solidFill>
          <a:ln w="19050" algn="ctr">
            <a:solidFill>
              <a:srgbClr val="009A44"/>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chemeClr val="bg1"/>
              </a:solidFill>
            </a:endParaRPr>
          </a:p>
        </p:txBody>
      </p:sp>
      <p:sp>
        <p:nvSpPr>
          <p:cNvPr id="285" name="Oval 284">
            <a:extLst>
              <a:ext uri="{FF2B5EF4-FFF2-40B4-BE49-F238E27FC236}">
                <a16:creationId xmlns:a16="http://schemas.microsoft.com/office/drawing/2014/main" id="{3E448E2B-BAE5-254E-BFB0-5D2842D50258}"/>
              </a:ext>
            </a:extLst>
          </p:cNvPr>
          <p:cNvSpPr/>
          <p:nvPr/>
        </p:nvSpPr>
        <p:spPr bwMode="gray">
          <a:xfrm>
            <a:off x="7940252" y="1277346"/>
            <a:ext cx="555916" cy="555916"/>
          </a:xfrm>
          <a:prstGeom prst="ellipse">
            <a:avLst/>
          </a:prstGeom>
          <a:solidFill>
            <a:schemeClr val="bg1"/>
          </a:solidFill>
          <a:ln w="19050" algn="ctr">
            <a:solidFill>
              <a:srgbClr val="43B02A"/>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chemeClr val="bg1"/>
              </a:solidFill>
            </a:endParaRPr>
          </a:p>
        </p:txBody>
      </p:sp>
      <p:sp>
        <p:nvSpPr>
          <p:cNvPr id="286" name="Oval 285">
            <a:extLst>
              <a:ext uri="{FF2B5EF4-FFF2-40B4-BE49-F238E27FC236}">
                <a16:creationId xmlns:a16="http://schemas.microsoft.com/office/drawing/2014/main" id="{7E228FCC-24DE-D648-BCEA-BCEC31CF8D7C}"/>
              </a:ext>
            </a:extLst>
          </p:cNvPr>
          <p:cNvSpPr/>
          <p:nvPr/>
        </p:nvSpPr>
        <p:spPr bwMode="gray">
          <a:xfrm>
            <a:off x="10049062" y="1277346"/>
            <a:ext cx="555916" cy="555916"/>
          </a:xfrm>
          <a:prstGeom prst="ellipse">
            <a:avLst/>
          </a:prstGeom>
          <a:solidFill>
            <a:schemeClr val="bg1"/>
          </a:solidFill>
          <a:ln w="19050" algn="ctr">
            <a:solidFill>
              <a:srgbClr val="86BC25"/>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chemeClr val="bg1"/>
              </a:solidFill>
            </a:endParaRPr>
          </a:p>
        </p:txBody>
      </p:sp>
      <p:sp>
        <p:nvSpPr>
          <p:cNvPr id="287" name="Freeform 105">
            <a:extLst>
              <a:ext uri="{FF2B5EF4-FFF2-40B4-BE49-F238E27FC236}">
                <a16:creationId xmlns:a16="http://schemas.microsoft.com/office/drawing/2014/main" id="{3884CA61-2C0C-9E44-8849-1F586ADF5225}"/>
              </a:ext>
            </a:extLst>
          </p:cNvPr>
          <p:cNvSpPr>
            <a:spLocks noChangeAspect="1" noEditPoints="1"/>
          </p:cNvSpPr>
          <p:nvPr/>
        </p:nvSpPr>
        <p:spPr bwMode="auto">
          <a:xfrm>
            <a:off x="3513598" y="1369053"/>
            <a:ext cx="372506" cy="372506"/>
          </a:xfrm>
          <a:custGeom>
            <a:avLst/>
            <a:gdLst>
              <a:gd name="T0" fmla="*/ 330 w 512"/>
              <a:gd name="T1" fmla="*/ 345 h 512"/>
              <a:gd name="T2" fmla="*/ 362 w 512"/>
              <a:gd name="T3" fmla="*/ 306 h 512"/>
              <a:gd name="T4" fmla="*/ 362 w 512"/>
              <a:gd name="T5" fmla="*/ 352 h 512"/>
              <a:gd name="T6" fmla="*/ 330 w 512"/>
              <a:gd name="T7" fmla="*/ 352 h 512"/>
              <a:gd name="T8" fmla="*/ 330 w 512"/>
              <a:gd name="T9" fmla="*/ 345 h 512"/>
              <a:gd name="T10" fmla="*/ 117 w 512"/>
              <a:gd name="T11" fmla="*/ 288 h 512"/>
              <a:gd name="T12" fmla="*/ 181 w 512"/>
              <a:gd name="T13" fmla="*/ 288 h 512"/>
              <a:gd name="T14" fmla="*/ 181 w 512"/>
              <a:gd name="T15" fmla="*/ 256 h 512"/>
              <a:gd name="T16" fmla="*/ 117 w 512"/>
              <a:gd name="T17" fmla="*/ 256 h 512"/>
              <a:gd name="T18" fmla="*/ 117 w 512"/>
              <a:gd name="T19" fmla="*/ 288 h 512"/>
              <a:gd name="T20" fmla="*/ 330 w 512"/>
              <a:gd name="T21" fmla="*/ 121 h 512"/>
              <a:gd name="T22" fmla="*/ 175 w 512"/>
              <a:gd name="T23" fmla="*/ 170 h 512"/>
              <a:gd name="T24" fmla="*/ 330 w 512"/>
              <a:gd name="T25" fmla="*/ 170 h 512"/>
              <a:gd name="T26" fmla="*/ 330 w 512"/>
              <a:gd name="T27" fmla="*/ 121 h 512"/>
              <a:gd name="T28" fmla="*/ 330 w 512"/>
              <a:gd name="T29" fmla="*/ 312 h 512"/>
              <a:gd name="T30" fmla="*/ 362 w 512"/>
              <a:gd name="T31" fmla="*/ 273 h 512"/>
              <a:gd name="T32" fmla="*/ 362 w 512"/>
              <a:gd name="T33" fmla="*/ 232 h 512"/>
              <a:gd name="T34" fmla="*/ 330 w 512"/>
              <a:gd name="T35" fmla="*/ 270 h 512"/>
              <a:gd name="T36" fmla="*/ 330 w 512"/>
              <a:gd name="T37" fmla="*/ 312 h 512"/>
              <a:gd name="T38" fmla="*/ 330 w 512"/>
              <a:gd name="T39" fmla="*/ 237 h 512"/>
              <a:gd name="T40" fmla="*/ 362 w 512"/>
              <a:gd name="T41" fmla="*/ 198 h 512"/>
              <a:gd name="T42" fmla="*/ 362 w 512"/>
              <a:gd name="T43" fmla="*/ 192 h 512"/>
              <a:gd name="T44" fmla="*/ 330 w 512"/>
              <a:gd name="T45" fmla="*/ 192 h 512"/>
              <a:gd name="T46" fmla="*/ 330 w 512"/>
              <a:gd name="T47" fmla="*/ 237 h 512"/>
              <a:gd name="T48" fmla="*/ 352 w 512"/>
              <a:gd name="T49" fmla="*/ 170 h 512"/>
              <a:gd name="T50" fmla="*/ 382 w 512"/>
              <a:gd name="T51" fmla="*/ 170 h 512"/>
              <a:gd name="T52" fmla="*/ 352 w 512"/>
              <a:gd name="T53" fmla="*/ 135 h 512"/>
              <a:gd name="T54" fmla="*/ 352 w 512"/>
              <a:gd name="T55" fmla="*/ 170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3 w 512"/>
              <a:gd name="T67" fmla="*/ 174 h 512"/>
              <a:gd name="T68" fmla="*/ 349 w 512"/>
              <a:gd name="T69" fmla="*/ 99 h 512"/>
              <a:gd name="T70" fmla="*/ 338 w 512"/>
              <a:gd name="T71" fmla="*/ 96 h 512"/>
              <a:gd name="T72" fmla="*/ 103 w 512"/>
              <a:gd name="T73" fmla="*/ 171 h 512"/>
              <a:gd name="T74" fmla="*/ 96 w 512"/>
              <a:gd name="T75" fmla="*/ 183 h 512"/>
              <a:gd name="T76" fmla="*/ 106 w 512"/>
              <a:gd name="T77" fmla="*/ 192 h 512"/>
              <a:gd name="T78" fmla="*/ 138 w 512"/>
              <a:gd name="T79" fmla="*/ 192 h 512"/>
              <a:gd name="T80" fmla="*/ 138 w 512"/>
              <a:gd name="T81" fmla="*/ 234 h 512"/>
              <a:gd name="T82" fmla="*/ 106 w 512"/>
              <a:gd name="T83" fmla="*/ 234 h 512"/>
              <a:gd name="T84" fmla="*/ 96 w 512"/>
              <a:gd name="T85" fmla="*/ 245 h 512"/>
              <a:gd name="T86" fmla="*/ 96 w 512"/>
              <a:gd name="T87" fmla="*/ 298 h 512"/>
              <a:gd name="T88" fmla="*/ 106 w 512"/>
              <a:gd name="T89" fmla="*/ 309 h 512"/>
              <a:gd name="T90" fmla="*/ 192 w 512"/>
              <a:gd name="T91" fmla="*/ 309 h 512"/>
              <a:gd name="T92" fmla="*/ 202 w 512"/>
              <a:gd name="T93" fmla="*/ 298 h 512"/>
              <a:gd name="T94" fmla="*/ 202 w 512"/>
              <a:gd name="T95" fmla="*/ 245 h 512"/>
              <a:gd name="T96" fmla="*/ 192 w 512"/>
              <a:gd name="T97" fmla="*/ 234 h 512"/>
              <a:gd name="T98" fmla="*/ 160 w 512"/>
              <a:gd name="T99" fmla="*/ 234 h 512"/>
              <a:gd name="T100" fmla="*/ 160 w 512"/>
              <a:gd name="T101" fmla="*/ 192 h 512"/>
              <a:gd name="T102" fmla="*/ 309 w 512"/>
              <a:gd name="T103" fmla="*/ 192 h 512"/>
              <a:gd name="T104" fmla="*/ 309 w 512"/>
              <a:gd name="T105" fmla="*/ 352 h 512"/>
              <a:gd name="T106" fmla="*/ 128 w 512"/>
              <a:gd name="T107" fmla="*/ 352 h 512"/>
              <a:gd name="T108" fmla="*/ 117 w 512"/>
              <a:gd name="T109" fmla="*/ 362 h 512"/>
              <a:gd name="T110" fmla="*/ 128 w 512"/>
              <a:gd name="T111" fmla="*/ 373 h 512"/>
              <a:gd name="T112" fmla="*/ 384 w 512"/>
              <a:gd name="T113" fmla="*/ 373 h 512"/>
              <a:gd name="T114" fmla="*/ 394 w 512"/>
              <a:gd name="T115" fmla="*/ 362 h 512"/>
              <a:gd name="T116" fmla="*/ 384 w 512"/>
              <a:gd name="T117" fmla="*/ 352 h 512"/>
              <a:gd name="T118" fmla="*/ 384 w 512"/>
              <a:gd name="T119" fmla="*/ 192 h 512"/>
              <a:gd name="T120" fmla="*/ 405 w 512"/>
              <a:gd name="T121" fmla="*/ 192 h 512"/>
              <a:gd name="T122" fmla="*/ 415 w 512"/>
              <a:gd name="T123" fmla="*/ 185 h 512"/>
              <a:gd name="T124" fmla="*/ 413 w 512"/>
              <a:gd name="T125" fmla="*/ 1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30" y="345"/>
                </a:moveTo>
                <a:cubicBezTo>
                  <a:pt x="362" y="306"/>
                  <a:pt x="362" y="306"/>
                  <a:pt x="362" y="306"/>
                </a:cubicBezTo>
                <a:cubicBezTo>
                  <a:pt x="362" y="352"/>
                  <a:pt x="362" y="352"/>
                  <a:pt x="362" y="352"/>
                </a:cubicBezTo>
                <a:cubicBezTo>
                  <a:pt x="330" y="352"/>
                  <a:pt x="330" y="352"/>
                  <a:pt x="330" y="352"/>
                </a:cubicBezTo>
                <a:lnTo>
                  <a:pt x="330" y="345"/>
                </a:lnTo>
                <a:close/>
                <a:moveTo>
                  <a:pt x="117" y="288"/>
                </a:moveTo>
                <a:cubicBezTo>
                  <a:pt x="181" y="288"/>
                  <a:pt x="181" y="288"/>
                  <a:pt x="181" y="288"/>
                </a:cubicBezTo>
                <a:cubicBezTo>
                  <a:pt x="181" y="256"/>
                  <a:pt x="181" y="256"/>
                  <a:pt x="181" y="256"/>
                </a:cubicBezTo>
                <a:cubicBezTo>
                  <a:pt x="117" y="256"/>
                  <a:pt x="117" y="256"/>
                  <a:pt x="117" y="256"/>
                </a:cubicBezTo>
                <a:lnTo>
                  <a:pt x="117" y="288"/>
                </a:lnTo>
                <a:close/>
                <a:moveTo>
                  <a:pt x="330" y="121"/>
                </a:moveTo>
                <a:cubicBezTo>
                  <a:pt x="175" y="170"/>
                  <a:pt x="175" y="170"/>
                  <a:pt x="175" y="170"/>
                </a:cubicBezTo>
                <a:cubicBezTo>
                  <a:pt x="330" y="170"/>
                  <a:pt x="330" y="170"/>
                  <a:pt x="330" y="170"/>
                </a:cubicBezTo>
                <a:lnTo>
                  <a:pt x="330" y="121"/>
                </a:lnTo>
                <a:close/>
                <a:moveTo>
                  <a:pt x="330" y="312"/>
                </a:moveTo>
                <a:cubicBezTo>
                  <a:pt x="362" y="273"/>
                  <a:pt x="362" y="273"/>
                  <a:pt x="362" y="273"/>
                </a:cubicBezTo>
                <a:cubicBezTo>
                  <a:pt x="362" y="232"/>
                  <a:pt x="362" y="232"/>
                  <a:pt x="362" y="232"/>
                </a:cubicBezTo>
                <a:cubicBezTo>
                  <a:pt x="330" y="270"/>
                  <a:pt x="330" y="270"/>
                  <a:pt x="330" y="270"/>
                </a:cubicBezTo>
                <a:lnTo>
                  <a:pt x="330" y="312"/>
                </a:lnTo>
                <a:close/>
                <a:moveTo>
                  <a:pt x="330" y="237"/>
                </a:moveTo>
                <a:cubicBezTo>
                  <a:pt x="362" y="198"/>
                  <a:pt x="362" y="198"/>
                  <a:pt x="362" y="198"/>
                </a:cubicBezTo>
                <a:cubicBezTo>
                  <a:pt x="362" y="192"/>
                  <a:pt x="362" y="192"/>
                  <a:pt x="362" y="192"/>
                </a:cubicBezTo>
                <a:cubicBezTo>
                  <a:pt x="330" y="192"/>
                  <a:pt x="330" y="192"/>
                  <a:pt x="330" y="192"/>
                </a:cubicBezTo>
                <a:lnTo>
                  <a:pt x="330" y="237"/>
                </a:lnTo>
                <a:close/>
                <a:moveTo>
                  <a:pt x="352" y="170"/>
                </a:moveTo>
                <a:cubicBezTo>
                  <a:pt x="382" y="170"/>
                  <a:pt x="382" y="170"/>
                  <a:pt x="382" y="170"/>
                </a:cubicBezTo>
                <a:cubicBezTo>
                  <a:pt x="352" y="135"/>
                  <a:pt x="352" y="135"/>
                  <a:pt x="352" y="135"/>
                </a:cubicBezTo>
                <a:lnTo>
                  <a:pt x="352"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74"/>
                </a:moveTo>
                <a:cubicBezTo>
                  <a:pt x="349" y="99"/>
                  <a:pt x="349" y="99"/>
                  <a:pt x="349" y="99"/>
                </a:cubicBezTo>
                <a:cubicBezTo>
                  <a:pt x="346" y="96"/>
                  <a:pt x="342" y="95"/>
                  <a:pt x="338" y="96"/>
                </a:cubicBezTo>
                <a:cubicBezTo>
                  <a:pt x="103" y="171"/>
                  <a:pt x="103" y="171"/>
                  <a:pt x="103" y="171"/>
                </a:cubicBezTo>
                <a:cubicBezTo>
                  <a:pt x="98" y="172"/>
                  <a:pt x="95" y="177"/>
                  <a:pt x="96" y="183"/>
                </a:cubicBezTo>
                <a:cubicBezTo>
                  <a:pt x="97" y="188"/>
                  <a:pt x="101" y="192"/>
                  <a:pt x="106" y="192"/>
                </a:cubicBezTo>
                <a:cubicBezTo>
                  <a:pt x="138" y="192"/>
                  <a:pt x="138" y="192"/>
                  <a:pt x="138" y="192"/>
                </a:cubicBezTo>
                <a:cubicBezTo>
                  <a:pt x="138" y="234"/>
                  <a:pt x="138" y="234"/>
                  <a:pt x="138" y="234"/>
                </a:cubicBezTo>
                <a:cubicBezTo>
                  <a:pt x="106" y="234"/>
                  <a:pt x="106" y="234"/>
                  <a:pt x="106" y="234"/>
                </a:cubicBezTo>
                <a:cubicBezTo>
                  <a:pt x="100" y="234"/>
                  <a:pt x="96" y="239"/>
                  <a:pt x="96" y="245"/>
                </a:cubicBezTo>
                <a:cubicBezTo>
                  <a:pt x="96" y="298"/>
                  <a:pt x="96" y="298"/>
                  <a:pt x="96" y="298"/>
                </a:cubicBezTo>
                <a:cubicBezTo>
                  <a:pt x="96" y="304"/>
                  <a:pt x="100" y="309"/>
                  <a:pt x="106" y="309"/>
                </a:cubicBezTo>
                <a:cubicBezTo>
                  <a:pt x="192" y="309"/>
                  <a:pt x="192" y="309"/>
                  <a:pt x="192" y="309"/>
                </a:cubicBezTo>
                <a:cubicBezTo>
                  <a:pt x="198" y="309"/>
                  <a:pt x="202" y="304"/>
                  <a:pt x="202" y="298"/>
                </a:cubicBezTo>
                <a:cubicBezTo>
                  <a:pt x="202" y="245"/>
                  <a:pt x="202" y="245"/>
                  <a:pt x="202" y="245"/>
                </a:cubicBezTo>
                <a:cubicBezTo>
                  <a:pt x="202" y="239"/>
                  <a:pt x="198" y="234"/>
                  <a:pt x="192" y="234"/>
                </a:cubicBezTo>
                <a:cubicBezTo>
                  <a:pt x="160" y="234"/>
                  <a:pt x="160" y="234"/>
                  <a:pt x="160" y="234"/>
                </a:cubicBezTo>
                <a:cubicBezTo>
                  <a:pt x="160" y="192"/>
                  <a:pt x="160" y="192"/>
                  <a:pt x="160" y="192"/>
                </a:cubicBezTo>
                <a:cubicBezTo>
                  <a:pt x="309" y="192"/>
                  <a:pt x="309" y="192"/>
                  <a:pt x="309" y="192"/>
                </a:cubicBezTo>
                <a:cubicBezTo>
                  <a:pt x="309" y="352"/>
                  <a:pt x="309" y="352"/>
                  <a:pt x="309" y="352"/>
                </a:cubicBezTo>
                <a:cubicBezTo>
                  <a:pt x="128" y="352"/>
                  <a:pt x="128" y="352"/>
                  <a:pt x="128" y="352"/>
                </a:cubicBezTo>
                <a:cubicBezTo>
                  <a:pt x="122" y="352"/>
                  <a:pt x="117" y="356"/>
                  <a:pt x="117" y="362"/>
                </a:cubicBezTo>
                <a:cubicBezTo>
                  <a:pt x="117" y="368"/>
                  <a:pt x="122" y="373"/>
                  <a:pt x="128" y="373"/>
                </a:cubicBezTo>
                <a:cubicBezTo>
                  <a:pt x="384" y="373"/>
                  <a:pt x="384" y="373"/>
                  <a:pt x="384" y="373"/>
                </a:cubicBezTo>
                <a:cubicBezTo>
                  <a:pt x="390" y="373"/>
                  <a:pt x="394" y="368"/>
                  <a:pt x="394" y="362"/>
                </a:cubicBezTo>
                <a:cubicBezTo>
                  <a:pt x="394" y="356"/>
                  <a:pt x="390" y="352"/>
                  <a:pt x="384" y="352"/>
                </a:cubicBezTo>
                <a:cubicBezTo>
                  <a:pt x="384" y="192"/>
                  <a:pt x="384" y="192"/>
                  <a:pt x="384" y="192"/>
                </a:cubicBezTo>
                <a:cubicBezTo>
                  <a:pt x="405" y="192"/>
                  <a:pt x="405" y="192"/>
                  <a:pt x="405" y="192"/>
                </a:cubicBezTo>
                <a:cubicBezTo>
                  <a:pt x="409" y="192"/>
                  <a:pt x="413" y="189"/>
                  <a:pt x="415" y="185"/>
                </a:cubicBezTo>
                <a:cubicBezTo>
                  <a:pt x="416" y="182"/>
                  <a:pt x="416" y="177"/>
                  <a:pt x="413" y="174"/>
                </a:cubicBezTo>
                <a:close/>
              </a:path>
            </a:pathLst>
          </a:custGeom>
          <a:solidFill>
            <a:srgbClr val="046A38"/>
          </a:solidFill>
          <a:ln>
            <a:noFill/>
          </a:ln>
        </p:spPr>
        <p:txBody>
          <a:bodyPr vert="horz" wrap="square" lIns="68580" tIns="34290" rIns="68580" bIns="34290" numCol="1" anchor="t" anchorCtr="0" compatLnSpc="1">
            <a:prstTxWarp prst="textNoShape">
              <a:avLst/>
            </a:prstTxWarp>
          </a:bodyPr>
          <a:lstStyle/>
          <a:p>
            <a:endParaRPr lang="en-GB" sz="1300" dirty="0"/>
          </a:p>
        </p:txBody>
      </p:sp>
      <p:sp>
        <p:nvSpPr>
          <p:cNvPr id="288" name="Freeform 636">
            <a:extLst>
              <a:ext uri="{FF2B5EF4-FFF2-40B4-BE49-F238E27FC236}">
                <a16:creationId xmlns:a16="http://schemas.microsoft.com/office/drawing/2014/main" id="{8247072E-89D1-6C42-9332-BC7B5BCAD7BC}"/>
              </a:ext>
            </a:extLst>
          </p:cNvPr>
          <p:cNvSpPr>
            <a:spLocks noChangeAspect="1" noEditPoints="1"/>
          </p:cNvSpPr>
          <p:nvPr/>
        </p:nvSpPr>
        <p:spPr bwMode="auto">
          <a:xfrm>
            <a:off x="5635077" y="1369352"/>
            <a:ext cx="371909" cy="371909"/>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rgbClr val="009A44"/>
          </a:solidFill>
          <a:ln>
            <a:noFill/>
          </a:ln>
        </p:spPr>
        <p:txBody>
          <a:bodyPr vert="horz" wrap="square" lIns="68580" tIns="34290" rIns="68580" bIns="34290" numCol="1" anchor="t" anchorCtr="0" compatLnSpc="1">
            <a:prstTxWarp prst="textNoShape">
              <a:avLst/>
            </a:prstTxWarp>
          </a:bodyPr>
          <a:lstStyle/>
          <a:p>
            <a:endParaRPr lang="en-GB" sz="1300" dirty="0"/>
          </a:p>
        </p:txBody>
      </p:sp>
      <p:grpSp>
        <p:nvGrpSpPr>
          <p:cNvPr id="289" name="Group 531">
            <a:extLst>
              <a:ext uri="{FF2B5EF4-FFF2-40B4-BE49-F238E27FC236}">
                <a16:creationId xmlns:a16="http://schemas.microsoft.com/office/drawing/2014/main" id="{4EF529D0-8761-A045-BB23-23CFAF4D6D87}"/>
              </a:ext>
            </a:extLst>
          </p:cNvPr>
          <p:cNvGrpSpPr>
            <a:grpSpLocks noChangeAspect="1"/>
          </p:cNvGrpSpPr>
          <p:nvPr/>
        </p:nvGrpSpPr>
        <p:grpSpPr bwMode="auto">
          <a:xfrm>
            <a:off x="8031254" y="1368348"/>
            <a:ext cx="373915" cy="373915"/>
            <a:chOff x="3061" y="1953"/>
            <a:chExt cx="340" cy="340"/>
          </a:xfrm>
          <a:solidFill>
            <a:srgbClr val="43B02A"/>
          </a:solidFill>
        </p:grpSpPr>
        <p:sp>
          <p:nvSpPr>
            <p:cNvPr id="290" name="Freeform 532">
              <a:extLst>
                <a:ext uri="{FF2B5EF4-FFF2-40B4-BE49-F238E27FC236}">
                  <a16:creationId xmlns:a16="http://schemas.microsoft.com/office/drawing/2014/main" id="{2C329A31-D720-0A46-A041-4236B6A1CA28}"/>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00" dirty="0"/>
            </a:p>
          </p:txBody>
        </p:sp>
        <p:sp>
          <p:nvSpPr>
            <p:cNvPr id="291" name="Freeform 533">
              <a:extLst>
                <a:ext uri="{FF2B5EF4-FFF2-40B4-BE49-F238E27FC236}">
                  <a16:creationId xmlns:a16="http://schemas.microsoft.com/office/drawing/2014/main" id="{12875969-80D7-8144-A17D-21F7B894807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00" dirty="0"/>
            </a:p>
          </p:txBody>
        </p:sp>
      </p:grpSp>
      <p:sp>
        <p:nvSpPr>
          <p:cNvPr id="292" name="Freeform 580">
            <a:extLst>
              <a:ext uri="{FF2B5EF4-FFF2-40B4-BE49-F238E27FC236}">
                <a16:creationId xmlns:a16="http://schemas.microsoft.com/office/drawing/2014/main" id="{CDDE9CC9-9D7F-C64F-BF5F-FAE9DB70923A}"/>
              </a:ext>
            </a:extLst>
          </p:cNvPr>
          <p:cNvSpPr>
            <a:spLocks noChangeAspect="1" noEditPoints="1"/>
          </p:cNvSpPr>
          <p:nvPr/>
        </p:nvSpPr>
        <p:spPr bwMode="auto">
          <a:xfrm>
            <a:off x="10139180" y="1368015"/>
            <a:ext cx="375680" cy="374579"/>
          </a:xfrm>
          <a:custGeom>
            <a:avLst/>
            <a:gdLst>
              <a:gd name="T0" fmla="*/ 288 w 512"/>
              <a:gd name="T1" fmla="*/ 266 h 512"/>
              <a:gd name="T2" fmla="*/ 373 w 512"/>
              <a:gd name="T3" fmla="*/ 266 h 512"/>
              <a:gd name="T4" fmla="*/ 373 w 512"/>
              <a:gd name="T5" fmla="*/ 352 h 512"/>
              <a:gd name="T6" fmla="*/ 138 w 512"/>
              <a:gd name="T7" fmla="*/ 352 h 512"/>
              <a:gd name="T8" fmla="*/ 138 w 512"/>
              <a:gd name="T9" fmla="*/ 266 h 512"/>
              <a:gd name="T10" fmla="*/ 224 w 512"/>
              <a:gd name="T11" fmla="*/ 266 h 512"/>
              <a:gd name="T12" fmla="*/ 224 w 512"/>
              <a:gd name="T13" fmla="*/ 277 h 512"/>
              <a:gd name="T14" fmla="*/ 234 w 512"/>
              <a:gd name="T15" fmla="*/ 288 h 512"/>
              <a:gd name="T16" fmla="*/ 277 w 512"/>
              <a:gd name="T17" fmla="*/ 288 h 512"/>
              <a:gd name="T18" fmla="*/ 288 w 512"/>
              <a:gd name="T19" fmla="*/ 277 h 512"/>
              <a:gd name="T20" fmla="*/ 288 w 512"/>
              <a:gd name="T21" fmla="*/ 266 h 512"/>
              <a:gd name="T22" fmla="*/ 245 w 512"/>
              <a:gd name="T23" fmla="*/ 245 h 512"/>
              <a:gd name="T24" fmla="*/ 245 w 512"/>
              <a:gd name="T25" fmla="*/ 266 h 512"/>
              <a:gd name="T26" fmla="*/ 266 w 512"/>
              <a:gd name="T27" fmla="*/ 266 h 512"/>
              <a:gd name="T28" fmla="*/ 266 w 512"/>
              <a:gd name="T29" fmla="*/ 245 h 512"/>
              <a:gd name="T30" fmla="*/ 245 w 512"/>
              <a:gd name="T31" fmla="*/ 245 h 512"/>
              <a:gd name="T32" fmla="*/ 288 w 512"/>
              <a:gd name="T33" fmla="*/ 160 h 512"/>
              <a:gd name="T34" fmla="*/ 224 w 512"/>
              <a:gd name="T35" fmla="*/ 160 h 512"/>
              <a:gd name="T36" fmla="*/ 202 w 512"/>
              <a:gd name="T37" fmla="*/ 181 h 512"/>
              <a:gd name="T38" fmla="*/ 309 w 512"/>
              <a:gd name="T39" fmla="*/ 181 h 512"/>
              <a:gd name="T40" fmla="*/ 288 w 512"/>
              <a:gd name="T41" fmla="*/ 16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92 h 512"/>
              <a:gd name="T54" fmla="*/ 405 w 512"/>
              <a:gd name="T55" fmla="*/ 181 h 512"/>
              <a:gd name="T56" fmla="*/ 330 w 512"/>
              <a:gd name="T57" fmla="*/ 181 h 512"/>
              <a:gd name="T58" fmla="*/ 288 w 512"/>
              <a:gd name="T59" fmla="*/ 138 h 512"/>
              <a:gd name="T60" fmla="*/ 224 w 512"/>
              <a:gd name="T61" fmla="*/ 138 h 512"/>
              <a:gd name="T62" fmla="*/ 181 w 512"/>
              <a:gd name="T63" fmla="*/ 181 h 512"/>
              <a:gd name="T64" fmla="*/ 106 w 512"/>
              <a:gd name="T65" fmla="*/ 181 h 512"/>
              <a:gd name="T66" fmla="*/ 96 w 512"/>
              <a:gd name="T67" fmla="*/ 192 h 512"/>
              <a:gd name="T68" fmla="*/ 96 w 512"/>
              <a:gd name="T69" fmla="*/ 256 h 512"/>
              <a:gd name="T70" fmla="*/ 106 w 512"/>
              <a:gd name="T71" fmla="*/ 266 h 512"/>
              <a:gd name="T72" fmla="*/ 117 w 512"/>
              <a:gd name="T73" fmla="*/ 266 h 512"/>
              <a:gd name="T74" fmla="*/ 117 w 512"/>
              <a:gd name="T75" fmla="*/ 362 h 512"/>
              <a:gd name="T76" fmla="*/ 128 w 512"/>
              <a:gd name="T77" fmla="*/ 373 h 512"/>
              <a:gd name="T78" fmla="*/ 384 w 512"/>
              <a:gd name="T79" fmla="*/ 373 h 512"/>
              <a:gd name="T80" fmla="*/ 394 w 512"/>
              <a:gd name="T81" fmla="*/ 362 h 512"/>
              <a:gd name="T82" fmla="*/ 394 w 512"/>
              <a:gd name="T83" fmla="*/ 266 h 512"/>
              <a:gd name="T84" fmla="*/ 405 w 512"/>
              <a:gd name="T85" fmla="*/ 266 h 512"/>
              <a:gd name="T86" fmla="*/ 416 w 512"/>
              <a:gd name="T87" fmla="*/ 256 h 512"/>
              <a:gd name="T88" fmla="*/ 416 w 512"/>
              <a:gd name="T89" fmla="*/ 192 h 512"/>
              <a:gd name="T90" fmla="*/ 117 w 512"/>
              <a:gd name="T91" fmla="*/ 245 h 512"/>
              <a:gd name="T92" fmla="*/ 224 w 512"/>
              <a:gd name="T93" fmla="*/ 245 h 512"/>
              <a:gd name="T94" fmla="*/ 224 w 512"/>
              <a:gd name="T95" fmla="*/ 234 h 512"/>
              <a:gd name="T96" fmla="*/ 234 w 512"/>
              <a:gd name="T97" fmla="*/ 224 h 512"/>
              <a:gd name="T98" fmla="*/ 277 w 512"/>
              <a:gd name="T99" fmla="*/ 224 h 512"/>
              <a:gd name="T100" fmla="*/ 288 w 512"/>
              <a:gd name="T101" fmla="*/ 234 h 512"/>
              <a:gd name="T102" fmla="*/ 288 w 512"/>
              <a:gd name="T103" fmla="*/ 245 h 512"/>
              <a:gd name="T104" fmla="*/ 394 w 512"/>
              <a:gd name="T105" fmla="*/ 245 h 512"/>
              <a:gd name="T106" fmla="*/ 394 w 512"/>
              <a:gd name="T107" fmla="*/ 202 h 512"/>
              <a:gd name="T108" fmla="*/ 117 w 512"/>
              <a:gd name="T109" fmla="*/ 202 h 512"/>
              <a:gd name="T110" fmla="*/ 117 w 512"/>
              <a:gd name="T11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266"/>
                </a:moveTo>
                <a:cubicBezTo>
                  <a:pt x="373" y="266"/>
                  <a:pt x="373" y="266"/>
                  <a:pt x="373" y="266"/>
                </a:cubicBezTo>
                <a:cubicBezTo>
                  <a:pt x="373" y="352"/>
                  <a:pt x="373" y="352"/>
                  <a:pt x="373" y="352"/>
                </a:cubicBezTo>
                <a:cubicBezTo>
                  <a:pt x="138" y="352"/>
                  <a:pt x="138" y="352"/>
                  <a:pt x="138" y="352"/>
                </a:cubicBezTo>
                <a:cubicBezTo>
                  <a:pt x="138" y="266"/>
                  <a:pt x="138" y="266"/>
                  <a:pt x="138" y="266"/>
                </a:cubicBezTo>
                <a:cubicBezTo>
                  <a:pt x="224" y="266"/>
                  <a:pt x="224" y="266"/>
                  <a:pt x="224" y="266"/>
                </a:cubicBezTo>
                <a:cubicBezTo>
                  <a:pt x="224" y="277"/>
                  <a:pt x="224" y="277"/>
                  <a:pt x="224" y="277"/>
                </a:cubicBezTo>
                <a:cubicBezTo>
                  <a:pt x="224" y="283"/>
                  <a:pt x="228" y="288"/>
                  <a:pt x="234" y="288"/>
                </a:cubicBezTo>
                <a:cubicBezTo>
                  <a:pt x="277" y="288"/>
                  <a:pt x="277" y="288"/>
                  <a:pt x="277" y="288"/>
                </a:cubicBezTo>
                <a:cubicBezTo>
                  <a:pt x="283" y="288"/>
                  <a:pt x="288" y="283"/>
                  <a:pt x="288" y="277"/>
                </a:cubicBezTo>
                <a:lnTo>
                  <a:pt x="288" y="266"/>
                </a:lnTo>
                <a:close/>
                <a:moveTo>
                  <a:pt x="245" y="245"/>
                </a:moveTo>
                <a:cubicBezTo>
                  <a:pt x="245" y="266"/>
                  <a:pt x="245" y="266"/>
                  <a:pt x="245" y="266"/>
                </a:cubicBezTo>
                <a:cubicBezTo>
                  <a:pt x="266" y="266"/>
                  <a:pt x="266" y="266"/>
                  <a:pt x="266" y="266"/>
                </a:cubicBezTo>
                <a:cubicBezTo>
                  <a:pt x="266" y="245"/>
                  <a:pt x="266" y="245"/>
                  <a:pt x="266" y="245"/>
                </a:cubicBezTo>
                <a:lnTo>
                  <a:pt x="245" y="245"/>
                </a:lnTo>
                <a:close/>
                <a:moveTo>
                  <a:pt x="288" y="160"/>
                </a:moveTo>
                <a:cubicBezTo>
                  <a:pt x="224" y="160"/>
                  <a:pt x="224" y="160"/>
                  <a:pt x="224" y="160"/>
                </a:cubicBezTo>
                <a:cubicBezTo>
                  <a:pt x="212" y="160"/>
                  <a:pt x="202" y="169"/>
                  <a:pt x="202" y="181"/>
                </a:cubicBezTo>
                <a:cubicBezTo>
                  <a:pt x="309" y="181"/>
                  <a:pt x="309" y="181"/>
                  <a:pt x="309" y="181"/>
                </a:cubicBezTo>
                <a:cubicBezTo>
                  <a:pt x="309" y="169"/>
                  <a:pt x="299" y="160"/>
                  <a:pt x="288"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30" y="181"/>
                  <a:pt x="330" y="181"/>
                  <a:pt x="330" y="181"/>
                </a:cubicBezTo>
                <a:cubicBezTo>
                  <a:pt x="330" y="157"/>
                  <a:pt x="311" y="138"/>
                  <a:pt x="288" y="138"/>
                </a:cubicBezTo>
                <a:cubicBezTo>
                  <a:pt x="224" y="138"/>
                  <a:pt x="224" y="138"/>
                  <a:pt x="224" y="138"/>
                </a:cubicBezTo>
                <a:cubicBezTo>
                  <a:pt x="200" y="138"/>
                  <a:pt x="181" y="157"/>
                  <a:pt x="181" y="181"/>
                </a:cubicBezTo>
                <a:cubicBezTo>
                  <a:pt x="106" y="181"/>
                  <a:pt x="106" y="181"/>
                  <a:pt x="106" y="181"/>
                </a:cubicBezTo>
                <a:cubicBezTo>
                  <a:pt x="100" y="181"/>
                  <a:pt x="96" y="186"/>
                  <a:pt x="96" y="192"/>
                </a:cubicBezTo>
                <a:cubicBezTo>
                  <a:pt x="96" y="256"/>
                  <a:pt x="96" y="256"/>
                  <a:pt x="96" y="256"/>
                </a:cubicBezTo>
                <a:cubicBezTo>
                  <a:pt x="96" y="262"/>
                  <a:pt x="100" y="266"/>
                  <a:pt x="106" y="266"/>
                </a:cubicBezTo>
                <a:cubicBezTo>
                  <a:pt x="117" y="266"/>
                  <a:pt x="117" y="266"/>
                  <a:pt x="117" y="266"/>
                </a:cubicBezTo>
                <a:cubicBezTo>
                  <a:pt x="117" y="362"/>
                  <a:pt x="117" y="362"/>
                  <a:pt x="117" y="362"/>
                </a:cubicBezTo>
                <a:cubicBezTo>
                  <a:pt x="117" y="368"/>
                  <a:pt x="122" y="373"/>
                  <a:pt x="128" y="373"/>
                </a:cubicBezTo>
                <a:cubicBezTo>
                  <a:pt x="384" y="373"/>
                  <a:pt x="384" y="373"/>
                  <a:pt x="384" y="373"/>
                </a:cubicBezTo>
                <a:cubicBezTo>
                  <a:pt x="390" y="373"/>
                  <a:pt x="394" y="368"/>
                  <a:pt x="394" y="362"/>
                </a:cubicBezTo>
                <a:cubicBezTo>
                  <a:pt x="394" y="266"/>
                  <a:pt x="394" y="266"/>
                  <a:pt x="394" y="266"/>
                </a:cubicBezTo>
                <a:cubicBezTo>
                  <a:pt x="405" y="266"/>
                  <a:pt x="405" y="266"/>
                  <a:pt x="405" y="266"/>
                </a:cubicBezTo>
                <a:cubicBezTo>
                  <a:pt x="411" y="266"/>
                  <a:pt x="416" y="262"/>
                  <a:pt x="416" y="256"/>
                </a:cubicBezTo>
                <a:lnTo>
                  <a:pt x="416" y="192"/>
                </a:lnTo>
                <a:close/>
                <a:moveTo>
                  <a:pt x="117" y="245"/>
                </a:moveTo>
                <a:cubicBezTo>
                  <a:pt x="224" y="245"/>
                  <a:pt x="224" y="245"/>
                  <a:pt x="224" y="245"/>
                </a:cubicBezTo>
                <a:cubicBezTo>
                  <a:pt x="224" y="234"/>
                  <a:pt x="224" y="234"/>
                  <a:pt x="224" y="234"/>
                </a:cubicBezTo>
                <a:cubicBezTo>
                  <a:pt x="224" y="228"/>
                  <a:pt x="228" y="224"/>
                  <a:pt x="234" y="224"/>
                </a:cubicBezTo>
                <a:cubicBezTo>
                  <a:pt x="277" y="224"/>
                  <a:pt x="277" y="224"/>
                  <a:pt x="277" y="224"/>
                </a:cubicBezTo>
                <a:cubicBezTo>
                  <a:pt x="283" y="224"/>
                  <a:pt x="288" y="228"/>
                  <a:pt x="288" y="234"/>
                </a:cubicBezTo>
                <a:cubicBezTo>
                  <a:pt x="288" y="245"/>
                  <a:pt x="288" y="245"/>
                  <a:pt x="288" y="245"/>
                </a:cubicBezTo>
                <a:cubicBezTo>
                  <a:pt x="394" y="245"/>
                  <a:pt x="394" y="245"/>
                  <a:pt x="394" y="245"/>
                </a:cubicBezTo>
                <a:cubicBezTo>
                  <a:pt x="394" y="202"/>
                  <a:pt x="394" y="202"/>
                  <a:pt x="394" y="202"/>
                </a:cubicBezTo>
                <a:cubicBezTo>
                  <a:pt x="117" y="202"/>
                  <a:pt x="117" y="202"/>
                  <a:pt x="117" y="202"/>
                </a:cubicBezTo>
                <a:lnTo>
                  <a:pt x="117" y="245"/>
                </a:lnTo>
                <a:close/>
              </a:path>
            </a:pathLst>
          </a:custGeom>
          <a:solidFill>
            <a:srgbClr val="86BC25"/>
          </a:solidFill>
          <a:ln>
            <a:noFill/>
          </a:ln>
        </p:spPr>
        <p:txBody>
          <a:bodyPr vert="horz" wrap="square" lIns="68580" tIns="34290" rIns="68580" bIns="34290" numCol="1" anchor="t" anchorCtr="0" compatLnSpc="1">
            <a:prstTxWarp prst="textNoShape">
              <a:avLst/>
            </a:prstTxWarp>
          </a:bodyPr>
          <a:lstStyle/>
          <a:p>
            <a:endParaRPr lang="en-GB" sz="1300" dirty="0"/>
          </a:p>
        </p:txBody>
      </p:sp>
    </p:spTree>
    <p:custDataLst>
      <p:tags r:id="rId1"/>
    </p:custDataLst>
    <p:extLst>
      <p:ext uri="{BB962C8B-B14F-4D97-AF65-F5344CB8AC3E}">
        <p14:creationId xmlns:p14="http://schemas.microsoft.com/office/powerpoint/2010/main" val="3247168839"/>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E5431BE3-0296-7446-9342-B97B0A1D67FE}"/>
              </a:ext>
            </a:extLst>
          </p:cNvPr>
          <p:cNvSpPr/>
          <p:nvPr/>
        </p:nvSpPr>
        <p:spPr bwMode="gray">
          <a:xfrm>
            <a:off x="6096001" y="1714501"/>
            <a:ext cx="5638799" cy="2329663"/>
          </a:xfrm>
          <a:prstGeom prst="rect">
            <a:avLst/>
          </a:prstGeom>
          <a:solidFill>
            <a:schemeClr val="accent2"/>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78" name="Rectangle 77">
            <a:extLst>
              <a:ext uri="{FF2B5EF4-FFF2-40B4-BE49-F238E27FC236}">
                <a16:creationId xmlns:a16="http://schemas.microsoft.com/office/drawing/2014/main" id="{72FD7751-D801-5B4C-96E2-C4B90AC5FF62}"/>
              </a:ext>
            </a:extLst>
          </p:cNvPr>
          <p:cNvSpPr/>
          <p:nvPr/>
        </p:nvSpPr>
        <p:spPr bwMode="gray">
          <a:xfrm>
            <a:off x="6096001" y="4033322"/>
            <a:ext cx="5638799" cy="2329663"/>
          </a:xfrm>
          <a:prstGeom prst="rect">
            <a:avLst/>
          </a:prstGeom>
          <a:solidFill>
            <a:schemeClr val="accent3"/>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79" name="Rectangle 78">
            <a:extLst>
              <a:ext uri="{FF2B5EF4-FFF2-40B4-BE49-F238E27FC236}">
                <a16:creationId xmlns:a16="http://schemas.microsoft.com/office/drawing/2014/main" id="{9B3B8F85-BCAF-7D42-9DE0-8F3D82B423C8}"/>
              </a:ext>
            </a:extLst>
          </p:cNvPr>
          <p:cNvSpPr/>
          <p:nvPr/>
        </p:nvSpPr>
        <p:spPr bwMode="gray">
          <a:xfrm>
            <a:off x="457199" y="1714501"/>
            <a:ext cx="5638801" cy="2329663"/>
          </a:xfrm>
          <a:prstGeom prst="rect">
            <a:avLst/>
          </a:prstGeom>
          <a:solidFill>
            <a:srgbClr val="000000"/>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80" name="Rectangle 79">
            <a:extLst>
              <a:ext uri="{FF2B5EF4-FFF2-40B4-BE49-F238E27FC236}">
                <a16:creationId xmlns:a16="http://schemas.microsoft.com/office/drawing/2014/main" id="{C39620D6-083D-2142-B01E-E5B945702331}"/>
              </a:ext>
            </a:extLst>
          </p:cNvPr>
          <p:cNvSpPr/>
          <p:nvPr/>
        </p:nvSpPr>
        <p:spPr bwMode="gray">
          <a:xfrm>
            <a:off x="457200" y="4033322"/>
            <a:ext cx="5638801" cy="2329663"/>
          </a:xfrm>
          <a:prstGeom prst="rect">
            <a:avLst/>
          </a:prstGeom>
          <a:solidFill>
            <a:schemeClr val="accent4"/>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81" name="TextBox 80">
            <a:extLst>
              <a:ext uri="{FF2B5EF4-FFF2-40B4-BE49-F238E27FC236}">
                <a16:creationId xmlns:a16="http://schemas.microsoft.com/office/drawing/2014/main" id="{E1E373FF-5106-3649-9BD3-9153A43ACCC3}"/>
              </a:ext>
            </a:extLst>
          </p:cNvPr>
          <p:cNvSpPr txBox="1"/>
          <p:nvPr/>
        </p:nvSpPr>
        <p:spPr>
          <a:xfrm>
            <a:off x="880868" y="1898945"/>
            <a:ext cx="2184520" cy="200055"/>
          </a:xfrm>
          <a:prstGeom prst="rect">
            <a:avLst/>
          </a:prstGeom>
          <a:noFill/>
        </p:spPr>
        <p:txBody>
          <a:bodyPr wrap="square" lIns="0" tIns="0" rIns="0" bIns="0" rtlCol="0">
            <a:spAutoFit/>
          </a:bodyPr>
          <a:lstStyle/>
          <a:p>
            <a:pPr defTabSz="913686">
              <a:buSzPct val="100000"/>
            </a:pPr>
            <a:r>
              <a:rPr lang="en-US" sz="1300" b="1" dirty="0">
                <a:solidFill>
                  <a:prstClr val="white"/>
                </a:solidFill>
              </a:rPr>
              <a:t>Lorem ipsum dolor</a:t>
            </a:r>
          </a:p>
        </p:txBody>
      </p:sp>
      <p:sp>
        <p:nvSpPr>
          <p:cNvPr id="82" name="TextBox 81">
            <a:extLst>
              <a:ext uri="{FF2B5EF4-FFF2-40B4-BE49-F238E27FC236}">
                <a16:creationId xmlns:a16="http://schemas.microsoft.com/office/drawing/2014/main" id="{0F21E521-6D40-C049-BF4A-62BE0C86FECD}"/>
              </a:ext>
            </a:extLst>
          </p:cNvPr>
          <p:cNvSpPr txBox="1"/>
          <p:nvPr/>
        </p:nvSpPr>
        <p:spPr>
          <a:xfrm>
            <a:off x="7223950" y="1898945"/>
            <a:ext cx="3037475" cy="200055"/>
          </a:xfrm>
          <a:prstGeom prst="rect">
            <a:avLst/>
          </a:prstGeom>
          <a:noFill/>
        </p:spPr>
        <p:txBody>
          <a:bodyPr wrap="square" lIns="0" tIns="0" rIns="0" bIns="0" rtlCol="0">
            <a:spAutoFit/>
          </a:bodyPr>
          <a:lstStyle/>
          <a:p>
            <a:pPr defTabSz="913686">
              <a:buSzPct val="100000"/>
            </a:pPr>
            <a:r>
              <a:rPr lang="en-US" sz="1300" b="1" dirty="0">
                <a:solidFill>
                  <a:prstClr val="white"/>
                </a:solidFill>
              </a:rPr>
              <a:t>Lorem ipsum dolor</a:t>
            </a:r>
          </a:p>
        </p:txBody>
      </p:sp>
      <p:sp>
        <p:nvSpPr>
          <p:cNvPr id="83" name="TextBox 82">
            <a:extLst>
              <a:ext uri="{FF2B5EF4-FFF2-40B4-BE49-F238E27FC236}">
                <a16:creationId xmlns:a16="http://schemas.microsoft.com/office/drawing/2014/main" id="{30DA798F-1F13-C341-BA1C-5A404A062D4D}"/>
              </a:ext>
            </a:extLst>
          </p:cNvPr>
          <p:cNvSpPr txBox="1"/>
          <p:nvPr/>
        </p:nvSpPr>
        <p:spPr>
          <a:xfrm>
            <a:off x="870313" y="4269585"/>
            <a:ext cx="1632624" cy="200055"/>
          </a:xfrm>
          <a:prstGeom prst="rect">
            <a:avLst/>
          </a:prstGeom>
          <a:noFill/>
        </p:spPr>
        <p:txBody>
          <a:bodyPr wrap="square" lIns="0" tIns="0" rIns="0" bIns="0" rtlCol="0">
            <a:spAutoFit/>
          </a:bodyPr>
          <a:lstStyle/>
          <a:p>
            <a:pPr defTabSz="913686">
              <a:buSzPct val="100000"/>
            </a:pPr>
            <a:r>
              <a:rPr lang="en-US" sz="1300" b="1" dirty="0">
                <a:solidFill>
                  <a:prstClr val="white"/>
                </a:solidFill>
              </a:rPr>
              <a:t>Lorem ipsum dolor</a:t>
            </a:r>
          </a:p>
        </p:txBody>
      </p:sp>
      <p:sp>
        <p:nvSpPr>
          <p:cNvPr id="84" name="Rectangle 83">
            <a:extLst>
              <a:ext uri="{FF2B5EF4-FFF2-40B4-BE49-F238E27FC236}">
                <a16:creationId xmlns:a16="http://schemas.microsoft.com/office/drawing/2014/main" id="{2ED7D9FF-29D3-804C-977B-2D83A17C5079}"/>
              </a:ext>
            </a:extLst>
          </p:cNvPr>
          <p:cNvSpPr/>
          <p:nvPr/>
        </p:nvSpPr>
        <p:spPr>
          <a:xfrm>
            <a:off x="880869" y="2215947"/>
            <a:ext cx="4024898" cy="140038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prstClr val="white"/>
              </a:solidFill>
            </a:endParaRPr>
          </a:p>
          <a:p>
            <a:pPr marL="125315" lvl="1" indent="-125315" defTabSz="913686">
              <a:buSzPct val="100000"/>
              <a:buFont typeface="Arial"/>
              <a:buChar char="•"/>
            </a:pPr>
            <a:r>
              <a:rPr lang="en-US" sz="1300" dirty="0">
                <a:solidFill>
                  <a:prstClr val="white"/>
                </a:solidFill>
              </a:rPr>
              <a:t>This is dummy text it is not here to be read. This is dummy text it is not here to be read.</a:t>
            </a:r>
          </a:p>
        </p:txBody>
      </p:sp>
      <p:sp>
        <p:nvSpPr>
          <p:cNvPr id="85" name="Rectangle 84">
            <a:extLst>
              <a:ext uri="{FF2B5EF4-FFF2-40B4-BE49-F238E27FC236}">
                <a16:creationId xmlns:a16="http://schemas.microsoft.com/office/drawing/2014/main" id="{0FAA4390-B26C-3546-9260-34350A3A8D1B}"/>
              </a:ext>
            </a:extLst>
          </p:cNvPr>
          <p:cNvSpPr/>
          <p:nvPr/>
        </p:nvSpPr>
        <p:spPr>
          <a:xfrm>
            <a:off x="870313" y="4586592"/>
            <a:ext cx="4043496" cy="140038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prstClr val="white"/>
              </a:solidFill>
            </a:endParaRPr>
          </a:p>
          <a:p>
            <a:pPr marL="125315" lvl="1" indent="-125315" defTabSz="913686">
              <a:buSzPct val="100000"/>
              <a:buFont typeface="Arial"/>
              <a:buChar char="•"/>
            </a:pPr>
            <a:r>
              <a:rPr lang="en-US" sz="1300" dirty="0">
                <a:solidFill>
                  <a:prstClr val="white"/>
                </a:solidFill>
              </a:rPr>
              <a:t>This is dummy text it is not here to be read. This is dummy text it is not here to be read.</a:t>
            </a:r>
          </a:p>
        </p:txBody>
      </p:sp>
      <p:sp>
        <p:nvSpPr>
          <p:cNvPr id="86" name="Rectangle 85">
            <a:extLst>
              <a:ext uri="{FF2B5EF4-FFF2-40B4-BE49-F238E27FC236}">
                <a16:creationId xmlns:a16="http://schemas.microsoft.com/office/drawing/2014/main" id="{343E7D75-E2A8-6E42-8499-D24A4A301473}"/>
              </a:ext>
            </a:extLst>
          </p:cNvPr>
          <p:cNvSpPr/>
          <p:nvPr/>
        </p:nvSpPr>
        <p:spPr>
          <a:xfrm>
            <a:off x="7223957" y="2215953"/>
            <a:ext cx="4087175" cy="140038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prstClr val="white"/>
              </a:solidFill>
            </a:endParaRPr>
          </a:p>
          <a:p>
            <a:pPr marL="125315" lvl="1" indent="-125315" defTabSz="913686">
              <a:buSzPct val="100000"/>
              <a:buFont typeface="Arial"/>
              <a:buChar char="•"/>
            </a:pPr>
            <a:r>
              <a:rPr lang="en-US" sz="1300" dirty="0">
                <a:solidFill>
                  <a:prstClr val="white"/>
                </a:solidFill>
              </a:rPr>
              <a:t>This is dummy text it is not here to be read. This is dummy text it is not here to be read.</a:t>
            </a:r>
          </a:p>
        </p:txBody>
      </p:sp>
      <p:sp>
        <p:nvSpPr>
          <p:cNvPr id="87" name="TextBox 86">
            <a:extLst>
              <a:ext uri="{FF2B5EF4-FFF2-40B4-BE49-F238E27FC236}">
                <a16:creationId xmlns:a16="http://schemas.microsoft.com/office/drawing/2014/main" id="{E10CA88B-923A-C146-B1F2-1045F2874F5E}"/>
              </a:ext>
            </a:extLst>
          </p:cNvPr>
          <p:cNvSpPr txBox="1"/>
          <p:nvPr/>
        </p:nvSpPr>
        <p:spPr>
          <a:xfrm>
            <a:off x="7223950" y="4269585"/>
            <a:ext cx="3037475" cy="200055"/>
          </a:xfrm>
          <a:prstGeom prst="rect">
            <a:avLst/>
          </a:prstGeom>
          <a:noFill/>
        </p:spPr>
        <p:txBody>
          <a:bodyPr wrap="square" lIns="0" tIns="0" rIns="0" bIns="0" rtlCol="0">
            <a:spAutoFit/>
          </a:bodyPr>
          <a:lstStyle/>
          <a:p>
            <a:pPr defTabSz="913686">
              <a:buSzPct val="100000"/>
            </a:pPr>
            <a:r>
              <a:rPr lang="en-US" sz="1300" b="1" dirty="0">
                <a:solidFill>
                  <a:prstClr val="white"/>
                </a:solidFill>
              </a:rPr>
              <a:t>Lorem ipsum dolor</a:t>
            </a:r>
          </a:p>
        </p:txBody>
      </p:sp>
      <p:sp>
        <p:nvSpPr>
          <p:cNvPr id="88" name="Rectangle 87">
            <a:extLst>
              <a:ext uri="{FF2B5EF4-FFF2-40B4-BE49-F238E27FC236}">
                <a16:creationId xmlns:a16="http://schemas.microsoft.com/office/drawing/2014/main" id="{C2E0C13D-ED88-2640-9FA7-FCE231128130}"/>
              </a:ext>
            </a:extLst>
          </p:cNvPr>
          <p:cNvSpPr/>
          <p:nvPr/>
        </p:nvSpPr>
        <p:spPr>
          <a:xfrm>
            <a:off x="7223951" y="4586594"/>
            <a:ext cx="4097738" cy="140038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prstClr val="white"/>
              </a:solidFill>
            </a:endParaRPr>
          </a:p>
          <a:p>
            <a:pPr marL="125315" lvl="1" indent="-125315" defTabSz="913686">
              <a:buSzPct val="100000"/>
              <a:buFont typeface="Arial"/>
              <a:buChar char="•"/>
            </a:pPr>
            <a:r>
              <a:rPr lang="en-US" sz="1300" dirty="0">
                <a:solidFill>
                  <a:prstClr val="white"/>
                </a:solidFill>
              </a:rPr>
              <a:t>This is dummy text it is not here to be read. This is dummy text it is not here to be read.</a:t>
            </a:r>
          </a:p>
        </p:txBody>
      </p:sp>
      <p:sp>
        <p:nvSpPr>
          <p:cNvPr id="89" name="Right Triangle 88">
            <a:extLst>
              <a:ext uri="{FF2B5EF4-FFF2-40B4-BE49-F238E27FC236}">
                <a16:creationId xmlns:a16="http://schemas.microsoft.com/office/drawing/2014/main" id="{290C4F9A-1E07-804A-9239-8533999F62AB}"/>
              </a:ext>
            </a:extLst>
          </p:cNvPr>
          <p:cNvSpPr/>
          <p:nvPr/>
        </p:nvSpPr>
        <p:spPr bwMode="gray">
          <a:xfrm rot="5400000">
            <a:off x="5066682" y="3030564"/>
            <a:ext cx="692798" cy="692798"/>
          </a:xfrm>
          <a:prstGeom prst="rtTriangle">
            <a:avLst/>
          </a:prstGeom>
          <a:solidFill>
            <a:srgbClr val="FFFFFF"/>
          </a:solidFill>
          <a:ln w="9525"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0" name="Right Triangle 89">
            <a:extLst>
              <a:ext uri="{FF2B5EF4-FFF2-40B4-BE49-F238E27FC236}">
                <a16:creationId xmlns:a16="http://schemas.microsoft.com/office/drawing/2014/main" id="{FFC5865D-7EEE-B14F-B2E8-B4EE8222B056}"/>
              </a:ext>
            </a:extLst>
          </p:cNvPr>
          <p:cNvSpPr/>
          <p:nvPr/>
        </p:nvSpPr>
        <p:spPr bwMode="gray">
          <a:xfrm rot="10800000">
            <a:off x="6401324" y="3030569"/>
            <a:ext cx="692798" cy="692798"/>
          </a:xfrm>
          <a:prstGeom prst="rtTriangle">
            <a:avLst/>
          </a:prstGeom>
          <a:solidFill>
            <a:srgbClr val="000000"/>
          </a:solidFill>
          <a:ln w="9525"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1" name="Right Triangle 90">
            <a:extLst>
              <a:ext uri="{FF2B5EF4-FFF2-40B4-BE49-F238E27FC236}">
                <a16:creationId xmlns:a16="http://schemas.microsoft.com/office/drawing/2014/main" id="{7251AB84-09DE-144C-BA11-CE923FB52953}"/>
              </a:ext>
            </a:extLst>
          </p:cNvPr>
          <p:cNvSpPr/>
          <p:nvPr/>
        </p:nvSpPr>
        <p:spPr bwMode="gray">
          <a:xfrm>
            <a:off x="5066675" y="4304291"/>
            <a:ext cx="692798" cy="692798"/>
          </a:xfrm>
          <a:prstGeom prst="rtTriangle">
            <a:avLst/>
          </a:prstGeom>
          <a:solidFill>
            <a:srgbClr val="000000"/>
          </a:solidFill>
          <a:ln w="9525"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2" name="Right Triangle 91">
            <a:extLst>
              <a:ext uri="{FF2B5EF4-FFF2-40B4-BE49-F238E27FC236}">
                <a16:creationId xmlns:a16="http://schemas.microsoft.com/office/drawing/2014/main" id="{B37DAE8F-8BAD-0E42-89E5-056703B1DB03}"/>
              </a:ext>
            </a:extLst>
          </p:cNvPr>
          <p:cNvSpPr/>
          <p:nvPr/>
        </p:nvSpPr>
        <p:spPr bwMode="gray">
          <a:xfrm rot="16200000">
            <a:off x="6401330" y="4304285"/>
            <a:ext cx="692798" cy="692798"/>
          </a:xfrm>
          <a:prstGeom prst="rtTriangle">
            <a:avLst/>
          </a:prstGeom>
          <a:solidFill>
            <a:srgbClr val="FFFFFF"/>
          </a:solidFill>
          <a:ln w="9525"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7" name="Rectangle 96">
            <a:extLst>
              <a:ext uri="{FF2B5EF4-FFF2-40B4-BE49-F238E27FC236}">
                <a16:creationId xmlns:a16="http://schemas.microsoft.com/office/drawing/2014/main" id="{FDEB08CC-4C20-654C-B060-5B93FCBBD64E}"/>
              </a:ext>
            </a:extLst>
          </p:cNvPr>
          <p:cNvSpPr/>
          <p:nvPr/>
        </p:nvSpPr>
        <p:spPr bwMode="gray">
          <a:xfrm>
            <a:off x="1947196" y="1714503"/>
            <a:ext cx="8297609" cy="4648484"/>
          </a:xfrm>
          <a:prstGeom prst="rect">
            <a:avLst/>
          </a:prstGeom>
          <a:noFill/>
          <a:ln w="19050" algn="ctr">
            <a:no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8" name="Rectangle 97">
            <a:extLst>
              <a:ext uri="{FF2B5EF4-FFF2-40B4-BE49-F238E27FC236}">
                <a16:creationId xmlns:a16="http://schemas.microsoft.com/office/drawing/2014/main" id="{8BB2BFC2-B9E5-FB49-A5AA-0DB1EDA0C7A8}"/>
              </a:ext>
            </a:extLst>
          </p:cNvPr>
          <p:cNvSpPr/>
          <p:nvPr/>
        </p:nvSpPr>
        <p:spPr bwMode="gray">
          <a:xfrm rot="18900000">
            <a:off x="5404652" y="3346399"/>
            <a:ext cx="1373849" cy="1373847"/>
          </a:xfrm>
          <a:prstGeom prst="rect">
            <a:avLst/>
          </a:prstGeom>
          <a:solidFill>
            <a:schemeClr val="tx1">
              <a:lumMod val="75000"/>
              <a:lumOff val="25000"/>
            </a:schemeClr>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9" name="Rectangle 98">
            <a:extLst>
              <a:ext uri="{FF2B5EF4-FFF2-40B4-BE49-F238E27FC236}">
                <a16:creationId xmlns:a16="http://schemas.microsoft.com/office/drawing/2014/main" id="{2503138D-6388-134B-A166-DEDA4DBBCCB0}"/>
              </a:ext>
            </a:extLst>
          </p:cNvPr>
          <p:cNvSpPr/>
          <p:nvPr/>
        </p:nvSpPr>
        <p:spPr bwMode="gray">
          <a:xfrm rot="18900000">
            <a:off x="5407296" y="3345451"/>
            <a:ext cx="1373849" cy="1373847"/>
          </a:xfrm>
          <a:prstGeom prst="rect">
            <a:avLst/>
          </a:prstGeom>
          <a:solidFill>
            <a:srgbClr val="FFFFFF"/>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100" name="TextBox 99">
            <a:extLst>
              <a:ext uri="{FF2B5EF4-FFF2-40B4-BE49-F238E27FC236}">
                <a16:creationId xmlns:a16="http://schemas.microsoft.com/office/drawing/2014/main" id="{0D5740F1-F654-B549-9A92-F1E5F6663E04}"/>
              </a:ext>
            </a:extLst>
          </p:cNvPr>
          <p:cNvSpPr txBox="1"/>
          <p:nvPr/>
        </p:nvSpPr>
        <p:spPr>
          <a:xfrm>
            <a:off x="5501028" y="3835111"/>
            <a:ext cx="1189945" cy="400110"/>
          </a:xfrm>
          <a:prstGeom prst="rect">
            <a:avLst/>
          </a:prstGeom>
          <a:noFill/>
        </p:spPr>
        <p:txBody>
          <a:bodyPr wrap="square" lIns="0" tIns="0" rIns="0" bIns="0" rtlCol="0">
            <a:spAutoFit/>
          </a:bodyPr>
          <a:lstStyle/>
          <a:p>
            <a:pPr algn="ctr" defTabSz="913686">
              <a:buSzPct val="100000"/>
            </a:pPr>
            <a:r>
              <a:rPr lang="en-US" sz="1300" b="1" dirty="0">
                <a:solidFill>
                  <a:srgbClr val="000000"/>
                </a:solidFill>
              </a:rPr>
              <a:t>Lorem ipsum dolor</a:t>
            </a:r>
          </a:p>
        </p:txBody>
      </p:sp>
      <p:grpSp>
        <p:nvGrpSpPr>
          <p:cNvPr id="26" name="Group 740">
            <a:extLst>
              <a:ext uri="{FF2B5EF4-FFF2-40B4-BE49-F238E27FC236}">
                <a16:creationId xmlns:a16="http://schemas.microsoft.com/office/drawing/2014/main" id="{EFF8BE50-CDB3-49D1-B4C5-119DE9FE1144}"/>
              </a:ext>
            </a:extLst>
          </p:cNvPr>
          <p:cNvGrpSpPr>
            <a:grpSpLocks noChangeAspect="1"/>
          </p:cNvGrpSpPr>
          <p:nvPr/>
        </p:nvGrpSpPr>
        <p:grpSpPr bwMode="auto">
          <a:xfrm>
            <a:off x="5128953" y="3100821"/>
            <a:ext cx="269845" cy="269845"/>
            <a:chOff x="5857" y="3295"/>
            <a:chExt cx="340" cy="340"/>
          </a:xfrm>
          <a:solidFill>
            <a:srgbClr val="000000"/>
          </a:solidFill>
        </p:grpSpPr>
        <p:sp>
          <p:nvSpPr>
            <p:cNvPr id="27" name="Freeform 741">
              <a:extLst>
                <a:ext uri="{FF2B5EF4-FFF2-40B4-BE49-F238E27FC236}">
                  <a16:creationId xmlns:a16="http://schemas.microsoft.com/office/drawing/2014/main" id="{5524131C-8B65-49CB-8828-7FADAB9EDEB6}"/>
                </a:ext>
              </a:extLst>
            </p:cNvPr>
            <p:cNvSpPr>
              <a:spLocks noEditPoints="1"/>
            </p:cNvSpPr>
            <p:nvPr/>
          </p:nvSpPr>
          <p:spPr bwMode="auto">
            <a:xfrm>
              <a:off x="5991" y="3415"/>
              <a:ext cx="71" cy="156"/>
            </a:xfrm>
            <a:custGeom>
              <a:avLst/>
              <a:gdLst>
                <a:gd name="T0" fmla="*/ 96 w 107"/>
                <a:gd name="T1" fmla="*/ 0 h 235"/>
                <a:gd name="T2" fmla="*/ 11 w 107"/>
                <a:gd name="T3" fmla="*/ 0 h 235"/>
                <a:gd name="T4" fmla="*/ 0 w 107"/>
                <a:gd name="T5" fmla="*/ 11 h 235"/>
                <a:gd name="T6" fmla="*/ 0 w 107"/>
                <a:gd name="T7" fmla="*/ 117 h 235"/>
                <a:gd name="T8" fmla="*/ 11 w 107"/>
                <a:gd name="T9" fmla="*/ 128 h 235"/>
                <a:gd name="T10" fmla="*/ 22 w 107"/>
                <a:gd name="T11" fmla="*/ 128 h 235"/>
                <a:gd name="T12" fmla="*/ 22 w 107"/>
                <a:gd name="T13" fmla="*/ 224 h 235"/>
                <a:gd name="T14" fmla="*/ 32 w 107"/>
                <a:gd name="T15" fmla="*/ 235 h 235"/>
                <a:gd name="T16" fmla="*/ 43 w 107"/>
                <a:gd name="T17" fmla="*/ 224 h 235"/>
                <a:gd name="T18" fmla="*/ 43 w 107"/>
                <a:gd name="T19" fmla="*/ 128 h 235"/>
                <a:gd name="T20" fmla="*/ 64 w 107"/>
                <a:gd name="T21" fmla="*/ 128 h 235"/>
                <a:gd name="T22" fmla="*/ 64 w 107"/>
                <a:gd name="T23" fmla="*/ 224 h 235"/>
                <a:gd name="T24" fmla="*/ 75 w 107"/>
                <a:gd name="T25" fmla="*/ 235 h 235"/>
                <a:gd name="T26" fmla="*/ 86 w 107"/>
                <a:gd name="T27" fmla="*/ 224 h 235"/>
                <a:gd name="T28" fmla="*/ 86 w 107"/>
                <a:gd name="T29" fmla="*/ 128 h 235"/>
                <a:gd name="T30" fmla="*/ 96 w 107"/>
                <a:gd name="T31" fmla="*/ 128 h 235"/>
                <a:gd name="T32" fmla="*/ 107 w 107"/>
                <a:gd name="T33" fmla="*/ 117 h 235"/>
                <a:gd name="T34" fmla="*/ 107 w 107"/>
                <a:gd name="T35" fmla="*/ 11 h 235"/>
                <a:gd name="T36" fmla="*/ 96 w 107"/>
                <a:gd name="T37" fmla="*/ 0 h 235"/>
                <a:gd name="T38" fmla="*/ 86 w 107"/>
                <a:gd name="T39" fmla="*/ 107 h 235"/>
                <a:gd name="T40" fmla="*/ 22 w 107"/>
                <a:gd name="T41" fmla="*/ 107 h 235"/>
                <a:gd name="T42" fmla="*/ 22 w 107"/>
                <a:gd name="T43" fmla="*/ 21 h 235"/>
                <a:gd name="T44" fmla="*/ 86 w 107"/>
                <a:gd name="T45" fmla="*/ 21 h 235"/>
                <a:gd name="T46" fmla="*/ 86 w 107"/>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235">
                  <a:moveTo>
                    <a:pt x="96" y="0"/>
                  </a:moveTo>
                  <a:cubicBezTo>
                    <a:pt x="11" y="0"/>
                    <a:pt x="11" y="0"/>
                    <a:pt x="11" y="0"/>
                  </a:cubicBezTo>
                  <a:cubicBezTo>
                    <a:pt x="5" y="0"/>
                    <a:pt x="0" y="5"/>
                    <a:pt x="0" y="11"/>
                  </a:cubicBezTo>
                  <a:cubicBezTo>
                    <a:pt x="0" y="117"/>
                    <a:pt x="0" y="117"/>
                    <a:pt x="0" y="117"/>
                  </a:cubicBezTo>
                  <a:cubicBezTo>
                    <a:pt x="0" y="123"/>
                    <a:pt x="5" y="128"/>
                    <a:pt x="11" y="128"/>
                  </a:cubicBezTo>
                  <a:cubicBezTo>
                    <a:pt x="22" y="128"/>
                    <a:pt x="22" y="128"/>
                    <a:pt x="22" y="128"/>
                  </a:cubicBezTo>
                  <a:cubicBezTo>
                    <a:pt x="22" y="224"/>
                    <a:pt x="22" y="224"/>
                    <a:pt x="22" y="224"/>
                  </a:cubicBezTo>
                  <a:cubicBezTo>
                    <a:pt x="22" y="230"/>
                    <a:pt x="26" y="235"/>
                    <a:pt x="32" y="235"/>
                  </a:cubicBezTo>
                  <a:cubicBezTo>
                    <a:pt x="38" y="235"/>
                    <a:pt x="43" y="230"/>
                    <a:pt x="43" y="224"/>
                  </a:cubicBezTo>
                  <a:cubicBezTo>
                    <a:pt x="43" y="128"/>
                    <a:pt x="43" y="128"/>
                    <a:pt x="43" y="128"/>
                  </a:cubicBezTo>
                  <a:cubicBezTo>
                    <a:pt x="64" y="128"/>
                    <a:pt x="64" y="128"/>
                    <a:pt x="64" y="128"/>
                  </a:cubicBezTo>
                  <a:cubicBezTo>
                    <a:pt x="64" y="224"/>
                    <a:pt x="64" y="224"/>
                    <a:pt x="64" y="224"/>
                  </a:cubicBezTo>
                  <a:cubicBezTo>
                    <a:pt x="64" y="230"/>
                    <a:pt x="69" y="235"/>
                    <a:pt x="75" y="235"/>
                  </a:cubicBezTo>
                  <a:cubicBezTo>
                    <a:pt x="81" y="235"/>
                    <a:pt x="86" y="230"/>
                    <a:pt x="86" y="224"/>
                  </a:cubicBezTo>
                  <a:cubicBezTo>
                    <a:pt x="86" y="128"/>
                    <a:pt x="86" y="128"/>
                    <a:pt x="86" y="128"/>
                  </a:cubicBezTo>
                  <a:cubicBezTo>
                    <a:pt x="96" y="128"/>
                    <a:pt x="96" y="128"/>
                    <a:pt x="96" y="128"/>
                  </a:cubicBezTo>
                  <a:cubicBezTo>
                    <a:pt x="102" y="128"/>
                    <a:pt x="107" y="123"/>
                    <a:pt x="107" y="117"/>
                  </a:cubicBezTo>
                  <a:cubicBezTo>
                    <a:pt x="107" y="11"/>
                    <a:pt x="107" y="11"/>
                    <a:pt x="107" y="11"/>
                  </a:cubicBezTo>
                  <a:cubicBezTo>
                    <a:pt x="107" y="5"/>
                    <a:pt x="102" y="0"/>
                    <a:pt x="96" y="0"/>
                  </a:cubicBezTo>
                  <a:close/>
                  <a:moveTo>
                    <a:pt x="86" y="107"/>
                  </a:moveTo>
                  <a:cubicBezTo>
                    <a:pt x="22" y="107"/>
                    <a:pt x="22" y="107"/>
                    <a:pt x="22" y="107"/>
                  </a:cubicBezTo>
                  <a:cubicBezTo>
                    <a:pt x="22" y="21"/>
                    <a:pt x="22" y="21"/>
                    <a:pt x="22" y="21"/>
                  </a:cubicBezTo>
                  <a:cubicBezTo>
                    <a:pt x="86" y="21"/>
                    <a:pt x="86" y="21"/>
                    <a:pt x="86" y="21"/>
                  </a:cubicBezTo>
                  <a:lnTo>
                    <a:pt x="86" y="10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742">
              <a:extLst>
                <a:ext uri="{FF2B5EF4-FFF2-40B4-BE49-F238E27FC236}">
                  <a16:creationId xmlns:a16="http://schemas.microsoft.com/office/drawing/2014/main" id="{C29DB599-F9DE-47D1-8E69-569E44D8026B}"/>
                </a:ext>
              </a:extLst>
            </p:cNvPr>
            <p:cNvSpPr>
              <a:spLocks noEditPoints="1"/>
            </p:cNvSpPr>
            <p:nvPr/>
          </p:nvSpPr>
          <p:spPr bwMode="auto">
            <a:xfrm>
              <a:off x="6006" y="3359"/>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743">
              <a:extLst>
                <a:ext uri="{FF2B5EF4-FFF2-40B4-BE49-F238E27FC236}">
                  <a16:creationId xmlns:a16="http://schemas.microsoft.com/office/drawing/2014/main" id="{40970977-2D40-44FD-A6AA-5A681208FA2B}"/>
                </a:ext>
              </a:extLst>
            </p:cNvPr>
            <p:cNvSpPr>
              <a:spLocks noEditPoints="1"/>
            </p:cNvSpPr>
            <p:nvPr/>
          </p:nvSpPr>
          <p:spPr bwMode="auto">
            <a:xfrm>
              <a:off x="5857" y="32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0" name="Group 360">
            <a:extLst>
              <a:ext uri="{FF2B5EF4-FFF2-40B4-BE49-F238E27FC236}">
                <a16:creationId xmlns:a16="http://schemas.microsoft.com/office/drawing/2014/main" id="{C73D741A-71E1-4122-915D-450373B61255}"/>
              </a:ext>
            </a:extLst>
          </p:cNvPr>
          <p:cNvGrpSpPr>
            <a:grpSpLocks noChangeAspect="1"/>
          </p:cNvGrpSpPr>
          <p:nvPr/>
        </p:nvGrpSpPr>
        <p:grpSpPr bwMode="auto">
          <a:xfrm>
            <a:off x="6758046" y="3100822"/>
            <a:ext cx="269845" cy="269845"/>
            <a:chOff x="5799" y="1235"/>
            <a:chExt cx="340" cy="340"/>
          </a:xfrm>
          <a:solidFill>
            <a:schemeClr val="bg1"/>
          </a:solidFill>
        </p:grpSpPr>
        <p:sp>
          <p:nvSpPr>
            <p:cNvPr id="31" name="Freeform 361">
              <a:extLst>
                <a:ext uri="{FF2B5EF4-FFF2-40B4-BE49-F238E27FC236}">
                  <a16:creationId xmlns:a16="http://schemas.microsoft.com/office/drawing/2014/main" id="{03876225-1466-4AB2-9274-5A178D971AE8}"/>
                </a:ext>
              </a:extLst>
            </p:cNvPr>
            <p:cNvSpPr>
              <a:spLocks noEditPoints="1"/>
            </p:cNvSpPr>
            <p:nvPr/>
          </p:nvSpPr>
          <p:spPr bwMode="auto">
            <a:xfrm>
              <a:off x="5891" y="1299"/>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362">
              <a:extLst>
                <a:ext uri="{FF2B5EF4-FFF2-40B4-BE49-F238E27FC236}">
                  <a16:creationId xmlns:a16="http://schemas.microsoft.com/office/drawing/2014/main" id="{96E655E9-C3D4-40F7-94B2-8B666F06186B}"/>
                </a:ext>
              </a:extLst>
            </p:cNvPr>
            <p:cNvSpPr>
              <a:spLocks noEditPoints="1"/>
            </p:cNvSpPr>
            <p:nvPr/>
          </p:nvSpPr>
          <p:spPr bwMode="auto">
            <a:xfrm>
              <a:off x="5799" y="12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3" name="Group 908">
            <a:extLst>
              <a:ext uri="{FF2B5EF4-FFF2-40B4-BE49-F238E27FC236}">
                <a16:creationId xmlns:a16="http://schemas.microsoft.com/office/drawing/2014/main" id="{91F0A18B-B2CC-44B8-9615-0F981C6CF6B9}"/>
              </a:ext>
            </a:extLst>
          </p:cNvPr>
          <p:cNvGrpSpPr>
            <a:grpSpLocks noChangeAspect="1"/>
          </p:cNvGrpSpPr>
          <p:nvPr/>
        </p:nvGrpSpPr>
        <p:grpSpPr bwMode="auto">
          <a:xfrm>
            <a:off x="5117475" y="4621672"/>
            <a:ext cx="269845" cy="269845"/>
            <a:chOff x="1142" y="3585"/>
            <a:chExt cx="340" cy="340"/>
          </a:xfrm>
          <a:solidFill>
            <a:schemeClr val="bg1"/>
          </a:solidFill>
        </p:grpSpPr>
        <p:sp>
          <p:nvSpPr>
            <p:cNvPr id="34" name="Freeform 909">
              <a:extLst>
                <a:ext uri="{FF2B5EF4-FFF2-40B4-BE49-F238E27FC236}">
                  <a16:creationId xmlns:a16="http://schemas.microsoft.com/office/drawing/2014/main" id="{E795A8EC-92AE-41F0-9FE4-F7FD58D61414}"/>
                </a:ext>
              </a:extLst>
            </p:cNvPr>
            <p:cNvSpPr>
              <a:spLocks noEditPoints="1"/>
            </p:cNvSpPr>
            <p:nvPr/>
          </p:nvSpPr>
          <p:spPr bwMode="auto">
            <a:xfrm>
              <a:off x="1206" y="3677"/>
              <a:ext cx="212" cy="156"/>
            </a:xfrm>
            <a:custGeom>
              <a:avLst/>
              <a:gdLst>
                <a:gd name="T0" fmla="*/ 309 w 320"/>
                <a:gd name="T1" fmla="*/ 235 h 235"/>
                <a:gd name="T2" fmla="*/ 10 w 320"/>
                <a:gd name="T3" fmla="*/ 235 h 235"/>
                <a:gd name="T4" fmla="*/ 0 w 320"/>
                <a:gd name="T5" fmla="*/ 224 h 235"/>
                <a:gd name="T6" fmla="*/ 0 w 320"/>
                <a:gd name="T7" fmla="*/ 11 h 235"/>
                <a:gd name="T8" fmla="*/ 10 w 320"/>
                <a:gd name="T9" fmla="*/ 0 h 235"/>
                <a:gd name="T10" fmla="*/ 96 w 320"/>
                <a:gd name="T11" fmla="*/ 0 h 235"/>
                <a:gd name="T12" fmla="*/ 105 w 320"/>
                <a:gd name="T13" fmla="*/ 5 h 235"/>
                <a:gd name="T14" fmla="*/ 123 w 320"/>
                <a:gd name="T15" fmla="*/ 32 h 235"/>
                <a:gd name="T16" fmla="*/ 309 w 320"/>
                <a:gd name="T17" fmla="*/ 32 h 235"/>
                <a:gd name="T18" fmla="*/ 320 w 320"/>
                <a:gd name="T19" fmla="*/ 43 h 235"/>
                <a:gd name="T20" fmla="*/ 320 w 320"/>
                <a:gd name="T21" fmla="*/ 224 h 235"/>
                <a:gd name="T22" fmla="*/ 309 w 320"/>
                <a:gd name="T23" fmla="*/ 235 h 235"/>
                <a:gd name="T24" fmla="*/ 21 w 320"/>
                <a:gd name="T25" fmla="*/ 214 h 235"/>
                <a:gd name="T26" fmla="*/ 298 w 320"/>
                <a:gd name="T27" fmla="*/ 214 h 235"/>
                <a:gd name="T28" fmla="*/ 298 w 320"/>
                <a:gd name="T29" fmla="*/ 54 h 235"/>
                <a:gd name="T30" fmla="*/ 117 w 320"/>
                <a:gd name="T31" fmla="*/ 54 h 235"/>
                <a:gd name="T32" fmla="*/ 108 w 320"/>
                <a:gd name="T33" fmla="*/ 49 h 235"/>
                <a:gd name="T34" fmla="*/ 90 w 320"/>
                <a:gd name="T35" fmla="*/ 22 h 235"/>
                <a:gd name="T36" fmla="*/ 21 w 320"/>
                <a:gd name="T37" fmla="*/ 22 h 235"/>
                <a:gd name="T38" fmla="*/ 21 w 320"/>
                <a:gd name="T3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235"/>
                  </a:moveTo>
                  <a:cubicBezTo>
                    <a:pt x="10" y="235"/>
                    <a:pt x="10" y="235"/>
                    <a:pt x="10" y="235"/>
                  </a:cubicBezTo>
                  <a:cubicBezTo>
                    <a:pt x="4" y="235"/>
                    <a:pt x="0" y="230"/>
                    <a:pt x="0" y="224"/>
                  </a:cubicBezTo>
                  <a:cubicBezTo>
                    <a:pt x="0" y="11"/>
                    <a:pt x="0" y="11"/>
                    <a:pt x="0" y="11"/>
                  </a:cubicBezTo>
                  <a:cubicBezTo>
                    <a:pt x="0" y="5"/>
                    <a:pt x="4" y="0"/>
                    <a:pt x="10" y="0"/>
                  </a:cubicBezTo>
                  <a:cubicBezTo>
                    <a:pt x="96" y="0"/>
                    <a:pt x="96" y="0"/>
                    <a:pt x="96" y="0"/>
                  </a:cubicBezTo>
                  <a:cubicBezTo>
                    <a:pt x="99" y="0"/>
                    <a:pt x="103" y="2"/>
                    <a:pt x="105" y="5"/>
                  </a:cubicBezTo>
                  <a:cubicBezTo>
                    <a:pt x="123" y="32"/>
                    <a:pt x="123" y="32"/>
                    <a:pt x="123" y="32"/>
                  </a:cubicBezTo>
                  <a:cubicBezTo>
                    <a:pt x="309" y="32"/>
                    <a:pt x="309" y="32"/>
                    <a:pt x="309" y="32"/>
                  </a:cubicBezTo>
                  <a:cubicBezTo>
                    <a:pt x="315" y="32"/>
                    <a:pt x="320" y="37"/>
                    <a:pt x="320" y="43"/>
                  </a:cubicBezTo>
                  <a:cubicBezTo>
                    <a:pt x="320" y="224"/>
                    <a:pt x="320" y="224"/>
                    <a:pt x="320" y="224"/>
                  </a:cubicBezTo>
                  <a:cubicBezTo>
                    <a:pt x="320" y="230"/>
                    <a:pt x="315" y="235"/>
                    <a:pt x="309" y="235"/>
                  </a:cubicBezTo>
                  <a:close/>
                  <a:moveTo>
                    <a:pt x="21" y="214"/>
                  </a:moveTo>
                  <a:cubicBezTo>
                    <a:pt x="298" y="214"/>
                    <a:pt x="298" y="214"/>
                    <a:pt x="298" y="214"/>
                  </a:cubicBezTo>
                  <a:cubicBezTo>
                    <a:pt x="298" y="54"/>
                    <a:pt x="298" y="54"/>
                    <a:pt x="298" y="54"/>
                  </a:cubicBezTo>
                  <a:cubicBezTo>
                    <a:pt x="117" y="54"/>
                    <a:pt x="117" y="54"/>
                    <a:pt x="117" y="54"/>
                  </a:cubicBezTo>
                  <a:cubicBezTo>
                    <a:pt x="113" y="54"/>
                    <a:pt x="110" y="52"/>
                    <a:pt x="108" y="49"/>
                  </a:cubicBezTo>
                  <a:cubicBezTo>
                    <a:pt x="90" y="22"/>
                    <a:pt x="90" y="22"/>
                    <a:pt x="90" y="22"/>
                  </a:cubicBezTo>
                  <a:cubicBezTo>
                    <a:pt x="21" y="22"/>
                    <a:pt x="21" y="22"/>
                    <a:pt x="21" y="22"/>
                  </a:cubicBezTo>
                  <a:lnTo>
                    <a:pt x="21" y="214"/>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910">
              <a:extLst>
                <a:ext uri="{FF2B5EF4-FFF2-40B4-BE49-F238E27FC236}">
                  <a16:creationId xmlns:a16="http://schemas.microsoft.com/office/drawing/2014/main" id="{4A11F1B1-E572-4245-9D08-FB77D2FDE9CF}"/>
                </a:ext>
              </a:extLst>
            </p:cNvPr>
            <p:cNvSpPr>
              <a:spLocks noEditPoints="1"/>
            </p:cNvSpPr>
            <p:nvPr/>
          </p:nvSpPr>
          <p:spPr bwMode="auto">
            <a:xfrm>
              <a:off x="1142" y="35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6" name="Group 656">
            <a:extLst>
              <a:ext uri="{FF2B5EF4-FFF2-40B4-BE49-F238E27FC236}">
                <a16:creationId xmlns:a16="http://schemas.microsoft.com/office/drawing/2014/main" id="{9328A29D-CD24-43CA-A65F-7AF8054A8FA2}"/>
              </a:ext>
            </a:extLst>
          </p:cNvPr>
          <p:cNvGrpSpPr>
            <a:grpSpLocks noChangeAspect="1"/>
          </p:cNvGrpSpPr>
          <p:nvPr/>
        </p:nvGrpSpPr>
        <p:grpSpPr bwMode="auto">
          <a:xfrm>
            <a:off x="6786632" y="4624564"/>
            <a:ext cx="269054" cy="269845"/>
            <a:chOff x="389" y="2339"/>
            <a:chExt cx="340" cy="341"/>
          </a:xfrm>
          <a:solidFill>
            <a:srgbClr val="000000"/>
          </a:solidFill>
        </p:grpSpPr>
        <p:sp>
          <p:nvSpPr>
            <p:cNvPr id="37" name="Freeform 657">
              <a:extLst>
                <a:ext uri="{FF2B5EF4-FFF2-40B4-BE49-F238E27FC236}">
                  <a16:creationId xmlns:a16="http://schemas.microsoft.com/office/drawing/2014/main" id="{E289C848-367A-4A11-8B43-5A1D2997A3B8}"/>
                </a:ext>
              </a:extLst>
            </p:cNvPr>
            <p:cNvSpPr>
              <a:spLocks noEditPoints="1"/>
            </p:cNvSpPr>
            <p:nvPr/>
          </p:nvSpPr>
          <p:spPr bwMode="auto">
            <a:xfrm>
              <a:off x="481"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658">
              <a:extLst>
                <a:ext uri="{FF2B5EF4-FFF2-40B4-BE49-F238E27FC236}">
                  <a16:creationId xmlns:a16="http://schemas.microsoft.com/office/drawing/2014/main" id="{7B55E876-3437-4C4A-B32B-3C683D24CE43}"/>
                </a:ext>
              </a:extLst>
            </p:cNvPr>
            <p:cNvSpPr>
              <a:spLocks noEditPoints="1"/>
            </p:cNvSpPr>
            <p:nvPr/>
          </p:nvSpPr>
          <p:spPr bwMode="auto">
            <a:xfrm>
              <a:off x="566"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659">
              <a:extLst>
                <a:ext uri="{FF2B5EF4-FFF2-40B4-BE49-F238E27FC236}">
                  <a16:creationId xmlns:a16="http://schemas.microsoft.com/office/drawing/2014/main" id="{F9F0454E-2893-45E0-B07E-6BC94571FED5}"/>
                </a:ext>
              </a:extLst>
            </p:cNvPr>
            <p:cNvSpPr>
              <a:spLocks noEditPoints="1"/>
            </p:cNvSpPr>
            <p:nvPr/>
          </p:nvSpPr>
          <p:spPr bwMode="auto">
            <a:xfrm>
              <a:off x="389" y="233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ustDataLst>
      <p:tags r:id="rId1"/>
    </p:custDataLst>
    <p:extLst>
      <p:ext uri="{BB962C8B-B14F-4D97-AF65-F5344CB8AC3E}">
        <p14:creationId xmlns:p14="http://schemas.microsoft.com/office/powerpoint/2010/main" val="4200171052"/>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70373" y="1700213"/>
            <a:ext cx="4755721" cy="2126556"/>
            <a:chOff x="470373" y="1700213"/>
            <a:chExt cx="4755721" cy="2126556"/>
          </a:xfrm>
        </p:grpSpPr>
        <p:sp>
          <p:nvSpPr>
            <p:cNvPr id="53" name="矩形 6"/>
            <p:cNvSpPr/>
            <p:nvPr/>
          </p:nvSpPr>
          <p:spPr>
            <a:xfrm>
              <a:off x="470373" y="1700213"/>
              <a:ext cx="4504651" cy="2126556"/>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等腰三角形 11"/>
            <p:cNvSpPr/>
            <p:nvPr/>
          </p:nvSpPr>
          <p:spPr>
            <a:xfrm rot="5400000">
              <a:off x="4912486" y="2195667"/>
              <a:ext cx="366267" cy="260949"/>
            </a:xfrm>
            <a:prstGeom prst="triangl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7" name="Freeform 36"/>
          <p:cNvSpPr/>
          <p:nvPr/>
        </p:nvSpPr>
        <p:spPr>
          <a:xfrm>
            <a:off x="469900" y="3824664"/>
            <a:ext cx="4756180" cy="2126556"/>
          </a:xfrm>
          <a:custGeom>
            <a:avLst/>
            <a:gdLst>
              <a:gd name="connsiteX0" fmla="*/ 0 w 4756180"/>
              <a:gd name="connsiteY0" fmla="*/ 0 h 2126556"/>
              <a:gd name="connsiteX1" fmla="*/ 4505122 w 4756180"/>
              <a:gd name="connsiteY1" fmla="*/ 0 h 2126556"/>
              <a:gd name="connsiteX2" fmla="*/ 4505122 w 4756180"/>
              <a:gd name="connsiteY2" fmla="*/ 449739 h 2126556"/>
              <a:gd name="connsiteX3" fmla="*/ 4756180 w 4756180"/>
              <a:gd name="connsiteY3" fmla="*/ 625931 h 2126556"/>
              <a:gd name="connsiteX4" fmla="*/ 4505122 w 4756180"/>
              <a:gd name="connsiteY4" fmla="*/ 802123 h 2126556"/>
              <a:gd name="connsiteX5" fmla="*/ 4505122 w 4756180"/>
              <a:gd name="connsiteY5" fmla="*/ 2126556 h 2126556"/>
              <a:gd name="connsiteX6" fmla="*/ 0 w 4756180"/>
              <a:gd name="connsiteY6" fmla="*/ 2126556 h 2126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6180" h="2126556">
                <a:moveTo>
                  <a:pt x="0" y="0"/>
                </a:moveTo>
                <a:lnTo>
                  <a:pt x="4505122" y="0"/>
                </a:lnTo>
                <a:lnTo>
                  <a:pt x="4505122" y="449739"/>
                </a:lnTo>
                <a:lnTo>
                  <a:pt x="4756180" y="625931"/>
                </a:lnTo>
                <a:lnTo>
                  <a:pt x="4505122" y="802123"/>
                </a:lnTo>
                <a:lnTo>
                  <a:pt x="4505122" y="2126556"/>
                </a:lnTo>
                <a:lnTo>
                  <a:pt x="0" y="2126556"/>
                </a:lnTo>
                <a:close/>
              </a:path>
            </a:pathLst>
          </a:cu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58" name="文本框 51"/>
          <p:cNvSpPr txBox="1"/>
          <p:nvPr/>
        </p:nvSpPr>
        <p:spPr>
          <a:xfrm>
            <a:off x="5224654" y="1937691"/>
            <a:ext cx="716863" cy="723275"/>
          </a:xfrm>
          <a:prstGeom prst="rect">
            <a:avLst/>
          </a:prstGeom>
          <a:noFill/>
        </p:spPr>
        <p:txBody>
          <a:bodyPr wrap="none" rtlCol="0">
            <a:spAutoFit/>
          </a:bodyPr>
          <a:lstStyle/>
          <a:p>
            <a:r>
              <a:rPr lang="en-US" altLang="zh-CN" sz="4100" b="1" dirty="0">
                <a:solidFill>
                  <a:srgbClr val="000000"/>
                </a:solidFill>
                <a:ea typeface="楷体" pitchFamily="49" charset="-122"/>
              </a:rPr>
              <a:t>01</a:t>
            </a:r>
            <a:endParaRPr lang="zh-CN" altLang="en-US" sz="4100" b="1" dirty="0">
              <a:solidFill>
                <a:srgbClr val="000000"/>
              </a:solidFill>
              <a:ea typeface="楷体" pitchFamily="49" charset="-122"/>
            </a:endParaRPr>
          </a:p>
        </p:txBody>
      </p:sp>
      <p:sp>
        <p:nvSpPr>
          <p:cNvPr id="59" name="文本框 52"/>
          <p:cNvSpPr txBox="1"/>
          <p:nvPr/>
        </p:nvSpPr>
        <p:spPr>
          <a:xfrm>
            <a:off x="5224654" y="4057103"/>
            <a:ext cx="716863" cy="723275"/>
          </a:xfrm>
          <a:prstGeom prst="rect">
            <a:avLst/>
          </a:prstGeom>
          <a:noFill/>
        </p:spPr>
        <p:txBody>
          <a:bodyPr wrap="none" rtlCol="0">
            <a:spAutoFit/>
          </a:bodyPr>
          <a:lstStyle/>
          <a:p>
            <a:r>
              <a:rPr lang="en-US" altLang="zh-CN" sz="4100" b="1" dirty="0">
                <a:solidFill>
                  <a:schemeClr val="accent3"/>
                </a:solidFill>
                <a:ea typeface="楷体" pitchFamily="49" charset="-122"/>
              </a:rPr>
              <a:t>03</a:t>
            </a:r>
            <a:endParaRPr lang="zh-CN" altLang="en-US" sz="4100" b="1" dirty="0">
              <a:solidFill>
                <a:schemeClr val="accent3"/>
              </a:solidFill>
              <a:ea typeface="楷体" pitchFamily="49" charset="-122"/>
            </a:endParaRPr>
          </a:p>
        </p:txBody>
      </p:sp>
      <p:sp>
        <p:nvSpPr>
          <p:cNvPr id="36" name="Freeform 35"/>
          <p:cNvSpPr/>
          <p:nvPr/>
        </p:nvSpPr>
        <p:spPr>
          <a:xfrm flipH="1" flipV="1">
            <a:off x="6954480" y="1700213"/>
            <a:ext cx="4754293" cy="2126556"/>
          </a:xfrm>
          <a:custGeom>
            <a:avLst/>
            <a:gdLst>
              <a:gd name="connsiteX0" fmla="*/ 4504652 w 4754293"/>
              <a:gd name="connsiteY0" fmla="*/ 2126556 h 2126556"/>
              <a:gd name="connsiteX1" fmla="*/ 0 w 4754293"/>
              <a:gd name="connsiteY1" fmla="*/ 2126556 h 2126556"/>
              <a:gd name="connsiteX2" fmla="*/ 0 w 4754293"/>
              <a:gd name="connsiteY2" fmla="*/ 0 h 2126556"/>
              <a:gd name="connsiteX3" fmla="*/ 4504652 w 4754293"/>
              <a:gd name="connsiteY3" fmla="*/ 0 h 2126556"/>
              <a:gd name="connsiteX4" fmla="*/ 4504652 w 4754293"/>
              <a:gd name="connsiteY4" fmla="*/ 450732 h 2126556"/>
              <a:gd name="connsiteX5" fmla="*/ 4754293 w 4754293"/>
              <a:gd name="connsiteY5" fmla="*/ 625930 h 2126556"/>
              <a:gd name="connsiteX6" fmla="*/ 4504652 w 4754293"/>
              <a:gd name="connsiteY6" fmla="*/ 801127 h 2126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293" h="2126556">
                <a:moveTo>
                  <a:pt x="4504652" y="2126556"/>
                </a:moveTo>
                <a:lnTo>
                  <a:pt x="0" y="2126556"/>
                </a:lnTo>
                <a:lnTo>
                  <a:pt x="0" y="0"/>
                </a:lnTo>
                <a:lnTo>
                  <a:pt x="4504652" y="0"/>
                </a:lnTo>
                <a:lnTo>
                  <a:pt x="4504652" y="450732"/>
                </a:lnTo>
                <a:lnTo>
                  <a:pt x="4754293" y="625930"/>
                </a:lnTo>
                <a:lnTo>
                  <a:pt x="4504652" y="801127"/>
                </a:lnTo>
                <a:close/>
              </a:path>
            </a:pathLst>
          </a:custGeom>
          <a:solidFill>
            <a:srgbClr val="43B02A"/>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5" name="Freeform 34"/>
          <p:cNvSpPr/>
          <p:nvPr/>
        </p:nvSpPr>
        <p:spPr>
          <a:xfrm flipH="1" flipV="1">
            <a:off x="6954480" y="3824664"/>
            <a:ext cx="4754291" cy="2126556"/>
          </a:xfrm>
          <a:custGeom>
            <a:avLst/>
            <a:gdLst>
              <a:gd name="connsiteX0" fmla="*/ 4504659 w 4754291"/>
              <a:gd name="connsiteY0" fmla="*/ 2126556 h 2126556"/>
              <a:gd name="connsiteX1" fmla="*/ 0 w 4754291"/>
              <a:gd name="connsiteY1" fmla="*/ 2126556 h 2126556"/>
              <a:gd name="connsiteX2" fmla="*/ 0 w 4754291"/>
              <a:gd name="connsiteY2" fmla="*/ 0 h 2126556"/>
              <a:gd name="connsiteX3" fmla="*/ 4504659 w 4754291"/>
              <a:gd name="connsiteY3" fmla="*/ 0 h 2126556"/>
              <a:gd name="connsiteX4" fmla="*/ 4504659 w 4754291"/>
              <a:gd name="connsiteY4" fmla="*/ 450738 h 2126556"/>
              <a:gd name="connsiteX5" fmla="*/ 4754291 w 4754291"/>
              <a:gd name="connsiteY5" fmla="*/ 625930 h 2126556"/>
              <a:gd name="connsiteX6" fmla="*/ 4504659 w 4754291"/>
              <a:gd name="connsiteY6" fmla="*/ 801121 h 2126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291" h="2126556">
                <a:moveTo>
                  <a:pt x="4504659" y="2126556"/>
                </a:moveTo>
                <a:lnTo>
                  <a:pt x="0" y="2126556"/>
                </a:lnTo>
                <a:lnTo>
                  <a:pt x="0" y="0"/>
                </a:lnTo>
                <a:lnTo>
                  <a:pt x="4504659" y="0"/>
                </a:lnTo>
                <a:lnTo>
                  <a:pt x="4504659" y="450738"/>
                </a:lnTo>
                <a:lnTo>
                  <a:pt x="4754291" y="625930"/>
                </a:lnTo>
                <a:lnTo>
                  <a:pt x="4504659" y="801121"/>
                </a:lnTo>
                <a:close/>
              </a:path>
            </a:pathLst>
          </a:custGeom>
          <a:solidFill>
            <a:srgbClr val="FFFFF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66" name="文本框 67"/>
          <p:cNvSpPr txBox="1"/>
          <p:nvPr/>
        </p:nvSpPr>
        <p:spPr>
          <a:xfrm flipH="1">
            <a:off x="6226781" y="2810728"/>
            <a:ext cx="716863" cy="723275"/>
          </a:xfrm>
          <a:prstGeom prst="rect">
            <a:avLst/>
          </a:prstGeom>
          <a:noFill/>
        </p:spPr>
        <p:txBody>
          <a:bodyPr wrap="none" rtlCol="0">
            <a:spAutoFit/>
          </a:bodyPr>
          <a:lstStyle/>
          <a:p>
            <a:pPr algn="r"/>
            <a:r>
              <a:rPr lang="en-US" altLang="zh-CN" sz="4100" b="1" dirty="0">
                <a:solidFill>
                  <a:srgbClr val="43B02A"/>
                </a:solidFill>
                <a:ea typeface="楷体" pitchFamily="49" charset="-122"/>
              </a:rPr>
              <a:t>02</a:t>
            </a:r>
            <a:endParaRPr lang="zh-CN" altLang="en-US" sz="4100" b="1" dirty="0">
              <a:solidFill>
                <a:srgbClr val="43B02A"/>
              </a:solidFill>
              <a:ea typeface="楷体" pitchFamily="49" charset="-122"/>
            </a:endParaRPr>
          </a:p>
        </p:txBody>
      </p:sp>
      <p:sp>
        <p:nvSpPr>
          <p:cNvPr id="67" name="文本框 68"/>
          <p:cNvSpPr txBox="1"/>
          <p:nvPr/>
        </p:nvSpPr>
        <p:spPr>
          <a:xfrm flipH="1">
            <a:off x="6226781" y="4931798"/>
            <a:ext cx="716863" cy="723275"/>
          </a:xfrm>
          <a:prstGeom prst="rect">
            <a:avLst/>
          </a:prstGeom>
          <a:noFill/>
        </p:spPr>
        <p:txBody>
          <a:bodyPr wrap="none" rtlCol="0">
            <a:spAutoFit/>
          </a:bodyPr>
          <a:lstStyle/>
          <a:p>
            <a:pPr algn="r"/>
            <a:r>
              <a:rPr lang="en-US" altLang="zh-CN" sz="4100" b="1" dirty="0">
                <a:solidFill>
                  <a:srgbClr val="000000"/>
                </a:solidFill>
                <a:ea typeface="楷体" pitchFamily="49" charset="-122"/>
              </a:rPr>
              <a:t>04</a:t>
            </a:r>
            <a:endParaRPr lang="zh-CN" altLang="en-US" sz="4100" b="1" dirty="0">
              <a:solidFill>
                <a:srgbClr val="000000"/>
              </a:solidFill>
              <a:ea typeface="楷体" pitchFamily="49" charset="-122"/>
            </a:endParaRPr>
          </a:p>
        </p:txBody>
      </p:sp>
      <p:sp>
        <p:nvSpPr>
          <p:cNvPr id="71" name="文本框 82"/>
          <p:cNvSpPr txBox="1"/>
          <p:nvPr/>
        </p:nvSpPr>
        <p:spPr>
          <a:xfrm>
            <a:off x="1547876" y="2135610"/>
            <a:ext cx="2599545" cy="338554"/>
          </a:xfrm>
          <a:prstGeom prst="rect">
            <a:avLst/>
          </a:prstGeom>
          <a:noFill/>
        </p:spPr>
        <p:txBody>
          <a:bodyPr wrap="square" rtlCol="0">
            <a:spAutoFit/>
          </a:bodyPr>
          <a:lstStyle/>
          <a:p>
            <a:pPr algn="r"/>
            <a:r>
              <a:rPr lang="en-US" altLang="zh-CN" sz="1600" b="1" dirty="0">
                <a:solidFill>
                  <a:schemeClr val="bg1"/>
                </a:solidFill>
                <a:latin typeface="+mn-ea"/>
              </a:rPr>
              <a:t>Title</a:t>
            </a:r>
            <a:endParaRPr lang="zh-CN" altLang="en-US" sz="1600" b="1" dirty="0">
              <a:solidFill>
                <a:schemeClr val="bg1"/>
              </a:solidFill>
              <a:latin typeface="+mn-ea"/>
            </a:endParaRPr>
          </a:p>
        </p:txBody>
      </p:sp>
      <p:sp>
        <p:nvSpPr>
          <p:cNvPr id="72" name="文本框 83"/>
          <p:cNvSpPr txBox="1"/>
          <p:nvPr/>
        </p:nvSpPr>
        <p:spPr>
          <a:xfrm>
            <a:off x="852300" y="2513332"/>
            <a:ext cx="3527371" cy="492443"/>
          </a:xfrm>
          <a:prstGeom prst="rect">
            <a:avLst/>
          </a:prstGeom>
          <a:noFill/>
        </p:spPr>
        <p:txBody>
          <a:bodyPr wrap="square" rtlCol="0">
            <a:spAutoFit/>
          </a:bodyPr>
          <a:lstStyle/>
          <a:p>
            <a:r>
              <a:rPr lang="en-US" altLang="zh-CN" sz="1300" dirty="0">
                <a:solidFill>
                  <a:schemeClr val="bg1"/>
                </a:solidFill>
                <a:latin typeface="+mn-ea"/>
              </a:rPr>
              <a:t>Add your text here you need, add your text here you need, add your text here you need.</a:t>
            </a:r>
          </a:p>
        </p:txBody>
      </p:sp>
      <p:sp>
        <p:nvSpPr>
          <p:cNvPr id="76" name="文本框 27"/>
          <p:cNvSpPr txBox="1"/>
          <p:nvPr/>
        </p:nvSpPr>
        <p:spPr>
          <a:xfrm>
            <a:off x="1544262" y="4235586"/>
            <a:ext cx="2599545" cy="338554"/>
          </a:xfrm>
          <a:prstGeom prst="rect">
            <a:avLst/>
          </a:prstGeom>
          <a:noFill/>
        </p:spPr>
        <p:txBody>
          <a:bodyPr wrap="square" rtlCol="0">
            <a:spAutoFit/>
          </a:bodyPr>
          <a:lstStyle/>
          <a:p>
            <a:pPr algn="r"/>
            <a:r>
              <a:rPr lang="en-US" altLang="zh-CN" sz="1600" b="1" dirty="0">
                <a:solidFill>
                  <a:schemeClr val="bg1"/>
                </a:solidFill>
                <a:latin typeface="+mn-ea"/>
              </a:rPr>
              <a:t>Title</a:t>
            </a:r>
            <a:endParaRPr lang="zh-CN" altLang="en-US" sz="1600" b="1" dirty="0">
              <a:solidFill>
                <a:schemeClr val="bg1"/>
              </a:solidFill>
              <a:latin typeface="+mn-ea"/>
            </a:endParaRPr>
          </a:p>
        </p:txBody>
      </p:sp>
      <p:sp>
        <p:nvSpPr>
          <p:cNvPr id="77" name="文本框 28"/>
          <p:cNvSpPr txBox="1"/>
          <p:nvPr/>
        </p:nvSpPr>
        <p:spPr>
          <a:xfrm>
            <a:off x="848686" y="4613307"/>
            <a:ext cx="3527371" cy="492443"/>
          </a:xfrm>
          <a:prstGeom prst="rect">
            <a:avLst/>
          </a:prstGeom>
          <a:noFill/>
        </p:spPr>
        <p:txBody>
          <a:bodyPr wrap="square" rtlCol="0">
            <a:spAutoFit/>
          </a:bodyPr>
          <a:lstStyle/>
          <a:p>
            <a:r>
              <a:rPr lang="en-US" altLang="zh-CN" sz="1300" dirty="0">
                <a:solidFill>
                  <a:schemeClr val="bg1"/>
                </a:solidFill>
                <a:latin typeface="+mn-ea"/>
              </a:rPr>
              <a:t>Add your text here you need, add your text here you need, add your text here you need.</a:t>
            </a:r>
          </a:p>
        </p:txBody>
      </p:sp>
      <p:sp>
        <p:nvSpPr>
          <p:cNvPr id="81" name="文本框 32"/>
          <p:cNvSpPr txBox="1"/>
          <p:nvPr/>
        </p:nvSpPr>
        <p:spPr>
          <a:xfrm flipH="1">
            <a:off x="8017821" y="2099899"/>
            <a:ext cx="2604041" cy="338554"/>
          </a:xfrm>
          <a:prstGeom prst="rect">
            <a:avLst/>
          </a:prstGeom>
          <a:noFill/>
        </p:spPr>
        <p:txBody>
          <a:bodyPr wrap="square" rtlCol="0">
            <a:spAutoFit/>
          </a:bodyPr>
          <a:lstStyle/>
          <a:p>
            <a:r>
              <a:rPr lang="en-US" altLang="zh-CN" sz="1600" b="1" dirty="0">
                <a:solidFill>
                  <a:schemeClr val="bg1"/>
                </a:solidFill>
                <a:latin typeface="+mn-ea"/>
              </a:rPr>
              <a:t>Title</a:t>
            </a:r>
          </a:p>
        </p:txBody>
      </p:sp>
      <p:sp>
        <p:nvSpPr>
          <p:cNvPr id="82" name="文本框 33"/>
          <p:cNvSpPr txBox="1"/>
          <p:nvPr/>
        </p:nvSpPr>
        <p:spPr>
          <a:xfrm flipH="1">
            <a:off x="8022293" y="2477621"/>
            <a:ext cx="3528009" cy="492443"/>
          </a:xfrm>
          <a:prstGeom prst="rect">
            <a:avLst/>
          </a:prstGeom>
          <a:noFill/>
        </p:spPr>
        <p:txBody>
          <a:bodyPr wrap="square" rtlCol="0">
            <a:spAutoFit/>
          </a:bodyPr>
          <a:lstStyle/>
          <a:p>
            <a:r>
              <a:rPr lang="en-US" altLang="zh-CN" sz="1300" dirty="0">
                <a:solidFill>
                  <a:schemeClr val="bg1"/>
                </a:solidFill>
                <a:latin typeface="+mn-ea"/>
              </a:rPr>
              <a:t>Add your text here you need, add your text here you need, add your text here you need.</a:t>
            </a:r>
          </a:p>
        </p:txBody>
      </p:sp>
      <p:sp>
        <p:nvSpPr>
          <p:cNvPr id="86" name="文本框 36"/>
          <p:cNvSpPr txBox="1"/>
          <p:nvPr/>
        </p:nvSpPr>
        <p:spPr>
          <a:xfrm flipH="1">
            <a:off x="8018816" y="4191731"/>
            <a:ext cx="2604041" cy="338554"/>
          </a:xfrm>
          <a:prstGeom prst="rect">
            <a:avLst/>
          </a:prstGeom>
          <a:noFill/>
        </p:spPr>
        <p:txBody>
          <a:bodyPr wrap="square" rtlCol="0">
            <a:spAutoFit/>
          </a:bodyPr>
          <a:lstStyle/>
          <a:p>
            <a:r>
              <a:rPr lang="en-US" altLang="zh-CN" sz="1600" b="1" dirty="0">
                <a:solidFill>
                  <a:srgbClr val="000000"/>
                </a:solidFill>
                <a:latin typeface="+mn-ea"/>
              </a:rPr>
              <a:t>Title</a:t>
            </a:r>
          </a:p>
        </p:txBody>
      </p:sp>
      <p:sp>
        <p:nvSpPr>
          <p:cNvPr id="87" name="文本框 37"/>
          <p:cNvSpPr txBox="1"/>
          <p:nvPr/>
        </p:nvSpPr>
        <p:spPr>
          <a:xfrm flipH="1">
            <a:off x="8023288" y="4569452"/>
            <a:ext cx="3528009" cy="492443"/>
          </a:xfrm>
          <a:prstGeom prst="rect">
            <a:avLst/>
          </a:prstGeom>
          <a:noFill/>
        </p:spPr>
        <p:txBody>
          <a:bodyPr wrap="square" rtlCol="0">
            <a:spAutoFit/>
          </a:bodyPr>
          <a:lstStyle/>
          <a:p>
            <a:r>
              <a:rPr lang="en-US" altLang="zh-CN" sz="1300" dirty="0">
                <a:solidFill>
                  <a:srgbClr val="000000"/>
                </a:solidFill>
                <a:latin typeface="+mn-ea"/>
              </a:rPr>
              <a:t>Add your text here you need, add your text here you need, add your text here you need.</a:t>
            </a:r>
          </a:p>
        </p:txBody>
      </p:sp>
      <p:sp>
        <p:nvSpPr>
          <p:cNvPr id="38" name="Freeform 14">
            <a:extLst>
              <a:ext uri="{FF2B5EF4-FFF2-40B4-BE49-F238E27FC236}">
                <a16:creationId xmlns:a16="http://schemas.microsoft.com/office/drawing/2014/main" id="{EE29599F-A857-4AB3-9637-68850AEFBBC5}"/>
              </a:ext>
            </a:extLst>
          </p:cNvPr>
          <p:cNvSpPr>
            <a:spLocks noChangeAspect="1" noEditPoints="1"/>
          </p:cNvSpPr>
          <p:nvPr/>
        </p:nvSpPr>
        <p:spPr bwMode="auto">
          <a:xfrm>
            <a:off x="4177853" y="2060447"/>
            <a:ext cx="458546" cy="457200"/>
          </a:xfrm>
          <a:custGeom>
            <a:avLst/>
            <a:gdLst>
              <a:gd name="T0" fmla="*/ 380 w 512"/>
              <a:gd name="T1" fmla="*/ 293 h 512"/>
              <a:gd name="T2" fmla="*/ 380 w 512"/>
              <a:gd name="T3" fmla="*/ 265 h 512"/>
              <a:gd name="T4" fmla="*/ 138 w 512"/>
              <a:gd name="T5" fmla="*/ 259 h 512"/>
              <a:gd name="T6" fmla="*/ 341 w 512"/>
              <a:gd name="T7" fmla="*/ 259 h 512"/>
              <a:gd name="T8" fmla="*/ 138 w 512"/>
              <a:gd name="T9" fmla="*/ 245 h 512"/>
              <a:gd name="T10" fmla="*/ 512 w 512"/>
              <a:gd name="T11" fmla="*/ 256 h 512"/>
              <a:gd name="T12" fmla="*/ 0 w 512"/>
              <a:gd name="T13" fmla="*/ 256 h 512"/>
              <a:gd name="T14" fmla="*/ 512 w 512"/>
              <a:gd name="T15" fmla="*/ 256 h 512"/>
              <a:gd name="T16" fmla="*/ 305 w 512"/>
              <a:gd name="T17" fmla="*/ 186 h 512"/>
              <a:gd name="T18" fmla="*/ 314 w 512"/>
              <a:gd name="T19" fmla="*/ 203 h 512"/>
              <a:gd name="T20" fmla="*/ 323 w 512"/>
              <a:gd name="T21" fmla="*/ 148 h 512"/>
              <a:gd name="T22" fmla="*/ 321 w 512"/>
              <a:gd name="T23" fmla="*/ 109 h 512"/>
              <a:gd name="T24" fmla="*/ 305 w 512"/>
              <a:gd name="T25" fmla="*/ 160 h 512"/>
              <a:gd name="T26" fmla="*/ 231 w 512"/>
              <a:gd name="T27" fmla="*/ 186 h 512"/>
              <a:gd name="T28" fmla="*/ 239 w 512"/>
              <a:gd name="T29" fmla="*/ 203 h 512"/>
              <a:gd name="T30" fmla="*/ 248 w 512"/>
              <a:gd name="T31" fmla="*/ 148 h 512"/>
              <a:gd name="T32" fmla="*/ 246 w 512"/>
              <a:gd name="T33" fmla="*/ 109 h 512"/>
              <a:gd name="T34" fmla="*/ 230 w 512"/>
              <a:gd name="T35" fmla="*/ 160 h 512"/>
              <a:gd name="T36" fmla="*/ 156 w 512"/>
              <a:gd name="T37" fmla="*/ 186 h 512"/>
              <a:gd name="T38" fmla="*/ 164 w 512"/>
              <a:gd name="T39" fmla="*/ 203 h 512"/>
              <a:gd name="T40" fmla="*/ 173 w 512"/>
              <a:gd name="T41" fmla="*/ 148 h 512"/>
              <a:gd name="T42" fmla="*/ 171 w 512"/>
              <a:gd name="T43" fmla="*/ 109 h 512"/>
              <a:gd name="T44" fmla="*/ 155 w 512"/>
              <a:gd name="T45" fmla="*/ 160 h 512"/>
              <a:gd name="T46" fmla="*/ 380 w 512"/>
              <a:gd name="T47" fmla="*/ 243 h 512"/>
              <a:gd name="T48" fmla="*/ 362 w 512"/>
              <a:gd name="T49" fmla="*/ 234 h 512"/>
              <a:gd name="T50" fmla="*/ 128 w 512"/>
              <a:gd name="T51" fmla="*/ 224 h 512"/>
              <a:gd name="T52" fmla="*/ 117 w 512"/>
              <a:gd name="T53" fmla="*/ 259 h 512"/>
              <a:gd name="T54" fmla="*/ 128 w 512"/>
              <a:gd name="T55" fmla="*/ 373 h 512"/>
              <a:gd name="T56" fmla="*/ 128 w 512"/>
              <a:gd name="T57" fmla="*/ 394 h 512"/>
              <a:gd name="T58" fmla="*/ 394 w 512"/>
              <a:gd name="T59" fmla="*/ 384 h 512"/>
              <a:gd name="T60" fmla="*/ 290 w 512"/>
              <a:gd name="T61" fmla="*/ 373 h 512"/>
              <a:gd name="T62" fmla="*/ 380 w 512"/>
              <a:gd name="T63" fmla="*/ 3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94" y="279"/>
                </a:moveTo>
                <a:cubicBezTo>
                  <a:pt x="394" y="286"/>
                  <a:pt x="388" y="293"/>
                  <a:pt x="380" y="293"/>
                </a:cubicBezTo>
                <a:cubicBezTo>
                  <a:pt x="372" y="293"/>
                  <a:pt x="366" y="286"/>
                  <a:pt x="366" y="279"/>
                </a:cubicBezTo>
                <a:cubicBezTo>
                  <a:pt x="366" y="271"/>
                  <a:pt x="372" y="265"/>
                  <a:pt x="380" y="265"/>
                </a:cubicBezTo>
                <a:cubicBezTo>
                  <a:pt x="388" y="265"/>
                  <a:pt x="394" y="271"/>
                  <a:pt x="394" y="279"/>
                </a:cubicBezTo>
                <a:close/>
                <a:moveTo>
                  <a:pt x="138" y="259"/>
                </a:moveTo>
                <a:cubicBezTo>
                  <a:pt x="138" y="317"/>
                  <a:pt x="183" y="362"/>
                  <a:pt x="240" y="362"/>
                </a:cubicBezTo>
                <a:cubicBezTo>
                  <a:pt x="296" y="362"/>
                  <a:pt x="341" y="317"/>
                  <a:pt x="341" y="259"/>
                </a:cubicBezTo>
                <a:cubicBezTo>
                  <a:pt x="341" y="245"/>
                  <a:pt x="341" y="245"/>
                  <a:pt x="341" y="245"/>
                </a:cubicBezTo>
                <a:cubicBezTo>
                  <a:pt x="138" y="245"/>
                  <a:pt x="138" y="245"/>
                  <a:pt x="138" y="245"/>
                </a:cubicBezTo>
                <a:lnTo>
                  <a:pt x="138" y="25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5" y="160"/>
                </a:moveTo>
                <a:cubicBezTo>
                  <a:pt x="314" y="174"/>
                  <a:pt x="306" y="185"/>
                  <a:pt x="305" y="186"/>
                </a:cubicBezTo>
                <a:cubicBezTo>
                  <a:pt x="302" y="190"/>
                  <a:pt x="302" y="197"/>
                  <a:pt x="307" y="201"/>
                </a:cubicBezTo>
                <a:cubicBezTo>
                  <a:pt x="309" y="202"/>
                  <a:pt x="311" y="203"/>
                  <a:pt x="314" y="203"/>
                </a:cubicBezTo>
                <a:cubicBezTo>
                  <a:pt x="317" y="203"/>
                  <a:pt x="320" y="202"/>
                  <a:pt x="322" y="199"/>
                </a:cubicBezTo>
                <a:cubicBezTo>
                  <a:pt x="323" y="198"/>
                  <a:pt x="340" y="176"/>
                  <a:pt x="323" y="148"/>
                </a:cubicBezTo>
                <a:cubicBezTo>
                  <a:pt x="314" y="134"/>
                  <a:pt x="321" y="125"/>
                  <a:pt x="322" y="124"/>
                </a:cubicBezTo>
                <a:cubicBezTo>
                  <a:pt x="326" y="119"/>
                  <a:pt x="325" y="113"/>
                  <a:pt x="321" y="109"/>
                </a:cubicBezTo>
                <a:cubicBezTo>
                  <a:pt x="316" y="105"/>
                  <a:pt x="310" y="106"/>
                  <a:pt x="306" y="110"/>
                </a:cubicBezTo>
                <a:cubicBezTo>
                  <a:pt x="305" y="111"/>
                  <a:pt x="287" y="132"/>
                  <a:pt x="305" y="160"/>
                </a:cubicBezTo>
                <a:close/>
                <a:moveTo>
                  <a:pt x="230" y="160"/>
                </a:moveTo>
                <a:cubicBezTo>
                  <a:pt x="239" y="174"/>
                  <a:pt x="231" y="185"/>
                  <a:pt x="231" y="186"/>
                </a:cubicBezTo>
                <a:cubicBezTo>
                  <a:pt x="227" y="190"/>
                  <a:pt x="228" y="197"/>
                  <a:pt x="232" y="201"/>
                </a:cubicBezTo>
                <a:cubicBezTo>
                  <a:pt x="234" y="202"/>
                  <a:pt x="237" y="203"/>
                  <a:pt x="239" y="203"/>
                </a:cubicBezTo>
                <a:cubicBezTo>
                  <a:pt x="242" y="203"/>
                  <a:pt x="245" y="202"/>
                  <a:pt x="247" y="199"/>
                </a:cubicBezTo>
                <a:cubicBezTo>
                  <a:pt x="248" y="198"/>
                  <a:pt x="265" y="176"/>
                  <a:pt x="248" y="148"/>
                </a:cubicBezTo>
                <a:cubicBezTo>
                  <a:pt x="239" y="134"/>
                  <a:pt x="246" y="125"/>
                  <a:pt x="247" y="124"/>
                </a:cubicBezTo>
                <a:cubicBezTo>
                  <a:pt x="251" y="119"/>
                  <a:pt x="250" y="113"/>
                  <a:pt x="246" y="109"/>
                </a:cubicBezTo>
                <a:cubicBezTo>
                  <a:pt x="242" y="105"/>
                  <a:pt x="235" y="106"/>
                  <a:pt x="231" y="110"/>
                </a:cubicBezTo>
                <a:cubicBezTo>
                  <a:pt x="230" y="111"/>
                  <a:pt x="212" y="132"/>
                  <a:pt x="230" y="160"/>
                </a:cubicBezTo>
                <a:close/>
                <a:moveTo>
                  <a:pt x="155" y="160"/>
                </a:moveTo>
                <a:cubicBezTo>
                  <a:pt x="164" y="174"/>
                  <a:pt x="157" y="185"/>
                  <a:pt x="156" y="186"/>
                </a:cubicBezTo>
                <a:cubicBezTo>
                  <a:pt x="152" y="190"/>
                  <a:pt x="153" y="197"/>
                  <a:pt x="158" y="201"/>
                </a:cubicBezTo>
                <a:cubicBezTo>
                  <a:pt x="160" y="202"/>
                  <a:pt x="162" y="203"/>
                  <a:pt x="164" y="203"/>
                </a:cubicBezTo>
                <a:cubicBezTo>
                  <a:pt x="167" y="203"/>
                  <a:pt x="171" y="202"/>
                  <a:pt x="173" y="199"/>
                </a:cubicBezTo>
                <a:cubicBezTo>
                  <a:pt x="173" y="198"/>
                  <a:pt x="191" y="176"/>
                  <a:pt x="173" y="148"/>
                </a:cubicBezTo>
                <a:cubicBezTo>
                  <a:pt x="165" y="134"/>
                  <a:pt x="172" y="125"/>
                  <a:pt x="172" y="124"/>
                </a:cubicBezTo>
                <a:cubicBezTo>
                  <a:pt x="176" y="119"/>
                  <a:pt x="176" y="113"/>
                  <a:pt x="171" y="109"/>
                </a:cubicBezTo>
                <a:cubicBezTo>
                  <a:pt x="167" y="105"/>
                  <a:pt x="160" y="106"/>
                  <a:pt x="156" y="110"/>
                </a:cubicBezTo>
                <a:cubicBezTo>
                  <a:pt x="156" y="111"/>
                  <a:pt x="138" y="132"/>
                  <a:pt x="155" y="160"/>
                </a:cubicBezTo>
                <a:close/>
                <a:moveTo>
                  <a:pt x="416" y="279"/>
                </a:moveTo>
                <a:cubicBezTo>
                  <a:pt x="416" y="259"/>
                  <a:pt x="400" y="243"/>
                  <a:pt x="380" y="243"/>
                </a:cubicBezTo>
                <a:cubicBezTo>
                  <a:pt x="374" y="243"/>
                  <a:pt x="368" y="245"/>
                  <a:pt x="362" y="248"/>
                </a:cubicBezTo>
                <a:cubicBezTo>
                  <a:pt x="362" y="234"/>
                  <a:pt x="362" y="234"/>
                  <a:pt x="362" y="234"/>
                </a:cubicBezTo>
                <a:cubicBezTo>
                  <a:pt x="362" y="228"/>
                  <a:pt x="358" y="224"/>
                  <a:pt x="352" y="224"/>
                </a:cubicBezTo>
                <a:cubicBezTo>
                  <a:pt x="128" y="224"/>
                  <a:pt x="128" y="224"/>
                  <a:pt x="128" y="224"/>
                </a:cubicBezTo>
                <a:cubicBezTo>
                  <a:pt x="122" y="224"/>
                  <a:pt x="117" y="228"/>
                  <a:pt x="117" y="234"/>
                </a:cubicBezTo>
                <a:cubicBezTo>
                  <a:pt x="117" y="259"/>
                  <a:pt x="117" y="259"/>
                  <a:pt x="117" y="259"/>
                </a:cubicBezTo>
                <a:cubicBezTo>
                  <a:pt x="117" y="311"/>
                  <a:pt x="147" y="354"/>
                  <a:pt x="190"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ubicBezTo>
                  <a:pt x="394" y="378"/>
                  <a:pt x="390" y="373"/>
                  <a:pt x="384" y="373"/>
                </a:cubicBezTo>
                <a:cubicBezTo>
                  <a:pt x="290" y="373"/>
                  <a:pt x="290" y="373"/>
                  <a:pt x="290" y="373"/>
                </a:cubicBezTo>
                <a:cubicBezTo>
                  <a:pt x="320" y="360"/>
                  <a:pt x="343" y="335"/>
                  <a:pt x="355" y="303"/>
                </a:cubicBezTo>
                <a:cubicBezTo>
                  <a:pt x="361" y="310"/>
                  <a:pt x="370" y="314"/>
                  <a:pt x="380" y="314"/>
                </a:cubicBezTo>
                <a:cubicBezTo>
                  <a:pt x="400" y="314"/>
                  <a:pt x="416" y="298"/>
                  <a:pt x="416" y="2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 name="Freeform 534">
            <a:extLst>
              <a:ext uri="{FF2B5EF4-FFF2-40B4-BE49-F238E27FC236}">
                <a16:creationId xmlns:a16="http://schemas.microsoft.com/office/drawing/2014/main" id="{F2CDAD61-5A76-4BC3-8A75-E99378FA9361}"/>
              </a:ext>
            </a:extLst>
          </p:cNvPr>
          <p:cNvSpPr>
            <a:spLocks noChangeAspect="1" noEditPoints="1"/>
          </p:cNvSpPr>
          <p:nvPr/>
        </p:nvSpPr>
        <p:spPr bwMode="auto">
          <a:xfrm>
            <a:off x="7516770" y="2060447"/>
            <a:ext cx="457200" cy="457200"/>
          </a:xfrm>
          <a:custGeom>
            <a:avLst/>
            <a:gdLst>
              <a:gd name="T0" fmla="*/ 373 w 512"/>
              <a:gd name="T1" fmla="*/ 298 h 512"/>
              <a:gd name="T2" fmla="*/ 139 w 512"/>
              <a:gd name="T3" fmla="*/ 352 h 512"/>
              <a:gd name="T4" fmla="*/ 147 w 512"/>
              <a:gd name="T5" fmla="*/ 286 h 512"/>
              <a:gd name="T6" fmla="*/ 212 w 512"/>
              <a:gd name="T7" fmla="*/ 286 h 512"/>
              <a:gd name="T8" fmla="*/ 249 w 512"/>
              <a:gd name="T9" fmla="*/ 286 h 512"/>
              <a:gd name="T10" fmla="*/ 314 w 512"/>
              <a:gd name="T11" fmla="*/ 286 h 512"/>
              <a:gd name="T12" fmla="*/ 352 w 512"/>
              <a:gd name="T13" fmla="*/ 286 h 512"/>
              <a:gd name="T14" fmla="*/ 160 w 512"/>
              <a:gd name="T15" fmla="*/ 269 h 512"/>
              <a:gd name="T16" fmla="*/ 198 w 512"/>
              <a:gd name="T17" fmla="*/ 269 h 512"/>
              <a:gd name="T18" fmla="*/ 263 w 512"/>
              <a:gd name="T19" fmla="*/ 269 h 512"/>
              <a:gd name="T20" fmla="*/ 300 w 512"/>
              <a:gd name="T21" fmla="*/ 269 h 512"/>
              <a:gd name="T22" fmla="*/ 365 w 512"/>
              <a:gd name="T23" fmla="*/ 269 h 512"/>
              <a:gd name="T24" fmla="*/ 373 w 512"/>
              <a:gd name="T25" fmla="*/ 224 h 512"/>
              <a:gd name="T26" fmla="*/ 139 w 512"/>
              <a:gd name="T27" fmla="*/ 257 h 512"/>
              <a:gd name="T28" fmla="*/ 256 w 512"/>
              <a:gd name="T29" fmla="*/ 512 h 512"/>
              <a:gd name="T30" fmla="*/ 256 w 512"/>
              <a:gd name="T31" fmla="*/ 0 h 512"/>
              <a:gd name="T32" fmla="*/ 320 w 512"/>
              <a:gd name="T33" fmla="*/ 118 h 512"/>
              <a:gd name="T34" fmla="*/ 341 w 512"/>
              <a:gd name="T35" fmla="*/ 118 h 512"/>
              <a:gd name="T36" fmla="*/ 331 w 512"/>
              <a:gd name="T37" fmla="*/ 96 h 512"/>
              <a:gd name="T38" fmla="*/ 320 w 512"/>
              <a:gd name="T39" fmla="*/ 118 h 512"/>
              <a:gd name="T40" fmla="*/ 256 w 512"/>
              <a:gd name="T41" fmla="*/ 128 h 512"/>
              <a:gd name="T42" fmla="*/ 267 w 512"/>
              <a:gd name="T43" fmla="*/ 107 h 512"/>
              <a:gd name="T44" fmla="*/ 245 w 512"/>
              <a:gd name="T45" fmla="*/ 107 h 512"/>
              <a:gd name="T46" fmla="*/ 171 w 512"/>
              <a:gd name="T47" fmla="*/ 118 h 512"/>
              <a:gd name="T48" fmla="*/ 192 w 512"/>
              <a:gd name="T49" fmla="*/ 118 h 512"/>
              <a:gd name="T50" fmla="*/ 181 w 512"/>
              <a:gd name="T51" fmla="*/ 96 h 512"/>
              <a:gd name="T52" fmla="*/ 171 w 512"/>
              <a:gd name="T53" fmla="*/ 118 h 512"/>
              <a:gd name="T54" fmla="*/ 405 w 512"/>
              <a:gd name="T55" fmla="*/ 352 h 512"/>
              <a:gd name="T56" fmla="*/ 395 w 512"/>
              <a:gd name="T57" fmla="*/ 214 h 512"/>
              <a:gd name="T58" fmla="*/ 341 w 512"/>
              <a:gd name="T59" fmla="*/ 203 h 512"/>
              <a:gd name="T60" fmla="*/ 331 w 512"/>
              <a:gd name="T61" fmla="*/ 150 h 512"/>
              <a:gd name="T62" fmla="*/ 320 w 512"/>
              <a:gd name="T63" fmla="*/ 203 h 512"/>
              <a:gd name="T64" fmla="*/ 267 w 512"/>
              <a:gd name="T65" fmla="*/ 160 h 512"/>
              <a:gd name="T66" fmla="*/ 245 w 512"/>
              <a:gd name="T67" fmla="*/ 160 h 512"/>
              <a:gd name="T68" fmla="*/ 192 w 512"/>
              <a:gd name="T69" fmla="*/ 203 h 512"/>
              <a:gd name="T70" fmla="*/ 181 w 512"/>
              <a:gd name="T71" fmla="*/ 150 h 512"/>
              <a:gd name="T72" fmla="*/ 171 w 512"/>
              <a:gd name="T73" fmla="*/ 203 h 512"/>
              <a:gd name="T74" fmla="*/ 117 w 512"/>
              <a:gd name="T75" fmla="*/ 214 h 512"/>
              <a:gd name="T76" fmla="*/ 107 w 512"/>
              <a:gd name="T77" fmla="*/ 352 h 512"/>
              <a:gd name="T78" fmla="*/ 107 w 512"/>
              <a:gd name="T79" fmla="*/ 374 h 512"/>
              <a:gd name="T80" fmla="*/ 384 w 512"/>
              <a:gd name="T81" fmla="*/ 374 h 512"/>
              <a:gd name="T82" fmla="*/ 416 w 512"/>
              <a:gd name="T8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52" y="286"/>
                </a:moveTo>
                <a:cubicBezTo>
                  <a:pt x="357" y="290"/>
                  <a:pt x="363" y="296"/>
                  <a:pt x="373" y="298"/>
                </a:cubicBezTo>
                <a:cubicBezTo>
                  <a:pt x="373" y="352"/>
                  <a:pt x="373" y="352"/>
                  <a:pt x="373" y="352"/>
                </a:cubicBezTo>
                <a:cubicBezTo>
                  <a:pt x="139" y="352"/>
                  <a:pt x="139" y="352"/>
                  <a:pt x="139" y="352"/>
                </a:cubicBezTo>
                <a:cubicBezTo>
                  <a:pt x="139" y="280"/>
                  <a:pt x="139" y="280"/>
                  <a:pt x="139" y="280"/>
                </a:cubicBezTo>
                <a:cubicBezTo>
                  <a:pt x="141" y="281"/>
                  <a:pt x="144" y="283"/>
                  <a:pt x="147" y="286"/>
                </a:cubicBezTo>
                <a:cubicBezTo>
                  <a:pt x="154" y="292"/>
                  <a:pt x="162" y="299"/>
                  <a:pt x="179" y="299"/>
                </a:cubicBezTo>
                <a:cubicBezTo>
                  <a:pt x="196" y="299"/>
                  <a:pt x="205" y="292"/>
                  <a:pt x="212" y="286"/>
                </a:cubicBezTo>
                <a:cubicBezTo>
                  <a:pt x="217" y="281"/>
                  <a:pt x="221" y="278"/>
                  <a:pt x="230" y="278"/>
                </a:cubicBezTo>
                <a:cubicBezTo>
                  <a:pt x="239" y="278"/>
                  <a:pt x="243" y="281"/>
                  <a:pt x="249" y="286"/>
                </a:cubicBezTo>
                <a:cubicBezTo>
                  <a:pt x="256" y="292"/>
                  <a:pt x="265" y="299"/>
                  <a:pt x="282" y="299"/>
                </a:cubicBezTo>
                <a:cubicBezTo>
                  <a:pt x="298" y="299"/>
                  <a:pt x="307" y="292"/>
                  <a:pt x="314" y="286"/>
                </a:cubicBezTo>
                <a:cubicBezTo>
                  <a:pt x="320" y="281"/>
                  <a:pt x="324" y="278"/>
                  <a:pt x="333" y="278"/>
                </a:cubicBezTo>
                <a:cubicBezTo>
                  <a:pt x="342" y="278"/>
                  <a:pt x="346" y="281"/>
                  <a:pt x="352" y="286"/>
                </a:cubicBezTo>
                <a:close/>
                <a:moveTo>
                  <a:pt x="139" y="257"/>
                </a:moveTo>
                <a:cubicBezTo>
                  <a:pt x="149" y="260"/>
                  <a:pt x="155" y="265"/>
                  <a:pt x="160" y="269"/>
                </a:cubicBezTo>
                <a:cubicBezTo>
                  <a:pt x="166" y="274"/>
                  <a:pt x="170" y="278"/>
                  <a:pt x="179" y="278"/>
                </a:cubicBezTo>
                <a:cubicBezTo>
                  <a:pt x="188" y="278"/>
                  <a:pt x="192" y="274"/>
                  <a:pt x="198" y="269"/>
                </a:cubicBezTo>
                <a:cubicBezTo>
                  <a:pt x="205" y="264"/>
                  <a:pt x="214" y="256"/>
                  <a:pt x="230" y="256"/>
                </a:cubicBezTo>
                <a:cubicBezTo>
                  <a:pt x="247" y="256"/>
                  <a:pt x="256" y="264"/>
                  <a:pt x="263" y="269"/>
                </a:cubicBezTo>
                <a:cubicBezTo>
                  <a:pt x="269" y="274"/>
                  <a:pt x="273" y="278"/>
                  <a:pt x="282" y="278"/>
                </a:cubicBezTo>
                <a:cubicBezTo>
                  <a:pt x="290" y="278"/>
                  <a:pt x="294" y="274"/>
                  <a:pt x="300" y="269"/>
                </a:cubicBezTo>
                <a:cubicBezTo>
                  <a:pt x="307" y="264"/>
                  <a:pt x="316" y="256"/>
                  <a:pt x="333" y="256"/>
                </a:cubicBezTo>
                <a:cubicBezTo>
                  <a:pt x="349" y="256"/>
                  <a:pt x="358" y="264"/>
                  <a:pt x="365" y="269"/>
                </a:cubicBezTo>
                <a:cubicBezTo>
                  <a:pt x="368" y="272"/>
                  <a:pt x="371" y="274"/>
                  <a:pt x="373" y="275"/>
                </a:cubicBezTo>
                <a:cubicBezTo>
                  <a:pt x="373" y="224"/>
                  <a:pt x="373" y="224"/>
                  <a:pt x="373" y="224"/>
                </a:cubicBezTo>
                <a:cubicBezTo>
                  <a:pt x="139" y="224"/>
                  <a:pt x="139" y="224"/>
                  <a:pt x="139" y="224"/>
                </a:cubicBezTo>
                <a:lnTo>
                  <a:pt x="139" y="25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20" y="118"/>
                </a:moveTo>
                <a:cubicBezTo>
                  <a:pt x="320" y="124"/>
                  <a:pt x="325" y="128"/>
                  <a:pt x="331" y="128"/>
                </a:cubicBezTo>
                <a:cubicBezTo>
                  <a:pt x="337" y="128"/>
                  <a:pt x="341" y="124"/>
                  <a:pt x="341" y="118"/>
                </a:cubicBezTo>
                <a:cubicBezTo>
                  <a:pt x="341" y="107"/>
                  <a:pt x="341" y="107"/>
                  <a:pt x="341" y="107"/>
                </a:cubicBezTo>
                <a:cubicBezTo>
                  <a:pt x="341" y="101"/>
                  <a:pt x="337" y="96"/>
                  <a:pt x="331" y="96"/>
                </a:cubicBezTo>
                <a:cubicBezTo>
                  <a:pt x="325" y="96"/>
                  <a:pt x="320" y="101"/>
                  <a:pt x="320" y="107"/>
                </a:cubicBezTo>
                <a:lnTo>
                  <a:pt x="320" y="118"/>
                </a:lnTo>
                <a:close/>
                <a:moveTo>
                  <a:pt x="245" y="118"/>
                </a:moveTo>
                <a:cubicBezTo>
                  <a:pt x="245" y="124"/>
                  <a:pt x="250" y="128"/>
                  <a:pt x="256" y="128"/>
                </a:cubicBezTo>
                <a:cubicBezTo>
                  <a:pt x="262" y="128"/>
                  <a:pt x="267" y="124"/>
                  <a:pt x="267" y="118"/>
                </a:cubicBezTo>
                <a:cubicBezTo>
                  <a:pt x="267" y="107"/>
                  <a:pt x="267" y="107"/>
                  <a:pt x="267" y="107"/>
                </a:cubicBezTo>
                <a:cubicBezTo>
                  <a:pt x="267" y="101"/>
                  <a:pt x="262" y="96"/>
                  <a:pt x="256" y="96"/>
                </a:cubicBezTo>
                <a:cubicBezTo>
                  <a:pt x="250" y="96"/>
                  <a:pt x="245" y="101"/>
                  <a:pt x="245" y="107"/>
                </a:cubicBezTo>
                <a:lnTo>
                  <a:pt x="245" y="118"/>
                </a:lnTo>
                <a:close/>
                <a:moveTo>
                  <a:pt x="171" y="118"/>
                </a:moveTo>
                <a:cubicBezTo>
                  <a:pt x="171" y="124"/>
                  <a:pt x="175" y="128"/>
                  <a:pt x="181" y="128"/>
                </a:cubicBezTo>
                <a:cubicBezTo>
                  <a:pt x="187" y="128"/>
                  <a:pt x="192" y="124"/>
                  <a:pt x="192" y="118"/>
                </a:cubicBezTo>
                <a:cubicBezTo>
                  <a:pt x="192" y="107"/>
                  <a:pt x="192" y="107"/>
                  <a:pt x="192" y="107"/>
                </a:cubicBezTo>
                <a:cubicBezTo>
                  <a:pt x="192" y="101"/>
                  <a:pt x="187" y="96"/>
                  <a:pt x="181" y="96"/>
                </a:cubicBezTo>
                <a:cubicBezTo>
                  <a:pt x="175" y="96"/>
                  <a:pt x="171" y="101"/>
                  <a:pt x="171" y="107"/>
                </a:cubicBezTo>
                <a:lnTo>
                  <a:pt x="171" y="118"/>
                </a:lnTo>
                <a:close/>
                <a:moveTo>
                  <a:pt x="416" y="363"/>
                </a:moveTo>
                <a:cubicBezTo>
                  <a:pt x="416" y="357"/>
                  <a:pt x="411" y="352"/>
                  <a:pt x="405" y="352"/>
                </a:cubicBezTo>
                <a:cubicBezTo>
                  <a:pt x="395" y="352"/>
                  <a:pt x="395" y="352"/>
                  <a:pt x="395" y="352"/>
                </a:cubicBezTo>
                <a:cubicBezTo>
                  <a:pt x="395" y="214"/>
                  <a:pt x="395" y="214"/>
                  <a:pt x="395" y="214"/>
                </a:cubicBezTo>
                <a:cubicBezTo>
                  <a:pt x="395" y="208"/>
                  <a:pt x="390" y="203"/>
                  <a:pt x="384" y="203"/>
                </a:cubicBezTo>
                <a:cubicBezTo>
                  <a:pt x="341" y="203"/>
                  <a:pt x="341" y="203"/>
                  <a:pt x="341" y="203"/>
                </a:cubicBezTo>
                <a:cubicBezTo>
                  <a:pt x="341" y="160"/>
                  <a:pt x="341" y="160"/>
                  <a:pt x="341" y="160"/>
                </a:cubicBezTo>
                <a:cubicBezTo>
                  <a:pt x="341" y="154"/>
                  <a:pt x="337" y="150"/>
                  <a:pt x="331" y="150"/>
                </a:cubicBezTo>
                <a:cubicBezTo>
                  <a:pt x="325" y="150"/>
                  <a:pt x="320" y="154"/>
                  <a:pt x="320" y="160"/>
                </a:cubicBezTo>
                <a:cubicBezTo>
                  <a:pt x="320" y="203"/>
                  <a:pt x="320" y="203"/>
                  <a:pt x="320" y="203"/>
                </a:cubicBezTo>
                <a:cubicBezTo>
                  <a:pt x="267" y="203"/>
                  <a:pt x="267" y="203"/>
                  <a:pt x="267" y="203"/>
                </a:cubicBezTo>
                <a:cubicBezTo>
                  <a:pt x="267" y="160"/>
                  <a:pt x="267" y="160"/>
                  <a:pt x="267" y="160"/>
                </a:cubicBezTo>
                <a:cubicBezTo>
                  <a:pt x="267" y="154"/>
                  <a:pt x="262" y="150"/>
                  <a:pt x="256" y="150"/>
                </a:cubicBezTo>
                <a:cubicBezTo>
                  <a:pt x="250" y="150"/>
                  <a:pt x="245" y="154"/>
                  <a:pt x="245" y="160"/>
                </a:cubicBezTo>
                <a:cubicBezTo>
                  <a:pt x="245" y="203"/>
                  <a:pt x="245" y="203"/>
                  <a:pt x="245" y="203"/>
                </a:cubicBezTo>
                <a:cubicBezTo>
                  <a:pt x="192" y="203"/>
                  <a:pt x="192" y="203"/>
                  <a:pt x="192" y="203"/>
                </a:cubicBezTo>
                <a:cubicBezTo>
                  <a:pt x="192" y="160"/>
                  <a:pt x="192" y="160"/>
                  <a:pt x="192" y="160"/>
                </a:cubicBezTo>
                <a:cubicBezTo>
                  <a:pt x="192" y="154"/>
                  <a:pt x="187" y="150"/>
                  <a:pt x="181" y="150"/>
                </a:cubicBezTo>
                <a:cubicBezTo>
                  <a:pt x="175" y="150"/>
                  <a:pt x="171" y="154"/>
                  <a:pt x="171" y="160"/>
                </a:cubicBezTo>
                <a:cubicBezTo>
                  <a:pt x="171" y="203"/>
                  <a:pt x="171" y="203"/>
                  <a:pt x="171" y="203"/>
                </a:cubicBezTo>
                <a:cubicBezTo>
                  <a:pt x="128" y="203"/>
                  <a:pt x="128" y="203"/>
                  <a:pt x="128" y="203"/>
                </a:cubicBezTo>
                <a:cubicBezTo>
                  <a:pt x="122" y="203"/>
                  <a:pt x="117" y="208"/>
                  <a:pt x="117" y="214"/>
                </a:cubicBezTo>
                <a:cubicBezTo>
                  <a:pt x="117" y="352"/>
                  <a:pt x="117" y="352"/>
                  <a:pt x="117" y="352"/>
                </a:cubicBezTo>
                <a:cubicBezTo>
                  <a:pt x="107" y="352"/>
                  <a:pt x="107" y="352"/>
                  <a:pt x="107" y="352"/>
                </a:cubicBezTo>
                <a:cubicBezTo>
                  <a:pt x="101" y="352"/>
                  <a:pt x="96" y="357"/>
                  <a:pt x="96" y="363"/>
                </a:cubicBezTo>
                <a:cubicBezTo>
                  <a:pt x="96" y="369"/>
                  <a:pt x="101" y="374"/>
                  <a:pt x="107" y="374"/>
                </a:cubicBezTo>
                <a:cubicBezTo>
                  <a:pt x="128" y="374"/>
                  <a:pt x="128" y="374"/>
                  <a:pt x="128" y="374"/>
                </a:cubicBezTo>
                <a:cubicBezTo>
                  <a:pt x="384" y="374"/>
                  <a:pt x="384" y="374"/>
                  <a:pt x="384" y="374"/>
                </a:cubicBezTo>
                <a:cubicBezTo>
                  <a:pt x="405" y="374"/>
                  <a:pt x="405" y="374"/>
                  <a:pt x="405" y="374"/>
                </a:cubicBezTo>
                <a:cubicBezTo>
                  <a:pt x="411" y="374"/>
                  <a:pt x="416" y="369"/>
                  <a:pt x="416" y="36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 name="Freeform 444">
            <a:extLst>
              <a:ext uri="{FF2B5EF4-FFF2-40B4-BE49-F238E27FC236}">
                <a16:creationId xmlns:a16="http://schemas.microsoft.com/office/drawing/2014/main" id="{C5B3C853-DF10-4AAA-841D-626F5E443315}"/>
              </a:ext>
            </a:extLst>
          </p:cNvPr>
          <p:cNvSpPr>
            <a:spLocks noChangeAspect="1" noEditPoints="1"/>
          </p:cNvSpPr>
          <p:nvPr/>
        </p:nvSpPr>
        <p:spPr bwMode="auto">
          <a:xfrm>
            <a:off x="4177853" y="4171555"/>
            <a:ext cx="457200" cy="457200"/>
          </a:xfrm>
          <a:custGeom>
            <a:avLst/>
            <a:gdLst>
              <a:gd name="T0" fmla="*/ 281 w 512"/>
              <a:gd name="T1" fmla="*/ 209 h 512"/>
              <a:gd name="T2" fmla="*/ 266 w 512"/>
              <a:gd name="T3" fmla="*/ 256 h 512"/>
              <a:gd name="T4" fmla="*/ 271 w 512"/>
              <a:gd name="T5" fmla="*/ 282 h 512"/>
              <a:gd name="T6" fmla="*/ 271 w 512"/>
              <a:gd name="T7" fmla="*/ 283 h 512"/>
              <a:gd name="T8" fmla="*/ 274 w 512"/>
              <a:gd name="T9" fmla="*/ 291 h 512"/>
              <a:gd name="T10" fmla="*/ 281 w 512"/>
              <a:gd name="T11" fmla="*/ 304 h 512"/>
              <a:gd name="T12" fmla="*/ 290 w 512"/>
              <a:gd name="T13" fmla="*/ 320 h 512"/>
              <a:gd name="T14" fmla="*/ 222 w 512"/>
              <a:gd name="T15" fmla="*/ 320 h 512"/>
              <a:gd name="T16" fmla="*/ 230 w 512"/>
              <a:gd name="T17" fmla="*/ 304 h 512"/>
              <a:gd name="T18" fmla="*/ 237 w 512"/>
              <a:gd name="T19" fmla="*/ 291 h 512"/>
              <a:gd name="T20" fmla="*/ 240 w 512"/>
              <a:gd name="T21" fmla="*/ 283 h 512"/>
              <a:gd name="T22" fmla="*/ 241 w 512"/>
              <a:gd name="T23" fmla="*/ 282 h 512"/>
              <a:gd name="T24" fmla="*/ 245 w 512"/>
              <a:gd name="T25" fmla="*/ 256 h 512"/>
              <a:gd name="T26" fmla="*/ 231 w 512"/>
              <a:gd name="T27" fmla="*/ 209 h 512"/>
              <a:gd name="T28" fmla="*/ 202 w 512"/>
              <a:gd name="T29" fmla="*/ 149 h 512"/>
              <a:gd name="T30" fmla="*/ 202 w 512"/>
              <a:gd name="T31" fmla="*/ 117 h 512"/>
              <a:gd name="T32" fmla="*/ 309 w 512"/>
              <a:gd name="T33" fmla="*/ 117 h 512"/>
              <a:gd name="T34" fmla="*/ 309 w 512"/>
              <a:gd name="T35" fmla="*/ 149 h 512"/>
              <a:gd name="T36" fmla="*/ 281 w 512"/>
              <a:gd name="T37" fmla="*/ 209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88 w 512"/>
              <a:gd name="T49" fmla="*/ 256 h 512"/>
              <a:gd name="T50" fmla="*/ 299 w 512"/>
              <a:gd name="T51" fmla="*/ 220 h 512"/>
              <a:gd name="T52" fmla="*/ 330 w 512"/>
              <a:gd name="T53" fmla="*/ 149 h 512"/>
              <a:gd name="T54" fmla="*/ 330 w 512"/>
              <a:gd name="T55" fmla="*/ 117 h 512"/>
              <a:gd name="T56" fmla="*/ 341 w 512"/>
              <a:gd name="T57" fmla="*/ 106 h 512"/>
              <a:gd name="T58" fmla="*/ 330 w 512"/>
              <a:gd name="T59" fmla="*/ 96 h 512"/>
              <a:gd name="T60" fmla="*/ 181 w 512"/>
              <a:gd name="T61" fmla="*/ 96 h 512"/>
              <a:gd name="T62" fmla="*/ 170 w 512"/>
              <a:gd name="T63" fmla="*/ 106 h 512"/>
              <a:gd name="T64" fmla="*/ 181 w 512"/>
              <a:gd name="T65" fmla="*/ 117 h 512"/>
              <a:gd name="T66" fmla="*/ 181 w 512"/>
              <a:gd name="T67" fmla="*/ 149 h 512"/>
              <a:gd name="T68" fmla="*/ 213 w 512"/>
              <a:gd name="T69" fmla="*/ 220 h 512"/>
              <a:gd name="T70" fmla="*/ 224 w 512"/>
              <a:gd name="T71" fmla="*/ 256 h 512"/>
              <a:gd name="T72" fmla="*/ 212 w 512"/>
              <a:gd name="T73" fmla="*/ 293 h 512"/>
              <a:gd name="T74" fmla="*/ 181 w 512"/>
              <a:gd name="T75" fmla="*/ 362 h 512"/>
              <a:gd name="T76" fmla="*/ 181 w 512"/>
              <a:gd name="T77" fmla="*/ 394 h 512"/>
              <a:gd name="T78" fmla="*/ 170 w 512"/>
              <a:gd name="T79" fmla="*/ 405 h 512"/>
              <a:gd name="T80" fmla="*/ 181 w 512"/>
              <a:gd name="T81" fmla="*/ 416 h 512"/>
              <a:gd name="T82" fmla="*/ 330 w 512"/>
              <a:gd name="T83" fmla="*/ 416 h 512"/>
              <a:gd name="T84" fmla="*/ 341 w 512"/>
              <a:gd name="T85" fmla="*/ 405 h 512"/>
              <a:gd name="T86" fmla="*/ 330 w 512"/>
              <a:gd name="T87" fmla="*/ 394 h 512"/>
              <a:gd name="T88" fmla="*/ 330 w 512"/>
              <a:gd name="T89" fmla="*/ 362 h 512"/>
              <a:gd name="T90" fmla="*/ 299 w 512"/>
              <a:gd name="T91" fmla="*/ 293 h 512"/>
              <a:gd name="T92" fmla="*/ 288 w 512"/>
              <a:gd name="T93" fmla="*/ 256 h 512"/>
              <a:gd name="T94" fmla="*/ 202 w 512"/>
              <a:gd name="T95" fmla="*/ 363 h 512"/>
              <a:gd name="T96" fmla="*/ 202 w 512"/>
              <a:gd name="T97" fmla="*/ 394 h 512"/>
              <a:gd name="T98" fmla="*/ 309 w 512"/>
              <a:gd name="T99" fmla="*/ 394 h 512"/>
              <a:gd name="T100" fmla="*/ 309 w 512"/>
              <a:gd name="T101" fmla="*/ 363 h 512"/>
              <a:gd name="T102" fmla="*/ 300 w 512"/>
              <a:gd name="T103" fmla="*/ 341 h 512"/>
              <a:gd name="T104" fmla="*/ 211 w 512"/>
              <a:gd name="T105" fmla="*/ 341 h 512"/>
              <a:gd name="T106" fmla="*/ 202 w 512"/>
              <a:gd name="T107"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1" y="209"/>
                </a:moveTo>
                <a:cubicBezTo>
                  <a:pt x="271" y="222"/>
                  <a:pt x="266" y="238"/>
                  <a:pt x="266" y="256"/>
                </a:cubicBezTo>
                <a:cubicBezTo>
                  <a:pt x="266" y="265"/>
                  <a:pt x="268" y="273"/>
                  <a:pt x="271" y="282"/>
                </a:cubicBezTo>
                <a:cubicBezTo>
                  <a:pt x="271" y="282"/>
                  <a:pt x="271" y="283"/>
                  <a:pt x="271" y="283"/>
                </a:cubicBezTo>
                <a:cubicBezTo>
                  <a:pt x="272" y="286"/>
                  <a:pt x="273" y="289"/>
                  <a:pt x="274" y="291"/>
                </a:cubicBezTo>
                <a:cubicBezTo>
                  <a:pt x="276" y="296"/>
                  <a:pt x="278" y="300"/>
                  <a:pt x="281" y="304"/>
                </a:cubicBezTo>
                <a:cubicBezTo>
                  <a:pt x="284" y="309"/>
                  <a:pt x="287" y="314"/>
                  <a:pt x="290" y="320"/>
                </a:cubicBezTo>
                <a:cubicBezTo>
                  <a:pt x="222" y="320"/>
                  <a:pt x="222" y="320"/>
                  <a:pt x="222" y="320"/>
                </a:cubicBezTo>
                <a:cubicBezTo>
                  <a:pt x="225" y="314"/>
                  <a:pt x="227" y="309"/>
                  <a:pt x="230" y="304"/>
                </a:cubicBezTo>
                <a:cubicBezTo>
                  <a:pt x="233" y="300"/>
                  <a:pt x="235" y="296"/>
                  <a:pt x="237" y="291"/>
                </a:cubicBezTo>
                <a:cubicBezTo>
                  <a:pt x="238" y="289"/>
                  <a:pt x="239" y="286"/>
                  <a:pt x="240" y="283"/>
                </a:cubicBezTo>
                <a:cubicBezTo>
                  <a:pt x="240" y="283"/>
                  <a:pt x="241" y="282"/>
                  <a:pt x="241" y="282"/>
                </a:cubicBezTo>
                <a:cubicBezTo>
                  <a:pt x="244" y="273"/>
                  <a:pt x="245" y="265"/>
                  <a:pt x="245" y="256"/>
                </a:cubicBezTo>
                <a:cubicBezTo>
                  <a:pt x="245" y="238"/>
                  <a:pt x="240" y="222"/>
                  <a:pt x="231" y="209"/>
                </a:cubicBezTo>
                <a:cubicBezTo>
                  <a:pt x="218" y="185"/>
                  <a:pt x="203" y="155"/>
                  <a:pt x="202" y="149"/>
                </a:cubicBezTo>
                <a:cubicBezTo>
                  <a:pt x="202" y="117"/>
                  <a:pt x="202" y="117"/>
                  <a:pt x="202" y="117"/>
                </a:cubicBezTo>
                <a:cubicBezTo>
                  <a:pt x="309" y="117"/>
                  <a:pt x="309" y="117"/>
                  <a:pt x="309" y="117"/>
                </a:cubicBezTo>
                <a:cubicBezTo>
                  <a:pt x="309" y="149"/>
                  <a:pt x="309" y="149"/>
                  <a:pt x="309" y="149"/>
                </a:cubicBezTo>
                <a:cubicBezTo>
                  <a:pt x="309" y="155"/>
                  <a:pt x="294" y="185"/>
                  <a:pt x="281" y="2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256"/>
                </a:moveTo>
                <a:cubicBezTo>
                  <a:pt x="288" y="243"/>
                  <a:pt x="292" y="230"/>
                  <a:pt x="299" y="220"/>
                </a:cubicBezTo>
                <a:cubicBezTo>
                  <a:pt x="313" y="193"/>
                  <a:pt x="330" y="160"/>
                  <a:pt x="330" y="149"/>
                </a:cubicBezTo>
                <a:cubicBezTo>
                  <a:pt x="330" y="117"/>
                  <a:pt x="330" y="117"/>
                  <a:pt x="330" y="117"/>
                </a:cubicBezTo>
                <a:cubicBezTo>
                  <a:pt x="336" y="117"/>
                  <a:pt x="341" y="112"/>
                  <a:pt x="341" y="106"/>
                </a:cubicBezTo>
                <a:cubicBezTo>
                  <a:pt x="341" y="100"/>
                  <a:pt x="336" y="96"/>
                  <a:pt x="330" y="96"/>
                </a:cubicBezTo>
                <a:cubicBezTo>
                  <a:pt x="181" y="96"/>
                  <a:pt x="181" y="96"/>
                  <a:pt x="181" y="96"/>
                </a:cubicBezTo>
                <a:cubicBezTo>
                  <a:pt x="175" y="96"/>
                  <a:pt x="170" y="100"/>
                  <a:pt x="170" y="106"/>
                </a:cubicBezTo>
                <a:cubicBezTo>
                  <a:pt x="170" y="112"/>
                  <a:pt x="175" y="117"/>
                  <a:pt x="181" y="117"/>
                </a:cubicBezTo>
                <a:cubicBezTo>
                  <a:pt x="181" y="149"/>
                  <a:pt x="181" y="149"/>
                  <a:pt x="181" y="149"/>
                </a:cubicBezTo>
                <a:cubicBezTo>
                  <a:pt x="181" y="160"/>
                  <a:pt x="198" y="193"/>
                  <a:pt x="213" y="220"/>
                </a:cubicBezTo>
                <a:cubicBezTo>
                  <a:pt x="220" y="230"/>
                  <a:pt x="224" y="243"/>
                  <a:pt x="224" y="256"/>
                </a:cubicBezTo>
                <a:cubicBezTo>
                  <a:pt x="224" y="256"/>
                  <a:pt x="220" y="281"/>
                  <a:pt x="212" y="293"/>
                </a:cubicBezTo>
                <a:cubicBezTo>
                  <a:pt x="198" y="319"/>
                  <a:pt x="181" y="352"/>
                  <a:pt x="181" y="362"/>
                </a:cubicBezTo>
                <a:cubicBezTo>
                  <a:pt x="181" y="394"/>
                  <a:pt x="181" y="394"/>
                  <a:pt x="181" y="394"/>
                </a:cubicBezTo>
                <a:cubicBezTo>
                  <a:pt x="175" y="394"/>
                  <a:pt x="170" y="399"/>
                  <a:pt x="170" y="405"/>
                </a:cubicBezTo>
                <a:cubicBezTo>
                  <a:pt x="170" y="411"/>
                  <a:pt x="175" y="416"/>
                  <a:pt x="181" y="416"/>
                </a:cubicBezTo>
                <a:cubicBezTo>
                  <a:pt x="330" y="416"/>
                  <a:pt x="330" y="416"/>
                  <a:pt x="330" y="416"/>
                </a:cubicBezTo>
                <a:cubicBezTo>
                  <a:pt x="336" y="416"/>
                  <a:pt x="341" y="411"/>
                  <a:pt x="341" y="405"/>
                </a:cubicBezTo>
                <a:cubicBezTo>
                  <a:pt x="341" y="399"/>
                  <a:pt x="336" y="394"/>
                  <a:pt x="330" y="394"/>
                </a:cubicBezTo>
                <a:cubicBezTo>
                  <a:pt x="330" y="362"/>
                  <a:pt x="330" y="362"/>
                  <a:pt x="330" y="362"/>
                </a:cubicBezTo>
                <a:cubicBezTo>
                  <a:pt x="330" y="352"/>
                  <a:pt x="313" y="319"/>
                  <a:pt x="299" y="293"/>
                </a:cubicBezTo>
                <a:cubicBezTo>
                  <a:pt x="292" y="281"/>
                  <a:pt x="288" y="256"/>
                  <a:pt x="288" y="256"/>
                </a:cubicBezTo>
                <a:close/>
                <a:moveTo>
                  <a:pt x="202" y="363"/>
                </a:moveTo>
                <a:cubicBezTo>
                  <a:pt x="202" y="394"/>
                  <a:pt x="202" y="394"/>
                  <a:pt x="202" y="394"/>
                </a:cubicBezTo>
                <a:cubicBezTo>
                  <a:pt x="309" y="394"/>
                  <a:pt x="309" y="394"/>
                  <a:pt x="309" y="394"/>
                </a:cubicBezTo>
                <a:cubicBezTo>
                  <a:pt x="309" y="363"/>
                  <a:pt x="309" y="363"/>
                  <a:pt x="309" y="363"/>
                </a:cubicBezTo>
                <a:cubicBezTo>
                  <a:pt x="309" y="360"/>
                  <a:pt x="305" y="351"/>
                  <a:pt x="300" y="341"/>
                </a:cubicBezTo>
                <a:cubicBezTo>
                  <a:pt x="211" y="341"/>
                  <a:pt x="211" y="341"/>
                  <a:pt x="211" y="341"/>
                </a:cubicBezTo>
                <a:cubicBezTo>
                  <a:pt x="206" y="351"/>
                  <a:pt x="203" y="360"/>
                  <a:pt x="202" y="36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 name="Freeform 254">
            <a:extLst>
              <a:ext uri="{FF2B5EF4-FFF2-40B4-BE49-F238E27FC236}">
                <a16:creationId xmlns:a16="http://schemas.microsoft.com/office/drawing/2014/main" id="{4F350A28-263E-4341-B10A-3FA66A40B16F}"/>
              </a:ext>
            </a:extLst>
          </p:cNvPr>
          <p:cNvSpPr>
            <a:spLocks noChangeAspect="1" noEditPoints="1"/>
          </p:cNvSpPr>
          <p:nvPr/>
        </p:nvSpPr>
        <p:spPr bwMode="auto">
          <a:xfrm>
            <a:off x="7516098" y="4171555"/>
            <a:ext cx="458544" cy="4572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custDataLst>
      <p:tags r:id="rId1"/>
    </p:custDataLst>
    <p:extLst>
      <p:ext uri="{BB962C8B-B14F-4D97-AF65-F5344CB8AC3E}">
        <p14:creationId xmlns:p14="http://schemas.microsoft.com/office/powerpoint/2010/main" val="725174812"/>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22"/>
          <p:cNvSpPr txBox="1"/>
          <p:nvPr/>
        </p:nvSpPr>
        <p:spPr bwMode="auto">
          <a:xfrm>
            <a:off x="511936" y="2498522"/>
            <a:ext cx="629403" cy="246221"/>
          </a:xfrm>
          <a:prstGeom prst="rect">
            <a:avLst/>
          </a:prstGeom>
          <a:noFill/>
        </p:spPr>
        <p:txBody>
          <a:bodyPr wrap="none" lIns="0" tIns="0" rIns="0" bIns="0">
            <a:spAutoFit/>
          </a:bodyPr>
          <a:lstStyle/>
          <a:p>
            <a:pPr defTabSz="1828434">
              <a:defRPr/>
            </a:pPr>
            <a:r>
              <a:rPr lang="id-ID" sz="1600" b="1" dirty="0">
                <a:solidFill>
                  <a:srgbClr val="000000"/>
                </a:solidFill>
                <a:ea typeface="Lato" pitchFamily="34" charset="0"/>
                <a:cs typeface="Lato" pitchFamily="34" charset="0"/>
              </a:rPr>
              <a:t>Change</a:t>
            </a:r>
          </a:p>
        </p:txBody>
      </p:sp>
      <p:sp>
        <p:nvSpPr>
          <p:cNvPr id="17" name="TextBox 123"/>
          <p:cNvSpPr txBox="1"/>
          <p:nvPr/>
        </p:nvSpPr>
        <p:spPr>
          <a:xfrm>
            <a:off x="511936" y="2835845"/>
            <a:ext cx="2669791" cy="800219"/>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Please replace with text, click add relevant headline, modify the text content, also can copy your content to this directly.</a:t>
            </a:r>
          </a:p>
        </p:txBody>
      </p:sp>
      <p:sp>
        <p:nvSpPr>
          <p:cNvPr id="24" name="TextBox 129"/>
          <p:cNvSpPr txBox="1"/>
          <p:nvPr/>
        </p:nvSpPr>
        <p:spPr bwMode="auto">
          <a:xfrm>
            <a:off x="511936" y="4711299"/>
            <a:ext cx="629403" cy="246221"/>
          </a:xfrm>
          <a:prstGeom prst="rect">
            <a:avLst/>
          </a:prstGeom>
          <a:noFill/>
        </p:spPr>
        <p:txBody>
          <a:bodyPr wrap="none" lIns="0" tIns="0" rIns="0" bIns="0">
            <a:spAutoFit/>
          </a:bodyPr>
          <a:lstStyle/>
          <a:p>
            <a:pPr defTabSz="1828434">
              <a:defRPr/>
            </a:pPr>
            <a:r>
              <a:rPr lang="id-ID" sz="1600" b="1" dirty="0">
                <a:solidFill>
                  <a:srgbClr val="009A44"/>
                </a:solidFill>
                <a:ea typeface="Lato" pitchFamily="34" charset="0"/>
                <a:cs typeface="Lato" pitchFamily="34" charset="0"/>
              </a:rPr>
              <a:t>Change</a:t>
            </a:r>
          </a:p>
        </p:txBody>
      </p:sp>
      <p:sp>
        <p:nvSpPr>
          <p:cNvPr id="25" name="TextBox 130"/>
          <p:cNvSpPr txBox="1"/>
          <p:nvPr/>
        </p:nvSpPr>
        <p:spPr>
          <a:xfrm>
            <a:off x="511936" y="5069232"/>
            <a:ext cx="2669791" cy="800219"/>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Please replace with text, click add relevant headline, modify the text content, also can copy your content to this directly.</a:t>
            </a:r>
          </a:p>
        </p:txBody>
      </p:sp>
      <p:sp>
        <p:nvSpPr>
          <p:cNvPr id="32" name="TextBox 136"/>
          <p:cNvSpPr txBox="1"/>
          <p:nvPr/>
        </p:nvSpPr>
        <p:spPr bwMode="auto">
          <a:xfrm>
            <a:off x="11084196" y="2505504"/>
            <a:ext cx="629403" cy="246221"/>
          </a:xfrm>
          <a:prstGeom prst="rect">
            <a:avLst/>
          </a:prstGeom>
          <a:noFill/>
        </p:spPr>
        <p:txBody>
          <a:bodyPr wrap="none" lIns="0" tIns="0" rIns="0" bIns="0">
            <a:spAutoFit/>
          </a:bodyPr>
          <a:lstStyle/>
          <a:p>
            <a:pPr algn="r" defTabSz="1828434">
              <a:defRPr/>
            </a:pPr>
            <a:r>
              <a:rPr lang="id-ID" sz="1600" b="1" dirty="0">
                <a:solidFill>
                  <a:srgbClr val="43B02A"/>
                </a:solidFill>
                <a:ea typeface="Lato" pitchFamily="34" charset="0"/>
                <a:cs typeface="Lato" pitchFamily="34" charset="0"/>
              </a:rPr>
              <a:t>Change</a:t>
            </a:r>
          </a:p>
        </p:txBody>
      </p:sp>
      <p:sp>
        <p:nvSpPr>
          <p:cNvPr id="33" name="TextBox 137"/>
          <p:cNvSpPr txBox="1"/>
          <p:nvPr/>
        </p:nvSpPr>
        <p:spPr>
          <a:xfrm>
            <a:off x="9454284" y="2835845"/>
            <a:ext cx="2259315" cy="800219"/>
          </a:xfrm>
          <a:prstGeom prst="rect">
            <a:avLst/>
          </a:prstGeom>
          <a:noFill/>
        </p:spPr>
        <p:txBody>
          <a:bodyPr wrap="square" lIns="0" tIns="0" rIns="0" bIns="0" rtlCol="0">
            <a:spAutoFit/>
          </a:bodyPr>
          <a:lstStyle/>
          <a:p>
            <a:pPr algn="r"/>
            <a:r>
              <a:rPr lang="en-US" sz="1300" dirty="0">
                <a:solidFill>
                  <a:srgbClr val="000000"/>
                </a:solidFill>
                <a:ea typeface="Lato" pitchFamily="34" charset="0"/>
                <a:cs typeface="Lato" pitchFamily="34" charset="0"/>
              </a:rPr>
              <a:t>Please replace with text, click add relevant headline, modify the text content, also can copy your content to this directly.</a:t>
            </a:r>
          </a:p>
        </p:txBody>
      </p:sp>
      <p:grpSp>
        <p:nvGrpSpPr>
          <p:cNvPr id="2" name="Group 1"/>
          <p:cNvGrpSpPr/>
          <p:nvPr/>
        </p:nvGrpSpPr>
        <p:grpSpPr>
          <a:xfrm>
            <a:off x="3009017" y="2505505"/>
            <a:ext cx="6298774" cy="2840082"/>
            <a:chOff x="3009017" y="2093507"/>
            <a:chExt cx="6298774" cy="3408658"/>
          </a:xfrm>
        </p:grpSpPr>
        <p:grpSp>
          <p:nvGrpSpPr>
            <p:cNvPr id="7" name="กลุ่ม 115"/>
            <p:cNvGrpSpPr/>
            <p:nvPr/>
          </p:nvGrpSpPr>
          <p:grpSpPr>
            <a:xfrm>
              <a:off x="3781702" y="2093507"/>
              <a:ext cx="1374949" cy="2747185"/>
              <a:chOff x="8275638" y="4881835"/>
              <a:chExt cx="2051395" cy="4098743"/>
            </a:xfrm>
            <a:solidFill>
              <a:srgbClr val="000000"/>
            </a:solidFill>
          </p:grpSpPr>
          <p:sp>
            <p:nvSpPr>
              <p:cNvPr id="8" name="Freeform 17"/>
              <p:cNvSpPr>
                <a:spLocks/>
              </p:cNvSpPr>
              <p:nvPr/>
            </p:nvSpPr>
            <p:spPr bwMode="auto">
              <a:xfrm rot="16200000">
                <a:off x="7251964" y="5905509"/>
                <a:ext cx="4098743" cy="2051395"/>
              </a:xfrm>
              <a:custGeom>
                <a:avLst/>
                <a:gdLst>
                  <a:gd name="T0" fmla="*/ 4005 w 4005"/>
                  <a:gd name="T1" fmla="*/ 447 h 894"/>
                  <a:gd name="T2" fmla="*/ 3454 w 4005"/>
                  <a:gd name="T3" fmla="*/ 0 h 894"/>
                  <a:gd name="T4" fmla="*/ 3454 w 4005"/>
                  <a:gd name="T5" fmla="*/ 62 h 894"/>
                  <a:gd name="T6" fmla="*/ 0 w 4005"/>
                  <a:gd name="T7" fmla="*/ 62 h 894"/>
                  <a:gd name="T8" fmla="*/ 0 w 4005"/>
                  <a:gd name="T9" fmla="*/ 832 h 894"/>
                  <a:gd name="T10" fmla="*/ 3454 w 4005"/>
                  <a:gd name="T11" fmla="*/ 832 h 894"/>
                  <a:gd name="T12" fmla="*/ 3454 w 4005"/>
                  <a:gd name="T13" fmla="*/ 894 h 894"/>
                  <a:gd name="T14" fmla="*/ 4005 w 4005"/>
                  <a:gd name="T15" fmla="*/ 447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05" h="894">
                    <a:moveTo>
                      <a:pt x="4005" y="447"/>
                    </a:moveTo>
                    <a:lnTo>
                      <a:pt x="3454" y="0"/>
                    </a:lnTo>
                    <a:lnTo>
                      <a:pt x="3454" y="62"/>
                    </a:lnTo>
                    <a:lnTo>
                      <a:pt x="0" y="62"/>
                    </a:lnTo>
                    <a:lnTo>
                      <a:pt x="0" y="832"/>
                    </a:lnTo>
                    <a:lnTo>
                      <a:pt x="3454" y="832"/>
                    </a:lnTo>
                    <a:lnTo>
                      <a:pt x="3454" y="894"/>
                    </a:lnTo>
                    <a:lnTo>
                      <a:pt x="4005" y="447"/>
                    </a:lnTo>
                    <a:close/>
                  </a:path>
                </a:pathLst>
              </a:custGeom>
              <a:grpFill/>
              <a:ln>
                <a:noFill/>
              </a:ln>
            </p:spPr>
            <p:txBody>
              <a:bodyPr vert="horz" wrap="square" lIns="91440" tIns="45720" rIns="91440" bIns="45720" numCol="1" anchor="t" anchorCtr="0" compatLnSpc="1">
                <a:prstTxWarp prst="textNoShape">
                  <a:avLst/>
                </a:prstTxWarp>
              </a:bodyPr>
              <a:lstStyle/>
              <a:p>
                <a:endParaRPr lang="th-TH" sz="1200"/>
              </a:p>
            </p:txBody>
          </p:sp>
          <p:sp>
            <p:nvSpPr>
              <p:cNvPr id="9" name="TextBox 31"/>
              <p:cNvSpPr txBox="1">
                <a:spLocks noChangeArrowheads="1"/>
              </p:cNvSpPr>
              <p:nvPr/>
            </p:nvSpPr>
            <p:spPr bwMode="auto">
              <a:xfrm>
                <a:off x="8717980" y="6714963"/>
                <a:ext cx="1166710" cy="8724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FFFFFF"/>
                    </a:solidFill>
                    <a:latin typeface="+mn-lt"/>
                    <a:ea typeface="Lato Black" pitchFamily="34" charset="0"/>
                    <a:cs typeface="Lato Black" pitchFamily="34" charset="0"/>
                  </a:rPr>
                  <a:t>01</a:t>
                </a:r>
              </a:p>
            </p:txBody>
          </p:sp>
        </p:grpSp>
        <p:cxnSp>
          <p:nvCxnSpPr>
            <p:cNvPr id="15" name="ตัวเชื่อมต่อตรง 237"/>
            <p:cNvCxnSpPr/>
            <p:nvPr/>
          </p:nvCxnSpPr>
          <p:spPr>
            <a:xfrm>
              <a:off x="3009017" y="2674436"/>
              <a:ext cx="774865" cy="0"/>
            </a:xfrm>
            <a:prstGeom prst="straightConnector1">
              <a:avLst/>
            </a:prstGeom>
            <a:ln w="44450">
              <a:solidFill>
                <a:srgbClr val="97999B"/>
              </a:solidFill>
              <a:prstDash val="sysDot"/>
              <a:headEnd type="oval"/>
            </a:ln>
          </p:spPr>
          <p:style>
            <a:lnRef idx="1">
              <a:schemeClr val="accent1"/>
            </a:lnRef>
            <a:fillRef idx="0">
              <a:schemeClr val="accent1"/>
            </a:fillRef>
            <a:effectRef idx="0">
              <a:schemeClr val="accent1"/>
            </a:effectRef>
            <a:fontRef idx="minor">
              <a:schemeClr val="tx1"/>
            </a:fontRef>
          </p:style>
        </p:cxnSp>
        <p:grpSp>
          <p:nvGrpSpPr>
            <p:cNvPr id="19" name="กลุ่ม 124"/>
            <p:cNvGrpSpPr/>
            <p:nvPr/>
          </p:nvGrpSpPr>
          <p:grpSpPr>
            <a:xfrm>
              <a:off x="5090932" y="2786495"/>
              <a:ext cx="1374949" cy="2703972"/>
              <a:chOff x="10359532" y="6131824"/>
              <a:chExt cx="2051395" cy="4034270"/>
            </a:xfrm>
            <a:solidFill>
              <a:srgbClr val="009A44"/>
            </a:solidFill>
          </p:grpSpPr>
          <p:sp>
            <p:nvSpPr>
              <p:cNvPr id="20" name="Freeform 18"/>
              <p:cNvSpPr>
                <a:spLocks/>
              </p:cNvSpPr>
              <p:nvPr/>
            </p:nvSpPr>
            <p:spPr bwMode="auto">
              <a:xfrm rot="16200000">
                <a:off x="9368095" y="7123261"/>
                <a:ext cx="4034270" cy="2051395"/>
              </a:xfrm>
              <a:custGeom>
                <a:avLst/>
                <a:gdLst>
                  <a:gd name="T0" fmla="*/ 561 w 3942"/>
                  <a:gd name="T1" fmla="*/ 0 h 894"/>
                  <a:gd name="T2" fmla="*/ 0 w 3942"/>
                  <a:gd name="T3" fmla="*/ 447 h 894"/>
                  <a:gd name="T4" fmla="*/ 561 w 3942"/>
                  <a:gd name="T5" fmla="*/ 894 h 894"/>
                  <a:gd name="T6" fmla="*/ 561 w 3942"/>
                  <a:gd name="T7" fmla="*/ 832 h 894"/>
                  <a:gd name="T8" fmla="*/ 3942 w 3942"/>
                  <a:gd name="T9" fmla="*/ 832 h 894"/>
                  <a:gd name="T10" fmla="*/ 3942 w 3942"/>
                  <a:gd name="T11" fmla="*/ 62 h 894"/>
                  <a:gd name="T12" fmla="*/ 561 w 3942"/>
                  <a:gd name="T13" fmla="*/ 62 h 894"/>
                  <a:gd name="T14" fmla="*/ 561 w 3942"/>
                  <a:gd name="T15" fmla="*/ 0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42" h="894">
                    <a:moveTo>
                      <a:pt x="561" y="0"/>
                    </a:moveTo>
                    <a:lnTo>
                      <a:pt x="0" y="447"/>
                    </a:lnTo>
                    <a:lnTo>
                      <a:pt x="561" y="894"/>
                    </a:lnTo>
                    <a:lnTo>
                      <a:pt x="561" y="832"/>
                    </a:lnTo>
                    <a:lnTo>
                      <a:pt x="3942" y="832"/>
                    </a:lnTo>
                    <a:lnTo>
                      <a:pt x="3942" y="62"/>
                    </a:lnTo>
                    <a:lnTo>
                      <a:pt x="561" y="62"/>
                    </a:lnTo>
                    <a:lnTo>
                      <a:pt x="561" y="0"/>
                    </a:lnTo>
                    <a:close/>
                  </a:path>
                </a:pathLst>
              </a:custGeom>
              <a:grpFill/>
              <a:ln>
                <a:noFill/>
              </a:ln>
            </p:spPr>
            <p:txBody>
              <a:bodyPr vert="horz" wrap="square" lIns="91440" tIns="45720" rIns="91440" bIns="45720" numCol="1" anchor="t" anchorCtr="0" compatLnSpc="1">
                <a:prstTxWarp prst="textNoShape">
                  <a:avLst/>
                </a:prstTxWarp>
              </a:bodyPr>
              <a:lstStyle/>
              <a:p>
                <a:endParaRPr lang="th-TH" sz="1200"/>
              </a:p>
            </p:txBody>
          </p:sp>
          <p:sp>
            <p:nvSpPr>
              <p:cNvPr id="21" name="TextBox 31"/>
              <p:cNvSpPr txBox="1">
                <a:spLocks noChangeArrowheads="1"/>
              </p:cNvSpPr>
              <p:nvPr/>
            </p:nvSpPr>
            <p:spPr bwMode="auto">
              <a:xfrm>
                <a:off x="10638859" y="7712721"/>
                <a:ext cx="1492743" cy="8724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chemeClr val="bg1"/>
                    </a:solidFill>
                    <a:latin typeface="+mn-lt"/>
                    <a:ea typeface="Lato Black" pitchFamily="34" charset="0"/>
                    <a:cs typeface="Lato Black" pitchFamily="34" charset="0"/>
                  </a:rPr>
                  <a:t>02</a:t>
                </a:r>
              </a:p>
            </p:txBody>
          </p:sp>
        </p:grpSp>
        <p:cxnSp>
          <p:nvCxnSpPr>
            <p:cNvPr id="23" name="ตัวเชื่อมต่อตรง 237"/>
            <p:cNvCxnSpPr/>
            <p:nvPr/>
          </p:nvCxnSpPr>
          <p:spPr>
            <a:xfrm>
              <a:off x="3009017" y="5160069"/>
              <a:ext cx="1947366" cy="0"/>
            </a:xfrm>
            <a:prstGeom prst="straightConnector1">
              <a:avLst/>
            </a:prstGeom>
            <a:ln w="44450">
              <a:solidFill>
                <a:srgbClr val="97999B"/>
              </a:solidFill>
              <a:prstDash val="sysDot"/>
              <a:headEnd type="oval"/>
            </a:ln>
          </p:spPr>
          <p:style>
            <a:lnRef idx="1">
              <a:schemeClr val="accent1"/>
            </a:lnRef>
            <a:fillRef idx="0">
              <a:schemeClr val="accent1"/>
            </a:fillRef>
            <a:effectRef idx="0">
              <a:schemeClr val="accent1"/>
            </a:effectRef>
            <a:fontRef idx="minor">
              <a:schemeClr val="tx1"/>
            </a:fontRef>
          </p:style>
        </p:cxnSp>
        <p:grpSp>
          <p:nvGrpSpPr>
            <p:cNvPr id="26" name="กลุ่ม 131"/>
            <p:cNvGrpSpPr/>
            <p:nvPr/>
          </p:nvGrpSpPr>
          <p:grpSpPr>
            <a:xfrm>
              <a:off x="6376205" y="2257925"/>
              <a:ext cx="1374949" cy="2618229"/>
              <a:chOff x="12443422" y="5138936"/>
              <a:chExt cx="2051395" cy="3906343"/>
            </a:xfrm>
            <a:solidFill>
              <a:schemeClr val="accent3"/>
            </a:solidFill>
          </p:grpSpPr>
          <p:sp>
            <p:nvSpPr>
              <p:cNvPr id="27" name="Freeform 19"/>
              <p:cNvSpPr>
                <a:spLocks/>
              </p:cNvSpPr>
              <p:nvPr/>
            </p:nvSpPr>
            <p:spPr bwMode="auto">
              <a:xfrm rot="16200000">
                <a:off x="11515948" y="6066410"/>
                <a:ext cx="3906343" cy="2051395"/>
              </a:xfrm>
              <a:custGeom>
                <a:avLst/>
                <a:gdLst>
                  <a:gd name="T0" fmla="*/ 3817 w 3817"/>
                  <a:gd name="T1" fmla="*/ 447 h 894"/>
                  <a:gd name="T2" fmla="*/ 3266 w 3817"/>
                  <a:gd name="T3" fmla="*/ 0 h 894"/>
                  <a:gd name="T4" fmla="*/ 3266 w 3817"/>
                  <a:gd name="T5" fmla="*/ 62 h 894"/>
                  <a:gd name="T6" fmla="*/ 0 w 3817"/>
                  <a:gd name="T7" fmla="*/ 62 h 894"/>
                  <a:gd name="T8" fmla="*/ 0 w 3817"/>
                  <a:gd name="T9" fmla="*/ 832 h 894"/>
                  <a:gd name="T10" fmla="*/ 3266 w 3817"/>
                  <a:gd name="T11" fmla="*/ 832 h 894"/>
                  <a:gd name="T12" fmla="*/ 3266 w 3817"/>
                  <a:gd name="T13" fmla="*/ 894 h 894"/>
                  <a:gd name="T14" fmla="*/ 3817 w 3817"/>
                  <a:gd name="T15" fmla="*/ 447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17" h="894">
                    <a:moveTo>
                      <a:pt x="3817" y="447"/>
                    </a:moveTo>
                    <a:lnTo>
                      <a:pt x="3266" y="0"/>
                    </a:lnTo>
                    <a:lnTo>
                      <a:pt x="3266" y="62"/>
                    </a:lnTo>
                    <a:lnTo>
                      <a:pt x="0" y="62"/>
                    </a:lnTo>
                    <a:lnTo>
                      <a:pt x="0" y="832"/>
                    </a:lnTo>
                    <a:lnTo>
                      <a:pt x="3266" y="832"/>
                    </a:lnTo>
                    <a:lnTo>
                      <a:pt x="3266" y="894"/>
                    </a:lnTo>
                    <a:lnTo>
                      <a:pt x="3817" y="447"/>
                    </a:lnTo>
                    <a:close/>
                  </a:path>
                </a:pathLst>
              </a:custGeom>
              <a:grpFill/>
              <a:ln>
                <a:noFill/>
              </a:ln>
            </p:spPr>
            <p:txBody>
              <a:bodyPr vert="horz" wrap="square" lIns="91440" tIns="45720" rIns="91440" bIns="45720" numCol="1" anchor="t" anchorCtr="0" compatLnSpc="1">
                <a:prstTxWarp prst="textNoShape">
                  <a:avLst/>
                </a:prstTxWarp>
              </a:bodyPr>
              <a:lstStyle/>
              <a:p>
                <a:endParaRPr lang="th-TH" sz="1200"/>
              </a:p>
            </p:txBody>
          </p:sp>
          <p:sp>
            <p:nvSpPr>
              <p:cNvPr id="28" name="TextBox 31"/>
              <p:cNvSpPr txBox="1">
                <a:spLocks noChangeArrowheads="1"/>
              </p:cNvSpPr>
              <p:nvPr/>
            </p:nvSpPr>
            <p:spPr bwMode="auto">
              <a:xfrm>
                <a:off x="12768290" y="6825768"/>
                <a:ext cx="1401658" cy="8724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chemeClr val="bg1"/>
                    </a:solidFill>
                    <a:latin typeface="+mn-lt"/>
                    <a:ea typeface="Lato Black" pitchFamily="34" charset="0"/>
                    <a:cs typeface="Lato Black" pitchFamily="34" charset="0"/>
                  </a:rPr>
                  <a:t>03</a:t>
                </a:r>
              </a:p>
            </p:txBody>
          </p:sp>
        </p:grpSp>
        <p:cxnSp>
          <p:nvCxnSpPr>
            <p:cNvPr id="31" name="ตัวเชื่อมต่อตรง 237"/>
            <p:cNvCxnSpPr/>
            <p:nvPr/>
          </p:nvCxnSpPr>
          <p:spPr>
            <a:xfrm flipH="1">
              <a:off x="7915275" y="2661413"/>
              <a:ext cx="1374888" cy="13023"/>
            </a:xfrm>
            <a:prstGeom prst="straightConnector1">
              <a:avLst/>
            </a:prstGeom>
            <a:ln w="44450">
              <a:solidFill>
                <a:srgbClr val="97999B"/>
              </a:solidFill>
              <a:prstDash val="sysDot"/>
              <a:headEnd type="oval"/>
            </a:ln>
          </p:spPr>
          <p:style>
            <a:lnRef idx="1">
              <a:schemeClr val="accent1"/>
            </a:lnRef>
            <a:fillRef idx="0">
              <a:schemeClr val="accent1"/>
            </a:fillRef>
            <a:effectRef idx="0">
              <a:schemeClr val="accent1"/>
            </a:effectRef>
            <a:fontRef idx="minor">
              <a:schemeClr val="tx1"/>
            </a:fontRef>
          </p:style>
        </p:cxnSp>
        <p:grpSp>
          <p:nvGrpSpPr>
            <p:cNvPr id="34" name="กลุ่ม 138"/>
            <p:cNvGrpSpPr/>
            <p:nvPr/>
          </p:nvGrpSpPr>
          <p:grpSpPr>
            <a:xfrm>
              <a:off x="7665832" y="2840717"/>
              <a:ext cx="1374949" cy="2661447"/>
              <a:chOff x="14497551" y="6216612"/>
              <a:chExt cx="2051395" cy="3970823"/>
            </a:xfrm>
            <a:solidFill>
              <a:srgbClr val="43B02A"/>
            </a:solidFill>
          </p:grpSpPr>
          <p:sp>
            <p:nvSpPr>
              <p:cNvPr id="35" name="Freeform 20"/>
              <p:cNvSpPr>
                <a:spLocks/>
              </p:cNvSpPr>
              <p:nvPr/>
            </p:nvSpPr>
            <p:spPr bwMode="auto">
              <a:xfrm rot="16200000">
                <a:off x="13537837" y="7176326"/>
                <a:ext cx="3970823" cy="2051395"/>
              </a:xfrm>
              <a:custGeom>
                <a:avLst/>
                <a:gdLst>
                  <a:gd name="T0" fmla="*/ 562 w 3880"/>
                  <a:gd name="T1" fmla="*/ 0 h 894"/>
                  <a:gd name="T2" fmla="*/ 0 w 3880"/>
                  <a:gd name="T3" fmla="*/ 447 h 894"/>
                  <a:gd name="T4" fmla="*/ 562 w 3880"/>
                  <a:gd name="T5" fmla="*/ 894 h 894"/>
                  <a:gd name="T6" fmla="*/ 562 w 3880"/>
                  <a:gd name="T7" fmla="*/ 831 h 894"/>
                  <a:gd name="T8" fmla="*/ 3880 w 3880"/>
                  <a:gd name="T9" fmla="*/ 831 h 894"/>
                  <a:gd name="T10" fmla="*/ 3880 w 3880"/>
                  <a:gd name="T11" fmla="*/ 62 h 894"/>
                  <a:gd name="T12" fmla="*/ 562 w 3880"/>
                  <a:gd name="T13" fmla="*/ 62 h 894"/>
                  <a:gd name="T14" fmla="*/ 562 w 3880"/>
                  <a:gd name="T15" fmla="*/ 0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80" h="894">
                    <a:moveTo>
                      <a:pt x="562" y="0"/>
                    </a:moveTo>
                    <a:lnTo>
                      <a:pt x="0" y="447"/>
                    </a:lnTo>
                    <a:lnTo>
                      <a:pt x="562" y="894"/>
                    </a:lnTo>
                    <a:lnTo>
                      <a:pt x="562" y="831"/>
                    </a:lnTo>
                    <a:lnTo>
                      <a:pt x="3880" y="831"/>
                    </a:lnTo>
                    <a:lnTo>
                      <a:pt x="3880" y="62"/>
                    </a:lnTo>
                    <a:lnTo>
                      <a:pt x="562" y="62"/>
                    </a:lnTo>
                    <a:lnTo>
                      <a:pt x="562" y="0"/>
                    </a:lnTo>
                    <a:close/>
                  </a:path>
                </a:pathLst>
              </a:custGeom>
              <a:grpFill/>
              <a:ln>
                <a:noFill/>
              </a:ln>
            </p:spPr>
            <p:txBody>
              <a:bodyPr vert="horz" wrap="square" lIns="91440" tIns="45720" rIns="91440" bIns="45720" numCol="1" anchor="t" anchorCtr="0" compatLnSpc="1">
                <a:prstTxWarp prst="textNoShape">
                  <a:avLst/>
                </a:prstTxWarp>
              </a:bodyPr>
              <a:lstStyle/>
              <a:p>
                <a:endParaRPr lang="th-TH" sz="1200"/>
              </a:p>
            </p:txBody>
          </p:sp>
          <p:sp>
            <p:nvSpPr>
              <p:cNvPr id="36" name="TextBox 31"/>
              <p:cNvSpPr txBox="1">
                <a:spLocks noChangeArrowheads="1"/>
              </p:cNvSpPr>
              <p:nvPr/>
            </p:nvSpPr>
            <p:spPr bwMode="auto">
              <a:xfrm>
                <a:off x="14763522" y="7680806"/>
                <a:ext cx="1519452" cy="8724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chemeClr val="bg1"/>
                    </a:solidFill>
                    <a:latin typeface="+mn-lt"/>
                    <a:ea typeface="Lato Black" pitchFamily="34" charset="0"/>
                    <a:cs typeface="Lato Black" pitchFamily="34" charset="0"/>
                  </a:rPr>
                  <a:t>04</a:t>
                </a:r>
              </a:p>
            </p:txBody>
          </p:sp>
        </p:grpSp>
        <p:cxnSp>
          <p:nvCxnSpPr>
            <p:cNvPr id="38" name="ตัวเชื่อมต่อตรง 237"/>
            <p:cNvCxnSpPr/>
            <p:nvPr/>
          </p:nvCxnSpPr>
          <p:spPr>
            <a:xfrm flipH="1">
              <a:off x="8441899" y="5501497"/>
              <a:ext cx="865892" cy="668"/>
            </a:xfrm>
            <a:prstGeom prst="straightConnector1">
              <a:avLst/>
            </a:prstGeom>
            <a:ln w="44450">
              <a:solidFill>
                <a:srgbClr val="97999B"/>
              </a:solidFill>
              <a:prstDash val="sysDot"/>
              <a:headEnd type="oval"/>
            </a:ln>
          </p:spPr>
          <p:style>
            <a:lnRef idx="1">
              <a:schemeClr val="accent1"/>
            </a:lnRef>
            <a:fillRef idx="0">
              <a:schemeClr val="accent1"/>
            </a:fillRef>
            <a:effectRef idx="0">
              <a:schemeClr val="accent1"/>
            </a:effectRef>
            <a:fontRef idx="minor">
              <a:schemeClr val="tx1"/>
            </a:fontRef>
          </p:style>
        </p:cxnSp>
      </p:grpSp>
      <p:sp>
        <p:nvSpPr>
          <p:cNvPr id="39" name="TextBox 146"/>
          <p:cNvSpPr txBox="1"/>
          <p:nvPr/>
        </p:nvSpPr>
        <p:spPr bwMode="auto">
          <a:xfrm>
            <a:off x="11084196" y="4761455"/>
            <a:ext cx="629403" cy="246221"/>
          </a:xfrm>
          <a:prstGeom prst="rect">
            <a:avLst/>
          </a:prstGeom>
          <a:noFill/>
        </p:spPr>
        <p:txBody>
          <a:bodyPr wrap="none" lIns="0" tIns="0" rIns="0" bIns="0">
            <a:spAutoFit/>
          </a:bodyPr>
          <a:lstStyle/>
          <a:p>
            <a:pPr algn="r" defTabSz="1828434">
              <a:defRPr/>
            </a:pPr>
            <a:r>
              <a:rPr lang="en-US" altLang="zh-CN" sz="1600" b="1" dirty="0">
                <a:solidFill>
                  <a:srgbClr val="43B02A"/>
                </a:solidFill>
                <a:ea typeface="Lato" pitchFamily="34" charset="0"/>
                <a:cs typeface="Lato" pitchFamily="34" charset="0"/>
              </a:rPr>
              <a:t>Change</a:t>
            </a:r>
            <a:endParaRPr lang="id-ID" sz="1600" b="1" dirty="0">
              <a:solidFill>
                <a:srgbClr val="43B02A"/>
              </a:solidFill>
              <a:ea typeface="Lato" pitchFamily="34" charset="0"/>
              <a:cs typeface="Lato" pitchFamily="34" charset="0"/>
            </a:endParaRPr>
          </a:p>
        </p:txBody>
      </p:sp>
      <p:sp>
        <p:nvSpPr>
          <p:cNvPr id="40" name="TextBox 147"/>
          <p:cNvSpPr txBox="1"/>
          <p:nvPr/>
        </p:nvSpPr>
        <p:spPr>
          <a:xfrm>
            <a:off x="9638521" y="5091796"/>
            <a:ext cx="2075077" cy="800219"/>
          </a:xfrm>
          <a:prstGeom prst="rect">
            <a:avLst/>
          </a:prstGeom>
          <a:noFill/>
        </p:spPr>
        <p:txBody>
          <a:bodyPr wrap="square" lIns="0" tIns="0" rIns="0" bIns="0" rtlCol="0">
            <a:spAutoFit/>
          </a:bodyPr>
          <a:lstStyle/>
          <a:p>
            <a:pPr algn="r"/>
            <a:r>
              <a:rPr lang="en-US" sz="1300" dirty="0">
                <a:solidFill>
                  <a:srgbClr val="000000"/>
                </a:solidFill>
                <a:ea typeface="Lato" pitchFamily="34" charset="0"/>
                <a:cs typeface="Lato" pitchFamily="34" charset="0"/>
              </a:rPr>
              <a:t>Please replace with text, click add relevant headline, modify the text content, also can copy your content to this directly.</a:t>
            </a:r>
          </a:p>
        </p:txBody>
      </p:sp>
      <p:grpSp>
        <p:nvGrpSpPr>
          <p:cNvPr id="41" name="Group 118"/>
          <p:cNvGrpSpPr>
            <a:grpSpLocks noChangeAspect="1"/>
          </p:cNvGrpSpPr>
          <p:nvPr/>
        </p:nvGrpSpPr>
        <p:grpSpPr bwMode="auto">
          <a:xfrm>
            <a:off x="5446888" y="5706851"/>
            <a:ext cx="660604" cy="649650"/>
            <a:chOff x="1926" y="383"/>
            <a:chExt cx="341" cy="341"/>
          </a:xfrm>
          <a:solidFill>
            <a:srgbClr val="009A44"/>
          </a:solidFill>
        </p:grpSpPr>
        <p:sp>
          <p:nvSpPr>
            <p:cNvPr id="42"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43"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44" name="Group 118"/>
          <p:cNvGrpSpPr>
            <a:grpSpLocks noChangeAspect="1"/>
          </p:cNvGrpSpPr>
          <p:nvPr/>
        </p:nvGrpSpPr>
        <p:grpSpPr bwMode="auto">
          <a:xfrm>
            <a:off x="8021787" y="5706851"/>
            <a:ext cx="660604" cy="649650"/>
            <a:chOff x="1926" y="383"/>
            <a:chExt cx="341" cy="341"/>
          </a:xfrm>
          <a:solidFill>
            <a:srgbClr val="43B02A"/>
          </a:solidFill>
        </p:grpSpPr>
        <p:sp>
          <p:nvSpPr>
            <p:cNvPr id="45"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46"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47" name="Group 118"/>
          <p:cNvGrpSpPr>
            <a:grpSpLocks noChangeAspect="1"/>
          </p:cNvGrpSpPr>
          <p:nvPr/>
        </p:nvGrpSpPr>
        <p:grpSpPr bwMode="auto">
          <a:xfrm>
            <a:off x="6719383" y="1714500"/>
            <a:ext cx="660604" cy="649650"/>
            <a:chOff x="1926" y="383"/>
            <a:chExt cx="341" cy="341"/>
          </a:xfrm>
          <a:solidFill>
            <a:schemeClr val="accent3"/>
          </a:solidFill>
        </p:grpSpPr>
        <p:sp>
          <p:nvSpPr>
            <p:cNvPr id="48"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49"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50" name="Group 118"/>
          <p:cNvGrpSpPr>
            <a:grpSpLocks noChangeAspect="1"/>
          </p:cNvGrpSpPr>
          <p:nvPr/>
        </p:nvGrpSpPr>
        <p:grpSpPr bwMode="auto">
          <a:xfrm>
            <a:off x="4146053" y="1714500"/>
            <a:ext cx="660604" cy="649650"/>
            <a:chOff x="1926" y="383"/>
            <a:chExt cx="341" cy="341"/>
          </a:xfrm>
          <a:solidFill>
            <a:srgbClr val="000000"/>
          </a:solidFill>
        </p:grpSpPr>
        <p:sp>
          <p:nvSpPr>
            <p:cNvPr id="51"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52"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Tree>
    <p:custDataLst>
      <p:tags r:id="rId1"/>
    </p:custDataLst>
    <p:extLst>
      <p:ext uri="{BB962C8B-B14F-4D97-AF65-F5344CB8AC3E}">
        <p14:creationId xmlns:p14="http://schemas.microsoft.com/office/powerpoint/2010/main" val="145346030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4895781" y="1717286"/>
            <a:ext cx="2371794" cy="4551435"/>
            <a:chOff x="4895781" y="1717286"/>
            <a:chExt cx="2371794" cy="4551435"/>
          </a:xfrm>
        </p:grpSpPr>
        <p:sp>
          <p:nvSpPr>
            <p:cNvPr id="3" name="Rounded Rectangle 2"/>
            <p:cNvSpPr/>
            <p:nvPr/>
          </p:nvSpPr>
          <p:spPr bwMode="gray">
            <a:xfrm>
              <a:off x="4895781" y="1717286"/>
              <a:ext cx="2371794" cy="4551435"/>
            </a:xfrm>
            <a:prstGeom prst="roundRect">
              <a:avLst>
                <a:gd name="adj" fmla="val 3013"/>
              </a:avLst>
            </a:prstGeom>
            <a:solidFill>
              <a:srgbClr val="000000"/>
            </a:solidFill>
            <a:ln w="12700" algn="ctr">
              <a:solidFill>
                <a:srgbClr val="FFFFFF"/>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 name="Rectangle 9"/>
            <p:cNvSpPr/>
            <p:nvPr/>
          </p:nvSpPr>
          <p:spPr bwMode="gray">
            <a:xfrm>
              <a:off x="4931500" y="1762125"/>
              <a:ext cx="2300356" cy="4461458"/>
            </a:xfrm>
            <a:prstGeom prst="rect">
              <a:avLst/>
            </a:prstGeom>
            <a:solidFill>
              <a:srgbClr val="000000"/>
            </a:solidFill>
            <a:ln w="12700" algn="ctr">
              <a:solidFill>
                <a:srgbClr val="FFFFFF"/>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2" name="Rounded Rectangle 11"/>
            <p:cNvSpPr/>
            <p:nvPr/>
          </p:nvSpPr>
          <p:spPr bwMode="gray">
            <a:xfrm>
              <a:off x="5801811" y="1898784"/>
              <a:ext cx="559734" cy="45719"/>
            </a:xfrm>
            <a:prstGeom prst="roundRect">
              <a:avLst>
                <a:gd name="adj" fmla="val 50000"/>
              </a:avLst>
            </a:prstGeom>
            <a:solidFill>
              <a:srgbClr val="000000"/>
            </a:solidFill>
            <a:ln w="12700" algn="ctr">
              <a:solidFill>
                <a:srgbClr val="FFFFFF"/>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3" name="Oval 12"/>
            <p:cNvSpPr/>
            <p:nvPr/>
          </p:nvSpPr>
          <p:spPr bwMode="gray">
            <a:xfrm>
              <a:off x="5661025" y="1885990"/>
              <a:ext cx="71307" cy="71307"/>
            </a:xfrm>
            <a:prstGeom prst="ellipse">
              <a:avLst/>
            </a:prstGeom>
            <a:solidFill>
              <a:srgbClr val="000000"/>
            </a:solidFill>
            <a:ln w="12700" algn="ctr">
              <a:solidFill>
                <a:srgbClr val="FFFFFF"/>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8" name="Freeform 6">
            <a:extLst>
              <a:ext uri="{FF2B5EF4-FFF2-40B4-BE49-F238E27FC236}">
                <a16:creationId xmlns:a16="http://schemas.microsoft.com/office/drawing/2014/main" id="{C56A1292-B78E-4469-92BA-5A08C707E357}"/>
              </a:ext>
            </a:extLst>
          </p:cNvPr>
          <p:cNvSpPr>
            <a:spLocks/>
          </p:cNvSpPr>
          <p:nvPr/>
        </p:nvSpPr>
        <p:spPr bwMode="auto">
          <a:xfrm flipH="1">
            <a:off x="8132324" y="2041641"/>
            <a:ext cx="3587583" cy="1658278"/>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w="19050">
            <a:solidFill>
              <a:srgbClr val="86BC25"/>
            </a:solidFill>
          </a:ln>
        </p:spPr>
        <p:txBody>
          <a:bodyPr vert="horz" wrap="square" lIns="396000" tIns="45720" rIns="108000" bIns="45720" numCol="1" anchor="t" anchorCtr="0" compatLnSpc="1">
            <a:prstTxWarp prst="textNoShape">
              <a:avLst/>
            </a:prstTxWarp>
          </a:bodyPr>
          <a:lstStyle/>
          <a:p>
            <a:pPr defTabSz="1088232"/>
            <a:r>
              <a:rPr lang="en-US" altLang="zh-CN" sz="1600" b="1" dirty="0">
                <a:solidFill>
                  <a:srgbClr val="86BC25"/>
                </a:solidFill>
                <a:ea typeface="Open Sans" pitchFamily="34" charset="0"/>
                <a:cs typeface="Open Sans" pitchFamily="34" charset="0"/>
              </a:rPr>
              <a:t>Dummy text</a:t>
            </a:r>
          </a:p>
          <a:p>
            <a:pPr defTabSz="1088232"/>
            <a:r>
              <a:rPr lang="en-US" altLang="zh-CN" sz="1600" dirty="0">
                <a:solidFill>
                  <a:srgbClr val="FFFFFF"/>
                </a:solidFill>
                <a:ea typeface="Open Sans" pitchFamily="34" charset="0"/>
                <a:cs typeface="Open Sans" pitchFamily="34" charset="0"/>
              </a:rPr>
              <a:t>This is dummy text it is not here to be read. </a:t>
            </a:r>
          </a:p>
        </p:txBody>
      </p:sp>
      <p:sp>
        <p:nvSpPr>
          <p:cNvPr id="25" name="Freeform 6">
            <a:extLst>
              <a:ext uri="{FF2B5EF4-FFF2-40B4-BE49-F238E27FC236}">
                <a16:creationId xmlns:a16="http://schemas.microsoft.com/office/drawing/2014/main" id="{C3A8A77C-6533-4039-B0C0-4AF64BC032EA}"/>
              </a:ext>
            </a:extLst>
          </p:cNvPr>
          <p:cNvSpPr>
            <a:spLocks/>
          </p:cNvSpPr>
          <p:nvPr/>
        </p:nvSpPr>
        <p:spPr bwMode="auto">
          <a:xfrm flipH="1">
            <a:off x="8134517" y="4610443"/>
            <a:ext cx="3587583" cy="1658278"/>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w="19050">
            <a:solidFill>
              <a:srgbClr val="009A44"/>
            </a:solidFill>
          </a:ln>
        </p:spPr>
        <p:txBody>
          <a:bodyPr vert="horz" wrap="square" lIns="396000" tIns="45720" rIns="108000" bIns="45720" numCol="1" anchor="t" anchorCtr="0" compatLnSpc="1">
            <a:prstTxWarp prst="textNoShape">
              <a:avLst/>
            </a:prstTxWarp>
          </a:bodyPr>
          <a:lstStyle/>
          <a:p>
            <a:pPr defTabSz="1088232"/>
            <a:r>
              <a:rPr lang="en-US" altLang="zh-CN" sz="1600" b="1" dirty="0">
                <a:solidFill>
                  <a:srgbClr val="009A44"/>
                </a:solidFill>
                <a:ea typeface="Open Sans" pitchFamily="34" charset="0"/>
                <a:cs typeface="Open Sans" pitchFamily="34" charset="0"/>
              </a:rPr>
              <a:t>Dummy text</a:t>
            </a:r>
          </a:p>
          <a:p>
            <a:pPr defTabSz="1088232"/>
            <a:r>
              <a:rPr lang="en-US" altLang="zh-CN" sz="1600" dirty="0">
                <a:solidFill>
                  <a:srgbClr val="FFFFFF"/>
                </a:solidFill>
                <a:ea typeface="Open Sans" pitchFamily="34" charset="0"/>
                <a:cs typeface="Open Sans" pitchFamily="34" charset="0"/>
              </a:rPr>
              <a:t>This is dummy text it is not here to be read. </a:t>
            </a:r>
          </a:p>
        </p:txBody>
      </p:sp>
      <p:sp>
        <p:nvSpPr>
          <p:cNvPr id="31" name="Freeform 6">
            <a:extLst>
              <a:ext uri="{FF2B5EF4-FFF2-40B4-BE49-F238E27FC236}">
                <a16:creationId xmlns:a16="http://schemas.microsoft.com/office/drawing/2014/main" id="{5B835711-AEE5-44FA-A367-D77E88B78B67}"/>
              </a:ext>
            </a:extLst>
          </p:cNvPr>
          <p:cNvSpPr>
            <a:spLocks/>
          </p:cNvSpPr>
          <p:nvPr/>
        </p:nvSpPr>
        <p:spPr bwMode="auto">
          <a:xfrm>
            <a:off x="498133" y="1717286"/>
            <a:ext cx="3589200" cy="1658278"/>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w="19050">
            <a:solidFill>
              <a:srgbClr val="009A44"/>
            </a:solidFill>
          </a:ln>
        </p:spPr>
        <p:txBody>
          <a:bodyPr vert="horz" wrap="square" lIns="144000" tIns="45720" rIns="396000" bIns="45720" numCol="1" anchor="t" anchorCtr="0" compatLnSpc="1">
            <a:prstTxWarp prst="textNoShape">
              <a:avLst/>
            </a:prstTxWarp>
          </a:bodyPr>
          <a:lstStyle/>
          <a:p>
            <a:pPr defTabSz="1088232"/>
            <a:r>
              <a:rPr lang="en-US" altLang="zh-CN" sz="1600" b="1" dirty="0">
                <a:solidFill>
                  <a:srgbClr val="43B02A"/>
                </a:solidFill>
                <a:ea typeface="Open Sans" pitchFamily="34" charset="0"/>
                <a:cs typeface="Open Sans" pitchFamily="34" charset="0"/>
              </a:rPr>
              <a:t>Dummy text</a:t>
            </a:r>
          </a:p>
          <a:p>
            <a:pPr defTabSz="1088232"/>
            <a:r>
              <a:rPr lang="en-US" altLang="zh-CN" sz="1600" dirty="0">
                <a:solidFill>
                  <a:srgbClr val="FFFFFF"/>
                </a:solidFill>
                <a:ea typeface="Open Sans" pitchFamily="34" charset="0"/>
                <a:cs typeface="Open Sans" pitchFamily="34" charset="0"/>
              </a:rPr>
              <a:t>This is dummy text it is not here to be read. </a:t>
            </a:r>
          </a:p>
        </p:txBody>
      </p:sp>
      <p:sp>
        <p:nvSpPr>
          <p:cNvPr id="35" name="Freeform 6">
            <a:extLst>
              <a:ext uri="{FF2B5EF4-FFF2-40B4-BE49-F238E27FC236}">
                <a16:creationId xmlns:a16="http://schemas.microsoft.com/office/drawing/2014/main" id="{FA457E65-095C-4558-ACA0-EAC24E2FA399}"/>
              </a:ext>
            </a:extLst>
          </p:cNvPr>
          <p:cNvSpPr>
            <a:spLocks/>
          </p:cNvSpPr>
          <p:nvPr/>
        </p:nvSpPr>
        <p:spPr bwMode="auto">
          <a:xfrm>
            <a:off x="489080" y="4282937"/>
            <a:ext cx="3589200" cy="1658278"/>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w="19050">
            <a:solidFill>
              <a:schemeClr val="accent3"/>
            </a:solidFill>
          </a:ln>
        </p:spPr>
        <p:txBody>
          <a:bodyPr vert="horz" wrap="square" lIns="144000" tIns="45720" rIns="396000" bIns="45720" numCol="1" anchor="t" anchorCtr="0" compatLnSpc="1">
            <a:prstTxWarp prst="textNoShape">
              <a:avLst/>
            </a:prstTxWarp>
          </a:bodyPr>
          <a:lstStyle/>
          <a:p>
            <a:pPr defTabSz="1088232"/>
            <a:r>
              <a:rPr lang="en-US" altLang="zh-CN" sz="1600" b="1" dirty="0">
                <a:solidFill>
                  <a:schemeClr val="accent3"/>
                </a:solidFill>
                <a:ea typeface="Open Sans" pitchFamily="34" charset="0"/>
                <a:cs typeface="Open Sans" pitchFamily="34" charset="0"/>
              </a:rPr>
              <a:t>Dummy text</a:t>
            </a:r>
          </a:p>
          <a:p>
            <a:pPr defTabSz="1088232"/>
            <a:r>
              <a:rPr lang="en-US" altLang="zh-CN" sz="1600" dirty="0">
                <a:solidFill>
                  <a:srgbClr val="FFFFFF"/>
                </a:solidFill>
                <a:ea typeface="Open Sans" pitchFamily="34" charset="0"/>
                <a:cs typeface="Open Sans" pitchFamily="34" charset="0"/>
              </a:rPr>
              <a:t>This is dummy text it is not here to be read. </a:t>
            </a:r>
          </a:p>
        </p:txBody>
      </p:sp>
      <p:grpSp>
        <p:nvGrpSpPr>
          <p:cNvPr id="18" name="Group 17"/>
          <p:cNvGrpSpPr/>
          <p:nvPr/>
        </p:nvGrpSpPr>
        <p:grpSpPr>
          <a:xfrm>
            <a:off x="4373236" y="2080272"/>
            <a:ext cx="926552" cy="932308"/>
            <a:chOff x="4317253" y="2023941"/>
            <a:chExt cx="1038518" cy="1044970"/>
          </a:xfrm>
        </p:grpSpPr>
        <p:sp>
          <p:nvSpPr>
            <p:cNvPr id="7" name="Oval 9">
              <a:extLst>
                <a:ext uri="{FF2B5EF4-FFF2-40B4-BE49-F238E27FC236}">
                  <a16:creationId xmlns:a16="http://schemas.microsoft.com/office/drawing/2014/main" id="{757F7184-4937-48E7-897E-C455F681ED31}"/>
                </a:ext>
              </a:extLst>
            </p:cNvPr>
            <p:cNvSpPr/>
            <p:nvPr/>
          </p:nvSpPr>
          <p:spPr>
            <a:xfrm>
              <a:off x="4317253" y="2023941"/>
              <a:ext cx="1038518" cy="1044970"/>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30" name="Group 630">
              <a:extLst>
                <a:ext uri="{FF2B5EF4-FFF2-40B4-BE49-F238E27FC236}">
                  <a16:creationId xmlns:a16="http://schemas.microsoft.com/office/drawing/2014/main" id="{7F873D0F-27B2-4BAB-8218-1082737C9F61}"/>
                </a:ext>
              </a:extLst>
            </p:cNvPr>
            <p:cNvGrpSpPr>
              <a:grpSpLocks noChangeAspect="1"/>
            </p:cNvGrpSpPr>
            <p:nvPr/>
          </p:nvGrpSpPr>
          <p:grpSpPr bwMode="auto">
            <a:xfrm>
              <a:off x="4466300" y="2176213"/>
              <a:ext cx="740425" cy="740425"/>
              <a:chOff x="4593" y="2664"/>
              <a:chExt cx="340" cy="340"/>
            </a:xfrm>
            <a:solidFill>
              <a:schemeClr val="bg1"/>
            </a:solidFill>
          </p:grpSpPr>
          <p:sp>
            <p:nvSpPr>
              <p:cNvPr id="38" name="Freeform 631">
                <a:extLst>
                  <a:ext uri="{FF2B5EF4-FFF2-40B4-BE49-F238E27FC236}">
                    <a16:creationId xmlns:a16="http://schemas.microsoft.com/office/drawing/2014/main" id="{0E287A1A-D2F3-4FDF-93DE-14DB380514B4}"/>
                  </a:ext>
                </a:extLst>
              </p:cNvPr>
              <p:cNvSpPr>
                <a:spLocks noEditPoints="1"/>
              </p:cNvSpPr>
              <p:nvPr/>
            </p:nvSpPr>
            <p:spPr bwMode="auto">
              <a:xfrm>
                <a:off x="4685" y="2728"/>
                <a:ext cx="156" cy="212"/>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632">
                <a:extLst>
                  <a:ext uri="{FF2B5EF4-FFF2-40B4-BE49-F238E27FC236}">
                    <a16:creationId xmlns:a16="http://schemas.microsoft.com/office/drawing/2014/main" id="{5AA3C250-E020-471B-B03D-62F2C6CD13BA}"/>
                  </a:ext>
                </a:extLst>
              </p:cNvPr>
              <p:cNvSpPr>
                <a:spLocks noEditPoints="1"/>
              </p:cNvSpPr>
              <p:nvPr/>
            </p:nvSpPr>
            <p:spPr bwMode="auto">
              <a:xfrm>
                <a:off x="4593" y="26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5" name="Group 14"/>
          <p:cNvGrpSpPr/>
          <p:nvPr/>
        </p:nvGrpSpPr>
        <p:grpSpPr>
          <a:xfrm>
            <a:off x="4473115" y="4686785"/>
            <a:ext cx="845334" cy="850584"/>
            <a:chOff x="4359040" y="4572001"/>
            <a:chExt cx="1073484" cy="1080152"/>
          </a:xfrm>
        </p:grpSpPr>
        <p:sp>
          <p:nvSpPr>
            <p:cNvPr id="5" name="Oval 4">
              <a:extLst>
                <a:ext uri="{FF2B5EF4-FFF2-40B4-BE49-F238E27FC236}">
                  <a16:creationId xmlns:a16="http://schemas.microsoft.com/office/drawing/2014/main" id="{90D0013D-5FFC-454E-A21E-6A1A12E18FC3}"/>
                </a:ext>
              </a:extLst>
            </p:cNvPr>
            <p:cNvSpPr/>
            <p:nvPr/>
          </p:nvSpPr>
          <p:spPr>
            <a:xfrm>
              <a:off x="4359040" y="4572001"/>
              <a:ext cx="1073484" cy="10801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40" name="Group 804">
              <a:extLst>
                <a:ext uri="{FF2B5EF4-FFF2-40B4-BE49-F238E27FC236}">
                  <a16:creationId xmlns:a16="http://schemas.microsoft.com/office/drawing/2014/main" id="{07642B09-9395-4C47-9D27-8D142B77E023}"/>
                </a:ext>
              </a:extLst>
            </p:cNvPr>
            <p:cNvGrpSpPr>
              <a:grpSpLocks noChangeAspect="1"/>
            </p:cNvGrpSpPr>
            <p:nvPr/>
          </p:nvGrpSpPr>
          <p:grpSpPr bwMode="auto">
            <a:xfrm>
              <a:off x="4528946" y="4746317"/>
              <a:ext cx="733673" cy="731520"/>
              <a:chOff x="1182" y="3195"/>
              <a:chExt cx="341" cy="340"/>
            </a:xfrm>
            <a:solidFill>
              <a:schemeClr val="bg1"/>
            </a:solidFill>
          </p:grpSpPr>
          <p:sp>
            <p:nvSpPr>
              <p:cNvPr id="41" name="Freeform 805">
                <a:extLst>
                  <a:ext uri="{FF2B5EF4-FFF2-40B4-BE49-F238E27FC236}">
                    <a16:creationId xmlns:a16="http://schemas.microsoft.com/office/drawing/2014/main" id="{E95B6886-3E09-460A-94C2-CDB19D6D53BC}"/>
                  </a:ext>
                </a:extLst>
              </p:cNvPr>
              <p:cNvSpPr>
                <a:spLocks noEditPoints="1"/>
              </p:cNvSpPr>
              <p:nvPr/>
            </p:nvSpPr>
            <p:spPr bwMode="auto">
              <a:xfrm>
                <a:off x="1182" y="319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806">
                <a:extLst>
                  <a:ext uri="{FF2B5EF4-FFF2-40B4-BE49-F238E27FC236}">
                    <a16:creationId xmlns:a16="http://schemas.microsoft.com/office/drawing/2014/main" id="{91E2D460-CA5E-4C44-95BC-A2DB86951D2A}"/>
                  </a:ext>
                </a:extLst>
              </p:cNvPr>
              <p:cNvSpPr>
                <a:spLocks noEditPoints="1"/>
              </p:cNvSpPr>
              <p:nvPr/>
            </p:nvSpPr>
            <p:spPr bwMode="auto">
              <a:xfrm>
                <a:off x="1289" y="3259"/>
                <a:ext cx="121" cy="212"/>
              </a:xfrm>
              <a:custGeom>
                <a:avLst/>
                <a:gdLst>
                  <a:gd name="T0" fmla="*/ 173 w 182"/>
                  <a:gd name="T1" fmla="*/ 31 h 320"/>
                  <a:gd name="T2" fmla="*/ 140 w 182"/>
                  <a:gd name="T3" fmla="*/ 21 h 320"/>
                  <a:gd name="T4" fmla="*/ 170 w 182"/>
                  <a:gd name="T5" fmla="*/ 21 h 320"/>
                  <a:gd name="T6" fmla="*/ 181 w 182"/>
                  <a:gd name="T7" fmla="*/ 10 h 320"/>
                  <a:gd name="T8" fmla="*/ 170 w 182"/>
                  <a:gd name="T9" fmla="*/ 0 h 320"/>
                  <a:gd name="T10" fmla="*/ 96 w 182"/>
                  <a:gd name="T11" fmla="*/ 0 h 320"/>
                  <a:gd name="T12" fmla="*/ 85 w 182"/>
                  <a:gd name="T13" fmla="*/ 10 h 320"/>
                  <a:gd name="T14" fmla="*/ 85 w 182"/>
                  <a:gd name="T15" fmla="*/ 21 h 320"/>
                  <a:gd name="T16" fmla="*/ 53 w 182"/>
                  <a:gd name="T17" fmla="*/ 21 h 320"/>
                  <a:gd name="T18" fmla="*/ 0 w 182"/>
                  <a:gd name="T19" fmla="*/ 74 h 320"/>
                  <a:gd name="T20" fmla="*/ 0 w 182"/>
                  <a:gd name="T21" fmla="*/ 266 h 320"/>
                  <a:gd name="T22" fmla="*/ 10 w 182"/>
                  <a:gd name="T23" fmla="*/ 277 h 320"/>
                  <a:gd name="T24" fmla="*/ 21 w 182"/>
                  <a:gd name="T25" fmla="*/ 266 h 320"/>
                  <a:gd name="T26" fmla="*/ 21 w 182"/>
                  <a:gd name="T27" fmla="*/ 74 h 320"/>
                  <a:gd name="T28" fmla="*/ 53 w 182"/>
                  <a:gd name="T29" fmla="*/ 42 h 320"/>
                  <a:gd name="T30" fmla="*/ 85 w 182"/>
                  <a:gd name="T31" fmla="*/ 42 h 320"/>
                  <a:gd name="T32" fmla="*/ 85 w 182"/>
                  <a:gd name="T33" fmla="*/ 65 h 320"/>
                  <a:gd name="T34" fmla="*/ 42 w 182"/>
                  <a:gd name="T35" fmla="*/ 117 h 320"/>
                  <a:gd name="T36" fmla="*/ 42 w 182"/>
                  <a:gd name="T37" fmla="*/ 309 h 320"/>
                  <a:gd name="T38" fmla="*/ 53 w 182"/>
                  <a:gd name="T39" fmla="*/ 320 h 320"/>
                  <a:gd name="T40" fmla="*/ 138 w 182"/>
                  <a:gd name="T41" fmla="*/ 320 h 320"/>
                  <a:gd name="T42" fmla="*/ 149 w 182"/>
                  <a:gd name="T43" fmla="*/ 309 h 320"/>
                  <a:gd name="T44" fmla="*/ 149 w 182"/>
                  <a:gd name="T45" fmla="*/ 117 h 320"/>
                  <a:gd name="T46" fmla="*/ 106 w 182"/>
                  <a:gd name="T47" fmla="*/ 65 h 320"/>
                  <a:gd name="T48" fmla="*/ 106 w 182"/>
                  <a:gd name="T49" fmla="*/ 33 h 320"/>
                  <a:gd name="T50" fmla="*/ 167 w 182"/>
                  <a:gd name="T51" fmla="*/ 51 h 320"/>
                  <a:gd name="T52" fmla="*/ 170 w 182"/>
                  <a:gd name="T53" fmla="*/ 52 h 320"/>
                  <a:gd name="T54" fmla="*/ 181 w 182"/>
                  <a:gd name="T55" fmla="*/ 44 h 320"/>
                  <a:gd name="T56" fmla="*/ 173 w 182"/>
                  <a:gd name="T57" fmla="*/ 31 h 320"/>
                  <a:gd name="T58" fmla="*/ 106 w 182"/>
                  <a:gd name="T59" fmla="*/ 181 h 320"/>
                  <a:gd name="T60" fmla="*/ 128 w 182"/>
                  <a:gd name="T61" fmla="*/ 181 h 320"/>
                  <a:gd name="T62" fmla="*/ 128 w 182"/>
                  <a:gd name="T63" fmla="*/ 245 h 320"/>
                  <a:gd name="T64" fmla="*/ 106 w 182"/>
                  <a:gd name="T65" fmla="*/ 245 h 320"/>
                  <a:gd name="T66" fmla="*/ 106 w 182"/>
                  <a:gd name="T67" fmla="*/ 181 h 320"/>
                  <a:gd name="T68" fmla="*/ 128 w 182"/>
                  <a:gd name="T69" fmla="*/ 117 h 320"/>
                  <a:gd name="T70" fmla="*/ 128 w 182"/>
                  <a:gd name="T71" fmla="*/ 160 h 320"/>
                  <a:gd name="T72" fmla="*/ 96 w 182"/>
                  <a:gd name="T73" fmla="*/ 160 h 320"/>
                  <a:gd name="T74" fmla="*/ 85 w 182"/>
                  <a:gd name="T75" fmla="*/ 170 h 320"/>
                  <a:gd name="T76" fmla="*/ 85 w 182"/>
                  <a:gd name="T77" fmla="*/ 256 h 320"/>
                  <a:gd name="T78" fmla="*/ 96 w 182"/>
                  <a:gd name="T79" fmla="*/ 266 h 320"/>
                  <a:gd name="T80" fmla="*/ 128 w 182"/>
                  <a:gd name="T81" fmla="*/ 266 h 320"/>
                  <a:gd name="T82" fmla="*/ 128 w 182"/>
                  <a:gd name="T83" fmla="*/ 298 h 320"/>
                  <a:gd name="T84" fmla="*/ 64 w 182"/>
                  <a:gd name="T85" fmla="*/ 298 h 320"/>
                  <a:gd name="T86" fmla="*/ 64 w 182"/>
                  <a:gd name="T87" fmla="*/ 117 h 320"/>
                  <a:gd name="T88" fmla="*/ 96 w 182"/>
                  <a:gd name="T89" fmla="*/ 85 h 320"/>
                  <a:gd name="T90" fmla="*/ 128 w 182"/>
                  <a:gd name="T91"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320">
                    <a:moveTo>
                      <a:pt x="173" y="31"/>
                    </a:moveTo>
                    <a:cubicBezTo>
                      <a:pt x="140" y="21"/>
                      <a:pt x="140" y="21"/>
                      <a:pt x="140" y="21"/>
                    </a:cubicBezTo>
                    <a:cubicBezTo>
                      <a:pt x="170" y="21"/>
                      <a:pt x="170" y="21"/>
                      <a:pt x="170" y="21"/>
                    </a:cubicBezTo>
                    <a:cubicBezTo>
                      <a:pt x="176" y="21"/>
                      <a:pt x="181" y="16"/>
                      <a:pt x="181" y="10"/>
                    </a:cubicBezTo>
                    <a:cubicBezTo>
                      <a:pt x="181" y="4"/>
                      <a:pt x="176" y="0"/>
                      <a:pt x="170" y="0"/>
                    </a:cubicBezTo>
                    <a:cubicBezTo>
                      <a:pt x="96" y="0"/>
                      <a:pt x="96" y="0"/>
                      <a:pt x="96" y="0"/>
                    </a:cubicBezTo>
                    <a:cubicBezTo>
                      <a:pt x="90" y="0"/>
                      <a:pt x="85" y="4"/>
                      <a:pt x="85" y="10"/>
                    </a:cubicBezTo>
                    <a:cubicBezTo>
                      <a:pt x="85" y="21"/>
                      <a:pt x="85" y="21"/>
                      <a:pt x="85" y="21"/>
                    </a:cubicBezTo>
                    <a:cubicBezTo>
                      <a:pt x="53" y="21"/>
                      <a:pt x="53" y="21"/>
                      <a:pt x="53" y="21"/>
                    </a:cubicBezTo>
                    <a:cubicBezTo>
                      <a:pt x="24" y="21"/>
                      <a:pt x="0" y="45"/>
                      <a:pt x="0" y="74"/>
                    </a:cubicBezTo>
                    <a:cubicBezTo>
                      <a:pt x="0" y="266"/>
                      <a:pt x="0" y="266"/>
                      <a:pt x="0" y="266"/>
                    </a:cubicBezTo>
                    <a:cubicBezTo>
                      <a:pt x="0" y="272"/>
                      <a:pt x="4" y="277"/>
                      <a:pt x="10" y="277"/>
                    </a:cubicBezTo>
                    <a:cubicBezTo>
                      <a:pt x="16" y="277"/>
                      <a:pt x="21" y="272"/>
                      <a:pt x="21" y="266"/>
                    </a:cubicBezTo>
                    <a:cubicBezTo>
                      <a:pt x="21" y="74"/>
                      <a:pt x="21" y="74"/>
                      <a:pt x="21" y="74"/>
                    </a:cubicBezTo>
                    <a:cubicBezTo>
                      <a:pt x="21" y="57"/>
                      <a:pt x="35" y="42"/>
                      <a:pt x="53" y="42"/>
                    </a:cubicBezTo>
                    <a:cubicBezTo>
                      <a:pt x="85" y="42"/>
                      <a:pt x="85" y="42"/>
                      <a:pt x="85" y="42"/>
                    </a:cubicBezTo>
                    <a:cubicBezTo>
                      <a:pt x="85" y="65"/>
                      <a:pt x="85" y="65"/>
                      <a:pt x="85" y="65"/>
                    </a:cubicBezTo>
                    <a:cubicBezTo>
                      <a:pt x="61" y="70"/>
                      <a:pt x="42" y="91"/>
                      <a:pt x="42" y="117"/>
                    </a:cubicBezTo>
                    <a:cubicBezTo>
                      <a:pt x="42" y="309"/>
                      <a:pt x="42" y="309"/>
                      <a:pt x="42" y="309"/>
                    </a:cubicBezTo>
                    <a:cubicBezTo>
                      <a:pt x="42" y="315"/>
                      <a:pt x="47" y="320"/>
                      <a:pt x="53" y="320"/>
                    </a:cubicBezTo>
                    <a:cubicBezTo>
                      <a:pt x="138" y="320"/>
                      <a:pt x="138" y="320"/>
                      <a:pt x="138" y="320"/>
                    </a:cubicBezTo>
                    <a:cubicBezTo>
                      <a:pt x="144" y="320"/>
                      <a:pt x="149" y="315"/>
                      <a:pt x="149" y="309"/>
                    </a:cubicBezTo>
                    <a:cubicBezTo>
                      <a:pt x="149" y="117"/>
                      <a:pt x="149" y="117"/>
                      <a:pt x="149" y="117"/>
                    </a:cubicBezTo>
                    <a:cubicBezTo>
                      <a:pt x="149" y="91"/>
                      <a:pt x="131" y="70"/>
                      <a:pt x="106" y="65"/>
                    </a:cubicBezTo>
                    <a:cubicBezTo>
                      <a:pt x="106" y="33"/>
                      <a:pt x="106" y="33"/>
                      <a:pt x="106" y="33"/>
                    </a:cubicBezTo>
                    <a:cubicBezTo>
                      <a:pt x="167" y="51"/>
                      <a:pt x="167" y="51"/>
                      <a:pt x="167" y="51"/>
                    </a:cubicBezTo>
                    <a:cubicBezTo>
                      <a:pt x="168" y="52"/>
                      <a:pt x="169" y="52"/>
                      <a:pt x="170" y="52"/>
                    </a:cubicBezTo>
                    <a:cubicBezTo>
                      <a:pt x="175" y="52"/>
                      <a:pt x="179" y="49"/>
                      <a:pt x="181" y="44"/>
                    </a:cubicBezTo>
                    <a:cubicBezTo>
                      <a:pt x="182" y="38"/>
                      <a:pt x="179" y="32"/>
                      <a:pt x="173" y="31"/>
                    </a:cubicBezTo>
                    <a:close/>
                    <a:moveTo>
                      <a:pt x="106" y="181"/>
                    </a:moveTo>
                    <a:cubicBezTo>
                      <a:pt x="128" y="181"/>
                      <a:pt x="128" y="181"/>
                      <a:pt x="128" y="181"/>
                    </a:cubicBezTo>
                    <a:cubicBezTo>
                      <a:pt x="128" y="245"/>
                      <a:pt x="128" y="245"/>
                      <a:pt x="128" y="245"/>
                    </a:cubicBezTo>
                    <a:cubicBezTo>
                      <a:pt x="106" y="245"/>
                      <a:pt x="106" y="245"/>
                      <a:pt x="106" y="245"/>
                    </a:cubicBezTo>
                    <a:lnTo>
                      <a:pt x="106" y="181"/>
                    </a:lnTo>
                    <a:close/>
                    <a:moveTo>
                      <a:pt x="128" y="117"/>
                    </a:moveTo>
                    <a:cubicBezTo>
                      <a:pt x="128" y="160"/>
                      <a:pt x="128" y="160"/>
                      <a:pt x="128" y="160"/>
                    </a:cubicBezTo>
                    <a:cubicBezTo>
                      <a:pt x="96" y="160"/>
                      <a:pt x="96" y="160"/>
                      <a:pt x="96" y="160"/>
                    </a:cubicBezTo>
                    <a:cubicBezTo>
                      <a:pt x="90" y="160"/>
                      <a:pt x="85" y="164"/>
                      <a:pt x="85" y="170"/>
                    </a:cubicBezTo>
                    <a:cubicBezTo>
                      <a:pt x="85" y="256"/>
                      <a:pt x="85" y="256"/>
                      <a:pt x="85" y="256"/>
                    </a:cubicBezTo>
                    <a:cubicBezTo>
                      <a:pt x="85" y="262"/>
                      <a:pt x="90" y="266"/>
                      <a:pt x="96" y="266"/>
                    </a:cubicBezTo>
                    <a:cubicBezTo>
                      <a:pt x="128" y="266"/>
                      <a:pt x="128" y="266"/>
                      <a:pt x="128" y="266"/>
                    </a:cubicBezTo>
                    <a:cubicBezTo>
                      <a:pt x="128" y="298"/>
                      <a:pt x="128" y="298"/>
                      <a:pt x="128" y="298"/>
                    </a:cubicBezTo>
                    <a:cubicBezTo>
                      <a:pt x="64" y="298"/>
                      <a:pt x="64" y="298"/>
                      <a:pt x="64" y="298"/>
                    </a:cubicBezTo>
                    <a:cubicBezTo>
                      <a:pt x="64" y="117"/>
                      <a:pt x="64" y="117"/>
                      <a:pt x="64" y="117"/>
                    </a:cubicBezTo>
                    <a:cubicBezTo>
                      <a:pt x="64" y="99"/>
                      <a:pt x="78" y="85"/>
                      <a:pt x="96" y="85"/>
                    </a:cubicBezTo>
                    <a:cubicBezTo>
                      <a:pt x="113" y="85"/>
                      <a:pt x="128" y="99"/>
                      <a:pt x="128" y="11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7" name="Group 16"/>
          <p:cNvGrpSpPr/>
          <p:nvPr/>
        </p:nvGrpSpPr>
        <p:grpSpPr>
          <a:xfrm>
            <a:off x="6671009" y="2369976"/>
            <a:ext cx="995426" cy="1001608"/>
            <a:chOff x="6643190" y="2341984"/>
            <a:chExt cx="1051064" cy="1057592"/>
          </a:xfrm>
        </p:grpSpPr>
        <p:sp>
          <p:nvSpPr>
            <p:cNvPr id="4" name="Oval 3">
              <a:extLst>
                <a:ext uri="{FF2B5EF4-FFF2-40B4-BE49-F238E27FC236}">
                  <a16:creationId xmlns:a16="http://schemas.microsoft.com/office/drawing/2014/main" id="{F7F52752-8190-48D7-A364-98B947C6C31E}"/>
                </a:ext>
              </a:extLst>
            </p:cNvPr>
            <p:cNvSpPr/>
            <p:nvPr/>
          </p:nvSpPr>
          <p:spPr>
            <a:xfrm>
              <a:off x="6643190" y="2341984"/>
              <a:ext cx="1051064" cy="1057592"/>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43" name="Group 862">
              <a:extLst>
                <a:ext uri="{FF2B5EF4-FFF2-40B4-BE49-F238E27FC236}">
                  <a16:creationId xmlns:a16="http://schemas.microsoft.com/office/drawing/2014/main" id="{465EB767-55E3-4D9A-B307-50350828AF01}"/>
                </a:ext>
              </a:extLst>
            </p:cNvPr>
            <p:cNvGrpSpPr>
              <a:grpSpLocks noChangeAspect="1"/>
            </p:cNvGrpSpPr>
            <p:nvPr/>
          </p:nvGrpSpPr>
          <p:grpSpPr bwMode="auto">
            <a:xfrm>
              <a:off x="6804034" y="2505020"/>
              <a:ext cx="729375" cy="731520"/>
              <a:chOff x="6607" y="3441"/>
              <a:chExt cx="340" cy="341"/>
            </a:xfrm>
            <a:solidFill>
              <a:schemeClr val="bg1"/>
            </a:solidFill>
          </p:grpSpPr>
          <p:sp>
            <p:nvSpPr>
              <p:cNvPr id="44" name="Freeform 863">
                <a:extLst>
                  <a:ext uri="{FF2B5EF4-FFF2-40B4-BE49-F238E27FC236}">
                    <a16:creationId xmlns:a16="http://schemas.microsoft.com/office/drawing/2014/main" id="{FD546F40-56B6-4A17-96D1-A5388E9EAEA9}"/>
                  </a:ext>
                </a:extLst>
              </p:cNvPr>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864">
                <a:extLst>
                  <a:ext uri="{FF2B5EF4-FFF2-40B4-BE49-F238E27FC236}">
                    <a16:creationId xmlns:a16="http://schemas.microsoft.com/office/drawing/2014/main" id="{309287B2-C9C4-402C-AE6B-B4C0C276A22B}"/>
                  </a:ext>
                </a:extLst>
              </p:cNvPr>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6" name="Group 15"/>
          <p:cNvGrpSpPr/>
          <p:nvPr/>
        </p:nvGrpSpPr>
        <p:grpSpPr>
          <a:xfrm>
            <a:off x="6974468" y="4906698"/>
            <a:ext cx="1059190" cy="1065768"/>
            <a:chOff x="7014206" y="4946683"/>
            <a:chExt cx="979713" cy="985798"/>
          </a:xfrm>
        </p:grpSpPr>
        <p:sp>
          <p:nvSpPr>
            <p:cNvPr id="6" name="Oval 8">
              <a:extLst>
                <a:ext uri="{FF2B5EF4-FFF2-40B4-BE49-F238E27FC236}">
                  <a16:creationId xmlns:a16="http://schemas.microsoft.com/office/drawing/2014/main" id="{FB48A620-DF13-4E39-8D79-5B7BF4BD7F4D}"/>
                </a:ext>
              </a:extLst>
            </p:cNvPr>
            <p:cNvSpPr/>
            <p:nvPr/>
          </p:nvSpPr>
          <p:spPr>
            <a:xfrm>
              <a:off x="7014206" y="4946683"/>
              <a:ext cx="979713" cy="985798"/>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46" name="Group 861">
              <a:extLst>
                <a:ext uri="{FF2B5EF4-FFF2-40B4-BE49-F238E27FC236}">
                  <a16:creationId xmlns:a16="http://schemas.microsoft.com/office/drawing/2014/main" id="{3C8DB52A-BE3E-43DC-B166-6C7033E37441}"/>
                </a:ext>
              </a:extLst>
            </p:cNvPr>
            <p:cNvGrpSpPr>
              <a:grpSpLocks noChangeAspect="1"/>
            </p:cNvGrpSpPr>
            <p:nvPr/>
          </p:nvGrpSpPr>
          <p:grpSpPr bwMode="auto">
            <a:xfrm>
              <a:off x="7138302" y="5073822"/>
              <a:ext cx="731520" cy="731520"/>
              <a:chOff x="5813" y="3162"/>
              <a:chExt cx="340" cy="340"/>
            </a:xfrm>
            <a:solidFill>
              <a:schemeClr val="bg1"/>
            </a:solidFill>
          </p:grpSpPr>
          <p:sp>
            <p:nvSpPr>
              <p:cNvPr id="47" name="Freeform 862">
                <a:extLst>
                  <a:ext uri="{FF2B5EF4-FFF2-40B4-BE49-F238E27FC236}">
                    <a16:creationId xmlns:a16="http://schemas.microsoft.com/office/drawing/2014/main" id="{0F7A0D43-4DF0-4497-ABAD-870F32ABC6A7}"/>
                  </a:ext>
                </a:extLst>
              </p:cNvPr>
              <p:cNvSpPr>
                <a:spLocks noEditPoints="1"/>
              </p:cNvSpPr>
              <p:nvPr/>
            </p:nvSpPr>
            <p:spPr bwMode="auto">
              <a:xfrm>
                <a:off x="5813" y="316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863">
                <a:extLst>
                  <a:ext uri="{FF2B5EF4-FFF2-40B4-BE49-F238E27FC236}">
                    <a16:creationId xmlns:a16="http://schemas.microsoft.com/office/drawing/2014/main" id="{FA8F13ED-9F2D-4766-8623-1608155E214C}"/>
                  </a:ext>
                </a:extLst>
              </p:cNvPr>
              <p:cNvSpPr>
                <a:spLocks noEditPoints="1"/>
              </p:cNvSpPr>
              <p:nvPr/>
            </p:nvSpPr>
            <p:spPr bwMode="auto">
              <a:xfrm>
                <a:off x="5905" y="3216"/>
                <a:ext cx="156" cy="208"/>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custDataLst>
      <p:tags r:id="rId1"/>
    </p:custDataLst>
    <p:extLst>
      <p:ext uri="{BB962C8B-B14F-4D97-AF65-F5344CB8AC3E}">
        <p14:creationId xmlns:p14="http://schemas.microsoft.com/office/powerpoint/2010/main" val="2513869347"/>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2">
            <a:extLst>
              <a:ext uri="{FF2B5EF4-FFF2-40B4-BE49-F238E27FC236}">
                <a16:creationId xmlns:a16="http://schemas.microsoft.com/office/drawing/2014/main" id="{4642B27B-294B-4757-A04F-1FC1CEB5B5BF}"/>
              </a:ext>
            </a:extLst>
          </p:cNvPr>
          <p:cNvGraphicFramePr/>
          <p:nvPr>
            <p:extLst>
              <p:ext uri="{D42A27DB-BD31-4B8C-83A1-F6EECF244321}">
                <p14:modId xmlns:p14="http://schemas.microsoft.com/office/powerpoint/2010/main" val="1146205169"/>
              </p:ext>
            </p:extLst>
          </p:nvPr>
        </p:nvGraphicFramePr>
        <p:xfrm>
          <a:off x="3959723" y="2203799"/>
          <a:ext cx="4258366" cy="2838911"/>
        </p:xfrm>
        <a:graphic>
          <a:graphicData uri="http://schemas.openxmlformats.org/drawingml/2006/chart">
            <c:chart xmlns:c="http://schemas.openxmlformats.org/drawingml/2006/chart" xmlns:r="http://schemas.openxmlformats.org/officeDocument/2006/relationships" r:id="rId4"/>
          </a:graphicData>
        </a:graphic>
      </p:graphicFrame>
      <p:sp>
        <p:nvSpPr>
          <p:cNvPr id="6" name="Oval 3">
            <a:extLst>
              <a:ext uri="{FF2B5EF4-FFF2-40B4-BE49-F238E27FC236}">
                <a16:creationId xmlns:a16="http://schemas.microsoft.com/office/drawing/2014/main" id="{813CDE1E-2125-416E-91C1-70143A5D8D2B}"/>
              </a:ext>
            </a:extLst>
          </p:cNvPr>
          <p:cNvSpPr/>
          <p:nvPr/>
        </p:nvSpPr>
        <p:spPr>
          <a:xfrm>
            <a:off x="4503345" y="2022592"/>
            <a:ext cx="3171124" cy="3171124"/>
          </a:xfrm>
          <a:prstGeom prst="ellipse">
            <a:avLst/>
          </a:prstGeom>
          <a:noFill/>
          <a:ln w="19050">
            <a:solidFill>
              <a:srgbClr val="53565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 name="Oval 4">
            <a:extLst>
              <a:ext uri="{FF2B5EF4-FFF2-40B4-BE49-F238E27FC236}">
                <a16:creationId xmlns:a16="http://schemas.microsoft.com/office/drawing/2014/main" id="{DD5DB559-5FCA-4B50-A7DF-5E2D93C9B80A}"/>
              </a:ext>
            </a:extLst>
          </p:cNvPr>
          <p:cNvSpPr/>
          <p:nvPr/>
        </p:nvSpPr>
        <p:spPr>
          <a:xfrm>
            <a:off x="4322138" y="2656817"/>
            <a:ext cx="543621" cy="54362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088232"/>
            <a:r>
              <a:rPr lang="en-US" sz="1300" b="1" dirty="0">
                <a:solidFill>
                  <a:srgbClr val="000000"/>
                </a:solidFill>
                <a:ea typeface="Open Sans" pitchFamily="34" charset="0"/>
                <a:cs typeface="Open Sans" pitchFamily="34" charset="0"/>
              </a:rPr>
              <a:t>35%</a:t>
            </a:r>
          </a:p>
        </p:txBody>
      </p:sp>
      <p:sp>
        <p:nvSpPr>
          <p:cNvPr id="8" name="Oval 5">
            <a:extLst>
              <a:ext uri="{FF2B5EF4-FFF2-40B4-BE49-F238E27FC236}">
                <a16:creationId xmlns:a16="http://schemas.microsoft.com/office/drawing/2014/main" id="{8373FA8B-2A6B-41C6-84EF-23ADD6292913}"/>
              </a:ext>
            </a:extLst>
          </p:cNvPr>
          <p:cNvSpPr/>
          <p:nvPr/>
        </p:nvSpPr>
        <p:spPr>
          <a:xfrm>
            <a:off x="7040244" y="2260426"/>
            <a:ext cx="543621" cy="543621"/>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088232"/>
            <a:r>
              <a:rPr lang="en-US" sz="1300" b="1">
                <a:solidFill>
                  <a:schemeClr val="bg1"/>
                </a:solidFill>
                <a:ea typeface="Open Sans" pitchFamily="34" charset="0"/>
                <a:cs typeface="Open Sans" pitchFamily="34" charset="0"/>
              </a:rPr>
              <a:t>25%</a:t>
            </a:r>
            <a:endParaRPr lang="en-US" sz="1300" b="1" dirty="0">
              <a:solidFill>
                <a:schemeClr val="bg1"/>
              </a:solidFill>
              <a:ea typeface="Open Sans" pitchFamily="34" charset="0"/>
              <a:cs typeface="Open Sans" pitchFamily="34" charset="0"/>
            </a:endParaRPr>
          </a:p>
        </p:txBody>
      </p:sp>
      <p:sp>
        <p:nvSpPr>
          <p:cNvPr id="9" name="Oval 6">
            <a:extLst>
              <a:ext uri="{FF2B5EF4-FFF2-40B4-BE49-F238E27FC236}">
                <a16:creationId xmlns:a16="http://schemas.microsoft.com/office/drawing/2014/main" id="{E31BCCC6-DB8E-436A-888F-52AF70563CAE}"/>
              </a:ext>
            </a:extLst>
          </p:cNvPr>
          <p:cNvSpPr/>
          <p:nvPr/>
        </p:nvSpPr>
        <p:spPr>
          <a:xfrm>
            <a:off x="5545285" y="4921905"/>
            <a:ext cx="543621" cy="543621"/>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088232"/>
            <a:r>
              <a:rPr lang="en-US" sz="1300" b="1">
                <a:solidFill>
                  <a:schemeClr val="bg1"/>
                </a:solidFill>
                <a:ea typeface="Open Sans" pitchFamily="34" charset="0"/>
                <a:cs typeface="Open Sans" pitchFamily="34" charset="0"/>
              </a:rPr>
              <a:t>20%</a:t>
            </a:r>
            <a:endParaRPr lang="en-US" sz="1300" b="1" dirty="0">
              <a:solidFill>
                <a:schemeClr val="bg1"/>
              </a:solidFill>
              <a:ea typeface="Open Sans" pitchFamily="34" charset="0"/>
              <a:cs typeface="Open Sans" pitchFamily="34" charset="0"/>
            </a:endParaRPr>
          </a:p>
        </p:txBody>
      </p:sp>
      <p:sp>
        <p:nvSpPr>
          <p:cNvPr id="10" name="Oval 7">
            <a:extLst>
              <a:ext uri="{FF2B5EF4-FFF2-40B4-BE49-F238E27FC236}">
                <a16:creationId xmlns:a16="http://schemas.microsoft.com/office/drawing/2014/main" id="{17624D21-02CA-4BE6-BF70-AA2746E72F67}"/>
              </a:ext>
            </a:extLst>
          </p:cNvPr>
          <p:cNvSpPr/>
          <p:nvPr/>
        </p:nvSpPr>
        <p:spPr>
          <a:xfrm>
            <a:off x="7244102" y="4197077"/>
            <a:ext cx="543621" cy="543621"/>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088232"/>
            <a:r>
              <a:rPr lang="en-US" sz="1300" b="1">
                <a:solidFill>
                  <a:schemeClr val="bg1"/>
                </a:solidFill>
                <a:ea typeface="Open Sans" pitchFamily="34" charset="0"/>
                <a:cs typeface="Open Sans" pitchFamily="34" charset="0"/>
              </a:rPr>
              <a:t>10%</a:t>
            </a:r>
            <a:endParaRPr lang="en-US" sz="1300" b="1" dirty="0">
              <a:solidFill>
                <a:schemeClr val="bg1"/>
              </a:solidFill>
              <a:ea typeface="Open Sans" pitchFamily="34" charset="0"/>
              <a:cs typeface="Open Sans" pitchFamily="34" charset="0"/>
            </a:endParaRPr>
          </a:p>
        </p:txBody>
      </p:sp>
      <p:sp>
        <p:nvSpPr>
          <p:cNvPr id="11" name="Text Box 10">
            <a:extLst>
              <a:ext uri="{FF2B5EF4-FFF2-40B4-BE49-F238E27FC236}">
                <a16:creationId xmlns:a16="http://schemas.microsoft.com/office/drawing/2014/main" id="{B6AFB7B9-78C0-4466-86BB-94DABEF8053A}"/>
              </a:ext>
            </a:extLst>
          </p:cNvPr>
          <p:cNvSpPr txBox="1">
            <a:spLocks noChangeArrowheads="1"/>
          </p:cNvSpPr>
          <p:nvPr/>
        </p:nvSpPr>
        <p:spPr bwMode="auto">
          <a:xfrm>
            <a:off x="696250" y="1539373"/>
            <a:ext cx="2487787" cy="1446550"/>
          </a:xfrm>
          <a:prstGeom prst="rect">
            <a:avLst/>
          </a:prstGeom>
          <a:noFill/>
          <a:ln w="9525">
            <a:noFill/>
            <a:miter lim="800000"/>
            <a:headEnd/>
            <a:tailEnd/>
          </a:ln>
        </p:spPr>
        <p:txBody>
          <a:bodyPr wrap="square" lIns="45720" tIns="22860" rIns="45720" bIns="22860">
            <a:spAutoFit/>
          </a:bodyPr>
          <a:lstStyle/>
          <a:p>
            <a:pPr algn="r" defTabSz="1088232"/>
            <a:r>
              <a:rPr lang="en-US" altLang="zh-CN" sz="1300" b="1" dirty="0">
                <a:solidFill>
                  <a:srgbClr val="FFFFFF"/>
                </a:solidFill>
                <a:ea typeface="Open Sans" pitchFamily="34" charset="0"/>
                <a:cs typeface="Open Sans" pitchFamily="34" charset="0"/>
              </a:rPr>
              <a:t>Dummy text</a:t>
            </a:r>
          </a:p>
          <a:p>
            <a:pPr algn="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2" name="Oval 9">
            <a:extLst>
              <a:ext uri="{FF2B5EF4-FFF2-40B4-BE49-F238E27FC236}">
                <a16:creationId xmlns:a16="http://schemas.microsoft.com/office/drawing/2014/main" id="{058FDAA1-5D81-429D-90D1-4FB55D927C6C}"/>
              </a:ext>
            </a:extLst>
          </p:cNvPr>
          <p:cNvSpPr/>
          <p:nvPr/>
        </p:nvSpPr>
        <p:spPr>
          <a:xfrm>
            <a:off x="3363290" y="1720580"/>
            <a:ext cx="706549" cy="710604"/>
          </a:xfrm>
          <a:prstGeom prst="ellipse">
            <a:avLst/>
          </a:prstGeom>
          <a:solidFill>
            <a:srgbClr val="FFFFFF"/>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7" name="Text Box 10">
            <a:extLst>
              <a:ext uri="{FF2B5EF4-FFF2-40B4-BE49-F238E27FC236}">
                <a16:creationId xmlns:a16="http://schemas.microsoft.com/office/drawing/2014/main" id="{6DEEBDD7-2AB1-4C7B-805E-1BD520DB971A}"/>
              </a:ext>
            </a:extLst>
          </p:cNvPr>
          <p:cNvSpPr txBox="1">
            <a:spLocks noChangeArrowheads="1"/>
          </p:cNvSpPr>
          <p:nvPr/>
        </p:nvSpPr>
        <p:spPr bwMode="auto">
          <a:xfrm>
            <a:off x="615820" y="4353993"/>
            <a:ext cx="2562425" cy="1446550"/>
          </a:xfrm>
          <a:prstGeom prst="rect">
            <a:avLst/>
          </a:prstGeom>
          <a:noFill/>
          <a:ln w="9525">
            <a:noFill/>
            <a:miter lim="800000"/>
            <a:headEnd/>
            <a:tailEnd/>
          </a:ln>
        </p:spPr>
        <p:txBody>
          <a:bodyPr wrap="square" lIns="45720" tIns="22860" rIns="45720" bIns="22860">
            <a:spAutoFit/>
          </a:bodyPr>
          <a:lstStyle/>
          <a:p>
            <a:pPr algn="r" defTabSz="1088232"/>
            <a:r>
              <a:rPr lang="en-US" altLang="zh-CN" sz="1300" b="1" dirty="0">
                <a:solidFill>
                  <a:srgbClr val="009A44"/>
                </a:solidFill>
                <a:ea typeface="Open Sans" pitchFamily="34" charset="0"/>
                <a:cs typeface="Open Sans" pitchFamily="34" charset="0"/>
              </a:rPr>
              <a:t>Dummy text</a:t>
            </a:r>
          </a:p>
          <a:p>
            <a:pPr algn="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8" name="Oval 15">
            <a:extLst>
              <a:ext uri="{FF2B5EF4-FFF2-40B4-BE49-F238E27FC236}">
                <a16:creationId xmlns:a16="http://schemas.microsoft.com/office/drawing/2014/main" id="{75D0C480-D419-4328-8477-06716952B91A}"/>
              </a:ext>
            </a:extLst>
          </p:cNvPr>
          <p:cNvSpPr/>
          <p:nvPr/>
        </p:nvSpPr>
        <p:spPr>
          <a:xfrm>
            <a:off x="3363290" y="4535200"/>
            <a:ext cx="706549" cy="710604"/>
          </a:xfrm>
          <a:prstGeom prst="ellipse">
            <a:avLst/>
          </a:prstGeom>
          <a:solidFill>
            <a:srgbClr val="009A44"/>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9" name="Text Box 10">
            <a:extLst>
              <a:ext uri="{FF2B5EF4-FFF2-40B4-BE49-F238E27FC236}">
                <a16:creationId xmlns:a16="http://schemas.microsoft.com/office/drawing/2014/main" id="{96F8AA76-822F-45EF-A68F-9A71D608A8B1}"/>
              </a:ext>
            </a:extLst>
          </p:cNvPr>
          <p:cNvSpPr txBox="1">
            <a:spLocks noChangeArrowheads="1"/>
          </p:cNvSpPr>
          <p:nvPr/>
        </p:nvSpPr>
        <p:spPr bwMode="auto">
          <a:xfrm>
            <a:off x="9147700" y="1859158"/>
            <a:ext cx="2546378" cy="1446550"/>
          </a:xfrm>
          <a:prstGeom prst="rect">
            <a:avLst/>
          </a:prstGeom>
          <a:noFill/>
          <a:ln w="9525">
            <a:noFill/>
            <a:miter lim="800000"/>
            <a:headEnd/>
            <a:tailEnd/>
          </a:ln>
        </p:spPr>
        <p:txBody>
          <a:bodyPr wrap="square" lIns="45720" tIns="22860" rIns="45720" bIns="22860">
            <a:spAutoFit/>
          </a:bodyPr>
          <a:lstStyle/>
          <a:p>
            <a:pPr defTabSz="1088232"/>
            <a:r>
              <a:rPr lang="en-US" altLang="zh-CN" sz="1300" b="1" dirty="0">
                <a:solidFill>
                  <a:srgbClr val="86BC25"/>
                </a:solidFill>
                <a:ea typeface="Open Sans" pitchFamily="34" charset="0"/>
                <a:cs typeface="Open Sans" pitchFamily="34" charset="0"/>
              </a:rPr>
              <a:t>Dummy text</a:t>
            </a:r>
          </a:p>
          <a:p>
            <a:pP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20" name="Oval 21">
            <a:extLst>
              <a:ext uri="{FF2B5EF4-FFF2-40B4-BE49-F238E27FC236}">
                <a16:creationId xmlns:a16="http://schemas.microsoft.com/office/drawing/2014/main" id="{24E97AEA-E587-4F3C-8146-BFB65A7B058E}"/>
              </a:ext>
            </a:extLst>
          </p:cNvPr>
          <p:cNvSpPr/>
          <p:nvPr/>
        </p:nvSpPr>
        <p:spPr>
          <a:xfrm>
            <a:off x="8145942" y="1958480"/>
            <a:ext cx="706549" cy="710604"/>
          </a:xfrm>
          <a:prstGeom prst="ellipse">
            <a:avLst/>
          </a:prstGeom>
          <a:solidFill>
            <a:srgbClr val="86BC25"/>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24" name="Text Box 10">
            <a:extLst>
              <a:ext uri="{FF2B5EF4-FFF2-40B4-BE49-F238E27FC236}">
                <a16:creationId xmlns:a16="http://schemas.microsoft.com/office/drawing/2014/main" id="{C9E93AA4-66F2-40E8-8A53-1D961869E105}"/>
              </a:ext>
            </a:extLst>
          </p:cNvPr>
          <p:cNvSpPr txBox="1">
            <a:spLocks noChangeArrowheads="1"/>
          </p:cNvSpPr>
          <p:nvPr/>
        </p:nvSpPr>
        <p:spPr bwMode="auto">
          <a:xfrm>
            <a:off x="9149914" y="4668678"/>
            <a:ext cx="2572183" cy="1446550"/>
          </a:xfrm>
          <a:prstGeom prst="rect">
            <a:avLst/>
          </a:prstGeom>
          <a:noFill/>
          <a:ln w="9525">
            <a:noFill/>
            <a:miter lim="800000"/>
            <a:headEnd/>
            <a:tailEnd/>
          </a:ln>
        </p:spPr>
        <p:txBody>
          <a:bodyPr wrap="square" lIns="45720" tIns="22860" rIns="45720" bIns="22860">
            <a:spAutoFit/>
          </a:bodyPr>
          <a:lstStyle/>
          <a:p>
            <a:pPr defTabSz="1088232"/>
            <a:r>
              <a:rPr lang="en-US" altLang="zh-CN" sz="1300" b="1" dirty="0">
                <a:solidFill>
                  <a:srgbClr val="43B02A"/>
                </a:solidFill>
                <a:ea typeface="Open Sans" pitchFamily="34" charset="0"/>
                <a:cs typeface="Open Sans" pitchFamily="34" charset="0"/>
              </a:rPr>
              <a:t>Dummy text</a:t>
            </a:r>
          </a:p>
          <a:p>
            <a:pP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25" name="Oval 26">
            <a:extLst>
              <a:ext uri="{FF2B5EF4-FFF2-40B4-BE49-F238E27FC236}">
                <a16:creationId xmlns:a16="http://schemas.microsoft.com/office/drawing/2014/main" id="{51D7333F-17BC-4AAD-AC55-9D0B60DFF78E}"/>
              </a:ext>
            </a:extLst>
          </p:cNvPr>
          <p:cNvSpPr/>
          <p:nvPr/>
        </p:nvSpPr>
        <p:spPr>
          <a:xfrm>
            <a:off x="8145942" y="4740698"/>
            <a:ext cx="706549" cy="710604"/>
          </a:xfrm>
          <a:prstGeom prst="ellipse">
            <a:avLst/>
          </a:prstGeom>
          <a:solidFill>
            <a:srgbClr val="43B02A"/>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49" name="Text Box 10">
            <a:extLst>
              <a:ext uri="{FF2B5EF4-FFF2-40B4-BE49-F238E27FC236}">
                <a16:creationId xmlns:a16="http://schemas.microsoft.com/office/drawing/2014/main" id="{FAA89380-B555-4702-92C9-7419D46C3724}"/>
              </a:ext>
            </a:extLst>
          </p:cNvPr>
          <p:cNvSpPr txBox="1">
            <a:spLocks noChangeArrowheads="1"/>
          </p:cNvSpPr>
          <p:nvPr/>
        </p:nvSpPr>
        <p:spPr bwMode="auto">
          <a:xfrm>
            <a:off x="5566060" y="3801808"/>
            <a:ext cx="1111770" cy="230832"/>
          </a:xfrm>
          <a:prstGeom prst="rect">
            <a:avLst/>
          </a:prstGeom>
          <a:noFill/>
          <a:ln w="9525">
            <a:noFill/>
            <a:miter lim="800000"/>
            <a:headEnd/>
            <a:tailEnd/>
          </a:ln>
        </p:spPr>
        <p:txBody>
          <a:bodyPr wrap="square" lIns="45720" tIns="22860" rIns="45720" bIns="22860">
            <a:spAutoFit/>
          </a:bodyPr>
          <a:lstStyle/>
          <a:p>
            <a:pPr algn="ctr" defTabSz="1088232"/>
            <a:r>
              <a:rPr lang="en-US" altLang="zh-CN" sz="1200" b="1" dirty="0" err="1">
                <a:solidFill>
                  <a:schemeClr val="accent3"/>
                </a:solidFill>
                <a:latin typeface="+mj-lt"/>
                <a:ea typeface="Open Sans" pitchFamily="34" charset="0"/>
                <a:cs typeface="Open Sans" pitchFamily="34" charset="0"/>
              </a:rPr>
              <a:t>xxxxxxx</a:t>
            </a:r>
            <a:endParaRPr lang="en-US" sz="1000" b="1" dirty="0">
              <a:solidFill>
                <a:schemeClr val="accent3"/>
              </a:solidFill>
              <a:latin typeface="+mj-lt"/>
              <a:ea typeface="Open Sans" pitchFamily="34" charset="0"/>
              <a:cs typeface="Open Sans" pitchFamily="34" charset="0"/>
            </a:endParaRPr>
          </a:p>
        </p:txBody>
      </p:sp>
      <p:grpSp>
        <p:nvGrpSpPr>
          <p:cNvPr id="54" name="Group 442">
            <a:extLst>
              <a:ext uri="{FF2B5EF4-FFF2-40B4-BE49-F238E27FC236}">
                <a16:creationId xmlns:a16="http://schemas.microsoft.com/office/drawing/2014/main" id="{8E38F73B-310A-480D-90B4-859625306A7F}"/>
              </a:ext>
            </a:extLst>
          </p:cNvPr>
          <p:cNvGrpSpPr>
            <a:grpSpLocks noChangeAspect="1"/>
          </p:cNvGrpSpPr>
          <p:nvPr/>
        </p:nvGrpSpPr>
        <p:grpSpPr bwMode="auto">
          <a:xfrm>
            <a:off x="3437131" y="1794839"/>
            <a:ext cx="558867" cy="558867"/>
            <a:chOff x="5294" y="1904"/>
            <a:chExt cx="340" cy="340"/>
          </a:xfrm>
          <a:solidFill>
            <a:srgbClr val="000000"/>
          </a:solidFill>
        </p:grpSpPr>
        <p:sp>
          <p:nvSpPr>
            <p:cNvPr id="55" name="Freeform 443">
              <a:extLst>
                <a:ext uri="{FF2B5EF4-FFF2-40B4-BE49-F238E27FC236}">
                  <a16:creationId xmlns:a16="http://schemas.microsoft.com/office/drawing/2014/main" id="{7DBD7943-4CBF-4BBA-84F4-D874459766D6}"/>
                </a:ext>
              </a:extLst>
            </p:cNvPr>
            <p:cNvSpPr>
              <a:spLocks noEditPoints="1"/>
            </p:cNvSpPr>
            <p:nvPr/>
          </p:nvSpPr>
          <p:spPr bwMode="auto">
            <a:xfrm>
              <a:off x="5358" y="1974"/>
              <a:ext cx="212" cy="185"/>
            </a:xfrm>
            <a:custGeom>
              <a:avLst/>
              <a:gdLst>
                <a:gd name="T0" fmla="*/ 317 w 320"/>
                <a:gd name="T1" fmla="*/ 136 h 278"/>
                <a:gd name="T2" fmla="*/ 308 w 320"/>
                <a:gd name="T3" fmla="*/ 140 h 278"/>
                <a:gd name="T4" fmla="*/ 302 w 320"/>
                <a:gd name="T5" fmla="*/ 137 h 278"/>
                <a:gd name="T6" fmla="*/ 160 w 320"/>
                <a:gd name="T7" fmla="*/ 25 h 278"/>
                <a:gd name="T8" fmla="*/ 18 w 320"/>
                <a:gd name="T9" fmla="*/ 137 h 278"/>
                <a:gd name="T10" fmla="*/ 3 w 320"/>
                <a:gd name="T11" fmla="*/ 136 h 278"/>
                <a:gd name="T12" fmla="*/ 5 w 320"/>
                <a:gd name="T13" fmla="*/ 121 h 278"/>
                <a:gd name="T14" fmla="*/ 153 w 320"/>
                <a:gd name="T15" fmla="*/ 3 h 278"/>
                <a:gd name="T16" fmla="*/ 167 w 320"/>
                <a:gd name="T17" fmla="*/ 3 h 278"/>
                <a:gd name="T18" fmla="*/ 315 w 320"/>
                <a:gd name="T19" fmla="*/ 121 h 278"/>
                <a:gd name="T20" fmla="*/ 317 w 320"/>
                <a:gd name="T21" fmla="*/ 136 h 278"/>
                <a:gd name="T22" fmla="*/ 284 w 320"/>
                <a:gd name="T23" fmla="*/ 142 h 278"/>
                <a:gd name="T24" fmla="*/ 288 w 320"/>
                <a:gd name="T25" fmla="*/ 150 h 278"/>
                <a:gd name="T26" fmla="*/ 288 w 320"/>
                <a:gd name="T27" fmla="*/ 268 h 278"/>
                <a:gd name="T28" fmla="*/ 277 w 320"/>
                <a:gd name="T29" fmla="*/ 278 h 278"/>
                <a:gd name="T30" fmla="*/ 224 w 320"/>
                <a:gd name="T31" fmla="*/ 278 h 278"/>
                <a:gd name="T32" fmla="*/ 213 w 320"/>
                <a:gd name="T33" fmla="*/ 268 h 278"/>
                <a:gd name="T34" fmla="*/ 213 w 320"/>
                <a:gd name="T35" fmla="*/ 214 h 278"/>
                <a:gd name="T36" fmla="*/ 160 w 320"/>
                <a:gd name="T37" fmla="*/ 161 h 278"/>
                <a:gd name="T38" fmla="*/ 107 w 320"/>
                <a:gd name="T39" fmla="*/ 214 h 278"/>
                <a:gd name="T40" fmla="*/ 107 w 320"/>
                <a:gd name="T41" fmla="*/ 268 h 278"/>
                <a:gd name="T42" fmla="*/ 96 w 320"/>
                <a:gd name="T43" fmla="*/ 278 h 278"/>
                <a:gd name="T44" fmla="*/ 43 w 320"/>
                <a:gd name="T45" fmla="*/ 278 h 278"/>
                <a:gd name="T46" fmla="*/ 32 w 320"/>
                <a:gd name="T47" fmla="*/ 268 h 278"/>
                <a:gd name="T48" fmla="*/ 32 w 320"/>
                <a:gd name="T49" fmla="*/ 172 h 278"/>
                <a:gd name="T50" fmla="*/ 32 w 320"/>
                <a:gd name="T51" fmla="*/ 150 h 278"/>
                <a:gd name="T52" fmla="*/ 36 w 320"/>
                <a:gd name="T53" fmla="*/ 142 h 278"/>
                <a:gd name="T54" fmla="*/ 153 w 320"/>
                <a:gd name="T55" fmla="*/ 46 h 278"/>
                <a:gd name="T56" fmla="*/ 167 w 320"/>
                <a:gd name="T57" fmla="*/ 46 h 278"/>
                <a:gd name="T58" fmla="*/ 284 w 320"/>
                <a:gd name="T59" fmla="*/ 142 h 278"/>
                <a:gd name="T60" fmla="*/ 235 w 320"/>
                <a:gd name="T61" fmla="*/ 204 h 278"/>
                <a:gd name="T62" fmla="*/ 267 w 320"/>
                <a:gd name="T63" fmla="*/ 204 h 278"/>
                <a:gd name="T64" fmla="*/ 267 w 320"/>
                <a:gd name="T65" fmla="*/ 172 h 278"/>
                <a:gd name="T66" fmla="*/ 221 w 320"/>
                <a:gd name="T67" fmla="*/ 172 h 278"/>
                <a:gd name="T68" fmla="*/ 234 w 320"/>
                <a:gd name="T69" fmla="*/ 204 h 278"/>
                <a:gd name="T70" fmla="*/ 235 w 320"/>
                <a:gd name="T71" fmla="*/ 204 h 278"/>
                <a:gd name="T72" fmla="*/ 125 w 320"/>
                <a:gd name="T73" fmla="*/ 97 h 278"/>
                <a:gd name="T74" fmla="*/ 195 w 320"/>
                <a:gd name="T75" fmla="*/ 97 h 278"/>
                <a:gd name="T76" fmla="*/ 160 w 320"/>
                <a:gd name="T77" fmla="*/ 68 h 278"/>
                <a:gd name="T78" fmla="*/ 125 w 320"/>
                <a:gd name="T79" fmla="*/ 97 h 278"/>
                <a:gd name="T80" fmla="*/ 53 w 320"/>
                <a:gd name="T81" fmla="*/ 172 h 278"/>
                <a:gd name="T82" fmla="*/ 53 w 320"/>
                <a:gd name="T83" fmla="*/ 204 h 278"/>
                <a:gd name="T84" fmla="*/ 86 w 320"/>
                <a:gd name="T85" fmla="*/ 204 h 278"/>
                <a:gd name="T86" fmla="*/ 99 w 320"/>
                <a:gd name="T87" fmla="*/ 172 h 278"/>
                <a:gd name="T88" fmla="*/ 53 w 320"/>
                <a:gd name="T89" fmla="*/ 172 h 278"/>
                <a:gd name="T90" fmla="*/ 53 w 320"/>
                <a:gd name="T91" fmla="*/ 257 h 278"/>
                <a:gd name="T92" fmla="*/ 85 w 320"/>
                <a:gd name="T93" fmla="*/ 257 h 278"/>
                <a:gd name="T94" fmla="*/ 85 w 320"/>
                <a:gd name="T95" fmla="*/ 225 h 278"/>
                <a:gd name="T96" fmla="*/ 53 w 320"/>
                <a:gd name="T97" fmla="*/ 225 h 278"/>
                <a:gd name="T98" fmla="*/ 53 w 320"/>
                <a:gd name="T99" fmla="*/ 257 h 278"/>
                <a:gd name="T100" fmla="*/ 160 w 320"/>
                <a:gd name="T101" fmla="*/ 140 h 278"/>
                <a:gd name="T102" fmla="*/ 198 w 320"/>
                <a:gd name="T103" fmla="*/ 150 h 278"/>
                <a:gd name="T104" fmla="*/ 260 w 320"/>
                <a:gd name="T105" fmla="*/ 150 h 278"/>
                <a:gd name="T106" fmla="*/ 221 w 320"/>
                <a:gd name="T107" fmla="*/ 118 h 278"/>
                <a:gd name="T108" fmla="*/ 99 w 320"/>
                <a:gd name="T109" fmla="*/ 118 h 278"/>
                <a:gd name="T110" fmla="*/ 60 w 320"/>
                <a:gd name="T111" fmla="*/ 150 h 278"/>
                <a:gd name="T112" fmla="*/ 122 w 320"/>
                <a:gd name="T113" fmla="*/ 150 h 278"/>
                <a:gd name="T114" fmla="*/ 160 w 320"/>
                <a:gd name="T115" fmla="*/ 140 h 278"/>
                <a:gd name="T116" fmla="*/ 267 w 320"/>
                <a:gd name="T117" fmla="*/ 257 h 278"/>
                <a:gd name="T118" fmla="*/ 267 w 320"/>
                <a:gd name="T119" fmla="*/ 225 h 278"/>
                <a:gd name="T120" fmla="*/ 235 w 320"/>
                <a:gd name="T121" fmla="*/ 225 h 278"/>
                <a:gd name="T122" fmla="*/ 235 w 320"/>
                <a:gd name="T123" fmla="*/ 257 h 278"/>
                <a:gd name="T124" fmla="*/ 267 w 320"/>
                <a:gd name="T125"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0" h="278">
                  <a:moveTo>
                    <a:pt x="317" y="136"/>
                  </a:moveTo>
                  <a:cubicBezTo>
                    <a:pt x="314" y="138"/>
                    <a:pt x="311" y="140"/>
                    <a:pt x="308" y="140"/>
                  </a:cubicBezTo>
                  <a:cubicBezTo>
                    <a:pt x="306" y="140"/>
                    <a:pt x="303" y="139"/>
                    <a:pt x="302" y="137"/>
                  </a:cubicBezTo>
                  <a:cubicBezTo>
                    <a:pt x="160" y="25"/>
                    <a:pt x="160" y="25"/>
                    <a:pt x="160" y="25"/>
                  </a:cubicBezTo>
                  <a:cubicBezTo>
                    <a:pt x="18" y="137"/>
                    <a:pt x="18" y="137"/>
                    <a:pt x="18" y="137"/>
                  </a:cubicBezTo>
                  <a:cubicBezTo>
                    <a:pt x="14" y="141"/>
                    <a:pt x="7" y="140"/>
                    <a:pt x="3" y="136"/>
                  </a:cubicBezTo>
                  <a:cubicBezTo>
                    <a:pt x="0" y="131"/>
                    <a:pt x="1" y="124"/>
                    <a:pt x="5" y="121"/>
                  </a:cubicBezTo>
                  <a:cubicBezTo>
                    <a:pt x="153" y="3"/>
                    <a:pt x="153" y="3"/>
                    <a:pt x="153" y="3"/>
                  </a:cubicBezTo>
                  <a:cubicBezTo>
                    <a:pt x="157" y="0"/>
                    <a:pt x="163" y="0"/>
                    <a:pt x="167" y="3"/>
                  </a:cubicBezTo>
                  <a:cubicBezTo>
                    <a:pt x="315" y="121"/>
                    <a:pt x="315" y="121"/>
                    <a:pt x="315" y="121"/>
                  </a:cubicBezTo>
                  <a:cubicBezTo>
                    <a:pt x="319" y="124"/>
                    <a:pt x="320" y="131"/>
                    <a:pt x="317" y="136"/>
                  </a:cubicBezTo>
                  <a:close/>
                  <a:moveTo>
                    <a:pt x="284" y="142"/>
                  </a:moveTo>
                  <a:cubicBezTo>
                    <a:pt x="287" y="144"/>
                    <a:pt x="288" y="147"/>
                    <a:pt x="288" y="150"/>
                  </a:cubicBezTo>
                  <a:cubicBezTo>
                    <a:pt x="288" y="268"/>
                    <a:pt x="288" y="268"/>
                    <a:pt x="288" y="268"/>
                  </a:cubicBezTo>
                  <a:cubicBezTo>
                    <a:pt x="288" y="274"/>
                    <a:pt x="283" y="278"/>
                    <a:pt x="277" y="278"/>
                  </a:cubicBezTo>
                  <a:cubicBezTo>
                    <a:pt x="224" y="278"/>
                    <a:pt x="224" y="278"/>
                    <a:pt x="224" y="278"/>
                  </a:cubicBezTo>
                  <a:cubicBezTo>
                    <a:pt x="218" y="278"/>
                    <a:pt x="213" y="274"/>
                    <a:pt x="213" y="268"/>
                  </a:cubicBezTo>
                  <a:cubicBezTo>
                    <a:pt x="213" y="214"/>
                    <a:pt x="213" y="214"/>
                    <a:pt x="213" y="214"/>
                  </a:cubicBezTo>
                  <a:cubicBezTo>
                    <a:pt x="213" y="185"/>
                    <a:pt x="189" y="161"/>
                    <a:pt x="160" y="161"/>
                  </a:cubicBezTo>
                  <a:cubicBezTo>
                    <a:pt x="131" y="161"/>
                    <a:pt x="107" y="185"/>
                    <a:pt x="107" y="214"/>
                  </a:cubicBezTo>
                  <a:cubicBezTo>
                    <a:pt x="107" y="268"/>
                    <a:pt x="107" y="268"/>
                    <a:pt x="107" y="268"/>
                  </a:cubicBezTo>
                  <a:cubicBezTo>
                    <a:pt x="107" y="274"/>
                    <a:pt x="102" y="278"/>
                    <a:pt x="96" y="278"/>
                  </a:cubicBezTo>
                  <a:cubicBezTo>
                    <a:pt x="43" y="278"/>
                    <a:pt x="43" y="278"/>
                    <a:pt x="43" y="278"/>
                  </a:cubicBezTo>
                  <a:cubicBezTo>
                    <a:pt x="37" y="278"/>
                    <a:pt x="32" y="274"/>
                    <a:pt x="32" y="268"/>
                  </a:cubicBezTo>
                  <a:cubicBezTo>
                    <a:pt x="32" y="172"/>
                    <a:pt x="32" y="172"/>
                    <a:pt x="32" y="172"/>
                  </a:cubicBezTo>
                  <a:cubicBezTo>
                    <a:pt x="32" y="150"/>
                    <a:pt x="32" y="150"/>
                    <a:pt x="32" y="150"/>
                  </a:cubicBezTo>
                  <a:cubicBezTo>
                    <a:pt x="32" y="147"/>
                    <a:pt x="33" y="144"/>
                    <a:pt x="36" y="142"/>
                  </a:cubicBezTo>
                  <a:cubicBezTo>
                    <a:pt x="153" y="46"/>
                    <a:pt x="153" y="46"/>
                    <a:pt x="153" y="46"/>
                  </a:cubicBezTo>
                  <a:cubicBezTo>
                    <a:pt x="157" y="43"/>
                    <a:pt x="163" y="43"/>
                    <a:pt x="167" y="46"/>
                  </a:cubicBezTo>
                  <a:lnTo>
                    <a:pt x="284" y="142"/>
                  </a:lnTo>
                  <a:close/>
                  <a:moveTo>
                    <a:pt x="235" y="204"/>
                  </a:moveTo>
                  <a:cubicBezTo>
                    <a:pt x="267" y="204"/>
                    <a:pt x="267" y="204"/>
                    <a:pt x="267" y="204"/>
                  </a:cubicBezTo>
                  <a:cubicBezTo>
                    <a:pt x="267" y="172"/>
                    <a:pt x="267" y="172"/>
                    <a:pt x="267" y="172"/>
                  </a:cubicBezTo>
                  <a:cubicBezTo>
                    <a:pt x="221" y="172"/>
                    <a:pt x="221" y="172"/>
                    <a:pt x="221" y="172"/>
                  </a:cubicBezTo>
                  <a:cubicBezTo>
                    <a:pt x="228" y="181"/>
                    <a:pt x="232" y="192"/>
                    <a:pt x="234" y="204"/>
                  </a:cubicBezTo>
                  <a:cubicBezTo>
                    <a:pt x="234" y="204"/>
                    <a:pt x="234" y="204"/>
                    <a:pt x="235" y="204"/>
                  </a:cubicBezTo>
                  <a:close/>
                  <a:moveTo>
                    <a:pt x="125" y="97"/>
                  </a:moveTo>
                  <a:cubicBezTo>
                    <a:pt x="195" y="97"/>
                    <a:pt x="195" y="97"/>
                    <a:pt x="195" y="97"/>
                  </a:cubicBezTo>
                  <a:cubicBezTo>
                    <a:pt x="160" y="68"/>
                    <a:pt x="160" y="68"/>
                    <a:pt x="160" y="68"/>
                  </a:cubicBezTo>
                  <a:lnTo>
                    <a:pt x="125" y="97"/>
                  </a:lnTo>
                  <a:close/>
                  <a:moveTo>
                    <a:pt x="53" y="172"/>
                  </a:moveTo>
                  <a:cubicBezTo>
                    <a:pt x="53" y="204"/>
                    <a:pt x="53" y="204"/>
                    <a:pt x="53" y="204"/>
                  </a:cubicBezTo>
                  <a:cubicBezTo>
                    <a:pt x="86" y="204"/>
                    <a:pt x="86" y="204"/>
                    <a:pt x="86" y="204"/>
                  </a:cubicBezTo>
                  <a:cubicBezTo>
                    <a:pt x="88" y="192"/>
                    <a:pt x="92" y="181"/>
                    <a:pt x="99" y="172"/>
                  </a:cubicBezTo>
                  <a:lnTo>
                    <a:pt x="53" y="172"/>
                  </a:lnTo>
                  <a:close/>
                  <a:moveTo>
                    <a:pt x="53" y="257"/>
                  </a:moveTo>
                  <a:cubicBezTo>
                    <a:pt x="85" y="257"/>
                    <a:pt x="85" y="257"/>
                    <a:pt x="85" y="257"/>
                  </a:cubicBezTo>
                  <a:cubicBezTo>
                    <a:pt x="85" y="225"/>
                    <a:pt x="85" y="225"/>
                    <a:pt x="85" y="225"/>
                  </a:cubicBezTo>
                  <a:cubicBezTo>
                    <a:pt x="53" y="225"/>
                    <a:pt x="53" y="225"/>
                    <a:pt x="53" y="225"/>
                  </a:cubicBezTo>
                  <a:lnTo>
                    <a:pt x="53" y="257"/>
                  </a:lnTo>
                  <a:close/>
                  <a:moveTo>
                    <a:pt x="160" y="140"/>
                  </a:moveTo>
                  <a:cubicBezTo>
                    <a:pt x="174" y="140"/>
                    <a:pt x="187" y="144"/>
                    <a:pt x="198" y="150"/>
                  </a:cubicBezTo>
                  <a:cubicBezTo>
                    <a:pt x="260" y="150"/>
                    <a:pt x="260" y="150"/>
                    <a:pt x="260" y="150"/>
                  </a:cubicBezTo>
                  <a:cubicBezTo>
                    <a:pt x="221" y="118"/>
                    <a:pt x="221" y="118"/>
                    <a:pt x="221" y="118"/>
                  </a:cubicBezTo>
                  <a:cubicBezTo>
                    <a:pt x="99" y="118"/>
                    <a:pt x="99" y="118"/>
                    <a:pt x="99" y="118"/>
                  </a:cubicBezTo>
                  <a:cubicBezTo>
                    <a:pt x="60" y="150"/>
                    <a:pt x="60" y="150"/>
                    <a:pt x="60" y="150"/>
                  </a:cubicBezTo>
                  <a:cubicBezTo>
                    <a:pt x="122" y="150"/>
                    <a:pt x="122" y="150"/>
                    <a:pt x="122" y="150"/>
                  </a:cubicBezTo>
                  <a:cubicBezTo>
                    <a:pt x="133" y="144"/>
                    <a:pt x="146" y="140"/>
                    <a:pt x="160" y="140"/>
                  </a:cubicBezTo>
                  <a:close/>
                  <a:moveTo>
                    <a:pt x="267" y="257"/>
                  </a:moveTo>
                  <a:cubicBezTo>
                    <a:pt x="267" y="225"/>
                    <a:pt x="267" y="225"/>
                    <a:pt x="267" y="225"/>
                  </a:cubicBezTo>
                  <a:cubicBezTo>
                    <a:pt x="235" y="225"/>
                    <a:pt x="235" y="225"/>
                    <a:pt x="235" y="225"/>
                  </a:cubicBezTo>
                  <a:cubicBezTo>
                    <a:pt x="235" y="257"/>
                    <a:pt x="235" y="257"/>
                    <a:pt x="235" y="257"/>
                  </a:cubicBezTo>
                  <a:lnTo>
                    <a:pt x="267" y="257"/>
                  </a:lnTo>
                  <a:close/>
                </a:path>
              </a:pathLst>
            </a:custGeom>
            <a:grpFill/>
            <a:ln>
              <a:noFill/>
            </a:ln>
            <a:extLst>
              <a:ext uri="{91240B29-F687-4f45-9708-019B960494DF}">
                <a14:hiddenLine xmlns:a14="http://schemas.microsoft.com/office/drawing/2010/main" xmlns:c="http://schemas.openxmlformats.org/drawingml/2006/chart"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444">
              <a:extLst>
                <a:ext uri="{FF2B5EF4-FFF2-40B4-BE49-F238E27FC236}">
                  <a16:creationId xmlns:a16="http://schemas.microsoft.com/office/drawing/2014/main" id="{017C30BB-40BF-41AF-96D1-093530A12543}"/>
                </a:ext>
              </a:extLst>
            </p:cNvPr>
            <p:cNvSpPr>
              <a:spLocks noEditPoints="1"/>
            </p:cNvSpPr>
            <p:nvPr/>
          </p:nvSpPr>
          <p:spPr bwMode="auto">
            <a:xfrm>
              <a:off x="5294" y="190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c="http://schemas.openxmlformats.org/drawingml/2006/chart"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7" name="Group 620">
            <a:extLst>
              <a:ext uri="{FF2B5EF4-FFF2-40B4-BE49-F238E27FC236}">
                <a16:creationId xmlns:a16="http://schemas.microsoft.com/office/drawing/2014/main" id="{48C3A298-540E-4D46-8CD0-67FA2141A2C1}"/>
              </a:ext>
            </a:extLst>
          </p:cNvPr>
          <p:cNvGrpSpPr>
            <a:grpSpLocks noChangeAspect="1"/>
          </p:cNvGrpSpPr>
          <p:nvPr/>
        </p:nvGrpSpPr>
        <p:grpSpPr bwMode="auto">
          <a:xfrm>
            <a:off x="3410394" y="4591236"/>
            <a:ext cx="612340" cy="612340"/>
            <a:chOff x="5828" y="2247"/>
            <a:chExt cx="340" cy="340"/>
          </a:xfrm>
          <a:solidFill>
            <a:schemeClr val="bg1"/>
          </a:solidFill>
        </p:grpSpPr>
        <p:sp>
          <p:nvSpPr>
            <p:cNvPr id="58" name="Freeform 621">
              <a:extLst>
                <a:ext uri="{FF2B5EF4-FFF2-40B4-BE49-F238E27FC236}">
                  <a16:creationId xmlns:a16="http://schemas.microsoft.com/office/drawing/2014/main" id="{ED44578D-ED1B-45B0-B1A5-D46C565E1C52}"/>
                </a:ext>
              </a:extLst>
            </p:cNvPr>
            <p:cNvSpPr>
              <a:spLocks noEditPoints="1"/>
            </p:cNvSpPr>
            <p:nvPr/>
          </p:nvSpPr>
          <p:spPr bwMode="auto">
            <a:xfrm>
              <a:off x="5898" y="2311"/>
              <a:ext cx="199" cy="212"/>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grpFill/>
            <a:ln>
              <a:noFill/>
            </a:ln>
            <a:extLst>
              <a:ext uri="{91240B29-F687-4f45-9708-019B960494DF}">
                <a14:hiddenLine xmlns:a14="http://schemas.microsoft.com/office/drawing/2010/main" xmlns:c="http://schemas.openxmlformats.org/drawingml/2006/chart"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622">
              <a:extLst>
                <a:ext uri="{FF2B5EF4-FFF2-40B4-BE49-F238E27FC236}">
                  <a16:creationId xmlns:a16="http://schemas.microsoft.com/office/drawing/2014/main" id="{BF72B97F-85EF-44CD-82A4-724F5F555872}"/>
                </a:ext>
              </a:extLst>
            </p:cNvPr>
            <p:cNvSpPr>
              <a:spLocks noEditPoints="1"/>
            </p:cNvSpPr>
            <p:nvPr/>
          </p:nvSpPr>
          <p:spPr bwMode="auto">
            <a:xfrm>
              <a:off x="5828" y="224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c="http://schemas.openxmlformats.org/drawingml/2006/chart"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0" name="Group 795">
            <a:extLst>
              <a:ext uri="{FF2B5EF4-FFF2-40B4-BE49-F238E27FC236}">
                <a16:creationId xmlns:a16="http://schemas.microsoft.com/office/drawing/2014/main" id="{CE0B1E2F-9015-47FE-BC3B-732AC4D31291}"/>
              </a:ext>
            </a:extLst>
          </p:cNvPr>
          <p:cNvGrpSpPr>
            <a:grpSpLocks noChangeAspect="1"/>
          </p:cNvGrpSpPr>
          <p:nvPr/>
        </p:nvGrpSpPr>
        <p:grpSpPr bwMode="auto">
          <a:xfrm>
            <a:off x="8208109" y="2027562"/>
            <a:ext cx="582215" cy="582215"/>
            <a:chOff x="4288" y="3084"/>
            <a:chExt cx="340" cy="340"/>
          </a:xfrm>
          <a:solidFill>
            <a:schemeClr val="bg1"/>
          </a:solidFill>
        </p:grpSpPr>
        <p:sp>
          <p:nvSpPr>
            <p:cNvPr id="61" name="Freeform 796">
              <a:extLst>
                <a:ext uri="{FF2B5EF4-FFF2-40B4-BE49-F238E27FC236}">
                  <a16:creationId xmlns:a16="http://schemas.microsoft.com/office/drawing/2014/main" id="{0ECC80ED-C2D3-4964-B7C3-38DF8E2B1E77}"/>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xmlns:c="http://schemas.openxmlformats.org/drawingml/2006/chart"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797">
              <a:extLst>
                <a:ext uri="{FF2B5EF4-FFF2-40B4-BE49-F238E27FC236}">
                  <a16:creationId xmlns:a16="http://schemas.microsoft.com/office/drawing/2014/main" id="{1980EEE5-81AD-4FB0-B755-A83EFBE0E195}"/>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xmlns:c="http://schemas.openxmlformats.org/drawingml/2006/chart"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798">
              <a:extLst>
                <a:ext uri="{FF2B5EF4-FFF2-40B4-BE49-F238E27FC236}">
                  <a16:creationId xmlns:a16="http://schemas.microsoft.com/office/drawing/2014/main" id="{B8C6444B-737E-45FF-BF91-54BFE547980E}"/>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xmlns:c="http://schemas.openxmlformats.org/drawingml/2006/chart"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799">
              <a:extLst>
                <a:ext uri="{FF2B5EF4-FFF2-40B4-BE49-F238E27FC236}">
                  <a16:creationId xmlns:a16="http://schemas.microsoft.com/office/drawing/2014/main" id="{6F4F4730-C90F-4A40-8EF6-D8893309B9B8}"/>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c="http://schemas.openxmlformats.org/drawingml/2006/chart"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5" name="Group 853">
            <a:extLst>
              <a:ext uri="{FF2B5EF4-FFF2-40B4-BE49-F238E27FC236}">
                <a16:creationId xmlns:a16="http://schemas.microsoft.com/office/drawing/2014/main" id="{996CE843-FE9A-420A-8B98-B3A5185C2FB1}"/>
              </a:ext>
            </a:extLst>
          </p:cNvPr>
          <p:cNvGrpSpPr>
            <a:grpSpLocks noChangeAspect="1"/>
          </p:cNvGrpSpPr>
          <p:nvPr/>
        </p:nvGrpSpPr>
        <p:grpSpPr bwMode="auto">
          <a:xfrm>
            <a:off x="8205741" y="4802524"/>
            <a:ext cx="586951" cy="586951"/>
            <a:chOff x="7360" y="3435"/>
            <a:chExt cx="340" cy="340"/>
          </a:xfrm>
          <a:solidFill>
            <a:schemeClr val="bg1"/>
          </a:solidFill>
        </p:grpSpPr>
        <p:sp>
          <p:nvSpPr>
            <p:cNvPr id="66" name="Freeform 854">
              <a:extLst>
                <a:ext uri="{FF2B5EF4-FFF2-40B4-BE49-F238E27FC236}">
                  <a16:creationId xmlns:a16="http://schemas.microsoft.com/office/drawing/2014/main" id="{266E373B-F82F-45FF-A059-95C535CF6645}"/>
                </a:ext>
              </a:extLst>
            </p:cNvPr>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a14="http://schemas.microsoft.com/office/drawing/2010/main" xmlns:c="http://schemas.openxmlformats.org/drawingml/2006/chart"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855">
              <a:extLst>
                <a:ext uri="{FF2B5EF4-FFF2-40B4-BE49-F238E27FC236}">
                  <a16:creationId xmlns:a16="http://schemas.microsoft.com/office/drawing/2014/main" id="{CBBE250C-615F-4FF5-8CEA-D13E2A282C6E}"/>
                </a:ext>
              </a:extLst>
            </p:cNvPr>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c="http://schemas.openxmlformats.org/drawingml/2006/chart"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8" name="Group 243">
            <a:extLst>
              <a:ext uri="{FF2B5EF4-FFF2-40B4-BE49-F238E27FC236}">
                <a16:creationId xmlns:a16="http://schemas.microsoft.com/office/drawing/2014/main" id="{DC6B2446-CE1F-447C-A2C4-9E4189622997}"/>
              </a:ext>
            </a:extLst>
          </p:cNvPr>
          <p:cNvGrpSpPr>
            <a:grpSpLocks noChangeAspect="1"/>
          </p:cNvGrpSpPr>
          <p:nvPr/>
        </p:nvGrpSpPr>
        <p:grpSpPr bwMode="auto">
          <a:xfrm>
            <a:off x="5706335" y="3019931"/>
            <a:ext cx="800151" cy="802504"/>
            <a:chOff x="3476" y="785"/>
            <a:chExt cx="340" cy="341"/>
          </a:xfrm>
          <a:solidFill>
            <a:schemeClr val="accent3"/>
          </a:solidFill>
        </p:grpSpPr>
        <p:sp>
          <p:nvSpPr>
            <p:cNvPr id="69" name="Freeform 244">
              <a:extLst>
                <a:ext uri="{FF2B5EF4-FFF2-40B4-BE49-F238E27FC236}">
                  <a16:creationId xmlns:a16="http://schemas.microsoft.com/office/drawing/2014/main" id="{28A33808-1781-4AF9-A4D8-95E3B119A82E}"/>
                </a:ext>
              </a:extLst>
            </p:cNvPr>
            <p:cNvSpPr>
              <a:spLocks noEditPoints="1"/>
            </p:cNvSpPr>
            <p:nvPr/>
          </p:nvSpPr>
          <p:spPr bwMode="auto">
            <a:xfrm>
              <a:off x="3539" y="888"/>
              <a:ext cx="214" cy="146"/>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grpFill/>
            <a:ln>
              <a:noFill/>
            </a:ln>
            <a:extLst>
              <a:ext uri="{91240B29-F687-4f45-9708-019B960494DF}">
                <a14:hiddenLine xmlns:a14="http://schemas.microsoft.com/office/drawing/2010/main" xmlns:c="http://schemas.openxmlformats.org/drawingml/2006/chart"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245">
              <a:extLst>
                <a:ext uri="{FF2B5EF4-FFF2-40B4-BE49-F238E27FC236}">
                  <a16:creationId xmlns:a16="http://schemas.microsoft.com/office/drawing/2014/main" id="{188FD4BC-CA5A-4E7A-B1DD-56F54B870967}"/>
                </a:ext>
              </a:extLst>
            </p:cNvPr>
            <p:cNvSpPr>
              <a:spLocks noEditPoints="1"/>
            </p:cNvSpPr>
            <p:nvPr/>
          </p:nvSpPr>
          <p:spPr bwMode="auto">
            <a:xfrm>
              <a:off x="3476" y="78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c="http://schemas.openxmlformats.org/drawingml/2006/chart"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14" name="Elbow Connector 13"/>
          <p:cNvCxnSpPr>
            <a:stCxn id="8" idx="6"/>
            <a:endCxn id="20" idx="2"/>
          </p:cNvCxnSpPr>
          <p:nvPr/>
        </p:nvCxnSpPr>
        <p:spPr>
          <a:xfrm flipV="1">
            <a:off x="7583865" y="2313782"/>
            <a:ext cx="562077" cy="218455"/>
          </a:xfrm>
          <a:prstGeom prst="bentConnector3">
            <a:avLst/>
          </a:prstGeom>
          <a:ln w="15875">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10" idx="6"/>
            <a:endCxn id="25" idx="0"/>
          </p:cNvCxnSpPr>
          <p:nvPr/>
        </p:nvCxnSpPr>
        <p:spPr>
          <a:xfrm>
            <a:off x="7787723" y="4468888"/>
            <a:ext cx="711494" cy="271810"/>
          </a:xfrm>
          <a:prstGeom prst="bentConnector2">
            <a:avLst/>
          </a:prstGeom>
          <a:ln w="15875">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9" idx="2"/>
            <a:endCxn id="18" idx="6"/>
          </p:cNvCxnSpPr>
          <p:nvPr/>
        </p:nvCxnSpPr>
        <p:spPr>
          <a:xfrm rot="10800000">
            <a:off x="4069839" y="4890502"/>
            <a:ext cx="1475446" cy="303214"/>
          </a:xfrm>
          <a:prstGeom prst="bentConnector3">
            <a:avLst/>
          </a:prstGeom>
          <a:ln w="15875">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a:endCxn id="12" idx="4"/>
          </p:cNvCxnSpPr>
          <p:nvPr/>
        </p:nvCxnSpPr>
        <p:spPr>
          <a:xfrm rot="10800000">
            <a:off x="3716566" y="2431184"/>
            <a:ext cx="605575" cy="502516"/>
          </a:xfrm>
          <a:prstGeom prst="bentConnector2">
            <a:avLst/>
          </a:prstGeom>
          <a:ln w="15875">
            <a:solidFill>
              <a:srgbClr val="53565A"/>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951228683"/>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a:extLst>
              <a:ext uri="{FF2B5EF4-FFF2-40B4-BE49-F238E27FC236}">
                <a16:creationId xmlns:a16="http://schemas.microsoft.com/office/drawing/2014/main" id="{298327D5-519B-46EC-841C-443907E5A51C}"/>
              </a:ext>
            </a:extLst>
          </p:cNvPr>
          <p:cNvSpPr/>
          <p:nvPr/>
        </p:nvSpPr>
        <p:spPr>
          <a:xfrm>
            <a:off x="469900" y="2468377"/>
            <a:ext cx="1728000" cy="3166557"/>
          </a:xfrm>
          <a:prstGeom prst="rect">
            <a:avLst/>
          </a:prstGeom>
          <a:solidFill>
            <a:schemeClr val="tx1">
              <a:lumMod val="75000"/>
              <a:lumOff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r>
              <a:rPr lang="en-US" altLang="zh-CN" sz="1600" b="1" dirty="0">
                <a:solidFill>
                  <a:schemeClr val="bg1"/>
                </a:solidFill>
                <a:ea typeface="Open Sans" pitchFamily="34" charset="0"/>
                <a:cs typeface="Open Sans" pitchFamily="34" charset="0"/>
              </a:rPr>
              <a:t>Dummy text</a:t>
            </a:r>
          </a:p>
          <a:p>
            <a:pPr defTabSz="1088232"/>
            <a:endParaRPr lang="en-US" altLang="zh-CN" sz="1600" dirty="0">
              <a:solidFill>
                <a:schemeClr val="bg1"/>
              </a:solidFill>
              <a:ea typeface="Open Sans" pitchFamily="34" charset="0"/>
              <a:cs typeface="Open Sans" pitchFamily="34" charset="0"/>
            </a:endParaRPr>
          </a:p>
          <a:p>
            <a:pP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7" name="Rectangle 4">
            <a:extLst>
              <a:ext uri="{FF2B5EF4-FFF2-40B4-BE49-F238E27FC236}">
                <a16:creationId xmlns:a16="http://schemas.microsoft.com/office/drawing/2014/main" id="{A348EF8E-0F63-4021-93B8-24CAAB969485}"/>
              </a:ext>
            </a:extLst>
          </p:cNvPr>
          <p:cNvSpPr/>
          <p:nvPr/>
        </p:nvSpPr>
        <p:spPr>
          <a:xfrm>
            <a:off x="2823875" y="1712541"/>
            <a:ext cx="1728000" cy="3161882"/>
          </a:xfrm>
          <a:prstGeom prst="rect">
            <a:avLst/>
          </a:prstGeom>
          <a:solidFill>
            <a:schemeClr val="tx1">
              <a:lumMod val="75000"/>
              <a:lumOff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r>
              <a:rPr lang="en-US" altLang="zh-CN" sz="1600" b="1" dirty="0">
                <a:solidFill>
                  <a:schemeClr val="bg1"/>
                </a:solidFill>
                <a:ea typeface="Open Sans" pitchFamily="34" charset="0"/>
                <a:cs typeface="Open Sans" pitchFamily="34" charset="0"/>
              </a:rPr>
              <a:t>Dummy text</a:t>
            </a:r>
          </a:p>
          <a:p>
            <a:pPr defTabSz="1088232"/>
            <a:endParaRPr lang="en-US" sz="1600" dirty="0">
              <a:solidFill>
                <a:schemeClr val="bg1"/>
              </a:solidFill>
              <a:ea typeface="Open Sans" pitchFamily="34" charset="0"/>
              <a:cs typeface="Open Sans" pitchFamily="34" charset="0"/>
            </a:endParaRPr>
          </a:p>
          <a:p>
            <a:pPr defTabSz="1088232"/>
            <a:r>
              <a:rPr lang="en-US" sz="1300" dirty="0">
                <a:solidFill>
                  <a:schemeClr val="bg1"/>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0" name="Rectangle 7">
            <a:extLst>
              <a:ext uri="{FF2B5EF4-FFF2-40B4-BE49-F238E27FC236}">
                <a16:creationId xmlns:a16="http://schemas.microsoft.com/office/drawing/2014/main" id="{72A87CB3-B9EC-4ED9-9B0C-DCDE006BA4F6}"/>
              </a:ext>
            </a:extLst>
          </p:cNvPr>
          <p:cNvSpPr/>
          <p:nvPr/>
        </p:nvSpPr>
        <p:spPr>
          <a:xfrm>
            <a:off x="5177849" y="2468377"/>
            <a:ext cx="1728000" cy="3166557"/>
          </a:xfrm>
          <a:prstGeom prst="rect">
            <a:avLst/>
          </a:prstGeom>
          <a:solidFill>
            <a:schemeClr val="tx1">
              <a:lumMod val="75000"/>
              <a:lumOff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r>
              <a:rPr lang="en-US" altLang="zh-CN" sz="1600" b="1" dirty="0">
                <a:solidFill>
                  <a:schemeClr val="bg1"/>
                </a:solidFill>
                <a:ea typeface="Open Sans" pitchFamily="34" charset="0"/>
                <a:cs typeface="Open Sans" pitchFamily="34" charset="0"/>
              </a:rPr>
              <a:t>Dummy text</a:t>
            </a:r>
          </a:p>
          <a:p>
            <a:pPr defTabSz="1088232"/>
            <a:endParaRPr lang="en-US" altLang="zh-CN" sz="1600" dirty="0">
              <a:solidFill>
                <a:schemeClr val="bg1"/>
              </a:solidFill>
              <a:ea typeface="Open Sans" pitchFamily="34" charset="0"/>
              <a:cs typeface="Open Sans" pitchFamily="34" charset="0"/>
            </a:endParaRPr>
          </a:p>
          <a:p>
            <a:pP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1" name="Rectangle 8">
            <a:extLst>
              <a:ext uri="{FF2B5EF4-FFF2-40B4-BE49-F238E27FC236}">
                <a16:creationId xmlns:a16="http://schemas.microsoft.com/office/drawing/2014/main" id="{65CD104B-01F0-4C94-88DF-CA81B125A7D2}"/>
              </a:ext>
            </a:extLst>
          </p:cNvPr>
          <p:cNvSpPr/>
          <p:nvPr/>
        </p:nvSpPr>
        <p:spPr>
          <a:xfrm>
            <a:off x="7531824" y="1712541"/>
            <a:ext cx="1728000" cy="3161882"/>
          </a:xfrm>
          <a:prstGeom prst="rect">
            <a:avLst/>
          </a:prstGeom>
          <a:solidFill>
            <a:schemeClr val="tx1">
              <a:lumMod val="75000"/>
              <a:lumOff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r>
              <a:rPr lang="en-US" altLang="zh-CN" sz="1600" b="1" dirty="0">
                <a:solidFill>
                  <a:schemeClr val="bg1"/>
                </a:solidFill>
                <a:ea typeface="Open Sans" pitchFamily="34" charset="0"/>
                <a:cs typeface="Open Sans" pitchFamily="34" charset="0"/>
              </a:rPr>
              <a:t>Dummy text</a:t>
            </a:r>
          </a:p>
          <a:p>
            <a:pPr defTabSz="1088232"/>
            <a:endParaRPr lang="en-US" altLang="zh-CN" sz="1600" dirty="0">
              <a:solidFill>
                <a:schemeClr val="bg1"/>
              </a:solidFill>
              <a:ea typeface="Open Sans" pitchFamily="34" charset="0"/>
              <a:cs typeface="Open Sans" pitchFamily="34" charset="0"/>
            </a:endParaRPr>
          </a:p>
          <a:p>
            <a:pP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4" name="Rectangle 11">
            <a:extLst>
              <a:ext uri="{FF2B5EF4-FFF2-40B4-BE49-F238E27FC236}">
                <a16:creationId xmlns:a16="http://schemas.microsoft.com/office/drawing/2014/main" id="{7E047E69-3DDA-4090-BA65-1AC4D1C70277}"/>
              </a:ext>
            </a:extLst>
          </p:cNvPr>
          <p:cNvSpPr/>
          <p:nvPr/>
        </p:nvSpPr>
        <p:spPr>
          <a:xfrm>
            <a:off x="9885799" y="2468377"/>
            <a:ext cx="1728000" cy="3166557"/>
          </a:xfrm>
          <a:prstGeom prst="rect">
            <a:avLst/>
          </a:prstGeom>
          <a:solidFill>
            <a:schemeClr val="tx1">
              <a:lumMod val="75000"/>
              <a:lumOff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r>
              <a:rPr lang="en-US" altLang="zh-CN" sz="1600" b="1" dirty="0">
                <a:solidFill>
                  <a:schemeClr val="bg1"/>
                </a:solidFill>
                <a:ea typeface="Open Sans" pitchFamily="34" charset="0"/>
                <a:cs typeface="Open Sans" pitchFamily="34" charset="0"/>
              </a:rPr>
              <a:t>Dummy text</a:t>
            </a:r>
          </a:p>
          <a:p>
            <a:pPr defTabSz="1088232"/>
            <a:endParaRPr lang="en-US" altLang="zh-CN" sz="1600" dirty="0">
              <a:solidFill>
                <a:schemeClr val="bg1"/>
              </a:solidFill>
              <a:ea typeface="Open Sans" pitchFamily="34" charset="0"/>
              <a:cs typeface="Open Sans" pitchFamily="34" charset="0"/>
            </a:endParaRPr>
          </a:p>
          <a:p>
            <a:pP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5" name="Text Box 7">
            <a:extLst>
              <a:ext uri="{FF2B5EF4-FFF2-40B4-BE49-F238E27FC236}">
                <a16:creationId xmlns:a16="http://schemas.microsoft.com/office/drawing/2014/main" id="{BF853CFE-EE84-4AB8-BA90-8FC888D54E67}"/>
              </a:ext>
            </a:extLst>
          </p:cNvPr>
          <p:cNvSpPr txBox="1">
            <a:spLocks noChangeArrowheads="1"/>
          </p:cNvSpPr>
          <p:nvPr/>
        </p:nvSpPr>
        <p:spPr bwMode="auto">
          <a:xfrm>
            <a:off x="1160688" y="5858394"/>
            <a:ext cx="9870625" cy="446276"/>
          </a:xfrm>
          <a:prstGeom prst="rect">
            <a:avLst/>
          </a:prstGeom>
          <a:noFill/>
          <a:ln w="9525">
            <a:noFill/>
            <a:miter lim="800000"/>
            <a:headEnd/>
            <a:tailEnd/>
          </a:ln>
        </p:spPr>
        <p:txBody>
          <a:bodyPr wrap="square" lIns="45720" tIns="22860" rIns="45720" bIns="22860" anchor="ctr">
            <a:spAutoFit/>
          </a:bodyPr>
          <a:lstStyle/>
          <a:p>
            <a:pPr algn="ctr" defTabSz="1088232"/>
            <a:r>
              <a:rPr lang="en-US" sz="1300" dirty="0">
                <a:solidFill>
                  <a:schemeClr val="bg1">
                    <a:lumMod val="65000"/>
                  </a:schemeClr>
                </a:solidFill>
                <a:latin typeface="+mj-lt"/>
                <a:ea typeface="Open Sans Semibold" pitchFamily="34" charset="0"/>
                <a:cs typeface="Open Sans Semibold" pitchFamily="34" charset="0"/>
              </a:rPr>
              <a:t>This is dummy text it is not here to be read. The is just text to show where you could insert text. The is just text to show where you could insert text. Please replace with your text content here.</a:t>
            </a:r>
          </a:p>
        </p:txBody>
      </p:sp>
      <p:sp>
        <p:nvSpPr>
          <p:cNvPr id="22" name="Rectangle 4">
            <a:extLst>
              <a:ext uri="{FF2B5EF4-FFF2-40B4-BE49-F238E27FC236}">
                <a16:creationId xmlns:a16="http://schemas.microsoft.com/office/drawing/2014/main" id="{A419AAB6-459A-4B3B-B0B8-0E21A42577A5}"/>
              </a:ext>
            </a:extLst>
          </p:cNvPr>
          <p:cNvSpPr/>
          <p:nvPr/>
        </p:nvSpPr>
        <p:spPr>
          <a:xfrm>
            <a:off x="469900" y="1707866"/>
            <a:ext cx="1728000" cy="760511"/>
          </a:xfrm>
          <a:prstGeom prst="rect">
            <a:avLst/>
          </a:pr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3" name="Group 526">
            <a:extLst>
              <a:ext uri="{FF2B5EF4-FFF2-40B4-BE49-F238E27FC236}">
                <a16:creationId xmlns:a16="http://schemas.microsoft.com/office/drawing/2014/main" id="{A2088076-31DF-499B-9C30-5BE37824ACF7}"/>
              </a:ext>
            </a:extLst>
          </p:cNvPr>
          <p:cNvGrpSpPr>
            <a:grpSpLocks noChangeAspect="1"/>
          </p:cNvGrpSpPr>
          <p:nvPr/>
        </p:nvGrpSpPr>
        <p:grpSpPr bwMode="auto">
          <a:xfrm>
            <a:off x="1003776" y="1760569"/>
            <a:ext cx="660248" cy="660248"/>
            <a:chOff x="3464" y="1974"/>
            <a:chExt cx="340" cy="340"/>
          </a:xfrm>
          <a:solidFill>
            <a:srgbClr val="FFFFFF"/>
          </a:solidFill>
        </p:grpSpPr>
        <p:sp>
          <p:nvSpPr>
            <p:cNvPr id="24" name="Freeform 527">
              <a:extLst>
                <a:ext uri="{FF2B5EF4-FFF2-40B4-BE49-F238E27FC236}">
                  <a16:creationId xmlns:a16="http://schemas.microsoft.com/office/drawing/2014/main" id="{7985F1EE-BDD4-438B-A1EC-F7B8CA894598}"/>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25" name="Freeform 528">
              <a:extLst>
                <a:ext uri="{FF2B5EF4-FFF2-40B4-BE49-F238E27FC236}">
                  <a16:creationId xmlns:a16="http://schemas.microsoft.com/office/drawing/2014/main" id="{45253A79-2275-4261-8F50-A5FE16959524}"/>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sp>
        <p:nvSpPr>
          <p:cNvPr id="28" name="Rectangle 4">
            <a:extLst>
              <a:ext uri="{FF2B5EF4-FFF2-40B4-BE49-F238E27FC236}">
                <a16:creationId xmlns:a16="http://schemas.microsoft.com/office/drawing/2014/main" id="{3E9F423A-407D-402C-8C56-0C3F82B7CC48}"/>
              </a:ext>
            </a:extLst>
          </p:cNvPr>
          <p:cNvSpPr/>
          <p:nvPr/>
        </p:nvSpPr>
        <p:spPr>
          <a:xfrm>
            <a:off x="2823875" y="4874423"/>
            <a:ext cx="1728000" cy="760511"/>
          </a:xfrm>
          <a:prstGeom prst="rect">
            <a:avLst/>
          </a:prstGeom>
          <a:solidFill>
            <a:srgbClr val="86BC2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9" name="Group 526">
            <a:extLst>
              <a:ext uri="{FF2B5EF4-FFF2-40B4-BE49-F238E27FC236}">
                <a16:creationId xmlns:a16="http://schemas.microsoft.com/office/drawing/2014/main" id="{5FD0FB47-0025-40C2-A5EC-91D0FD88C68D}"/>
              </a:ext>
            </a:extLst>
          </p:cNvPr>
          <p:cNvGrpSpPr>
            <a:grpSpLocks/>
          </p:cNvGrpSpPr>
          <p:nvPr/>
        </p:nvGrpSpPr>
        <p:grpSpPr bwMode="auto">
          <a:xfrm>
            <a:off x="3357499" y="4924555"/>
            <a:ext cx="660752" cy="660246"/>
            <a:chOff x="3464" y="1974"/>
            <a:chExt cx="340" cy="340"/>
          </a:xfrm>
          <a:solidFill>
            <a:srgbClr val="FFFFFF"/>
          </a:solidFill>
        </p:grpSpPr>
        <p:sp>
          <p:nvSpPr>
            <p:cNvPr id="30" name="Freeform 527">
              <a:extLst>
                <a:ext uri="{FF2B5EF4-FFF2-40B4-BE49-F238E27FC236}">
                  <a16:creationId xmlns:a16="http://schemas.microsoft.com/office/drawing/2014/main" id="{19CFB70E-7C12-43F3-AFCA-7D054F60D395}"/>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31" name="Freeform 528">
              <a:extLst>
                <a:ext uri="{FF2B5EF4-FFF2-40B4-BE49-F238E27FC236}">
                  <a16:creationId xmlns:a16="http://schemas.microsoft.com/office/drawing/2014/main" id="{E2FF3F83-EB64-4ACF-9242-FA2CCB58BBE8}"/>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sp>
        <p:nvSpPr>
          <p:cNvPr id="33" name="Rectangle 4">
            <a:extLst>
              <a:ext uri="{FF2B5EF4-FFF2-40B4-BE49-F238E27FC236}">
                <a16:creationId xmlns:a16="http://schemas.microsoft.com/office/drawing/2014/main" id="{F8F20C2A-7E3F-4E7E-98C6-0B315281B4CF}"/>
              </a:ext>
            </a:extLst>
          </p:cNvPr>
          <p:cNvSpPr/>
          <p:nvPr/>
        </p:nvSpPr>
        <p:spPr>
          <a:xfrm>
            <a:off x="5177849" y="1710438"/>
            <a:ext cx="1728000" cy="760511"/>
          </a:xfrm>
          <a:prstGeom prst="rect">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34" name="Group 526">
            <a:extLst>
              <a:ext uri="{FF2B5EF4-FFF2-40B4-BE49-F238E27FC236}">
                <a16:creationId xmlns:a16="http://schemas.microsoft.com/office/drawing/2014/main" id="{EC70EAC5-10BA-4ACF-87C3-12F0EE9FFEE0}"/>
              </a:ext>
            </a:extLst>
          </p:cNvPr>
          <p:cNvGrpSpPr>
            <a:grpSpLocks/>
          </p:cNvGrpSpPr>
          <p:nvPr/>
        </p:nvGrpSpPr>
        <p:grpSpPr bwMode="auto">
          <a:xfrm>
            <a:off x="5711473" y="1760570"/>
            <a:ext cx="660752" cy="660246"/>
            <a:chOff x="3464" y="1974"/>
            <a:chExt cx="340" cy="340"/>
          </a:xfrm>
          <a:solidFill>
            <a:srgbClr val="000000"/>
          </a:solidFill>
        </p:grpSpPr>
        <p:sp>
          <p:nvSpPr>
            <p:cNvPr id="35" name="Freeform 527">
              <a:extLst>
                <a:ext uri="{FF2B5EF4-FFF2-40B4-BE49-F238E27FC236}">
                  <a16:creationId xmlns:a16="http://schemas.microsoft.com/office/drawing/2014/main" id="{8EA3A5C7-485A-4FDA-967C-C02B0BF7A214}"/>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86BC25"/>
                </a:solidFill>
                <a:latin typeface="+mj-lt"/>
                <a:ea typeface="华文细黑" panose="02010600040101010101" pitchFamily="2" charset="-122"/>
              </a:endParaRPr>
            </a:p>
          </p:txBody>
        </p:sp>
        <p:sp>
          <p:nvSpPr>
            <p:cNvPr id="36" name="Freeform 528">
              <a:extLst>
                <a:ext uri="{FF2B5EF4-FFF2-40B4-BE49-F238E27FC236}">
                  <a16:creationId xmlns:a16="http://schemas.microsoft.com/office/drawing/2014/main" id="{E276C613-4234-452A-A386-514D7B4FC4FB}"/>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86BC25"/>
                </a:solidFill>
                <a:latin typeface="+mj-lt"/>
                <a:ea typeface="华文细黑" panose="02010600040101010101" pitchFamily="2" charset="-122"/>
              </a:endParaRPr>
            </a:p>
          </p:txBody>
        </p:sp>
      </p:grpSp>
      <p:sp>
        <p:nvSpPr>
          <p:cNvPr id="38" name="Rectangle 4">
            <a:extLst>
              <a:ext uri="{FF2B5EF4-FFF2-40B4-BE49-F238E27FC236}">
                <a16:creationId xmlns:a16="http://schemas.microsoft.com/office/drawing/2014/main" id="{413F2FC5-47E9-4AD8-8475-7C00A5FB9AD0}"/>
              </a:ext>
            </a:extLst>
          </p:cNvPr>
          <p:cNvSpPr/>
          <p:nvPr/>
        </p:nvSpPr>
        <p:spPr>
          <a:xfrm>
            <a:off x="9885799" y="1703191"/>
            <a:ext cx="1728000" cy="760511"/>
          </a:xfrm>
          <a:prstGeom prst="rect">
            <a:avLst/>
          </a:prstGeom>
          <a:solidFill>
            <a:srgbClr val="009A4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39" name="Group 526">
            <a:extLst>
              <a:ext uri="{FF2B5EF4-FFF2-40B4-BE49-F238E27FC236}">
                <a16:creationId xmlns:a16="http://schemas.microsoft.com/office/drawing/2014/main" id="{E8F3021E-2DA2-48B2-8B2A-477E2FECA754}"/>
              </a:ext>
            </a:extLst>
          </p:cNvPr>
          <p:cNvGrpSpPr>
            <a:grpSpLocks/>
          </p:cNvGrpSpPr>
          <p:nvPr/>
        </p:nvGrpSpPr>
        <p:grpSpPr bwMode="auto">
          <a:xfrm>
            <a:off x="10419423" y="1760317"/>
            <a:ext cx="660752" cy="660752"/>
            <a:chOff x="3464" y="1974"/>
            <a:chExt cx="340" cy="340"/>
          </a:xfrm>
          <a:solidFill>
            <a:srgbClr val="FFFFFF"/>
          </a:solidFill>
        </p:grpSpPr>
        <p:sp>
          <p:nvSpPr>
            <p:cNvPr id="40" name="Freeform 527">
              <a:extLst>
                <a:ext uri="{FF2B5EF4-FFF2-40B4-BE49-F238E27FC236}">
                  <a16:creationId xmlns:a16="http://schemas.microsoft.com/office/drawing/2014/main" id="{3AEF03A3-B79E-433A-89E3-F477B0DD6130}"/>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41" name="Freeform 528">
              <a:extLst>
                <a:ext uri="{FF2B5EF4-FFF2-40B4-BE49-F238E27FC236}">
                  <a16:creationId xmlns:a16="http://schemas.microsoft.com/office/drawing/2014/main" id="{385B2E8F-9018-4726-9026-6EE4F3D15B53}"/>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sp>
        <p:nvSpPr>
          <p:cNvPr id="43" name="Rectangle 4">
            <a:extLst>
              <a:ext uri="{FF2B5EF4-FFF2-40B4-BE49-F238E27FC236}">
                <a16:creationId xmlns:a16="http://schemas.microsoft.com/office/drawing/2014/main" id="{63C7E2F0-2D19-496B-8971-9E6C96C00CE4}"/>
              </a:ext>
            </a:extLst>
          </p:cNvPr>
          <p:cNvSpPr/>
          <p:nvPr/>
        </p:nvSpPr>
        <p:spPr>
          <a:xfrm>
            <a:off x="7531824" y="4874423"/>
            <a:ext cx="1728000" cy="760511"/>
          </a:xfrm>
          <a:prstGeom prst="rect">
            <a:avLst/>
          </a:prstGeom>
          <a:solidFill>
            <a:srgbClr val="43B02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44" name="Group 526">
            <a:extLst>
              <a:ext uri="{FF2B5EF4-FFF2-40B4-BE49-F238E27FC236}">
                <a16:creationId xmlns:a16="http://schemas.microsoft.com/office/drawing/2014/main" id="{0BC18DC7-163C-460A-8DB1-24F5A7C0114B}"/>
              </a:ext>
            </a:extLst>
          </p:cNvPr>
          <p:cNvGrpSpPr>
            <a:grpSpLocks/>
          </p:cNvGrpSpPr>
          <p:nvPr/>
        </p:nvGrpSpPr>
        <p:grpSpPr bwMode="auto">
          <a:xfrm>
            <a:off x="8065448" y="4924302"/>
            <a:ext cx="660752" cy="660752"/>
            <a:chOff x="3464" y="1974"/>
            <a:chExt cx="340" cy="340"/>
          </a:xfrm>
          <a:solidFill>
            <a:srgbClr val="FFFFFF"/>
          </a:solidFill>
        </p:grpSpPr>
        <p:sp>
          <p:nvSpPr>
            <p:cNvPr id="45" name="Freeform 527">
              <a:extLst>
                <a:ext uri="{FF2B5EF4-FFF2-40B4-BE49-F238E27FC236}">
                  <a16:creationId xmlns:a16="http://schemas.microsoft.com/office/drawing/2014/main" id="{D3DA29DE-23A3-442B-8933-259264BC8FD7}"/>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46" name="Freeform 528">
              <a:extLst>
                <a:ext uri="{FF2B5EF4-FFF2-40B4-BE49-F238E27FC236}">
                  <a16:creationId xmlns:a16="http://schemas.microsoft.com/office/drawing/2014/main" id="{B257DFE3-BE52-4A22-9B59-13F38C72FCA5}"/>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cxnSp>
        <p:nvCxnSpPr>
          <p:cNvPr id="3" name="Elbow Connector 2"/>
          <p:cNvCxnSpPr>
            <a:stCxn id="22" idx="3"/>
            <a:endCxn id="28" idx="1"/>
          </p:cNvCxnSpPr>
          <p:nvPr/>
        </p:nvCxnSpPr>
        <p:spPr>
          <a:xfrm>
            <a:off x="2197900" y="2088122"/>
            <a:ext cx="625975" cy="3166557"/>
          </a:xfrm>
          <a:prstGeom prst="bentConnector3">
            <a:avLst/>
          </a:prstGeom>
          <a:ln w="12700">
            <a:solidFill>
              <a:srgbClr val="009A44"/>
            </a:solidFill>
            <a:tailEnd type="triangle"/>
          </a:ln>
        </p:spPr>
        <p:style>
          <a:lnRef idx="1">
            <a:schemeClr val="accent1"/>
          </a:lnRef>
          <a:fillRef idx="0">
            <a:schemeClr val="accent1"/>
          </a:fillRef>
          <a:effectRef idx="0">
            <a:schemeClr val="accent1"/>
          </a:effectRef>
          <a:fontRef idx="minor">
            <a:schemeClr val="tx1"/>
          </a:fontRef>
        </p:style>
      </p:cxnSp>
      <p:cxnSp>
        <p:nvCxnSpPr>
          <p:cNvPr id="5" name="Elbow Connector 4"/>
          <p:cNvCxnSpPr>
            <a:stCxn id="28" idx="3"/>
            <a:endCxn id="33" idx="1"/>
          </p:cNvCxnSpPr>
          <p:nvPr/>
        </p:nvCxnSpPr>
        <p:spPr>
          <a:xfrm flipV="1">
            <a:off x="4551875" y="2090694"/>
            <a:ext cx="625974" cy="3163985"/>
          </a:xfrm>
          <a:prstGeom prst="bentConnector3">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cxnSp>
        <p:nvCxnSpPr>
          <p:cNvPr id="9" name="Elbow Connector 8"/>
          <p:cNvCxnSpPr>
            <a:stCxn id="33" idx="3"/>
            <a:endCxn id="43" idx="1"/>
          </p:cNvCxnSpPr>
          <p:nvPr/>
        </p:nvCxnSpPr>
        <p:spPr>
          <a:xfrm>
            <a:off x="6905849" y="2090694"/>
            <a:ext cx="625975" cy="3163985"/>
          </a:xfrm>
          <a:prstGeom prst="bentConnector3">
            <a:avLst/>
          </a:prstGeom>
          <a:ln w="1270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43" idx="3"/>
            <a:endCxn id="38" idx="1"/>
          </p:cNvCxnSpPr>
          <p:nvPr/>
        </p:nvCxnSpPr>
        <p:spPr>
          <a:xfrm flipV="1">
            <a:off x="9259824" y="2083447"/>
            <a:ext cx="625975" cy="3171232"/>
          </a:xfrm>
          <a:prstGeom prst="bentConnector3">
            <a:avLst/>
          </a:prstGeom>
          <a:ln w="12700">
            <a:solidFill>
              <a:srgbClr val="43B02A"/>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098044727"/>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直接连接符 11"/>
          <p:cNvCxnSpPr/>
          <p:nvPr/>
        </p:nvCxnSpPr>
        <p:spPr>
          <a:xfrm flipH="1">
            <a:off x="1925195" y="2700005"/>
            <a:ext cx="1" cy="762482"/>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sp>
        <p:nvSpPr>
          <p:cNvPr id="17" name="椭圆 16"/>
          <p:cNvSpPr/>
          <p:nvPr/>
        </p:nvSpPr>
        <p:spPr>
          <a:xfrm>
            <a:off x="1731298" y="2363081"/>
            <a:ext cx="387795" cy="3877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solidFill>
                  <a:schemeClr val="bg1"/>
                </a:solidFill>
              </a:rPr>
              <a:t>1</a:t>
            </a:r>
            <a:endParaRPr lang="zh-CN" altLang="en-US" b="1" dirty="0">
              <a:solidFill>
                <a:schemeClr val="bg1"/>
              </a:solidFill>
            </a:endParaRPr>
          </a:p>
        </p:txBody>
      </p:sp>
      <p:cxnSp>
        <p:nvCxnSpPr>
          <p:cNvPr id="5" name="直接连接符 25"/>
          <p:cNvCxnSpPr/>
          <p:nvPr/>
        </p:nvCxnSpPr>
        <p:spPr>
          <a:xfrm flipH="1">
            <a:off x="7474896" y="2700005"/>
            <a:ext cx="1" cy="762482"/>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sp>
        <p:nvSpPr>
          <p:cNvPr id="7" name="椭圆 27"/>
          <p:cNvSpPr/>
          <p:nvPr/>
        </p:nvSpPr>
        <p:spPr>
          <a:xfrm>
            <a:off x="7280999" y="2363081"/>
            <a:ext cx="387795" cy="3877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solidFill>
                  <a:schemeClr val="bg1"/>
                </a:solidFill>
              </a:rPr>
              <a:t>3</a:t>
            </a:r>
            <a:endParaRPr lang="zh-CN" altLang="en-US" b="1" dirty="0">
              <a:solidFill>
                <a:schemeClr val="bg1"/>
              </a:solidFill>
            </a:endParaRPr>
          </a:p>
        </p:txBody>
      </p:sp>
      <p:cxnSp>
        <p:nvCxnSpPr>
          <p:cNvPr id="10" name="直接连接符 20"/>
          <p:cNvCxnSpPr/>
          <p:nvPr/>
        </p:nvCxnSpPr>
        <p:spPr>
          <a:xfrm flipV="1">
            <a:off x="4702894" y="4162694"/>
            <a:ext cx="0" cy="762730"/>
          </a:xfrm>
          <a:prstGeom prst="line">
            <a:avLst/>
          </a:prstGeom>
          <a:solidFill>
            <a:srgbClr val="375BA5"/>
          </a:solidFill>
          <a:ln w="19050">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椭圆 22"/>
          <p:cNvSpPr/>
          <p:nvPr/>
        </p:nvSpPr>
        <p:spPr>
          <a:xfrm rot="10800000" flipV="1">
            <a:off x="4508997" y="4874552"/>
            <a:ext cx="387795" cy="387795"/>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b="1"/>
              <a:t>2</a:t>
            </a:r>
            <a:endParaRPr lang="zh-CN" altLang="en-US" b="1" dirty="0"/>
          </a:p>
        </p:txBody>
      </p:sp>
      <p:cxnSp>
        <p:nvCxnSpPr>
          <p:cNvPr id="40" name="直接连接符 30"/>
          <p:cNvCxnSpPr/>
          <p:nvPr/>
        </p:nvCxnSpPr>
        <p:spPr>
          <a:xfrm flipH="1" flipV="1">
            <a:off x="10257280" y="4162694"/>
            <a:ext cx="1" cy="762730"/>
          </a:xfrm>
          <a:prstGeom prst="line">
            <a:avLst/>
          </a:prstGeom>
          <a:solidFill>
            <a:srgbClr val="375BA5"/>
          </a:solidFill>
          <a:ln w="19050">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椭圆 32"/>
          <p:cNvSpPr/>
          <p:nvPr/>
        </p:nvSpPr>
        <p:spPr>
          <a:xfrm rot="10800000" flipV="1">
            <a:off x="10063383" y="4874552"/>
            <a:ext cx="387795" cy="387795"/>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b="1"/>
              <a:t>4</a:t>
            </a:r>
            <a:endParaRPr lang="zh-CN" altLang="en-US" b="1" dirty="0"/>
          </a:p>
        </p:txBody>
      </p:sp>
      <p:sp>
        <p:nvSpPr>
          <p:cNvPr id="25" name="文本框 34"/>
          <p:cNvSpPr txBox="1"/>
          <p:nvPr/>
        </p:nvSpPr>
        <p:spPr>
          <a:xfrm>
            <a:off x="753828" y="3581372"/>
            <a:ext cx="2342734" cy="369332"/>
          </a:xfrm>
          <a:prstGeom prst="rect">
            <a:avLst/>
          </a:prstGeom>
          <a:noFill/>
        </p:spPr>
        <p:txBody>
          <a:bodyPr wrap="square" rtlCol="0">
            <a:spAutoFit/>
          </a:bodyPr>
          <a:lstStyle/>
          <a:p>
            <a:pPr algn="ctr"/>
            <a:r>
              <a:rPr lang="zh-CN" altLang="en-US" b="1" dirty="0">
                <a:solidFill>
                  <a:schemeClr val="bg1"/>
                </a:solidFill>
              </a:rPr>
              <a:t>添加标题</a:t>
            </a:r>
          </a:p>
        </p:txBody>
      </p:sp>
      <p:sp>
        <p:nvSpPr>
          <p:cNvPr id="24" name="五边形 5"/>
          <p:cNvSpPr/>
          <p:nvPr/>
        </p:nvSpPr>
        <p:spPr>
          <a:xfrm rot="16200000">
            <a:off x="1581378" y="2253590"/>
            <a:ext cx="687635" cy="2783588"/>
          </a:xfrm>
          <a:prstGeom prst="homePlate">
            <a:avLst>
              <a:gd name="adj" fmla="val 487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9" name="矩形 14"/>
          <p:cNvSpPr/>
          <p:nvPr/>
        </p:nvSpPr>
        <p:spPr>
          <a:xfrm>
            <a:off x="533401" y="5605618"/>
            <a:ext cx="2783589"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1"/>
          <p:cNvSpPr/>
          <p:nvPr/>
        </p:nvSpPr>
        <p:spPr>
          <a:xfrm flipV="1">
            <a:off x="3311100" y="1721130"/>
            <a:ext cx="2783589" cy="54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6"/>
          <p:cNvSpPr/>
          <p:nvPr/>
        </p:nvSpPr>
        <p:spPr>
          <a:xfrm>
            <a:off x="6083102" y="5605618"/>
            <a:ext cx="2783589"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31"/>
          <p:cNvSpPr/>
          <p:nvPr/>
        </p:nvSpPr>
        <p:spPr>
          <a:xfrm flipV="1">
            <a:off x="8865486" y="1721130"/>
            <a:ext cx="2783589" cy="54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文本框 35"/>
          <p:cNvSpPr txBox="1"/>
          <p:nvPr/>
        </p:nvSpPr>
        <p:spPr>
          <a:xfrm>
            <a:off x="539959" y="4056423"/>
            <a:ext cx="2770472" cy="1292662"/>
          </a:xfrm>
          <a:prstGeom prst="rect">
            <a:avLst/>
          </a:prstGeom>
          <a:noFill/>
        </p:spPr>
        <p:txBody>
          <a:bodyPr wrap="square" rtlCol="0">
            <a:spAutoFit/>
          </a:bodyPr>
          <a:lstStyle/>
          <a:p>
            <a:r>
              <a:rPr lang="en-US" altLang="zh-CN" sz="1300" dirty="0">
                <a:solidFill>
                  <a:schemeClr val="tx1">
                    <a:lumMod val="75000"/>
                    <a:lumOff val="25000"/>
                  </a:schemeClr>
                </a:solidFill>
              </a:rPr>
              <a:t>This is dummy text it is not here to be read. The is just text to show where you could insert text. The is just text to show where you could insert text. Please replace with your text content here.</a:t>
            </a:r>
          </a:p>
        </p:txBody>
      </p:sp>
      <p:sp>
        <p:nvSpPr>
          <p:cNvPr id="28" name="五边形 24"/>
          <p:cNvSpPr/>
          <p:nvPr/>
        </p:nvSpPr>
        <p:spPr>
          <a:xfrm rot="16200000">
            <a:off x="7131079" y="2253590"/>
            <a:ext cx="687635" cy="2783588"/>
          </a:xfrm>
          <a:prstGeom prst="homePlate">
            <a:avLst>
              <a:gd name="adj" fmla="val 487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文本框 36"/>
          <p:cNvSpPr txBox="1"/>
          <p:nvPr/>
        </p:nvSpPr>
        <p:spPr>
          <a:xfrm>
            <a:off x="6303529" y="3581372"/>
            <a:ext cx="2342734" cy="338554"/>
          </a:xfrm>
          <a:prstGeom prst="rect">
            <a:avLst/>
          </a:prstGeom>
          <a:noFill/>
        </p:spPr>
        <p:txBody>
          <a:bodyPr wrap="square" rtlCol="0">
            <a:spAutoFit/>
          </a:bodyPr>
          <a:lstStyle/>
          <a:p>
            <a:pPr algn="ctr"/>
            <a:r>
              <a:rPr lang="en-US" sz="1600" b="1" dirty="0">
                <a:solidFill>
                  <a:srgbClr val="FFFFFF"/>
                </a:solidFill>
              </a:rPr>
              <a:t>Lorem ipsum</a:t>
            </a:r>
            <a:endParaRPr lang="zh-CN" altLang="en-US" sz="1600" b="1" dirty="0">
              <a:solidFill>
                <a:srgbClr val="FFFFFF"/>
              </a:solidFill>
            </a:endParaRPr>
          </a:p>
        </p:txBody>
      </p:sp>
      <p:sp>
        <p:nvSpPr>
          <p:cNvPr id="31" name="五边形 19"/>
          <p:cNvSpPr/>
          <p:nvPr/>
        </p:nvSpPr>
        <p:spPr>
          <a:xfrm rot="5400000" flipV="1">
            <a:off x="4359077" y="2587410"/>
            <a:ext cx="687635" cy="2783588"/>
          </a:xfrm>
          <a:prstGeom prst="homePlate">
            <a:avLst>
              <a:gd name="adj" fmla="val 48709"/>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7"/>
          <p:cNvSpPr txBox="1"/>
          <p:nvPr/>
        </p:nvSpPr>
        <p:spPr>
          <a:xfrm>
            <a:off x="3531527" y="3699645"/>
            <a:ext cx="2342734" cy="338554"/>
          </a:xfrm>
          <a:prstGeom prst="rect">
            <a:avLst/>
          </a:prstGeom>
          <a:noFill/>
        </p:spPr>
        <p:txBody>
          <a:bodyPr wrap="square" rtlCol="0">
            <a:spAutoFit/>
          </a:bodyPr>
          <a:lstStyle/>
          <a:p>
            <a:pPr algn="ctr"/>
            <a:r>
              <a:rPr lang="en-US" sz="1600" b="1" dirty="0">
                <a:solidFill>
                  <a:srgbClr val="FFFFFF"/>
                </a:solidFill>
              </a:rPr>
              <a:t>Lorem ipsum</a:t>
            </a:r>
            <a:endParaRPr lang="zh-CN" altLang="en-US" sz="1600" b="1" dirty="0">
              <a:solidFill>
                <a:srgbClr val="FFFFFF"/>
              </a:solidFill>
            </a:endParaRPr>
          </a:p>
        </p:txBody>
      </p:sp>
      <p:sp>
        <p:nvSpPr>
          <p:cNvPr id="34" name="五边形 29"/>
          <p:cNvSpPr/>
          <p:nvPr/>
        </p:nvSpPr>
        <p:spPr>
          <a:xfrm rot="5400000" flipV="1">
            <a:off x="9913463" y="2587410"/>
            <a:ext cx="687635" cy="2783588"/>
          </a:xfrm>
          <a:prstGeom prst="homePlate">
            <a:avLst>
              <a:gd name="adj" fmla="val 48709"/>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8"/>
          <p:cNvSpPr txBox="1"/>
          <p:nvPr/>
        </p:nvSpPr>
        <p:spPr>
          <a:xfrm>
            <a:off x="9085913" y="3699645"/>
            <a:ext cx="2342734" cy="338554"/>
          </a:xfrm>
          <a:prstGeom prst="rect">
            <a:avLst/>
          </a:prstGeom>
          <a:noFill/>
        </p:spPr>
        <p:txBody>
          <a:bodyPr wrap="square" rtlCol="0">
            <a:spAutoFit/>
          </a:bodyPr>
          <a:lstStyle/>
          <a:p>
            <a:pPr algn="ctr"/>
            <a:r>
              <a:rPr lang="en-US" sz="1600" b="1" dirty="0">
                <a:solidFill>
                  <a:srgbClr val="FFFFFF"/>
                </a:solidFill>
              </a:rPr>
              <a:t>Lorem ipsum</a:t>
            </a:r>
            <a:endParaRPr lang="zh-CN" altLang="en-US" sz="1600" b="1" dirty="0">
              <a:solidFill>
                <a:srgbClr val="FFFFFF"/>
              </a:solidFill>
            </a:endParaRPr>
          </a:p>
        </p:txBody>
      </p:sp>
      <p:sp>
        <p:nvSpPr>
          <p:cNvPr id="36" name="文本框 39"/>
          <p:cNvSpPr txBox="1"/>
          <p:nvPr/>
        </p:nvSpPr>
        <p:spPr>
          <a:xfrm>
            <a:off x="6089660" y="4056423"/>
            <a:ext cx="2770472" cy="1292662"/>
          </a:xfrm>
          <a:prstGeom prst="rect">
            <a:avLst/>
          </a:prstGeom>
          <a:noFill/>
        </p:spPr>
        <p:txBody>
          <a:bodyPr wrap="square" rtlCol="0">
            <a:spAutoFit/>
          </a:bodyPr>
          <a:lstStyle/>
          <a:p>
            <a:r>
              <a:rPr lang="en-US" altLang="zh-CN" sz="1300" dirty="0">
                <a:solidFill>
                  <a:schemeClr val="tx1">
                    <a:lumMod val="75000"/>
                    <a:lumOff val="25000"/>
                  </a:schemeClr>
                </a:solidFill>
              </a:rPr>
              <a:t>This is dummy text it is not here to be read. The is just text to show where you could insert text. The is just text to show where you could insert text. Please replace with your text content here.</a:t>
            </a:r>
          </a:p>
        </p:txBody>
      </p:sp>
      <p:sp>
        <p:nvSpPr>
          <p:cNvPr id="37" name="文本框 40"/>
          <p:cNvSpPr txBox="1"/>
          <p:nvPr/>
        </p:nvSpPr>
        <p:spPr>
          <a:xfrm>
            <a:off x="3317658" y="1838464"/>
            <a:ext cx="2770472" cy="1292662"/>
          </a:xfrm>
          <a:prstGeom prst="rect">
            <a:avLst/>
          </a:prstGeom>
          <a:noFill/>
        </p:spPr>
        <p:txBody>
          <a:bodyPr wrap="square" rtlCol="0">
            <a:spAutoFit/>
          </a:bodyPr>
          <a:lstStyle/>
          <a:p>
            <a:r>
              <a:rPr lang="en-US" altLang="zh-CN" sz="1300" dirty="0">
                <a:solidFill>
                  <a:schemeClr val="tx1">
                    <a:lumMod val="75000"/>
                    <a:lumOff val="25000"/>
                  </a:schemeClr>
                </a:solidFill>
              </a:rPr>
              <a:t>This is dummy text it is not here to be read. The is just text to show where you could insert text. The is just text to show where you could insert text. Please replace with your text content here.</a:t>
            </a:r>
          </a:p>
        </p:txBody>
      </p:sp>
      <p:sp>
        <p:nvSpPr>
          <p:cNvPr id="38" name="文本框 41"/>
          <p:cNvSpPr txBox="1"/>
          <p:nvPr/>
        </p:nvSpPr>
        <p:spPr>
          <a:xfrm>
            <a:off x="8872044" y="1838464"/>
            <a:ext cx="2770472" cy="1292662"/>
          </a:xfrm>
          <a:prstGeom prst="rect">
            <a:avLst/>
          </a:prstGeom>
          <a:noFill/>
        </p:spPr>
        <p:txBody>
          <a:bodyPr wrap="square" rtlCol="0">
            <a:spAutoFit/>
          </a:bodyPr>
          <a:lstStyle/>
          <a:p>
            <a:r>
              <a:rPr lang="en-US" altLang="zh-CN" sz="1300" dirty="0">
                <a:solidFill>
                  <a:schemeClr val="tx1">
                    <a:lumMod val="75000"/>
                    <a:lumOff val="25000"/>
                  </a:schemeClr>
                </a:solidFill>
              </a:rPr>
              <a:t>This is dummy text it is not here to be read. The is just text to show where you could insert text. The is just text to show where you could insert text. Please replace with your text content here.</a:t>
            </a:r>
          </a:p>
        </p:txBody>
      </p:sp>
      <p:sp>
        <p:nvSpPr>
          <p:cNvPr id="44" name="文本框 36"/>
          <p:cNvSpPr txBox="1"/>
          <p:nvPr/>
        </p:nvSpPr>
        <p:spPr>
          <a:xfrm>
            <a:off x="753828" y="3632691"/>
            <a:ext cx="2342734" cy="338554"/>
          </a:xfrm>
          <a:prstGeom prst="rect">
            <a:avLst/>
          </a:prstGeom>
          <a:noFill/>
        </p:spPr>
        <p:txBody>
          <a:bodyPr wrap="square" rtlCol="0">
            <a:spAutoFit/>
          </a:bodyPr>
          <a:lstStyle/>
          <a:p>
            <a:pPr algn="ctr"/>
            <a:r>
              <a:rPr lang="en-US" sz="1600" b="1" dirty="0">
                <a:solidFill>
                  <a:srgbClr val="FFFFFF"/>
                </a:solidFill>
              </a:rPr>
              <a:t>Lorem ipsum</a:t>
            </a:r>
            <a:endParaRPr lang="zh-CN" altLang="en-US" sz="1600" b="1" dirty="0">
              <a:solidFill>
                <a:srgbClr val="FFFFFF"/>
              </a:solidFill>
            </a:endParaRPr>
          </a:p>
        </p:txBody>
      </p:sp>
    </p:spTree>
    <p:custDataLst>
      <p:tags r:id="rId1"/>
    </p:custDataLst>
    <p:extLst>
      <p:ext uri="{BB962C8B-B14F-4D97-AF65-F5344CB8AC3E}">
        <p14:creationId xmlns:p14="http://schemas.microsoft.com/office/powerpoint/2010/main" val="792972842"/>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8F7B31F-87C7-954D-80C7-9A064FA12F16}"/>
              </a:ext>
            </a:extLst>
          </p:cNvPr>
          <p:cNvGrpSpPr/>
          <p:nvPr/>
        </p:nvGrpSpPr>
        <p:grpSpPr>
          <a:xfrm>
            <a:off x="2298695" y="1714500"/>
            <a:ext cx="2196244" cy="2952515"/>
            <a:chOff x="755576" y="1338821"/>
            <a:chExt cx="1872208" cy="2952515"/>
          </a:xfrm>
        </p:grpSpPr>
        <p:sp>
          <p:nvSpPr>
            <p:cNvPr id="8" name="Isosceles Triangle 5">
              <a:extLst>
                <a:ext uri="{FF2B5EF4-FFF2-40B4-BE49-F238E27FC236}">
                  <a16:creationId xmlns:a16="http://schemas.microsoft.com/office/drawing/2014/main" id="{3951C690-C52A-CC4B-9E35-0E8830B2C828}"/>
                </a:ext>
              </a:extLst>
            </p:cNvPr>
            <p:cNvSpPr>
              <a:spLocks noChangeAspect="1"/>
            </p:cNvSpPr>
            <p:nvPr/>
          </p:nvSpPr>
          <p:spPr>
            <a:xfrm>
              <a:off x="755576" y="1338822"/>
              <a:ext cx="1872208" cy="1476164"/>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 name="Isosceles Triangle 6">
              <a:extLst>
                <a:ext uri="{FF2B5EF4-FFF2-40B4-BE49-F238E27FC236}">
                  <a16:creationId xmlns:a16="http://schemas.microsoft.com/office/drawing/2014/main" id="{68185197-88A1-D846-B395-9C8F70F225BD}"/>
                </a:ext>
              </a:extLst>
            </p:cNvPr>
            <p:cNvSpPr>
              <a:spLocks noChangeAspect="1"/>
            </p:cNvSpPr>
            <p:nvPr/>
          </p:nvSpPr>
          <p:spPr>
            <a:xfrm rot="10800000">
              <a:off x="1091939" y="1338821"/>
              <a:ext cx="606090" cy="477879"/>
            </a:xfrm>
            <a:prstGeom prst="triangle">
              <a:avLst/>
            </a:prstGeom>
            <a:gradFill flip="none" rotWithShape="1">
              <a:gsLst>
                <a:gs pos="0">
                  <a:schemeClr val="accent1">
                    <a:lumMod val="75000"/>
                  </a:schemeClr>
                </a:gs>
                <a:gs pos="100000">
                  <a:schemeClr val="accent1">
                    <a:shade val="100000"/>
                    <a:satMod val="115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0" name="Isosceles Triangle 7">
              <a:extLst>
                <a:ext uri="{FF2B5EF4-FFF2-40B4-BE49-F238E27FC236}">
                  <a16:creationId xmlns:a16="http://schemas.microsoft.com/office/drawing/2014/main" id="{B012FDC0-26C1-1049-85BB-A74D7E7F4B7C}"/>
                </a:ext>
              </a:extLst>
            </p:cNvPr>
            <p:cNvSpPr>
              <a:spLocks noChangeAspect="1"/>
            </p:cNvSpPr>
            <p:nvPr/>
          </p:nvSpPr>
          <p:spPr>
            <a:xfrm rot="10800000">
              <a:off x="755576" y="2815172"/>
              <a:ext cx="1872208" cy="1476164"/>
            </a:xfrm>
            <a:prstGeom prst="triangle">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1" name="Group 10">
            <a:extLst>
              <a:ext uri="{FF2B5EF4-FFF2-40B4-BE49-F238E27FC236}">
                <a16:creationId xmlns:a16="http://schemas.microsoft.com/office/drawing/2014/main" id="{FCFC4B8C-3E32-4E49-B384-AAE46A382F7A}"/>
              </a:ext>
            </a:extLst>
          </p:cNvPr>
          <p:cNvGrpSpPr/>
          <p:nvPr/>
        </p:nvGrpSpPr>
        <p:grpSpPr>
          <a:xfrm>
            <a:off x="4102716" y="1714500"/>
            <a:ext cx="2196244" cy="2952515"/>
            <a:chOff x="755576" y="1338821"/>
            <a:chExt cx="1872208" cy="2952515"/>
          </a:xfrm>
        </p:grpSpPr>
        <p:sp>
          <p:nvSpPr>
            <p:cNvPr id="12" name="Isosceles Triangle 9">
              <a:extLst>
                <a:ext uri="{FF2B5EF4-FFF2-40B4-BE49-F238E27FC236}">
                  <a16:creationId xmlns:a16="http://schemas.microsoft.com/office/drawing/2014/main" id="{10AA12BC-A18D-6746-8319-234772B74587}"/>
                </a:ext>
              </a:extLst>
            </p:cNvPr>
            <p:cNvSpPr>
              <a:spLocks noChangeAspect="1"/>
            </p:cNvSpPr>
            <p:nvPr/>
          </p:nvSpPr>
          <p:spPr>
            <a:xfrm>
              <a:off x="755576" y="1338822"/>
              <a:ext cx="1872208" cy="1476164"/>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 name="Isosceles Triangle 10">
              <a:extLst>
                <a:ext uri="{FF2B5EF4-FFF2-40B4-BE49-F238E27FC236}">
                  <a16:creationId xmlns:a16="http://schemas.microsoft.com/office/drawing/2014/main" id="{9D78375B-8100-8848-B1E4-325D12B6094E}"/>
                </a:ext>
              </a:extLst>
            </p:cNvPr>
            <p:cNvSpPr>
              <a:spLocks noChangeAspect="1"/>
            </p:cNvSpPr>
            <p:nvPr/>
          </p:nvSpPr>
          <p:spPr>
            <a:xfrm rot="10800000">
              <a:off x="1091939" y="1338821"/>
              <a:ext cx="606090" cy="477879"/>
            </a:xfrm>
            <a:prstGeom prst="triangle">
              <a:avLst/>
            </a:prstGeom>
            <a:gradFill flip="none" rotWithShape="1">
              <a:gsLst>
                <a:gs pos="0">
                  <a:schemeClr val="accent3">
                    <a:lumMod val="75000"/>
                  </a:schemeClr>
                </a:gs>
                <a:gs pos="100000">
                  <a:schemeClr val="accent3"/>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 name="Isosceles Triangle 11">
              <a:extLst>
                <a:ext uri="{FF2B5EF4-FFF2-40B4-BE49-F238E27FC236}">
                  <a16:creationId xmlns:a16="http://schemas.microsoft.com/office/drawing/2014/main" id="{4DB98932-1595-1B4E-A11E-E946739A4327}"/>
                </a:ext>
              </a:extLst>
            </p:cNvPr>
            <p:cNvSpPr>
              <a:spLocks noChangeAspect="1"/>
            </p:cNvSpPr>
            <p:nvPr/>
          </p:nvSpPr>
          <p:spPr>
            <a:xfrm rot="10800000">
              <a:off x="755576" y="2815172"/>
              <a:ext cx="1872208" cy="1476164"/>
            </a:xfrm>
            <a:prstGeom prst="triangle">
              <a:avLst/>
            </a:prstGeom>
            <a:solidFill>
              <a:srgbClr val="046A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5" name="Group 14">
            <a:extLst>
              <a:ext uri="{FF2B5EF4-FFF2-40B4-BE49-F238E27FC236}">
                <a16:creationId xmlns:a16="http://schemas.microsoft.com/office/drawing/2014/main" id="{C8678C3D-88C9-914C-A674-22A6F51FD70E}"/>
              </a:ext>
            </a:extLst>
          </p:cNvPr>
          <p:cNvGrpSpPr/>
          <p:nvPr/>
        </p:nvGrpSpPr>
        <p:grpSpPr>
          <a:xfrm>
            <a:off x="5908022" y="1714500"/>
            <a:ext cx="2196244" cy="2952515"/>
            <a:chOff x="755576" y="1338821"/>
            <a:chExt cx="1872208" cy="2952515"/>
          </a:xfrm>
        </p:grpSpPr>
        <p:sp>
          <p:nvSpPr>
            <p:cNvPr id="16" name="Isosceles Triangle 13">
              <a:extLst>
                <a:ext uri="{FF2B5EF4-FFF2-40B4-BE49-F238E27FC236}">
                  <a16:creationId xmlns:a16="http://schemas.microsoft.com/office/drawing/2014/main" id="{72960046-B1F4-3843-94A6-04355EE7661F}"/>
                </a:ext>
              </a:extLst>
            </p:cNvPr>
            <p:cNvSpPr>
              <a:spLocks noChangeAspect="1"/>
            </p:cNvSpPr>
            <p:nvPr/>
          </p:nvSpPr>
          <p:spPr>
            <a:xfrm>
              <a:off x="755576" y="1338822"/>
              <a:ext cx="1872208" cy="1476164"/>
            </a:xfrm>
            <a:prstGeom prst="triangle">
              <a:avLst/>
            </a:prstGeom>
            <a:solidFill>
              <a:srgbClr val="75787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7" name="Isosceles Triangle 14">
              <a:extLst>
                <a:ext uri="{FF2B5EF4-FFF2-40B4-BE49-F238E27FC236}">
                  <a16:creationId xmlns:a16="http://schemas.microsoft.com/office/drawing/2014/main" id="{F10B7BA8-2F28-0045-9CFF-57226E776883}"/>
                </a:ext>
              </a:extLst>
            </p:cNvPr>
            <p:cNvSpPr>
              <a:spLocks noChangeAspect="1"/>
            </p:cNvSpPr>
            <p:nvPr/>
          </p:nvSpPr>
          <p:spPr>
            <a:xfrm rot="10800000">
              <a:off x="1091939" y="1338821"/>
              <a:ext cx="606090" cy="477879"/>
            </a:xfrm>
            <a:prstGeom prst="triangle">
              <a:avLst/>
            </a:prstGeom>
            <a:solidFill>
              <a:srgbClr val="63666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8" name="Isosceles Triangle 15">
              <a:extLst>
                <a:ext uri="{FF2B5EF4-FFF2-40B4-BE49-F238E27FC236}">
                  <a16:creationId xmlns:a16="http://schemas.microsoft.com/office/drawing/2014/main" id="{A8364341-9B7D-5943-9820-442FC5A767BE}"/>
                </a:ext>
              </a:extLst>
            </p:cNvPr>
            <p:cNvSpPr>
              <a:spLocks noChangeAspect="1"/>
            </p:cNvSpPr>
            <p:nvPr/>
          </p:nvSpPr>
          <p:spPr>
            <a:xfrm rot="10800000">
              <a:off x="755576" y="2815172"/>
              <a:ext cx="1872208" cy="1476164"/>
            </a:xfrm>
            <a:prstGeom prst="triangle">
              <a:avLst/>
            </a:prstGeom>
            <a:solidFill>
              <a:srgbClr val="535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9" name="Group 18">
            <a:extLst>
              <a:ext uri="{FF2B5EF4-FFF2-40B4-BE49-F238E27FC236}">
                <a16:creationId xmlns:a16="http://schemas.microsoft.com/office/drawing/2014/main" id="{A2C73276-4E96-D04B-A376-F44E35D74E9B}"/>
              </a:ext>
            </a:extLst>
          </p:cNvPr>
          <p:cNvGrpSpPr/>
          <p:nvPr/>
        </p:nvGrpSpPr>
        <p:grpSpPr>
          <a:xfrm>
            <a:off x="7695668" y="1714500"/>
            <a:ext cx="2196244" cy="2952515"/>
            <a:chOff x="755576" y="1338821"/>
            <a:chExt cx="1872208" cy="2952515"/>
          </a:xfrm>
        </p:grpSpPr>
        <p:sp>
          <p:nvSpPr>
            <p:cNvPr id="20" name="Isosceles Triangle 17">
              <a:extLst>
                <a:ext uri="{FF2B5EF4-FFF2-40B4-BE49-F238E27FC236}">
                  <a16:creationId xmlns:a16="http://schemas.microsoft.com/office/drawing/2014/main" id="{A42FFBB6-4FD3-974C-9E86-849C5380963D}"/>
                </a:ext>
              </a:extLst>
            </p:cNvPr>
            <p:cNvSpPr>
              <a:spLocks noChangeAspect="1"/>
            </p:cNvSpPr>
            <p:nvPr/>
          </p:nvSpPr>
          <p:spPr>
            <a:xfrm>
              <a:off x="755576" y="1338822"/>
              <a:ext cx="1872208" cy="1476164"/>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1" name="Isosceles Triangle 18">
              <a:extLst>
                <a:ext uri="{FF2B5EF4-FFF2-40B4-BE49-F238E27FC236}">
                  <a16:creationId xmlns:a16="http://schemas.microsoft.com/office/drawing/2014/main" id="{3D3D9610-9E39-E544-A406-093AD5174C70}"/>
                </a:ext>
              </a:extLst>
            </p:cNvPr>
            <p:cNvSpPr>
              <a:spLocks noChangeAspect="1"/>
            </p:cNvSpPr>
            <p:nvPr/>
          </p:nvSpPr>
          <p:spPr>
            <a:xfrm rot="10800000">
              <a:off x="1091939" y="1338821"/>
              <a:ext cx="606090" cy="477879"/>
            </a:xfrm>
            <a:prstGeom prst="triangle">
              <a:avLst/>
            </a:prstGeom>
            <a:gradFill flip="none" rotWithShape="1">
              <a:gsLst>
                <a:gs pos="0">
                  <a:schemeClr val="tx2">
                    <a:lumMod val="75000"/>
                  </a:schemeClr>
                </a:gs>
                <a:gs pos="100000">
                  <a:schemeClr val="tx2"/>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2" name="Isosceles Triangle 19">
              <a:extLst>
                <a:ext uri="{FF2B5EF4-FFF2-40B4-BE49-F238E27FC236}">
                  <a16:creationId xmlns:a16="http://schemas.microsoft.com/office/drawing/2014/main" id="{113B777E-051B-B948-B3C4-DDE3D45050E7}"/>
                </a:ext>
              </a:extLst>
            </p:cNvPr>
            <p:cNvSpPr>
              <a:spLocks noChangeAspect="1"/>
            </p:cNvSpPr>
            <p:nvPr/>
          </p:nvSpPr>
          <p:spPr>
            <a:xfrm rot="10800000">
              <a:off x="755576" y="2815172"/>
              <a:ext cx="1872208" cy="1476164"/>
            </a:xfrm>
            <a:prstGeom prst="triangl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23" name="TextBox 22">
            <a:extLst>
              <a:ext uri="{FF2B5EF4-FFF2-40B4-BE49-F238E27FC236}">
                <a16:creationId xmlns:a16="http://schemas.microsoft.com/office/drawing/2014/main" id="{B2A165FE-247B-ED40-937B-019D5FFFF4A2}"/>
              </a:ext>
            </a:extLst>
          </p:cNvPr>
          <p:cNvSpPr txBox="1"/>
          <p:nvPr/>
        </p:nvSpPr>
        <p:spPr>
          <a:xfrm>
            <a:off x="2847177" y="1764232"/>
            <a:ext cx="429401" cy="292388"/>
          </a:xfrm>
          <a:prstGeom prst="rect">
            <a:avLst/>
          </a:prstGeom>
          <a:noFill/>
        </p:spPr>
        <p:txBody>
          <a:bodyPr wrap="square" rtlCol="0">
            <a:spAutoFit/>
          </a:bodyPr>
          <a:lstStyle/>
          <a:p>
            <a:pPr algn="ctr"/>
            <a:r>
              <a:rPr lang="en-US" sz="1300" dirty="0">
                <a:solidFill>
                  <a:srgbClr val="FFFFFF"/>
                </a:solidFill>
              </a:rPr>
              <a:t>01</a:t>
            </a:r>
          </a:p>
        </p:txBody>
      </p:sp>
      <p:sp>
        <p:nvSpPr>
          <p:cNvPr id="24" name="TextBox 23">
            <a:extLst>
              <a:ext uri="{FF2B5EF4-FFF2-40B4-BE49-F238E27FC236}">
                <a16:creationId xmlns:a16="http://schemas.microsoft.com/office/drawing/2014/main" id="{5050ADD8-65B1-5D47-8C0D-EAB1FF9E80D2}"/>
              </a:ext>
            </a:extLst>
          </p:cNvPr>
          <p:cNvSpPr txBox="1"/>
          <p:nvPr/>
        </p:nvSpPr>
        <p:spPr>
          <a:xfrm>
            <a:off x="4644087" y="1764232"/>
            <a:ext cx="429401" cy="292388"/>
          </a:xfrm>
          <a:prstGeom prst="rect">
            <a:avLst/>
          </a:prstGeom>
          <a:noFill/>
        </p:spPr>
        <p:txBody>
          <a:bodyPr wrap="square" rtlCol="0">
            <a:spAutoFit/>
          </a:bodyPr>
          <a:lstStyle/>
          <a:p>
            <a:pPr algn="ctr"/>
            <a:r>
              <a:rPr lang="en-US" sz="1300" dirty="0">
                <a:solidFill>
                  <a:srgbClr val="FFFFFF"/>
                </a:solidFill>
              </a:rPr>
              <a:t>02</a:t>
            </a:r>
          </a:p>
        </p:txBody>
      </p:sp>
      <p:sp>
        <p:nvSpPr>
          <p:cNvPr id="25" name="TextBox 24">
            <a:extLst>
              <a:ext uri="{FF2B5EF4-FFF2-40B4-BE49-F238E27FC236}">
                <a16:creationId xmlns:a16="http://schemas.microsoft.com/office/drawing/2014/main" id="{E4BAFF5D-E55E-7646-A1D3-0A8D515AE4E2}"/>
              </a:ext>
            </a:extLst>
          </p:cNvPr>
          <p:cNvSpPr txBox="1"/>
          <p:nvPr/>
        </p:nvSpPr>
        <p:spPr>
          <a:xfrm>
            <a:off x="6443543" y="1764232"/>
            <a:ext cx="429401" cy="292388"/>
          </a:xfrm>
          <a:prstGeom prst="rect">
            <a:avLst/>
          </a:prstGeom>
          <a:noFill/>
        </p:spPr>
        <p:txBody>
          <a:bodyPr wrap="square" rtlCol="0">
            <a:spAutoFit/>
          </a:bodyPr>
          <a:lstStyle/>
          <a:p>
            <a:pPr algn="ctr"/>
            <a:r>
              <a:rPr lang="en-US" sz="1300" dirty="0">
                <a:solidFill>
                  <a:srgbClr val="FFFFFF"/>
                </a:solidFill>
              </a:rPr>
              <a:t>03</a:t>
            </a:r>
          </a:p>
        </p:txBody>
      </p:sp>
      <p:sp>
        <p:nvSpPr>
          <p:cNvPr id="26" name="TextBox 25">
            <a:extLst>
              <a:ext uri="{FF2B5EF4-FFF2-40B4-BE49-F238E27FC236}">
                <a16:creationId xmlns:a16="http://schemas.microsoft.com/office/drawing/2014/main" id="{259A593F-63FF-B142-A5FA-2B4423824A62}"/>
              </a:ext>
            </a:extLst>
          </p:cNvPr>
          <p:cNvSpPr txBox="1"/>
          <p:nvPr/>
        </p:nvSpPr>
        <p:spPr>
          <a:xfrm>
            <a:off x="8255271" y="1764232"/>
            <a:ext cx="429401" cy="292388"/>
          </a:xfrm>
          <a:prstGeom prst="rect">
            <a:avLst/>
          </a:prstGeom>
          <a:noFill/>
        </p:spPr>
        <p:txBody>
          <a:bodyPr wrap="square" rtlCol="0">
            <a:spAutoFit/>
          </a:bodyPr>
          <a:lstStyle/>
          <a:p>
            <a:pPr algn="ctr"/>
            <a:r>
              <a:rPr lang="en-US" sz="1300" dirty="0">
                <a:solidFill>
                  <a:srgbClr val="FFFFFF"/>
                </a:solidFill>
              </a:rPr>
              <a:t>04</a:t>
            </a:r>
          </a:p>
        </p:txBody>
      </p:sp>
      <p:sp>
        <p:nvSpPr>
          <p:cNvPr id="27" name="Isosceles Triangle 47">
            <a:extLst>
              <a:ext uri="{FF2B5EF4-FFF2-40B4-BE49-F238E27FC236}">
                <a16:creationId xmlns:a16="http://schemas.microsoft.com/office/drawing/2014/main" id="{9E9E7A60-E9E6-E347-BE13-75F694209825}"/>
              </a:ext>
            </a:extLst>
          </p:cNvPr>
          <p:cNvSpPr>
            <a:spLocks noChangeAspect="1"/>
          </p:cNvSpPr>
          <p:nvPr/>
        </p:nvSpPr>
        <p:spPr>
          <a:xfrm rot="10800000">
            <a:off x="6885120" y="4309010"/>
            <a:ext cx="233842" cy="157172"/>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8" name="Isosceles Triangle 48">
            <a:extLst>
              <a:ext uri="{FF2B5EF4-FFF2-40B4-BE49-F238E27FC236}">
                <a16:creationId xmlns:a16="http://schemas.microsoft.com/office/drawing/2014/main" id="{5DA89928-329D-9F46-8454-D4F38C3B365F}"/>
              </a:ext>
            </a:extLst>
          </p:cNvPr>
          <p:cNvSpPr>
            <a:spLocks noChangeAspect="1"/>
          </p:cNvSpPr>
          <p:nvPr/>
        </p:nvSpPr>
        <p:spPr>
          <a:xfrm rot="10800000">
            <a:off x="8667863" y="4309010"/>
            <a:ext cx="233842" cy="157172"/>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9" name="Isosceles Triangle 49">
            <a:extLst>
              <a:ext uri="{FF2B5EF4-FFF2-40B4-BE49-F238E27FC236}">
                <a16:creationId xmlns:a16="http://schemas.microsoft.com/office/drawing/2014/main" id="{9D40AF3F-2644-D84C-A856-296D1395E6C1}"/>
              </a:ext>
            </a:extLst>
          </p:cNvPr>
          <p:cNvSpPr>
            <a:spLocks noChangeAspect="1"/>
          </p:cNvSpPr>
          <p:nvPr/>
        </p:nvSpPr>
        <p:spPr>
          <a:xfrm rot="10800000">
            <a:off x="5083919" y="4321230"/>
            <a:ext cx="233842" cy="157172"/>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0" name="Isosceles Triangle 50">
            <a:extLst>
              <a:ext uri="{FF2B5EF4-FFF2-40B4-BE49-F238E27FC236}">
                <a16:creationId xmlns:a16="http://schemas.microsoft.com/office/drawing/2014/main" id="{A6EB395B-BA1B-9B41-B749-E8155CB19D2C}"/>
              </a:ext>
            </a:extLst>
          </p:cNvPr>
          <p:cNvSpPr>
            <a:spLocks noChangeAspect="1"/>
          </p:cNvSpPr>
          <p:nvPr/>
        </p:nvSpPr>
        <p:spPr>
          <a:xfrm rot="10800000">
            <a:off x="3279896" y="4321230"/>
            <a:ext cx="233842" cy="157172"/>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custDataLst>
      <p:tags r:id="rId1"/>
    </p:custDataLst>
    <p:extLst>
      <p:ext uri="{BB962C8B-B14F-4D97-AF65-F5344CB8AC3E}">
        <p14:creationId xmlns:p14="http://schemas.microsoft.com/office/powerpoint/2010/main" val="2386093869"/>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a:extLst>
              <a:ext uri="{FF2B5EF4-FFF2-40B4-BE49-F238E27FC236}">
                <a16:creationId xmlns:a16="http://schemas.microsoft.com/office/drawing/2014/main" id="{A6DAEAB5-3AD9-441F-92C9-6D9D05721B51}"/>
              </a:ext>
            </a:extLst>
          </p:cNvPr>
          <p:cNvSpPr/>
          <p:nvPr/>
        </p:nvSpPr>
        <p:spPr>
          <a:xfrm>
            <a:off x="469900" y="4314053"/>
            <a:ext cx="11252344" cy="1807259"/>
          </a:xfrm>
          <a:prstGeom prst="round2Same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 name="Oval 12">
            <a:extLst>
              <a:ext uri="{FF2B5EF4-FFF2-40B4-BE49-F238E27FC236}">
                <a16:creationId xmlns:a16="http://schemas.microsoft.com/office/drawing/2014/main" id="{8189F6E3-C090-4B9C-94DD-3956783FD9C0}"/>
              </a:ext>
            </a:extLst>
          </p:cNvPr>
          <p:cNvSpPr/>
          <p:nvPr/>
        </p:nvSpPr>
        <p:spPr>
          <a:xfrm>
            <a:off x="5422900" y="1703625"/>
            <a:ext cx="1447800" cy="1456107"/>
          </a:xfrm>
          <a:prstGeom prst="ellipse">
            <a:avLst/>
          </a:prstGeom>
          <a:solidFill>
            <a:srgbClr val="046A38"/>
          </a:solidFill>
          <a:ln w="76200">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grpSp>
        <p:nvGrpSpPr>
          <p:cNvPr id="20" name="Group 19"/>
          <p:cNvGrpSpPr/>
          <p:nvPr/>
        </p:nvGrpSpPr>
        <p:grpSpPr>
          <a:xfrm>
            <a:off x="2345658" y="2397732"/>
            <a:ext cx="7570424" cy="2046314"/>
            <a:chOff x="3181241" y="2397732"/>
            <a:chExt cx="5899258" cy="2046314"/>
          </a:xfrm>
        </p:grpSpPr>
        <p:sp>
          <p:nvSpPr>
            <p:cNvPr id="15" name="Arc 16">
              <a:extLst>
                <a:ext uri="{FF2B5EF4-FFF2-40B4-BE49-F238E27FC236}">
                  <a16:creationId xmlns:a16="http://schemas.microsoft.com/office/drawing/2014/main" id="{344CD2CB-232A-4B67-8BA4-CCD71E83EFB9}"/>
                </a:ext>
              </a:extLst>
            </p:cNvPr>
            <p:cNvSpPr/>
            <p:nvPr/>
          </p:nvSpPr>
          <p:spPr>
            <a:xfrm>
              <a:off x="5147660" y="2397732"/>
              <a:ext cx="3932839" cy="2046314"/>
            </a:xfrm>
            <a:prstGeom prst="arc">
              <a:avLst/>
            </a:prstGeom>
            <a:ln w="19050">
              <a:solidFill>
                <a:srgbClr val="D0D0CE"/>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16" name="Arc 17">
              <a:extLst>
                <a:ext uri="{FF2B5EF4-FFF2-40B4-BE49-F238E27FC236}">
                  <a16:creationId xmlns:a16="http://schemas.microsoft.com/office/drawing/2014/main" id="{E12FCC3F-F01E-48B0-9E38-DB83EF97D296}"/>
                </a:ext>
              </a:extLst>
            </p:cNvPr>
            <p:cNvSpPr/>
            <p:nvPr/>
          </p:nvSpPr>
          <p:spPr>
            <a:xfrm flipH="1">
              <a:off x="3181241" y="2397732"/>
              <a:ext cx="3932839" cy="2046314"/>
            </a:xfrm>
            <a:prstGeom prst="arc">
              <a:avLst/>
            </a:prstGeom>
            <a:ln w="19050">
              <a:solidFill>
                <a:srgbClr val="D0D0CE"/>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grpSp>
        <p:nvGrpSpPr>
          <p:cNvPr id="22" name="Group 21"/>
          <p:cNvGrpSpPr/>
          <p:nvPr/>
        </p:nvGrpSpPr>
        <p:grpSpPr>
          <a:xfrm>
            <a:off x="4751022" y="2931132"/>
            <a:ext cx="2744918" cy="979514"/>
            <a:chOff x="5041900" y="2931132"/>
            <a:chExt cx="2163161" cy="979514"/>
          </a:xfrm>
        </p:grpSpPr>
        <p:sp>
          <p:nvSpPr>
            <p:cNvPr id="17" name="Arc 18">
              <a:extLst>
                <a:ext uri="{FF2B5EF4-FFF2-40B4-BE49-F238E27FC236}">
                  <a16:creationId xmlns:a16="http://schemas.microsoft.com/office/drawing/2014/main" id="{92DEE007-3ED8-4A5D-B983-4957C8913888}"/>
                </a:ext>
              </a:extLst>
            </p:cNvPr>
            <p:cNvSpPr/>
            <p:nvPr/>
          </p:nvSpPr>
          <p:spPr>
            <a:xfrm>
              <a:off x="6443061" y="2931132"/>
              <a:ext cx="762000" cy="979514"/>
            </a:xfrm>
            <a:prstGeom prst="arc">
              <a:avLst/>
            </a:prstGeom>
            <a:ln w="19050">
              <a:solidFill>
                <a:srgbClr val="D0D0CE"/>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18" name="Arc 19">
              <a:extLst>
                <a:ext uri="{FF2B5EF4-FFF2-40B4-BE49-F238E27FC236}">
                  <a16:creationId xmlns:a16="http://schemas.microsoft.com/office/drawing/2014/main" id="{917F9C60-53DD-4BE7-AB74-E842E9B08380}"/>
                </a:ext>
              </a:extLst>
            </p:cNvPr>
            <p:cNvSpPr/>
            <p:nvPr/>
          </p:nvSpPr>
          <p:spPr>
            <a:xfrm flipH="1">
              <a:off x="5041900" y="2931132"/>
              <a:ext cx="762000" cy="979514"/>
            </a:xfrm>
            <a:prstGeom prst="arc">
              <a:avLst/>
            </a:prstGeom>
            <a:ln w="19050">
              <a:solidFill>
                <a:srgbClr val="D0D0CE"/>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sp>
        <p:nvSpPr>
          <p:cNvPr id="53" name="Text Box 10">
            <a:extLst>
              <a:ext uri="{FF2B5EF4-FFF2-40B4-BE49-F238E27FC236}">
                <a16:creationId xmlns:a16="http://schemas.microsoft.com/office/drawing/2014/main" id="{0286FC12-2660-4028-B62A-FE715CA20A5F}"/>
              </a:ext>
            </a:extLst>
          </p:cNvPr>
          <p:cNvSpPr txBox="1">
            <a:spLocks noChangeArrowheads="1"/>
          </p:cNvSpPr>
          <p:nvPr/>
        </p:nvSpPr>
        <p:spPr bwMode="auto">
          <a:xfrm>
            <a:off x="5559250" y="2649078"/>
            <a:ext cx="1176214" cy="246221"/>
          </a:xfrm>
          <a:prstGeom prst="rect">
            <a:avLst/>
          </a:prstGeom>
          <a:noFill/>
          <a:ln w="9525">
            <a:noFill/>
            <a:miter lim="800000"/>
            <a:headEnd/>
            <a:tailEnd/>
          </a:ln>
        </p:spPr>
        <p:txBody>
          <a:bodyPr wrap="square" lIns="45720" tIns="22860" rIns="45720" bIns="22860">
            <a:spAutoFit/>
          </a:bodyPr>
          <a:lstStyle/>
          <a:p>
            <a:pPr algn="ctr" defTabSz="1088232"/>
            <a:r>
              <a:rPr lang="en-US" altLang="zh-CN" sz="1300" b="1" dirty="0">
                <a:solidFill>
                  <a:schemeClr val="bg1"/>
                </a:solidFill>
                <a:ea typeface="Open Sans" pitchFamily="34" charset="0"/>
                <a:cs typeface="Open Sans" pitchFamily="34" charset="0"/>
              </a:rPr>
              <a:t>Lorem ipsum</a:t>
            </a:r>
          </a:p>
        </p:txBody>
      </p:sp>
      <p:grpSp>
        <p:nvGrpSpPr>
          <p:cNvPr id="54" name="Group 432">
            <a:extLst>
              <a:ext uri="{FF2B5EF4-FFF2-40B4-BE49-F238E27FC236}">
                <a16:creationId xmlns:a16="http://schemas.microsoft.com/office/drawing/2014/main" id="{23EAA820-3A08-44C9-BC1A-B7CE6FC20739}"/>
              </a:ext>
            </a:extLst>
          </p:cNvPr>
          <p:cNvGrpSpPr>
            <a:grpSpLocks noChangeAspect="1"/>
          </p:cNvGrpSpPr>
          <p:nvPr/>
        </p:nvGrpSpPr>
        <p:grpSpPr bwMode="auto">
          <a:xfrm>
            <a:off x="5780788" y="1805447"/>
            <a:ext cx="729375" cy="731520"/>
            <a:chOff x="3505" y="1546"/>
            <a:chExt cx="340" cy="341"/>
          </a:xfrm>
          <a:solidFill>
            <a:schemeClr val="bg1"/>
          </a:solidFill>
        </p:grpSpPr>
        <p:sp>
          <p:nvSpPr>
            <p:cNvPr id="55" name="Freeform 433">
              <a:extLst>
                <a:ext uri="{FF2B5EF4-FFF2-40B4-BE49-F238E27FC236}">
                  <a16:creationId xmlns:a16="http://schemas.microsoft.com/office/drawing/2014/main" id="{1793DB0A-58FA-4E64-8ADA-F945A2B7485A}"/>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434">
              <a:extLst>
                <a:ext uri="{FF2B5EF4-FFF2-40B4-BE49-F238E27FC236}">
                  <a16:creationId xmlns:a16="http://schemas.microsoft.com/office/drawing/2014/main" id="{B5B3F548-E2F8-45FA-A0D3-93A75B93D98D}"/>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 name="Oval 4">
            <a:extLst>
              <a:ext uri="{FF2B5EF4-FFF2-40B4-BE49-F238E27FC236}">
                <a16:creationId xmlns:a16="http://schemas.microsoft.com/office/drawing/2014/main" id="{E118EEBC-8198-4E21-8A8C-C6B1A65000A9}"/>
              </a:ext>
            </a:extLst>
          </p:cNvPr>
          <p:cNvSpPr/>
          <p:nvPr/>
        </p:nvSpPr>
        <p:spPr>
          <a:xfrm>
            <a:off x="1656220" y="3464532"/>
            <a:ext cx="1007678" cy="1013460"/>
          </a:xfrm>
          <a:prstGeom prst="ellipse">
            <a:avLst/>
          </a:prstGeom>
          <a:solidFill>
            <a:srgbClr val="009A44"/>
          </a:solidFill>
          <a:ln w="76200">
            <a:solidFill>
              <a:srgbClr val="00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0" name="Text Box 10">
            <a:extLst>
              <a:ext uri="{FF2B5EF4-FFF2-40B4-BE49-F238E27FC236}">
                <a16:creationId xmlns:a16="http://schemas.microsoft.com/office/drawing/2014/main" id="{C20D38C1-680D-4A18-9409-F452801002AE}"/>
              </a:ext>
            </a:extLst>
          </p:cNvPr>
          <p:cNvSpPr txBox="1">
            <a:spLocks noChangeArrowheads="1"/>
          </p:cNvSpPr>
          <p:nvPr/>
        </p:nvSpPr>
        <p:spPr bwMode="auto">
          <a:xfrm>
            <a:off x="998899" y="4659135"/>
            <a:ext cx="2339398" cy="1046440"/>
          </a:xfrm>
          <a:prstGeom prst="rect">
            <a:avLst/>
          </a:prstGeom>
          <a:noFill/>
          <a:ln w="9525">
            <a:noFill/>
            <a:miter lim="800000"/>
            <a:headEnd/>
            <a:tailEnd/>
          </a:ln>
        </p:spPr>
        <p:txBody>
          <a:bodyPr wrap="square" lIns="45720" tIns="22860" rIns="45720" bIns="22860">
            <a:spAutoFit/>
          </a:bodyPr>
          <a:lstStyle/>
          <a:p>
            <a:pPr algn="ctr" defTabSz="1088232"/>
            <a:r>
              <a:rPr lang="en-US" altLang="zh-CN" sz="1300" b="1" dirty="0">
                <a:solidFill>
                  <a:schemeClr val="bg1"/>
                </a:solidFill>
                <a:ea typeface="Open Sans" pitchFamily="34" charset="0"/>
                <a:cs typeface="Open Sans" pitchFamily="34" charset="0"/>
              </a:rPr>
              <a:t>Lorem ipsum</a:t>
            </a:r>
          </a:p>
          <a:p>
            <a:pPr algn="ctr" defTabSz="1088232"/>
            <a:endParaRPr lang="en-US" altLang="zh-CN" sz="1300" b="1" dirty="0">
              <a:solidFill>
                <a:schemeClr val="bg1"/>
              </a:solidFill>
              <a:ea typeface="Open Sans" pitchFamily="34" charset="0"/>
              <a:cs typeface="Open Sans" pitchFamily="34" charset="0"/>
            </a:endParaRPr>
          </a:p>
          <a:p>
            <a:pPr algn="ct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a:t>
            </a:r>
          </a:p>
        </p:txBody>
      </p:sp>
      <p:grpSp>
        <p:nvGrpSpPr>
          <p:cNvPr id="57" name="Group 336">
            <a:extLst>
              <a:ext uri="{FF2B5EF4-FFF2-40B4-BE49-F238E27FC236}">
                <a16:creationId xmlns:a16="http://schemas.microsoft.com/office/drawing/2014/main" id="{A85B30C7-9C6F-4CE0-9284-5D68E9E249CE}"/>
              </a:ext>
            </a:extLst>
          </p:cNvPr>
          <p:cNvGrpSpPr>
            <a:grpSpLocks noChangeAspect="1"/>
          </p:cNvGrpSpPr>
          <p:nvPr/>
        </p:nvGrpSpPr>
        <p:grpSpPr bwMode="auto">
          <a:xfrm>
            <a:off x="1790119" y="3605502"/>
            <a:ext cx="731520" cy="731520"/>
            <a:chOff x="4220" y="1197"/>
            <a:chExt cx="340" cy="340"/>
          </a:xfrm>
          <a:solidFill>
            <a:schemeClr val="bg1"/>
          </a:solidFill>
        </p:grpSpPr>
        <p:sp>
          <p:nvSpPr>
            <p:cNvPr id="58" name="Freeform 337">
              <a:extLst>
                <a:ext uri="{FF2B5EF4-FFF2-40B4-BE49-F238E27FC236}">
                  <a16:creationId xmlns:a16="http://schemas.microsoft.com/office/drawing/2014/main" id="{0299553B-E88D-4C1A-8889-D0A6B838D5B0}"/>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338">
              <a:extLst>
                <a:ext uri="{FF2B5EF4-FFF2-40B4-BE49-F238E27FC236}">
                  <a16:creationId xmlns:a16="http://schemas.microsoft.com/office/drawing/2014/main" id="{D098240D-47BE-4E7D-A9CF-E916DA5D22DA}"/>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339">
              <a:extLst>
                <a:ext uri="{FF2B5EF4-FFF2-40B4-BE49-F238E27FC236}">
                  <a16:creationId xmlns:a16="http://schemas.microsoft.com/office/drawing/2014/main" id="{DFDF68AD-496E-4EA5-B12B-2A375DA1E8DC}"/>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340">
              <a:extLst>
                <a:ext uri="{FF2B5EF4-FFF2-40B4-BE49-F238E27FC236}">
                  <a16:creationId xmlns:a16="http://schemas.microsoft.com/office/drawing/2014/main" id="{AFB02728-8F4C-4761-8CB5-38251A9631B1}"/>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341">
              <a:extLst>
                <a:ext uri="{FF2B5EF4-FFF2-40B4-BE49-F238E27FC236}">
                  <a16:creationId xmlns:a16="http://schemas.microsoft.com/office/drawing/2014/main" id="{D63DF4FD-59FF-4D5A-92EF-AF23DC14F30C}"/>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342">
              <a:extLst>
                <a:ext uri="{FF2B5EF4-FFF2-40B4-BE49-F238E27FC236}">
                  <a16:creationId xmlns:a16="http://schemas.microsoft.com/office/drawing/2014/main" id="{8A3B8640-3468-44FE-8DD5-ACCD80772BD7}"/>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 name="Oval 5">
            <a:extLst>
              <a:ext uri="{FF2B5EF4-FFF2-40B4-BE49-F238E27FC236}">
                <a16:creationId xmlns:a16="http://schemas.microsoft.com/office/drawing/2014/main" id="{38F8AA1B-7A36-41EE-9BF9-959B87667640}"/>
              </a:ext>
            </a:extLst>
          </p:cNvPr>
          <p:cNvSpPr/>
          <p:nvPr/>
        </p:nvSpPr>
        <p:spPr>
          <a:xfrm>
            <a:off x="4283027" y="3486122"/>
            <a:ext cx="1007678" cy="1013460"/>
          </a:xfrm>
          <a:prstGeom prst="ellipse">
            <a:avLst/>
          </a:prstGeom>
          <a:solidFill>
            <a:srgbClr val="43B02A"/>
          </a:solidFill>
          <a:ln w="76200">
            <a:solidFill>
              <a:srgbClr val="00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1" name="Text Box 10">
            <a:extLst>
              <a:ext uri="{FF2B5EF4-FFF2-40B4-BE49-F238E27FC236}">
                <a16:creationId xmlns:a16="http://schemas.microsoft.com/office/drawing/2014/main" id="{A77CB06F-A4ED-4A58-A438-4D6DDAF06C29}"/>
              </a:ext>
            </a:extLst>
          </p:cNvPr>
          <p:cNvSpPr txBox="1">
            <a:spLocks noChangeArrowheads="1"/>
          </p:cNvSpPr>
          <p:nvPr/>
        </p:nvSpPr>
        <p:spPr bwMode="auto">
          <a:xfrm>
            <a:off x="3617167" y="4659135"/>
            <a:ext cx="2339398" cy="1046440"/>
          </a:xfrm>
          <a:prstGeom prst="rect">
            <a:avLst/>
          </a:prstGeom>
          <a:noFill/>
          <a:ln w="9525">
            <a:noFill/>
            <a:miter lim="800000"/>
            <a:headEnd/>
            <a:tailEnd/>
          </a:ln>
        </p:spPr>
        <p:txBody>
          <a:bodyPr wrap="square" lIns="45720" tIns="22860" rIns="45720" bIns="22860">
            <a:spAutoFit/>
          </a:bodyPr>
          <a:lstStyle/>
          <a:p>
            <a:pPr algn="ctr" defTabSz="1088232"/>
            <a:r>
              <a:rPr lang="en-US" altLang="zh-CN" sz="1300" b="1" dirty="0">
                <a:solidFill>
                  <a:schemeClr val="bg1"/>
                </a:solidFill>
                <a:ea typeface="Open Sans" pitchFamily="34" charset="0"/>
                <a:cs typeface="Open Sans" pitchFamily="34" charset="0"/>
              </a:rPr>
              <a:t>Lorem ipsum</a:t>
            </a:r>
          </a:p>
          <a:p>
            <a:pPr algn="ctr" defTabSz="1088232"/>
            <a:endParaRPr lang="en-US" altLang="zh-CN" sz="1300" b="1" dirty="0">
              <a:solidFill>
                <a:schemeClr val="bg1"/>
              </a:solidFill>
              <a:ea typeface="Open Sans" pitchFamily="34" charset="0"/>
              <a:cs typeface="Open Sans" pitchFamily="34" charset="0"/>
            </a:endParaRPr>
          </a:p>
          <a:p>
            <a:pPr algn="ct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a:t>
            </a:r>
          </a:p>
        </p:txBody>
      </p:sp>
      <p:grpSp>
        <p:nvGrpSpPr>
          <p:cNvPr id="64" name="Group 299">
            <a:extLst>
              <a:ext uri="{FF2B5EF4-FFF2-40B4-BE49-F238E27FC236}">
                <a16:creationId xmlns:a16="http://schemas.microsoft.com/office/drawing/2014/main" id="{709E219E-B865-4887-A845-38C49D1FFC9A}"/>
              </a:ext>
            </a:extLst>
          </p:cNvPr>
          <p:cNvGrpSpPr>
            <a:grpSpLocks noChangeAspect="1"/>
          </p:cNvGrpSpPr>
          <p:nvPr/>
        </p:nvGrpSpPr>
        <p:grpSpPr bwMode="auto">
          <a:xfrm>
            <a:off x="4413448" y="3635605"/>
            <a:ext cx="733673" cy="731520"/>
            <a:chOff x="1166" y="1121"/>
            <a:chExt cx="341" cy="340"/>
          </a:xfrm>
          <a:solidFill>
            <a:schemeClr val="bg1"/>
          </a:solidFill>
        </p:grpSpPr>
        <p:sp>
          <p:nvSpPr>
            <p:cNvPr id="65" name="Freeform 300">
              <a:extLst>
                <a:ext uri="{FF2B5EF4-FFF2-40B4-BE49-F238E27FC236}">
                  <a16:creationId xmlns:a16="http://schemas.microsoft.com/office/drawing/2014/main" id="{472DA68E-63D3-4888-AF2C-F5FD690C9819}"/>
                </a:ext>
              </a:extLst>
            </p:cNvPr>
            <p:cNvSpPr>
              <a:spLocks noEditPoints="1"/>
            </p:cNvSpPr>
            <p:nvPr/>
          </p:nvSpPr>
          <p:spPr bwMode="auto">
            <a:xfrm>
              <a:off x="1230" y="1213"/>
              <a:ext cx="213" cy="170"/>
            </a:xfrm>
            <a:custGeom>
              <a:avLst/>
              <a:gdLst>
                <a:gd name="T0" fmla="*/ 309 w 320"/>
                <a:gd name="T1" fmla="*/ 0 h 256"/>
                <a:gd name="T2" fmla="*/ 10 w 320"/>
                <a:gd name="T3" fmla="*/ 0 h 256"/>
                <a:gd name="T4" fmla="*/ 0 w 320"/>
                <a:gd name="T5" fmla="*/ 11 h 256"/>
                <a:gd name="T6" fmla="*/ 0 w 320"/>
                <a:gd name="T7" fmla="*/ 203 h 256"/>
                <a:gd name="T8" fmla="*/ 10 w 320"/>
                <a:gd name="T9" fmla="*/ 214 h 256"/>
                <a:gd name="T10" fmla="*/ 149 w 320"/>
                <a:gd name="T11" fmla="*/ 214 h 256"/>
                <a:gd name="T12" fmla="*/ 149 w 320"/>
                <a:gd name="T13" fmla="*/ 235 h 256"/>
                <a:gd name="T14" fmla="*/ 106 w 320"/>
                <a:gd name="T15" fmla="*/ 235 h 256"/>
                <a:gd name="T16" fmla="*/ 96 w 320"/>
                <a:gd name="T17" fmla="*/ 246 h 256"/>
                <a:gd name="T18" fmla="*/ 106 w 320"/>
                <a:gd name="T19" fmla="*/ 256 h 256"/>
                <a:gd name="T20" fmla="*/ 213 w 320"/>
                <a:gd name="T21" fmla="*/ 256 h 256"/>
                <a:gd name="T22" fmla="*/ 224 w 320"/>
                <a:gd name="T23" fmla="*/ 246 h 256"/>
                <a:gd name="T24" fmla="*/ 213 w 320"/>
                <a:gd name="T25" fmla="*/ 235 h 256"/>
                <a:gd name="T26" fmla="*/ 170 w 320"/>
                <a:gd name="T27" fmla="*/ 235 h 256"/>
                <a:gd name="T28" fmla="*/ 170 w 320"/>
                <a:gd name="T29" fmla="*/ 214 h 256"/>
                <a:gd name="T30" fmla="*/ 309 w 320"/>
                <a:gd name="T31" fmla="*/ 214 h 256"/>
                <a:gd name="T32" fmla="*/ 320 w 320"/>
                <a:gd name="T33" fmla="*/ 203 h 256"/>
                <a:gd name="T34" fmla="*/ 320 w 320"/>
                <a:gd name="T35" fmla="*/ 11 h 256"/>
                <a:gd name="T36" fmla="*/ 309 w 320"/>
                <a:gd name="T37" fmla="*/ 0 h 256"/>
                <a:gd name="T38" fmla="*/ 298 w 320"/>
                <a:gd name="T39" fmla="*/ 192 h 256"/>
                <a:gd name="T40" fmla="*/ 21 w 320"/>
                <a:gd name="T41" fmla="*/ 192 h 256"/>
                <a:gd name="T42" fmla="*/ 21 w 320"/>
                <a:gd name="T43" fmla="*/ 22 h 256"/>
                <a:gd name="T44" fmla="*/ 298 w 320"/>
                <a:gd name="T45" fmla="*/ 22 h 256"/>
                <a:gd name="T46" fmla="*/ 298 w 320"/>
                <a:gd name="T47"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56">
                  <a:moveTo>
                    <a:pt x="309" y="0"/>
                  </a:moveTo>
                  <a:cubicBezTo>
                    <a:pt x="10" y="0"/>
                    <a:pt x="10" y="0"/>
                    <a:pt x="10" y="0"/>
                  </a:cubicBezTo>
                  <a:cubicBezTo>
                    <a:pt x="4" y="0"/>
                    <a:pt x="0" y="5"/>
                    <a:pt x="0" y="11"/>
                  </a:cubicBezTo>
                  <a:cubicBezTo>
                    <a:pt x="0" y="203"/>
                    <a:pt x="0" y="203"/>
                    <a:pt x="0" y="203"/>
                  </a:cubicBezTo>
                  <a:cubicBezTo>
                    <a:pt x="0" y="209"/>
                    <a:pt x="4" y="214"/>
                    <a:pt x="10" y="214"/>
                  </a:cubicBezTo>
                  <a:cubicBezTo>
                    <a:pt x="149" y="214"/>
                    <a:pt x="149" y="214"/>
                    <a:pt x="149" y="214"/>
                  </a:cubicBezTo>
                  <a:cubicBezTo>
                    <a:pt x="149" y="235"/>
                    <a:pt x="149" y="235"/>
                    <a:pt x="149" y="235"/>
                  </a:cubicBezTo>
                  <a:cubicBezTo>
                    <a:pt x="106" y="235"/>
                    <a:pt x="106" y="235"/>
                    <a:pt x="106" y="235"/>
                  </a:cubicBezTo>
                  <a:cubicBezTo>
                    <a:pt x="100" y="235"/>
                    <a:pt x="96" y="240"/>
                    <a:pt x="96" y="246"/>
                  </a:cubicBezTo>
                  <a:cubicBezTo>
                    <a:pt x="96" y="252"/>
                    <a:pt x="100" y="256"/>
                    <a:pt x="106" y="256"/>
                  </a:cubicBezTo>
                  <a:cubicBezTo>
                    <a:pt x="213" y="256"/>
                    <a:pt x="213" y="256"/>
                    <a:pt x="213" y="256"/>
                  </a:cubicBezTo>
                  <a:cubicBezTo>
                    <a:pt x="219" y="256"/>
                    <a:pt x="224" y="252"/>
                    <a:pt x="224" y="246"/>
                  </a:cubicBezTo>
                  <a:cubicBezTo>
                    <a:pt x="224" y="240"/>
                    <a:pt x="219" y="235"/>
                    <a:pt x="213" y="235"/>
                  </a:cubicBezTo>
                  <a:cubicBezTo>
                    <a:pt x="170" y="235"/>
                    <a:pt x="170" y="235"/>
                    <a:pt x="170" y="235"/>
                  </a:cubicBezTo>
                  <a:cubicBezTo>
                    <a:pt x="170" y="214"/>
                    <a:pt x="170" y="214"/>
                    <a:pt x="170"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301">
              <a:extLst>
                <a:ext uri="{FF2B5EF4-FFF2-40B4-BE49-F238E27FC236}">
                  <a16:creationId xmlns:a16="http://schemas.microsoft.com/office/drawing/2014/main" id="{3885203D-8C64-4631-8D90-D8DFCD095802}"/>
                </a:ext>
              </a:extLst>
            </p:cNvPr>
            <p:cNvSpPr>
              <a:spLocks noEditPoints="1"/>
            </p:cNvSpPr>
            <p:nvPr/>
          </p:nvSpPr>
          <p:spPr bwMode="auto">
            <a:xfrm>
              <a:off x="1166" y="11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 name="Oval 6">
            <a:extLst>
              <a:ext uri="{FF2B5EF4-FFF2-40B4-BE49-F238E27FC236}">
                <a16:creationId xmlns:a16="http://schemas.microsoft.com/office/drawing/2014/main" id="{4090DF45-C898-4E07-B380-FB536D317061}"/>
              </a:ext>
            </a:extLst>
          </p:cNvPr>
          <p:cNvSpPr/>
          <p:nvPr/>
        </p:nvSpPr>
        <p:spPr>
          <a:xfrm>
            <a:off x="6901295" y="3496282"/>
            <a:ext cx="1007678" cy="1013460"/>
          </a:xfrm>
          <a:prstGeom prst="ellipse">
            <a:avLst/>
          </a:prstGeom>
          <a:solidFill>
            <a:srgbClr val="FFFFFF"/>
          </a:solidFill>
          <a:ln w="76200">
            <a:solidFill>
              <a:srgbClr val="00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2" name="Text Box 10">
            <a:extLst>
              <a:ext uri="{FF2B5EF4-FFF2-40B4-BE49-F238E27FC236}">
                <a16:creationId xmlns:a16="http://schemas.microsoft.com/office/drawing/2014/main" id="{8A7C393C-A2CC-418E-A319-88ECF9B4F673}"/>
              </a:ext>
            </a:extLst>
          </p:cNvPr>
          <p:cNvSpPr txBox="1">
            <a:spLocks noChangeArrowheads="1"/>
          </p:cNvSpPr>
          <p:nvPr/>
        </p:nvSpPr>
        <p:spPr bwMode="auto">
          <a:xfrm>
            <a:off x="6235435" y="4659135"/>
            <a:ext cx="2339398" cy="1046440"/>
          </a:xfrm>
          <a:prstGeom prst="rect">
            <a:avLst/>
          </a:prstGeom>
          <a:noFill/>
          <a:ln w="9525">
            <a:noFill/>
            <a:miter lim="800000"/>
            <a:headEnd/>
            <a:tailEnd/>
          </a:ln>
        </p:spPr>
        <p:txBody>
          <a:bodyPr wrap="square" lIns="45720" tIns="22860" rIns="45720" bIns="22860">
            <a:spAutoFit/>
          </a:bodyPr>
          <a:lstStyle/>
          <a:p>
            <a:pPr algn="ctr" defTabSz="1088232"/>
            <a:r>
              <a:rPr lang="en-US" altLang="zh-CN" sz="1300" b="1" dirty="0">
                <a:solidFill>
                  <a:schemeClr val="bg1"/>
                </a:solidFill>
                <a:ea typeface="Open Sans" pitchFamily="34" charset="0"/>
                <a:cs typeface="Open Sans" pitchFamily="34" charset="0"/>
              </a:rPr>
              <a:t>Lorem ipsum</a:t>
            </a:r>
          </a:p>
          <a:p>
            <a:pPr algn="ctr" defTabSz="1088232"/>
            <a:endParaRPr lang="en-US" altLang="zh-CN" sz="1300" b="1" dirty="0">
              <a:solidFill>
                <a:schemeClr val="bg1"/>
              </a:solidFill>
              <a:ea typeface="Open Sans" pitchFamily="34" charset="0"/>
              <a:cs typeface="Open Sans" pitchFamily="34" charset="0"/>
            </a:endParaRPr>
          </a:p>
          <a:p>
            <a:pPr algn="ct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a:t>
            </a:r>
          </a:p>
        </p:txBody>
      </p:sp>
      <p:grpSp>
        <p:nvGrpSpPr>
          <p:cNvPr id="67" name="Group 531">
            <a:extLst>
              <a:ext uri="{FF2B5EF4-FFF2-40B4-BE49-F238E27FC236}">
                <a16:creationId xmlns:a16="http://schemas.microsoft.com/office/drawing/2014/main" id="{4207A44F-83A4-46B8-B1A9-2E6CD5E0253E}"/>
              </a:ext>
            </a:extLst>
          </p:cNvPr>
          <p:cNvGrpSpPr>
            <a:grpSpLocks noChangeAspect="1"/>
          </p:cNvGrpSpPr>
          <p:nvPr/>
        </p:nvGrpSpPr>
        <p:grpSpPr bwMode="auto">
          <a:xfrm>
            <a:off x="7039374" y="3643493"/>
            <a:ext cx="731520" cy="731520"/>
            <a:chOff x="4216" y="2000"/>
            <a:chExt cx="340" cy="340"/>
          </a:xfrm>
          <a:solidFill>
            <a:srgbClr val="000000"/>
          </a:solidFill>
        </p:grpSpPr>
        <p:sp>
          <p:nvSpPr>
            <p:cNvPr id="68" name="Freeform 532">
              <a:extLst>
                <a:ext uri="{FF2B5EF4-FFF2-40B4-BE49-F238E27FC236}">
                  <a16:creationId xmlns:a16="http://schemas.microsoft.com/office/drawing/2014/main" id="{56BAECBB-2F93-4AF2-B188-0EC9706CCBD2}"/>
                </a:ext>
              </a:extLst>
            </p:cNvPr>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533">
              <a:extLst>
                <a:ext uri="{FF2B5EF4-FFF2-40B4-BE49-F238E27FC236}">
                  <a16:creationId xmlns:a16="http://schemas.microsoft.com/office/drawing/2014/main" id="{B4B7F650-5285-4918-804D-9B4E019D0053}"/>
                </a:ext>
              </a:extLst>
            </p:cNvPr>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 name="Oval 7">
            <a:extLst>
              <a:ext uri="{FF2B5EF4-FFF2-40B4-BE49-F238E27FC236}">
                <a16:creationId xmlns:a16="http://schemas.microsoft.com/office/drawing/2014/main" id="{12992FC3-0345-4E8C-9D78-5E017D82C593}"/>
              </a:ext>
            </a:extLst>
          </p:cNvPr>
          <p:cNvSpPr/>
          <p:nvPr/>
        </p:nvSpPr>
        <p:spPr>
          <a:xfrm>
            <a:off x="9519564" y="3517872"/>
            <a:ext cx="1007678" cy="1013460"/>
          </a:xfrm>
          <a:prstGeom prst="ellipse">
            <a:avLst/>
          </a:prstGeom>
          <a:solidFill>
            <a:srgbClr val="C4D600"/>
          </a:solidFill>
          <a:ln w="76200">
            <a:solidFill>
              <a:srgbClr val="00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3" name="Text Box 10">
            <a:extLst>
              <a:ext uri="{FF2B5EF4-FFF2-40B4-BE49-F238E27FC236}">
                <a16:creationId xmlns:a16="http://schemas.microsoft.com/office/drawing/2014/main" id="{B2DCE37C-C92C-4950-8B7A-60C17771E710}"/>
              </a:ext>
            </a:extLst>
          </p:cNvPr>
          <p:cNvSpPr txBox="1">
            <a:spLocks noChangeArrowheads="1"/>
          </p:cNvSpPr>
          <p:nvPr/>
        </p:nvSpPr>
        <p:spPr bwMode="auto">
          <a:xfrm>
            <a:off x="8853704" y="4659135"/>
            <a:ext cx="2339398" cy="1046440"/>
          </a:xfrm>
          <a:prstGeom prst="rect">
            <a:avLst/>
          </a:prstGeom>
          <a:noFill/>
          <a:ln w="9525">
            <a:noFill/>
            <a:miter lim="800000"/>
            <a:headEnd/>
            <a:tailEnd/>
          </a:ln>
        </p:spPr>
        <p:txBody>
          <a:bodyPr wrap="square" lIns="45720" tIns="22860" rIns="45720" bIns="22860">
            <a:spAutoFit/>
          </a:bodyPr>
          <a:lstStyle/>
          <a:p>
            <a:pPr algn="ctr" defTabSz="1088232"/>
            <a:r>
              <a:rPr lang="en-US" altLang="zh-CN" sz="1300" b="1" dirty="0">
                <a:solidFill>
                  <a:schemeClr val="bg1"/>
                </a:solidFill>
                <a:ea typeface="Open Sans" pitchFamily="34" charset="0"/>
                <a:cs typeface="Open Sans" pitchFamily="34" charset="0"/>
              </a:rPr>
              <a:t>Lorem ipsum</a:t>
            </a:r>
          </a:p>
          <a:p>
            <a:pPr algn="ctr" defTabSz="1088232"/>
            <a:endParaRPr lang="en-US" altLang="zh-CN" sz="1300" b="1" dirty="0">
              <a:solidFill>
                <a:schemeClr val="bg1"/>
              </a:solidFill>
              <a:ea typeface="Open Sans" pitchFamily="34" charset="0"/>
              <a:cs typeface="Open Sans" pitchFamily="34" charset="0"/>
            </a:endParaRPr>
          </a:p>
          <a:p>
            <a:pPr algn="ct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a:t>
            </a:r>
          </a:p>
        </p:txBody>
      </p:sp>
      <p:grpSp>
        <p:nvGrpSpPr>
          <p:cNvPr id="70" name="Group 57">
            <a:extLst>
              <a:ext uri="{FF2B5EF4-FFF2-40B4-BE49-F238E27FC236}">
                <a16:creationId xmlns:a16="http://schemas.microsoft.com/office/drawing/2014/main" id="{DB897570-A72B-48C8-A7BD-61681DA5B04E}"/>
              </a:ext>
            </a:extLst>
          </p:cNvPr>
          <p:cNvGrpSpPr>
            <a:grpSpLocks noChangeAspect="1"/>
          </p:cNvGrpSpPr>
          <p:nvPr/>
        </p:nvGrpSpPr>
        <p:grpSpPr bwMode="auto">
          <a:xfrm>
            <a:off x="9657641" y="3658842"/>
            <a:ext cx="731520" cy="731520"/>
            <a:chOff x="3880" y="2160"/>
            <a:chExt cx="340" cy="340"/>
          </a:xfrm>
          <a:solidFill>
            <a:srgbClr val="000000"/>
          </a:solidFill>
        </p:grpSpPr>
        <p:sp>
          <p:nvSpPr>
            <p:cNvPr id="71" name="Freeform 58">
              <a:extLst>
                <a:ext uri="{FF2B5EF4-FFF2-40B4-BE49-F238E27FC236}">
                  <a16:creationId xmlns:a16="http://schemas.microsoft.com/office/drawing/2014/main" id="{1FA25296-B2EF-4D8E-B096-83CCF3DC5D9C}"/>
                </a:ext>
              </a:extLst>
            </p:cNvPr>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59">
              <a:extLst>
                <a:ext uri="{FF2B5EF4-FFF2-40B4-BE49-F238E27FC236}">
                  <a16:creationId xmlns:a16="http://schemas.microsoft.com/office/drawing/2014/main" id="{779C238F-C293-4146-9A70-D39C065269DB}"/>
                </a:ext>
              </a:extLst>
            </p:cNvPr>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Oval 60">
              <a:extLst>
                <a:ext uri="{FF2B5EF4-FFF2-40B4-BE49-F238E27FC236}">
                  <a16:creationId xmlns:a16="http://schemas.microsoft.com/office/drawing/2014/main" id="{C74329F5-9037-445C-894A-1C727CD96DD3}"/>
                </a:ext>
              </a:extLst>
            </p:cNvPr>
            <p:cNvSpPr>
              <a:spLocks noChangeArrowheads="1"/>
            </p:cNvSpPr>
            <p:nvPr/>
          </p:nvSpPr>
          <p:spPr bwMode="auto">
            <a:xfrm>
              <a:off x="4014" y="2315"/>
              <a:ext cx="15" cy="15"/>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Oval 61">
              <a:extLst>
                <a:ext uri="{FF2B5EF4-FFF2-40B4-BE49-F238E27FC236}">
                  <a16:creationId xmlns:a16="http://schemas.microsoft.com/office/drawing/2014/main" id="{883B82FD-973B-43E4-98E8-29FCBD58F942}"/>
                </a:ext>
              </a:extLst>
            </p:cNvPr>
            <p:cNvSpPr>
              <a:spLocks noChangeArrowheads="1"/>
            </p:cNvSpPr>
            <p:nvPr/>
          </p:nvSpPr>
          <p:spPr bwMode="auto">
            <a:xfrm>
              <a:off x="4043" y="2315"/>
              <a:ext cx="14" cy="15"/>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Oval 62">
              <a:extLst>
                <a:ext uri="{FF2B5EF4-FFF2-40B4-BE49-F238E27FC236}">
                  <a16:creationId xmlns:a16="http://schemas.microsoft.com/office/drawing/2014/main" id="{E3306DD3-99D5-4B73-BF54-414C124756AB}"/>
                </a:ext>
              </a:extLst>
            </p:cNvPr>
            <p:cNvSpPr>
              <a:spLocks noChangeArrowheads="1"/>
            </p:cNvSpPr>
            <p:nvPr/>
          </p:nvSpPr>
          <p:spPr bwMode="auto">
            <a:xfrm>
              <a:off x="4071" y="2315"/>
              <a:ext cx="14" cy="15"/>
            </a:xfrm>
            <a:prstGeom prst="ellipse">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ustDataLst>
      <p:tags r:id="rId1"/>
    </p:custDataLst>
    <p:extLst>
      <p:ext uri="{BB962C8B-B14F-4D97-AF65-F5344CB8AC3E}">
        <p14:creationId xmlns:p14="http://schemas.microsoft.com/office/powerpoint/2010/main" val="34405747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250" fill="hold"/>
                                        <p:tgtEl>
                                          <p:spTgt spid="5"/>
                                        </p:tgtEl>
                                        <p:attrNameLst>
                                          <p:attrName>ppt_x</p:attrName>
                                        </p:attrNameLst>
                                      </p:cBhvr>
                                      <p:tavLst>
                                        <p:tav tm="0">
                                          <p:val>
                                            <p:strVal val="#ppt_x"/>
                                          </p:val>
                                        </p:tav>
                                        <p:tav tm="100000">
                                          <p:val>
                                            <p:strVal val="#ppt_x"/>
                                          </p:val>
                                        </p:tav>
                                      </p:tavLst>
                                    </p:anim>
                                    <p:anim calcmode="lin" valueType="num">
                                      <p:cBhvr additive="base">
                                        <p:cTn id="8" dur="250" fill="hold"/>
                                        <p:tgtEl>
                                          <p:spTgt spid="5"/>
                                        </p:tgtEl>
                                        <p:attrNameLst>
                                          <p:attrName>ppt_y</p:attrName>
                                        </p:attrNameLst>
                                      </p:cBhvr>
                                      <p:tavLst>
                                        <p:tav tm="0">
                                          <p:val>
                                            <p:strVal val="1+#ppt_h/2"/>
                                          </p:val>
                                        </p:tav>
                                        <p:tav tm="100000">
                                          <p:val>
                                            <p:strVal val="#ppt_y"/>
                                          </p:val>
                                        </p:tav>
                                      </p:tavLst>
                                    </p:anim>
                                  </p:childTnLst>
                                </p:cTn>
                              </p:par>
                            </p:childTnLst>
                          </p:cTn>
                        </p:par>
                        <p:par>
                          <p:cTn id="9" fill="hold">
                            <p:stCondLst>
                              <p:cond delay="250"/>
                            </p:stCondLst>
                            <p:childTnLst>
                              <p:par>
                                <p:cTn id="10" presetID="2" presetClass="entr" presetSubtype="4"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250" fill="hold"/>
                                        <p:tgtEl>
                                          <p:spTgt spid="14"/>
                                        </p:tgtEl>
                                        <p:attrNameLst>
                                          <p:attrName>ppt_x</p:attrName>
                                        </p:attrNameLst>
                                      </p:cBhvr>
                                      <p:tavLst>
                                        <p:tav tm="0">
                                          <p:val>
                                            <p:strVal val="#ppt_x"/>
                                          </p:val>
                                        </p:tav>
                                        <p:tav tm="100000">
                                          <p:val>
                                            <p:strVal val="#ppt_x"/>
                                          </p:val>
                                        </p:tav>
                                      </p:tavLst>
                                    </p:anim>
                                    <p:anim calcmode="lin" valueType="num">
                                      <p:cBhvr additive="base">
                                        <p:cTn id="13" dur="250" fill="hold"/>
                                        <p:tgtEl>
                                          <p:spTgt spid="14"/>
                                        </p:tgtEl>
                                        <p:attrNameLst>
                                          <p:attrName>ppt_y</p:attrName>
                                        </p:attrNameLst>
                                      </p:cBhvr>
                                      <p:tavLst>
                                        <p:tav tm="0">
                                          <p:val>
                                            <p:strVal val="1+#ppt_h/2"/>
                                          </p:val>
                                        </p:tav>
                                        <p:tav tm="100000">
                                          <p:val>
                                            <p:strVal val="#ppt_y"/>
                                          </p:val>
                                        </p:tav>
                                      </p:tavLst>
                                    </p:anim>
                                  </p:childTnLst>
                                </p:cTn>
                              </p:par>
                            </p:childTnLst>
                          </p:cTn>
                        </p:par>
                        <p:par>
                          <p:cTn id="14" fill="hold">
                            <p:stCondLst>
                              <p:cond delay="500"/>
                            </p:stCondLst>
                            <p:childTnLst>
                              <p:par>
                                <p:cTn id="15" presetID="2" presetClass="entr" presetSubtype="4" fill="hold" grpId="0" nodeType="afterEffect">
                                  <p:stCondLst>
                                    <p:cond delay="0"/>
                                  </p:stCondLst>
                                  <p:childTnLst>
                                    <p:set>
                                      <p:cBhvr>
                                        <p:cTn id="16" dur="1" fill="hold">
                                          <p:stCondLst>
                                            <p:cond delay="0"/>
                                          </p:stCondLst>
                                        </p:cTn>
                                        <p:tgtEl>
                                          <p:spTgt spid="53"/>
                                        </p:tgtEl>
                                        <p:attrNameLst>
                                          <p:attrName>style.visibility</p:attrName>
                                        </p:attrNameLst>
                                      </p:cBhvr>
                                      <p:to>
                                        <p:strVal val="visible"/>
                                      </p:to>
                                    </p:set>
                                    <p:anim calcmode="lin" valueType="num">
                                      <p:cBhvr additive="base">
                                        <p:cTn id="17" dur="250" fill="hold"/>
                                        <p:tgtEl>
                                          <p:spTgt spid="53"/>
                                        </p:tgtEl>
                                        <p:attrNameLst>
                                          <p:attrName>ppt_x</p:attrName>
                                        </p:attrNameLst>
                                      </p:cBhvr>
                                      <p:tavLst>
                                        <p:tav tm="0">
                                          <p:val>
                                            <p:strVal val="#ppt_x"/>
                                          </p:val>
                                        </p:tav>
                                        <p:tav tm="100000">
                                          <p:val>
                                            <p:strVal val="#ppt_x"/>
                                          </p:val>
                                        </p:tav>
                                      </p:tavLst>
                                    </p:anim>
                                    <p:anim calcmode="lin" valueType="num">
                                      <p:cBhvr additive="base">
                                        <p:cTn id="18" dur="250" fill="hold"/>
                                        <p:tgtEl>
                                          <p:spTgt spid="5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4" grpId="0" animBg="1"/>
      <p:bldP spid="53" grpId="0"/>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六边形 1"/>
          <p:cNvSpPr/>
          <p:nvPr/>
        </p:nvSpPr>
        <p:spPr bwMode="gray">
          <a:xfrm>
            <a:off x="753859" y="1734840"/>
            <a:ext cx="1920960" cy="1656000"/>
          </a:xfrm>
          <a:prstGeom prst="hexagon">
            <a:avLst/>
          </a:prstGeom>
          <a:solidFill>
            <a:srgbClr val="000000"/>
          </a:solidFill>
          <a:ln w="19050" algn="ctr">
            <a:noFill/>
            <a:miter lim="800000"/>
            <a:headEnd/>
            <a:tailEnd/>
          </a:ln>
        </p:spPr>
        <p:txBody>
          <a:bodyPr wrap="square" lIns="88900" tIns="88900" rIns="88900" bIns="88900" rtlCol="0" anchor="b"/>
          <a:lstStyle/>
          <a:p>
            <a:pPr algn="ctr"/>
            <a:r>
              <a:rPr lang="en-GB" sz="1300" b="1">
                <a:solidFill>
                  <a:schemeClr val="bg1"/>
                </a:solidFill>
              </a:rPr>
              <a:t>Lorem Ipsum</a:t>
            </a:r>
            <a:endParaRPr lang="en-US" sz="1300" dirty="0">
              <a:solidFill>
                <a:schemeClr val="bg1"/>
              </a:solidFill>
            </a:endParaRPr>
          </a:p>
        </p:txBody>
      </p:sp>
      <p:sp>
        <p:nvSpPr>
          <p:cNvPr id="40" name="任意多边形 39"/>
          <p:cNvSpPr/>
          <p:nvPr/>
        </p:nvSpPr>
        <p:spPr bwMode="gray">
          <a:xfrm>
            <a:off x="867520" y="1817041"/>
            <a:ext cx="1693638" cy="729979"/>
          </a:xfrm>
          <a:custGeom>
            <a:avLst/>
            <a:gdLst>
              <a:gd name="connsiteX0" fmla="*/ 388729 w 1803798"/>
              <a:gd name="connsiteY0" fmla="*/ 0 h 777459"/>
              <a:gd name="connsiteX1" fmla="*/ 1415068 w 1803798"/>
              <a:gd name="connsiteY1" fmla="*/ 0 h 777459"/>
              <a:gd name="connsiteX2" fmla="*/ 1803798 w 1803798"/>
              <a:gd name="connsiteY2" fmla="*/ 777459 h 777459"/>
              <a:gd name="connsiteX3" fmla="*/ 0 w 1803798"/>
              <a:gd name="connsiteY3" fmla="*/ 777459 h 777459"/>
              <a:gd name="connsiteX4" fmla="*/ 388729 w 1803798"/>
              <a:gd name="connsiteY4" fmla="*/ 0 h 777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798" h="777459">
                <a:moveTo>
                  <a:pt x="388729" y="0"/>
                </a:moveTo>
                <a:lnTo>
                  <a:pt x="1415068" y="0"/>
                </a:lnTo>
                <a:lnTo>
                  <a:pt x="1803798" y="777459"/>
                </a:lnTo>
                <a:lnTo>
                  <a:pt x="0" y="777459"/>
                </a:lnTo>
                <a:lnTo>
                  <a:pt x="388729" y="0"/>
                </a:lnTo>
                <a:close/>
              </a:path>
            </a:pathLst>
          </a:cu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43" name="六边形 42"/>
          <p:cNvSpPr/>
          <p:nvPr/>
        </p:nvSpPr>
        <p:spPr bwMode="gray">
          <a:xfrm>
            <a:off x="3695794" y="1734840"/>
            <a:ext cx="1920960" cy="1656000"/>
          </a:xfrm>
          <a:prstGeom prst="hexagon">
            <a:avLst/>
          </a:prstGeom>
          <a:solidFill>
            <a:schemeClr val="accent3"/>
          </a:solidFill>
          <a:ln w="19050" algn="ctr">
            <a:noFill/>
            <a:miter lim="800000"/>
            <a:headEnd/>
            <a:tailEnd/>
          </a:ln>
        </p:spPr>
        <p:txBody>
          <a:bodyPr wrap="square" lIns="88900" tIns="88900" rIns="88900" bIns="88900" rtlCol="0" anchor="b"/>
          <a:lstStyle/>
          <a:p>
            <a:pPr algn="ctr"/>
            <a:r>
              <a:rPr lang="en-GB" sz="1300" b="1">
                <a:solidFill>
                  <a:schemeClr val="bg1"/>
                </a:solidFill>
              </a:rPr>
              <a:t>Lorem Ipsum</a:t>
            </a:r>
            <a:endParaRPr lang="en-US" sz="1300" dirty="0">
              <a:solidFill>
                <a:schemeClr val="bg1"/>
              </a:solidFill>
            </a:endParaRPr>
          </a:p>
        </p:txBody>
      </p:sp>
      <p:sp>
        <p:nvSpPr>
          <p:cNvPr id="50" name="任意多边形 49"/>
          <p:cNvSpPr/>
          <p:nvPr/>
        </p:nvSpPr>
        <p:spPr bwMode="gray">
          <a:xfrm>
            <a:off x="3809455" y="1817041"/>
            <a:ext cx="1693638" cy="729979"/>
          </a:xfrm>
          <a:custGeom>
            <a:avLst/>
            <a:gdLst>
              <a:gd name="connsiteX0" fmla="*/ 388729 w 1803798"/>
              <a:gd name="connsiteY0" fmla="*/ 0 h 777459"/>
              <a:gd name="connsiteX1" fmla="*/ 1415068 w 1803798"/>
              <a:gd name="connsiteY1" fmla="*/ 0 h 777459"/>
              <a:gd name="connsiteX2" fmla="*/ 1803798 w 1803798"/>
              <a:gd name="connsiteY2" fmla="*/ 777459 h 777459"/>
              <a:gd name="connsiteX3" fmla="*/ 0 w 1803798"/>
              <a:gd name="connsiteY3" fmla="*/ 777459 h 777459"/>
              <a:gd name="connsiteX4" fmla="*/ 388729 w 1803798"/>
              <a:gd name="connsiteY4" fmla="*/ 0 h 777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798" h="777459">
                <a:moveTo>
                  <a:pt x="388729" y="0"/>
                </a:moveTo>
                <a:lnTo>
                  <a:pt x="1415068" y="0"/>
                </a:lnTo>
                <a:lnTo>
                  <a:pt x="1803798" y="777459"/>
                </a:lnTo>
                <a:lnTo>
                  <a:pt x="0" y="777459"/>
                </a:lnTo>
                <a:lnTo>
                  <a:pt x="388729" y="0"/>
                </a:lnTo>
                <a:close/>
              </a:path>
            </a:pathLst>
          </a:cu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53" name="六边形 52"/>
          <p:cNvSpPr/>
          <p:nvPr/>
        </p:nvSpPr>
        <p:spPr bwMode="gray">
          <a:xfrm>
            <a:off x="6637728" y="1734840"/>
            <a:ext cx="1920960" cy="1656000"/>
          </a:xfrm>
          <a:prstGeom prst="hexagon">
            <a:avLst/>
          </a:prstGeom>
          <a:solidFill>
            <a:schemeClr val="accent1"/>
          </a:solidFill>
          <a:ln w="19050" algn="ctr">
            <a:noFill/>
            <a:miter lim="800000"/>
            <a:headEnd/>
            <a:tailEnd/>
          </a:ln>
        </p:spPr>
        <p:txBody>
          <a:bodyPr wrap="square" lIns="88900" tIns="88900" rIns="88900" bIns="88900" rtlCol="0" anchor="b"/>
          <a:lstStyle/>
          <a:p>
            <a:pPr algn="ctr"/>
            <a:r>
              <a:rPr lang="en-GB" sz="1300" b="1">
                <a:solidFill>
                  <a:schemeClr val="bg1"/>
                </a:solidFill>
              </a:rPr>
              <a:t>Lorem Ipsum</a:t>
            </a:r>
            <a:endParaRPr lang="en-US" sz="1300" dirty="0">
              <a:solidFill>
                <a:schemeClr val="bg1"/>
              </a:solidFill>
            </a:endParaRPr>
          </a:p>
        </p:txBody>
      </p:sp>
      <p:sp>
        <p:nvSpPr>
          <p:cNvPr id="54" name="任意多边形 53"/>
          <p:cNvSpPr/>
          <p:nvPr/>
        </p:nvSpPr>
        <p:spPr bwMode="gray">
          <a:xfrm>
            <a:off x="6751389" y="1817041"/>
            <a:ext cx="1693638" cy="729979"/>
          </a:xfrm>
          <a:custGeom>
            <a:avLst/>
            <a:gdLst>
              <a:gd name="connsiteX0" fmla="*/ 388729 w 1803798"/>
              <a:gd name="connsiteY0" fmla="*/ 0 h 777459"/>
              <a:gd name="connsiteX1" fmla="*/ 1415068 w 1803798"/>
              <a:gd name="connsiteY1" fmla="*/ 0 h 777459"/>
              <a:gd name="connsiteX2" fmla="*/ 1803798 w 1803798"/>
              <a:gd name="connsiteY2" fmla="*/ 777459 h 777459"/>
              <a:gd name="connsiteX3" fmla="*/ 0 w 1803798"/>
              <a:gd name="connsiteY3" fmla="*/ 777459 h 777459"/>
              <a:gd name="connsiteX4" fmla="*/ 388729 w 1803798"/>
              <a:gd name="connsiteY4" fmla="*/ 0 h 777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798" h="777459">
                <a:moveTo>
                  <a:pt x="388729" y="0"/>
                </a:moveTo>
                <a:lnTo>
                  <a:pt x="1415068" y="0"/>
                </a:lnTo>
                <a:lnTo>
                  <a:pt x="1803798" y="777459"/>
                </a:lnTo>
                <a:lnTo>
                  <a:pt x="0" y="777459"/>
                </a:lnTo>
                <a:lnTo>
                  <a:pt x="388729" y="0"/>
                </a:lnTo>
                <a:close/>
              </a:path>
            </a:pathLst>
          </a:cu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63" name="六边形 62"/>
          <p:cNvSpPr/>
          <p:nvPr/>
        </p:nvSpPr>
        <p:spPr bwMode="gray">
          <a:xfrm>
            <a:off x="9579662" y="1734840"/>
            <a:ext cx="1920960" cy="1656000"/>
          </a:xfrm>
          <a:prstGeom prst="hexagon">
            <a:avLst/>
          </a:prstGeom>
          <a:solidFill>
            <a:srgbClr val="43B02A"/>
          </a:solidFill>
          <a:ln w="19050" algn="ctr">
            <a:noFill/>
            <a:miter lim="800000"/>
            <a:headEnd/>
            <a:tailEnd/>
          </a:ln>
        </p:spPr>
        <p:txBody>
          <a:bodyPr wrap="square" lIns="88900" tIns="88900" rIns="88900" bIns="88900" rtlCol="0" anchor="b"/>
          <a:lstStyle/>
          <a:p>
            <a:pPr algn="ctr"/>
            <a:r>
              <a:rPr lang="en-GB" sz="1300" b="1">
                <a:solidFill>
                  <a:schemeClr val="bg1"/>
                </a:solidFill>
              </a:rPr>
              <a:t>Lorem Ipsum</a:t>
            </a:r>
            <a:endParaRPr lang="en-US" sz="1300" dirty="0">
              <a:solidFill>
                <a:schemeClr val="bg1"/>
              </a:solidFill>
            </a:endParaRPr>
          </a:p>
        </p:txBody>
      </p:sp>
      <p:sp>
        <p:nvSpPr>
          <p:cNvPr id="64" name="任意多边形 63"/>
          <p:cNvSpPr/>
          <p:nvPr/>
        </p:nvSpPr>
        <p:spPr bwMode="gray">
          <a:xfrm>
            <a:off x="9693323" y="1817041"/>
            <a:ext cx="1693638" cy="729979"/>
          </a:xfrm>
          <a:custGeom>
            <a:avLst/>
            <a:gdLst>
              <a:gd name="connsiteX0" fmla="*/ 388729 w 1803798"/>
              <a:gd name="connsiteY0" fmla="*/ 0 h 777459"/>
              <a:gd name="connsiteX1" fmla="*/ 1415068 w 1803798"/>
              <a:gd name="connsiteY1" fmla="*/ 0 h 777459"/>
              <a:gd name="connsiteX2" fmla="*/ 1803798 w 1803798"/>
              <a:gd name="connsiteY2" fmla="*/ 777459 h 777459"/>
              <a:gd name="connsiteX3" fmla="*/ 0 w 1803798"/>
              <a:gd name="connsiteY3" fmla="*/ 777459 h 777459"/>
              <a:gd name="connsiteX4" fmla="*/ 388729 w 1803798"/>
              <a:gd name="connsiteY4" fmla="*/ 0 h 777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798" h="777459">
                <a:moveTo>
                  <a:pt x="388729" y="0"/>
                </a:moveTo>
                <a:lnTo>
                  <a:pt x="1415068" y="0"/>
                </a:lnTo>
                <a:lnTo>
                  <a:pt x="1803798" y="777459"/>
                </a:lnTo>
                <a:lnTo>
                  <a:pt x="0" y="777459"/>
                </a:lnTo>
                <a:lnTo>
                  <a:pt x="388729" y="0"/>
                </a:lnTo>
                <a:close/>
              </a:path>
            </a:pathLst>
          </a:cu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grpSp>
        <p:nvGrpSpPr>
          <p:cNvPr id="30" name="组合 29"/>
          <p:cNvGrpSpPr/>
          <p:nvPr/>
        </p:nvGrpSpPr>
        <p:grpSpPr>
          <a:xfrm>
            <a:off x="1466581" y="1977113"/>
            <a:ext cx="495517" cy="430072"/>
            <a:chOff x="6716189" y="4824598"/>
            <a:chExt cx="897882" cy="779294"/>
          </a:xfrm>
          <a:solidFill>
            <a:srgbClr val="000000"/>
          </a:solidFill>
        </p:grpSpPr>
        <p:sp>
          <p:nvSpPr>
            <p:cNvPr id="26" name="Freeform 59"/>
            <p:cNvSpPr>
              <a:spLocks noEditPoints="1"/>
            </p:cNvSpPr>
            <p:nvPr/>
          </p:nvSpPr>
          <p:spPr bwMode="auto">
            <a:xfrm>
              <a:off x="6716189" y="4824598"/>
              <a:ext cx="897882" cy="77929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7" name="Oval 60"/>
            <p:cNvSpPr>
              <a:spLocks noChangeArrowheads="1"/>
            </p:cNvSpPr>
            <p:nvPr/>
          </p:nvSpPr>
          <p:spPr bwMode="auto">
            <a:xfrm>
              <a:off x="7012659" y="5091422"/>
              <a:ext cx="63529" cy="63529"/>
            </a:xfrm>
            <a:prstGeom prst="ellipse">
              <a:avLst/>
            </a:pr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8" name="Oval 61"/>
            <p:cNvSpPr>
              <a:spLocks noChangeArrowheads="1"/>
            </p:cNvSpPr>
            <p:nvPr/>
          </p:nvSpPr>
          <p:spPr bwMode="auto">
            <a:xfrm>
              <a:off x="7135483" y="5091422"/>
              <a:ext cx="59294" cy="63529"/>
            </a:xfrm>
            <a:prstGeom prst="ellipse">
              <a:avLst/>
            </a:pr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9" name="Oval 62"/>
            <p:cNvSpPr>
              <a:spLocks noChangeArrowheads="1"/>
            </p:cNvSpPr>
            <p:nvPr/>
          </p:nvSpPr>
          <p:spPr bwMode="auto">
            <a:xfrm>
              <a:off x="7254071" y="5091422"/>
              <a:ext cx="59294" cy="63529"/>
            </a:xfrm>
            <a:prstGeom prst="ellipse">
              <a:avLst/>
            </a:pr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grpSp>
      <p:sp>
        <p:nvSpPr>
          <p:cNvPr id="84" name="Freeform 728"/>
          <p:cNvSpPr>
            <a:spLocks noEditPoints="1"/>
          </p:cNvSpPr>
          <p:nvPr/>
        </p:nvSpPr>
        <p:spPr bwMode="auto">
          <a:xfrm>
            <a:off x="4430563" y="1965256"/>
            <a:ext cx="451422" cy="453786"/>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solidFill>
            <a:schemeClr val="accent3"/>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87" name="Freeform 993"/>
          <p:cNvSpPr>
            <a:spLocks noEditPoints="1"/>
          </p:cNvSpPr>
          <p:nvPr/>
        </p:nvSpPr>
        <p:spPr bwMode="auto">
          <a:xfrm>
            <a:off x="7370246" y="1965258"/>
            <a:ext cx="455925" cy="453785"/>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solidFill>
            <a:schemeClr val="accent1"/>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90" name="Freeform 262"/>
          <p:cNvSpPr>
            <a:spLocks noEditPoints="1"/>
          </p:cNvSpPr>
          <p:nvPr/>
        </p:nvSpPr>
        <p:spPr bwMode="auto">
          <a:xfrm>
            <a:off x="10306398" y="1993467"/>
            <a:ext cx="467488" cy="397364"/>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rgbClr val="43B02A"/>
          </a:solid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cxnSp>
        <p:nvCxnSpPr>
          <p:cNvPr id="44" name="直接连接符 16"/>
          <p:cNvCxnSpPr/>
          <p:nvPr/>
        </p:nvCxnSpPr>
        <p:spPr>
          <a:xfrm>
            <a:off x="1714316" y="3405525"/>
            <a:ext cx="46" cy="713842"/>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sp>
        <p:nvSpPr>
          <p:cNvPr id="45" name="Rectangle 160"/>
          <p:cNvSpPr/>
          <p:nvPr/>
        </p:nvSpPr>
        <p:spPr>
          <a:xfrm>
            <a:off x="557780" y="4646474"/>
            <a:ext cx="2313117"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cxnSp>
        <p:nvCxnSpPr>
          <p:cNvPr id="46" name="直接连接符 45"/>
          <p:cNvCxnSpPr/>
          <p:nvPr/>
        </p:nvCxnSpPr>
        <p:spPr>
          <a:xfrm>
            <a:off x="4656251" y="3405525"/>
            <a:ext cx="46" cy="713842"/>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47" name="Rectangle 160"/>
          <p:cNvSpPr/>
          <p:nvPr/>
        </p:nvSpPr>
        <p:spPr>
          <a:xfrm>
            <a:off x="3499716" y="4646474"/>
            <a:ext cx="2313117"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cxnSp>
        <p:nvCxnSpPr>
          <p:cNvPr id="48" name="直接连接符 57"/>
          <p:cNvCxnSpPr/>
          <p:nvPr/>
        </p:nvCxnSpPr>
        <p:spPr>
          <a:xfrm>
            <a:off x="7598185" y="3405525"/>
            <a:ext cx="46" cy="713842"/>
          </a:xfrm>
          <a:prstGeom prst="line">
            <a:avLst/>
          </a:prstGeom>
          <a:ln w="28575">
            <a:solidFill>
              <a:srgbClr val="86BC25"/>
            </a:solidFill>
            <a:prstDash val="sysDot"/>
          </a:ln>
        </p:spPr>
        <p:style>
          <a:lnRef idx="1">
            <a:schemeClr val="accent1"/>
          </a:lnRef>
          <a:fillRef idx="0">
            <a:schemeClr val="accent1"/>
          </a:fillRef>
          <a:effectRef idx="0">
            <a:schemeClr val="accent1"/>
          </a:effectRef>
          <a:fontRef idx="minor">
            <a:schemeClr val="tx1"/>
          </a:fontRef>
        </p:style>
      </p:cxnSp>
      <p:sp>
        <p:nvSpPr>
          <p:cNvPr id="49" name="Rectangle 160"/>
          <p:cNvSpPr/>
          <p:nvPr/>
        </p:nvSpPr>
        <p:spPr>
          <a:xfrm>
            <a:off x="6441649" y="4646474"/>
            <a:ext cx="2313118"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cxnSp>
        <p:nvCxnSpPr>
          <p:cNvPr id="56" name="直接连接符 69"/>
          <p:cNvCxnSpPr/>
          <p:nvPr/>
        </p:nvCxnSpPr>
        <p:spPr>
          <a:xfrm>
            <a:off x="10540119" y="3405525"/>
            <a:ext cx="46" cy="713842"/>
          </a:xfrm>
          <a:prstGeom prst="line">
            <a:avLst/>
          </a:prstGeom>
          <a:ln w="28575">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57" name="Rectangle 160"/>
          <p:cNvSpPr/>
          <p:nvPr/>
        </p:nvSpPr>
        <p:spPr>
          <a:xfrm>
            <a:off x="9383583" y="4646474"/>
            <a:ext cx="2313118"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sp>
        <p:nvSpPr>
          <p:cNvPr id="58" name="Rounded Rectangle 136"/>
          <p:cNvSpPr/>
          <p:nvPr/>
        </p:nvSpPr>
        <p:spPr>
          <a:xfrm>
            <a:off x="557781" y="4119368"/>
            <a:ext cx="2313117" cy="317193"/>
          </a:xfrm>
          <a:prstGeom prst="roundRect">
            <a:avLst>
              <a:gd name="adj" fmla="val 50000"/>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dirty="0">
                <a:solidFill>
                  <a:schemeClr val="bg1"/>
                </a:solidFill>
              </a:rPr>
              <a:t>Lorem Ipsum</a:t>
            </a:r>
            <a:endParaRPr lang="en-US" sz="1300" dirty="0">
              <a:solidFill>
                <a:schemeClr val="bg1"/>
              </a:solidFill>
            </a:endParaRPr>
          </a:p>
        </p:txBody>
      </p:sp>
      <p:sp>
        <p:nvSpPr>
          <p:cNvPr id="59" name="Rounded Rectangle 136"/>
          <p:cNvSpPr/>
          <p:nvPr/>
        </p:nvSpPr>
        <p:spPr>
          <a:xfrm>
            <a:off x="3499716" y="4119368"/>
            <a:ext cx="2313117" cy="317193"/>
          </a:xfrm>
          <a:prstGeom prst="roundRect">
            <a:avLst>
              <a:gd name="adj" fmla="val 50000"/>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60" name="Rounded Rectangle 136"/>
          <p:cNvSpPr/>
          <p:nvPr/>
        </p:nvSpPr>
        <p:spPr>
          <a:xfrm>
            <a:off x="6441650" y="4119368"/>
            <a:ext cx="2313117" cy="317193"/>
          </a:xfrm>
          <a:prstGeom prst="roundRect">
            <a:avLst>
              <a:gd name="adj" fmla="val 50000"/>
            </a:avLst>
          </a:prstGeom>
          <a:solidFill>
            <a:schemeClr val="accent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61" name="Rounded Rectangle 136"/>
          <p:cNvSpPr/>
          <p:nvPr/>
        </p:nvSpPr>
        <p:spPr>
          <a:xfrm>
            <a:off x="9383584" y="4119368"/>
            <a:ext cx="2313117" cy="317193"/>
          </a:xfrm>
          <a:prstGeom prst="roundRect">
            <a:avLst>
              <a:gd name="adj" fmla="val 50000"/>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Tree>
    <p:custDataLst>
      <p:tags r:id="rId1"/>
    </p:custDataLst>
    <p:extLst>
      <p:ext uri="{BB962C8B-B14F-4D97-AF65-F5344CB8AC3E}">
        <p14:creationId xmlns:p14="http://schemas.microsoft.com/office/powerpoint/2010/main" val="23569695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EMPLAFYSLIDEID" val="637649844342676576"/>
</p:tagLst>
</file>

<file path=ppt/tags/tag100.xml><?xml version="1.0" encoding="utf-8"?>
<p:tagLst xmlns:a="http://schemas.openxmlformats.org/drawingml/2006/main" xmlns:r="http://schemas.openxmlformats.org/officeDocument/2006/relationships" xmlns:p="http://schemas.openxmlformats.org/presentationml/2006/main">
  <p:tag name="TEMPLAFYSLIDEID" val="637649844349239259"/>
</p:tagLst>
</file>

<file path=ppt/tags/tag101.xml><?xml version="1.0" encoding="utf-8"?>
<p:tagLst xmlns:a="http://schemas.openxmlformats.org/drawingml/2006/main" xmlns:r="http://schemas.openxmlformats.org/officeDocument/2006/relationships" xmlns:p="http://schemas.openxmlformats.org/presentationml/2006/main">
  <p:tag name="TEMPLAFYSLIDEID" val="637649844349239260"/>
</p:tagLst>
</file>

<file path=ppt/tags/tag102.xml><?xml version="1.0" encoding="utf-8"?>
<p:tagLst xmlns:a="http://schemas.openxmlformats.org/drawingml/2006/main" xmlns:r="http://schemas.openxmlformats.org/officeDocument/2006/relationships" xmlns:p="http://schemas.openxmlformats.org/presentationml/2006/main">
  <p:tag name="TEMPLAFYSLIDEID" val="637649844349239261"/>
</p:tagLst>
</file>

<file path=ppt/tags/tag103.xml><?xml version="1.0" encoding="utf-8"?>
<p:tagLst xmlns:a="http://schemas.openxmlformats.org/drawingml/2006/main" xmlns:r="http://schemas.openxmlformats.org/officeDocument/2006/relationships" xmlns:p="http://schemas.openxmlformats.org/presentationml/2006/main">
  <p:tag name="TEMPLAFYSLIDEID" val="637649844349239262"/>
</p:tagLst>
</file>

<file path=ppt/tags/tag104.xml><?xml version="1.0" encoding="utf-8"?>
<p:tagLst xmlns:a="http://schemas.openxmlformats.org/drawingml/2006/main" xmlns:r="http://schemas.openxmlformats.org/officeDocument/2006/relationships" xmlns:p="http://schemas.openxmlformats.org/presentationml/2006/main">
  <p:tag name="TEMPLAFYSLIDEID" val="637649844349395540"/>
</p:tagLst>
</file>

<file path=ppt/tags/tag105.xml><?xml version="1.0" encoding="utf-8"?>
<p:tagLst xmlns:a="http://schemas.openxmlformats.org/drawingml/2006/main" xmlns:r="http://schemas.openxmlformats.org/officeDocument/2006/relationships" xmlns:p="http://schemas.openxmlformats.org/presentationml/2006/main">
  <p:tag name="TEMPLAFYSLIDEID" val="637649844349395541"/>
</p:tagLst>
</file>

<file path=ppt/tags/tag106.xml><?xml version="1.0" encoding="utf-8"?>
<p:tagLst xmlns:a="http://schemas.openxmlformats.org/drawingml/2006/main" xmlns:r="http://schemas.openxmlformats.org/officeDocument/2006/relationships" xmlns:p="http://schemas.openxmlformats.org/presentationml/2006/main">
  <p:tag name="TEMPLAFYSLIDEID" val="637649844349395542"/>
</p:tagLst>
</file>

<file path=ppt/tags/tag107.xml><?xml version="1.0" encoding="utf-8"?>
<p:tagLst xmlns:a="http://schemas.openxmlformats.org/drawingml/2006/main" xmlns:r="http://schemas.openxmlformats.org/officeDocument/2006/relationships" xmlns:p="http://schemas.openxmlformats.org/presentationml/2006/main">
  <p:tag name="TEMPLAFYSLIDEID" val="637649844349395543"/>
</p:tagLst>
</file>

<file path=ppt/tags/tag108.xml><?xml version="1.0" encoding="utf-8"?>
<p:tagLst xmlns:a="http://schemas.openxmlformats.org/drawingml/2006/main" xmlns:r="http://schemas.openxmlformats.org/officeDocument/2006/relationships" xmlns:p="http://schemas.openxmlformats.org/presentationml/2006/main">
  <p:tag name="TEMPLAFYSLIDEID" val="637649844349395544"/>
</p:tagLst>
</file>

<file path=ppt/tags/tag109.xml><?xml version="1.0" encoding="utf-8"?>
<p:tagLst xmlns:a="http://schemas.openxmlformats.org/drawingml/2006/main" xmlns:r="http://schemas.openxmlformats.org/officeDocument/2006/relationships" xmlns:p="http://schemas.openxmlformats.org/presentationml/2006/main">
  <p:tag name="TEMPLAFYSLIDEID" val="637649844349395545"/>
</p:tagLst>
</file>

<file path=ppt/tags/tag11.xml><?xml version="1.0" encoding="utf-8"?>
<p:tagLst xmlns:a="http://schemas.openxmlformats.org/drawingml/2006/main" xmlns:r="http://schemas.openxmlformats.org/officeDocument/2006/relationships" xmlns:p="http://schemas.openxmlformats.org/presentationml/2006/main">
  <p:tag name="TEMPLAFYSLIDEID" val="637649844342832856"/>
</p:tagLst>
</file>

<file path=ppt/tags/tag110.xml><?xml version="1.0" encoding="utf-8"?>
<p:tagLst xmlns:a="http://schemas.openxmlformats.org/drawingml/2006/main" xmlns:r="http://schemas.openxmlformats.org/officeDocument/2006/relationships" xmlns:p="http://schemas.openxmlformats.org/presentationml/2006/main">
  <p:tag name="TEMPLAFYSLIDEID" val="637649844349395546"/>
</p:tagLst>
</file>

<file path=ppt/tags/tag111.xml><?xml version="1.0" encoding="utf-8"?>
<p:tagLst xmlns:a="http://schemas.openxmlformats.org/drawingml/2006/main" xmlns:r="http://schemas.openxmlformats.org/officeDocument/2006/relationships" xmlns:p="http://schemas.openxmlformats.org/presentationml/2006/main">
  <p:tag name="TEMPLAFYSLIDEID" val="637649844349395547"/>
</p:tagLst>
</file>

<file path=ppt/tags/tag112.xml><?xml version="1.0" encoding="utf-8"?>
<p:tagLst xmlns:a="http://schemas.openxmlformats.org/drawingml/2006/main" xmlns:r="http://schemas.openxmlformats.org/officeDocument/2006/relationships" xmlns:p="http://schemas.openxmlformats.org/presentationml/2006/main">
  <p:tag name="TEMPLAFYSLIDEID" val="637649844349395548"/>
</p:tagLst>
</file>

<file path=ppt/tags/tag113.xml><?xml version="1.0" encoding="utf-8"?>
<p:tagLst xmlns:a="http://schemas.openxmlformats.org/drawingml/2006/main" xmlns:r="http://schemas.openxmlformats.org/officeDocument/2006/relationships" xmlns:p="http://schemas.openxmlformats.org/presentationml/2006/main">
  <p:tag name="TEMPLAFYSLIDEID" val="637649844349395549"/>
</p:tagLst>
</file>

<file path=ppt/tags/tag114.xml><?xml version="1.0" encoding="utf-8"?>
<p:tagLst xmlns:a="http://schemas.openxmlformats.org/drawingml/2006/main" xmlns:r="http://schemas.openxmlformats.org/officeDocument/2006/relationships" xmlns:p="http://schemas.openxmlformats.org/presentationml/2006/main">
  <p:tag name="TEMPLAFYSLIDEID" val="637649844349395550"/>
</p:tagLst>
</file>

<file path=ppt/tags/tag115.xml><?xml version="1.0" encoding="utf-8"?>
<p:tagLst xmlns:a="http://schemas.openxmlformats.org/drawingml/2006/main" xmlns:r="http://schemas.openxmlformats.org/officeDocument/2006/relationships" xmlns:p="http://schemas.openxmlformats.org/presentationml/2006/main">
  <p:tag name="TEMPLAFYSLIDEID" val="637649844349395551"/>
</p:tagLst>
</file>

<file path=ppt/tags/tag116.xml><?xml version="1.0" encoding="utf-8"?>
<p:tagLst xmlns:a="http://schemas.openxmlformats.org/drawingml/2006/main" xmlns:r="http://schemas.openxmlformats.org/officeDocument/2006/relationships" xmlns:p="http://schemas.openxmlformats.org/presentationml/2006/main">
  <p:tag name="TEMPLAFYSLIDEID" val="637649844349708082"/>
</p:tagLst>
</file>

<file path=ppt/tags/tag117.xml><?xml version="1.0" encoding="utf-8"?>
<p:tagLst xmlns:a="http://schemas.openxmlformats.org/drawingml/2006/main" xmlns:r="http://schemas.openxmlformats.org/officeDocument/2006/relationships" xmlns:p="http://schemas.openxmlformats.org/presentationml/2006/main">
  <p:tag name="TEMPLAFYSLIDEID" val="637649844349708083"/>
</p:tagLst>
</file>

<file path=ppt/tags/tag118.xml><?xml version="1.0" encoding="utf-8"?>
<p:tagLst xmlns:a="http://schemas.openxmlformats.org/drawingml/2006/main" xmlns:r="http://schemas.openxmlformats.org/officeDocument/2006/relationships" xmlns:p="http://schemas.openxmlformats.org/presentationml/2006/main">
  <p:tag name="TEMPLAFYSLIDEID" val="637649844349708084"/>
</p:tagLst>
</file>

<file path=ppt/tags/tag119.xml><?xml version="1.0" encoding="utf-8"?>
<p:tagLst xmlns:a="http://schemas.openxmlformats.org/drawingml/2006/main" xmlns:r="http://schemas.openxmlformats.org/officeDocument/2006/relationships" xmlns:p="http://schemas.openxmlformats.org/presentationml/2006/main">
  <p:tag name="TEMPLAFYSLIDEID" val="637649844349708085"/>
</p:tagLst>
</file>

<file path=ppt/tags/tag12.xml><?xml version="1.0" encoding="utf-8"?>
<p:tagLst xmlns:a="http://schemas.openxmlformats.org/drawingml/2006/main" xmlns:r="http://schemas.openxmlformats.org/officeDocument/2006/relationships" xmlns:p="http://schemas.openxmlformats.org/presentationml/2006/main">
  <p:tag name="TEMPLAFYSLIDEID" val="637649844342832857"/>
</p:tagLst>
</file>

<file path=ppt/tags/tag120.xml><?xml version="1.0" encoding="utf-8"?>
<p:tagLst xmlns:a="http://schemas.openxmlformats.org/drawingml/2006/main" xmlns:r="http://schemas.openxmlformats.org/officeDocument/2006/relationships" xmlns:p="http://schemas.openxmlformats.org/presentationml/2006/main">
  <p:tag name="TEMPLAFYSLIDEID" val="637649844349708086"/>
</p:tagLst>
</file>

<file path=ppt/tags/tag121.xml><?xml version="1.0" encoding="utf-8"?>
<p:tagLst xmlns:a="http://schemas.openxmlformats.org/drawingml/2006/main" xmlns:r="http://schemas.openxmlformats.org/officeDocument/2006/relationships" xmlns:p="http://schemas.openxmlformats.org/presentationml/2006/main">
  <p:tag name="TEMPLAFYSLIDEID" val="637649844349708087"/>
</p:tagLst>
</file>

<file path=ppt/tags/tag122.xml><?xml version="1.0" encoding="utf-8"?>
<p:tagLst xmlns:a="http://schemas.openxmlformats.org/drawingml/2006/main" xmlns:r="http://schemas.openxmlformats.org/officeDocument/2006/relationships" xmlns:p="http://schemas.openxmlformats.org/presentationml/2006/main">
  <p:tag name="TEMPLAFYSLIDEID" val="637649844349708088"/>
</p:tagLst>
</file>

<file path=ppt/tags/tag123.xml><?xml version="1.0" encoding="utf-8"?>
<p:tagLst xmlns:a="http://schemas.openxmlformats.org/drawingml/2006/main" xmlns:r="http://schemas.openxmlformats.org/officeDocument/2006/relationships" xmlns:p="http://schemas.openxmlformats.org/presentationml/2006/main">
  <p:tag name="TEMPLAFYSLIDEID" val="637649844349708089"/>
</p:tagLst>
</file>

<file path=ppt/tags/tag124.xml><?xml version="1.0" encoding="utf-8"?>
<p:tagLst xmlns:a="http://schemas.openxmlformats.org/drawingml/2006/main" xmlns:r="http://schemas.openxmlformats.org/officeDocument/2006/relationships" xmlns:p="http://schemas.openxmlformats.org/presentationml/2006/main">
  <p:tag name="TEMPLAFYSLIDEID" val="637649844349708090"/>
</p:tagLst>
</file>

<file path=ppt/tags/tag125.xml><?xml version="1.0" encoding="utf-8"?>
<p:tagLst xmlns:a="http://schemas.openxmlformats.org/drawingml/2006/main" xmlns:r="http://schemas.openxmlformats.org/officeDocument/2006/relationships" xmlns:p="http://schemas.openxmlformats.org/presentationml/2006/main">
  <p:tag name="TEMPLAFYSLIDEID" val="637649844349864288"/>
</p:tagLst>
</file>

<file path=ppt/tags/tag126.xml><?xml version="1.0" encoding="utf-8"?>
<p:tagLst xmlns:a="http://schemas.openxmlformats.org/drawingml/2006/main" xmlns:r="http://schemas.openxmlformats.org/officeDocument/2006/relationships" xmlns:p="http://schemas.openxmlformats.org/presentationml/2006/main">
  <p:tag name="TEMPLAFYSLIDEID" val="637649844349864289"/>
</p:tagLst>
</file>

<file path=ppt/tags/tag127.xml><?xml version="1.0" encoding="utf-8"?>
<p:tagLst xmlns:a="http://schemas.openxmlformats.org/drawingml/2006/main" xmlns:r="http://schemas.openxmlformats.org/officeDocument/2006/relationships" xmlns:p="http://schemas.openxmlformats.org/presentationml/2006/main">
  <p:tag name="TEMPLAFYSLIDEID" val="637649844350020544"/>
</p:tagLst>
</file>

<file path=ppt/tags/tag128.xml><?xml version="1.0" encoding="utf-8"?>
<p:tagLst xmlns:a="http://schemas.openxmlformats.org/drawingml/2006/main" xmlns:r="http://schemas.openxmlformats.org/officeDocument/2006/relationships" xmlns:p="http://schemas.openxmlformats.org/presentationml/2006/main">
  <p:tag name="TEMPLAFYSLIDEID" val="637649844350020545"/>
</p:tagLst>
</file>

<file path=ppt/tags/tag129.xml><?xml version="1.0" encoding="utf-8"?>
<p:tagLst xmlns:a="http://schemas.openxmlformats.org/drawingml/2006/main" xmlns:r="http://schemas.openxmlformats.org/officeDocument/2006/relationships" xmlns:p="http://schemas.openxmlformats.org/presentationml/2006/main">
  <p:tag name="TEMPLAFYSLIDEID" val="637649844350020546"/>
</p:tagLst>
</file>

<file path=ppt/tags/tag13.xml><?xml version="1.0" encoding="utf-8"?>
<p:tagLst xmlns:a="http://schemas.openxmlformats.org/drawingml/2006/main" xmlns:r="http://schemas.openxmlformats.org/officeDocument/2006/relationships" xmlns:p="http://schemas.openxmlformats.org/presentationml/2006/main">
  <p:tag name="TEMPLAFYSLIDEID" val="637649844342832858"/>
</p:tagLst>
</file>

<file path=ppt/tags/tag130.xml><?xml version="1.0" encoding="utf-8"?>
<p:tagLst xmlns:a="http://schemas.openxmlformats.org/drawingml/2006/main" xmlns:r="http://schemas.openxmlformats.org/officeDocument/2006/relationships" xmlns:p="http://schemas.openxmlformats.org/presentationml/2006/main">
  <p:tag name="TEMPLAFYSLIDEID" val="637649844350020547"/>
</p:tagLst>
</file>

<file path=ppt/tags/tag131.xml><?xml version="1.0" encoding="utf-8"?>
<p:tagLst xmlns:a="http://schemas.openxmlformats.org/drawingml/2006/main" xmlns:r="http://schemas.openxmlformats.org/officeDocument/2006/relationships" xmlns:p="http://schemas.openxmlformats.org/presentationml/2006/main">
  <p:tag name="TEMPLAFYSLIDEID" val="637649844350020548"/>
</p:tagLst>
</file>

<file path=ppt/tags/tag132.xml><?xml version="1.0" encoding="utf-8"?>
<p:tagLst xmlns:a="http://schemas.openxmlformats.org/drawingml/2006/main" xmlns:r="http://schemas.openxmlformats.org/officeDocument/2006/relationships" xmlns:p="http://schemas.openxmlformats.org/presentationml/2006/main">
  <p:tag name="TEMPLAFYSLIDEID" val="637649844350176789"/>
</p:tagLst>
</file>

<file path=ppt/tags/tag133.xml><?xml version="1.0" encoding="utf-8"?>
<p:tagLst xmlns:a="http://schemas.openxmlformats.org/drawingml/2006/main" xmlns:r="http://schemas.openxmlformats.org/officeDocument/2006/relationships" xmlns:p="http://schemas.openxmlformats.org/presentationml/2006/main">
  <p:tag name="TEMPLAFYSLIDEID" val="637649844350176790"/>
</p:tagLst>
</file>

<file path=ppt/tags/tag134.xml><?xml version="1.0" encoding="utf-8"?>
<p:tagLst xmlns:a="http://schemas.openxmlformats.org/drawingml/2006/main" xmlns:r="http://schemas.openxmlformats.org/officeDocument/2006/relationships" xmlns:p="http://schemas.openxmlformats.org/presentationml/2006/main">
  <p:tag name="TEMPLAFYSLIDEID" val="637649844350176791"/>
</p:tagLst>
</file>

<file path=ppt/tags/tag135.xml><?xml version="1.0" encoding="utf-8"?>
<p:tagLst xmlns:a="http://schemas.openxmlformats.org/drawingml/2006/main" xmlns:r="http://schemas.openxmlformats.org/officeDocument/2006/relationships" xmlns:p="http://schemas.openxmlformats.org/presentationml/2006/main">
  <p:tag name="TEMPLAFYSLIDEID" val="637649844350176792"/>
</p:tagLst>
</file>

<file path=ppt/tags/tag136.xml><?xml version="1.0" encoding="utf-8"?>
<p:tagLst xmlns:a="http://schemas.openxmlformats.org/drawingml/2006/main" xmlns:r="http://schemas.openxmlformats.org/officeDocument/2006/relationships" xmlns:p="http://schemas.openxmlformats.org/presentationml/2006/main">
  <p:tag name="TEMPLAFYSLIDEID" val="637649844350176793"/>
</p:tagLst>
</file>

<file path=ppt/tags/tag137.xml><?xml version="1.0" encoding="utf-8"?>
<p:tagLst xmlns:a="http://schemas.openxmlformats.org/drawingml/2006/main" xmlns:r="http://schemas.openxmlformats.org/officeDocument/2006/relationships" xmlns:p="http://schemas.openxmlformats.org/presentationml/2006/main">
  <p:tag name="TEMPLAFYSLIDEID" val="637649844350176794"/>
</p:tagLst>
</file>

<file path=ppt/tags/tag138.xml><?xml version="1.0" encoding="utf-8"?>
<p:tagLst xmlns:a="http://schemas.openxmlformats.org/drawingml/2006/main" xmlns:r="http://schemas.openxmlformats.org/officeDocument/2006/relationships" xmlns:p="http://schemas.openxmlformats.org/presentationml/2006/main">
  <p:tag name="TEMPLAFYSLIDEID" val="637649844350176795"/>
</p:tagLst>
</file>

<file path=ppt/tags/tag139.xml><?xml version="1.0" encoding="utf-8"?>
<p:tagLst xmlns:a="http://schemas.openxmlformats.org/drawingml/2006/main" xmlns:r="http://schemas.openxmlformats.org/officeDocument/2006/relationships" xmlns:p="http://schemas.openxmlformats.org/presentationml/2006/main">
  <p:tag name="TEMPLAFYSLIDEID" val="637649844350176796"/>
</p:tagLst>
</file>

<file path=ppt/tags/tag14.xml><?xml version="1.0" encoding="utf-8"?>
<p:tagLst xmlns:a="http://schemas.openxmlformats.org/drawingml/2006/main" xmlns:r="http://schemas.openxmlformats.org/officeDocument/2006/relationships" xmlns:p="http://schemas.openxmlformats.org/presentationml/2006/main">
  <p:tag name="TEMPLAFYSLIDEID" val="637649844342832859"/>
</p:tagLst>
</file>

<file path=ppt/tags/tag140.xml><?xml version="1.0" encoding="utf-8"?>
<p:tagLst xmlns:a="http://schemas.openxmlformats.org/drawingml/2006/main" xmlns:r="http://schemas.openxmlformats.org/officeDocument/2006/relationships" xmlns:p="http://schemas.openxmlformats.org/presentationml/2006/main">
  <p:tag name="TEMPLAFYSLIDEID" val="637649844350176797"/>
</p:tagLst>
</file>

<file path=ppt/tags/tag141.xml><?xml version="1.0" encoding="utf-8"?>
<p:tagLst xmlns:a="http://schemas.openxmlformats.org/drawingml/2006/main" xmlns:r="http://schemas.openxmlformats.org/officeDocument/2006/relationships" xmlns:p="http://schemas.openxmlformats.org/presentationml/2006/main">
  <p:tag name="TEMPLAFYSLIDEID" val="637649844350333061"/>
</p:tagLst>
</file>

<file path=ppt/tags/tag142.xml><?xml version="1.0" encoding="utf-8"?>
<p:tagLst xmlns:a="http://schemas.openxmlformats.org/drawingml/2006/main" xmlns:r="http://schemas.openxmlformats.org/officeDocument/2006/relationships" xmlns:p="http://schemas.openxmlformats.org/presentationml/2006/main">
  <p:tag name="TEMPLAFYSLIDEID" val="637649844350333062"/>
</p:tagLst>
</file>

<file path=ppt/tags/tag143.xml><?xml version="1.0" encoding="utf-8"?>
<p:tagLst xmlns:a="http://schemas.openxmlformats.org/drawingml/2006/main" xmlns:r="http://schemas.openxmlformats.org/officeDocument/2006/relationships" xmlns:p="http://schemas.openxmlformats.org/presentationml/2006/main">
  <p:tag name="TEMPLAFYSLIDEID" val="637649844350333063"/>
</p:tagLst>
</file>

<file path=ppt/tags/tag144.xml><?xml version="1.0" encoding="utf-8"?>
<p:tagLst xmlns:a="http://schemas.openxmlformats.org/drawingml/2006/main" xmlns:r="http://schemas.openxmlformats.org/officeDocument/2006/relationships" xmlns:p="http://schemas.openxmlformats.org/presentationml/2006/main">
  <p:tag name="TEMPLAFYSLIDEID" val="637649844350333064"/>
</p:tagLst>
</file>

<file path=ppt/tags/tag145.xml><?xml version="1.0" encoding="utf-8"?>
<p:tagLst xmlns:a="http://schemas.openxmlformats.org/drawingml/2006/main" xmlns:r="http://schemas.openxmlformats.org/officeDocument/2006/relationships" xmlns:p="http://schemas.openxmlformats.org/presentationml/2006/main">
  <p:tag name="TEMPLAFYSLIDEID" val="637649844350333065"/>
</p:tagLst>
</file>

<file path=ppt/tags/tag146.xml><?xml version="1.0" encoding="utf-8"?>
<p:tagLst xmlns:a="http://schemas.openxmlformats.org/drawingml/2006/main" xmlns:r="http://schemas.openxmlformats.org/officeDocument/2006/relationships" xmlns:p="http://schemas.openxmlformats.org/presentationml/2006/main">
  <p:tag name="TEMPLAFYSLIDEID" val="637649844350333066"/>
</p:tagLst>
</file>

<file path=ppt/tags/tag147.xml><?xml version="1.0" encoding="utf-8"?>
<p:tagLst xmlns:a="http://schemas.openxmlformats.org/drawingml/2006/main" xmlns:r="http://schemas.openxmlformats.org/officeDocument/2006/relationships" xmlns:p="http://schemas.openxmlformats.org/presentationml/2006/main">
  <p:tag name="TEMPLAFYSLIDEID" val="637649844350489311"/>
</p:tagLst>
</file>

<file path=ppt/tags/tag148.xml><?xml version="1.0" encoding="utf-8"?>
<p:tagLst xmlns:a="http://schemas.openxmlformats.org/drawingml/2006/main" xmlns:r="http://schemas.openxmlformats.org/officeDocument/2006/relationships" xmlns:p="http://schemas.openxmlformats.org/presentationml/2006/main">
  <p:tag name="TEMPLAFYSLIDEID" val="637649844350489312"/>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EMPLAFYSLIDEID" val="637649844350489313"/>
</p:tagLst>
</file>

<file path=ppt/tags/tag15.xml><?xml version="1.0" encoding="utf-8"?>
<p:tagLst xmlns:a="http://schemas.openxmlformats.org/drawingml/2006/main" xmlns:r="http://schemas.openxmlformats.org/officeDocument/2006/relationships" xmlns:p="http://schemas.openxmlformats.org/presentationml/2006/main">
  <p:tag name="TEMPLAFYSLIDEID" val="637649844342832860"/>
</p:tagLst>
</file>

<file path=ppt/tags/tag150.xml><?xml version="1.0" encoding="utf-8"?>
<p:tagLst xmlns:a="http://schemas.openxmlformats.org/drawingml/2006/main" xmlns:r="http://schemas.openxmlformats.org/officeDocument/2006/relationships" xmlns:p="http://schemas.openxmlformats.org/presentationml/2006/main">
  <p:tag name="TEMPLAFYSLIDEID" val="637649844350489314"/>
</p:tagLst>
</file>

<file path=ppt/tags/tag151.xml><?xml version="1.0" encoding="utf-8"?>
<p:tagLst xmlns:a="http://schemas.openxmlformats.org/drawingml/2006/main" xmlns:r="http://schemas.openxmlformats.org/officeDocument/2006/relationships" xmlns:p="http://schemas.openxmlformats.org/presentationml/2006/main">
  <p:tag name="TEMPLAFYSLIDEID" val="637649844350489315"/>
</p:tagLst>
</file>

<file path=ppt/tags/tag152.xml><?xml version="1.0" encoding="utf-8"?>
<p:tagLst xmlns:a="http://schemas.openxmlformats.org/drawingml/2006/main" xmlns:r="http://schemas.openxmlformats.org/officeDocument/2006/relationships" xmlns:p="http://schemas.openxmlformats.org/presentationml/2006/main">
  <p:tag name="TEMPLAFYSLIDEID" val="637649844350489316"/>
</p:tagLst>
</file>

<file path=ppt/tags/tag153.xml><?xml version="1.0" encoding="utf-8"?>
<p:tagLst xmlns:a="http://schemas.openxmlformats.org/drawingml/2006/main" xmlns:r="http://schemas.openxmlformats.org/officeDocument/2006/relationships" xmlns:p="http://schemas.openxmlformats.org/presentationml/2006/main">
  <p:tag name="TEMPLAFYSLIDEID" val="637649844350646464"/>
</p:tagLst>
</file>

<file path=ppt/tags/tag154.xml><?xml version="1.0" encoding="utf-8"?>
<p:tagLst xmlns:a="http://schemas.openxmlformats.org/drawingml/2006/main" xmlns:r="http://schemas.openxmlformats.org/officeDocument/2006/relationships" xmlns:p="http://schemas.openxmlformats.org/presentationml/2006/main">
  <p:tag name="TEMPLAFYSLIDEID" val="637649844350646465"/>
</p:tagLst>
</file>

<file path=ppt/tags/tag155.xml><?xml version="1.0" encoding="utf-8"?>
<p:tagLst xmlns:a="http://schemas.openxmlformats.org/drawingml/2006/main" xmlns:r="http://schemas.openxmlformats.org/officeDocument/2006/relationships" xmlns:p="http://schemas.openxmlformats.org/presentationml/2006/main">
  <p:tag name="TEMPLAFYSLIDEID" val="637649844350646466"/>
</p:tagLst>
</file>

<file path=ppt/tags/tag156.xml><?xml version="1.0" encoding="utf-8"?>
<p:tagLst xmlns:a="http://schemas.openxmlformats.org/drawingml/2006/main" xmlns:r="http://schemas.openxmlformats.org/officeDocument/2006/relationships" xmlns:p="http://schemas.openxmlformats.org/presentationml/2006/main">
  <p:tag name="TEMPLAFYSLIDEID" val="637649844350646467"/>
</p:tagLst>
</file>

<file path=ppt/tags/tag157.xml><?xml version="1.0" encoding="utf-8"?>
<p:tagLst xmlns:a="http://schemas.openxmlformats.org/drawingml/2006/main" xmlns:r="http://schemas.openxmlformats.org/officeDocument/2006/relationships" xmlns:p="http://schemas.openxmlformats.org/presentationml/2006/main">
  <p:tag name="TEMPLAFYSLIDEID" val="637649844350646468"/>
</p:tagLst>
</file>

<file path=ppt/tags/tag158.xml><?xml version="1.0" encoding="utf-8"?>
<p:tagLst xmlns:a="http://schemas.openxmlformats.org/drawingml/2006/main" xmlns:r="http://schemas.openxmlformats.org/officeDocument/2006/relationships" xmlns:p="http://schemas.openxmlformats.org/presentationml/2006/main">
  <p:tag name="TEMPLAFYSLIDEID" val="637649844354864398"/>
</p:tagLst>
</file>

<file path=ppt/tags/tag159.xml><?xml version="1.0" encoding="utf-8"?>
<p:tagLst xmlns:a="http://schemas.openxmlformats.org/drawingml/2006/main" xmlns:r="http://schemas.openxmlformats.org/officeDocument/2006/relationships" xmlns:p="http://schemas.openxmlformats.org/presentationml/2006/main">
  <p:tag name="TEMPLAFYSLIDEID" val="637649844354864399"/>
</p:tagLst>
</file>

<file path=ppt/tags/tag16.xml><?xml version="1.0" encoding="utf-8"?>
<p:tagLst xmlns:a="http://schemas.openxmlformats.org/drawingml/2006/main" xmlns:r="http://schemas.openxmlformats.org/officeDocument/2006/relationships" xmlns:p="http://schemas.openxmlformats.org/presentationml/2006/main">
  <p:tag name="TEMPLAFYSLIDEID" val="637649844347676731"/>
</p:tagLst>
</file>

<file path=ppt/tags/tag160.xml><?xml version="1.0" encoding="utf-8"?>
<p:tagLst xmlns:a="http://schemas.openxmlformats.org/drawingml/2006/main" xmlns:r="http://schemas.openxmlformats.org/officeDocument/2006/relationships" xmlns:p="http://schemas.openxmlformats.org/presentationml/2006/main">
  <p:tag name="TEMPLAFYSLIDEID" val="637649844354864400"/>
</p:tagLst>
</file>

<file path=ppt/tags/tag161.xml><?xml version="1.0" encoding="utf-8"?>
<p:tagLst xmlns:a="http://schemas.openxmlformats.org/drawingml/2006/main" xmlns:r="http://schemas.openxmlformats.org/officeDocument/2006/relationships" xmlns:p="http://schemas.openxmlformats.org/presentationml/2006/main">
  <p:tag name="TEMPLAFYSLIDEID" val="637649844355020692"/>
</p:tagLst>
</file>

<file path=ppt/tags/tag162.xml><?xml version="1.0" encoding="utf-8"?>
<p:tagLst xmlns:a="http://schemas.openxmlformats.org/drawingml/2006/main" xmlns:r="http://schemas.openxmlformats.org/officeDocument/2006/relationships" xmlns:p="http://schemas.openxmlformats.org/presentationml/2006/main">
  <p:tag name="TEMPLAFYSLIDEID" val="637649844355020693"/>
</p:tagLst>
</file>

<file path=ppt/tags/tag163.xml><?xml version="1.0" encoding="utf-8"?>
<p:tagLst xmlns:a="http://schemas.openxmlformats.org/drawingml/2006/main" xmlns:r="http://schemas.openxmlformats.org/officeDocument/2006/relationships" xmlns:p="http://schemas.openxmlformats.org/presentationml/2006/main">
  <p:tag name="TEMPLAFYSLIDEID" val="637649844355020694"/>
</p:tagLst>
</file>

<file path=ppt/tags/tag164.xml><?xml version="1.0" encoding="utf-8"?>
<p:tagLst xmlns:a="http://schemas.openxmlformats.org/drawingml/2006/main" xmlns:r="http://schemas.openxmlformats.org/officeDocument/2006/relationships" xmlns:p="http://schemas.openxmlformats.org/presentationml/2006/main">
  <p:tag name="TEMPLAFYSLIDEID" val="637649844355020695"/>
</p:tagLst>
</file>

<file path=ppt/tags/tag165.xml><?xml version="1.0" encoding="utf-8"?>
<p:tagLst xmlns:a="http://schemas.openxmlformats.org/drawingml/2006/main" xmlns:r="http://schemas.openxmlformats.org/officeDocument/2006/relationships" xmlns:p="http://schemas.openxmlformats.org/presentationml/2006/main">
  <p:tag name="TEMPLAFYSLIDEID" val="637649844355020696"/>
</p:tagLst>
</file>

<file path=ppt/tags/tag166.xml><?xml version="1.0" encoding="utf-8"?>
<p:tagLst xmlns:a="http://schemas.openxmlformats.org/drawingml/2006/main" xmlns:r="http://schemas.openxmlformats.org/officeDocument/2006/relationships" xmlns:p="http://schemas.openxmlformats.org/presentationml/2006/main">
  <p:tag name="TEMPLAFYSLIDEID" val="637649844355020697"/>
</p:tagLst>
</file>

<file path=ppt/tags/tag167.xml><?xml version="1.0" encoding="utf-8"?>
<p:tagLst xmlns:a="http://schemas.openxmlformats.org/drawingml/2006/main" xmlns:r="http://schemas.openxmlformats.org/officeDocument/2006/relationships" xmlns:p="http://schemas.openxmlformats.org/presentationml/2006/main">
  <p:tag name="TEMPLAFYSLIDEID" val="637649844355176943"/>
</p:tagLst>
</file>

<file path=ppt/tags/tag168.xml><?xml version="1.0" encoding="utf-8"?>
<p:tagLst xmlns:a="http://schemas.openxmlformats.org/drawingml/2006/main" xmlns:r="http://schemas.openxmlformats.org/officeDocument/2006/relationships" xmlns:p="http://schemas.openxmlformats.org/presentationml/2006/main">
  <p:tag name="TEMPLAFYSLIDEID" val="637649844355176944"/>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EMPLAFYSLIDEID" val="637649844355176945"/>
</p:tagLst>
</file>

<file path=ppt/tags/tag17.xml><?xml version="1.0" encoding="utf-8"?>
<p:tagLst xmlns:a="http://schemas.openxmlformats.org/drawingml/2006/main" xmlns:r="http://schemas.openxmlformats.org/officeDocument/2006/relationships" xmlns:p="http://schemas.openxmlformats.org/presentationml/2006/main">
  <p:tag name="TEMPLAFYSLIDEID" val="637649844347676732"/>
</p:tagLst>
</file>

<file path=ppt/tags/tag170.xml><?xml version="1.0" encoding="utf-8"?>
<p:tagLst xmlns:a="http://schemas.openxmlformats.org/drawingml/2006/main" xmlns:r="http://schemas.openxmlformats.org/officeDocument/2006/relationships" xmlns:p="http://schemas.openxmlformats.org/presentationml/2006/main">
  <p:tag name="TEMPLAFYSLIDEID" val="637649844355176946"/>
</p:tagLst>
</file>

<file path=ppt/tags/tag171.xml><?xml version="1.0" encoding="utf-8"?>
<p:tagLst xmlns:a="http://schemas.openxmlformats.org/drawingml/2006/main" xmlns:r="http://schemas.openxmlformats.org/officeDocument/2006/relationships" xmlns:p="http://schemas.openxmlformats.org/presentationml/2006/main">
  <p:tag name="TEMPLAFYSLIDEID" val="637649844355176947"/>
</p:tagLst>
</file>

<file path=ppt/tags/tag172.xml><?xml version="1.0" encoding="utf-8"?>
<p:tagLst xmlns:a="http://schemas.openxmlformats.org/drawingml/2006/main" xmlns:r="http://schemas.openxmlformats.org/officeDocument/2006/relationships" xmlns:p="http://schemas.openxmlformats.org/presentationml/2006/main">
  <p:tag name="TEMPLAFYSLIDEID" val="637649844355176948"/>
</p:tagLst>
</file>

<file path=ppt/tags/tag173.xml><?xml version="1.0" encoding="utf-8"?>
<p:tagLst xmlns:a="http://schemas.openxmlformats.org/drawingml/2006/main" xmlns:r="http://schemas.openxmlformats.org/officeDocument/2006/relationships" xmlns:p="http://schemas.openxmlformats.org/presentationml/2006/main">
  <p:tag name="TEMPLAFYSLIDEID" val="637649844355333172"/>
</p:tagLst>
</file>

<file path=ppt/tags/tag174.xml><?xml version="1.0" encoding="utf-8"?>
<p:tagLst xmlns:a="http://schemas.openxmlformats.org/drawingml/2006/main" xmlns:r="http://schemas.openxmlformats.org/officeDocument/2006/relationships" xmlns:p="http://schemas.openxmlformats.org/presentationml/2006/main">
  <p:tag name="TEMPLAFYSLIDEID" val="637649844355333173"/>
</p:tagLst>
</file>

<file path=ppt/tags/tag175.xml><?xml version="1.0" encoding="utf-8"?>
<p:tagLst xmlns:a="http://schemas.openxmlformats.org/drawingml/2006/main" xmlns:r="http://schemas.openxmlformats.org/officeDocument/2006/relationships" xmlns:p="http://schemas.openxmlformats.org/presentationml/2006/main">
  <p:tag name="TEMPLAFYSLIDEID" val="637649844355333174"/>
</p:tagLst>
</file>

<file path=ppt/tags/tag176.xml><?xml version="1.0" encoding="utf-8"?>
<p:tagLst xmlns:a="http://schemas.openxmlformats.org/drawingml/2006/main" xmlns:r="http://schemas.openxmlformats.org/officeDocument/2006/relationships" xmlns:p="http://schemas.openxmlformats.org/presentationml/2006/main">
  <p:tag name="TEMPLAFYSLIDEID" val="637649844355333175"/>
</p:tagLst>
</file>

<file path=ppt/tags/tag177.xml><?xml version="1.0" encoding="utf-8"?>
<p:tagLst xmlns:a="http://schemas.openxmlformats.org/drawingml/2006/main" xmlns:r="http://schemas.openxmlformats.org/officeDocument/2006/relationships" xmlns:p="http://schemas.openxmlformats.org/presentationml/2006/main">
  <p:tag name="TEMPLAFYSLIDEID" val="637649844355333176"/>
</p:tagLst>
</file>

<file path=ppt/tags/tag178.xml><?xml version="1.0" encoding="utf-8"?>
<p:tagLst xmlns:a="http://schemas.openxmlformats.org/drawingml/2006/main" xmlns:r="http://schemas.openxmlformats.org/officeDocument/2006/relationships" xmlns:p="http://schemas.openxmlformats.org/presentationml/2006/main">
  <p:tag name="TEMPLAFYSLIDEID" val="637649844355489443"/>
</p:tagLst>
</file>

<file path=ppt/tags/tag179.xml><?xml version="1.0" encoding="utf-8"?>
<p:tagLst xmlns:a="http://schemas.openxmlformats.org/drawingml/2006/main" xmlns:r="http://schemas.openxmlformats.org/officeDocument/2006/relationships" xmlns:p="http://schemas.openxmlformats.org/presentationml/2006/main">
  <p:tag name="TEMPLAFYSLIDEID" val="637649844358458274"/>
</p:tagLst>
</file>

<file path=ppt/tags/tag18.xml><?xml version="1.0" encoding="utf-8"?>
<p:tagLst xmlns:a="http://schemas.openxmlformats.org/drawingml/2006/main" xmlns:r="http://schemas.openxmlformats.org/officeDocument/2006/relationships" xmlns:p="http://schemas.openxmlformats.org/presentationml/2006/main">
  <p:tag name="TEMPLAFYSLIDEID" val="637649844347676733"/>
</p:tagLst>
</file>

<file path=ppt/tags/tag180.xml><?xml version="1.0" encoding="utf-8"?>
<p:tagLst xmlns:a="http://schemas.openxmlformats.org/drawingml/2006/main" xmlns:r="http://schemas.openxmlformats.org/officeDocument/2006/relationships" xmlns:p="http://schemas.openxmlformats.org/presentationml/2006/main">
  <p:tag name="TEMPLAFYSLIDEID" val="637649844358458275"/>
</p:tagLst>
</file>

<file path=ppt/tags/tag181.xml><?xml version="1.0" encoding="utf-8"?>
<p:tagLst xmlns:a="http://schemas.openxmlformats.org/drawingml/2006/main" xmlns:r="http://schemas.openxmlformats.org/officeDocument/2006/relationships" xmlns:p="http://schemas.openxmlformats.org/presentationml/2006/main">
  <p:tag name="TEMPLAFYSLIDEID" val="637649844358458276"/>
</p:tagLst>
</file>

<file path=ppt/tags/tag182.xml><?xml version="1.0" encoding="utf-8"?>
<p:tagLst xmlns:a="http://schemas.openxmlformats.org/drawingml/2006/main" xmlns:r="http://schemas.openxmlformats.org/officeDocument/2006/relationships" xmlns:p="http://schemas.openxmlformats.org/presentationml/2006/main">
  <p:tag name="TEMPLAFYSLIDEID" val="637649844358458277"/>
</p:tagLst>
</file>

<file path=ppt/tags/tag183.xml><?xml version="1.0" encoding="utf-8"?>
<p:tagLst xmlns:a="http://schemas.openxmlformats.org/drawingml/2006/main" xmlns:r="http://schemas.openxmlformats.org/officeDocument/2006/relationships" xmlns:p="http://schemas.openxmlformats.org/presentationml/2006/main">
  <p:tag name="TEMPLAFYSLIDEID" val="637649844358458278"/>
</p:tagLst>
</file>

<file path=ppt/tags/tag184.xml><?xml version="1.0" encoding="utf-8"?>
<p:tagLst xmlns:a="http://schemas.openxmlformats.org/drawingml/2006/main" xmlns:r="http://schemas.openxmlformats.org/officeDocument/2006/relationships" xmlns:p="http://schemas.openxmlformats.org/presentationml/2006/main">
  <p:tag name="TEMPLAFYSLIDEID" val="637649844358458279"/>
</p:tagLst>
</file>

<file path=ppt/tags/tag185.xml><?xml version="1.0" encoding="utf-8"?>
<p:tagLst xmlns:a="http://schemas.openxmlformats.org/drawingml/2006/main" xmlns:r="http://schemas.openxmlformats.org/officeDocument/2006/relationships" xmlns:p="http://schemas.openxmlformats.org/presentationml/2006/main">
  <p:tag name="TEMPLAFYSLIDEID" val="637649844358614504"/>
</p:tagLst>
</file>

<file path=ppt/tags/tag186.xml><?xml version="1.0" encoding="utf-8"?>
<p:tagLst xmlns:a="http://schemas.openxmlformats.org/drawingml/2006/main" xmlns:r="http://schemas.openxmlformats.org/officeDocument/2006/relationships" xmlns:p="http://schemas.openxmlformats.org/presentationml/2006/main">
  <p:tag name="TEMPLAFYSLIDEID" val="637649844358614505"/>
</p:tagLst>
</file>

<file path=ppt/tags/tag187.xml><?xml version="1.0" encoding="utf-8"?>
<p:tagLst xmlns:a="http://schemas.openxmlformats.org/drawingml/2006/main" xmlns:r="http://schemas.openxmlformats.org/officeDocument/2006/relationships" xmlns:p="http://schemas.openxmlformats.org/presentationml/2006/main">
  <p:tag name="TEMPLAFYSLIDEID" val="637649844358614506"/>
</p:tagLst>
</file>

<file path=ppt/tags/tag188.xml><?xml version="1.0" encoding="utf-8"?>
<p:tagLst xmlns:a="http://schemas.openxmlformats.org/drawingml/2006/main" xmlns:r="http://schemas.openxmlformats.org/officeDocument/2006/relationships" xmlns:p="http://schemas.openxmlformats.org/presentationml/2006/main">
  <p:tag name="TEMPLAFYSLIDEID" val="637649844358770778"/>
</p:tagLst>
</file>

<file path=ppt/tags/tag189.xml><?xml version="1.0" encoding="utf-8"?>
<p:tagLst xmlns:a="http://schemas.openxmlformats.org/drawingml/2006/main" xmlns:r="http://schemas.openxmlformats.org/officeDocument/2006/relationships" xmlns:p="http://schemas.openxmlformats.org/presentationml/2006/main">
  <p:tag name="TEMPLAFYSLIDEID" val="637649844358770779"/>
</p:tagLst>
</file>

<file path=ppt/tags/tag19.xml><?xml version="1.0" encoding="utf-8"?>
<p:tagLst xmlns:a="http://schemas.openxmlformats.org/drawingml/2006/main" xmlns:r="http://schemas.openxmlformats.org/officeDocument/2006/relationships" xmlns:p="http://schemas.openxmlformats.org/presentationml/2006/main">
  <p:tag name="TEMPLAFYSLIDEID" val="637649844347832990"/>
</p:tagLst>
</file>

<file path=ppt/tags/tag190.xml><?xml version="1.0" encoding="utf-8"?>
<p:tagLst xmlns:a="http://schemas.openxmlformats.org/drawingml/2006/main" xmlns:r="http://schemas.openxmlformats.org/officeDocument/2006/relationships" xmlns:p="http://schemas.openxmlformats.org/presentationml/2006/main">
  <p:tag name="TEMPLAFYSLIDEID" val="637649844358770780"/>
</p:tagLst>
</file>

<file path=ppt/tags/tag191.xml><?xml version="1.0" encoding="utf-8"?>
<p:tagLst xmlns:a="http://schemas.openxmlformats.org/drawingml/2006/main" xmlns:r="http://schemas.openxmlformats.org/officeDocument/2006/relationships" xmlns:p="http://schemas.openxmlformats.org/presentationml/2006/main">
  <p:tag name="TEMPLAFYSLIDEID" val="637649844358927029"/>
</p:tagLst>
</file>

<file path=ppt/tags/tag192.xml><?xml version="1.0" encoding="utf-8"?>
<p:tagLst xmlns:a="http://schemas.openxmlformats.org/drawingml/2006/main" xmlns:r="http://schemas.openxmlformats.org/officeDocument/2006/relationships" xmlns:p="http://schemas.openxmlformats.org/presentationml/2006/main">
  <p:tag name="TEMPLAFYSLIDEID" val="637649844358927030"/>
</p:tagLst>
</file>

<file path=ppt/tags/tag193.xml><?xml version="1.0" encoding="utf-8"?>
<p:tagLst xmlns:a="http://schemas.openxmlformats.org/drawingml/2006/main" xmlns:r="http://schemas.openxmlformats.org/officeDocument/2006/relationships" xmlns:p="http://schemas.openxmlformats.org/presentationml/2006/main">
  <p:tag name="TEMPLAFYSLIDEID" val="637649844358927031"/>
</p:tagLst>
</file>

<file path=ppt/tags/tag194.xml><?xml version="1.0" encoding="utf-8"?>
<p:tagLst xmlns:a="http://schemas.openxmlformats.org/drawingml/2006/main" xmlns:r="http://schemas.openxmlformats.org/officeDocument/2006/relationships" xmlns:p="http://schemas.openxmlformats.org/presentationml/2006/main">
  <p:tag name="TEMPLAFYSLIDEID" val="637649844358927032"/>
</p:tagLst>
</file>

<file path=ppt/tags/tag195.xml><?xml version="1.0" encoding="utf-8"?>
<p:tagLst xmlns:a="http://schemas.openxmlformats.org/drawingml/2006/main" xmlns:r="http://schemas.openxmlformats.org/officeDocument/2006/relationships" xmlns:p="http://schemas.openxmlformats.org/presentationml/2006/main">
  <p:tag name="TEMPLAFYSLIDEID" val="637649844358927033"/>
</p:tagLst>
</file>

<file path=ppt/tags/tag196.xml><?xml version="1.0" encoding="utf-8"?>
<p:tagLst xmlns:a="http://schemas.openxmlformats.org/drawingml/2006/main" xmlns:r="http://schemas.openxmlformats.org/officeDocument/2006/relationships" xmlns:p="http://schemas.openxmlformats.org/presentationml/2006/main">
  <p:tag name="TEMPLAFYSLIDEID" val="637649844358927034"/>
</p:tagLst>
</file>

<file path=ppt/tags/tag197.xml><?xml version="1.0" encoding="utf-8"?>
<p:tagLst xmlns:a="http://schemas.openxmlformats.org/drawingml/2006/main" xmlns:r="http://schemas.openxmlformats.org/officeDocument/2006/relationships" xmlns:p="http://schemas.openxmlformats.org/presentationml/2006/main">
  <p:tag name="TEMPLAFYSLIDEID" val="637649844358927035"/>
</p:tagLst>
</file>

<file path=ppt/tags/tag198.xml><?xml version="1.0" encoding="utf-8"?>
<p:tagLst xmlns:a="http://schemas.openxmlformats.org/drawingml/2006/main" xmlns:r="http://schemas.openxmlformats.org/officeDocument/2006/relationships" xmlns:p="http://schemas.openxmlformats.org/presentationml/2006/main">
  <p:tag name="TEMPLAFYSLIDEID" val="637649844358927036"/>
</p:tagLst>
</file>

<file path=ppt/tags/tag199.xml><?xml version="1.0" encoding="utf-8"?>
<p:tagLst xmlns:a="http://schemas.openxmlformats.org/drawingml/2006/main" xmlns:r="http://schemas.openxmlformats.org/officeDocument/2006/relationships" xmlns:p="http://schemas.openxmlformats.org/presentationml/2006/main">
  <p:tag name="TEMPLAFYSLIDEID" val="63764984435908326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EMPLAFYSLIDEID" val="637649844347832991"/>
</p:tagLst>
</file>

<file path=ppt/tags/tag200.xml><?xml version="1.0" encoding="utf-8"?>
<p:tagLst xmlns:a="http://schemas.openxmlformats.org/drawingml/2006/main" xmlns:r="http://schemas.openxmlformats.org/officeDocument/2006/relationships" xmlns:p="http://schemas.openxmlformats.org/presentationml/2006/main">
  <p:tag name="TEMPLAFYSLIDEID" val="637649844359083265"/>
</p:tagLst>
</file>

<file path=ppt/tags/tag201.xml><?xml version="1.0" encoding="utf-8"?>
<p:tagLst xmlns:a="http://schemas.openxmlformats.org/drawingml/2006/main" xmlns:r="http://schemas.openxmlformats.org/officeDocument/2006/relationships" xmlns:p="http://schemas.openxmlformats.org/presentationml/2006/main">
  <p:tag name="TEMPLAFYSLIDEID" val="637649844359083266"/>
</p:tagLst>
</file>

<file path=ppt/tags/tag202.xml><?xml version="1.0" encoding="utf-8"?>
<p:tagLst xmlns:a="http://schemas.openxmlformats.org/drawingml/2006/main" xmlns:r="http://schemas.openxmlformats.org/officeDocument/2006/relationships" xmlns:p="http://schemas.openxmlformats.org/presentationml/2006/main">
  <p:tag name="TEMPLAFYSLIDEID" val="637649844359083267"/>
</p:tagLst>
</file>

<file path=ppt/tags/tag203.xml><?xml version="1.0" encoding="utf-8"?>
<p:tagLst xmlns:a="http://schemas.openxmlformats.org/drawingml/2006/main" xmlns:r="http://schemas.openxmlformats.org/officeDocument/2006/relationships" xmlns:p="http://schemas.openxmlformats.org/presentationml/2006/main">
  <p:tag name="TEMPLAFYSLIDEID" val="637649844359083268"/>
</p:tagLst>
</file>

<file path=ppt/tags/tag204.xml><?xml version="1.0" encoding="utf-8"?>
<p:tagLst xmlns:a="http://schemas.openxmlformats.org/drawingml/2006/main" xmlns:r="http://schemas.openxmlformats.org/officeDocument/2006/relationships" xmlns:p="http://schemas.openxmlformats.org/presentationml/2006/main">
  <p:tag name="TEMPLAFYSLIDEID" val="637649844359239538"/>
</p:tagLst>
</file>

<file path=ppt/tags/tag205.xml><?xml version="1.0" encoding="utf-8"?>
<p:tagLst xmlns:a="http://schemas.openxmlformats.org/drawingml/2006/main" xmlns:r="http://schemas.openxmlformats.org/officeDocument/2006/relationships" xmlns:p="http://schemas.openxmlformats.org/presentationml/2006/main">
  <p:tag name="TEMPLAFYSLIDEID" val="637649844359239539"/>
</p:tagLst>
</file>

<file path=ppt/tags/tag206.xml><?xml version="1.0" encoding="utf-8"?>
<p:tagLst xmlns:a="http://schemas.openxmlformats.org/drawingml/2006/main" xmlns:r="http://schemas.openxmlformats.org/officeDocument/2006/relationships" xmlns:p="http://schemas.openxmlformats.org/presentationml/2006/main">
  <p:tag name="TEMPLAFYSLIDEID" val="637649844359239540"/>
</p:tagLst>
</file>

<file path=ppt/tags/tag207.xml><?xml version="1.0" encoding="utf-8"?>
<p:tagLst xmlns:a="http://schemas.openxmlformats.org/drawingml/2006/main" xmlns:r="http://schemas.openxmlformats.org/officeDocument/2006/relationships" xmlns:p="http://schemas.openxmlformats.org/presentationml/2006/main">
  <p:tag name="TEMPLAFYSLIDEID" val="637649844359239541"/>
</p:tagLst>
</file>

<file path=ppt/tags/tag208.xml><?xml version="1.0" encoding="utf-8"?>
<p:tagLst xmlns:a="http://schemas.openxmlformats.org/drawingml/2006/main" xmlns:r="http://schemas.openxmlformats.org/officeDocument/2006/relationships" xmlns:p="http://schemas.openxmlformats.org/presentationml/2006/main">
  <p:tag name="TEMPLAFYSLIDEID" val="637649844359239542"/>
</p:tagLst>
</file>

<file path=ppt/tags/tag209.xml><?xml version="1.0" encoding="utf-8"?>
<p:tagLst xmlns:a="http://schemas.openxmlformats.org/drawingml/2006/main" xmlns:r="http://schemas.openxmlformats.org/officeDocument/2006/relationships" xmlns:p="http://schemas.openxmlformats.org/presentationml/2006/main">
  <p:tag name="TEMPLAFYSLIDEID" val="637649844359239543"/>
</p:tagLst>
</file>

<file path=ppt/tags/tag21.xml><?xml version="1.0" encoding="utf-8"?>
<p:tagLst xmlns:a="http://schemas.openxmlformats.org/drawingml/2006/main" xmlns:r="http://schemas.openxmlformats.org/officeDocument/2006/relationships" xmlns:p="http://schemas.openxmlformats.org/presentationml/2006/main">
  <p:tag name="TEMPLAFYSLIDEID" val="637649844347832992"/>
</p:tagLst>
</file>

<file path=ppt/tags/tag210.xml><?xml version="1.0" encoding="utf-8"?>
<p:tagLst xmlns:a="http://schemas.openxmlformats.org/drawingml/2006/main" xmlns:r="http://schemas.openxmlformats.org/officeDocument/2006/relationships" xmlns:p="http://schemas.openxmlformats.org/presentationml/2006/main">
  <p:tag name="TEMPLAFYSLIDEID" val="637649844359239544"/>
</p:tagLst>
</file>

<file path=ppt/tags/tag211.xml><?xml version="1.0" encoding="utf-8"?>
<p:tagLst xmlns:a="http://schemas.openxmlformats.org/drawingml/2006/main" xmlns:r="http://schemas.openxmlformats.org/officeDocument/2006/relationships" xmlns:p="http://schemas.openxmlformats.org/presentationml/2006/main">
  <p:tag name="TEMPLAFYSLIDEID" val="637649844359239545"/>
</p:tagLst>
</file>

<file path=ppt/tags/tag212.xml><?xml version="1.0" encoding="utf-8"?>
<p:tagLst xmlns:a="http://schemas.openxmlformats.org/drawingml/2006/main" xmlns:r="http://schemas.openxmlformats.org/officeDocument/2006/relationships" xmlns:p="http://schemas.openxmlformats.org/presentationml/2006/main">
  <p:tag name="TEMPLAFYSLIDEID" val="637649844359239546"/>
</p:tagLst>
</file>

<file path=ppt/tags/tag213.xml><?xml version="1.0" encoding="utf-8"?>
<p:tagLst xmlns:a="http://schemas.openxmlformats.org/drawingml/2006/main" xmlns:r="http://schemas.openxmlformats.org/officeDocument/2006/relationships" xmlns:p="http://schemas.openxmlformats.org/presentationml/2006/main">
  <p:tag name="TEMPLAFYSLIDEID" val="637649844359239547"/>
</p:tagLst>
</file>

<file path=ppt/tags/tag214.xml><?xml version="1.0" encoding="utf-8"?>
<p:tagLst xmlns:a="http://schemas.openxmlformats.org/drawingml/2006/main" xmlns:r="http://schemas.openxmlformats.org/officeDocument/2006/relationships" xmlns:p="http://schemas.openxmlformats.org/presentationml/2006/main">
  <p:tag name="TEMPLAFYSLIDEID" val="637649844359395795"/>
</p:tagLst>
</file>

<file path=ppt/tags/tag215.xml><?xml version="1.0" encoding="utf-8"?>
<p:tagLst xmlns:a="http://schemas.openxmlformats.org/drawingml/2006/main" xmlns:r="http://schemas.openxmlformats.org/officeDocument/2006/relationships" xmlns:p="http://schemas.openxmlformats.org/presentationml/2006/main">
  <p:tag name="TEMPLAFYSLIDEID" val="637649844359395796"/>
</p:tagLst>
</file>

<file path=ppt/tags/tag216.xml><?xml version="1.0" encoding="utf-8"?>
<p:tagLst xmlns:a="http://schemas.openxmlformats.org/drawingml/2006/main" xmlns:r="http://schemas.openxmlformats.org/officeDocument/2006/relationships" xmlns:p="http://schemas.openxmlformats.org/presentationml/2006/main">
  <p:tag name="TEMPLAFYSLIDEID" val="637649844359395797"/>
</p:tagLst>
</file>

<file path=ppt/tags/tag217.xml><?xml version="1.0" encoding="utf-8"?>
<p:tagLst xmlns:a="http://schemas.openxmlformats.org/drawingml/2006/main" xmlns:r="http://schemas.openxmlformats.org/officeDocument/2006/relationships" xmlns:p="http://schemas.openxmlformats.org/presentationml/2006/main">
  <p:tag name="TEMPLAFYSLIDEID" val="637649844359395798"/>
</p:tagLst>
</file>

<file path=ppt/tags/tag218.xml><?xml version="1.0" encoding="utf-8"?>
<p:tagLst xmlns:a="http://schemas.openxmlformats.org/drawingml/2006/main" xmlns:r="http://schemas.openxmlformats.org/officeDocument/2006/relationships" xmlns:p="http://schemas.openxmlformats.org/presentationml/2006/main">
  <p:tag name="TEMPLAFYSLIDEID" val="637649844359395799"/>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22.xml><?xml version="1.0" encoding="utf-8"?>
<p:tagLst xmlns:a="http://schemas.openxmlformats.org/drawingml/2006/main" xmlns:r="http://schemas.openxmlformats.org/officeDocument/2006/relationships" xmlns:p="http://schemas.openxmlformats.org/presentationml/2006/main">
  <p:tag name="TEMPLAFYSLIDEID" val="637649844347832993"/>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bdSxP2afx0S4jUk1jo7rGw"/>
  <p:tag name="TEMPLAFYSLIDEID" val="637649844359395800"/>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225.xml><?xml version="1.0" encoding="utf-8"?>
<p:tagLst xmlns:a="http://schemas.openxmlformats.org/drawingml/2006/main" xmlns:r="http://schemas.openxmlformats.org/officeDocument/2006/relationships" xmlns:p="http://schemas.openxmlformats.org/presentationml/2006/main">
  <p:tag name="TEMPLAFYSLIDEID" val="637649844359395801"/>
</p:tagLst>
</file>

<file path=ppt/tags/tag226.xml><?xml version="1.0" encoding="utf-8"?>
<p:tagLst xmlns:a="http://schemas.openxmlformats.org/drawingml/2006/main" xmlns:r="http://schemas.openxmlformats.org/officeDocument/2006/relationships" xmlns:p="http://schemas.openxmlformats.org/presentationml/2006/main">
  <p:tag name="TEMPLAFYSLIDEID" val="637649844359395802"/>
</p:tagLst>
</file>

<file path=ppt/tags/tag227.xml><?xml version="1.0" encoding="utf-8"?>
<p:tagLst xmlns:a="http://schemas.openxmlformats.org/drawingml/2006/main" xmlns:r="http://schemas.openxmlformats.org/officeDocument/2006/relationships" xmlns:p="http://schemas.openxmlformats.org/presentationml/2006/main">
  <p:tag name="TEMPLAFYSLIDEID" val="637649844359395803"/>
</p:tagLst>
</file>

<file path=ppt/tags/tag228.xml><?xml version="1.0" encoding="utf-8"?>
<p:tagLst xmlns:a="http://schemas.openxmlformats.org/drawingml/2006/main" xmlns:r="http://schemas.openxmlformats.org/officeDocument/2006/relationships" xmlns:p="http://schemas.openxmlformats.org/presentationml/2006/main">
  <p:tag name="TEMPLAFYSLIDEID" val="637649844359395804"/>
</p:tagLst>
</file>

<file path=ppt/tags/tag229.xml><?xml version="1.0" encoding="utf-8"?>
<p:tagLst xmlns:a="http://schemas.openxmlformats.org/drawingml/2006/main" xmlns:r="http://schemas.openxmlformats.org/officeDocument/2006/relationships" xmlns:p="http://schemas.openxmlformats.org/presentationml/2006/main">
  <p:tag name="TEMPLAFYSLIDEID" val="637649844359552040"/>
</p:tagLst>
</file>

<file path=ppt/tags/tag23.xml><?xml version="1.0" encoding="utf-8"?>
<p:tagLst xmlns:a="http://schemas.openxmlformats.org/drawingml/2006/main" xmlns:r="http://schemas.openxmlformats.org/officeDocument/2006/relationships" xmlns:p="http://schemas.openxmlformats.org/presentationml/2006/main">
  <p:tag name="TEMPLAFYSLIDEID" val="637649844347832994"/>
</p:tagLst>
</file>

<file path=ppt/tags/tag230.xml><?xml version="1.0" encoding="utf-8"?>
<p:tagLst xmlns:a="http://schemas.openxmlformats.org/drawingml/2006/main" xmlns:r="http://schemas.openxmlformats.org/officeDocument/2006/relationships" xmlns:p="http://schemas.openxmlformats.org/presentationml/2006/main">
  <p:tag name="TEMPLAFYSLIDEID" val="637649844359552041"/>
</p:tagLst>
</file>

<file path=ppt/tags/tag231.xml><?xml version="1.0" encoding="utf-8"?>
<p:tagLst xmlns:a="http://schemas.openxmlformats.org/drawingml/2006/main" xmlns:r="http://schemas.openxmlformats.org/officeDocument/2006/relationships" xmlns:p="http://schemas.openxmlformats.org/presentationml/2006/main">
  <p:tag name="TEMPLAFYSLIDEID" val="637649844359864545"/>
</p:tagLst>
</file>

<file path=ppt/tags/tag232.xml><?xml version="1.0" encoding="utf-8"?>
<p:tagLst xmlns:a="http://schemas.openxmlformats.org/drawingml/2006/main" xmlns:r="http://schemas.openxmlformats.org/officeDocument/2006/relationships" xmlns:p="http://schemas.openxmlformats.org/presentationml/2006/main">
  <p:tag name="TEMPLAFYSLIDEID" val="637649844359864546"/>
</p:tagLst>
</file>

<file path=ppt/tags/tag233.xml><?xml version="1.0" encoding="utf-8"?>
<p:tagLst xmlns:a="http://schemas.openxmlformats.org/drawingml/2006/main" xmlns:r="http://schemas.openxmlformats.org/officeDocument/2006/relationships" xmlns:p="http://schemas.openxmlformats.org/presentationml/2006/main">
  <p:tag name="TEMPLAFYSLIDEID" val="637649844359864547"/>
</p:tagLst>
</file>

<file path=ppt/tags/tag234.xml><?xml version="1.0" encoding="utf-8"?>
<p:tagLst xmlns:a="http://schemas.openxmlformats.org/drawingml/2006/main" xmlns:r="http://schemas.openxmlformats.org/officeDocument/2006/relationships" xmlns:p="http://schemas.openxmlformats.org/presentationml/2006/main">
  <p:tag name="TEMPLAFYSLIDEID" val="637649844360020810"/>
</p:tagLst>
</file>

<file path=ppt/tags/tag235.xml><?xml version="1.0" encoding="utf-8"?>
<p:tagLst xmlns:a="http://schemas.openxmlformats.org/drawingml/2006/main" xmlns:r="http://schemas.openxmlformats.org/officeDocument/2006/relationships" xmlns:p="http://schemas.openxmlformats.org/presentationml/2006/main">
  <p:tag name="TEMPLAFYSLIDEID" val="637649844360020811"/>
</p:tagLst>
</file>

<file path=ppt/tags/tag236.xml><?xml version="1.0" encoding="utf-8"?>
<p:tagLst xmlns:a="http://schemas.openxmlformats.org/drawingml/2006/main" xmlns:r="http://schemas.openxmlformats.org/officeDocument/2006/relationships" xmlns:p="http://schemas.openxmlformats.org/presentationml/2006/main">
  <p:tag name="TEMPLAFYSLIDEID" val="637649844360020812"/>
</p:tagLst>
</file>

<file path=ppt/tags/tag237.xml><?xml version="1.0" encoding="utf-8"?>
<p:tagLst xmlns:a="http://schemas.openxmlformats.org/drawingml/2006/main" xmlns:r="http://schemas.openxmlformats.org/officeDocument/2006/relationships" xmlns:p="http://schemas.openxmlformats.org/presentationml/2006/main">
  <p:tag name="TEMPLAFYSLIDEID" val="637649844360020813"/>
</p:tagLst>
</file>

<file path=ppt/tags/tag238.xml><?xml version="1.0" encoding="utf-8"?>
<p:tagLst xmlns:a="http://schemas.openxmlformats.org/drawingml/2006/main" xmlns:r="http://schemas.openxmlformats.org/officeDocument/2006/relationships" xmlns:p="http://schemas.openxmlformats.org/presentationml/2006/main">
  <p:tag name="TEMPLAFYSLIDEID" val="637649844360020814"/>
</p:tagLst>
</file>

<file path=ppt/tags/tag239.xml><?xml version="1.0" encoding="utf-8"?>
<p:tagLst xmlns:a="http://schemas.openxmlformats.org/drawingml/2006/main" xmlns:r="http://schemas.openxmlformats.org/officeDocument/2006/relationships" xmlns:p="http://schemas.openxmlformats.org/presentationml/2006/main">
  <p:tag name="TEMPLAFYSLIDEID" val="637649844360020815"/>
</p:tagLst>
</file>

<file path=ppt/tags/tag24.xml><?xml version="1.0" encoding="utf-8"?>
<p:tagLst xmlns:a="http://schemas.openxmlformats.org/drawingml/2006/main" xmlns:r="http://schemas.openxmlformats.org/officeDocument/2006/relationships" xmlns:p="http://schemas.openxmlformats.org/presentationml/2006/main">
  <p:tag name="TEMPLAFYSLIDEID" val="637649844347832995"/>
</p:tagLst>
</file>

<file path=ppt/tags/tag240.xml><?xml version="1.0" encoding="utf-8"?>
<p:tagLst xmlns:a="http://schemas.openxmlformats.org/drawingml/2006/main" xmlns:r="http://schemas.openxmlformats.org/officeDocument/2006/relationships" xmlns:p="http://schemas.openxmlformats.org/presentationml/2006/main">
  <p:tag name="TEMPLAFYSLIDEID" val="637649844360020816"/>
</p:tagLst>
</file>

<file path=ppt/tags/tag241.xml><?xml version="1.0" encoding="utf-8"?>
<p:tagLst xmlns:a="http://schemas.openxmlformats.org/drawingml/2006/main" xmlns:r="http://schemas.openxmlformats.org/officeDocument/2006/relationships" xmlns:p="http://schemas.openxmlformats.org/presentationml/2006/main">
  <p:tag name="TEMPLAFYSLIDEID" val="637649844360020817"/>
</p:tagLst>
</file>

<file path=ppt/tags/tag242.xml><?xml version="1.0" encoding="utf-8"?>
<p:tagLst xmlns:a="http://schemas.openxmlformats.org/drawingml/2006/main" xmlns:r="http://schemas.openxmlformats.org/officeDocument/2006/relationships" xmlns:p="http://schemas.openxmlformats.org/presentationml/2006/main">
  <p:tag name="TEMPLAFYSLIDEID" val="637649844360177055"/>
</p:tagLst>
</file>

<file path=ppt/tags/tag243.xml><?xml version="1.0" encoding="utf-8"?>
<p:tagLst xmlns:a="http://schemas.openxmlformats.org/drawingml/2006/main" xmlns:r="http://schemas.openxmlformats.org/officeDocument/2006/relationships" xmlns:p="http://schemas.openxmlformats.org/presentationml/2006/main">
  <p:tag name="TEMPLAFYSLIDEID" val="637649844360177056"/>
</p:tagLst>
</file>

<file path=ppt/tags/tag244.xml><?xml version="1.0" encoding="utf-8"?>
<p:tagLst xmlns:a="http://schemas.openxmlformats.org/drawingml/2006/main" xmlns:r="http://schemas.openxmlformats.org/officeDocument/2006/relationships" xmlns:p="http://schemas.openxmlformats.org/presentationml/2006/main">
  <p:tag name="TEMPLAFYSLIDEID" val="637649844360177057"/>
</p:tagLst>
</file>

<file path=ppt/tags/tag245.xml><?xml version="1.0" encoding="utf-8"?>
<p:tagLst xmlns:a="http://schemas.openxmlformats.org/drawingml/2006/main" xmlns:r="http://schemas.openxmlformats.org/officeDocument/2006/relationships" xmlns:p="http://schemas.openxmlformats.org/presentationml/2006/main">
  <p:tag name="TEMPLAFYSLIDEID" val="637649844360177058"/>
</p:tagLst>
</file>

<file path=ppt/tags/tag246.xml><?xml version="1.0" encoding="utf-8"?>
<p:tagLst xmlns:a="http://schemas.openxmlformats.org/drawingml/2006/main" xmlns:r="http://schemas.openxmlformats.org/officeDocument/2006/relationships" xmlns:p="http://schemas.openxmlformats.org/presentationml/2006/main">
  <p:tag name="TEMPLAFYSLIDEID" val="637649844360177059"/>
</p:tagLst>
</file>

<file path=ppt/tags/tag247.xml><?xml version="1.0" encoding="utf-8"?>
<p:tagLst xmlns:a="http://schemas.openxmlformats.org/drawingml/2006/main" xmlns:r="http://schemas.openxmlformats.org/officeDocument/2006/relationships" xmlns:p="http://schemas.openxmlformats.org/presentationml/2006/main">
  <p:tag name="TEMPLAFYSLIDEID" val="637649844360177060"/>
</p:tagLst>
</file>

<file path=ppt/tags/tag248.xml><?xml version="1.0" encoding="utf-8"?>
<p:tagLst xmlns:a="http://schemas.openxmlformats.org/drawingml/2006/main" xmlns:r="http://schemas.openxmlformats.org/officeDocument/2006/relationships" xmlns:p="http://schemas.openxmlformats.org/presentationml/2006/main">
  <p:tag name="TEMPLAFYSLIDEID" val="637649844360177061"/>
</p:tagLst>
</file>

<file path=ppt/tags/tag249.xml><?xml version="1.0" encoding="utf-8"?>
<p:tagLst xmlns:a="http://schemas.openxmlformats.org/drawingml/2006/main" xmlns:r="http://schemas.openxmlformats.org/officeDocument/2006/relationships" xmlns:p="http://schemas.openxmlformats.org/presentationml/2006/main">
  <p:tag name="TEMPLAFYSLIDEID" val="637649844360333312"/>
</p:tagLst>
</file>

<file path=ppt/tags/tag25.xml><?xml version="1.0" encoding="utf-8"?>
<p:tagLst xmlns:a="http://schemas.openxmlformats.org/drawingml/2006/main" xmlns:r="http://schemas.openxmlformats.org/officeDocument/2006/relationships" xmlns:p="http://schemas.openxmlformats.org/presentationml/2006/main">
  <p:tag name="TEMPLAFYSLIDEID" val="637649844347832996"/>
</p:tagLst>
</file>

<file path=ppt/tags/tag250.xml><?xml version="1.0" encoding="utf-8"?>
<p:tagLst xmlns:a="http://schemas.openxmlformats.org/drawingml/2006/main" xmlns:r="http://schemas.openxmlformats.org/officeDocument/2006/relationships" xmlns:p="http://schemas.openxmlformats.org/presentationml/2006/main">
  <p:tag name="TEMPLAFYSLIDEID" val="637649844360333313"/>
</p:tagLst>
</file>

<file path=ppt/tags/tag251.xml><?xml version="1.0" encoding="utf-8"?>
<p:tagLst xmlns:a="http://schemas.openxmlformats.org/drawingml/2006/main" xmlns:r="http://schemas.openxmlformats.org/officeDocument/2006/relationships" xmlns:p="http://schemas.openxmlformats.org/presentationml/2006/main">
  <p:tag name="TEMPLAFYSLIDEID" val="637649844360333314"/>
</p:tagLst>
</file>

<file path=ppt/tags/tag252.xml><?xml version="1.0" encoding="utf-8"?>
<p:tagLst xmlns:a="http://schemas.openxmlformats.org/drawingml/2006/main" xmlns:r="http://schemas.openxmlformats.org/officeDocument/2006/relationships" xmlns:p="http://schemas.openxmlformats.org/presentationml/2006/main">
  <p:tag name="TEMPLAFYSLIDEID" val="637649844360645827"/>
</p:tagLst>
</file>

<file path=ppt/tags/tag253.xml><?xml version="1.0" encoding="utf-8"?>
<p:tagLst xmlns:a="http://schemas.openxmlformats.org/drawingml/2006/main" xmlns:r="http://schemas.openxmlformats.org/officeDocument/2006/relationships" xmlns:p="http://schemas.openxmlformats.org/presentationml/2006/main">
  <p:tag name="TEMPLAFYSLIDEID" val="637649844360645828"/>
</p:tagLst>
</file>

<file path=ppt/tags/tag254.xml><?xml version="1.0" encoding="utf-8"?>
<p:tagLst xmlns:a="http://schemas.openxmlformats.org/drawingml/2006/main" xmlns:r="http://schemas.openxmlformats.org/officeDocument/2006/relationships" xmlns:p="http://schemas.openxmlformats.org/presentationml/2006/main">
  <p:tag name="TEMPLAFYSLIDEID" val="637649844360802908"/>
</p:tagLst>
</file>

<file path=ppt/tags/tag255.xml><?xml version="1.0" encoding="utf-8"?>
<p:tagLst xmlns:a="http://schemas.openxmlformats.org/drawingml/2006/main" xmlns:r="http://schemas.openxmlformats.org/officeDocument/2006/relationships" xmlns:p="http://schemas.openxmlformats.org/presentationml/2006/main">
  <p:tag name="TEMPLAFYSLIDEID" val="637649844360802909"/>
</p:tagLst>
</file>

<file path=ppt/tags/tag256.xml><?xml version="1.0" encoding="utf-8"?>
<p:tagLst xmlns:a="http://schemas.openxmlformats.org/drawingml/2006/main" xmlns:r="http://schemas.openxmlformats.org/officeDocument/2006/relationships" xmlns:p="http://schemas.openxmlformats.org/presentationml/2006/main">
  <p:tag name="TEMPLAFYSLIDEID" val="637649844360802910"/>
</p:tagLst>
</file>

<file path=ppt/tags/tag257.xml><?xml version="1.0" encoding="utf-8"?>
<p:tagLst xmlns:a="http://schemas.openxmlformats.org/drawingml/2006/main" xmlns:r="http://schemas.openxmlformats.org/officeDocument/2006/relationships" xmlns:p="http://schemas.openxmlformats.org/presentationml/2006/main">
  <p:tag name="TEMPLAFYSLIDEID" val="637649844360802911"/>
</p:tagLst>
</file>

<file path=ppt/tags/tag258.xml><?xml version="1.0" encoding="utf-8"?>
<p:tagLst xmlns:a="http://schemas.openxmlformats.org/drawingml/2006/main" xmlns:r="http://schemas.openxmlformats.org/officeDocument/2006/relationships" xmlns:p="http://schemas.openxmlformats.org/presentationml/2006/main">
  <p:tag name="TEMPLAFYSLIDEID" val="637649844360958313"/>
</p:tagLst>
</file>

<file path=ppt/tags/tag259.xml><?xml version="1.0" encoding="utf-8"?>
<p:tagLst xmlns:a="http://schemas.openxmlformats.org/drawingml/2006/main" xmlns:r="http://schemas.openxmlformats.org/officeDocument/2006/relationships" xmlns:p="http://schemas.openxmlformats.org/presentationml/2006/main">
  <p:tag name="TEMPLAFYSLIDEID" val="637649844360958314"/>
</p:tagLst>
</file>

<file path=ppt/tags/tag26.xml><?xml version="1.0" encoding="utf-8"?>
<p:tagLst xmlns:a="http://schemas.openxmlformats.org/drawingml/2006/main" xmlns:r="http://schemas.openxmlformats.org/officeDocument/2006/relationships" xmlns:p="http://schemas.openxmlformats.org/presentationml/2006/main">
  <p:tag name="TEMPLAFYSLIDEID" val="637649844347832997"/>
</p:tagLst>
</file>

<file path=ppt/tags/tag260.xml><?xml version="1.0" encoding="utf-8"?>
<p:tagLst xmlns:a="http://schemas.openxmlformats.org/drawingml/2006/main" xmlns:r="http://schemas.openxmlformats.org/officeDocument/2006/relationships" xmlns:p="http://schemas.openxmlformats.org/presentationml/2006/main">
  <p:tag name="TEMPLAFYSLIDEID" val="637649844360958315"/>
</p:tagLst>
</file>

<file path=ppt/tags/tag261.xml><?xml version="1.0" encoding="utf-8"?>
<p:tagLst xmlns:a="http://schemas.openxmlformats.org/drawingml/2006/main" xmlns:r="http://schemas.openxmlformats.org/officeDocument/2006/relationships" xmlns:p="http://schemas.openxmlformats.org/presentationml/2006/main">
  <p:tag name="TEMPLAFYSLIDEID" val="637649844360958316"/>
</p:tagLst>
</file>

<file path=ppt/tags/tag262.xml><?xml version="1.0" encoding="utf-8"?>
<p:tagLst xmlns:a="http://schemas.openxmlformats.org/drawingml/2006/main" xmlns:r="http://schemas.openxmlformats.org/officeDocument/2006/relationships" xmlns:p="http://schemas.openxmlformats.org/presentationml/2006/main">
  <p:tag name="TEMPLAFYSLIDEID" val="637649844360958317"/>
</p:tagLst>
</file>

<file path=ppt/tags/tag263.xml><?xml version="1.0" encoding="utf-8"?>
<p:tagLst xmlns:a="http://schemas.openxmlformats.org/drawingml/2006/main" xmlns:r="http://schemas.openxmlformats.org/officeDocument/2006/relationships" xmlns:p="http://schemas.openxmlformats.org/presentationml/2006/main">
  <p:tag name="TEMPLAFYSLIDEID" val="637649844361114601"/>
</p:tagLst>
</file>

<file path=ppt/tags/tag264.xml><?xml version="1.0" encoding="utf-8"?>
<p:tagLst xmlns:a="http://schemas.openxmlformats.org/drawingml/2006/main" xmlns:r="http://schemas.openxmlformats.org/officeDocument/2006/relationships" xmlns:p="http://schemas.openxmlformats.org/presentationml/2006/main">
  <p:tag name="TEMPLAFYSLIDEID" val="637649844361583346"/>
</p:tagLst>
</file>

<file path=ppt/tags/tag265.xml><?xml version="1.0" encoding="utf-8"?>
<p:tagLst xmlns:a="http://schemas.openxmlformats.org/drawingml/2006/main" xmlns:r="http://schemas.openxmlformats.org/officeDocument/2006/relationships" xmlns:p="http://schemas.openxmlformats.org/presentationml/2006/main">
  <p:tag name="TEMPLAFYSLIDEID" val="637649844361583347"/>
</p:tagLst>
</file>

<file path=ppt/tags/tag266.xml><?xml version="1.0" encoding="utf-8"?>
<p:tagLst xmlns:a="http://schemas.openxmlformats.org/drawingml/2006/main" xmlns:r="http://schemas.openxmlformats.org/officeDocument/2006/relationships" xmlns:p="http://schemas.openxmlformats.org/presentationml/2006/main">
  <p:tag name="TEMPLAFYSLIDEID" val="637649844361583348"/>
</p:tagLst>
</file>

<file path=ppt/tags/tag267.xml><?xml version="1.0" encoding="utf-8"?>
<p:tagLst xmlns:a="http://schemas.openxmlformats.org/drawingml/2006/main" xmlns:r="http://schemas.openxmlformats.org/officeDocument/2006/relationships" xmlns:p="http://schemas.openxmlformats.org/presentationml/2006/main">
  <p:tag name="TEMPLAFYSLIDEID" val="637649844361583349"/>
</p:tagLst>
</file>

<file path=ppt/tags/tag268.xml><?xml version="1.0" encoding="utf-8"?>
<p:tagLst xmlns:a="http://schemas.openxmlformats.org/drawingml/2006/main" xmlns:r="http://schemas.openxmlformats.org/officeDocument/2006/relationships" xmlns:p="http://schemas.openxmlformats.org/presentationml/2006/main">
  <p:tag name="TEMPLAFYSLIDEID" val="637649844361739586"/>
</p:tagLst>
</file>

<file path=ppt/tags/tag269.xml><?xml version="1.0" encoding="utf-8"?>
<p:tagLst xmlns:a="http://schemas.openxmlformats.org/drawingml/2006/main" xmlns:r="http://schemas.openxmlformats.org/officeDocument/2006/relationships" xmlns:p="http://schemas.openxmlformats.org/presentationml/2006/main">
  <p:tag name="TEMPLAFYSLIDEID" val="637649844361739587"/>
</p:tagLst>
</file>

<file path=ppt/tags/tag27.xml><?xml version="1.0" encoding="utf-8"?>
<p:tagLst xmlns:a="http://schemas.openxmlformats.org/drawingml/2006/main" xmlns:r="http://schemas.openxmlformats.org/officeDocument/2006/relationships" xmlns:p="http://schemas.openxmlformats.org/presentationml/2006/main">
  <p:tag name="TEMPLAFYSLIDEID" val="637649844347832998"/>
</p:tagLst>
</file>

<file path=ppt/tags/tag270.xml><?xml version="1.0" encoding="utf-8"?>
<p:tagLst xmlns:a="http://schemas.openxmlformats.org/drawingml/2006/main" xmlns:r="http://schemas.openxmlformats.org/officeDocument/2006/relationships" xmlns:p="http://schemas.openxmlformats.org/presentationml/2006/main">
  <p:tag name="TEMPLAFYSLIDEID" val="637649844361739588"/>
</p:tagLst>
</file>

<file path=ppt/tags/tag271.xml><?xml version="1.0" encoding="utf-8"?>
<p:tagLst xmlns:a="http://schemas.openxmlformats.org/drawingml/2006/main" xmlns:r="http://schemas.openxmlformats.org/officeDocument/2006/relationships" xmlns:p="http://schemas.openxmlformats.org/presentationml/2006/main">
  <p:tag name="TEMPLAFYSLIDEID" val="637649844361739589"/>
</p:tagLst>
</file>

<file path=ppt/tags/tag272.xml><?xml version="1.0" encoding="utf-8"?>
<p:tagLst xmlns:a="http://schemas.openxmlformats.org/drawingml/2006/main" xmlns:r="http://schemas.openxmlformats.org/officeDocument/2006/relationships" xmlns:p="http://schemas.openxmlformats.org/presentationml/2006/main">
  <p:tag name="TEMPLAFYSLIDEID" val="637649844361895846"/>
</p:tagLst>
</file>

<file path=ppt/tags/tag273.xml><?xml version="1.0" encoding="utf-8"?>
<p:tagLst xmlns:a="http://schemas.openxmlformats.org/drawingml/2006/main" xmlns:r="http://schemas.openxmlformats.org/officeDocument/2006/relationships" xmlns:p="http://schemas.openxmlformats.org/presentationml/2006/main">
  <p:tag name="TEMPLAFYSLIDEID" val="637649844361895847"/>
</p:tagLst>
</file>

<file path=ppt/tags/tag274.xml><?xml version="1.0" encoding="utf-8"?>
<p:tagLst xmlns:a="http://schemas.openxmlformats.org/drawingml/2006/main" xmlns:r="http://schemas.openxmlformats.org/officeDocument/2006/relationships" xmlns:p="http://schemas.openxmlformats.org/presentationml/2006/main">
  <p:tag name="TEMPLAFYSLIDEID" val="637649844361895848"/>
</p:tagLst>
</file>

<file path=ppt/tags/tag275.xml><?xml version="1.0" encoding="utf-8"?>
<p:tagLst xmlns:a="http://schemas.openxmlformats.org/drawingml/2006/main" xmlns:r="http://schemas.openxmlformats.org/officeDocument/2006/relationships" xmlns:p="http://schemas.openxmlformats.org/presentationml/2006/main">
  <p:tag name="TEMPLAFYSLIDEID" val="637649844361895849"/>
</p:tagLst>
</file>

<file path=ppt/tags/tag276.xml><?xml version="1.0" encoding="utf-8"?>
<p:tagLst xmlns:a="http://schemas.openxmlformats.org/drawingml/2006/main" xmlns:r="http://schemas.openxmlformats.org/officeDocument/2006/relationships" xmlns:p="http://schemas.openxmlformats.org/presentationml/2006/main">
  <p:tag name="TEMPLAFYSLIDEID" val="637649844362052103"/>
</p:tagLst>
</file>

<file path=ppt/tags/tag277.xml><?xml version="1.0" encoding="utf-8"?>
<p:tagLst xmlns:a="http://schemas.openxmlformats.org/drawingml/2006/main" xmlns:r="http://schemas.openxmlformats.org/officeDocument/2006/relationships" xmlns:p="http://schemas.openxmlformats.org/presentationml/2006/main">
  <p:tag name="TEMPLAFYSLIDEID" val="637649844362052104"/>
</p:tagLst>
</file>

<file path=ppt/tags/tag278.xml><?xml version="1.0" encoding="utf-8"?>
<p:tagLst xmlns:a="http://schemas.openxmlformats.org/drawingml/2006/main" xmlns:r="http://schemas.openxmlformats.org/officeDocument/2006/relationships" xmlns:p="http://schemas.openxmlformats.org/presentationml/2006/main">
  <p:tag name="TEMPLAFYSLIDEID" val="637649844362052105"/>
</p:tagLst>
</file>

<file path=ppt/tags/tag279.xml><?xml version="1.0" encoding="utf-8"?>
<p:tagLst xmlns:a="http://schemas.openxmlformats.org/drawingml/2006/main" xmlns:r="http://schemas.openxmlformats.org/officeDocument/2006/relationships" xmlns:p="http://schemas.openxmlformats.org/presentationml/2006/main">
  <p:tag name="TEMPLAFYSLIDEID" val="637649844362052106"/>
</p:tagLst>
</file>

<file path=ppt/tags/tag28.xml><?xml version="1.0" encoding="utf-8"?>
<p:tagLst xmlns:a="http://schemas.openxmlformats.org/drawingml/2006/main" xmlns:r="http://schemas.openxmlformats.org/officeDocument/2006/relationships" xmlns:p="http://schemas.openxmlformats.org/presentationml/2006/main">
  <p:tag name="TEMPLAFYSLIDEID" val="637649844347832999"/>
</p:tagLst>
</file>

<file path=ppt/tags/tag280.xml><?xml version="1.0" encoding="utf-8"?>
<p:tagLst xmlns:a="http://schemas.openxmlformats.org/drawingml/2006/main" xmlns:r="http://schemas.openxmlformats.org/officeDocument/2006/relationships" xmlns:p="http://schemas.openxmlformats.org/presentationml/2006/main">
  <p:tag name="TEMPLAFYSLIDEID" val="637649844362052107"/>
</p:tagLst>
</file>

<file path=ppt/tags/tag281.xml><?xml version="1.0" encoding="utf-8"?>
<p:tagLst xmlns:a="http://schemas.openxmlformats.org/drawingml/2006/main" xmlns:r="http://schemas.openxmlformats.org/officeDocument/2006/relationships" xmlns:p="http://schemas.openxmlformats.org/presentationml/2006/main">
  <p:tag name="TEMPLAFYSLIDEID" val="637649844362052108"/>
</p:tagLst>
</file>

<file path=ppt/tags/tag282.xml><?xml version="1.0" encoding="utf-8"?>
<p:tagLst xmlns:a="http://schemas.openxmlformats.org/drawingml/2006/main" xmlns:r="http://schemas.openxmlformats.org/officeDocument/2006/relationships" xmlns:p="http://schemas.openxmlformats.org/presentationml/2006/main">
  <p:tag name="TEMPLAFYSLIDEID" val="637649844362052109"/>
</p:tagLst>
</file>

<file path=ppt/tags/tag283.xml><?xml version="1.0" encoding="utf-8"?>
<p:tagLst xmlns:a="http://schemas.openxmlformats.org/drawingml/2006/main" xmlns:r="http://schemas.openxmlformats.org/officeDocument/2006/relationships" xmlns:p="http://schemas.openxmlformats.org/presentationml/2006/main">
  <p:tag name="TEMPLAFYSLIDEID" val="637649844362208365"/>
</p:tagLst>
</file>

<file path=ppt/tags/tag284.xml><?xml version="1.0" encoding="utf-8"?>
<p:tagLst xmlns:a="http://schemas.openxmlformats.org/drawingml/2006/main" xmlns:r="http://schemas.openxmlformats.org/officeDocument/2006/relationships" xmlns:p="http://schemas.openxmlformats.org/presentationml/2006/main">
  <p:tag name="TEMPLAFYSLIDEID" val="637649844362208366"/>
</p:tagLst>
</file>

<file path=ppt/tags/tag285.xml><?xml version="1.0" encoding="utf-8"?>
<p:tagLst xmlns:a="http://schemas.openxmlformats.org/drawingml/2006/main" xmlns:r="http://schemas.openxmlformats.org/officeDocument/2006/relationships" xmlns:p="http://schemas.openxmlformats.org/presentationml/2006/main">
  <p:tag name="TEMPLAFYSLIDEID" val="637649844362208367"/>
</p:tagLst>
</file>

<file path=ppt/tags/tag286.xml><?xml version="1.0" encoding="utf-8"?>
<p:tagLst xmlns:a="http://schemas.openxmlformats.org/drawingml/2006/main" xmlns:r="http://schemas.openxmlformats.org/officeDocument/2006/relationships" xmlns:p="http://schemas.openxmlformats.org/presentationml/2006/main">
  <p:tag name="TEMPLAFYSLIDEID" val="637649844362208368"/>
</p:tagLst>
</file>

<file path=ppt/tags/tag287.xml><?xml version="1.0" encoding="utf-8"?>
<p:tagLst xmlns:a="http://schemas.openxmlformats.org/drawingml/2006/main" xmlns:r="http://schemas.openxmlformats.org/officeDocument/2006/relationships" xmlns:p="http://schemas.openxmlformats.org/presentationml/2006/main">
  <p:tag name="TEMPLAFYSLIDEID" val="637649844362208369"/>
</p:tagLst>
</file>

<file path=ppt/tags/tag288.xml><?xml version="1.0" encoding="utf-8"?>
<p:tagLst xmlns:a="http://schemas.openxmlformats.org/drawingml/2006/main" xmlns:r="http://schemas.openxmlformats.org/officeDocument/2006/relationships" xmlns:p="http://schemas.openxmlformats.org/presentationml/2006/main">
  <p:tag name="TEMPLAFYSLIDEID" val="637649844362208370"/>
</p:tagLst>
</file>

<file path=ppt/tags/tag289.xml><?xml version="1.0" encoding="utf-8"?>
<p:tagLst xmlns:a="http://schemas.openxmlformats.org/drawingml/2006/main" xmlns:r="http://schemas.openxmlformats.org/officeDocument/2006/relationships" xmlns:p="http://schemas.openxmlformats.org/presentationml/2006/main">
  <p:tag name="TEMPLAFYSLIDEID" val="637649844363458390"/>
</p:tagLst>
</file>

<file path=ppt/tags/tag29.xml><?xml version="1.0" encoding="utf-8"?>
<p:tagLst xmlns:a="http://schemas.openxmlformats.org/drawingml/2006/main" xmlns:r="http://schemas.openxmlformats.org/officeDocument/2006/relationships" xmlns:p="http://schemas.openxmlformats.org/presentationml/2006/main">
  <p:tag name="TEMPLAFYSLIDEID" val="637649844347833000"/>
</p:tagLst>
</file>

<file path=ppt/tags/tag290.xml><?xml version="1.0" encoding="utf-8"?>
<p:tagLst xmlns:a="http://schemas.openxmlformats.org/drawingml/2006/main" xmlns:r="http://schemas.openxmlformats.org/officeDocument/2006/relationships" xmlns:p="http://schemas.openxmlformats.org/presentationml/2006/main">
  <p:tag name="TEMPLAFYSLIDEID" val="637649844363458391"/>
</p:tagLst>
</file>

<file path=ppt/tags/tag291.xml><?xml version="1.0" encoding="utf-8"?>
<p:tagLst xmlns:a="http://schemas.openxmlformats.org/drawingml/2006/main" xmlns:r="http://schemas.openxmlformats.org/officeDocument/2006/relationships" xmlns:p="http://schemas.openxmlformats.org/presentationml/2006/main">
  <p:tag name="TEMPLAFYSLIDEID" val="637649844363458392"/>
</p:tagLst>
</file>

<file path=ppt/tags/tag292.xml><?xml version="1.0" encoding="utf-8"?>
<p:tagLst xmlns:a="http://schemas.openxmlformats.org/drawingml/2006/main" xmlns:r="http://schemas.openxmlformats.org/officeDocument/2006/relationships" xmlns:p="http://schemas.openxmlformats.org/presentationml/2006/main">
  <p:tag name="TEMPLAFYSLIDEID" val="637649844363458393"/>
</p:tagLst>
</file>

<file path=ppt/tags/tag293.xml><?xml version="1.0" encoding="utf-8"?>
<p:tagLst xmlns:a="http://schemas.openxmlformats.org/drawingml/2006/main" xmlns:r="http://schemas.openxmlformats.org/officeDocument/2006/relationships" xmlns:p="http://schemas.openxmlformats.org/presentationml/2006/main">
  <p:tag name="TEMPLAFYSLIDEID" val="637649844363458394"/>
</p:tagLst>
</file>

<file path=ppt/tags/tag294.xml><?xml version="1.0" encoding="utf-8"?>
<p:tagLst xmlns:a="http://schemas.openxmlformats.org/drawingml/2006/main" xmlns:r="http://schemas.openxmlformats.org/officeDocument/2006/relationships" xmlns:p="http://schemas.openxmlformats.org/presentationml/2006/main">
  <p:tag name="TEMPLAFYSLIDEID" val="637649844363458395"/>
</p:tagLst>
</file>

<file path=ppt/tags/tag295.xml><?xml version="1.0" encoding="utf-8"?>
<p:tagLst xmlns:a="http://schemas.openxmlformats.org/drawingml/2006/main" xmlns:r="http://schemas.openxmlformats.org/officeDocument/2006/relationships" xmlns:p="http://schemas.openxmlformats.org/presentationml/2006/main">
  <p:tag name="TEMPLAFYSLIDEID" val="637649844363458396"/>
</p:tagLst>
</file>

<file path=ppt/tags/tag296.xml><?xml version="1.0" encoding="utf-8"?>
<p:tagLst xmlns:a="http://schemas.openxmlformats.org/drawingml/2006/main" xmlns:r="http://schemas.openxmlformats.org/officeDocument/2006/relationships" xmlns:p="http://schemas.openxmlformats.org/presentationml/2006/main">
  <p:tag name="TEMPLAFYSLIDEID" val="637649844363770924"/>
</p:tagLst>
</file>

<file path=ppt/tags/tag297.xml><?xml version="1.0" encoding="utf-8"?>
<p:tagLst xmlns:a="http://schemas.openxmlformats.org/drawingml/2006/main" xmlns:r="http://schemas.openxmlformats.org/officeDocument/2006/relationships" xmlns:p="http://schemas.openxmlformats.org/presentationml/2006/main">
  <p:tag name="TEMPLAFYSLIDEID" val="637649844363770925"/>
</p:tagLst>
</file>

<file path=ppt/tags/tag298.xml><?xml version="1.0" encoding="utf-8"?>
<p:tagLst xmlns:a="http://schemas.openxmlformats.org/drawingml/2006/main" xmlns:r="http://schemas.openxmlformats.org/officeDocument/2006/relationships" xmlns:p="http://schemas.openxmlformats.org/presentationml/2006/main">
  <p:tag name="TEMPLAFYSLIDEID" val="637649844363927172"/>
</p:tagLst>
</file>

<file path=ppt/tags/tag299.xml><?xml version="1.0" encoding="utf-8"?>
<p:tagLst xmlns:a="http://schemas.openxmlformats.org/drawingml/2006/main" xmlns:r="http://schemas.openxmlformats.org/officeDocument/2006/relationships" xmlns:p="http://schemas.openxmlformats.org/presentationml/2006/main">
  <p:tag name="TEMPLAFYSLIDEID" val="637649844363927173"/>
</p:tagLst>
</file>

<file path=ppt/tags/tag3.xml><?xml version="1.0" encoding="utf-8"?>
<p:tagLst xmlns:a="http://schemas.openxmlformats.org/drawingml/2006/main" xmlns:r="http://schemas.openxmlformats.org/officeDocument/2006/relationships" xmlns:p="http://schemas.openxmlformats.org/presentationml/2006/main">
  <p:tag name="TEMPLAFYSLIDEID" val="637649844342520326"/>
</p:tagLst>
</file>

<file path=ppt/tags/tag30.xml><?xml version="1.0" encoding="utf-8"?>
<p:tagLst xmlns:a="http://schemas.openxmlformats.org/drawingml/2006/main" xmlns:r="http://schemas.openxmlformats.org/officeDocument/2006/relationships" xmlns:p="http://schemas.openxmlformats.org/presentationml/2006/main">
  <p:tag name="TEMPLAFYSLIDEID" val="637649844347833001"/>
</p:tagLst>
</file>

<file path=ppt/tags/tag300.xml><?xml version="1.0" encoding="utf-8"?>
<p:tagLst xmlns:a="http://schemas.openxmlformats.org/drawingml/2006/main" xmlns:r="http://schemas.openxmlformats.org/officeDocument/2006/relationships" xmlns:p="http://schemas.openxmlformats.org/presentationml/2006/main">
  <p:tag name="TEMPLAFYSLIDEID" val="637649844363927174"/>
</p:tagLst>
</file>

<file path=ppt/tags/tag301.xml><?xml version="1.0" encoding="utf-8"?>
<p:tagLst xmlns:a="http://schemas.openxmlformats.org/drawingml/2006/main" xmlns:r="http://schemas.openxmlformats.org/officeDocument/2006/relationships" xmlns:p="http://schemas.openxmlformats.org/presentationml/2006/main">
  <p:tag name="TEMPLAFYSLIDEID" val="637649844363927175"/>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gFezCUKaC02hJtKHu9DOkQ"/>
  <p:tag name="TEMPLAFYSLIDEID" val="637649844363927176"/>
</p:tagLst>
</file>

<file path=ppt/tags/tag304.xml><?xml version="1.0" encoding="utf-8"?>
<p:tagLst xmlns:a="http://schemas.openxmlformats.org/drawingml/2006/main" xmlns:r="http://schemas.openxmlformats.org/officeDocument/2006/relationships" xmlns:p="http://schemas.openxmlformats.org/presentationml/2006/main">
  <p:tag name="TEMPLAFYSLIDEID" val="637649844363927177"/>
</p:tagLst>
</file>

<file path=ppt/tags/tag305.xml><?xml version="1.0" encoding="utf-8"?>
<p:tagLst xmlns:a="http://schemas.openxmlformats.org/drawingml/2006/main" xmlns:r="http://schemas.openxmlformats.org/officeDocument/2006/relationships" xmlns:p="http://schemas.openxmlformats.org/presentationml/2006/main">
  <p:tag name="TEMPLAFYSLIDEID" val="637649844364083431"/>
</p:tagLst>
</file>

<file path=ppt/tags/tag306.xml><?xml version="1.0" encoding="utf-8"?>
<p:tagLst xmlns:a="http://schemas.openxmlformats.org/drawingml/2006/main" xmlns:r="http://schemas.openxmlformats.org/officeDocument/2006/relationships" xmlns:p="http://schemas.openxmlformats.org/presentationml/2006/main">
  <p:tag name="TEMPLAFYSLIDEID" val="637649844364083432"/>
</p:tagLst>
</file>

<file path=ppt/tags/tag307.xml><?xml version="1.0" encoding="utf-8"?>
<p:tagLst xmlns:a="http://schemas.openxmlformats.org/drawingml/2006/main" xmlns:r="http://schemas.openxmlformats.org/officeDocument/2006/relationships" xmlns:p="http://schemas.openxmlformats.org/presentationml/2006/main">
  <p:tag name="TEMPLAFYSLIDEID" val="637649844364083433"/>
</p:tagLst>
</file>

<file path=ppt/tags/tag308.xml><?xml version="1.0" encoding="utf-8"?>
<p:tagLst xmlns:a="http://schemas.openxmlformats.org/drawingml/2006/main" xmlns:r="http://schemas.openxmlformats.org/officeDocument/2006/relationships" xmlns:p="http://schemas.openxmlformats.org/presentationml/2006/main">
  <p:tag name="TEMPLAFYSLIDEID" val="637649844364083434"/>
</p:tagLst>
</file>

<file path=ppt/tags/tag309.xml><?xml version="1.0" encoding="utf-8"?>
<p:tagLst xmlns:a="http://schemas.openxmlformats.org/drawingml/2006/main" xmlns:r="http://schemas.openxmlformats.org/officeDocument/2006/relationships" xmlns:p="http://schemas.openxmlformats.org/presentationml/2006/main">
  <p:tag name="TEMPLAFYSLIDEID" val="637649844366427228"/>
</p:tagLst>
</file>

<file path=ppt/tags/tag31.xml><?xml version="1.0" encoding="utf-8"?>
<p:tagLst xmlns:a="http://schemas.openxmlformats.org/drawingml/2006/main" xmlns:r="http://schemas.openxmlformats.org/officeDocument/2006/relationships" xmlns:p="http://schemas.openxmlformats.org/presentationml/2006/main">
  <p:tag name="TEMPLAFYSLIDEID" val="637649844347833002"/>
</p:tagLst>
</file>

<file path=ppt/tags/tag310.xml><?xml version="1.0" encoding="utf-8"?>
<p:tagLst xmlns:a="http://schemas.openxmlformats.org/drawingml/2006/main" xmlns:r="http://schemas.openxmlformats.org/officeDocument/2006/relationships" xmlns:p="http://schemas.openxmlformats.org/presentationml/2006/main">
  <p:tag name="TEMPLAFYSLIDEID" val="637649844366583502"/>
</p:tagLst>
</file>

<file path=ppt/tags/tag311.xml><?xml version="1.0" encoding="utf-8"?>
<p:tagLst xmlns:a="http://schemas.openxmlformats.org/drawingml/2006/main" xmlns:r="http://schemas.openxmlformats.org/officeDocument/2006/relationships" xmlns:p="http://schemas.openxmlformats.org/presentationml/2006/main">
  <p:tag name="TEMPLAFYSLIDEID" val="637649844366583503"/>
</p:tagLst>
</file>

<file path=ppt/tags/tag312.xml><?xml version="1.0" encoding="utf-8"?>
<p:tagLst xmlns:a="http://schemas.openxmlformats.org/drawingml/2006/main" xmlns:r="http://schemas.openxmlformats.org/officeDocument/2006/relationships" xmlns:p="http://schemas.openxmlformats.org/presentationml/2006/main">
  <p:tag name="TEMPLAFYSLIDEID" val="637649844366583504"/>
</p:tagLst>
</file>

<file path=ppt/tags/tag313.xml><?xml version="1.0" encoding="utf-8"?>
<p:tagLst xmlns:a="http://schemas.openxmlformats.org/drawingml/2006/main" xmlns:r="http://schemas.openxmlformats.org/officeDocument/2006/relationships" xmlns:p="http://schemas.openxmlformats.org/presentationml/2006/main">
  <p:tag name="TEMPLAFYSLIDEID" val="637649844366583505"/>
</p:tagLst>
</file>

<file path=ppt/tags/tag314.xml><?xml version="1.0" encoding="utf-8"?>
<p:tagLst xmlns:a="http://schemas.openxmlformats.org/drawingml/2006/main" xmlns:r="http://schemas.openxmlformats.org/officeDocument/2006/relationships" xmlns:p="http://schemas.openxmlformats.org/presentationml/2006/main">
  <p:tag name="TEMPLAFYSLIDEID" val="637649844366583506"/>
</p:tagLst>
</file>

<file path=ppt/tags/tag315.xml><?xml version="1.0" encoding="utf-8"?>
<p:tagLst xmlns:a="http://schemas.openxmlformats.org/drawingml/2006/main" xmlns:r="http://schemas.openxmlformats.org/officeDocument/2006/relationships" xmlns:p="http://schemas.openxmlformats.org/presentationml/2006/main">
  <p:tag name="TEMPLAFYSLIDEID" val="637649844366583507"/>
</p:tagLst>
</file>

<file path=ppt/tags/tag316.xml><?xml version="1.0" encoding="utf-8"?>
<p:tagLst xmlns:a="http://schemas.openxmlformats.org/drawingml/2006/main" xmlns:r="http://schemas.openxmlformats.org/officeDocument/2006/relationships" xmlns:p="http://schemas.openxmlformats.org/presentationml/2006/main">
  <p:tag name="TEMPLAFYSLIDEID" val="637649844366739754"/>
</p:tagLst>
</file>

<file path=ppt/tags/tag317.xml><?xml version="1.0" encoding="utf-8"?>
<p:tagLst xmlns:a="http://schemas.openxmlformats.org/drawingml/2006/main" xmlns:r="http://schemas.openxmlformats.org/officeDocument/2006/relationships" xmlns:p="http://schemas.openxmlformats.org/presentationml/2006/main">
  <p:tag name="TEMPLAFYSLIDEID" val="637649844366739755"/>
</p:tagLst>
</file>

<file path=ppt/tags/tag318.xml><?xml version="1.0" encoding="utf-8"?>
<p:tagLst xmlns:a="http://schemas.openxmlformats.org/drawingml/2006/main" xmlns:r="http://schemas.openxmlformats.org/officeDocument/2006/relationships" xmlns:p="http://schemas.openxmlformats.org/presentationml/2006/main">
  <p:tag name="TEMPLAFYSLIDEID" val="637649844367208531"/>
</p:tagLst>
</file>

<file path=ppt/tags/tag319.xml><?xml version="1.0" encoding="utf-8"?>
<p:tagLst xmlns:a="http://schemas.openxmlformats.org/drawingml/2006/main" xmlns:r="http://schemas.openxmlformats.org/officeDocument/2006/relationships" xmlns:p="http://schemas.openxmlformats.org/presentationml/2006/main">
  <p:tag name="TEMPLAFYSLIDEID" val="637649844367208532"/>
</p:tagLst>
</file>

<file path=ppt/tags/tag32.xml><?xml version="1.0" encoding="utf-8"?>
<p:tagLst xmlns:a="http://schemas.openxmlformats.org/drawingml/2006/main" xmlns:r="http://schemas.openxmlformats.org/officeDocument/2006/relationships" xmlns:p="http://schemas.openxmlformats.org/presentationml/2006/main">
  <p:tag name="TEMPLAFYSLIDEID" val="637649844347833003"/>
</p:tagLst>
</file>

<file path=ppt/tags/tag320.xml><?xml version="1.0" encoding="utf-8"?>
<p:tagLst xmlns:a="http://schemas.openxmlformats.org/drawingml/2006/main" xmlns:r="http://schemas.openxmlformats.org/officeDocument/2006/relationships" xmlns:p="http://schemas.openxmlformats.org/presentationml/2006/main">
  <p:tag name="TEMPLAFYSLIDEID" val="637649844367208533"/>
</p:tagLst>
</file>

<file path=ppt/tags/tag321.xml><?xml version="1.0" encoding="utf-8"?>
<p:tagLst xmlns:a="http://schemas.openxmlformats.org/drawingml/2006/main" xmlns:r="http://schemas.openxmlformats.org/officeDocument/2006/relationships" xmlns:p="http://schemas.openxmlformats.org/presentationml/2006/main">
  <p:tag name="TEMPLAFYSLIDEID" val="637649844367208534"/>
</p:tagLst>
</file>

<file path=ppt/tags/tag32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4.xml><?xml version="1.0" encoding="utf-8"?>
<p:tagLst xmlns:a="http://schemas.openxmlformats.org/drawingml/2006/main" xmlns:r="http://schemas.openxmlformats.org/officeDocument/2006/relationships" xmlns:p="http://schemas.openxmlformats.org/presentationml/2006/main">
  <p:tag name="NAME" val="MoonHalfShape"/>
  <p:tag name="ANGLE" val="2"/>
  <p:tag name="TEMPLAFYSLIDEID" val="637649844367208535"/>
</p:tagLst>
</file>

<file path=ppt/tags/tag325.xml><?xml version="1.0" encoding="utf-8"?>
<p:tagLst xmlns:a="http://schemas.openxmlformats.org/drawingml/2006/main" xmlns:r="http://schemas.openxmlformats.org/officeDocument/2006/relationships" xmlns:p="http://schemas.openxmlformats.org/presentationml/2006/main">
  <p:tag name="TEMPLAFYSLIDEID" val="637649844367364788"/>
</p:tagLst>
</file>

<file path=ppt/tags/tag326.xml><?xml version="1.0" encoding="utf-8"?>
<p:tagLst xmlns:a="http://schemas.openxmlformats.org/drawingml/2006/main" xmlns:r="http://schemas.openxmlformats.org/officeDocument/2006/relationships" xmlns:p="http://schemas.openxmlformats.org/presentationml/2006/main">
  <p:tag name="TEMPLAFYSLIDEID" val="637649844367364789"/>
</p:tagLst>
</file>

<file path=ppt/tags/tag327.xml><?xml version="1.0" encoding="utf-8"?>
<p:tagLst xmlns:a="http://schemas.openxmlformats.org/drawingml/2006/main" xmlns:r="http://schemas.openxmlformats.org/officeDocument/2006/relationships" xmlns:p="http://schemas.openxmlformats.org/presentationml/2006/main">
  <p:tag name="TEMPLAFYSLIDEID" val="637649844367364790"/>
</p:tagLst>
</file>

<file path=ppt/tags/tag328.xml><?xml version="1.0" encoding="utf-8"?>
<p:tagLst xmlns:a="http://schemas.openxmlformats.org/drawingml/2006/main" xmlns:r="http://schemas.openxmlformats.org/officeDocument/2006/relationships" xmlns:p="http://schemas.openxmlformats.org/presentationml/2006/main">
  <p:tag name="TEMPLAFYSLIDEID" val="637649844367364791"/>
</p:tagLst>
</file>

<file path=ppt/tags/tag329.xml><?xml version="1.0" encoding="utf-8"?>
<p:tagLst xmlns:a="http://schemas.openxmlformats.org/drawingml/2006/main" xmlns:r="http://schemas.openxmlformats.org/officeDocument/2006/relationships" xmlns:p="http://schemas.openxmlformats.org/presentationml/2006/main">
  <p:tag name="TEMPLAFYSLIDEID" val="637649844367364792"/>
</p:tagLst>
</file>

<file path=ppt/tags/tag33.xml><?xml version="1.0" encoding="utf-8"?>
<p:tagLst xmlns:a="http://schemas.openxmlformats.org/drawingml/2006/main" xmlns:r="http://schemas.openxmlformats.org/officeDocument/2006/relationships" xmlns:p="http://schemas.openxmlformats.org/presentationml/2006/main">
  <p:tag name="TEMPLAFYSLIDEID" val="637649844347989241"/>
</p:tagLst>
</file>

<file path=ppt/tags/tag330.xml><?xml version="1.0" encoding="utf-8"?>
<p:tagLst xmlns:a="http://schemas.openxmlformats.org/drawingml/2006/main" xmlns:r="http://schemas.openxmlformats.org/officeDocument/2006/relationships" xmlns:p="http://schemas.openxmlformats.org/presentationml/2006/main">
  <p:tag name="TEMPLAFYSLIDEID" val="637649844367521046"/>
</p:tagLst>
</file>

<file path=ppt/tags/tag331.xml><?xml version="1.0" encoding="utf-8"?>
<p:tagLst xmlns:a="http://schemas.openxmlformats.org/drawingml/2006/main" xmlns:r="http://schemas.openxmlformats.org/officeDocument/2006/relationships" xmlns:p="http://schemas.openxmlformats.org/presentationml/2006/main">
  <p:tag name="TEMPLAFYSLIDEID" val="637649844367521047"/>
</p:tagLst>
</file>

<file path=ppt/tags/tag34.xml><?xml version="1.0" encoding="utf-8"?>
<p:tagLst xmlns:a="http://schemas.openxmlformats.org/drawingml/2006/main" xmlns:r="http://schemas.openxmlformats.org/officeDocument/2006/relationships" xmlns:p="http://schemas.openxmlformats.org/presentationml/2006/main">
  <p:tag name="TEMPLAFYSLIDEID" val="637649844347989242"/>
</p:tagLst>
</file>

<file path=ppt/tags/tag35.xml><?xml version="1.0" encoding="utf-8"?>
<p:tagLst xmlns:a="http://schemas.openxmlformats.org/drawingml/2006/main" xmlns:r="http://schemas.openxmlformats.org/officeDocument/2006/relationships" xmlns:p="http://schemas.openxmlformats.org/presentationml/2006/main">
  <p:tag name="TEMPLAFYSLIDEID" val="637649844347989243"/>
</p:tagLst>
</file>

<file path=ppt/tags/tag36.xml><?xml version="1.0" encoding="utf-8"?>
<p:tagLst xmlns:a="http://schemas.openxmlformats.org/drawingml/2006/main" xmlns:r="http://schemas.openxmlformats.org/officeDocument/2006/relationships" xmlns:p="http://schemas.openxmlformats.org/presentationml/2006/main">
  <p:tag name="TEMPLAFYSLIDEID" val="637649844347989244"/>
</p:tagLst>
</file>

<file path=ppt/tags/tag37.xml><?xml version="1.0" encoding="utf-8"?>
<p:tagLst xmlns:a="http://schemas.openxmlformats.org/drawingml/2006/main" xmlns:r="http://schemas.openxmlformats.org/officeDocument/2006/relationships" xmlns:p="http://schemas.openxmlformats.org/presentationml/2006/main">
  <p:tag name="TEMPLAFYSLIDEID" val="637649844347989245"/>
</p:tagLst>
</file>

<file path=ppt/tags/tag38.xml><?xml version="1.0" encoding="utf-8"?>
<p:tagLst xmlns:a="http://schemas.openxmlformats.org/drawingml/2006/main" xmlns:r="http://schemas.openxmlformats.org/officeDocument/2006/relationships" xmlns:p="http://schemas.openxmlformats.org/presentationml/2006/main">
  <p:tag name="TEMPLAFYSLIDEID" val="637649844347989246"/>
</p:tagLst>
</file>

<file path=ppt/tags/tag39.xml><?xml version="1.0" encoding="utf-8"?>
<p:tagLst xmlns:a="http://schemas.openxmlformats.org/drawingml/2006/main" xmlns:r="http://schemas.openxmlformats.org/officeDocument/2006/relationships" xmlns:p="http://schemas.openxmlformats.org/presentationml/2006/main">
  <p:tag name="TEMPLAFYSLIDEID" val="637649844347989247"/>
</p:tagLst>
</file>

<file path=ppt/tags/tag4.xml><?xml version="1.0" encoding="utf-8"?>
<p:tagLst xmlns:a="http://schemas.openxmlformats.org/drawingml/2006/main" xmlns:r="http://schemas.openxmlformats.org/officeDocument/2006/relationships" xmlns:p="http://schemas.openxmlformats.org/presentationml/2006/main">
  <p:tag name="TEMPLAFYSLIDEID" val="637649844342520327"/>
</p:tagLst>
</file>

<file path=ppt/tags/tag40.xml><?xml version="1.0" encoding="utf-8"?>
<p:tagLst xmlns:a="http://schemas.openxmlformats.org/drawingml/2006/main" xmlns:r="http://schemas.openxmlformats.org/officeDocument/2006/relationships" xmlns:p="http://schemas.openxmlformats.org/presentationml/2006/main">
  <p:tag name="TEMPLAFYSLIDEID" val="637649844347989248"/>
</p:tagLst>
</file>

<file path=ppt/tags/tag41.xml><?xml version="1.0" encoding="utf-8"?>
<p:tagLst xmlns:a="http://schemas.openxmlformats.org/drawingml/2006/main" xmlns:r="http://schemas.openxmlformats.org/officeDocument/2006/relationships" xmlns:p="http://schemas.openxmlformats.org/presentationml/2006/main">
  <p:tag name="TEMPLAFYSLIDEID" val="637649844347989249"/>
</p:tagLst>
</file>

<file path=ppt/tags/tag42.xml><?xml version="1.0" encoding="utf-8"?>
<p:tagLst xmlns:a="http://schemas.openxmlformats.org/drawingml/2006/main" xmlns:r="http://schemas.openxmlformats.org/officeDocument/2006/relationships" xmlns:p="http://schemas.openxmlformats.org/presentationml/2006/main">
  <p:tag name="TEMPLAFYSLIDEID" val="637649844347989250"/>
</p:tagLst>
</file>

<file path=ppt/tags/tag43.xml><?xml version="1.0" encoding="utf-8"?>
<p:tagLst xmlns:a="http://schemas.openxmlformats.org/drawingml/2006/main" xmlns:r="http://schemas.openxmlformats.org/officeDocument/2006/relationships" xmlns:p="http://schemas.openxmlformats.org/presentationml/2006/main">
  <p:tag name="TEMPLAFYSLIDEID" val="637649844348145495"/>
</p:tagLst>
</file>

<file path=ppt/tags/tag44.xml><?xml version="1.0" encoding="utf-8"?>
<p:tagLst xmlns:a="http://schemas.openxmlformats.org/drawingml/2006/main" xmlns:r="http://schemas.openxmlformats.org/officeDocument/2006/relationships" xmlns:p="http://schemas.openxmlformats.org/presentationml/2006/main">
  <p:tag name="TEMPLAFYSLIDEID" val="637649844348145496"/>
</p:tagLst>
</file>

<file path=ppt/tags/tag45.xml><?xml version="1.0" encoding="utf-8"?>
<p:tagLst xmlns:a="http://schemas.openxmlformats.org/drawingml/2006/main" xmlns:r="http://schemas.openxmlformats.org/officeDocument/2006/relationships" xmlns:p="http://schemas.openxmlformats.org/presentationml/2006/main">
  <p:tag name="TEMPLAFYSLIDEID" val="637649844348145497"/>
</p:tagLst>
</file>

<file path=ppt/tags/tag46.xml><?xml version="1.0" encoding="utf-8"?>
<p:tagLst xmlns:a="http://schemas.openxmlformats.org/drawingml/2006/main" xmlns:r="http://schemas.openxmlformats.org/officeDocument/2006/relationships" xmlns:p="http://schemas.openxmlformats.org/presentationml/2006/main">
  <p:tag name="TEMPLAFYSLIDEID" val="637649844348145498"/>
</p:tagLst>
</file>

<file path=ppt/tags/tag47.xml><?xml version="1.0" encoding="utf-8"?>
<p:tagLst xmlns:a="http://schemas.openxmlformats.org/drawingml/2006/main" xmlns:r="http://schemas.openxmlformats.org/officeDocument/2006/relationships" xmlns:p="http://schemas.openxmlformats.org/presentationml/2006/main">
  <p:tag name="TEMPLAFYSLIDEID" val="637649844348145499"/>
</p:tagLst>
</file>

<file path=ppt/tags/tag48.xml><?xml version="1.0" encoding="utf-8"?>
<p:tagLst xmlns:a="http://schemas.openxmlformats.org/drawingml/2006/main" xmlns:r="http://schemas.openxmlformats.org/officeDocument/2006/relationships" xmlns:p="http://schemas.openxmlformats.org/presentationml/2006/main">
  <p:tag name="TEMPLAFYSLIDEID" val="637649844348145500"/>
</p:tagLst>
</file>

<file path=ppt/tags/tag49.xml><?xml version="1.0" encoding="utf-8"?>
<p:tagLst xmlns:a="http://schemas.openxmlformats.org/drawingml/2006/main" xmlns:r="http://schemas.openxmlformats.org/officeDocument/2006/relationships" xmlns:p="http://schemas.openxmlformats.org/presentationml/2006/main">
  <p:tag name="TEMPLAFYSLIDEID" val="637649844348301739"/>
</p:tagLst>
</file>

<file path=ppt/tags/tag5.xml><?xml version="1.0" encoding="utf-8"?>
<p:tagLst xmlns:a="http://schemas.openxmlformats.org/drawingml/2006/main" xmlns:r="http://schemas.openxmlformats.org/officeDocument/2006/relationships" xmlns:p="http://schemas.openxmlformats.org/presentationml/2006/main">
  <p:tag name="TEMPLAFYSLIDEID" val="637649844342520328"/>
</p:tagLst>
</file>

<file path=ppt/tags/tag50.xml><?xml version="1.0" encoding="utf-8"?>
<p:tagLst xmlns:a="http://schemas.openxmlformats.org/drawingml/2006/main" xmlns:r="http://schemas.openxmlformats.org/officeDocument/2006/relationships" xmlns:p="http://schemas.openxmlformats.org/presentationml/2006/main">
  <p:tag name="TEMPLAFYSLIDEID" val="637649844348301740"/>
</p:tagLst>
</file>

<file path=ppt/tags/tag51.xml><?xml version="1.0" encoding="utf-8"?>
<p:tagLst xmlns:a="http://schemas.openxmlformats.org/drawingml/2006/main" xmlns:r="http://schemas.openxmlformats.org/officeDocument/2006/relationships" xmlns:p="http://schemas.openxmlformats.org/presentationml/2006/main">
  <p:tag name="TEMPLAFYSLIDEID" val="637649844348301741"/>
</p:tagLst>
</file>

<file path=ppt/tags/tag52.xml><?xml version="1.0" encoding="utf-8"?>
<p:tagLst xmlns:a="http://schemas.openxmlformats.org/drawingml/2006/main" xmlns:r="http://schemas.openxmlformats.org/officeDocument/2006/relationships" xmlns:p="http://schemas.openxmlformats.org/presentationml/2006/main">
  <p:tag name="TEMPLAFYSLIDEID" val="637649844348301742"/>
</p:tagLst>
</file>

<file path=ppt/tags/tag53.xml><?xml version="1.0" encoding="utf-8"?>
<p:tagLst xmlns:a="http://schemas.openxmlformats.org/drawingml/2006/main" xmlns:r="http://schemas.openxmlformats.org/officeDocument/2006/relationships" xmlns:p="http://schemas.openxmlformats.org/presentationml/2006/main">
  <p:tag name="TEMPLAFYSLIDEID" val="637649844348301743"/>
</p:tagLst>
</file>

<file path=ppt/tags/tag54.xml><?xml version="1.0" encoding="utf-8"?>
<p:tagLst xmlns:a="http://schemas.openxmlformats.org/drawingml/2006/main" xmlns:r="http://schemas.openxmlformats.org/officeDocument/2006/relationships" xmlns:p="http://schemas.openxmlformats.org/presentationml/2006/main">
  <p:tag name="TEMPLAFYSLIDEID" val="637649844348301744"/>
</p:tagLst>
</file>

<file path=ppt/tags/tag55.xml><?xml version="1.0" encoding="utf-8"?>
<p:tagLst xmlns:a="http://schemas.openxmlformats.org/drawingml/2006/main" xmlns:r="http://schemas.openxmlformats.org/officeDocument/2006/relationships" xmlns:p="http://schemas.openxmlformats.org/presentationml/2006/main">
  <p:tag name="TEMPLAFYSLIDEID" val="637649844348457991"/>
</p:tagLst>
</file>

<file path=ppt/tags/tag56.xml><?xml version="1.0" encoding="utf-8"?>
<p:tagLst xmlns:a="http://schemas.openxmlformats.org/drawingml/2006/main" xmlns:r="http://schemas.openxmlformats.org/officeDocument/2006/relationships" xmlns:p="http://schemas.openxmlformats.org/presentationml/2006/main">
  <p:tag name="TEMPLAFYSLIDEID" val="637649844348457992"/>
</p:tagLst>
</file>

<file path=ppt/tags/tag57.xml><?xml version="1.0" encoding="utf-8"?>
<p:tagLst xmlns:a="http://schemas.openxmlformats.org/drawingml/2006/main" xmlns:r="http://schemas.openxmlformats.org/officeDocument/2006/relationships" xmlns:p="http://schemas.openxmlformats.org/presentationml/2006/main">
  <p:tag name="TEMPLAFYSLIDEID" val="637649844348457993"/>
</p:tagLst>
</file>

<file path=ppt/tags/tag58.xml><?xml version="1.0" encoding="utf-8"?>
<p:tagLst xmlns:a="http://schemas.openxmlformats.org/drawingml/2006/main" xmlns:r="http://schemas.openxmlformats.org/officeDocument/2006/relationships" xmlns:p="http://schemas.openxmlformats.org/presentationml/2006/main">
  <p:tag name="TEMPLAFYSLIDEID" val="637649844348457994"/>
</p:tagLst>
</file>

<file path=ppt/tags/tag59.xml><?xml version="1.0" encoding="utf-8"?>
<p:tagLst xmlns:a="http://schemas.openxmlformats.org/drawingml/2006/main" xmlns:r="http://schemas.openxmlformats.org/officeDocument/2006/relationships" xmlns:p="http://schemas.openxmlformats.org/presentationml/2006/main">
  <p:tag name="TEMPLAFYSLIDEID" val="637649844348457995"/>
</p:tagLst>
</file>

<file path=ppt/tags/tag6.xml><?xml version="1.0" encoding="utf-8"?>
<p:tagLst xmlns:a="http://schemas.openxmlformats.org/drawingml/2006/main" xmlns:r="http://schemas.openxmlformats.org/officeDocument/2006/relationships" xmlns:p="http://schemas.openxmlformats.org/presentationml/2006/main">
  <p:tag name="TEMPLAFYSLIDEID" val="637649844342520329"/>
</p:tagLst>
</file>

<file path=ppt/tags/tag60.xml><?xml version="1.0" encoding="utf-8"?>
<p:tagLst xmlns:a="http://schemas.openxmlformats.org/drawingml/2006/main" xmlns:r="http://schemas.openxmlformats.org/officeDocument/2006/relationships" xmlns:p="http://schemas.openxmlformats.org/presentationml/2006/main">
  <p:tag name="TEMPLAFYSLIDEID" val="637649844348457996"/>
</p:tagLst>
</file>

<file path=ppt/tags/tag61.xml><?xml version="1.0" encoding="utf-8"?>
<p:tagLst xmlns:a="http://schemas.openxmlformats.org/drawingml/2006/main" xmlns:r="http://schemas.openxmlformats.org/officeDocument/2006/relationships" xmlns:p="http://schemas.openxmlformats.org/presentationml/2006/main">
  <p:tag name="TEMPLAFYSLIDEID" val="637649844348457997"/>
</p:tagLst>
</file>

<file path=ppt/tags/tag62.xml><?xml version="1.0" encoding="utf-8"?>
<p:tagLst xmlns:a="http://schemas.openxmlformats.org/drawingml/2006/main" xmlns:r="http://schemas.openxmlformats.org/officeDocument/2006/relationships" xmlns:p="http://schemas.openxmlformats.org/presentationml/2006/main">
  <p:tag name="TEMPLAFYSLIDEID" val="637649844348457998"/>
</p:tagLst>
</file>

<file path=ppt/tags/tag63.xml><?xml version="1.0" encoding="utf-8"?>
<p:tagLst xmlns:a="http://schemas.openxmlformats.org/drawingml/2006/main" xmlns:r="http://schemas.openxmlformats.org/officeDocument/2006/relationships" xmlns:p="http://schemas.openxmlformats.org/presentationml/2006/main">
  <p:tag name="TEMPLAFYSLIDEID" val="637649844348457999"/>
</p:tagLst>
</file>

<file path=ppt/tags/tag64.xml><?xml version="1.0" encoding="utf-8"?>
<p:tagLst xmlns:a="http://schemas.openxmlformats.org/drawingml/2006/main" xmlns:r="http://schemas.openxmlformats.org/officeDocument/2006/relationships" xmlns:p="http://schemas.openxmlformats.org/presentationml/2006/main">
  <p:tag name="TEMPLAFYSLIDEID" val="637649844348614264"/>
</p:tagLst>
</file>

<file path=ppt/tags/tag65.xml><?xml version="1.0" encoding="utf-8"?>
<p:tagLst xmlns:a="http://schemas.openxmlformats.org/drawingml/2006/main" xmlns:r="http://schemas.openxmlformats.org/officeDocument/2006/relationships" xmlns:p="http://schemas.openxmlformats.org/presentationml/2006/main">
  <p:tag name="TEMPLAFYSLIDEID" val="637649844348614265"/>
</p:tagLst>
</file>

<file path=ppt/tags/tag66.xml><?xml version="1.0" encoding="utf-8"?>
<p:tagLst xmlns:a="http://schemas.openxmlformats.org/drawingml/2006/main" xmlns:r="http://schemas.openxmlformats.org/officeDocument/2006/relationships" xmlns:p="http://schemas.openxmlformats.org/presentationml/2006/main">
  <p:tag name="TEMPLAFYSLIDEID" val="637649844348614266"/>
</p:tagLst>
</file>

<file path=ppt/tags/tag67.xml><?xml version="1.0" encoding="utf-8"?>
<p:tagLst xmlns:a="http://schemas.openxmlformats.org/drawingml/2006/main" xmlns:r="http://schemas.openxmlformats.org/officeDocument/2006/relationships" xmlns:p="http://schemas.openxmlformats.org/presentationml/2006/main">
  <p:tag name="TEMPLAFYSLIDEID" val="637649844348614267"/>
</p:tagLst>
</file>

<file path=ppt/tags/tag68.xml><?xml version="1.0" encoding="utf-8"?>
<p:tagLst xmlns:a="http://schemas.openxmlformats.org/drawingml/2006/main" xmlns:r="http://schemas.openxmlformats.org/officeDocument/2006/relationships" xmlns:p="http://schemas.openxmlformats.org/presentationml/2006/main">
  <p:tag name="TEMPLAFYSLIDEID" val="637649844348614268"/>
</p:tagLst>
</file>

<file path=ppt/tags/tag69.xml><?xml version="1.0" encoding="utf-8"?>
<p:tagLst xmlns:a="http://schemas.openxmlformats.org/drawingml/2006/main" xmlns:r="http://schemas.openxmlformats.org/officeDocument/2006/relationships" xmlns:p="http://schemas.openxmlformats.org/presentationml/2006/main">
  <p:tag name="TEMPLAFYSLIDEID" val="637649844348614269"/>
</p:tagLst>
</file>

<file path=ppt/tags/tag7.xml><?xml version="1.0" encoding="utf-8"?>
<p:tagLst xmlns:a="http://schemas.openxmlformats.org/drawingml/2006/main" xmlns:r="http://schemas.openxmlformats.org/officeDocument/2006/relationships" xmlns:p="http://schemas.openxmlformats.org/presentationml/2006/main">
  <p:tag name="TEMPLAFYSLIDEID" val="637649844342520330"/>
</p:tagLst>
</file>

<file path=ppt/tags/tag70.xml><?xml version="1.0" encoding="utf-8"?>
<p:tagLst xmlns:a="http://schemas.openxmlformats.org/drawingml/2006/main" xmlns:r="http://schemas.openxmlformats.org/officeDocument/2006/relationships" xmlns:p="http://schemas.openxmlformats.org/presentationml/2006/main">
  <p:tag name="TEMPLAFYSLIDEID" val="637649844348614270"/>
</p:tagLst>
</file>

<file path=ppt/tags/tag71.xml><?xml version="1.0" encoding="utf-8"?>
<p:tagLst xmlns:a="http://schemas.openxmlformats.org/drawingml/2006/main" xmlns:r="http://schemas.openxmlformats.org/officeDocument/2006/relationships" xmlns:p="http://schemas.openxmlformats.org/presentationml/2006/main">
  <p:tag name="TEMPLAFYSLIDEID" val="637649844348614271"/>
</p:tagLst>
</file>

<file path=ppt/tags/tag72.xml><?xml version="1.0" encoding="utf-8"?>
<p:tagLst xmlns:a="http://schemas.openxmlformats.org/drawingml/2006/main" xmlns:r="http://schemas.openxmlformats.org/officeDocument/2006/relationships" xmlns:p="http://schemas.openxmlformats.org/presentationml/2006/main">
  <p:tag name="TEMPLAFYSLIDEID" val="637649844348614272"/>
</p:tagLst>
</file>

<file path=ppt/tags/tag73.xml><?xml version="1.0" encoding="utf-8"?>
<p:tagLst xmlns:a="http://schemas.openxmlformats.org/drawingml/2006/main" xmlns:r="http://schemas.openxmlformats.org/officeDocument/2006/relationships" xmlns:p="http://schemas.openxmlformats.org/presentationml/2006/main">
  <p:tag name="TEMPLAFYSLIDEID" val="637649844348770501"/>
</p:tagLst>
</file>

<file path=ppt/tags/tag74.xml><?xml version="1.0" encoding="utf-8"?>
<p:tagLst xmlns:a="http://schemas.openxmlformats.org/drawingml/2006/main" xmlns:r="http://schemas.openxmlformats.org/officeDocument/2006/relationships" xmlns:p="http://schemas.openxmlformats.org/presentationml/2006/main">
  <p:tag name="TEMPLAFYSLIDEID" val="637649844348770502"/>
</p:tagLst>
</file>

<file path=ppt/tags/tag75.xml><?xml version="1.0" encoding="utf-8"?>
<p:tagLst xmlns:a="http://schemas.openxmlformats.org/drawingml/2006/main" xmlns:r="http://schemas.openxmlformats.org/officeDocument/2006/relationships" xmlns:p="http://schemas.openxmlformats.org/presentationml/2006/main">
  <p:tag name="TEMPLAFYSLIDEID" val="637649844348770503"/>
</p:tagLst>
</file>

<file path=ppt/tags/tag76.xml><?xml version="1.0" encoding="utf-8"?>
<p:tagLst xmlns:a="http://schemas.openxmlformats.org/drawingml/2006/main" xmlns:r="http://schemas.openxmlformats.org/officeDocument/2006/relationships" xmlns:p="http://schemas.openxmlformats.org/presentationml/2006/main">
  <p:tag name="TEMPLAFYSLIDEID" val="637649844348770504"/>
</p:tagLst>
</file>

<file path=ppt/tags/tag77.xml><?xml version="1.0" encoding="utf-8"?>
<p:tagLst xmlns:a="http://schemas.openxmlformats.org/drawingml/2006/main" xmlns:r="http://schemas.openxmlformats.org/officeDocument/2006/relationships" xmlns:p="http://schemas.openxmlformats.org/presentationml/2006/main">
  <p:tag name="TEMPLAFYSLIDEID" val="637649844348770505"/>
</p:tagLst>
</file>

<file path=ppt/tags/tag78.xml><?xml version="1.0" encoding="utf-8"?>
<p:tagLst xmlns:a="http://schemas.openxmlformats.org/drawingml/2006/main" xmlns:r="http://schemas.openxmlformats.org/officeDocument/2006/relationships" xmlns:p="http://schemas.openxmlformats.org/presentationml/2006/main">
  <p:tag name="TEMPLAFYSLIDEID" val="637649844348770506"/>
</p:tagLst>
</file>

<file path=ppt/tags/tag79.xml><?xml version="1.0" encoding="utf-8"?>
<p:tagLst xmlns:a="http://schemas.openxmlformats.org/drawingml/2006/main" xmlns:r="http://schemas.openxmlformats.org/officeDocument/2006/relationships" xmlns:p="http://schemas.openxmlformats.org/presentationml/2006/main">
  <p:tag name="TEMPLAFYSLIDEID" val="637649844348770507"/>
</p:tagLst>
</file>

<file path=ppt/tags/tag8.xml><?xml version="1.0" encoding="utf-8"?>
<p:tagLst xmlns:a="http://schemas.openxmlformats.org/drawingml/2006/main" xmlns:r="http://schemas.openxmlformats.org/officeDocument/2006/relationships" xmlns:p="http://schemas.openxmlformats.org/presentationml/2006/main">
  <p:tag name="TEMPLAFYSLIDEID" val="637649844342520331"/>
</p:tagLst>
</file>

<file path=ppt/tags/tag80.xml><?xml version="1.0" encoding="utf-8"?>
<p:tagLst xmlns:a="http://schemas.openxmlformats.org/drawingml/2006/main" xmlns:r="http://schemas.openxmlformats.org/officeDocument/2006/relationships" xmlns:p="http://schemas.openxmlformats.org/presentationml/2006/main">
  <p:tag name="TEMPLAFYSLIDEID" val="637649844348770508"/>
</p:tagLst>
</file>

<file path=ppt/tags/tag81.xml><?xml version="1.0" encoding="utf-8"?>
<p:tagLst xmlns:a="http://schemas.openxmlformats.org/drawingml/2006/main" xmlns:r="http://schemas.openxmlformats.org/officeDocument/2006/relationships" xmlns:p="http://schemas.openxmlformats.org/presentationml/2006/main">
  <p:tag name="TEMPLAFYSLIDEID" val="637649844348770509"/>
</p:tagLst>
</file>

<file path=ppt/tags/tag82.xml><?xml version="1.0" encoding="utf-8"?>
<p:tagLst xmlns:a="http://schemas.openxmlformats.org/drawingml/2006/main" xmlns:r="http://schemas.openxmlformats.org/officeDocument/2006/relationships" xmlns:p="http://schemas.openxmlformats.org/presentationml/2006/main">
  <p:tag name="TEMPLAFYSLIDEID" val="637649844348926787"/>
</p:tagLst>
</file>

<file path=ppt/tags/tag83.xml><?xml version="1.0" encoding="utf-8"?>
<p:tagLst xmlns:a="http://schemas.openxmlformats.org/drawingml/2006/main" xmlns:r="http://schemas.openxmlformats.org/officeDocument/2006/relationships" xmlns:p="http://schemas.openxmlformats.org/presentationml/2006/main">
  <p:tag name="TEMPLAFYSLIDEID" val="637649844349082988"/>
</p:tagLst>
</file>

<file path=ppt/tags/tag84.xml><?xml version="1.0" encoding="utf-8"?>
<p:tagLst xmlns:a="http://schemas.openxmlformats.org/drawingml/2006/main" xmlns:r="http://schemas.openxmlformats.org/officeDocument/2006/relationships" xmlns:p="http://schemas.openxmlformats.org/presentationml/2006/main">
  <p:tag name="TEMPLAFYSLIDEID" val="637649844349082989"/>
</p:tagLst>
</file>

<file path=ppt/tags/tag85.xml><?xml version="1.0" encoding="utf-8"?>
<p:tagLst xmlns:a="http://schemas.openxmlformats.org/drawingml/2006/main" xmlns:r="http://schemas.openxmlformats.org/officeDocument/2006/relationships" xmlns:p="http://schemas.openxmlformats.org/presentationml/2006/main">
  <p:tag name="TEMPLAFYSLIDEID" val="637649844349082990"/>
</p:tagLst>
</file>

<file path=ppt/tags/tag86.xml><?xml version="1.0" encoding="utf-8"?>
<p:tagLst xmlns:a="http://schemas.openxmlformats.org/drawingml/2006/main" xmlns:r="http://schemas.openxmlformats.org/officeDocument/2006/relationships" xmlns:p="http://schemas.openxmlformats.org/presentationml/2006/main">
  <p:tag name="TEMPLAFYSLIDEID" val="637649844349082991"/>
</p:tagLst>
</file>

<file path=ppt/tags/tag87.xml><?xml version="1.0" encoding="utf-8"?>
<p:tagLst xmlns:a="http://schemas.openxmlformats.org/drawingml/2006/main" xmlns:r="http://schemas.openxmlformats.org/officeDocument/2006/relationships" xmlns:p="http://schemas.openxmlformats.org/presentationml/2006/main">
  <p:tag name="TEMPLAFYSLIDEID" val="637649844349082992"/>
</p:tagLst>
</file>

<file path=ppt/tags/tag88.xml><?xml version="1.0" encoding="utf-8"?>
<p:tagLst xmlns:a="http://schemas.openxmlformats.org/drawingml/2006/main" xmlns:r="http://schemas.openxmlformats.org/officeDocument/2006/relationships" xmlns:p="http://schemas.openxmlformats.org/presentationml/2006/main">
  <p:tag name="TEMPLAFYSLIDEID" val="637649844349082993"/>
</p:tagLst>
</file>

<file path=ppt/tags/tag89.xml><?xml version="1.0" encoding="utf-8"?>
<p:tagLst xmlns:a="http://schemas.openxmlformats.org/drawingml/2006/main" xmlns:r="http://schemas.openxmlformats.org/officeDocument/2006/relationships" xmlns:p="http://schemas.openxmlformats.org/presentationml/2006/main">
  <p:tag name="TEMPLAFYSLIDEID" val="637649844349082994"/>
</p:tagLst>
</file>

<file path=ppt/tags/tag9.xml><?xml version="1.0" encoding="utf-8"?>
<p:tagLst xmlns:a="http://schemas.openxmlformats.org/drawingml/2006/main" xmlns:r="http://schemas.openxmlformats.org/officeDocument/2006/relationships" xmlns:p="http://schemas.openxmlformats.org/presentationml/2006/main">
  <p:tag name="TEMPLAFYSLIDEID" val="637649844342676575"/>
</p:tagLst>
</file>

<file path=ppt/tags/tag90.xml><?xml version="1.0" encoding="utf-8"?>
<p:tagLst xmlns:a="http://schemas.openxmlformats.org/drawingml/2006/main" xmlns:r="http://schemas.openxmlformats.org/officeDocument/2006/relationships" xmlns:p="http://schemas.openxmlformats.org/presentationml/2006/main">
  <p:tag name="TEMPLAFYSLIDEID" val="637649844349082995"/>
</p:tagLst>
</file>

<file path=ppt/tags/tag91.xml><?xml version="1.0" encoding="utf-8"?>
<p:tagLst xmlns:a="http://schemas.openxmlformats.org/drawingml/2006/main" xmlns:r="http://schemas.openxmlformats.org/officeDocument/2006/relationships" xmlns:p="http://schemas.openxmlformats.org/presentationml/2006/main">
  <p:tag name="TEMPLAFYSLIDEID" val="637649844349239250"/>
</p:tagLst>
</file>

<file path=ppt/tags/tag92.xml><?xml version="1.0" encoding="utf-8"?>
<p:tagLst xmlns:a="http://schemas.openxmlformats.org/drawingml/2006/main" xmlns:r="http://schemas.openxmlformats.org/officeDocument/2006/relationships" xmlns:p="http://schemas.openxmlformats.org/presentationml/2006/main">
  <p:tag name="TEMPLAFYSLIDEID" val="637649844349239251"/>
</p:tagLst>
</file>

<file path=ppt/tags/tag93.xml><?xml version="1.0" encoding="utf-8"?>
<p:tagLst xmlns:a="http://schemas.openxmlformats.org/drawingml/2006/main" xmlns:r="http://schemas.openxmlformats.org/officeDocument/2006/relationships" xmlns:p="http://schemas.openxmlformats.org/presentationml/2006/main">
  <p:tag name="TEMPLAFYSLIDEID" val="637649844349239252"/>
</p:tagLst>
</file>

<file path=ppt/tags/tag94.xml><?xml version="1.0" encoding="utf-8"?>
<p:tagLst xmlns:a="http://schemas.openxmlformats.org/drawingml/2006/main" xmlns:r="http://schemas.openxmlformats.org/officeDocument/2006/relationships" xmlns:p="http://schemas.openxmlformats.org/presentationml/2006/main">
  <p:tag name="TEMPLAFYSLIDEID" val="637649844349239253"/>
</p:tagLst>
</file>

<file path=ppt/tags/tag95.xml><?xml version="1.0" encoding="utf-8"?>
<p:tagLst xmlns:a="http://schemas.openxmlformats.org/drawingml/2006/main" xmlns:r="http://schemas.openxmlformats.org/officeDocument/2006/relationships" xmlns:p="http://schemas.openxmlformats.org/presentationml/2006/main">
  <p:tag name="TEMPLAFYSLIDEID" val="637649844349239254"/>
</p:tagLst>
</file>

<file path=ppt/tags/tag96.xml><?xml version="1.0" encoding="utf-8"?>
<p:tagLst xmlns:a="http://schemas.openxmlformats.org/drawingml/2006/main" xmlns:r="http://schemas.openxmlformats.org/officeDocument/2006/relationships" xmlns:p="http://schemas.openxmlformats.org/presentationml/2006/main">
  <p:tag name="TEMPLAFYSLIDEID" val="637649844349239255"/>
</p:tagLst>
</file>

<file path=ppt/tags/tag97.xml><?xml version="1.0" encoding="utf-8"?>
<p:tagLst xmlns:a="http://schemas.openxmlformats.org/drawingml/2006/main" xmlns:r="http://schemas.openxmlformats.org/officeDocument/2006/relationships" xmlns:p="http://schemas.openxmlformats.org/presentationml/2006/main">
  <p:tag name="TEMPLAFYSLIDEID" val="637649844349239256"/>
</p:tagLst>
</file>

<file path=ppt/tags/tag98.xml><?xml version="1.0" encoding="utf-8"?>
<p:tagLst xmlns:a="http://schemas.openxmlformats.org/drawingml/2006/main" xmlns:r="http://schemas.openxmlformats.org/officeDocument/2006/relationships" xmlns:p="http://schemas.openxmlformats.org/presentationml/2006/main">
  <p:tag name="TEMPLAFYSLIDEID" val="637649844349239257"/>
</p:tagLst>
</file>

<file path=ppt/tags/tag99.xml><?xml version="1.0" encoding="utf-8"?>
<p:tagLst xmlns:a="http://schemas.openxmlformats.org/drawingml/2006/main" xmlns:r="http://schemas.openxmlformats.org/officeDocument/2006/relationships" xmlns:p="http://schemas.openxmlformats.org/presentationml/2006/main">
  <p:tag name="TEMPLAFYSLIDEID" val="637649844349239258"/>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中性">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7ADE31365D4E41811B5FD2F955A4DD" ma:contentTypeVersion="5" ma:contentTypeDescription="Create a new document." ma:contentTypeScope="" ma:versionID="fe69b75e52c20555ca09594b30cf45e4">
  <xsd:schema xmlns:xsd="http://www.w3.org/2001/XMLSchema" xmlns:xs="http://www.w3.org/2001/XMLSchema" xmlns:p="http://schemas.microsoft.com/office/2006/metadata/properties" xmlns:ns2="e6e05b49-52e1-4587-a0f3-2cede21bb7d3" targetNamespace="http://schemas.microsoft.com/office/2006/metadata/properties" ma:root="true" ma:fieldsID="0fac40c7d6f3fd11ca44998ec10bb1f0" ns2:_="">
    <xsd:import namespace="e6e05b49-52e1-4587-a0f3-2cede21bb7d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e05b49-52e1-4587-a0f3-2cede21bb7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C316BF2-4909-4980-91A6-388A1E72E0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e05b49-52e1-4587-a0f3-2cede21bb7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B31AB1C-7ADC-4BE9-91A1-8F94D26CB9DC}">
  <ds:schemaRefs>
    <ds:schemaRef ds:uri="http://schemas.openxmlformats.org/package/2006/metadata/core-properties"/>
    <ds:schemaRef ds:uri="http://purl.org/dc/elements/1.1/"/>
    <ds:schemaRef ds:uri="http://schemas.microsoft.com/office/2006/metadata/properties"/>
    <ds:schemaRef ds:uri="http://www.w3.org/XML/1998/namespace"/>
    <ds:schemaRef ds:uri="http://purl.org/dc/terms/"/>
    <ds:schemaRef ds:uri="http://schemas.microsoft.com/office/2006/documentManagement/types"/>
    <ds:schemaRef ds:uri="http://purl.org/dc/dcmitype/"/>
    <ds:schemaRef ds:uri="http://schemas.microsoft.com/office/infopath/2007/PartnerControls"/>
    <ds:schemaRef ds:uri="5b48fa31-d83c-45f4-a3ed-f9ced1b0efe0"/>
    <ds:schemaRef ds:uri="4a6966a3-f3b3-4d4b-9628-beeb71d0d9fc"/>
  </ds:schemaRefs>
</ds:datastoreItem>
</file>

<file path=customXml/itemProps3.xml><?xml version="1.0" encoding="utf-8"?>
<ds:datastoreItem xmlns:ds="http://schemas.openxmlformats.org/officeDocument/2006/customXml" ds:itemID="{E006E7EA-445E-4553-A921-FC28FB21B7A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0</TotalTime>
  <Words>32447</Words>
  <Application>Microsoft Office PowerPoint</Application>
  <PresentationFormat>Widescreen</PresentationFormat>
  <Paragraphs>4694</Paragraphs>
  <Slides>321</Slides>
  <Notes>165</Notes>
  <HiddenSlides>0</HiddenSlides>
  <MMClips>1</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321</vt:i4>
      </vt:variant>
    </vt:vector>
  </HeadingPairs>
  <TitlesOfParts>
    <vt:vector size="340" baseType="lpstr">
      <vt:lpstr>等线 Light</vt:lpstr>
      <vt:lpstr>微软雅黑</vt:lpstr>
      <vt:lpstr>宋体</vt:lpstr>
      <vt:lpstr>华文细黑</vt:lpstr>
      <vt:lpstr>Arial</vt:lpstr>
      <vt:lpstr>Calibri</vt:lpstr>
      <vt:lpstr>Calibri Light</vt:lpstr>
      <vt:lpstr>Century Gothic</vt:lpstr>
      <vt:lpstr>Courier New</vt:lpstr>
      <vt:lpstr>Futura Bk</vt:lpstr>
      <vt:lpstr>Helvetica Neue Light</vt:lpstr>
      <vt:lpstr>Lato Light</vt:lpstr>
      <vt:lpstr>Montserrat</vt:lpstr>
      <vt:lpstr>Open Sans</vt:lpstr>
      <vt:lpstr>Verdana</vt:lpstr>
      <vt:lpstr>Wingdings</vt:lpstr>
      <vt:lpstr>Wingdings 2</vt:lpstr>
      <vt:lpstr>Deloitte Brand Theme</vt:lpstr>
      <vt:lpstr>think-cell Slide</vt:lpstr>
      <vt:lpstr>PowerPoint Presentation</vt:lpstr>
      <vt:lpstr>About</vt:lpstr>
      <vt:lpstr>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orem ipsum dolor sit am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rainstorm Project Phases</vt:lpstr>
      <vt:lpstr>Not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04-09T19:50:51Z</dcterms:created>
  <dcterms:modified xsi:type="dcterms:W3CDTF">2021-11-29T04:33:2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7ADE31365D4E41811B5FD2F955A4DD</vt:lpwstr>
  </property>
  <property fmtid="{D5CDD505-2E9C-101B-9397-08002B2CF9AE}" pid="3" name="MSIP_Label_ea60d57e-af5b-4752-ac57-3e4f28ca11dc_Enabled">
    <vt:lpwstr>true</vt:lpwstr>
  </property>
  <property fmtid="{D5CDD505-2E9C-101B-9397-08002B2CF9AE}" pid="4" name="MSIP_Label_ea60d57e-af5b-4752-ac57-3e4f28ca11dc_SetDate">
    <vt:lpwstr>2021-06-04T16:43:47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70313499-b7d2-4828-8cd0-57f1b2f5be59</vt:lpwstr>
  </property>
  <property fmtid="{D5CDD505-2E9C-101B-9397-08002B2CF9AE}" pid="9" name="MSIP_Label_ea60d57e-af5b-4752-ac57-3e4f28ca11dc_ContentBits">
    <vt:lpwstr>0</vt:lpwstr>
  </property>
  <property fmtid="{D5CDD505-2E9C-101B-9397-08002B2CF9AE}" pid="10" name="CustomerId">
    <vt:lpwstr>deloitteindia</vt:lpwstr>
  </property>
  <property fmtid="{D5CDD505-2E9C-101B-9397-08002B2CF9AE}" pid="11" name="TemplateId">
    <vt:lpwstr>637649840663930811</vt:lpwstr>
  </property>
  <property fmtid="{D5CDD505-2E9C-101B-9397-08002B2CF9AE}" pid="12" name="UserProfileId">
    <vt:lpwstr>637468935234487263</vt:lpwstr>
  </property>
</Properties>
</file>